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Lst>
  <p:notesMasterIdLst>
    <p:notesMasterId r:id="rId27"/>
  </p:notesMasterIdLst>
  <p:sldIdLst>
    <p:sldId id="256" r:id="rId3"/>
    <p:sldId id="264" r:id="rId4"/>
    <p:sldId id="257" r:id="rId5"/>
    <p:sldId id="258" r:id="rId6"/>
    <p:sldId id="260" r:id="rId7"/>
    <p:sldId id="261" r:id="rId8"/>
    <p:sldId id="262" r:id="rId9"/>
    <p:sldId id="259" r:id="rId10"/>
    <p:sldId id="263" r:id="rId11"/>
    <p:sldId id="265" r:id="rId12"/>
    <p:sldId id="288" r:id="rId13"/>
    <p:sldId id="289" r:id="rId14"/>
    <p:sldId id="290" r:id="rId15"/>
    <p:sldId id="291" r:id="rId16"/>
    <p:sldId id="292" r:id="rId17"/>
    <p:sldId id="293" r:id="rId18"/>
    <p:sldId id="294" r:id="rId19"/>
    <p:sldId id="295" r:id="rId20"/>
    <p:sldId id="296" r:id="rId21"/>
    <p:sldId id="297" r:id="rId22"/>
    <p:sldId id="298" r:id="rId23"/>
    <p:sldId id="299" r:id="rId24"/>
    <p:sldId id="300" r:id="rId25"/>
    <p:sldId id="307"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B0"/>
    <a:srgbClr val="008BD0"/>
    <a:srgbClr val="00A7FA"/>
    <a:srgbClr val="FB5252"/>
    <a:srgbClr val="FA1E1E"/>
    <a:srgbClr val="FC7878"/>
    <a:srgbClr val="7DD4FF"/>
    <a:srgbClr val="DDF4FF"/>
    <a:srgbClr val="C9EDFF"/>
    <a:srgbClr val="6DC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showGuides="1">
      <p:cViewPr varScale="1">
        <p:scale>
          <a:sx n="63" d="100"/>
          <a:sy n="63" d="100"/>
        </p:scale>
        <p:origin x="804" y="48"/>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387571-67ED-4D5C-8A51-7B273F6C9558}" type="datetimeFigureOut">
              <a:rPr lang="en-US" smtClean="0"/>
              <a:t>8/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299A76-1D45-489B-B381-45DC2D2554EF}" type="slidenum">
              <a:rPr lang="en-US" smtClean="0"/>
              <a:t>‹#›</a:t>
            </a:fld>
            <a:endParaRPr lang="en-US"/>
          </a:p>
        </p:txBody>
      </p:sp>
    </p:spTree>
    <p:extLst>
      <p:ext uri="{BB962C8B-B14F-4D97-AF65-F5344CB8AC3E}">
        <p14:creationId xmlns:p14="http://schemas.microsoft.com/office/powerpoint/2010/main" val="2204106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1</a:t>
            </a:fld>
            <a:endParaRPr lang="en-US"/>
          </a:p>
        </p:txBody>
      </p:sp>
    </p:spTree>
    <p:extLst>
      <p:ext uri="{BB962C8B-B14F-4D97-AF65-F5344CB8AC3E}">
        <p14:creationId xmlns:p14="http://schemas.microsoft.com/office/powerpoint/2010/main" val="2177305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10</a:t>
            </a:fld>
            <a:endParaRPr lang="en-US"/>
          </a:p>
        </p:txBody>
      </p:sp>
    </p:spTree>
    <p:extLst>
      <p:ext uri="{BB962C8B-B14F-4D97-AF65-F5344CB8AC3E}">
        <p14:creationId xmlns:p14="http://schemas.microsoft.com/office/powerpoint/2010/main" val="12937070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2"/>
        <p:cNvGrpSpPr/>
        <p:nvPr/>
      </p:nvGrpSpPr>
      <p:grpSpPr>
        <a:xfrm>
          <a:off x="0" y="0"/>
          <a:ext cx="0" cy="0"/>
          <a:chOff x="0" y="0"/>
          <a:chExt cx="0" cy="0"/>
        </a:xfrm>
      </p:grpSpPr>
      <p:sp>
        <p:nvSpPr>
          <p:cNvPr id="1563" name="Google Shape;1563;g8f9b979809_0_99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64" name="Google Shape;1564;g8f9b979809_0_99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9"/>
        <p:cNvGrpSpPr/>
        <p:nvPr/>
      </p:nvGrpSpPr>
      <p:grpSpPr>
        <a:xfrm>
          <a:off x="0" y="0"/>
          <a:ext cx="0" cy="0"/>
          <a:chOff x="0" y="0"/>
          <a:chExt cx="0" cy="0"/>
        </a:xfrm>
      </p:grpSpPr>
      <p:sp>
        <p:nvSpPr>
          <p:cNvPr id="1900" name="Google Shape;1900;g8f9b979809_0_1027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01" name="Google Shape;1901;g8f9b979809_0_102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6"/>
        <p:cNvGrpSpPr/>
        <p:nvPr/>
      </p:nvGrpSpPr>
      <p:grpSpPr>
        <a:xfrm>
          <a:off x="0" y="0"/>
          <a:ext cx="0" cy="0"/>
          <a:chOff x="0" y="0"/>
          <a:chExt cx="0" cy="0"/>
        </a:xfrm>
      </p:grpSpPr>
      <p:sp>
        <p:nvSpPr>
          <p:cNvPr id="4687" name="Google Shape;4687;g8f9b979809_0_1306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88" name="Google Shape;4688;g8f9b979809_0_130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05"/>
        <p:cNvGrpSpPr/>
        <p:nvPr/>
      </p:nvGrpSpPr>
      <p:grpSpPr>
        <a:xfrm>
          <a:off x="0" y="0"/>
          <a:ext cx="0" cy="0"/>
          <a:chOff x="0" y="0"/>
          <a:chExt cx="0" cy="0"/>
        </a:xfrm>
      </p:grpSpPr>
      <p:sp>
        <p:nvSpPr>
          <p:cNvPr id="5106" name="Google Shape;5106;g8f9b979809_0_134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07" name="Google Shape;5107;g8f9b979809_0_134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5"/>
        <p:cNvGrpSpPr/>
        <p:nvPr/>
      </p:nvGrpSpPr>
      <p:grpSpPr>
        <a:xfrm>
          <a:off x="0" y="0"/>
          <a:ext cx="0" cy="0"/>
          <a:chOff x="0" y="0"/>
          <a:chExt cx="0" cy="0"/>
        </a:xfrm>
      </p:grpSpPr>
      <p:sp>
        <p:nvSpPr>
          <p:cNvPr id="5276" name="Google Shape;5276;g8f9b979809_0_1365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77" name="Google Shape;5277;g8f9b979809_0_136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0"/>
        <p:cNvGrpSpPr/>
        <p:nvPr/>
      </p:nvGrpSpPr>
      <p:grpSpPr>
        <a:xfrm>
          <a:off x="0" y="0"/>
          <a:ext cx="0" cy="0"/>
          <a:chOff x="0" y="0"/>
          <a:chExt cx="0" cy="0"/>
        </a:xfrm>
      </p:grpSpPr>
      <p:sp>
        <p:nvSpPr>
          <p:cNvPr id="5681" name="Google Shape;5681;g8f9b979809_0_1405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82" name="Google Shape;5682;g8f9b979809_0_140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60"/>
        <p:cNvGrpSpPr/>
        <p:nvPr/>
      </p:nvGrpSpPr>
      <p:grpSpPr>
        <a:xfrm>
          <a:off x="0" y="0"/>
          <a:ext cx="0" cy="0"/>
          <a:chOff x="0" y="0"/>
          <a:chExt cx="0" cy="0"/>
        </a:xfrm>
      </p:grpSpPr>
      <p:sp>
        <p:nvSpPr>
          <p:cNvPr id="6061" name="Google Shape;6061;g8f9b979809_0_144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62" name="Google Shape;6062;g8f9b979809_0_144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62"/>
        <p:cNvGrpSpPr/>
        <p:nvPr/>
      </p:nvGrpSpPr>
      <p:grpSpPr>
        <a:xfrm>
          <a:off x="0" y="0"/>
          <a:ext cx="0" cy="0"/>
          <a:chOff x="0" y="0"/>
          <a:chExt cx="0" cy="0"/>
        </a:xfrm>
      </p:grpSpPr>
      <p:sp>
        <p:nvSpPr>
          <p:cNvPr id="6363" name="Google Shape;6363;g8f9b979809_0_1473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64" name="Google Shape;6364;g8f9b979809_0_147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54"/>
        <p:cNvGrpSpPr/>
        <p:nvPr/>
      </p:nvGrpSpPr>
      <p:grpSpPr>
        <a:xfrm>
          <a:off x="0" y="0"/>
          <a:ext cx="0" cy="0"/>
          <a:chOff x="0" y="0"/>
          <a:chExt cx="0" cy="0"/>
        </a:xfrm>
      </p:grpSpPr>
      <p:sp>
        <p:nvSpPr>
          <p:cNvPr id="6655" name="Google Shape;6655;g8f9b979809_0_1502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56" name="Google Shape;6656;g8f9b979809_0_150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2</a:t>
            </a:fld>
            <a:endParaRPr lang="en-US"/>
          </a:p>
        </p:txBody>
      </p:sp>
    </p:spTree>
    <p:extLst>
      <p:ext uri="{BB962C8B-B14F-4D97-AF65-F5344CB8AC3E}">
        <p14:creationId xmlns:p14="http://schemas.microsoft.com/office/powerpoint/2010/main" val="691190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13"/>
        <p:cNvGrpSpPr/>
        <p:nvPr/>
      </p:nvGrpSpPr>
      <p:grpSpPr>
        <a:xfrm>
          <a:off x="0" y="0"/>
          <a:ext cx="0" cy="0"/>
          <a:chOff x="0" y="0"/>
          <a:chExt cx="0" cy="0"/>
        </a:xfrm>
      </p:grpSpPr>
      <p:sp>
        <p:nvSpPr>
          <p:cNvPr id="7014" name="Google Shape;7014;g8f9b979809_0_1538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15" name="Google Shape;7015;g8f9b979809_0_153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0"/>
        <p:cNvGrpSpPr/>
        <p:nvPr/>
      </p:nvGrpSpPr>
      <p:grpSpPr>
        <a:xfrm>
          <a:off x="0" y="0"/>
          <a:ext cx="0" cy="0"/>
          <a:chOff x="0" y="0"/>
          <a:chExt cx="0" cy="0"/>
        </a:xfrm>
      </p:grpSpPr>
      <p:sp>
        <p:nvSpPr>
          <p:cNvPr id="7431" name="Google Shape;7431;g8f9b979809_0_1579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32" name="Google Shape;7432;g8f9b979809_0_157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69"/>
        <p:cNvGrpSpPr/>
        <p:nvPr/>
      </p:nvGrpSpPr>
      <p:grpSpPr>
        <a:xfrm>
          <a:off x="0" y="0"/>
          <a:ext cx="0" cy="0"/>
          <a:chOff x="0" y="0"/>
          <a:chExt cx="0" cy="0"/>
        </a:xfrm>
      </p:grpSpPr>
      <p:sp>
        <p:nvSpPr>
          <p:cNvPr id="7770" name="Google Shape;7770;g8f9b979809_0_1613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71" name="Google Shape;7771;g8f9b979809_0_16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57"/>
        <p:cNvGrpSpPr/>
        <p:nvPr/>
      </p:nvGrpSpPr>
      <p:grpSpPr>
        <a:xfrm>
          <a:off x="0" y="0"/>
          <a:ext cx="0" cy="0"/>
          <a:chOff x="0" y="0"/>
          <a:chExt cx="0" cy="0"/>
        </a:xfrm>
      </p:grpSpPr>
      <p:sp>
        <p:nvSpPr>
          <p:cNvPr id="7958" name="Google Shape;7958;g8f9b979809_0_1632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59" name="Google Shape;7959;g8f9b979809_0_1632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28"/>
        <p:cNvGrpSpPr/>
        <p:nvPr/>
      </p:nvGrpSpPr>
      <p:grpSpPr>
        <a:xfrm>
          <a:off x="0" y="0"/>
          <a:ext cx="0" cy="0"/>
          <a:chOff x="0" y="0"/>
          <a:chExt cx="0" cy="0"/>
        </a:xfrm>
      </p:grpSpPr>
      <p:sp>
        <p:nvSpPr>
          <p:cNvPr id="9829" name="Google Shape;9829;g5ee62ca137_2_939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30" name="Google Shape;9830;g5ee62ca137_2_939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31644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3</a:t>
            </a:fld>
            <a:endParaRPr lang="en-US"/>
          </a:p>
        </p:txBody>
      </p:sp>
    </p:spTree>
    <p:extLst>
      <p:ext uri="{BB962C8B-B14F-4D97-AF65-F5344CB8AC3E}">
        <p14:creationId xmlns:p14="http://schemas.microsoft.com/office/powerpoint/2010/main" val="2023898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4</a:t>
            </a:fld>
            <a:endParaRPr lang="en-US"/>
          </a:p>
        </p:txBody>
      </p:sp>
    </p:spTree>
    <p:extLst>
      <p:ext uri="{BB962C8B-B14F-4D97-AF65-F5344CB8AC3E}">
        <p14:creationId xmlns:p14="http://schemas.microsoft.com/office/powerpoint/2010/main" val="3405909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5</a:t>
            </a:fld>
            <a:endParaRPr lang="en-US"/>
          </a:p>
        </p:txBody>
      </p:sp>
    </p:spTree>
    <p:extLst>
      <p:ext uri="{BB962C8B-B14F-4D97-AF65-F5344CB8AC3E}">
        <p14:creationId xmlns:p14="http://schemas.microsoft.com/office/powerpoint/2010/main" val="1566667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6</a:t>
            </a:fld>
            <a:endParaRPr lang="en-US"/>
          </a:p>
        </p:txBody>
      </p:sp>
    </p:spTree>
    <p:extLst>
      <p:ext uri="{BB962C8B-B14F-4D97-AF65-F5344CB8AC3E}">
        <p14:creationId xmlns:p14="http://schemas.microsoft.com/office/powerpoint/2010/main" val="1542785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7</a:t>
            </a:fld>
            <a:endParaRPr lang="en-US"/>
          </a:p>
        </p:txBody>
      </p:sp>
    </p:spTree>
    <p:extLst>
      <p:ext uri="{BB962C8B-B14F-4D97-AF65-F5344CB8AC3E}">
        <p14:creationId xmlns:p14="http://schemas.microsoft.com/office/powerpoint/2010/main" val="1277626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8</a:t>
            </a:fld>
            <a:endParaRPr lang="en-US"/>
          </a:p>
        </p:txBody>
      </p:sp>
    </p:spTree>
    <p:extLst>
      <p:ext uri="{BB962C8B-B14F-4D97-AF65-F5344CB8AC3E}">
        <p14:creationId xmlns:p14="http://schemas.microsoft.com/office/powerpoint/2010/main" val="4159771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299A76-1D45-489B-B381-45DC2D2554EF}" type="slidenum">
              <a:rPr lang="en-US" smtClean="0"/>
              <a:t>9</a:t>
            </a:fld>
            <a:endParaRPr lang="en-US"/>
          </a:p>
        </p:txBody>
      </p:sp>
    </p:spTree>
    <p:extLst>
      <p:ext uri="{BB962C8B-B14F-4D97-AF65-F5344CB8AC3E}">
        <p14:creationId xmlns:p14="http://schemas.microsoft.com/office/powerpoint/2010/main" val="2043769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4C0E4-DB37-48E1-BD74-50C3B3E190AD}"/>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27254A7-42FC-4D9A-904F-27D5728E4B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27EC255-369B-44B5-9968-339892B81467}"/>
              </a:ext>
            </a:extLst>
          </p:cNvPr>
          <p:cNvSpPr>
            <a:spLocks noGrp="1"/>
          </p:cNvSpPr>
          <p:nvPr>
            <p:ph type="dt" sz="half" idx="10"/>
          </p:nvPr>
        </p:nvSpPr>
        <p:spPr>
          <a:xfrm>
            <a:off x="838200" y="6356350"/>
            <a:ext cx="2743200" cy="365125"/>
          </a:xfrm>
          <a:prstGeom prst="rect">
            <a:avLst/>
          </a:prstGeom>
        </p:spPr>
        <p:txBody>
          <a:bodyPr/>
          <a:lstStyle/>
          <a:p>
            <a:fld id="{C8DD7615-E0C9-4E18-A2C4-4A1B070EDDE5}" type="datetime1">
              <a:rPr lang="en-US" smtClean="0"/>
              <a:t>8/16/2020</a:t>
            </a:fld>
            <a:endParaRPr lang="en-US"/>
          </a:p>
        </p:txBody>
      </p:sp>
      <p:sp>
        <p:nvSpPr>
          <p:cNvPr id="5" name="Footer Placeholder 4">
            <a:extLst>
              <a:ext uri="{FF2B5EF4-FFF2-40B4-BE49-F238E27FC236}">
                <a16:creationId xmlns:a16="http://schemas.microsoft.com/office/drawing/2014/main" id="{E1DDE873-A7FC-4F89-AFFE-FB8E820AF98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76ECD4-D11D-463C-89A4-6E1ADC216D8F}"/>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6397620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1043D-2CB0-484B-9144-3C413A0D6B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4CEE5C-CB84-4693-84CE-64810F8742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63B2BD-FB25-41FC-A1CA-6F7D852423D4}"/>
              </a:ext>
            </a:extLst>
          </p:cNvPr>
          <p:cNvSpPr>
            <a:spLocks noGrp="1"/>
          </p:cNvSpPr>
          <p:nvPr>
            <p:ph type="dt" sz="half" idx="10"/>
          </p:nvPr>
        </p:nvSpPr>
        <p:spPr>
          <a:xfrm>
            <a:off x="838200" y="6356350"/>
            <a:ext cx="2743200" cy="365125"/>
          </a:xfrm>
          <a:prstGeom prst="rect">
            <a:avLst/>
          </a:prstGeom>
        </p:spPr>
        <p:txBody>
          <a:bodyPr/>
          <a:lstStyle/>
          <a:p>
            <a:fld id="{433918F2-0711-453B-AB79-051458DCE5DE}" type="datetime1">
              <a:rPr lang="en-US" smtClean="0"/>
              <a:t>8/16/2020</a:t>
            </a:fld>
            <a:endParaRPr lang="en-US"/>
          </a:p>
        </p:txBody>
      </p:sp>
      <p:sp>
        <p:nvSpPr>
          <p:cNvPr id="5" name="Footer Placeholder 4">
            <a:extLst>
              <a:ext uri="{FF2B5EF4-FFF2-40B4-BE49-F238E27FC236}">
                <a16:creationId xmlns:a16="http://schemas.microsoft.com/office/drawing/2014/main" id="{011D79BA-C81A-4C7D-BDD5-2611601FB69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C0F2CEE-EDDF-43C5-805A-F2AC9ACF960D}"/>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710971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70E6F2-D711-4442-896F-7E6697EC2C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9449C0-A5ED-4B7D-9813-86D4268DD6D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AB545D-9E6B-46D9-883F-E7EF36676FAA}"/>
              </a:ext>
            </a:extLst>
          </p:cNvPr>
          <p:cNvSpPr>
            <a:spLocks noGrp="1"/>
          </p:cNvSpPr>
          <p:nvPr>
            <p:ph type="dt" sz="half" idx="10"/>
          </p:nvPr>
        </p:nvSpPr>
        <p:spPr>
          <a:xfrm>
            <a:off x="838200" y="6356350"/>
            <a:ext cx="2743200" cy="365125"/>
          </a:xfrm>
          <a:prstGeom prst="rect">
            <a:avLst/>
          </a:prstGeom>
        </p:spPr>
        <p:txBody>
          <a:bodyPr/>
          <a:lstStyle/>
          <a:p>
            <a:fld id="{CB533A68-DE81-4FAB-A242-843199367FAF}" type="datetime1">
              <a:rPr lang="en-US" smtClean="0"/>
              <a:t>8/16/2020</a:t>
            </a:fld>
            <a:endParaRPr lang="en-US"/>
          </a:p>
        </p:txBody>
      </p:sp>
      <p:sp>
        <p:nvSpPr>
          <p:cNvPr id="5" name="Footer Placeholder 4">
            <a:extLst>
              <a:ext uri="{FF2B5EF4-FFF2-40B4-BE49-F238E27FC236}">
                <a16:creationId xmlns:a16="http://schemas.microsoft.com/office/drawing/2014/main" id="{F590ED54-A312-4EC4-96A9-1B673ED8D3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255BB82-9475-4F88-BC07-0C071DC05FAC}"/>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591856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slide" type="blank">
  <p:cSld name="Blank slide">
    <p:spTree>
      <p:nvGrpSpPr>
        <p:cNvPr id="1" name="Shape 464"/>
        <p:cNvGrpSpPr/>
        <p:nvPr/>
      </p:nvGrpSpPr>
      <p:grpSpPr>
        <a:xfrm>
          <a:off x="0" y="0"/>
          <a:ext cx="0" cy="0"/>
          <a:chOff x="0" y="0"/>
          <a:chExt cx="0" cy="0"/>
        </a:xfrm>
      </p:grpSpPr>
    </p:spTree>
    <p:extLst>
      <p:ext uri="{BB962C8B-B14F-4D97-AF65-F5344CB8AC3E}">
        <p14:creationId xmlns:p14="http://schemas.microsoft.com/office/powerpoint/2010/main" val="2643180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BFE0D-CC14-46DA-AB14-5F1C3E6EFA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5578B3-429F-4CDA-8D81-8FAC5693B0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C01118-C97A-4566-9A69-2ABC372335C9}"/>
              </a:ext>
            </a:extLst>
          </p:cNvPr>
          <p:cNvSpPr>
            <a:spLocks noGrp="1"/>
          </p:cNvSpPr>
          <p:nvPr>
            <p:ph type="dt" sz="half" idx="10"/>
          </p:nvPr>
        </p:nvSpPr>
        <p:spPr>
          <a:xfrm>
            <a:off x="838200" y="6356350"/>
            <a:ext cx="2743200" cy="365125"/>
          </a:xfrm>
          <a:prstGeom prst="rect">
            <a:avLst/>
          </a:prstGeom>
        </p:spPr>
        <p:txBody>
          <a:bodyPr/>
          <a:lstStyle/>
          <a:p>
            <a:fld id="{0DC001C5-7255-4FC7-B7FC-DF4A1E9D8673}" type="datetime1">
              <a:rPr lang="en-US" smtClean="0"/>
              <a:t>8/16/2020</a:t>
            </a:fld>
            <a:endParaRPr lang="en-US"/>
          </a:p>
        </p:txBody>
      </p:sp>
      <p:sp>
        <p:nvSpPr>
          <p:cNvPr id="5" name="Footer Placeholder 4">
            <a:extLst>
              <a:ext uri="{FF2B5EF4-FFF2-40B4-BE49-F238E27FC236}">
                <a16:creationId xmlns:a16="http://schemas.microsoft.com/office/drawing/2014/main" id="{2A1A8421-1462-4732-B2E9-495D517471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30E61DD-F651-433B-B27A-F47D010999B0}"/>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583393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F77F1-9CAD-481E-AC2C-B240B1E3F2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E931CD-0035-4382-BD54-039FA0048E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3AA8E0-1D50-42B7-B3D3-60E05F1F351C}"/>
              </a:ext>
            </a:extLst>
          </p:cNvPr>
          <p:cNvSpPr>
            <a:spLocks noGrp="1"/>
          </p:cNvSpPr>
          <p:nvPr>
            <p:ph type="dt" sz="half" idx="10"/>
          </p:nvPr>
        </p:nvSpPr>
        <p:spPr>
          <a:xfrm>
            <a:off x="838200" y="6356350"/>
            <a:ext cx="2743200" cy="365125"/>
          </a:xfrm>
          <a:prstGeom prst="rect">
            <a:avLst/>
          </a:prstGeom>
        </p:spPr>
        <p:txBody>
          <a:bodyPr/>
          <a:lstStyle/>
          <a:p>
            <a:fld id="{2A10CCFF-6790-43EC-BCC2-3258DD065AE9}" type="datetime1">
              <a:rPr lang="en-US" smtClean="0"/>
              <a:t>8/16/2020</a:t>
            </a:fld>
            <a:endParaRPr lang="en-US"/>
          </a:p>
        </p:txBody>
      </p:sp>
      <p:sp>
        <p:nvSpPr>
          <p:cNvPr id="5" name="Footer Placeholder 4">
            <a:extLst>
              <a:ext uri="{FF2B5EF4-FFF2-40B4-BE49-F238E27FC236}">
                <a16:creationId xmlns:a16="http://schemas.microsoft.com/office/drawing/2014/main" id="{94CCC33F-007D-4595-9719-75F99E47D22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8157E4F-C042-4A56-9F5B-C28A9D6F0C2E}"/>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124408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952DC-76EB-417F-A96E-70E6260743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B9FE0-5C44-479D-8F9D-85CCD4757C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C2E7B8-2000-45F6-A359-16301006C3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FA9F491-FC2F-4105-B70F-183D004BB511}"/>
              </a:ext>
            </a:extLst>
          </p:cNvPr>
          <p:cNvSpPr>
            <a:spLocks noGrp="1"/>
          </p:cNvSpPr>
          <p:nvPr>
            <p:ph type="dt" sz="half" idx="10"/>
          </p:nvPr>
        </p:nvSpPr>
        <p:spPr>
          <a:xfrm>
            <a:off x="838200" y="6356350"/>
            <a:ext cx="2743200" cy="365125"/>
          </a:xfrm>
          <a:prstGeom prst="rect">
            <a:avLst/>
          </a:prstGeom>
        </p:spPr>
        <p:txBody>
          <a:bodyPr/>
          <a:lstStyle/>
          <a:p>
            <a:fld id="{9AA45889-811D-4E32-9BD3-116F26347A01}" type="datetime1">
              <a:rPr lang="en-US" smtClean="0"/>
              <a:t>8/16/2020</a:t>
            </a:fld>
            <a:endParaRPr lang="en-US"/>
          </a:p>
        </p:txBody>
      </p:sp>
      <p:sp>
        <p:nvSpPr>
          <p:cNvPr id="6" name="Footer Placeholder 5">
            <a:extLst>
              <a:ext uri="{FF2B5EF4-FFF2-40B4-BE49-F238E27FC236}">
                <a16:creationId xmlns:a16="http://schemas.microsoft.com/office/drawing/2014/main" id="{EC7BFBA5-77CF-418C-88B7-4B32890DB14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FCEC94D-1BFC-443F-B17F-B94791A8035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023816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3FB6C-6AB4-4824-8849-97E62CB02DE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C7FF1B-345E-4F1E-A760-566DA7584FB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534FD3-1137-49A5-B717-33EB49DD9B7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BF0FC0-7942-4ACA-A62F-386584CB9B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ADEA9E5-1D42-43EF-8BC2-7683F28B79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ED6765D-5896-4DED-8261-99573A4ECF58}"/>
              </a:ext>
            </a:extLst>
          </p:cNvPr>
          <p:cNvSpPr>
            <a:spLocks noGrp="1"/>
          </p:cNvSpPr>
          <p:nvPr>
            <p:ph type="dt" sz="half" idx="10"/>
          </p:nvPr>
        </p:nvSpPr>
        <p:spPr>
          <a:xfrm>
            <a:off x="838200" y="6356350"/>
            <a:ext cx="2743200" cy="365125"/>
          </a:xfrm>
          <a:prstGeom prst="rect">
            <a:avLst/>
          </a:prstGeom>
        </p:spPr>
        <p:txBody>
          <a:bodyPr/>
          <a:lstStyle/>
          <a:p>
            <a:fld id="{4DE1C93B-29E8-43DE-B83B-CAD349A2A5E7}" type="datetime1">
              <a:rPr lang="en-US" smtClean="0"/>
              <a:t>8/16/2020</a:t>
            </a:fld>
            <a:endParaRPr lang="en-US"/>
          </a:p>
        </p:txBody>
      </p:sp>
      <p:sp>
        <p:nvSpPr>
          <p:cNvPr id="8" name="Footer Placeholder 7">
            <a:extLst>
              <a:ext uri="{FF2B5EF4-FFF2-40B4-BE49-F238E27FC236}">
                <a16:creationId xmlns:a16="http://schemas.microsoft.com/office/drawing/2014/main" id="{563105B8-255A-41CE-8F3A-A9C2C445170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A28F1A2-F06B-4C28-8046-01A0EFE9E423}"/>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973249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6497C-E908-4957-9ED6-ED66C48EB3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3D4CAF0-6E97-45F7-9366-5E7B449EDCFB}"/>
              </a:ext>
            </a:extLst>
          </p:cNvPr>
          <p:cNvSpPr>
            <a:spLocks noGrp="1"/>
          </p:cNvSpPr>
          <p:nvPr>
            <p:ph type="dt" sz="half" idx="10"/>
          </p:nvPr>
        </p:nvSpPr>
        <p:spPr>
          <a:xfrm>
            <a:off x="838200" y="6356350"/>
            <a:ext cx="2743200" cy="365125"/>
          </a:xfrm>
          <a:prstGeom prst="rect">
            <a:avLst/>
          </a:prstGeom>
        </p:spPr>
        <p:txBody>
          <a:bodyPr/>
          <a:lstStyle/>
          <a:p>
            <a:fld id="{4E4BB598-6D0E-4C06-917A-9B0293215A76}" type="datetime1">
              <a:rPr lang="en-US" smtClean="0"/>
              <a:t>8/16/2020</a:t>
            </a:fld>
            <a:endParaRPr lang="en-US"/>
          </a:p>
        </p:txBody>
      </p:sp>
      <p:sp>
        <p:nvSpPr>
          <p:cNvPr id="4" name="Footer Placeholder 3">
            <a:extLst>
              <a:ext uri="{FF2B5EF4-FFF2-40B4-BE49-F238E27FC236}">
                <a16:creationId xmlns:a16="http://schemas.microsoft.com/office/drawing/2014/main" id="{B164893D-2A3B-4568-A3C8-D85043C1D9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E1F2E67-A61C-4DF7-B50D-39D66BA2FEE0}"/>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6915285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C4DC57D-C0C1-4FEC-89D3-5DE0A71DA991}"/>
              </a:ext>
            </a:extLst>
          </p:cNvPr>
          <p:cNvSpPr>
            <a:spLocks noGrp="1"/>
          </p:cNvSpPr>
          <p:nvPr>
            <p:ph type="dt" sz="half" idx="10"/>
          </p:nvPr>
        </p:nvSpPr>
        <p:spPr>
          <a:xfrm>
            <a:off x="838200" y="6356350"/>
            <a:ext cx="2743200" cy="365125"/>
          </a:xfrm>
          <a:prstGeom prst="rect">
            <a:avLst/>
          </a:prstGeom>
        </p:spPr>
        <p:txBody>
          <a:bodyPr/>
          <a:lstStyle/>
          <a:p>
            <a:fld id="{588911C9-554B-44C6-AD16-EB8CEF9CC95D}" type="datetime1">
              <a:rPr lang="en-US" smtClean="0"/>
              <a:t>8/16/2020</a:t>
            </a:fld>
            <a:endParaRPr lang="en-US"/>
          </a:p>
        </p:txBody>
      </p:sp>
      <p:sp>
        <p:nvSpPr>
          <p:cNvPr id="3" name="Footer Placeholder 2">
            <a:extLst>
              <a:ext uri="{FF2B5EF4-FFF2-40B4-BE49-F238E27FC236}">
                <a16:creationId xmlns:a16="http://schemas.microsoft.com/office/drawing/2014/main" id="{B0D46466-8738-4099-B890-5A5ECEB20C6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EED2262-5764-47F7-A1F8-489CB95B297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255922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6741E-77A2-435A-A1F2-77B94AF844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DD247E9-A94C-4022-8A42-72286D0CA9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319704-D222-458C-A5A6-8F7A2DF68A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FC141C-0BC9-4498-AC06-DB37C2A6C686}"/>
              </a:ext>
            </a:extLst>
          </p:cNvPr>
          <p:cNvSpPr>
            <a:spLocks noGrp="1"/>
          </p:cNvSpPr>
          <p:nvPr>
            <p:ph type="dt" sz="half" idx="10"/>
          </p:nvPr>
        </p:nvSpPr>
        <p:spPr>
          <a:xfrm>
            <a:off x="838200" y="6356350"/>
            <a:ext cx="2743200" cy="365125"/>
          </a:xfrm>
          <a:prstGeom prst="rect">
            <a:avLst/>
          </a:prstGeom>
        </p:spPr>
        <p:txBody>
          <a:bodyPr/>
          <a:lstStyle/>
          <a:p>
            <a:fld id="{16010B52-04BB-4CA7-B7F1-C67FE0D1AA4E}" type="datetime1">
              <a:rPr lang="en-US" smtClean="0"/>
              <a:t>8/16/2020</a:t>
            </a:fld>
            <a:endParaRPr lang="en-US"/>
          </a:p>
        </p:txBody>
      </p:sp>
      <p:sp>
        <p:nvSpPr>
          <p:cNvPr id="6" name="Footer Placeholder 5">
            <a:extLst>
              <a:ext uri="{FF2B5EF4-FFF2-40B4-BE49-F238E27FC236}">
                <a16:creationId xmlns:a16="http://schemas.microsoft.com/office/drawing/2014/main" id="{9B078992-5FF2-4D7C-B2E5-25ED91FFDE3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5448CDF-CD83-4954-8227-9F00DC5911D1}"/>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36491954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6D981-3E1E-41CE-A013-53089FCA1D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ECAF7A9-CE6C-4DC1-83A1-B28124AC32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9D6002C-24C6-4C38-ADC9-7EE635B70C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2337AA-ED1A-4F39-9891-8AFD78C94D88}"/>
              </a:ext>
            </a:extLst>
          </p:cNvPr>
          <p:cNvSpPr>
            <a:spLocks noGrp="1"/>
          </p:cNvSpPr>
          <p:nvPr>
            <p:ph type="dt" sz="half" idx="10"/>
          </p:nvPr>
        </p:nvSpPr>
        <p:spPr>
          <a:xfrm>
            <a:off x="838200" y="6356350"/>
            <a:ext cx="2743200" cy="365125"/>
          </a:xfrm>
          <a:prstGeom prst="rect">
            <a:avLst/>
          </a:prstGeom>
        </p:spPr>
        <p:txBody>
          <a:bodyPr/>
          <a:lstStyle/>
          <a:p>
            <a:fld id="{FF661286-B79F-463A-BDFF-4F5F5709F1CB}" type="datetime1">
              <a:rPr lang="en-US" smtClean="0"/>
              <a:t>8/16/2020</a:t>
            </a:fld>
            <a:endParaRPr lang="en-US"/>
          </a:p>
        </p:txBody>
      </p:sp>
      <p:sp>
        <p:nvSpPr>
          <p:cNvPr id="6" name="Footer Placeholder 5">
            <a:extLst>
              <a:ext uri="{FF2B5EF4-FFF2-40B4-BE49-F238E27FC236}">
                <a16:creationId xmlns:a16="http://schemas.microsoft.com/office/drawing/2014/main" id="{926C8917-5AD7-403A-B947-06F6018F25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70E1011-D250-497B-BCF1-CFC28546D729}"/>
              </a:ext>
            </a:extLst>
          </p:cNvPr>
          <p:cNvSpPr>
            <a:spLocks noGrp="1"/>
          </p:cNvSpPr>
          <p:nvPr>
            <p:ph type="sldNum" sz="quarter" idx="12"/>
          </p:nvPr>
        </p:nvSpPr>
        <p:spPr/>
        <p:txBody>
          <a:bodyPr/>
          <a:lstStyle/>
          <a:p>
            <a:fld id="{89CD6E39-4852-418B-BA35-BEEEB494AB9E}" type="slidenum">
              <a:rPr lang="en-US" smtClean="0"/>
              <a:t>‹#›</a:t>
            </a:fld>
            <a:endParaRPr lang="en-US"/>
          </a:p>
        </p:txBody>
      </p:sp>
    </p:spTree>
    <p:extLst>
      <p:ext uri="{BB962C8B-B14F-4D97-AF65-F5344CB8AC3E}">
        <p14:creationId xmlns:p14="http://schemas.microsoft.com/office/powerpoint/2010/main" val="1152782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6F2B6D-7695-492C-8B3E-8B0A763BEEC5}"/>
              </a:ext>
            </a:extLst>
          </p:cNvPr>
          <p:cNvGraphicFramePr>
            <a:graphicFrameLocks noChangeAspect="1"/>
          </p:cNvGraphicFramePr>
          <p:nvPr userDrawn="1">
            <p:custDataLst>
              <p:tags r:id="rId14"/>
            </p:custDataLst>
            <p:extLst>
              <p:ext uri="{D42A27DB-BD31-4B8C-83A1-F6EECF244321}">
                <p14:modId xmlns:p14="http://schemas.microsoft.com/office/powerpoint/2010/main" val="3278832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FED7291-A198-47D8-8A2D-94D6F27E6D5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Arial Black" panose="020B0A04020102020204" pitchFamily="34" charset="0"/>
              <a:ea typeface="+mj-ea"/>
              <a:cs typeface="+mj-cs"/>
              <a:sym typeface="Arial Black" panose="020B0A04020102020204" pitchFamily="34" charset="0"/>
            </a:endParaRPr>
          </a:p>
        </p:txBody>
      </p:sp>
      <p:sp>
        <p:nvSpPr>
          <p:cNvPr id="9" name="Rectangle: Rounded Corners 8">
            <a:extLst>
              <a:ext uri="{FF2B5EF4-FFF2-40B4-BE49-F238E27FC236}">
                <a16:creationId xmlns:a16="http://schemas.microsoft.com/office/drawing/2014/main" id="{BCB40A58-7472-4C04-ADBA-585309315BEA}"/>
              </a:ext>
            </a:extLst>
          </p:cNvPr>
          <p:cNvSpPr/>
          <p:nvPr userDrawn="1"/>
        </p:nvSpPr>
        <p:spPr>
          <a:xfrm>
            <a:off x="11353800" y="6454416"/>
            <a:ext cx="388256" cy="162642"/>
          </a:xfrm>
          <a:prstGeom prst="roundRect">
            <a:avLst>
              <a:gd name="adj" fmla="val 50000"/>
            </a:avLst>
          </a:prstGeom>
          <a:solidFill>
            <a:srgbClr val="007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07F83416-4BE0-49D0-8A1E-AFA9ABEEF94A}"/>
              </a:ext>
            </a:extLst>
          </p:cNvPr>
          <p:cNvSpPr>
            <a:spLocks noGrp="1"/>
          </p:cNvSpPr>
          <p:nvPr>
            <p:ph type="title"/>
          </p:nvPr>
        </p:nvSpPr>
        <p:spPr>
          <a:xfrm>
            <a:off x="507999" y="365125"/>
            <a:ext cx="11234057" cy="9556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A967F01-1958-4B99-825B-2DDDEA3E876B}"/>
              </a:ext>
            </a:extLst>
          </p:cNvPr>
          <p:cNvSpPr>
            <a:spLocks noGrp="1"/>
          </p:cNvSpPr>
          <p:nvPr>
            <p:ph type="body" idx="1"/>
          </p:nvPr>
        </p:nvSpPr>
        <p:spPr>
          <a:xfrm>
            <a:off x="507999" y="1465943"/>
            <a:ext cx="11234057" cy="471102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C38DD61-540A-41B8-91A6-126351087DEE}"/>
              </a:ext>
            </a:extLst>
          </p:cNvPr>
          <p:cNvSpPr>
            <a:spLocks noGrp="1"/>
          </p:cNvSpPr>
          <p:nvPr>
            <p:ph type="sldNum" sz="quarter" idx="4"/>
          </p:nvPr>
        </p:nvSpPr>
        <p:spPr>
          <a:xfrm>
            <a:off x="11347532" y="6480742"/>
            <a:ext cx="394524" cy="116341"/>
          </a:xfrm>
          <a:prstGeom prst="roundRect">
            <a:avLst>
              <a:gd name="adj" fmla="val 50000"/>
            </a:avLst>
          </a:prstGeom>
        </p:spPr>
        <p:txBody>
          <a:bodyPr vert="horz" lIns="0" tIns="0" rIns="0" bIns="0" rtlCol="0" anchor="ctr"/>
          <a:lstStyle>
            <a:lvl1pPr algn="ctr">
              <a:defRPr sz="1000" b="1">
                <a:solidFill>
                  <a:schemeClr val="bg1"/>
                </a:solidFill>
              </a:defRPr>
            </a:lvl1pPr>
          </a:lstStyle>
          <a:p>
            <a:fld id="{89CD6E39-4852-418B-BA35-BEEEB494AB9E}" type="slidenum">
              <a:rPr lang="en-US" smtClean="0"/>
              <a:pPr/>
              <a:t>‹#›</a:t>
            </a:fld>
            <a:endParaRPr lang="en-US" dirty="0"/>
          </a:p>
        </p:txBody>
      </p:sp>
    </p:spTree>
    <p:extLst>
      <p:ext uri="{BB962C8B-B14F-4D97-AF65-F5344CB8AC3E}">
        <p14:creationId xmlns:p14="http://schemas.microsoft.com/office/powerpoint/2010/main" val="18561825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Black" panose="020B0A040201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461"/>
        <p:cNvGrpSpPr/>
        <p:nvPr/>
      </p:nvGrpSpPr>
      <p:grpSpPr>
        <a:xfrm>
          <a:off x="0" y="0"/>
          <a:ext cx="0" cy="0"/>
          <a:chOff x="0" y="0"/>
          <a:chExt cx="0" cy="0"/>
        </a:xfrm>
      </p:grpSpPr>
      <p:sp>
        <p:nvSpPr>
          <p:cNvPr id="462" name="Google Shape;462;p31"/>
          <p:cNvSpPr txBox="1">
            <a:spLocks noGrp="1"/>
          </p:cNvSpPr>
          <p:nvPr>
            <p:ph type="title"/>
          </p:nvPr>
        </p:nvSpPr>
        <p:spPr>
          <a:xfrm>
            <a:off x="1424133" y="1244600"/>
            <a:ext cx="9396400" cy="643200"/>
          </a:xfrm>
          <a:prstGeom prst="rect">
            <a:avLst/>
          </a:prstGeom>
          <a:noFill/>
          <a:ln>
            <a:noFill/>
          </a:ln>
        </p:spPr>
        <p:txBody>
          <a:bodyPr spcFirstLastPara="1" wrap="square" lIns="91425" tIns="91425" rIns="91425" bIns="91425" anchor="t" anchorCtr="0">
            <a:noAutofit/>
          </a:bodyPr>
          <a:lstStyle>
            <a:lvl1pPr lvl="0"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1pPr>
            <a:lvl2pPr lvl="1"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2pPr>
            <a:lvl3pPr lvl="2"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3pPr>
            <a:lvl4pPr lvl="3"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4pPr>
            <a:lvl5pPr lvl="4"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5pPr>
            <a:lvl6pPr lvl="5"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6pPr>
            <a:lvl7pPr lvl="6"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7pPr>
            <a:lvl8pPr lvl="7"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8pPr>
            <a:lvl9pPr lvl="8" algn="ctr" rtl="0">
              <a:spcBef>
                <a:spcPts val="0"/>
              </a:spcBef>
              <a:spcAft>
                <a:spcPts val="0"/>
              </a:spcAft>
              <a:buClr>
                <a:srgbClr val="FFFFFF"/>
              </a:buClr>
              <a:buSzPts val="2400"/>
              <a:buFont typeface="Proxima Nova Semibold"/>
              <a:buNone/>
              <a:defRPr sz="2400">
                <a:solidFill>
                  <a:srgbClr val="FFFFFF"/>
                </a:solidFill>
                <a:latin typeface="Proxima Nova Semibold"/>
                <a:ea typeface="Proxima Nova Semibold"/>
                <a:cs typeface="Proxima Nova Semibold"/>
                <a:sym typeface="Proxima Nova Semibold"/>
              </a:defRPr>
            </a:lvl9pPr>
          </a:lstStyle>
          <a:p>
            <a:endParaRPr/>
          </a:p>
        </p:txBody>
      </p:sp>
      <p:sp>
        <p:nvSpPr>
          <p:cNvPr id="463" name="Google Shape;463;p31"/>
          <p:cNvSpPr txBox="1">
            <a:spLocks noGrp="1"/>
          </p:cNvSpPr>
          <p:nvPr>
            <p:ph type="body" idx="1"/>
          </p:nvPr>
        </p:nvSpPr>
        <p:spPr>
          <a:xfrm>
            <a:off x="1424133" y="2260600"/>
            <a:ext cx="9396400" cy="3336000"/>
          </a:xfrm>
          <a:prstGeom prst="rect">
            <a:avLst/>
          </a:prstGeom>
          <a:noFill/>
          <a:ln>
            <a:noFill/>
          </a:ln>
        </p:spPr>
        <p:txBody>
          <a:bodyPr spcFirstLastPara="1" wrap="square" lIns="91425" tIns="91425" rIns="91425" bIns="91425" anchor="t" anchorCtr="0">
            <a:noAutofit/>
          </a:bodyPr>
          <a:lstStyle>
            <a:lvl1pPr marL="457200" lvl="0"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1pPr>
            <a:lvl2pPr marL="914400" lvl="1"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2pPr>
            <a:lvl3pPr marL="1371600" lvl="2"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3pPr>
            <a:lvl4pPr marL="1828800" lvl="3"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4pPr>
            <a:lvl5pPr marL="2286000" lvl="4"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5pPr>
            <a:lvl6pPr marL="2743200" lvl="5"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6pPr>
            <a:lvl7pPr marL="3200400" lvl="6"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7pPr>
            <a:lvl8pPr marL="3657600" lvl="7"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8pPr>
            <a:lvl9pPr marL="4114800" lvl="8" indent="-298450" rtl="0">
              <a:lnSpc>
                <a:spcPct val="115000"/>
              </a:lnSpc>
              <a:spcBef>
                <a:spcPts val="0"/>
              </a:spcBef>
              <a:spcAft>
                <a:spcPts val="0"/>
              </a:spcAft>
              <a:buClr>
                <a:srgbClr val="435D74"/>
              </a:buClr>
              <a:buSzPts val="1100"/>
              <a:buFont typeface="Proxima Nova"/>
              <a:buChar char="■"/>
              <a:defRPr sz="1100">
                <a:solidFill>
                  <a:srgbClr val="435D74"/>
                </a:solidFill>
                <a:latin typeface="Proxima Nova"/>
                <a:ea typeface="Proxima Nova"/>
                <a:cs typeface="Proxima Nova"/>
                <a:sym typeface="Proxima Nova"/>
              </a:defRPr>
            </a:lvl9pPr>
          </a:lstStyle>
          <a:p>
            <a:endParaRPr/>
          </a:p>
        </p:txBody>
      </p:sp>
    </p:spTree>
    <p:extLst>
      <p:ext uri="{BB962C8B-B14F-4D97-AF65-F5344CB8AC3E}">
        <p14:creationId xmlns:p14="http://schemas.microsoft.com/office/powerpoint/2010/main" val="3759363611"/>
      </p:ext>
    </p:extLst>
  </p:cSld>
  <p:clrMap bg1="lt1" tx1="dk1" bg2="dk2" tx2="lt2" accent1="accent1" accent2="accent2" accent3="accent3" accent4="accent4" accent5="accent5" accent6="accent6" hlink="hlink" folHlink="folHlink"/>
  <p:sldLayoutIdLst>
    <p:sldLayoutId id="214748366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hyperlink" Target="https://www.greatppt.com/"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63B3CB-E83B-45B3-855D-583180F7C328}"/>
              </a:ext>
            </a:extLst>
          </p:cNvPr>
          <p:cNvGraphicFramePr>
            <a:graphicFrameLocks noChangeAspect="1"/>
          </p:cNvGraphicFramePr>
          <p:nvPr>
            <p:custDataLst>
              <p:tags r:id="rId2"/>
            </p:custDataLst>
            <p:extLst>
              <p:ext uri="{D42A27DB-BD31-4B8C-83A1-F6EECF244321}">
                <p14:modId xmlns:p14="http://schemas.microsoft.com/office/powerpoint/2010/main" val="18435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12" name="Graphic 1">
            <a:extLst>
              <a:ext uri="{FF2B5EF4-FFF2-40B4-BE49-F238E27FC236}">
                <a16:creationId xmlns:a16="http://schemas.microsoft.com/office/drawing/2014/main" id="{DA2C6802-34B1-49C2-8ACE-C3E7025AC6C3}"/>
              </a:ext>
            </a:extLst>
          </p:cNvPr>
          <p:cNvSpPr/>
          <p:nvPr/>
        </p:nvSpPr>
        <p:spPr>
          <a:xfrm>
            <a:off x="2401108" y="0"/>
            <a:ext cx="9263195" cy="6873020"/>
          </a:xfrm>
          <a:custGeom>
            <a:avLst/>
            <a:gdLst>
              <a:gd name="connsiteX0" fmla="*/ 4284345 w 4276725"/>
              <a:gd name="connsiteY0" fmla="*/ 0 h 3800475"/>
              <a:gd name="connsiteX1" fmla="*/ 4284345 w 4276725"/>
              <a:gd name="connsiteY1" fmla="*/ 3802380 h 3800475"/>
              <a:gd name="connsiteX2" fmla="*/ 0 w 4276725"/>
              <a:gd name="connsiteY2" fmla="*/ 3802380 h 3800475"/>
              <a:gd name="connsiteX3" fmla="*/ 681990 w 4276725"/>
              <a:gd name="connsiteY3" fmla="*/ 3081338 h 3800475"/>
              <a:gd name="connsiteX4" fmla="*/ 1017270 w 4276725"/>
              <a:gd name="connsiteY4" fmla="*/ 2989898 h 3800475"/>
              <a:gd name="connsiteX5" fmla="*/ 1293495 w 4276725"/>
              <a:gd name="connsiteY5" fmla="*/ 2791778 h 3800475"/>
              <a:gd name="connsiteX6" fmla="*/ 1277303 w 4276725"/>
              <a:gd name="connsiteY6" fmla="*/ 2306003 h 3800475"/>
              <a:gd name="connsiteX7" fmla="*/ 1073468 w 4276725"/>
              <a:gd name="connsiteY7" fmla="*/ 1844993 h 3800475"/>
              <a:gd name="connsiteX8" fmla="*/ 1226820 w 4276725"/>
              <a:gd name="connsiteY8" fmla="*/ 1402080 h 3800475"/>
              <a:gd name="connsiteX9" fmla="*/ 1595438 w 4276725"/>
              <a:gd name="connsiteY9" fmla="*/ 1284923 h 3800475"/>
              <a:gd name="connsiteX10" fmla="*/ 1679258 w 4276725"/>
              <a:gd name="connsiteY10" fmla="*/ 1001078 h 3800475"/>
              <a:gd name="connsiteX11" fmla="*/ 1604010 w 4276725"/>
              <a:gd name="connsiteY11" fmla="*/ 701040 h 3800475"/>
              <a:gd name="connsiteX12" fmla="*/ 1735455 w 4276725"/>
              <a:gd name="connsiteY12" fmla="*/ 134303 h 3800475"/>
              <a:gd name="connsiteX13" fmla="*/ 1868805 w 4276725"/>
              <a:gd name="connsiteY13" fmla="*/ 0 h 3800475"/>
              <a:gd name="connsiteX14" fmla="*/ 4284345 w 4276725"/>
              <a:gd name="connsiteY14" fmla="*/ 0 h 38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725" h="3800475">
                <a:moveTo>
                  <a:pt x="4284345" y="0"/>
                </a:moveTo>
                <a:lnTo>
                  <a:pt x="4284345" y="3802380"/>
                </a:lnTo>
                <a:lnTo>
                  <a:pt x="0" y="3802380"/>
                </a:lnTo>
                <a:cubicBezTo>
                  <a:pt x="96203" y="3472815"/>
                  <a:pt x="354330" y="3188970"/>
                  <a:pt x="681990" y="3081338"/>
                </a:cubicBezTo>
                <a:cubicBezTo>
                  <a:pt x="792480" y="3045143"/>
                  <a:pt x="907733" y="3027998"/>
                  <a:pt x="1017270" y="2989898"/>
                </a:cubicBezTo>
                <a:cubicBezTo>
                  <a:pt x="1126808" y="2952750"/>
                  <a:pt x="1234440" y="2890838"/>
                  <a:pt x="1293495" y="2791778"/>
                </a:cubicBezTo>
                <a:cubicBezTo>
                  <a:pt x="1380173" y="2646998"/>
                  <a:pt x="1344930" y="2460308"/>
                  <a:pt x="1277303" y="2306003"/>
                </a:cubicBezTo>
                <a:cubicBezTo>
                  <a:pt x="1209675" y="2151698"/>
                  <a:pt x="1111568" y="2008823"/>
                  <a:pt x="1073468" y="1844993"/>
                </a:cubicBezTo>
                <a:cubicBezTo>
                  <a:pt x="1035368" y="1681163"/>
                  <a:pt x="1077278" y="1480185"/>
                  <a:pt x="1226820" y="1402080"/>
                </a:cubicBezTo>
                <a:cubicBezTo>
                  <a:pt x="1342073" y="1342073"/>
                  <a:pt x="1495425" y="1367790"/>
                  <a:pt x="1595438" y="1284923"/>
                </a:cubicBezTo>
                <a:cubicBezTo>
                  <a:pt x="1674495" y="1219200"/>
                  <a:pt x="1693545" y="1102995"/>
                  <a:pt x="1679258" y="1001078"/>
                </a:cubicBezTo>
                <a:cubicBezTo>
                  <a:pt x="1664970" y="899160"/>
                  <a:pt x="1624013" y="802958"/>
                  <a:pt x="1604010" y="701040"/>
                </a:cubicBezTo>
                <a:cubicBezTo>
                  <a:pt x="1565910" y="504825"/>
                  <a:pt x="1614488" y="293370"/>
                  <a:pt x="1735455" y="134303"/>
                </a:cubicBezTo>
                <a:cubicBezTo>
                  <a:pt x="1773555" y="83820"/>
                  <a:pt x="1819275" y="38100"/>
                  <a:pt x="1868805" y="0"/>
                </a:cubicBezTo>
                <a:lnTo>
                  <a:pt x="4284345" y="0"/>
                </a:lnTo>
                <a:close/>
              </a:path>
            </a:pathLst>
          </a:custGeom>
          <a:solidFill>
            <a:schemeClr val="bg1">
              <a:lumMod val="95000"/>
            </a:schemeClr>
          </a:solidFill>
          <a:ln w="9525" cap="flat">
            <a:noFill/>
            <a:prstDash val="solid"/>
            <a:miter/>
          </a:ln>
        </p:spPr>
        <p:txBody>
          <a:bodyPr rtlCol="0" anchor="ctr"/>
          <a:lstStyle/>
          <a:p>
            <a:endParaRPr lang="en-ID"/>
          </a:p>
        </p:txBody>
      </p:sp>
      <p:sp>
        <p:nvSpPr>
          <p:cNvPr id="711" name="Graphic 1">
            <a:extLst>
              <a:ext uri="{FF2B5EF4-FFF2-40B4-BE49-F238E27FC236}">
                <a16:creationId xmlns:a16="http://schemas.microsoft.com/office/drawing/2014/main" id="{797D97F6-388A-4C27-82A3-62B33A433E7D}"/>
              </a:ext>
            </a:extLst>
          </p:cNvPr>
          <p:cNvSpPr/>
          <p:nvPr/>
        </p:nvSpPr>
        <p:spPr>
          <a:xfrm>
            <a:off x="2618822" y="0"/>
            <a:ext cx="9558646" cy="6873020"/>
          </a:xfrm>
          <a:custGeom>
            <a:avLst/>
            <a:gdLst>
              <a:gd name="connsiteX0" fmla="*/ 4284345 w 4276725"/>
              <a:gd name="connsiteY0" fmla="*/ 0 h 3800475"/>
              <a:gd name="connsiteX1" fmla="*/ 4284345 w 4276725"/>
              <a:gd name="connsiteY1" fmla="*/ 3802380 h 3800475"/>
              <a:gd name="connsiteX2" fmla="*/ 0 w 4276725"/>
              <a:gd name="connsiteY2" fmla="*/ 3802380 h 3800475"/>
              <a:gd name="connsiteX3" fmla="*/ 681990 w 4276725"/>
              <a:gd name="connsiteY3" fmla="*/ 3081338 h 3800475"/>
              <a:gd name="connsiteX4" fmla="*/ 1017270 w 4276725"/>
              <a:gd name="connsiteY4" fmla="*/ 2989898 h 3800475"/>
              <a:gd name="connsiteX5" fmla="*/ 1293495 w 4276725"/>
              <a:gd name="connsiteY5" fmla="*/ 2791778 h 3800475"/>
              <a:gd name="connsiteX6" fmla="*/ 1277303 w 4276725"/>
              <a:gd name="connsiteY6" fmla="*/ 2306003 h 3800475"/>
              <a:gd name="connsiteX7" fmla="*/ 1073468 w 4276725"/>
              <a:gd name="connsiteY7" fmla="*/ 1844993 h 3800475"/>
              <a:gd name="connsiteX8" fmla="*/ 1226820 w 4276725"/>
              <a:gd name="connsiteY8" fmla="*/ 1402080 h 3800475"/>
              <a:gd name="connsiteX9" fmla="*/ 1595438 w 4276725"/>
              <a:gd name="connsiteY9" fmla="*/ 1284923 h 3800475"/>
              <a:gd name="connsiteX10" fmla="*/ 1679258 w 4276725"/>
              <a:gd name="connsiteY10" fmla="*/ 1001078 h 3800475"/>
              <a:gd name="connsiteX11" fmla="*/ 1604010 w 4276725"/>
              <a:gd name="connsiteY11" fmla="*/ 701040 h 3800475"/>
              <a:gd name="connsiteX12" fmla="*/ 1735455 w 4276725"/>
              <a:gd name="connsiteY12" fmla="*/ 134303 h 3800475"/>
              <a:gd name="connsiteX13" fmla="*/ 1868805 w 4276725"/>
              <a:gd name="connsiteY13" fmla="*/ 0 h 3800475"/>
              <a:gd name="connsiteX14" fmla="*/ 4284345 w 4276725"/>
              <a:gd name="connsiteY14" fmla="*/ 0 h 380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6725" h="3800475">
                <a:moveTo>
                  <a:pt x="4284345" y="0"/>
                </a:moveTo>
                <a:lnTo>
                  <a:pt x="4284345" y="3802380"/>
                </a:lnTo>
                <a:lnTo>
                  <a:pt x="0" y="3802380"/>
                </a:lnTo>
                <a:cubicBezTo>
                  <a:pt x="96203" y="3472815"/>
                  <a:pt x="354330" y="3188970"/>
                  <a:pt x="681990" y="3081338"/>
                </a:cubicBezTo>
                <a:cubicBezTo>
                  <a:pt x="792480" y="3045143"/>
                  <a:pt x="907733" y="3027998"/>
                  <a:pt x="1017270" y="2989898"/>
                </a:cubicBezTo>
                <a:cubicBezTo>
                  <a:pt x="1126808" y="2952750"/>
                  <a:pt x="1234440" y="2890838"/>
                  <a:pt x="1293495" y="2791778"/>
                </a:cubicBezTo>
                <a:cubicBezTo>
                  <a:pt x="1380173" y="2646998"/>
                  <a:pt x="1344930" y="2460308"/>
                  <a:pt x="1277303" y="2306003"/>
                </a:cubicBezTo>
                <a:cubicBezTo>
                  <a:pt x="1209675" y="2151698"/>
                  <a:pt x="1111568" y="2008823"/>
                  <a:pt x="1073468" y="1844993"/>
                </a:cubicBezTo>
                <a:cubicBezTo>
                  <a:pt x="1035368" y="1681163"/>
                  <a:pt x="1077278" y="1480185"/>
                  <a:pt x="1226820" y="1402080"/>
                </a:cubicBezTo>
                <a:cubicBezTo>
                  <a:pt x="1342073" y="1342073"/>
                  <a:pt x="1495425" y="1367790"/>
                  <a:pt x="1595438" y="1284923"/>
                </a:cubicBezTo>
                <a:cubicBezTo>
                  <a:pt x="1674495" y="1219200"/>
                  <a:pt x="1693545" y="1102995"/>
                  <a:pt x="1679258" y="1001078"/>
                </a:cubicBezTo>
                <a:cubicBezTo>
                  <a:pt x="1664970" y="899160"/>
                  <a:pt x="1624013" y="802958"/>
                  <a:pt x="1604010" y="701040"/>
                </a:cubicBezTo>
                <a:cubicBezTo>
                  <a:pt x="1565910" y="504825"/>
                  <a:pt x="1614488" y="293370"/>
                  <a:pt x="1735455" y="134303"/>
                </a:cubicBezTo>
                <a:cubicBezTo>
                  <a:pt x="1773555" y="83820"/>
                  <a:pt x="1819275" y="38100"/>
                  <a:pt x="1868805" y="0"/>
                </a:cubicBezTo>
                <a:lnTo>
                  <a:pt x="4284345" y="0"/>
                </a:lnTo>
                <a:close/>
              </a:path>
            </a:pathLst>
          </a:custGeom>
          <a:gradFill>
            <a:gsLst>
              <a:gs pos="100000">
                <a:srgbClr val="006496"/>
              </a:gs>
              <a:gs pos="0">
                <a:srgbClr val="0077B5"/>
              </a:gs>
            </a:gsLst>
            <a:lin ang="5400000" scaled="1"/>
          </a:gradFill>
          <a:ln w="9525" cap="flat">
            <a:noFill/>
            <a:prstDash val="solid"/>
            <a:miter/>
          </a:ln>
          <a:effectLst>
            <a:innerShdw blurRad="63500" dist="50800" dir="13500000">
              <a:prstClr val="black">
                <a:alpha val="20000"/>
              </a:prstClr>
            </a:innerShdw>
          </a:effectLst>
        </p:spPr>
        <p:txBody>
          <a:bodyPr rtlCol="0" anchor="ctr"/>
          <a:lstStyle/>
          <a:p>
            <a:endParaRPr lang="en-ID"/>
          </a:p>
        </p:txBody>
      </p:sp>
      <p:grpSp>
        <p:nvGrpSpPr>
          <p:cNvPr id="6" name="Group 4">
            <a:extLst>
              <a:ext uri="{FF2B5EF4-FFF2-40B4-BE49-F238E27FC236}">
                <a16:creationId xmlns:a16="http://schemas.microsoft.com/office/drawing/2014/main" id="{9FE578AF-5122-41F7-B516-0DB816ECEC4F}"/>
              </a:ext>
            </a:extLst>
          </p:cNvPr>
          <p:cNvGrpSpPr>
            <a:grpSpLocks noChangeAspect="1"/>
          </p:cNvGrpSpPr>
          <p:nvPr/>
        </p:nvGrpSpPr>
        <p:grpSpPr bwMode="auto">
          <a:xfrm>
            <a:off x="6552673" y="1340503"/>
            <a:ext cx="5111630" cy="4438249"/>
            <a:chOff x="3620" y="594"/>
            <a:chExt cx="3712" cy="3223"/>
          </a:xfrm>
        </p:grpSpPr>
        <p:grpSp>
          <p:nvGrpSpPr>
            <p:cNvPr id="8" name="Group 205">
              <a:extLst>
                <a:ext uri="{FF2B5EF4-FFF2-40B4-BE49-F238E27FC236}">
                  <a16:creationId xmlns:a16="http://schemas.microsoft.com/office/drawing/2014/main" id="{65ADD016-B59C-473B-AC79-AEE208413A97}"/>
                </a:ext>
              </a:extLst>
            </p:cNvPr>
            <p:cNvGrpSpPr>
              <a:grpSpLocks/>
            </p:cNvGrpSpPr>
            <p:nvPr/>
          </p:nvGrpSpPr>
          <p:grpSpPr bwMode="auto">
            <a:xfrm>
              <a:off x="3620" y="594"/>
              <a:ext cx="3712" cy="3223"/>
              <a:chOff x="3620" y="594"/>
              <a:chExt cx="3712" cy="3223"/>
            </a:xfrm>
          </p:grpSpPr>
          <p:sp>
            <p:nvSpPr>
              <p:cNvPr id="102" name="Rectangle 7">
                <a:extLst>
                  <a:ext uri="{FF2B5EF4-FFF2-40B4-BE49-F238E27FC236}">
                    <a16:creationId xmlns:a16="http://schemas.microsoft.com/office/drawing/2014/main" id="{D6650CB7-2B0E-4E78-9E4E-6989D3C3050E}"/>
                  </a:ext>
                </a:extLst>
              </p:cNvPr>
              <p:cNvSpPr>
                <a:spLocks noChangeArrowheads="1"/>
              </p:cNvSpPr>
              <p:nvPr/>
            </p:nvSpPr>
            <p:spPr bwMode="auto">
              <a:xfrm>
                <a:off x="3753" y="841"/>
                <a:ext cx="1240" cy="6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8">
                <a:extLst>
                  <a:ext uri="{FF2B5EF4-FFF2-40B4-BE49-F238E27FC236}">
                    <a16:creationId xmlns:a16="http://schemas.microsoft.com/office/drawing/2014/main" id="{E65E454D-2380-4C49-8514-E83E583D05A4}"/>
                  </a:ext>
                </a:extLst>
              </p:cNvPr>
              <p:cNvSpPr>
                <a:spLocks noChangeArrowheads="1"/>
              </p:cNvSpPr>
              <p:nvPr/>
            </p:nvSpPr>
            <p:spPr bwMode="auto">
              <a:xfrm>
                <a:off x="3810" y="606"/>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9">
                <a:extLst>
                  <a:ext uri="{FF2B5EF4-FFF2-40B4-BE49-F238E27FC236}">
                    <a16:creationId xmlns:a16="http://schemas.microsoft.com/office/drawing/2014/main" id="{A31A2394-8846-4E72-82E1-5B55A4EDAE34}"/>
                  </a:ext>
                </a:extLst>
              </p:cNvPr>
              <p:cNvSpPr>
                <a:spLocks noChangeArrowheads="1"/>
              </p:cNvSpPr>
              <p:nvPr/>
            </p:nvSpPr>
            <p:spPr bwMode="auto">
              <a:xfrm>
                <a:off x="4074" y="606"/>
                <a:ext cx="54"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
                <a:extLst>
                  <a:ext uri="{FF2B5EF4-FFF2-40B4-BE49-F238E27FC236}">
                    <a16:creationId xmlns:a16="http://schemas.microsoft.com/office/drawing/2014/main" id="{D15D40CA-4C84-4436-83AB-549DD0CF9ADC}"/>
                  </a:ext>
                </a:extLst>
              </p:cNvPr>
              <p:cNvSpPr>
                <a:spLocks/>
              </p:cNvSpPr>
              <p:nvPr/>
            </p:nvSpPr>
            <p:spPr bwMode="auto">
              <a:xfrm>
                <a:off x="4373" y="599"/>
                <a:ext cx="95" cy="242"/>
              </a:xfrm>
              <a:custGeom>
                <a:avLst/>
                <a:gdLst>
                  <a:gd name="T0" fmla="*/ 95 w 95"/>
                  <a:gd name="T1" fmla="*/ 232 h 242"/>
                  <a:gd name="T2" fmla="*/ 40 w 95"/>
                  <a:gd name="T3" fmla="*/ 242 h 242"/>
                  <a:gd name="T4" fmla="*/ 0 w 95"/>
                  <a:gd name="T5" fmla="*/ 9 h 242"/>
                  <a:gd name="T6" fmla="*/ 54 w 95"/>
                  <a:gd name="T7" fmla="*/ 0 h 242"/>
                  <a:gd name="T8" fmla="*/ 95 w 95"/>
                  <a:gd name="T9" fmla="*/ 232 h 242"/>
                </a:gdLst>
                <a:ahLst/>
                <a:cxnLst>
                  <a:cxn ang="0">
                    <a:pos x="T0" y="T1"/>
                  </a:cxn>
                  <a:cxn ang="0">
                    <a:pos x="T2" y="T3"/>
                  </a:cxn>
                  <a:cxn ang="0">
                    <a:pos x="T4" y="T5"/>
                  </a:cxn>
                  <a:cxn ang="0">
                    <a:pos x="T6" y="T7"/>
                  </a:cxn>
                  <a:cxn ang="0">
                    <a:pos x="T8" y="T9"/>
                  </a:cxn>
                </a:cxnLst>
                <a:rect l="0" t="0" r="r" b="b"/>
                <a:pathLst>
                  <a:path w="95" h="242">
                    <a:moveTo>
                      <a:pt x="95" y="232"/>
                    </a:moveTo>
                    <a:lnTo>
                      <a:pt x="40" y="242"/>
                    </a:lnTo>
                    <a:lnTo>
                      <a:pt x="0" y="9"/>
                    </a:lnTo>
                    <a:lnTo>
                      <a:pt x="54" y="0"/>
                    </a:lnTo>
                    <a:lnTo>
                      <a:pt x="95" y="23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1">
                <a:extLst>
                  <a:ext uri="{FF2B5EF4-FFF2-40B4-BE49-F238E27FC236}">
                    <a16:creationId xmlns:a16="http://schemas.microsoft.com/office/drawing/2014/main" id="{0AA003B4-08FB-4C2E-A6DF-3E04842525AB}"/>
                  </a:ext>
                </a:extLst>
              </p:cNvPr>
              <p:cNvSpPr>
                <a:spLocks noChangeArrowheads="1"/>
              </p:cNvSpPr>
              <p:nvPr/>
            </p:nvSpPr>
            <p:spPr bwMode="auto">
              <a:xfrm>
                <a:off x="3876"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2">
                <a:extLst>
                  <a:ext uri="{FF2B5EF4-FFF2-40B4-BE49-F238E27FC236}">
                    <a16:creationId xmlns:a16="http://schemas.microsoft.com/office/drawing/2014/main" id="{10660A12-4383-48C2-8B64-6FC2E8207BB6}"/>
                  </a:ext>
                </a:extLst>
              </p:cNvPr>
              <p:cNvSpPr>
                <a:spLocks noChangeArrowheads="1"/>
              </p:cNvSpPr>
              <p:nvPr/>
            </p:nvSpPr>
            <p:spPr bwMode="auto">
              <a:xfrm>
                <a:off x="4002"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3">
                <a:extLst>
                  <a:ext uri="{FF2B5EF4-FFF2-40B4-BE49-F238E27FC236}">
                    <a16:creationId xmlns:a16="http://schemas.microsoft.com/office/drawing/2014/main" id="{EA46F711-2CD8-4864-8F03-EF7D800D64EC}"/>
                  </a:ext>
                </a:extLst>
              </p:cNvPr>
              <p:cNvSpPr>
                <a:spLocks noChangeArrowheads="1"/>
              </p:cNvSpPr>
              <p:nvPr/>
            </p:nvSpPr>
            <p:spPr bwMode="auto">
              <a:xfrm>
                <a:off x="4318" y="637"/>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4">
                <a:extLst>
                  <a:ext uri="{FF2B5EF4-FFF2-40B4-BE49-F238E27FC236}">
                    <a16:creationId xmlns:a16="http://schemas.microsoft.com/office/drawing/2014/main" id="{33E57BA7-2B63-4223-B696-8C237623C218}"/>
                  </a:ext>
                </a:extLst>
              </p:cNvPr>
              <p:cNvSpPr>
                <a:spLocks/>
              </p:cNvSpPr>
              <p:nvPr/>
            </p:nvSpPr>
            <p:spPr bwMode="auto">
              <a:xfrm>
                <a:off x="4147" y="630"/>
                <a:ext cx="98" cy="211"/>
              </a:xfrm>
              <a:custGeom>
                <a:avLst/>
                <a:gdLst>
                  <a:gd name="T0" fmla="*/ 98 w 98"/>
                  <a:gd name="T1" fmla="*/ 199 h 211"/>
                  <a:gd name="T2" fmla="*/ 43 w 98"/>
                  <a:gd name="T3" fmla="*/ 211 h 211"/>
                  <a:gd name="T4" fmla="*/ 0 w 98"/>
                  <a:gd name="T5" fmla="*/ 11 h 211"/>
                  <a:gd name="T6" fmla="*/ 52 w 98"/>
                  <a:gd name="T7" fmla="*/ 0 h 211"/>
                  <a:gd name="T8" fmla="*/ 98 w 98"/>
                  <a:gd name="T9" fmla="*/ 199 h 211"/>
                </a:gdLst>
                <a:ahLst/>
                <a:cxnLst>
                  <a:cxn ang="0">
                    <a:pos x="T0" y="T1"/>
                  </a:cxn>
                  <a:cxn ang="0">
                    <a:pos x="T2" y="T3"/>
                  </a:cxn>
                  <a:cxn ang="0">
                    <a:pos x="T4" y="T5"/>
                  </a:cxn>
                  <a:cxn ang="0">
                    <a:pos x="T6" y="T7"/>
                  </a:cxn>
                  <a:cxn ang="0">
                    <a:pos x="T8" y="T9"/>
                  </a:cxn>
                </a:cxnLst>
                <a:rect l="0" t="0" r="r" b="b"/>
                <a:pathLst>
                  <a:path w="98" h="211">
                    <a:moveTo>
                      <a:pt x="98" y="199"/>
                    </a:moveTo>
                    <a:lnTo>
                      <a:pt x="43" y="211"/>
                    </a:lnTo>
                    <a:lnTo>
                      <a:pt x="0" y="11"/>
                    </a:lnTo>
                    <a:lnTo>
                      <a:pt x="52" y="0"/>
                    </a:lnTo>
                    <a:lnTo>
                      <a:pt x="98" y="19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5">
                <a:extLst>
                  <a:ext uri="{FF2B5EF4-FFF2-40B4-BE49-F238E27FC236}">
                    <a16:creationId xmlns:a16="http://schemas.microsoft.com/office/drawing/2014/main" id="{603FE29F-9873-4051-B034-7FE7EEDBE231}"/>
                  </a:ext>
                </a:extLst>
              </p:cNvPr>
              <p:cNvSpPr>
                <a:spLocks noChangeArrowheads="1"/>
              </p:cNvSpPr>
              <p:nvPr/>
            </p:nvSpPr>
            <p:spPr bwMode="auto">
              <a:xfrm>
                <a:off x="3952" y="594"/>
                <a:ext cx="27"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6">
                <a:extLst>
                  <a:ext uri="{FF2B5EF4-FFF2-40B4-BE49-F238E27FC236}">
                    <a16:creationId xmlns:a16="http://schemas.microsoft.com/office/drawing/2014/main" id="{840268E3-199A-46F6-9EDB-0D6401F93ADC}"/>
                  </a:ext>
                </a:extLst>
              </p:cNvPr>
              <p:cNvSpPr>
                <a:spLocks noChangeArrowheads="1"/>
              </p:cNvSpPr>
              <p:nvPr/>
            </p:nvSpPr>
            <p:spPr bwMode="auto">
              <a:xfrm>
                <a:off x="4275" y="594"/>
                <a:ext cx="29"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7">
                <a:extLst>
                  <a:ext uri="{FF2B5EF4-FFF2-40B4-BE49-F238E27FC236}">
                    <a16:creationId xmlns:a16="http://schemas.microsoft.com/office/drawing/2014/main" id="{461ECE2B-2144-4E66-9F08-468E38371E72}"/>
                  </a:ext>
                </a:extLst>
              </p:cNvPr>
              <p:cNvSpPr>
                <a:spLocks noChangeArrowheads="1"/>
              </p:cNvSpPr>
              <p:nvPr/>
            </p:nvSpPr>
            <p:spPr bwMode="auto">
              <a:xfrm>
                <a:off x="4606" y="653"/>
                <a:ext cx="266" cy="18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8">
                <a:extLst>
                  <a:ext uri="{FF2B5EF4-FFF2-40B4-BE49-F238E27FC236}">
                    <a16:creationId xmlns:a16="http://schemas.microsoft.com/office/drawing/2014/main" id="{5E21192C-21C8-4B20-8A09-A749BFE480DB}"/>
                  </a:ext>
                </a:extLst>
              </p:cNvPr>
              <p:cNvSpPr>
                <a:spLocks noChangeArrowheads="1"/>
              </p:cNvSpPr>
              <p:nvPr/>
            </p:nvSpPr>
            <p:spPr bwMode="auto">
              <a:xfrm>
                <a:off x="3753" y="1316"/>
                <a:ext cx="1240" cy="6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9">
                <a:extLst>
                  <a:ext uri="{FF2B5EF4-FFF2-40B4-BE49-F238E27FC236}">
                    <a16:creationId xmlns:a16="http://schemas.microsoft.com/office/drawing/2014/main" id="{DE25A432-A6D8-451E-AFC3-EB2843460C24}"/>
                  </a:ext>
                </a:extLst>
              </p:cNvPr>
              <p:cNvSpPr>
                <a:spLocks noChangeArrowheads="1"/>
              </p:cNvSpPr>
              <p:nvPr/>
            </p:nvSpPr>
            <p:spPr bwMode="auto">
              <a:xfrm>
                <a:off x="4881" y="1081"/>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20">
                <a:extLst>
                  <a:ext uri="{FF2B5EF4-FFF2-40B4-BE49-F238E27FC236}">
                    <a16:creationId xmlns:a16="http://schemas.microsoft.com/office/drawing/2014/main" id="{71D1CDC2-D93B-4530-B26B-005F2DA8EFE4}"/>
                  </a:ext>
                </a:extLst>
              </p:cNvPr>
              <p:cNvSpPr>
                <a:spLocks noChangeArrowheads="1"/>
              </p:cNvSpPr>
              <p:nvPr/>
            </p:nvSpPr>
            <p:spPr bwMode="auto">
              <a:xfrm>
                <a:off x="4615" y="1081"/>
                <a:ext cx="55" cy="23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1">
                <a:extLst>
                  <a:ext uri="{FF2B5EF4-FFF2-40B4-BE49-F238E27FC236}">
                    <a16:creationId xmlns:a16="http://schemas.microsoft.com/office/drawing/2014/main" id="{B4B19F8B-419A-4C55-929A-B81D17A25776}"/>
                  </a:ext>
                </a:extLst>
              </p:cNvPr>
              <p:cNvSpPr>
                <a:spLocks/>
              </p:cNvSpPr>
              <p:nvPr/>
            </p:nvSpPr>
            <p:spPr bwMode="auto">
              <a:xfrm>
                <a:off x="4275" y="1074"/>
                <a:ext cx="95" cy="242"/>
              </a:xfrm>
              <a:custGeom>
                <a:avLst/>
                <a:gdLst>
                  <a:gd name="T0" fmla="*/ 0 w 95"/>
                  <a:gd name="T1" fmla="*/ 232 h 242"/>
                  <a:gd name="T2" fmla="*/ 55 w 95"/>
                  <a:gd name="T3" fmla="*/ 242 h 242"/>
                  <a:gd name="T4" fmla="*/ 95 w 95"/>
                  <a:gd name="T5" fmla="*/ 9 h 242"/>
                  <a:gd name="T6" fmla="*/ 41 w 95"/>
                  <a:gd name="T7" fmla="*/ 0 h 242"/>
                  <a:gd name="T8" fmla="*/ 0 w 95"/>
                  <a:gd name="T9" fmla="*/ 232 h 242"/>
                </a:gdLst>
                <a:ahLst/>
                <a:cxnLst>
                  <a:cxn ang="0">
                    <a:pos x="T0" y="T1"/>
                  </a:cxn>
                  <a:cxn ang="0">
                    <a:pos x="T2" y="T3"/>
                  </a:cxn>
                  <a:cxn ang="0">
                    <a:pos x="T4" y="T5"/>
                  </a:cxn>
                  <a:cxn ang="0">
                    <a:pos x="T6" y="T7"/>
                  </a:cxn>
                  <a:cxn ang="0">
                    <a:pos x="T8" y="T9"/>
                  </a:cxn>
                </a:cxnLst>
                <a:rect l="0" t="0" r="r" b="b"/>
                <a:pathLst>
                  <a:path w="95" h="242">
                    <a:moveTo>
                      <a:pt x="0" y="232"/>
                    </a:moveTo>
                    <a:lnTo>
                      <a:pt x="55" y="242"/>
                    </a:lnTo>
                    <a:lnTo>
                      <a:pt x="95" y="9"/>
                    </a:lnTo>
                    <a:lnTo>
                      <a:pt x="41" y="0"/>
                    </a:lnTo>
                    <a:lnTo>
                      <a:pt x="0" y="23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22">
                <a:extLst>
                  <a:ext uri="{FF2B5EF4-FFF2-40B4-BE49-F238E27FC236}">
                    <a16:creationId xmlns:a16="http://schemas.microsoft.com/office/drawing/2014/main" id="{45621EA8-A0B9-4FE9-B40A-7B17F8ADB849}"/>
                  </a:ext>
                </a:extLst>
              </p:cNvPr>
              <p:cNvSpPr>
                <a:spLocks noChangeArrowheads="1"/>
              </p:cNvSpPr>
              <p:nvPr/>
            </p:nvSpPr>
            <p:spPr bwMode="auto">
              <a:xfrm>
                <a:off x="4812"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23">
                <a:extLst>
                  <a:ext uri="{FF2B5EF4-FFF2-40B4-BE49-F238E27FC236}">
                    <a16:creationId xmlns:a16="http://schemas.microsoft.com/office/drawing/2014/main" id="{7031F58C-0C91-486D-B9B5-7F36278666C2}"/>
                  </a:ext>
                </a:extLst>
              </p:cNvPr>
              <p:cNvSpPr>
                <a:spLocks noChangeArrowheads="1"/>
              </p:cNvSpPr>
              <p:nvPr/>
            </p:nvSpPr>
            <p:spPr bwMode="auto">
              <a:xfrm>
                <a:off x="4686"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24">
                <a:extLst>
                  <a:ext uri="{FF2B5EF4-FFF2-40B4-BE49-F238E27FC236}">
                    <a16:creationId xmlns:a16="http://schemas.microsoft.com/office/drawing/2014/main" id="{614A816F-F2B4-4EDB-A6B0-1D36071C2EEC}"/>
                  </a:ext>
                </a:extLst>
              </p:cNvPr>
              <p:cNvSpPr>
                <a:spLocks noChangeArrowheads="1"/>
              </p:cNvSpPr>
              <p:nvPr/>
            </p:nvSpPr>
            <p:spPr bwMode="auto">
              <a:xfrm>
                <a:off x="4370" y="1112"/>
                <a:ext cx="55" cy="204"/>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5">
                <a:extLst>
                  <a:ext uri="{FF2B5EF4-FFF2-40B4-BE49-F238E27FC236}">
                    <a16:creationId xmlns:a16="http://schemas.microsoft.com/office/drawing/2014/main" id="{5A9EA234-1A7F-4B74-9DAE-A55283BD0E9E}"/>
                  </a:ext>
                </a:extLst>
              </p:cNvPr>
              <p:cNvSpPr>
                <a:spLocks/>
              </p:cNvSpPr>
              <p:nvPr/>
            </p:nvSpPr>
            <p:spPr bwMode="auto">
              <a:xfrm>
                <a:off x="4501" y="1105"/>
                <a:ext cx="97" cy="211"/>
              </a:xfrm>
              <a:custGeom>
                <a:avLst/>
                <a:gdLst>
                  <a:gd name="T0" fmla="*/ 0 w 97"/>
                  <a:gd name="T1" fmla="*/ 199 h 211"/>
                  <a:gd name="T2" fmla="*/ 52 w 97"/>
                  <a:gd name="T3" fmla="*/ 211 h 211"/>
                  <a:gd name="T4" fmla="*/ 97 w 97"/>
                  <a:gd name="T5" fmla="*/ 11 h 211"/>
                  <a:gd name="T6" fmla="*/ 43 w 97"/>
                  <a:gd name="T7" fmla="*/ 0 h 211"/>
                  <a:gd name="T8" fmla="*/ 0 w 97"/>
                  <a:gd name="T9" fmla="*/ 199 h 211"/>
                </a:gdLst>
                <a:ahLst/>
                <a:cxnLst>
                  <a:cxn ang="0">
                    <a:pos x="T0" y="T1"/>
                  </a:cxn>
                  <a:cxn ang="0">
                    <a:pos x="T2" y="T3"/>
                  </a:cxn>
                  <a:cxn ang="0">
                    <a:pos x="T4" y="T5"/>
                  </a:cxn>
                  <a:cxn ang="0">
                    <a:pos x="T6" y="T7"/>
                  </a:cxn>
                  <a:cxn ang="0">
                    <a:pos x="T8" y="T9"/>
                  </a:cxn>
                </a:cxnLst>
                <a:rect l="0" t="0" r="r" b="b"/>
                <a:pathLst>
                  <a:path w="97" h="211">
                    <a:moveTo>
                      <a:pt x="0" y="199"/>
                    </a:moveTo>
                    <a:lnTo>
                      <a:pt x="52" y="211"/>
                    </a:lnTo>
                    <a:lnTo>
                      <a:pt x="97" y="11"/>
                    </a:lnTo>
                    <a:lnTo>
                      <a:pt x="43" y="0"/>
                    </a:lnTo>
                    <a:lnTo>
                      <a:pt x="0" y="199"/>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26">
                <a:extLst>
                  <a:ext uri="{FF2B5EF4-FFF2-40B4-BE49-F238E27FC236}">
                    <a16:creationId xmlns:a16="http://schemas.microsoft.com/office/drawing/2014/main" id="{50950D14-DB45-446D-812C-581487DD6793}"/>
                  </a:ext>
                </a:extLst>
              </p:cNvPr>
              <p:cNvSpPr>
                <a:spLocks noChangeArrowheads="1"/>
              </p:cNvSpPr>
              <p:nvPr/>
            </p:nvSpPr>
            <p:spPr bwMode="auto">
              <a:xfrm>
                <a:off x="4765" y="1069"/>
                <a:ext cx="28"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27">
                <a:extLst>
                  <a:ext uri="{FF2B5EF4-FFF2-40B4-BE49-F238E27FC236}">
                    <a16:creationId xmlns:a16="http://schemas.microsoft.com/office/drawing/2014/main" id="{F9F9AE5F-41F5-4721-8C9F-E92F1C9CC29A}"/>
                  </a:ext>
                </a:extLst>
              </p:cNvPr>
              <p:cNvSpPr>
                <a:spLocks noChangeArrowheads="1"/>
              </p:cNvSpPr>
              <p:nvPr/>
            </p:nvSpPr>
            <p:spPr bwMode="auto">
              <a:xfrm>
                <a:off x="4439" y="1069"/>
                <a:ext cx="29" cy="247"/>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28">
                <a:extLst>
                  <a:ext uri="{FF2B5EF4-FFF2-40B4-BE49-F238E27FC236}">
                    <a16:creationId xmlns:a16="http://schemas.microsoft.com/office/drawing/2014/main" id="{AE08D7AF-3992-448D-9A7B-2815C98C397B}"/>
                  </a:ext>
                </a:extLst>
              </p:cNvPr>
              <p:cNvSpPr>
                <a:spLocks noChangeArrowheads="1"/>
              </p:cNvSpPr>
              <p:nvPr/>
            </p:nvSpPr>
            <p:spPr bwMode="auto">
              <a:xfrm>
                <a:off x="3872" y="1128"/>
                <a:ext cx="266" cy="18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29">
                <a:extLst>
                  <a:ext uri="{FF2B5EF4-FFF2-40B4-BE49-F238E27FC236}">
                    <a16:creationId xmlns:a16="http://schemas.microsoft.com/office/drawing/2014/main" id="{32EE45A6-27EC-46EE-AA29-FCEC07D02676}"/>
                  </a:ext>
                </a:extLst>
              </p:cNvPr>
              <p:cNvSpPr>
                <a:spLocks noChangeArrowheads="1"/>
              </p:cNvSpPr>
              <p:nvPr/>
            </p:nvSpPr>
            <p:spPr bwMode="auto">
              <a:xfrm>
                <a:off x="5898" y="618"/>
                <a:ext cx="1244" cy="1377"/>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30">
                <a:extLst>
                  <a:ext uri="{FF2B5EF4-FFF2-40B4-BE49-F238E27FC236}">
                    <a16:creationId xmlns:a16="http://schemas.microsoft.com/office/drawing/2014/main" id="{A7C5A2BE-BA18-41F2-B946-58E3CCB9CE18}"/>
                  </a:ext>
                </a:extLst>
              </p:cNvPr>
              <p:cNvSpPr>
                <a:spLocks noChangeArrowheads="1"/>
              </p:cNvSpPr>
              <p:nvPr/>
            </p:nvSpPr>
            <p:spPr bwMode="auto">
              <a:xfrm>
                <a:off x="5898" y="618"/>
                <a:ext cx="1244" cy="1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31">
                <a:extLst>
                  <a:ext uri="{FF2B5EF4-FFF2-40B4-BE49-F238E27FC236}">
                    <a16:creationId xmlns:a16="http://schemas.microsoft.com/office/drawing/2014/main" id="{B414C1EF-5351-468D-AF9C-567286E8266F}"/>
                  </a:ext>
                </a:extLst>
              </p:cNvPr>
              <p:cNvSpPr>
                <a:spLocks noChangeArrowheads="1"/>
              </p:cNvSpPr>
              <p:nvPr/>
            </p:nvSpPr>
            <p:spPr bwMode="auto">
              <a:xfrm>
                <a:off x="5952" y="672"/>
                <a:ext cx="1138" cy="1271"/>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2">
                <a:extLst>
                  <a:ext uri="{FF2B5EF4-FFF2-40B4-BE49-F238E27FC236}">
                    <a16:creationId xmlns:a16="http://schemas.microsoft.com/office/drawing/2014/main" id="{1C4167A3-7FDF-4923-8405-28D55CB39FF9}"/>
                  </a:ext>
                </a:extLst>
              </p:cNvPr>
              <p:cNvSpPr>
                <a:spLocks noChangeArrowheads="1"/>
              </p:cNvSpPr>
              <p:nvPr/>
            </p:nvSpPr>
            <p:spPr bwMode="auto">
              <a:xfrm>
                <a:off x="5952" y="672"/>
                <a:ext cx="1138" cy="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3">
                <a:extLst>
                  <a:ext uri="{FF2B5EF4-FFF2-40B4-BE49-F238E27FC236}">
                    <a16:creationId xmlns:a16="http://schemas.microsoft.com/office/drawing/2014/main" id="{1A994030-A226-4B48-A3CE-B5F4F474A085}"/>
                  </a:ext>
                </a:extLst>
              </p:cNvPr>
              <p:cNvSpPr>
                <a:spLocks/>
              </p:cNvSpPr>
              <p:nvPr/>
            </p:nvSpPr>
            <p:spPr bwMode="auto">
              <a:xfrm>
                <a:off x="5952" y="672"/>
                <a:ext cx="323" cy="1204"/>
              </a:xfrm>
              <a:custGeom>
                <a:avLst/>
                <a:gdLst>
                  <a:gd name="T0" fmla="*/ 323 w 323"/>
                  <a:gd name="T1" fmla="*/ 0 h 1204"/>
                  <a:gd name="T2" fmla="*/ 0 w 323"/>
                  <a:gd name="T3" fmla="*/ 1204 h 1204"/>
                  <a:gd name="T4" fmla="*/ 0 w 323"/>
                  <a:gd name="T5" fmla="*/ 554 h 1204"/>
                  <a:gd name="T6" fmla="*/ 147 w 323"/>
                  <a:gd name="T7" fmla="*/ 0 h 1204"/>
                  <a:gd name="T8" fmla="*/ 323 w 323"/>
                  <a:gd name="T9" fmla="*/ 0 h 1204"/>
                </a:gdLst>
                <a:ahLst/>
                <a:cxnLst>
                  <a:cxn ang="0">
                    <a:pos x="T0" y="T1"/>
                  </a:cxn>
                  <a:cxn ang="0">
                    <a:pos x="T2" y="T3"/>
                  </a:cxn>
                  <a:cxn ang="0">
                    <a:pos x="T4" y="T5"/>
                  </a:cxn>
                  <a:cxn ang="0">
                    <a:pos x="T6" y="T7"/>
                  </a:cxn>
                  <a:cxn ang="0">
                    <a:pos x="T8" y="T9"/>
                  </a:cxn>
                </a:cxnLst>
                <a:rect l="0" t="0" r="r" b="b"/>
                <a:pathLst>
                  <a:path w="323" h="1204">
                    <a:moveTo>
                      <a:pt x="323" y="0"/>
                    </a:moveTo>
                    <a:lnTo>
                      <a:pt x="0" y="1204"/>
                    </a:lnTo>
                    <a:lnTo>
                      <a:pt x="0" y="554"/>
                    </a:lnTo>
                    <a:lnTo>
                      <a:pt x="147" y="0"/>
                    </a:lnTo>
                    <a:lnTo>
                      <a:pt x="3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4">
                <a:extLst>
                  <a:ext uri="{FF2B5EF4-FFF2-40B4-BE49-F238E27FC236}">
                    <a16:creationId xmlns:a16="http://schemas.microsoft.com/office/drawing/2014/main" id="{F034B9A7-A80C-4D2D-AF99-0DAC4EE7CDBD}"/>
                  </a:ext>
                </a:extLst>
              </p:cNvPr>
              <p:cNvSpPr>
                <a:spLocks/>
              </p:cNvSpPr>
              <p:nvPr/>
            </p:nvSpPr>
            <p:spPr bwMode="auto">
              <a:xfrm>
                <a:off x="5952" y="672"/>
                <a:ext cx="323" cy="1204"/>
              </a:xfrm>
              <a:custGeom>
                <a:avLst/>
                <a:gdLst>
                  <a:gd name="T0" fmla="*/ 323 w 323"/>
                  <a:gd name="T1" fmla="*/ 0 h 1204"/>
                  <a:gd name="T2" fmla="*/ 0 w 323"/>
                  <a:gd name="T3" fmla="*/ 1204 h 1204"/>
                  <a:gd name="T4" fmla="*/ 0 w 323"/>
                  <a:gd name="T5" fmla="*/ 554 h 1204"/>
                  <a:gd name="T6" fmla="*/ 147 w 323"/>
                  <a:gd name="T7" fmla="*/ 0 h 1204"/>
                  <a:gd name="T8" fmla="*/ 323 w 323"/>
                  <a:gd name="T9" fmla="*/ 0 h 1204"/>
                </a:gdLst>
                <a:ahLst/>
                <a:cxnLst>
                  <a:cxn ang="0">
                    <a:pos x="T0" y="T1"/>
                  </a:cxn>
                  <a:cxn ang="0">
                    <a:pos x="T2" y="T3"/>
                  </a:cxn>
                  <a:cxn ang="0">
                    <a:pos x="T4" y="T5"/>
                  </a:cxn>
                  <a:cxn ang="0">
                    <a:pos x="T6" y="T7"/>
                  </a:cxn>
                  <a:cxn ang="0">
                    <a:pos x="T8" y="T9"/>
                  </a:cxn>
                </a:cxnLst>
                <a:rect l="0" t="0" r="r" b="b"/>
                <a:pathLst>
                  <a:path w="323" h="1204">
                    <a:moveTo>
                      <a:pt x="323" y="0"/>
                    </a:moveTo>
                    <a:lnTo>
                      <a:pt x="0" y="1204"/>
                    </a:lnTo>
                    <a:lnTo>
                      <a:pt x="0" y="554"/>
                    </a:lnTo>
                    <a:lnTo>
                      <a:pt x="147" y="0"/>
                    </a:lnTo>
                    <a:lnTo>
                      <a:pt x="3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5">
                <a:extLst>
                  <a:ext uri="{FF2B5EF4-FFF2-40B4-BE49-F238E27FC236}">
                    <a16:creationId xmlns:a16="http://schemas.microsoft.com/office/drawing/2014/main" id="{8C1AA863-EF95-4892-9191-9633D0638A9C}"/>
                  </a:ext>
                </a:extLst>
              </p:cNvPr>
              <p:cNvSpPr>
                <a:spLocks/>
              </p:cNvSpPr>
              <p:nvPr/>
            </p:nvSpPr>
            <p:spPr bwMode="auto">
              <a:xfrm>
                <a:off x="6016" y="672"/>
                <a:ext cx="402" cy="1271"/>
              </a:xfrm>
              <a:custGeom>
                <a:avLst/>
                <a:gdLst>
                  <a:gd name="T0" fmla="*/ 402 w 402"/>
                  <a:gd name="T1" fmla="*/ 0 h 1271"/>
                  <a:gd name="T2" fmla="*/ 64 w 402"/>
                  <a:gd name="T3" fmla="*/ 1271 h 1271"/>
                  <a:gd name="T4" fmla="*/ 0 w 402"/>
                  <a:gd name="T5" fmla="*/ 1271 h 1271"/>
                  <a:gd name="T6" fmla="*/ 338 w 402"/>
                  <a:gd name="T7" fmla="*/ 0 h 1271"/>
                  <a:gd name="T8" fmla="*/ 402 w 402"/>
                  <a:gd name="T9" fmla="*/ 0 h 1271"/>
                </a:gdLst>
                <a:ahLst/>
                <a:cxnLst>
                  <a:cxn ang="0">
                    <a:pos x="T0" y="T1"/>
                  </a:cxn>
                  <a:cxn ang="0">
                    <a:pos x="T2" y="T3"/>
                  </a:cxn>
                  <a:cxn ang="0">
                    <a:pos x="T4" y="T5"/>
                  </a:cxn>
                  <a:cxn ang="0">
                    <a:pos x="T6" y="T7"/>
                  </a:cxn>
                  <a:cxn ang="0">
                    <a:pos x="T8" y="T9"/>
                  </a:cxn>
                </a:cxnLst>
                <a:rect l="0" t="0" r="r" b="b"/>
                <a:pathLst>
                  <a:path w="402" h="1271">
                    <a:moveTo>
                      <a:pt x="402" y="0"/>
                    </a:moveTo>
                    <a:lnTo>
                      <a:pt x="64" y="1271"/>
                    </a:lnTo>
                    <a:lnTo>
                      <a:pt x="0" y="1271"/>
                    </a:lnTo>
                    <a:lnTo>
                      <a:pt x="338" y="0"/>
                    </a:lnTo>
                    <a:lnTo>
                      <a:pt x="4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6">
                <a:extLst>
                  <a:ext uri="{FF2B5EF4-FFF2-40B4-BE49-F238E27FC236}">
                    <a16:creationId xmlns:a16="http://schemas.microsoft.com/office/drawing/2014/main" id="{D2A32EEB-B53E-439A-946F-B646BA4883D2}"/>
                  </a:ext>
                </a:extLst>
              </p:cNvPr>
              <p:cNvSpPr>
                <a:spLocks/>
              </p:cNvSpPr>
              <p:nvPr/>
            </p:nvSpPr>
            <p:spPr bwMode="auto">
              <a:xfrm>
                <a:off x="6016" y="672"/>
                <a:ext cx="402" cy="1271"/>
              </a:xfrm>
              <a:custGeom>
                <a:avLst/>
                <a:gdLst>
                  <a:gd name="T0" fmla="*/ 402 w 402"/>
                  <a:gd name="T1" fmla="*/ 0 h 1271"/>
                  <a:gd name="T2" fmla="*/ 64 w 402"/>
                  <a:gd name="T3" fmla="*/ 1271 h 1271"/>
                  <a:gd name="T4" fmla="*/ 0 w 402"/>
                  <a:gd name="T5" fmla="*/ 1271 h 1271"/>
                  <a:gd name="T6" fmla="*/ 338 w 402"/>
                  <a:gd name="T7" fmla="*/ 0 h 1271"/>
                  <a:gd name="T8" fmla="*/ 402 w 402"/>
                  <a:gd name="T9" fmla="*/ 0 h 1271"/>
                </a:gdLst>
                <a:ahLst/>
                <a:cxnLst>
                  <a:cxn ang="0">
                    <a:pos x="T0" y="T1"/>
                  </a:cxn>
                  <a:cxn ang="0">
                    <a:pos x="T2" y="T3"/>
                  </a:cxn>
                  <a:cxn ang="0">
                    <a:pos x="T4" y="T5"/>
                  </a:cxn>
                  <a:cxn ang="0">
                    <a:pos x="T6" y="T7"/>
                  </a:cxn>
                  <a:cxn ang="0">
                    <a:pos x="T8" y="T9"/>
                  </a:cxn>
                </a:cxnLst>
                <a:rect l="0" t="0" r="r" b="b"/>
                <a:pathLst>
                  <a:path w="402" h="1271">
                    <a:moveTo>
                      <a:pt x="402" y="0"/>
                    </a:moveTo>
                    <a:lnTo>
                      <a:pt x="64" y="1271"/>
                    </a:lnTo>
                    <a:lnTo>
                      <a:pt x="0" y="1271"/>
                    </a:lnTo>
                    <a:lnTo>
                      <a:pt x="338" y="0"/>
                    </a:lnTo>
                    <a:lnTo>
                      <a:pt x="4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7">
                <a:extLst>
                  <a:ext uri="{FF2B5EF4-FFF2-40B4-BE49-F238E27FC236}">
                    <a16:creationId xmlns:a16="http://schemas.microsoft.com/office/drawing/2014/main" id="{C37F8F3D-5CFE-4825-A045-BF71674FC7CC}"/>
                  </a:ext>
                </a:extLst>
              </p:cNvPr>
              <p:cNvSpPr>
                <a:spLocks/>
              </p:cNvSpPr>
              <p:nvPr/>
            </p:nvSpPr>
            <p:spPr bwMode="auto">
              <a:xfrm>
                <a:off x="6845" y="1019"/>
                <a:ext cx="245" cy="924"/>
              </a:xfrm>
              <a:custGeom>
                <a:avLst/>
                <a:gdLst>
                  <a:gd name="T0" fmla="*/ 245 w 245"/>
                  <a:gd name="T1" fmla="*/ 0 h 924"/>
                  <a:gd name="T2" fmla="*/ 245 w 245"/>
                  <a:gd name="T3" fmla="*/ 653 h 924"/>
                  <a:gd name="T4" fmla="*/ 174 w 245"/>
                  <a:gd name="T5" fmla="*/ 924 h 924"/>
                  <a:gd name="T6" fmla="*/ 0 w 245"/>
                  <a:gd name="T7" fmla="*/ 924 h 924"/>
                  <a:gd name="T8" fmla="*/ 245 w 245"/>
                  <a:gd name="T9" fmla="*/ 0 h 924"/>
                </a:gdLst>
                <a:ahLst/>
                <a:cxnLst>
                  <a:cxn ang="0">
                    <a:pos x="T0" y="T1"/>
                  </a:cxn>
                  <a:cxn ang="0">
                    <a:pos x="T2" y="T3"/>
                  </a:cxn>
                  <a:cxn ang="0">
                    <a:pos x="T4" y="T5"/>
                  </a:cxn>
                  <a:cxn ang="0">
                    <a:pos x="T6" y="T7"/>
                  </a:cxn>
                  <a:cxn ang="0">
                    <a:pos x="T8" y="T9"/>
                  </a:cxn>
                </a:cxnLst>
                <a:rect l="0" t="0" r="r" b="b"/>
                <a:pathLst>
                  <a:path w="245" h="924">
                    <a:moveTo>
                      <a:pt x="245" y="0"/>
                    </a:moveTo>
                    <a:lnTo>
                      <a:pt x="245" y="653"/>
                    </a:lnTo>
                    <a:lnTo>
                      <a:pt x="174" y="924"/>
                    </a:lnTo>
                    <a:lnTo>
                      <a:pt x="0" y="924"/>
                    </a:lnTo>
                    <a:lnTo>
                      <a:pt x="2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38">
                <a:extLst>
                  <a:ext uri="{FF2B5EF4-FFF2-40B4-BE49-F238E27FC236}">
                    <a16:creationId xmlns:a16="http://schemas.microsoft.com/office/drawing/2014/main" id="{1A22C031-0F79-404A-94F1-7DD08ECEF88D}"/>
                  </a:ext>
                </a:extLst>
              </p:cNvPr>
              <p:cNvSpPr>
                <a:spLocks noChangeArrowheads="1"/>
              </p:cNvSpPr>
              <p:nvPr/>
            </p:nvSpPr>
            <p:spPr bwMode="auto">
              <a:xfrm>
                <a:off x="6498" y="618"/>
                <a:ext cx="43" cy="1377"/>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39">
                <a:extLst>
                  <a:ext uri="{FF2B5EF4-FFF2-40B4-BE49-F238E27FC236}">
                    <a16:creationId xmlns:a16="http://schemas.microsoft.com/office/drawing/2014/main" id="{81F3A000-A67D-4616-8F37-A0EC7A2C4A2B}"/>
                  </a:ext>
                </a:extLst>
              </p:cNvPr>
              <p:cNvSpPr>
                <a:spLocks noChangeArrowheads="1"/>
              </p:cNvSpPr>
              <p:nvPr/>
            </p:nvSpPr>
            <p:spPr bwMode="auto">
              <a:xfrm>
                <a:off x="6498" y="618"/>
                <a:ext cx="43" cy="1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40">
                <a:extLst>
                  <a:ext uri="{FF2B5EF4-FFF2-40B4-BE49-F238E27FC236}">
                    <a16:creationId xmlns:a16="http://schemas.microsoft.com/office/drawing/2014/main" id="{FDAF1A55-DF29-486D-8A00-434B23E225A9}"/>
                  </a:ext>
                </a:extLst>
              </p:cNvPr>
              <p:cNvSpPr>
                <a:spLocks noChangeArrowheads="1"/>
              </p:cNvSpPr>
              <p:nvPr/>
            </p:nvSpPr>
            <p:spPr bwMode="auto">
              <a:xfrm>
                <a:off x="5919" y="898"/>
                <a:ext cx="1199" cy="45"/>
              </a:xfrm>
              <a:prstGeom prst="rect">
                <a:avLst/>
              </a:prstGeom>
              <a:solidFill>
                <a:srgbClr val="E9E9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1">
                <a:extLst>
                  <a:ext uri="{FF2B5EF4-FFF2-40B4-BE49-F238E27FC236}">
                    <a16:creationId xmlns:a16="http://schemas.microsoft.com/office/drawing/2014/main" id="{5D726F85-1980-4D4C-90D9-9F654E98AC0C}"/>
                  </a:ext>
                </a:extLst>
              </p:cNvPr>
              <p:cNvSpPr>
                <a:spLocks/>
              </p:cNvSpPr>
              <p:nvPr/>
            </p:nvSpPr>
            <p:spPr bwMode="auto">
              <a:xfrm>
                <a:off x="6869" y="2323"/>
                <a:ext cx="463" cy="767"/>
              </a:xfrm>
              <a:custGeom>
                <a:avLst/>
                <a:gdLst>
                  <a:gd name="T0" fmla="*/ 183 w 195"/>
                  <a:gd name="T1" fmla="*/ 168 h 323"/>
                  <a:gd name="T2" fmla="*/ 163 w 195"/>
                  <a:gd name="T3" fmla="*/ 166 h 323"/>
                  <a:gd name="T4" fmla="*/ 144 w 195"/>
                  <a:gd name="T5" fmla="*/ 128 h 323"/>
                  <a:gd name="T6" fmla="*/ 172 w 195"/>
                  <a:gd name="T7" fmla="*/ 105 h 323"/>
                  <a:gd name="T8" fmla="*/ 160 w 195"/>
                  <a:gd name="T9" fmla="*/ 91 h 323"/>
                  <a:gd name="T10" fmla="*/ 152 w 195"/>
                  <a:gd name="T11" fmla="*/ 92 h 323"/>
                  <a:gd name="T12" fmla="*/ 144 w 195"/>
                  <a:gd name="T13" fmla="*/ 143 h 323"/>
                  <a:gd name="T14" fmla="*/ 121 w 195"/>
                  <a:gd name="T15" fmla="*/ 223 h 323"/>
                  <a:gd name="T16" fmla="*/ 103 w 195"/>
                  <a:gd name="T17" fmla="*/ 250 h 323"/>
                  <a:gd name="T18" fmla="*/ 99 w 195"/>
                  <a:gd name="T19" fmla="*/ 158 h 323"/>
                  <a:gd name="T20" fmla="*/ 119 w 195"/>
                  <a:gd name="T21" fmla="*/ 80 h 323"/>
                  <a:gd name="T22" fmla="*/ 99 w 195"/>
                  <a:gd name="T23" fmla="*/ 39 h 323"/>
                  <a:gd name="T24" fmla="*/ 113 w 195"/>
                  <a:gd name="T25" fmla="*/ 14 h 323"/>
                  <a:gd name="T26" fmla="*/ 74 w 195"/>
                  <a:gd name="T27" fmla="*/ 20 h 323"/>
                  <a:gd name="T28" fmla="*/ 91 w 195"/>
                  <a:gd name="T29" fmla="*/ 44 h 323"/>
                  <a:gd name="T30" fmla="*/ 112 w 195"/>
                  <a:gd name="T31" fmla="*/ 76 h 323"/>
                  <a:gd name="T32" fmla="*/ 91 w 195"/>
                  <a:gd name="T33" fmla="*/ 111 h 323"/>
                  <a:gd name="T34" fmla="*/ 82 w 195"/>
                  <a:gd name="T35" fmla="*/ 90 h 323"/>
                  <a:gd name="T36" fmla="*/ 65 w 195"/>
                  <a:gd name="T37" fmla="*/ 125 h 323"/>
                  <a:gd name="T38" fmla="*/ 86 w 195"/>
                  <a:gd name="T39" fmla="*/ 126 h 323"/>
                  <a:gd name="T40" fmla="*/ 91 w 195"/>
                  <a:gd name="T41" fmla="*/ 165 h 323"/>
                  <a:gd name="T42" fmla="*/ 91 w 195"/>
                  <a:gd name="T43" fmla="*/ 222 h 323"/>
                  <a:gd name="T44" fmla="*/ 74 w 195"/>
                  <a:gd name="T45" fmla="*/ 197 h 323"/>
                  <a:gd name="T46" fmla="*/ 51 w 195"/>
                  <a:gd name="T47" fmla="*/ 118 h 323"/>
                  <a:gd name="T48" fmla="*/ 43 w 195"/>
                  <a:gd name="T49" fmla="*/ 67 h 323"/>
                  <a:gd name="T50" fmla="*/ 35 w 195"/>
                  <a:gd name="T51" fmla="*/ 66 h 323"/>
                  <a:gd name="T52" fmla="*/ 23 w 195"/>
                  <a:gd name="T53" fmla="*/ 80 h 323"/>
                  <a:gd name="T54" fmla="*/ 51 w 195"/>
                  <a:gd name="T55" fmla="*/ 103 h 323"/>
                  <a:gd name="T56" fmla="*/ 32 w 195"/>
                  <a:gd name="T57" fmla="*/ 141 h 323"/>
                  <a:gd name="T58" fmla="*/ 13 w 195"/>
                  <a:gd name="T59" fmla="*/ 143 h 323"/>
                  <a:gd name="T60" fmla="*/ 35 w 195"/>
                  <a:gd name="T61" fmla="*/ 166 h 323"/>
                  <a:gd name="T62" fmla="*/ 83 w 195"/>
                  <a:gd name="T63" fmla="*/ 275 h 323"/>
                  <a:gd name="T64" fmla="*/ 86 w 195"/>
                  <a:gd name="T65" fmla="*/ 281 h 323"/>
                  <a:gd name="T66" fmla="*/ 86 w 195"/>
                  <a:gd name="T67" fmla="*/ 289 h 323"/>
                  <a:gd name="T68" fmla="*/ 90 w 195"/>
                  <a:gd name="T69" fmla="*/ 287 h 323"/>
                  <a:gd name="T70" fmla="*/ 96 w 195"/>
                  <a:gd name="T71" fmla="*/ 295 h 323"/>
                  <a:gd name="T72" fmla="*/ 98 w 195"/>
                  <a:gd name="T73" fmla="*/ 323 h 323"/>
                  <a:gd name="T74" fmla="*/ 113 w 195"/>
                  <a:gd name="T75" fmla="*/ 301 h 323"/>
                  <a:gd name="T76" fmla="*/ 161 w 195"/>
                  <a:gd name="T77" fmla="*/ 192 h 323"/>
                  <a:gd name="T78" fmla="*/ 183 w 195"/>
                  <a:gd name="T79" fmla="*/ 16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5" h="323">
                    <a:moveTo>
                      <a:pt x="183" y="168"/>
                    </a:moveTo>
                    <a:cubicBezTo>
                      <a:pt x="175" y="156"/>
                      <a:pt x="163" y="166"/>
                      <a:pt x="163" y="166"/>
                    </a:cubicBezTo>
                    <a:cubicBezTo>
                      <a:pt x="165" y="144"/>
                      <a:pt x="144" y="128"/>
                      <a:pt x="144" y="128"/>
                    </a:cubicBezTo>
                    <a:cubicBezTo>
                      <a:pt x="144" y="128"/>
                      <a:pt x="169" y="128"/>
                      <a:pt x="172" y="105"/>
                    </a:cubicBezTo>
                    <a:cubicBezTo>
                      <a:pt x="174" y="87"/>
                      <a:pt x="168" y="89"/>
                      <a:pt x="160" y="91"/>
                    </a:cubicBezTo>
                    <a:cubicBezTo>
                      <a:pt x="158" y="92"/>
                      <a:pt x="155" y="92"/>
                      <a:pt x="152" y="92"/>
                    </a:cubicBezTo>
                    <a:cubicBezTo>
                      <a:pt x="141" y="92"/>
                      <a:pt x="130" y="125"/>
                      <a:pt x="144" y="143"/>
                    </a:cubicBezTo>
                    <a:cubicBezTo>
                      <a:pt x="159" y="161"/>
                      <a:pt x="155" y="192"/>
                      <a:pt x="121" y="223"/>
                    </a:cubicBezTo>
                    <a:cubicBezTo>
                      <a:pt x="113" y="230"/>
                      <a:pt x="107" y="240"/>
                      <a:pt x="103" y="250"/>
                    </a:cubicBezTo>
                    <a:cubicBezTo>
                      <a:pt x="106" y="223"/>
                      <a:pt x="107" y="184"/>
                      <a:pt x="99" y="158"/>
                    </a:cubicBezTo>
                    <a:cubicBezTo>
                      <a:pt x="86" y="114"/>
                      <a:pt x="112" y="102"/>
                      <a:pt x="119" y="80"/>
                    </a:cubicBezTo>
                    <a:cubicBezTo>
                      <a:pt x="127" y="58"/>
                      <a:pt x="99" y="39"/>
                      <a:pt x="99" y="39"/>
                    </a:cubicBezTo>
                    <a:cubicBezTo>
                      <a:pt x="99" y="39"/>
                      <a:pt x="125" y="27"/>
                      <a:pt x="113" y="14"/>
                    </a:cubicBezTo>
                    <a:cubicBezTo>
                      <a:pt x="100" y="0"/>
                      <a:pt x="74" y="2"/>
                      <a:pt x="74" y="20"/>
                    </a:cubicBezTo>
                    <a:cubicBezTo>
                      <a:pt x="74" y="38"/>
                      <a:pt x="91" y="44"/>
                      <a:pt x="91" y="44"/>
                    </a:cubicBezTo>
                    <a:cubicBezTo>
                      <a:pt x="91" y="44"/>
                      <a:pt x="112" y="65"/>
                      <a:pt x="112" y="76"/>
                    </a:cubicBezTo>
                    <a:cubicBezTo>
                      <a:pt x="112" y="87"/>
                      <a:pt x="91" y="111"/>
                      <a:pt x="91" y="111"/>
                    </a:cubicBezTo>
                    <a:cubicBezTo>
                      <a:pt x="91" y="111"/>
                      <a:pt x="101" y="91"/>
                      <a:pt x="82" y="90"/>
                    </a:cubicBezTo>
                    <a:cubicBezTo>
                      <a:pt x="64" y="89"/>
                      <a:pt x="58" y="114"/>
                      <a:pt x="65" y="125"/>
                    </a:cubicBezTo>
                    <a:cubicBezTo>
                      <a:pt x="73" y="136"/>
                      <a:pt x="86" y="126"/>
                      <a:pt x="86" y="126"/>
                    </a:cubicBezTo>
                    <a:cubicBezTo>
                      <a:pt x="86" y="126"/>
                      <a:pt x="87" y="150"/>
                      <a:pt x="91" y="165"/>
                    </a:cubicBezTo>
                    <a:cubicBezTo>
                      <a:pt x="93" y="171"/>
                      <a:pt x="92" y="196"/>
                      <a:pt x="91" y="222"/>
                    </a:cubicBezTo>
                    <a:cubicBezTo>
                      <a:pt x="87" y="212"/>
                      <a:pt x="82" y="204"/>
                      <a:pt x="74" y="197"/>
                    </a:cubicBezTo>
                    <a:cubicBezTo>
                      <a:pt x="40" y="167"/>
                      <a:pt x="36" y="136"/>
                      <a:pt x="51" y="118"/>
                    </a:cubicBezTo>
                    <a:cubicBezTo>
                      <a:pt x="66" y="99"/>
                      <a:pt x="54" y="67"/>
                      <a:pt x="43" y="67"/>
                    </a:cubicBezTo>
                    <a:cubicBezTo>
                      <a:pt x="40" y="67"/>
                      <a:pt x="38" y="66"/>
                      <a:pt x="35" y="66"/>
                    </a:cubicBezTo>
                    <a:cubicBezTo>
                      <a:pt x="27" y="64"/>
                      <a:pt x="21" y="62"/>
                      <a:pt x="23" y="80"/>
                    </a:cubicBezTo>
                    <a:cubicBezTo>
                      <a:pt x="27" y="103"/>
                      <a:pt x="51" y="103"/>
                      <a:pt x="51" y="103"/>
                    </a:cubicBezTo>
                    <a:cubicBezTo>
                      <a:pt x="51" y="103"/>
                      <a:pt x="30" y="118"/>
                      <a:pt x="32" y="141"/>
                    </a:cubicBezTo>
                    <a:cubicBezTo>
                      <a:pt x="32" y="141"/>
                      <a:pt x="20" y="131"/>
                      <a:pt x="13" y="143"/>
                    </a:cubicBezTo>
                    <a:cubicBezTo>
                      <a:pt x="0" y="164"/>
                      <a:pt x="30" y="177"/>
                      <a:pt x="35" y="166"/>
                    </a:cubicBezTo>
                    <a:cubicBezTo>
                      <a:pt x="35" y="166"/>
                      <a:pt x="98" y="211"/>
                      <a:pt x="83" y="275"/>
                    </a:cubicBezTo>
                    <a:cubicBezTo>
                      <a:pt x="86" y="281"/>
                      <a:pt x="86" y="281"/>
                      <a:pt x="86" y="281"/>
                    </a:cubicBezTo>
                    <a:cubicBezTo>
                      <a:pt x="86" y="286"/>
                      <a:pt x="86" y="289"/>
                      <a:pt x="86" y="289"/>
                    </a:cubicBezTo>
                    <a:cubicBezTo>
                      <a:pt x="90" y="287"/>
                      <a:pt x="90" y="287"/>
                      <a:pt x="90" y="287"/>
                    </a:cubicBezTo>
                    <a:cubicBezTo>
                      <a:pt x="96" y="295"/>
                      <a:pt x="96" y="295"/>
                      <a:pt x="96" y="295"/>
                    </a:cubicBezTo>
                    <a:cubicBezTo>
                      <a:pt x="96" y="311"/>
                      <a:pt x="98" y="323"/>
                      <a:pt x="98" y="323"/>
                    </a:cubicBezTo>
                    <a:cubicBezTo>
                      <a:pt x="113" y="301"/>
                      <a:pt x="113" y="301"/>
                      <a:pt x="113" y="301"/>
                    </a:cubicBezTo>
                    <a:cubicBezTo>
                      <a:pt x="97" y="237"/>
                      <a:pt x="161" y="192"/>
                      <a:pt x="161" y="192"/>
                    </a:cubicBezTo>
                    <a:cubicBezTo>
                      <a:pt x="166" y="202"/>
                      <a:pt x="195" y="189"/>
                      <a:pt x="183" y="16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2">
                <a:extLst>
                  <a:ext uri="{FF2B5EF4-FFF2-40B4-BE49-F238E27FC236}">
                    <a16:creationId xmlns:a16="http://schemas.microsoft.com/office/drawing/2014/main" id="{C0762266-819B-4211-AD30-97779F87013C}"/>
                  </a:ext>
                </a:extLst>
              </p:cNvPr>
              <p:cNvSpPr>
                <a:spLocks noEditPoints="1"/>
              </p:cNvSpPr>
              <p:nvPr/>
            </p:nvSpPr>
            <p:spPr bwMode="auto">
              <a:xfrm>
                <a:off x="6893" y="2335"/>
                <a:ext cx="418" cy="622"/>
              </a:xfrm>
              <a:custGeom>
                <a:avLst/>
                <a:gdLst>
                  <a:gd name="T0" fmla="*/ 22 w 176"/>
                  <a:gd name="T1" fmla="*/ 133 h 262"/>
                  <a:gd name="T2" fmla="*/ 22 w 176"/>
                  <a:gd name="T3" fmla="*/ 136 h 262"/>
                  <a:gd name="T4" fmla="*/ 12 w 176"/>
                  <a:gd name="T5" fmla="*/ 132 h 262"/>
                  <a:gd name="T6" fmla="*/ 0 w 176"/>
                  <a:gd name="T7" fmla="*/ 148 h 262"/>
                  <a:gd name="T8" fmla="*/ 25 w 176"/>
                  <a:gd name="T9" fmla="*/ 161 h 262"/>
                  <a:gd name="T10" fmla="*/ 29 w 176"/>
                  <a:gd name="T11" fmla="*/ 111 h 262"/>
                  <a:gd name="T12" fmla="*/ 13 w 176"/>
                  <a:gd name="T13" fmla="*/ 68 h 262"/>
                  <a:gd name="T14" fmla="*/ 28 w 176"/>
                  <a:gd name="T15" fmla="*/ 95 h 262"/>
                  <a:gd name="T16" fmla="*/ 25 w 176"/>
                  <a:gd name="T17" fmla="*/ 61 h 262"/>
                  <a:gd name="T18" fmla="*/ 82 w 176"/>
                  <a:gd name="T19" fmla="*/ 0 h 262"/>
                  <a:gd name="T20" fmla="*/ 81 w 176"/>
                  <a:gd name="T21" fmla="*/ 39 h 262"/>
                  <a:gd name="T22" fmla="*/ 102 w 176"/>
                  <a:gd name="T23" fmla="*/ 71 h 262"/>
                  <a:gd name="T24" fmla="*/ 81 w 176"/>
                  <a:gd name="T25" fmla="*/ 106 h 262"/>
                  <a:gd name="T26" fmla="*/ 81 w 176"/>
                  <a:gd name="T27" fmla="*/ 106 h 262"/>
                  <a:gd name="T28" fmla="*/ 72 w 176"/>
                  <a:gd name="T29" fmla="*/ 85 h 262"/>
                  <a:gd name="T30" fmla="*/ 59 w 176"/>
                  <a:gd name="T31" fmla="*/ 90 h 262"/>
                  <a:gd name="T32" fmla="*/ 65 w 176"/>
                  <a:gd name="T33" fmla="*/ 125 h 262"/>
                  <a:gd name="T34" fmla="*/ 81 w 176"/>
                  <a:gd name="T35" fmla="*/ 160 h 262"/>
                  <a:gd name="T36" fmla="*/ 81 w 176"/>
                  <a:gd name="T37" fmla="*/ 217 h 262"/>
                  <a:gd name="T38" fmla="*/ 66 w 176"/>
                  <a:gd name="T39" fmla="*/ 211 h 262"/>
                  <a:gd name="T40" fmla="*/ 74 w 176"/>
                  <a:gd name="T41" fmla="*/ 262 h 262"/>
                  <a:gd name="T42" fmla="*/ 151 w 176"/>
                  <a:gd name="T43" fmla="*/ 187 h 262"/>
                  <a:gd name="T44" fmla="*/ 176 w 176"/>
                  <a:gd name="T45" fmla="*/ 173 h 262"/>
                  <a:gd name="T46" fmla="*/ 164 w 176"/>
                  <a:gd name="T47" fmla="*/ 157 h 262"/>
                  <a:gd name="T48" fmla="*/ 153 w 176"/>
                  <a:gd name="T49" fmla="*/ 161 h 262"/>
                  <a:gd name="T50" fmla="*/ 154 w 176"/>
                  <a:gd name="T51" fmla="*/ 159 h 262"/>
                  <a:gd name="T52" fmla="*/ 134 w 176"/>
                  <a:gd name="T53" fmla="*/ 123 h 262"/>
                  <a:gd name="T54" fmla="*/ 162 w 176"/>
                  <a:gd name="T55" fmla="*/ 100 h 262"/>
                  <a:gd name="T56" fmla="*/ 157 w 176"/>
                  <a:gd name="T57" fmla="*/ 85 h 262"/>
                  <a:gd name="T58" fmla="*/ 143 w 176"/>
                  <a:gd name="T59" fmla="*/ 87 h 262"/>
                  <a:gd name="T60" fmla="*/ 142 w 176"/>
                  <a:gd name="T61" fmla="*/ 87 h 262"/>
                  <a:gd name="T62" fmla="*/ 134 w 176"/>
                  <a:gd name="T63" fmla="*/ 138 h 262"/>
                  <a:gd name="T64" fmla="*/ 111 w 176"/>
                  <a:gd name="T65" fmla="*/ 218 h 262"/>
                  <a:gd name="T66" fmla="*/ 93 w 176"/>
                  <a:gd name="T67" fmla="*/ 245 h 262"/>
                  <a:gd name="T68" fmla="*/ 95 w 176"/>
                  <a:gd name="T69" fmla="*/ 205 h 262"/>
                  <a:gd name="T70" fmla="*/ 85 w 176"/>
                  <a:gd name="T71" fmla="*/ 130 h 262"/>
                  <a:gd name="T72" fmla="*/ 111 w 176"/>
                  <a:gd name="T73" fmla="*/ 67 h 262"/>
                  <a:gd name="T74" fmla="*/ 89 w 176"/>
                  <a:gd name="T75" fmla="*/ 34 h 262"/>
                  <a:gd name="T76" fmla="*/ 106 w 176"/>
                  <a:gd name="T77" fmla="*/ 16 h 262"/>
                  <a:gd name="T78" fmla="*/ 82 w 176"/>
                  <a:gd name="T7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262">
                    <a:moveTo>
                      <a:pt x="29" y="111"/>
                    </a:moveTo>
                    <a:cubicBezTo>
                      <a:pt x="25" y="117"/>
                      <a:pt x="22" y="124"/>
                      <a:pt x="22" y="133"/>
                    </a:cubicBezTo>
                    <a:cubicBezTo>
                      <a:pt x="22" y="134"/>
                      <a:pt x="22" y="135"/>
                      <a:pt x="22" y="136"/>
                    </a:cubicBezTo>
                    <a:cubicBezTo>
                      <a:pt x="22" y="136"/>
                      <a:pt x="22" y="136"/>
                      <a:pt x="22" y="136"/>
                    </a:cubicBezTo>
                    <a:cubicBezTo>
                      <a:pt x="22" y="136"/>
                      <a:pt x="22" y="136"/>
                      <a:pt x="22" y="136"/>
                    </a:cubicBezTo>
                    <a:cubicBezTo>
                      <a:pt x="22" y="136"/>
                      <a:pt x="17" y="132"/>
                      <a:pt x="12" y="132"/>
                    </a:cubicBezTo>
                    <a:cubicBezTo>
                      <a:pt x="9" y="132"/>
                      <a:pt x="5" y="133"/>
                      <a:pt x="3" y="138"/>
                    </a:cubicBezTo>
                    <a:cubicBezTo>
                      <a:pt x="1" y="141"/>
                      <a:pt x="0" y="145"/>
                      <a:pt x="0" y="148"/>
                    </a:cubicBezTo>
                    <a:cubicBezTo>
                      <a:pt x="0" y="158"/>
                      <a:pt x="10" y="165"/>
                      <a:pt x="18" y="165"/>
                    </a:cubicBezTo>
                    <a:cubicBezTo>
                      <a:pt x="21" y="165"/>
                      <a:pt x="24" y="164"/>
                      <a:pt x="25" y="161"/>
                    </a:cubicBezTo>
                    <a:cubicBezTo>
                      <a:pt x="25" y="161"/>
                      <a:pt x="28" y="164"/>
                      <a:pt x="33" y="168"/>
                    </a:cubicBezTo>
                    <a:cubicBezTo>
                      <a:pt x="29" y="111"/>
                      <a:pt x="29" y="111"/>
                      <a:pt x="29" y="111"/>
                    </a:cubicBezTo>
                    <a:moveTo>
                      <a:pt x="18" y="60"/>
                    </a:moveTo>
                    <a:cubicBezTo>
                      <a:pt x="15" y="60"/>
                      <a:pt x="13" y="61"/>
                      <a:pt x="13" y="68"/>
                    </a:cubicBezTo>
                    <a:cubicBezTo>
                      <a:pt x="13" y="70"/>
                      <a:pt x="13" y="72"/>
                      <a:pt x="13" y="75"/>
                    </a:cubicBezTo>
                    <a:cubicBezTo>
                      <a:pt x="15" y="86"/>
                      <a:pt x="22" y="92"/>
                      <a:pt x="28" y="95"/>
                    </a:cubicBezTo>
                    <a:cubicBezTo>
                      <a:pt x="26" y="61"/>
                      <a:pt x="26" y="61"/>
                      <a:pt x="26" y="61"/>
                    </a:cubicBezTo>
                    <a:cubicBezTo>
                      <a:pt x="25" y="61"/>
                      <a:pt x="25" y="61"/>
                      <a:pt x="25" y="61"/>
                    </a:cubicBezTo>
                    <a:cubicBezTo>
                      <a:pt x="23" y="60"/>
                      <a:pt x="20" y="60"/>
                      <a:pt x="18" y="60"/>
                    </a:cubicBezTo>
                    <a:moveTo>
                      <a:pt x="82" y="0"/>
                    </a:moveTo>
                    <a:cubicBezTo>
                      <a:pt x="72" y="0"/>
                      <a:pt x="64" y="5"/>
                      <a:pt x="64" y="15"/>
                    </a:cubicBezTo>
                    <a:cubicBezTo>
                      <a:pt x="64" y="33"/>
                      <a:pt x="81" y="39"/>
                      <a:pt x="81" y="39"/>
                    </a:cubicBezTo>
                    <a:cubicBezTo>
                      <a:pt x="81" y="39"/>
                      <a:pt x="102" y="60"/>
                      <a:pt x="102" y="71"/>
                    </a:cubicBezTo>
                    <a:cubicBezTo>
                      <a:pt x="102" y="71"/>
                      <a:pt x="102" y="71"/>
                      <a:pt x="102" y="71"/>
                    </a:cubicBezTo>
                    <a:cubicBezTo>
                      <a:pt x="102" y="71"/>
                      <a:pt x="102" y="71"/>
                      <a:pt x="102" y="71"/>
                    </a:cubicBezTo>
                    <a:cubicBezTo>
                      <a:pt x="102" y="82"/>
                      <a:pt x="81" y="106"/>
                      <a:pt x="81" y="106"/>
                    </a:cubicBezTo>
                    <a:cubicBezTo>
                      <a:pt x="81" y="106"/>
                      <a:pt x="81" y="106"/>
                      <a:pt x="81" y="106"/>
                    </a:cubicBezTo>
                    <a:cubicBezTo>
                      <a:pt x="81" y="106"/>
                      <a:pt x="81" y="106"/>
                      <a:pt x="81" y="106"/>
                    </a:cubicBezTo>
                    <a:cubicBezTo>
                      <a:pt x="81" y="106"/>
                      <a:pt x="84" y="101"/>
                      <a:pt x="84" y="96"/>
                    </a:cubicBezTo>
                    <a:cubicBezTo>
                      <a:pt x="84" y="91"/>
                      <a:pt x="81" y="85"/>
                      <a:pt x="72" y="85"/>
                    </a:cubicBezTo>
                    <a:cubicBezTo>
                      <a:pt x="72" y="85"/>
                      <a:pt x="72" y="85"/>
                      <a:pt x="71" y="85"/>
                    </a:cubicBezTo>
                    <a:cubicBezTo>
                      <a:pt x="66" y="85"/>
                      <a:pt x="62" y="87"/>
                      <a:pt x="59" y="90"/>
                    </a:cubicBezTo>
                    <a:cubicBezTo>
                      <a:pt x="61" y="124"/>
                      <a:pt x="61" y="124"/>
                      <a:pt x="61" y="124"/>
                    </a:cubicBezTo>
                    <a:cubicBezTo>
                      <a:pt x="62" y="125"/>
                      <a:pt x="63" y="125"/>
                      <a:pt x="65" y="125"/>
                    </a:cubicBezTo>
                    <a:cubicBezTo>
                      <a:pt x="71" y="125"/>
                      <a:pt x="76" y="121"/>
                      <a:pt x="76" y="121"/>
                    </a:cubicBezTo>
                    <a:cubicBezTo>
                      <a:pt x="76" y="121"/>
                      <a:pt x="77" y="145"/>
                      <a:pt x="81" y="160"/>
                    </a:cubicBezTo>
                    <a:cubicBezTo>
                      <a:pt x="82" y="162"/>
                      <a:pt x="82" y="168"/>
                      <a:pt x="82" y="175"/>
                    </a:cubicBezTo>
                    <a:cubicBezTo>
                      <a:pt x="82" y="186"/>
                      <a:pt x="82" y="201"/>
                      <a:pt x="81" y="217"/>
                    </a:cubicBezTo>
                    <a:cubicBezTo>
                      <a:pt x="77" y="207"/>
                      <a:pt x="72" y="199"/>
                      <a:pt x="65" y="192"/>
                    </a:cubicBezTo>
                    <a:cubicBezTo>
                      <a:pt x="66" y="211"/>
                      <a:pt x="66" y="211"/>
                      <a:pt x="66" y="211"/>
                    </a:cubicBezTo>
                    <a:cubicBezTo>
                      <a:pt x="71" y="222"/>
                      <a:pt x="75" y="236"/>
                      <a:pt x="75" y="250"/>
                    </a:cubicBezTo>
                    <a:cubicBezTo>
                      <a:pt x="75" y="254"/>
                      <a:pt x="75" y="258"/>
                      <a:pt x="74" y="262"/>
                    </a:cubicBezTo>
                    <a:cubicBezTo>
                      <a:pt x="101" y="262"/>
                      <a:pt x="101" y="262"/>
                      <a:pt x="101" y="262"/>
                    </a:cubicBezTo>
                    <a:cubicBezTo>
                      <a:pt x="109" y="216"/>
                      <a:pt x="151" y="187"/>
                      <a:pt x="151" y="187"/>
                    </a:cubicBezTo>
                    <a:cubicBezTo>
                      <a:pt x="152" y="189"/>
                      <a:pt x="154" y="190"/>
                      <a:pt x="158" y="190"/>
                    </a:cubicBezTo>
                    <a:cubicBezTo>
                      <a:pt x="165" y="190"/>
                      <a:pt x="176" y="184"/>
                      <a:pt x="176" y="173"/>
                    </a:cubicBezTo>
                    <a:cubicBezTo>
                      <a:pt x="176" y="170"/>
                      <a:pt x="175" y="167"/>
                      <a:pt x="173" y="163"/>
                    </a:cubicBezTo>
                    <a:cubicBezTo>
                      <a:pt x="170" y="159"/>
                      <a:pt x="167" y="157"/>
                      <a:pt x="164" y="157"/>
                    </a:cubicBezTo>
                    <a:cubicBezTo>
                      <a:pt x="158" y="157"/>
                      <a:pt x="153" y="161"/>
                      <a:pt x="153" y="161"/>
                    </a:cubicBezTo>
                    <a:cubicBezTo>
                      <a:pt x="153" y="161"/>
                      <a:pt x="153" y="161"/>
                      <a:pt x="153" y="161"/>
                    </a:cubicBezTo>
                    <a:cubicBezTo>
                      <a:pt x="153" y="161"/>
                      <a:pt x="153" y="161"/>
                      <a:pt x="153" y="161"/>
                    </a:cubicBezTo>
                    <a:cubicBezTo>
                      <a:pt x="154" y="161"/>
                      <a:pt x="154" y="160"/>
                      <a:pt x="154" y="159"/>
                    </a:cubicBezTo>
                    <a:cubicBezTo>
                      <a:pt x="154" y="137"/>
                      <a:pt x="134" y="123"/>
                      <a:pt x="134" y="123"/>
                    </a:cubicBezTo>
                    <a:cubicBezTo>
                      <a:pt x="134" y="123"/>
                      <a:pt x="134" y="123"/>
                      <a:pt x="134" y="123"/>
                    </a:cubicBezTo>
                    <a:cubicBezTo>
                      <a:pt x="134" y="123"/>
                      <a:pt x="134" y="123"/>
                      <a:pt x="134" y="123"/>
                    </a:cubicBezTo>
                    <a:cubicBezTo>
                      <a:pt x="134" y="123"/>
                      <a:pt x="159" y="123"/>
                      <a:pt x="162" y="100"/>
                    </a:cubicBezTo>
                    <a:cubicBezTo>
                      <a:pt x="162" y="97"/>
                      <a:pt x="163" y="95"/>
                      <a:pt x="163" y="93"/>
                    </a:cubicBezTo>
                    <a:cubicBezTo>
                      <a:pt x="163" y="87"/>
                      <a:pt x="160" y="85"/>
                      <a:pt x="157" y="85"/>
                    </a:cubicBezTo>
                    <a:cubicBezTo>
                      <a:pt x="155" y="85"/>
                      <a:pt x="153" y="86"/>
                      <a:pt x="150" y="86"/>
                    </a:cubicBezTo>
                    <a:cubicBezTo>
                      <a:pt x="148" y="87"/>
                      <a:pt x="145" y="87"/>
                      <a:pt x="143" y="87"/>
                    </a:cubicBezTo>
                    <a:cubicBezTo>
                      <a:pt x="142" y="87"/>
                      <a:pt x="142" y="87"/>
                      <a:pt x="142" y="87"/>
                    </a:cubicBezTo>
                    <a:cubicBezTo>
                      <a:pt x="142" y="87"/>
                      <a:pt x="142" y="87"/>
                      <a:pt x="142" y="87"/>
                    </a:cubicBezTo>
                    <a:cubicBezTo>
                      <a:pt x="135" y="87"/>
                      <a:pt x="127" y="102"/>
                      <a:pt x="127" y="117"/>
                    </a:cubicBezTo>
                    <a:cubicBezTo>
                      <a:pt x="127" y="124"/>
                      <a:pt x="129" y="132"/>
                      <a:pt x="134" y="138"/>
                    </a:cubicBezTo>
                    <a:cubicBezTo>
                      <a:pt x="139" y="145"/>
                      <a:pt x="142" y="153"/>
                      <a:pt x="142" y="162"/>
                    </a:cubicBezTo>
                    <a:cubicBezTo>
                      <a:pt x="142" y="178"/>
                      <a:pt x="133" y="198"/>
                      <a:pt x="111" y="218"/>
                    </a:cubicBezTo>
                    <a:cubicBezTo>
                      <a:pt x="103" y="225"/>
                      <a:pt x="97" y="235"/>
                      <a:pt x="93" y="245"/>
                    </a:cubicBezTo>
                    <a:cubicBezTo>
                      <a:pt x="93" y="245"/>
                      <a:pt x="93" y="245"/>
                      <a:pt x="93" y="245"/>
                    </a:cubicBezTo>
                    <a:cubicBezTo>
                      <a:pt x="93" y="245"/>
                      <a:pt x="93" y="245"/>
                      <a:pt x="93" y="245"/>
                    </a:cubicBezTo>
                    <a:cubicBezTo>
                      <a:pt x="95" y="233"/>
                      <a:pt x="95" y="219"/>
                      <a:pt x="95" y="205"/>
                    </a:cubicBezTo>
                    <a:cubicBezTo>
                      <a:pt x="95" y="186"/>
                      <a:pt x="94" y="167"/>
                      <a:pt x="89" y="153"/>
                    </a:cubicBezTo>
                    <a:cubicBezTo>
                      <a:pt x="87" y="144"/>
                      <a:pt x="85" y="136"/>
                      <a:pt x="85" y="130"/>
                    </a:cubicBezTo>
                    <a:cubicBezTo>
                      <a:pt x="85" y="104"/>
                      <a:pt x="103" y="92"/>
                      <a:pt x="109" y="75"/>
                    </a:cubicBezTo>
                    <a:cubicBezTo>
                      <a:pt x="110" y="72"/>
                      <a:pt x="111" y="70"/>
                      <a:pt x="111" y="67"/>
                    </a:cubicBezTo>
                    <a:cubicBezTo>
                      <a:pt x="111" y="49"/>
                      <a:pt x="89" y="34"/>
                      <a:pt x="89" y="34"/>
                    </a:cubicBezTo>
                    <a:cubicBezTo>
                      <a:pt x="89" y="34"/>
                      <a:pt x="89" y="34"/>
                      <a:pt x="89" y="34"/>
                    </a:cubicBezTo>
                    <a:cubicBezTo>
                      <a:pt x="89" y="34"/>
                      <a:pt x="89" y="34"/>
                      <a:pt x="89" y="34"/>
                    </a:cubicBezTo>
                    <a:cubicBezTo>
                      <a:pt x="89" y="34"/>
                      <a:pt x="106" y="27"/>
                      <a:pt x="106" y="16"/>
                    </a:cubicBezTo>
                    <a:cubicBezTo>
                      <a:pt x="106" y="14"/>
                      <a:pt x="105" y="11"/>
                      <a:pt x="103" y="9"/>
                    </a:cubicBezTo>
                    <a:cubicBezTo>
                      <a:pt x="97" y="3"/>
                      <a:pt x="89" y="0"/>
                      <a:pt x="82"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3">
                <a:extLst>
                  <a:ext uri="{FF2B5EF4-FFF2-40B4-BE49-F238E27FC236}">
                    <a16:creationId xmlns:a16="http://schemas.microsoft.com/office/drawing/2014/main" id="{B590880B-DA21-4E8E-845B-EB54DB1F6B40}"/>
                  </a:ext>
                </a:extLst>
              </p:cNvPr>
              <p:cNvSpPr>
                <a:spLocks/>
              </p:cNvSpPr>
              <p:nvPr/>
            </p:nvSpPr>
            <p:spPr bwMode="auto">
              <a:xfrm>
                <a:off x="6893" y="2997"/>
                <a:ext cx="418" cy="376"/>
              </a:xfrm>
              <a:custGeom>
                <a:avLst/>
                <a:gdLst>
                  <a:gd name="T0" fmla="*/ 380 w 418"/>
                  <a:gd name="T1" fmla="*/ 376 h 376"/>
                  <a:gd name="T2" fmla="*/ 35 w 418"/>
                  <a:gd name="T3" fmla="*/ 376 h 376"/>
                  <a:gd name="T4" fmla="*/ 0 w 418"/>
                  <a:gd name="T5" fmla="*/ 0 h 376"/>
                  <a:gd name="T6" fmla="*/ 418 w 418"/>
                  <a:gd name="T7" fmla="*/ 0 h 376"/>
                  <a:gd name="T8" fmla="*/ 380 w 418"/>
                  <a:gd name="T9" fmla="*/ 376 h 376"/>
                </a:gdLst>
                <a:ahLst/>
                <a:cxnLst>
                  <a:cxn ang="0">
                    <a:pos x="T0" y="T1"/>
                  </a:cxn>
                  <a:cxn ang="0">
                    <a:pos x="T2" y="T3"/>
                  </a:cxn>
                  <a:cxn ang="0">
                    <a:pos x="T4" y="T5"/>
                  </a:cxn>
                  <a:cxn ang="0">
                    <a:pos x="T6" y="T7"/>
                  </a:cxn>
                  <a:cxn ang="0">
                    <a:pos x="T8" y="T9"/>
                  </a:cxn>
                </a:cxnLst>
                <a:rect l="0" t="0" r="r" b="b"/>
                <a:pathLst>
                  <a:path w="418" h="376">
                    <a:moveTo>
                      <a:pt x="380" y="376"/>
                    </a:moveTo>
                    <a:lnTo>
                      <a:pt x="35" y="376"/>
                    </a:lnTo>
                    <a:lnTo>
                      <a:pt x="0" y="0"/>
                    </a:lnTo>
                    <a:lnTo>
                      <a:pt x="418" y="0"/>
                    </a:lnTo>
                    <a:lnTo>
                      <a:pt x="380" y="376"/>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4">
                <a:extLst>
                  <a:ext uri="{FF2B5EF4-FFF2-40B4-BE49-F238E27FC236}">
                    <a16:creationId xmlns:a16="http://schemas.microsoft.com/office/drawing/2014/main" id="{A40239FA-F402-4657-A40B-E4E31A7AD040}"/>
                  </a:ext>
                </a:extLst>
              </p:cNvPr>
              <p:cNvSpPr>
                <a:spLocks/>
              </p:cNvSpPr>
              <p:nvPr/>
            </p:nvSpPr>
            <p:spPr bwMode="auto">
              <a:xfrm>
                <a:off x="6893" y="2997"/>
                <a:ext cx="418" cy="376"/>
              </a:xfrm>
              <a:custGeom>
                <a:avLst/>
                <a:gdLst>
                  <a:gd name="T0" fmla="*/ 380 w 418"/>
                  <a:gd name="T1" fmla="*/ 376 h 376"/>
                  <a:gd name="T2" fmla="*/ 35 w 418"/>
                  <a:gd name="T3" fmla="*/ 376 h 376"/>
                  <a:gd name="T4" fmla="*/ 0 w 418"/>
                  <a:gd name="T5" fmla="*/ 0 h 376"/>
                  <a:gd name="T6" fmla="*/ 418 w 418"/>
                  <a:gd name="T7" fmla="*/ 0 h 376"/>
                  <a:gd name="T8" fmla="*/ 380 w 418"/>
                  <a:gd name="T9" fmla="*/ 376 h 376"/>
                </a:gdLst>
                <a:ahLst/>
                <a:cxnLst>
                  <a:cxn ang="0">
                    <a:pos x="T0" y="T1"/>
                  </a:cxn>
                  <a:cxn ang="0">
                    <a:pos x="T2" y="T3"/>
                  </a:cxn>
                  <a:cxn ang="0">
                    <a:pos x="T4" y="T5"/>
                  </a:cxn>
                  <a:cxn ang="0">
                    <a:pos x="T6" y="T7"/>
                  </a:cxn>
                  <a:cxn ang="0">
                    <a:pos x="T8" y="T9"/>
                  </a:cxn>
                </a:cxnLst>
                <a:rect l="0" t="0" r="r" b="b"/>
                <a:pathLst>
                  <a:path w="418" h="376">
                    <a:moveTo>
                      <a:pt x="380" y="376"/>
                    </a:moveTo>
                    <a:lnTo>
                      <a:pt x="35" y="376"/>
                    </a:lnTo>
                    <a:lnTo>
                      <a:pt x="0" y="0"/>
                    </a:lnTo>
                    <a:lnTo>
                      <a:pt x="418" y="0"/>
                    </a:lnTo>
                    <a:lnTo>
                      <a:pt x="380" y="376"/>
                    </a:ln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5">
                <a:extLst>
                  <a:ext uri="{FF2B5EF4-FFF2-40B4-BE49-F238E27FC236}">
                    <a16:creationId xmlns:a16="http://schemas.microsoft.com/office/drawing/2014/main" id="{999A8CE7-9106-47B8-97FC-78EC9EAA0DD0}"/>
                  </a:ext>
                </a:extLst>
              </p:cNvPr>
              <p:cNvSpPr>
                <a:spLocks noChangeArrowheads="1"/>
              </p:cNvSpPr>
              <p:nvPr/>
            </p:nvSpPr>
            <p:spPr bwMode="auto">
              <a:xfrm>
                <a:off x="6874" y="2957"/>
                <a:ext cx="453" cy="83"/>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46">
                <a:extLst>
                  <a:ext uri="{FF2B5EF4-FFF2-40B4-BE49-F238E27FC236}">
                    <a16:creationId xmlns:a16="http://schemas.microsoft.com/office/drawing/2014/main" id="{DE258D7C-D85B-415A-A67A-C15E1385EAB8}"/>
                  </a:ext>
                </a:extLst>
              </p:cNvPr>
              <p:cNvSpPr>
                <a:spLocks noChangeArrowheads="1"/>
              </p:cNvSpPr>
              <p:nvPr/>
            </p:nvSpPr>
            <p:spPr bwMode="auto">
              <a:xfrm>
                <a:off x="6874" y="2957"/>
                <a:ext cx="453" cy="83"/>
              </a:xfrm>
              <a:prstGeom prst="rect">
                <a:avLst/>
              </a:prstGeom>
              <a:solidFill>
                <a:srgbClr val="A8AD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7">
                <a:extLst>
                  <a:ext uri="{FF2B5EF4-FFF2-40B4-BE49-F238E27FC236}">
                    <a16:creationId xmlns:a16="http://schemas.microsoft.com/office/drawing/2014/main" id="{064087A8-BC8E-40E2-843F-35CAFB3A5C0D}"/>
                  </a:ext>
                </a:extLst>
              </p:cNvPr>
              <p:cNvSpPr>
                <a:spLocks noChangeArrowheads="1"/>
              </p:cNvSpPr>
              <p:nvPr/>
            </p:nvSpPr>
            <p:spPr bwMode="auto">
              <a:xfrm>
                <a:off x="3620" y="3603"/>
                <a:ext cx="3686" cy="214"/>
              </a:xfrm>
              <a:prstGeom prst="ellipse">
                <a:avLst/>
              </a:prstGeom>
              <a:solidFill>
                <a:schemeClr val="tx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48">
                <a:extLst>
                  <a:ext uri="{FF2B5EF4-FFF2-40B4-BE49-F238E27FC236}">
                    <a16:creationId xmlns:a16="http://schemas.microsoft.com/office/drawing/2014/main" id="{49DF6F9A-0158-44A4-950D-C3C16351962B}"/>
                  </a:ext>
                </a:extLst>
              </p:cNvPr>
              <p:cNvSpPr>
                <a:spLocks noChangeArrowheads="1"/>
              </p:cNvSpPr>
              <p:nvPr/>
            </p:nvSpPr>
            <p:spPr bwMode="auto">
              <a:xfrm>
                <a:off x="3720" y="1599"/>
                <a:ext cx="1672" cy="2099"/>
              </a:xfrm>
              <a:prstGeom prst="rect">
                <a:avLst/>
              </a:prstGeom>
              <a:solidFill>
                <a:srgbClr val="407B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49">
                <a:extLst>
                  <a:ext uri="{FF2B5EF4-FFF2-40B4-BE49-F238E27FC236}">
                    <a16:creationId xmlns:a16="http://schemas.microsoft.com/office/drawing/2014/main" id="{716596F1-59DA-4ACE-B775-E0A571A731B5}"/>
                  </a:ext>
                </a:extLst>
              </p:cNvPr>
              <p:cNvSpPr>
                <a:spLocks noChangeArrowheads="1"/>
              </p:cNvSpPr>
              <p:nvPr/>
            </p:nvSpPr>
            <p:spPr bwMode="auto">
              <a:xfrm>
                <a:off x="3720" y="1599"/>
                <a:ext cx="1672" cy="2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50">
                <a:extLst>
                  <a:ext uri="{FF2B5EF4-FFF2-40B4-BE49-F238E27FC236}">
                    <a16:creationId xmlns:a16="http://schemas.microsoft.com/office/drawing/2014/main" id="{77531ACA-559D-411B-BD9E-29C946F99F2B}"/>
                  </a:ext>
                </a:extLst>
              </p:cNvPr>
              <p:cNvSpPr>
                <a:spLocks/>
              </p:cNvSpPr>
              <p:nvPr/>
            </p:nvSpPr>
            <p:spPr bwMode="auto">
              <a:xfrm>
                <a:off x="5392" y="1599"/>
                <a:ext cx="0" cy="304"/>
              </a:xfrm>
              <a:custGeom>
                <a:avLst/>
                <a:gdLst>
                  <a:gd name="T0" fmla="*/ 0 h 128"/>
                  <a:gd name="T1" fmla="*/ 0 h 128"/>
                  <a:gd name="T2" fmla="*/ 128 h 128"/>
                  <a:gd name="T3" fmla="*/ 127 h 128"/>
                  <a:gd name="T4" fmla="*/ 0 h 128"/>
                </a:gdLst>
                <a:ahLst/>
                <a:cxnLst>
                  <a:cxn ang="0">
                    <a:pos x="0" y="T0"/>
                  </a:cxn>
                  <a:cxn ang="0">
                    <a:pos x="0" y="T1"/>
                  </a:cxn>
                  <a:cxn ang="0">
                    <a:pos x="0" y="T2"/>
                  </a:cxn>
                  <a:cxn ang="0">
                    <a:pos x="0" y="T3"/>
                  </a:cxn>
                  <a:cxn ang="0">
                    <a:pos x="0" y="T4"/>
                  </a:cxn>
                </a:cxnLst>
                <a:rect l="0" t="0" r="r" b="b"/>
                <a:pathLst>
                  <a:path h="128">
                    <a:moveTo>
                      <a:pt x="0" y="0"/>
                    </a:moveTo>
                    <a:cubicBezTo>
                      <a:pt x="0" y="0"/>
                      <a:pt x="0" y="0"/>
                      <a:pt x="0" y="0"/>
                    </a:cubicBezTo>
                    <a:cubicBezTo>
                      <a:pt x="0" y="128"/>
                      <a:pt x="0" y="128"/>
                      <a:pt x="0" y="128"/>
                    </a:cubicBezTo>
                    <a:cubicBezTo>
                      <a:pt x="0" y="128"/>
                      <a:pt x="0" y="128"/>
                      <a:pt x="0" y="127"/>
                    </a:cubicBezTo>
                    <a:cubicBezTo>
                      <a:pt x="0" y="0"/>
                      <a:pt x="0" y="0"/>
                      <a:pt x="0"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51">
                <a:extLst>
                  <a:ext uri="{FF2B5EF4-FFF2-40B4-BE49-F238E27FC236}">
                    <a16:creationId xmlns:a16="http://schemas.microsoft.com/office/drawing/2014/main" id="{F9EC3DAC-890A-4A73-BC3B-E4A96DD04A74}"/>
                  </a:ext>
                </a:extLst>
              </p:cNvPr>
              <p:cNvSpPr>
                <a:spLocks noEditPoints="1"/>
              </p:cNvSpPr>
              <p:nvPr/>
            </p:nvSpPr>
            <p:spPr bwMode="auto">
              <a:xfrm>
                <a:off x="3964" y="1599"/>
                <a:ext cx="1428" cy="2092"/>
              </a:xfrm>
              <a:custGeom>
                <a:avLst/>
                <a:gdLst>
                  <a:gd name="T0" fmla="*/ 576 w 601"/>
                  <a:gd name="T1" fmla="*/ 653 h 881"/>
                  <a:gd name="T2" fmla="*/ 576 w 601"/>
                  <a:gd name="T3" fmla="*/ 795 h 881"/>
                  <a:gd name="T4" fmla="*/ 582 w 601"/>
                  <a:gd name="T5" fmla="*/ 795 h 881"/>
                  <a:gd name="T6" fmla="*/ 584 w 601"/>
                  <a:gd name="T7" fmla="*/ 767 h 881"/>
                  <a:gd name="T8" fmla="*/ 584 w 601"/>
                  <a:gd name="T9" fmla="*/ 665 h 881"/>
                  <a:gd name="T10" fmla="*/ 576 w 601"/>
                  <a:gd name="T11" fmla="*/ 653 h 881"/>
                  <a:gd name="T12" fmla="*/ 509 w 601"/>
                  <a:gd name="T13" fmla="*/ 379 h 881"/>
                  <a:gd name="T14" fmla="*/ 500 w 601"/>
                  <a:gd name="T15" fmla="*/ 379 h 881"/>
                  <a:gd name="T16" fmla="*/ 503 w 601"/>
                  <a:gd name="T17" fmla="*/ 405 h 881"/>
                  <a:gd name="T18" fmla="*/ 506 w 601"/>
                  <a:gd name="T19" fmla="*/ 405 h 881"/>
                  <a:gd name="T20" fmla="*/ 509 w 601"/>
                  <a:gd name="T21" fmla="*/ 379 h 881"/>
                  <a:gd name="T22" fmla="*/ 22 w 601"/>
                  <a:gd name="T23" fmla="*/ 847 h 881"/>
                  <a:gd name="T24" fmla="*/ 22 w 601"/>
                  <a:gd name="T25" fmla="*/ 596 h 881"/>
                  <a:gd name="T26" fmla="*/ 291 w 601"/>
                  <a:gd name="T27" fmla="*/ 596 h 881"/>
                  <a:gd name="T28" fmla="*/ 291 w 601"/>
                  <a:gd name="T29" fmla="*/ 847 h 881"/>
                  <a:gd name="T30" fmla="*/ 22 w 601"/>
                  <a:gd name="T31" fmla="*/ 847 h 881"/>
                  <a:gd name="T32" fmla="*/ 601 w 601"/>
                  <a:gd name="T33" fmla="*/ 0 h 881"/>
                  <a:gd name="T34" fmla="*/ 601 w 601"/>
                  <a:gd name="T35" fmla="*/ 0 h 881"/>
                  <a:gd name="T36" fmla="*/ 0 w 601"/>
                  <a:gd name="T37" fmla="*/ 0 h 881"/>
                  <a:gd name="T38" fmla="*/ 0 w 601"/>
                  <a:gd name="T39" fmla="*/ 881 h 881"/>
                  <a:gd name="T40" fmla="*/ 577 w 601"/>
                  <a:gd name="T41" fmla="*/ 881 h 881"/>
                  <a:gd name="T42" fmla="*/ 579 w 601"/>
                  <a:gd name="T43" fmla="*/ 845 h 881"/>
                  <a:gd name="T44" fmla="*/ 576 w 601"/>
                  <a:gd name="T45" fmla="*/ 845 h 881"/>
                  <a:gd name="T46" fmla="*/ 576 w 601"/>
                  <a:gd name="T47" fmla="*/ 847 h 881"/>
                  <a:gd name="T48" fmla="*/ 312 w 601"/>
                  <a:gd name="T49" fmla="*/ 847 h 881"/>
                  <a:gd name="T50" fmla="*/ 312 w 601"/>
                  <a:gd name="T51" fmla="*/ 596 h 881"/>
                  <a:gd name="T52" fmla="*/ 576 w 601"/>
                  <a:gd name="T53" fmla="*/ 596 h 881"/>
                  <a:gd name="T54" fmla="*/ 576 w 601"/>
                  <a:gd name="T55" fmla="*/ 568 h 881"/>
                  <a:gd name="T56" fmla="*/ 22 w 601"/>
                  <a:gd name="T57" fmla="*/ 568 h 881"/>
                  <a:gd name="T58" fmla="*/ 22 w 601"/>
                  <a:gd name="T59" fmla="*/ 461 h 881"/>
                  <a:gd name="T60" fmla="*/ 20 w 601"/>
                  <a:gd name="T61" fmla="*/ 452 h 881"/>
                  <a:gd name="T62" fmla="*/ 22 w 601"/>
                  <a:gd name="T63" fmla="*/ 452 h 881"/>
                  <a:gd name="T64" fmla="*/ 22 w 601"/>
                  <a:gd name="T65" fmla="*/ 405 h 881"/>
                  <a:gd name="T66" fmla="*/ 444 w 601"/>
                  <a:gd name="T67" fmla="*/ 405 h 881"/>
                  <a:gd name="T68" fmla="*/ 441 w 601"/>
                  <a:gd name="T69" fmla="*/ 379 h 881"/>
                  <a:gd name="T70" fmla="*/ 22 w 601"/>
                  <a:gd name="T71" fmla="*/ 379 h 881"/>
                  <a:gd name="T72" fmla="*/ 22 w 601"/>
                  <a:gd name="T73" fmla="*/ 216 h 881"/>
                  <a:gd name="T74" fmla="*/ 367 w 601"/>
                  <a:gd name="T75" fmla="*/ 216 h 881"/>
                  <a:gd name="T76" fmla="*/ 367 w 601"/>
                  <a:gd name="T77" fmla="*/ 212 h 881"/>
                  <a:gd name="T78" fmla="*/ 367 w 601"/>
                  <a:gd name="T79" fmla="*/ 212 h 881"/>
                  <a:gd name="T80" fmla="*/ 371 w 601"/>
                  <a:gd name="T81" fmla="*/ 191 h 881"/>
                  <a:gd name="T82" fmla="*/ 22 w 601"/>
                  <a:gd name="T83" fmla="*/ 191 h 881"/>
                  <a:gd name="T84" fmla="*/ 22 w 601"/>
                  <a:gd name="T85" fmla="*/ 28 h 881"/>
                  <a:gd name="T86" fmla="*/ 580 w 601"/>
                  <a:gd name="T87" fmla="*/ 28 h 881"/>
                  <a:gd name="T88" fmla="*/ 580 w 601"/>
                  <a:gd name="T89" fmla="*/ 153 h 881"/>
                  <a:gd name="T90" fmla="*/ 601 w 601"/>
                  <a:gd name="T91" fmla="*/ 128 h 881"/>
                  <a:gd name="T92" fmla="*/ 601 w 601"/>
                  <a:gd name="T93"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1" h="881">
                    <a:moveTo>
                      <a:pt x="576" y="653"/>
                    </a:moveTo>
                    <a:cubicBezTo>
                      <a:pt x="576" y="795"/>
                      <a:pt x="576" y="795"/>
                      <a:pt x="576" y="795"/>
                    </a:cubicBezTo>
                    <a:cubicBezTo>
                      <a:pt x="582" y="795"/>
                      <a:pt x="582" y="795"/>
                      <a:pt x="582" y="795"/>
                    </a:cubicBezTo>
                    <a:cubicBezTo>
                      <a:pt x="584" y="767"/>
                      <a:pt x="584" y="767"/>
                      <a:pt x="584" y="767"/>
                    </a:cubicBezTo>
                    <a:cubicBezTo>
                      <a:pt x="584" y="665"/>
                      <a:pt x="584" y="665"/>
                      <a:pt x="584" y="665"/>
                    </a:cubicBezTo>
                    <a:cubicBezTo>
                      <a:pt x="580" y="662"/>
                      <a:pt x="577" y="658"/>
                      <a:pt x="576" y="653"/>
                    </a:cubicBezTo>
                    <a:moveTo>
                      <a:pt x="509" y="379"/>
                    </a:moveTo>
                    <a:cubicBezTo>
                      <a:pt x="500" y="379"/>
                      <a:pt x="500" y="379"/>
                      <a:pt x="500" y="379"/>
                    </a:cubicBezTo>
                    <a:cubicBezTo>
                      <a:pt x="501" y="388"/>
                      <a:pt x="502" y="396"/>
                      <a:pt x="503" y="405"/>
                    </a:cubicBezTo>
                    <a:cubicBezTo>
                      <a:pt x="506" y="405"/>
                      <a:pt x="506" y="405"/>
                      <a:pt x="506" y="405"/>
                    </a:cubicBezTo>
                    <a:cubicBezTo>
                      <a:pt x="507" y="399"/>
                      <a:pt x="508" y="390"/>
                      <a:pt x="509" y="379"/>
                    </a:cubicBezTo>
                    <a:moveTo>
                      <a:pt x="22" y="847"/>
                    </a:moveTo>
                    <a:cubicBezTo>
                      <a:pt x="22" y="596"/>
                      <a:pt x="22" y="596"/>
                      <a:pt x="22" y="596"/>
                    </a:cubicBezTo>
                    <a:cubicBezTo>
                      <a:pt x="291" y="596"/>
                      <a:pt x="291" y="596"/>
                      <a:pt x="291" y="596"/>
                    </a:cubicBezTo>
                    <a:cubicBezTo>
                      <a:pt x="291" y="847"/>
                      <a:pt x="291" y="847"/>
                      <a:pt x="291" y="847"/>
                    </a:cubicBezTo>
                    <a:cubicBezTo>
                      <a:pt x="22" y="847"/>
                      <a:pt x="22" y="847"/>
                      <a:pt x="22" y="847"/>
                    </a:cubicBezTo>
                    <a:moveTo>
                      <a:pt x="601" y="0"/>
                    </a:moveTo>
                    <a:cubicBezTo>
                      <a:pt x="601" y="0"/>
                      <a:pt x="601" y="0"/>
                      <a:pt x="601" y="0"/>
                    </a:cubicBezTo>
                    <a:cubicBezTo>
                      <a:pt x="0" y="0"/>
                      <a:pt x="0" y="0"/>
                      <a:pt x="0" y="0"/>
                    </a:cubicBezTo>
                    <a:cubicBezTo>
                      <a:pt x="0" y="881"/>
                      <a:pt x="0" y="881"/>
                      <a:pt x="0" y="881"/>
                    </a:cubicBezTo>
                    <a:cubicBezTo>
                      <a:pt x="577" y="881"/>
                      <a:pt x="577" y="881"/>
                      <a:pt x="577" y="881"/>
                    </a:cubicBezTo>
                    <a:cubicBezTo>
                      <a:pt x="579" y="845"/>
                      <a:pt x="579" y="845"/>
                      <a:pt x="579" y="845"/>
                    </a:cubicBezTo>
                    <a:cubicBezTo>
                      <a:pt x="576" y="845"/>
                      <a:pt x="576" y="845"/>
                      <a:pt x="576" y="845"/>
                    </a:cubicBezTo>
                    <a:cubicBezTo>
                      <a:pt x="576" y="847"/>
                      <a:pt x="576" y="847"/>
                      <a:pt x="576" y="847"/>
                    </a:cubicBezTo>
                    <a:cubicBezTo>
                      <a:pt x="312" y="847"/>
                      <a:pt x="312" y="847"/>
                      <a:pt x="312" y="847"/>
                    </a:cubicBezTo>
                    <a:cubicBezTo>
                      <a:pt x="312" y="596"/>
                      <a:pt x="312" y="596"/>
                      <a:pt x="312" y="596"/>
                    </a:cubicBezTo>
                    <a:cubicBezTo>
                      <a:pt x="576" y="596"/>
                      <a:pt x="576" y="596"/>
                      <a:pt x="576" y="596"/>
                    </a:cubicBezTo>
                    <a:cubicBezTo>
                      <a:pt x="576" y="568"/>
                      <a:pt x="576" y="568"/>
                      <a:pt x="576" y="568"/>
                    </a:cubicBezTo>
                    <a:cubicBezTo>
                      <a:pt x="22" y="568"/>
                      <a:pt x="22" y="568"/>
                      <a:pt x="22" y="568"/>
                    </a:cubicBezTo>
                    <a:cubicBezTo>
                      <a:pt x="22" y="461"/>
                      <a:pt x="22" y="461"/>
                      <a:pt x="22" y="461"/>
                    </a:cubicBezTo>
                    <a:cubicBezTo>
                      <a:pt x="20" y="452"/>
                      <a:pt x="20" y="452"/>
                      <a:pt x="20" y="452"/>
                    </a:cubicBezTo>
                    <a:cubicBezTo>
                      <a:pt x="22" y="452"/>
                      <a:pt x="22" y="452"/>
                      <a:pt x="22" y="452"/>
                    </a:cubicBezTo>
                    <a:cubicBezTo>
                      <a:pt x="22" y="405"/>
                      <a:pt x="22" y="405"/>
                      <a:pt x="22" y="405"/>
                    </a:cubicBezTo>
                    <a:cubicBezTo>
                      <a:pt x="444" y="405"/>
                      <a:pt x="444" y="405"/>
                      <a:pt x="444" y="405"/>
                    </a:cubicBezTo>
                    <a:cubicBezTo>
                      <a:pt x="443" y="397"/>
                      <a:pt x="442" y="388"/>
                      <a:pt x="441" y="379"/>
                    </a:cubicBezTo>
                    <a:cubicBezTo>
                      <a:pt x="22" y="379"/>
                      <a:pt x="22" y="379"/>
                      <a:pt x="22" y="379"/>
                    </a:cubicBezTo>
                    <a:cubicBezTo>
                      <a:pt x="22" y="216"/>
                      <a:pt x="22" y="216"/>
                      <a:pt x="22" y="216"/>
                    </a:cubicBezTo>
                    <a:cubicBezTo>
                      <a:pt x="367" y="216"/>
                      <a:pt x="367" y="216"/>
                      <a:pt x="367" y="216"/>
                    </a:cubicBezTo>
                    <a:cubicBezTo>
                      <a:pt x="367" y="212"/>
                      <a:pt x="367" y="212"/>
                      <a:pt x="367" y="212"/>
                    </a:cubicBezTo>
                    <a:cubicBezTo>
                      <a:pt x="367" y="212"/>
                      <a:pt x="367" y="212"/>
                      <a:pt x="367" y="212"/>
                    </a:cubicBezTo>
                    <a:cubicBezTo>
                      <a:pt x="367" y="205"/>
                      <a:pt x="368" y="197"/>
                      <a:pt x="371" y="191"/>
                    </a:cubicBezTo>
                    <a:cubicBezTo>
                      <a:pt x="22" y="191"/>
                      <a:pt x="22" y="191"/>
                      <a:pt x="22" y="191"/>
                    </a:cubicBezTo>
                    <a:cubicBezTo>
                      <a:pt x="22" y="28"/>
                      <a:pt x="22" y="28"/>
                      <a:pt x="22" y="28"/>
                    </a:cubicBezTo>
                    <a:cubicBezTo>
                      <a:pt x="580" y="28"/>
                      <a:pt x="580" y="28"/>
                      <a:pt x="580" y="28"/>
                    </a:cubicBezTo>
                    <a:cubicBezTo>
                      <a:pt x="580" y="153"/>
                      <a:pt x="580" y="153"/>
                      <a:pt x="580" y="153"/>
                    </a:cubicBezTo>
                    <a:cubicBezTo>
                      <a:pt x="587" y="144"/>
                      <a:pt x="594" y="135"/>
                      <a:pt x="601" y="128"/>
                    </a:cubicBezTo>
                    <a:cubicBezTo>
                      <a:pt x="601" y="0"/>
                      <a:pt x="601" y="0"/>
                      <a:pt x="601"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52">
                <a:extLst>
                  <a:ext uri="{FF2B5EF4-FFF2-40B4-BE49-F238E27FC236}">
                    <a16:creationId xmlns:a16="http://schemas.microsoft.com/office/drawing/2014/main" id="{4BE40679-0F83-430B-A906-7E00A82AF47B}"/>
                  </a:ext>
                </a:extLst>
              </p:cNvPr>
              <p:cNvSpPr>
                <a:spLocks noEditPoints="1"/>
              </p:cNvSpPr>
              <p:nvPr/>
            </p:nvSpPr>
            <p:spPr bwMode="auto">
              <a:xfrm>
                <a:off x="4017" y="1665"/>
                <a:ext cx="1325" cy="387"/>
              </a:xfrm>
              <a:custGeom>
                <a:avLst/>
                <a:gdLst>
                  <a:gd name="T0" fmla="*/ 39 w 558"/>
                  <a:gd name="T1" fmla="*/ 163 h 163"/>
                  <a:gd name="T2" fmla="*/ 39 w 558"/>
                  <a:gd name="T3" fmla="*/ 44 h 163"/>
                  <a:gd name="T4" fmla="*/ 71 w 558"/>
                  <a:gd name="T5" fmla="*/ 44 h 163"/>
                  <a:gd name="T6" fmla="*/ 71 w 558"/>
                  <a:gd name="T7" fmla="*/ 163 h 163"/>
                  <a:gd name="T8" fmla="*/ 39 w 558"/>
                  <a:gd name="T9" fmla="*/ 163 h 163"/>
                  <a:gd name="T10" fmla="*/ 112 w 558"/>
                  <a:gd name="T11" fmla="*/ 163 h 163"/>
                  <a:gd name="T12" fmla="*/ 112 w 558"/>
                  <a:gd name="T13" fmla="*/ 44 h 163"/>
                  <a:gd name="T14" fmla="*/ 144 w 558"/>
                  <a:gd name="T15" fmla="*/ 44 h 163"/>
                  <a:gd name="T16" fmla="*/ 144 w 558"/>
                  <a:gd name="T17" fmla="*/ 163 h 163"/>
                  <a:gd name="T18" fmla="*/ 112 w 558"/>
                  <a:gd name="T19" fmla="*/ 163 h 163"/>
                  <a:gd name="T20" fmla="*/ 296 w 558"/>
                  <a:gd name="T21" fmla="*/ 163 h 163"/>
                  <a:gd name="T22" fmla="*/ 296 w 558"/>
                  <a:gd name="T23" fmla="*/ 44 h 163"/>
                  <a:gd name="T24" fmla="*/ 328 w 558"/>
                  <a:gd name="T25" fmla="*/ 44 h 163"/>
                  <a:gd name="T26" fmla="*/ 328 w 558"/>
                  <a:gd name="T27" fmla="*/ 163 h 163"/>
                  <a:gd name="T28" fmla="*/ 296 w 558"/>
                  <a:gd name="T29" fmla="*/ 163 h 163"/>
                  <a:gd name="T30" fmla="*/ 221 w 558"/>
                  <a:gd name="T31" fmla="*/ 163 h 163"/>
                  <a:gd name="T32" fmla="*/ 196 w 558"/>
                  <a:gd name="T33" fmla="*/ 47 h 163"/>
                  <a:gd name="T34" fmla="*/ 226 w 558"/>
                  <a:gd name="T35" fmla="*/ 40 h 163"/>
                  <a:gd name="T36" fmla="*/ 252 w 558"/>
                  <a:gd name="T37" fmla="*/ 156 h 163"/>
                  <a:gd name="T38" fmla="*/ 221 w 558"/>
                  <a:gd name="T39" fmla="*/ 163 h 163"/>
                  <a:gd name="T40" fmla="*/ 0 w 558"/>
                  <a:gd name="T41" fmla="*/ 163 h 163"/>
                  <a:gd name="T42" fmla="*/ 0 w 558"/>
                  <a:gd name="T43" fmla="*/ 26 h 163"/>
                  <a:gd name="T44" fmla="*/ 31 w 558"/>
                  <a:gd name="T45" fmla="*/ 26 h 163"/>
                  <a:gd name="T46" fmla="*/ 31 w 558"/>
                  <a:gd name="T47" fmla="*/ 163 h 163"/>
                  <a:gd name="T48" fmla="*/ 0 w 558"/>
                  <a:gd name="T49" fmla="*/ 163 h 163"/>
                  <a:gd name="T50" fmla="*/ 153 w 558"/>
                  <a:gd name="T51" fmla="*/ 163 h 163"/>
                  <a:gd name="T52" fmla="*/ 153 w 558"/>
                  <a:gd name="T53" fmla="*/ 26 h 163"/>
                  <a:gd name="T54" fmla="*/ 185 w 558"/>
                  <a:gd name="T55" fmla="*/ 26 h 163"/>
                  <a:gd name="T56" fmla="*/ 185 w 558"/>
                  <a:gd name="T57" fmla="*/ 163 h 163"/>
                  <a:gd name="T58" fmla="*/ 153 w 558"/>
                  <a:gd name="T59" fmla="*/ 163 h 163"/>
                  <a:gd name="T60" fmla="*/ 82 w 558"/>
                  <a:gd name="T61" fmla="*/ 163 h 163"/>
                  <a:gd name="T62" fmla="*/ 82 w 558"/>
                  <a:gd name="T63" fmla="*/ 20 h 163"/>
                  <a:gd name="T64" fmla="*/ 98 w 558"/>
                  <a:gd name="T65" fmla="*/ 20 h 163"/>
                  <a:gd name="T66" fmla="*/ 98 w 558"/>
                  <a:gd name="T67" fmla="*/ 163 h 163"/>
                  <a:gd name="T68" fmla="*/ 82 w 558"/>
                  <a:gd name="T69" fmla="*/ 163 h 163"/>
                  <a:gd name="T70" fmla="*/ 271 w 558"/>
                  <a:gd name="T71" fmla="*/ 163 h 163"/>
                  <a:gd name="T72" fmla="*/ 271 w 558"/>
                  <a:gd name="T73" fmla="*/ 20 h 163"/>
                  <a:gd name="T74" fmla="*/ 287 w 558"/>
                  <a:gd name="T75" fmla="*/ 20 h 163"/>
                  <a:gd name="T76" fmla="*/ 287 w 558"/>
                  <a:gd name="T77" fmla="*/ 163 h 163"/>
                  <a:gd name="T78" fmla="*/ 271 w 558"/>
                  <a:gd name="T79" fmla="*/ 163 h 163"/>
                  <a:gd name="T80" fmla="*/ 558 w 558"/>
                  <a:gd name="T81" fmla="*/ 0 h 163"/>
                  <a:gd name="T82" fmla="*/ 0 w 558"/>
                  <a:gd name="T83" fmla="*/ 0 h 163"/>
                  <a:gd name="T84" fmla="*/ 0 w 558"/>
                  <a:gd name="T85" fmla="*/ 163 h 163"/>
                  <a:gd name="T86" fmla="*/ 349 w 558"/>
                  <a:gd name="T87" fmla="*/ 163 h 163"/>
                  <a:gd name="T88" fmla="*/ 350 w 558"/>
                  <a:gd name="T89" fmla="*/ 159 h 163"/>
                  <a:gd name="T90" fmla="*/ 328 w 558"/>
                  <a:gd name="T91" fmla="*/ 28 h 163"/>
                  <a:gd name="T92" fmla="*/ 359 w 558"/>
                  <a:gd name="T93" fmla="*/ 23 h 163"/>
                  <a:gd name="T94" fmla="*/ 378 w 558"/>
                  <a:gd name="T95" fmla="*/ 132 h 163"/>
                  <a:gd name="T96" fmla="*/ 403 w 558"/>
                  <a:gd name="T97" fmla="*/ 126 h 163"/>
                  <a:gd name="T98" fmla="*/ 513 w 558"/>
                  <a:gd name="T99" fmla="*/ 126 h 163"/>
                  <a:gd name="T100" fmla="*/ 549 w 558"/>
                  <a:gd name="T101" fmla="*/ 138 h 163"/>
                  <a:gd name="T102" fmla="*/ 558 w 558"/>
                  <a:gd name="T103" fmla="*/ 125 h 163"/>
                  <a:gd name="T104" fmla="*/ 558 w 558"/>
                  <a:gd name="T10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8" h="163">
                    <a:moveTo>
                      <a:pt x="39" y="163"/>
                    </a:moveTo>
                    <a:cubicBezTo>
                      <a:pt x="39" y="44"/>
                      <a:pt x="39" y="44"/>
                      <a:pt x="39" y="44"/>
                    </a:cubicBezTo>
                    <a:cubicBezTo>
                      <a:pt x="71" y="44"/>
                      <a:pt x="71" y="44"/>
                      <a:pt x="71" y="44"/>
                    </a:cubicBezTo>
                    <a:cubicBezTo>
                      <a:pt x="71" y="163"/>
                      <a:pt x="71" y="163"/>
                      <a:pt x="71" y="163"/>
                    </a:cubicBezTo>
                    <a:cubicBezTo>
                      <a:pt x="39" y="163"/>
                      <a:pt x="39" y="163"/>
                      <a:pt x="39" y="163"/>
                    </a:cubicBezTo>
                    <a:moveTo>
                      <a:pt x="112" y="163"/>
                    </a:moveTo>
                    <a:cubicBezTo>
                      <a:pt x="112" y="44"/>
                      <a:pt x="112" y="44"/>
                      <a:pt x="112" y="44"/>
                    </a:cubicBezTo>
                    <a:cubicBezTo>
                      <a:pt x="144" y="44"/>
                      <a:pt x="144" y="44"/>
                      <a:pt x="144" y="44"/>
                    </a:cubicBezTo>
                    <a:cubicBezTo>
                      <a:pt x="144" y="163"/>
                      <a:pt x="144" y="163"/>
                      <a:pt x="144" y="163"/>
                    </a:cubicBezTo>
                    <a:cubicBezTo>
                      <a:pt x="112" y="163"/>
                      <a:pt x="112" y="163"/>
                      <a:pt x="112" y="163"/>
                    </a:cubicBezTo>
                    <a:moveTo>
                      <a:pt x="296" y="163"/>
                    </a:moveTo>
                    <a:cubicBezTo>
                      <a:pt x="296" y="44"/>
                      <a:pt x="296" y="44"/>
                      <a:pt x="296" y="44"/>
                    </a:cubicBezTo>
                    <a:cubicBezTo>
                      <a:pt x="328" y="44"/>
                      <a:pt x="328" y="44"/>
                      <a:pt x="328" y="44"/>
                    </a:cubicBezTo>
                    <a:cubicBezTo>
                      <a:pt x="328" y="163"/>
                      <a:pt x="328" y="163"/>
                      <a:pt x="328" y="163"/>
                    </a:cubicBezTo>
                    <a:cubicBezTo>
                      <a:pt x="296" y="163"/>
                      <a:pt x="296" y="163"/>
                      <a:pt x="296" y="163"/>
                    </a:cubicBezTo>
                    <a:moveTo>
                      <a:pt x="221" y="163"/>
                    </a:moveTo>
                    <a:cubicBezTo>
                      <a:pt x="196" y="47"/>
                      <a:pt x="196" y="47"/>
                      <a:pt x="196" y="47"/>
                    </a:cubicBezTo>
                    <a:cubicBezTo>
                      <a:pt x="226" y="40"/>
                      <a:pt x="226" y="40"/>
                      <a:pt x="226" y="40"/>
                    </a:cubicBezTo>
                    <a:cubicBezTo>
                      <a:pt x="252" y="156"/>
                      <a:pt x="252" y="156"/>
                      <a:pt x="252" y="156"/>
                    </a:cubicBezTo>
                    <a:cubicBezTo>
                      <a:pt x="221" y="163"/>
                      <a:pt x="221" y="163"/>
                      <a:pt x="221" y="163"/>
                    </a:cubicBezTo>
                    <a:moveTo>
                      <a:pt x="0" y="163"/>
                    </a:moveTo>
                    <a:cubicBezTo>
                      <a:pt x="0" y="26"/>
                      <a:pt x="0" y="26"/>
                      <a:pt x="0" y="26"/>
                    </a:cubicBezTo>
                    <a:cubicBezTo>
                      <a:pt x="31" y="26"/>
                      <a:pt x="31" y="26"/>
                      <a:pt x="31" y="26"/>
                    </a:cubicBezTo>
                    <a:cubicBezTo>
                      <a:pt x="31" y="163"/>
                      <a:pt x="31" y="163"/>
                      <a:pt x="31" y="163"/>
                    </a:cubicBezTo>
                    <a:cubicBezTo>
                      <a:pt x="0" y="163"/>
                      <a:pt x="0" y="163"/>
                      <a:pt x="0" y="163"/>
                    </a:cubicBezTo>
                    <a:moveTo>
                      <a:pt x="153" y="163"/>
                    </a:moveTo>
                    <a:cubicBezTo>
                      <a:pt x="153" y="26"/>
                      <a:pt x="153" y="26"/>
                      <a:pt x="153" y="26"/>
                    </a:cubicBezTo>
                    <a:cubicBezTo>
                      <a:pt x="185" y="26"/>
                      <a:pt x="185" y="26"/>
                      <a:pt x="185" y="26"/>
                    </a:cubicBezTo>
                    <a:cubicBezTo>
                      <a:pt x="185" y="163"/>
                      <a:pt x="185" y="163"/>
                      <a:pt x="185" y="163"/>
                    </a:cubicBezTo>
                    <a:cubicBezTo>
                      <a:pt x="153" y="163"/>
                      <a:pt x="153" y="163"/>
                      <a:pt x="153" y="163"/>
                    </a:cubicBezTo>
                    <a:moveTo>
                      <a:pt x="82" y="163"/>
                    </a:moveTo>
                    <a:cubicBezTo>
                      <a:pt x="82" y="20"/>
                      <a:pt x="82" y="20"/>
                      <a:pt x="82" y="20"/>
                    </a:cubicBezTo>
                    <a:cubicBezTo>
                      <a:pt x="98" y="20"/>
                      <a:pt x="98" y="20"/>
                      <a:pt x="98" y="20"/>
                    </a:cubicBezTo>
                    <a:cubicBezTo>
                      <a:pt x="98" y="163"/>
                      <a:pt x="98" y="163"/>
                      <a:pt x="98" y="163"/>
                    </a:cubicBezTo>
                    <a:cubicBezTo>
                      <a:pt x="82" y="163"/>
                      <a:pt x="82" y="163"/>
                      <a:pt x="82" y="163"/>
                    </a:cubicBezTo>
                    <a:moveTo>
                      <a:pt x="271" y="163"/>
                    </a:moveTo>
                    <a:cubicBezTo>
                      <a:pt x="271" y="20"/>
                      <a:pt x="271" y="20"/>
                      <a:pt x="271" y="20"/>
                    </a:cubicBezTo>
                    <a:cubicBezTo>
                      <a:pt x="287" y="20"/>
                      <a:pt x="287" y="20"/>
                      <a:pt x="287" y="20"/>
                    </a:cubicBezTo>
                    <a:cubicBezTo>
                      <a:pt x="287" y="163"/>
                      <a:pt x="287" y="163"/>
                      <a:pt x="287" y="163"/>
                    </a:cubicBezTo>
                    <a:cubicBezTo>
                      <a:pt x="271" y="163"/>
                      <a:pt x="271" y="163"/>
                      <a:pt x="271" y="163"/>
                    </a:cubicBezTo>
                    <a:moveTo>
                      <a:pt x="558" y="0"/>
                    </a:moveTo>
                    <a:cubicBezTo>
                      <a:pt x="0" y="0"/>
                      <a:pt x="0" y="0"/>
                      <a:pt x="0" y="0"/>
                    </a:cubicBezTo>
                    <a:cubicBezTo>
                      <a:pt x="0" y="163"/>
                      <a:pt x="0" y="163"/>
                      <a:pt x="0" y="163"/>
                    </a:cubicBezTo>
                    <a:cubicBezTo>
                      <a:pt x="349" y="163"/>
                      <a:pt x="349" y="163"/>
                      <a:pt x="349" y="163"/>
                    </a:cubicBezTo>
                    <a:cubicBezTo>
                      <a:pt x="349" y="162"/>
                      <a:pt x="350" y="160"/>
                      <a:pt x="350" y="159"/>
                    </a:cubicBezTo>
                    <a:cubicBezTo>
                      <a:pt x="328" y="28"/>
                      <a:pt x="328" y="28"/>
                      <a:pt x="328" y="28"/>
                    </a:cubicBezTo>
                    <a:cubicBezTo>
                      <a:pt x="359" y="23"/>
                      <a:pt x="359" y="23"/>
                      <a:pt x="359" y="23"/>
                    </a:cubicBezTo>
                    <a:cubicBezTo>
                      <a:pt x="378" y="132"/>
                      <a:pt x="378" y="132"/>
                      <a:pt x="378" y="132"/>
                    </a:cubicBezTo>
                    <a:cubicBezTo>
                      <a:pt x="385" y="128"/>
                      <a:pt x="394" y="126"/>
                      <a:pt x="403" y="126"/>
                    </a:cubicBezTo>
                    <a:cubicBezTo>
                      <a:pt x="513" y="126"/>
                      <a:pt x="513" y="126"/>
                      <a:pt x="513" y="126"/>
                    </a:cubicBezTo>
                    <a:cubicBezTo>
                      <a:pt x="526" y="126"/>
                      <a:pt x="539" y="131"/>
                      <a:pt x="549" y="138"/>
                    </a:cubicBezTo>
                    <a:cubicBezTo>
                      <a:pt x="552" y="134"/>
                      <a:pt x="555" y="129"/>
                      <a:pt x="558" y="125"/>
                    </a:cubicBezTo>
                    <a:cubicBezTo>
                      <a:pt x="558" y="0"/>
                      <a:pt x="558" y="0"/>
                      <a:pt x="558"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53">
                <a:extLst>
                  <a:ext uri="{FF2B5EF4-FFF2-40B4-BE49-F238E27FC236}">
                    <a16:creationId xmlns:a16="http://schemas.microsoft.com/office/drawing/2014/main" id="{0664EC2A-29A6-4D0E-B47C-4F54A5883F2A}"/>
                  </a:ext>
                </a:extLst>
              </p:cNvPr>
              <p:cNvSpPr>
                <a:spLocks noChangeArrowheads="1"/>
              </p:cNvSpPr>
              <p:nvPr/>
            </p:nvSpPr>
            <p:spPr bwMode="auto">
              <a:xfrm>
                <a:off x="4017" y="1727"/>
                <a:ext cx="73" cy="325"/>
              </a:xfrm>
              <a:prstGeom prst="rect">
                <a:avLst/>
              </a:prstGeom>
              <a:solidFill>
                <a:srgbClr val="FE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Rectangle 54">
                <a:extLst>
                  <a:ext uri="{FF2B5EF4-FFF2-40B4-BE49-F238E27FC236}">
                    <a16:creationId xmlns:a16="http://schemas.microsoft.com/office/drawing/2014/main" id="{A19C6611-94EA-4FC4-9B6F-10E1B1A202DA}"/>
                  </a:ext>
                </a:extLst>
              </p:cNvPr>
              <p:cNvSpPr>
                <a:spLocks noChangeArrowheads="1"/>
              </p:cNvSpPr>
              <p:nvPr/>
            </p:nvSpPr>
            <p:spPr bwMode="auto">
              <a:xfrm>
                <a:off x="4017" y="1727"/>
                <a:ext cx="73" cy="32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Rectangle 55">
                <a:extLst>
                  <a:ext uri="{FF2B5EF4-FFF2-40B4-BE49-F238E27FC236}">
                    <a16:creationId xmlns:a16="http://schemas.microsoft.com/office/drawing/2014/main" id="{FAE8358C-44B0-490E-8F1D-D29BC7430B52}"/>
                  </a:ext>
                </a:extLst>
              </p:cNvPr>
              <p:cNvSpPr>
                <a:spLocks noChangeArrowheads="1"/>
              </p:cNvSpPr>
              <p:nvPr/>
            </p:nvSpPr>
            <p:spPr bwMode="auto">
              <a:xfrm>
                <a:off x="4380" y="1727"/>
                <a:ext cx="76" cy="325"/>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56">
                <a:extLst>
                  <a:ext uri="{FF2B5EF4-FFF2-40B4-BE49-F238E27FC236}">
                    <a16:creationId xmlns:a16="http://schemas.microsoft.com/office/drawing/2014/main" id="{A6F5BB75-D263-4D66-B3C3-BE7C9AD38B7D}"/>
                  </a:ext>
                </a:extLst>
              </p:cNvPr>
              <p:cNvSpPr>
                <a:spLocks noChangeArrowheads="1"/>
              </p:cNvSpPr>
              <p:nvPr/>
            </p:nvSpPr>
            <p:spPr bwMode="auto">
              <a:xfrm>
                <a:off x="4380" y="1727"/>
                <a:ext cx="7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57">
                <a:extLst>
                  <a:ext uri="{FF2B5EF4-FFF2-40B4-BE49-F238E27FC236}">
                    <a16:creationId xmlns:a16="http://schemas.microsoft.com/office/drawing/2014/main" id="{AB94DBEC-4440-4F6E-B01C-6782FF83732A}"/>
                  </a:ext>
                </a:extLst>
              </p:cNvPr>
              <p:cNvSpPr>
                <a:spLocks/>
              </p:cNvSpPr>
              <p:nvPr/>
            </p:nvSpPr>
            <p:spPr bwMode="auto">
              <a:xfrm>
                <a:off x="4796" y="1720"/>
                <a:ext cx="118" cy="323"/>
              </a:xfrm>
              <a:custGeom>
                <a:avLst/>
                <a:gdLst>
                  <a:gd name="T0" fmla="*/ 31 w 50"/>
                  <a:gd name="T1" fmla="*/ 0 h 136"/>
                  <a:gd name="T2" fmla="*/ 0 w 50"/>
                  <a:gd name="T3" fmla="*/ 5 h 136"/>
                  <a:gd name="T4" fmla="*/ 22 w 50"/>
                  <a:gd name="T5" fmla="*/ 136 h 136"/>
                  <a:gd name="T6" fmla="*/ 50 w 50"/>
                  <a:gd name="T7" fmla="*/ 109 h 136"/>
                  <a:gd name="T8" fmla="*/ 31 w 50"/>
                  <a:gd name="T9" fmla="*/ 0 h 136"/>
                </a:gdLst>
                <a:ahLst/>
                <a:cxnLst>
                  <a:cxn ang="0">
                    <a:pos x="T0" y="T1"/>
                  </a:cxn>
                  <a:cxn ang="0">
                    <a:pos x="T2" y="T3"/>
                  </a:cxn>
                  <a:cxn ang="0">
                    <a:pos x="T4" y="T5"/>
                  </a:cxn>
                  <a:cxn ang="0">
                    <a:pos x="T6" y="T7"/>
                  </a:cxn>
                  <a:cxn ang="0">
                    <a:pos x="T8" y="T9"/>
                  </a:cxn>
                </a:cxnLst>
                <a:rect l="0" t="0" r="r" b="b"/>
                <a:pathLst>
                  <a:path w="50" h="136">
                    <a:moveTo>
                      <a:pt x="31" y="0"/>
                    </a:moveTo>
                    <a:cubicBezTo>
                      <a:pt x="0" y="5"/>
                      <a:pt x="0" y="5"/>
                      <a:pt x="0" y="5"/>
                    </a:cubicBezTo>
                    <a:cubicBezTo>
                      <a:pt x="22" y="136"/>
                      <a:pt x="22" y="136"/>
                      <a:pt x="22" y="136"/>
                    </a:cubicBezTo>
                    <a:cubicBezTo>
                      <a:pt x="28" y="124"/>
                      <a:pt x="38" y="115"/>
                      <a:pt x="50" y="109"/>
                    </a:cubicBezTo>
                    <a:cubicBezTo>
                      <a:pt x="31" y="0"/>
                      <a:pt x="31" y="0"/>
                      <a:pt x="31"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58">
                <a:extLst>
                  <a:ext uri="{FF2B5EF4-FFF2-40B4-BE49-F238E27FC236}">
                    <a16:creationId xmlns:a16="http://schemas.microsoft.com/office/drawing/2014/main" id="{5F7DD67B-E956-4447-A571-92FD7B3B063B}"/>
                  </a:ext>
                </a:extLst>
              </p:cNvPr>
              <p:cNvSpPr>
                <a:spLocks noChangeArrowheads="1"/>
              </p:cNvSpPr>
              <p:nvPr/>
            </p:nvSpPr>
            <p:spPr bwMode="auto">
              <a:xfrm>
                <a:off x="4109"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59">
                <a:extLst>
                  <a:ext uri="{FF2B5EF4-FFF2-40B4-BE49-F238E27FC236}">
                    <a16:creationId xmlns:a16="http://schemas.microsoft.com/office/drawing/2014/main" id="{248ED762-94BB-4CC1-8ACF-2FDB31DD16CF}"/>
                  </a:ext>
                </a:extLst>
              </p:cNvPr>
              <p:cNvSpPr>
                <a:spLocks noChangeArrowheads="1"/>
              </p:cNvSpPr>
              <p:nvPr/>
            </p:nvSpPr>
            <p:spPr bwMode="auto">
              <a:xfrm>
                <a:off x="4109"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60">
                <a:extLst>
                  <a:ext uri="{FF2B5EF4-FFF2-40B4-BE49-F238E27FC236}">
                    <a16:creationId xmlns:a16="http://schemas.microsoft.com/office/drawing/2014/main" id="{F71615A2-1CA6-44C7-9B6A-B861C0E6E8C3}"/>
                  </a:ext>
                </a:extLst>
              </p:cNvPr>
              <p:cNvSpPr>
                <a:spLocks noChangeArrowheads="1"/>
              </p:cNvSpPr>
              <p:nvPr/>
            </p:nvSpPr>
            <p:spPr bwMode="auto">
              <a:xfrm>
                <a:off x="4283"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61">
                <a:extLst>
                  <a:ext uri="{FF2B5EF4-FFF2-40B4-BE49-F238E27FC236}">
                    <a16:creationId xmlns:a16="http://schemas.microsoft.com/office/drawing/2014/main" id="{9284F2A8-F2D5-449C-8C53-E711C5532643}"/>
                  </a:ext>
                </a:extLst>
              </p:cNvPr>
              <p:cNvSpPr>
                <a:spLocks noChangeArrowheads="1"/>
              </p:cNvSpPr>
              <p:nvPr/>
            </p:nvSpPr>
            <p:spPr bwMode="auto">
              <a:xfrm>
                <a:off x="4283"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62">
                <a:extLst>
                  <a:ext uri="{FF2B5EF4-FFF2-40B4-BE49-F238E27FC236}">
                    <a16:creationId xmlns:a16="http://schemas.microsoft.com/office/drawing/2014/main" id="{7EDB9C9E-33EE-4F31-A339-A045E0D894E3}"/>
                  </a:ext>
                </a:extLst>
              </p:cNvPr>
              <p:cNvSpPr>
                <a:spLocks noChangeArrowheads="1"/>
              </p:cNvSpPr>
              <p:nvPr/>
            </p:nvSpPr>
            <p:spPr bwMode="auto">
              <a:xfrm>
                <a:off x="4720" y="1770"/>
                <a:ext cx="76" cy="28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63">
                <a:extLst>
                  <a:ext uri="{FF2B5EF4-FFF2-40B4-BE49-F238E27FC236}">
                    <a16:creationId xmlns:a16="http://schemas.microsoft.com/office/drawing/2014/main" id="{8D4FAE3B-9239-40D3-94D5-85BB8048DD9C}"/>
                  </a:ext>
                </a:extLst>
              </p:cNvPr>
              <p:cNvSpPr>
                <a:spLocks noChangeArrowheads="1"/>
              </p:cNvSpPr>
              <p:nvPr/>
            </p:nvSpPr>
            <p:spPr bwMode="auto">
              <a:xfrm>
                <a:off x="4720" y="1770"/>
                <a:ext cx="76"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4">
                <a:extLst>
                  <a:ext uri="{FF2B5EF4-FFF2-40B4-BE49-F238E27FC236}">
                    <a16:creationId xmlns:a16="http://schemas.microsoft.com/office/drawing/2014/main" id="{ABA58D62-0B28-4F76-9897-A70E1821D79E}"/>
                  </a:ext>
                </a:extLst>
              </p:cNvPr>
              <p:cNvSpPr>
                <a:spLocks/>
              </p:cNvSpPr>
              <p:nvPr/>
            </p:nvSpPr>
            <p:spPr bwMode="auto">
              <a:xfrm>
                <a:off x="4482" y="1760"/>
                <a:ext cx="133" cy="292"/>
              </a:xfrm>
              <a:custGeom>
                <a:avLst/>
                <a:gdLst>
                  <a:gd name="T0" fmla="*/ 71 w 133"/>
                  <a:gd name="T1" fmla="*/ 0 h 292"/>
                  <a:gd name="T2" fmla="*/ 0 w 133"/>
                  <a:gd name="T3" fmla="*/ 17 h 292"/>
                  <a:gd name="T4" fmla="*/ 59 w 133"/>
                  <a:gd name="T5" fmla="*/ 292 h 292"/>
                  <a:gd name="T6" fmla="*/ 133 w 133"/>
                  <a:gd name="T7" fmla="*/ 276 h 292"/>
                  <a:gd name="T8" fmla="*/ 71 w 133"/>
                  <a:gd name="T9" fmla="*/ 0 h 292"/>
                </a:gdLst>
                <a:ahLst/>
                <a:cxnLst>
                  <a:cxn ang="0">
                    <a:pos x="T0" y="T1"/>
                  </a:cxn>
                  <a:cxn ang="0">
                    <a:pos x="T2" y="T3"/>
                  </a:cxn>
                  <a:cxn ang="0">
                    <a:pos x="T4" y="T5"/>
                  </a:cxn>
                  <a:cxn ang="0">
                    <a:pos x="T6" y="T7"/>
                  </a:cxn>
                  <a:cxn ang="0">
                    <a:pos x="T8" y="T9"/>
                  </a:cxn>
                </a:cxnLst>
                <a:rect l="0" t="0" r="r" b="b"/>
                <a:pathLst>
                  <a:path w="133" h="292">
                    <a:moveTo>
                      <a:pt x="71" y="0"/>
                    </a:moveTo>
                    <a:lnTo>
                      <a:pt x="0" y="17"/>
                    </a:lnTo>
                    <a:lnTo>
                      <a:pt x="59" y="292"/>
                    </a:lnTo>
                    <a:lnTo>
                      <a:pt x="133" y="276"/>
                    </a:lnTo>
                    <a:lnTo>
                      <a:pt x="7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5">
                <a:extLst>
                  <a:ext uri="{FF2B5EF4-FFF2-40B4-BE49-F238E27FC236}">
                    <a16:creationId xmlns:a16="http://schemas.microsoft.com/office/drawing/2014/main" id="{7F2DF17C-0EAE-4929-B627-099200574798}"/>
                  </a:ext>
                </a:extLst>
              </p:cNvPr>
              <p:cNvSpPr>
                <a:spLocks/>
              </p:cNvSpPr>
              <p:nvPr/>
            </p:nvSpPr>
            <p:spPr bwMode="auto">
              <a:xfrm>
                <a:off x="4482" y="1760"/>
                <a:ext cx="133" cy="292"/>
              </a:xfrm>
              <a:custGeom>
                <a:avLst/>
                <a:gdLst>
                  <a:gd name="T0" fmla="*/ 71 w 133"/>
                  <a:gd name="T1" fmla="*/ 0 h 292"/>
                  <a:gd name="T2" fmla="*/ 0 w 133"/>
                  <a:gd name="T3" fmla="*/ 17 h 292"/>
                  <a:gd name="T4" fmla="*/ 59 w 133"/>
                  <a:gd name="T5" fmla="*/ 292 h 292"/>
                  <a:gd name="T6" fmla="*/ 133 w 133"/>
                  <a:gd name="T7" fmla="*/ 276 h 292"/>
                  <a:gd name="T8" fmla="*/ 71 w 133"/>
                  <a:gd name="T9" fmla="*/ 0 h 292"/>
                </a:gdLst>
                <a:ahLst/>
                <a:cxnLst>
                  <a:cxn ang="0">
                    <a:pos x="T0" y="T1"/>
                  </a:cxn>
                  <a:cxn ang="0">
                    <a:pos x="T2" y="T3"/>
                  </a:cxn>
                  <a:cxn ang="0">
                    <a:pos x="T4" y="T5"/>
                  </a:cxn>
                  <a:cxn ang="0">
                    <a:pos x="T6" y="T7"/>
                  </a:cxn>
                  <a:cxn ang="0">
                    <a:pos x="T8" y="T9"/>
                  </a:cxn>
                </a:cxnLst>
                <a:rect l="0" t="0" r="r" b="b"/>
                <a:pathLst>
                  <a:path w="133" h="292">
                    <a:moveTo>
                      <a:pt x="71" y="0"/>
                    </a:moveTo>
                    <a:lnTo>
                      <a:pt x="0" y="17"/>
                    </a:lnTo>
                    <a:lnTo>
                      <a:pt x="59" y="292"/>
                    </a:lnTo>
                    <a:lnTo>
                      <a:pt x="133" y="276"/>
                    </a:lnTo>
                    <a:lnTo>
                      <a:pt x="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66">
                <a:extLst>
                  <a:ext uri="{FF2B5EF4-FFF2-40B4-BE49-F238E27FC236}">
                    <a16:creationId xmlns:a16="http://schemas.microsoft.com/office/drawing/2014/main" id="{2BB44962-1D54-4E48-AE77-7978DD9E8F6B}"/>
                  </a:ext>
                </a:extLst>
              </p:cNvPr>
              <p:cNvSpPr>
                <a:spLocks noChangeArrowheads="1"/>
              </p:cNvSpPr>
              <p:nvPr/>
            </p:nvSpPr>
            <p:spPr bwMode="auto">
              <a:xfrm>
                <a:off x="4211" y="1713"/>
                <a:ext cx="38" cy="339"/>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67">
                <a:extLst>
                  <a:ext uri="{FF2B5EF4-FFF2-40B4-BE49-F238E27FC236}">
                    <a16:creationId xmlns:a16="http://schemas.microsoft.com/office/drawing/2014/main" id="{197E695B-A22D-4079-8604-B7DA912A47B5}"/>
                  </a:ext>
                </a:extLst>
              </p:cNvPr>
              <p:cNvSpPr>
                <a:spLocks noChangeArrowheads="1"/>
              </p:cNvSpPr>
              <p:nvPr/>
            </p:nvSpPr>
            <p:spPr bwMode="auto">
              <a:xfrm>
                <a:off x="4211" y="1713"/>
                <a:ext cx="38" cy="33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68">
                <a:extLst>
                  <a:ext uri="{FF2B5EF4-FFF2-40B4-BE49-F238E27FC236}">
                    <a16:creationId xmlns:a16="http://schemas.microsoft.com/office/drawing/2014/main" id="{61F687FC-9FD7-4E44-952E-42E511FEBB1D}"/>
                  </a:ext>
                </a:extLst>
              </p:cNvPr>
              <p:cNvSpPr>
                <a:spLocks noChangeArrowheads="1"/>
              </p:cNvSpPr>
              <p:nvPr/>
            </p:nvSpPr>
            <p:spPr bwMode="auto">
              <a:xfrm>
                <a:off x="4660" y="1713"/>
                <a:ext cx="38" cy="339"/>
              </a:xfrm>
              <a:prstGeom prst="rect">
                <a:avLst/>
              </a:prstGeom>
              <a:solidFill>
                <a:srgbClr val="FE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69">
                <a:extLst>
                  <a:ext uri="{FF2B5EF4-FFF2-40B4-BE49-F238E27FC236}">
                    <a16:creationId xmlns:a16="http://schemas.microsoft.com/office/drawing/2014/main" id="{6FDA1B25-BAB3-4257-910E-F7B1439F514C}"/>
                  </a:ext>
                </a:extLst>
              </p:cNvPr>
              <p:cNvSpPr>
                <a:spLocks noChangeArrowheads="1"/>
              </p:cNvSpPr>
              <p:nvPr/>
            </p:nvSpPr>
            <p:spPr bwMode="auto">
              <a:xfrm>
                <a:off x="4660" y="1713"/>
                <a:ext cx="38" cy="33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0">
                <a:extLst>
                  <a:ext uri="{FF2B5EF4-FFF2-40B4-BE49-F238E27FC236}">
                    <a16:creationId xmlns:a16="http://schemas.microsoft.com/office/drawing/2014/main" id="{95C2244E-D91E-4EA0-9987-86118B0BC282}"/>
                  </a:ext>
                </a:extLst>
              </p:cNvPr>
              <p:cNvSpPr>
                <a:spLocks noEditPoints="1"/>
              </p:cNvSpPr>
              <p:nvPr/>
            </p:nvSpPr>
            <p:spPr bwMode="auto">
              <a:xfrm>
                <a:off x="4017" y="2112"/>
                <a:ext cx="1156" cy="387"/>
              </a:xfrm>
              <a:custGeom>
                <a:avLst/>
                <a:gdLst>
                  <a:gd name="T0" fmla="*/ 487 w 487"/>
                  <a:gd name="T1" fmla="*/ 98 h 163"/>
                  <a:gd name="T2" fmla="*/ 475 w 487"/>
                  <a:gd name="T3" fmla="*/ 98 h 163"/>
                  <a:gd name="T4" fmla="*/ 475 w 487"/>
                  <a:gd name="T5" fmla="*/ 120 h 163"/>
                  <a:gd name="T6" fmla="*/ 478 w 487"/>
                  <a:gd name="T7" fmla="*/ 163 h 163"/>
                  <a:gd name="T8" fmla="*/ 487 w 487"/>
                  <a:gd name="T9" fmla="*/ 163 h 163"/>
                  <a:gd name="T10" fmla="*/ 487 w 487"/>
                  <a:gd name="T11" fmla="*/ 163 h 163"/>
                  <a:gd name="T12" fmla="*/ 487 w 487"/>
                  <a:gd name="T13" fmla="*/ 163 h 163"/>
                  <a:gd name="T14" fmla="*/ 487 w 487"/>
                  <a:gd name="T15" fmla="*/ 98 h 163"/>
                  <a:gd name="T16" fmla="*/ 39 w 487"/>
                  <a:gd name="T17" fmla="*/ 163 h 163"/>
                  <a:gd name="T18" fmla="*/ 39 w 487"/>
                  <a:gd name="T19" fmla="*/ 45 h 163"/>
                  <a:gd name="T20" fmla="*/ 71 w 487"/>
                  <a:gd name="T21" fmla="*/ 45 h 163"/>
                  <a:gd name="T22" fmla="*/ 71 w 487"/>
                  <a:gd name="T23" fmla="*/ 163 h 163"/>
                  <a:gd name="T24" fmla="*/ 39 w 487"/>
                  <a:gd name="T25" fmla="*/ 163 h 163"/>
                  <a:gd name="T26" fmla="*/ 112 w 487"/>
                  <a:gd name="T27" fmla="*/ 163 h 163"/>
                  <a:gd name="T28" fmla="*/ 112 w 487"/>
                  <a:gd name="T29" fmla="*/ 45 h 163"/>
                  <a:gd name="T30" fmla="*/ 144 w 487"/>
                  <a:gd name="T31" fmla="*/ 45 h 163"/>
                  <a:gd name="T32" fmla="*/ 144 w 487"/>
                  <a:gd name="T33" fmla="*/ 163 h 163"/>
                  <a:gd name="T34" fmla="*/ 112 w 487"/>
                  <a:gd name="T35" fmla="*/ 163 h 163"/>
                  <a:gd name="T36" fmla="*/ 230 w 487"/>
                  <a:gd name="T37" fmla="*/ 163 h 163"/>
                  <a:gd name="T38" fmla="*/ 230 w 487"/>
                  <a:gd name="T39" fmla="*/ 45 h 163"/>
                  <a:gd name="T40" fmla="*/ 262 w 487"/>
                  <a:gd name="T41" fmla="*/ 45 h 163"/>
                  <a:gd name="T42" fmla="*/ 262 w 487"/>
                  <a:gd name="T43" fmla="*/ 163 h 163"/>
                  <a:gd name="T44" fmla="*/ 230 w 487"/>
                  <a:gd name="T45" fmla="*/ 163 h 163"/>
                  <a:gd name="T46" fmla="*/ 0 w 487"/>
                  <a:gd name="T47" fmla="*/ 163 h 163"/>
                  <a:gd name="T48" fmla="*/ 0 w 487"/>
                  <a:gd name="T49" fmla="*/ 27 h 163"/>
                  <a:gd name="T50" fmla="*/ 31 w 487"/>
                  <a:gd name="T51" fmla="*/ 27 h 163"/>
                  <a:gd name="T52" fmla="*/ 31 w 487"/>
                  <a:gd name="T53" fmla="*/ 163 h 163"/>
                  <a:gd name="T54" fmla="*/ 0 w 487"/>
                  <a:gd name="T55" fmla="*/ 163 h 163"/>
                  <a:gd name="T56" fmla="*/ 207 w 487"/>
                  <a:gd name="T57" fmla="*/ 163 h 163"/>
                  <a:gd name="T58" fmla="*/ 176 w 487"/>
                  <a:gd name="T59" fmla="*/ 158 h 163"/>
                  <a:gd name="T60" fmla="*/ 199 w 487"/>
                  <a:gd name="T61" fmla="*/ 23 h 163"/>
                  <a:gd name="T62" fmla="*/ 230 w 487"/>
                  <a:gd name="T63" fmla="*/ 29 h 163"/>
                  <a:gd name="T64" fmla="*/ 207 w 487"/>
                  <a:gd name="T65" fmla="*/ 163 h 163"/>
                  <a:gd name="T66" fmla="*/ 82 w 487"/>
                  <a:gd name="T67" fmla="*/ 163 h 163"/>
                  <a:gd name="T68" fmla="*/ 82 w 487"/>
                  <a:gd name="T69" fmla="*/ 20 h 163"/>
                  <a:gd name="T70" fmla="*/ 98 w 487"/>
                  <a:gd name="T71" fmla="*/ 20 h 163"/>
                  <a:gd name="T72" fmla="*/ 98 w 487"/>
                  <a:gd name="T73" fmla="*/ 163 h 163"/>
                  <a:gd name="T74" fmla="*/ 82 w 487"/>
                  <a:gd name="T75" fmla="*/ 163 h 163"/>
                  <a:gd name="T76" fmla="*/ 271 w 487"/>
                  <a:gd name="T77" fmla="*/ 163 h 163"/>
                  <a:gd name="T78" fmla="*/ 271 w 487"/>
                  <a:gd name="T79" fmla="*/ 20 h 163"/>
                  <a:gd name="T80" fmla="*/ 287 w 487"/>
                  <a:gd name="T81" fmla="*/ 20 h 163"/>
                  <a:gd name="T82" fmla="*/ 287 w 487"/>
                  <a:gd name="T83" fmla="*/ 163 h 163"/>
                  <a:gd name="T84" fmla="*/ 271 w 487"/>
                  <a:gd name="T85" fmla="*/ 163 h 163"/>
                  <a:gd name="T86" fmla="*/ 345 w 487"/>
                  <a:gd name="T87" fmla="*/ 0 h 163"/>
                  <a:gd name="T88" fmla="*/ 0 w 487"/>
                  <a:gd name="T89" fmla="*/ 0 h 163"/>
                  <a:gd name="T90" fmla="*/ 0 w 487"/>
                  <a:gd name="T91" fmla="*/ 163 h 163"/>
                  <a:gd name="T92" fmla="*/ 419 w 487"/>
                  <a:gd name="T93" fmla="*/ 163 h 163"/>
                  <a:gd name="T94" fmla="*/ 419 w 487"/>
                  <a:gd name="T95" fmla="*/ 163 h 163"/>
                  <a:gd name="T96" fmla="*/ 414 w 487"/>
                  <a:gd name="T97" fmla="*/ 163 h 163"/>
                  <a:gd name="T98" fmla="*/ 414 w 487"/>
                  <a:gd name="T99" fmla="*/ 98 h 163"/>
                  <a:gd name="T100" fmla="*/ 405 w 487"/>
                  <a:gd name="T101" fmla="*/ 98 h 163"/>
                  <a:gd name="T102" fmla="*/ 405 w 487"/>
                  <a:gd name="T103" fmla="*/ 163 h 163"/>
                  <a:gd name="T104" fmla="*/ 373 w 487"/>
                  <a:gd name="T105" fmla="*/ 163 h 163"/>
                  <a:gd name="T106" fmla="*/ 373 w 487"/>
                  <a:gd name="T107" fmla="*/ 89 h 163"/>
                  <a:gd name="T108" fmla="*/ 356 w 487"/>
                  <a:gd name="T109" fmla="*/ 74 h 163"/>
                  <a:gd name="T110" fmla="*/ 337 w 487"/>
                  <a:gd name="T111" fmla="*/ 163 h 163"/>
                  <a:gd name="T112" fmla="*/ 306 w 487"/>
                  <a:gd name="T113" fmla="*/ 156 h 163"/>
                  <a:gd name="T114" fmla="*/ 331 w 487"/>
                  <a:gd name="T115" fmla="*/ 41 h 163"/>
                  <a:gd name="T116" fmla="*/ 345 w 487"/>
                  <a:gd name="T117" fmla="*/ 44 h 163"/>
                  <a:gd name="T118" fmla="*/ 345 w 487"/>
                  <a:gd name="T119" fmla="*/ 39 h 163"/>
                  <a:gd name="T120" fmla="*/ 345 w 487"/>
                  <a:gd name="T1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7" h="163">
                    <a:moveTo>
                      <a:pt x="487" y="98"/>
                    </a:moveTo>
                    <a:cubicBezTo>
                      <a:pt x="475" y="98"/>
                      <a:pt x="475" y="98"/>
                      <a:pt x="475" y="98"/>
                    </a:cubicBezTo>
                    <a:cubicBezTo>
                      <a:pt x="475" y="120"/>
                      <a:pt x="475" y="120"/>
                      <a:pt x="475" y="120"/>
                    </a:cubicBezTo>
                    <a:cubicBezTo>
                      <a:pt x="476" y="134"/>
                      <a:pt x="477" y="148"/>
                      <a:pt x="478" y="163"/>
                    </a:cubicBezTo>
                    <a:cubicBezTo>
                      <a:pt x="487" y="163"/>
                      <a:pt x="487" y="163"/>
                      <a:pt x="487" y="163"/>
                    </a:cubicBezTo>
                    <a:cubicBezTo>
                      <a:pt x="487" y="163"/>
                      <a:pt x="487" y="163"/>
                      <a:pt x="487" y="163"/>
                    </a:cubicBezTo>
                    <a:cubicBezTo>
                      <a:pt x="487" y="163"/>
                      <a:pt x="487" y="163"/>
                      <a:pt x="487" y="163"/>
                    </a:cubicBezTo>
                    <a:cubicBezTo>
                      <a:pt x="487" y="98"/>
                      <a:pt x="487" y="98"/>
                      <a:pt x="487" y="98"/>
                    </a:cubicBezTo>
                    <a:moveTo>
                      <a:pt x="39" y="163"/>
                    </a:moveTo>
                    <a:cubicBezTo>
                      <a:pt x="39" y="45"/>
                      <a:pt x="39" y="45"/>
                      <a:pt x="39" y="45"/>
                    </a:cubicBezTo>
                    <a:cubicBezTo>
                      <a:pt x="71" y="45"/>
                      <a:pt x="71" y="45"/>
                      <a:pt x="71" y="45"/>
                    </a:cubicBezTo>
                    <a:cubicBezTo>
                      <a:pt x="71" y="163"/>
                      <a:pt x="71" y="163"/>
                      <a:pt x="71" y="163"/>
                    </a:cubicBezTo>
                    <a:cubicBezTo>
                      <a:pt x="39" y="163"/>
                      <a:pt x="39" y="163"/>
                      <a:pt x="39" y="163"/>
                    </a:cubicBezTo>
                    <a:moveTo>
                      <a:pt x="112" y="163"/>
                    </a:moveTo>
                    <a:cubicBezTo>
                      <a:pt x="112" y="45"/>
                      <a:pt x="112" y="45"/>
                      <a:pt x="112" y="45"/>
                    </a:cubicBezTo>
                    <a:cubicBezTo>
                      <a:pt x="144" y="45"/>
                      <a:pt x="144" y="45"/>
                      <a:pt x="144" y="45"/>
                    </a:cubicBezTo>
                    <a:cubicBezTo>
                      <a:pt x="144" y="163"/>
                      <a:pt x="144" y="163"/>
                      <a:pt x="144" y="163"/>
                    </a:cubicBezTo>
                    <a:cubicBezTo>
                      <a:pt x="112" y="163"/>
                      <a:pt x="112" y="163"/>
                      <a:pt x="112" y="163"/>
                    </a:cubicBezTo>
                    <a:moveTo>
                      <a:pt x="230" y="163"/>
                    </a:moveTo>
                    <a:cubicBezTo>
                      <a:pt x="230" y="45"/>
                      <a:pt x="230" y="45"/>
                      <a:pt x="230" y="45"/>
                    </a:cubicBezTo>
                    <a:cubicBezTo>
                      <a:pt x="262" y="45"/>
                      <a:pt x="262" y="45"/>
                      <a:pt x="262" y="45"/>
                    </a:cubicBezTo>
                    <a:cubicBezTo>
                      <a:pt x="262" y="163"/>
                      <a:pt x="262" y="163"/>
                      <a:pt x="262" y="163"/>
                    </a:cubicBezTo>
                    <a:cubicBezTo>
                      <a:pt x="230" y="163"/>
                      <a:pt x="230" y="163"/>
                      <a:pt x="230" y="163"/>
                    </a:cubicBezTo>
                    <a:moveTo>
                      <a:pt x="0" y="163"/>
                    </a:moveTo>
                    <a:cubicBezTo>
                      <a:pt x="0" y="27"/>
                      <a:pt x="0" y="27"/>
                      <a:pt x="0" y="27"/>
                    </a:cubicBezTo>
                    <a:cubicBezTo>
                      <a:pt x="31" y="27"/>
                      <a:pt x="31" y="27"/>
                      <a:pt x="31" y="27"/>
                    </a:cubicBezTo>
                    <a:cubicBezTo>
                      <a:pt x="31" y="163"/>
                      <a:pt x="31" y="163"/>
                      <a:pt x="31" y="163"/>
                    </a:cubicBezTo>
                    <a:cubicBezTo>
                      <a:pt x="0" y="163"/>
                      <a:pt x="0" y="163"/>
                      <a:pt x="0" y="163"/>
                    </a:cubicBezTo>
                    <a:moveTo>
                      <a:pt x="207" y="163"/>
                    </a:moveTo>
                    <a:cubicBezTo>
                      <a:pt x="176" y="158"/>
                      <a:pt x="176" y="158"/>
                      <a:pt x="176" y="158"/>
                    </a:cubicBezTo>
                    <a:cubicBezTo>
                      <a:pt x="199" y="23"/>
                      <a:pt x="199" y="23"/>
                      <a:pt x="199" y="23"/>
                    </a:cubicBezTo>
                    <a:cubicBezTo>
                      <a:pt x="230" y="29"/>
                      <a:pt x="230" y="29"/>
                      <a:pt x="230" y="29"/>
                    </a:cubicBezTo>
                    <a:cubicBezTo>
                      <a:pt x="207" y="163"/>
                      <a:pt x="207" y="163"/>
                      <a:pt x="207" y="163"/>
                    </a:cubicBezTo>
                    <a:moveTo>
                      <a:pt x="82" y="163"/>
                    </a:moveTo>
                    <a:cubicBezTo>
                      <a:pt x="82" y="20"/>
                      <a:pt x="82" y="20"/>
                      <a:pt x="82" y="20"/>
                    </a:cubicBezTo>
                    <a:cubicBezTo>
                      <a:pt x="98" y="20"/>
                      <a:pt x="98" y="20"/>
                      <a:pt x="98" y="20"/>
                    </a:cubicBezTo>
                    <a:cubicBezTo>
                      <a:pt x="98" y="163"/>
                      <a:pt x="98" y="163"/>
                      <a:pt x="98" y="163"/>
                    </a:cubicBezTo>
                    <a:cubicBezTo>
                      <a:pt x="82" y="163"/>
                      <a:pt x="82" y="163"/>
                      <a:pt x="82" y="163"/>
                    </a:cubicBezTo>
                    <a:moveTo>
                      <a:pt x="271" y="163"/>
                    </a:moveTo>
                    <a:cubicBezTo>
                      <a:pt x="271" y="20"/>
                      <a:pt x="271" y="20"/>
                      <a:pt x="271" y="20"/>
                    </a:cubicBezTo>
                    <a:cubicBezTo>
                      <a:pt x="287" y="20"/>
                      <a:pt x="287" y="20"/>
                      <a:pt x="287" y="20"/>
                    </a:cubicBezTo>
                    <a:cubicBezTo>
                      <a:pt x="287" y="163"/>
                      <a:pt x="287" y="163"/>
                      <a:pt x="287" y="163"/>
                    </a:cubicBezTo>
                    <a:cubicBezTo>
                      <a:pt x="271" y="163"/>
                      <a:pt x="271" y="163"/>
                      <a:pt x="271" y="163"/>
                    </a:cubicBezTo>
                    <a:moveTo>
                      <a:pt x="345" y="0"/>
                    </a:moveTo>
                    <a:cubicBezTo>
                      <a:pt x="0" y="0"/>
                      <a:pt x="0" y="0"/>
                      <a:pt x="0" y="0"/>
                    </a:cubicBezTo>
                    <a:cubicBezTo>
                      <a:pt x="0" y="163"/>
                      <a:pt x="0" y="163"/>
                      <a:pt x="0" y="163"/>
                    </a:cubicBezTo>
                    <a:cubicBezTo>
                      <a:pt x="419" y="163"/>
                      <a:pt x="419" y="163"/>
                      <a:pt x="419" y="163"/>
                    </a:cubicBezTo>
                    <a:cubicBezTo>
                      <a:pt x="419" y="163"/>
                      <a:pt x="419" y="163"/>
                      <a:pt x="419" y="163"/>
                    </a:cubicBezTo>
                    <a:cubicBezTo>
                      <a:pt x="414" y="163"/>
                      <a:pt x="414" y="163"/>
                      <a:pt x="414" y="163"/>
                    </a:cubicBezTo>
                    <a:cubicBezTo>
                      <a:pt x="414" y="98"/>
                      <a:pt x="414" y="98"/>
                      <a:pt x="414" y="98"/>
                    </a:cubicBezTo>
                    <a:cubicBezTo>
                      <a:pt x="405" y="98"/>
                      <a:pt x="405" y="98"/>
                      <a:pt x="405" y="98"/>
                    </a:cubicBezTo>
                    <a:cubicBezTo>
                      <a:pt x="405" y="163"/>
                      <a:pt x="405" y="163"/>
                      <a:pt x="405" y="163"/>
                    </a:cubicBezTo>
                    <a:cubicBezTo>
                      <a:pt x="373" y="163"/>
                      <a:pt x="373" y="163"/>
                      <a:pt x="373" y="163"/>
                    </a:cubicBezTo>
                    <a:cubicBezTo>
                      <a:pt x="373" y="89"/>
                      <a:pt x="373" y="89"/>
                      <a:pt x="373" y="89"/>
                    </a:cubicBezTo>
                    <a:cubicBezTo>
                      <a:pt x="367" y="85"/>
                      <a:pt x="361" y="80"/>
                      <a:pt x="356" y="74"/>
                    </a:cubicBezTo>
                    <a:cubicBezTo>
                      <a:pt x="337" y="163"/>
                      <a:pt x="337" y="163"/>
                      <a:pt x="337" y="163"/>
                    </a:cubicBezTo>
                    <a:cubicBezTo>
                      <a:pt x="306" y="156"/>
                      <a:pt x="306" y="156"/>
                      <a:pt x="306" y="156"/>
                    </a:cubicBezTo>
                    <a:cubicBezTo>
                      <a:pt x="331" y="41"/>
                      <a:pt x="331" y="41"/>
                      <a:pt x="331" y="41"/>
                    </a:cubicBezTo>
                    <a:cubicBezTo>
                      <a:pt x="345" y="44"/>
                      <a:pt x="345" y="44"/>
                      <a:pt x="345" y="44"/>
                    </a:cubicBezTo>
                    <a:cubicBezTo>
                      <a:pt x="345" y="42"/>
                      <a:pt x="345" y="41"/>
                      <a:pt x="345" y="39"/>
                    </a:cubicBezTo>
                    <a:cubicBezTo>
                      <a:pt x="345" y="0"/>
                      <a:pt x="345" y="0"/>
                      <a:pt x="345"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1">
                <a:extLst>
                  <a:ext uri="{FF2B5EF4-FFF2-40B4-BE49-F238E27FC236}">
                    <a16:creationId xmlns:a16="http://schemas.microsoft.com/office/drawing/2014/main" id="{2D38A543-CB85-47FD-ABE5-83499EE3B3B6}"/>
                  </a:ext>
                </a:extLst>
              </p:cNvPr>
              <p:cNvSpPr>
                <a:spLocks/>
              </p:cNvSpPr>
              <p:nvPr/>
            </p:nvSpPr>
            <p:spPr bwMode="auto">
              <a:xfrm>
                <a:off x="4902" y="2323"/>
                <a:ext cx="76" cy="176"/>
              </a:xfrm>
              <a:custGeom>
                <a:avLst/>
                <a:gdLst>
                  <a:gd name="T0" fmla="*/ 0 w 32"/>
                  <a:gd name="T1" fmla="*/ 0 h 74"/>
                  <a:gd name="T2" fmla="*/ 0 w 32"/>
                  <a:gd name="T3" fmla="*/ 74 h 74"/>
                  <a:gd name="T4" fmla="*/ 32 w 32"/>
                  <a:gd name="T5" fmla="*/ 74 h 74"/>
                  <a:gd name="T6" fmla="*/ 32 w 32"/>
                  <a:gd name="T7" fmla="*/ 9 h 74"/>
                  <a:gd name="T8" fmla="*/ 30 w 32"/>
                  <a:gd name="T9" fmla="*/ 9 h 74"/>
                  <a:gd name="T10" fmla="*/ 0 w 32"/>
                  <a:gd name="T11" fmla="*/ 0 h 74"/>
                </a:gdLst>
                <a:ahLst/>
                <a:cxnLst>
                  <a:cxn ang="0">
                    <a:pos x="T0" y="T1"/>
                  </a:cxn>
                  <a:cxn ang="0">
                    <a:pos x="T2" y="T3"/>
                  </a:cxn>
                  <a:cxn ang="0">
                    <a:pos x="T4" y="T5"/>
                  </a:cxn>
                  <a:cxn ang="0">
                    <a:pos x="T6" y="T7"/>
                  </a:cxn>
                  <a:cxn ang="0">
                    <a:pos x="T8" y="T9"/>
                  </a:cxn>
                  <a:cxn ang="0">
                    <a:pos x="T10" y="T11"/>
                  </a:cxn>
                </a:cxnLst>
                <a:rect l="0" t="0" r="r" b="b"/>
                <a:pathLst>
                  <a:path w="32" h="74">
                    <a:moveTo>
                      <a:pt x="0" y="0"/>
                    </a:moveTo>
                    <a:cubicBezTo>
                      <a:pt x="0" y="74"/>
                      <a:pt x="0" y="74"/>
                      <a:pt x="0" y="74"/>
                    </a:cubicBezTo>
                    <a:cubicBezTo>
                      <a:pt x="32" y="74"/>
                      <a:pt x="32" y="74"/>
                      <a:pt x="32" y="74"/>
                    </a:cubicBezTo>
                    <a:cubicBezTo>
                      <a:pt x="32" y="9"/>
                      <a:pt x="32" y="9"/>
                      <a:pt x="32" y="9"/>
                    </a:cubicBezTo>
                    <a:cubicBezTo>
                      <a:pt x="30" y="9"/>
                      <a:pt x="30" y="9"/>
                      <a:pt x="30" y="9"/>
                    </a:cubicBezTo>
                    <a:cubicBezTo>
                      <a:pt x="19" y="9"/>
                      <a:pt x="9" y="6"/>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2">
                <a:extLst>
                  <a:ext uri="{FF2B5EF4-FFF2-40B4-BE49-F238E27FC236}">
                    <a16:creationId xmlns:a16="http://schemas.microsoft.com/office/drawing/2014/main" id="{95C0B9E0-6790-4F5A-A961-8A6BCE8E4109}"/>
                  </a:ext>
                </a:extLst>
              </p:cNvPr>
              <p:cNvSpPr>
                <a:spLocks/>
              </p:cNvSpPr>
              <p:nvPr/>
            </p:nvSpPr>
            <p:spPr bwMode="auto">
              <a:xfrm>
                <a:off x="4435" y="2166"/>
                <a:ext cx="128" cy="333"/>
              </a:xfrm>
              <a:custGeom>
                <a:avLst/>
                <a:gdLst>
                  <a:gd name="T0" fmla="*/ 54 w 128"/>
                  <a:gd name="T1" fmla="*/ 0 h 333"/>
                  <a:gd name="T2" fmla="*/ 0 w 128"/>
                  <a:gd name="T3" fmla="*/ 321 h 333"/>
                  <a:gd name="T4" fmla="*/ 73 w 128"/>
                  <a:gd name="T5" fmla="*/ 333 h 333"/>
                  <a:gd name="T6" fmla="*/ 128 w 128"/>
                  <a:gd name="T7" fmla="*/ 14 h 333"/>
                  <a:gd name="T8" fmla="*/ 54 w 128"/>
                  <a:gd name="T9" fmla="*/ 0 h 333"/>
                </a:gdLst>
                <a:ahLst/>
                <a:cxnLst>
                  <a:cxn ang="0">
                    <a:pos x="T0" y="T1"/>
                  </a:cxn>
                  <a:cxn ang="0">
                    <a:pos x="T2" y="T3"/>
                  </a:cxn>
                  <a:cxn ang="0">
                    <a:pos x="T4" y="T5"/>
                  </a:cxn>
                  <a:cxn ang="0">
                    <a:pos x="T6" y="T7"/>
                  </a:cxn>
                  <a:cxn ang="0">
                    <a:pos x="T8" y="T9"/>
                  </a:cxn>
                </a:cxnLst>
                <a:rect l="0" t="0" r="r" b="b"/>
                <a:pathLst>
                  <a:path w="128" h="333">
                    <a:moveTo>
                      <a:pt x="54" y="0"/>
                    </a:moveTo>
                    <a:lnTo>
                      <a:pt x="0" y="321"/>
                    </a:lnTo>
                    <a:lnTo>
                      <a:pt x="73" y="333"/>
                    </a:lnTo>
                    <a:lnTo>
                      <a:pt x="128" y="14"/>
                    </a:lnTo>
                    <a:lnTo>
                      <a:pt x="54"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3">
                <a:extLst>
                  <a:ext uri="{FF2B5EF4-FFF2-40B4-BE49-F238E27FC236}">
                    <a16:creationId xmlns:a16="http://schemas.microsoft.com/office/drawing/2014/main" id="{E2A752C2-891B-45DA-9584-C213A7389600}"/>
                  </a:ext>
                </a:extLst>
              </p:cNvPr>
              <p:cNvSpPr>
                <a:spLocks/>
              </p:cNvSpPr>
              <p:nvPr/>
            </p:nvSpPr>
            <p:spPr bwMode="auto">
              <a:xfrm>
                <a:off x="4435" y="2166"/>
                <a:ext cx="128" cy="333"/>
              </a:xfrm>
              <a:custGeom>
                <a:avLst/>
                <a:gdLst>
                  <a:gd name="T0" fmla="*/ 54 w 128"/>
                  <a:gd name="T1" fmla="*/ 0 h 333"/>
                  <a:gd name="T2" fmla="*/ 0 w 128"/>
                  <a:gd name="T3" fmla="*/ 321 h 333"/>
                  <a:gd name="T4" fmla="*/ 73 w 128"/>
                  <a:gd name="T5" fmla="*/ 333 h 333"/>
                  <a:gd name="T6" fmla="*/ 128 w 128"/>
                  <a:gd name="T7" fmla="*/ 14 h 333"/>
                  <a:gd name="T8" fmla="*/ 54 w 128"/>
                  <a:gd name="T9" fmla="*/ 0 h 333"/>
                </a:gdLst>
                <a:ahLst/>
                <a:cxnLst>
                  <a:cxn ang="0">
                    <a:pos x="T0" y="T1"/>
                  </a:cxn>
                  <a:cxn ang="0">
                    <a:pos x="T2" y="T3"/>
                  </a:cxn>
                  <a:cxn ang="0">
                    <a:pos x="T4" y="T5"/>
                  </a:cxn>
                  <a:cxn ang="0">
                    <a:pos x="T6" y="T7"/>
                  </a:cxn>
                  <a:cxn ang="0">
                    <a:pos x="T8" y="T9"/>
                  </a:cxn>
                </a:cxnLst>
                <a:rect l="0" t="0" r="r" b="b"/>
                <a:pathLst>
                  <a:path w="128" h="333">
                    <a:moveTo>
                      <a:pt x="54" y="0"/>
                    </a:moveTo>
                    <a:lnTo>
                      <a:pt x="0" y="321"/>
                    </a:lnTo>
                    <a:lnTo>
                      <a:pt x="73" y="333"/>
                    </a:lnTo>
                    <a:lnTo>
                      <a:pt x="128" y="14"/>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74">
                <a:extLst>
                  <a:ext uri="{FF2B5EF4-FFF2-40B4-BE49-F238E27FC236}">
                    <a16:creationId xmlns:a16="http://schemas.microsoft.com/office/drawing/2014/main" id="{003EF228-F0FF-4D05-828A-8D1EEF1F2DE9}"/>
                  </a:ext>
                </a:extLst>
              </p:cNvPr>
              <p:cNvSpPr>
                <a:spLocks/>
              </p:cNvSpPr>
              <p:nvPr/>
            </p:nvSpPr>
            <p:spPr bwMode="auto">
              <a:xfrm>
                <a:off x="5173" y="2344"/>
                <a:ext cx="26" cy="155"/>
              </a:xfrm>
              <a:custGeom>
                <a:avLst/>
                <a:gdLst>
                  <a:gd name="T0" fmla="*/ 11 w 11"/>
                  <a:gd name="T1" fmla="*/ 0 h 65"/>
                  <a:gd name="T2" fmla="*/ 0 w 11"/>
                  <a:gd name="T3" fmla="*/ 0 h 65"/>
                  <a:gd name="T4" fmla="*/ 0 w 11"/>
                  <a:gd name="T5" fmla="*/ 65 h 65"/>
                  <a:gd name="T6" fmla="*/ 0 w 11"/>
                  <a:gd name="T7" fmla="*/ 65 h 65"/>
                  <a:gd name="T8" fmla="*/ 11 w 11"/>
                  <a:gd name="T9" fmla="*/ 0 h 65"/>
                </a:gdLst>
                <a:ahLst/>
                <a:cxnLst>
                  <a:cxn ang="0">
                    <a:pos x="T0" y="T1"/>
                  </a:cxn>
                  <a:cxn ang="0">
                    <a:pos x="T2" y="T3"/>
                  </a:cxn>
                  <a:cxn ang="0">
                    <a:pos x="T4" y="T5"/>
                  </a:cxn>
                  <a:cxn ang="0">
                    <a:pos x="T6" y="T7"/>
                  </a:cxn>
                  <a:cxn ang="0">
                    <a:pos x="T8" y="T9"/>
                  </a:cxn>
                </a:cxnLst>
                <a:rect l="0" t="0" r="r" b="b"/>
                <a:pathLst>
                  <a:path w="11" h="65">
                    <a:moveTo>
                      <a:pt x="11" y="0"/>
                    </a:moveTo>
                    <a:cubicBezTo>
                      <a:pt x="0" y="0"/>
                      <a:pt x="0" y="0"/>
                      <a:pt x="0" y="0"/>
                    </a:cubicBezTo>
                    <a:cubicBezTo>
                      <a:pt x="0" y="65"/>
                      <a:pt x="0" y="65"/>
                      <a:pt x="0" y="65"/>
                    </a:cubicBezTo>
                    <a:cubicBezTo>
                      <a:pt x="0" y="65"/>
                      <a:pt x="0" y="65"/>
                      <a:pt x="0" y="65"/>
                    </a:cubicBezTo>
                    <a:cubicBezTo>
                      <a:pt x="2" y="47"/>
                      <a:pt x="6" y="24"/>
                      <a:pt x="11" y="0"/>
                    </a:cubicBezTo>
                  </a:path>
                </a:pathLst>
              </a:custGeom>
              <a:solidFill>
                <a:srgbClr val="FE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75">
                <a:extLst>
                  <a:ext uri="{FF2B5EF4-FFF2-40B4-BE49-F238E27FC236}">
                    <a16:creationId xmlns:a16="http://schemas.microsoft.com/office/drawing/2014/main" id="{27D4EE82-6D73-4934-A460-B7D02710A5DE}"/>
                  </a:ext>
                </a:extLst>
              </p:cNvPr>
              <p:cNvSpPr>
                <a:spLocks/>
              </p:cNvSpPr>
              <p:nvPr/>
            </p:nvSpPr>
            <p:spPr bwMode="auto">
              <a:xfrm>
                <a:off x="5000" y="2344"/>
                <a:ext cx="12" cy="155"/>
              </a:xfrm>
              <a:custGeom>
                <a:avLst/>
                <a:gdLst>
                  <a:gd name="T0" fmla="*/ 3 w 5"/>
                  <a:gd name="T1" fmla="*/ 0 h 65"/>
                  <a:gd name="T2" fmla="*/ 0 w 5"/>
                  <a:gd name="T3" fmla="*/ 0 h 65"/>
                  <a:gd name="T4" fmla="*/ 0 w 5"/>
                  <a:gd name="T5" fmla="*/ 65 h 65"/>
                  <a:gd name="T6" fmla="*/ 5 w 5"/>
                  <a:gd name="T7" fmla="*/ 65 h 65"/>
                  <a:gd name="T8" fmla="*/ 3 w 5"/>
                  <a:gd name="T9" fmla="*/ 17 h 65"/>
                  <a:gd name="T10" fmla="*/ 3 w 5"/>
                  <a:gd name="T11" fmla="*/ 0 h 65"/>
                </a:gdLst>
                <a:ahLst/>
                <a:cxnLst>
                  <a:cxn ang="0">
                    <a:pos x="T0" y="T1"/>
                  </a:cxn>
                  <a:cxn ang="0">
                    <a:pos x="T2" y="T3"/>
                  </a:cxn>
                  <a:cxn ang="0">
                    <a:pos x="T4" y="T5"/>
                  </a:cxn>
                  <a:cxn ang="0">
                    <a:pos x="T6" y="T7"/>
                  </a:cxn>
                  <a:cxn ang="0">
                    <a:pos x="T8" y="T9"/>
                  </a:cxn>
                  <a:cxn ang="0">
                    <a:pos x="T10" y="T11"/>
                  </a:cxn>
                </a:cxnLst>
                <a:rect l="0" t="0" r="r" b="b"/>
                <a:pathLst>
                  <a:path w="5" h="65">
                    <a:moveTo>
                      <a:pt x="3" y="0"/>
                    </a:moveTo>
                    <a:cubicBezTo>
                      <a:pt x="0" y="0"/>
                      <a:pt x="0" y="0"/>
                      <a:pt x="0" y="0"/>
                    </a:cubicBezTo>
                    <a:cubicBezTo>
                      <a:pt x="0" y="65"/>
                      <a:pt x="0" y="65"/>
                      <a:pt x="0" y="65"/>
                    </a:cubicBezTo>
                    <a:cubicBezTo>
                      <a:pt x="5" y="65"/>
                      <a:pt x="5" y="65"/>
                      <a:pt x="5" y="65"/>
                    </a:cubicBezTo>
                    <a:cubicBezTo>
                      <a:pt x="4" y="50"/>
                      <a:pt x="3" y="35"/>
                      <a:pt x="3" y="17"/>
                    </a:cubicBezTo>
                    <a:cubicBezTo>
                      <a:pt x="3" y="12"/>
                      <a:pt x="3" y="6"/>
                      <a:pt x="3"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Rectangle 76">
                <a:extLst>
                  <a:ext uri="{FF2B5EF4-FFF2-40B4-BE49-F238E27FC236}">
                    <a16:creationId xmlns:a16="http://schemas.microsoft.com/office/drawing/2014/main" id="{2ED4D563-AE0E-4CB7-A66D-5A50D770AFFF}"/>
                  </a:ext>
                </a:extLst>
              </p:cNvPr>
              <p:cNvSpPr>
                <a:spLocks noChangeArrowheads="1"/>
              </p:cNvSpPr>
              <p:nvPr/>
            </p:nvSpPr>
            <p:spPr bwMode="auto">
              <a:xfrm>
                <a:off x="4563"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Rectangle 77">
                <a:extLst>
                  <a:ext uri="{FF2B5EF4-FFF2-40B4-BE49-F238E27FC236}">
                    <a16:creationId xmlns:a16="http://schemas.microsoft.com/office/drawing/2014/main" id="{36DAD459-459F-4A68-89ED-DBE6B79EA770}"/>
                  </a:ext>
                </a:extLst>
              </p:cNvPr>
              <p:cNvSpPr>
                <a:spLocks noChangeArrowheads="1"/>
              </p:cNvSpPr>
              <p:nvPr/>
            </p:nvSpPr>
            <p:spPr bwMode="auto">
              <a:xfrm>
                <a:off x="4563"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8">
                <a:extLst>
                  <a:ext uri="{FF2B5EF4-FFF2-40B4-BE49-F238E27FC236}">
                    <a16:creationId xmlns:a16="http://schemas.microsoft.com/office/drawing/2014/main" id="{14861E64-0239-4107-818B-5E26C30502C9}"/>
                  </a:ext>
                </a:extLst>
              </p:cNvPr>
              <p:cNvSpPr>
                <a:spLocks/>
              </p:cNvSpPr>
              <p:nvPr/>
            </p:nvSpPr>
            <p:spPr bwMode="auto">
              <a:xfrm>
                <a:off x="4743" y="2209"/>
                <a:ext cx="119" cy="290"/>
              </a:xfrm>
              <a:custGeom>
                <a:avLst/>
                <a:gdLst>
                  <a:gd name="T0" fmla="*/ 25 w 50"/>
                  <a:gd name="T1" fmla="*/ 0 h 122"/>
                  <a:gd name="T2" fmla="*/ 0 w 50"/>
                  <a:gd name="T3" fmla="*/ 115 h 122"/>
                  <a:gd name="T4" fmla="*/ 31 w 50"/>
                  <a:gd name="T5" fmla="*/ 122 h 122"/>
                  <a:gd name="T6" fmla="*/ 50 w 50"/>
                  <a:gd name="T7" fmla="*/ 33 h 122"/>
                  <a:gd name="T8" fmla="*/ 39 w 50"/>
                  <a:gd name="T9" fmla="*/ 3 h 122"/>
                  <a:gd name="T10" fmla="*/ 25 w 50"/>
                  <a:gd name="T11" fmla="*/ 0 h 122"/>
                </a:gdLst>
                <a:ahLst/>
                <a:cxnLst>
                  <a:cxn ang="0">
                    <a:pos x="T0" y="T1"/>
                  </a:cxn>
                  <a:cxn ang="0">
                    <a:pos x="T2" y="T3"/>
                  </a:cxn>
                  <a:cxn ang="0">
                    <a:pos x="T4" y="T5"/>
                  </a:cxn>
                  <a:cxn ang="0">
                    <a:pos x="T6" y="T7"/>
                  </a:cxn>
                  <a:cxn ang="0">
                    <a:pos x="T8" y="T9"/>
                  </a:cxn>
                  <a:cxn ang="0">
                    <a:pos x="T10" y="T11"/>
                  </a:cxn>
                </a:cxnLst>
                <a:rect l="0" t="0" r="r" b="b"/>
                <a:pathLst>
                  <a:path w="50" h="122">
                    <a:moveTo>
                      <a:pt x="25" y="0"/>
                    </a:moveTo>
                    <a:cubicBezTo>
                      <a:pt x="0" y="115"/>
                      <a:pt x="0" y="115"/>
                      <a:pt x="0" y="115"/>
                    </a:cubicBezTo>
                    <a:cubicBezTo>
                      <a:pt x="31" y="122"/>
                      <a:pt x="31" y="122"/>
                      <a:pt x="31" y="122"/>
                    </a:cubicBezTo>
                    <a:cubicBezTo>
                      <a:pt x="50" y="33"/>
                      <a:pt x="50" y="33"/>
                      <a:pt x="50" y="33"/>
                    </a:cubicBezTo>
                    <a:cubicBezTo>
                      <a:pt x="44" y="25"/>
                      <a:pt x="40" y="14"/>
                      <a:pt x="39" y="3"/>
                    </a:cubicBezTo>
                    <a:cubicBezTo>
                      <a:pt x="25" y="0"/>
                      <a:pt x="25" y="0"/>
                      <a:pt x="25"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79">
                <a:extLst>
                  <a:ext uri="{FF2B5EF4-FFF2-40B4-BE49-F238E27FC236}">
                    <a16:creationId xmlns:a16="http://schemas.microsoft.com/office/drawing/2014/main" id="{C22FA397-1456-4EB6-954B-ED019ABA4D11}"/>
                  </a:ext>
                </a:extLst>
              </p:cNvPr>
              <p:cNvSpPr>
                <a:spLocks/>
              </p:cNvSpPr>
              <p:nvPr/>
            </p:nvSpPr>
            <p:spPr bwMode="auto">
              <a:xfrm>
                <a:off x="5145" y="2344"/>
                <a:ext cx="0" cy="53"/>
              </a:xfrm>
              <a:custGeom>
                <a:avLst/>
                <a:gdLst>
                  <a:gd name="T0" fmla="*/ 0 h 22"/>
                  <a:gd name="T1" fmla="*/ 0 h 22"/>
                  <a:gd name="T2" fmla="*/ 22 h 22"/>
                  <a:gd name="T3" fmla="*/ 0 h 22"/>
                </a:gdLst>
                <a:ahLst/>
                <a:cxnLst>
                  <a:cxn ang="0">
                    <a:pos x="0" y="T0"/>
                  </a:cxn>
                  <a:cxn ang="0">
                    <a:pos x="0" y="T1"/>
                  </a:cxn>
                  <a:cxn ang="0">
                    <a:pos x="0" y="T2"/>
                  </a:cxn>
                  <a:cxn ang="0">
                    <a:pos x="0" y="T3"/>
                  </a:cxn>
                </a:cxnLst>
                <a:rect l="0" t="0" r="r" b="b"/>
                <a:pathLst>
                  <a:path h="22">
                    <a:moveTo>
                      <a:pt x="0" y="0"/>
                    </a:moveTo>
                    <a:cubicBezTo>
                      <a:pt x="0" y="0"/>
                      <a:pt x="0" y="0"/>
                      <a:pt x="0" y="0"/>
                    </a:cubicBezTo>
                    <a:cubicBezTo>
                      <a:pt x="0" y="7"/>
                      <a:pt x="0" y="14"/>
                      <a:pt x="0" y="22"/>
                    </a:cubicBezTo>
                    <a:cubicBezTo>
                      <a:pt x="0" y="0"/>
                      <a:pt x="0" y="0"/>
                      <a:pt x="0" y="0"/>
                    </a:cubicBezTo>
                  </a:path>
                </a:pathLst>
              </a:custGeom>
              <a:solidFill>
                <a:srgbClr val="C0C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Rectangle 80">
                <a:extLst>
                  <a:ext uri="{FF2B5EF4-FFF2-40B4-BE49-F238E27FC236}">
                    <a16:creationId xmlns:a16="http://schemas.microsoft.com/office/drawing/2014/main" id="{8A84826D-59CC-4044-AC69-B86CB70831F3}"/>
                  </a:ext>
                </a:extLst>
              </p:cNvPr>
              <p:cNvSpPr>
                <a:spLocks noChangeArrowheads="1"/>
              </p:cNvSpPr>
              <p:nvPr/>
            </p:nvSpPr>
            <p:spPr bwMode="auto">
              <a:xfrm>
                <a:off x="4660" y="2159"/>
                <a:ext cx="38" cy="340"/>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81">
                <a:extLst>
                  <a:ext uri="{FF2B5EF4-FFF2-40B4-BE49-F238E27FC236}">
                    <a16:creationId xmlns:a16="http://schemas.microsoft.com/office/drawing/2014/main" id="{67803073-0554-4745-B874-79B97593780B}"/>
                  </a:ext>
                </a:extLst>
              </p:cNvPr>
              <p:cNvSpPr>
                <a:spLocks noChangeArrowheads="1"/>
              </p:cNvSpPr>
              <p:nvPr/>
            </p:nvSpPr>
            <p:spPr bwMode="auto">
              <a:xfrm>
                <a:off x="4660" y="2159"/>
                <a:ext cx="38" cy="340"/>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Rectangle 82">
                <a:extLst>
                  <a:ext uri="{FF2B5EF4-FFF2-40B4-BE49-F238E27FC236}">
                    <a16:creationId xmlns:a16="http://schemas.microsoft.com/office/drawing/2014/main" id="{498B5F1C-170D-469A-895E-75DA147FDB72}"/>
                  </a:ext>
                </a:extLst>
              </p:cNvPr>
              <p:cNvSpPr>
                <a:spLocks noChangeArrowheads="1"/>
              </p:cNvSpPr>
              <p:nvPr/>
            </p:nvSpPr>
            <p:spPr bwMode="auto">
              <a:xfrm>
                <a:off x="4017" y="2176"/>
                <a:ext cx="73" cy="323"/>
              </a:xfrm>
              <a:prstGeom prst="rect">
                <a:avLst/>
              </a:prstGeom>
              <a:solidFill>
                <a:srgbClr val="C0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83">
                <a:extLst>
                  <a:ext uri="{FF2B5EF4-FFF2-40B4-BE49-F238E27FC236}">
                    <a16:creationId xmlns:a16="http://schemas.microsoft.com/office/drawing/2014/main" id="{EE160E1D-461F-40AD-B503-FC512C93A081}"/>
                  </a:ext>
                </a:extLst>
              </p:cNvPr>
              <p:cNvSpPr>
                <a:spLocks noChangeArrowheads="1"/>
              </p:cNvSpPr>
              <p:nvPr/>
            </p:nvSpPr>
            <p:spPr bwMode="auto">
              <a:xfrm>
                <a:off x="4017" y="2176"/>
                <a:ext cx="73" cy="32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Rectangle 84">
                <a:extLst>
                  <a:ext uri="{FF2B5EF4-FFF2-40B4-BE49-F238E27FC236}">
                    <a16:creationId xmlns:a16="http://schemas.microsoft.com/office/drawing/2014/main" id="{CF3526FD-A6BF-46EE-9DA4-6C7C6112AF99}"/>
                  </a:ext>
                </a:extLst>
              </p:cNvPr>
              <p:cNvSpPr>
                <a:spLocks noChangeArrowheads="1"/>
              </p:cNvSpPr>
              <p:nvPr/>
            </p:nvSpPr>
            <p:spPr bwMode="auto">
              <a:xfrm>
                <a:off x="4109"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Rectangle 85">
                <a:extLst>
                  <a:ext uri="{FF2B5EF4-FFF2-40B4-BE49-F238E27FC236}">
                    <a16:creationId xmlns:a16="http://schemas.microsoft.com/office/drawing/2014/main" id="{B3190D56-F8AB-432B-89FF-4052C686B5B8}"/>
                  </a:ext>
                </a:extLst>
              </p:cNvPr>
              <p:cNvSpPr>
                <a:spLocks noChangeArrowheads="1"/>
              </p:cNvSpPr>
              <p:nvPr/>
            </p:nvSpPr>
            <p:spPr bwMode="auto">
              <a:xfrm>
                <a:off x="4109"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Rectangle 86">
                <a:extLst>
                  <a:ext uri="{FF2B5EF4-FFF2-40B4-BE49-F238E27FC236}">
                    <a16:creationId xmlns:a16="http://schemas.microsoft.com/office/drawing/2014/main" id="{04A5DEB4-45DC-41D5-ACBD-502806F93CA8}"/>
                  </a:ext>
                </a:extLst>
              </p:cNvPr>
              <p:cNvSpPr>
                <a:spLocks noChangeArrowheads="1"/>
              </p:cNvSpPr>
              <p:nvPr/>
            </p:nvSpPr>
            <p:spPr bwMode="auto">
              <a:xfrm>
                <a:off x="4283" y="2218"/>
                <a:ext cx="76" cy="28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87">
                <a:extLst>
                  <a:ext uri="{FF2B5EF4-FFF2-40B4-BE49-F238E27FC236}">
                    <a16:creationId xmlns:a16="http://schemas.microsoft.com/office/drawing/2014/main" id="{C21B1F50-7C14-4A40-ADFF-8E2FA240B1D2}"/>
                  </a:ext>
                </a:extLst>
              </p:cNvPr>
              <p:cNvSpPr>
                <a:spLocks noChangeArrowheads="1"/>
              </p:cNvSpPr>
              <p:nvPr/>
            </p:nvSpPr>
            <p:spPr bwMode="auto">
              <a:xfrm>
                <a:off x="4283" y="2218"/>
                <a:ext cx="7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88">
                <a:extLst>
                  <a:ext uri="{FF2B5EF4-FFF2-40B4-BE49-F238E27FC236}">
                    <a16:creationId xmlns:a16="http://schemas.microsoft.com/office/drawing/2014/main" id="{017F95B7-02D8-412B-A2E7-B5D8603BFAD4}"/>
                  </a:ext>
                </a:extLst>
              </p:cNvPr>
              <p:cNvSpPr>
                <a:spLocks noChangeArrowheads="1"/>
              </p:cNvSpPr>
              <p:nvPr/>
            </p:nvSpPr>
            <p:spPr bwMode="auto">
              <a:xfrm>
                <a:off x="4211" y="2159"/>
                <a:ext cx="38" cy="340"/>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Rectangle 89">
                <a:extLst>
                  <a:ext uri="{FF2B5EF4-FFF2-40B4-BE49-F238E27FC236}">
                    <a16:creationId xmlns:a16="http://schemas.microsoft.com/office/drawing/2014/main" id="{D7EAEAFC-E8C4-42E2-AA41-0FE0D19AD27E}"/>
                  </a:ext>
                </a:extLst>
              </p:cNvPr>
              <p:cNvSpPr>
                <a:spLocks noChangeArrowheads="1"/>
              </p:cNvSpPr>
              <p:nvPr/>
            </p:nvSpPr>
            <p:spPr bwMode="auto">
              <a:xfrm>
                <a:off x="4211" y="2159"/>
                <a:ext cx="38"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0">
                <a:extLst>
                  <a:ext uri="{FF2B5EF4-FFF2-40B4-BE49-F238E27FC236}">
                    <a16:creationId xmlns:a16="http://schemas.microsoft.com/office/drawing/2014/main" id="{C09CAE0D-7498-47AA-866A-2E4E8AF65B1E}"/>
                  </a:ext>
                </a:extLst>
              </p:cNvPr>
              <p:cNvSpPr>
                <a:spLocks noEditPoints="1"/>
              </p:cNvSpPr>
              <p:nvPr/>
            </p:nvSpPr>
            <p:spPr bwMode="auto">
              <a:xfrm>
                <a:off x="4017" y="2560"/>
                <a:ext cx="1315" cy="388"/>
              </a:xfrm>
              <a:custGeom>
                <a:avLst/>
                <a:gdLst>
                  <a:gd name="T0" fmla="*/ 503 w 554"/>
                  <a:gd name="T1" fmla="*/ 88 h 163"/>
                  <a:gd name="T2" fmla="*/ 505 w 554"/>
                  <a:gd name="T3" fmla="*/ 87 h 163"/>
                  <a:gd name="T4" fmla="*/ 98 w 554"/>
                  <a:gd name="T5" fmla="*/ 163 h 163"/>
                  <a:gd name="T6" fmla="*/ 130 w 554"/>
                  <a:gd name="T7" fmla="*/ 44 h 163"/>
                  <a:gd name="T8" fmla="*/ 98 w 554"/>
                  <a:gd name="T9" fmla="*/ 163 h 163"/>
                  <a:gd name="T10" fmla="*/ 206 w 554"/>
                  <a:gd name="T11" fmla="*/ 44 h 163"/>
                  <a:gd name="T12" fmla="*/ 238 w 554"/>
                  <a:gd name="T13" fmla="*/ 163 h 163"/>
                  <a:gd name="T14" fmla="*/ 279 w 554"/>
                  <a:gd name="T15" fmla="*/ 163 h 163"/>
                  <a:gd name="T16" fmla="*/ 311 w 554"/>
                  <a:gd name="T17" fmla="*/ 44 h 163"/>
                  <a:gd name="T18" fmla="*/ 279 w 554"/>
                  <a:gd name="T19" fmla="*/ 163 h 163"/>
                  <a:gd name="T20" fmla="*/ 363 w 554"/>
                  <a:gd name="T21" fmla="*/ 47 h 163"/>
                  <a:gd name="T22" fmla="*/ 419 w 554"/>
                  <a:gd name="T23" fmla="*/ 156 h 163"/>
                  <a:gd name="T24" fmla="*/ 320 w 554"/>
                  <a:gd name="T25" fmla="*/ 163 h 163"/>
                  <a:gd name="T26" fmla="*/ 352 w 554"/>
                  <a:gd name="T27" fmla="*/ 26 h 163"/>
                  <a:gd name="T28" fmla="*/ 320 w 554"/>
                  <a:gd name="T29" fmla="*/ 163 h 163"/>
                  <a:gd name="T30" fmla="*/ 130 w 554"/>
                  <a:gd name="T31" fmla="*/ 28 h 163"/>
                  <a:gd name="T32" fmla="*/ 184 w 554"/>
                  <a:gd name="T33" fmla="*/ 157 h 163"/>
                  <a:gd name="T34" fmla="*/ 73 w 554"/>
                  <a:gd name="T35" fmla="*/ 163 h 163"/>
                  <a:gd name="T36" fmla="*/ 89 w 554"/>
                  <a:gd name="T37" fmla="*/ 19 h 163"/>
                  <a:gd name="T38" fmla="*/ 73 w 554"/>
                  <a:gd name="T39" fmla="*/ 163 h 163"/>
                  <a:gd name="T40" fmla="*/ 249 w 554"/>
                  <a:gd name="T41" fmla="*/ 19 h 163"/>
                  <a:gd name="T42" fmla="*/ 265 w 554"/>
                  <a:gd name="T43" fmla="*/ 163 h 163"/>
                  <a:gd name="T44" fmla="*/ 422 w 554"/>
                  <a:gd name="T45" fmla="*/ 0 h 163"/>
                  <a:gd name="T46" fmla="*/ 0 w 554"/>
                  <a:gd name="T47" fmla="*/ 47 h 163"/>
                  <a:gd name="T48" fmla="*/ 54 w 554"/>
                  <a:gd name="T49" fmla="*/ 156 h 163"/>
                  <a:gd name="T50" fmla="*/ 0 w 554"/>
                  <a:gd name="T51" fmla="*/ 56 h 163"/>
                  <a:gd name="T52" fmla="*/ 554 w 554"/>
                  <a:gd name="T53" fmla="*/ 163 h 163"/>
                  <a:gd name="T54" fmla="*/ 545 w 554"/>
                  <a:gd name="T55" fmla="*/ 134 h 163"/>
                  <a:gd name="T56" fmla="*/ 518 w 554"/>
                  <a:gd name="T57" fmla="*/ 163 h 163"/>
                  <a:gd name="T58" fmla="*/ 495 w 554"/>
                  <a:gd name="T59" fmla="*/ 134 h 163"/>
                  <a:gd name="T60" fmla="*/ 463 w 554"/>
                  <a:gd name="T61" fmla="*/ 163 h 163"/>
                  <a:gd name="T62" fmla="*/ 454 w 554"/>
                  <a:gd name="T63" fmla="*/ 134 h 163"/>
                  <a:gd name="T64" fmla="*/ 438 w 554"/>
                  <a:gd name="T65" fmla="*/ 163 h 163"/>
                  <a:gd name="T66" fmla="*/ 435 w 554"/>
                  <a:gd name="T67" fmla="*/ 134 h 163"/>
                  <a:gd name="T68" fmla="*/ 422 w 554"/>
                  <a:gd name="T69" fmla="*/ 126 h 163"/>
                  <a:gd name="T70" fmla="*/ 422 w 554"/>
                  <a:gd name="T71" fmla="*/ 119 h 163"/>
                  <a:gd name="T72" fmla="*/ 435 w 554"/>
                  <a:gd name="T73" fmla="*/ 111 h 163"/>
                  <a:gd name="T74" fmla="*/ 435 w 554"/>
                  <a:gd name="T75" fmla="*/ 108 h 163"/>
                  <a:gd name="T76" fmla="*/ 438 w 554"/>
                  <a:gd name="T77" fmla="*/ 74 h 163"/>
                  <a:gd name="T78" fmla="*/ 484 w 554"/>
                  <a:gd name="T79" fmla="*/ 0 h 163"/>
                  <a:gd name="T80" fmla="*/ 488 w 554"/>
                  <a:gd name="T81" fmla="*/ 43 h 163"/>
                  <a:gd name="T82" fmla="*/ 483 w 554"/>
                  <a:gd name="T83" fmla="*/ 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4" h="163">
                    <a:moveTo>
                      <a:pt x="501" y="84"/>
                    </a:moveTo>
                    <a:cubicBezTo>
                      <a:pt x="501" y="85"/>
                      <a:pt x="502" y="86"/>
                      <a:pt x="503" y="88"/>
                    </a:cubicBezTo>
                    <a:cubicBezTo>
                      <a:pt x="505" y="88"/>
                      <a:pt x="505" y="88"/>
                      <a:pt x="505" y="88"/>
                    </a:cubicBezTo>
                    <a:cubicBezTo>
                      <a:pt x="505" y="87"/>
                      <a:pt x="505" y="87"/>
                      <a:pt x="505" y="87"/>
                    </a:cubicBezTo>
                    <a:cubicBezTo>
                      <a:pt x="503" y="86"/>
                      <a:pt x="502" y="85"/>
                      <a:pt x="501" y="84"/>
                    </a:cubicBezTo>
                    <a:moveTo>
                      <a:pt x="98" y="163"/>
                    </a:moveTo>
                    <a:cubicBezTo>
                      <a:pt x="98" y="44"/>
                      <a:pt x="98" y="44"/>
                      <a:pt x="98" y="44"/>
                    </a:cubicBezTo>
                    <a:cubicBezTo>
                      <a:pt x="130" y="44"/>
                      <a:pt x="130" y="44"/>
                      <a:pt x="130" y="44"/>
                    </a:cubicBezTo>
                    <a:cubicBezTo>
                      <a:pt x="130" y="163"/>
                      <a:pt x="130" y="163"/>
                      <a:pt x="130" y="163"/>
                    </a:cubicBezTo>
                    <a:cubicBezTo>
                      <a:pt x="98" y="163"/>
                      <a:pt x="98" y="163"/>
                      <a:pt x="98" y="163"/>
                    </a:cubicBezTo>
                    <a:moveTo>
                      <a:pt x="206" y="163"/>
                    </a:moveTo>
                    <a:cubicBezTo>
                      <a:pt x="206" y="44"/>
                      <a:pt x="206" y="44"/>
                      <a:pt x="206" y="44"/>
                    </a:cubicBezTo>
                    <a:cubicBezTo>
                      <a:pt x="238" y="44"/>
                      <a:pt x="238" y="44"/>
                      <a:pt x="238" y="44"/>
                    </a:cubicBezTo>
                    <a:cubicBezTo>
                      <a:pt x="238" y="163"/>
                      <a:pt x="238" y="163"/>
                      <a:pt x="238" y="163"/>
                    </a:cubicBezTo>
                    <a:cubicBezTo>
                      <a:pt x="206" y="163"/>
                      <a:pt x="206" y="163"/>
                      <a:pt x="206" y="163"/>
                    </a:cubicBezTo>
                    <a:moveTo>
                      <a:pt x="279" y="163"/>
                    </a:moveTo>
                    <a:cubicBezTo>
                      <a:pt x="279" y="44"/>
                      <a:pt x="279" y="44"/>
                      <a:pt x="279" y="44"/>
                    </a:cubicBezTo>
                    <a:cubicBezTo>
                      <a:pt x="311" y="44"/>
                      <a:pt x="311" y="44"/>
                      <a:pt x="311" y="44"/>
                    </a:cubicBezTo>
                    <a:cubicBezTo>
                      <a:pt x="311" y="163"/>
                      <a:pt x="311" y="163"/>
                      <a:pt x="311" y="163"/>
                    </a:cubicBezTo>
                    <a:cubicBezTo>
                      <a:pt x="279" y="163"/>
                      <a:pt x="279" y="163"/>
                      <a:pt x="279" y="163"/>
                    </a:cubicBezTo>
                    <a:moveTo>
                      <a:pt x="388" y="163"/>
                    </a:moveTo>
                    <a:cubicBezTo>
                      <a:pt x="363" y="47"/>
                      <a:pt x="363" y="47"/>
                      <a:pt x="363" y="47"/>
                    </a:cubicBezTo>
                    <a:cubicBezTo>
                      <a:pt x="394" y="40"/>
                      <a:pt x="394" y="40"/>
                      <a:pt x="394" y="40"/>
                    </a:cubicBezTo>
                    <a:cubicBezTo>
                      <a:pt x="419" y="156"/>
                      <a:pt x="419" y="156"/>
                      <a:pt x="419" y="156"/>
                    </a:cubicBezTo>
                    <a:cubicBezTo>
                      <a:pt x="388" y="163"/>
                      <a:pt x="388" y="163"/>
                      <a:pt x="388" y="163"/>
                    </a:cubicBezTo>
                    <a:moveTo>
                      <a:pt x="320" y="163"/>
                    </a:moveTo>
                    <a:cubicBezTo>
                      <a:pt x="320" y="26"/>
                      <a:pt x="320" y="26"/>
                      <a:pt x="320" y="26"/>
                    </a:cubicBezTo>
                    <a:cubicBezTo>
                      <a:pt x="352" y="26"/>
                      <a:pt x="352" y="26"/>
                      <a:pt x="352" y="26"/>
                    </a:cubicBezTo>
                    <a:cubicBezTo>
                      <a:pt x="352" y="163"/>
                      <a:pt x="352" y="163"/>
                      <a:pt x="352" y="163"/>
                    </a:cubicBezTo>
                    <a:cubicBezTo>
                      <a:pt x="320" y="163"/>
                      <a:pt x="320" y="163"/>
                      <a:pt x="320" y="163"/>
                    </a:cubicBezTo>
                    <a:moveTo>
                      <a:pt x="153" y="163"/>
                    </a:moveTo>
                    <a:cubicBezTo>
                      <a:pt x="130" y="28"/>
                      <a:pt x="130" y="28"/>
                      <a:pt x="130" y="28"/>
                    </a:cubicBezTo>
                    <a:cubicBezTo>
                      <a:pt x="161" y="23"/>
                      <a:pt x="161" y="23"/>
                      <a:pt x="161" y="23"/>
                    </a:cubicBezTo>
                    <a:cubicBezTo>
                      <a:pt x="184" y="157"/>
                      <a:pt x="184" y="157"/>
                      <a:pt x="184" y="157"/>
                    </a:cubicBezTo>
                    <a:cubicBezTo>
                      <a:pt x="153" y="163"/>
                      <a:pt x="153" y="163"/>
                      <a:pt x="153" y="163"/>
                    </a:cubicBezTo>
                    <a:moveTo>
                      <a:pt x="73" y="163"/>
                    </a:moveTo>
                    <a:cubicBezTo>
                      <a:pt x="73" y="19"/>
                      <a:pt x="73" y="19"/>
                      <a:pt x="73" y="19"/>
                    </a:cubicBezTo>
                    <a:cubicBezTo>
                      <a:pt x="89" y="19"/>
                      <a:pt x="89" y="19"/>
                      <a:pt x="89" y="19"/>
                    </a:cubicBezTo>
                    <a:cubicBezTo>
                      <a:pt x="89" y="163"/>
                      <a:pt x="89" y="163"/>
                      <a:pt x="89" y="163"/>
                    </a:cubicBezTo>
                    <a:cubicBezTo>
                      <a:pt x="73" y="163"/>
                      <a:pt x="73" y="163"/>
                      <a:pt x="73" y="163"/>
                    </a:cubicBezTo>
                    <a:moveTo>
                      <a:pt x="249" y="163"/>
                    </a:moveTo>
                    <a:cubicBezTo>
                      <a:pt x="249" y="19"/>
                      <a:pt x="249" y="19"/>
                      <a:pt x="249" y="19"/>
                    </a:cubicBezTo>
                    <a:cubicBezTo>
                      <a:pt x="265" y="19"/>
                      <a:pt x="265" y="19"/>
                      <a:pt x="265" y="19"/>
                    </a:cubicBezTo>
                    <a:cubicBezTo>
                      <a:pt x="265" y="163"/>
                      <a:pt x="265" y="163"/>
                      <a:pt x="265" y="163"/>
                    </a:cubicBezTo>
                    <a:cubicBezTo>
                      <a:pt x="249" y="163"/>
                      <a:pt x="249" y="163"/>
                      <a:pt x="249" y="163"/>
                    </a:cubicBezTo>
                    <a:moveTo>
                      <a:pt x="422" y="0"/>
                    </a:moveTo>
                    <a:cubicBezTo>
                      <a:pt x="0" y="0"/>
                      <a:pt x="0" y="0"/>
                      <a:pt x="0" y="0"/>
                    </a:cubicBezTo>
                    <a:cubicBezTo>
                      <a:pt x="0" y="47"/>
                      <a:pt x="0" y="47"/>
                      <a:pt x="0" y="47"/>
                    </a:cubicBezTo>
                    <a:cubicBezTo>
                      <a:pt x="29" y="40"/>
                      <a:pt x="29" y="40"/>
                      <a:pt x="29" y="40"/>
                    </a:cubicBezTo>
                    <a:cubicBezTo>
                      <a:pt x="54" y="156"/>
                      <a:pt x="54" y="156"/>
                      <a:pt x="54" y="156"/>
                    </a:cubicBezTo>
                    <a:cubicBezTo>
                      <a:pt x="23" y="163"/>
                      <a:pt x="23" y="163"/>
                      <a:pt x="23" y="163"/>
                    </a:cubicBezTo>
                    <a:cubicBezTo>
                      <a:pt x="0" y="56"/>
                      <a:pt x="0" y="56"/>
                      <a:pt x="0" y="56"/>
                    </a:cubicBezTo>
                    <a:cubicBezTo>
                      <a:pt x="0" y="163"/>
                      <a:pt x="0" y="163"/>
                      <a:pt x="0" y="163"/>
                    </a:cubicBezTo>
                    <a:cubicBezTo>
                      <a:pt x="554" y="163"/>
                      <a:pt x="554" y="163"/>
                      <a:pt x="554" y="163"/>
                    </a:cubicBezTo>
                    <a:cubicBezTo>
                      <a:pt x="554" y="134"/>
                      <a:pt x="554" y="134"/>
                      <a:pt x="554" y="134"/>
                    </a:cubicBezTo>
                    <a:cubicBezTo>
                      <a:pt x="545" y="134"/>
                      <a:pt x="545" y="134"/>
                      <a:pt x="545" y="134"/>
                    </a:cubicBezTo>
                    <a:cubicBezTo>
                      <a:pt x="549" y="157"/>
                      <a:pt x="549" y="157"/>
                      <a:pt x="549" y="157"/>
                    </a:cubicBezTo>
                    <a:cubicBezTo>
                      <a:pt x="518" y="163"/>
                      <a:pt x="518" y="163"/>
                      <a:pt x="518" y="163"/>
                    </a:cubicBezTo>
                    <a:cubicBezTo>
                      <a:pt x="513" y="134"/>
                      <a:pt x="513" y="134"/>
                      <a:pt x="513" y="134"/>
                    </a:cubicBezTo>
                    <a:cubicBezTo>
                      <a:pt x="495" y="134"/>
                      <a:pt x="495" y="134"/>
                      <a:pt x="495" y="134"/>
                    </a:cubicBezTo>
                    <a:cubicBezTo>
                      <a:pt x="495" y="163"/>
                      <a:pt x="495" y="163"/>
                      <a:pt x="495" y="163"/>
                    </a:cubicBezTo>
                    <a:cubicBezTo>
                      <a:pt x="463" y="163"/>
                      <a:pt x="463" y="163"/>
                      <a:pt x="463" y="163"/>
                    </a:cubicBezTo>
                    <a:cubicBezTo>
                      <a:pt x="463" y="134"/>
                      <a:pt x="463" y="134"/>
                      <a:pt x="463" y="134"/>
                    </a:cubicBezTo>
                    <a:cubicBezTo>
                      <a:pt x="454" y="134"/>
                      <a:pt x="454" y="134"/>
                      <a:pt x="454" y="134"/>
                    </a:cubicBezTo>
                    <a:cubicBezTo>
                      <a:pt x="454" y="163"/>
                      <a:pt x="454" y="163"/>
                      <a:pt x="454" y="163"/>
                    </a:cubicBezTo>
                    <a:cubicBezTo>
                      <a:pt x="438" y="163"/>
                      <a:pt x="438" y="163"/>
                      <a:pt x="438" y="163"/>
                    </a:cubicBezTo>
                    <a:cubicBezTo>
                      <a:pt x="438" y="134"/>
                      <a:pt x="438" y="134"/>
                      <a:pt x="438" y="134"/>
                    </a:cubicBezTo>
                    <a:cubicBezTo>
                      <a:pt x="435" y="134"/>
                      <a:pt x="435" y="134"/>
                      <a:pt x="435" y="134"/>
                    </a:cubicBezTo>
                    <a:cubicBezTo>
                      <a:pt x="430" y="134"/>
                      <a:pt x="430" y="134"/>
                      <a:pt x="430" y="134"/>
                    </a:cubicBezTo>
                    <a:cubicBezTo>
                      <a:pt x="425" y="134"/>
                      <a:pt x="422" y="131"/>
                      <a:pt x="422" y="126"/>
                    </a:cubicBezTo>
                    <a:cubicBezTo>
                      <a:pt x="422" y="119"/>
                      <a:pt x="422" y="119"/>
                      <a:pt x="422" y="119"/>
                    </a:cubicBezTo>
                    <a:cubicBezTo>
                      <a:pt x="422" y="119"/>
                      <a:pt x="422" y="119"/>
                      <a:pt x="422" y="119"/>
                    </a:cubicBezTo>
                    <a:cubicBezTo>
                      <a:pt x="422" y="115"/>
                      <a:pt x="425" y="111"/>
                      <a:pt x="430" y="111"/>
                    </a:cubicBezTo>
                    <a:cubicBezTo>
                      <a:pt x="435" y="111"/>
                      <a:pt x="435" y="111"/>
                      <a:pt x="435" y="111"/>
                    </a:cubicBezTo>
                    <a:cubicBezTo>
                      <a:pt x="435" y="108"/>
                      <a:pt x="435" y="108"/>
                      <a:pt x="435" y="108"/>
                    </a:cubicBezTo>
                    <a:cubicBezTo>
                      <a:pt x="435" y="108"/>
                      <a:pt x="435" y="108"/>
                      <a:pt x="435" y="108"/>
                    </a:cubicBezTo>
                    <a:cubicBezTo>
                      <a:pt x="435" y="104"/>
                      <a:pt x="436" y="100"/>
                      <a:pt x="438" y="96"/>
                    </a:cubicBezTo>
                    <a:cubicBezTo>
                      <a:pt x="438" y="74"/>
                      <a:pt x="438" y="74"/>
                      <a:pt x="438" y="74"/>
                    </a:cubicBezTo>
                    <a:cubicBezTo>
                      <a:pt x="432" y="56"/>
                      <a:pt x="426" y="31"/>
                      <a:pt x="422" y="0"/>
                    </a:cubicBezTo>
                    <a:moveTo>
                      <a:pt x="484" y="0"/>
                    </a:moveTo>
                    <a:cubicBezTo>
                      <a:pt x="481" y="0"/>
                      <a:pt x="481" y="0"/>
                      <a:pt x="481" y="0"/>
                    </a:cubicBezTo>
                    <a:cubicBezTo>
                      <a:pt x="483" y="15"/>
                      <a:pt x="485" y="29"/>
                      <a:pt x="488" y="43"/>
                    </a:cubicBezTo>
                    <a:cubicBezTo>
                      <a:pt x="488" y="33"/>
                      <a:pt x="488" y="22"/>
                      <a:pt x="489" y="11"/>
                    </a:cubicBezTo>
                    <a:cubicBezTo>
                      <a:pt x="485" y="10"/>
                      <a:pt x="483" y="9"/>
                      <a:pt x="483" y="9"/>
                    </a:cubicBezTo>
                    <a:cubicBezTo>
                      <a:pt x="483" y="9"/>
                      <a:pt x="484" y="6"/>
                      <a:pt x="484"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91">
                <a:extLst>
                  <a:ext uri="{FF2B5EF4-FFF2-40B4-BE49-F238E27FC236}">
                    <a16:creationId xmlns:a16="http://schemas.microsoft.com/office/drawing/2014/main" id="{9A3750DC-7DCD-44BA-A5F2-38EF5FFD804A}"/>
                  </a:ext>
                </a:extLst>
              </p:cNvPr>
              <p:cNvSpPr>
                <a:spLocks noChangeArrowheads="1"/>
              </p:cNvSpPr>
              <p:nvPr/>
            </p:nvSpPr>
            <p:spPr bwMode="auto">
              <a:xfrm>
                <a:off x="4777" y="2622"/>
                <a:ext cx="76" cy="32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Rectangle 92">
                <a:extLst>
                  <a:ext uri="{FF2B5EF4-FFF2-40B4-BE49-F238E27FC236}">
                    <a16:creationId xmlns:a16="http://schemas.microsoft.com/office/drawing/2014/main" id="{B3FEC0CE-F6DE-40AE-86BB-E284037CE584}"/>
                  </a:ext>
                </a:extLst>
              </p:cNvPr>
              <p:cNvSpPr>
                <a:spLocks noChangeArrowheads="1"/>
              </p:cNvSpPr>
              <p:nvPr/>
            </p:nvSpPr>
            <p:spPr bwMode="auto">
              <a:xfrm>
                <a:off x="4777" y="2622"/>
                <a:ext cx="76"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93">
                <a:extLst>
                  <a:ext uri="{FF2B5EF4-FFF2-40B4-BE49-F238E27FC236}">
                    <a16:creationId xmlns:a16="http://schemas.microsoft.com/office/drawing/2014/main" id="{3133E953-252C-423E-8FB0-18A203E0ECF4}"/>
                  </a:ext>
                </a:extLst>
              </p:cNvPr>
              <p:cNvSpPr>
                <a:spLocks noEditPoints="1"/>
              </p:cNvSpPr>
              <p:nvPr/>
            </p:nvSpPr>
            <p:spPr bwMode="auto">
              <a:xfrm>
                <a:off x="5216" y="2767"/>
                <a:ext cx="104" cy="181"/>
              </a:xfrm>
              <a:custGeom>
                <a:avLst/>
                <a:gdLst>
                  <a:gd name="T0" fmla="*/ 40 w 44"/>
                  <a:gd name="T1" fmla="*/ 47 h 76"/>
                  <a:gd name="T2" fmla="*/ 8 w 44"/>
                  <a:gd name="T3" fmla="*/ 47 h 76"/>
                  <a:gd name="T4" fmla="*/ 13 w 44"/>
                  <a:gd name="T5" fmla="*/ 76 h 76"/>
                  <a:gd name="T6" fmla="*/ 44 w 44"/>
                  <a:gd name="T7" fmla="*/ 70 h 76"/>
                  <a:gd name="T8" fmla="*/ 40 w 44"/>
                  <a:gd name="T9" fmla="*/ 47 h 76"/>
                  <a:gd name="T10" fmla="*/ 0 w 44"/>
                  <a:gd name="T11" fmla="*/ 0 h 76"/>
                  <a:gd name="T12" fmla="*/ 0 w 44"/>
                  <a:gd name="T13" fmla="*/ 1 h 76"/>
                  <a:gd name="T14" fmla="*/ 1 w 44"/>
                  <a:gd name="T15" fmla="*/ 1 h 76"/>
                  <a:gd name="T16" fmla="*/ 0 w 44"/>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6">
                    <a:moveTo>
                      <a:pt x="40" y="47"/>
                    </a:moveTo>
                    <a:cubicBezTo>
                      <a:pt x="8" y="47"/>
                      <a:pt x="8" y="47"/>
                      <a:pt x="8" y="47"/>
                    </a:cubicBezTo>
                    <a:cubicBezTo>
                      <a:pt x="13" y="76"/>
                      <a:pt x="13" y="76"/>
                      <a:pt x="13" y="76"/>
                    </a:cubicBezTo>
                    <a:cubicBezTo>
                      <a:pt x="44" y="70"/>
                      <a:pt x="44" y="70"/>
                      <a:pt x="44" y="70"/>
                    </a:cubicBezTo>
                    <a:cubicBezTo>
                      <a:pt x="40" y="47"/>
                      <a:pt x="40" y="47"/>
                      <a:pt x="40" y="47"/>
                    </a:cubicBezTo>
                    <a:moveTo>
                      <a:pt x="0" y="0"/>
                    </a:moveTo>
                    <a:cubicBezTo>
                      <a:pt x="0" y="1"/>
                      <a:pt x="0" y="1"/>
                      <a:pt x="0" y="1"/>
                    </a:cubicBezTo>
                    <a:cubicBezTo>
                      <a:pt x="1" y="1"/>
                      <a:pt x="1" y="1"/>
                      <a:pt x="1" y="1"/>
                    </a:cubicBezTo>
                    <a:cubicBezTo>
                      <a:pt x="1" y="1"/>
                      <a:pt x="0" y="0"/>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94">
                <a:extLst>
                  <a:ext uri="{FF2B5EF4-FFF2-40B4-BE49-F238E27FC236}">
                    <a16:creationId xmlns:a16="http://schemas.microsoft.com/office/drawing/2014/main" id="{B63DFD6F-AF05-4325-B847-AC7B0AABE6AD}"/>
                  </a:ext>
                </a:extLst>
              </p:cNvPr>
              <p:cNvSpPr>
                <a:spLocks noChangeArrowheads="1"/>
              </p:cNvSpPr>
              <p:nvPr/>
            </p:nvSpPr>
            <p:spPr bwMode="auto">
              <a:xfrm>
                <a:off x="4506"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Rectangle 95">
                <a:extLst>
                  <a:ext uri="{FF2B5EF4-FFF2-40B4-BE49-F238E27FC236}">
                    <a16:creationId xmlns:a16="http://schemas.microsoft.com/office/drawing/2014/main" id="{CB7AC5AC-41E6-4ABA-8107-DBEAFAE1FFBD}"/>
                  </a:ext>
                </a:extLst>
              </p:cNvPr>
              <p:cNvSpPr>
                <a:spLocks noChangeArrowheads="1"/>
              </p:cNvSpPr>
              <p:nvPr/>
            </p:nvSpPr>
            <p:spPr bwMode="auto">
              <a:xfrm>
                <a:off x="4506"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Rectangle 96">
                <a:extLst>
                  <a:ext uri="{FF2B5EF4-FFF2-40B4-BE49-F238E27FC236}">
                    <a16:creationId xmlns:a16="http://schemas.microsoft.com/office/drawing/2014/main" id="{ACA5B9A0-CCD3-4517-AE7D-474F9ABCEFAA}"/>
                  </a:ext>
                </a:extLst>
              </p:cNvPr>
              <p:cNvSpPr>
                <a:spLocks noChangeArrowheads="1"/>
              </p:cNvSpPr>
              <p:nvPr/>
            </p:nvSpPr>
            <p:spPr bwMode="auto">
              <a:xfrm>
                <a:off x="4679"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Rectangle 97">
                <a:extLst>
                  <a:ext uri="{FF2B5EF4-FFF2-40B4-BE49-F238E27FC236}">
                    <a16:creationId xmlns:a16="http://schemas.microsoft.com/office/drawing/2014/main" id="{6CA2C79F-CE10-4520-8BB3-93528DC7E0A7}"/>
                  </a:ext>
                </a:extLst>
              </p:cNvPr>
              <p:cNvSpPr>
                <a:spLocks noChangeArrowheads="1"/>
              </p:cNvSpPr>
              <p:nvPr/>
            </p:nvSpPr>
            <p:spPr bwMode="auto">
              <a:xfrm>
                <a:off x="4679"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98">
                <a:extLst>
                  <a:ext uri="{FF2B5EF4-FFF2-40B4-BE49-F238E27FC236}">
                    <a16:creationId xmlns:a16="http://schemas.microsoft.com/office/drawing/2014/main" id="{3F24E605-E2E7-4C19-B0AC-2CC4029D7011}"/>
                  </a:ext>
                </a:extLst>
              </p:cNvPr>
              <p:cNvSpPr>
                <a:spLocks noChangeArrowheads="1"/>
              </p:cNvSpPr>
              <p:nvPr/>
            </p:nvSpPr>
            <p:spPr bwMode="auto">
              <a:xfrm>
                <a:off x="5116" y="2879"/>
                <a:ext cx="76" cy="69"/>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Rectangle 99">
                <a:extLst>
                  <a:ext uri="{FF2B5EF4-FFF2-40B4-BE49-F238E27FC236}">
                    <a16:creationId xmlns:a16="http://schemas.microsoft.com/office/drawing/2014/main" id="{8AB31BB2-E7FE-4704-8D46-D7AAEFDF1702}"/>
                  </a:ext>
                </a:extLst>
              </p:cNvPr>
              <p:cNvSpPr>
                <a:spLocks noChangeArrowheads="1"/>
              </p:cNvSpPr>
              <p:nvPr/>
            </p:nvSpPr>
            <p:spPr bwMode="auto">
              <a:xfrm>
                <a:off x="5116" y="2879"/>
                <a:ext cx="76" cy="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0">
                <a:extLst>
                  <a:ext uri="{FF2B5EF4-FFF2-40B4-BE49-F238E27FC236}">
                    <a16:creationId xmlns:a16="http://schemas.microsoft.com/office/drawing/2014/main" id="{C6DFCF38-9D7D-4BD5-9A8E-E5A2B12C44C3}"/>
                  </a:ext>
                </a:extLst>
              </p:cNvPr>
              <p:cNvSpPr>
                <a:spLocks/>
              </p:cNvSpPr>
              <p:nvPr/>
            </p:nvSpPr>
            <p:spPr bwMode="auto">
              <a:xfrm>
                <a:off x="4879" y="2655"/>
                <a:ext cx="133" cy="293"/>
              </a:xfrm>
              <a:custGeom>
                <a:avLst/>
                <a:gdLst>
                  <a:gd name="T0" fmla="*/ 73 w 133"/>
                  <a:gd name="T1" fmla="*/ 0 h 293"/>
                  <a:gd name="T2" fmla="*/ 0 w 133"/>
                  <a:gd name="T3" fmla="*/ 17 h 293"/>
                  <a:gd name="T4" fmla="*/ 59 w 133"/>
                  <a:gd name="T5" fmla="*/ 293 h 293"/>
                  <a:gd name="T6" fmla="*/ 133 w 133"/>
                  <a:gd name="T7" fmla="*/ 276 h 293"/>
                  <a:gd name="T8" fmla="*/ 73 w 133"/>
                  <a:gd name="T9" fmla="*/ 0 h 293"/>
                </a:gdLst>
                <a:ahLst/>
                <a:cxnLst>
                  <a:cxn ang="0">
                    <a:pos x="T0" y="T1"/>
                  </a:cxn>
                  <a:cxn ang="0">
                    <a:pos x="T2" y="T3"/>
                  </a:cxn>
                  <a:cxn ang="0">
                    <a:pos x="T4" y="T5"/>
                  </a:cxn>
                  <a:cxn ang="0">
                    <a:pos x="T6" y="T7"/>
                  </a:cxn>
                  <a:cxn ang="0">
                    <a:pos x="T8" y="T9"/>
                  </a:cxn>
                </a:cxnLst>
                <a:rect l="0" t="0" r="r" b="b"/>
                <a:pathLst>
                  <a:path w="133" h="293">
                    <a:moveTo>
                      <a:pt x="73" y="0"/>
                    </a:moveTo>
                    <a:lnTo>
                      <a:pt x="0" y="17"/>
                    </a:lnTo>
                    <a:lnTo>
                      <a:pt x="59" y="293"/>
                    </a:lnTo>
                    <a:lnTo>
                      <a:pt x="133" y="276"/>
                    </a:lnTo>
                    <a:lnTo>
                      <a:pt x="73"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01">
                <a:extLst>
                  <a:ext uri="{FF2B5EF4-FFF2-40B4-BE49-F238E27FC236}">
                    <a16:creationId xmlns:a16="http://schemas.microsoft.com/office/drawing/2014/main" id="{70CCD0F7-10F6-47F7-82CE-6D4041B77D33}"/>
                  </a:ext>
                </a:extLst>
              </p:cNvPr>
              <p:cNvSpPr>
                <a:spLocks/>
              </p:cNvSpPr>
              <p:nvPr/>
            </p:nvSpPr>
            <p:spPr bwMode="auto">
              <a:xfrm>
                <a:off x="4879" y="2655"/>
                <a:ext cx="133" cy="293"/>
              </a:xfrm>
              <a:custGeom>
                <a:avLst/>
                <a:gdLst>
                  <a:gd name="T0" fmla="*/ 73 w 133"/>
                  <a:gd name="T1" fmla="*/ 0 h 293"/>
                  <a:gd name="T2" fmla="*/ 0 w 133"/>
                  <a:gd name="T3" fmla="*/ 17 h 293"/>
                  <a:gd name="T4" fmla="*/ 59 w 133"/>
                  <a:gd name="T5" fmla="*/ 293 h 293"/>
                  <a:gd name="T6" fmla="*/ 133 w 133"/>
                  <a:gd name="T7" fmla="*/ 276 h 293"/>
                  <a:gd name="T8" fmla="*/ 73 w 133"/>
                  <a:gd name="T9" fmla="*/ 0 h 293"/>
                </a:gdLst>
                <a:ahLst/>
                <a:cxnLst>
                  <a:cxn ang="0">
                    <a:pos x="T0" y="T1"/>
                  </a:cxn>
                  <a:cxn ang="0">
                    <a:pos x="T2" y="T3"/>
                  </a:cxn>
                  <a:cxn ang="0">
                    <a:pos x="T4" y="T5"/>
                  </a:cxn>
                  <a:cxn ang="0">
                    <a:pos x="T6" y="T7"/>
                  </a:cxn>
                  <a:cxn ang="0">
                    <a:pos x="T8" y="T9"/>
                  </a:cxn>
                </a:cxnLst>
                <a:rect l="0" t="0" r="r" b="b"/>
                <a:pathLst>
                  <a:path w="133" h="293">
                    <a:moveTo>
                      <a:pt x="73" y="0"/>
                    </a:moveTo>
                    <a:lnTo>
                      <a:pt x="0" y="17"/>
                    </a:lnTo>
                    <a:lnTo>
                      <a:pt x="59" y="293"/>
                    </a:lnTo>
                    <a:lnTo>
                      <a:pt x="133" y="276"/>
                    </a:lnTo>
                    <a:lnTo>
                      <a:pt x="7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102">
                <a:extLst>
                  <a:ext uri="{FF2B5EF4-FFF2-40B4-BE49-F238E27FC236}">
                    <a16:creationId xmlns:a16="http://schemas.microsoft.com/office/drawing/2014/main" id="{EC66A2E5-19C9-4704-84D4-C989384E2EAA}"/>
                  </a:ext>
                </a:extLst>
              </p:cNvPr>
              <p:cNvSpPr>
                <a:spLocks noChangeArrowheads="1"/>
              </p:cNvSpPr>
              <p:nvPr/>
            </p:nvSpPr>
            <p:spPr bwMode="auto">
              <a:xfrm>
                <a:off x="4608" y="2606"/>
                <a:ext cx="38" cy="34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103">
                <a:extLst>
                  <a:ext uri="{FF2B5EF4-FFF2-40B4-BE49-F238E27FC236}">
                    <a16:creationId xmlns:a16="http://schemas.microsoft.com/office/drawing/2014/main" id="{CCA35670-F97E-4E0C-AC6D-58011981C51B}"/>
                  </a:ext>
                </a:extLst>
              </p:cNvPr>
              <p:cNvSpPr>
                <a:spLocks noChangeArrowheads="1"/>
              </p:cNvSpPr>
              <p:nvPr/>
            </p:nvSpPr>
            <p:spPr bwMode="auto">
              <a:xfrm>
                <a:off x="4608" y="2606"/>
                <a:ext cx="38"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04">
                <a:extLst>
                  <a:ext uri="{FF2B5EF4-FFF2-40B4-BE49-F238E27FC236}">
                    <a16:creationId xmlns:a16="http://schemas.microsoft.com/office/drawing/2014/main" id="{F78DCDEB-872D-4245-B119-343B6E88D6EC}"/>
                  </a:ext>
                </a:extLst>
              </p:cNvPr>
              <p:cNvSpPr>
                <a:spLocks noEditPoints="1"/>
              </p:cNvSpPr>
              <p:nvPr/>
            </p:nvSpPr>
            <p:spPr bwMode="auto">
              <a:xfrm>
                <a:off x="5057" y="2736"/>
                <a:ext cx="38" cy="212"/>
              </a:xfrm>
              <a:custGeom>
                <a:avLst/>
                <a:gdLst>
                  <a:gd name="T0" fmla="*/ 16 w 16"/>
                  <a:gd name="T1" fmla="*/ 60 h 89"/>
                  <a:gd name="T2" fmla="*/ 0 w 16"/>
                  <a:gd name="T3" fmla="*/ 60 h 89"/>
                  <a:gd name="T4" fmla="*/ 0 w 16"/>
                  <a:gd name="T5" fmla="*/ 89 h 89"/>
                  <a:gd name="T6" fmla="*/ 16 w 16"/>
                  <a:gd name="T7" fmla="*/ 89 h 89"/>
                  <a:gd name="T8" fmla="*/ 16 w 16"/>
                  <a:gd name="T9" fmla="*/ 60 h 89"/>
                  <a:gd name="T10" fmla="*/ 0 w 16"/>
                  <a:gd name="T11" fmla="*/ 0 h 89"/>
                  <a:gd name="T12" fmla="*/ 0 w 16"/>
                  <a:gd name="T13" fmla="*/ 22 h 89"/>
                  <a:gd name="T14" fmla="*/ 6 w 16"/>
                  <a:gd name="T15" fmla="*/ 17 h 89"/>
                  <a:gd name="T16" fmla="*/ 0 w 16"/>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9">
                    <a:moveTo>
                      <a:pt x="16" y="60"/>
                    </a:moveTo>
                    <a:cubicBezTo>
                      <a:pt x="0" y="60"/>
                      <a:pt x="0" y="60"/>
                      <a:pt x="0" y="60"/>
                    </a:cubicBezTo>
                    <a:cubicBezTo>
                      <a:pt x="0" y="89"/>
                      <a:pt x="0" y="89"/>
                      <a:pt x="0" y="89"/>
                    </a:cubicBezTo>
                    <a:cubicBezTo>
                      <a:pt x="16" y="89"/>
                      <a:pt x="16" y="89"/>
                      <a:pt x="16" y="89"/>
                    </a:cubicBezTo>
                    <a:cubicBezTo>
                      <a:pt x="16" y="60"/>
                      <a:pt x="16" y="60"/>
                      <a:pt x="16" y="60"/>
                    </a:cubicBezTo>
                    <a:moveTo>
                      <a:pt x="0" y="0"/>
                    </a:moveTo>
                    <a:cubicBezTo>
                      <a:pt x="0" y="22"/>
                      <a:pt x="0" y="22"/>
                      <a:pt x="0" y="22"/>
                    </a:cubicBezTo>
                    <a:cubicBezTo>
                      <a:pt x="2" y="20"/>
                      <a:pt x="4" y="18"/>
                      <a:pt x="6" y="17"/>
                    </a:cubicBezTo>
                    <a:cubicBezTo>
                      <a:pt x="4" y="12"/>
                      <a:pt x="2" y="6"/>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05">
                <a:extLst>
                  <a:ext uri="{FF2B5EF4-FFF2-40B4-BE49-F238E27FC236}">
                    <a16:creationId xmlns:a16="http://schemas.microsoft.com/office/drawing/2014/main" id="{9EED3EB2-8CD6-4643-8E77-F7117654CF89}"/>
                  </a:ext>
                </a:extLst>
              </p:cNvPr>
              <p:cNvSpPr>
                <a:spLocks/>
              </p:cNvSpPr>
              <p:nvPr/>
            </p:nvSpPr>
            <p:spPr bwMode="auto">
              <a:xfrm>
                <a:off x="4325" y="2615"/>
                <a:ext cx="129" cy="333"/>
              </a:xfrm>
              <a:custGeom>
                <a:avLst/>
                <a:gdLst>
                  <a:gd name="T0" fmla="*/ 74 w 129"/>
                  <a:gd name="T1" fmla="*/ 0 h 333"/>
                  <a:gd name="T2" fmla="*/ 0 w 129"/>
                  <a:gd name="T3" fmla="*/ 12 h 333"/>
                  <a:gd name="T4" fmla="*/ 55 w 129"/>
                  <a:gd name="T5" fmla="*/ 333 h 333"/>
                  <a:gd name="T6" fmla="*/ 129 w 129"/>
                  <a:gd name="T7" fmla="*/ 318 h 333"/>
                  <a:gd name="T8" fmla="*/ 74 w 129"/>
                  <a:gd name="T9" fmla="*/ 0 h 333"/>
                </a:gdLst>
                <a:ahLst/>
                <a:cxnLst>
                  <a:cxn ang="0">
                    <a:pos x="T0" y="T1"/>
                  </a:cxn>
                  <a:cxn ang="0">
                    <a:pos x="T2" y="T3"/>
                  </a:cxn>
                  <a:cxn ang="0">
                    <a:pos x="T4" y="T5"/>
                  </a:cxn>
                  <a:cxn ang="0">
                    <a:pos x="T6" y="T7"/>
                  </a:cxn>
                  <a:cxn ang="0">
                    <a:pos x="T8" y="T9"/>
                  </a:cxn>
                </a:cxnLst>
                <a:rect l="0" t="0" r="r" b="b"/>
                <a:pathLst>
                  <a:path w="129" h="333">
                    <a:moveTo>
                      <a:pt x="74" y="0"/>
                    </a:moveTo>
                    <a:lnTo>
                      <a:pt x="0" y="12"/>
                    </a:lnTo>
                    <a:lnTo>
                      <a:pt x="55" y="333"/>
                    </a:lnTo>
                    <a:lnTo>
                      <a:pt x="129" y="318"/>
                    </a:lnTo>
                    <a:lnTo>
                      <a:pt x="74"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06">
                <a:extLst>
                  <a:ext uri="{FF2B5EF4-FFF2-40B4-BE49-F238E27FC236}">
                    <a16:creationId xmlns:a16="http://schemas.microsoft.com/office/drawing/2014/main" id="{377A423F-684F-4324-A8CE-3AEA97115817}"/>
                  </a:ext>
                </a:extLst>
              </p:cNvPr>
              <p:cNvSpPr>
                <a:spLocks/>
              </p:cNvSpPr>
              <p:nvPr/>
            </p:nvSpPr>
            <p:spPr bwMode="auto">
              <a:xfrm>
                <a:off x="4325" y="2615"/>
                <a:ext cx="129" cy="333"/>
              </a:xfrm>
              <a:custGeom>
                <a:avLst/>
                <a:gdLst>
                  <a:gd name="T0" fmla="*/ 74 w 129"/>
                  <a:gd name="T1" fmla="*/ 0 h 333"/>
                  <a:gd name="T2" fmla="*/ 0 w 129"/>
                  <a:gd name="T3" fmla="*/ 12 h 333"/>
                  <a:gd name="T4" fmla="*/ 55 w 129"/>
                  <a:gd name="T5" fmla="*/ 333 h 333"/>
                  <a:gd name="T6" fmla="*/ 129 w 129"/>
                  <a:gd name="T7" fmla="*/ 318 h 333"/>
                  <a:gd name="T8" fmla="*/ 74 w 129"/>
                  <a:gd name="T9" fmla="*/ 0 h 333"/>
                </a:gdLst>
                <a:ahLst/>
                <a:cxnLst>
                  <a:cxn ang="0">
                    <a:pos x="T0" y="T1"/>
                  </a:cxn>
                  <a:cxn ang="0">
                    <a:pos x="T2" y="T3"/>
                  </a:cxn>
                  <a:cxn ang="0">
                    <a:pos x="T4" y="T5"/>
                  </a:cxn>
                  <a:cxn ang="0">
                    <a:pos x="T6" y="T7"/>
                  </a:cxn>
                  <a:cxn ang="0">
                    <a:pos x="T8" y="T9"/>
                  </a:cxn>
                </a:cxnLst>
                <a:rect l="0" t="0" r="r" b="b"/>
                <a:pathLst>
                  <a:path w="129" h="333">
                    <a:moveTo>
                      <a:pt x="74" y="0"/>
                    </a:moveTo>
                    <a:lnTo>
                      <a:pt x="0" y="12"/>
                    </a:lnTo>
                    <a:lnTo>
                      <a:pt x="55" y="333"/>
                    </a:lnTo>
                    <a:lnTo>
                      <a:pt x="129" y="318"/>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107">
                <a:extLst>
                  <a:ext uri="{FF2B5EF4-FFF2-40B4-BE49-F238E27FC236}">
                    <a16:creationId xmlns:a16="http://schemas.microsoft.com/office/drawing/2014/main" id="{2C7664E2-25FE-417B-9EE3-C20A0CBCA570}"/>
                  </a:ext>
                </a:extLst>
              </p:cNvPr>
              <p:cNvSpPr>
                <a:spLocks noChangeArrowheads="1"/>
              </p:cNvSpPr>
              <p:nvPr/>
            </p:nvSpPr>
            <p:spPr bwMode="auto">
              <a:xfrm>
                <a:off x="4249" y="2665"/>
                <a:ext cx="76" cy="28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108">
                <a:extLst>
                  <a:ext uri="{FF2B5EF4-FFF2-40B4-BE49-F238E27FC236}">
                    <a16:creationId xmlns:a16="http://schemas.microsoft.com/office/drawing/2014/main" id="{4B0293CD-56C6-4EF4-9BC2-E562F9E741DF}"/>
                  </a:ext>
                </a:extLst>
              </p:cNvPr>
              <p:cNvSpPr>
                <a:spLocks noChangeArrowheads="1"/>
              </p:cNvSpPr>
              <p:nvPr/>
            </p:nvSpPr>
            <p:spPr bwMode="auto">
              <a:xfrm>
                <a:off x="4249" y="2665"/>
                <a:ext cx="7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09">
                <a:extLst>
                  <a:ext uri="{FF2B5EF4-FFF2-40B4-BE49-F238E27FC236}">
                    <a16:creationId xmlns:a16="http://schemas.microsoft.com/office/drawing/2014/main" id="{366F145C-9EC1-4501-B8BD-8266A722057B}"/>
                  </a:ext>
                </a:extLst>
              </p:cNvPr>
              <p:cNvSpPr>
                <a:spLocks/>
              </p:cNvSpPr>
              <p:nvPr/>
            </p:nvSpPr>
            <p:spPr bwMode="auto">
              <a:xfrm>
                <a:off x="4012" y="2672"/>
                <a:ext cx="5" cy="21"/>
              </a:xfrm>
              <a:custGeom>
                <a:avLst/>
                <a:gdLst>
                  <a:gd name="T0" fmla="*/ 5 w 5"/>
                  <a:gd name="T1" fmla="*/ 0 h 21"/>
                  <a:gd name="T2" fmla="*/ 0 w 5"/>
                  <a:gd name="T3" fmla="*/ 0 h 21"/>
                  <a:gd name="T4" fmla="*/ 5 w 5"/>
                  <a:gd name="T5" fmla="*/ 21 h 21"/>
                  <a:gd name="T6" fmla="*/ 5 w 5"/>
                  <a:gd name="T7" fmla="*/ 0 h 21"/>
                </a:gdLst>
                <a:ahLst/>
                <a:cxnLst>
                  <a:cxn ang="0">
                    <a:pos x="T0" y="T1"/>
                  </a:cxn>
                  <a:cxn ang="0">
                    <a:pos x="T2" y="T3"/>
                  </a:cxn>
                  <a:cxn ang="0">
                    <a:pos x="T4" y="T5"/>
                  </a:cxn>
                  <a:cxn ang="0">
                    <a:pos x="T6" y="T7"/>
                  </a:cxn>
                </a:cxnLst>
                <a:rect l="0" t="0" r="r" b="b"/>
                <a:pathLst>
                  <a:path w="5" h="21">
                    <a:moveTo>
                      <a:pt x="5" y="0"/>
                    </a:moveTo>
                    <a:lnTo>
                      <a:pt x="0" y="0"/>
                    </a:lnTo>
                    <a:lnTo>
                      <a:pt x="5" y="21"/>
                    </a:lnTo>
                    <a:lnTo>
                      <a:pt x="5" y="0"/>
                    </a:lnTo>
                    <a:close/>
                  </a:path>
                </a:pathLst>
              </a:custGeom>
              <a:solidFill>
                <a:srgbClr val="D0D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0">
                <a:extLst>
                  <a:ext uri="{FF2B5EF4-FFF2-40B4-BE49-F238E27FC236}">
                    <a16:creationId xmlns:a16="http://schemas.microsoft.com/office/drawing/2014/main" id="{22164789-87BB-402A-B624-AFE361BD6EA7}"/>
                  </a:ext>
                </a:extLst>
              </p:cNvPr>
              <p:cNvSpPr>
                <a:spLocks/>
              </p:cNvSpPr>
              <p:nvPr/>
            </p:nvSpPr>
            <p:spPr bwMode="auto">
              <a:xfrm>
                <a:off x="4012" y="2672"/>
                <a:ext cx="5" cy="21"/>
              </a:xfrm>
              <a:custGeom>
                <a:avLst/>
                <a:gdLst>
                  <a:gd name="T0" fmla="*/ 5 w 5"/>
                  <a:gd name="T1" fmla="*/ 0 h 21"/>
                  <a:gd name="T2" fmla="*/ 0 w 5"/>
                  <a:gd name="T3" fmla="*/ 0 h 21"/>
                  <a:gd name="T4" fmla="*/ 5 w 5"/>
                  <a:gd name="T5" fmla="*/ 21 h 21"/>
                  <a:gd name="T6" fmla="*/ 5 w 5"/>
                  <a:gd name="T7" fmla="*/ 0 h 21"/>
                </a:gdLst>
                <a:ahLst/>
                <a:cxnLst>
                  <a:cxn ang="0">
                    <a:pos x="T0" y="T1"/>
                  </a:cxn>
                  <a:cxn ang="0">
                    <a:pos x="T2" y="T3"/>
                  </a:cxn>
                  <a:cxn ang="0">
                    <a:pos x="T4" y="T5"/>
                  </a:cxn>
                  <a:cxn ang="0">
                    <a:pos x="T6" y="T7"/>
                  </a:cxn>
                </a:cxnLst>
                <a:rect l="0" t="0" r="r" b="b"/>
                <a:pathLst>
                  <a:path w="5" h="21">
                    <a:moveTo>
                      <a:pt x="5" y="0"/>
                    </a:moveTo>
                    <a:lnTo>
                      <a:pt x="0" y="0"/>
                    </a:lnTo>
                    <a:lnTo>
                      <a:pt x="5" y="21"/>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1">
                <a:extLst>
                  <a:ext uri="{FF2B5EF4-FFF2-40B4-BE49-F238E27FC236}">
                    <a16:creationId xmlns:a16="http://schemas.microsoft.com/office/drawing/2014/main" id="{9B4C9FC1-8552-4AB6-85CF-1DC6A7319F53}"/>
                  </a:ext>
                </a:extLst>
              </p:cNvPr>
              <p:cNvSpPr>
                <a:spLocks/>
              </p:cNvSpPr>
              <p:nvPr/>
            </p:nvSpPr>
            <p:spPr bwMode="auto">
              <a:xfrm>
                <a:off x="4017" y="2655"/>
                <a:ext cx="128" cy="293"/>
              </a:xfrm>
              <a:custGeom>
                <a:avLst/>
                <a:gdLst>
                  <a:gd name="T0" fmla="*/ 68 w 128"/>
                  <a:gd name="T1" fmla="*/ 0 h 293"/>
                  <a:gd name="T2" fmla="*/ 0 w 128"/>
                  <a:gd name="T3" fmla="*/ 17 h 293"/>
                  <a:gd name="T4" fmla="*/ 0 w 128"/>
                  <a:gd name="T5" fmla="*/ 38 h 293"/>
                  <a:gd name="T6" fmla="*/ 54 w 128"/>
                  <a:gd name="T7" fmla="*/ 293 h 293"/>
                  <a:gd name="T8" fmla="*/ 128 w 128"/>
                  <a:gd name="T9" fmla="*/ 276 h 293"/>
                  <a:gd name="T10" fmla="*/ 68 w 128"/>
                  <a:gd name="T11" fmla="*/ 0 h 293"/>
                </a:gdLst>
                <a:ahLst/>
                <a:cxnLst>
                  <a:cxn ang="0">
                    <a:pos x="T0" y="T1"/>
                  </a:cxn>
                  <a:cxn ang="0">
                    <a:pos x="T2" y="T3"/>
                  </a:cxn>
                  <a:cxn ang="0">
                    <a:pos x="T4" y="T5"/>
                  </a:cxn>
                  <a:cxn ang="0">
                    <a:pos x="T6" y="T7"/>
                  </a:cxn>
                  <a:cxn ang="0">
                    <a:pos x="T8" y="T9"/>
                  </a:cxn>
                  <a:cxn ang="0">
                    <a:pos x="T10" y="T11"/>
                  </a:cxn>
                </a:cxnLst>
                <a:rect l="0" t="0" r="r" b="b"/>
                <a:pathLst>
                  <a:path w="128" h="293">
                    <a:moveTo>
                      <a:pt x="68" y="0"/>
                    </a:moveTo>
                    <a:lnTo>
                      <a:pt x="0" y="17"/>
                    </a:lnTo>
                    <a:lnTo>
                      <a:pt x="0" y="38"/>
                    </a:lnTo>
                    <a:lnTo>
                      <a:pt x="54" y="293"/>
                    </a:lnTo>
                    <a:lnTo>
                      <a:pt x="128" y="276"/>
                    </a:lnTo>
                    <a:lnTo>
                      <a:pt x="68" y="0"/>
                    </a:lnTo>
                    <a:close/>
                  </a:path>
                </a:pathLst>
              </a:custGeom>
              <a:solidFill>
                <a:srgbClr val="C0C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12">
                <a:extLst>
                  <a:ext uri="{FF2B5EF4-FFF2-40B4-BE49-F238E27FC236}">
                    <a16:creationId xmlns:a16="http://schemas.microsoft.com/office/drawing/2014/main" id="{8C0F6E42-BDA9-4A9B-8E71-65D8CD95A836}"/>
                  </a:ext>
                </a:extLst>
              </p:cNvPr>
              <p:cNvSpPr>
                <a:spLocks/>
              </p:cNvSpPr>
              <p:nvPr/>
            </p:nvSpPr>
            <p:spPr bwMode="auto">
              <a:xfrm>
                <a:off x="4017" y="2655"/>
                <a:ext cx="128" cy="293"/>
              </a:xfrm>
              <a:custGeom>
                <a:avLst/>
                <a:gdLst>
                  <a:gd name="T0" fmla="*/ 68 w 128"/>
                  <a:gd name="T1" fmla="*/ 0 h 293"/>
                  <a:gd name="T2" fmla="*/ 0 w 128"/>
                  <a:gd name="T3" fmla="*/ 17 h 293"/>
                  <a:gd name="T4" fmla="*/ 0 w 128"/>
                  <a:gd name="T5" fmla="*/ 38 h 293"/>
                  <a:gd name="T6" fmla="*/ 54 w 128"/>
                  <a:gd name="T7" fmla="*/ 293 h 293"/>
                  <a:gd name="T8" fmla="*/ 128 w 128"/>
                  <a:gd name="T9" fmla="*/ 276 h 293"/>
                  <a:gd name="T10" fmla="*/ 68 w 128"/>
                  <a:gd name="T11" fmla="*/ 0 h 293"/>
                </a:gdLst>
                <a:ahLst/>
                <a:cxnLst>
                  <a:cxn ang="0">
                    <a:pos x="T0" y="T1"/>
                  </a:cxn>
                  <a:cxn ang="0">
                    <a:pos x="T2" y="T3"/>
                  </a:cxn>
                  <a:cxn ang="0">
                    <a:pos x="T4" y="T5"/>
                  </a:cxn>
                  <a:cxn ang="0">
                    <a:pos x="T6" y="T7"/>
                  </a:cxn>
                  <a:cxn ang="0">
                    <a:pos x="T8" y="T9"/>
                  </a:cxn>
                  <a:cxn ang="0">
                    <a:pos x="T10" y="T11"/>
                  </a:cxn>
                </a:cxnLst>
                <a:rect l="0" t="0" r="r" b="b"/>
                <a:pathLst>
                  <a:path w="128" h="293">
                    <a:moveTo>
                      <a:pt x="68" y="0"/>
                    </a:moveTo>
                    <a:lnTo>
                      <a:pt x="0" y="17"/>
                    </a:lnTo>
                    <a:lnTo>
                      <a:pt x="0" y="38"/>
                    </a:lnTo>
                    <a:lnTo>
                      <a:pt x="54" y="293"/>
                    </a:lnTo>
                    <a:lnTo>
                      <a:pt x="128" y="276"/>
                    </a:lnTo>
                    <a:lnTo>
                      <a:pt x="68" y="0"/>
                    </a:ln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113">
                <a:extLst>
                  <a:ext uri="{FF2B5EF4-FFF2-40B4-BE49-F238E27FC236}">
                    <a16:creationId xmlns:a16="http://schemas.microsoft.com/office/drawing/2014/main" id="{358CEF2A-73C7-4E0D-B66B-9E07FD308451}"/>
                  </a:ext>
                </a:extLst>
              </p:cNvPr>
              <p:cNvSpPr>
                <a:spLocks noChangeArrowheads="1"/>
              </p:cNvSpPr>
              <p:nvPr/>
            </p:nvSpPr>
            <p:spPr bwMode="auto">
              <a:xfrm>
                <a:off x="4190" y="2606"/>
                <a:ext cx="38" cy="342"/>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114">
                <a:extLst>
                  <a:ext uri="{FF2B5EF4-FFF2-40B4-BE49-F238E27FC236}">
                    <a16:creationId xmlns:a16="http://schemas.microsoft.com/office/drawing/2014/main" id="{1DDCF470-9B79-4F6B-A704-EF7F2B11B402}"/>
                  </a:ext>
                </a:extLst>
              </p:cNvPr>
              <p:cNvSpPr>
                <a:spLocks noChangeArrowheads="1"/>
              </p:cNvSpPr>
              <p:nvPr/>
            </p:nvSpPr>
            <p:spPr bwMode="auto">
              <a:xfrm>
                <a:off x="4190" y="2606"/>
                <a:ext cx="38" cy="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115">
                <a:extLst>
                  <a:ext uri="{FF2B5EF4-FFF2-40B4-BE49-F238E27FC236}">
                    <a16:creationId xmlns:a16="http://schemas.microsoft.com/office/drawing/2014/main" id="{30ED4393-3BD6-4BA5-8A83-010E638E4A7B}"/>
                  </a:ext>
                </a:extLst>
              </p:cNvPr>
              <p:cNvSpPr>
                <a:spLocks noChangeArrowheads="1"/>
              </p:cNvSpPr>
              <p:nvPr/>
            </p:nvSpPr>
            <p:spPr bwMode="auto">
              <a:xfrm>
                <a:off x="3720" y="3691"/>
                <a:ext cx="244" cy="7"/>
              </a:xfrm>
              <a:prstGeom prst="rect">
                <a:avLst/>
              </a:prstGeom>
              <a:solidFill>
                <a:srgbClr val="3362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116">
                <a:extLst>
                  <a:ext uri="{FF2B5EF4-FFF2-40B4-BE49-F238E27FC236}">
                    <a16:creationId xmlns:a16="http://schemas.microsoft.com/office/drawing/2014/main" id="{372D8FBD-28C4-4C72-933E-0CEC032BF013}"/>
                  </a:ext>
                </a:extLst>
              </p:cNvPr>
              <p:cNvSpPr>
                <a:spLocks noChangeArrowheads="1"/>
              </p:cNvSpPr>
              <p:nvPr/>
            </p:nvSpPr>
            <p:spPr bwMode="auto">
              <a:xfrm>
                <a:off x="3720" y="3691"/>
                <a:ext cx="244"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Rectangle 117">
                <a:extLst>
                  <a:ext uri="{FF2B5EF4-FFF2-40B4-BE49-F238E27FC236}">
                    <a16:creationId xmlns:a16="http://schemas.microsoft.com/office/drawing/2014/main" id="{6BFD4DDB-69AA-4006-837B-FABBF67A1788}"/>
                  </a:ext>
                </a:extLst>
              </p:cNvPr>
              <p:cNvSpPr>
                <a:spLocks noChangeArrowheads="1"/>
              </p:cNvSpPr>
              <p:nvPr/>
            </p:nvSpPr>
            <p:spPr bwMode="auto">
              <a:xfrm>
                <a:off x="3720" y="1599"/>
                <a:ext cx="244" cy="2092"/>
              </a:xfrm>
              <a:prstGeom prst="rect">
                <a:avLst/>
              </a:prstGeom>
              <a:solidFill>
                <a:srgbClr val="6870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Rectangle 118">
                <a:extLst>
                  <a:ext uri="{FF2B5EF4-FFF2-40B4-BE49-F238E27FC236}">
                    <a16:creationId xmlns:a16="http://schemas.microsoft.com/office/drawing/2014/main" id="{AF17BE78-E158-4F83-919B-19FF37B7257B}"/>
                  </a:ext>
                </a:extLst>
              </p:cNvPr>
              <p:cNvSpPr>
                <a:spLocks noChangeArrowheads="1"/>
              </p:cNvSpPr>
              <p:nvPr/>
            </p:nvSpPr>
            <p:spPr bwMode="auto">
              <a:xfrm>
                <a:off x="3720" y="1599"/>
                <a:ext cx="244" cy="2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19">
                <a:extLst>
                  <a:ext uri="{FF2B5EF4-FFF2-40B4-BE49-F238E27FC236}">
                    <a16:creationId xmlns:a16="http://schemas.microsoft.com/office/drawing/2014/main" id="{67C26E5E-F739-4DA6-ACDD-D8D64656816A}"/>
                  </a:ext>
                </a:extLst>
              </p:cNvPr>
              <p:cNvSpPr>
                <a:spLocks noEditPoints="1"/>
              </p:cNvSpPr>
              <p:nvPr/>
            </p:nvSpPr>
            <p:spPr bwMode="auto">
              <a:xfrm>
                <a:off x="4705" y="3014"/>
                <a:ext cx="627" cy="596"/>
              </a:xfrm>
              <a:custGeom>
                <a:avLst/>
                <a:gdLst>
                  <a:gd name="T0" fmla="*/ 26 w 264"/>
                  <a:gd name="T1" fmla="*/ 126 h 251"/>
                  <a:gd name="T2" fmla="*/ 13 w 264"/>
                  <a:gd name="T3" fmla="*/ 113 h 251"/>
                  <a:gd name="T4" fmla="*/ 26 w 264"/>
                  <a:gd name="T5" fmla="*/ 100 h 251"/>
                  <a:gd name="T6" fmla="*/ 38 w 264"/>
                  <a:gd name="T7" fmla="*/ 113 h 251"/>
                  <a:gd name="T8" fmla="*/ 26 w 264"/>
                  <a:gd name="T9" fmla="*/ 126 h 251"/>
                  <a:gd name="T10" fmla="*/ 264 w 264"/>
                  <a:gd name="T11" fmla="*/ 0 h 251"/>
                  <a:gd name="T12" fmla="*/ 0 w 264"/>
                  <a:gd name="T13" fmla="*/ 0 h 251"/>
                  <a:gd name="T14" fmla="*/ 0 w 264"/>
                  <a:gd name="T15" fmla="*/ 251 h 251"/>
                  <a:gd name="T16" fmla="*/ 264 w 264"/>
                  <a:gd name="T17" fmla="*/ 251 h 251"/>
                  <a:gd name="T18" fmla="*/ 264 w 264"/>
                  <a:gd name="T19" fmla="*/ 249 h 251"/>
                  <a:gd name="T20" fmla="*/ 136 w 264"/>
                  <a:gd name="T21" fmla="*/ 249 h 251"/>
                  <a:gd name="T22" fmla="*/ 136 w 264"/>
                  <a:gd name="T23" fmla="*/ 232 h 251"/>
                  <a:gd name="T24" fmla="*/ 136 w 264"/>
                  <a:gd name="T25" fmla="*/ 232 h 251"/>
                  <a:gd name="T26" fmla="*/ 156 w 264"/>
                  <a:gd name="T27" fmla="*/ 210 h 251"/>
                  <a:gd name="T28" fmla="*/ 264 w 264"/>
                  <a:gd name="T29" fmla="*/ 199 h 251"/>
                  <a:gd name="T30" fmla="*/ 264 w 264"/>
                  <a:gd name="T31" fmla="*/ 57 h 251"/>
                  <a:gd name="T32" fmla="*/ 264 w 264"/>
                  <a:gd name="T33" fmla="*/ 55 h 251"/>
                  <a:gd name="T34" fmla="*/ 264 w 264"/>
                  <a:gd name="T35"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251">
                    <a:moveTo>
                      <a:pt x="26" y="126"/>
                    </a:moveTo>
                    <a:cubicBezTo>
                      <a:pt x="19" y="126"/>
                      <a:pt x="13" y="120"/>
                      <a:pt x="13" y="113"/>
                    </a:cubicBezTo>
                    <a:cubicBezTo>
                      <a:pt x="13" y="106"/>
                      <a:pt x="19" y="100"/>
                      <a:pt x="26" y="100"/>
                    </a:cubicBezTo>
                    <a:cubicBezTo>
                      <a:pt x="33" y="100"/>
                      <a:pt x="38" y="106"/>
                      <a:pt x="38" y="113"/>
                    </a:cubicBezTo>
                    <a:cubicBezTo>
                      <a:pt x="38" y="120"/>
                      <a:pt x="33" y="126"/>
                      <a:pt x="26" y="126"/>
                    </a:cubicBezTo>
                    <a:moveTo>
                      <a:pt x="264" y="0"/>
                    </a:moveTo>
                    <a:cubicBezTo>
                      <a:pt x="0" y="0"/>
                      <a:pt x="0" y="0"/>
                      <a:pt x="0" y="0"/>
                    </a:cubicBezTo>
                    <a:cubicBezTo>
                      <a:pt x="0" y="251"/>
                      <a:pt x="0" y="251"/>
                      <a:pt x="0" y="251"/>
                    </a:cubicBezTo>
                    <a:cubicBezTo>
                      <a:pt x="264" y="251"/>
                      <a:pt x="264" y="251"/>
                      <a:pt x="264" y="251"/>
                    </a:cubicBezTo>
                    <a:cubicBezTo>
                      <a:pt x="264" y="249"/>
                      <a:pt x="264" y="249"/>
                      <a:pt x="264" y="249"/>
                    </a:cubicBezTo>
                    <a:cubicBezTo>
                      <a:pt x="136" y="249"/>
                      <a:pt x="136" y="249"/>
                      <a:pt x="136" y="249"/>
                    </a:cubicBezTo>
                    <a:cubicBezTo>
                      <a:pt x="136" y="232"/>
                      <a:pt x="136" y="232"/>
                      <a:pt x="136" y="232"/>
                    </a:cubicBezTo>
                    <a:cubicBezTo>
                      <a:pt x="136" y="232"/>
                      <a:pt x="136" y="232"/>
                      <a:pt x="136" y="232"/>
                    </a:cubicBezTo>
                    <a:cubicBezTo>
                      <a:pt x="136" y="220"/>
                      <a:pt x="145" y="211"/>
                      <a:pt x="156" y="210"/>
                    </a:cubicBezTo>
                    <a:cubicBezTo>
                      <a:pt x="264" y="199"/>
                      <a:pt x="264" y="199"/>
                      <a:pt x="264" y="199"/>
                    </a:cubicBezTo>
                    <a:cubicBezTo>
                      <a:pt x="264" y="57"/>
                      <a:pt x="264" y="57"/>
                      <a:pt x="264" y="57"/>
                    </a:cubicBezTo>
                    <a:cubicBezTo>
                      <a:pt x="264" y="57"/>
                      <a:pt x="264" y="56"/>
                      <a:pt x="264" y="55"/>
                    </a:cubicBezTo>
                    <a:cubicBezTo>
                      <a:pt x="264" y="0"/>
                      <a:pt x="264" y="0"/>
                      <a:pt x="264"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0">
                <a:extLst>
                  <a:ext uri="{FF2B5EF4-FFF2-40B4-BE49-F238E27FC236}">
                    <a16:creationId xmlns:a16="http://schemas.microsoft.com/office/drawing/2014/main" id="{8FC17AFA-E467-430E-A7A2-5FC0C6A14B2D}"/>
                  </a:ext>
                </a:extLst>
              </p:cNvPr>
              <p:cNvSpPr>
                <a:spLocks noEditPoints="1"/>
              </p:cNvSpPr>
              <p:nvPr/>
            </p:nvSpPr>
            <p:spPr bwMode="auto">
              <a:xfrm>
                <a:off x="4017" y="3014"/>
                <a:ext cx="638" cy="596"/>
              </a:xfrm>
              <a:custGeom>
                <a:avLst/>
                <a:gdLst>
                  <a:gd name="T0" fmla="*/ 240 w 269"/>
                  <a:gd name="T1" fmla="*/ 126 h 251"/>
                  <a:gd name="T2" fmla="*/ 227 w 269"/>
                  <a:gd name="T3" fmla="*/ 113 h 251"/>
                  <a:gd name="T4" fmla="*/ 240 w 269"/>
                  <a:gd name="T5" fmla="*/ 100 h 251"/>
                  <a:gd name="T6" fmla="*/ 252 w 269"/>
                  <a:gd name="T7" fmla="*/ 113 h 251"/>
                  <a:gd name="T8" fmla="*/ 240 w 269"/>
                  <a:gd name="T9" fmla="*/ 126 h 251"/>
                  <a:gd name="T10" fmla="*/ 269 w 269"/>
                  <a:gd name="T11" fmla="*/ 0 h 251"/>
                  <a:gd name="T12" fmla="*/ 0 w 269"/>
                  <a:gd name="T13" fmla="*/ 0 h 251"/>
                  <a:gd name="T14" fmla="*/ 0 w 269"/>
                  <a:gd name="T15" fmla="*/ 251 h 251"/>
                  <a:gd name="T16" fmla="*/ 269 w 269"/>
                  <a:gd name="T17" fmla="*/ 251 h 251"/>
                  <a:gd name="T18" fmla="*/ 269 w 269"/>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251">
                    <a:moveTo>
                      <a:pt x="240" y="126"/>
                    </a:moveTo>
                    <a:cubicBezTo>
                      <a:pt x="233" y="126"/>
                      <a:pt x="227" y="120"/>
                      <a:pt x="227" y="113"/>
                    </a:cubicBezTo>
                    <a:cubicBezTo>
                      <a:pt x="227" y="106"/>
                      <a:pt x="233" y="100"/>
                      <a:pt x="240" y="100"/>
                    </a:cubicBezTo>
                    <a:cubicBezTo>
                      <a:pt x="247" y="100"/>
                      <a:pt x="252" y="106"/>
                      <a:pt x="252" y="113"/>
                    </a:cubicBezTo>
                    <a:cubicBezTo>
                      <a:pt x="252" y="120"/>
                      <a:pt x="247" y="126"/>
                      <a:pt x="240" y="126"/>
                    </a:cubicBezTo>
                    <a:moveTo>
                      <a:pt x="269" y="0"/>
                    </a:moveTo>
                    <a:cubicBezTo>
                      <a:pt x="0" y="0"/>
                      <a:pt x="0" y="0"/>
                      <a:pt x="0" y="0"/>
                    </a:cubicBezTo>
                    <a:cubicBezTo>
                      <a:pt x="0" y="251"/>
                      <a:pt x="0" y="251"/>
                      <a:pt x="0" y="251"/>
                    </a:cubicBezTo>
                    <a:cubicBezTo>
                      <a:pt x="269" y="251"/>
                      <a:pt x="269" y="251"/>
                      <a:pt x="269" y="251"/>
                    </a:cubicBezTo>
                    <a:cubicBezTo>
                      <a:pt x="269" y="0"/>
                      <a:pt x="269" y="0"/>
                      <a:pt x="269"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21">
                <a:extLst>
                  <a:ext uri="{FF2B5EF4-FFF2-40B4-BE49-F238E27FC236}">
                    <a16:creationId xmlns:a16="http://schemas.microsoft.com/office/drawing/2014/main" id="{27112E8F-3FD6-43B1-B322-629448FC284C}"/>
                  </a:ext>
                </a:extLst>
              </p:cNvPr>
              <p:cNvSpPr>
                <a:spLocks noChangeArrowheads="1"/>
              </p:cNvSpPr>
              <p:nvPr/>
            </p:nvSpPr>
            <p:spPr bwMode="auto">
              <a:xfrm>
                <a:off x="4556" y="3251"/>
                <a:ext cx="59" cy="6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22">
                <a:extLst>
                  <a:ext uri="{FF2B5EF4-FFF2-40B4-BE49-F238E27FC236}">
                    <a16:creationId xmlns:a16="http://schemas.microsoft.com/office/drawing/2014/main" id="{59413D1F-419C-44E9-B26F-C1A1AF16425A}"/>
                  </a:ext>
                </a:extLst>
              </p:cNvPr>
              <p:cNvSpPr>
                <a:spLocks noChangeArrowheads="1"/>
              </p:cNvSpPr>
              <p:nvPr/>
            </p:nvSpPr>
            <p:spPr bwMode="auto">
              <a:xfrm>
                <a:off x="4736" y="3251"/>
                <a:ext cx="60" cy="6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23">
                <a:extLst>
                  <a:ext uri="{FF2B5EF4-FFF2-40B4-BE49-F238E27FC236}">
                    <a16:creationId xmlns:a16="http://schemas.microsoft.com/office/drawing/2014/main" id="{3C410ACA-AEEB-45C7-ADB6-32C2C833B016}"/>
                  </a:ext>
                </a:extLst>
              </p:cNvPr>
              <p:cNvSpPr>
                <a:spLocks/>
              </p:cNvSpPr>
              <p:nvPr/>
            </p:nvSpPr>
            <p:spPr bwMode="auto">
              <a:xfrm>
                <a:off x="6216" y="1800"/>
                <a:ext cx="406" cy="404"/>
              </a:xfrm>
              <a:custGeom>
                <a:avLst/>
                <a:gdLst>
                  <a:gd name="T0" fmla="*/ 282 w 406"/>
                  <a:gd name="T1" fmla="*/ 0 h 404"/>
                  <a:gd name="T2" fmla="*/ 161 w 406"/>
                  <a:gd name="T3" fmla="*/ 0 h 404"/>
                  <a:gd name="T4" fmla="*/ 192 w 406"/>
                  <a:gd name="T5" fmla="*/ 352 h 404"/>
                  <a:gd name="T6" fmla="*/ 0 w 406"/>
                  <a:gd name="T7" fmla="*/ 380 h 404"/>
                  <a:gd name="T8" fmla="*/ 0 w 406"/>
                  <a:gd name="T9" fmla="*/ 404 h 404"/>
                  <a:gd name="T10" fmla="*/ 406 w 406"/>
                  <a:gd name="T11" fmla="*/ 404 h 404"/>
                  <a:gd name="T12" fmla="*/ 406 w 406"/>
                  <a:gd name="T13" fmla="*/ 380 h 404"/>
                  <a:gd name="T14" fmla="*/ 323 w 406"/>
                  <a:gd name="T15" fmla="*/ 352 h 404"/>
                  <a:gd name="T16" fmla="*/ 282 w 406"/>
                  <a:gd name="T1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04">
                    <a:moveTo>
                      <a:pt x="282" y="0"/>
                    </a:moveTo>
                    <a:lnTo>
                      <a:pt x="161" y="0"/>
                    </a:lnTo>
                    <a:lnTo>
                      <a:pt x="192" y="352"/>
                    </a:lnTo>
                    <a:lnTo>
                      <a:pt x="0" y="380"/>
                    </a:lnTo>
                    <a:lnTo>
                      <a:pt x="0" y="404"/>
                    </a:lnTo>
                    <a:lnTo>
                      <a:pt x="406" y="404"/>
                    </a:lnTo>
                    <a:lnTo>
                      <a:pt x="406" y="380"/>
                    </a:lnTo>
                    <a:lnTo>
                      <a:pt x="323" y="352"/>
                    </a:lnTo>
                    <a:lnTo>
                      <a:pt x="282"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24">
                <a:extLst>
                  <a:ext uri="{FF2B5EF4-FFF2-40B4-BE49-F238E27FC236}">
                    <a16:creationId xmlns:a16="http://schemas.microsoft.com/office/drawing/2014/main" id="{2E4B1F1D-B1CF-4B57-BFC4-DEC190240384}"/>
                  </a:ext>
                </a:extLst>
              </p:cNvPr>
              <p:cNvSpPr>
                <a:spLocks/>
              </p:cNvSpPr>
              <p:nvPr/>
            </p:nvSpPr>
            <p:spPr bwMode="auto">
              <a:xfrm>
                <a:off x="6216" y="1800"/>
                <a:ext cx="406" cy="404"/>
              </a:xfrm>
              <a:custGeom>
                <a:avLst/>
                <a:gdLst>
                  <a:gd name="T0" fmla="*/ 282 w 406"/>
                  <a:gd name="T1" fmla="*/ 0 h 404"/>
                  <a:gd name="T2" fmla="*/ 161 w 406"/>
                  <a:gd name="T3" fmla="*/ 0 h 404"/>
                  <a:gd name="T4" fmla="*/ 192 w 406"/>
                  <a:gd name="T5" fmla="*/ 352 h 404"/>
                  <a:gd name="T6" fmla="*/ 0 w 406"/>
                  <a:gd name="T7" fmla="*/ 380 h 404"/>
                  <a:gd name="T8" fmla="*/ 0 w 406"/>
                  <a:gd name="T9" fmla="*/ 404 h 404"/>
                  <a:gd name="T10" fmla="*/ 406 w 406"/>
                  <a:gd name="T11" fmla="*/ 404 h 404"/>
                  <a:gd name="T12" fmla="*/ 406 w 406"/>
                  <a:gd name="T13" fmla="*/ 380 h 404"/>
                  <a:gd name="T14" fmla="*/ 323 w 406"/>
                  <a:gd name="T15" fmla="*/ 352 h 404"/>
                  <a:gd name="T16" fmla="*/ 282 w 406"/>
                  <a:gd name="T1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04">
                    <a:moveTo>
                      <a:pt x="282" y="0"/>
                    </a:moveTo>
                    <a:lnTo>
                      <a:pt x="161" y="0"/>
                    </a:lnTo>
                    <a:lnTo>
                      <a:pt x="192" y="352"/>
                    </a:lnTo>
                    <a:lnTo>
                      <a:pt x="0" y="380"/>
                    </a:lnTo>
                    <a:lnTo>
                      <a:pt x="0" y="404"/>
                    </a:lnTo>
                    <a:lnTo>
                      <a:pt x="406" y="404"/>
                    </a:lnTo>
                    <a:lnTo>
                      <a:pt x="406" y="380"/>
                    </a:lnTo>
                    <a:lnTo>
                      <a:pt x="323" y="352"/>
                    </a:lnTo>
                    <a:lnTo>
                      <a:pt x="2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25">
                <a:extLst>
                  <a:ext uri="{FF2B5EF4-FFF2-40B4-BE49-F238E27FC236}">
                    <a16:creationId xmlns:a16="http://schemas.microsoft.com/office/drawing/2014/main" id="{AB337413-67EC-4282-86F0-3BCA2D770150}"/>
                  </a:ext>
                </a:extLst>
              </p:cNvPr>
              <p:cNvSpPr>
                <a:spLocks/>
              </p:cNvSpPr>
              <p:nvPr/>
            </p:nvSpPr>
            <p:spPr bwMode="auto">
              <a:xfrm>
                <a:off x="6023" y="1508"/>
                <a:ext cx="870" cy="558"/>
              </a:xfrm>
              <a:custGeom>
                <a:avLst/>
                <a:gdLst>
                  <a:gd name="T0" fmla="*/ 1 w 366"/>
                  <a:gd name="T1" fmla="*/ 217 h 235"/>
                  <a:gd name="T2" fmla="*/ 17 w 366"/>
                  <a:gd name="T3" fmla="*/ 235 h 235"/>
                  <a:gd name="T4" fmla="*/ 328 w 366"/>
                  <a:gd name="T5" fmla="*/ 235 h 235"/>
                  <a:gd name="T6" fmla="*/ 347 w 366"/>
                  <a:gd name="T7" fmla="*/ 217 h 235"/>
                  <a:gd name="T8" fmla="*/ 366 w 366"/>
                  <a:gd name="T9" fmla="*/ 18 h 235"/>
                  <a:gd name="T10" fmla="*/ 365 w 366"/>
                  <a:gd name="T11" fmla="*/ 12 h 235"/>
                  <a:gd name="T12" fmla="*/ 350 w 366"/>
                  <a:gd name="T13" fmla="*/ 0 h 235"/>
                  <a:gd name="T14" fmla="*/ 39 w 366"/>
                  <a:gd name="T15" fmla="*/ 0 h 235"/>
                  <a:gd name="T16" fmla="*/ 19 w 366"/>
                  <a:gd name="T17" fmla="*/ 18 h 235"/>
                  <a:gd name="T18" fmla="*/ 1 w 366"/>
                  <a:gd name="T19"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6" h="235">
                    <a:moveTo>
                      <a:pt x="1" y="217"/>
                    </a:moveTo>
                    <a:cubicBezTo>
                      <a:pt x="0" y="227"/>
                      <a:pt x="7" y="235"/>
                      <a:pt x="17" y="235"/>
                    </a:cubicBezTo>
                    <a:cubicBezTo>
                      <a:pt x="328" y="235"/>
                      <a:pt x="328" y="235"/>
                      <a:pt x="328" y="235"/>
                    </a:cubicBezTo>
                    <a:cubicBezTo>
                      <a:pt x="338" y="235"/>
                      <a:pt x="346" y="227"/>
                      <a:pt x="347" y="217"/>
                    </a:cubicBezTo>
                    <a:cubicBezTo>
                      <a:pt x="366" y="18"/>
                      <a:pt x="366" y="18"/>
                      <a:pt x="366" y="18"/>
                    </a:cubicBezTo>
                    <a:cubicBezTo>
                      <a:pt x="366" y="16"/>
                      <a:pt x="366" y="14"/>
                      <a:pt x="365" y="12"/>
                    </a:cubicBezTo>
                    <a:cubicBezTo>
                      <a:pt x="364" y="5"/>
                      <a:pt x="358" y="0"/>
                      <a:pt x="350" y="0"/>
                    </a:cubicBezTo>
                    <a:cubicBezTo>
                      <a:pt x="39" y="0"/>
                      <a:pt x="39" y="0"/>
                      <a:pt x="39" y="0"/>
                    </a:cubicBezTo>
                    <a:cubicBezTo>
                      <a:pt x="29" y="0"/>
                      <a:pt x="20" y="8"/>
                      <a:pt x="19" y="18"/>
                    </a:cubicBezTo>
                    <a:cubicBezTo>
                      <a:pt x="1" y="217"/>
                      <a:pt x="1" y="217"/>
                      <a:pt x="1" y="21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26">
                <a:extLst>
                  <a:ext uri="{FF2B5EF4-FFF2-40B4-BE49-F238E27FC236}">
                    <a16:creationId xmlns:a16="http://schemas.microsoft.com/office/drawing/2014/main" id="{6AD5782F-441F-405B-B362-46C860B9AF76}"/>
                  </a:ext>
                </a:extLst>
              </p:cNvPr>
              <p:cNvSpPr>
                <a:spLocks/>
              </p:cNvSpPr>
              <p:nvPr/>
            </p:nvSpPr>
            <p:spPr bwMode="auto">
              <a:xfrm>
                <a:off x="6047" y="1532"/>
                <a:ext cx="822" cy="511"/>
              </a:xfrm>
              <a:custGeom>
                <a:avLst/>
                <a:gdLst>
                  <a:gd name="T0" fmla="*/ 318 w 346"/>
                  <a:gd name="T1" fmla="*/ 215 h 215"/>
                  <a:gd name="T2" fmla="*/ 327 w 346"/>
                  <a:gd name="T3" fmla="*/ 206 h 215"/>
                  <a:gd name="T4" fmla="*/ 346 w 346"/>
                  <a:gd name="T5" fmla="*/ 7 h 215"/>
                  <a:gd name="T6" fmla="*/ 346 w 346"/>
                  <a:gd name="T7" fmla="*/ 4 h 215"/>
                  <a:gd name="T8" fmla="*/ 340 w 346"/>
                  <a:gd name="T9" fmla="*/ 0 h 215"/>
                  <a:gd name="T10" fmla="*/ 29 w 346"/>
                  <a:gd name="T11" fmla="*/ 0 h 215"/>
                  <a:gd name="T12" fmla="*/ 19 w 346"/>
                  <a:gd name="T13" fmla="*/ 9 h 215"/>
                  <a:gd name="T14" fmla="*/ 1 w 346"/>
                  <a:gd name="T15" fmla="*/ 208 h 215"/>
                  <a:gd name="T16" fmla="*/ 2 w 346"/>
                  <a:gd name="T17" fmla="*/ 213 h 215"/>
                  <a:gd name="T18" fmla="*/ 7 w 346"/>
                  <a:gd name="T19" fmla="*/ 215 h 215"/>
                  <a:gd name="T20" fmla="*/ 318 w 346"/>
                  <a:gd name="T2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6" h="215">
                    <a:moveTo>
                      <a:pt x="318" y="215"/>
                    </a:moveTo>
                    <a:cubicBezTo>
                      <a:pt x="323" y="215"/>
                      <a:pt x="327" y="211"/>
                      <a:pt x="327" y="206"/>
                    </a:cubicBezTo>
                    <a:cubicBezTo>
                      <a:pt x="346" y="7"/>
                      <a:pt x="346" y="7"/>
                      <a:pt x="346" y="7"/>
                    </a:cubicBezTo>
                    <a:cubicBezTo>
                      <a:pt x="346" y="6"/>
                      <a:pt x="346" y="5"/>
                      <a:pt x="346" y="4"/>
                    </a:cubicBezTo>
                    <a:cubicBezTo>
                      <a:pt x="345" y="1"/>
                      <a:pt x="343" y="0"/>
                      <a:pt x="340" y="0"/>
                    </a:cubicBezTo>
                    <a:cubicBezTo>
                      <a:pt x="29" y="0"/>
                      <a:pt x="29" y="0"/>
                      <a:pt x="29" y="0"/>
                    </a:cubicBezTo>
                    <a:cubicBezTo>
                      <a:pt x="24" y="0"/>
                      <a:pt x="20" y="4"/>
                      <a:pt x="19" y="9"/>
                    </a:cubicBezTo>
                    <a:cubicBezTo>
                      <a:pt x="1" y="208"/>
                      <a:pt x="1" y="208"/>
                      <a:pt x="1" y="208"/>
                    </a:cubicBezTo>
                    <a:cubicBezTo>
                      <a:pt x="0" y="210"/>
                      <a:pt x="1" y="211"/>
                      <a:pt x="2" y="213"/>
                    </a:cubicBezTo>
                    <a:cubicBezTo>
                      <a:pt x="3" y="214"/>
                      <a:pt x="4" y="215"/>
                      <a:pt x="7" y="215"/>
                    </a:cubicBezTo>
                    <a:cubicBezTo>
                      <a:pt x="318" y="215"/>
                      <a:pt x="318" y="215"/>
                      <a:pt x="318" y="21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27">
                <a:extLst>
                  <a:ext uri="{FF2B5EF4-FFF2-40B4-BE49-F238E27FC236}">
                    <a16:creationId xmlns:a16="http://schemas.microsoft.com/office/drawing/2014/main" id="{1A393F7F-0BB9-4FFE-9AD2-7786F5D58687}"/>
                  </a:ext>
                </a:extLst>
              </p:cNvPr>
              <p:cNvSpPr>
                <a:spLocks noEditPoints="1"/>
              </p:cNvSpPr>
              <p:nvPr/>
            </p:nvSpPr>
            <p:spPr bwMode="auto">
              <a:xfrm>
                <a:off x="6050" y="1532"/>
                <a:ext cx="819" cy="511"/>
              </a:xfrm>
              <a:custGeom>
                <a:avLst/>
                <a:gdLst>
                  <a:gd name="T0" fmla="*/ 100 w 345"/>
                  <a:gd name="T1" fmla="*/ 153 h 215"/>
                  <a:gd name="T2" fmla="*/ 122 w 345"/>
                  <a:gd name="T3" fmla="*/ 25 h 215"/>
                  <a:gd name="T4" fmla="*/ 165 w 345"/>
                  <a:gd name="T5" fmla="*/ 8 h 215"/>
                  <a:gd name="T6" fmla="*/ 206 w 345"/>
                  <a:gd name="T7" fmla="*/ 21 h 215"/>
                  <a:gd name="T8" fmla="*/ 229 w 345"/>
                  <a:gd name="T9" fmla="*/ 164 h 215"/>
                  <a:gd name="T10" fmla="*/ 242 w 345"/>
                  <a:gd name="T11" fmla="*/ 168 h 215"/>
                  <a:gd name="T12" fmla="*/ 242 w 345"/>
                  <a:gd name="T13" fmla="*/ 168 h 215"/>
                  <a:gd name="T14" fmla="*/ 242 w 345"/>
                  <a:gd name="T15" fmla="*/ 168 h 215"/>
                  <a:gd name="T16" fmla="*/ 242 w 345"/>
                  <a:gd name="T17" fmla="*/ 168 h 215"/>
                  <a:gd name="T18" fmla="*/ 242 w 345"/>
                  <a:gd name="T19" fmla="*/ 168 h 215"/>
                  <a:gd name="T20" fmla="*/ 242 w 345"/>
                  <a:gd name="T21" fmla="*/ 168 h 215"/>
                  <a:gd name="T22" fmla="*/ 242 w 345"/>
                  <a:gd name="T23" fmla="*/ 168 h 215"/>
                  <a:gd name="T24" fmla="*/ 235 w 345"/>
                  <a:gd name="T25" fmla="*/ 190 h 215"/>
                  <a:gd name="T26" fmla="*/ 227 w 345"/>
                  <a:gd name="T27" fmla="*/ 214 h 215"/>
                  <a:gd name="T28" fmla="*/ 227 w 345"/>
                  <a:gd name="T29" fmla="*/ 215 h 215"/>
                  <a:gd name="T30" fmla="*/ 86 w 345"/>
                  <a:gd name="T31" fmla="*/ 215 h 215"/>
                  <a:gd name="T32" fmla="*/ 86 w 345"/>
                  <a:gd name="T33" fmla="*/ 215 h 215"/>
                  <a:gd name="T34" fmla="*/ 86 w 345"/>
                  <a:gd name="T35" fmla="*/ 215 h 215"/>
                  <a:gd name="T36" fmla="*/ 48 w 345"/>
                  <a:gd name="T37" fmla="*/ 215 h 215"/>
                  <a:gd name="T38" fmla="*/ 88 w 345"/>
                  <a:gd name="T39" fmla="*/ 154 h 215"/>
                  <a:gd name="T40" fmla="*/ 89 w 345"/>
                  <a:gd name="T41" fmla="*/ 171 h 215"/>
                  <a:gd name="T42" fmla="*/ 94 w 345"/>
                  <a:gd name="T43" fmla="*/ 154 h 215"/>
                  <a:gd name="T44" fmla="*/ 100 w 345"/>
                  <a:gd name="T45" fmla="*/ 153 h 215"/>
                  <a:gd name="T46" fmla="*/ 339 w 345"/>
                  <a:gd name="T47" fmla="*/ 0 h 215"/>
                  <a:gd name="T48" fmla="*/ 28 w 345"/>
                  <a:gd name="T49" fmla="*/ 0 h 215"/>
                  <a:gd name="T50" fmla="*/ 18 w 345"/>
                  <a:gd name="T51" fmla="*/ 9 h 215"/>
                  <a:gd name="T52" fmla="*/ 0 w 345"/>
                  <a:gd name="T53" fmla="*/ 208 h 215"/>
                  <a:gd name="T54" fmla="*/ 0 w 345"/>
                  <a:gd name="T55" fmla="*/ 208 h 215"/>
                  <a:gd name="T56" fmla="*/ 1 w 345"/>
                  <a:gd name="T57" fmla="*/ 213 h 215"/>
                  <a:gd name="T58" fmla="*/ 6 w 345"/>
                  <a:gd name="T59" fmla="*/ 215 h 215"/>
                  <a:gd name="T60" fmla="*/ 281 w 345"/>
                  <a:gd name="T61" fmla="*/ 215 h 215"/>
                  <a:gd name="T62" fmla="*/ 281 w 345"/>
                  <a:gd name="T63" fmla="*/ 200 h 215"/>
                  <a:gd name="T64" fmla="*/ 277 w 345"/>
                  <a:gd name="T65" fmla="*/ 200 h 215"/>
                  <a:gd name="T66" fmla="*/ 277 w 345"/>
                  <a:gd name="T67" fmla="*/ 196 h 215"/>
                  <a:gd name="T68" fmla="*/ 327 w 345"/>
                  <a:gd name="T69" fmla="*/ 196 h 215"/>
                  <a:gd name="T70" fmla="*/ 345 w 345"/>
                  <a:gd name="T71" fmla="*/ 7 h 215"/>
                  <a:gd name="T72" fmla="*/ 345 w 345"/>
                  <a:gd name="T73" fmla="*/ 6 h 215"/>
                  <a:gd name="T74" fmla="*/ 345 w 345"/>
                  <a:gd name="T75" fmla="*/ 4 h 215"/>
                  <a:gd name="T76" fmla="*/ 339 w 345"/>
                  <a:gd name="T7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5" h="215">
                    <a:moveTo>
                      <a:pt x="100" y="153"/>
                    </a:moveTo>
                    <a:cubicBezTo>
                      <a:pt x="99" y="126"/>
                      <a:pt x="99" y="46"/>
                      <a:pt x="122" y="25"/>
                    </a:cubicBezTo>
                    <a:cubicBezTo>
                      <a:pt x="135" y="13"/>
                      <a:pt x="150" y="8"/>
                      <a:pt x="165" y="8"/>
                    </a:cubicBezTo>
                    <a:cubicBezTo>
                      <a:pt x="181" y="8"/>
                      <a:pt x="196" y="14"/>
                      <a:pt x="206" y="21"/>
                    </a:cubicBezTo>
                    <a:cubicBezTo>
                      <a:pt x="224" y="34"/>
                      <a:pt x="245" y="67"/>
                      <a:pt x="229" y="164"/>
                    </a:cubicBezTo>
                    <a:cubicBezTo>
                      <a:pt x="233" y="166"/>
                      <a:pt x="238" y="167"/>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42" y="168"/>
                      <a:pt x="242" y="168"/>
                      <a:pt x="242" y="168"/>
                    </a:cubicBezTo>
                    <a:cubicBezTo>
                      <a:pt x="239" y="176"/>
                      <a:pt x="237" y="183"/>
                      <a:pt x="235" y="190"/>
                    </a:cubicBezTo>
                    <a:cubicBezTo>
                      <a:pt x="232" y="198"/>
                      <a:pt x="229" y="207"/>
                      <a:pt x="227" y="214"/>
                    </a:cubicBezTo>
                    <a:cubicBezTo>
                      <a:pt x="227" y="215"/>
                      <a:pt x="227" y="215"/>
                      <a:pt x="227" y="215"/>
                    </a:cubicBezTo>
                    <a:cubicBezTo>
                      <a:pt x="86" y="215"/>
                      <a:pt x="86" y="215"/>
                      <a:pt x="86" y="215"/>
                    </a:cubicBezTo>
                    <a:cubicBezTo>
                      <a:pt x="86" y="215"/>
                      <a:pt x="86" y="215"/>
                      <a:pt x="86" y="215"/>
                    </a:cubicBezTo>
                    <a:cubicBezTo>
                      <a:pt x="86" y="215"/>
                      <a:pt x="86" y="215"/>
                      <a:pt x="86" y="215"/>
                    </a:cubicBezTo>
                    <a:cubicBezTo>
                      <a:pt x="48" y="215"/>
                      <a:pt x="48" y="215"/>
                      <a:pt x="48" y="215"/>
                    </a:cubicBezTo>
                    <a:cubicBezTo>
                      <a:pt x="63" y="186"/>
                      <a:pt x="81" y="155"/>
                      <a:pt x="88" y="154"/>
                    </a:cubicBezTo>
                    <a:cubicBezTo>
                      <a:pt x="89" y="171"/>
                      <a:pt x="89" y="171"/>
                      <a:pt x="89" y="171"/>
                    </a:cubicBezTo>
                    <a:cubicBezTo>
                      <a:pt x="91" y="154"/>
                      <a:pt x="94" y="154"/>
                      <a:pt x="94" y="154"/>
                    </a:cubicBezTo>
                    <a:cubicBezTo>
                      <a:pt x="94" y="154"/>
                      <a:pt x="96" y="153"/>
                      <a:pt x="100" y="153"/>
                    </a:cubicBezTo>
                    <a:moveTo>
                      <a:pt x="339" y="0"/>
                    </a:moveTo>
                    <a:cubicBezTo>
                      <a:pt x="28" y="0"/>
                      <a:pt x="28" y="0"/>
                      <a:pt x="28" y="0"/>
                    </a:cubicBezTo>
                    <a:cubicBezTo>
                      <a:pt x="23" y="0"/>
                      <a:pt x="19" y="4"/>
                      <a:pt x="18" y="9"/>
                    </a:cubicBezTo>
                    <a:cubicBezTo>
                      <a:pt x="0" y="208"/>
                      <a:pt x="0" y="208"/>
                      <a:pt x="0" y="208"/>
                    </a:cubicBezTo>
                    <a:cubicBezTo>
                      <a:pt x="0" y="208"/>
                      <a:pt x="0" y="208"/>
                      <a:pt x="0" y="208"/>
                    </a:cubicBezTo>
                    <a:cubicBezTo>
                      <a:pt x="0" y="210"/>
                      <a:pt x="0" y="212"/>
                      <a:pt x="1" y="213"/>
                    </a:cubicBezTo>
                    <a:cubicBezTo>
                      <a:pt x="2" y="214"/>
                      <a:pt x="3" y="215"/>
                      <a:pt x="6" y="215"/>
                    </a:cubicBezTo>
                    <a:cubicBezTo>
                      <a:pt x="281" y="215"/>
                      <a:pt x="281" y="215"/>
                      <a:pt x="281" y="215"/>
                    </a:cubicBezTo>
                    <a:cubicBezTo>
                      <a:pt x="281" y="200"/>
                      <a:pt x="281" y="200"/>
                      <a:pt x="281" y="200"/>
                    </a:cubicBezTo>
                    <a:cubicBezTo>
                      <a:pt x="277" y="200"/>
                      <a:pt x="277" y="200"/>
                      <a:pt x="277" y="200"/>
                    </a:cubicBezTo>
                    <a:cubicBezTo>
                      <a:pt x="277" y="196"/>
                      <a:pt x="277" y="196"/>
                      <a:pt x="277" y="196"/>
                    </a:cubicBezTo>
                    <a:cubicBezTo>
                      <a:pt x="327" y="196"/>
                      <a:pt x="327" y="196"/>
                      <a:pt x="327" y="196"/>
                    </a:cubicBezTo>
                    <a:cubicBezTo>
                      <a:pt x="345" y="7"/>
                      <a:pt x="345" y="7"/>
                      <a:pt x="345" y="7"/>
                    </a:cubicBezTo>
                    <a:cubicBezTo>
                      <a:pt x="345" y="6"/>
                      <a:pt x="345" y="6"/>
                      <a:pt x="345" y="6"/>
                    </a:cubicBezTo>
                    <a:cubicBezTo>
                      <a:pt x="345" y="5"/>
                      <a:pt x="345" y="5"/>
                      <a:pt x="345" y="4"/>
                    </a:cubicBezTo>
                    <a:cubicBezTo>
                      <a:pt x="344" y="1"/>
                      <a:pt x="342" y="0"/>
                      <a:pt x="339"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28">
                <a:extLst>
                  <a:ext uri="{FF2B5EF4-FFF2-40B4-BE49-F238E27FC236}">
                    <a16:creationId xmlns:a16="http://schemas.microsoft.com/office/drawing/2014/main" id="{1097C8F0-35B1-4792-A7B8-76BF9B57E643}"/>
                  </a:ext>
                </a:extLst>
              </p:cNvPr>
              <p:cNvSpPr>
                <a:spLocks/>
              </p:cNvSpPr>
              <p:nvPr/>
            </p:nvSpPr>
            <p:spPr bwMode="auto">
              <a:xfrm>
                <a:off x="6273" y="1532"/>
                <a:ext cx="363" cy="416"/>
              </a:xfrm>
              <a:custGeom>
                <a:avLst/>
                <a:gdLst>
                  <a:gd name="T0" fmla="*/ 7 w 153"/>
                  <a:gd name="T1" fmla="*/ 162 h 175"/>
                  <a:gd name="T2" fmla="*/ 28 w 153"/>
                  <a:gd name="T3" fmla="*/ 25 h 175"/>
                  <a:gd name="T4" fmla="*/ 112 w 153"/>
                  <a:gd name="T5" fmla="*/ 21 h 175"/>
                  <a:gd name="T6" fmla="*/ 133 w 153"/>
                  <a:gd name="T7" fmla="*/ 175 h 175"/>
                  <a:gd name="T8" fmla="*/ 7 w 153"/>
                  <a:gd name="T9" fmla="*/ 162 h 175"/>
                </a:gdLst>
                <a:ahLst/>
                <a:cxnLst>
                  <a:cxn ang="0">
                    <a:pos x="T0" y="T1"/>
                  </a:cxn>
                  <a:cxn ang="0">
                    <a:pos x="T2" y="T3"/>
                  </a:cxn>
                  <a:cxn ang="0">
                    <a:pos x="T4" y="T5"/>
                  </a:cxn>
                  <a:cxn ang="0">
                    <a:pos x="T6" y="T7"/>
                  </a:cxn>
                  <a:cxn ang="0">
                    <a:pos x="T8" y="T9"/>
                  </a:cxn>
                </a:cxnLst>
                <a:rect l="0" t="0" r="r" b="b"/>
                <a:pathLst>
                  <a:path w="153" h="175">
                    <a:moveTo>
                      <a:pt x="7" y="162"/>
                    </a:moveTo>
                    <a:cubicBezTo>
                      <a:pt x="7" y="162"/>
                      <a:pt x="0" y="51"/>
                      <a:pt x="28" y="25"/>
                    </a:cubicBezTo>
                    <a:cubicBezTo>
                      <a:pt x="55" y="0"/>
                      <a:pt x="92" y="7"/>
                      <a:pt x="112" y="21"/>
                    </a:cubicBezTo>
                    <a:cubicBezTo>
                      <a:pt x="131" y="34"/>
                      <a:pt x="153" y="70"/>
                      <a:pt x="133" y="175"/>
                    </a:cubicBezTo>
                    <a:cubicBezTo>
                      <a:pt x="7" y="162"/>
                      <a:pt x="7" y="162"/>
                      <a:pt x="7" y="16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29">
                <a:extLst>
                  <a:ext uri="{FF2B5EF4-FFF2-40B4-BE49-F238E27FC236}">
                    <a16:creationId xmlns:a16="http://schemas.microsoft.com/office/drawing/2014/main" id="{FC8C5DFB-95C7-4C74-95F8-955191F08940}"/>
                  </a:ext>
                </a:extLst>
              </p:cNvPr>
              <p:cNvSpPr>
                <a:spLocks/>
              </p:cNvSpPr>
              <p:nvPr/>
            </p:nvSpPr>
            <p:spPr bwMode="auto">
              <a:xfrm>
                <a:off x="6254" y="1891"/>
                <a:ext cx="370" cy="152"/>
              </a:xfrm>
              <a:custGeom>
                <a:avLst/>
                <a:gdLst>
                  <a:gd name="T0" fmla="*/ 141 w 156"/>
                  <a:gd name="T1" fmla="*/ 64 h 64"/>
                  <a:gd name="T2" fmla="*/ 141 w 156"/>
                  <a:gd name="T3" fmla="*/ 63 h 64"/>
                  <a:gd name="T4" fmla="*/ 149 w 156"/>
                  <a:gd name="T5" fmla="*/ 39 h 64"/>
                  <a:gd name="T6" fmla="*/ 156 w 156"/>
                  <a:gd name="T7" fmla="*/ 17 h 64"/>
                  <a:gd name="T8" fmla="*/ 108 w 156"/>
                  <a:gd name="T9" fmla="*/ 6 h 64"/>
                  <a:gd name="T10" fmla="*/ 56 w 156"/>
                  <a:gd name="T11" fmla="*/ 0 h 64"/>
                  <a:gd name="T12" fmla="*/ 8 w 156"/>
                  <a:gd name="T13" fmla="*/ 3 h 64"/>
                  <a:gd name="T14" fmla="*/ 2 w 156"/>
                  <a:gd name="T15" fmla="*/ 27 h 64"/>
                  <a:gd name="T16" fmla="*/ 0 w 156"/>
                  <a:gd name="T17" fmla="*/ 64 h 64"/>
                  <a:gd name="T18" fmla="*/ 141 w 156"/>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4">
                    <a:moveTo>
                      <a:pt x="141" y="64"/>
                    </a:moveTo>
                    <a:cubicBezTo>
                      <a:pt x="141" y="63"/>
                      <a:pt x="141" y="63"/>
                      <a:pt x="141" y="63"/>
                    </a:cubicBezTo>
                    <a:cubicBezTo>
                      <a:pt x="143" y="56"/>
                      <a:pt x="146" y="47"/>
                      <a:pt x="149" y="39"/>
                    </a:cubicBezTo>
                    <a:cubicBezTo>
                      <a:pt x="151" y="32"/>
                      <a:pt x="153" y="25"/>
                      <a:pt x="156" y="17"/>
                    </a:cubicBezTo>
                    <a:cubicBezTo>
                      <a:pt x="140" y="12"/>
                      <a:pt x="124" y="8"/>
                      <a:pt x="108" y="6"/>
                    </a:cubicBezTo>
                    <a:cubicBezTo>
                      <a:pt x="91" y="3"/>
                      <a:pt x="74" y="1"/>
                      <a:pt x="56" y="0"/>
                    </a:cubicBezTo>
                    <a:cubicBezTo>
                      <a:pt x="34" y="0"/>
                      <a:pt x="8" y="3"/>
                      <a:pt x="8" y="3"/>
                    </a:cubicBezTo>
                    <a:cubicBezTo>
                      <a:pt x="8" y="3"/>
                      <a:pt x="4" y="4"/>
                      <a:pt x="2" y="27"/>
                    </a:cubicBezTo>
                    <a:cubicBezTo>
                      <a:pt x="1" y="36"/>
                      <a:pt x="1" y="48"/>
                      <a:pt x="0" y="64"/>
                    </a:cubicBezTo>
                    <a:cubicBezTo>
                      <a:pt x="141" y="64"/>
                      <a:pt x="141" y="64"/>
                      <a:pt x="141" y="64"/>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30">
                <a:extLst>
                  <a:ext uri="{FF2B5EF4-FFF2-40B4-BE49-F238E27FC236}">
                    <a16:creationId xmlns:a16="http://schemas.microsoft.com/office/drawing/2014/main" id="{50182EEC-3528-41F8-92E7-792875ED0559}"/>
                  </a:ext>
                </a:extLst>
              </p:cNvPr>
              <p:cNvSpPr>
                <a:spLocks/>
              </p:cNvSpPr>
              <p:nvPr/>
            </p:nvSpPr>
            <p:spPr bwMode="auto">
              <a:xfrm>
                <a:off x="6254" y="1891"/>
                <a:ext cx="370" cy="152"/>
              </a:xfrm>
              <a:custGeom>
                <a:avLst/>
                <a:gdLst>
                  <a:gd name="T0" fmla="*/ 141 w 156"/>
                  <a:gd name="T1" fmla="*/ 64 h 64"/>
                  <a:gd name="T2" fmla="*/ 141 w 156"/>
                  <a:gd name="T3" fmla="*/ 63 h 64"/>
                  <a:gd name="T4" fmla="*/ 149 w 156"/>
                  <a:gd name="T5" fmla="*/ 39 h 64"/>
                  <a:gd name="T6" fmla="*/ 156 w 156"/>
                  <a:gd name="T7" fmla="*/ 17 h 64"/>
                  <a:gd name="T8" fmla="*/ 108 w 156"/>
                  <a:gd name="T9" fmla="*/ 6 h 64"/>
                  <a:gd name="T10" fmla="*/ 56 w 156"/>
                  <a:gd name="T11" fmla="*/ 0 h 64"/>
                  <a:gd name="T12" fmla="*/ 8 w 156"/>
                  <a:gd name="T13" fmla="*/ 3 h 64"/>
                  <a:gd name="T14" fmla="*/ 2 w 156"/>
                  <a:gd name="T15" fmla="*/ 27 h 64"/>
                  <a:gd name="T16" fmla="*/ 0 w 156"/>
                  <a:gd name="T17" fmla="*/ 64 h 64"/>
                  <a:gd name="T18" fmla="*/ 141 w 156"/>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64">
                    <a:moveTo>
                      <a:pt x="141" y="64"/>
                    </a:moveTo>
                    <a:cubicBezTo>
                      <a:pt x="141" y="63"/>
                      <a:pt x="141" y="63"/>
                      <a:pt x="141" y="63"/>
                    </a:cubicBezTo>
                    <a:cubicBezTo>
                      <a:pt x="143" y="56"/>
                      <a:pt x="146" y="47"/>
                      <a:pt x="149" y="39"/>
                    </a:cubicBezTo>
                    <a:cubicBezTo>
                      <a:pt x="151" y="32"/>
                      <a:pt x="153" y="25"/>
                      <a:pt x="156" y="17"/>
                    </a:cubicBezTo>
                    <a:cubicBezTo>
                      <a:pt x="140" y="12"/>
                      <a:pt x="124" y="8"/>
                      <a:pt x="108" y="6"/>
                    </a:cubicBezTo>
                    <a:cubicBezTo>
                      <a:pt x="91" y="3"/>
                      <a:pt x="74" y="1"/>
                      <a:pt x="56" y="0"/>
                    </a:cubicBezTo>
                    <a:cubicBezTo>
                      <a:pt x="34" y="0"/>
                      <a:pt x="8" y="3"/>
                      <a:pt x="8" y="3"/>
                    </a:cubicBezTo>
                    <a:cubicBezTo>
                      <a:pt x="8" y="3"/>
                      <a:pt x="4" y="4"/>
                      <a:pt x="2" y="27"/>
                    </a:cubicBezTo>
                    <a:cubicBezTo>
                      <a:pt x="1" y="35"/>
                      <a:pt x="1" y="47"/>
                      <a:pt x="0" y="64"/>
                    </a:cubicBezTo>
                    <a:cubicBezTo>
                      <a:pt x="141" y="64"/>
                      <a:pt x="141" y="64"/>
                      <a:pt x="141" y="64"/>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1">
                <a:extLst>
                  <a:ext uri="{FF2B5EF4-FFF2-40B4-BE49-F238E27FC236}">
                    <a16:creationId xmlns:a16="http://schemas.microsoft.com/office/drawing/2014/main" id="{34E28346-6ABF-4A50-93B8-D1D04F41A6FE}"/>
                  </a:ext>
                </a:extLst>
              </p:cNvPr>
              <p:cNvSpPr>
                <a:spLocks/>
              </p:cNvSpPr>
              <p:nvPr/>
            </p:nvSpPr>
            <p:spPr bwMode="auto">
              <a:xfrm>
                <a:off x="6254" y="1891"/>
                <a:ext cx="370" cy="152"/>
              </a:xfrm>
              <a:custGeom>
                <a:avLst/>
                <a:gdLst>
                  <a:gd name="T0" fmla="*/ 54 w 156"/>
                  <a:gd name="T1" fmla="*/ 0 h 64"/>
                  <a:gd name="T2" fmla="*/ 8 w 156"/>
                  <a:gd name="T3" fmla="*/ 3 h 64"/>
                  <a:gd name="T4" fmla="*/ 3 w 156"/>
                  <a:gd name="T5" fmla="*/ 20 h 64"/>
                  <a:gd name="T6" fmla="*/ 4 w 156"/>
                  <a:gd name="T7" fmla="*/ 31 h 64"/>
                  <a:gd name="T8" fmla="*/ 4 w 156"/>
                  <a:gd name="T9" fmla="*/ 31 h 64"/>
                  <a:gd name="T10" fmla="*/ 6 w 156"/>
                  <a:gd name="T11" fmla="*/ 64 h 64"/>
                  <a:gd name="T12" fmla="*/ 0 w 156"/>
                  <a:gd name="T13" fmla="*/ 64 h 64"/>
                  <a:gd name="T14" fmla="*/ 0 w 156"/>
                  <a:gd name="T15" fmla="*/ 64 h 64"/>
                  <a:gd name="T16" fmla="*/ 141 w 156"/>
                  <a:gd name="T17" fmla="*/ 64 h 64"/>
                  <a:gd name="T18" fmla="*/ 141 w 156"/>
                  <a:gd name="T19" fmla="*/ 63 h 64"/>
                  <a:gd name="T20" fmla="*/ 149 w 156"/>
                  <a:gd name="T21" fmla="*/ 39 h 64"/>
                  <a:gd name="T22" fmla="*/ 156 w 156"/>
                  <a:gd name="T23" fmla="*/ 17 h 64"/>
                  <a:gd name="T24" fmla="*/ 108 w 156"/>
                  <a:gd name="T25" fmla="*/ 6 h 64"/>
                  <a:gd name="T26" fmla="*/ 98 w 156"/>
                  <a:gd name="T27" fmla="*/ 4 h 64"/>
                  <a:gd name="T28" fmla="*/ 103 w 156"/>
                  <a:gd name="T29" fmla="*/ 10 h 64"/>
                  <a:gd name="T30" fmla="*/ 66 w 156"/>
                  <a:gd name="T31" fmla="*/ 26 h 64"/>
                  <a:gd name="T32" fmla="*/ 58 w 156"/>
                  <a:gd name="T33" fmla="*/ 5 h 64"/>
                  <a:gd name="T34" fmla="*/ 64 w 156"/>
                  <a:gd name="T35" fmla="*/ 1 h 64"/>
                  <a:gd name="T36" fmla="*/ 56 w 156"/>
                  <a:gd name="T37" fmla="*/ 0 h 64"/>
                  <a:gd name="T38" fmla="*/ 54 w 156"/>
                  <a:gd name="T3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64">
                    <a:moveTo>
                      <a:pt x="54" y="0"/>
                    </a:moveTo>
                    <a:cubicBezTo>
                      <a:pt x="32" y="0"/>
                      <a:pt x="8" y="3"/>
                      <a:pt x="8" y="3"/>
                    </a:cubicBezTo>
                    <a:cubicBezTo>
                      <a:pt x="8" y="3"/>
                      <a:pt x="5" y="3"/>
                      <a:pt x="3" y="20"/>
                    </a:cubicBezTo>
                    <a:cubicBezTo>
                      <a:pt x="4" y="31"/>
                      <a:pt x="4" y="31"/>
                      <a:pt x="4" y="31"/>
                    </a:cubicBezTo>
                    <a:cubicBezTo>
                      <a:pt x="4" y="31"/>
                      <a:pt x="4" y="31"/>
                      <a:pt x="4" y="31"/>
                    </a:cubicBezTo>
                    <a:cubicBezTo>
                      <a:pt x="6" y="64"/>
                      <a:pt x="6" y="64"/>
                      <a:pt x="6" y="64"/>
                    </a:cubicBezTo>
                    <a:cubicBezTo>
                      <a:pt x="0" y="64"/>
                      <a:pt x="0" y="64"/>
                      <a:pt x="0" y="64"/>
                    </a:cubicBezTo>
                    <a:cubicBezTo>
                      <a:pt x="0" y="64"/>
                      <a:pt x="0" y="64"/>
                      <a:pt x="0" y="64"/>
                    </a:cubicBezTo>
                    <a:cubicBezTo>
                      <a:pt x="141" y="64"/>
                      <a:pt x="141" y="64"/>
                      <a:pt x="141" y="64"/>
                    </a:cubicBezTo>
                    <a:cubicBezTo>
                      <a:pt x="141" y="63"/>
                      <a:pt x="141" y="63"/>
                      <a:pt x="141" y="63"/>
                    </a:cubicBezTo>
                    <a:cubicBezTo>
                      <a:pt x="143" y="56"/>
                      <a:pt x="146" y="47"/>
                      <a:pt x="149" y="39"/>
                    </a:cubicBezTo>
                    <a:cubicBezTo>
                      <a:pt x="151" y="32"/>
                      <a:pt x="153" y="25"/>
                      <a:pt x="156" y="17"/>
                    </a:cubicBezTo>
                    <a:cubicBezTo>
                      <a:pt x="140" y="12"/>
                      <a:pt x="124" y="8"/>
                      <a:pt x="108" y="6"/>
                    </a:cubicBezTo>
                    <a:cubicBezTo>
                      <a:pt x="105" y="5"/>
                      <a:pt x="101" y="5"/>
                      <a:pt x="98" y="4"/>
                    </a:cubicBezTo>
                    <a:cubicBezTo>
                      <a:pt x="99" y="6"/>
                      <a:pt x="101" y="8"/>
                      <a:pt x="103" y="10"/>
                    </a:cubicBezTo>
                    <a:cubicBezTo>
                      <a:pt x="103" y="10"/>
                      <a:pt x="94" y="22"/>
                      <a:pt x="66" y="26"/>
                    </a:cubicBezTo>
                    <a:cubicBezTo>
                      <a:pt x="66" y="26"/>
                      <a:pt x="52" y="17"/>
                      <a:pt x="58" y="5"/>
                    </a:cubicBezTo>
                    <a:cubicBezTo>
                      <a:pt x="58" y="5"/>
                      <a:pt x="61" y="5"/>
                      <a:pt x="64" y="1"/>
                    </a:cubicBezTo>
                    <a:cubicBezTo>
                      <a:pt x="61" y="1"/>
                      <a:pt x="59" y="0"/>
                      <a:pt x="56" y="0"/>
                    </a:cubicBezTo>
                    <a:cubicBezTo>
                      <a:pt x="56" y="0"/>
                      <a:pt x="55" y="0"/>
                      <a:pt x="54"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2">
                <a:extLst>
                  <a:ext uri="{FF2B5EF4-FFF2-40B4-BE49-F238E27FC236}">
                    <a16:creationId xmlns:a16="http://schemas.microsoft.com/office/drawing/2014/main" id="{B49FFFEF-867D-45A9-AD11-F04399145761}"/>
                  </a:ext>
                </a:extLst>
              </p:cNvPr>
              <p:cNvSpPr>
                <a:spLocks/>
              </p:cNvSpPr>
              <p:nvPr/>
            </p:nvSpPr>
            <p:spPr bwMode="auto">
              <a:xfrm>
                <a:off x="6164" y="1898"/>
                <a:ext cx="104" cy="145"/>
              </a:xfrm>
              <a:custGeom>
                <a:avLst/>
                <a:gdLst>
                  <a:gd name="T0" fmla="*/ 44 w 44"/>
                  <a:gd name="T1" fmla="*/ 61 h 61"/>
                  <a:gd name="T2" fmla="*/ 42 w 44"/>
                  <a:gd name="T3" fmla="*/ 28 h 61"/>
                  <a:gd name="T4" fmla="*/ 40 w 44"/>
                  <a:gd name="T5" fmla="*/ 0 h 61"/>
                  <a:gd name="T6" fmla="*/ 0 w 44"/>
                  <a:gd name="T7" fmla="*/ 61 h 61"/>
                  <a:gd name="T8" fmla="*/ 44 w 44"/>
                  <a:gd name="T9" fmla="*/ 61 h 61"/>
                </a:gdLst>
                <a:ahLst/>
                <a:cxnLst>
                  <a:cxn ang="0">
                    <a:pos x="T0" y="T1"/>
                  </a:cxn>
                  <a:cxn ang="0">
                    <a:pos x="T2" y="T3"/>
                  </a:cxn>
                  <a:cxn ang="0">
                    <a:pos x="T4" y="T5"/>
                  </a:cxn>
                  <a:cxn ang="0">
                    <a:pos x="T6" y="T7"/>
                  </a:cxn>
                  <a:cxn ang="0">
                    <a:pos x="T8" y="T9"/>
                  </a:cxn>
                </a:cxnLst>
                <a:rect l="0" t="0" r="r" b="b"/>
                <a:pathLst>
                  <a:path w="44" h="61">
                    <a:moveTo>
                      <a:pt x="44" y="61"/>
                    </a:moveTo>
                    <a:cubicBezTo>
                      <a:pt x="42" y="28"/>
                      <a:pt x="42" y="28"/>
                      <a:pt x="42" y="28"/>
                    </a:cubicBezTo>
                    <a:cubicBezTo>
                      <a:pt x="40" y="0"/>
                      <a:pt x="40" y="0"/>
                      <a:pt x="40" y="0"/>
                    </a:cubicBezTo>
                    <a:cubicBezTo>
                      <a:pt x="33" y="1"/>
                      <a:pt x="15" y="32"/>
                      <a:pt x="0" y="61"/>
                    </a:cubicBezTo>
                    <a:cubicBezTo>
                      <a:pt x="44" y="61"/>
                      <a:pt x="44" y="61"/>
                      <a:pt x="44"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33">
                <a:extLst>
                  <a:ext uri="{FF2B5EF4-FFF2-40B4-BE49-F238E27FC236}">
                    <a16:creationId xmlns:a16="http://schemas.microsoft.com/office/drawing/2014/main" id="{4F1E3864-DD00-4757-A88E-060FB3A7F231}"/>
                  </a:ext>
                </a:extLst>
              </p:cNvPr>
              <p:cNvSpPr>
                <a:spLocks/>
              </p:cNvSpPr>
              <p:nvPr/>
            </p:nvSpPr>
            <p:spPr bwMode="auto">
              <a:xfrm>
                <a:off x="6213" y="1964"/>
                <a:ext cx="55" cy="79"/>
              </a:xfrm>
              <a:custGeom>
                <a:avLst/>
                <a:gdLst>
                  <a:gd name="T0" fmla="*/ 21 w 23"/>
                  <a:gd name="T1" fmla="*/ 0 h 33"/>
                  <a:gd name="T2" fmla="*/ 0 w 23"/>
                  <a:gd name="T3" fmla="*/ 33 h 33"/>
                  <a:gd name="T4" fmla="*/ 23 w 23"/>
                  <a:gd name="T5" fmla="*/ 33 h 33"/>
                  <a:gd name="T6" fmla="*/ 21 w 23"/>
                  <a:gd name="T7" fmla="*/ 0 h 33"/>
                </a:gdLst>
                <a:ahLst/>
                <a:cxnLst>
                  <a:cxn ang="0">
                    <a:pos x="T0" y="T1"/>
                  </a:cxn>
                  <a:cxn ang="0">
                    <a:pos x="T2" y="T3"/>
                  </a:cxn>
                  <a:cxn ang="0">
                    <a:pos x="T4" y="T5"/>
                  </a:cxn>
                  <a:cxn ang="0">
                    <a:pos x="T6" y="T7"/>
                  </a:cxn>
                </a:cxnLst>
                <a:rect l="0" t="0" r="r" b="b"/>
                <a:pathLst>
                  <a:path w="23" h="33">
                    <a:moveTo>
                      <a:pt x="21" y="0"/>
                    </a:moveTo>
                    <a:cubicBezTo>
                      <a:pt x="17" y="4"/>
                      <a:pt x="7" y="16"/>
                      <a:pt x="0" y="33"/>
                    </a:cubicBezTo>
                    <a:cubicBezTo>
                      <a:pt x="23" y="33"/>
                      <a:pt x="23" y="33"/>
                      <a:pt x="23" y="33"/>
                    </a:cubicBezTo>
                    <a:cubicBezTo>
                      <a:pt x="21" y="0"/>
                      <a:pt x="21" y="0"/>
                      <a:pt x="2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34">
                <a:extLst>
                  <a:ext uri="{FF2B5EF4-FFF2-40B4-BE49-F238E27FC236}">
                    <a16:creationId xmlns:a16="http://schemas.microsoft.com/office/drawing/2014/main" id="{1B2AC6BA-65EC-4139-B092-1FD1688DC6D2}"/>
                  </a:ext>
                </a:extLst>
              </p:cNvPr>
              <p:cNvSpPr>
                <a:spLocks/>
              </p:cNvSpPr>
              <p:nvPr/>
            </p:nvSpPr>
            <p:spPr bwMode="auto">
              <a:xfrm>
                <a:off x="6586" y="1931"/>
                <a:ext cx="86" cy="112"/>
              </a:xfrm>
              <a:custGeom>
                <a:avLst/>
                <a:gdLst>
                  <a:gd name="T0" fmla="*/ 36 w 36"/>
                  <a:gd name="T1" fmla="*/ 47 h 47"/>
                  <a:gd name="T2" fmla="*/ 16 w 36"/>
                  <a:gd name="T3" fmla="*/ 0 h 47"/>
                  <a:gd name="T4" fmla="*/ 0 w 36"/>
                  <a:gd name="T5" fmla="*/ 47 h 47"/>
                  <a:gd name="T6" fmla="*/ 36 w 36"/>
                  <a:gd name="T7" fmla="*/ 47 h 47"/>
                </a:gdLst>
                <a:ahLst/>
                <a:cxnLst>
                  <a:cxn ang="0">
                    <a:pos x="T0" y="T1"/>
                  </a:cxn>
                  <a:cxn ang="0">
                    <a:pos x="T2" y="T3"/>
                  </a:cxn>
                  <a:cxn ang="0">
                    <a:pos x="T4" y="T5"/>
                  </a:cxn>
                  <a:cxn ang="0">
                    <a:pos x="T6" y="T7"/>
                  </a:cxn>
                </a:cxnLst>
                <a:rect l="0" t="0" r="r" b="b"/>
                <a:pathLst>
                  <a:path w="36" h="47">
                    <a:moveTo>
                      <a:pt x="36" y="47"/>
                    </a:moveTo>
                    <a:cubicBezTo>
                      <a:pt x="24" y="11"/>
                      <a:pt x="16" y="0"/>
                      <a:pt x="16" y="0"/>
                    </a:cubicBezTo>
                    <a:cubicBezTo>
                      <a:pt x="0" y="47"/>
                      <a:pt x="0" y="47"/>
                      <a:pt x="0" y="47"/>
                    </a:cubicBez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35">
                <a:extLst>
                  <a:ext uri="{FF2B5EF4-FFF2-40B4-BE49-F238E27FC236}">
                    <a16:creationId xmlns:a16="http://schemas.microsoft.com/office/drawing/2014/main" id="{FEEA1340-8085-4F34-99AF-366D4DD9C140}"/>
                  </a:ext>
                </a:extLst>
              </p:cNvPr>
              <p:cNvSpPr>
                <a:spLocks/>
              </p:cNvSpPr>
              <p:nvPr/>
            </p:nvSpPr>
            <p:spPr bwMode="auto">
              <a:xfrm>
                <a:off x="6377" y="1805"/>
                <a:ext cx="121" cy="147"/>
              </a:xfrm>
              <a:custGeom>
                <a:avLst/>
                <a:gdLst>
                  <a:gd name="T0" fmla="*/ 14 w 51"/>
                  <a:gd name="T1" fmla="*/ 62 h 62"/>
                  <a:gd name="T2" fmla="*/ 51 w 51"/>
                  <a:gd name="T3" fmla="*/ 46 h 62"/>
                  <a:gd name="T4" fmla="*/ 48 w 51"/>
                  <a:gd name="T5" fmla="*/ 0 h 62"/>
                  <a:gd name="T6" fmla="*/ 14 w 51"/>
                  <a:gd name="T7" fmla="*/ 6 h 62"/>
                  <a:gd name="T8" fmla="*/ 15 w 51"/>
                  <a:gd name="T9" fmla="*/ 20 h 62"/>
                  <a:gd name="T10" fmla="*/ 6 w 51"/>
                  <a:gd name="T11" fmla="*/ 41 h 62"/>
                  <a:gd name="T12" fmla="*/ 14 w 51"/>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51" h="62">
                    <a:moveTo>
                      <a:pt x="14" y="62"/>
                    </a:moveTo>
                    <a:cubicBezTo>
                      <a:pt x="42" y="58"/>
                      <a:pt x="51" y="46"/>
                      <a:pt x="51" y="46"/>
                    </a:cubicBezTo>
                    <a:cubicBezTo>
                      <a:pt x="33" y="29"/>
                      <a:pt x="48" y="0"/>
                      <a:pt x="48" y="0"/>
                    </a:cubicBezTo>
                    <a:cubicBezTo>
                      <a:pt x="14" y="6"/>
                      <a:pt x="14" y="6"/>
                      <a:pt x="14" y="6"/>
                    </a:cubicBezTo>
                    <a:cubicBezTo>
                      <a:pt x="14" y="12"/>
                      <a:pt x="15" y="16"/>
                      <a:pt x="15" y="20"/>
                    </a:cubicBezTo>
                    <a:cubicBezTo>
                      <a:pt x="15" y="41"/>
                      <a:pt x="6" y="41"/>
                      <a:pt x="6" y="41"/>
                    </a:cubicBezTo>
                    <a:cubicBezTo>
                      <a:pt x="0" y="53"/>
                      <a:pt x="14" y="62"/>
                      <a:pt x="14" y="62"/>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36">
                <a:extLst>
                  <a:ext uri="{FF2B5EF4-FFF2-40B4-BE49-F238E27FC236}">
                    <a16:creationId xmlns:a16="http://schemas.microsoft.com/office/drawing/2014/main" id="{57B619A7-5DD3-436A-8830-2AD80B3C07C4}"/>
                  </a:ext>
                </a:extLst>
              </p:cNvPr>
              <p:cNvSpPr>
                <a:spLocks/>
              </p:cNvSpPr>
              <p:nvPr/>
            </p:nvSpPr>
            <p:spPr bwMode="auto">
              <a:xfrm>
                <a:off x="6413" y="1831"/>
                <a:ext cx="57" cy="22"/>
              </a:xfrm>
              <a:custGeom>
                <a:avLst/>
                <a:gdLst>
                  <a:gd name="T0" fmla="*/ 24 w 24"/>
                  <a:gd name="T1" fmla="*/ 0 h 9"/>
                  <a:gd name="T2" fmla="*/ 13 w 24"/>
                  <a:gd name="T3" fmla="*/ 3 h 9"/>
                  <a:gd name="T4" fmla="*/ 3 w 24"/>
                  <a:gd name="T5" fmla="*/ 4 h 9"/>
                  <a:gd name="T6" fmla="*/ 0 w 24"/>
                  <a:gd name="T7" fmla="*/ 4 h 9"/>
                  <a:gd name="T8" fmla="*/ 0 w 24"/>
                  <a:gd name="T9" fmla="*/ 9 h 9"/>
                  <a:gd name="T10" fmla="*/ 24 w 24"/>
                  <a:gd name="T11" fmla="*/ 0 h 9"/>
                </a:gdLst>
                <a:ahLst/>
                <a:cxnLst>
                  <a:cxn ang="0">
                    <a:pos x="T0" y="T1"/>
                  </a:cxn>
                  <a:cxn ang="0">
                    <a:pos x="T2" y="T3"/>
                  </a:cxn>
                  <a:cxn ang="0">
                    <a:pos x="T4" y="T5"/>
                  </a:cxn>
                  <a:cxn ang="0">
                    <a:pos x="T6" y="T7"/>
                  </a:cxn>
                  <a:cxn ang="0">
                    <a:pos x="T8" y="T9"/>
                  </a:cxn>
                  <a:cxn ang="0">
                    <a:pos x="T10" y="T11"/>
                  </a:cxn>
                </a:cxnLst>
                <a:rect l="0" t="0" r="r" b="b"/>
                <a:pathLst>
                  <a:path w="24" h="9">
                    <a:moveTo>
                      <a:pt x="24" y="0"/>
                    </a:moveTo>
                    <a:cubicBezTo>
                      <a:pt x="20" y="2"/>
                      <a:pt x="17" y="3"/>
                      <a:pt x="13" y="3"/>
                    </a:cubicBezTo>
                    <a:cubicBezTo>
                      <a:pt x="10" y="4"/>
                      <a:pt x="6" y="4"/>
                      <a:pt x="3" y="4"/>
                    </a:cubicBezTo>
                    <a:cubicBezTo>
                      <a:pt x="2" y="4"/>
                      <a:pt x="1" y="4"/>
                      <a:pt x="0" y="4"/>
                    </a:cubicBezTo>
                    <a:cubicBezTo>
                      <a:pt x="0" y="6"/>
                      <a:pt x="0" y="8"/>
                      <a:pt x="0" y="9"/>
                    </a:cubicBezTo>
                    <a:cubicBezTo>
                      <a:pt x="11" y="9"/>
                      <a:pt x="18" y="5"/>
                      <a:pt x="24" y="0"/>
                    </a:cubicBezTo>
                  </a:path>
                </a:pathLst>
              </a:custGeom>
              <a:solidFill>
                <a:srgbClr val="BE9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37">
                <a:extLst>
                  <a:ext uri="{FF2B5EF4-FFF2-40B4-BE49-F238E27FC236}">
                    <a16:creationId xmlns:a16="http://schemas.microsoft.com/office/drawing/2014/main" id="{28081B9A-7809-40CF-90FA-0C73060E4BC3}"/>
                  </a:ext>
                </a:extLst>
              </p:cNvPr>
              <p:cNvSpPr>
                <a:spLocks/>
              </p:cNvSpPr>
              <p:nvPr/>
            </p:nvSpPr>
            <p:spPr bwMode="auto">
              <a:xfrm>
                <a:off x="6339" y="1589"/>
                <a:ext cx="233" cy="264"/>
              </a:xfrm>
              <a:custGeom>
                <a:avLst/>
                <a:gdLst>
                  <a:gd name="T0" fmla="*/ 48 w 98"/>
                  <a:gd name="T1" fmla="*/ 1 h 111"/>
                  <a:gd name="T2" fmla="*/ 4 w 98"/>
                  <a:gd name="T3" fmla="*/ 46 h 111"/>
                  <a:gd name="T4" fmla="*/ 44 w 98"/>
                  <a:gd name="T5" fmla="*/ 105 h 111"/>
                  <a:gd name="T6" fmla="*/ 48 w 98"/>
                  <a:gd name="T7" fmla="*/ 1 h 111"/>
                </a:gdLst>
                <a:ahLst/>
                <a:cxnLst>
                  <a:cxn ang="0">
                    <a:pos x="T0" y="T1"/>
                  </a:cxn>
                  <a:cxn ang="0">
                    <a:pos x="T2" y="T3"/>
                  </a:cxn>
                  <a:cxn ang="0">
                    <a:pos x="T4" y="T5"/>
                  </a:cxn>
                  <a:cxn ang="0">
                    <a:pos x="T6" y="T7"/>
                  </a:cxn>
                </a:cxnLst>
                <a:rect l="0" t="0" r="r" b="b"/>
                <a:pathLst>
                  <a:path w="98" h="111">
                    <a:moveTo>
                      <a:pt x="48" y="1"/>
                    </a:moveTo>
                    <a:cubicBezTo>
                      <a:pt x="19" y="0"/>
                      <a:pt x="8" y="15"/>
                      <a:pt x="4" y="46"/>
                    </a:cubicBezTo>
                    <a:cubicBezTo>
                      <a:pt x="0" y="84"/>
                      <a:pt x="7" y="111"/>
                      <a:pt x="44" y="105"/>
                    </a:cubicBezTo>
                    <a:cubicBezTo>
                      <a:pt x="95" y="97"/>
                      <a:pt x="98" y="4"/>
                      <a:pt x="48" y="1"/>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38">
                <a:extLst>
                  <a:ext uri="{FF2B5EF4-FFF2-40B4-BE49-F238E27FC236}">
                    <a16:creationId xmlns:a16="http://schemas.microsoft.com/office/drawing/2014/main" id="{2E9407D4-6C2F-47D3-9E26-3CF057A230CA}"/>
                  </a:ext>
                </a:extLst>
              </p:cNvPr>
              <p:cNvSpPr>
                <a:spLocks/>
              </p:cNvSpPr>
              <p:nvPr/>
            </p:nvSpPr>
            <p:spPr bwMode="auto">
              <a:xfrm>
                <a:off x="6373" y="1696"/>
                <a:ext cx="23" cy="38"/>
              </a:xfrm>
              <a:custGeom>
                <a:avLst/>
                <a:gdLst>
                  <a:gd name="T0" fmla="*/ 10 w 10"/>
                  <a:gd name="T1" fmla="*/ 0 h 16"/>
                  <a:gd name="T2" fmla="*/ 0 w 10"/>
                  <a:gd name="T3" fmla="*/ 12 h 16"/>
                  <a:gd name="T4" fmla="*/ 8 w 10"/>
                  <a:gd name="T5" fmla="*/ 16 h 16"/>
                  <a:gd name="T6" fmla="*/ 10 w 10"/>
                  <a:gd name="T7" fmla="*/ 0 h 16"/>
                </a:gdLst>
                <a:ahLst/>
                <a:cxnLst>
                  <a:cxn ang="0">
                    <a:pos x="T0" y="T1"/>
                  </a:cxn>
                  <a:cxn ang="0">
                    <a:pos x="T2" y="T3"/>
                  </a:cxn>
                  <a:cxn ang="0">
                    <a:pos x="T4" y="T5"/>
                  </a:cxn>
                  <a:cxn ang="0">
                    <a:pos x="T6" y="T7"/>
                  </a:cxn>
                </a:cxnLst>
                <a:rect l="0" t="0" r="r" b="b"/>
                <a:pathLst>
                  <a:path w="10" h="16">
                    <a:moveTo>
                      <a:pt x="10" y="0"/>
                    </a:moveTo>
                    <a:cubicBezTo>
                      <a:pt x="10" y="0"/>
                      <a:pt x="5" y="7"/>
                      <a:pt x="0" y="12"/>
                    </a:cubicBezTo>
                    <a:cubicBezTo>
                      <a:pt x="0" y="12"/>
                      <a:pt x="3" y="16"/>
                      <a:pt x="8" y="16"/>
                    </a:cubicBezTo>
                    <a:lnTo>
                      <a:pt x="10" y="0"/>
                    </a:lnTo>
                    <a:close/>
                  </a:path>
                </a:pathLst>
              </a:custGeom>
              <a:solidFill>
                <a:srgbClr val="D482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39">
                <a:extLst>
                  <a:ext uri="{FF2B5EF4-FFF2-40B4-BE49-F238E27FC236}">
                    <a16:creationId xmlns:a16="http://schemas.microsoft.com/office/drawing/2014/main" id="{5093D5EF-69A0-46A1-B448-C148AB3F5A03}"/>
                  </a:ext>
                </a:extLst>
              </p:cNvPr>
              <p:cNvSpPr>
                <a:spLocks/>
              </p:cNvSpPr>
              <p:nvPr/>
            </p:nvSpPr>
            <p:spPr bwMode="auto">
              <a:xfrm>
                <a:off x="6439" y="1641"/>
                <a:ext cx="38" cy="19"/>
              </a:xfrm>
              <a:custGeom>
                <a:avLst/>
                <a:gdLst>
                  <a:gd name="T0" fmla="*/ 2 w 16"/>
                  <a:gd name="T1" fmla="*/ 2 h 8"/>
                  <a:gd name="T2" fmla="*/ 2 w 16"/>
                  <a:gd name="T3" fmla="*/ 2 h 8"/>
                  <a:gd name="T4" fmla="*/ 2 w 16"/>
                  <a:gd name="T5" fmla="*/ 2 h 8"/>
                  <a:gd name="T6" fmla="*/ 7 w 16"/>
                  <a:gd name="T7" fmla="*/ 3 h 8"/>
                  <a:gd name="T8" fmla="*/ 13 w 16"/>
                  <a:gd name="T9" fmla="*/ 7 h 8"/>
                  <a:gd name="T10" fmla="*/ 15 w 16"/>
                  <a:gd name="T11" fmla="*/ 7 h 8"/>
                  <a:gd name="T12" fmla="*/ 15 w 16"/>
                  <a:gd name="T13" fmla="*/ 5 h 8"/>
                  <a:gd name="T14" fmla="*/ 8 w 16"/>
                  <a:gd name="T15" fmla="*/ 0 h 8"/>
                  <a:gd name="T16" fmla="*/ 2 w 16"/>
                  <a:gd name="T17" fmla="*/ 0 h 8"/>
                  <a:gd name="T18" fmla="*/ 1 w 16"/>
                  <a:gd name="T19" fmla="*/ 0 h 8"/>
                  <a:gd name="T20" fmla="*/ 0 w 16"/>
                  <a:gd name="T21" fmla="*/ 1 h 8"/>
                  <a:gd name="T22" fmla="*/ 2 w 16"/>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2" y="2"/>
                    </a:moveTo>
                    <a:cubicBezTo>
                      <a:pt x="2" y="2"/>
                      <a:pt x="2" y="2"/>
                      <a:pt x="2" y="2"/>
                    </a:cubicBezTo>
                    <a:cubicBezTo>
                      <a:pt x="2" y="2"/>
                      <a:pt x="2" y="2"/>
                      <a:pt x="2" y="2"/>
                    </a:cubicBezTo>
                    <a:cubicBezTo>
                      <a:pt x="3" y="2"/>
                      <a:pt x="5" y="3"/>
                      <a:pt x="7" y="3"/>
                    </a:cubicBezTo>
                    <a:cubicBezTo>
                      <a:pt x="9" y="4"/>
                      <a:pt x="11" y="5"/>
                      <a:pt x="13" y="7"/>
                    </a:cubicBezTo>
                    <a:cubicBezTo>
                      <a:pt x="13" y="8"/>
                      <a:pt x="14" y="8"/>
                      <a:pt x="15" y="7"/>
                    </a:cubicBezTo>
                    <a:cubicBezTo>
                      <a:pt x="16" y="7"/>
                      <a:pt x="16" y="6"/>
                      <a:pt x="15" y="5"/>
                    </a:cubicBezTo>
                    <a:cubicBezTo>
                      <a:pt x="13" y="3"/>
                      <a:pt x="11" y="1"/>
                      <a:pt x="8" y="0"/>
                    </a:cubicBezTo>
                    <a:cubicBezTo>
                      <a:pt x="6" y="0"/>
                      <a:pt x="3" y="0"/>
                      <a:pt x="2" y="0"/>
                    </a:cubicBezTo>
                    <a:cubicBezTo>
                      <a:pt x="2" y="0"/>
                      <a:pt x="1" y="0"/>
                      <a:pt x="1" y="0"/>
                    </a:cubicBezTo>
                    <a:cubicBezTo>
                      <a:pt x="1" y="0"/>
                      <a:pt x="0" y="0"/>
                      <a:pt x="0" y="1"/>
                    </a:cubicBezTo>
                    <a:cubicBezTo>
                      <a:pt x="0" y="2"/>
                      <a:pt x="1" y="2"/>
                      <a:pt x="2"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0">
                <a:extLst>
                  <a:ext uri="{FF2B5EF4-FFF2-40B4-BE49-F238E27FC236}">
                    <a16:creationId xmlns:a16="http://schemas.microsoft.com/office/drawing/2014/main" id="{F8569BA4-C951-4135-B457-8B281C97EEDA}"/>
                  </a:ext>
                </a:extLst>
              </p:cNvPr>
              <p:cNvSpPr>
                <a:spLocks/>
              </p:cNvSpPr>
              <p:nvPr/>
            </p:nvSpPr>
            <p:spPr bwMode="auto">
              <a:xfrm>
                <a:off x="6358" y="1632"/>
                <a:ext cx="38" cy="14"/>
              </a:xfrm>
              <a:custGeom>
                <a:avLst/>
                <a:gdLst>
                  <a:gd name="T0" fmla="*/ 14 w 16"/>
                  <a:gd name="T1" fmla="*/ 1 h 6"/>
                  <a:gd name="T2" fmla="*/ 10 w 16"/>
                  <a:gd name="T3" fmla="*/ 0 h 6"/>
                  <a:gd name="T4" fmla="*/ 1 w 16"/>
                  <a:gd name="T5" fmla="*/ 3 h 6"/>
                  <a:gd name="T6" fmla="*/ 1 w 16"/>
                  <a:gd name="T7" fmla="*/ 5 h 6"/>
                  <a:gd name="T8" fmla="*/ 3 w 16"/>
                  <a:gd name="T9" fmla="*/ 6 h 6"/>
                  <a:gd name="T10" fmla="*/ 10 w 16"/>
                  <a:gd name="T11" fmla="*/ 3 h 6"/>
                  <a:gd name="T12" fmla="*/ 13 w 16"/>
                  <a:gd name="T13" fmla="*/ 4 h 6"/>
                  <a:gd name="T14" fmla="*/ 13 w 16"/>
                  <a:gd name="T15" fmla="*/ 4 h 6"/>
                  <a:gd name="T16" fmla="*/ 13 w 16"/>
                  <a:gd name="T17" fmla="*/ 4 h 6"/>
                  <a:gd name="T18" fmla="*/ 13 w 16"/>
                  <a:gd name="T19" fmla="*/ 4 h 6"/>
                  <a:gd name="T20" fmla="*/ 14 w 16"/>
                  <a:gd name="T21" fmla="*/ 3 h 6"/>
                  <a:gd name="T22" fmla="*/ 13 w 16"/>
                  <a:gd name="T23" fmla="*/ 4 h 6"/>
                  <a:gd name="T24" fmla="*/ 13 w 16"/>
                  <a:gd name="T25" fmla="*/ 4 h 6"/>
                  <a:gd name="T26" fmla="*/ 14 w 16"/>
                  <a:gd name="T27" fmla="*/ 3 h 6"/>
                  <a:gd name="T28" fmla="*/ 13 w 16"/>
                  <a:gd name="T29" fmla="*/ 4 h 6"/>
                  <a:gd name="T30" fmla="*/ 15 w 16"/>
                  <a:gd name="T31" fmla="*/ 3 h 6"/>
                  <a:gd name="T32" fmla="*/ 14 w 16"/>
                  <a:gd name="T3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6">
                    <a:moveTo>
                      <a:pt x="14" y="1"/>
                    </a:moveTo>
                    <a:cubicBezTo>
                      <a:pt x="14" y="1"/>
                      <a:pt x="13" y="0"/>
                      <a:pt x="10" y="0"/>
                    </a:cubicBezTo>
                    <a:cubicBezTo>
                      <a:pt x="8" y="0"/>
                      <a:pt x="5" y="1"/>
                      <a:pt x="1" y="3"/>
                    </a:cubicBezTo>
                    <a:cubicBezTo>
                      <a:pt x="0" y="3"/>
                      <a:pt x="0" y="4"/>
                      <a:pt x="1" y="5"/>
                    </a:cubicBezTo>
                    <a:cubicBezTo>
                      <a:pt x="1" y="6"/>
                      <a:pt x="2" y="6"/>
                      <a:pt x="3" y="6"/>
                    </a:cubicBezTo>
                    <a:cubicBezTo>
                      <a:pt x="6" y="4"/>
                      <a:pt x="8" y="3"/>
                      <a:pt x="10" y="3"/>
                    </a:cubicBezTo>
                    <a:cubicBezTo>
                      <a:pt x="11" y="3"/>
                      <a:pt x="12" y="4"/>
                      <a:pt x="13" y="4"/>
                    </a:cubicBezTo>
                    <a:cubicBezTo>
                      <a:pt x="13" y="4"/>
                      <a:pt x="13" y="4"/>
                      <a:pt x="13" y="4"/>
                    </a:cubicBezTo>
                    <a:cubicBezTo>
                      <a:pt x="13" y="4"/>
                      <a:pt x="13" y="4"/>
                      <a:pt x="13" y="4"/>
                    </a:cubicBezTo>
                    <a:cubicBezTo>
                      <a:pt x="13" y="4"/>
                      <a:pt x="13" y="4"/>
                      <a:pt x="13" y="4"/>
                    </a:cubicBezTo>
                    <a:cubicBezTo>
                      <a:pt x="14" y="3"/>
                      <a:pt x="14" y="3"/>
                      <a:pt x="14" y="3"/>
                    </a:cubicBezTo>
                    <a:cubicBezTo>
                      <a:pt x="13" y="4"/>
                      <a:pt x="13" y="4"/>
                      <a:pt x="13" y="4"/>
                    </a:cubicBezTo>
                    <a:cubicBezTo>
                      <a:pt x="13" y="4"/>
                      <a:pt x="13" y="4"/>
                      <a:pt x="13" y="4"/>
                    </a:cubicBezTo>
                    <a:cubicBezTo>
                      <a:pt x="14" y="3"/>
                      <a:pt x="14" y="3"/>
                      <a:pt x="14" y="3"/>
                    </a:cubicBezTo>
                    <a:cubicBezTo>
                      <a:pt x="13" y="4"/>
                      <a:pt x="13" y="4"/>
                      <a:pt x="13" y="4"/>
                    </a:cubicBezTo>
                    <a:cubicBezTo>
                      <a:pt x="14" y="4"/>
                      <a:pt x="15" y="4"/>
                      <a:pt x="15" y="3"/>
                    </a:cubicBezTo>
                    <a:cubicBezTo>
                      <a:pt x="16" y="2"/>
                      <a:pt x="15" y="2"/>
                      <a:pt x="1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1">
                <a:extLst>
                  <a:ext uri="{FF2B5EF4-FFF2-40B4-BE49-F238E27FC236}">
                    <a16:creationId xmlns:a16="http://schemas.microsoft.com/office/drawing/2014/main" id="{976D0C1C-2612-41AA-A26A-223773AA5155}"/>
                  </a:ext>
                </a:extLst>
              </p:cNvPr>
              <p:cNvSpPr>
                <a:spLocks/>
              </p:cNvSpPr>
              <p:nvPr/>
            </p:nvSpPr>
            <p:spPr bwMode="auto">
              <a:xfrm>
                <a:off x="6401" y="1751"/>
                <a:ext cx="48" cy="35"/>
              </a:xfrm>
              <a:custGeom>
                <a:avLst/>
                <a:gdLst>
                  <a:gd name="T0" fmla="*/ 0 w 20"/>
                  <a:gd name="T1" fmla="*/ 5 h 15"/>
                  <a:gd name="T2" fmla="*/ 3 w 20"/>
                  <a:gd name="T3" fmla="*/ 15 h 15"/>
                  <a:gd name="T4" fmla="*/ 5 w 20"/>
                  <a:gd name="T5" fmla="*/ 15 h 15"/>
                  <a:gd name="T6" fmla="*/ 19 w 20"/>
                  <a:gd name="T7" fmla="*/ 8 h 15"/>
                  <a:gd name="T8" fmla="*/ 20 w 20"/>
                  <a:gd name="T9" fmla="*/ 3 h 15"/>
                  <a:gd name="T10" fmla="*/ 20 w 20"/>
                  <a:gd name="T11" fmla="*/ 0 h 15"/>
                  <a:gd name="T12" fmla="*/ 3 w 20"/>
                  <a:gd name="T13" fmla="*/ 4 h 15"/>
                  <a:gd name="T14" fmla="*/ 0 w 20"/>
                  <a:gd name="T15" fmla="*/ 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5">
                    <a:moveTo>
                      <a:pt x="0" y="5"/>
                    </a:moveTo>
                    <a:cubicBezTo>
                      <a:pt x="1" y="8"/>
                      <a:pt x="3" y="15"/>
                      <a:pt x="3" y="15"/>
                    </a:cubicBezTo>
                    <a:cubicBezTo>
                      <a:pt x="3" y="15"/>
                      <a:pt x="4" y="15"/>
                      <a:pt x="5" y="15"/>
                    </a:cubicBezTo>
                    <a:cubicBezTo>
                      <a:pt x="13" y="15"/>
                      <a:pt x="17" y="12"/>
                      <a:pt x="19" y="8"/>
                    </a:cubicBezTo>
                    <a:cubicBezTo>
                      <a:pt x="20" y="6"/>
                      <a:pt x="20" y="5"/>
                      <a:pt x="20" y="3"/>
                    </a:cubicBezTo>
                    <a:cubicBezTo>
                      <a:pt x="20" y="1"/>
                      <a:pt x="20" y="0"/>
                      <a:pt x="20" y="0"/>
                    </a:cubicBezTo>
                    <a:cubicBezTo>
                      <a:pt x="15" y="3"/>
                      <a:pt x="7" y="4"/>
                      <a:pt x="3" y="4"/>
                    </a:cubicBezTo>
                    <a:cubicBezTo>
                      <a:pt x="1" y="5"/>
                      <a:pt x="0" y="5"/>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2">
                <a:extLst>
                  <a:ext uri="{FF2B5EF4-FFF2-40B4-BE49-F238E27FC236}">
                    <a16:creationId xmlns:a16="http://schemas.microsoft.com/office/drawing/2014/main" id="{73EC616B-0685-4983-8F07-8EBC1C1D0E5E}"/>
                  </a:ext>
                </a:extLst>
              </p:cNvPr>
              <p:cNvSpPr>
                <a:spLocks/>
              </p:cNvSpPr>
              <p:nvPr/>
            </p:nvSpPr>
            <p:spPr bwMode="auto">
              <a:xfrm>
                <a:off x="6408" y="1751"/>
                <a:ext cx="41" cy="16"/>
              </a:xfrm>
              <a:custGeom>
                <a:avLst/>
                <a:gdLst>
                  <a:gd name="T0" fmla="*/ 0 w 17"/>
                  <a:gd name="T1" fmla="*/ 4 h 7"/>
                  <a:gd name="T2" fmla="*/ 1 w 17"/>
                  <a:gd name="T3" fmla="*/ 7 h 7"/>
                  <a:gd name="T4" fmla="*/ 17 w 17"/>
                  <a:gd name="T5" fmla="*/ 3 h 7"/>
                  <a:gd name="T6" fmla="*/ 17 w 17"/>
                  <a:gd name="T7" fmla="*/ 0 h 7"/>
                  <a:gd name="T8" fmla="*/ 0 w 17"/>
                  <a:gd name="T9" fmla="*/ 4 h 7"/>
                </a:gdLst>
                <a:ahLst/>
                <a:cxnLst>
                  <a:cxn ang="0">
                    <a:pos x="T0" y="T1"/>
                  </a:cxn>
                  <a:cxn ang="0">
                    <a:pos x="T2" y="T3"/>
                  </a:cxn>
                  <a:cxn ang="0">
                    <a:pos x="T4" y="T5"/>
                  </a:cxn>
                  <a:cxn ang="0">
                    <a:pos x="T6" y="T7"/>
                  </a:cxn>
                  <a:cxn ang="0">
                    <a:pos x="T8" y="T9"/>
                  </a:cxn>
                </a:cxnLst>
                <a:rect l="0" t="0" r="r" b="b"/>
                <a:pathLst>
                  <a:path w="17" h="7">
                    <a:moveTo>
                      <a:pt x="0" y="4"/>
                    </a:moveTo>
                    <a:cubicBezTo>
                      <a:pt x="1" y="7"/>
                      <a:pt x="1" y="7"/>
                      <a:pt x="1" y="7"/>
                    </a:cubicBezTo>
                    <a:cubicBezTo>
                      <a:pt x="9" y="7"/>
                      <a:pt x="15" y="6"/>
                      <a:pt x="17" y="3"/>
                    </a:cubicBezTo>
                    <a:cubicBezTo>
                      <a:pt x="17" y="1"/>
                      <a:pt x="17" y="0"/>
                      <a:pt x="17" y="0"/>
                    </a:cubicBezTo>
                    <a:cubicBezTo>
                      <a:pt x="12" y="3"/>
                      <a:pt x="4" y="4"/>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43">
                <a:extLst>
                  <a:ext uri="{FF2B5EF4-FFF2-40B4-BE49-F238E27FC236}">
                    <a16:creationId xmlns:a16="http://schemas.microsoft.com/office/drawing/2014/main" id="{5BDBEE61-3B92-477B-AD77-2D1ED5DF9302}"/>
                  </a:ext>
                </a:extLst>
              </p:cNvPr>
              <p:cNvSpPr>
                <a:spLocks/>
              </p:cNvSpPr>
              <p:nvPr/>
            </p:nvSpPr>
            <p:spPr bwMode="auto">
              <a:xfrm>
                <a:off x="6413" y="1770"/>
                <a:ext cx="33" cy="16"/>
              </a:xfrm>
              <a:custGeom>
                <a:avLst/>
                <a:gdLst>
                  <a:gd name="T0" fmla="*/ 0 w 14"/>
                  <a:gd name="T1" fmla="*/ 7 h 7"/>
                  <a:gd name="T2" fmla="*/ 14 w 14"/>
                  <a:gd name="T3" fmla="*/ 0 h 7"/>
                  <a:gd name="T4" fmla="*/ 4 w 14"/>
                  <a:gd name="T5" fmla="*/ 3 h 7"/>
                  <a:gd name="T6" fmla="*/ 0 w 14"/>
                  <a:gd name="T7" fmla="*/ 7 h 7"/>
                </a:gdLst>
                <a:ahLst/>
                <a:cxnLst>
                  <a:cxn ang="0">
                    <a:pos x="T0" y="T1"/>
                  </a:cxn>
                  <a:cxn ang="0">
                    <a:pos x="T2" y="T3"/>
                  </a:cxn>
                  <a:cxn ang="0">
                    <a:pos x="T4" y="T5"/>
                  </a:cxn>
                  <a:cxn ang="0">
                    <a:pos x="T6" y="T7"/>
                  </a:cxn>
                </a:cxnLst>
                <a:rect l="0" t="0" r="r" b="b"/>
                <a:pathLst>
                  <a:path w="14" h="7">
                    <a:moveTo>
                      <a:pt x="0" y="7"/>
                    </a:moveTo>
                    <a:cubicBezTo>
                      <a:pt x="8" y="7"/>
                      <a:pt x="12" y="4"/>
                      <a:pt x="14" y="0"/>
                    </a:cubicBezTo>
                    <a:cubicBezTo>
                      <a:pt x="11" y="0"/>
                      <a:pt x="7" y="1"/>
                      <a:pt x="4" y="3"/>
                    </a:cubicBezTo>
                    <a:cubicBezTo>
                      <a:pt x="2" y="4"/>
                      <a:pt x="0" y="5"/>
                      <a:pt x="0" y="7"/>
                    </a:cubicBezTo>
                    <a:close/>
                  </a:path>
                </a:pathLst>
              </a:custGeom>
              <a:solidFill>
                <a:srgbClr val="DE5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44">
                <a:extLst>
                  <a:ext uri="{FF2B5EF4-FFF2-40B4-BE49-F238E27FC236}">
                    <a16:creationId xmlns:a16="http://schemas.microsoft.com/office/drawing/2014/main" id="{DD9E84C9-77E7-4EA6-96B9-019FA424C128}"/>
                  </a:ext>
                </a:extLst>
              </p:cNvPr>
              <p:cNvSpPr>
                <a:spLocks/>
              </p:cNvSpPr>
              <p:nvPr/>
            </p:nvSpPr>
            <p:spPr bwMode="auto">
              <a:xfrm>
                <a:off x="6344" y="1546"/>
                <a:ext cx="242" cy="250"/>
              </a:xfrm>
              <a:custGeom>
                <a:avLst/>
                <a:gdLst>
                  <a:gd name="T0" fmla="*/ 76 w 102"/>
                  <a:gd name="T1" fmla="*/ 71 h 105"/>
                  <a:gd name="T2" fmla="*/ 67 w 102"/>
                  <a:gd name="T3" fmla="*/ 27 h 105"/>
                  <a:gd name="T4" fmla="*/ 3 w 102"/>
                  <a:gd name="T5" fmla="*/ 60 h 105"/>
                  <a:gd name="T6" fmla="*/ 51 w 102"/>
                  <a:gd name="T7" fmla="*/ 8 h 105"/>
                  <a:gd name="T8" fmla="*/ 71 w 102"/>
                  <a:gd name="T9" fmla="*/ 105 h 105"/>
                  <a:gd name="T10" fmla="*/ 76 w 102"/>
                  <a:gd name="T11" fmla="*/ 71 h 105"/>
                </a:gdLst>
                <a:ahLst/>
                <a:cxnLst>
                  <a:cxn ang="0">
                    <a:pos x="T0" y="T1"/>
                  </a:cxn>
                  <a:cxn ang="0">
                    <a:pos x="T2" y="T3"/>
                  </a:cxn>
                  <a:cxn ang="0">
                    <a:pos x="T4" y="T5"/>
                  </a:cxn>
                  <a:cxn ang="0">
                    <a:pos x="T6" y="T7"/>
                  </a:cxn>
                  <a:cxn ang="0">
                    <a:pos x="T8" y="T9"/>
                  </a:cxn>
                  <a:cxn ang="0">
                    <a:pos x="T10" y="T11"/>
                  </a:cxn>
                </a:cxnLst>
                <a:rect l="0" t="0" r="r" b="b"/>
                <a:pathLst>
                  <a:path w="102" h="105">
                    <a:moveTo>
                      <a:pt x="76" y="71"/>
                    </a:moveTo>
                    <a:cubicBezTo>
                      <a:pt x="76" y="71"/>
                      <a:pt x="64" y="46"/>
                      <a:pt x="67" y="27"/>
                    </a:cubicBezTo>
                    <a:cubicBezTo>
                      <a:pt x="67" y="27"/>
                      <a:pt x="9" y="0"/>
                      <a:pt x="3" y="60"/>
                    </a:cubicBezTo>
                    <a:cubicBezTo>
                      <a:pt x="3" y="60"/>
                      <a:pt x="0" y="6"/>
                      <a:pt x="51" y="8"/>
                    </a:cubicBezTo>
                    <a:cubicBezTo>
                      <a:pt x="102" y="9"/>
                      <a:pt x="98" y="84"/>
                      <a:pt x="71" y="105"/>
                    </a:cubicBezTo>
                    <a:cubicBezTo>
                      <a:pt x="71" y="105"/>
                      <a:pt x="84" y="87"/>
                      <a:pt x="76" y="7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45">
                <a:extLst>
                  <a:ext uri="{FF2B5EF4-FFF2-40B4-BE49-F238E27FC236}">
                    <a16:creationId xmlns:a16="http://schemas.microsoft.com/office/drawing/2014/main" id="{C29133E7-5728-4BB0-AC32-AC04051AF5FD}"/>
                  </a:ext>
                </a:extLst>
              </p:cNvPr>
              <p:cNvSpPr>
                <a:spLocks/>
              </p:cNvSpPr>
              <p:nvPr/>
            </p:nvSpPr>
            <p:spPr bwMode="auto">
              <a:xfrm>
                <a:off x="6510" y="1701"/>
                <a:ext cx="67" cy="59"/>
              </a:xfrm>
              <a:custGeom>
                <a:avLst/>
                <a:gdLst>
                  <a:gd name="T0" fmla="*/ 1 w 28"/>
                  <a:gd name="T1" fmla="*/ 12 h 25"/>
                  <a:gd name="T2" fmla="*/ 16 w 28"/>
                  <a:gd name="T3" fmla="*/ 1 h 25"/>
                  <a:gd name="T4" fmla="*/ 5 w 28"/>
                  <a:gd name="T5" fmla="*/ 25 h 25"/>
                  <a:gd name="T6" fmla="*/ 1 w 28"/>
                  <a:gd name="T7" fmla="*/ 12 h 25"/>
                </a:gdLst>
                <a:ahLst/>
                <a:cxnLst>
                  <a:cxn ang="0">
                    <a:pos x="T0" y="T1"/>
                  </a:cxn>
                  <a:cxn ang="0">
                    <a:pos x="T2" y="T3"/>
                  </a:cxn>
                  <a:cxn ang="0">
                    <a:pos x="T4" y="T5"/>
                  </a:cxn>
                  <a:cxn ang="0">
                    <a:pos x="T6" y="T7"/>
                  </a:cxn>
                </a:cxnLst>
                <a:rect l="0" t="0" r="r" b="b"/>
                <a:pathLst>
                  <a:path w="28" h="25">
                    <a:moveTo>
                      <a:pt x="1" y="12"/>
                    </a:moveTo>
                    <a:cubicBezTo>
                      <a:pt x="1" y="7"/>
                      <a:pt x="7" y="0"/>
                      <a:pt x="16" y="1"/>
                    </a:cubicBezTo>
                    <a:cubicBezTo>
                      <a:pt x="25" y="3"/>
                      <a:pt x="28" y="22"/>
                      <a:pt x="5" y="25"/>
                    </a:cubicBezTo>
                    <a:cubicBezTo>
                      <a:pt x="2" y="25"/>
                      <a:pt x="0" y="22"/>
                      <a:pt x="1" y="12"/>
                    </a:cubicBezTo>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46">
                <a:extLst>
                  <a:ext uri="{FF2B5EF4-FFF2-40B4-BE49-F238E27FC236}">
                    <a16:creationId xmlns:a16="http://schemas.microsoft.com/office/drawing/2014/main" id="{D5D11937-7BF2-4451-9209-CC9F5FB85F9E}"/>
                  </a:ext>
                </a:extLst>
              </p:cNvPr>
              <p:cNvSpPr>
                <a:spLocks/>
              </p:cNvSpPr>
              <p:nvPr/>
            </p:nvSpPr>
            <p:spPr bwMode="auto">
              <a:xfrm>
                <a:off x="6425" y="1677"/>
                <a:ext cx="31" cy="17"/>
              </a:xfrm>
              <a:custGeom>
                <a:avLst/>
                <a:gdLst>
                  <a:gd name="T0" fmla="*/ 0 w 13"/>
                  <a:gd name="T1" fmla="*/ 7 h 7"/>
                  <a:gd name="T2" fmla="*/ 13 w 13"/>
                  <a:gd name="T3" fmla="*/ 6 h 7"/>
                  <a:gd name="T4" fmla="*/ 0 w 13"/>
                  <a:gd name="T5" fmla="*/ 7 h 7"/>
                </a:gdLst>
                <a:ahLst/>
                <a:cxnLst>
                  <a:cxn ang="0">
                    <a:pos x="T0" y="T1"/>
                  </a:cxn>
                  <a:cxn ang="0">
                    <a:pos x="T2" y="T3"/>
                  </a:cxn>
                  <a:cxn ang="0">
                    <a:pos x="T4" y="T5"/>
                  </a:cxn>
                </a:cxnLst>
                <a:rect l="0" t="0" r="r" b="b"/>
                <a:pathLst>
                  <a:path w="13" h="7">
                    <a:moveTo>
                      <a:pt x="0" y="7"/>
                    </a:moveTo>
                    <a:cubicBezTo>
                      <a:pt x="0" y="7"/>
                      <a:pt x="7" y="0"/>
                      <a:pt x="13" y="6"/>
                    </a:cubicBezTo>
                    <a:cubicBezTo>
                      <a:pt x="13" y="6"/>
                      <a:pt x="4" y="7"/>
                      <a:pt x="0"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47">
                <a:extLst>
                  <a:ext uri="{FF2B5EF4-FFF2-40B4-BE49-F238E27FC236}">
                    <a16:creationId xmlns:a16="http://schemas.microsoft.com/office/drawing/2014/main" id="{B7C551A4-92A9-447F-AC9C-4DEDA78D4D44}"/>
                  </a:ext>
                </a:extLst>
              </p:cNvPr>
              <p:cNvSpPr>
                <a:spLocks/>
              </p:cNvSpPr>
              <p:nvPr/>
            </p:nvSpPr>
            <p:spPr bwMode="auto">
              <a:xfrm>
                <a:off x="6361" y="1675"/>
                <a:ext cx="31" cy="16"/>
              </a:xfrm>
              <a:custGeom>
                <a:avLst/>
                <a:gdLst>
                  <a:gd name="T0" fmla="*/ 13 w 13"/>
                  <a:gd name="T1" fmla="*/ 7 h 7"/>
                  <a:gd name="T2" fmla="*/ 0 w 13"/>
                  <a:gd name="T3" fmla="*/ 5 h 7"/>
                  <a:gd name="T4" fmla="*/ 13 w 13"/>
                  <a:gd name="T5" fmla="*/ 7 h 7"/>
                </a:gdLst>
                <a:ahLst/>
                <a:cxnLst>
                  <a:cxn ang="0">
                    <a:pos x="T0" y="T1"/>
                  </a:cxn>
                  <a:cxn ang="0">
                    <a:pos x="T2" y="T3"/>
                  </a:cxn>
                  <a:cxn ang="0">
                    <a:pos x="T4" y="T5"/>
                  </a:cxn>
                </a:cxnLst>
                <a:rect l="0" t="0" r="r" b="b"/>
                <a:pathLst>
                  <a:path w="13" h="7">
                    <a:moveTo>
                      <a:pt x="13" y="7"/>
                    </a:moveTo>
                    <a:cubicBezTo>
                      <a:pt x="13" y="7"/>
                      <a:pt x="6" y="0"/>
                      <a:pt x="0" y="5"/>
                    </a:cubicBezTo>
                    <a:cubicBezTo>
                      <a:pt x="0" y="5"/>
                      <a:pt x="9" y="7"/>
                      <a:pt x="13"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48">
                <a:extLst>
                  <a:ext uri="{FF2B5EF4-FFF2-40B4-BE49-F238E27FC236}">
                    <a16:creationId xmlns:a16="http://schemas.microsoft.com/office/drawing/2014/main" id="{C992B447-919D-42EE-BDBA-7877FD5FC11F}"/>
                  </a:ext>
                </a:extLst>
              </p:cNvPr>
              <p:cNvSpPr>
                <a:spLocks/>
              </p:cNvSpPr>
              <p:nvPr/>
            </p:nvSpPr>
            <p:spPr bwMode="auto">
              <a:xfrm>
                <a:off x="6308" y="1867"/>
                <a:ext cx="252" cy="119"/>
              </a:xfrm>
              <a:custGeom>
                <a:avLst/>
                <a:gdLst>
                  <a:gd name="T0" fmla="*/ 106 w 106"/>
                  <a:gd name="T1" fmla="*/ 23 h 50"/>
                  <a:gd name="T2" fmla="*/ 42 w 106"/>
                  <a:gd name="T3" fmla="*/ 50 h 50"/>
                  <a:gd name="T4" fmla="*/ 0 w 106"/>
                  <a:gd name="T5" fmla="*/ 14 h 50"/>
                  <a:gd name="T6" fmla="*/ 106 w 106"/>
                  <a:gd name="T7" fmla="*/ 23 h 50"/>
                </a:gdLst>
                <a:ahLst/>
                <a:cxnLst>
                  <a:cxn ang="0">
                    <a:pos x="T0" y="T1"/>
                  </a:cxn>
                  <a:cxn ang="0">
                    <a:pos x="T2" y="T3"/>
                  </a:cxn>
                  <a:cxn ang="0">
                    <a:pos x="T4" y="T5"/>
                  </a:cxn>
                  <a:cxn ang="0">
                    <a:pos x="T6" y="T7"/>
                  </a:cxn>
                </a:cxnLst>
                <a:rect l="0" t="0" r="r" b="b"/>
                <a:pathLst>
                  <a:path w="106" h="50">
                    <a:moveTo>
                      <a:pt x="106" y="23"/>
                    </a:moveTo>
                    <a:cubicBezTo>
                      <a:pt x="106" y="23"/>
                      <a:pt x="73" y="50"/>
                      <a:pt x="42" y="50"/>
                    </a:cubicBezTo>
                    <a:cubicBezTo>
                      <a:pt x="11" y="49"/>
                      <a:pt x="0" y="14"/>
                      <a:pt x="0" y="14"/>
                    </a:cubicBezTo>
                    <a:cubicBezTo>
                      <a:pt x="0" y="14"/>
                      <a:pt x="48" y="0"/>
                      <a:pt x="106" y="23"/>
                    </a:cubicBezTo>
                    <a:close/>
                  </a:path>
                </a:pathLst>
              </a:custGeom>
              <a:solidFill>
                <a:srgbClr val="EEC1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49">
                <a:extLst>
                  <a:ext uri="{FF2B5EF4-FFF2-40B4-BE49-F238E27FC236}">
                    <a16:creationId xmlns:a16="http://schemas.microsoft.com/office/drawing/2014/main" id="{E1BE2288-E2CA-4CC3-AFAA-1036CB5FCA7F}"/>
                  </a:ext>
                </a:extLst>
              </p:cNvPr>
              <p:cNvSpPr>
                <a:spLocks/>
              </p:cNvSpPr>
              <p:nvPr/>
            </p:nvSpPr>
            <p:spPr bwMode="auto">
              <a:xfrm>
                <a:off x="6508" y="1910"/>
                <a:ext cx="116" cy="133"/>
              </a:xfrm>
              <a:custGeom>
                <a:avLst/>
                <a:gdLst>
                  <a:gd name="T0" fmla="*/ 39 w 49"/>
                  <a:gd name="T1" fmla="*/ 56 h 56"/>
                  <a:gd name="T2" fmla="*/ 49 w 49"/>
                  <a:gd name="T3" fmla="*/ 9 h 56"/>
                  <a:gd name="T4" fmla="*/ 19 w 49"/>
                  <a:gd name="T5" fmla="*/ 0 h 56"/>
                  <a:gd name="T6" fmla="*/ 0 w 49"/>
                  <a:gd name="T7" fmla="*/ 56 h 56"/>
                  <a:gd name="T8" fmla="*/ 39 w 49"/>
                  <a:gd name="T9" fmla="*/ 56 h 56"/>
                </a:gdLst>
                <a:ahLst/>
                <a:cxnLst>
                  <a:cxn ang="0">
                    <a:pos x="T0" y="T1"/>
                  </a:cxn>
                  <a:cxn ang="0">
                    <a:pos x="T2" y="T3"/>
                  </a:cxn>
                  <a:cxn ang="0">
                    <a:pos x="T4" y="T5"/>
                  </a:cxn>
                  <a:cxn ang="0">
                    <a:pos x="T6" y="T7"/>
                  </a:cxn>
                  <a:cxn ang="0">
                    <a:pos x="T8" y="T9"/>
                  </a:cxn>
                </a:cxnLst>
                <a:rect l="0" t="0" r="r" b="b"/>
                <a:pathLst>
                  <a:path w="49" h="56">
                    <a:moveTo>
                      <a:pt x="39" y="56"/>
                    </a:moveTo>
                    <a:cubicBezTo>
                      <a:pt x="42" y="40"/>
                      <a:pt x="45" y="24"/>
                      <a:pt x="49" y="9"/>
                    </a:cubicBezTo>
                    <a:cubicBezTo>
                      <a:pt x="19" y="0"/>
                      <a:pt x="19" y="0"/>
                      <a:pt x="19" y="0"/>
                    </a:cubicBezTo>
                    <a:cubicBezTo>
                      <a:pt x="19" y="0"/>
                      <a:pt x="7" y="23"/>
                      <a:pt x="0" y="56"/>
                    </a:cubicBezTo>
                    <a:lnTo>
                      <a:pt x="39"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50">
                <a:extLst>
                  <a:ext uri="{FF2B5EF4-FFF2-40B4-BE49-F238E27FC236}">
                    <a16:creationId xmlns:a16="http://schemas.microsoft.com/office/drawing/2014/main" id="{B97C3BED-6CC3-489F-94B0-195D7D27605D}"/>
                  </a:ext>
                </a:extLst>
              </p:cNvPr>
              <p:cNvSpPr>
                <a:spLocks/>
              </p:cNvSpPr>
              <p:nvPr/>
            </p:nvSpPr>
            <p:spPr bwMode="auto">
              <a:xfrm>
                <a:off x="6232" y="1891"/>
                <a:ext cx="84" cy="152"/>
              </a:xfrm>
              <a:custGeom>
                <a:avLst/>
                <a:gdLst>
                  <a:gd name="T0" fmla="*/ 31 w 35"/>
                  <a:gd name="T1" fmla="*/ 64 h 64"/>
                  <a:gd name="T2" fmla="*/ 35 w 35"/>
                  <a:gd name="T3" fmla="*/ 0 h 64"/>
                  <a:gd name="T4" fmla="*/ 11 w 35"/>
                  <a:gd name="T5" fmla="*/ 3 h 64"/>
                  <a:gd name="T6" fmla="*/ 0 w 35"/>
                  <a:gd name="T7" fmla="*/ 64 h 64"/>
                  <a:gd name="T8" fmla="*/ 31 w 35"/>
                  <a:gd name="T9" fmla="*/ 64 h 64"/>
                </a:gdLst>
                <a:ahLst/>
                <a:cxnLst>
                  <a:cxn ang="0">
                    <a:pos x="T0" y="T1"/>
                  </a:cxn>
                  <a:cxn ang="0">
                    <a:pos x="T2" y="T3"/>
                  </a:cxn>
                  <a:cxn ang="0">
                    <a:pos x="T4" y="T5"/>
                  </a:cxn>
                  <a:cxn ang="0">
                    <a:pos x="T6" y="T7"/>
                  </a:cxn>
                  <a:cxn ang="0">
                    <a:pos x="T8" y="T9"/>
                  </a:cxn>
                </a:cxnLst>
                <a:rect l="0" t="0" r="r" b="b"/>
                <a:pathLst>
                  <a:path w="35" h="64">
                    <a:moveTo>
                      <a:pt x="31" y="64"/>
                    </a:moveTo>
                    <a:cubicBezTo>
                      <a:pt x="35" y="34"/>
                      <a:pt x="35" y="0"/>
                      <a:pt x="35" y="0"/>
                    </a:cubicBezTo>
                    <a:cubicBezTo>
                      <a:pt x="11" y="3"/>
                      <a:pt x="11" y="3"/>
                      <a:pt x="11" y="3"/>
                    </a:cubicBezTo>
                    <a:cubicBezTo>
                      <a:pt x="5" y="19"/>
                      <a:pt x="2" y="41"/>
                      <a:pt x="0" y="64"/>
                    </a:cubicBezTo>
                    <a:lnTo>
                      <a:pt x="31"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51">
                <a:extLst>
                  <a:ext uri="{FF2B5EF4-FFF2-40B4-BE49-F238E27FC236}">
                    <a16:creationId xmlns:a16="http://schemas.microsoft.com/office/drawing/2014/main" id="{98C78580-F081-4A82-90D5-CB75006A076D}"/>
                  </a:ext>
                </a:extLst>
              </p:cNvPr>
              <p:cNvSpPr>
                <a:spLocks/>
              </p:cNvSpPr>
              <p:nvPr/>
            </p:nvSpPr>
            <p:spPr bwMode="auto">
              <a:xfrm>
                <a:off x="6342" y="1570"/>
                <a:ext cx="171" cy="83"/>
              </a:xfrm>
              <a:custGeom>
                <a:avLst/>
                <a:gdLst>
                  <a:gd name="T0" fmla="*/ 35 w 72"/>
                  <a:gd name="T1" fmla="*/ 2 h 35"/>
                  <a:gd name="T2" fmla="*/ 0 w 72"/>
                  <a:gd name="T3" fmla="*/ 32 h 35"/>
                  <a:gd name="T4" fmla="*/ 28 w 72"/>
                  <a:gd name="T5" fmla="*/ 26 h 35"/>
                  <a:gd name="T6" fmla="*/ 35 w 72"/>
                  <a:gd name="T7" fmla="*/ 15 h 35"/>
                  <a:gd name="T8" fmla="*/ 31 w 72"/>
                  <a:gd name="T9" fmla="*/ 27 h 35"/>
                  <a:gd name="T10" fmla="*/ 47 w 72"/>
                  <a:gd name="T11" fmla="*/ 30 h 35"/>
                  <a:gd name="T12" fmla="*/ 53 w 72"/>
                  <a:gd name="T13" fmla="*/ 21 h 35"/>
                  <a:gd name="T14" fmla="*/ 51 w 72"/>
                  <a:gd name="T15" fmla="*/ 31 h 35"/>
                  <a:gd name="T16" fmla="*/ 63 w 72"/>
                  <a:gd name="T17" fmla="*/ 35 h 35"/>
                  <a:gd name="T18" fmla="*/ 72 w 72"/>
                  <a:gd name="T19" fmla="*/ 14 h 35"/>
                  <a:gd name="T20" fmla="*/ 35 w 72"/>
                  <a:gd name="T2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5">
                    <a:moveTo>
                      <a:pt x="35" y="2"/>
                    </a:moveTo>
                    <a:cubicBezTo>
                      <a:pt x="6" y="5"/>
                      <a:pt x="0" y="32"/>
                      <a:pt x="0" y="32"/>
                    </a:cubicBezTo>
                    <a:cubicBezTo>
                      <a:pt x="8" y="27"/>
                      <a:pt x="18" y="26"/>
                      <a:pt x="28" y="26"/>
                    </a:cubicBezTo>
                    <a:cubicBezTo>
                      <a:pt x="31" y="21"/>
                      <a:pt x="35" y="15"/>
                      <a:pt x="35" y="15"/>
                    </a:cubicBezTo>
                    <a:cubicBezTo>
                      <a:pt x="33" y="18"/>
                      <a:pt x="32" y="23"/>
                      <a:pt x="31" y="27"/>
                    </a:cubicBezTo>
                    <a:cubicBezTo>
                      <a:pt x="37" y="27"/>
                      <a:pt x="43" y="28"/>
                      <a:pt x="47" y="30"/>
                    </a:cubicBezTo>
                    <a:cubicBezTo>
                      <a:pt x="50" y="25"/>
                      <a:pt x="53" y="21"/>
                      <a:pt x="53" y="21"/>
                    </a:cubicBezTo>
                    <a:cubicBezTo>
                      <a:pt x="52" y="24"/>
                      <a:pt x="51" y="28"/>
                      <a:pt x="51" y="31"/>
                    </a:cubicBezTo>
                    <a:cubicBezTo>
                      <a:pt x="58" y="33"/>
                      <a:pt x="63" y="35"/>
                      <a:pt x="63" y="35"/>
                    </a:cubicBezTo>
                    <a:cubicBezTo>
                      <a:pt x="64" y="25"/>
                      <a:pt x="72" y="14"/>
                      <a:pt x="72" y="14"/>
                    </a:cubicBezTo>
                    <a:cubicBezTo>
                      <a:pt x="72" y="14"/>
                      <a:pt x="64" y="0"/>
                      <a:pt x="35"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52">
                <a:extLst>
                  <a:ext uri="{FF2B5EF4-FFF2-40B4-BE49-F238E27FC236}">
                    <a16:creationId xmlns:a16="http://schemas.microsoft.com/office/drawing/2014/main" id="{D2D1306B-C29C-4461-BC66-9CBF3D1EB5B3}"/>
                  </a:ext>
                </a:extLst>
              </p:cNvPr>
              <p:cNvSpPr>
                <a:spLocks/>
              </p:cNvSpPr>
              <p:nvPr/>
            </p:nvSpPr>
            <p:spPr bwMode="auto">
              <a:xfrm>
                <a:off x="6522" y="1708"/>
                <a:ext cx="26" cy="45"/>
              </a:xfrm>
              <a:custGeom>
                <a:avLst/>
                <a:gdLst>
                  <a:gd name="T0" fmla="*/ 1 w 11"/>
                  <a:gd name="T1" fmla="*/ 17 h 19"/>
                  <a:gd name="T2" fmla="*/ 1 w 11"/>
                  <a:gd name="T3" fmla="*/ 17 h 19"/>
                  <a:gd name="T4" fmla="*/ 0 w 11"/>
                  <a:gd name="T5" fmla="*/ 12 h 19"/>
                  <a:gd name="T6" fmla="*/ 10 w 11"/>
                  <a:gd name="T7" fmla="*/ 5 h 19"/>
                  <a:gd name="T8" fmla="*/ 11 w 11"/>
                  <a:gd name="T9" fmla="*/ 10 h 19"/>
                  <a:gd name="T10" fmla="*/ 9 w 11"/>
                  <a:gd name="T11" fmla="*/ 16 h 19"/>
                  <a:gd name="T12" fmla="*/ 5 w 11"/>
                  <a:gd name="T13" fmla="*/ 19 h 19"/>
                  <a:gd name="T14" fmla="*/ 1 w 11"/>
                  <a:gd name="T15" fmla="*/ 17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9">
                    <a:moveTo>
                      <a:pt x="1" y="17"/>
                    </a:moveTo>
                    <a:cubicBezTo>
                      <a:pt x="1" y="17"/>
                      <a:pt x="1" y="17"/>
                      <a:pt x="1" y="17"/>
                    </a:cubicBezTo>
                    <a:cubicBezTo>
                      <a:pt x="0" y="16"/>
                      <a:pt x="0" y="14"/>
                      <a:pt x="0" y="12"/>
                    </a:cubicBezTo>
                    <a:cubicBezTo>
                      <a:pt x="1" y="9"/>
                      <a:pt x="6" y="0"/>
                      <a:pt x="10" y="5"/>
                    </a:cubicBezTo>
                    <a:cubicBezTo>
                      <a:pt x="11" y="6"/>
                      <a:pt x="11" y="8"/>
                      <a:pt x="11" y="10"/>
                    </a:cubicBezTo>
                    <a:cubicBezTo>
                      <a:pt x="11" y="12"/>
                      <a:pt x="11" y="14"/>
                      <a:pt x="9" y="16"/>
                    </a:cubicBezTo>
                    <a:cubicBezTo>
                      <a:pt x="9" y="18"/>
                      <a:pt x="7" y="19"/>
                      <a:pt x="5" y="19"/>
                    </a:cubicBezTo>
                    <a:cubicBezTo>
                      <a:pt x="4" y="19"/>
                      <a:pt x="2" y="19"/>
                      <a:pt x="1" y="17"/>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53">
                <a:extLst>
                  <a:ext uri="{FF2B5EF4-FFF2-40B4-BE49-F238E27FC236}">
                    <a16:creationId xmlns:a16="http://schemas.microsoft.com/office/drawing/2014/main" id="{6F46A79C-C109-4731-BCD1-F2BC5B9D2264}"/>
                  </a:ext>
                </a:extLst>
              </p:cNvPr>
              <p:cNvSpPr>
                <a:spLocks/>
              </p:cNvSpPr>
              <p:nvPr/>
            </p:nvSpPr>
            <p:spPr bwMode="auto">
              <a:xfrm>
                <a:off x="6522" y="1717"/>
                <a:ext cx="26" cy="36"/>
              </a:xfrm>
              <a:custGeom>
                <a:avLst/>
                <a:gdLst>
                  <a:gd name="T0" fmla="*/ 7 w 11"/>
                  <a:gd name="T1" fmla="*/ 0 h 15"/>
                  <a:gd name="T2" fmla="*/ 0 w 11"/>
                  <a:gd name="T3" fmla="*/ 8 h 15"/>
                  <a:gd name="T4" fmla="*/ 0 w 11"/>
                  <a:gd name="T5" fmla="*/ 9 h 15"/>
                  <a:gd name="T6" fmla="*/ 1 w 11"/>
                  <a:gd name="T7" fmla="*/ 13 h 15"/>
                  <a:gd name="T8" fmla="*/ 1 w 11"/>
                  <a:gd name="T9" fmla="*/ 13 h 15"/>
                  <a:gd name="T10" fmla="*/ 5 w 11"/>
                  <a:gd name="T11" fmla="*/ 15 h 15"/>
                  <a:gd name="T12" fmla="*/ 5 w 11"/>
                  <a:gd name="T13" fmla="*/ 15 h 15"/>
                  <a:gd name="T14" fmla="*/ 9 w 11"/>
                  <a:gd name="T15" fmla="*/ 12 h 15"/>
                  <a:gd name="T16" fmla="*/ 11 w 11"/>
                  <a:gd name="T17" fmla="*/ 6 h 15"/>
                  <a:gd name="T18" fmla="*/ 11 w 11"/>
                  <a:gd name="T19" fmla="*/ 5 h 15"/>
                  <a:gd name="T20" fmla="*/ 10 w 11"/>
                  <a:gd name="T21" fmla="*/ 1 h 15"/>
                  <a:gd name="T22" fmla="*/ 7 w 1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5">
                    <a:moveTo>
                      <a:pt x="7" y="0"/>
                    </a:moveTo>
                    <a:cubicBezTo>
                      <a:pt x="4" y="0"/>
                      <a:pt x="1" y="6"/>
                      <a:pt x="0" y="8"/>
                    </a:cubicBezTo>
                    <a:cubicBezTo>
                      <a:pt x="0" y="9"/>
                      <a:pt x="0" y="9"/>
                      <a:pt x="0" y="9"/>
                    </a:cubicBezTo>
                    <a:cubicBezTo>
                      <a:pt x="0" y="11"/>
                      <a:pt x="1" y="12"/>
                      <a:pt x="1" y="13"/>
                    </a:cubicBezTo>
                    <a:cubicBezTo>
                      <a:pt x="1" y="13"/>
                      <a:pt x="1" y="13"/>
                      <a:pt x="1" y="13"/>
                    </a:cubicBezTo>
                    <a:cubicBezTo>
                      <a:pt x="2" y="15"/>
                      <a:pt x="4" y="15"/>
                      <a:pt x="5" y="15"/>
                    </a:cubicBezTo>
                    <a:cubicBezTo>
                      <a:pt x="5" y="15"/>
                      <a:pt x="5" y="15"/>
                      <a:pt x="5" y="15"/>
                    </a:cubicBezTo>
                    <a:cubicBezTo>
                      <a:pt x="7" y="15"/>
                      <a:pt x="9" y="14"/>
                      <a:pt x="9" y="12"/>
                    </a:cubicBezTo>
                    <a:cubicBezTo>
                      <a:pt x="11" y="10"/>
                      <a:pt x="11" y="8"/>
                      <a:pt x="11" y="6"/>
                    </a:cubicBezTo>
                    <a:cubicBezTo>
                      <a:pt x="11" y="6"/>
                      <a:pt x="11" y="5"/>
                      <a:pt x="11" y="5"/>
                    </a:cubicBezTo>
                    <a:cubicBezTo>
                      <a:pt x="11" y="4"/>
                      <a:pt x="11" y="2"/>
                      <a:pt x="10" y="1"/>
                    </a:cubicBezTo>
                    <a:cubicBezTo>
                      <a:pt x="9" y="0"/>
                      <a:pt x="8" y="0"/>
                      <a:pt x="7"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54">
                <a:extLst>
                  <a:ext uri="{FF2B5EF4-FFF2-40B4-BE49-F238E27FC236}">
                    <a16:creationId xmlns:a16="http://schemas.microsoft.com/office/drawing/2014/main" id="{0F5EC420-3044-4372-81F2-E3D062162189}"/>
                  </a:ext>
                </a:extLst>
              </p:cNvPr>
              <p:cNvSpPr>
                <a:spLocks/>
              </p:cNvSpPr>
              <p:nvPr/>
            </p:nvSpPr>
            <p:spPr bwMode="auto">
              <a:xfrm>
                <a:off x="6501" y="1717"/>
                <a:ext cx="45" cy="64"/>
              </a:xfrm>
              <a:custGeom>
                <a:avLst/>
                <a:gdLst>
                  <a:gd name="T0" fmla="*/ 11 w 19"/>
                  <a:gd name="T1" fmla="*/ 8 h 27"/>
                  <a:gd name="T2" fmla="*/ 17 w 19"/>
                  <a:gd name="T3" fmla="*/ 2 h 27"/>
                  <a:gd name="T4" fmla="*/ 16 w 19"/>
                  <a:gd name="T5" fmla="*/ 11 h 27"/>
                  <a:gd name="T6" fmla="*/ 13 w 19"/>
                  <a:gd name="T7" fmla="*/ 15 h 27"/>
                  <a:gd name="T8" fmla="*/ 0 w 19"/>
                  <a:gd name="T9" fmla="*/ 26 h 27"/>
                  <a:gd name="T10" fmla="*/ 0 w 19"/>
                  <a:gd name="T11" fmla="*/ 22 h 27"/>
                  <a:gd name="T12" fmla="*/ 11 w 19"/>
                  <a:gd name="T13" fmla="*/ 8 h 27"/>
                </a:gdLst>
                <a:ahLst/>
                <a:cxnLst>
                  <a:cxn ang="0">
                    <a:pos x="T0" y="T1"/>
                  </a:cxn>
                  <a:cxn ang="0">
                    <a:pos x="T2" y="T3"/>
                  </a:cxn>
                  <a:cxn ang="0">
                    <a:pos x="T4" y="T5"/>
                  </a:cxn>
                  <a:cxn ang="0">
                    <a:pos x="T6" y="T7"/>
                  </a:cxn>
                  <a:cxn ang="0">
                    <a:pos x="T8" y="T9"/>
                  </a:cxn>
                  <a:cxn ang="0">
                    <a:pos x="T10" y="T11"/>
                  </a:cxn>
                  <a:cxn ang="0">
                    <a:pos x="T12" y="T13"/>
                  </a:cxn>
                </a:cxnLst>
                <a:rect l="0" t="0" r="r" b="b"/>
                <a:pathLst>
                  <a:path w="19" h="27">
                    <a:moveTo>
                      <a:pt x="11" y="8"/>
                    </a:moveTo>
                    <a:cubicBezTo>
                      <a:pt x="11" y="8"/>
                      <a:pt x="14" y="0"/>
                      <a:pt x="17" y="2"/>
                    </a:cubicBezTo>
                    <a:cubicBezTo>
                      <a:pt x="19" y="3"/>
                      <a:pt x="18" y="10"/>
                      <a:pt x="16" y="11"/>
                    </a:cubicBezTo>
                    <a:cubicBezTo>
                      <a:pt x="14" y="12"/>
                      <a:pt x="13" y="15"/>
                      <a:pt x="13" y="15"/>
                    </a:cubicBezTo>
                    <a:cubicBezTo>
                      <a:pt x="13" y="15"/>
                      <a:pt x="3" y="27"/>
                      <a:pt x="0" y="26"/>
                    </a:cubicBezTo>
                    <a:cubicBezTo>
                      <a:pt x="0" y="22"/>
                      <a:pt x="0" y="22"/>
                      <a:pt x="0" y="22"/>
                    </a:cubicBezTo>
                    <a:cubicBezTo>
                      <a:pt x="0" y="22"/>
                      <a:pt x="8" y="16"/>
                      <a:pt x="11" y="8"/>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55">
                <a:extLst>
                  <a:ext uri="{FF2B5EF4-FFF2-40B4-BE49-F238E27FC236}">
                    <a16:creationId xmlns:a16="http://schemas.microsoft.com/office/drawing/2014/main" id="{D6EB90AF-338E-43C0-849A-1450043DC14D}"/>
                  </a:ext>
                </a:extLst>
              </p:cNvPr>
              <p:cNvSpPr>
                <a:spLocks/>
              </p:cNvSpPr>
              <p:nvPr/>
            </p:nvSpPr>
            <p:spPr bwMode="auto">
              <a:xfrm>
                <a:off x="6377"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56">
                <a:extLst>
                  <a:ext uri="{FF2B5EF4-FFF2-40B4-BE49-F238E27FC236}">
                    <a16:creationId xmlns:a16="http://schemas.microsoft.com/office/drawing/2014/main" id="{4470E5E4-3428-4FA2-BFA5-994B751D0D16}"/>
                  </a:ext>
                </a:extLst>
              </p:cNvPr>
              <p:cNvSpPr>
                <a:spLocks/>
              </p:cNvSpPr>
              <p:nvPr/>
            </p:nvSpPr>
            <p:spPr bwMode="auto">
              <a:xfrm>
                <a:off x="6377"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57">
                <a:extLst>
                  <a:ext uri="{FF2B5EF4-FFF2-40B4-BE49-F238E27FC236}">
                    <a16:creationId xmlns:a16="http://schemas.microsoft.com/office/drawing/2014/main" id="{D64ADA0A-07B9-47C7-9DB8-E3A48A295E91}"/>
                  </a:ext>
                </a:extLst>
              </p:cNvPr>
              <p:cNvSpPr>
                <a:spLocks noEditPoints="1"/>
              </p:cNvSpPr>
              <p:nvPr/>
            </p:nvSpPr>
            <p:spPr bwMode="auto">
              <a:xfrm>
                <a:off x="6444" y="2309"/>
                <a:ext cx="92" cy="1311"/>
              </a:xfrm>
              <a:custGeom>
                <a:avLst/>
                <a:gdLst>
                  <a:gd name="T0" fmla="*/ 47 w 92"/>
                  <a:gd name="T1" fmla="*/ 655 h 1311"/>
                  <a:gd name="T2" fmla="*/ 47 w 92"/>
                  <a:gd name="T3" fmla="*/ 655 h 1311"/>
                  <a:gd name="T4" fmla="*/ 0 w 92"/>
                  <a:gd name="T5" fmla="*/ 1311 h 1311"/>
                  <a:gd name="T6" fmla="*/ 0 w 92"/>
                  <a:gd name="T7" fmla="*/ 1311 h 1311"/>
                  <a:gd name="T8" fmla="*/ 47 w 92"/>
                  <a:gd name="T9" fmla="*/ 655 h 1311"/>
                  <a:gd name="T10" fmla="*/ 92 w 92"/>
                  <a:gd name="T11" fmla="*/ 0 h 1311"/>
                  <a:gd name="T12" fmla="*/ 92 w 92"/>
                  <a:gd name="T13" fmla="*/ 0 h 1311"/>
                  <a:gd name="T14" fmla="*/ 92 w 92"/>
                  <a:gd name="T15" fmla="*/ 4 h 1311"/>
                  <a:gd name="T16" fmla="*/ 47 w 92"/>
                  <a:gd name="T17" fmla="*/ 653 h 1311"/>
                  <a:gd name="T18" fmla="*/ 47 w 92"/>
                  <a:gd name="T19" fmla="*/ 653 h 1311"/>
                  <a:gd name="T20" fmla="*/ 90 w 92"/>
                  <a:gd name="T21" fmla="*/ 35 h 1311"/>
                  <a:gd name="T22" fmla="*/ 92 w 92"/>
                  <a:gd name="T23" fmla="*/ 0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311">
                    <a:moveTo>
                      <a:pt x="47" y="655"/>
                    </a:moveTo>
                    <a:lnTo>
                      <a:pt x="47" y="655"/>
                    </a:lnTo>
                    <a:lnTo>
                      <a:pt x="0" y="1311"/>
                    </a:lnTo>
                    <a:lnTo>
                      <a:pt x="0" y="1311"/>
                    </a:lnTo>
                    <a:lnTo>
                      <a:pt x="47" y="655"/>
                    </a:lnTo>
                    <a:close/>
                    <a:moveTo>
                      <a:pt x="92" y="0"/>
                    </a:moveTo>
                    <a:lnTo>
                      <a:pt x="92" y="0"/>
                    </a:lnTo>
                    <a:lnTo>
                      <a:pt x="92" y="4"/>
                    </a:lnTo>
                    <a:lnTo>
                      <a:pt x="47" y="653"/>
                    </a:lnTo>
                    <a:lnTo>
                      <a:pt x="47" y="653"/>
                    </a:lnTo>
                    <a:lnTo>
                      <a:pt x="90" y="35"/>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58">
                <a:extLst>
                  <a:ext uri="{FF2B5EF4-FFF2-40B4-BE49-F238E27FC236}">
                    <a16:creationId xmlns:a16="http://schemas.microsoft.com/office/drawing/2014/main" id="{34139FB3-BEBC-4D57-A88D-34D278ADCDA5}"/>
                  </a:ext>
                </a:extLst>
              </p:cNvPr>
              <p:cNvSpPr>
                <a:spLocks noEditPoints="1"/>
              </p:cNvSpPr>
              <p:nvPr/>
            </p:nvSpPr>
            <p:spPr bwMode="auto">
              <a:xfrm>
                <a:off x="6444" y="2309"/>
                <a:ext cx="92" cy="1311"/>
              </a:xfrm>
              <a:custGeom>
                <a:avLst/>
                <a:gdLst>
                  <a:gd name="T0" fmla="*/ 47 w 92"/>
                  <a:gd name="T1" fmla="*/ 655 h 1311"/>
                  <a:gd name="T2" fmla="*/ 47 w 92"/>
                  <a:gd name="T3" fmla="*/ 655 h 1311"/>
                  <a:gd name="T4" fmla="*/ 0 w 92"/>
                  <a:gd name="T5" fmla="*/ 1311 h 1311"/>
                  <a:gd name="T6" fmla="*/ 0 w 92"/>
                  <a:gd name="T7" fmla="*/ 1311 h 1311"/>
                  <a:gd name="T8" fmla="*/ 47 w 92"/>
                  <a:gd name="T9" fmla="*/ 655 h 1311"/>
                  <a:gd name="T10" fmla="*/ 92 w 92"/>
                  <a:gd name="T11" fmla="*/ 0 h 1311"/>
                  <a:gd name="T12" fmla="*/ 92 w 92"/>
                  <a:gd name="T13" fmla="*/ 0 h 1311"/>
                  <a:gd name="T14" fmla="*/ 92 w 92"/>
                  <a:gd name="T15" fmla="*/ 4 h 1311"/>
                  <a:gd name="T16" fmla="*/ 47 w 92"/>
                  <a:gd name="T17" fmla="*/ 653 h 1311"/>
                  <a:gd name="T18" fmla="*/ 47 w 92"/>
                  <a:gd name="T19" fmla="*/ 653 h 1311"/>
                  <a:gd name="T20" fmla="*/ 90 w 92"/>
                  <a:gd name="T21" fmla="*/ 35 h 1311"/>
                  <a:gd name="T22" fmla="*/ 92 w 92"/>
                  <a:gd name="T23" fmla="*/ 0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311">
                    <a:moveTo>
                      <a:pt x="47" y="655"/>
                    </a:moveTo>
                    <a:lnTo>
                      <a:pt x="47" y="655"/>
                    </a:lnTo>
                    <a:lnTo>
                      <a:pt x="0" y="1311"/>
                    </a:lnTo>
                    <a:lnTo>
                      <a:pt x="0" y="1311"/>
                    </a:lnTo>
                    <a:lnTo>
                      <a:pt x="47" y="655"/>
                    </a:lnTo>
                    <a:moveTo>
                      <a:pt x="92" y="0"/>
                    </a:moveTo>
                    <a:lnTo>
                      <a:pt x="92" y="0"/>
                    </a:lnTo>
                    <a:lnTo>
                      <a:pt x="92" y="4"/>
                    </a:lnTo>
                    <a:lnTo>
                      <a:pt x="47" y="653"/>
                    </a:lnTo>
                    <a:lnTo>
                      <a:pt x="47" y="653"/>
                    </a:lnTo>
                    <a:lnTo>
                      <a:pt x="90" y="35"/>
                    </a:lnTo>
                    <a:lnTo>
                      <a:pt x="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Rectangle 159">
                <a:extLst>
                  <a:ext uri="{FF2B5EF4-FFF2-40B4-BE49-F238E27FC236}">
                    <a16:creationId xmlns:a16="http://schemas.microsoft.com/office/drawing/2014/main" id="{924A20A2-1F45-4B49-A7B7-B70821A37B40}"/>
                  </a:ext>
                </a:extLst>
              </p:cNvPr>
              <p:cNvSpPr>
                <a:spLocks noChangeArrowheads="1"/>
              </p:cNvSpPr>
              <p:nvPr/>
            </p:nvSpPr>
            <p:spPr bwMode="auto">
              <a:xfrm>
                <a:off x="6491" y="2962"/>
                <a:ext cx="1" cy="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Rectangle 160">
                <a:extLst>
                  <a:ext uri="{FF2B5EF4-FFF2-40B4-BE49-F238E27FC236}">
                    <a16:creationId xmlns:a16="http://schemas.microsoft.com/office/drawing/2014/main" id="{45E91EB9-3F6D-4457-AE3E-73BB58AEF8D2}"/>
                  </a:ext>
                </a:extLst>
              </p:cNvPr>
              <p:cNvSpPr>
                <a:spLocks noChangeArrowheads="1"/>
              </p:cNvSpPr>
              <p:nvPr/>
            </p:nvSpPr>
            <p:spPr bwMode="auto">
              <a:xfrm>
                <a:off x="6491" y="2962"/>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61">
                <a:extLst>
                  <a:ext uri="{FF2B5EF4-FFF2-40B4-BE49-F238E27FC236}">
                    <a16:creationId xmlns:a16="http://schemas.microsoft.com/office/drawing/2014/main" id="{B5B68EB1-4178-4EE7-A9B7-2D43436C39EF}"/>
                  </a:ext>
                </a:extLst>
              </p:cNvPr>
              <p:cNvSpPr>
                <a:spLocks/>
              </p:cNvSpPr>
              <p:nvPr/>
            </p:nvSpPr>
            <p:spPr bwMode="auto">
              <a:xfrm>
                <a:off x="6434" y="3620"/>
                <a:ext cx="10" cy="109"/>
              </a:xfrm>
              <a:custGeom>
                <a:avLst/>
                <a:gdLst>
                  <a:gd name="T0" fmla="*/ 10 w 10"/>
                  <a:gd name="T1" fmla="*/ 0 h 109"/>
                  <a:gd name="T2" fmla="*/ 0 w 10"/>
                  <a:gd name="T3" fmla="*/ 109 h 109"/>
                  <a:gd name="T4" fmla="*/ 10 w 10"/>
                  <a:gd name="T5" fmla="*/ 0 h 109"/>
                  <a:gd name="T6" fmla="*/ 10 w 10"/>
                  <a:gd name="T7" fmla="*/ 0 h 109"/>
                </a:gdLst>
                <a:ahLst/>
                <a:cxnLst>
                  <a:cxn ang="0">
                    <a:pos x="T0" y="T1"/>
                  </a:cxn>
                  <a:cxn ang="0">
                    <a:pos x="T2" y="T3"/>
                  </a:cxn>
                  <a:cxn ang="0">
                    <a:pos x="T4" y="T5"/>
                  </a:cxn>
                  <a:cxn ang="0">
                    <a:pos x="T6" y="T7"/>
                  </a:cxn>
                </a:cxnLst>
                <a:rect l="0" t="0" r="r" b="b"/>
                <a:pathLst>
                  <a:path w="10" h="109">
                    <a:moveTo>
                      <a:pt x="10" y="0"/>
                    </a:moveTo>
                    <a:lnTo>
                      <a:pt x="0" y="109"/>
                    </a:lnTo>
                    <a:lnTo>
                      <a:pt x="10" y="0"/>
                    </a:lnTo>
                    <a:lnTo>
                      <a:pt x="10" y="0"/>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62">
                <a:extLst>
                  <a:ext uri="{FF2B5EF4-FFF2-40B4-BE49-F238E27FC236}">
                    <a16:creationId xmlns:a16="http://schemas.microsoft.com/office/drawing/2014/main" id="{0142C01E-40B2-4E34-9B86-715A2CDE7154}"/>
                  </a:ext>
                </a:extLst>
              </p:cNvPr>
              <p:cNvSpPr>
                <a:spLocks/>
              </p:cNvSpPr>
              <p:nvPr/>
            </p:nvSpPr>
            <p:spPr bwMode="auto">
              <a:xfrm>
                <a:off x="6434" y="3620"/>
                <a:ext cx="10" cy="109"/>
              </a:xfrm>
              <a:custGeom>
                <a:avLst/>
                <a:gdLst>
                  <a:gd name="T0" fmla="*/ 10 w 10"/>
                  <a:gd name="T1" fmla="*/ 0 h 109"/>
                  <a:gd name="T2" fmla="*/ 0 w 10"/>
                  <a:gd name="T3" fmla="*/ 109 h 109"/>
                  <a:gd name="T4" fmla="*/ 10 w 10"/>
                  <a:gd name="T5" fmla="*/ 0 h 109"/>
                  <a:gd name="T6" fmla="*/ 10 w 10"/>
                  <a:gd name="T7" fmla="*/ 0 h 109"/>
                </a:gdLst>
                <a:ahLst/>
                <a:cxnLst>
                  <a:cxn ang="0">
                    <a:pos x="T0" y="T1"/>
                  </a:cxn>
                  <a:cxn ang="0">
                    <a:pos x="T2" y="T3"/>
                  </a:cxn>
                  <a:cxn ang="0">
                    <a:pos x="T4" y="T5"/>
                  </a:cxn>
                  <a:cxn ang="0">
                    <a:pos x="T6" y="T7"/>
                  </a:cxn>
                </a:cxnLst>
                <a:rect l="0" t="0" r="r" b="b"/>
                <a:pathLst>
                  <a:path w="10" h="109">
                    <a:moveTo>
                      <a:pt x="10" y="0"/>
                    </a:moveTo>
                    <a:lnTo>
                      <a:pt x="0" y="109"/>
                    </a:lnTo>
                    <a:lnTo>
                      <a:pt x="10" y="0"/>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63">
                <a:extLst>
                  <a:ext uri="{FF2B5EF4-FFF2-40B4-BE49-F238E27FC236}">
                    <a16:creationId xmlns:a16="http://schemas.microsoft.com/office/drawing/2014/main" id="{2853055F-0D83-44A4-ABA7-3DE9B8E2C06E}"/>
                  </a:ext>
                </a:extLst>
              </p:cNvPr>
              <p:cNvSpPr>
                <a:spLocks/>
              </p:cNvSpPr>
              <p:nvPr/>
            </p:nvSpPr>
            <p:spPr bwMode="auto">
              <a:xfrm>
                <a:off x="6384" y="3254"/>
                <a:ext cx="22" cy="363"/>
              </a:xfrm>
              <a:custGeom>
                <a:avLst/>
                <a:gdLst>
                  <a:gd name="T0" fmla="*/ 9 w 9"/>
                  <a:gd name="T1" fmla="*/ 0 h 153"/>
                  <a:gd name="T2" fmla="*/ 0 w 9"/>
                  <a:gd name="T3" fmla="*/ 153 h 153"/>
                  <a:gd name="T4" fmla="*/ 0 w 9"/>
                  <a:gd name="T5" fmla="*/ 153 h 153"/>
                  <a:gd name="T6" fmla="*/ 9 w 9"/>
                  <a:gd name="T7" fmla="*/ 0 h 153"/>
                </a:gdLst>
                <a:ahLst/>
                <a:cxnLst>
                  <a:cxn ang="0">
                    <a:pos x="T0" y="T1"/>
                  </a:cxn>
                  <a:cxn ang="0">
                    <a:pos x="T2" y="T3"/>
                  </a:cxn>
                  <a:cxn ang="0">
                    <a:pos x="T4" y="T5"/>
                  </a:cxn>
                  <a:cxn ang="0">
                    <a:pos x="T6" y="T7"/>
                  </a:cxn>
                </a:cxnLst>
                <a:rect l="0" t="0" r="r" b="b"/>
                <a:pathLst>
                  <a:path w="9" h="153">
                    <a:moveTo>
                      <a:pt x="9" y="0"/>
                    </a:moveTo>
                    <a:cubicBezTo>
                      <a:pt x="0" y="153"/>
                      <a:pt x="0" y="153"/>
                      <a:pt x="0" y="153"/>
                    </a:cubicBezTo>
                    <a:cubicBezTo>
                      <a:pt x="0" y="153"/>
                      <a:pt x="0" y="153"/>
                      <a:pt x="0" y="153"/>
                    </a:cubicBezTo>
                    <a:cubicBezTo>
                      <a:pt x="9" y="0"/>
                      <a:pt x="9" y="0"/>
                      <a:pt x="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64">
                <a:extLst>
                  <a:ext uri="{FF2B5EF4-FFF2-40B4-BE49-F238E27FC236}">
                    <a16:creationId xmlns:a16="http://schemas.microsoft.com/office/drawing/2014/main" id="{CB14B7DE-4DC2-4935-98D6-D65F52FBC09C}"/>
                  </a:ext>
                </a:extLst>
              </p:cNvPr>
              <p:cNvSpPr>
                <a:spLocks/>
              </p:cNvSpPr>
              <p:nvPr/>
            </p:nvSpPr>
            <p:spPr bwMode="auto">
              <a:xfrm>
                <a:off x="6377" y="3617"/>
                <a:ext cx="7" cy="112"/>
              </a:xfrm>
              <a:custGeom>
                <a:avLst/>
                <a:gdLst>
                  <a:gd name="T0" fmla="*/ 3 w 3"/>
                  <a:gd name="T1" fmla="*/ 0 h 47"/>
                  <a:gd name="T2" fmla="*/ 0 w 3"/>
                  <a:gd name="T3" fmla="*/ 47 h 47"/>
                  <a:gd name="T4" fmla="*/ 0 w 3"/>
                  <a:gd name="T5" fmla="*/ 47 h 47"/>
                  <a:gd name="T6" fmla="*/ 3 w 3"/>
                  <a:gd name="T7" fmla="*/ 0 h 47"/>
                  <a:gd name="T8" fmla="*/ 3 w 3"/>
                  <a:gd name="T9" fmla="*/ 0 h 47"/>
                </a:gdLst>
                <a:ahLst/>
                <a:cxnLst>
                  <a:cxn ang="0">
                    <a:pos x="T0" y="T1"/>
                  </a:cxn>
                  <a:cxn ang="0">
                    <a:pos x="T2" y="T3"/>
                  </a:cxn>
                  <a:cxn ang="0">
                    <a:pos x="T4" y="T5"/>
                  </a:cxn>
                  <a:cxn ang="0">
                    <a:pos x="T6" y="T7"/>
                  </a:cxn>
                  <a:cxn ang="0">
                    <a:pos x="T8" y="T9"/>
                  </a:cxn>
                </a:cxnLst>
                <a:rect l="0" t="0" r="r" b="b"/>
                <a:pathLst>
                  <a:path w="3" h="47">
                    <a:moveTo>
                      <a:pt x="3" y="0"/>
                    </a:moveTo>
                    <a:cubicBezTo>
                      <a:pt x="0" y="47"/>
                      <a:pt x="0" y="47"/>
                      <a:pt x="0" y="47"/>
                    </a:cubicBezTo>
                    <a:cubicBezTo>
                      <a:pt x="0" y="47"/>
                      <a:pt x="0" y="47"/>
                      <a:pt x="0" y="47"/>
                    </a:cubicBezTo>
                    <a:cubicBezTo>
                      <a:pt x="3" y="0"/>
                      <a:pt x="3" y="0"/>
                      <a:pt x="3" y="0"/>
                    </a:cubicBezTo>
                    <a:cubicBezTo>
                      <a:pt x="3" y="0"/>
                      <a:pt x="3" y="0"/>
                      <a:pt x="3" y="0"/>
                    </a:cubicBezTo>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65">
                <a:extLst>
                  <a:ext uri="{FF2B5EF4-FFF2-40B4-BE49-F238E27FC236}">
                    <a16:creationId xmlns:a16="http://schemas.microsoft.com/office/drawing/2014/main" id="{B9169438-5303-44A5-BE60-81D306B86D4D}"/>
                  </a:ext>
                </a:extLst>
              </p:cNvPr>
              <p:cNvSpPr>
                <a:spLocks/>
              </p:cNvSpPr>
              <p:nvPr/>
            </p:nvSpPr>
            <p:spPr bwMode="auto">
              <a:xfrm>
                <a:off x="6377" y="2313"/>
                <a:ext cx="159" cy="1416"/>
              </a:xfrm>
              <a:custGeom>
                <a:avLst/>
                <a:gdLst>
                  <a:gd name="T0" fmla="*/ 159 w 159"/>
                  <a:gd name="T1" fmla="*/ 0 h 1416"/>
                  <a:gd name="T2" fmla="*/ 157 w 159"/>
                  <a:gd name="T3" fmla="*/ 29 h 1416"/>
                  <a:gd name="T4" fmla="*/ 81 w 159"/>
                  <a:gd name="T5" fmla="*/ 29 h 1416"/>
                  <a:gd name="T6" fmla="*/ 81 w 159"/>
                  <a:gd name="T7" fmla="*/ 31 h 1416"/>
                  <a:gd name="T8" fmla="*/ 29 w 159"/>
                  <a:gd name="T9" fmla="*/ 941 h 1416"/>
                  <a:gd name="T10" fmla="*/ 7 w 159"/>
                  <a:gd name="T11" fmla="*/ 1304 h 1416"/>
                  <a:gd name="T12" fmla="*/ 0 w 159"/>
                  <a:gd name="T13" fmla="*/ 1416 h 1416"/>
                  <a:gd name="T14" fmla="*/ 57 w 159"/>
                  <a:gd name="T15" fmla="*/ 1416 h 1416"/>
                  <a:gd name="T16" fmla="*/ 67 w 159"/>
                  <a:gd name="T17" fmla="*/ 1307 h 1416"/>
                  <a:gd name="T18" fmla="*/ 114 w 159"/>
                  <a:gd name="T19" fmla="*/ 651 h 1416"/>
                  <a:gd name="T20" fmla="*/ 114 w 159"/>
                  <a:gd name="T21" fmla="*/ 649 h 1416"/>
                  <a:gd name="T22" fmla="*/ 159 w 159"/>
                  <a:gd name="T2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1416">
                    <a:moveTo>
                      <a:pt x="159" y="0"/>
                    </a:moveTo>
                    <a:lnTo>
                      <a:pt x="157" y="29"/>
                    </a:lnTo>
                    <a:lnTo>
                      <a:pt x="81" y="29"/>
                    </a:lnTo>
                    <a:lnTo>
                      <a:pt x="81" y="31"/>
                    </a:lnTo>
                    <a:lnTo>
                      <a:pt x="29" y="941"/>
                    </a:lnTo>
                    <a:lnTo>
                      <a:pt x="7" y="1304"/>
                    </a:lnTo>
                    <a:lnTo>
                      <a:pt x="0" y="1416"/>
                    </a:lnTo>
                    <a:lnTo>
                      <a:pt x="57" y="1416"/>
                    </a:lnTo>
                    <a:lnTo>
                      <a:pt x="67" y="1307"/>
                    </a:lnTo>
                    <a:lnTo>
                      <a:pt x="114" y="651"/>
                    </a:lnTo>
                    <a:lnTo>
                      <a:pt x="114" y="649"/>
                    </a:lnTo>
                    <a:lnTo>
                      <a:pt x="159" y="0"/>
                    </a:lnTo>
                    <a:close/>
                  </a:path>
                </a:pathLst>
              </a:custGeom>
              <a:solidFill>
                <a:srgbClr val="7D84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66">
                <a:extLst>
                  <a:ext uri="{FF2B5EF4-FFF2-40B4-BE49-F238E27FC236}">
                    <a16:creationId xmlns:a16="http://schemas.microsoft.com/office/drawing/2014/main" id="{B39E95D7-5089-4D3D-B886-B4229C491E7E}"/>
                  </a:ext>
                </a:extLst>
              </p:cNvPr>
              <p:cNvSpPr>
                <a:spLocks/>
              </p:cNvSpPr>
              <p:nvPr/>
            </p:nvSpPr>
            <p:spPr bwMode="auto">
              <a:xfrm>
                <a:off x="6377" y="2313"/>
                <a:ext cx="159" cy="1416"/>
              </a:xfrm>
              <a:custGeom>
                <a:avLst/>
                <a:gdLst>
                  <a:gd name="T0" fmla="*/ 159 w 159"/>
                  <a:gd name="T1" fmla="*/ 0 h 1416"/>
                  <a:gd name="T2" fmla="*/ 157 w 159"/>
                  <a:gd name="T3" fmla="*/ 29 h 1416"/>
                  <a:gd name="T4" fmla="*/ 81 w 159"/>
                  <a:gd name="T5" fmla="*/ 29 h 1416"/>
                  <a:gd name="T6" fmla="*/ 81 w 159"/>
                  <a:gd name="T7" fmla="*/ 31 h 1416"/>
                  <a:gd name="T8" fmla="*/ 29 w 159"/>
                  <a:gd name="T9" fmla="*/ 941 h 1416"/>
                  <a:gd name="T10" fmla="*/ 7 w 159"/>
                  <a:gd name="T11" fmla="*/ 1304 h 1416"/>
                  <a:gd name="T12" fmla="*/ 0 w 159"/>
                  <a:gd name="T13" fmla="*/ 1416 h 1416"/>
                  <a:gd name="T14" fmla="*/ 57 w 159"/>
                  <a:gd name="T15" fmla="*/ 1416 h 1416"/>
                  <a:gd name="T16" fmla="*/ 67 w 159"/>
                  <a:gd name="T17" fmla="*/ 1307 h 1416"/>
                  <a:gd name="T18" fmla="*/ 114 w 159"/>
                  <a:gd name="T19" fmla="*/ 651 h 1416"/>
                  <a:gd name="T20" fmla="*/ 114 w 159"/>
                  <a:gd name="T21" fmla="*/ 649 h 1416"/>
                  <a:gd name="T22" fmla="*/ 159 w 159"/>
                  <a:gd name="T2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1416">
                    <a:moveTo>
                      <a:pt x="159" y="0"/>
                    </a:moveTo>
                    <a:lnTo>
                      <a:pt x="157" y="29"/>
                    </a:lnTo>
                    <a:lnTo>
                      <a:pt x="81" y="29"/>
                    </a:lnTo>
                    <a:lnTo>
                      <a:pt x="81" y="31"/>
                    </a:lnTo>
                    <a:lnTo>
                      <a:pt x="29" y="941"/>
                    </a:lnTo>
                    <a:lnTo>
                      <a:pt x="7" y="1304"/>
                    </a:lnTo>
                    <a:lnTo>
                      <a:pt x="0" y="1416"/>
                    </a:lnTo>
                    <a:lnTo>
                      <a:pt x="57" y="1416"/>
                    </a:lnTo>
                    <a:lnTo>
                      <a:pt x="67" y="1307"/>
                    </a:lnTo>
                    <a:lnTo>
                      <a:pt x="114" y="651"/>
                    </a:lnTo>
                    <a:lnTo>
                      <a:pt x="114" y="649"/>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67">
                <a:extLst>
                  <a:ext uri="{FF2B5EF4-FFF2-40B4-BE49-F238E27FC236}">
                    <a16:creationId xmlns:a16="http://schemas.microsoft.com/office/drawing/2014/main" id="{B10FB298-C29E-4088-86C0-BCC85D87CC21}"/>
                  </a:ext>
                </a:extLst>
              </p:cNvPr>
              <p:cNvSpPr>
                <a:spLocks/>
              </p:cNvSpPr>
              <p:nvPr/>
            </p:nvSpPr>
            <p:spPr bwMode="auto">
              <a:xfrm>
                <a:off x="6458" y="2311"/>
                <a:ext cx="2" cy="31"/>
              </a:xfrm>
              <a:custGeom>
                <a:avLst/>
                <a:gdLst>
                  <a:gd name="T0" fmla="*/ 2 w 2"/>
                  <a:gd name="T1" fmla="*/ 0 h 31"/>
                  <a:gd name="T2" fmla="*/ 0 w 2"/>
                  <a:gd name="T3" fmla="*/ 31 h 31"/>
                  <a:gd name="T4" fmla="*/ 0 w 2"/>
                  <a:gd name="T5" fmla="*/ 31 h 31"/>
                  <a:gd name="T6" fmla="*/ 2 w 2"/>
                  <a:gd name="T7" fmla="*/ 0 h 31"/>
                </a:gdLst>
                <a:ahLst/>
                <a:cxnLst>
                  <a:cxn ang="0">
                    <a:pos x="T0" y="T1"/>
                  </a:cxn>
                  <a:cxn ang="0">
                    <a:pos x="T2" y="T3"/>
                  </a:cxn>
                  <a:cxn ang="0">
                    <a:pos x="T4" y="T5"/>
                  </a:cxn>
                  <a:cxn ang="0">
                    <a:pos x="T6" y="T7"/>
                  </a:cxn>
                </a:cxnLst>
                <a:rect l="0" t="0" r="r" b="b"/>
                <a:pathLst>
                  <a:path w="2" h="31">
                    <a:moveTo>
                      <a:pt x="2" y="0"/>
                    </a:moveTo>
                    <a:lnTo>
                      <a:pt x="0" y="31"/>
                    </a:lnTo>
                    <a:lnTo>
                      <a:pt x="0" y="31"/>
                    </a:lnTo>
                    <a:lnTo>
                      <a:pt x="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68">
                <a:extLst>
                  <a:ext uri="{FF2B5EF4-FFF2-40B4-BE49-F238E27FC236}">
                    <a16:creationId xmlns:a16="http://schemas.microsoft.com/office/drawing/2014/main" id="{13F3E306-0BE8-4D1D-8FD4-DE922FFFC4FA}"/>
                  </a:ext>
                </a:extLst>
              </p:cNvPr>
              <p:cNvSpPr>
                <a:spLocks/>
              </p:cNvSpPr>
              <p:nvPr/>
            </p:nvSpPr>
            <p:spPr bwMode="auto">
              <a:xfrm>
                <a:off x="6458" y="2311"/>
                <a:ext cx="2" cy="31"/>
              </a:xfrm>
              <a:custGeom>
                <a:avLst/>
                <a:gdLst>
                  <a:gd name="T0" fmla="*/ 2 w 2"/>
                  <a:gd name="T1" fmla="*/ 0 h 31"/>
                  <a:gd name="T2" fmla="*/ 0 w 2"/>
                  <a:gd name="T3" fmla="*/ 31 h 31"/>
                  <a:gd name="T4" fmla="*/ 0 w 2"/>
                  <a:gd name="T5" fmla="*/ 31 h 31"/>
                  <a:gd name="T6" fmla="*/ 2 w 2"/>
                  <a:gd name="T7" fmla="*/ 0 h 31"/>
                </a:gdLst>
                <a:ahLst/>
                <a:cxnLst>
                  <a:cxn ang="0">
                    <a:pos x="T0" y="T1"/>
                  </a:cxn>
                  <a:cxn ang="0">
                    <a:pos x="T2" y="T3"/>
                  </a:cxn>
                  <a:cxn ang="0">
                    <a:pos x="T4" y="T5"/>
                  </a:cxn>
                  <a:cxn ang="0">
                    <a:pos x="T6" y="T7"/>
                  </a:cxn>
                </a:cxnLst>
                <a:rect l="0" t="0" r="r" b="b"/>
                <a:pathLst>
                  <a:path w="2" h="31">
                    <a:moveTo>
                      <a:pt x="2" y="0"/>
                    </a:moveTo>
                    <a:lnTo>
                      <a:pt x="0" y="31"/>
                    </a:lnTo>
                    <a:lnTo>
                      <a:pt x="0" y="31"/>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69">
                <a:extLst>
                  <a:ext uri="{FF2B5EF4-FFF2-40B4-BE49-F238E27FC236}">
                    <a16:creationId xmlns:a16="http://schemas.microsoft.com/office/drawing/2014/main" id="{13C4CDC7-4C5D-4087-955F-E2974C19D8A0}"/>
                  </a:ext>
                </a:extLst>
              </p:cNvPr>
              <p:cNvSpPr>
                <a:spLocks/>
              </p:cNvSpPr>
              <p:nvPr/>
            </p:nvSpPr>
            <p:spPr bwMode="auto">
              <a:xfrm>
                <a:off x="6458" y="2309"/>
                <a:ext cx="2" cy="33"/>
              </a:xfrm>
              <a:custGeom>
                <a:avLst/>
                <a:gdLst>
                  <a:gd name="T0" fmla="*/ 2 w 2"/>
                  <a:gd name="T1" fmla="*/ 0 h 33"/>
                  <a:gd name="T2" fmla="*/ 2 w 2"/>
                  <a:gd name="T3" fmla="*/ 0 h 33"/>
                  <a:gd name="T4" fmla="*/ 2 w 2"/>
                  <a:gd name="T5" fmla="*/ 2 h 33"/>
                  <a:gd name="T6" fmla="*/ 0 w 2"/>
                  <a:gd name="T7" fmla="*/ 33 h 33"/>
                  <a:gd name="T8" fmla="*/ 0 w 2"/>
                  <a:gd name="T9" fmla="*/ 33 h 33"/>
                  <a:gd name="T10" fmla="*/ 2 w 2"/>
                  <a:gd name="T11" fmla="*/ 0 h 33"/>
                </a:gdLst>
                <a:ahLst/>
                <a:cxnLst>
                  <a:cxn ang="0">
                    <a:pos x="T0" y="T1"/>
                  </a:cxn>
                  <a:cxn ang="0">
                    <a:pos x="T2" y="T3"/>
                  </a:cxn>
                  <a:cxn ang="0">
                    <a:pos x="T4" y="T5"/>
                  </a:cxn>
                  <a:cxn ang="0">
                    <a:pos x="T6" y="T7"/>
                  </a:cxn>
                  <a:cxn ang="0">
                    <a:pos x="T8" y="T9"/>
                  </a:cxn>
                  <a:cxn ang="0">
                    <a:pos x="T10" y="T11"/>
                  </a:cxn>
                </a:cxnLst>
                <a:rect l="0" t="0" r="r" b="b"/>
                <a:pathLst>
                  <a:path w="2" h="33">
                    <a:moveTo>
                      <a:pt x="2" y="0"/>
                    </a:moveTo>
                    <a:lnTo>
                      <a:pt x="2" y="0"/>
                    </a:lnTo>
                    <a:lnTo>
                      <a:pt x="2" y="2"/>
                    </a:lnTo>
                    <a:lnTo>
                      <a:pt x="0" y="33"/>
                    </a:lnTo>
                    <a:lnTo>
                      <a:pt x="0" y="33"/>
                    </a:lnTo>
                    <a:lnTo>
                      <a:pt x="2" y="0"/>
                    </a:lnTo>
                    <a:close/>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70">
                <a:extLst>
                  <a:ext uri="{FF2B5EF4-FFF2-40B4-BE49-F238E27FC236}">
                    <a16:creationId xmlns:a16="http://schemas.microsoft.com/office/drawing/2014/main" id="{7C45901B-DA5C-46F4-9FB2-2706605A0366}"/>
                  </a:ext>
                </a:extLst>
              </p:cNvPr>
              <p:cNvSpPr>
                <a:spLocks/>
              </p:cNvSpPr>
              <p:nvPr/>
            </p:nvSpPr>
            <p:spPr bwMode="auto">
              <a:xfrm>
                <a:off x="6458" y="2309"/>
                <a:ext cx="2" cy="33"/>
              </a:xfrm>
              <a:custGeom>
                <a:avLst/>
                <a:gdLst>
                  <a:gd name="T0" fmla="*/ 2 w 2"/>
                  <a:gd name="T1" fmla="*/ 0 h 33"/>
                  <a:gd name="T2" fmla="*/ 2 w 2"/>
                  <a:gd name="T3" fmla="*/ 0 h 33"/>
                  <a:gd name="T4" fmla="*/ 2 w 2"/>
                  <a:gd name="T5" fmla="*/ 2 h 33"/>
                  <a:gd name="T6" fmla="*/ 0 w 2"/>
                  <a:gd name="T7" fmla="*/ 33 h 33"/>
                  <a:gd name="T8" fmla="*/ 0 w 2"/>
                  <a:gd name="T9" fmla="*/ 33 h 33"/>
                  <a:gd name="T10" fmla="*/ 2 w 2"/>
                  <a:gd name="T11" fmla="*/ 0 h 33"/>
                </a:gdLst>
                <a:ahLst/>
                <a:cxnLst>
                  <a:cxn ang="0">
                    <a:pos x="T0" y="T1"/>
                  </a:cxn>
                  <a:cxn ang="0">
                    <a:pos x="T2" y="T3"/>
                  </a:cxn>
                  <a:cxn ang="0">
                    <a:pos x="T4" y="T5"/>
                  </a:cxn>
                  <a:cxn ang="0">
                    <a:pos x="T6" y="T7"/>
                  </a:cxn>
                  <a:cxn ang="0">
                    <a:pos x="T8" y="T9"/>
                  </a:cxn>
                  <a:cxn ang="0">
                    <a:pos x="T10" y="T11"/>
                  </a:cxn>
                </a:cxnLst>
                <a:rect l="0" t="0" r="r" b="b"/>
                <a:pathLst>
                  <a:path w="2" h="33">
                    <a:moveTo>
                      <a:pt x="2" y="0"/>
                    </a:moveTo>
                    <a:lnTo>
                      <a:pt x="2" y="0"/>
                    </a:lnTo>
                    <a:lnTo>
                      <a:pt x="2" y="2"/>
                    </a:lnTo>
                    <a:lnTo>
                      <a:pt x="0" y="33"/>
                    </a:lnTo>
                    <a:lnTo>
                      <a:pt x="0" y="33"/>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71">
                <a:extLst>
                  <a:ext uri="{FF2B5EF4-FFF2-40B4-BE49-F238E27FC236}">
                    <a16:creationId xmlns:a16="http://schemas.microsoft.com/office/drawing/2014/main" id="{0D5CEAC7-0DFD-4C35-B7D2-F24CD1EC8EBA}"/>
                  </a:ext>
                </a:extLst>
              </p:cNvPr>
              <p:cNvSpPr>
                <a:spLocks/>
              </p:cNvSpPr>
              <p:nvPr/>
            </p:nvSpPr>
            <p:spPr bwMode="auto">
              <a:xfrm>
                <a:off x="6536" y="2309"/>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72">
                <a:extLst>
                  <a:ext uri="{FF2B5EF4-FFF2-40B4-BE49-F238E27FC236}">
                    <a16:creationId xmlns:a16="http://schemas.microsoft.com/office/drawing/2014/main" id="{6EB8F19D-6AA2-4AFF-91A1-740D3427D0C3}"/>
                  </a:ext>
                </a:extLst>
              </p:cNvPr>
              <p:cNvSpPr>
                <a:spLocks/>
              </p:cNvSpPr>
              <p:nvPr/>
            </p:nvSpPr>
            <p:spPr bwMode="auto">
              <a:xfrm>
                <a:off x="6536" y="2309"/>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73">
                <a:extLst>
                  <a:ext uri="{FF2B5EF4-FFF2-40B4-BE49-F238E27FC236}">
                    <a16:creationId xmlns:a16="http://schemas.microsoft.com/office/drawing/2014/main" id="{73BE5125-3118-4868-9D31-A6F736A1D509}"/>
                  </a:ext>
                </a:extLst>
              </p:cNvPr>
              <p:cNvSpPr>
                <a:spLocks/>
              </p:cNvSpPr>
              <p:nvPr/>
            </p:nvSpPr>
            <p:spPr bwMode="auto">
              <a:xfrm>
                <a:off x="6458" y="2309"/>
                <a:ext cx="78" cy="33"/>
              </a:xfrm>
              <a:custGeom>
                <a:avLst/>
                <a:gdLst>
                  <a:gd name="T0" fmla="*/ 78 w 78"/>
                  <a:gd name="T1" fmla="*/ 0 h 33"/>
                  <a:gd name="T2" fmla="*/ 2 w 78"/>
                  <a:gd name="T3" fmla="*/ 0 h 33"/>
                  <a:gd name="T4" fmla="*/ 0 w 78"/>
                  <a:gd name="T5" fmla="*/ 33 h 33"/>
                  <a:gd name="T6" fmla="*/ 76 w 78"/>
                  <a:gd name="T7" fmla="*/ 33 h 33"/>
                  <a:gd name="T8" fmla="*/ 78 w 78"/>
                  <a:gd name="T9" fmla="*/ 4 h 33"/>
                  <a:gd name="T10" fmla="*/ 78 w 78"/>
                  <a:gd name="T11" fmla="*/ 0 h 33"/>
                </a:gdLst>
                <a:ahLst/>
                <a:cxnLst>
                  <a:cxn ang="0">
                    <a:pos x="T0" y="T1"/>
                  </a:cxn>
                  <a:cxn ang="0">
                    <a:pos x="T2" y="T3"/>
                  </a:cxn>
                  <a:cxn ang="0">
                    <a:pos x="T4" y="T5"/>
                  </a:cxn>
                  <a:cxn ang="0">
                    <a:pos x="T6" y="T7"/>
                  </a:cxn>
                  <a:cxn ang="0">
                    <a:pos x="T8" y="T9"/>
                  </a:cxn>
                  <a:cxn ang="0">
                    <a:pos x="T10" y="T11"/>
                  </a:cxn>
                </a:cxnLst>
                <a:rect l="0" t="0" r="r" b="b"/>
                <a:pathLst>
                  <a:path w="78" h="33">
                    <a:moveTo>
                      <a:pt x="78" y="0"/>
                    </a:moveTo>
                    <a:lnTo>
                      <a:pt x="2" y="0"/>
                    </a:lnTo>
                    <a:lnTo>
                      <a:pt x="0" y="33"/>
                    </a:lnTo>
                    <a:lnTo>
                      <a:pt x="76" y="33"/>
                    </a:lnTo>
                    <a:lnTo>
                      <a:pt x="78" y="4"/>
                    </a:lnTo>
                    <a:lnTo>
                      <a:pt x="78" y="0"/>
                    </a:lnTo>
                    <a:close/>
                  </a:path>
                </a:pathLst>
              </a:custGeom>
              <a:solidFill>
                <a:srgbClr val="64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74">
                <a:extLst>
                  <a:ext uri="{FF2B5EF4-FFF2-40B4-BE49-F238E27FC236}">
                    <a16:creationId xmlns:a16="http://schemas.microsoft.com/office/drawing/2014/main" id="{D0346633-6DF3-4C99-9D66-3C74B7EEC7FF}"/>
                  </a:ext>
                </a:extLst>
              </p:cNvPr>
              <p:cNvSpPr>
                <a:spLocks/>
              </p:cNvSpPr>
              <p:nvPr/>
            </p:nvSpPr>
            <p:spPr bwMode="auto">
              <a:xfrm>
                <a:off x="6458" y="2309"/>
                <a:ext cx="78" cy="33"/>
              </a:xfrm>
              <a:custGeom>
                <a:avLst/>
                <a:gdLst>
                  <a:gd name="T0" fmla="*/ 78 w 78"/>
                  <a:gd name="T1" fmla="*/ 0 h 33"/>
                  <a:gd name="T2" fmla="*/ 2 w 78"/>
                  <a:gd name="T3" fmla="*/ 0 h 33"/>
                  <a:gd name="T4" fmla="*/ 0 w 78"/>
                  <a:gd name="T5" fmla="*/ 33 h 33"/>
                  <a:gd name="T6" fmla="*/ 76 w 78"/>
                  <a:gd name="T7" fmla="*/ 33 h 33"/>
                  <a:gd name="T8" fmla="*/ 78 w 78"/>
                  <a:gd name="T9" fmla="*/ 4 h 33"/>
                  <a:gd name="T10" fmla="*/ 78 w 78"/>
                  <a:gd name="T11" fmla="*/ 0 h 33"/>
                </a:gdLst>
                <a:ahLst/>
                <a:cxnLst>
                  <a:cxn ang="0">
                    <a:pos x="T0" y="T1"/>
                  </a:cxn>
                  <a:cxn ang="0">
                    <a:pos x="T2" y="T3"/>
                  </a:cxn>
                  <a:cxn ang="0">
                    <a:pos x="T4" y="T5"/>
                  </a:cxn>
                  <a:cxn ang="0">
                    <a:pos x="T6" y="T7"/>
                  </a:cxn>
                  <a:cxn ang="0">
                    <a:pos x="T8" y="T9"/>
                  </a:cxn>
                  <a:cxn ang="0">
                    <a:pos x="T10" y="T11"/>
                  </a:cxn>
                </a:cxnLst>
                <a:rect l="0" t="0" r="r" b="b"/>
                <a:pathLst>
                  <a:path w="78" h="33">
                    <a:moveTo>
                      <a:pt x="78" y="0"/>
                    </a:moveTo>
                    <a:lnTo>
                      <a:pt x="2" y="0"/>
                    </a:lnTo>
                    <a:lnTo>
                      <a:pt x="0" y="33"/>
                    </a:lnTo>
                    <a:lnTo>
                      <a:pt x="76" y="33"/>
                    </a:lnTo>
                    <a:lnTo>
                      <a:pt x="78" y="4"/>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75">
                <a:extLst>
                  <a:ext uri="{FF2B5EF4-FFF2-40B4-BE49-F238E27FC236}">
                    <a16:creationId xmlns:a16="http://schemas.microsoft.com/office/drawing/2014/main" id="{7FFD1844-D568-44E6-B855-DEF347380833}"/>
                  </a:ext>
                </a:extLst>
              </p:cNvPr>
              <p:cNvSpPr>
                <a:spLocks/>
              </p:cNvSpPr>
              <p:nvPr/>
            </p:nvSpPr>
            <p:spPr bwMode="auto">
              <a:xfrm>
                <a:off x="5940" y="2273"/>
                <a:ext cx="79" cy="1456"/>
              </a:xfrm>
              <a:custGeom>
                <a:avLst/>
                <a:gdLst>
                  <a:gd name="T0" fmla="*/ 10 w 79"/>
                  <a:gd name="T1" fmla="*/ 1456 h 1456"/>
                  <a:gd name="T2" fmla="*/ 69 w 79"/>
                  <a:gd name="T3" fmla="*/ 1456 h 1456"/>
                  <a:gd name="T4" fmla="*/ 79 w 79"/>
                  <a:gd name="T5" fmla="*/ 0 h 1456"/>
                  <a:gd name="T6" fmla="*/ 0 w 79"/>
                  <a:gd name="T7" fmla="*/ 0 h 1456"/>
                  <a:gd name="T8" fmla="*/ 10 w 79"/>
                  <a:gd name="T9" fmla="*/ 1456 h 1456"/>
                </a:gdLst>
                <a:ahLst/>
                <a:cxnLst>
                  <a:cxn ang="0">
                    <a:pos x="T0" y="T1"/>
                  </a:cxn>
                  <a:cxn ang="0">
                    <a:pos x="T2" y="T3"/>
                  </a:cxn>
                  <a:cxn ang="0">
                    <a:pos x="T4" y="T5"/>
                  </a:cxn>
                  <a:cxn ang="0">
                    <a:pos x="T6" y="T7"/>
                  </a:cxn>
                  <a:cxn ang="0">
                    <a:pos x="T8" y="T9"/>
                  </a:cxn>
                </a:cxnLst>
                <a:rect l="0" t="0" r="r" b="b"/>
                <a:pathLst>
                  <a:path w="79" h="1456">
                    <a:moveTo>
                      <a:pt x="10" y="1456"/>
                    </a:moveTo>
                    <a:lnTo>
                      <a:pt x="69" y="1456"/>
                    </a:lnTo>
                    <a:lnTo>
                      <a:pt x="79" y="0"/>
                    </a:lnTo>
                    <a:lnTo>
                      <a:pt x="0" y="0"/>
                    </a:lnTo>
                    <a:lnTo>
                      <a:pt x="1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76">
                <a:extLst>
                  <a:ext uri="{FF2B5EF4-FFF2-40B4-BE49-F238E27FC236}">
                    <a16:creationId xmlns:a16="http://schemas.microsoft.com/office/drawing/2014/main" id="{B16DD632-2982-4E58-B83E-181B7174C9CF}"/>
                  </a:ext>
                </a:extLst>
              </p:cNvPr>
              <p:cNvSpPr>
                <a:spLocks/>
              </p:cNvSpPr>
              <p:nvPr/>
            </p:nvSpPr>
            <p:spPr bwMode="auto">
              <a:xfrm>
                <a:off x="5940" y="2273"/>
                <a:ext cx="79" cy="1456"/>
              </a:xfrm>
              <a:custGeom>
                <a:avLst/>
                <a:gdLst>
                  <a:gd name="T0" fmla="*/ 10 w 79"/>
                  <a:gd name="T1" fmla="*/ 1456 h 1456"/>
                  <a:gd name="T2" fmla="*/ 69 w 79"/>
                  <a:gd name="T3" fmla="*/ 1456 h 1456"/>
                  <a:gd name="T4" fmla="*/ 79 w 79"/>
                  <a:gd name="T5" fmla="*/ 0 h 1456"/>
                  <a:gd name="T6" fmla="*/ 0 w 79"/>
                  <a:gd name="T7" fmla="*/ 0 h 1456"/>
                  <a:gd name="T8" fmla="*/ 10 w 79"/>
                  <a:gd name="T9" fmla="*/ 1456 h 1456"/>
                </a:gdLst>
                <a:ahLst/>
                <a:cxnLst>
                  <a:cxn ang="0">
                    <a:pos x="T0" y="T1"/>
                  </a:cxn>
                  <a:cxn ang="0">
                    <a:pos x="T2" y="T3"/>
                  </a:cxn>
                  <a:cxn ang="0">
                    <a:pos x="T4" y="T5"/>
                  </a:cxn>
                  <a:cxn ang="0">
                    <a:pos x="T6" y="T7"/>
                  </a:cxn>
                  <a:cxn ang="0">
                    <a:pos x="T8" y="T9"/>
                  </a:cxn>
                </a:cxnLst>
                <a:rect l="0" t="0" r="r" b="b"/>
                <a:pathLst>
                  <a:path w="79" h="1456">
                    <a:moveTo>
                      <a:pt x="10" y="1456"/>
                    </a:moveTo>
                    <a:lnTo>
                      <a:pt x="69" y="1456"/>
                    </a:lnTo>
                    <a:lnTo>
                      <a:pt x="79" y="0"/>
                    </a:lnTo>
                    <a:lnTo>
                      <a:pt x="0" y="0"/>
                    </a:lnTo>
                    <a:lnTo>
                      <a:pt x="1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77">
                <a:extLst>
                  <a:ext uri="{FF2B5EF4-FFF2-40B4-BE49-F238E27FC236}">
                    <a16:creationId xmlns:a16="http://schemas.microsoft.com/office/drawing/2014/main" id="{9A366360-A616-491D-8433-6FB5CBDBCC58}"/>
                  </a:ext>
                </a:extLst>
              </p:cNvPr>
              <p:cNvSpPr>
                <a:spLocks noEditPoints="1"/>
              </p:cNvSpPr>
              <p:nvPr/>
            </p:nvSpPr>
            <p:spPr bwMode="auto">
              <a:xfrm>
                <a:off x="5943" y="2513"/>
                <a:ext cx="73" cy="503"/>
              </a:xfrm>
              <a:custGeom>
                <a:avLst/>
                <a:gdLst>
                  <a:gd name="T0" fmla="*/ 1 w 31"/>
                  <a:gd name="T1" fmla="*/ 190 h 212"/>
                  <a:gd name="T2" fmla="*/ 1 w 31"/>
                  <a:gd name="T3" fmla="*/ 190 h 212"/>
                  <a:gd name="T4" fmla="*/ 1 w 31"/>
                  <a:gd name="T5" fmla="*/ 212 h 212"/>
                  <a:gd name="T6" fmla="*/ 1 w 31"/>
                  <a:gd name="T7" fmla="*/ 211 h 212"/>
                  <a:gd name="T8" fmla="*/ 1 w 31"/>
                  <a:gd name="T9" fmla="*/ 190 h 212"/>
                  <a:gd name="T10" fmla="*/ 1 w 31"/>
                  <a:gd name="T11" fmla="*/ 158 h 212"/>
                  <a:gd name="T12" fmla="*/ 1 w 31"/>
                  <a:gd name="T13" fmla="*/ 189 h 212"/>
                  <a:gd name="T14" fmla="*/ 1 w 31"/>
                  <a:gd name="T15" fmla="*/ 189 h 212"/>
                  <a:gd name="T16" fmla="*/ 1 w 31"/>
                  <a:gd name="T17" fmla="*/ 158 h 212"/>
                  <a:gd name="T18" fmla="*/ 1 w 31"/>
                  <a:gd name="T19" fmla="*/ 158 h 212"/>
                  <a:gd name="T20" fmla="*/ 0 w 31"/>
                  <a:gd name="T21" fmla="*/ 0 h 212"/>
                  <a:gd name="T22" fmla="*/ 0 w 31"/>
                  <a:gd name="T23" fmla="*/ 0 h 212"/>
                  <a:gd name="T24" fmla="*/ 0 w 31"/>
                  <a:gd name="T25" fmla="*/ 61 h 212"/>
                  <a:gd name="T26" fmla="*/ 0 w 31"/>
                  <a:gd name="T27" fmla="*/ 61 h 212"/>
                  <a:gd name="T28" fmla="*/ 0 w 31"/>
                  <a:gd name="T29" fmla="*/ 0 h 212"/>
                  <a:gd name="T30" fmla="*/ 31 w 31"/>
                  <a:gd name="T31" fmla="*/ 0 h 212"/>
                  <a:gd name="T32" fmla="*/ 31 w 31"/>
                  <a:gd name="T33" fmla="*/ 0 h 212"/>
                  <a:gd name="T34" fmla="*/ 31 w 31"/>
                  <a:gd name="T35" fmla="*/ 72 h 212"/>
                  <a:gd name="T36" fmla="*/ 31 w 31"/>
                  <a:gd name="T37" fmla="*/ 72 h 212"/>
                  <a:gd name="T38" fmla="*/ 31 w 31"/>
                  <a:gd name="T3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212">
                    <a:moveTo>
                      <a:pt x="1" y="190"/>
                    </a:moveTo>
                    <a:cubicBezTo>
                      <a:pt x="1" y="190"/>
                      <a:pt x="1" y="190"/>
                      <a:pt x="1" y="190"/>
                    </a:cubicBezTo>
                    <a:cubicBezTo>
                      <a:pt x="1" y="212"/>
                      <a:pt x="1" y="212"/>
                      <a:pt x="1" y="212"/>
                    </a:cubicBezTo>
                    <a:cubicBezTo>
                      <a:pt x="1" y="212"/>
                      <a:pt x="1" y="211"/>
                      <a:pt x="1" y="211"/>
                    </a:cubicBezTo>
                    <a:cubicBezTo>
                      <a:pt x="1" y="190"/>
                      <a:pt x="1" y="190"/>
                      <a:pt x="1" y="190"/>
                    </a:cubicBezTo>
                    <a:moveTo>
                      <a:pt x="1" y="158"/>
                    </a:moveTo>
                    <a:cubicBezTo>
                      <a:pt x="1" y="189"/>
                      <a:pt x="1" y="189"/>
                      <a:pt x="1" y="189"/>
                    </a:cubicBezTo>
                    <a:cubicBezTo>
                      <a:pt x="1" y="189"/>
                      <a:pt x="1" y="189"/>
                      <a:pt x="1" y="189"/>
                    </a:cubicBezTo>
                    <a:cubicBezTo>
                      <a:pt x="1" y="158"/>
                      <a:pt x="1" y="158"/>
                      <a:pt x="1" y="158"/>
                    </a:cubicBezTo>
                    <a:cubicBezTo>
                      <a:pt x="1" y="158"/>
                      <a:pt x="1" y="158"/>
                      <a:pt x="1" y="158"/>
                    </a:cubicBezTo>
                    <a:moveTo>
                      <a:pt x="0" y="0"/>
                    </a:moveTo>
                    <a:cubicBezTo>
                      <a:pt x="0" y="0"/>
                      <a:pt x="0" y="0"/>
                      <a:pt x="0" y="0"/>
                    </a:cubicBezTo>
                    <a:cubicBezTo>
                      <a:pt x="0" y="61"/>
                      <a:pt x="0" y="61"/>
                      <a:pt x="0" y="61"/>
                    </a:cubicBezTo>
                    <a:cubicBezTo>
                      <a:pt x="0" y="61"/>
                      <a:pt x="0" y="61"/>
                      <a:pt x="0" y="61"/>
                    </a:cubicBezTo>
                    <a:cubicBezTo>
                      <a:pt x="0" y="0"/>
                      <a:pt x="0" y="0"/>
                      <a:pt x="0" y="0"/>
                    </a:cubicBezTo>
                    <a:moveTo>
                      <a:pt x="31" y="0"/>
                    </a:moveTo>
                    <a:cubicBezTo>
                      <a:pt x="31" y="0"/>
                      <a:pt x="31" y="0"/>
                      <a:pt x="31" y="0"/>
                    </a:cubicBezTo>
                    <a:cubicBezTo>
                      <a:pt x="31" y="72"/>
                      <a:pt x="31" y="72"/>
                      <a:pt x="31" y="72"/>
                    </a:cubicBezTo>
                    <a:cubicBezTo>
                      <a:pt x="31" y="72"/>
                      <a:pt x="31" y="72"/>
                      <a:pt x="31" y="72"/>
                    </a:cubicBez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178">
                <a:extLst>
                  <a:ext uri="{FF2B5EF4-FFF2-40B4-BE49-F238E27FC236}">
                    <a16:creationId xmlns:a16="http://schemas.microsoft.com/office/drawing/2014/main" id="{CB18A3B3-F479-4D2F-B0A9-3EF2385FE757}"/>
                  </a:ext>
                </a:extLst>
              </p:cNvPr>
              <p:cNvSpPr>
                <a:spLocks noChangeArrowheads="1"/>
              </p:cNvSpPr>
              <p:nvPr/>
            </p:nvSpPr>
            <p:spPr bwMode="auto">
              <a:xfrm>
                <a:off x="5945" y="2962"/>
                <a:ext cx="1" cy="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Rectangle 179">
                <a:extLst>
                  <a:ext uri="{FF2B5EF4-FFF2-40B4-BE49-F238E27FC236}">
                    <a16:creationId xmlns:a16="http://schemas.microsoft.com/office/drawing/2014/main" id="{03564071-F775-4467-8E2D-32D0F08BE037}"/>
                  </a:ext>
                </a:extLst>
              </p:cNvPr>
              <p:cNvSpPr>
                <a:spLocks noChangeArrowheads="1"/>
              </p:cNvSpPr>
              <p:nvPr/>
            </p:nvSpPr>
            <p:spPr bwMode="auto">
              <a:xfrm>
                <a:off x="5945" y="2962"/>
                <a:ext cx="1" cy="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80">
                <a:extLst>
                  <a:ext uri="{FF2B5EF4-FFF2-40B4-BE49-F238E27FC236}">
                    <a16:creationId xmlns:a16="http://schemas.microsoft.com/office/drawing/2014/main" id="{1F01806E-5690-45F2-9153-4D94CA370E08}"/>
                  </a:ext>
                </a:extLst>
              </p:cNvPr>
              <p:cNvSpPr>
                <a:spLocks/>
              </p:cNvSpPr>
              <p:nvPr/>
            </p:nvSpPr>
            <p:spPr bwMode="auto">
              <a:xfrm>
                <a:off x="5950" y="3551"/>
                <a:ext cx="0" cy="54"/>
              </a:xfrm>
              <a:custGeom>
                <a:avLst/>
                <a:gdLst>
                  <a:gd name="T0" fmla="*/ 0 h 23"/>
                  <a:gd name="T1" fmla="*/ 23 h 23"/>
                  <a:gd name="T2" fmla="*/ 23 h 23"/>
                  <a:gd name="T3" fmla="*/ 0 h 23"/>
                  <a:gd name="T4" fmla="*/ 0 h 23"/>
                </a:gdLst>
                <a:ahLst/>
                <a:cxnLst>
                  <a:cxn ang="0">
                    <a:pos x="0" y="T0"/>
                  </a:cxn>
                  <a:cxn ang="0">
                    <a:pos x="0" y="T1"/>
                  </a:cxn>
                  <a:cxn ang="0">
                    <a:pos x="0" y="T2"/>
                  </a:cxn>
                  <a:cxn ang="0">
                    <a:pos x="0" y="T3"/>
                  </a:cxn>
                  <a:cxn ang="0">
                    <a:pos x="0" y="T4"/>
                  </a:cxn>
                </a:cxnLst>
                <a:rect l="0" t="0" r="r" b="b"/>
                <a:pathLst>
                  <a:path h="23">
                    <a:moveTo>
                      <a:pt x="0" y="0"/>
                    </a:moveTo>
                    <a:cubicBezTo>
                      <a:pt x="0" y="23"/>
                      <a:pt x="0" y="23"/>
                      <a:pt x="0" y="23"/>
                    </a:cubicBezTo>
                    <a:cubicBezTo>
                      <a:pt x="0" y="23"/>
                      <a:pt x="0" y="23"/>
                      <a:pt x="0" y="23"/>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81">
                <a:extLst>
                  <a:ext uri="{FF2B5EF4-FFF2-40B4-BE49-F238E27FC236}">
                    <a16:creationId xmlns:a16="http://schemas.microsoft.com/office/drawing/2014/main" id="{C4593B8E-DC4F-4D08-8B9B-7DF501442158}"/>
                  </a:ext>
                </a:extLst>
              </p:cNvPr>
              <p:cNvSpPr>
                <a:spLocks/>
              </p:cNvSpPr>
              <p:nvPr/>
            </p:nvSpPr>
            <p:spPr bwMode="auto">
              <a:xfrm>
                <a:off x="5950" y="3605"/>
                <a:ext cx="0" cy="124"/>
              </a:xfrm>
              <a:custGeom>
                <a:avLst/>
                <a:gdLst>
                  <a:gd name="T0" fmla="*/ 0 h 52"/>
                  <a:gd name="T1" fmla="*/ 52 h 52"/>
                  <a:gd name="T2" fmla="*/ 52 h 52"/>
                  <a:gd name="T3" fmla="*/ 0 h 52"/>
                  <a:gd name="T4" fmla="*/ 0 h 52"/>
                </a:gdLst>
                <a:ahLst/>
                <a:cxnLst>
                  <a:cxn ang="0">
                    <a:pos x="0" y="T0"/>
                  </a:cxn>
                  <a:cxn ang="0">
                    <a:pos x="0" y="T1"/>
                  </a:cxn>
                  <a:cxn ang="0">
                    <a:pos x="0" y="T2"/>
                  </a:cxn>
                  <a:cxn ang="0">
                    <a:pos x="0" y="T3"/>
                  </a:cxn>
                  <a:cxn ang="0">
                    <a:pos x="0" y="T4"/>
                  </a:cxn>
                </a:cxnLst>
                <a:rect l="0" t="0" r="r" b="b"/>
                <a:pathLst>
                  <a:path h="52">
                    <a:moveTo>
                      <a:pt x="0" y="0"/>
                    </a:moveTo>
                    <a:cubicBezTo>
                      <a:pt x="0" y="52"/>
                      <a:pt x="0" y="52"/>
                      <a:pt x="0" y="52"/>
                    </a:cubicBezTo>
                    <a:cubicBezTo>
                      <a:pt x="0" y="52"/>
                      <a:pt x="0" y="52"/>
                      <a:pt x="0" y="52"/>
                    </a:cubicBezTo>
                    <a:cubicBezTo>
                      <a:pt x="0" y="0"/>
                      <a:pt x="0" y="0"/>
                      <a:pt x="0" y="0"/>
                    </a:cubicBezTo>
                    <a:cubicBezTo>
                      <a:pt x="0" y="0"/>
                      <a:pt x="0" y="0"/>
                      <a:pt x="0"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82">
                <a:extLst>
                  <a:ext uri="{FF2B5EF4-FFF2-40B4-BE49-F238E27FC236}">
                    <a16:creationId xmlns:a16="http://schemas.microsoft.com/office/drawing/2014/main" id="{840B5613-AA1C-411D-84B7-25401B266839}"/>
                  </a:ext>
                </a:extLst>
              </p:cNvPr>
              <p:cNvSpPr>
                <a:spLocks noEditPoints="1"/>
              </p:cNvSpPr>
              <p:nvPr/>
            </p:nvSpPr>
            <p:spPr bwMode="auto">
              <a:xfrm>
                <a:off x="5943" y="2513"/>
                <a:ext cx="73" cy="1216"/>
              </a:xfrm>
              <a:custGeom>
                <a:avLst/>
                <a:gdLst>
                  <a:gd name="T0" fmla="*/ 28 w 31"/>
                  <a:gd name="T1" fmla="*/ 390 h 512"/>
                  <a:gd name="T2" fmla="*/ 20 w 31"/>
                  <a:gd name="T3" fmla="*/ 411 h 512"/>
                  <a:gd name="T4" fmla="*/ 25 w 31"/>
                  <a:gd name="T5" fmla="*/ 412 h 512"/>
                  <a:gd name="T6" fmla="*/ 13 w 31"/>
                  <a:gd name="T7" fmla="*/ 440 h 512"/>
                  <a:gd name="T8" fmla="*/ 3 w 31"/>
                  <a:gd name="T9" fmla="*/ 437 h 512"/>
                  <a:gd name="T10" fmla="*/ 3 w 31"/>
                  <a:gd name="T11" fmla="*/ 460 h 512"/>
                  <a:gd name="T12" fmla="*/ 3 w 31"/>
                  <a:gd name="T13" fmla="*/ 512 h 512"/>
                  <a:gd name="T14" fmla="*/ 28 w 31"/>
                  <a:gd name="T15" fmla="*/ 512 h 512"/>
                  <a:gd name="T16" fmla="*/ 28 w 31"/>
                  <a:gd name="T17" fmla="*/ 390 h 512"/>
                  <a:gd name="T18" fmla="*/ 1 w 31"/>
                  <a:gd name="T19" fmla="*/ 158 h 512"/>
                  <a:gd name="T20" fmla="*/ 1 w 31"/>
                  <a:gd name="T21" fmla="*/ 189 h 512"/>
                  <a:gd name="T22" fmla="*/ 1 w 31"/>
                  <a:gd name="T23" fmla="*/ 190 h 512"/>
                  <a:gd name="T24" fmla="*/ 1 w 31"/>
                  <a:gd name="T25" fmla="*/ 211 h 512"/>
                  <a:gd name="T26" fmla="*/ 20 w 31"/>
                  <a:gd name="T27" fmla="*/ 163 h 512"/>
                  <a:gd name="T28" fmla="*/ 10 w 31"/>
                  <a:gd name="T29" fmla="*/ 160 h 512"/>
                  <a:gd name="T30" fmla="*/ 1 w 31"/>
                  <a:gd name="T31" fmla="*/ 158 h 512"/>
                  <a:gd name="T32" fmla="*/ 31 w 31"/>
                  <a:gd name="T33" fmla="*/ 0 h 512"/>
                  <a:gd name="T34" fmla="*/ 0 w 31"/>
                  <a:gd name="T35" fmla="*/ 0 h 512"/>
                  <a:gd name="T36" fmla="*/ 0 w 31"/>
                  <a:gd name="T37" fmla="*/ 61 h 512"/>
                  <a:gd name="T38" fmla="*/ 31 w 31"/>
                  <a:gd name="T39" fmla="*/ 72 h 512"/>
                  <a:gd name="T40" fmla="*/ 31 w 31"/>
                  <a:gd name="T41"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512">
                    <a:moveTo>
                      <a:pt x="28" y="390"/>
                    </a:moveTo>
                    <a:cubicBezTo>
                      <a:pt x="25" y="398"/>
                      <a:pt x="22" y="405"/>
                      <a:pt x="20" y="411"/>
                    </a:cubicBezTo>
                    <a:cubicBezTo>
                      <a:pt x="25" y="412"/>
                      <a:pt x="25" y="412"/>
                      <a:pt x="25" y="412"/>
                    </a:cubicBezTo>
                    <a:cubicBezTo>
                      <a:pt x="13" y="440"/>
                      <a:pt x="13" y="440"/>
                      <a:pt x="13" y="440"/>
                    </a:cubicBezTo>
                    <a:cubicBezTo>
                      <a:pt x="3" y="437"/>
                      <a:pt x="3" y="437"/>
                      <a:pt x="3" y="437"/>
                    </a:cubicBezTo>
                    <a:cubicBezTo>
                      <a:pt x="3" y="460"/>
                      <a:pt x="3" y="460"/>
                      <a:pt x="3" y="460"/>
                    </a:cubicBezTo>
                    <a:cubicBezTo>
                      <a:pt x="3" y="512"/>
                      <a:pt x="3" y="512"/>
                      <a:pt x="3" y="512"/>
                    </a:cubicBezTo>
                    <a:cubicBezTo>
                      <a:pt x="28" y="512"/>
                      <a:pt x="28" y="512"/>
                      <a:pt x="28" y="512"/>
                    </a:cubicBezTo>
                    <a:cubicBezTo>
                      <a:pt x="28" y="390"/>
                      <a:pt x="28" y="390"/>
                      <a:pt x="28" y="390"/>
                    </a:cubicBezTo>
                    <a:moveTo>
                      <a:pt x="1" y="158"/>
                    </a:moveTo>
                    <a:cubicBezTo>
                      <a:pt x="1" y="189"/>
                      <a:pt x="1" y="189"/>
                      <a:pt x="1" y="189"/>
                    </a:cubicBezTo>
                    <a:cubicBezTo>
                      <a:pt x="1" y="190"/>
                      <a:pt x="1" y="190"/>
                      <a:pt x="1" y="190"/>
                    </a:cubicBezTo>
                    <a:cubicBezTo>
                      <a:pt x="1" y="211"/>
                      <a:pt x="1" y="211"/>
                      <a:pt x="1" y="211"/>
                    </a:cubicBezTo>
                    <a:cubicBezTo>
                      <a:pt x="7" y="192"/>
                      <a:pt x="14" y="176"/>
                      <a:pt x="20" y="163"/>
                    </a:cubicBezTo>
                    <a:cubicBezTo>
                      <a:pt x="18" y="163"/>
                      <a:pt x="14" y="162"/>
                      <a:pt x="10" y="160"/>
                    </a:cubicBezTo>
                    <a:cubicBezTo>
                      <a:pt x="7" y="159"/>
                      <a:pt x="4" y="159"/>
                      <a:pt x="1" y="158"/>
                    </a:cubicBezTo>
                    <a:moveTo>
                      <a:pt x="31" y="0"/>
                    </a:moveTo>
                    <a:cubicBezTo>
                      <a:pt x="0" y="0"/>
                      <a:pt x="0" y="0"/>
                      <a:pt x="0" y="0"/>
                    </a:cubicBezTo>
                    <a:cubicBezTo>
                      <a:pt x="0" y="61"/>
                      <a:pt x="0" y="61"/>
                      <a:pt x="0" y="61"/>
                    </a:cubicBezTo>
                    <a:cubicBezTo>
                      <a:pt x="11" y="64"/>
                      <a:pt x="21" y="68"/>
                      <a:pt x="31" y="72"/>
                    </a:cubicBezTo>
                    <a:cubicBezTo>
                      <a:pt x="31" y="0"/>
                      <a:pt x="31" y="0"/>
                      <a:pt x="31" y="0"/>
                    </a:cubicBezTo>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83">
                <a:extLst>
                  <a:ext uri="{FF2B5EF4-FFF2-40B4-BE49-F238E27FC236}">
                    <a16:creationId xmlns:a16="http://schemas.microsoft.com/office/drawing/2014/main" id="{1EBC10F2-96FF-4081-8EFC-11BBE0CFA349}"/>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4 h 204"/>
                  <a:gd name="T6" fmla="*/ 3 w 79"/>
                  <a:gd name="T7" fmla="*/ 204 h 204"/>
                  <a:gd name="T8" fmla="*/ 3 w 79"/>
                  <a:gd name="T9" fmla="*/ 202 h 204"/>
                  <a:gd name="T10" fmla="*/ 0 w 79"/>
                  <a:gd name="T11" fmla="*/ 0 h 204"/>
                  <a:gd name="T12" fmla="*/ 79 w 79"/>
                  <a:gd name="T13" fmla="*/ 0 h 204"/>
                  <a:gd name="T14" fmla="*/ 79 w 79"/>
                  <a:gd name="T15" fmla="*/ 0 h 204"/>
                  <a:gd name="T16" fmla="*/ 76 w 79"/>
                  <a:gd name="T17" fmla="*/ 202 h 204"/>
                  <a:gd name="T18" fmla="*/ 76 w 79"/>
                  <a:gd name="T19" fmla="*/ 204 h 204"/>
                  <a:gd name="T20" fmla="*/ 76 w 79"/>
                  <a:gd name="T21" fmla="*/ 204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4"/>
                    </a:lnTo>
                    <a:lnTo>
                      <a:pt x="3" y="204"/>
                    </a:lnTo>
                    <a:lnTo>
                      <a:pt x="3" y="202"/>
                    </a:lnTo>
                    <a:lnTo>
                      <a:pt x="0" y="0"/>
                    </a:lnTo>
                    <a:close/>
                    <a:moveTo>
                      <a:pt x="79" y="0"/>
                    </a:moveTo>
                    <a:lnTo>
                      <a:pt x="79" y="0"/>
                    </a:lnTo>
                    <a:lnTo>
                      <a:pt x="76" y="202"/>
                    </a:lnTo>
                    <a:lnTo>
                      <a:pt x="76" y="204"/>
                    </a:lnTo>
                    <a:lnTo>
                      <a:pt x="76" y="204"/>
                    </a:lnTo>
                    <a:lnTo>
                      <a:pt x="7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84">
                <a:extLst>
                  <a:ext uri="{FF2B5EF4-FFF2-40B4-BE49-F238E27FC236}">
                    <a16:creationId xmlns:a16="http://schemas.microsoft.com/office/drawing/2014/main" id="{ABC24B2F-78F2-435F-BB37-2694CBCAA435}"/>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4 h 204"/>
                  <a:gd name="T6" fmla="*/ 3 w 79"/>
                  <a:gd name="T7" fmla="*/ 204 h 204"/>
                  <a:gd name="T8" fmla="*/ 3 w 79"/>
                  <a:gd name="T9" fmla="*/ 202 h 204"/>
                  <a:gd name="T10" fmla="*/ 0 w 79"/>
                  <a:gd name="T11" fmla="*/ 0 h 204"/>
                  <a:gd name="T12" fmla="*/ 79 w 79"/>
                  <a:gd name="T13" fmla="*/ 0 h 204"/>
                  <a:gd name="T14" fmla="*/ 79 w 79"/>
                  <a:gd name="T15" fmla="*/ 0 h 204"/>
                  <a:gd name="T16" fmla="*/ 76 w 79"/>
                  <a:gd name="T17" fmla="*/ 202 h 204"/>
                  <a:gd name="T18" fmla="*/ 76 w 79"/>
                  <a:gd name="T19" fmla="*/ 204 h 204"/>
                  <a:gd name="T20" fmla="*/ 76 w 79"/>
                  <a:gd name="T21" fmla="*/ 204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4"/>
                    </a:lnTo>
                    <a:lnTo>
                      <a:pt x="3" y="204"/>
                    </a:lnTo>
                    <a:lnTo>
                      <a:pt x="3" y="202"/>
                    </a:lnTo>
                    <a:lnTo>
                      <a:pt x="0" y="0"/>
                    </a:lnTo>
                    <a:moveTo>
                      <a:pt x="79" y="0"/>
                    </a:moveTo>
                    <a:lnTo>
                      <a:pt x="79" y="0"/>
                    </a:lnTo>
                    <a:lnTo>
                      <a:pt x="76" y="202"/>
                    </a:lnTo>
                    <a:lnTo>
                      <a:pt x="76" y="204"/>
                    </a:lnTo>
                    <a:lnTo>
                      <a:pt x="76" y="20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85">
                <a:extLst>
                  <a:ext uri="{FF2B5EF4-FFF2-40B4-BE49-F238E27FC236}">
                    <a16:creationId xmlns:a16="http://schemas.microsoft.com/office/drawing/2014/main" id="{AB60AFBF-1462-4870-8399-D0E21DBE244F}"/>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2 h 204"/>
                  <a:gd name="T6" fmla="*/ 3 w 79"/>
                  <a:gd name="T7" fmla="*/ 204 h 204"/>
                  <a:gd name="T8" fmla="*/ 3 w 79"/>
                  <a:gd name="T9" fmla="*/ 204 h 204"/>
                  <a:gd name="T10" fmla="*/ 0 w 79"/>
                  <a:gd name="T11" fmla="*/ 0 h 204"/>
                  <a:gd name="T12" fmla="*/ 79 w 79"/>
                  <a:gd name="T13" fmla="*/ 0 h 204"/>
                  <a:gd name="T14" fmla="*/ 79 w 79"/>
                  <a:gd name="T15" fmla="*/ 0 h 204"/>
                  <a:gd name="T16" fmla="*/ 76 w 79"/>
                  <a:gd name="T17" fmla="*/ 204 h 204"/>
                  <a:gd name="T18" fmla="*/ 76 w 79"/>
                  <a:gd name="T19" fmla="*/ 204 h 204"/>
                  <a:gd name="T20" fmla="*/ 76 w 79"/>
                  <a:gd name="T21" fmla="*/ 202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2"/>
                    </a:lnTo>
                    <a:lnTo>
                      <a:pt x="3" y="204"/>
                    </a:lnTo>
                    <a:lnTo>
                      <a:pt x="3" y="204"/>
                    </a:lnTo>
                    <a:lnTo>
                      <a:pt x="0" y="0"/>
                    </a:lnTo>
                    <a:close/>
                    <a:moveTo>
                      <a:pt x="79" y="0"/>
                    </a:moveTo>
                    <a:lnTo>
                      <a:pt x="79" y="0"/>
                    </a:lnTo>
                    <a:lnTo>
                      <a:pt x="76" y="204"/>
                    </a:lnTo>
                    <a:lnTo>
                      <a:pt x="76" y="204"/>
                    </a:lnTo>
                    <a:lnTo>
                      <a:pt x="76" y="202"/>
                    </a:lnTo>
                    <a:lnTo>
                      <a:pt x="7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86">
                <a:extLst>
                  <a:ext uri="{FF2B5EF4-FFF2-40B4-BE49-F238E27FC236}">
                    <a16:creationId xmlns:a16="http://schemas.microsoft.com/office/drawing/2014/main" id="{7F2C9F00-F64F-4348-9B8E-E91A93F50939}"/>
                  </a:ext>
                </a:extLst>
              </p:cNvPr>
              <p:cNvSpPr>
                <a:spLocks noEditPoints="1"/>
              </p:cNvSpPr>
              <p:nvPr/>
            </p:nvSpPr>
            <p:spPr bwMode="auto">
              <a:xfrm>
                <a:off x="5940" y="2309"/>
                <a:ext cx="79" cy="204"/>
              </a:xfrm>
              <a:custGeom>
                <a:avLst/>
                <a:gdLst>
                  <a:gd name="T0" fmla="*/ 0 w 79"/>
                  <a:gd name="T1" fmla="*/ 0 h 204"/>
                  <a:gd name="T2" fmla="*/ 0 w 79"/>
                  <a:gd name="T3" fmla="*/ 0 h 204"/>
                  <a:gd name="T4" fmla="*/ 3 w 79"/>
                  <a:gd name="T5" fmla="*/ 202 h 204"/>
                  <a:gd name="T6" fmla="*/ 3 w 79"/>
                  <a:gd name="T7" fmla="*/ 204 h 204"/>
                  <a:gd name="T8" fmla="*/ 3 w 79"/>
                  <a:gd name="T9" fmla="*/ 204 h 204"/>
                  <a:gd name="T10" fmla="*/ 0 w 79"/>
                  <a:gd name="T11" fmla="*/ 0 h 204"/>
                  <a:gd name="T12" fmla="*/ 79 w 79"/>
                  <a:gd name="T13" fmla="*/ 0 h 204"/>
                  <a:gd name="T14" fmla="*/ 79 w 79"/>
                  <a:gd name="T15" fmla="*/ 0 h 204"/>
                  <a:gd name="T16" fmla="*/ 76 w 79"/>
                  <a:gd name="T17" fmla="*/ 204 h 204"/>
                  <a:gd name="T18" fmla="*/ 76 w 79"/>
                  <a:gd name="T19" fmla="*/ 204 h 204"/>
                  <a:gd name="T20" fmla="*/ 76 w 79"/>
                  <a:gd name="T21" fmla="*/ 202 h 204"/>
                  <a:gd name="T22" fmla="*/ 79 w 79"/>
                  <a:gd name="T2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204">
                    <a:moveTo>
                      <a:pt x="0" y="0"/>
                    </a:moveTo>
                    <a:lnTo>
                      <a:pt x="0" y="0"/>
                    </a:lnTo>
                    <a:lnTo>
                      <a:pt x="3" y="202"/>
                    </a:lnTo>
                    <a:lnTo>
                      <a:pt x="3" y="204"/>
                    </a:lnTo>
                    <a:lnTo>
                      <a:pt x="3" y="204"/>
                    </a:lnTo>
                    <a:lnTo>
                      <a:pt x="0" y="0"/>
                    </a:lnTo>
                    <a:moveTo>
                      <a:pt x="79" y="0"/>
                    </a:moveTo>
                    <a:lnTo>
                      <a:pt x="79" y="0"/>
                    </a:lnTo>
                    <a:lnTo>
                      <a:pt x="76" y="204"/>
                    </a:lnTo>
                    <a:lnTo>
                      <a:pt x="76" y="204"/>
                    </a:lnTo>
                    <a:lnTo>
                      <a:pt x="76" y="202"/>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87">
                <a:extLst>
                  <a:ext uri="{FF2B5EF4-FFF2-40B4-BE49-F238E27FC236}">
                    <a16:creationId xmlns:a16="http://schemas.microsoft.com/office/drawing/2014/main" id="{C6FE7742-570F-4426-97A9-337E37A4B7D1}"/>
                  </a:ext>
                </a:extLst>
              </p:cNvPr>
              <p:cNvSpPr>
                <a:spLocks/>
              </p:cNvSpPr>
              <p:nvPr/>
            </p:nvSpPr>
            <p:spPr bwMode="auto">
              <a:xfrm>
                <a:off x="5940" y="2309"/>
                <a:ext cx="79" cy="204"/>
              </a:xfrm>
              <a:custGeom>
                <a:avLst/>
                <a:gdLst>
                  <a:gd name="T0" fmla="*/ 79 w 79"/>
                  <a:gd name="T1" fmla="*/ 0 h 204"/>
                  <a:gd name="T2" fmla="*/ 0 w 79"/>
                  <a:gd name="T3" fmla="*/ 0 h 204"/>
                  <a:gd name="T4" fmla="*/ 3 w 79"/>
                  <a:gd name="T5" fmla="*/ 204 h 204"/>
                  <a:gd name="T6" fmla="*/ 76 w 79"/>
                  <a:gd name="T7" fmla="*/ 204 h 204"/>
                  <a:gd name="T8" fmla="*/ 79 w 79"/>
                  <a:gd name="T9" fmla="*/ 0 h 204"/>
                </a:gdLst>
                <a:ahLst/>
                <a:cxnLst>
                  <a:cxn ang="0">
                    <a:pos x="T0" y="T1"/>
                  </a:cxn>
                  <a:cxn ang="0">
                    <a:pos x="T2" y="T3"/>
                  </a:cxn>
                  <a:cxn ang="0">
                    <a:pos x="T4" y="T5"/>
                  </a:cxn>
                  <a:cxn ang="0">
                    <a:pos x="T6" y="T7"/>
                  </a:cxn>
                  <a:cxn ang="0">
                    <a:pos x="T8" y="T9"/>
                  </a:cxn>
                </a:cxnLst>
                <a:rect l="0" t="0" r="r" b="b"/>
                <a:pathLst>
                  <a:path w="79" h="204">
                    <a:moveTo>
                      <a:pt x="79" y="0"/>
                    </a:moveTo>
                    <a:lnTo>
                      <a:pt x="0" y="0"/>
                    </a:lnTo>
                    <a:lnTo>
                      <a:pt x="3" y="204"/>
                    </a:lnTo>
                    <a:lnTo>
                      <a:pt x="76" y="204"/>
                    </a:lnTo>
                    <a:lnTo>
                      <a:pt x="79" y="0"/>
                    </a:lnTo>
                    <a:close/>
                  </a:path>
                </a:pathLst>
              </a:custGeom>
              <a:solidFill>
                <a:srgbClr val="767A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88">
                <a:extLst>
                  <a:ext uri="{FF2B5EF4-FFF2-40B4-BE49-F238E27FC236}">
                    <a16:creationId xmlns:a16="http://schemas.microsoft.com/office/drawing/2014/main" id="{D74076A1-273B-4E4F-A1E8-E8501DF23064}"/>
                  </a:ext>
                </a:extLst>
              </p:cNvPr>
              <p:cNvSpPr>
                <a:spLocks/>
              </p:cNvSpPr>
              <p:nvPr/>
            </p:nvSpPr>
            <p:spPr bwMode="auto">
              <a:xfrm>
                <a:off x="5940" y="2309"/>
                <a:ext cx="79" cy="204"/>
              </a:xfrm>
              <a:custGeom>
                <a:avLst/>
                <a:gdLst>
                  <a:gd name="T0" fmla="*/ 79 w 79"/>
                  <a:gd name="T1" fmla="*/ 0 h 204"/>
                  <a:gd name="T2" fmla="*/ 0 w 79"/>
                  <a:gd name="T3" fmla="*/ 0 h 204"/>
                  <a:gd name="T4" fmla="*/ 3 w 79"/>
                  <a:gd name="T5" fmla="*/ 204 h 204"/>
                  <a:gd name="T6" fmla="*/ 76 w 79"/>
                  <a:gd name="T7" fmla="*/ 204 h 204"/>
                  <a:gd name="T8" fmla="*/ 79 w 79"/>
                  <a:gd name="T9" fmla="*/ 0 h 204"/>
                </a:gdLst>
                <a:ahLst/>
                <a:cxnLst>
                  <a:cxn ang="0">
                    <a:pos x="T0" y="T1"/>
                  </a:cxn>
                  <a:cxn ang="0">
                    <a:pos x="T2" y="T3"/>
                  </a:cxn>
                  <a:cxn ang="0">
                    <a:pos x="T4" y="T5"/>
                  </a:cxn>
                  <a:cxn ang="0">
                    <a:pos x="T6" y="T7"/>
                  </a:cxn>
                  <a:cxn ang="0">
                    <a:pos x="T8" y="T9"/>
                  </a:cxn>
                </a:cxnLst>
                <a:rect l="0" t="0" r="r" b="b"/>
                <a:pathLst>
                  <a:path w="79" h="204">
                    <a:moveTo>
                      <a:pt x="79" y="0"/>
                    </a:moveTo>
                    <a:lnTo>
                      <a:pt x="0" y="0"/>
                    </a:lnTo>
                    <a:lnTo>
                      <a:pt x="3" y="204"/>
                    </a:lnTo>
                    <a:lnTo>
                      <a:pt x="76" y="204"/>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89">
                <a:extLst>
                  <a:ext uri="{FF2B5EF4-FFF2-40B4-BE49-F238E27FC236}">
                    <a16:creationId xmlns:a16="http://schemas.microsoft.com/office/drawing/2014/main" id="{691DAC5E-5AD4-43CC-8D4E-949B6BA4097E}"/>
                  </a:ext>
                </a:extLst>
              </p:cNvPr>
              <p:cNvSpPr>
                <a:spLocks/>
              </p:cNvSpPr>
              <p:nvPr/>
            </p:nvSpPr>
            <p:spPr bwMode="auto">
              <a:xfrm>
                <a:off x="5332"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90">
                <a:extLst>
                  <a:ext uri="{FF2B5EF4-FFF2-40B4-BE49-F238E27FC236}">
                    <a16:creationId xmlns:a16="http://schemas.microsoft.com/office/drawing/2014/main" id="{11B36650-3481-46DB-8157-AB9CFA494C15}"/>
                  </a:ext>
                </a:extLst>
              </p:cNvPr>
              <p:cNvSpPr>
                <a:spLocks/>
              </p:cNvSpPr>
              <p:nvPr/>
            </p:nvSpPr>
            <p:spPr bwMode="auto">
              <a:xfrm>
                <a:off x="5332" y="2273"/>
                <a:ext cx="164" cy="1456"/>
              </a:xfrm>
              <a:custGeom>
                <a:avLst/>
                <a:gdLst>
                  <a:gd name="T0" fmla="*/ 0 w 164"/>
                  <a:gd name="T1" fmla="*/ 1456 h 1456"/>
                  <a:gd name="T2" fmla="*/ 57 w 164"/>
                  <a:gd name="T3" fmla="*/ 1456 h 1456"/>
                  <a:gd name="T4" fmla="*/ 164 w 164"/>
                  <a:gd name="T5" fmla="*/ 0 h 1456"/>
                  <a:gd name="T6" fmla="*/ 86 w 164"/>
                  <a:gd name="T7" fmla="*/ 0 h 1456"/>
                  <a:gd name="T8" fmla="*/ 0 w 164"/>
                  <a:gd name="T9" fmla="*/ 1456 h 1456"/>
                </a:gdLst>
                <a:ahLst/>
                <a:cxnLst>
                  <a:cxn ang="0">
                    <a:pos x="T0" y="T1"/>
                  </a:cxn>
                  <a:cxn ang="0">
                    <a:pos x="T2" y="T3"/>
                  </a:cxn>
                  <a:cxn ang="0">
                    <a:pos x="T4" y="T5"/>
                  </a:cxn>
                  <a:cxn ang="0">
                    <a:pos x="T6" y="T7"/>
                  </a:cxn>
                  <a:cxn ang="0">
                    <a:pos x="T8" y="T9"/>
                  </a:cxn>
                </a:cxnLst>
                <a:rect l="0" t="0" r="r" b="b"/>
                <a:pathLst>
                  <a:path w="164" h="1456">
                    <a:moveTo>
                      <a:pt x="0" y="1456"/>
                    </a:moveTo>
                    <a:lnTo>
                      <a:pt x="57" y="1456"/>
                    </a:lnTo>
                    <a:lnTo>
                      <a:pt x="164" y="0"/>
                    </a:lnTo>
                    <a:lnTo>
                      <a:pt x="86" y="0"/>
                    </a:lnTo>
                    <a:lnTo>
                      <a:pt x="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91">
                <a:extLst>
                  <a:ext uri="{FF2B5EF4-FFF2-40B4-BE49-F238E27FC236}">
                    <a16:creationId xmlns:a16="http://schemas.microsoft.com/office/drawing/2014/main" id="{52F90E22-AB82-40BB-985D-72240C19B18A}"/>
                  </a:ext>
                </a:extLst>
              </p:cNvPr>
              <p:cNvSpPr>
                <a:spLocks noEditPoints="1"/>
              </p:cNvSpPr>
              <p:nvPr/>
            </p:nvSpPr>
            <p:spPr bwMode="auto">
              <a:xfrm>
                <a:off x="5332" y="3605"/>
                <a:ext cx="67" cy="124"/>
              </a:xfrm>
              <a:custGeom>
                <a:avLst/>
                <a:gdLst>
                  <a:gd name="T0" fmla="*/ 3 w 67"/>
                  <a:gd name="T1" fmla="*/ 93 h 124"/>
                  <a:gd name="T2" fmla="*/ 3 w 67"/>
                  <a:gd name="T3" fmla="*/ 93 h 124"/>
                  <a:gd name="T4" fmla="*/ 0 w 67"/>
                  <a:gd name="T5" fmla="*/ 124 h 124"/>
                  <a:gd name="T6" fmla="*/ 0 w 67"/>
                  <a:gd name="T7" fmla="*/ 124 h 124"/>
                  <a:gd name="T8" fmla="*/ 3 w 67"/>
                  <a:gd name="T9" fmla="*/ 93 h 124"/>
                  <a:gd name="T10" fmla="*/ 67 w 67"/>
                  <a:gd name="T11" fmla="*/ 0 h 124"/>
                  <a:gd name="T12" fmla="*/ 67 w 67"/>
                  <a:gd name="T13" fmla="*/ 0 h 124"/>
                  <a:gd name="T14" fmla="*/ 57 w 67"/>
                  <a:gd name="T15" fmla="*/ 124 h 124"/>
                  <a:gd name="T16" fmla="*/ 57 w 67"/>
                  <a:gd name="T17" fmla="*/ 124 h 124"/>
                  <a:gd name="T18" fmla="*/ 67 w 67"/>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4">
                    <a:moveTo>
                      <a:pt x="3" y="93"/>
                    </a:moveTo>
                    <a:lnTo>
                      <a:pt x="3" y="93"/>
                    </a:lnTo>
                    <a:lnTo>
                      <a:pt x="0" y="124"/>
                    </a:lnTo>
                    <a:lnTo>
                      <a:pt x="0" y="124"/>
                    </a:lnTo>
                    <a:lnTo>
                      <a:pt x="3" y="93"/>
                    </a:lnTo>
                    <a:close/>
                    <a:moveTo>
                      <a:pt x="67" y="0"/>
                    </a:moveTo>
                    <a:lnTo>
                      <a:pt x="67" y="0"/>
                    </a:lnTo>
                    <a:lnTo>
                      <a:pt x="57" y="124"/>
                    </a:lnTo>
                    <a:lnTo>
                      <a:pt x="57" y="124"/>
                    </a:lnTo>
                    <a:lnTo>
                      <a:pt x="67"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92">
                <a:extLst>
                  <a:ext uri="{FF2B5EF4-FFF2-40B4-BE49-F238E27FC236}">
                    <a16:creationId xmlns:a16="http://schemas.microsoft.com/office/drawing/2014/main" id="{CD6CB623-C818-4911-96A6-65437684A8DF}"/>
                  </a:ext>
                </a:extLst>
              </p:cNvPr>
              <p:cNvSpPr>
                <a:spLocks noEditPoints="1"/>
              </p:cNvSpPr>
              <p:nvPr/>
            </p:nvSpPr>
            <p:spPr bwMode="auto">
              <a:xfrm>
                <a:off x="5332" y="3605"/>
                <a:ext cx="67" cy="124"/>
              </a:xfrm>
              <a:custGeom>
                <a:avLst/>
                <a:gdLst>
                  <a:gd name="T0" fmla="*/ 3 w 67"/>
                  <a:gd name="T1" fmla="*/ 93 h 124"/>
                  <a:gd name="T2" fmla="*/ 3 w 67"/>
                  <a:gd name="T3" fmla="*/ 93 h 124"/>
                  <a:gd name="T4" fmla="*/ 0 w 67"/>
                  <a:gd name="T5" fmla="*/ 124 h 124"/>
                  <a:gd name="T6" fmla="*/ 0 w 67"/>
                  <a:gd name="T7" fmla="*/ 124 h 124"/>
                  <a:gd name="T8" fmla="*/ 3 w 67"/>
                  <a:gd name="T9" fmla="*/ 93 h 124"/>
                  <a:gd name="T10" fmla="*/ 67 w 67"/>
                  <a:gd name="T11" fmla="*/ 0 h 124"/>
                  <a:gd name="T12" fmla="*/ 67 w 67"/>
                  <a:gd name="T13" fmla="*/ 0 h 124"/>
                  <a:gd name="T14" fmla="*/ 57 w 67"/>
                  <a:gd name="T15" fmla="*/ 124 h 124"/>
                  <a:gd name="T16" fmla="*/ 57 w 67"/>
                  <a:gd name="T17" fmla="*/ 124 h 124"/>
                  <a:gd name="T18" fmla="*/ 67 w 67"/>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4">
                    <a:moveTo>
                      <a:pt x="3" y="93"/>
                    </a:moveTo>
                    <a:lnTo>
                      <a:pt x="3" y="93"/>
                    </a:lnTo>
                    <a:lnTo>
                      <a:pt x="0" y="124"/>
                    </a:lnTo>
                    <a:lnTo>
                      <a:pt x="0" y="124"/>
                    </a:lnTo>
                    <a:lnTo>
                      <a:pt x="3" y="93"/>
                    </a:lnTo>
                    <a:moveTo>
                      <a:pt x="67" y="0"/>
                    </a:moveTo>
                    <a:lnTo>
                      <a:pt x="67" y="0"/>
                    </a:lnTo>
                    <a:lnTo>
                      <a:pt x="57" y="124"/>
                    </a:lnTo>
                    <a:lnTo>
                      <a:pt x="57" y="124"/>
                    </a:lnTo>
                    <a:lnTo>
                      <a:pt x="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Rectangle 193">
                <a:extLst>
                  <a:ext uri="{FF2B5EF4-FFF2-40B4-BE49-F238E27FC236}">
                    <a16:creationId xmlns:a16="http://schemas.microsoft.com/office/drawing/2014/main" id="{DF24701E-035C-4D02-837E-539361E7E250}"/>
                  </a:ext>
                </a:extLst>
              </p:cNvPr>
              <p:cNvSpPr>
                <a:spLocks noChangeArrowheads="1"/>
              </p:cNvSpPr>
              <p:nvPr/>
            </p:nvSpPr>
            <p:spPr bwMode="auto">
              <a:xfrm>
                <a:off x="5335" y="3691"/>
                <a:ext cx="1" cy="7"/>
              </a:xfrm>
              <a:prstGeom prst="rect">
                <a:avLst/>
              </a:prstGeom>
              <a:solidFill>
                <a:srgbClr val="A0BD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Rectangle 194">
                <a:extLst>
                  <a:ext uri="{FF2B5EF4-FFF2-40B4-BE49-F238E27FC236}">
                    <a16:creationId xmlns:a16="http://schemas.microsoft.com/office/drawing/2014/main" id="{528674AE-8621-4978-8FCF-F9DC7D379BDB}"/>
                  </a:ext>
                </a:extLst>
              </p:cNvPr>
              <p:cNvSpPr>
                <a:spLocks noChangeArrowheads="1"/>
              </p:cNvSpPr>
              <p:nvPr/>
            </p:nvSpPr>
            <p:spPr bwMode="auto">
              <a:xfrm>
                <a:off x="5335" y="3691"/>
                <a:ext cx="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95">
                <a:extLst>
                  <a:ext uri="{FF2B5EF4-FFF2-40B4-BE49-F238E27FC236}">
                    <a16:creationId xmlns:a16="http://schemas.microsoft.com/office/drawing/2014/main" id="{B011B373-F779-4396-AFDB-35415CF90268}"/>
                  </a:ext>
                </a:extLst>
              </p:cNvPr>
              <p:cNvSpPr>
                <a:spLocks noEditPoints="1"/>
              </p:cNvSpPr>
              <p:nvPr/>
            </p:nvSpPr>
            <p:spPr bwMode="auto">
              <a:xfrm>
                <a:off x="5335" y="3420"/>
                <a:ext cx="16" cy="271"/>
              </a:xfrm>
              <a:custGeom>
                <a:avLst/>
                <a:gdLst>
                  <a:gd name="T0" fmla="*/ 4 w 16"/>
                  <a:gd name="T1" fmla="*/ 185 h 271"/>
                  <a:gd name="T2" fmla="*/ 4 w 16"/>
                  <a:gd name="T3" fmla="*/ 185 h 271"/>
                  <a:gd name="T4" fmla="*/ 0 w 16"/>
                  <a:gd name="T5" fmla="*/ 271 h 271"/>
                  <a:gd name="T6" fmla="*/ 0 w 16"/>
                  <a:gd name="T7" fmla="*/ 271 h 271"/>
                  <a:gd name="T8" fmla="*/ 4 w 16"/>
                  <a:gd name="T9" fmla="*/ 185 h 271"/>
                  <a:gd name="T10" fmla="*/ 16 w 16"/>
                  <a:gd name="T11" fmla="*/ 0 h 271"/>
                  <a:gd name="T12" fmla="*/ 12 w 16"/>
                  <a:gd name="T13" fmla="*/ 67 h 271"/>
                  <a:gd name="T14" fmla="*/ 12 w 16"/>
                  <a:gd name="T15" fmla="*/ 67 h 271"/>
                  <a:gd name="T16" fmla="*/ 16 w 16"/>
                  <a:gd name="T17" fmla="*/ 0 h 271"/>
                  <a:gd name="T18" fmla="*/ 16 w 16"/>
                  <a:gd name="T1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71">
                    <a:moveTo>
                      <a:pt x="4" y="185"/>
                    </a:moveTo>
                    <a:lnTo>
                      <a:pt x="4" y="185"/>
                    </a:lnTo>
                    <a:lnTo>
                      <a:pt x="0" y="271"/>
                    </a:lnTo>
                    <a:lnTo>
                      <a:pt x="0" y="271"/>
                    </a:lnTo>
                    <a:lnTo>
                      <a:pt x="4" y="185"/>
                    </a:lnTo>
                    <a:close/>
                    <a:moveTo>
                      <a:pt x="16" y="0"/>
                    </a:moveTo>
                    <a:lnTo>
                      <a:pt x="12" y="67"/>
                    </a:lnTo>
                    <a:lnTo>
                      <a:pt x="12" y="67"/>
                    </a:lnTo>
                    <a:lnTo>
                      <a:pt x="16" y="0"/>
                    </a:lnTo>
                    <a:lnTo>
                      <a:pt x="16" y="0"/>
                    </a:lnTo>
                    <a:close/>
                  </a:path>
                </a:pathLst>
              </a:custGeom>
              <a:solidFill>
                <a:srgbClr val="D0DE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96">
                <a:extLst>
                  <a:ext uri="{FF2B5EF4-FFF2-40B4-BE49-F238E27FC236}">
                    <a16:creationId xmlns:a16="http://schemas.microsoft.com/office/drawing/2014/main" id="{4E3F7404-4FEB-4FEF-AFBE-A26FB2AE6139}"/>
                  </a:ext>
                </a:extLst>
              </p:cNvPr>
              <p:cNvSpPr>
                <a:spLocks noEditPoints="1"/>
              </p:cNvSpPr>
              <p:nvPr/>
            </p:nvSpPr>
            <p:spPr bwMode="auto">
              <a:xfrm>
                <a:off x="5335" y="3420"/>
                <a:ext cx="16" cy="271"/>
              </a:xfrm>
              <a:custGeom>
                <a:avLst/>
                <a:gdLst>
                  <a:gd name="T0" fmla="*/ 4 w 16"/>
                  <a:gd name="T1" fmla="*/ 185 h 271"/>
                  <a:gd name="T2" fmla="*/ 4 w 16"/>
                  <a:gd name="T3" fmla="*/ 185 h 271"/>
                  <a:gd name="T4" fmla="*/ 0 w 16"/>
                  <a:gd name="T5" fmla="*/ 271 h 271"/>
                  <a:gd name="T6" fmla="*/ 0 w 16"/>
                  <a:gd name="T7" fmla="*/ 271 h 271"/>
                  <a:gd name="T8" fmla="*/ 4 w 16"/>
                  <a:gd name="T9" fmla="*/ 185 h 271"/>
                  <a:gd name="T10" fmla="*/ 16 w 16"/>
                  <a:gd name="T11" fmla="*/ 0 h 271"/>
                  <a:gd name="T12" fmla="*/ 12 w 16"/>
                  <a:gd name="T13" fmla="*/ 67 h 271"/>
                  <a:gd name="T14" fmla="*/ 12 w 16"/>
                  <a:gd name="T15" fmla="*/ 67 h 271"/>
                  <a:gd name="T16" fmla="*/ 16 w 16"/>
                  <a:gd name="T17" fmla="*/ 0 h 271"/>
                  <a:gd name="T18" fmla="*/ 16 w 16"/>
                  <a:gd name="T19"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71">
                    <a:moveTo>
                      <a:pt x="4" y="185"/>
                    </a:moveTo>
                    <a:lnTo>
                      <a:pt x="4" y="185"/>
                    </a:lnTo>
                    <a:lnTo>
                      <a:pt x="0" y="271"/>
                    </a:lnTo>
                    <a:lnTo>
                      <a:pt x="0" y="271"/>
                    </a:lnTo>
                    <a:lnTo>
                      <a:pt x="4" y="185"/>
                    </a:lnTo>
                    <a:moveTo>
                      <a:pt x="16" y="0"/>
                    </a:moveTo>
                    <a:lnTo>
                      <a:pt x="12" y="67"/>
                    </a:lnTo>
                    <a:lnTo>
                      <a:pt x="12" y="67"/>
                    </a:lnTo>
                    <a:lnTo>
                      <a:pt x="16" y="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97">
                <a:extLst>
                  <a:ext uri="{FF2B5EF4-FFF2-40B4-BE49-F238E27FC236}">
                    <a16:creationId xmlns:a16="http://schemas.microsoft.com/office/drawing/2014/main" id="{476B9B7E-E646-4713-BA7C-DC6222191C24}"/>
                  </a:ext>
                </a:extLst>
              </p:cNvPr>
              <p:cNvSpPr>
                <a:spLocks noEditPoints="1"/>
              </p:cNvSpPr>
              <p:nvPr/>
            </p:nvSpPr>
            <p:spPr bwMode="auto">
              <a:xfrm>
                <a:off x="5332" y="3420"/>
                <a:ext cx="67" cy="309"/>
              </a:xfrm>
              <a:custGeom>
                <a:avLst/>
                <a:gdLst>
                  <a:gd name="T0" fmla="*/ 67 w 67"/>
                  <a:gd name="T1" fmla="*/ 185 h 309"/>
                  <a:gd name="T2" fmla="*/ 62 w 67"/>
                  <a:gd name="T3" fmla="*/ 185 h 309"/>
                  <a:gd name="T4" fmla="*/ 7 w 67"/>
                  <a:gd name="T5" fmla="*/ 185 h 309"/>
                  <a:gd name="T6" fmla="*/ 3 w 67"/>
                  <a:gd name="T7" fmla="*/ 271 h 309"/>
                  <a:gd name="T8" fmla="*/ 3 w 67"/>
                  <a:gd name="T9" fmla="*/ 278 h 309"/>
                  <a:gd name="T10" fmla="*/ 0 w 67"/>
                  <a:gd name="T11" fmla="*/ 309 h 309"/>
                  <a:gd name="T12" fmla="*/ 57 w 67"/>
                  <a:gd name="T13" fmla="*/ 309 h 309"/>
                  <a:gd name="T14" fmla="*/ 67 w 67"/>
                  <a:gd name="T15" fmla="*/ 185 h 309"/>
                  <a:gd name="T16" fmla="*/ 19 w 67"/>
                  <a:gd name="T17" fmla="*/ 0 h 309"/>
                  <a:gd name="T18" fmla="*/ 15 w 67"/>
                  <a:gd name="T19" fmla="*/ 67 h 309"/>
                  <a:gd name="T20" fmla="*/ 19 w 67"/>
                  <a:gd name="T21" fmla="*/ 64 h 309"/>
                  <a:gd name="T22" fmla="*/ 19 w 67"/>
                  <a:gd name="T2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09">
                    <a:moveTo>
                      <a:pt x="67" y="185"/>
                    </a:moveTo>
                    <a:lnTo>
                      <a:pt x="62" y="185"/>
                    </a:lnTo>
                    <a:lnTo>
                      <a:pt x="7" y="185"/>
                    </a:lnTo>
                    <a:lnTo>
                      <a:pt x="3" y="271"/>
                    </a:lnTo>
                    <a:lnTo>
                      <a:pt x="3" y="278"/>
                    </a:lnTo>
                    <a:lnTo>
                      <a:pt x="0" y="309"/>
                    </a:lnTo>
                    <a:lnTo>
                      <a:pt x="57" y="309"/>
                    </a:lnTo>
                    <a:lnTo>
                      <a:pt x="67" y="185"/>
                    </a:lnTo>
                    <a:close/>
                    <a:moveTo>
                      <a:pt x="19" y="0"/>
                    </a:moveTo>
                    <a:lnTo>
                      <a:pt x="15" y="67"/>
                    </a:lnTo>
                    <a:lnTo>
                      <a:pt x="19" y="64"/>
                    </a:lnTo>
                    <a:lnTo>
                      <a:pt x="19" y="0"/>
                    </a:lnTo>
                    <a:close/>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98">
                <a:extLst>
                  <a:ext uri="{FF2B5EF4-FFF2-40B4-BE49-F238E27FC236}">
                    <a16:creationId xmlns:a16="http://schemas.microsoft.com/office/drawing/2014/main" id="{0B68CB8C-815D-486D-97C2-614566FA8BB2}"/>
                  </a:ext>
                </a:extLst>
              </p:cNvPr>
              <p:cNvSpPr>
                <a:spLocks noEditPoints="1"/>
              </p:cNvSpPr>
              <p:nvPr/>
            </p:nvSpPr>
            <p:spPr bwMode="auto">
              <a:xfrm>
                <a:off x="5332" y="3420"/>
                <a:ext cx="67" cy="309"/>
              </a:xfrm>
              <a:custGeom>
                <a:avLst/>
                <a:gdLst>
                  <a:gd name="T0" fmla="*/ 67 w 67"/>
                  <a:gd name="T1" fmla="*/ 185 h 309"/>
                  <a:gd name="T2" fmla="*/ 62 w 67"/>
                  <a:gd name="T3" fmla="*/ 185 h 309"/>
                  <a:gd name="T4" fmla="*/ 7 w 67"/>
                  <a:gd name="T5" fmla="*/ 185 h 309"/>
                  <a:gd name="T6" fmla="*/ 3 w 67"/>
                  <a:gd name="T7" fmla="*/ 271 h 309"/>
                  <a:gd name="T8" fmla="*/ 3 w 67"/>
                  <a:gd name="T9" fmla="*/ 278 h 309"/>
                  <a:gd name="T10" fmla="*/ 0 w 67"/>
                  <a:gd name="T11" fmla="*/ 309 h 309"/>
                  <a:gd name="T12" fmla="*/ 57 w 67"/>
                  <a:gd name="T13" fmla="*/ 309 h 309"/>
                  <a:gd name="T14" fmla="*/ 67 w 67"/>
                  <a:gd name="T15" fmla="*/ 185 h 309"/>
                  <a:gd name="T16" fmla="*/ 19 w 67"/>
                  <a:gd name="T17" fmla="*/ 0 h 309"/>
                  <a:gd name="T18" fmla="*/ 15 w 67"/>
                  <a:gd name="T19" fmla="*/ 67 h 309"/>
                  <a:gd name="T20" fmla="*/ 19 w 67"/>
                  <a:gd name="T21" fmla="*/ 64 h 309"/>
                  <a:gd name="T22" fmla="*/ 19 w 67"/>
                  <a:gd name="T2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09">
                    <a:moveTo>
                      <a:pt x="67" y="185"/>
                    </a:moveTo>
                    <a:lnTo>
                      <a:pt x="62" y="185"/>
                    </a:lnTo>
                    <a:lnTo>
                      <a:pt x="7" y="185"/>
                    </a:lnTo>
                    <a:lnTo>
                      <a:pt x="3" y="271"/>
                    </a:lnTo>
                    <a:lnTo>
                      <a:pt x="3" y="278"/>
                    </a:lnTo>
                    <a:lnTo>
                      <a:pt x="0" y="309"/>
                    </a:lnTo>
                    <a:lnTo>
                      <a:pt x="57" y="309"/>
                    </a:lnTo>
                    <a:lnTo>
                      <a:pt x="67" y="185"/>
                    </a:lnTo>
                    <a:moveTo>
                      <a:pt x="19" y="0"/>
                    </a:moveTo>
                    <a:lnTo>
                      <a:pt x="15" y="67"/>
                    </a:lnTo>
                    <a:lnTo>
                      <a:pt x="19" y="64"/>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99">
                <a:extLst>
                  <a:ext uri="{FF2B5EF4-FFF2-40B4-BE49-F238E27FC236}">
                    <a16:creationId xmlns:a16="http://schemas.microsoft.com/office/drawing/2014/main" id="{D5D8B6CC-E37C-4124-A830-37FAFDF544F1}"/>
                  </a:ext>
                </a:extLst>
              </p:cNvPr>
              <p:cNvSpPr>
                <a:spLocks/>
              </p:cNvSpPr>
              <p:nvPr/>
            </p:nvSpPr>
            <p:spPr bwMode="auto">
              <a:xfrm>
                <a:off x="6938" y="2273"/>
                <a:ext cx="164" cy="1456"/>
              </a:xfrm>
              <a:custGeom>
                <a:avLst/>
                <a:gdLst>
                  <a:gd name="T0" fmla="*/ 104 w 164"/>
                  <a:gd name="T1" fmla="*/ 1456 h 1456"/>
                  <a:gd name="T2" fmla="*/ 164 w 164"/>
                  <a:gd name="T3" fmla="*/ 1456 h 1456"/>
                  <a:gd name="T4" fmla="*/ 78 w 164"/>
                  <a:gd name="T5" fmla="*/ 0 h 1456"/>
                  <a:gd name="T6" fmla="*/ 0 w 164"/>
                  <a:gd name="T7" fmla="*/ 0 h 1456"/>
                  <a:gd name="T8" fmla="*/ 104 w 164"/>
                  <a:gd name="T9" fmla="*/ 1456 h 1456"/>
                </a:gdLst>
                <a:ahLst/>
                <a:cxnLst>
                  <a:cxn ang="0">
                    <a:pos x="T0" y="T1"/>
                  </a:cxn>
                  <a:cxn ang="0">
                    <a:pos x="T2" y="T3"/>
                  </a:cxn>
                  <a:cxn ang="0">
                    <a:pos x="T4" y="T5"/>
                  </a:cxn>
                  <a:cxn ang="0">
                    <a:pos x="T6" y="T7"/>
                  </a:cxn>
                  <a:cxn ang="0">
                    <a:pos x="T8" y="T9"/>
                  </a:cxn>
                </a:cxnLst>
                <a:rect l="0" t="0" r="r" b="b"/>
                <a:pathLst>
                  <a:path w="164" h="1456">
                    <a:moveTo>
                      <a:pt x="104" y="1456"/>
                    </a:moveTo>
                    <a:lnTo>
                      <a:pt x="164" y="1456"/>
                    </a:lnTo>
                    <a:lnTo>
                      <a:pt x="78" y="0"/>
                    </a:lnTo>
                    <a:lnTo>
                      <a:pt x="0" y="0"/>
                    </a:lnTo>
                    <a:lnTo>
                      <a:pt x="104" y="14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00">
                <a:extLst>
                  <a:ext uri="{FF2B5EF4-FFF2-40B4-BE49-F238E27FC236}">
                    <a16:creationId xmlns:a16="http://schemas.microsoft.com/office/drawing/2014/main" id="{5F55054B-D935-4C75-985D-26B903A2C07F}"/>
                  </a:ext>
                </a:extLst>
              </p:cNvPr>
              <p:cNvSpPr>
                <a:spLocks/>
              </p:cNvSpPr>
              <p:nvPr/>
            </p:nvSpPr>
            <p:spPr bwMode="auto">
              <a:xfrm>
                <a:off x="6938" y="2273"/>
                <a:ext cx="164" cy="1456"/>
              </a:xfrm>
              <a:custGeom>
                <a:avLst/>
                <a:gdLst>
                  <a:gd name="T0" fmla="*/ 104 w 164"/>
                  <a:gd name="T1" fmla="*/ 1456 h 1456"/>
                  <a:gd name="T2" fmla="*/ 164 w 164"/>
                  <a:gd name="T3" fmla="*/ 1456 h 1456"/>
                  <a:gd name="T4" fmla="*/ 78 w 164"/>
                  <a:gd name="T5" fmla="*/ 0 h 1456"/>
                  <a:gd name="T6" fmla="*/ 0 w 164"/>
                  <a:gd name="T7" fmla="*/ 0 h 1456"/>
                  <a:gd name="T8" fmla="*/ 104 w 164"/>
                  <a:gd name="T9" fmla="*/ 1456 h 1456"/>
                </a:gdLst>
                <a:ahLst/>
                <a:cxnLst>
                  <a:cxn ang="0">
                    <a:pos x="T0" y="T1"/>
                  </a:cxn>
                  <a:cxn ang="0">
                    <a:pos x="T2" y="T3"/>
                  </a:cxn>
                  <a:cxn ang="0">
                    <a:pos x="T4" y="T5"/>
                  </a:cxn>
                  <a:cxn ang="0">
                    <a:pos x="T6" y="T7"/>
                  </a:cxn>
                  <a:cxn ang="0">
                    <a:pos x="T8" y="T9"/>
                  </a:cxn>
                </a:cxnLst>
                <a:rect l="0" t="0" r="r" b="b"/>
                <a:pathLst>
                  <a:path w="164" h="1456">
                    <a:moveTo>
                      <a:pt x="104" y="1456"/>
                    </a:moveTo>
                    <a:lnTo>
                      <a:pt x="164" y="1456"/>
                    </a:lnTo>
                    <a:lnTo>
                      <a:pt x="78" y="0"/>
                    </a:lnTo>
                    <a:lnTo>
                      <a:pt x="0" y="0"/>
                    </a:lnTo>
                    <a:lnTo>
                      <a:pt x="104"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201">
                <a:extLst>
                  <a:ext uri="{FF2B5EF4-FFF2-40B4-BE49-F238E27FC236}">
                    <a16:creationId xmlns:a16="http://schemas.microsoft.com/office/drawing/2014/main" id="{C4C7D99F-D917-4A83-8480-5F14DABCD742}"/>
                  </a:ext>
                </a:extLst>
              </p:cNvPr>
              <p:cNvSpPr>
                <a:spLocks noEditPoints="1"/>
              </p:cNvSpPr>
              <p:nvPr/>
            </p:nvSpPr>
            <p:spPr bwMode="auto">
              <a:xfrm>
                <a:off x="6940" y="2309"/>
                <a:ext cx="48" cy="648"/>
              </a:xfrm>
              <a:custGeom>
                <a:avLst/>
                <a:gdLst>
                  <a:gd name="T0" fmla="*/ 13 w 20"/>
                  <a:gd name="T1" fmla="*/ 179 h 273"/>
                  <a:gd name="T2" fmla="*/ 20 w 20"/>
                  <a:gd name="T3" fmla="*/ 273 h 273"/>
                  <a:gd name="T4" fmla="*/ 20 w 20"/>
                  <a:gd name="T5" fmla="*/ 273 h 273"/>
                  <a:gd name="T6" fmla="*/ 13 w 20"/>
                  <a:gd name="T7" fmla="*/ 179 h 273"/>
                  <a:gd name="T8" fmla="*/ 13 w 20"/>
                  <a:gd name="T9" fmla="*/ 179 h 273"/>
                  <a:gd name="T10" fmla="*/ 8 w 20"/>
                  <a:gd name="T11" fmla="*/ 106 h 273"/>
                  <a:gd name="T12" fmla="*/ 9 w 20"/>
                  <a:gd name="T13" fmla="*/ 122 h 273"/>
                  <a:gd name="T14" fmla="*/ 9 w 20"/>
                  <a:gd name="T15" fmla="*/ 122 h 273"/>
                  <a:gd name="T16" fmla="*/ 8 w 20"/>
                  <a:gd name="T17" fmla="*/ 106 h 273"/>
                  <a:gd name="T18" fmla="*/ 8 w 20"/>
                  <a:gd name="T19" fmla="*/ 106 h 273"/>
                  <a:gd name="T20" fmla="*/ 0 w 20"/>
                  <a:gd name="T21" fmla="*/ 0 h 273"/>
                  <a:gd name="T22" fmla="*/ 0 w 20"/>
                  <a:gd name="T23" fmla="*/ 0 h 273"/>
                  <a:gd name="T24" fmla="*/ 1 w 20"/>
                  <a:gd name="T25" fmla="*/ 15 h 273"/>
                  <a:gd name="T26" fmla="*/ 6 w 20"/>
                  <a:gd name="T27" fmla="*/ 72 h 273"/>
                  <a:gd name="T28" fmla="*/ 6 w 20"/>
                  <a:gd name="T29" fmla="*/ 72 h 273"/>
                  <a:gd name="T30" fmla="*/ 0 w 2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73">
                    <a:moveTo>
                      <a:pt x="13" y="179"/>
                    </a:moveTo>
                    <a:cubicBezTo>
                      <a:pt x="20" y="273"/>
                      <a:pt x="20" y="273"/>
                      <a:pt x="20" y="273"/>
                    </a:cubicBezTo>
                    <a:cubicBezTo>
                      <a:pt x="20" y="273"/>
                      <a:pt x="20" y="273"/>
                      <a:pt x="20" y="273"/>
                    </a:cubicBezTo>
                    <a:cubicBezTo>
                      <a:pt x="13" y="179"/>
                      <a:pt x="13" y="179"/>
                      <a:pt x="13" y="179"/>
                    </a:cubicBezTo>
                    <a:cubicBezTo>
                      <a:pt x="13" y="179"/>
                      <a:pt x="13" y="179"/>
                      <a:pt x="13" y="179"/>
                    </a:cubicBezTo>
                    <a:moveTo>
                      <a:pt x="8" y="106"/>
                    </a:moveTo>
                    <a:cubicBezTo>
                      <a:pt x="9" y="122"/>
                      <a:pt x="9" y="122"/>
                      <a:pt x="9" y="122"/>
                    </a:cubicBezTo>
                    <a:cubicBezTo>
                      <a:pt x="9" y="122"/>
                      <a:pt x="9" y="122"/>
                      <a:pt x="9" y="122"/>
                    </a:cubicBezTo>
                    <a:cubicBezTo>
                      <a:pt x="8" y="106"/>
                      <a:pt x="8" y="106"/>
                      <a:pt x="8" y="106"/>
                    </a:cubicBezTo>
                    <a:cubicBezTo>
                      <a:pt x="8" y="106"/>
                      <a:pt x="8" y="106"/>
                      <a:pt x="8" y="106"/>
                    </a:cubicBezTo>
                    <a:moveTo>
                      <a:pt x="0" y="0"/>
                    </a:moveTo>
                    <a:cubicBezTo>
                      <a:pt x="0" y="0"/>
                      <a:pt x="0" y="0"/>
                      <a:pt x="0" y="0"/>
                    </a:cubicBezTo>
                    <a:cubicBezTo>
                      <a:pt x="1" y="15"/>
                      <a:pt x="1" y="15"/>
                      <a:pt x="1" y="15"/>
                    </a:cubicBezTo>
                    <a:cubicBezTo>
                      <a:pt x="6" y="72"/>
                      <a:pt x="6" y="72"/>
                      <a:pt x="6" y="72"/>
                    </a:cubicBezTo>
                    <a:cubicBezTo>
                      <a:pt x="6" y="72"/>
                      <a:pt x="6" y="72"/>
                      <a:pt x="6" y="72"/>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202">
                <a:extLst>
                  <a:ext uri="{FF2B5EF4-FFF2-40B4-BE49-F238E27FC236}">
                    <a16:creationId xmlns:a16="http://schemas.microsoft.com/office/drawing/2014/main" id="{C6F57899-6247-4815-B5E5-137763288276}"/>
                  </a:ext>
                </a:extLst>
              </p:cNvPr>
              <p:cNvSpPr>
                <a:spLocks noEditPoints="1"/>
              </p:cNvSpPr>
              <p:nvPr/>
            </p:nvSpPr>
            <p:spPr bwMode="auto">
              <a:xfrm>
                <a:off x="6954" y="2480"/>
                <a:ext cx="17" cy="254"/>
              </a:xfrm>
              <a:custGeom>
                <a:avLst/>
                <a:gdLst>
                  <a:gd name="T0" fmla="*/ 3 w 7"/>
                  <a:gd name="T1" fmla="*/ 50 h 107"/>
                  <a:gd name="T2" fmla="*/ 3 w 7"/>
                  <a:gd name="T3" fmla="*/ 50 h 107"/>
                  <a:gd name="T4" fmla="*/ 7 w 7"/>
                  <a:gd name="T5" fmla="*/ 107 h 107"/>
                  <a:gd name="T6" fmla="*/ 7 w 7"/>
                  <a:gd name="T7" fmla="*/ 107 h 107"/>
                  <a:gd name="T8" fmla="*/ 3 w 7"/>
                  <a:gd name="T9" fmla="*/ 50 h 107"/>
                  <a:gd name="T10" fmla="*/ 0 w 7"/>
                  <a:gd name="T11" fmla="*/ 0 h 107"/>
                  <a:gd name="T12" fmla="*/ 2 w 7"/>
                  <a:gd name="T13" fmla="*/ 34 h 107"/>
                  <a:gd name="T14" fmla="*/ 2 w 7"/>
                  <a:gd name="T15" fmla="*/ 34 h 107"/>
                  <a:gd name="T16" fmla="*/ 0 w 7"/>
                  <a:gd name="T17" fmla="*/ 0 h 107"/>
                  <a:gd name="T18" fmla="*/ 0 w 7"/>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7">
                    <a:moveTo>
                      <a:pt x="3" y="50"/>
                    </a:moveTo>
                    <a:cubicBezTo>
                      <a:pt x="3" y="50"/>
                      <a:pt x="3" y="50"/>
                      <a:pt x="3" y="50"/>
                    </a:cubicBezTo>
                    <a:cubicBezTo>
                      <a:pt x="7" y="107"/>
                      <a:pt x="7" y="107"/>
                      <a:pt x="7" y="107"/>
                    </a:cubicBezTo>
                    <a:cubicBezTo>
                      <a:pt x="7" y="107"/>
                      <a:pt x="7" y="107"/>
                      <a:pt x="7" y="107"/>
                    </a:cubicBezTo>
                    <a:cubicBezTo>
                      <a:pt x="3" y="50"/>
                      <a:pt x="3" y="50"/>
                      <a:pt x="3" y="50"/>
                    </a:cubicBezTo>
                    <a:moveTo>
                      <a:pt x="0" y="0"/>
                    </a:moveTo>
                    <a:cubicBezTo>
                      <a:pt x="2" y="34"/>
                      <a:pt x="2" y="34"/>
                      <a:pt x="2" y="34"/>
                    </a:cubicBezTo>
                    <a:cubicBezTo>
                      <a:pt x="2" y="34"/>
                      <a:pt x="2" y="34"/>
                      <a:pt x="2" y="34"/>
                    </a:cubicBezTo>
                    <a:cubicBezTo>
                      <a:pt x="0" y="0"/>
                      <a:pt x="0" y="0"/>
                      <a:pt x="0" y="0"/>
                    </a:cubicBezTo>
                    <a:cubicBezTo>
                      <a:pt x="0" y="0"/>
                      <a:pt x="0" y="0"/>
                      <a:pt x="0" y="0"/>
                    </a:cubicBezTo>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203">
                <a:extLst>
                  <a:ext uri="{FF2B5EF4-FFF2-40B4-BE49-F238E27FC236}">
                    <a16:creationId xmlns:a16="http://schemas.microsoft.com/office/drawing/2014/main" id="{C2296976-FABC-4F72-A903-B8EB8EF63C3E}"/>
                  </a:ext>
                </a:extLst>
              </p:cNvPr>
              <p:cNvSpPr>
                <a:spLocks/>
              </p:cNvSpPr>
              <p:nvPr/>
            </p:nvSpPr>
            <p:spPr bwMode="auto">
              <a:xfrm>
                <a:off x="6992" y="3040"/>
                <a:ext cx="3" cy="24"/>
              </a:xfrm>
              <a:custGeom>
                <a:avLst/>
                <a:gdLst>
                  <a:gd name="T0" fmla="*/ 0 w 3"/>
                  <a:gd name="T1" fmla="*/ 0 h 24"/>
                  <a:gd name="T2" fmla="*/ 0 w 3"/>
                  <a:gd name="T3" fmla="*/ 0 h 24"/>
                  <a:gd name="T4" fmla="*/ 3 w 3"/>
                  <a:gd name="T5" fmla="*/ 24 h 24"/>
                  <a:gd name="T6" fmla="*/ 0 w 3"/>
                  <a:gd name="T7" fmla="*/ 0 h 24"/>
                </a:gdLst>
                <a:ahLst/>
                <a:cxnLst>
                  <a:cxn ang="0">
                    <a:pos x="T0" y="T1"/>
                  </a:cxn>
                  <a:cxn ang="0">
                    <a:pos x="T2" y="T3"/>
                  </a:cxn>
                  <a:cxn ang="0">
                    <a:pos x="T4" y="T5"/>
                  </a:cxn>
                  <a:cxn ang="0">
                    <a:pos x="T6" y="T7"/>
                  </a:cxn>
                </a:cxnLst>
                <a:rect l="0" t="0" r="r" b="b"/>
                <a:pathLst>
                  <a:path w="3" h="24">
                    <a:moveTo>
                      <a:pt x="0" y="0"/>
                    </a:moveTo>
                    <a:lnTo>
                      <a:pt x="0" y="0"/>
                    </a:lnTo>
                    <a:lnTo>
                      <a:pt x="3" y="24"/>
                    </a:lnTo>
                    <a:lnTo>
                      <a:pt x="0"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204">
                <a:extLst>
                  <a:ext uri="{FF2B5EF4-FFF2-40B4-BE49-F238E27FC236}">
                    <a16:creationId xmlns:a16="http://schemas.microsoft.com/office/drawing/2014/main" id="{AD275FD6-9E00-4ACC-B3A6-290DBD15694A}"/>
                  </a:ext>
                </a:extLst>
              </p:cNvPr>
              <p:cNvSpPr>
                <a:spLocks/>
              </p:cNvSpPr>
              <p:nvPr/>
            </p:nvSpPr>
            <p:spPr bwMode="auto">
              <a:xfrm>
                <a:off x="6992" y="3040"/>
                <a:ext cx="3" cy="24"/>
              </a:xfrm>
              <a:custGeom>
                <a:avLst/>
                <a:gdLst>
                  <a:gd name="T0" fmla="*/ 0 w 3"/>
                  <a:gd name="T1" fmla="*/ 0 h 24"/>
                  <a:gd name="T2" fmla="*/ 0 w 3"/>
                  <a:gd name="T3" fmla="*/ 0 h 24"/>
                  <a:gd name="T4" fmla="*/ 3 w 3"/>
                  <a:gd name="T5" fmla="*/ 24 h 24"/>
                  <a:gd name="T6" fmla="*/ 0 w 3"/>
                  <a:gd name="T7" fmla="*/ 0 h 24"/>
                </a:gdLst>
                <a:ahLst/>
                <a:cxnLst>
                  <a:cxn ang="0">
                    <a:pos x="T0" y="T1"/>
                  </a:cxn>
                  <a:cxn ang="0">
                    <a:pos x="T2" y="T3"/>
                  </a:cxn>
                  <a:cxn ang="0">
                    <a:pos x="T4" y="T5"/>
                  </a:cxn>
                  <a:cxn ang="0">
                    <a:pos x="T6" y="T7"/>
                  </a:cxn>
                </a:cxnLst>
                <a:rect l="0" t="0" r="r" b="b"/>
                <a:pathLst>
                  <a:path w="3" h="24">
                    <a:moveTo>
                      <a:pt x="0" y="0"/>
                    </a:moveTo>
                    <a:lnTo>
                      <a:pt x="0" y="0"/>
                    </a:lnTo>
                    <a:lnTo>
                      <a:pt x="3" y="2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Freeform 206">
              <a:extLst>
                <a:ext uri="{FF2B5EF4-FFF2-40B4-BE49-F238E27FC236}">
                  <a16:creationId xmlns:a16="http://schemas.microsoft.com/office/drawing/2014/main" id="{0EC89DDF-9829-4FF6-8A6F-9FC8EB1E9C01}"/>
                </a:ext>
              </a:extLst>
            </p:cNvPr>
            <p:cNvSpPr>
              <a:spLocks/>
            </p:cNvSpPr>
            <p:nvPr/>
          </p:nvSpPr>
          <p:spPr bwMode="auto">
            <a:xfrm>
              <a:off x="6988" y="2957"/>
              <a:ext cx="4" cy="83"/>
            </a:xfrm>
            <a:custGeom>
              <a:avLst/>
              <a:gdLst>
                <a:gd name="T0" fmla="*/ 0 w 4"/>
                <a:gd name="T1" fmla="*/ 0 h 83"/>
                <a:gd name="T2" fmla="*/ 0 w 4"/>
                <a:gd name="T3" fmla="*/ 0 h 83"/>
                <a:gd name="T4" fmla="*/ 4 w 4"/>
                <a:gd name="T5" fmla="*/ 83 h 83"/>
                <a:gd name="T6" fmla="*/ 4 w 4"/>
                <a:gd name="T7" fmla="*/ 83 h 83"/>
                <a:gd name="T8" fmla="*/ 0 w 4"/>
                <a:gd name="T9" fmla="*/ 0 h 83"/>
              </a:gdLst>
              <a:ahLst/>
              <a:cxnLst>
                <a:cxn ang="0">
                  <a:pos x="T0" y="T1"/>
                </a:cxn>
                <a:cxn ang="0">
                  <a:pos x="T2" y="T3"/>
                </a:cxn>
                <a:cxn ang="0">
                  <a:pos x="T4" y="T5"/>
                </a:cxn>
                <a:cxn ang="0">
                  <a:pos x="T6" y="T7"/>
                </a:cxn>
                <a:cxn ang="0">
                  <a:pos x="T8" y="T9"/>
                </a:cxn>
              </a:cxnLst>
              <a:rect l="0" t="0" r="r" b="b"/>
              <a:pathLst>
                <a:path w="4" h="83">
                  <a:moveTo>
                    <a:pt x="0" y="0"/>
                  </a:moveTo>
                  <a:lnTo>
                    <a:pt x="0" y="0"/>
                  </a:lnTo>
                  <a:lnTo>
                    <a:pt x="4" y="83"/>
                  </a:lnTo>
                  <a:lnTo>
                    <a:pt x="4" y="83"/>
                  </a:lnTo>
                  <a:lnTo>
                    <a:pt x="0" y="0"/>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7">
              <a:extLst>
                <a:ext uri="{FF2B5EF4-FFF2-40B4-BE49-F238E27FC236}">
                  <a16:creationId xmlns:a16="http://schemas.microsoft.com/office/drawing/2014/main" id="{C2D0B274-2A16-409E-A390-65F35F8D5A08}"/>
                </a:ext>
              </a:extLst>
            </p:cNvPr>
            <p:cNvSpPr>
              <a:spLocks/>
            </p:cNvSpPr>
            <p:nvPr/>
          </p:nvSpPr>
          <p:spPr bwMode="auto">
            <a:xfrm>
              <a:off x="6988" y="2957"/>
              <a:ext cx="4" cy="83"/>
            </a:xfrm>
            <a:custGeom>
              <a:avLst/>
              <a:gdLst>
                <a:gd name="T0" fmla="*/ 0 w 4"/>
                <a:gd name="T1" fmla="*/ 0 h 83"/>
                <a:gd name="T2" fmla="*/ 0 w 4"/>
                <a:gd name="T3" fmla="*/ 0 h 83"/>
                <a:gd name="T4" fmla="*/ 4 w 4"/>
                <a:gd name="T5" fmla="*/ 83 h 83"/>
                <a:gd name="T6" fmla="*/ 4 w 4"/>
                <a:gd name="T7" fmla="*/ 83 h 83"/>
                <a:gd name="T8" fmla="*/ 0 w 4"/>
                <a:gd name="T9" fmla="*/ 0 h 83"/>
              </a:gdLst>
              <a:ahLst/>
              <a:cxnLst>
                <a:cxn ang="0">
                  <a:pos x="T0" y="T1"/>
                </a:cxn>
                <a:cxn ang="0">
                  <a:pos x="T2" y="T3"/>
                </a:cxn>
                <a:cxn ang="0">
                  <a:pos x="T4" y="T5"/>
                </a:cxn>
                <a:cxn ang="0">
                  <a:pos x="T6" y="T7"/>
                </a:cxn>
                <a:cxn ang="0">
                  <a:pos x="T8" y="T9"/>
                </a:cxn>
              </a:cxnLst>
              <a:rect l="0" t="0" r="r" b="b"/>
              <a:pathLst>
                <a:path w="4" h="83">
                  <a:moveTo>
                    <a:pt x="0" y="0"/>
                  </a:moveTo>
                  <a:lnTo>
                    <a:pt x="0" y="0"/>
                  </a:lnTo>
                  <a:lnTo>
                    <a:pt x="4" y="83"/>
                  </a:lnTo>
                  <a:lnTo>
                    <a:pt x="4" y="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8">
              <a:extLst>
                <a:ext uri="{FF2B5EF4-FFF2-40B4-BE49-F238E27FC236}">
                  <a16:creationId xmlns:a16="http://schemas.microsoft.com/office/drawing/2014/main" id="{A5CDA1F2-8BA9-4945-A894-91DAEBA77D7F}"/>
                </a:ext>
              </a:extLst>
            </p:cNvPr>
            <p:cNvSpPr>
              <a:spLocks/>
            </p:cNvSpPr>
            <p:nvPr/>
          </p:nvSpPr>
          <p:spPr bwMode="auto">
            <a:xfrm>
              <a:off x="6940" y="2309"/>
              <a:ext cx="162" cy="1420"/>
            </a:xfrm>
            <a:custGeom>
              <a:avLst/>
              <a:gdLst>
                <a:gd name="T0" fmla="*/ 0 w 162"/>
                <a:gd name="T1" fmla="*/ 0 h 1420"/>
                <a:gd name="T2" fmla="*/ 0 w 162"/>
                <a:gd name="T3" fmla="*/ 0 h 1420"/>
                <a:gd name="T4" fmla="*/ 14 w 162"/>
                <a:gd name="T5" fmla="*/ 171 h 1420"/>
                <a:gd name="T6" fmla="*/ 19 w 162"/>
                <a:gd name="T7" fmla="*/ 251 h 1420"/>
                <a:gd name="T8" fmla="*/ 22 w 162"/>
                <a:gd name="T9" fmla="*/ 289 h 1420"/>
                <a:gd name="T10" fmla="*/ 31 w 162"/>
                <a:gd name="T11" fmla="*/ 425 h 1420"/>
                <a:gd name="T12" fmla="*/ 48 w 162"/>
                <a:gd name="T13" fmla="*/ 648 h 1420"/>
                <a:gd name="T14" fmla="*/ 52 w 162"/>
                <a:gd name="T15" fmla="*/ 731 h 1420"/>
                <a:gd name="T16" fmla="*/ 55 w 162"/>
                <a:gd name="T17" fmla="*/ 755 h 1420"/>
                <a:gd name="T18" fmla="*/ 102 w 162"/>
                <a:gd name="T19" fmla="*/ 1420 h 1420"/>
                <a:gd name="T20" fmla="*/ 162 w 162"/>
                <a:gd name="T21" fmla="*/ 1420 h 1420"/>
                <a:gd name="T22" fmla="*/ 81 w 162"/>
                <a:gd name="T23" fmla="*/ 35 h 1420"/>
                <a:gd name="T24" fmla="*/ 79 w 162"/>
                <a:gd name="T25" fmla="*/ 33 h 1420"/>
                <a:gd name="T26" fmla="*/ 3 w 162"/>
                <a:gd name="T27" fmla="*/ 33 h 1420"/>
                <a:gd name="T28" fmla="*/ 0 w 162"/>
                <a:gd name="T29" fmla="*/ 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0">
                  <a:moveTo>
                    <a:pt x="0" y="0"/>
                  </a:moveTo>
                  <a:lnTo>
                    <a:pt x="0" y="0"/>
                  </a:lnTo>
                  <a:lnTo>
                    <a:pt x="14" y="171"/>
                  </a:lnTo>
                  <a:lnTo>
                    <a:pt x="19" y="251"/>
                  </a:lnTo>
                  <a:lnTo>
                    <a:pt x="22" y="289"/>
                  </a:lnTo>
                  <a:lnTo>
                    <a:pt x="31" y="425"/>
                  </a:lnTo>
                  <a:lnTo>
                    <a:pt x="48" y="648"/>
                  </a:lnTo>
                  <a:lnTo>
                    <a:pt x="52" y="731"/>
                  </a:lnTo>
                  <a:lnTo>
                    <a:pt x="55" y="755"/>
                  </a:lnTo>
                  <a:lnTo>
                    <a:pt x="102" y="1420"/>
                  </a:lnTo>
                  <a:lnTo>
                    <a:pt x="162" y="1420"/>
                  </a:lnTo>
                  <a:lnTo>
                    <a:pt x="81" y="35"/>
                  </a:lnTo>
                  <a:lnTo>
                    <a:pt x="79" y="33"/>
                  </a:lnTo>
                  <a:lnTo>
                    <a:pt x="3" y="33"/>
                  </a:lnTo>
                  <a:lnTo>
                    <a:pt x="0" y="0"/>
                  </a:lnTo>
                  <a:close/>
                </a:path>
              </a:pathLst>
            </a:custGeom>
            <a:solidFill>
              <a:srgbClr val="9399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09">
              <a:extLst>
                <a:ext uri="{FF2B5EF4-FFF2-40B4-BE49-F238E27FC236}">
                  <a16:creationId xmlns:a16="http://schemas.microsoft.com/office/drawing/2014/main" id="{E32A266E-A8D3-42D7-88AE-AF26902EA2B1}"/>
                </a:ext>
              </a:extLst>
            </p:cNvPr>
            <p:cNvSpPr>
              <a:spLocks/>
            </p:cNvSpPr>
            <p:nvPr/>
          </p:nvSpPr>
          <p:spPr bwMode="auto">
            <a:xfrm>
              <a:off x="6940" y="2309"/>
              <a:ext cx="162" cy="1420"/>
            </a:xfrm>
            <a:custGeom>
              <a:avLst/>
              <a:gdLst>
                <a:gd name="T0" fmla="*/ 0 w 162"/>
                <a:gd name="T1" fmla="*/ 0 h 1420"/>
                <a:gd name="T2" fmla="*/ 0 w 162"/>
                <a:gd name="T3" fmla="*/ 0 h 1420"/>
                <a:gd name="T4" fmla="*/ 14 w 162"/>
                <a:gd name="T5" fmla="*/ 171 h 1420"/>
                <a:gd name="T6" fmla="*/ 19 w 162"/>
                <a:gd name="T7" fmla="*/ 251 h 1420"/>
                <a:gd name="T8" fmla="*/ 22 w 162"/>
                <a:gd name="T9" fmla="*/ 289 h 1420"/>
                <a:gd name="T10" fmla="*/ 31 w 162"/>
                <a:gd name="T11" fmla="*/ 425 h 1420"/>
                <a:gd name="T12" fmla="*/ 48 w 162"/>
                <a:gd name="T13" fmla="*/ 648 h 1420"/>
                <a:gd name="T14" fmla="*/ 52 w 162"/>
                <a:gd name="T15" fmla="*/ 731 h 1420"/>
                <a:gd name="T16" fmla="*/ 55 w 162"/>
                <a:gd name="T17" fmla="*/ 755 h 1420"/>
                <a:gd name="T18" fmla="*/ 102 w 162"/>
                <a:gd name="T19" fmla="*/ 1420 h 1420"/>
                <a:gd name="T20" fmla="*/ 162 w 162"/>
                <a:gd name="T21" fmla="*/ 1420 h 1420"/>
                <a:gd name="T22" fmla="*/ 81 w 162"/>
                <a:gd name="T23" fmla="*/ 35 h 1420"/>
                <a:gd name="T24" fmla="*/ 79 w 162"/>
                <a:gd name="T25" fmla="*/ 33 h 1420"/>
                <a:gd name="T26" fmla="*/ 3 w 162"/>
                <a:gd name="T27" fmla="*/ 33 h 1420"/>
                <a:gd name="T28" fmla="*/ 0 w 162"/>
                <a:gd name="T29" fmla="*/ 0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0">
                  <a:moveTo>
                    <a:pt x="0" y="0"/>
                  </a:moveTo>
                  <a:lnTo>
                    <a:pt x="0" y="0"/>
                  </a:lnTo>
                  <a:lnTo>
                    <a:pt x="14" y="171"/>
                  </a:lnTo>
                  <a:lnTo>
                    <a:pt x="19" y="251"/>
                  </a:lnTo>
                  <a:lnTo>
                    <a:pt x="22" y="289"/>
                  </a:lnTo>
                  <a:lnTo>
                    <a:pt x="31" y="425"/>
                  </a:lnTo>
                  <a:lnTo>
                    <a:pt x="48" y="648"/>
                  </a:lnTo>
                  <a:lnTo>
                    <a:pt x="52" y="731"/>
                  </a:lnTo>
                  <a:lnTo>
                    <a:pt x="55" y="755"/>
                  </a:lnTo>
                  <a:lnTo>
                    <a:pt x="102" y="1420"/>
                  </a:lnTo>
                  <a:lnTo>
                    <a:pt x="162" y="1420"/>
                  </a:lnTo>
                  <a:lnTo>
                    <a:pt x="81" y="35"/>
                  </a:lnTo>
                  <a:lnTo>
                    <a:pt x="79" y="33"/>
                  </a:lnTo>
                  <a:lnTo>
                    <a:pt x="3"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10">
              <a:extLst>
                <a:ext uri="{FF2B5EF4-FFF2-40B4-BE49-F238E27FC236}">
                  <a16:creationId xmlns:a16="http://schemas.microsoft.com/office/drawing/2014/main" id="{BBF774A1-0AC3-4931-B15B-7B31966EE50F}"/>
                </a:ext>
              </a:extLst>
            </p:cNvPr>
            <p:cNvSpPr>
              <a:spLocks/>
            </p:cNvSpPr>
            <p:nvPr/>
          </p:nvSpPr>
          <p:spPr bwMode="auto">
            <a:xfrm>
              <a:off x="7019" y="2309"/>
              <a:ext cx="2" cy="33"/>
            </a:xfrm>
            <a:custGeom>
              <a:avLst/>
              <a:gdLst>
                <a:gd name="T0" fmla="*/ 0 w 2"/>
                <a:gd name="T1" fmla="*/ 0 h 33"/>
                <a:gd name="T2" fmla="*/ 0 w 2"/>
                <a:gd name="T3" fmla="*/ 0 h 33"/>
                <a:gd name="T4" fmla="*/ 0 w 2"/>
                <a:gd name="T5" fmla="*/ 33 h 33"/>
                <a:gd name="T6" fmla="*/ 2 w 2"/>
                <a:gd name="T7" fmla="*/ 33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0" y="0"/>
                  </a:lnTo>
                  <a:lnTo>
                    <a:pt x="0" y="33"/>
                  </a:lnTo>
                  <a:lnTo>
                    <a:pt x="2" y="33"/>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11">
              <a:extLst>
                <a:ext uri="{FF2B5EF4-FFF2-40B4-BE49-F238E27FC236}">
                  <a16:creationId xmlns:a16="http://schemas.microsoft.com/office/drawing/2014/main" id="{4BDED646-145D-4DAF-8FD9-7A3E26208F11}"/>
                </a:ext>
              </a:extLst>
            </p:cNvPr>
            <p:cNvSpPr>
              <a:spLocks/>
            </p:cNvSpPr>
            <p:nvPr/>
          </p:nvSpPr>
          <p:spPr bwMode="auto">
            <a:xfrm>
              <a:off x="7019" y="2309"/>
              <a:ext cx="2" cy="33"/>
            </a:xfrm>
            <a:custGeom>
              <a:avLst/>
              <a:gdLst>
                <a:gd name="T0" fmla="*/ 0 w 2"/>
                <a:gd name="T1" fmla="*/ 0 h 33"/>
                <a:gd name="T2" fmla="*/ 0 w 2"/>
                <a:gd name="T3" fmla="*/ 0 h 33"/>
                <a:gd name="T4" fmla="*/ 0 w 2"/>
                <a:gd name="T5" fmla="*/ 33 h 33"/>
                <a:gd name="T6" fmla="*/ 2 w 2"/>
                <a:gd name="T7" fmla="*/ 33 h 33"/>
                <a:gd name="T8" fmla="*/ 0 w 2"/>
                <a:gd name="T9" fmla="*/ 0 h 33"/>
              </a:gdLst>
              <a:ahLst/>
              <a:cxnLst>
                <a:cxn ang="0">
                  <a:pos x="T0" y="T1"/>
                </a:cxn>
                <a:cxn ang="0">
                  <a:pos x="T2" y="T3"/>
                </a:cxn>
                <a:cxn ang="0">
                  <a:pos x="T4" y="T5"/>
                </a:cxn>
                <a:cxn ang="0">
                  <a:pos x="T6" y="T7"/>
                </a:cxn>
                <a:cxn ang="0">
                  <a:pos x="T8" y="T9"/>
                </a:cxn>
              </a:cxnLst>
              <a:rect l="0" t="0" r="r" b="b"/>
              <a:pathLst>
                <a:path w="2" h="33">
                  <a:moveTo>
                    <a:pt x="0" y="0"/>
                  </a:moveTo>
                  <a:lnTo>
                    <a:pt x="0" y="0"/>
                  </a:lnTo>
                  <a:lnTo>
                    <a:pt x="0" y="33"/>
                  </a:lnTo>
                  <a:lnTo>
                    <a:pt x="2" y="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12">
              <a:extLst>
                <a:ext uri="{FF2B5EF4-FFF2-40B4-BE49-F238E27FC236}">
                  <a16:creationId xmlns:a16="http://schemas.microsoft.com/office/drawing/2014/main" id="{1DF726FE-5622-4204-8C96-5A831FA2EFBC}"/>
                </a:ext>
              </a:extLst>
            </p:cNvPr>
            <p:cNvSpPr>
              <a:spLocks noChangeArrowheads="1"/>
            </p:cNvSpPr>
            <p:nvPr/>
          </p:nvSpPr>
          <p:spPr bwMode="auto">
            <a:xfrm>
              <a:off x="7019" y="2309"/>
              <a:ext cx="1" cy="33"/>
            </a:xfrm>
            <a:prstGeom prst="rect">
              <a:avLst/>
            </a:prstGeom>
            <a:solidFill>
              <a:srgbClr val="1E28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3">
              <a:extLst>
                <a:ext uri="{FF2B5EF4-FFF2-40B4-BE49-F238E27FC236}">
                  <a16:creationId xmlns:a16="http://schemas.microsoft.com/office/drawing/2014/main" id="{272D2EEE-BBD1-41B7-A0AB-8FCABBCDFFE0}"/>
                </a:ext>
              </a:extLst>
            </p:cNvPr>
            <p:cNvSpPr>
              <a:spLocks noChangeArrowheads="1"/>
            </p:cNvSpPr>
            <p:nvPr/>
          </p:nvSpPr>
          <p:spPr bwMode="auto">
            <a:xfrm>
              <a:off x="7019" y="2309"/>
              <a:ext cx="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4">
              <a:extLst>
                <a:ext uri="{FF2B5EF4-FFF2-40B4-BE49-F238E27FC236}">
                  <a16:creationId xmlns:a16="http://schemas.microsoft.com/office/drawing/2014/main" id="{3F31C951-FAAE-4F03-B9AD-F1627EC6A436}"/>
                </a:ext>
              </a:extLst>
            </p:cNvPr>
            <p:cNvSpPr>
              <a:spLocks/>
            </p:cNvSpPr>
            <p:nvPr/>
          </p:nvSpPr>
          <p:spPr bwMode="auto">
            <a:xfrm>
              <a:off x="6940" y="2309"/>
              <a:ext cx="79" cy="33"/>
            </a:xfrm>
            <a:custGeom>
              <a:avLst/>
              <a:gdLst>
                <a:gd name="T0" fmla="*/ 79 w 79"/>
                <a:gd name="T1" fmla="*/ 0 h 33"/>
                <a:gd name="T2" fmla="*/ 0 w 79"/>
                <a:gd name="T3" fmla="*/ 0 h 33"/>
                <a:gd name="T4" fmla="*/ 3 w 79"/>
                <a:gd name="T5" fmla="*/ 33 h 33"/>
                <a:gd name="T6" fmla="*/ 79 w 79"/>
                <a:gd name="T7" fmla="*/ 33 h 33"/>
                <a:gd name="T8" fmla="*/ 79 w 79"/>
                <a:gd name="T9" fmla="*/ 0 h 33"/>
              </a:gdLst>
              <a:ahLst/>
              <a:cxnLst>
                <a:cxn ang="0">
                  <a:pos x="T0" y="T1"/>
                </a:cxn>
                <a:cxn ang="0">
                  <a:pos x="T2" y="T3"/>
                </a:cxn>
                <a:cxn ang="0">
                  <a:pos x="T4" y="T5"/>
                </a:cxn>
                <a:cxn ang="0">
                  <a:pos x="T6" y="T7"/>
                </a:cxn>
                <a:cxn ang="0">
                  <a:pos x="T8" y="T9"/>
                </a:cxn>
              </a:cxnLst>
              <a:rect l="0" t="0" r="r" b="b"/>
              <a:pathLst>
                <a:path w="79" h="33">
                  <a:moveTo>
                    <a:pt x="79" y="0"/>
                  </a:moveTo>
                  <a:lnTo>
                    <a:pt x="0" y="0"/>
                  </a:lnTo>
                  <a:lnTo>
                    <a:pt x="3" y="33"/>
                  </a:lnTo>
                  <a:lnTo>
                    <a:pt x="79" y="33"/>
                  </a:lnTo>
                  <a:lnTo>
                    <a:pt x="79" y="0"/>
                  </a:lnTo>
                  <a:close/>
                </a:path>
              </a:pathLst>
            </a:custGeom>
            <a:solidFill>
              <a:srgbClr val="767A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5">
              <a:extLst>
                <a:ext uri="{FF2B5EF4-FFF2-40B4-BE49-F238E27FC236}">
                  <a16:creationId xmlns:a16="http://schemas.microsoft.com/office/drawing/2014/main" id="{BF0B8252-165B-49B1-8099-E1C6C5F74947}"/>
                </a:ext>
              </a:extLst>
            </p:cNvPr>
            <p:cNvSpPr>
              <a:spLocks/>
            </p:cNvSpPr>
            <p:nvPr/>
          </p:nvSpPr>
          <p:spPr bwMode="auto">
            <a:xfrm>
              <a:off x="6940" y="2309"/>
              <a:ext cx="79" cy="33"/>
            </a:xfrm>
            <a:custGeom>
              <a:avLst/>
              <a:gdLst>
                <a:gd name="T0" fmla="*/ 79 w 79"/>
                <a:gd name="T1" fmla="*/ 0 h 33"/>
                <a:gd name="T2" fmla="*/ 0 w 79"/>
                <a:gd name="T3" fmla="*/ 0 h 33"/>
                <a:gd name="T4" fmla="*/ 3 w 79"/>
                <a:gd name="T5" fmla="*/ 33 h 33"/>
                <a:gd name="T6" fmla="*/ 79 w 79"/>
                <a:gd name="T7" fmla="*/ 33 h 33"/>
                <a:gd name="T8" fmla="*/ 79 w 79"/>
                <a:gd name="T9" fmla="*/ 0 h 33"/>
              </a:gdLst>
              <a:ahLst/>
              <a:cxnLst>
                <a:cxn ang="0">
                  <a:pos x="T0" y="T1"/>
                </a:cxn>
                <a:cxn ang="0">
                  <a:pos x="T2" y="T3"/>
                </a:cxn>
                <a:cxn ang="0">
                  <a:pos x="T4" y="T5"/>
                </a:cxn>
                <a:cxn ang="0">
                  <a:pos x="T6" y="T7"/>
                </a:cxn>
                <a:cxn ang="0">
                  <a:pos x="T8" y="T9"/>
                </a:cxn>
              </a:cxnLst>
              <a:rect l="0" t="0" r="r" b="b"/>
              <a:pathLst>
                <a:path w="79" h="33">
                  <a:moveTo>
                    <a:pt x="79" y="0"/>
                  </a:moveTo>
                  <a:lnTo>
                    <a:pt x="0" y="0"/>
                  </a:lnTo>
                  <a:lnTo>
                    <a:pt x="3" y="33"/>
                  </a:lnTo>
                  <a:lnTo>
                    <a:pt x="79" y="33"/>
                  </a:lnTo>
                  <a:lnTo>
                    <a:pt x="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6">
              <a:extLst>
                <a:ext uri="{FF2B5EF4-FFF2-40B4-BE49-F238E27FC236}">
                  <a16:creationId xmlns:a16="http://schemas.microsoft.com/office/drawing/2014/main" id="{4E1665DE-5986-4508-96CF-C5BF1D873762}"/>
                </a:ext>
              </a:extLst>
            </p:cNvPr>
            <p:cNvSpPr>
              <a:spLocks/>
            </p:cNvSpPr>
            <p:nvPr/>
          </p:nvSpPr>
          <p:spPr bwMode="auto">
            <a:xfrm>
              <a:off x="5356" y="2235"/>
              <a:ext cx="1722" cy="74"/>
            </a:xfrm>
            <a:custGeom>
              <a:avLst/>
              <a:gdLst>
                <a:gd name="T0" fmla="*/ 9 w 725"/>
                <a:gd name="T1" fmla="*/ 31 h 31"/>
                <a:gd name="T2" fmla="*/ 716 w 725"/>
                <a:gd name="T3" fmla="*/ 31 h 31"/>
                <a:gd name="T4" fmla="*/ 725 w 725"/>
                <a:gd name="T5" fmla="*/ 22 h 31"/>
                <a:gd name="T6" fmla="*/ 725 w 725"/>
                <a:gd name="T7" fmla="*/ 0 h 31"/>
                <a:gd name="T8" fmla="*/ 0 w 725"/>
                <a:gd name="T9" fmla="*/ 0 h 31"/>
                <a:gd name="T10" fmla="*/ 0 w 725"/>
                <a:gd name="T11" fmla="*/ 22 h 31"/>
                <a:gd name="T12" fmla="*/ 9 w 725"/>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725" h="31">
                  <a:moveTo>
                    <a:pt x="9" y="31"/>
                  </a:moveTo>
                  <a:cubicBezTo>
                    <a:pt x="716" y="31"/>
                    <a:pt x="716" y="31"/>
                    <a:pt x="716" y="31"/>
                  </a:cubicBezTo>
                  <a:cubicBezTo>
                    <a:pt x="721" y="31"/>
                    <a:pt x="725" y="27"/>
                    <a:pt x="725" y="22"/>
                  </a:cubicBezTo>
                  <a:cubicBezTo>
                    <a:pt x="725" y="0"/>
                    <a:pt x="725" y="0"/>
                    <a:pt x="725" y="0"/>
                  </a:cubicBezTo>
                  <a:cubicBezTo>
                    <a:pt x="0" y="0"/>
                    <a:pt x="0" y="0"/>
                    <a:pt x="0" y="0"/>
                  </a:cubicBezTo>
                  <a:cubicBezTo>
                    <a:pt x="0" y="22"/>
                    <a:pt x="0" y="22"/>
                    <a:pt x="0" y="22"/>
                  </a:cubicBezTo>
                  <a:cubicBezTo>
                    <a:pt x="0" y="27"/>
                    <a:pt x="4" y="31"/>
                    <a:pt x="9" y="31"/>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7">
              <a:extLst>
                <a:ext uri="{FF2B5EF4-FFF2-40B4-BE49-F238E27FC236}">
                  <a16:creationId xmlns:a16="http://schemas.microsoft.com/office/drawing/2014/main" id="{55565554-9645-476E-B800-B13AC7BE50A2}"/>
                </a:ext>
              </a:extLst>
            </p:cNvPr>
            <p:cNvSpPr>
              <a:spLocks/>
            </p:cNvSpPr>
            <p:nvPr/>
          </p:nvSpPr>
          <p:spPr bwMode="auto">
            <a:xfrm>
              <a:off x="5767" y="2273"/>
              <a:ext cx="1311" cy="36"/>
            </a:xfrm>
            <a:custGeom>
              <a:avLst/>
              <a:gdLst>
                <a:gd name="T0" fmla="*/ 552 w 552"/>
                <a:gd name="T1" fmla="*/ 0 h 15"/>
                <a:gd name="T2" fmla="*/ 5 w 552"/>
                <a:gd name="T3" fmla="*/ 0 h 15"/>
                <a:gd name="T4" fmla="*/ 0 w 552"/>
                <a:gd name="T5" fmla="*/ 15 h 15"/>
                <a:gd name="T6" fmla="*/ 543 w 552"/>
                <a:gd name="T7" fmla="*/ 15 h 15"/>
                <a:gd name="T8" fmla="*/ 552 w 552"/>
                <a:gd name="T9" fmla="*/ 6 h 15"/>
                <a:gd name="T10" fmla="*/ 552 w 552"/>
                <a:gd name="T11" fmla="*/ 0 h 15"/>
              </a:gdLst>
              <a:ahLst/>
              <a:cxnLst>
                <a:cxn ang="0">
                  <a:pos x="T0" y="T1"/>
                </a:cxn>
                <a:cxn ang="0">
                  <a:pos x="T2" y="T3"/>
                </a:cxn>
                <a:cxn ang="0">
                  <a:pos x="T4" y="T5"/>
                </a:cxn>
                <a:cxn ang="0">
                  <a:pos x="T6" y="T7"/>
                </a:cxn>
                <a:cxn ang="0">
                  <a:pos x="T8" y="T9"/>
                </a:cxn>
                <a:cxn ang="0">
                  <a:pos x="T10" y="T11"/>
                </a:cxn>
              </a:cxnLst>
              <a:rect l="0" t="0" r="r" b="b"/>
              <a:pathLst>
                <a:path w="552" h="15">
                  <a:moveTo>
                    <a:pt x="552" y="0"/>
                  </a:moveTo>
                  <a:cubicBezTo>
                    <a:pt x="5" y="0"/>
                    <a:pt x="5" y="0"/>
                    <a:pt x="5" y="0"/>
                  </a:cubicBezTo>
                  <a:cubicBezTo>
                    <a:pt x="3" y="5"/>
                    <a:pt x="1" y="10"/>
                    <a:pt x="0" y="15"/>
                  </a:cubicBezTo>
                  <a:cubicBezTo>
                    <a:pt x="543" y="15"/>
                    <a:pt x="543" y="15"/>
                    <a:pt x="543" y="15"/>
                  </a:cubicBezTo>
                  <a:cubicBezTo>
                    <a:pt x="548" y="15"/>
                    <a:pt x="552" y="11"/>
                    <a:pt x="552" y="6"/>
                  </a:cubicBezTo>
                  <a:cubicBezTo>
                    <a:pt x="552" y="0"/>
                    <a:pt x="552" y="0"/>
                    <a:pt x="552"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8">
              <a:extLst>
                <a:ext uri="{FF2B5EF4-FFF2-40B4-BE49-F238E27FC236}">
                  <a16:creationId xmlns:a16="http://schemas.microsoft.com/office/drawing/2014/main" id="{F5A1F797-758D-4819-AE7F-82BB8B5E874D}"/>
                </a:ext>
              </a:extLst>
            </p:cNvPr>
            <p:cNvSpPr>
              <a:spLocks/>
            </p:cNvSpPr>
            <p:nvPr/>
          </p:nvSpPr>
          <p:spPr bwMode="auto">
            <a:xfrm>
              <a:off x="5779" y="2245"/>
              <a:ext cx="1299" cy="28"/>
            </a:xfrm>
            <a:custGeom>
              <a:avLst/>
              <a:gdLst>
                <a:gd name="T0" fmla="*/ 547 w 547"/>
                <a:gd name="T1" fmla="*/ 0 h 12"/>
                <a:gd name="T2" fmla="*/ 4 w 547"/>
                <a:gd name="T3" fmla="*/ 0 h 12"/>
                <a:gd name="T4" fmla="*/ 0 w 547"/>
                <a:gd name="T5" fmla="*/ 12 h 12"/>
                <a:gd name="T6" fmla="*/ 547 w 547"/>
                <a:gd name="T7" fmla="*/ 12 h 12"/>
                <a:gd name="T8" fmla="*/ 547 w 547"/>
                <a:gd name="T9" fmla="*/ 0 h 12"/>
              </a:gdLst>
              <a:ahLst/>
              <a:cxnLst>
                <a:cxn ang="0">
                  <a:pos x="T0" y="T1"/>
                </a:cxn>
                <a:cxn ang="0">
                  <a:pos x="T2" y="T3"/>
                </a:cxn>
                <a:cxn ang="0">
                  <a:pos x="T4" y="T5"/>
                </a:cxn>
                <a:cxn ang="0">
                  <a:pos x="T6" y="T7"/>
                </a:cxn>
                <a:cxn ang="0">
                  <a:pos x="T8" y="T9"/>
                </a:cxn>
              </a:cxnLst>
              <a:rect l="0" t="0" r="r" b="b"/>
              <a:pathLst>
                <a:path w="547" h="12">
                  <a:moveTo>
                    <a:pt x="547" y="0"/>
                  </a:moveTo>
                  <a:cubicBezTo>
                    <a:pt x="4" y="0"/>
                    <a:pt x="4" y="0"/>
                    <a:pt x="4" y="0"/>
                  </a:cubicBezTo>
                  <a:cubicBezTo>
                    <a:pt x="3" y="4"/>
                    <a:pt x="1" y="8"/>
                    <a:pt x="0" y="12"/>
                  </a:cubicBezTo>
                  <a:cubicBezTo>
                    <a:pt x="547" y="12"/>
                    <a:pt x="547" y="12"/>
                    <a:pt x="547" y="12"/>
                  </a:cubicBezTo>
                  <a:cubicBezTo>
                    <a:pt x="547" y="0"/>
                    <a:pt x="547" y="0"/>
                    <a:pt x="547" y="0"/>
                  </a:cubicBezTo>
                </a:path>
              </a:pathLst>
            </a:custGeom>
            <a:solidFill>
              <a:srgbClr val="FE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9">
              <a:extLst>
                <a:ext uri="{FF2B5EF4-FFF2-40B4-BE49-F238E27FC236}">
                  <a16:creationId xmlns:a16="http://schemas.microsoft.com/office/drawing/2014/main" id="{50CF7711-BA3F-411D-9A95-19746EEC32B0}"/>
                </a:ext>
              </a:extLst>
            </p:cNvPr>
            <p:cNvSpPr>
              <a:spLocks/>
            </p:cNvSpPr>
            <p:nvPr/>
          </p:nvSpPr>
          <p:spPr bwMode="auto">
            <a:xfrm>
              <a:off x="5299" y="2204"/>
              <a:ext cx="1834" cy="41"/>
            </a:xfrm>
            <a:custGeom>
              <a:avLst/>
              <a:gdLst>
                <a:gd name="T0" fmla="*/ 9 w 772"/>
                <a:gd name="T1" fmla="*/ 17 h 17"/>
                <a:gd name="T2" fmla="*/ 764 w 772"/>
                <a:gd name="T3" fmla="*/ 17 h 17"/>
                <a:gd name="T4" fmla="*/ 772 w 772"/>
                <a:gd name="T5" fmla="*/ 9 h 17"/>
                <a:gd name="T6" fmla="*/ 764 w 772"/>
                <a:gd name="T7" fmla="*/ 0 h 17"/>
                <a:gd name="T8" fmla="*/ 9 w 772"/>
                <a:gd name="T9" fmla="*/ 0 h 17"/>
                <a:gd name="T10" fmla="*/ 0 w 772"/>
                <a:gd name="T11" fmla="*/ 9 h 17"/>
                <a:gd name="T12" fmla="*/ 9 w 77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772" h="17">
                  <a:moveTo>
                    <a:pt x="9" y="17"/>
                  </a:moveTo>
                  <a:cubicBezTo>
                    <a:pt x="764" y="17"/>
                    <a:pt x="764" y="17"/>
                    <a:pt x="764" y="17"/>
                  </a:cubicBezTo>
                  <a:cubicBezTo>
                    <a:pt x="769" y="17"/>
                    <a:pt x="772" y="13"/>
                    <a:pt x="772" y="9"/>
                  </a:cubicBezTo>
                  <a:cubicBezTo>
                    <a:pt x="772" y="4"/>
                    <a:pt x="769" y="0"/>
                    <a:pt x="764" y="0"/>
                  </a:cubicBezTo>
                  <a:cubicBezTo>
                    <a:pt x="9" y="0"/>
                    <a:pt x="9" y="0"/>
                    <a:pt x="9" y="0"/>
                  </a:cubicBezTo>
                  <a:cubicBezTo>
                    <a:pt x="4" y="0"/>
                    <a:pt x="0" y="4"/>
                    <a:pt x="0" y="9"/>
                  </a:cubicBezTo>
                  <a:cubicBezTo>
                    <a:pt x="0" y="13"/>
                    <a:pt x="4" y="17"/>
                    <a:pt x="9" y="17"/>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0">
              <a:extLst>
                <a:ext uri="{FF2B5EF4-FFF2-40B4-BE49-F238E27FC236}">
                  <a16:creationId xmlns:a16="http://schemas.microsoft.com/office/drawing/2014/main" id="{BF29F73D-2013-4A45-8E82-3257271FE27A}"/>
                </a:ext>
              </a:extLst>
            </p:cNvPr>
            <p:cNvSpPr>
              <a:spLocks/>
            </p:cNvSpPr>
            <p:nvPr/>
          </p:nvSpPr>
          <p:spPr bwMode="auto">
            <a:xfrm>
              <a:off x="5788" y="2204"/>
              <a:ext cx="1345" cy="41"/>
            </a:xfrm>
            <a:custGeom>
              <a:avLst/>
              <a:gdLst>
                <a:gd name="T0" fmla="*/ 558 w 566"/>
                <a:gd name="T1" fmla="*/ 0 h 17"/>
                <a:gd name="T2" fmla="*/ 351 w 566"/>
                <a:gd name="T3" fmla="*/ 0 h 17"/>
                <a:gd name="T4" fmla="*/ 180 w 566"/>
                <a:gd name="T5" fmla="*/ 0 h 17"/>
                <a:gd name="T6" fmla="*/ 6 w 566"/>
                <a:gd name="T7" fmla="*/ 0 h 17"/>
                <a:gd name="T8" fmla="*/ 0 w 566"/>
                <a:gd name="T9" fmla="*/ 17 h 17"/>
                <a:gd name="T10" fmla="*/ 558 w 566"/>
                <a:gd name="T11" fmla="*/ 17 h 17"/>
                <a:gd name="T12" fmla="*/ 566 w 566"/>
                <a:gd name="T13" fmla="*/ 9 h 17"/>
                <a:gd name="T14" fmla="*/ 558 w 566"/>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17">
                  <a:moveTo>
                    <a:pt x="558" y="0"/>
                  </a:moveTo>
                  <a:cubicBezTo>
                    <a:pt x="351" y="0"/>
                    <a:pt x="351" y="0"/>
                    <a:pt x="351" y="0"/>
                  </a:cubicBezTo>
                  <a:cubicBezTo>
                    <a:pt x="180" y="0"/>
                    <a:pt x="180" y="0"/>
                    <a:pt x="180" y="0"/>
                  </a:cubicBezTo>
                  <a:cubicBezTo>
                    <a:pt x="6" y="0"/>
                    <a:pt x="6" y="0"/>
                    <a:pt x="6" y="0"/>
                  </a:cubicBezTo>
                  <a:cubicBezTo>
                    <a:pt x="4" y="6"/>
                    <a:pt x="2" y="12"/>
                    <a:pt x="0" y="17"/>
                  </a:cubicBezTo>
                  <a:cubicBezTo>
                    <a:pt x="558" y="17"/>
                    <a:pt x="558" y="17"/>
                    <a:pt x="558" y="17"/>
                  </a:cubicBezTo>
                  <a:cubicBezTo>
                    <a:pt x="563" y="17"/>
                    <a:pt x="566" y="13"/>
                    <a:pt x="566" y="9"/>
                  </a:cubicBezTo>
                  <a:cubicBezTo>
                    <a:pt x="566" y="4"/>
                    <a:pt x="563" y="0"/>
                    <a:pt x="558" y="0"/>
                  </a:cubicBezTo>
                </a:path>
              </a:pathLst>
            </a:custGeom>
            <a:solidFill>
              <a:srgbClr val="FE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1">
              <a:extLst>
                <a:ext uri="{FF2B5EF4-FFF2-40B4-BE49-F238E27FC236}">
                  <a16:creationId xmlns:a16="http://schemas.microsoft.com/office/drawing/2014/main" id="{FEFBB5FA-345C-47BD-800A-F96039E3D2E1}"/>
                </a:ext>
              </a:extLst>
            </p:cNvPr>
            <p:cNvSpPr>
              <a:spLocks/>
            </p:cNvSpPr>
            <p:nvPr/>
          </p:nvSpPr>
          <p:spPr bwMode="auto">
            <a:xfrm>
              <a:off x="5800" y="2169"/>
              <a:ext cx="577" cy="35"/>
            </a:xfrm>
            <a:custGeom>
              <a:avLst/>
              <a:gdLst>
                <a:gd name="T0" fmla="*/ 577 w 577"/>
                <a:gd name="T1" fmla="*/ 35 h 35"/>
                <a:gd name="T2" fmla="*/ 568 w 577"/>
                <a:gd name="T3" fmla="*/ 0 h 35"/>
                <a:gd name="T4" fmla="*/ 183 w 577"/>
                <a:gd name="T5" fmla="*/ 0 h 35"/>
                <a:gd name="T6" fmla="*/ 5 w 577"/>
                <a:gd name="T7" fmla="*/ 19 h 35"/>
                <a:gd name="T8" fmla="*/ 0 w 577"/>
                <a:gd name="T9" fmla="*/ 35 h 35"/>
                <a:gd name="T10" fmla="*/ 577 w 577"/>
                <a:gd name="T11" fmla="*/ 35 h 35"/>
              </a:gdLst>
              <a:ahLst/>
              <a:cxnLst>
                <a:cxn ang="0">
                  <a:pos x="T0" y="T1"/>
                </a:cxn>
                <a:cxn ang="0">
                  <a:pos x="T2" y="T3"/>
                </a:cxn>
                <a:cxn ang="0">
                  <a:pos x="T4" y="T5"/>
                </a:cxn>
                <a:cxn ang="0">
                  <a:pos x="T6" y="T7"/>
                </a:cxn>
                <a:cxn ang="0">
                  <a:pos x="T8" y="T9"/>
                </a:cxn>
                <a:cxn ang="0">
                  <a:pos x="T10" y="T11"/>
                </a:cxn>
              </a:cxnLst>
              <a:rect l="0" t="0" r="r" b="b"/>
              <a:pathLst>
                <a:path w="577" h="35">
                  <a:moveTo>
                    <a:pt x="577" y="35"/>
                  </a:moveTo>
                  <a:lnTo>
                    <a:pt x="568" y="0"/>
                  </a:lnTo>
                  <a:lnTo>
                    <a:pt x="183" y="0"/>
                  </a:lnTo>
                  <a:lnTo>
                    <a:pt x="5" y="19"/>
                  </a:lnTo>
                  <a:lnTo>
                    <a:pt x="0" y="35"/>
                  </a:lnTo>
                  <a:lnTo>
                    <a:pt x="577" y="3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2">
              <a:extLst>
                <a:ext uri="{FF2B5EF4-FFF2-40B4-BE49-F238E27FC236}">
                  <a16:creationId xmlns:a16="http://schemas.microsoft.com/office/drawing/2014/main" id="{D9E84E20-3BB4-4B20-A4A1-0F2EB6E712C8}"/>
                </a:ext>
              </a:extLst>
            </p:cNvPr>
            <p:cNvSpPr>
              <a:spLocks/>
            </p:cNvSpPr>
            <p:nvPr/>
          </p:nvSpPr>
          <p:spPr bwMode="auto">
            <a:xfrm>
              <a:off x="5800" y="2169"/>
              <a:ext cx="577" cy="35"/>
            </a:xfrm>
            <a:custGeom>
              <a:avLst/>
              <a:gdLst>
                <a:gd name="T0" fmla="*/ 577 w 577"/>
                <a:gd name="T1" fmla="*/ 35 h 35"/>
                <a:gd name="T2" fmla="*/ 568 w 577"/>
                <a:gd name="T3" fmla="*/ 0 h 35"/>
                <a:gd name="T4" fmla="*/ 183 w 577"/>
                <a:gd name="T5" fmla="*/ 0 h 35"/>
                <a:gd name="T6" fmla="*/ 5 w 577"/>
                <a:gd name="T7" fmla="*/ 19 h 35"/>
                <a:gd name="T8" fmla="*/ 0 w 577"/>
                <a:gd name="T9" fmla="*/ 35 h 35"/>
                <a:gd name="T10" fmla="*/ 577 w 577"/>
                <a:gd name="T11" fmla="*/ 35 h 35"/>
              </a:gdLst>
              <a:ahLst/>
              <a:cxnLst>
                <a:cxn ang="0">
                  <a:pos x="T0" y="T1"/>
                </a:cxn>
                <a:cxn ang="0">
                  <a:pos x="T2" y="T3"/>
                </a:cxn>
                <a:cxn ang="0">
                  <a:pos x="T4" y="T5"/>
                </a:cxn>
                <a:cxn ang="0">
                  <a:pos x="T6" y="T7"/>
                </a:cxn>
                <a:cxn ang="0">
                  <a:pos x="T8" y="T9"/>
                </a:cxn>
                <a:cxn ang="0">
                  <a:pos x="T10" y="T11"/>
                </a:cxn>
              </a:cxnLst>
              <a:rect l="0" t="0" r="r" b="b"/>
              <a:pathLst>
                <a:path w="577" h="35">
                  <a:moveTo>
                    <a:pt x="577" y="35"/>
                  </a:moveTo>
                  <a:lnTo>
                    <a:pt x="568" y="0"/>
                  </a:lnTo>
                  <a:lnTo>
                    <a:pt x="183" y="0"/>
                  </a:lnTo>
                  <a:lnTo>
                    <a:pt x="5" y="19"/>
                  </a:lnTo>
                  <a:lnTo>
                    <a:pt x="0" y="35"/>
                  </a:lnTo>
                  <a:lnTo>
                    <a:pt x="577"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3">
              <a:extLst>
                <a:ext uri="{FF2B5EF4-FFF2-40B4-BE49-F238E27FC236}">
                  <a16:creationId xmlns:a16="http://schemas.microsoft.com/office/drawing/2014/main" id="{DB9C64A9-50FF-4470-AA1E-B8A994C81B53}"/>
                </a:ext>
              </a:extLst>
            </p:cNvPr>
            <p:cNvSpPr>
              <a:spLocks/>
            </p:cNvSpPr>
            <p:nvPr/>
          </p:nvSpPr>
          <p:spPr bwMode="auto">
            <a:xfrm>
              <a:off x="5983" y="2169"/>
              <a:ext cx="394" cy="35"/>
            </a:xfrm>
            <a:custGeom>
              <a:avLst/>
              <a:gdLst>
                <a:gd name="T0" fmla="*/ 385 w 394"/>
                <a:gd name="T1" fmla="*/ 0 h 35"/>
                <a:gd name="T2" fmla="*/ 0 w 394"/>
                <a:gd name="T3" fmla="*/ 0 h 35"/>
                <a:gd name="T4" fmla="*/ 0 w 394"/>
                <a:gd name="T5" fmla="*/ 35 h 35"/>
                <a:gd name="T6" fmla="*/ 394 w 394"/>
                <a:gd name="T7" fmla="*/ 35 h 35"/>
                <a:gd name="T8" fmla="*/ 385 w 394"/>
                <a:gd name="T9" fmla="*/ 0 h 35"/>
              </a:gdLst>
              <a:ahLst/>
              <a:cxnLst>
                <a:cxn ang="0">
                  <a:pos x="T0" y="T1"/>
                </a:cxn>
                <a:cxn ang="0">
                  <a:pos x="T2" y="T3"/>
                </a:cxn>
                <a:cxn ang="0">
                  <a:pos x="T4" y="T5"/>
                </a:cxn>
                <a:cxn ang="0">
                  <a:pos x="T6" y="T7"/>
                </a:cxn>
                <a:cxn ang="0">
                  <a:pos x="T8" y="T9"/>
                </a:cxn>
              </a:cxnLst>
              <a:rect l="0" t="0" r="r" b="b"/>
              <a:pathLst>
                <a:path w="394" h="35">
                  <a:moveTo>
                    <a:pt x="385" y="0"/>
                  </a:moveTo>
                  <a:lnTo>
                    <a:pt x="0" y="0"/>
                  </a:lnTo>
                  <a:lnTo>
                    <a:pt x="0" y="35"/>
                  </a:lnTo>
                  <a:lnTo>
                    <a:pt x="394" y="35"/>
                  </a:lnTo>
                  <a:lnTo>
                    <a:pt x="385" y="0"/>
                  </a:lnTo>
                  <a:close/>
                </a:path>
              </a:pathLst>
            </a:custGeom>
            <a:solidFill>
              <a:srgbClr val="171E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4">
              <a:extLst>
                <a:ext uri="{FF2B5EF4-FFF2-40B4-BE49-F238E27FC236}">
                  <a16:creationId xmlns:a16="http://schemas.microsoft.com/office/drawing/2014/main" id="{0BEC904E-AE67-4051-A72D-59186C4ACA89}"/>
                </a:ext>
              </a:extLst>
            </p:cNvPr>
            <p:cNvSpPr>
              <a:spLocks/>
            </p:cNvSpPr>
            <p:nvPr/>
          </p:nvSpPr>
          <p:spPr bwMode="auto">
            <a:xfrm>
              <a:off x="5983" y="2169"/>
              <a:ext cx="394" cy="35"/>
            </a:xfrm>
            <a:custGeom>
              <a:avLst/>
              <a:gdLst>
                <a:gd name="T0" fmla="*/ 385 w 394"/>
                <a:gd name="T1" fmla="*/ 0 h 35"/>
                <a:gd name="T2" fmla="*/ 0 w 394"/>
                <a:gd name="T3" fmla="*/ 0 h 35"/>
                <a:gd name="T4" fmla="*/ 0 w 394"/>
                <a:gd name="T5" fmla="*/ 35 h 35"/>
                <a:gd name="T6" fmla="*/ 394 w 394"/>
                <a:gd name="T7" fmla="*/ 35 h 35"/>
                <a:gd name="T8" fmla="*/ 385 w 394"/>
                <a:gd name="T9" fmla="*/ 0 h 35"/>
              </a:gdLst>
              <a:ahLst/>
              <a:cxnLst>
                <a:cxn ang="0">
                  <a:pos x="T0" y="T1"/>
                </a:cxn>
                <a:cxn ang="0">
                  <a:pos x="T2" y="T3"/>
                </a:cxn>
                <a:cxn ang="0">
                  <a:pos x="T4" y="T5"/>
                </a:cxn>
                <a:cxn ang="0">
                  <a:pos x="T6" y="T7"/>
                </a:cxn>
                <a:cxn ang="0">
                  <a:pos x="T8" y="T9"/>
                </a:cxn>
              </a:cxnLst>
              <a:rect l="0" t="0" r="r" b="b"/>
              <a:pathLst>
                <a:path w="394" h="35">
                  <a:moveTo>
                    <a:pt x="385" y="0"/>
                  </a:moveTo>
                  <a:lnTo>
                    <a:pt x="0" y="0"/>
                  </a:lnTo>
                  <a:lnTo>
                    <a:pt x="0" y="35"/>
                  </a:lnTo>
                  <a:lnTo>
                    <a:pt x="394" y="35"/>
                  </a:lnTo>
                  <a:lnTo>
                    <a:pt x="3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5">
              <a:extLst>
                <a:ext uri="{FF2B5EF4-FFF2-40B4-BE49-F238E27FC236}">
                  <a16:creationId xmlns:a16="http://schemas.microsoft.com/office/drawing/2014/main" id="{266068D9-3CF3-498B-8995-97B3D4DA69A9}"/>
                </a:ext>
              </a:extLst>
            </p:cNvPr>
            <p:cNvSpPr>
              <a:spLocks/>
            </p:cNvSpPr>
            <p:nvPr/>
          </p:nvSpPr>
          <p:spPr bwMode="auto">
            <a:xfrm>
              <a:off x="6672" y="2100"/>
              <a:ext cx="418" cy="104"/>
            </a:xfrm>
            <a:custGeom>
              <a:avLst/>
              <a:gdLst>
                <a:gd name="T0" fmla="*/ 176 w 176"/>
                <a:gd name="T1" fmla="*/ 22 h 44"/>
                <a:gd name="T2" fmla="*/ 172 w 176"/>
                <a:gd name="T3" fmla="*/ 44 h 44"/>
                <a:gd name="T4" fmla="*/ 0 w 176"/>
                <a:gd name="T5" fmla="*/ 44 h 44"/>
                <a:gd name="T6" fmla="*/ 0 w 176"/>
                <a:gd name="T7" fmla="*/ 40 h 44"/>
                <a:gd name="T8" fmla="*/ 3 w 176"/>
                <a:gd name="T9" fmla="*/ 40 h 44"/>
                <a:gd name="T10" fmla="*/ 3 w 176"/>
                <a:gd name="T11" fmla="*/ 5 h 44"/>
                <a:gd name="T12" fmla="*/ 0 w 176"/>
                <a:gd name="T13" fmla="*/ 5 h 44"/>
                <a:gd name="T14" fmla="*/ 0 w 176"/>
                <a:gd name="T15" fmla="*/ 0 h 44"/>
                <a:gd name="T16" fmla="*/ 172 w 176"/>
                <a:gd name="T17" fmla="*/ 0 h 44"/>
                <a:gd name="T18" fmla="*/ 176 w 176"/>
                <a:gd name="T1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44">
                  <a:moveTo>
                    <a:pt x="176" y="22"/>
                  </a:moveTo>
                  <a:cubicBezTo>
                    <a:pt x="176" y="37"/>
                    <a:pt x="172" y="44"/>
                    <a:pt x="172" y="44"/>
                  </a:cubicBezTo>
                  <a:cubicBezTo>
                    <a:pt x="0" y="44"/>
                    <a:pt x="0" y="44"/>
                    <a:pt x="0" y="44"/>
                  </a:cubicBezTo>
                  <a:cubicBezTo>
                    <a:pt x="0" y="40"/>
                    <a:pt x="0" y="40"/>
                    <a:pt x="0" y="40"/>
                  </a:cubicBezTo>
                  <a:cubicBezTo>
                    <a:pt x="3" y="40"/>
                    <a:pt x="3" y="40"/>
                    <a:pt x="3" y="40"/>
                  </a:cubicBezTo>
                  <a:cubicBezTo>
                    <a:pt x="3" y="5"/>
                    <a:pt x="3" y="5"/>
                    <a:pt x="3" y="5"/>
                  </a:cubicBezTo>
                  <a:cubicBezTo>
                    <a:pt x="0" y="5"/>
                    <a:pt x="0" y="5"/>
                    <a:pt x="0" y="5"/>
                  </a:cubicBezTo>
                  <a:cubicBezTo>
                    <a:pt x="0" y="0"/>
                    <a:pt x="0" y="0"/>
                    <a:pt x="0" y="0"/>
                  </a:cubicBezTo>
                  <a:cubicBezTo>
                    <a:pt x="172" y="0"/>
                    <a:pt x="172" y="0"/>
                    <a:pt x="172" y="0"/>
                  </a:cubicBezTo>
                  <a:cubicBezTo>
                    <a:pt x="172" y="0"/>
                    <a:pt x="176" y="8"/>
                    <a:pt x="176" y="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6">
              <a:extLst>
                <a:ext uri="{FF2B5EF4-FFF2-40B4-BE49-F238E27FC236}">
                  <a16:creationId xmlns:a16="http://schemas.microsoft.com/office/drawing/2014/main" id="{F0C28F71-2DFA-458A-ACC4-964A94BCF90E}"/>
                </a:ext>
              </a:extLst>
            </p:cNvPr>
            <p:cNvSpPr>
              <a:spLocks/>
            </p:cNvSpPr>
            <p:nvPr/>
          </p:nvSpPr>
          <p:spPr bwMode="auto">
            <a:xfrm>
              <a:off x="6672" y="2100"/>
              <a:ext cx="418" cy="104"/>
            </a:xfrm>
            <a:custGeom>
              <a:avLst/>
              <a:gdLst>
                <a:gd name="T0" fmla="*/ 172 w 176"/>
                <a:gd name="T1" fmla="*/ 0 h 44"/>
                <a:gd name="T2" fmla="*/ 144 w 176"/>
                <a:gd name="T3" fmla="*/ 0 h 44"/>
                <a:gd name="T4" fmla="*/ 148 w 176"/>
                <a:gd name="T5" fmla="*/ 22 h 44"/>
                <a:gd name="T6" fmla="*/ 144 w 176"/>
                <a:gd name="T7" fmla="*/ 44 h 44"/>
                <a:gd name="T8" fmla="*/ 112 w 176"/>
                <a:gd name="T9" fmla="*/ 44 h 44"/>
                <a:gd name="T10" fmla="*/ 116 w 176"/>
                <a:gd name="T11" fmla="*/ 22 h 44"/>
                <a:gd name="T12" fmla="*/ 112 w 176"/>
                <a:gd name="T13" fmla="*/ 0 h 44"/>
                <a:gd name="T14" fmla="*/ 80 w 176"/>
                <a:gd name="T15" fmla="*/ 0 h 44"/>
                <a:gd name="T16" fmla="*/ 84 w 176"/>
                <a:gd name="T17" fmla="*/ 22 h 44"/>
                <a:gd name="T18" fmla="*/ 80 w 176"/>
                <a:gd name="T19" fmla="*/ 44 h 44"/>
                <a:gd name="T20" fmla="*/ 0 w 176"/>
                <a:gd name="T21" fmla="*/ 44 h 44"/>
                <a:gd name="T22" fmla="*/ 0 w 176"/>
                <a:gd name="T23" fmla="*/ 40 h 44"/>
                <a:gd name="T24" fmla="*/ 0 w 176"/>
                <a:gd name="T25" fmla="*/ 44 h 44"/>
                <a:gd name="T26" fmla="*/ 172 w 176"/>
                <a:gd name="T27" fmla="*/ 44 h 44"/>
                <a:gd name="T28" fmla="*/ 176 w 176"/>
                <a:gd name="T29" fmla="*/ 22 h 44"/>
                <a:gd name="T30" fmla="*/ 172 w 176"/>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44">
                  <a:moveTo>
                    <a:pt x="172" y="0"/>
                  </a:moveTo>
                  <a:cubicBezTo>
                    <a:pt x="144" y="0"/>
                    <a:pt x="144" y="0"/>
                    <a:pt x="144" y="0"/>
                  </a:cubicBezTo>
                  <a:cubicBezTo>
                    <a:pt x="144" y="0"/>
                    <a:pt x="148" y="8"/>
                    <a:pt x="148" y="22"/>
                  </a:cubicBezTo>
                  <a:cubicBezTo>
                    <a:pt x="148" y="37"/>
                    <a:pt x="144" y="44"/>
                    <a:pt x="144" y="44"/>
                  </a:cubicBezTo>
                  <a:cubicBezTo>
                    <a:pt x="112" y="44"/>
                    <a:pt x="112" y="44"/>
                    <a:pt x="112" y="44"/>
                  </a:cubicBezTo>
                  <a:cubicBezTo>
                    <a:pt x="112" y="44"/>
                    <a:pt x="116" y="37"/>
                    <a:pt x="116" y="22"/>
                  </a:cubicBezTo>
                  <a:cubicBezTo>
                    <a:pt x="116" y="8"/>
                    <a:pt x="112" y="0"/>
                    <a:pt x="112" y="0"/>
                  </a:cubicBezTo>
                  <a:cubicBezTo>
                    <a:pt x="80" y="0"/>
                    <a:pt x="80" y="0"/>
                    <a:pt x="80" y="0"/>
                  </a:cubicBezTo>
                  <a:cubicBezTo>
                    <a:pt x="80" y="0"/>
                    <a:pt x="84" y="8"/>
                    <a:pt x="84" y="22"/>
                  </a:cubicBezTo>
                  <a:cubicBezTo>
                    <a:pt x="84" y="37"/>
                    <a:pt x="80" y="44"/>
                    <a:pt x="80" y="44"/>
                  </a:cubicBezTo>
                  <a:cubicBezTo>
                    <a:pt x="0" y="44"/>
                    <a:pt x="0" y="44"/>
                    <a:pt x="0" y="44"/>
                  </a:cubicBezTo>
                  <a:cubicBezTo>
                    <a:pt x="0" y="40"/>
                    <a:pt x="0" y="40"/>
                    <a:pt x="0" y="40"/>
                  </a:cubicBezTo>
                  <a:cubicBezTo>
                    <a:pt x="0" y="44"/>
                    <a:pt x="0" y="44"/>
                    <a:pt x="0" y="44"/>
                  </a:cubicBezTo>
                  <a:cubicBezTo>
                    <a:pt x="172" y="44"/>
                    <a:pt x="172" y="44"/>
                    <a:pt x="172" y="44"/>
                  </a:cubicBezTo>
                  <a:cubicBezTo>
                    <a:pt x="172" y="44"/>
                    <a:pt x="176" y="37"/>
                    <a:pt x="176" y="22"/>
                  </a:cubicBezTo>
                  <a:cubicBezTo>
                    <a:pt x="176" y="8"/>
                    <a:pt x="172" y="0"/>
                    <a:pt x="172"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7">
              <a:extLst>
                <a:ext uri="{FF2B5EF4-FFF2-40B4-BE49-F238E27FC236}">
                  <a16:creationId xmlns:a16="http://schemas.microsoft.com/office/drawing/2014/main" id="{8E3CF850-9EE2-433B-B2C1-8D949926B350}"/>
                </a:ext>
              </a:extLst>
            </p:cNvPr>
            <p:cNvSpPr>
              <a:spLocks noEditPoints="1"/>
            </p:cNvSpPr>
            <p:nvPr/>
          </p:nvSpPr>
          <p:spPr bwMode="auto">
            <a:xfrm>
              <a:off x="6672" y="2100"/>
              <a:ext cx="199" cy="104"/>
            </a:xfrm>
            <a:custGeom>
              <a:avLst/>
              <a:gdLst>
                <a:gd name="T0" fmla="*/ 3 w 84"/>
                <a:gd name="T1" fmla="*/ 40 h 44"/>
                <a:gd name="T2" fmla="*/ 3 w 84"/>
                <a:gd name="T3" fmla="*/ 5 h 44"/>
                <a:gd name="T4" fmla="*/ 72 w 84"/>
                <a:gd name="T5" fmla="*/ 5 h 44"/>
                <a:gd name="T6" fmla="*/ 75 w 84"/>
                <a:gd name="T7" fmla="*/ 22 h 44"/>
                <a:gd name="T8" fmla="*/ 72 w 84"/>
                <a:gd name="T9" fmla="*/ 40 h 44"/>
                <a:gd name="T10" fmla="*/ 3 w 84"/>
                <a:gd name="T11" fmla="*/ 40 h 44"/>
                <a:gd name="T12" fmla="*/ 80 w 84"/>
                <a:gd name="T13" fmla="*/ 0 h 44"/>
                <a:gd name="T14" fmla="*/ 0 w 84"/>
                <a:gd name="T15" fmla="*/ 0 h 44"/>
                <a:gd name="T16" fmla="*/ 0 w 84"/>
                <a:gd name="T17" fmla="*/ 5 h 44"/>
                <a:gd name="T18" fmla="*/ 3 w 84"/>
                <a:gd name="T19" fmla="*/ 5 h 44"/>
                <a:gd name="T20" fmla="*/ 3 w 84"/>
                <a:gd name="T21" fmla="*/ 40 h 44"/>
                <a:gd name="T22" fmla="*/ 0 w 84"/>
                <a:gd name="T23" fmla="*/ 40 h 44"/>
                <a:gd name="T24" fmla="*/ 0 w 84"/>
                <a:gd name="T25" fmla="*/ 44 h 44"/>
                <a:gd name="T26" fmla="*/ 80 w 84"/>
                <a:gd name="T27" fmla="*/ 44 h 44"/>
                <a:gd name="T28" fmla="*/ 84 w 84"/>
                <a:gd name="T29" fmla="*/ 22 h 44"/>
                <a:gd name="T30" fmla="*/ 80 w 84"/>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4">
                  <a:moveTo>
                    <a:pt x="3" y="40"/>
                  </a:moveTo>
                  <a:cubicBezTo>
                    <a:pt x="3" y="5"/>
                    <a:pt x="3" y="5"/>
                    <a:pt x="3" y="5"/>
                  </a:cubicBezTo>
                  <a:cubicBezTo>
                    <a:pt x="72" y="5"/>
                    <a:pt x="72" y="5"/>
                    <a:pt x="72" y="5"/>
                  </a:cubicBezTo>
                  <a:cubicBezTo>
                    <a:pt x="72" y="5"/>
                    <a:pt x="75" y="11"/>
                    <a:pt x="75" y="22"/>
                  </a:cubicBezTo>
                  <a:cubicBezTo>
                    <a:pt x="75" y="34"/>
                    <a:pt x="72" y="40"/>
                    <a:pt x="72" y="40"/>
                  </a:cubicBezTo>
                  <a:cubicBezTo>
                    <a:pt x="3" y="40"/>
                    <a:pt x="3" y="40"/>
                    <a:pt x="3" y="40"/>
                  </a:cubicBezTo>
                  <a:moveTo>
                    <a:pt x="80" y="0"/>
                  </a:moveTo>
                  <a:cubicBezTo>
                    <a:pt x="0" y="0"/>
                    <a:pt x="0" y="0"/>
                    <a:pt x="0" y="0"/>
                  </a:cubicBezTo>
                  <a:cubicBezTo>
                    <a:pt x="0" y="5"/>
                    <a:pt x="0" y="5"/>
                    <a:pt x="0" y="5"/>
                  </a:cubicBezTo>
                  <a:cubicBezTo>
                    <a:pt x="3" y="5"/>
                    <a:pt x="3" y="5"/>
                    <a:pt x="3" y="5"/>
                  </a:cubicBezTo>
                  <a:cubicBezTo>
                    <a:pt x="3" y="40"/>
                    <a:pt x="3" y="40"/>
                    <a:pt x="3" y="40"/>
                  </a:cubicBezTo>
                  <a:cubicBezTo>
                    <a:pt x="0" y="40"/>
                    <a:pt x="0" y="40"/>
                    <a:pt x="0" y="40"/>
                  </a:cubicBezTo>
                  <a:cubicBezTo>
                    <a:pt x="0" y="44"/>
                    <a:pt x="0" y="44"/>
                    <a:pt x="0" y="44"/>
                  </a:cubicBezTo>
                  <a:cubicBezTo>
                    <a:pt x="80" y="44"/>
                    <a:pt x="80" y="44"/>
                    <a:pt x="80" y="44"/>
                  </a:cubicBezTo>
                  <a:cubicBezTo>
                    <a:pt x="80" y="44"/>
                    <a:pt x="84" y="37"/>
                    <a:pt x="84" y="22"/>
                  </a:cubicBezTo>
                  <a:cubicBezTo>
                    <a:pt x="84" y="8"/>
                    <a:pt x="80" y="0"/>
                    <a:pt x="80" y="0"/>
                  </a:cubicBezTo>
                </a:path>
              </a:pathLst>
            </a:custGeom>
            <a:solidFill>
              <a:srgbClr val="4149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8">
              <a:extLst>
                <a:ext uri="{FF2B5EF4-FFF2-40B4-BE49-F238E27FC236}">
                  <a16:creationId xmlns:a16="http://schemas.microsoft.com/office/drawing/2014/main" id="{16882B5C-4091-474E-93D1-3EBA6D6B94A8}"/>
                </a:ext>
              </a:extLst>
            </p:cNvPr>
            <p:cNvSpPr>
              <a:spLocks/>
            </p:cNvSpPr>
            <p:nvPr/>
          </p:nvSpPr>
          <p:spPr bwMode="auto">
            <a:xfrm>
              <a:off x="6679" y="2112"/>
              <a:ext cx="171" cy="83"/>
            </a:xfrm>
            <a:custGeom>
              <a:avLst/>
              <a:gdLst>
                <a:gd name="T0" fmla="*/ 69 w 72"/>
                <a:gd name="T1" fmla="*/ 0 h 35"/>
                <a:gd name="T2" fmla="*/ 0 w 72"/>
                <a:gd name="T3" fmla="*/ 0 h 35"/>
                <a:gd name="T4" fmla="*/ 0 w 72"/>
                <a:gd name="T5" fmla="*/ 35 h 35"/>
                <a:gd name="T6" fmla="*/ 69 w 72"/>
                <a:gd name="T7" fmla="*/ 35 h 35"/>
                <a:gd name="T8" fmla="*/ 72 w 72"/>
                <a:gd name="T9" fmla="*/ 17 h 35"/>
                <a:gd name="T10" fmla="*/ 69 w 72"/>
                <a:gd name="T11" fmla="*/ 0 h 35"/>
              </a:gdLst>
              <a:ahLst/>
              <a:cxnLst>
                <a:cxn ang="0">
                  <a:pos x="T0" y="T1"/>
                </a:cxn>
                <a:cxn ang="0">
                  <a:pos x="T2" y="T3"/>
                </a:cxn>
                <a:cxn ang="0">
                  <a:pos x="T4" y="T5"/>
                </a:cxn>
                <a:cxn ang="0">
                  <a:pos x="T6" y="T7"/>
                </a:cxn>
                <a:cxn ang="0">
                  <a:pos x="T8" y="T9"/>
                </a:cxn>
                <a:cxn ang="0">
                  <a:pos x="T10" y="T11"/>
                </a:cxn>
              </a:cxnLst>
              <a:rect l="0" t="0" r="r" b="b"/>
              <a:pathLst>
                <a:path w="72" h="35">
                  <a:moveTo>
                    <a:pt x="69" y="0"/>
                  </a:moveTo>
                  <a:cubicBezTo>
                    <a:pt x="0" y="0"/>
                    <a:pt x="0" y="0"/>
                    <a:pt x="0" y="0"/>
                  </a:cubicBezTo>
                  <a:cubicBezTo>
                    <a:pt x="0" y="35"/>
                    <a:pt x="0" y="35"/>
                    <a:pt x="0" y="35"/>
                  </a:cubicBezTo>
                  <a:cubicBezTo>
                    <a:pt x="69" y="35"/>
                    <a:pt x="69" y="35"/>
                    <a:pt x="69" y="35"/>
                  </a:cubicBezTo>
                  <a:cubicBezTo>
                    <a:pt x="69" y="35"/>
                    <a:pt x="72" y="29"/>
                    <a:pt x="72" y="17"/>
                  </a:cubicBezTo>
                  <a:cubicBezTo>
                    <a:pt x="72" y="6"/>
                    <a:pt x="69" y="0"/>
                    <a:pt x="69" y="0"/>
                  </a:cubicBezTo>
                </a:path>
              </a:pathLst>
            </a:custGeom>
            <a:solidFill>
              <a:srgbClr val="D9D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29">
              <a:extLst>
                <a:ext uri="{FF2B5EF4-FFF2-40B4-BE49-F238E27FC236}">
                  <a16:creationId xmlns:a16="http://schemas.microsoft.com/office/drawing/2014/main" id="{DC3D16AC-923E-4604-8D01-E19BBAC9C92C}"/>
                </a:ext>
              </a:extLst>
            </p:cNvPr>
            <p:cNvSpPr>
              <a:spLocks/>
            </p:cNvSpPr>
            <p:nvPr/>
          </p:nvSpPr>
          <p:spPr bwMode="auto">
            <a:xfrm>
              <a:off x="6938" y="2100"/>
              <a:ext cx="85" cy="104"/>
            </a:xfrm>
            <a:custGeom>
              <a:avLst/>
              <a:gdLst>
                <a:gd name="T0" fmla="*/ 32 w 36"/>
                <a:gd name="T1" fmla="*/ 0 h 44"/>
                <a:gd name="T2" fmla="*/ 0 w 36"/>
                <a:gd name="T3" fmla="*/ 0 h 44"/>
                <a:gd name="T4" fmla="*/ 4 w 36"/>
                <a:gd name="T5" fmla="*/ 22 h 44"/>
                <a:gd name="T6" fmla="*/ 0 w 36"/>
                <a:gd name="T7" fmla="*/ 44 h 44"/>
                <a:gd name="T8" fmla="*/ 32 w 36"/>
                <a:gd name="T9" fmla="*/ 44 h 44"/>
                <a:gd name="T10" fmla="*/ 36 w 36"/>
                <a:gd name="T11" fmla="*/ 22 h 44"/>
                <a:gd name="T12" fmla="*/ 32 w 3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36" h="44">
                  <a:moveTo>
                    <a:pt x="32" y="0"/>
                  </a:moveTo>
                  <a:cubicBezTo>
                    <a:pt x="0" y="0"/>
                    <a:pt x="0" y="0"/>
                    <a:pt x="0" y="0"/>
                  </a:cubicBezTo>
                  <a:cubicBezTo>
                    <a:pt x="0" y="0"/>
                    <a:pt x="4" y="8"/>
                    <a:pt x="4" y="22"/>
                  </a:cubicBezTo>
                  <a:cubicBezTo>
                    <a:pt x="4" y="37"/>
                    <a:pt x="0" y="44"/>
                    <a:pt x="0" y="44"/>
                  </a:cubicBezTo>
                  <a:cubicBezTo>
                    <a:pt x="32" y="44"/>
                    <a:pt x="32" y="44"/>
                    <a:pt x="32" y="44"/>
                  </a:cubicBezTo>
                  <a:cubicBezTo>
                    <a:pt x="32" y="44"/>
                    <a:pt x="36" y="37"/>
                    <a:pt x="36" y="22"/>
                  </a:cubicBezTo>
                  <a:cubicBezTo>
                    <a:pt x="36" y="8"/>
                    <a:pt x="32" y="0"/>
                    <a:pt x="32" y="0"/>
                  </a:cubicBezTo>
                </a:path>
              </a:pathLst>
            </a:custGeom>
            <a:solidFill>
              <a:srgbClr val="B9BD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30">
              <a:extLst>
                <a:ext uri="{FF2B5EF4-FFF2-40B4-BE49-F238E27FC236}">
                  <a16:creationId xmlns:a16="http://schemas.microsoft.com/office/drawing/2014/main" id="{9B25B110-A142-46AB-9D73-5C640A7F0580}"/>
                </a:ext>
              </a:extLst>
            </p:cNvPr>
            <p:cNvSpPr>
              <a:spLocks/>
            </p:cNvSpPr>
            <p:nvPr/>
          </p:nvSpPr>
          <p:spPr bwMode="auto">
            <a:xfrm>
              <a:off x="6707" y="1998"/>
              <a:ext cx="418" cy="102"/>
            </a:xfrm>
            <a:custGeom>
              <a:avLst/>
              <a:gdLst>
                <a:gd name="T0" fmla="*/ 176 w 176"/>
                <a:gd name="T1" fmla="*/ 22 h 43"/>
                <a:gd name="T2" fmla="*/ 172 w 176"/>
                <a:gd name="T3" fmla="*/ 43 h 43"/>
                <a:gd name="T4" fmla="*/ 0 w 176"/>
                <a:gd name="T5" fmla="*/ 43 h 43"/>
                <a:gd name="T6" fmla="*/ 0 w 176"/>
                <a:gd name="T7" fmla="*/ 39 h 43"/>
                <a:gd name="T8" fmla="*/ 4 w 176"/>
                <a:gd name="T9" fmla="*/ 39 h 43"/>
                <a:gd name="T10" fmla="*/ 4 w 176"/>
                <a:gd name="T11" fmla="*/ 4 h 43"/>
                <a:gd name="T12" fmla="*/ 0 w 176"/>
                <a:gd name="T13" fmla="*/ 4 h 43"/>
                <a:gd name="T14" fmla="*/ 0 w 176"/>
                <a:gd name="T15" fmla="*/ 0 h 43"/>
                <a:gd name="T16" fmla="*/ 172 w 176"/>
                <a:gd name="T17" fmla="*/ 0 h 43"/>
                <a:gd name="T18" fmla="*/ 176 w 176"/>
                <a:gd name="T19"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43">
                  <a:moveTo>
                    <a:pt x="176" y="22"/>
                  </a:moveTo>
                  <a:cubicBezTo>
                    <a:pt x="176" y="36"/>
                    <a:pt x="172" y="43"/>
                    <a:pt x="172" y="43"/>
                  </a:cubicBezTo>
                  <a:cubicBezTo>
                    <a:pt x="0" y="43"/>
                    <a:pt x="0" y="43"/>
                    <a:pt x="0" y="43"/>
                  </a:cubicBezTo>
                  <a:cubicBezTo>
                    <a:pt x="0" y="39"/>
                    <a:pt x="0" y="39"/>
                    <a:pt x="0" y="39"/>
                  </a:cubicBezTo>
                  <a:cubicBezTo>
                    <a:pt x="4" y="39"/>
                    <a:pt x="4" y="39"/>
                    <a:pt x="4" y="39"/>
                  </a:cubicBezTo>
                  <a:cubicBezTo>
                    <a:pt x="4" y="4"/>
                    <a:pt x="4" y="4"/>
                    <a:pt x="4" y="4"/>
                  </a:cubicBezTo>
                  <a:cubicBezTo>
                    <a:pt x="0" y="4"/>
                    <a:pt x="0" y="4"/>
                    <a:pt x="0" y="4"/>
                  </a:cubicBezTo>
                  <a:cubicBezTo>
                    <a:pt x="0" y="0"/>
                    <a:pt x="0" y="0"/>
                    <a:pt x="0" y="0"/>
                  </a:cubicBezTo>
                  <a:cubicBezTo>
                    <a:pt x="172" y="0"/>
                    <a:pt x="172" y="0"/>
                    <a:pt x="172" y="0"/>
                  </a:cubicBezTo>
                  <a:cubicBezTo>
                    <a:pt x="172" y="0"/>
                    <a:pt x="176" y="8"/>
                    <a:pt x="176" y="22"/>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1">
              <a:extLst>
                <a:ext uri="{FF2B5EF4-FFF2-40B4-BE49-F238E27FC236}">
                  <a16:creationId xmlns:a16="http://schemas.microsoft.com/office/drawing/2014/main" id="{C2500CC7-3925-4BA3-831D-6A2E510540BE}"/>
                </a:ext>
              </a:extLst>
            </p:cNvPr>
            <p:cNvSpPr>
              <a:spLocks noEditPoints="1"/>
            </p:cNvSpPr>
            <p:nvPr/>
          </p:nvSpPr>
          <p:spPr bwMode="auto">
            <a:xfrm>
              <a:off x="6707" y="1998"/>
              <a:ext cx="200" cy="102"/>
            </a:xfrm>
            <a:custGeom>
              <a:avLst/>
              <a:gdLst>
                <a:gd name="T0" fmla="*/ 4 w 84"/>
                <a:gd name="T1" fmla="*/ 39 h 43"/>
                <a:gd name="T2" fmla="*/ 4 w 84"/>
                <a:gd name="T3" fmla="*/ 4 h 43"/>
                <a:gd name="T4" fmla="*/ 72 w 84"/>
                <a:gd name="T5" fmla="*/ 4 h 43"/>
                <a:gd name="T6" fmla="*/ 76 w 84"/>
                <a:gd name="T7" fmla="*/ 22 h 43"/>
                <a:gd name="T8" fmla="*/ 72 w 84"/>
                <a:gd name="T9" fmla="*/ 39 h 43"/>
                <a:gd name="T10" fmla="*/ 4 w 84"/>
                <a:gd name="T11" fmla="*/ 39 h 43"/>
                <a:gd name="T12" fmla="*/ 80 w 84"/>
                <a:gd name="T13" fmla="*/ 0 h 43"/>
                <a:gd name="T14" fmla="*/ 50 w 84"/>
                <a:gd name="T15" fmla="*/ 0 h 43"/>
                <a:gd name="T16" fmla="*/ 0 w 84"/>
                <a:gd name="T17" fmla="*/ 0 h 43"/>
                <a:gd name="T18" fmla="*/ 0 w 84"/>
                <a:gd name="T19" fmla="*/ 4 h 43"/>
                <a:gd name="T20" fmla="*/ 4 w 84"/>
                <a:gd name="T21" fmla="*/ 4 h 43"/>
                <a:gd name="T22" fmla="*/ 4 w 84"/>
                <a:gd name="T23" fmla="*/ 39 h 43"/>
                <a:gd name="T24" fmla="*/ 0 w 84"/>
                <a:gd name="T25" fmla="*/ 39 h 43"/>
                <a:gd name="T26" fmla="*/ 0 w 84"/>
                <a:gd name="T27" fmla="*/ 43 h 43"/>
                <a:gd name="T28" fmla="*/ 80 w 84"/>
                <a:gd name="T29" fmla="*/ 43 h 43"/>
                <a:gd name="T30" fmla="*/ 84 w 84"/>
                <a:gd name="T31" fmla="*/ 22 h 43"/>
                <a:gd name="T32" fmla="*/ 80 w 84"/>
                <a:gd name="T3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43">
                  <a:moveTo>
                    <a:pt x="4" y="39"/>
                  </a:moveTo>
                  <a:cubicBezTo>
                    <a:pt x="4" y="4"/>
                    <a:pt x="4" y="4"/>
                    <a:pt x="4" y="4"/>
                  </a:cubicBezTo>
                  <a:cubicBezTo>
                    <a:pt x="72" y="4"/>
                    <a:pt x="72" y="4"/>
                    <a:pt x="72" y="4"/>
                  </a:cubicBezTo>
                  <a:cubicBezTo>
                    <a:pt x="72" y="4"/>
                    <a:pt x="76" y="10"/>
                    <a:pt x="76" y="22"/>
                  </a:cubicBezTo>
                  <a:cubicBezTo>
                    <a:pt x="76" y="33"/>
                    <a:pt x="72" y="39"/>
                    <a:pt x="72" y="39"/>
                  </a:cubicBezTo>
                  <a:cubicBezTo>
                    <a:pt x="4" y="39"/>
                    <a:pt x="4" y="39"/>
                    <a:pt x="4" y="39"/>
                  </a:cubicBezTo>
                  <a:moveTo>
                    <a:pt x="80" y="0"/>
                  </a:moveTo>
                  <a:cubicBezTo>
                    <a:pt x="50" y="0"/>
                    <a:pt x="50" y="0"/>
                    <a:pt x="50" y="0"/>
                  </a:cubicBezTo>
                  <a:cubicBezTo>
                    <a:pt x="0" y="0"/>
                    <a:pt x="0" y="0"/>
                    <a:pt x="0" y="0"/>
                  </a:cubicBezTo>
                  <a:cubicBezTo>
                    <a:pt x="0" y="4"/>
                    <a:pt x="0" y="4"/>
                    <a:pt x="0" y="4"/>
                  </a:cubicBezTo>
                  <a:cubicBezTo>
                    <a:pt x="4" y="4"/>
                    <a:pt x="4" y="4"/>
                    <a:pt x="4" y="4"/>
                  </a:cubicBezTo>
                  <a:cubicBezTo>
                    <a:pt x="4" y="39"/>
                    <a:pt x="4" y="39"/>
                    <a:pt x="4" y="39"/>
                  </a:cubicBezTo>
                  <a:cubicBezTo>
                    <a:pt x="0" y="39"/>
                    <a:pt x="0" y="39"/>
                    <a:pt x="0" y="39"/>
                  </a:cubicBezTo>
                  <a:cubicBezTo>
                    <a:pt x="0" y="43"/>
                    <a:pt x="0" y="43"/>
                    <a:pt x="0" y="43"/>
                  </a:cubicBezTo>
                  <a:cubicBezTo>
                    <a:pt x="80" y="43"/>
                    <a:pt x="80" y="43"/>
                    <a:pt x="80" y="43"/>
                  </a:cubicBezTo>
                  <a:cubicBezTo>
                    <a:pt x="80" y="43"/>
                    <a:pt x="84" y="36"/>
                    <a:pt x="84" y="22"/>
                  </a:cubicBezTo>
                  <a:cubicBezTo>
                    <a:pt x="84" y="8"/>
                    <a:pt x="80" y="0"/>
                    <a:pt x="80"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32">
              <a:extLst>
                <a:ext uri="{FF2B5EF4-FFF2-40B4-BE49-F238E27FC236}">
                  <a16:creationId xmlns:a16="http://schemas.microsoft.com/office/drawing/2014/main" id="{7F8D1995-550C-4762-8E33-1F4FC1F16076}"/>
                </a:ext>
              </a:extLst>
            </p:cNvPr>
            <p:cNvSpPr>
              <a:spLocks/>
            </p:cNvSpPr>
            <p:nvPr/>
          </p:nvSpPr>
          <p:spPr bwMode="auto">
            <a:xfrm>
              <a:off x="6717" y="2007"/>
              <a:ext cx="171" cy="83"/>
            </a:xfrm>
            <a:custGeom>
              <a:avLst/>
              <a:gdLst>
                <a:gd name="T0" fmla="*/ 68 w 72"/>
                <a:gd name="T1" fmla="*/ 0 h 35"/>
                <a:gd name="T2" fmla="*/ 0 w 72"/>
                <a:gd name="T3" fmla="*/ 0 h 35"/>
                <a:gd name="T4" fmla="*/ 0 w 72"/>
                <a:gd name="T5" fmla="*/ 35 h 35"/>
                <a:gd name="T6" fmla="*/ 68 w 72"/>
                <a:gd name="T7" fmla="*/ 35 h 35"/>
                <a:gd name="T8" fmla="*/ 72 w 72"/>
                <a:gd name="T9" fmla="*/ 18 h 35"/>
                <a:gd name="T10" fmla="*/ 68 w 72"/>
                <a:gd name="T11" fmla="*/ 0 h 35"/>
              </a:gdLst>
              <a:ahLst/>
              <a:cxnLst>
                <a:cxn ang="0">
                  <a:pos x="T0" y="T1"/>
                </a:cxn>
                <a:cxn ang="0">
                  <a:pos x="T2" y="T3"/>
                </a:cxn>
                <a:cxn ang="0">
                  <a:pos x="T4" y="T5"/>
                </a:cxn>
                <a:cxn ang="0">
                  <a:pos x="T6" y="T7"/>
                </a:cxn>
                <a:cxn ang="0">
                  <a:pos x="T8" y="T9"/>
                </a:cxn>
                <a:cxn ang="0">
                  <a:pos x="T10" y="T11"/>
                </a:cxn>
              </a:cxnLst>
              <a:rect l="0" t="0" r="r" b="b"/>
              <a:pathLst>
                <a:path w="72" h="35">
                  <a:moveTo>
                    <a:pt x="68" y="0"/>
                  </a:moveTo>
                  <a:cubicBezTo>
                    <a:pt x="0" y="0"/>
                    <a:pt x="0" y="0"/>
                    <a:pt x="0" y="0"/>
                  </a:cubicBezTo>
                  <a:cubicBezTo>
                    <a:pt x="0" y="35"/>
                    <a:pt x="0" y="35"/>
                    <a:pt x="0" y="35"/>
                  </a:cubicBezTo>
                  <a:cubicBezTo>
                    <a:pt x="68" y="35"/>
                    <a:pt x="68" y="35"/>
                    <a:pt x="68" y="35"/>
                  </a:cubicBezTo>
                  <a:cubicBezTo>
                    <a:pt x="68" y="35"/>
                    <a:pt x="72" y="29"/>
                    <a:pt x="72" y="18"/>
                  </a:cubicBezTo>
                  <a:cubicBezTo>
                    <a:pt x="72" y="6"/>
                    <a:pt x="68" y="0"/>
                    <a:pt x="68" y="0"/>
                  </a:cubicBezTo>
                </a:path>
              </a:pathLst>
            </a:custGeom>
            <a:solidFill>
              <a:srgbClr val="D6E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33">
              <a:extLst>
                <a:ext uri="{FF2B5EF4-FFF2-40B4-BE49-F238E27FC236}">
                  <a16:creationId xmlns:a16="http://schemas.microsoft.com/office/drawing/2014/main" id="{02304F0F-BE5F-4C6D-A25B-3FE0608E9966}"/>
                </a:ext>
              </a:extLst>
            </p:cNvPr>
            <p:cNvSpPr>
              <a:spLocks/>
            </p:cNvSpPr>
            <p:nvPr/>
          </p:nvSpPr>
          <p:spPr bwMode="auto">
            <a:xfrm>
              <a:off x="6973" y="1998"/>
              <a:ext cx="86" cy="102"/>
            </a:xfrm>
            <a:custGeom>
              <a:avLst/>
              <a:gdLst>
                <a:gd name="T0" fmla="*/ 32 w 36"/>
                <a:gd name="T1" fmla="*/ 0 h 43"/>
                <a:gd name="T2" fmla="*/ 0 w 36"/>
                <a:gd name="T3" fmla="*/ 0 h 43"/>
                <a:gd name="T4" fmla="*/ 4 w 36"/>
                <a:gd name="T5" fmla="*/ 22 h 43"/>
                <a:gd name="T6" fmla="*/ 0 w 36"/>
                <a:gd name="T7" fmla="*/ 43 h 43"/>
                <a:gd name="T8" fmla="*/ 32 w 36"/>
                <a:gd name="T9" fmla="*/ 43 h 43"/>
                <a:gd name="T10" fmla="*/ 36 w 36"/>
                <a:gd name="T11" fmla="*/ 22 h 43"/>
                <a:gd name="T12" fmla="*/ 32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2" y="0"/>
                  </a:moveTo>
                  <a:cubicBezTo>
                    <a:pt x="0" y="0"/>
                    <a:pt x="0" y="0"/>
                    <a:pt x="0" y="0"/>
                  </a:cubicBezTo>
                  <a:cubicBezTo>
                    <a:pt x="0" y="0"/>
                    <a:pt x="4" y="8"/>
                    <a:pt x="4" y="22"/>
                  </a:cubicBezTo>
                  <a:cubicBezTo>
                    <a:pt x="4" y="36"/>
                    <a:pt x="0" y="43"/>
                    <a:pt x="0" y="43"/>
                  </a:cubicBezTo>
                  <a:cubicBezTo>
                    <a:pt x="32" y="43"/>
                    <a:pt x="32" y="43"/>
                    <a:pt x="32" y="43"/>
                  </a:cubicBezTo>
                  <a:cubicBezTo>
                    <a:pt x="32" y="43"/>
                    <a:pt x="36" y="36"/>
                    <a:pt x="36" y="22"/>
                  </a:cubicBezTo>
                  <a:cubicBezTo>
                    <a:pt x="36" y="8"/>
                    <a:pt x="32" y="0"/>
                    <a:pt x="32"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34">
              <a:extLst>
                <a:ext uri="{FF2B5EF4-FFF2-40B4-BE49-F238E27FC236}">
                  <a16:creationId xmlns:a16="http://schemas.microsoft.com/office/drawing/2014/main" id="{9885711C-84ED-46E3-8DA9-DE600394016C}"/>
                </a:ext>
              </a:extLst>
            </p:cNvPr>
            <p:cNvSpPr>
              <a:spLocks/>
            </p:cNvSpPr>
            <p:nvPr/>
          </p:nvSpPr>
          <p:spPr bwMode="auto">
            <a:xfrm>
              <a:off x="6069" y="972"/>
              <a:ext cx="344" cy="344"/>
            </a:xfrm>
            <a:custGeom>
              <a:avLst/>
              <a:gdLst>
                <a:gd name="T0" fmla="*/ 133 w 145"/>
                <a:gd name="T1" fmla="*/ 145 h 145"/>
                <a:gd name="T2" fmla="*/ 12 w 145"/>
                <a:gd name="T3" fmla="*/ 145 h 145"/>
                <a:gd name="T4" fmla="*/ 0 w 145"/>
                <a:gd name="T5" fmla="*/ 133 h 145"/>
                <a:gd name="T6" fmla="*/ 0 w 145"/>
                <a:gd name="T7" fmla="*/ 13 h 145"/>
                <a:gd name="T8" fmla="*/ 12 w 145"/>
                <a:gd name="T9" fmla="*/ 0 h 145"/>
                <a:gd name="T10" fmla="*/ 133 w 145"/>
                <a:gd name="T11" fmla="*/ 0 h 145"/>
                <a:gd name="T12" fmla="*/ 145 w 145"/>
                <a:gd name="T13" fmla="*/ 13 h 145"/>
                <a:gd name="T14" fmla="*/ 145 w 145"/>
                <a:gd name="T15" fmla="*/ 133 h 145"/>
                <a:gd name="T16" fmla="*/ 133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133" y="145"/>
                  </a:moveTo>
                  <a:cubicBezTo>
                    <a:pt x="12" y="145"/>
                    <a:pt x="12" y="145"/>
                    <a:pt x="12" y="145"/>
                  </a:cubicBezTo>
                  <a:cubicBezTo>
                    <a:pt x="6" y="145"/>
                    <a:pt x="0" y="139"/>
                    <a:pt x="0" y="133"/>
                  </a:cubicBezTo>
                  <a:cubicBezTo>
                    <a:pt x="0" y="13"/>
                    <a:pt x="0" y="13"/>
                    <a:pt x="0" y="13"/>
                  </a:cubicBezTo>
                  <a:cubicBezTo>
                    <a:pt x="0" y="6"/>
                    <a:pt x="6" y="0"/>
                    <a:pt x="12" y="0"/>
                  </a:cubicBezTo>
                  <a:cubicBezTo>
                    <a:pt x="133" y="0"/>
                    <a:pt x="133" y="0"/>
                    <a:pt x="133" y="0"/>
                  </a:cubicBezTo>
                  <a:cubicBezTo>
                    <a:pt x="139" y="0"/>
                    <a:pt x="145" y="6"/>
                    <a:pt x="145" y="13"/>
                  </a:cubicBezTo>
                  <a:cubicBezTo>
                    <a:pt x="145" y="133"/>
                    <a:pt x="145" y="133"/>
                    <a:pt x="145" y="133"/>
                  </a:cubicBezTo>
                  <a:cubicBezTo>
                    <a:pt x="145" y="139"/>
                    <a:pt x="139" y="145"/>
                    <a:pt x="133" y="14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5">
              <a:extLst>
                <a:ext uri="{FF2B5EF4-FFF2-40B4-BE49-F238E27FC236}">
                  <a16:creationId xmlns:a16="http://schemas.microsoft.com/office/drawing/2014/main" id="{75F14E51-613D-4EA7-94D9-132A76778DB2}"/>
                </a:ext>
              </a:extLst>
            </p:cNvPr>
            <p:cNvSpPr>
              <a:spLocks/>
            </p:cNvSpPr>
            <p:nvPr/>
          </p:nvSpPr>
          <p:spPr bwMode="auto">
            <a:xfrm>
              <a:off x="6202" y="1285"/>
              <a:ext cx="144" cy="140"/>
            </a:xfrm>
            <a:custGeom>
              <a:avLst/>
              <a:gdLst>
                <a:gd name="T0" fmla="*/ 0 w 61"/>
                <a:gd name="T1" fmla="*/ 0 h 59"/>
                <a:gd name="T2" fmla="*/ 61 w 61"/>
                <a:gd name="T3" fmla="*/ 59 h 59"/>
                <a:gd name="T4" fmla="*/ 30 w 61"/>
                <a:gd name="T5" fmla="*/ 0 h 59"/>
                <a:gd name="T6" fmla="*/ 0 w 61"/>
                <a:gd name="T7" fmla="*/ 0 h 59"/>
              </a:gdLst>
              <a:ahLst/>
              <a:cxnLst>
                <a:cxn ang="0">
                  <a:pos x="T0" y="T1"/>
                </a:cxn>
                <a:cxn ang="0">
                  <a:pos x="T2" y="T3"/>
                </a:cxn>
                <a:cxn ang="0">
                  <a:pos x="T4" y="T5"/>
                </a:cxn>
                <a:cxn ang="0">
                  <a:pos x="T6" y="T7"/>
                </a:cxn>
              </a:cxnLst>
              <a:rect l="0" t="0" r="r" b="b"/>
              <a:pathLst>
                <a:path w="61" h="59">
                  <a:moveTo>
                    <a:pt x="0" y="0"/>
                  </a:moveTo>
                  <a:cubicBezTo>
                    <a:pt x="0" y="0"/>
                    <a:pt x="7" y="41"/>
                    <a:pt x="61" y="59"/>
                  </a:cubicBezTo>
                  <a:cubicBezTo>
                    <a:pt x="61" y="59"/>
                    <a:pt x="30" y="30"/>
                    <a:pt x="30" y="0"/>
                  </a:cubicBezTo>
                  <a:lnTo>
                    <a:pt x="0"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36">
              <a:extLst>
                <a:ext uri="{FF2B5EF4-FFF2-40B4-BE49-F238E27FC236}">
                  <a16:creationId xmlns:a16="http://schemas.microsoft.com/office/drawing/2014/main" id="{65CA4352-0C42-4E64-859C-0F20C219F799}"/>
                </a:ext>
              </a:extLst>
            </p:cNvPr>
            <p:cNvSpPr>
              <a:spLocks noChangeArrowheads="1"/>
            </p:cNvSpPr>
            <p:nvPr/>
          </p:nvSpPr>
          <p:spPr bwMode="auto">
            <a:xfrm>
              <a:off x="6164" y="1071"/>
              <a:ext cx="154"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7">
              <a:extLst>
                <a:ext uri="{FF2B5EF4-FFF2-40B4-BE49-F238E27FC236}">
                  <a16:creationId xmlns:a16="http://schemas.microsoft.com/office/drawing/2014/main" id="{F3966559-DF81-421D-9702-CA53A27B1568}"/>
                </a:ext>
              </a:extLst>
            </p:cNvPr>
            <p:cNvSpPr>
              <a:spLocks/>
            </p:cNvSpPr>
            <p:nvPr/>
          </p:nvSpPr>
          <p:spPr bwMode="auto">
            <a:xfrm>
              <a:off x="6164" y="1071"/>
              <a:ext cx="154" cy="19"/>
            </a:xfrm>
            <a:custGeom>
              <a:avLst/>
              <a:gdLst>
                <a:gd name="T0" fmla="*/ 0 w 154"/>
                <a:gd name="T1" fmla="*/ 19 h 19"/>
                <a:gd name="T2" fmla="*/ 154 w 154"/>
                <a:gd name="T3" fmla="*/ 19 h 19"/>
                <a:gd name="T4" fmla="*/ 154 w 154"/>
                <a:gd name="T5" fmla="*/ 0 h 19"/>
                <a:gd name="T6" fmla="*/ 0 w 154"/>
                <a:gd name="T7" fmla="*/ 0 h 19"/>
              </a:gdLst>
              <a:ahLst/>
              <a:cxnLst>
                <a:cxn ang="0">
                  <a:pos x="T0" y="T1"/>
                </a:cxn>
                <a:cxn ang="0">
                  <a:pos x="T2" y="T3"/>
                </a:cxn>
                <a:cxn ang="0">
                  <a:pos x="T4" y="T5"/>
                </a:cxn>
                <a:cxn ang="0">
                  <a:pos x="T6" y="T7"/>
                </a:cxn>
              </a:cxnLst>
              <a:rect l="0" t="0" r="r" b="b"/>
              <a:pathLst>
                <a:path w="154" h="19">
                  <a:moveTo>
                    <a:pt x="0" y="19"/>
                  </a:moveTo>
                  <a:lnTo>
                    <a:pt x="154" y="19"/>
                  </a:lnTo>
                  <a:lnTo>
                    <a:pt x="15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8">
              <a:extLst>
                <a:ext uri="{FF2B5EF4-FFF2-40B4-BE49-F238E27FC236}">
                  <a16:creationId xmlns:a16="http://schemas.microsoft.com/office/drawing/2014/main" id="{39E5B872-BA74-4308-AEC8-8D611A53CC3C}"/>
                </a:ext>
              </a:extLst>
            </p:cNvPr>
            <p:cNvSpPr>
              <a:spLocks/>
            </p:cNvSpPr>
            <p:nvPr/>
          </p:nvSpPr>
          <p:spPr bwMode="auto">
            <a:xfrm>
              <a:off x="6204" y="1040"/>
              <a:ext cx="59" cy="179"/>
            </a:xfrm>
            <a:custGeom>
              <a:avLst/>
              <a:gdLst>
                <a:gd name="T0" fmla="*/ 0 w 25"/>
                <a:gd name="T1" fmla="*/ 0 h 75"/>
                <a:gd name="T2" fmla="*/ 0 w 25"/>
                <a:gd name="T3" fmla="*/ 12 h 75"/>
                <a:gd name="T4" fmla="*/ 18 w 25"/>
                <a:gd name="T5" fmla="*/ 75 h 75"/>
                <a:gd name="T6" fmla="*/ 25 w 25"/>
                <a:gd name="T7" fmla="*/ 70 h 75"/>
                <a:gd name="T8" fmla="*/ 8 w 25"/>
                <a:gd name="T9" fmla="*/ 12 h 75"/>
                <a:gd name="T10" fmla="*/ 8 w 25"/>
                <a:gd name="T11" fmla="*/ 4 h 75"/>
                <a:gd name="T12" fmla="*/ 8 w 25"/>
                <a:gd name="T13" fmla="*/ 2 h 75"/>
                <a:gd name="T14" fmla="*/ 8 w 25"/>
                <a:gd name="T15" fmla="*/ 1 h 75"/>
                <a:gd name="T16" fmla="*/ 8 w 25"/>
                <a:gd name="T17" fmla="*/ 1 h 75"/>
                <a:gd name="T18" fmla="*/ 0 w 25"/>
                <a:gd name="T1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75">
                  <a:moveTo>
                    <a:pt x="0" y="0"/>
                  </a:moveTo>
                  <a:cubicBezTo>
                    <a:pt x="0" y="0"/>
                    <a:pt x="0" y="5"/>
                    <a:pt x="0" y="12"/>
                  </a:cubicBezTo>
                  <a:cubicBezTo>
                    <a:pt x="0" y="26"/>
                    <a:pt x="2" y="51"/>
                    <a:pt x="18" y="75"/>
                  </a:cubicBezTo>
                  <a:cubicBezTo>
                    <a:pt x="25" y="70"/>
                    <a:pt x="25" y="70"/>
                    <a:pt x="25" y="70"/>
                  </a:cubicBezTo>
                  <a:cubicBezTo>
                    <a:pt x="10" y="48"/>
                    <a:pt x="8" y="25"/>
                    <a:pt x="8" y="12"/>
                  </a:cubicBezTo>
                  <a:cubicBezTo>
                    <a:pt x="8" y="8"/>
                    <a:pt x="8" y="6"/>
                    <a:pt x="8" y="4"/>
                  </a:cubicBezTo>
                  <a:cubicBezTo>
                    <a:pt x="8" y="3"/>
                    <a:pt x="8" y="2"/>
                    <a:pt x="8" y="2"/>
                  </a:cubicBezTo>
                  <a:cubicBezTo>
                    <a:pt x="8" y="1"/>
                    <a:pt x="8" y="1"/>
                    <a:pt x="8" y="1"/>
                  </a:cubicBezTo>
                  <a:cubicBezTo>
                    <a:pt x="8" y="1"/>
                    <a:pt x="8" y="1"/>
                    <a:pt x="8" y="1"/>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39">
              <a:extLst>
                <a:ext uri="{FF2B5EF4-FFF2-40B4-BE49-F238E27FC236}">
                  <a16:creationId xmlns:a16="http://schemas.microsoft.com/office/drawing/2014/main" id="{3A9ADCE5-8762-46D6-8C08-0A20EB30462C}"/>
                </a:ext>
              </a:extLst>
            </p:cNvPr>
            <p:cNvSpPr>
              <a:spLocks/>
            </p:cNvSpPr>
            <p:nvPr/>
          </p:nvSpPr>
          <p:spPr bwMode="auto">
            <a:xfrm>
              <a:off x="6168" y="1107"/>
              <a:ext cx="152" cy="104"/>
            </a:xfrm>
            <a:custGeom>
              <a:avLst/>
              <a:gdLst>
                <a:gd name="T0" fmla="*/ 46 w 64"/>
                <a:gd name="T1" fmla="*/ 44 h 44"/>
                <a:gd name="T2" fmla="*/ 55 w 64"/>
                <a:gd name="T3" fmla="*/ 41 h 44"/>
                <a:gd name="T4" fmla="*/ 61 w 64"/>
                <a:gd name="T5" fmla="*/ 35 h 44"/>
                <a:gd name="T6" fmla="*/ 63 w 64"/>
                <a:gd name="T7" fmla="*/ 26 h 44"/>
                <a:gd name="T8" fmla="*/ 63 w 64"/>
                <a:gd name="T9" fmla="*/ 20 h 44"/>
                <a:gd name="T10" fmla="*/ 62 w 64"/>
                <a:gd name="T11" fmla="*/ 19 h 44"/>
                <a:gd name="T12" fmla="*/ 63 w 64"/>
                <a:gd name="T13" fmla="*/ 20 h 44"/>
                <a:gd name="T14" fmla="*/ 58 w 64"/>
                <a:gd name="T15" fmla="*/ 13 h 44"/>
                <a:gd name="T16" fmla="*/ 47 w 64"/>
                <a:gd name="T17" fmla="*/ 7 h 44"/>
                <a:gd name="T18" fmla="*/ 33 w 64"/>
                <a:gd name="T19" fmla="*/ 4 h 44"/>
                <a:gd name="T20" fmla="*/ 15 w 64"/>
                <a:gd name="T21" fmla="*/ 8 h 44"/>
                <a:gd name="T22" fmla="*/ 2 w 64"/>
                <a:gd name="T23" fmla="*/ 23 h 44"/>
                <a:gd name="T24" fmla="*/ 0 w 64"/>
                <a:gd name="T25" fmla="*/ 32 h 44"/>
                <a:gd name="T26" fmla="*/ 1 w 64"/>
                <a:gd name="T27" fmla="*/ 36 h 44"/>
                <a:gd name="T28" fmla="*/ 6 w 64"/>
                <a:gd name="T29" fmla="*/ 41 h 44"/>
                <a:gd name="T30" fmla="*/ 12 w 64"/>
                <a:gd name="T31" fmla="*/ 42 h 44"/>
                <a:gd name="T32" fmla="*/ 30 w 64"/>
                <a:gd name="T33" fmla="*/ 37 h 44"/>
                <a:gd name="T34" fmla="*/ 50 w 64"/>
                <a:gd name="T35" fmla="*/ 15 h 44"/>
                <a:gd name="T36" fmla="*/ 54 w 64"/>
                <a:gd name="T37" fmla="*/ 1 h 44"/>
                <a:gd name="T38" fmla="*/ 46 w 64"/>
                <a:gd name="T39" fmla="*/ 0 h 44"/>
                <a:gd name="T40" fmla="*/ 46 w 64"/>
                <a:gd name="T41" fmla="*/ 0 h 44"/>
                <a:gd name="T42" fmla="*/ 42 w 64"/>
                <a:gd name="T43" fmla="*/ 12 h 44"/>
                <a:gd name="T44" fmla="*/ 26 w 64"/>
                <a:gd name="T45" fmla="*/ 30 h 44"/>
                <a:gd name="T46" fmla="*/ 12 w 64"/>
                <a:gd name="T47" fmla="*/ 34 h 44"/>
                <a:gd name="T48" fmla="*/ 9 w 64"/>
                <a:gd name="T49" fmla="*/ 34 h 44"/>
                <a:gd name="T50" fmla="*/ 9 w 64"/>
                <a:gd name="T51" fmla="*/ 33 h 44"/>
                <a:gd name="T52" fmla="*/ 8 w 64"/>
                <a:gd name="T53" fmla="*/ 32 h 44"/>
                <a:gd name="T54" fmla="*/ 10 w 64"/>
                <a:gd name="T55" fmla="*/ 26 h 44"/>
                <a:gd name="T56" fmla="*/ 19 w 64"/>
                <a:gd name="T57" fmla="*/ 15 h 44"/>
                <a:gd name="T58" fmla="*/ 33 w 64"/>
                <a:gd name="T59" fmla="*/ 12 h 44"/>
                <a:gd name="T60" fmla="*/ 48 w 64"/>
                <a:gd name="T61" fmla="*/ 16 h 44"/>
                <a:gd name="T62" fmla="*/ 53 w 64"/>
                <a:gd name="T63" fmla="*/ 19 h 44"/>
                <a:gd name="T64" fmla="*/ 55 w 64"/>
                <a:gd name="T65" fmla="*/ 22 h 44"/>
                <a:gd name="T66" fmla="*/ 55 w 64"/>
                <a:gd name="T67" fmla="*/ 22 h 44"/>
                <a:gd name="T68" fmla="*/ 55 w 64"/>
                <a:gd name="T69" fmla="*/ 26 h 44"/>
                <a:gd name="T70" fmla="*/ 54 w 64"/>
                <a:gd name="T71" fmla="*/ 31 h 44"/>
                <a:gd name="T72" fmla="*/ 49 w 64"/>
                <a:gd name="T73" fmla="*/ 35 h 44"/>
                <a:gd name="T74" fmla="*/ 46 w 64"/>
                <a:gd name="T75" fmla="*/ 36 h 44"/>
                <a:gd name="T76" fmla="*/ 45 w 64"/>
                <a:gd name="T77" fmla="*/ 36 h 44"/>
                <a:gd name="T78" fmla="*/ 45 w 64"/>
                <a:gd name="T79" fmla="*/ 36 h 44"/>
                <a:gd name="T80" fmla="*/ 45 w 64"/>
                <a:gd name="T81" fmla="*/ 36 h 44"/>
                <a:gd name="T82" fmla="*/ 46 w 64"/>
                <a:gd name="T8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 h="44">
                  <a:moveTo>
                    <a:pt x="46" y="44"/>
                  </a:moveTo>
                  <a:cubicBezTo>
                    <a:pt x="47" y="44"/>
                    <a:pt x="50" y="43"/>
                    <a:pt x="55" y="41"/>
                  </a:cubicBezTo>
                  <a:cubicBezTo>
                    <a:pt x="57" y="40"/>
                    <a:pt x="59" y="38"/>
                    <a:pt x="61" y="35"/>
                  </a:cubicBezTo>
                  <a:cubicBezTo>
                    <a:pt x="62" y="33"/>
                    <a:pt x="64" y="30"/>
                    <a:pt x="63" y="26"/>
                  </a:cubicBezTo>
                  <a:cubicBezTo>
                    <a:pt x="63" y="24"/>
                    <a:pt x="63" y="22"/>
                    <a:pt x="63" y="20"/>
                  </a:cubicBezTo>
                  <a:cubicBezTo>
                    <a:pt x="62" y="19"/>
                    <a:pt x="62" y="19"/>
                    <a:pt x="62" y="19"/>
                  </a:cubicBezTo>
                  <a:cubicBezTo>
                    <a:pt x="63" y="20"/>
                    <a:pt x="63" y="20"/>
                    <a:pt x="63" y="20"/>
                  </a:cubicBezTo>
                  <a:cubicBezTo>
                    <a:pt x="62" y="18"/>
                    <a:pt x="60" y="15"/>
                    <a:pt x="58" y="13"/>
                  </a:cubicBezTo>
                  <a:cubicBezTo>
                    <a:pt x="55" y="10"/>
                    <a:pt x="52" y="8"/>
                    <a:pt x="47" y="7"/>
                  </a:cubicBezTo>
                  <a:cubicBezTo>
                    <a:pt x="43" y="5"/>
                    <a:pt x="38" y="4"/>
                    <a:pt x="33" y="4"/>
                  </a:cubicBezTo>
                  <a:cubicBezTo>
                    <a:pt x="27" y="4"/>
                    <a:pt x="21" y="5"/>
                    <a:pt x="15" y="8"/>
                  </a:cubicBezTo>
                  <a:cubicBezTo>
                    <a:pt x="10" y="11"/>
                    <a:pt x="5" y="16"/>
                    <a:pt x="2" y="23"/>
                  </a:cubicBezTo>
                  <a:cubicBezTo>
                    <a:pt x="1" y="26"/>
                    <a:pt x="0" y="29"/>
                    <a:pt x="0" y="32"/>
                  </a:cubicBezTo>
                  <a:cubicBezTo>
                    <a:pt x="0" y="33"/>
                    <a:pt x="1" y="35"/>
                    <a:pt x="1" y="36"/>
                  </a:cubicBezTo>
                  <a:cubicBezTo>
                    <a:pt x="2" y="39"/>
                    <a:pt x="4" y="40"/>
                    <a:pt x="6" y="41"/>
                  </a:cubicBezTo>
                  <a:cubicBezTo>
                    <a:pt x="8" y="42"/>
                    <a:pt x="10" y="42"/>
                    <a:pt x="12" y="42"/>
                  </a:cubicBezTo>
                  <a:cubicBezTo>
                    <a:pt x="18" y="42"/>
                    <a:pt x="24" y="40"/>
                    <a:pt x="30" y="37"/>
                  </a:cubicBezTo>
                  <a:cubicBezTo>
                    <a:pt x="40" y="32"/>
                    <a:pt x="46" y="22"/>
                    <a:pt x="50" y="15"/>
                  </a:cubicBezTo>
                  <a:cubicBezTo>
                    <a:pt x="53" y="7"/>
                    <a:pt x="54" y="1"/>
                    <a:pt x="54" y="1"/>
                  </a:cubicBezTo>
                  <a:cubicBezTo>
                    <a:pt x="46" y="0"/>
                    <a:pt x="46" y="0"/>
                    <a:pt x="46" y="0"/>
                  </a:cubicBezTo>
                  <a:cubicBezTo>
                    <a:pt x="46" y="0"/>
                    <a:pt x="46" y="0"/>
                    <a:pt x="46" y="0"/>
                  </a:cubicBezTo>
                  <a:cubicBezTo>
                    <a:pt x="46" y="0"/>
                    <a:pt x="45" y="6"/>
                    <a:pt x="42" y="12"/>
                  </a:cubicBezTo>
                  <a:cubicBezTo>
                    <a:pt x="39" y="19"/>
                    <a:pt x="34" y="26"/>
                    <a:pt x="26" y="30"/>
                  </a:cubicBezTo>
                  <a:cubicBezTo>
                    <a:pt x="22" y="33"/>
                    <a:pt x="16" y="35"/>
                    <a:pt x="12" y="34"/>
                  </a:cubicBezTo>
                  <a:cubicBezTo>
                    <a:pt x="11" y="34"/>
                    <a:pt x="9" y="34"/>
                    <a:pt x="9" y="34"/>
                  </a:cubicBezTo>
                  <a:cubicBezTo>
                    <a:pt x="9" y="33"/>
                    <a:pt x="9" y="33"/>
                    <a:pt x="9" y="33"/>
                  </a:cubicBezTo>
                  <a:cubicBezTo>
                    <a:pt x="9" y="33"/>
                    <a:pt x="8" y="32"/>
                    <a:pt x="8" y="32"/>
                  </a:cubicBezTo>
                  <a:cubicBezTo>
                    <a:pt x="8" y="30"/>
                    <a:pt x="9" y="28"/>
                    <a:pt x="10" y="26"/>
                  </a:cubicBezTo>
                  <a:cubicBezTo>
                    <a:pt x="12" y="21"/>
                    <a:pt x="15" y="18"/>
                    <a:pt x="19" y="15"/>
                  </a:cubicBezTo>
                  <a:cubicBezTo>
                    <a:pt x="23" y="13"/>
                    <a:pt x="28" y="12"/>
                    <a:pt x="33" y="12"/>
                  </a:cubicBezTo>
                  <a:cubicBezTo>
                    <a:pt x="38" y="12"/>
                    <a:pt x="44" y="14"/>
                    <a:pt x="48" y="16"/>
                  </a:cubicBezTo>
                  <a:cubicBezTo>
                    <a:pt x="50" y="17"/>
                    <a:pt x="52" y="18"/>
                    <a:pt x="53" y="19"/>
                  </a:cubicBezTo>
                  <a:cubicBezTo>
                    <a:pt x="54" y="20"/>
                    <a:pt x="55" y="21"/>
                    <a:pt x="55" y="22"/>
                  </a:cubicBezTo>
                  <a:cubicBezTo>
                    <a:pt x="55" y="22"/>
                    <a:pt x="55" y="22"/>
                    <a:pt x="55" y="22"/>
                  </a:cubicBezTo>
                  <a:cubicBezTo>
                    <a:pt x="55" y="24"/>
                    <a:pt x="55" y="25"/>
                    <a:pt x="55" y="26"/>
                  </a:cubicBezTo>
                  <a:cubicBezTo>
                    <a:pt x="55" y="28"/>
                    <a:pt x="55" y="30"/>
                    <a:pt x="54" y="31"/>
                  </a:cubicBezTo>
                  <a:cubicBezTo>
                    <a:pt x="53" y="33"/>
                    <a:pt x="51" y="34"/>
                    <a:pt x="49" y="35"/>
                  </a:cubicBezTo>
                  <a:cubicBezTo>
                    <a:pt x="48" y="35"/>
                    <a:pt x="47" y="36"/>
                    <a:pt x="46" y="36"/>
                  </a:cubicBezTo>
                  <a:cubicBezTo>
                    <a:pt x="45" y="36"/>
                    <a:pt x="45" y="36"/>
                    <a:pt x="45" y="36"/>
                  </a:cubicBezTo>
                  <a:cubicBezTo>
                    <a:pt x="45" y="36"/>
                    <a:pt x="45" y="36"/>
                    <a:pt x="45" y="36"/>
                  </a:cubicBezTo>
                  <a:cubicBezTo>
                    <a:pt x="45" y="36"/>
                    <a:pt x="45" y="36"/>
                    <a:pt x="45" y="36"/>
                  </a:cubicBezTo>
                  <a:cubicBezTo>
                    <a:pt x="46" y="44"/>
                    <a:pt x="46" y="44"/>
                    <a:pt x="46"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40">
              <a:extLst>
                <a:ext uri="{FF2B5EF4-FFF2-40B4-BE49-F238E27FC236}">
                  <a16:creationId xmlns:a16="http://schemas.microsoft.com/office/drawing/2014/main" id="{BFB93C95-EACC-40E1-AF98-803408B52842}"/>
                </a:ext>
              </a:extLst>
            </p:cNvPr>
            <p:cNvSpPr>
              <a:spLocks/>
            </p:cNvSpPr>
            <p:nvPr/>
          </p:nvSpPr>
          <p:spPr bwMode="auto">
            <a:xfrm>
              <a:off x="5522" y="1285"/>
              <a:ext cx="145" cy="140"/>
            </a:xfrm>
            <a:custGeom>
              <a:avLst/>
              <a:gdLst>
                <a:gd name="T0" fmla="*/ 0 w 61"/>
                <a:gd name="T1" fmla="*/ 0 h 59"/>
                <a:gd name="T2" fmla="*/ 61 w 61"/>
                <a:gd name="T3" fmla="*/ 59 h 59"/>
                <a:gd name="T4" fmla="*/ 30 w 61"/>
                <a:gd name="T5" fmla="*/ 0 h 59"/>
                <a:gd name="T6" fmla="*/ 0 w 61"/>
                <a:gd name="T7" fmla="*/ 0 h 59"/>
              </a:gdLst>
              <a:ahLst/>
              <a:cxnLst>
                <a:cxn ang="0">
                  <a:pos x="T0" y="T1"/>
                </a:cxn>
                <a:cxn ang="0">
                  <a:pos x="T2" y="T3"/>
                </a:cxn>
                <a:cxn ang="0">
                  <a:pos x="T4" y="T5"/>
                </a:cxn>
                <a:cxn ang="0">
                  <a:pos x="T6" y="T7"/>
                </a:cxn>
              </a:cxnLst>
              <a:rect l="0" t="0" r="r" b="b"/>
              <a:pathLst>
                <a:path w="61" h="59">
                  <a:moveTo>
                    <a:pt x="0" y="0"/>
                  </a:moveTo>
                  <a:cubicBezTo>
                    <a:pt x="0" y="0"/>
                    <a:pt x="7" y="41"/>
                    <a:pt x="61" y="59"/>
                  </a:cubicBezTo>
                  <a:cubicBezTo>
                    <a:pt x="61" y="59"/>
                    <a:pt x="30" y="30"/>
                    <a:pt x="30" y="0"/>
                  </a:cubicBezTo>
                  <a:cubicBezTo>
                    <a:pt x="0" y="0"/>
                    <a:pt x="0" y="0"/>
                    <a:pt x="0"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41">
              <a:extLst>
                <a:ext uri="{FF2B5EF4-FFF2-40B4-BE49-F238E27FC236}">
                  <a16:creationId xmlns:a16="http://schemas.microsoft.com/office/drawing/2014/main" id="{40C36C49-951D-4433-BB56-FEC254FD0D05}"/>
                </a:ext>
              </a:extLst>
            </p:cNvPr>
            <p:cNvSpPr>
              <a:spLocks/>
            </p:cNvSpPr>
            <p:nvPr/>
          </p:nvSpPr>
          <p:spPr bwMode="auto">
            <a:xfrm>
              <a:off x="5532" y="1316"/>
              <a:ext cx="135" cy="109"/>
            </a:xfrm>
            <a:custGeom>
              <a:avLst/>
              <a:gdLst>
                <a:gd name="T0" fmla="*/ 28 w 57"/>
                <a:gd name="T1" fmla="*/ 0 h 46"/>
                <a:gd name="T2" fmla="*/ 0 w 57"/>
                <a:gd name="T3" fmla="*/ 0 h 46"/>
                <a:gd name="T4" fmla="*/ 57 w 57"/>
                <a:gd name="T5" fmla="*/ 46 h 46"/>
                <a:gd name="T6" fmla="*/ 28 w 57"/>
                <a:gd name="T7" fmla="*/ 0 h 46"/>
              </a:gdLst>
              <a:ahLst/>
              <a:cxnLst>
                <a:cxn ang="0">
                  <a:pos x="T0" y="T1"/>
                </a:cxn>
                <a:cxn ang="0">
                  <a:pos x="T2" y="T3"/>
                </a:cxn>
                <a:cxn ang="0">
                  <a:pos x="T4" y="T5"/>
                </a:cxn>
                <a:cxn ang="0">
                  <a:pos x="T6" y="T7"/>
                </a:cxn>
              </a:cxnLst>
              <a:rect l="0" t="0" r="r" b="b"/>
              <a:pathLst>
                <a:path w="57" h="46">
                  <a:moveTo>
                    <a:pt x="28" y="0"/>
                  </a:moveTo>
                  <a:cubicBezTo>
                    <a:pt x="0" y="0"/>
                    <a:pt x="0" y="0"/>
                    <a:pt x="0" y="0"/>
                  </a:cubicBezTo>
                  <a:cubicBezTo>
                    <a:pt x="7" y="13"/>
                    <a:pt x="22" y="34"/>
                    <a:pt x="57" y="46"/>
                  </a:cubicBezTo>
                  <a:cubicBezTo>
                    <a:pt x="57" y="46"/>
                    <a:pt x="35" y="25"/>
                    <a:pt x="28"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2">
              <a:extLst>
                <a:ext uri="{FF2B5EF4-FFF2-40B4-BE49-F238E27FC236}">
                  <a16:creationId xmlns:a16="http://schemas.microsoft.com/office/drawing/2014/main" id="{172CCBB4-F65F-401B-9E83-4C104529A423}"/>
                </a:ext>
              </a:extLst>
            </p:cNvPr>
            <p:cNvSpPr>
              <a:spLocks/>
            </p:cNvSpPr>
            <p:nvPr/>
          </p:nvSpPr>
          <p:spPr bwMode="auto">
            <a:xfrm>
              <a:off x="5389" y="972"/>
              <a:ext cx="345" cy="344"/>
            </a:xfrm>
            <a:custGeom>
              <a:avLst/>
              <a:gdLst>
                <a:gd name="T0" fmla="*/ 133 w 145"/>
                <a:gd name="T1" fmla="*/ 145 h 145"/>
                <a:gd name="T2" fmla="*/ 12 w 145"/>
                <a:gd name="T3" fmla="*/ 145 h 145"/>
                <a:gd name="T4" fmla="*/ 0 w 145"/>
                <a:gd name="T5" fmla="*/ 133 h 145"/>
                <a:gd name="T6" fmla="*/ 0 w 145"/>
                <a:gd name="T7" fmla="*/ 13 h 145"/>
                <a:gd name="T8" fmla="*/ 12 w 145"/>
                <a:gd name="T9" fmla="*/ 0 h 145"/>
                <a:gd name="T10" fmla="*/ 133 w 145"/>
                <a:gd name="T11" fmla="*/ 0 h 145"/>
                <a:gd name="T12" fmla="*/ 145 w 145"/>
                <a:gd name="T13" fmla="*/ 13 h 145"/>
                <a:gd name="T14" fmla="*/ 145 w 145"/>
                <a:gd name="T15" fmla="*/ 133 h 145"/>
                <a:gd name="T16" fmla="*/ 133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133" y="145"/>
                  </a:moveTo>
                  <a:cubicBezTo>
                    <a:pt x="12" y="145"/>
                    <a:pt x="12" y="145"/>
                    <a:pt x="12" y="145"/>
                  </a:cubicBezTo>
                  <a:cubicBezTo>
                    <a:pt x="6" y="145"/>
                    <a:pt x="0" y="139"/>
                    <a:pt x="0" y="133"/>
                  </a:cubicBezTo>
                  <a:cubicBezTo>
                    <a:pt x="0" y="13"/>
                    <a:pt x="0" y="13"/>
                    <a:pt x="0" y="13"/>
                  </a:cubicBezTo>
                  <a:cubicBezTo>
                    <a:pt x="0" y="6"/>
                    <a:pt x="6" y="0"/>
                    <a:pt x="12" y="0"/>
                  </a:cubicBezTo>
                  <a:cubicBezTo>
                    <a:pt x="133" y="0"/>
                    <a:pt x="133" y="0"/>
                    <a:pt x="133" y="0"/>
                  </a:cubicBezTo>
                  <a:cubicBezTo>
                    <a:pt x="139" y="0"/>
                    <a:pt x="145" y="6"/>
                    <a:pt x="145" y="13"/>
                  </a:cubicBezTo>
                  <a:cubicBezTo>
                    <a:pt x="145" y="133"/>
                    <a:pt x="145" y="133"/>
                    <a:pt x="145" y="133"/>
                  </a:cubicBezTo>
                  <a:cubicBezTo>
                    <a:pt x="145" y="139"/>
                    <a:pt x="139" y="145"/>
                    <a:pt x="133" y="145"/>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3">
              <a:extLst>
                <a:ext uri="{FF2B5EF4-FFF2-40B4-BE49-F238E27FC236}">
                  <a16:creationId xmlns:a16="http://schemas.microsoft.com/office/drawing/2014/main" id="{14BFF63D-F0FA-4E17-A844-F4512E06084A}"/>
                </a:ext>
              </a:extLst>
            </p:cNvPr>
            <p:cNvSpPr>
              <a:spLocks/>
            </p:cNvSpPr>
            <p:nvPr/>
          </p:nvSpPr>
          <p:spPr bwMode="auto">
            <a:xfrm>
              <a:off x="5389" y="972"/>
              <a:ext cx="345" cy="344"/>
            </a:xfrm>
            <a:custGeom>
              <a:avLst/>
              <a:gdLst>
                <a:gd name="T0" fmla="*/ 133 w 145"/>
                <a:gd name="T1" fmla="*/ 0 h 145"/>
                <a:gd name="T2" fmla="*/ 50 w 145"/>
                <a:gd name="T3" fmla="*/ 0 h 145"/>
                <a:gd name="T4" fmla="*/ 49 w 145"/>
                <a:gd name="T5" fmla="*/ 0 h 145"/>
                <a:gd name="T6" fmla="*/ 12 w 145"/>
                <a:gd name="T7" fmla="*/ 0 h 145"/>
                <a:gd name="T8" fmla="*/ 2 w 145"/>
                <a:gd name="T9" fmla="*/ 6 h 145"/>
                <a:gd name="T10" fmla="*/ 1 w 145"/>
                <a:gd name="T11" fmla="*/ 8 h 145"/>
                <a:gd name="T12" fmla="*/ 0 w 145"/>
                <a:gd name="T13" fmla="*/ 13 h 145"/>
                <a:gd name="T14" fmla="*/ 0 w 145"/>
                <a:gd name="T15" fmla="*/ 133 h 145"/>
                <a:gd name="T16" fmla="*/ 12 w 145"/>
                <a:gd name="T17" fmla="*/ 145 h 145"/>
                <a:gd name="T18" fmla="*/ 133 w 145"/>
                <a:gd name="T19" fmla="*/ 145 h 145"/>
                <a:gd name="T20" fmla="*/ 145 w 145"/>
                <a:gd name="T21" fmla="*/ 133 h 145"/>
                <a:gd name="T22" fmla="*/ 145 w 145"/>
                <a:gd name="T23" fmla="*/ 13 h 145"/>
                <a:gd name="T24" fmla="*/ 133 w 145"/>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5">
                  <a:moveTo>
                    <a:pt x="133" y="0"/>
                  </a:moveTo>
                  <a:cubicBezTo>
                    <a:pt x="50" y="0"/>
                    <a:pt x="50" y="0"/>
                    <a:pt x="50" y="0"/>
                  </a:cubicBezTo>
                  <a:cubicBezTo>
                    <a:pt x="49" y="0"/>
                    <a:pt x="49" y="0"/>
                    <a:pt x="49" y="0"/>
                  </a:cubicBezTo>
                  <a:cubicBezTo>
                    <a:pt x="12" y="0"/>
                    <a:pt x="12" y="0"/>
                    <a:pt x="12" y="0"/>
                  </a:cubicBezTo>
                  <a:cubicBezTo>
                    <a:pt x="8" y="0"/>
                    <a:pt x="4" y="3"/>
                    <a:pt x="2" y="6"/>
                  </a:cubicBezTo>
                  <a:cubicBezTo>
                    <a:pt x="1" y="7"/>
                    <a:pt x="1" y="8"/>
                    <a:pt x="1" y="8"/>
                  </a:cubicBezTo>
                  <a:cubicBezTo>
                    <a:pt x="0" y="10"/>
                    <a:pt x="0" y="11"/>
                    <a:pt x="0" y="13"/>
                  </a:cubicBezTo>
                  <a:cubicBezTo>
                    <a:pt x="0" y="133"/>
                    <a:pt x="0" y="133"/>
                    <a:pt x="0" y="133"/>
                  </a:cubicBezTo>
                  <a:cubicBezTo>
                    <a:pt x="0" y="139"/>
                    <a:pt x="6" y="145"/>
                    <a:pt x="12" y="145"/>
                  </a:cubicBezTo>
                  <a:cubicBezTo>
                    <a:pt x="133" y="145"/>
                    <a:pt x="133" y="145"/>
                    <a:pt x="133" y="145"/>
                  </a:cubicBezTo>
                  <a:cubicBezTo>
                    <a:pt x="139" y="145"/>
                    <a:pt x="145" y="139"/>
                    <a:pt x="145" y="133"/>
                  </a:cubicBezTo>
                  <a:cubicBezTo>
                    <a:pt x="145" y="13"/>
                    <a:pt x="145" y="13"/>
                    <a:pt x="145" y="13"/>
                  </a:cubicBezTo>
                  <a:cubicBezTo>
                    <a:pt x="145" y="6"/>
                    <a:pt x="139" y="0"/>
                    <a:pt x="133"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44">
              <a:extLst>
                <a:ext uri="{FF2B5EF4-FFF2-40B4-BE49-F238E27FC236}">
                  <a16:creationId xmlns:a16="http://schemas.microsoft.com/office/drawing/2014/main" id="{9C812EBB-53F5-420B-9D1C-74059D779C40}"/>
                </a:ext>
              </a:extLst>
            </p:cNvPr>
            <p:cNvSpPr>
              <a:spLocks noEditPoints="1"/>
            </p:cNvSpPr>
            <p:nvPr/>
          </p:nvSpPr>
          <p:spPr bwMode="auto">
            <a:xfrm>
              <a:off x="5503" y="1067"/>
              <a:ext cx="119" cy="135"/>
            </a:xfrm>
            <a:custGeom>
              <a:avLst/>
              <a:gdLst>
                <a:gd name="T0" fmla="*/ 93 w 119"/>
                <a:gd name="T1" fmla="*/ 135 h 135"/>
                <a:gd name="T2" fmla="*/ 81 w 119"/>
                <a:gd name="T3" fmla="*/ 102 h 135"/>
                <a:gd name="T4" fmla="*/ 36 w 119"/>
                <a:gd name="T5" fmla="*/ 102 h 135"/>
                <a:gd name="T6" fmla="*/ 24 w 119"/>
                <a:gd name="T7" fmla="*/ 135 h 135"/>
                <a:gd name="T8" fmla="*/ 0 w 119"/>
                <a:gd name="T9" fmla="*/ 135 h 135"/>
                <a:gd name="T10" fmla="*/ 48 w 119"/>
                <a:gd name="T11" fmla="*/ 0 h 135"/>
                <a:gd name="T12" fmla="*/ 72 w 119"/>
                <a:gd name="T13" fmla="*/ 0 h 135"/>
                <a:gd name="T14" fmla="*/ 119 w 119"/>
                <a:gd name="T15" fmla="*/ 135 h 135"/>
                <a:gd name="T16" fmla="*/ 93 w 119"/>
                <a:gd name="T17" fmla="*/ 135 h 135"/>
                <a:gd name="T18" fmla="*/ 60 w 119"/>
                <a:gd name="T19" fmla="*/ 40 h 135"/>
                <a:gd name="T20" fmla="*/ 45 w 119"/>
                <a:gd name="T21" fmla="*/ 78 h 135"/>
                <a:gd name="T22" fmla="*/ 74 w 119"/>
                <a:gd name="T23" fmla="*/ 78 h 135"/>
                <a:gd name="T24" fmla="*/ 60 w 119"/>
                <a:gd name="T25" fmla="*/ 4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135">
                  <a:moveTo>
                    <a:pt x="93" y="135"/>
                  </a:moveTo>
                  <a:lnTo>
                    <a:pt x="81" y="102"/>
                  </a:lnTo>
                  <a:lnTo>
                    <a:pt x="36" y="102"/>
                  </a:lnTo>
                  <a:lnTo>
                    <a:pt x="24" y="135"/>
                  </a:lnTo>
                  <a:lnTo>
                    <a:pt x="0" y="135"/>
                  </a:lnTo>
                  <a:lnTo>
                    <a:pt x="48" y="0"/>
                  </a:lnTo>
                  <a:lnTo>
                    <a:pt x="72" y="0"/>
                  </a:lnTo>
                  <a:lnTo>
                    <a:pt x="119" y="135"/>
                  </a:lnTo>
                  <a:lnTo>
                    <a:pt x="93" y="135"/>
                  </a:lnTo>
                  <a:close/>
                  <a:moveTo>
                    <a:pt x="60" y="40"/>
                  </a:moveTo>
                  <a:lnTo>
                    <a:pt x="45" y="78"/>
                  </a:lnTo>
                  <a:lnTo>
                    <a:pt x="74" y="78"/>
                  </a:lnTo>
                  <a:lnTo>
                    <a:pt x="60" y="4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5">
              <a:extLst>
                <a:ext uri="{FF2B5EF4-FFF2-40B4-BE49-F238E27FC236}">
                  <a16:creationId xmlns:a16="http://schemas.microsoft.com/office/drawing/2014/main" id="{DC392C55-D6A0-4AF2-BA44-1B2FE9487FA0}"/>
                </a:ext>
              </a:extLst>
            </p:cNvPr>
            <p:cNvSpPr>
              <a:spLocks/>
            </p:cNvSpPr>
            <p:nvPr/>
          </p:nvSpPr>
          <p:spPr bwMode="auto">
            <a:xfrm>
              <a:off x="6282" y="2038"/>
              <a:ext cx="136" cy="126"/>
            </a:xfrm>
            <a:custGeom>
              <a:avLst/>
              <a:gdLst>
                <a:gd name="T0" fmla="*/ 50 w 57"/>
                <a:gd name="T1" fmla="*/ 1 h 53"/>
                <a:gd name="T2" fmla="*/ 0 w 57"/>
                <a:gd name="T3" fmla="*/ 47 h 53"/>
                <a:gd name="T4" fmla="*/ 7 w 57"/>
                <a:gd name="T5" fmla="*/ 53 h 53"/>
                <a:gd name="T6" fmla="*/ 55 w 57"/>
                <a:gd name="T7" fmla="*/ 7 h 53"/>
                <a:gd name="T8" fmla="*/ 55 w 57"/>
                <a:gd name="T9" fmla="*/ 1 h 53"/>
                <a:gd name="T10" fmla="*/ 50 w 57"/>
                <a:gd name="T11" fmla="*/ 1 h 53"/>
              </a:gdLst>
              <a:ahLst/>
              <a:cxnLst>
                <a:cxn ang="0">
                  <a:pos x="T0" y="T1"/>
                </a:cxn>
                <a:cxn ang="0">
                  <a:pos x="T2" y="T3"/>
                </a:cxn>
                <a:cxn ang="0">
                  <a:pos x="T4" y="T5"/>
                </a:cxn>
                <a:cxn ang="0">
                  <a:pos x="T6" y="T7"/>
                </a:cxn>
                <a:cxn ang="0">
                  <a:pos x="T8" y="T9"/>
                </a:cxn>
                <a:cxn ang="0">
                  <a:pos x="T10" y="T11"/>
                </a:cxn>
              </a:cxnLst>
              <a:rect l="0" t="0" r="r" b="b"/>
              <a:pathLst>
                <a:path w="57" h="53">
                  <a:moveTo>
                    <a:pt x="50" y="1"/>
                  </a:moveTo>
                  <a:cubicBezTo>
                    <a:pt x="0" y="47"/>
                    <a:pt x="0" y="47"/>
                    <a:pt x="0" y="47"/>
                  </a:cubicBezTo>
                  <a:cubicBezTo>
                    <a:pt x="7" y="53"/>
                    <a:pt x="7" y="53"/>
                    <a:pt x="7" y="53"/>
                  </a:cubicBezTo>
                  <a:cubicBezTo>
                    <a:pt x="55" y="7"/>
                    <a:pt x="55" y="7"/>
                    <a:pt x="55" y="7"/>
                  </a:cubicBezTo>
                  <a:cubicBezTo>
                    <a:pt x="57" y="5"/>
                    <a:pt x="57" y="3"/>
                    <a:pt x="55" y="1"/>
                  </a:cubicBezTo>
                  <a:cubicBezTo>
                    <a:pt x="54" y="0"/>
                    <a:pt x="51" y="0"/>
                    <a:pt x="50" y="1"/>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6">
              <a:extLst>
                <a:ext uri="{FF2B5EF4-FFF2-40B4-BE49-F238E27FC236}">
                  <a16:creationId xmlns:a16="http://schemas.microsoft.com/office/drawing/2014/main" id="{EA5F4A12-555B-4B8F-AD15-4AD99A44E89E}"/>
                </a:ext>
              </a:extLst>
            </p:cNvPr>
            <p:cNvSpPr>
              <a:spLocks/>
            </p:cNvSpPr>
            <p:nvPr/>
          </p:nvSpPr>
          <p:spPr bwMode="auto">
            <a:xfrm>
              <a:off x="6235" y="2088"/>
              <a:ext cx="228" cy="121"/>
            </a:xfrm>
            <a:custGeom>
              <a:avLst/>
              <a:gdLst>
                <a:gd name="T0" fmla="*/ 0 w 96"/>
                <a:gd name="T1" fmla="*/ 17 h 51"/>
                <a:gd name="T2" fmla="*/ 29 w 96"/>
                <a:gd name="T3" fmla="*/ 4 h 51"/>
                <a:gd name="T4" fmla="*/ 64 w 96"/>
                <a:gd name="T5" fmla="*/ 2 h 51"/>
                <a:gd name="T6" fmla="*/ 95 w 96"/>
                <a:gd name="T7" fmla="*/ 38 h 51"/>
                <a:gd name="T8" fmla="*/ 56 w 96"/>
                <a:gd name="T9" fmla="*/ 51 h 51"/>
                <a:gd name="T10" fmla="*/ 39 w 96"/>
                <a:gd name="T11" fmla="*/ 41 h 51"/>
                <a:gd name="T12" fmla="*/ 12 w 96"/>
                <a:gd name="T13" fmla="*/ 51 h 51"/>
                <a:gd name="T14" fmla="*/ 0 w 96"/>
                <a:gd name="T15" fmla="*/ 17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51">
                  <a:moveTo>
                    <a:pt x="0" y="17"/>
                  </a:moveTo>
                  <a:cubicBezTo>
                    <a:pt x="29" y="4"/>
                    <a:pt x="29" y="4"/>
                    <a:pt x="29" y="4"/>
                  </a:cubicBezTo>
                  <a:cubicBezTo>
                    <a:pt x="29" y="4"/>
                    <a:pt x="54" y="0"/>
                    <a:pt x="64" y="2"/>
                  </a:cubicBezTo>
                  <a:cubicBezTo>
                    <a:pt x="74" y="4"/>
                    <a:pt x="96" y="34"/>
                    <a:pt x="95" y="38"/>
                  </a:cubicBezTo>
                  <a:cubicBezTo>
                    <a:pt x="95" y="42"/>
                    <a:pt x="57" y="51"/>
                    <a:pt x="56" y="51"/>
                  </a:cubicBezTo>
                  <a:cubicBezTo>
                    <a:pt x="55" y="51"/>
                    <a:pt x="39" y="41"/>
                    <a:pt x="39" y="41"/>
                  </a:cubicBezTo>
                  <a:cubicBezTo>
                    <a:pt x="12" y="51"/>
                    <a:pt x="12" y="51"/>
                    <a:pt x="12" y="51"/>
                  </a:cubicBezTo>
                  <a:lnTo>
                    <a:pt x="0" y="17"/>
                  </a:lnTo>
                  <a:close/>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7">
              <a:extLst>
                <a:ext uri="{FF2B5EF4-FFF2-40B4-BE49-F238E27FC236}">
                  <a16:creationId xmlns:a16="http://schemas.microsoft.com/office/drawing/2014/main" id="{3353FD74-A878-435E-AA0F-D14C84D5457C}"/>
                </a:ext>
              </a:extLst>
            </p:cNvPr>
            <p:cNvSpPr>
              <a:spLocks/>
            </p:cNvSpPr>
            <p:nvPr/>
          </p:nvSpPr>
          <p:spPr bwMode="auto">
            <a:xfrm>
              <a:off x="5639" y="3441"/>
              <a:ext cx="85" cy="190"/>
            </a:xfrm>
            <a:custGeom>
              <a:avLst/>
              <a:gdLst>
                <a:gd name="T0" fmla="*/ 0 w 85"/>
                <a:gd name="T1" fmla="*/ 190 h 190"/>
                <a:gd name="T2" fmla="*/ 76 w 85"/>
                <a:gd name="T3" fmla="*/ 179 h 190"/>
                <a:gd name="T4" fmla="*/ 85 w 85"/>
                <a:gd name="T5" fmla="*/ 0 h 190"/>
                <a:gd name="T6" fmla="*/ 12 w 85"/>
                <a:gd name="T7" fmla="*/ 10 h 190"/>
                <a:gd name="T8" fmla="*/ 0 w 85"/>
                <a:gd name="T9" fmla="*/ 190 h 190"/>
              </a:gdLst>
              <a:ahLst/>
              <a:cxnLst>
                <a:cxn ang="0">
                  <a:pos x="T0" y="T1"/>
                </a:cxn>
                <a:cxn ang="0">
                  <a:pos x="T2" y="T3"/>
                </a:cxn>
                <a:cxn ang="0">
                  <a:pos x="T4" y="T5"/>
                </a:cxn>
                <a:cxn ang="0">
                  <a:pos x="T6" y="T7"/>
                </a:cxn>
                <a:cxn ang="0">
                  <a:pos x="T8" y="T9"/>
                </a:cxn>
              </a:cxnLst>
              <a:rect l="0" t="0" r="r" b="b"/>
              <a:pathLst>
                <a:path w="85" h="190">
                  <a:moveTo>
                    <a:pt x="0" y="190"/>
                  </a:moveTo>
                  <a:lnTo>
                    <a:pt x="76" y="179"/>
                  </a:lnTo>
                  <a:lnTo>
                    <a:pt x="85" y="0"/>
                  </a:lnTo>
                  <a:lnTo>
                    <a:pt x="12" y="10"/>
                  </a:lnTo>
                  <a:lnTo>
                    <a:pt x="0" y="190"/>
                  </a:lnTo>
                  <a:close/>
                </a:path>
              </a:pathLst>
            </a:custGeom>
            <a:solidFill>
              <a:srgbClr val="EBB3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8">
              <a:extLst>
                <a:ext uri="{FF2B5EF4-FFF2-40B4-BE49-F238E27FC236}">
                  <a16:creationId xmlns:a16="http://schemas.microsoft.com/office/drawing/2014/main" id="{D1CB7A89-B146-46AD-9839-42F04FEB1BF0}"/>
                </a:ext>
              </a:extLst>
            </p:cNvPr>
            <p:cNvSpPr>
              <a:spLocks/>
            </p:cNvSpPr>
            <p:nvPr/>
          </p:nvSpPr>
          <p:spPr bwMode="auto">
            <a:xfrm>
              <a:off x="5639" y="3441"/>
              <a:ext cx="85" cy="190"/>
            </a:xfrm>
            <a:custGeom>
              <a:avLst/>
              <a:gdLst>
                <a:gd name="T0" fmla="*/ 0 w 85"/>
                <a:gd name="T1" fmla="*/ 190 h 190"/>
                <a:gd name="T2" fmla="*/ 76 w 85"/>
                <a:gd name="T3" fmla="*/ 179 h 190"/>
                <a:gd name="T4" fmla="*/ 85 w 85"/>
                <a:gd name="T5" fmla="*/ 0 h 190"/>
                <a:gd name="T6" fmla="*/ 12 w 85"/>
                <a:gd name="T7" fmla="*/ 10 h 190"/>
                <a:gd name="T8" fmla="*/ 0 w 85"/>
                <a:gd name="T9" fmla="*/ 190 h 190"/>
              </a:gdLst>
              <a:ahLst/>
              <a:cxnLst>
                <a:cxn ang="0">
                  <a:pos x="T0" y="T1"/>
                </a:cxn>
                <a:cxn ang="0">
                  <a:pos x="T2" y="T3"/>
                </a:cxn>
                <a:cxn ang="0">
                  <a:pos x="T4" y="T5"/>
                </a:cxn>
                <a:cxn ang="0">
                  <a:pos x="T6" y="T7"/>
                </a:cxn>
                <a:cxn ang="0">
                  <a:pos x="T8" y="T9"/>
                </a:cxn>
              </a:cxnLst>
              <a:rect l="0" t="0" r="r" b="b"/>
              <a:pathLst>
                <a:path w="85" h="190">
                  <a:moveTo>
                    <a:pt x="0" y="190"/>
                  </a:moveTo>
                  <a:lnTo>
                    <a:pt x="76" y="179"/>
                  </a:lnTo>
                  <a:lnTo>
                    <a:pt x="85" y="0"/>
                  </a:lnTo>
                  <a:lnTo>
                    <a:pt x="12" y="10"/>
                  </a:lnTo>
                  <a:lnTo>
                    <a:pt x="0" y="19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49">
              <a:extLst>
                <a:ext uri="{FF2B5EF4-FFF2-40B4-BE49-F238E27FC236}">
                  <a16:creationId xmlns:a16="http://schemas.microsoft.com/office/drawing/2014/main" id="{2D4E19EA-E6D8-4663-8C72-D7EC0FAFA38C}"/>
                </a:ext>
              </a:extLst>
            </p:cNvPr>
            <p:cNvSpPr>
              <a:spLocks/>
            </p:cNvSpPr>
            <p:nvPr/>
          </p:nvSpPr>
          <p:spPr bwMode="auto">
            <a:xfrm>
              <a:off x="5154" y="2432"/>
              <a:ext cx="758" cy="1088"/>
            </a:xfrm>
            <a:custGeom>
              <a:avLst/>
              <a:gdLst>
                <a:gd name="T0" fmla="*/ 205 w 319"/>
                <a:gd name="T1" fmla="*/ 59 h 458"/>
                <a:gd name="T2" fmla="*/ 198 w 319"/>
                <a:gd name="T3" fmla="*/ 11 h 458"/>
                <a:gd name="T4" fmla="*/ 19 w 319"/>
                <a:gd name="T5" fmla="*/ 0 h 458"/>
                <a:gd name="T6" fmla="*/ 15 w 319"/>
                <a:gd name="T7" fmla="*/ 128 h 458"/>
                <a:gd name="T8" fmla="*/ 167 w 319"/>
                <a:gd name="T9" fmla="*/ 158 h 458"/>
                <a:gd name="T10" fmla="*/ 222 w 319"/>
                <a:gd name="T11" fmla="*/ 157 h 458"/>
                <a:gd name="T12" fmla="*/ 200 w 319"/>
                <a:gd name="T13" fmla="*/ 454 h 458"/>
                <a:gd name="T14" fmla="*/ 259 w 319"/>
                <a:gd name="T15" fmla="*/ 458 h 458"/>
                <a:gd name="T16" fmla="*/ 313 w 319"/>
                <a:gd name="T17" fmla="*/ 146 h 458"/>
                <a:gd name="T18" fmla="*/ 205 w 319"/>
                <a:gd name="T19" fmla="*/ 5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9" h="458">
                  <a:moveTo>
                    <a:pt x="205" y="59"/>
                  </a:moveTo>
                  <a:cubicBezTo>
                    <a:pt x="198" y="11"/>
                    <a:pt x="198" y="11"/>
                    <a:pt x="198" y="11"/>
                  </a:cubicBezTo>
                  <a:cubicBezTo>
                    <a:pt x="19" y="0"/>
                    <a:pt x="19" y="0"/>
                    <a:pt x="19" y="0"/>
                  </a:cubicBezTo>
                  <a:cubicBezTo>
                    <a:pt x="19" y="0"/>
                    <a:pt x="0" y="101"/>
                    <a:pt x="15" y="128"/>
                  </a:cubicBezTo>
                  <a:cubicBezTo>
                    <a:pt x="33" y="163"/>
                    <a:pt x="110" y="160"/>
                    <a:pt x="167" y="158"/>
                  </a:cubicBezTo>
                  <a:cubicBezTo>
                    <a:pt x="190" y="157"/>
                    <a:pt x="210" y="156"/>
                    <a:pt x="222" y="157"/>
                  </a:cubicBezTo>
                  <a:cubicBezTo>
                    <a:pt x="198" y="258"/>
                    <a:pt x="200" y="454"/>
                    <a:pt x="200" y="454"/>
                  </a:cubicBezTo>
                  <a:cubicBezTo>
                    <a:pt x="259" y="458"/>
                    <a:pt x="259" y="458"/>
                    <a:pt x="259" y="458"/>
                  </a:cubicBezTo>
                  <a:cubicBezTo>
                    <a:pt x="259" y="458"/>
                    <a:pt x="304" y="247"/>
                    <a:pt x="313" y="146"/>
                  </a:cubicBezTo>
                  <a:cubicBezTo>
                    <a:pt x="319" y="78"/>
                    <a:pt x="263" y="80"/>
                    <a:pt x="205" y="5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0">
              <a:extLst>
                <a:ext uri="{FF2B5EF4-FFF2-40B4-BE49-F238E27FC236}">
                  <a16:creationId xmlns:a16="http://schemas.microsoft.com/office/drawing/2014/main" id="{FC527DF2-F90D-4F83-AA27-AF9AEA9C219B}"/>
                </a:ext>
              </a:extLst>
            </p:cNvPr>
            <p:cNvSpPr>
              <a:spLocks/>
            </p:cNvSpPr>
            <p:nvPr/>
          </p:nvSpPr>
          <p:spPr bwMode="auto">
            <a:xfrm>
              <a:off x="5610" y="3446"/>
              <a:ext cx="185" cy="81"/>
            </a:xfrm>
            <a:custGeom>
              <a:avLst/>
              <a:gdLst>
                <a:gd name="T0" fmla="*/ 3 w 185"/>
                <a:gd name="T1" fmla="*/ 71 h 81"/>
                <a:gd name="T2" fmla="*/ 171 w 185"/>
                <a:gd name="T3" fmla="*/ 81 h 81"/>
                <a:gd name="T4" fmla="*/ 185 w 185"/>
                <a:gd name="T5" fmla="*/ 10 h 81"/>
                <a:gd name="T6" fmla="*/ 0 w 185"/>
                <a:gd name="T7" fmla="*/ 0 h 81"/>
                <a:gd name="T8" fmla="*/ 3 w 185"/>
                <a:gd name="T9" fmla="*/ 71 h 81"/>
              </a:gdLst>
              <a:ahLst/>
              <a:cxnLst>
                <a:cxn ang="0">
                  <a:pos x="T0" y="T1"/>
                </a:cxn>
                <a:cxn ang="0">
                  <a:pos x="T2" y="T3"/>
                </a:cxn>
                <a:cxn ang="0">
                  <a:pos x="T4" y="T5"/>
                </a:cxn>
                <a:cxn ang="0">
                  <a:pos x="T6" y="T7"/>
                </a:cxn>
                <a:cxn ang="0">
                  <a:pos x="T8" y="T9"/>
                </a:cxn>
              </a:cxnLst>
              <a:rect l="0" t="0" r="r" b="b"/>
              <a:pathLst>
                <a:path w="185" h="81">
                  <a:moveTo>
                    <a:pt x="3" y="71"/>
                  </a:moveTo>
                  <a:lnTo>
                    <a:pt x="171" y="81"/>
                  </a:lnTo>
                  <a:lnTo>
                    <a:pt x="185" y="10"/>
                  </a:lnTo>
                  <a:lnTo>
                    <a:pt x="0" y="0"/>
                  </a:lnTo>
                  <a:lnTo>
                    <a:pt x="3" y="71"/>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51">
              <a:extLst>
                <a:ext uri="{FF2B5EF4-FFF2-40B4-BE49-F238E27FC236}">
                  <a16:creationId xmlns:a16="http://schemas.microsoft.com/office/drawing/2014/main" id="{B52E2E16-23F8-4B64-AF35-5B9CCE63E500}"/>
                </a:ext>
              </a:extLst>
            </p:cNvPr>
            <p:cNvSpPr>
              <a:spLocks/>
            </p:cNvSpPr>
            <p:nvPr/>
          </p:nvSpPr>
          <p:spPr bwMode="auto">
            <a:xfrm>
              <a:off x="5610" y="3446"/>
              <a:ext cx="185" cy="81"/>
            </a:xfrm>
            <a:custGeom>
              <a:avLst/>
              <a:gdLst>
                <a:gd name="T0" fmla="*/ 3 w 185"/>
                <a:gd name="T1" fmla="*/ 71 h 81"/>
                <a:gd name="T2" fmla="*/ 171 w 185"/>
                <a:gd name="T3" fmla="*/ 81 h 81"/>
                <a:gd name="T4" fmla="*/ 185 w 185"/>
                <a:gd name="T5" fmla="*/ 10 h 81"/>
                <a:gd name="T6" fmla="*/ 0 w 185"/>
                <a:gd name="T7" fmla="*/ 0 h 81"/>
                <a:gd name="T8" fmla="*/ 3 w 185"/>
                <a:gd name="T9" fmla="*/ 71 h 81"/>
              </a:gdLst>
              <a:ahLst/>
              <a:cxnLst>
                <a:cxn ang="0">
                  <a:pos x="T0" y="T1"/>
                </a:cxn>
                <a:cxn ang="0">
                  <a:pos x="T2" y="T3"/>
                </a:cxn>
                <a:cxn ang="0">
                  <a:pos x="T4" y="T5"/>
                </a:cxn>
                <a:cxn ang="0">
                  <a:pos x="T6" y="T7"/>
                </a:cxn>
                <a:cxn ang="0">
                  <a:pos x="T8" y="T9"/>
                </a:cxn>
              </a:cxnLst>
              <a:rect l="0" t="0" r="r" b="b"/>
              <a:pathLst>
                <a:path w="185" h="81">
                  <a:moveTo>
                    <a:pt x="3" y="71"/>
                  </a:moveTo>
                  <a:lnTo>
                    <a:pt x="171" y="81"/>
                  </a:lnTo>
                  <a:lnTo>
                    <a:pt x="185" y="10"/>
                  </a:lnTo>
                  <a:lnTo>
                    <a:pt x="0" y="0"/>
                  </a:lnTo>
                  <a:lnTo>
                    <a:pt x="3" y="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52">
              <a:extLst>
                <a:ext uri="{FF2B5EF4-FFF2-40B4-BE49-F238E27FC236}">
                  <a16:creationId xmlns:a16="http://schemas.microsoft.com/office/drawing/2014/main" id="{9EE7B44C-05D7-43CA-9A02-9B289957CA15}"/>
                </a:ext>
              </a:extLst>
            </p:cNvPr>
            <p:cNvSpPr>
              <a:spLocks/>
            </p:cNvSpPr>
            <p:nvPr/>
          </p:nvSpPr>
          <p:spPr bwMode="auto">
            <a:xfrm>
              <a:off x="5610" y="3446"/>
              <a:ext cx="185" cy="81"/>
            </a:xfrm>
            <a:custGeom>
              <a:avLst/>
              <a:gdLst>
                <a:gd name="T0" fmla="*/ 0 w 78"/>
                <a:gd name="T1" fmla="*/ 0 h 34"/>
                <a:gd name="T2" fmla="*/ 1 w 78"/>
                <a:gd name="T3" fmla="*/ 23 h 34"/>
                <a:gd name="T4" fmla="*/ 52 w 78"/>
                <a:gd name="T5" fmla="*/ 28 h 34"/>
                <a:gd name="T6" fmla="*/ 65 w 78"/>
                <a:gd name="T7" fmla="*/ 34 h 34"/>
                <a:gd name="T8" fmla="*/ 72 w 78"/>
                <a:gd name="T9" fmla="*/ 34 h 34"/>
                <a:gd name="T10" fmla="*/ 78 w 78"/>
                <a:gd name="T11" fmla="*/ 4 h 34"/>
                <a:gd name="T12" fmla="*/ 72 w 78"/>
                <a:gd name="T13" fmla="*/ 4 h 34"/>
                <a:gd name="T14" fmla="*/ 8 w 78"/>
                <a:gd name="T15" fmla="*/ 1 h 34"/>
                <a:gd name="T16" fmla="*/ 0 w 78"/>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34">
                  <a:moveTo>
                    <a:pt x="0" y="0"/>
                  </a:moveTo>
                  <a:cubicBezTo>
                    <a:pt x="1" y="23"/>
                    <a:pt x="1" y="23"/>
                    <a:pt x="1" y="23"/>
                  </a:cubicBezTo>
                  <a:cubicBezTo>
                    <a:pt x="52" y="28"/>
                    <a:pt x="52" y="28"/>
                    <a:pt x="52" y="28"/>
                  </a:cubicBezTo>
                  <a:cubicBezTo>
                    <a:pt x="57" y="28"/>
                    <a:pt x="62" y="30"/>
                    <a:pt x="65" y="34"/>
                  </a:cubicBezTo>
                  <a:cubicBezTo>
                    <a:pt x="72" y="34"/>
                    <a:pt x="72" y="34"/>
                    <a:pt x="72" y="34"/>
                  </a:cubicBezTo>
                  <a:cubicBezTo>
                    <a:pt x="78" y="4"/>
                    <a:pt x="78" y="4"/>
                    <a:pt x="78" y="4"/>
                  </a:cubicBezTo>
                  <a:cubicBezTo>
                    <a:pt x="72" y="4"/>
                    <a:pt x="72" y="4"/>
                    <a:pt x="72" y="4"/>
                  </a:cubicBezTo>
                  <a:cubicBezTo>
                    <a:pt x="8" y="1"/>
                    <a:pt x="8" y="1"/>
                    <a:pt x="8" y="1"/>
                  </a:cubicBezTo>
                  <a:cubicBezTo>
                    <a:pt x="0" y="0"/>
                    <a:pt x="0" y="0"/>
                    <a:pt x="0" y="0"/>
                  </a:cubicBezTo>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53">
              <a:extLst>
                <a:ext uri="{FF2B5EF4-FFF2-40B4-BE49-F238E27FC236}">
                  <a16:creationId xmlns:a16="http://schemas.microsoft.com/office/drawing/2014/main" id="{B30A6454-D83C-4730-B979-00C6C188AC31}"/>
                </a:ext>
              </a:extLst>
            </p:cNvPr>
            <p:cNvSpPr>
              <a:spLocks/>
            </p:cNvSpPr>
            <p:nvPr/>
          </p:nvSpPr>
          <p:spPr bwMode="auto">
            <a:xfrm>
              <a:off x="5620" y="3605"/>
              <a:ext cx="228" cy="98"/>
            </a:xfrm>
            <a:custGeom>
              <a:avLst/>
              <a:gdLst>
                <a:gd name="T0" fmla="*/ 42 w 96"/>
                <a:gd name="T1" fmla="*/ 3 h 41"/>
                <a:gd name="T2" fmla="*/ 6 w 96"/>
                <a:gd name="T3" fmla="*/ 0 h 41"/>
                <a:gd name="T4" fmla="*/ 4 w 96"/>
                <a:gd name="T5" fmla="*/ 2 h 41"/>
                <a:gd name="T6" fmla="*/ 4 w 96"/>
                <a:gd name="T7" fmla="*/ 2 h 41"/>
                <a:gd name="T8" fmla="*/ 0 w 96"/>
                <a:gd name="T9" fmla="*/ 31 h 41"/>
                <a:gd name="T10" fmla="*/ 6 w 96"/>
                <a:gd name="T11" fmla="*/ 37 h 41"/>
                <a:gd name="T12" fmla="*/ 40 w 96"/>
                <a:gd name="T13" fmla="*/ 38 h 41"/>
                <a:gd name="T14" fmla="*/ 82 w 96"/>
                <a:gd name="T15" fmla="*/ 39 h 41"/>
                <a:gd name="T16" fmla="*/ 88 w 96"/>
                <a:gd name="T17" fmla="*/ 24 h 41"/>
                <a:gd name="T18" fmla="*/ 48 w 96"/>
                <a:gd name="T19" fmla="*/ 5 h 41"/>
                <a:gd name="T20" fmla="*/ 42 w 96"/>
                <a:gd name="T21"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41">
                  <a:moveTo>
                    <a:pt x="42" y="3"/>
                  </a:moveTo>
                  <a:cubicBezTo>
                    <a:pt x="6" y="0"/>
                    <a:pt x="6" y="0"/>
                    <a:pt x="6" y="0"/>
                  </a:cubicBezTo>
                  <a:cubicBezTo>
                    <a:pt x="5" y="0"/>
                    <a:pt x="4" y="1"/>
                    <a:pt x="4" y="2"/>
                  </a:cubicBezTo>
                  <a:cubicBezTo>
                    <a:pt x="4" y="2"/>
                    <a:pt x="4" y="2"/>
                    <a:pt x="4" y="2"/>
                  </a:cubicBezTo>
                  <a:cubicBezTo>
                    <a:pt x="0" y="31"/>
                    <a:pt x="0" y="31"/>
                    <a:pt x="0" y="31"/>
                  </a:cubicBezTo>
                  <a:cubicBezTo>
                    <a:pt x="0" y="34"/>
                    <a:pt x="2" y="37"/>
                    <a:pt x="6" y="37"/>
                  </a:cubicBezTo>
                  <a:cubicBezTo>
                    <a:pt x="18" y="37"/>
                    <a:pt x="24" y="37"/>
                    <a:pt x="40" y="38"/>
                  </a:cubicBezTo>
                  <a:cubicBezTo>
                    <a:pt x="50" y="38"/>
                    <a:pt x="69" y="41"/>
                    <a:pt x="82" y="39"/>
                  </a:cubicBezTo>
                  <a:cubicBezTo>
                    <a:pt x="96" y="38"/>
                    <a:pt x="94" y="25"/>
                    <a:pt x="88" y="24"/>
                  </a:cubicBezTo>
                  <a:cubicBezTo>
                    <a:pt x="75" y="23"/>
                    <a:pt x="56" y="12"/>
                    <a:pt x="48" y="5"/>
                  </a:cubicBezTo>
                  <a:cubicBezTo>
                    <a:pt x="46" y="3"/>
                    <a:pt x="44" y="3"/>
                    <a:pt x="42" y="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54">
              <a:extLst>
                <a:ext uri="{FF2B5EF4-FFF2-40B4-BE49-F238E27FC236}">
                  <a16:creationId xmlns:a16="http://schemas.microsoft.com/office/drawing/2014/main" id="{7254FE42-8CFD-4ACA-982D-0834E7EE3872}"/>
                </a:ext>
              </a:extLst>
            </p:cNvPr>
            <p:cNvSpPr>
              <a:spLocks/>
            </p:cNvSpPr>
            <p:nvPr/>
          </p:nvSpPr>
          <p:spPr bwMode="auto">
            <a:xfrm>
              <a:off x="5814" y="3456"/>
              <a:ext cx="124" cy="180"/>
            </a:xfrm>
            <a:custGeom>
              <a:avLst/>
              <a:gdLst>
                <a:gd name="T0" fmla="*/ 0 w 124"/>
                <a:gd name="T1" fmla="*/ 173 h 180"/>
                <a:gd name="T2" fmla="*/ 76 w 124"/>
                <a:gd name="T3" fmla="*/ 180 h 180"/>
                <a:gd name="T4" fmla="*/ 124 w 124"/>
                <a:gd name="T5" fmla="*/ 7 h 180"/>
                <a:gd name="T6" fmla="*/ 48 w 124"/>
                <a:gd name="T7" fmla="*/ 0 h 180"/>
                <a:gd name="T8" fmla="*/ 0 w 124"/>
                <a:gd name="T9" fmla="*/ 173 h 180"/>
              </a:gdLst>
              <a:ahLst/>
              <a:cxnLst>
                <a:cxn ang="0">
                  <a:pos x="T0" y="T1"/>
                </a:cxn>
                <a:cxn ang="0">
                  <a:pos x="T2" y="T3"/>
                </a:cxn>
                <a:cxn ang="0">
                  <a:pos x="T4" y="T5"/>
                </a:cxn>
                <a:cxn ang="0">
                  <a:pos x="T6" y="T7"/>
                </a:cxn>
                <a:cxn ang="0">
                  <a:pos x="T8" y="T9"/>
                </a:cxn>
              </a:cxnLst>
              <a:rect l="0" t="0" r="r" b="b"/>
              <a:pathLst>
                <a:path w="124" h="180">
                  <a:moveTo>
                    <a:pt x="0" y="173"/>
                  </a:moveTo>
                  <a:lnTo>
                    <a:pt x="76" y="180"/>
                  </a:lnTo>
                  <a:lnTo>
                    <a:pt x="124" y="7"/>
                  </a:lnTo>
                  <a:lnTo>
                    <a:pt x="48" y="0"/>
                  </a:lnTo>
                  <a:lnTo>
                    <a:pt x="0" y="173"/>
                  </a:lnTo>
                  <a:close/>
                </a:path>
              </a:pathLst>
            </a:custGeom>
            <a:solidFill>
              <a:srgbClr val="EBB3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55">
              <a:extLst>
                <a:ext uri="{FF2B5EF4-FFF2-40B4-BE49-F238E27FC236}">
                  <a16:creationId xmlns:a16="http://schemas.microsoft.com/office/drawing/2014/main" id="{D1B30F28-364C-46AE-881F-284ED8A04F09}"/>
                </a:ext>
              </a:extLst>
            </p:cNvPr>
            <p:cNvSpPr>
              <a:spLocks/>
            </p:cNvSpPr>
            <p:nvPr/>
          </p:nvSpPr>
          <p:spPr bwMode="auto">
            <a:xfrm>
              <a:off x="5814" y="3456"/>
              <a:ext cx="124" cy="180"/>
            </a:xfrm>
            <a:custGeom>
              <a:avLst/>
              <a:gdLst>
                <a:gd name="T0" fmla="*/ 0 w 124"/>
                <a:gd name="T1" fmla="*/ 173 h 180"/>
                <a:gd name="T2" fmla="*/ 76 w 124"/>
                <a:gd name="T3" fmla="*/ 180 h 180"/>
                <a:gd name="T4" fmla="*/ 124 w 124"/>
                <a:gd name="T5" fmla="*/ 7 h 180"/>
                <a:gd name="T6" fmla="*/ 48 w 124"/>
                <a:gd name="T7" fmla="*/ 0 h 180"/>
                <a:gd name="T8" fmla="*/ 0 w 124"/>
                <a:gd name="T9" fmla="*/ 173 h 180"/>
              </a:gdLst>
              <a:ahLst/>
              <a:cxnLst>
                <a:cxn ang="0">
                  <a:pos x="T0" y="T1"/>
                </a:cxn>
                <a:cxn ang="0">
                  <a:pos x="T2" y="T3"/>
                </a:cxn>
                <a:cxn ang="0">
                  <a:pos x="T4" y="T5"/>
                </a:cxn>
                <a:cxn ang="0">
                  <a:pos x="T6" y="T7"/>
                </a:cxn>
                <a:cxn ang="0">
                  <a:pos x="T8" y="T9"/>
                </a:cxn>
              </a:cxnLst>
              <a:rect l="0" t="0" r="r" b="b"/>
              <a:pathLst>
                <a:path w="124" h="180">
                  <a:moveTo>
                    <a:pt x="0" y="173"/>
                  </a:moveTo>
                  <a:lnTo>
                    <a:pt x="76" y="180"/>
                  </a:lnTo>
                  <a:lnTo>
                    <a:pt x="124" y="7"/>
                  </a:lnTo>
                  <a:lnTo>
                    <a:pt x="48" y="0"/>
                  </a:lnTo>
                  <a:lnTo>
                    <a:pt x="0" y="1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56">
              <a:extLst>
                <a:ext uri="{FF2B5EF4-FFF2-40B4-BE49-F238E27FC236}">
                  <a16:creationId xmlns:a16="http://schemas.microsoft.com/office/drawing/2014/main" id="{E8835383-35DD-4256-86E2-24CE127E61C9}"/>
                </a:ext>
              </a:extLst>
            </p:cNvPr>
            <p:cNvSpPr>
              <a:spLocks noEditPoints="1"/>
            </p:cNvSpPr>
            <p:nvPr/>
          </p:nvSpPr>
          <p:spPr bwMode="auto">
            <a:xfrm>
              <a:off x="5900" y="3610"/>
              <a:ext cx="40" cy="40"/>
            </a:xfrm>
            <a:custGeom>
              <a:avLst/>
              <a:gdLst>
                <a:gd name="T0" fmla="*/ 0 w 17"/>
                <a:gd name="T1" fmla="*/ 12 h 17"/>
                <a:gd name="T2" fmla="*/ 0 w 17"/>
                <a:gd name="T3" fmla="*/ 13 h 17"/>
                <a:gd name="T4" fmla="*/ 1 w 17"/>
                <a:gd name="T5" fmla="*/ 13 h 17"/>
                <a:gd name="T6" fmla="*/ 8 w 17"/>
                <a:gd name="T7" fmla="*/ 16 h 17"/>
                <a:gd name="T8" fmla="*/ 15 w 17"/>
                <a:gd name="T9" fmla="*/ 16 h 17"/>
                <a:gd name="T10" fmla="*/ 17 w 17"/>
                <a:gd name="T11" fmla="*/ 12 h 17"/>
                <a:gd name="T12" fmla="*/ 16 w 17"/>
                <a:gd name="T13" fmla="*/ 10 h 17"/>
                <a:gd name="T14" fmla="*/ 7 w 17"/>
                <a:gd name="T15" fmla="*/ 9 h 17"/>
                <a:gd name="T16" fmla="*/ 11 w 17"/>
                <a:gd name="T17" fmla="*/ 3 h 17"/>
                <a:gd name="T18" fmla="*/ 9 w 17"/>
                <a:gd name="T19" fmla="*/ 0 h 17"/>
                <a:gd name="T20" fmla="*/ 6 w 17"/>
                <a:gd name="T21" fmla="*/ 0 h 17"/>
                <a:gd name="T22" fmla="*/ 1 w 17"/>
                <a:gd name="T23" fmla="*/ 12 h 17"/>
                <a:gd name="T24" fmla="*/ 1 w 17"/>
                <a:gd name="T25" fmla="*/ 12 h 17"/>
                <a:gd name="T26" fmla="*/ 1 w 17"/>
                <a:gd name="T27" fmla="*/ 12 h 17"/>
                <a:gd name="T28" fmla="*/ 1 w 17"/>
                <a:gd name="T29" fmla="*/ 12 h 17"/>
                <a:gd name="T30" fmla="*/ 0 w 17"/>
                <a:gd name="T31" fmla="*/ 12 h 17"/>
                <a:gd name="T32" fmla="*/ 3 w 17"/>
                <a:gd name="T33" fmla="*/ 10 h 17"/>
                <a:gd name="T34" fmla="*/ 2 w 17"/>
                <a:gd name="T35" fmla="*/ 11 h 17"/>
                <a:gd name="T36" fmla="*/ 7 w 17"/>
                <a:gd name="T37" fmla="*/ 2 h 17"/>
                <a:gd name="T38" fmla="*/ 8 w 17"/>
                <a:gd name="T39" fmla="*/ 1 h 17"/>
                <a:gd name="T40" fmla="*/ 9 w 17"/>
                <a:gd name="T41" fmla="*/ 2 h 17"/>
                <a:gd name="T42" fmla="*/ 10 w 17"/>
                <a:gd name="T43" fmla="*/ 3 h 17"/>
                <a:gd name="T44" fmla="*/ 3 w 17"/>
                <a:gd name="T45" fmla="*/ 10 h 17"/>
                <a:gd name="T46" fmla="*/ 3 w 17"/>
                <a:gd name="T47" fmla="*/ 12 h 17"/>
                <a:gd name="T48" fmla="*/ 15 w 17"/>
                <a:gd name="T49" fmla="*/ 11 h 17"/>
                <a:gd name="T50" fmla="*/ 15 w 17"/>
                <a:gd name="T51" fmla="*/ 12 h 17"/>
                <a:gd name="T52" fmla="*/ 14 w 17"/>
                <a:gd name="T53" fmla="*/ 15 h 17"/>
                <a:gd name="T54" fmla="*/ 3 w 17"/>
                <a:gd name="T5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17">
                  <a:moveTo>
                    <a:pt x="0" y="12"/>
                  </a:moveTo>
                  <a:cubicBezTo>
                    <a:pt x="0" y="13"/>
                    <a:pt x="0" y="13"/>
                    <a:pt x="0" y="13"/>
                  </a:cubicBezTo>
                  <a:cubicBezTo>
                    <a:pt x="1" y="13"/>
                    <a:pt x="1" y="13"/>
                    <a:pt x="1" y="13"/>
                  </a:cubicBezTo>
                  <a:cubicBezTo>
                    <a:pt x="3" y="14"/>
                    <a:pt x="6" y="15"/>
                    <a:pt x="8" y="16"/>
                  </a:cubicBezTo>
                  <a:cubicBezTo>
                    <a:pt x="10" y="17"/>
                    <a:pt x="13" y="17"/>
                    <a:pt x="15" y="16"/>
                  </a:cubicBezTo>
                  <a:cubicBezTo>
                    <a:pt x="16" y="15"/>
                    <a:pt x="17" y="14"/>
                    <a:pt x="17" y="12"/>
                  </a:cubicBezTo>
                  <a:cubicBezTo>
                    <a:pt x="17" y="11"/>
                    <a:pt x="16" y="10"/>
                    <a:pt x="16" y="10"/>
                  </a:cubicBezTo>
                  <a:cubicBezTo>
                    <a:pt x="14" y="8"/>
                    <a:pt x="10" y="9"/>
                    <a:pt x="7" y="9"/>
                  </a:cubicBezTo>
                  <a:cubicBezTo>
                    <a:pt x="9" y="7"/>
                    <a:pt x="11" y="5"/>
                    <a:pt x="11" y="3"/>
                  </a:cubicBezTo>
                  <a:cubicBezTo>
                    <a:pt x="11" y="2"/>
                    <a:pt x="11" y="0"/>
                    <a:pt x="9" y="0"/>
                  </a:cubicBezTo>
                  <a:cubicBezTo>
                    <a:pt x="8" y="0"/>
                    <a:pt x="7" y="0"/>
                    <a:pt x="6" y="0"/>
                  </a:cubicBezTo>
                  <a:cubicBezTo>
                    <a:pt x="2" y="2"/>
                    <a:pt x="1" y="11"/>
                    <a:pt x="1" y="12"/>
                  </a:cubicBezTo>
                  <a:cubicBezTo>
                    <a:pt x="1" y="12"/>
                    <a:pt x="1" y="12"/>
                    <a:pt x="1" y="12"/>
                  </a:cubicBezTo>
                  <a:cubicBezTo>
                    <a:pt x="1" y="12"/>
                    <a:pt x="1" y="12"/>
                    <a:pt x="1" y="12"/>
                  </a:cubicBezTo>
                  <a:cubicBezTo>
                    <a:pt x="1" y="12"/>
                    <a:pt x="1" y="12"/>
                    <a:pt x="1" y="12"/>
                  </a:cubicBezTo>
                  <a:cubicBezTo>
                    <a:pt x="0" y="12"/>
                    <a:pt x="0" y="12"/>
                    <a:pt x="0" y="12"/>
                  </a:cubicBezTo>
                  <a:close/>
                  <a:moveTo>
                    <a:pt x="3" y="10"/>
                  </a:moveTo>
                  <a:cubicBezTo>
                    <a:pt x="2" y="11"/>
                    <a:pt x="2" y="11"/>
                    <a:pt x="2" y="11"/>
                  </a:cubicBezTo>
                  <a:cubicBezTo>
                    <a:pt x="3" y="8"/>
                    <a:pt x="4" y="3"/>
                    <a:pt x="7" y="2"/>
                  </a:cubicBezTo>
                  <a:cubicBezTo>
                    <a:pt x="7" y="1"/>
                    <a:pt x="8" y="1"/>
                    <a:pt x="8" y="1"/>
                  </a:cubicBezTo>
                  <a:cubicBezTo>
                    <a:pt x="9" y="2"/>
                    <a:pt x="9" y="2"/>
                    <a:pt x="9" y="2"/>
                  </a:cubicBezTo>
                  <a:cubicBezTo>
                    <a:pt x="10" y="2"/>
                    <a:pt x="10" y="3"/>
                    <a:pt x="10" y="3"/>
                  </a:cubicBezTo>
                  <a:cubicBezTo>
                    <a:pt x="9" y="5"/>
                    <a:pt x="6" y="9"/>
                    <a:pt x="3" y="10"/>
                  </a:cubicBezTo>
                  <a:close/>
                  <a:moveTo>
                    <a:pt x="3" y="12"/>
                  </a:moveTo>
                  <a:cubicBezTo>
                    <a:pt x="7" y="11"/>
                    <a:pt x="13" y="10"/>
                    <a:pt x="15" y="11"/>
                  </a:cubicBezTo>
                  <a:cubicBezTo>
                    <a:pt x="15" y="11"/>
                    <a:pt x="15" y="12"/>
                    <a:pt x="15" y="12"/>
                  </a:cubicBezTo>
                  <a:cubicBezTo>
                    <a:pt x="15" y="13"/>
                    <a:pt x="15" y="14"/>
                    <a:pt x="14" y="15"/>
                  </a:cubicBezTo>
                  <a:cubicBezTo>
                    <a:pt x="12" y="16"/>
                    <a:pt x="8" y="15"/>
                    <a:pt x="3" y="12"/>
                  </a:cubicBez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57">
              <a:extLst>
                <a:ext uri="{FF2B5EF4-FFF2-40B4-BE49-F238E27FC236}">
                  <a16:creationId xmlns:a16="http://schemas.microsoft.com/office/drawing/2014/main" id="{89A0F2EC-8647-43DD-86F6-4A34676D838D}"/>
                </a:ext>
              </a:extLst>
            </p:cNvPr>
            <p:cNvSpPr>
              <a:spLocks/>
            </p:cNvSpPr>
            <p:nvPr/>
          </p:nvSpPr>
          <p:spPr bwMode="auto">
            <a:xfrm>
              <a:off x="5836" y="3522"/>
              <a:ext cx="7" cy="31"/>
            </a:xfrm>
            <a:custGeom>
              <a:avLst/>
              <a:gdLst>
                <a:gd name="T0" fmla="*/ 7 w 7"/>
                <a:gd name="T1" fmla="*/ 0 h 31"/>
                <a:gd name="T2" fmla="*/ 0 w 7"/>
                <a:gd name="T3" fmla="*/ 31 h 31"/>
                <a:gd name="T4" fmla="*/ 0 w 7"/>
                <a:gd name="T5" fmla="*/ 31 h 31"/>
                <a:gd name="T6" fmla="*/ 7 w 7"/>
                <a:gd name="T7" fmla="*/ 0 h 31"/>
                <a:gd name="T8" fmla="*/ 7 w 7"/>
                <a:gd name="T9" fmla="*/ 0 h 31"/>
              </a:gdLst>
              <a:ahLst/>
              <a:cxnLst>
                <a:cxn ang="0">
                  <a:pos x="T0" y="T1"/>
                </a:cxn>
                <a:cxn ang="0">
                  <a:pos x="T2" y="T3"/>
                </a:cxn>
                <a:cxn ang="0">
                  <a:pos x="T4" y="T5"/>
                </a:cxn>
                <a:cxn ang="0">
                  <a:pos x="T6" y="T7"/>
                </a:cxn>
                <a:cxn ang="0">
                  <a:pos x="T8" y="T9"/>
                </a:cxn>
              </a:cxnLst>
              <a:rect l="0" t="0" r="r" b="b"/>
              <a:pathLst>
                <a:path w="7" h="31">
                  <a:moveTo>
                    <a:pt x="7" y="0"/>
                  </a:moveTo>
                  <a:lnTo>
                    <a:pt x="0" y="31"/>
                  </a:lnTo>
                  <a:lnTo>
                    <a:pt x="0" y="31"/>
                  </a:lnTo>
                  <a:lnTo>
                    <a:pt x="7" y="0"/>
                  </a:lnTo>
                  <a:lnTo>
                    <a:pt x="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58">
              <a:extLst>
                <a:ext uri="{FF2B5EF4-FFF2-40B4-BE49-F238E27FC236}">
                  <a16:creationId xmlns:a16="http://schemas.microsoft.com/office/drawing/2014/main" id="{A634D130-BA54-4A0A-B12B-3B65E6ADE455}"/>
                </a:ext>
              </a:extLst>
            </p:cNvPr>
            <p:cNvSpPr>
              <a:spLocks/>
            </p:cNvSpPr>
            <p:nvPr/>
          </p:nvSpPr>
          <p:spPr bwMode="auto">
            <a:xfrm>
              <a:off x="5836" y="3522"/>
              <a:ext cx="7" cy="31"/>
            </a:xfrm>
            <a:custGeom>
              <a:avLst/>
              <a:gdLst>
                <a:gd name="T0" fmla="*/ 7 w 7"/>
                <a:gd name="T1" fmla="*/ 0 h 31"/>
                <a:gd name="T2" fmla="*/ 0 w 7"/>
                <a:gd name="T3" fmla="*/ 31 h 31"/>
                <a:gd name="T4" fmla="*/ 0 w 7"/>
                <a:gd name="T5" fmla="*/ 31 h 31"/>
                <a:gd name="T6" fmla="*/ 7 w 7"/>
                <a:gd name="T7" fmla="*/ 0 h 31"/>
                <a:gd name="T8" fmla="*/ 7 w 7"/>
                <a:gd name="T9" fmla="*/ 0 h 31"/>
              </a:gdLst>
              <a:ahLst/>
              <a:cxnLst>
                <a:cxn ang="0">
                  <a:pos x="T0" y="T1"/>
                </a:cxn>
                <a:cxn ang="0">
                  <a:pos x="T2" y="T3"/>
                </a:cxn>
                <a:cxn ang="0">
                  <a:pos x="T4" y="T5"/>
                </a:cxn>
                <a:cxn ang="0">
                  <a:pos x="T6" y="T7"/>
                </a:cxn>
                <a:cxn ang="0">
                  <a:pos x="T8" y="T9"/>
                </a:cxn>
              </a:cxnLst>
              <a:rect l="0" t="0" r="r" b="b"/>
              <a:pathLst>
                <a:path w="7" h="31">
                  <a:moveTo>
                    <a:pt x="7" y="0"/>
                  </a:moveTo>
                  <a:lnTo>
                    <a:pt x="0" y="31"/>
                  </a:lnTo>
                  <a:lnTo>
                    <a:pt x="0" y="31"/>
                  </a:lnTo>
                  <a:lnTo>
                    <a:pt x="7"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59">
              <a:extLst>
                <a:ext uri="{FF2B5EF4-FFF2-40B4-BE49-F238E27FC236}">
                  <a16:creationId xmlns:a16="http://schemas.microsoft.com/office/drawing/2014/main" id="{95D16514-8D55-4873-9F20-35B1FD71B3FE}"/>
                </a:ext>
              </a:extLst>
            </p:cNvPr>
            <p:cNvSpPr>
              <a:spLocks/>
            </p:cNvSpPr>
            <p:nvPr/>
          </p:nvSpPr>
          <p:spPr bwMode="auto">
            <a:xfrm>
              <a:off x="5836" y="3522"/>
              <a:ext cx="81" cy="41"/>
            </a:xfrm>
            <a:custGeom>
              <a:avLst/>
              <a:gdLst>
                <a:gd name="T0" fmla="*/ 7 w 81"/>
                <a:gd name="T1" fmla="*/ 0 h 41"/>
                <a:gd name="T2" fmla="*/ 0 w 81"/>
                <a:gd name="T3" fmla="*/ 31 h 41"/>
                <a:gd name="T4" fmla="*/ 73 w 81"/>
                <a:gd name="T5" fmla="*/ 41 h 41"/>
                <a:gd name="T6" fmla="*/ 81 w 81"/>
                <a:gd name="T7" fmla="*/ 19 h 41"/>
                <a:gd name="T8" fmla="*/ 7 w 81"/>
                <a:gd name="T9" fmla="*/ 0 h 41"/>
              </a:gdLst>
              <a:ahLst/>
              <a:cxnLst>
                <a:cxn ang="0">
                  <a:pos x="T0" y="T1"/>
                </a:cxn>
                <a:cxn ang="0">
                  <a:pos x="T2" y="T3"/>
                </a:cxn>
                <a:cxn ang="0">
                  <a:pos x="T4" y="T5"/>
                </a:cxn>
                <a:cxn ang="0">
                  <a:pos x="T6" y="T7"/>
                </a:cxn>
                <a:cxn ang="0">
                  <a:pos x="T8" y="T9"/>
                </a:cxn>
              </a:cxnLst>
              <a:rect l="0" t="0" r="r" b="b"/>
              <a:pathLst>
                <a:path w="81" h="41">
                  <a:moveTo>
                    <a:pt x="7" y="0"/>
                  </a:moveTo>
                  <a:lnTo>
                    <a:pt x="0" y="31"/>
                  </a:lnTo>
                  <a:lnTo>
                    <a:pt x="73" y="41"/>
                  </a:lnTo>
                  <a:lnTo>
                    <a:pt x="81" y="19"/>
                  </a:lnTo>
                  <a:lnTo>
                    <a:pt x="7" y="0"/>
                  </a:lnTo>
                  <a:close/>
                </a:path>
              </a:pathLst>
            </a:custGeom>
            <a:solidFill>
              <a:srgbClr val="BC8F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60">
              <a:extLst>
                <a:ext uri="{FF2B5EF4-FFF2-40B4-BE49-F238E27FC236}">
                  <a16:creationId xmlns:a16="http://schemas.microsoft.com/office/drawing/2014/main" id="{8F18662E-857C-4380-93C2-D6B2268BFA62}"/>
                </a:ext>
              </a:extLst>
            </p:cNvPr>
            <p:cNvSpPr>
              <a:spLocks/>
            </p:cNvSpPr>
            <p:nvPr/>
          </p:nvSpPr>
          <p:spPr bwMode="auto">
            <a:xfrm>
              <a:off x="5836" y="3522"/>
              <a:ext cx="81" cy="41"/>
            </a:xfrm>
            <a:custGeom>
              <a:avLst/>
              <a:gdLst>
                <a:gd name="T0" fmla="*/ 7 w 81"/>
                <a:gd name="T1" fmla="*/ 0 h 41"/>
                <a:gd name="T2" fmla="*/ 0 w 81"/>
                <a:gd name="T3" fmla="*/ 31 h 41"/>
                <a:gd name="T4" fmla="*/ 73 w 81"/>
                <a:gd name="T5" fmla="*/ 41 h 41"/>
                <a:gd name="T6" fmla="*/ 81 w 81"/>
                <a:gd name="T7" fmla="*/ 19 h 41"/>
                <a:gd name="T8" fmla="*/ 7 w 81"/>
                <a:gd name="T9" fmla="*/ 0 h 41"/>
              </a:gdLst>
              <a:ahLst/>
              <a:cxnLst>
                <a:cxn ang="0">
                  <a:pos x="T0" y="T1"/>
                </a:cxn>
                <a:cxn ang="0">
                  <a:pos x="T2" y="T3"/>
                </a:cxn>
                <a:cxn ang="0">
                  <a:pos x="T4" y="T5"/>
                </a:cxn>
                <a:cxn ang="0">
                  <a:pos x="T6" y="T7"/>
                </a:cxn>
                <a:cxn ang="0">
                  <a:pos x="T8" y="T9"/>
                </a:cxn>
              </a:cxnLst>
              <a:rect l="0" t="0" r="r" b="b"/>
              <a:pathLst>
                <a:path w="81" h="41">
                  <a:moveTo>
                    <a:pt x="7" y="0"/>
                  </a:moveTo>
                  <a:lnTo>
                    <a:pt x="0" y="31"/>
                  </a:lnTo>
                  <a:lnTo>
                    <a:pt x="73" y="41"/>
                  </a:lnTo>
                  <a:lnTo>
                    <a:pt x="81" y="19"/>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61">
              <a:extLst>
                <a:ext uri="{FF2B5EF4-FFF2-40B4-BE49-F238E27FC236}">
                  <a16:creationId xmlns:a16="http://schemas.microsoft.com/office/drawing/2014/main" id="{4937247E-A868-4106-9DC9-A81D77BB84F5}"/>
                </a:ext>
              </a:extLst>
            </p:cNvPr>
            <p:cNvSpPr>
              <a:spLocks/>
            </p:cNvSpPr>
            <p:nvPr/>
          </p:nvSpPr>
          <p:spPr bwMode="auto">
            <a:xfrm>
              <a:off x="5306" y="2551"/>
              <a:ext cx="922" cy="997"/>
            </a:xfrm>
            <a:custGeom>
              <a:avLst/>
              <a:gdLst>
                <a:gd name="T0" fmla="*/ 277 w 388"/>
                <a:gd name="T1" fmla="*/ 420 h 420"/>
                <a:gd name="T2" fmla="*/ 220 w 388"/>
                <a:gd name="T3" fmla="*/ 404 h 420"/>
                <a:gd name="T4" fmla="*/ 288 w 388"/>
                <a:gd name="T5" fmla="*/ 147 h 420"/>
                <a:gd name="T6" fmla="*/ 278 w 388"/>
                <a:gd name="T7" fmla="*/ 144 h 420"/>
                <a:gd name="T8" fmla="*/ 249 w 388"/>
                <a:gd name="T9" fmla="*/ 136 h 420"/>
                <a:gd name="T10" fmla="*/ 0 w 388"/>
                <a:gd name="T11" fmla="*/ 70 h 420"/>
                <a:gd name="T12" fmla="*/ 76 w 388"/>
                <a:gd name="T13" fmla="*/ 0 h 420"/>
                <a:gd name="T14" fmla="*/ 385 w 388"/>
                <a:gd name="T15" fmla="*/ 125 h 420"/>
                <a:gd name="T16" fmla="*/ 277 w 388"/>
                <a:gd name="T17"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420">
                  <a:moveTo>
                    <a:pt x="277" y="420"/>
                  </a:moveTo>
                  <a:cubicBezTo>
                    <a:pt x="220" y="404"/>
                    <a:pt x="220" y="404"/>
                    <a:pt x="220" y="404"/>
                  </a:cubicBezTo>
                  <a:cubicBezTo>
                    <a:pt x="220" y="404"/>
                    <a:pt x="254" y="213"/>
                    <a:pt x="288" y="147"/>
                  </a:cubicBezTo>
                  <a:cubicBezTo>
                    <a:pt x="286" y="147"/>
                    <a:pt x="282" y="146"/>
                    <a:pt x="278" y="144"/>
                  </a:cubicBezTo>
                  <a:cubicBezTo>
                    <a:pt x="270" y="142"/>
                    <a:pt x="260" y="139"/>
                    <a:pt x="249" y="136"/>
                  </a:cubicBezTo>
                  <a:cubicBezTo>
                    <a:pt x="166" y="113"/>
                    <a:pt x="0" y="70"/>
                    <a:pt x="0" y="70"/>
                  </a:cubicBezTo>
                  <a:cubicBezTo>
                    <a:pt x="76" y="0"/>
                    <a:pt x="76" y="0"/>
                    <a:pt x="76" y="0"/>
                  </a:cubicBezTo>
                  <a:cubicBezTo>
                    <a:pt x="76" y="0"/>
                    <a:pt x="379" y="46"/>
                    <a:pt x="385" y="125"/>
                  </a:cubicBezTo>
                  <a:cubicBezTo>
                    <a:pt x="388" y="164"/>
                    <a:pt x="277" y="420"/>
                    <a:pt x="277" y="42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62">
              <a:extLst>
                <a:ext uri="{FF2B5EF4-FFF2-40B4-BE49-F238E27FC236}">
                  <a16:creationId xmlns:a16="http://schemas.microsoft.com/office/drawing/2014/main" id="{CD16A3E9-1408-42A0-857A-D8AD497B67BE}"/>
                </a:ext>
              </a:extLst>
            </p:cNvPr>
            <p:cNvSpPr>
              <a:spLocks/>
            </p:cNvSpPr>
            <p:nvPr/>
          </p:nvSpPr>
          <p:spPr bwMode="auto">
            <a:xfrm>
              <a:off x="5812" y="3444"/>
              <a:ext cx="190" cy="114"/>
            </a:xfrm>
            <a:custGeom>
              <a:avLst/>
              <a:gdLst>
                <a:gd name="T0" fmla="*/ 0 w 190"/>
                <a:gd name="T1" fmla="*/ 69 h 114"/>
                <a:gd name="T2" fmla="*/ 162 w 190"/>
                <a:gd name="T3" fmla="*/ 114 h 114"/>
                <a:gd name="T4" fmla="*/ 190 w 190"/>
                <a:gd name="T5" fmla="*/ 47 h 114"/>
                <a:gd name="T6" fmla="*/ 12 w 190"/>
                <a:gd name="T7" fmla="*/ 0 h 114"/>
                <a:gd name="T8" fmla="*/ 0 w 190"/>
                <a:gd name="T9" fmla="*/ 69 h 114"/>
              </a:gdLst>
              <a:ahLst/>
              <a:cxnLst>
                <a:cxn ang="0">
                  <a:pos x="T0" y="T1"/>
                </a:cxn>
                <a:cxn ang="0">
                  <a:pos x="T2" y="T3"/>
                </a:cxn>
                <a:cxn ang="0">
                  <a:pos x="T4" y="T5"/>
                </a:cxn>
                <a:cxn ang="0">
                  <a:pos x="T6" y="T7"/>
                </a:cxn>
                <a:cxn ang="0">
                  <a:pos x="T8" y="T9"/>
                </a:cxn>
              </a:cxnLst>
              <a:rect l="0" t="0" r="r" b="b"/>
              <a:pathLst>
                <a:path w="190" h="114">
                  <a:moveTo>
                    <a:pt x="0" y="69"/>
                  </a:moveTo>
                  <a:lnTo>
                    <a:pt x="162" y="114"/>
                  </a:lnTo>
                  <a:lnTo>
                    <a:pt x="190" y="47"/>
                  </a:lnTo>
                  <a:lnTo>
                    <a:pt x="12" y="0"/>
                  </a:lnTo>
                  <a:lnTo>
                    <a:pt x="0" y="69"/>
                  </a:lnTo>
                  <a:close/>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63">
              <a:extLst>
                <a:ext uri="{FF2B5EF4-FFF2-40B4-BE49-F238E27FC236}">
                  <a16:creationId xmlns:a16="http://schemas.microsoft.com/office/drawing/2014/main" id="{681539C0-FE1A-4C87-9870-E4074291D010}"/>
                </a:ext>
              </a:extLst>
            </p:cNvPr>
            <p:cNvSpPr>
              <a:spLocks/>
            </p:cNvSpPr>
            <p:nvPr/>
          </p:nvSpPr>
          <p:spPr bwMode="auto">
            <a:xfrm>
              <a:off x="5812" y="3444"/>
              <a:ext cx="190" cy="114"/>
            </a:xfrm>
            <a:custGeom>
              <a:avLst/>
              <a:gdLst>
                <a:gd name="T0" fmla="*/ 0 w 190"/>
                <a:gd name="T1" fmla="*/ 69 h 114"/>
                <a:gd name="T2" fmla="*/ 162 w 190"/>
                <a:gd name="T3" fmla="*/ 114 h 114"/>
                <a:gd name="T4" fmla="*/ 190 w 190"/>
                <a:gd name="T5" fmla="*/ 47 h 114"/>
                <a:gd name="T6" fmla="*/ 12 w 190"/>
                <a:gd name="T7" fmla="*/ 0 h 114"/>
                <a:gd name="T8" fmla="*/ 0 w 190"/>
                <a:gd name="T9" fmla="*/ 69 h 114"/>
              </a:gdLst>
              <a:ahLst/>
              <a:cxnLst>
                <a:cxn ang="0">
                  <a:pos x="T0" y="T1"/>
                </a:cxn>
                <a:cxn ang="0">
                  <a:pos x="T2" y="T3"/>
                </a:cxn>
                <a:cxn ang="0">
                  <a:pos x="T4" y="T5"/>
                </a:cxn>
                <a:cxn ang="0">
                  <a:pos x="T6" y="T7"/>
                </a:cxn>
                <a:cxn ang="0">
                  <a:pos x="T8" y="T9"/>
                </a:cxn>
              </a:cxnLst>
              <a:rect l="0" t="0" r="r" b="b"/>
              <a:pathLst>
                <a:path w="190" h="114">
                  <a:moveTo>
                    <a:pt x="0" y="69"/>
                  </a:moveTo>
                  <a:lnTo>
                    <a:pt x="162" y="114"/>
                  </a:lnTo>
                  <a:lnTo>
                    <a:pt x="190" y="47"/>
                  </a:lnTo>
                  <a:lnTo>
                    <a:pt x="12" y="0"/>
                  </a:lnTo>
                  <a:lnTo>
                    <a:pt x="0"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4">
              <a:extLst>
                <a:ext uri="{FF2B5EF4-FFF2-40B4-BE49-F238E27FC236}">
                  <a16:creationId xmlns:a16="http://schemas.microsoft.com/office/drawing/2014/main" id="{BDF7A278-BEA3-4010-AC06-325FEC51EB10}"/>
                </a:ext>
              </a:extLst>
            </p:cNvPr>
            <p:cNvSpPr>
              <a:spLocks/>
            </p:cNvSpPr>
            <p:nvPr/>
          </p:nvSpPr>
          <p:spPr bwMode="auto">
            <a:xfrm>
              <a:off x="5812" y="3444"/>
              <a:ext cx="190" cy="114"/>
            </a:xfrm>
            <a:custGeom>
              <a:avLst/>
              <a:gdLst>
                <a:gd name="T0" fmla="*/ 12 w 190"/>
                <a:gd name="T1" fmla="*/ 0 h 114"/>
                <a:gd name="T2" fmla="*/ 0 w 190"/>
                <a:gd name="T3" fmla="*/ 69 h 114"/>
                <a:gd name="T4" fmla="*/ 162 w 190"/>
                <a:gd name="T5" fmla="*/ 114 h 114"/>
                <a:gd name="T6" fmla="*/ 190 w 190"/>
                <a:gd name="T7" fmla="*/ 47 h 114"/>
                <a:gd name="T8" fmla="*/ 178 w 190"/>
                <a:gd name="T9" fmla="*/ 45 h 114"/>
                <a:gd name="T10" fmla="*/ 29 w 190"/>
                <a:gd name="T11" fmla="*/ 5 h 114"/>
                <a:gd name="T12" fmla="*/ 12 w 190"/>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90" h="114">
                  <a:moveTo>
                    <a:pt x="12" y="0"/>
                  </a:moveTo>
                  <a:lnTo>
                    <a:pt x="0" y="69"/>
                  </a:lnTo>
                  <a:lnTo>
                    <a:pt x="162" y="114"/>
                  </a:lnTo>
                  <a:lnTo>
                    <a:pt x="190" y="47"/>
                  </a:lnTo>
                  <a:lnTo>
                    <a:pt x="178" y="45"/>
                  </a:lnTo>
                  <a:lnTo>
                    <a:pt x="29" y="5"/>
                  </a:lnTo>
                  <a:lnTo>
                    <a:pt x="12" y="0"/>
                  </a:lnTo>
                  <a:close/>
                </a:path>
              </a:pathLst>
            </a:custGeom>
            <a:solidFill>
              <a:srgbClr val="FD9D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65">
              <a:extLst>
                <a:ext uri="{FF2B5EF4-FFF2-40B4-BE49-F238E27FC236}">
                  <a16:creationId xmlns:a16="http://schemas.microsoft.com/office/drawing/2014/main" id="{900D397F-E7A6-4614-BF46-46E5680AA1DA}"/>
                </a:ext>
              </a:extLst>
            </p:cNvPr>
            <p:cNvSpPr>
              <a:spLocks/>
            </p:cNvSpPr>
            <p:nvPr/>
          </p:nvSpPr>
          <p:spPr bwMode="auto">
            <a:xfrm>
              <a:off x="5812" y="3444"/>
              <a:ext cx="190" cy="114"/>
            </a:xfrm>
            <a:custGeom>
              <a:avLst/>
              <a:gdLst>
                <a:gd name="T0" fmla="*/ 12 w 190"/>
                <a:gd name="T1" fmla="*/ 0 h 114"/>
                <a:gd name="T2" fmla="*/ 0 w 190"/>
                <a:gd name="T3" fmla="*/ 69 h 114"/>
                <a:gd name="T4" fmla="*/ 162 w 190"/>
                <a:gd name="T5" fmla="*/ 114 h 114"/>
                <a:gd name="T6" fmla="*/ 190 w 190"/>
                <a:gd name="T7" fmla="*/ 47 h 114"/>
                <a:gd name="T8" fmla="*/ 178 w 190"/>
                <a:gd name="T9" fmla="*/ 45 h 114"/>
                <a:gd name="T10" fmla="*/ 29 w 190"/>
                <a:gd name="T11" fmla="*/ 5 h 114"/>
                <a:gd name="T12" fmla="*/ 12 w 190"/>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90" h="114">
                  <a:moveTo>
                    <a:pt x="12" y="0"/>
                  </a:moveTo>
                  <a:lnTo>
                    <a:pt x="0" y="69"/>
                  </a:lnTo>
                  <a:lnTo>
                    <a:pt x="162" y="114"/>
                  </a:lnTo>
                  <a:lnTo>
                    <a:pt x="190" y="47"/>
                  </a:lnTo>
                  <a:lnTo>
                    <a:pt x="178" y="45"/>
                  </a:lnTo>
                  <a:lnTo>
                    <a:pt x="29"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66">
              <a:extLst>
                <a:ext uri="{FF2B5EF4-FFF2-40B4-BE49-F238E27FC236}">
                  <a16:creationId xmlns:a16="http://schemas.microsoft.com/office/drawing/2014/main" id="{05E70DDB-CECA-4871-9E6E-43A570EBF281}"/>
                </a:ext>
              </a:extLst>
            </p:cNvPr>
            <p:cNvSpPr>
              <a:spLocks/>
            </p:cNvSpPr>
            <p:nvPr/>
          </p:nvSpPr>
          <p:spPr bwMode="auto">
            <a:xfrm>
              <a:off x="5784" y="3605"/>
              <a:ext cx="223" cy="131"/>
            </a:xfrm>
            <a:custGeom>
              <a:avLst/>
              <a:gdLst>
                <a:gd name="T0" fmla="*/ 48 w 94"/>
                <a:gd name="T1" fmla="*/ 10 h 55"/>
                <a:gd name="T2" fmla="*/ 13 w 94"/>
                <a:gd name="T3" fmla="*/ 0 h 55"/>
                <a:gd name="T4" fmla="*/ 10 w 94"/>
                <a:gd name="T5" fmla="*/ 1 h 55"/>
                <a:gd name="T6" fmla="*/ 10 w 94"/>
                <a:gd name="T7" fmla="*/ 1 h 55"/>
                <a:gd name="T8" fmla="*/ 1 w 94"/>
                <a:gd name="T9" fmla="*/ 28 h 55"/>
                <a:gd name="T10" fmla="*/ 5 w 94"/>
                <a:gd name="T11" fmla="*/ 35 h 55"/>
                <a:gd name="T12" fmla="*/ 38 w 94"/>
                <a:gd name="T13" fmla="*/ 44 h 55"/>
                <a:gd name="T14" fmla="*/ 79 w 94"/>
                <a:gd name="T15" fmla="*/ 54 h 55"/>
                <a:gd name="T16" fmla="*/ 88 w 94"/>
                <a:gd name="T17" fmla="*/ 40 h 55"/>
                <a:gd name="T18" fmla="*/ 53 w 94"/>
                <a:gd name="T19" fmla="*/ 13 h 55"/>
                <a:gd name="T20" fmla="*/ 48 w 94"/>
                <a:gd name="T21"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5">
                  <a:moveTo>
                    <a:pt x="48" y="10"/>
                  </a:moveTo>
                  <a:cubicBezTo>
                    <a:pt x="13" y="0"/>
                    <a:pt x="13" y="0"/>
                    <a:pt x="13" y="0"/>
                  </a:cubicBezTo>
                  <a:cubicBezTo>
                    <a:pt x="12" y="0"/>
                    <a:pt x="11" y="0"/>
                    <a:pt x="10" y="1"/>
                  </a:cubicBezTo>
                  <a:cubicBezTo>
                    <a:pt x="10" y="1"/>
                    <a:pt x="10" y="1"/>
                    <a:pt x="10" y="1"/>
                  </a:cubicBezTo>
                  <a:cubicBezTo>
                    <a:pt x="1" y="28"/>
                    <a:pt x="1" y="28"/>
                    <a:pt x="1" y="28"/>
                  </a:cubicBezTo>
                  <a:cubicBezTo>
                    <a:pt x="0" y="31"/>
                    <a:pt x="2" y="35"/>
                    <a:pt x="5" y="35"/>
                  </a:cubicBezTo>
                  <a:cubicBezTo>
                    <a:pt x="17" y="39"/>
                    <a:pt x="23" y="40"/>
                    <a:pt x="38" y="44"/>
                  </a:cubicBezTo>
                  <a:cubicBezTo>
                    <a:pt x="48" y="46"/>
                    <a:pt x="66" y="52"/>
                    <a:pt x="79" y="54"/>
                  </a:cubicBezTo>
                  <a:cubicBezTo>
                    <a:pt x="93" y="55"/>
                    <a:pt x="94" y="42"/>
                    <a:pt x="88" y="40"/>
                  </a:cubicBezTo>
                  <a:cubicBezTo>
                    <a:pt x="75" y="36"/>
                    <a:pt x="59" y="22"/>
                    <a:pt x="53" y="13"/>
                  </a:cubicBezTo>
                  <a:cubicBezTo>
                    <a:pt x="51" y="11"/>
                    <a:pt x="50" y="10"/>
                    <a:pt x="48"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67">
              <a:extLst>
                <a:ext uri="{FF2B5EF4-FFF2-40B4-BE49-F238E27FC236}">
                  <a16:creationId xmlns:a16="http://schemas.microsoft.com/office/drawing/2014/main" id="{F78B2003-1959-4E97-A404-9736131F2B34}"/>
                </a:ext>
              </a:extLst>
            </p:cNvPr>
            <p:cNvSpPr>
              <a:spLocks noEditPoints="1"/>
            </p:cNvSpPr>
            <p:nvPr/>
          </p:nvSpPr>
          <p:spPr bwMode="auto">
            <a:xfrm>
              <a:off x="5722" y="3589"/>
              <a:ext cx="43" cy="38"/>
            </a:xfrm>
            <a:custGeom>
              <a:avLst/>
              <a:gdLst>
                <a:gd name="T0" fmla="*/ 0 w 18"/>
                <a:gd name="T1" fmla="*/ 13 h 16"/>
                <a:gd name="T2" fmla="*/ 1 w 18"/>
                <a:gd name="T3" fmla="*/ 14 h 16"/>
                <a:gd name="T4" fmla="*/ 2 w 18"/>
                <a:gd name="T5" fmla="*/ 14 h 16"/>
                <a:gd name="T6" fmla="*/ 2 w 18"/>
                <a:gd name="T7" fmla="*/ 14 h 16"/>
                <a:gd name="T8" fmla="*/ 2 w 18"/>
                <a:gd name="T9" fmla="*/ 14 h 16"/>
                <a:gd name="T10" fmla="*/ 10 w 18"/>
                <a:gd name="T11" fmla="*/ 16 h 16"/>
                <a:gd name="T12" fmla="*/ 17 w 18"/>
                <a:gd name="T13" fmla="*/ 15 h 16"/>
                <a:gd name="T14" fmla="*/ 18 w 18"/>
                <a:gd name="T15" fmla="*/ 10 h 16"/>
                <a:gd name="T16" fmla="*/ 16 w 18"/>
                <a:gd name="T17" fmla="*/ 8 h 16"/>
                <a:gd name="T18" fmla="*/ 7 w 18"/>
                <a:gd name="T19" fmla="*/ 10 h 16"/>
                <a:gd name="T20" fmla="*/ 10 w 18"/>
                <a:gd name="T21" fmla="*/ 2 h 16"/>
                <a:gd name="T22" fmla="*/ 8 w 18"/>
                <a:gd name="T23" fmla="*/ 0 h 16"/>
                <a:gd name="T24" fmla="*/ 4 w 18"/>
                <a:gd name="T25" fmla="*/ 1 h 16"/>
                <a:gd name="T26" fmla="*/ 0 w 18"/>
                <a:gd name="T27" fmla="*/ 13 h 16"/>
                <a:gd name="T28" fmla="*/ 0 w 18"/>
                <a:gd name="T29" fmla="*/ 13 h 16"/>
                <a:gd name="T30" fmla="*/ 0 w 18"/>
                <a:gd name="T31" fmla="*/ 13 h 16"/>
                <a:gd name="T32" fmla="*/ 0 w 18"/>
                <a:gd name="T33" fmla="*/ 13 h 16"/>
                <a:gd name="T34" fmla="*/ 4 w 18"/>
                <a:gd name="T35" fmla="*/ 12 h 16"/>
                <a:gd name="T36" fmla="*/ 3 w 18"/>
                <a:gd name="T37" fmla="*/ 12 h 16"/>
                <a:gd name="T38" fmla="*/ 6 w 18"/>
                <a:gd name="T39" fmla="*/ 2 h 16"/>
                <a:gd name="T40" fmla="*/ 7 w 18"/>
                <a:gd name="T41" fmla="*/ 2 h 16"/>
                <a:gd name="T42" fmla="*/ 8 w 18"/>
                <a:gd name="T43" fmla="*/ 2 h 16"/>
                <a:gd name="T44" fmla="*/ 9 w 18"/>
                <a:gd name="T45" fmla="*/ 3 h 16"/>
                <a:gd name="T46" fmla="*/ 4 w 18"/>
                <a:gd name="T47" fmla="*/ 12 h 16"/>
                <a:gd name="T48" fmla="*/ 4 w 18"/>
                <a:gd name="T49" fmla="*/ 13 h 16"/>
                <a:gd name="T50" fmla="*/ 15 w 18"/>
                <a:gd name="T51" fmla="*/ 10 h 16"/>
                <a:gd name="T52" fmla="*/ 16 w 18"/>
                <a:gd name="T53" fmla="*/ 11 h 16"/>
                <a:gd name="T54" fmla="*/ 16 w 18"/>
                <a:gd name="T55" fmla="*/ 13 h 16"/>
                <a:gd name="T56" fmla="*/ 4 w 18"/>
                <a:gd name="T5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6">
                  <a:moveTo>
                    <a:pt x="0" y="13"/>
                  </a:moveTo>
                  <a:cubicBezTo>
                    <a:pt x="1" y="14"/>
                    <a:pt x="1" y="14"/>
                    <a:pt x="1" y="14"/>
                  </a:cubicBezTo>
                  <a:cubicBezTo>
                    <a:pt x="2" y="14"/>
                    <a:pt x="2" y="14"/>
                    <a:pt x="2" y="14"/>
                  </a:cubicBezTo>
                  <a:cubicBezTo>
                    <a:pt x="2" y="14"/>
                    <a:pt x="2" y="14"/>
                    <a:pt x="2" y="14"/>
                  </a:cubicBezTo>
                  <a:cubicBezTo>
                    <a:pt x="2" y="14"/>
                    <a:pt x="2" y="14"/>
                    <a:pt x="2" y="14"/>
                  </a:cubicBezTo>
                  <a:cubicBezTo>
                    <a:pt x="5" y="15"/>
                    <a:pt x="8" y="15"/>
                    <a:pt x="10" y="16"/>
                  </a:cubicBezTo>
                  <a:cubicBezTo>
                    <a:pt x="13" y="16"/>
                    <a:pt x="15" y="16"/>
                    <a:pt x="17" y="15"/>
                  </a:cubicBezTo>
                  <a:cubicBezTo>
                    <a:pt x="18" y="13"/>
                    <a:pt x="18" y="12"/>
                    <a:pt x="18" y="10"/>
                  </a:cubicBezTo>
                  <a:cubicBezTo>
                    <a:pt x="18" y="9"/>
                    <a:pt x="17" y="9"/>
                    <a:pt x="16" y="8"/>
                  </a:cubicBezTo>
                  <a:cubicBezTo>
                    <a:pt x="14" y="7"/>
                    <a:pt x="10" y="8"/>
                    <a:pt x="7" y="10"/>
                  </a:cubicBezTo>
                  <a:cubicBezTo>
                    <a:pt x="9" y="7"/>
                    <a:pt x="11" y="4"/>
                    <a:pt x="10" y="2"/>
                  </a:cubicBezTo>
                  <a:cubicBezTo>
                    <a:pt x="10" y="1"/>
                    <a:pt x="9" y="0"/>
                    <a:pt x="8" y="0"/>
                  </a:cubicBezTo>
                  <a:cubicBezTo>
                    <a:pt x="6" y="0"/>
                    <a:pt x="5" y="0"/>
                    <a:pt x="4" y="1"/>
                  </a:cubicBezTo>
                  <a:cubicBezTo>
                    <a:pt x="1" y="4"/>
                    <a:pt x="0" y="13"/>
                    <a:pt x="0" y="13"/>
                  </a:cubicBezTo>
                  <a:cubicBezTo>
                    <a:pt x="0" y="13"/>
                    <a:pt x="0" y="13"/>
                    <a:pt x="0" y="13"/>
                  </a:cubicBezTo>
                  <a:cubicBezTo>
                    <a:pt x="0" y="13"/>
                    <a:pt x="0" y="13"/>
                    <a:pt x="0" y="13"/>
                  </a:cubicBezTo>
                  <a:cubicBezTo>
                    <a:pt x="0" y="13"/>
                    <a:pt x="0" y="13"/>
                    <a:pt x="0" y="13"/>
                  </a:cubicBezTo>
                  <a:moveTo>
                    <a:pt x="4" y="12"/>
                  </a:moveTo>
                  <a:cubicBezTo>
                    <a:pt x="3" y="12"/>
                    <a:pt x="3" y="12"/>
                    <a:pt x="3" y="12"/>
                  </a:cubicBezTo>
                  <a:cubicBezTo>
                    <a:pt x="3" y="9"/>
                    <a:pt x="4" y="4"/>
                    <a:pt x="6" y="2"/>
                  </a:cubicBezTo>
                  <a:cubicBezTo>
                    <a:pt x="6" y="2"/>
                    <a:pt x="7" y="2"/>
                    <a:pt x="7" y="2"/>
                  </a:cubicBezTo>
                  <a:cubicBezTo>
                    <a:pt x="8" y="2"/>
                    <a:pt x="8" y="2"/>
                    <a:pt x="8" y="2"/>
                  </a:cubicBezTo>
                  <a:cubicBezTo>
                    <a:pt x="9" y="2"/>
                    <a:pt x="9" y="2"/>
                    <a:pt x="9" y="3"/>
                  </a:cubicBezTo>
                  <a:cubicBezTo>
                    <a:pt x="9" y="5"/>
                    <a:pt x="6" y="9"/>
                    <a:pt x="4" y="12"/>
                  </a:cubicBezTo>
                  <a:moveTo>
                    <a:pt x="4" y="13"/>
                  </a:moveTo>
                  <a:cubicBezTo>
                    <a:pt x="8" y="11"/>
                    <a:pt x="13" y="9"/>
                    <a:pt x="15" y="10"/>
                  </a:cubicBezTo>
                  <a:cubicBezTo>
                    <a:pt x="16" y="10"/>
                    <a:pt x="16" y="10"/>
                    <a:pt x="16" y="11"/>
                  </a:cubicBezTo>
                  <a:cubicBezTo>
                    <a:pt x="16" y="12"/>
                    <a:pt x="16" y="13"/>
                    <a:pt x="16" y="13"/>
                  </a:cubicBezTo>
                  <a:cubicBezTo>
                    <a:pt x="14" y="15"/>
                    <a:pt x="10" y="15"/>
                    <a:pt x="4" y="13"/>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68">
              <a:extLst>
                <a:ext uri="{FF2B5EF4-FFF2-40B4-BE49-F238E27FC236}">
                  <a16:creationId xmlns:a16="http://schemas.microsoft.com/office/drawing/2014/main" id="{07162492-BBC8-404C-A0F0-FAF53517B66D}"/>
                </a:ext>
              </a:extLst>
            </p:cNvPr>
            <p:cNvSpPr>
              <a:spLocks/>
            </p:cNvSpPr>
            <p:nvPr/>
          </p:nvSpPr>
          <p:spPr bwMode="auto">
            <a:xfrm>
              <a:off x="5712" y="1397"/>
              <a:ext cx="283" cy="368"/>
            </a:xfrm>
            <a:custGeom>
              <a:avLst/>
              <a:gdLst>
                <a:gd name="T0" fmla="*/ 101 w 119"/>
                <a:gd name="T1" fmla="*/ 121 h 155"/>
                <a:gd name="T2" fmla="*/ 98 w 119"/>
                <a:gd name="T3" fmla="*/ 126 h 155"/>
                <a:gd name="T4" fmla="*/ 76 w 119"/>
                <a:gd name="T5" fmla="*/ 148 h 155"/>
                <a:gd name="T6" fmla="*/ 69 w 119"/>
                <a:gd name="T7" fmla="*/ 151 h 155"/>
                <a:gd name="T8" fmla="*/ 29 w 119"/>
                <a:gd name="T9" fmla="*/ 146 h 155"/>
                <a:gd name="T10" fmla="*/ 15 w 119"/>
                <a:gd name="T11" fmla="*/ 132 h 155"/>
                <a:gd name="T12" fmla="*/ 8 w 119"/>
                <a:gd name="T13" fmla="*/ 53 h 155"/>
                <a:gd name="T14" fmla="*/ 16 w 119"/>
                <a:gd name="T15" fmla="*/ 30 h 155"/>
                <a:gd name="T16" fmla="*/ 85 w 119"/>
                <a:gd name="T17" fmla="*/ 14 h 155"/>
                <a:gd name="T18" fmla="*/ 101 w 119"/>
                <a:gd name="T19" fmla="*/ 12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55">
                  <a:moveTo>
                    <a:pt x="101" y="121"/>
                  </a:moveTo>
                  <a:cubicBezTo>
                    <a:pt x="100" y="123"/>
                    <a:pt x="99" y="125"/>
                    <a:pt x="98" y="126"/>
                  </a:cubicBezTo>
                  <a:cubicBezTo>
                    <a:pt x="93" y="136"/>
                    <a:pt x="85" y="143"/>
                    <a:pt x="76" y="148"/>
                  </a:cubicBezTo>
                  <a:cubicBezTo>
                    <a:pt x="74" y="149"/>
                    <a:pt x="71" y="150"/>
                    <a:pt x="69" y="151"/>
                  </a:cubicBezTo>
                  <a:cubicBezTo>
                    <a:pt x="55" y="155"/>
                    <a:pt x="41" y="154"/>
                    <a:pt x="29" y="146"/>
                  </a:cubicBezTo>
                  <a:cubicBezTo>
                    <a:pt x="24" y="142"/>
                    <a:pt x="19" y="138"/>
                    <a:pt x="15" y="132"/>
                  </a:cubicBezTo>
                  <a:cubicBezTo>
                    <a:pt x="0" y="111"/>
                    <a:pt x="4" y="89"/>
                    <a:pt x="8" y="53"/>
                  </a:cubicBezTo>
                  <a:cubicBezTo>
                    <a:pt x="9" y="45"/>
                    <a:pt x="11" y="37"/>
                    <a:pt x="16" y="30"/>
                  </a:cubicBezTo>
                  <a:cubicBezTo>
                    <a:pt x="31" y="7"/>
                    <a:pt x="62" y="0"/>
                    <a:pt x="85" y="14"/>
                  </a:cubicBezTo>
                  <a:cubicBezTo>
                    <a:pt x="119" y="35"/>
                    <a:pt x="114" y="90"/>
                    <a:pt x="101" y="121"/>
                  </a:cubicBezTo>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69">
              <a:extLst>
                <a:ext uri="{FF2B5EF4-FFF2-40B4-BE49-F238E27FC236}">
                  <a16:creationId xmlns:a16="http://schemas.microsoft.com/office/drawing/2014/main" id="{EA2394BE-A5B2-4736-858F-E11823C08E1B}"/>
                </a:ext>
              </a:extLst>
            </p:cNvPr>
            <p:cNvSpPr>
              <a:spLocks/>
            </p:cNvSpPr>
            <p:nvPr/>
          </p:nvSpPr>
          <p:spPr bwMode="auto">
            <a:xfrm>
              <a:off x="5781" y="1720"/>
              <a:ext cx="112" cy="40"/>
            </a:xfrm>
            <a:custGeom>
              <a:avLst/>
              <a:gdLst>
                <a:gd name="T0" fmla="*/ 20 w 47"/>
                <a:gd name="T1" fmla="*/ 0 h 17"/>
                <a:gd name="T2" fmla="*/ 18 w 47"/>
                <a:gd name="T3" fmla="*/ 1 h 17"/>
                <a:gd name="T4" fmla="*/ 4 w 47"/>
                <a:gd name="T5" fmla="*/ 3 h 17"/>
                <a:gd name="T6" fmla="*/ 4 w 47"/>
                <a:gd name="T7" fmla="*/ 3 h 17"/>
                <a:gd name="T8" fmla="*/ 0 w 47"/>
                <a:gd name="T9" fmla="*/ 10 h 17"/>
                <a:gd name="T10" fmla="*/ 25 w 47"/>
                <a:gd name="T11" fmla="*/ 17 h 17"/>
                <a:gd name="T12" fmla="*/ 40 w 47"/>
                <a:gd name="T13" fmla="*/ 15 h 17"/>
                <a:gd name="T14" fmla="*/ 47 w 47"/>
                <a:gd name="T15" fmla="*/ 12 h 17"/>
                <a:gd name="T16" fmla="*/ 20 w 4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7">
                  <a:moveTo>
                    <a:pt x="20" y="0"/>
                  </a:moveTo>
                  <a:cubicBezTo>
                    <a:pt x="19" y="0"/>
                    <a:pt x="19" y="0"/>
                    <a:pt x="18" y="1"/>
                  </a:cubicBezTo>
                  <a:cubicBezTo>
                    <a:pt x="15" y="2"/>
                    <a:pt x="10" y="3"/>
                    <a:pt x="4" y="3"/>
                  </a:cubicBezTo>
                  <a:cubicBezTo>
                    <a:pt x="4" y="3"/>
                    <a:pt x="4" y="3"/>
                    <a:pt x="4" y="3"/>
                  </a:cubicBezTo>
                  <a:cubicBezTo>
                    <a:pt x="3" y="5"/>
                    <a:pt x="1" y="7"/>
                    <a:pt x="0" y="10"/>
                  </a:cubicBezTo>
                  <a:cubicBezTo>
                    <a:pt x="7" y="15"/>
                    <a:pt x="16" y="17"/>
                    <a:pt x="25" y="17"/>
                  </a:cubicBezTo>
                  <a:cubicBezTo>
                    <a:pt x="30" y="17"/>
                    <a:pt x="35" y="16"/>
                    <a:pt x="40" y="15"/>
                  </a:cubicBezTo>
                  <a:cubicBezTo>
                    <a:pt x="42" y="14"/>
                    <a:pt x="45" y="13"/>
                    <a:pt x="47" y="12"/>
                  </a:cubicBezTo>
                  <a:cubicBezTo>
                    <a:pt x="38" y="5"/>
                    <a:pt x="28" y="1"/>
                    <a:pt x="20" y="0"/>
                  </a:cubicBezTo>
                </a:path>
              </a:pathLst>
            </a:custGeom>
            <a:solidFill>
              <a:srgbClr val="B66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70">
              <a:extLst>
                <a:ext uri="{FF2B5EF4-FFF2-40B4-BE49-F238E27FC236}">
                  <a16:creationId xmlns:a16="http://schemas.microsoft.com/office/drawing/2014/main" id="{1166B697-50BD-4BFC-AA85-C428A54D5FA8}"/>
                </a:ext>
              </a:extLst>
            </p:cNvPr>
            <p:cNvSpPr>
              <a:spLocks/>
            </p:cNvSpPr>
            <p:nvPr/>
          </p:nvSpPr>
          <p:spPr bwMode="auto">
            <a:xfrm>
              <a:off x="5665" y="1582"/>
              <a:ext cx="183" cy="311"/>
            </a:xfrm>
            <a:custGeom>
              <a:avLst/>
              <a:gdLst>
                <a:gd name="T0" fmla="*/ 0 w 77"/>
                <a:gd name="T1" fmla="*/ 79 h 131"/>
                <a:gd name="T2" fmla="*/ 47 w 77"/>
                <a:gd name="T3" fmla="*/ 122 h 131"/>
                <a:gd name="T4" fmla="*/ 74 w 77"/>
                <a:gd name="T5" fmla="*/ 120 h 131"/>
                <a:gd name="T6" fmla="*/ 62 w 77"/>
                <a:gd name="T7" fmla="*/ 89 h 131"/>
                <a:gd name="T8" fmla="*/ 71 w 77"/>
                <a:gd name="T9" fmla="*/ 72 h 131"/>
                <a:gd name="T10" fmla="*/ 77 w 77"/>
                <a:gd name="T11" fmla="*/ 64 h 131"/>
                <a:gd name="T12" fmla="*/ 53 w 77"/>
                <a:gd name="T13" fmla="*/ 0 h 131"/>
                <a:gd name="T14" fmla="*/ 0 w 77"/>
                <a:gd name="T15" fmla="*/ 79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31">
                  <a:moveTo>
                    <a:pt x="0" y="79"/>
                  </a:moveTo>
                  <a:cubicBezTo>
                    <a:pt x="6" y="103"/>
                    <a:pt x="47" y="122"/>
                    <a:pt x="47" y="122"/>
                  </a:cubicBezTo>
                  <a:cubicBezTo>
                    <a:pt x="47" y="122"/>
                    <a:pt x="74" y="131"/>
                    <a:pt x="74" y="120"/>
                  </a:cubicBezTo>
                  <a:cubicBezTo>
                    <a:pt x="62" y="109"/>
                    <a:pt x="59" y="99"/>
                    <a:pt x="62" y="89"/>
                  </a:cubicBezTo>
                  <a:cubicBezTo>
                    <a:pt x="63" y="83"/>
                    <a:pt x="67" y="77"/>
                    <a:pt x="71" y="72"/>
                  </a:cubicBezTo>
                  <a:cubicBezTo>
                    <a:pt x="73" y="69"/>
                    <a:pt x="75" y="66"/>
                    <a:pt x="77" y="64"/>
                  </a:cubicBezTo>
                  <a:cubicBezTo>
                    <a:pt x="53" y="0"/>
                    <a:pt x="53" y="0"/>
                    <a:pt x="53" y="0"/>
                  </a:cubicBezTo>
                  <a:cubicBezTo>
                    <a:pt x="45" y="26"/>
                    <a:pt x="25" y="73"/>
                    <a:pt x="0" y="79"/>
                  </a:cubicBezTo>
                  <a:close/>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71">
              <a:extLst>
                <a:ext uri="{FF2B5EF4-FFF2-40B4-BE49-F238E27FC236}">
                  <a16:creationId xmlns:a16="http://schemas.microsoft.com/office/drawing/2014/main" id="{E8545967-0916-4E9E-8FF7-8A96B7C55A72}"/>
                </a:ext>
              </a:extLst>
            </p:cNvPr>
            <p:cNvSpPr>
              <a:spLocks/>
            </p:cNvSpPr>
            <p:nvPr/>
          </p:nvSpPr>
          <p:spPr bwMode="auto">
            <a:xfrm>
              <a:off x="5651" y="1349"/>
              <a:ext cx="365" cy="383"/>
            </a:xfrm>
            <a:custGeom>
              <a:avLst/>
              <a:gdLst>
                <a:gd name="T0" fmla="*/ 122 w 154"/>
                <a:gd name="T1" fmla="*/ 61 h 161"/>
                <a:gd name="T2" fmla="*/ 96 w 154"/>
                <a:gd name="T3" fmla="*/ 121 h 161"/>
                <a:gd name="T4" fmla="*/ 73 w 154"/>
                <a:gd name="T5" fmla="*/ 157 h 161"/>
                <a:gd name="T6" fmla="*/ 40 w 154"/>
                <a:gd name="T7" fmla="*/ 157 h 161"/>
                <a:gd name="T8" fmla="*/ 10 w 154"/>
                <a:gd name="T9" fmla="*/ 64 h 161"/>
                <a:gd name="T10" fmla="*/ 73 w 154"/>
                <a:gd name="T11" fmla="*/ 20 h 161"/>
                <a:gd name="T12" fmla="*/ 126 w 154"/>
                <a:gd name="T13" fmla="*/ 24 h 161"/>
                <a:gd name="T14" fmla="*/ 122 w 154"/>
                <a:gd name="T15" fmla="*/ 61 h 1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161">
                  <a:moveTo>
                    <a:pt x="122" y="61"/>
                  </a:moveTo>
                  <a:cubicBezTo>
                    <a:pt x="122" y="61"/>
                    <a:pt x="132" y="96"/>
                    <a:pt x="96" y="121"/>
                  </a:cubicBezTo>
                  <a:cubicBezTo>
                    <a:pt x="96" y="121"/>
                    <a:pt x="81" y="153"/>
                    <a:pt x="73" y="157"/>
                  </a:cubicBezTo>
                  <a:cubicBezTo>
                    <a:pt x="65" y="161"/>
                    <a:pt x="46" y="158"/>
                    <a:pt x="40" y="157"/>
                  </a:cubicBezTo>
                  <a:cubicBezTo>
                    <a:pt x="33" y="155"/>
                    <a:pt x="0" y="128"/>
                    <a:pt x="10" y="64"/>
                  </a:cubicBezTo>
                  <a:cubicBezTo>
                    <a:pt x="19" y="0"/>
                    <a:pt x="73" y="20"/>
                    <a:pt x="73" y="20"/>
                  </a:cubicBezTo>
                  <a:cubicBezTo>
                    <a:pt x="73" y="20"/>
                    <a:pt x="92" y="4"/>
                    <a:pt x="126" y="24"/>
                  </a:cubicBezTo>
                  <a:cubicBezTo>
                    <a:pt x="154" y="40"/>
                    <a:pt x="149" y="71"/>
                    <a:pt x="122" y="6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72">
              <a:extLst>
                <a:ext uri="{FF2B5EF4-FFF2-40B4-BE49-F238E27FC236}">
                  <a16:creationId xmlns:a16="http://schemas.microsoft.com/office/drawing/2014/main" id="{0371D886-9DEC-4A62-B0FF-B2E8BCDBAE95}"/>
                </a:ext>
              </a:extLst>
            </p:cNvPr>
            <p:cNvSpPr>
              <a:spLocks/>
            </p:cNvSpPr>
            <p:nvPr/>
          </p:nvSpPr>
          <p:spPr bwMode="auto">
            <a:xfrm>
              <a:off x="5867" y="1544"/>
              <a:ext cx="59" cy="107"/>
            </a:xfrm>
            <a:custGeom>
              <a:avLst/>
              <a:gdLst>
                <a:gd name="T0" fmla="*/ 1 w 25"/>
                <a:gd name="T1" fmla="*/ 22 h 45"/>
                <a:gd name="T2" fmla="*/ 10 w 25"/>
                <a:gd name="T3" fmla="*/ 40 h 45"/>
                <a:gd name="T4" fmla="*/ 24 w 25"/>
                <a:gd name="T5" fmla="*/ 24 h 45"/>
                <a:gd name="T6" fmla="*/ 14 w 25"/>
                <a:gd name="T7" fmla="*/ 0 h 45"/>
                <a:gd name="T8" fmla="*/ 1 w 25"/>
                <a:gd name="T9" fmla="*/ 22 h 45"/>
              </a:gdLst>
              <a:ahLst/>
              <a:cxnLst>
                <a:cxn ang="0">
                  <a:pos x="T0" y="T1"/>
                </a:cxn>
                <a:cxn ang="0">
                  <a:pos x="T2" y="T3"/>
                </a:cxn>
                <a:cxn ang="0">
                  <a:pos x="T4" y="T5"/>
                </a:cxn>
                <a:cxn ang="0">
                  <a:pos x="T6" y="T7"/>
                </a:cxn>
                <a:cxn ang="0">
                  <a:pos x="T8" y="T9"/>
                </a:cxn>
              </a:cxnLst>
              <a:rect l="0" t="0" r="r" b="b"/>
              <a:pathLst>
                <a:path w="25" h="45">
                  <a:moveTo>
                    <a:pt x="1" y="22"/>
                  </a:moveTo>
                  <a:cubicBezTo>
                    <a:pt x="1" y="30"/>
                    <a:pt x="5" y="37"/>
                    <a:pt x="10" y="40"/>
                  </a:cubicBezTo>
                  <a:cubicBezTo>
                    <a:pt x="17" y="45"/>
                    <a:pt x="24" y="35"/>
                    <a:pt x="24" y="24"/>
                  </a:cubicBezTo>
                  <a:cubicBezTo>
                    <a:pt x="25" y="14"/>
                    <a:pt x="22" y="0"/>
                    <a:pt x="14" y="0"/>
                  </a:cubicBezTo>
                  <a:cubicBezTo>
                    <a:pt x="6" y="0"/>
                    <a:pt x="0" y="12"/>
                    <a:pt x="1" y="22"/>
                  </a:cubicBezTo>
                </a:path>
              </a:pathLst>
            </a:custGeom>
            <a:solidFill>
              <a:srgbClr val="E489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73">
              <a:extLst>
                <a:ext uri="{FF2B5EF4-FFF2-40B4-BE49-F238E27FC236}">
                  <a16:creationId xmlns:a16="http://schemas.microsoft.com/office/drawing/2014/main" id="{3D996F29-A301-492F-AB08-A70D1E0D3C1F}"/>
                </a:ext>
              </a:extLst>
            </p:cNvPr>
            <p:cNvSpPr>
              <a:spLocks/>
            </p:cNvSpPr>
            <p:nvPr/>
          </p:nvSpPr>
          <p:spPr bwMode="auto">
            <a:xfrm>
              <a:off x="5164" y="1746"/>
              <a:ext cx="786" cy="909"/>
            </a:xfrm>
            <a:custGeom>
              <a:avLst/>
              <a:gdLst>
                <a:gd name="T0" fmla="*/ 331 w 331"/>
                <a:gd name="T1" fmla="*/ 57 h 383"/>
                <a:gd name="T2" fmla="*/ 213 w 331"/>
                <a:gd name="T3" fmla="*/ 6 h 383"/>
                <a:gd name="T4" fmla="*/ 44 w 331"/>
                <a:gd name="T5" fmla="*/ 146 h 383"/>
                <a:gd name="T6" fmla="*/ 0 w 331"/>
                <a:gd name="T7" fmla="*/ 352 h 383"/>
                <a:gd name="T8" fmla="*/ 221 w 331"/>
                <a:gd name="T9" fmla="*/ 355 h 383"/>
                <a:gd name="T10" fmla="*/ 331 w 331"/>
                <a:gd name="T11" fmla="*/ 57 h 383"/>
              </a:gdLst>
              <a:ahLst/>
              <a:cxnLst>
                <a:cxn ang="0">
                  <a:pos x="T0" y="T1"/>
                </a:cxn>
                <a:cxn ang="0">
                  <a:pos x="T2" y="T3"/>
                </a:cxn>
                <a:cxn ang="0">
                  <a:pos x="T4" y="T5"/>
                </a:cxn>
                <a:cxn ang="0">
                  <a:pos x="T6" y="T7"/>
                </a:cxn>
                <a:cxn ang="0">
                  <a:pos x="T8" y="T9"/>
                </a:cxn>
                <a:cxn ang="0">
                  <a:pos x="T10" y="T11"/>
                </a:cxn>
              </a:cxnLst>
              <a:rect l="0" t="0" r="r" b="b"/>
              <a:pathLst>
                <a:path w="331" h="383">
                  <a:moveTo>
                    <a:pt x="331" y="57"/>
                  </a:moveTo>
                  <a:cubicBezTo>
                    <a:pt x="331" y="57"/>
                    <a:pt x="281" y="0"/>
                    <a:pt x="213" y="6"/>
                  </a:cubicBezTo>
                  <a:cubicBezTo>
                    <a:pt x="145" y="12"/>
                    <a:pt x="78" y="64"/>
                    <a:pt x="44" y="146"/>
                  </a:cubicBezTo>
                  <a:cubicBezTo>
                    <a:pt x="10" y="228"/>
                    <a:pt x="0" y="352"/>
                    <a:pt x="0" y="352"/>
                  </a:cubicBezTo>
                  <a:cubicBezTo>
                    <a:pt x="0" y="352"/>
                    <a:pt x="110" y="383"/>
                    <a:pt x="221" y="355"/>
                  </a:cubicBezTo>
                  <a:cubicBezTo>
                    <a:pt x="221" y="355"/>
                    <a:pt x="250" y="208"/>
                    <a:pt x="331" y="5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74">
              <a:extLst>
                <a:ext uri="{FF2B5EF4-FFF2-40B4-BE49-F238E27FC236}">
                  <a16:creationId xmlns:a16="http://schemas.microsoft.com/office/drawing/2014/main" id="{95FD0F06-44AA-4A03-B37A-8C752B28AE29}"/>
                </a:ext>
              </a:extLst>
            </p:cNvPr>
            <p:cNvSpPr>
              <a:spLocks/>
            </p:cNvSpPr>
            <p:nvPr/>
          </p:nvSpPr>
          <p:spPr bwMode="auto">
            <a:xfrm>
              <a:off x="5829" y="1881"/>
              <a:ext cx="506" cy="385"/>
            </a:xfrm>
            <a:custGeom>
              <a:avLst/>
              <a:gdLst>
                <a:gd name="T0" fmla="*/ 51 w 213"/>
                <a:gd name="T1" fmla="*/ 0 h 162"/>
                <a:gd name="T2" fmla="*/ 131 w 213"/>
                <a:gd name="T3" fmla="*/ 102 h 162"/>
                <a:gd name="T4" fmla="*/ 181 w 213"/>
                <a:gd name="T5" fmla="*/ 97 h 162"/>
                <a:gd name="T6" fmla="*/ 209 w 213"/>
                <a:gd name="T7" fmla="*/ 125 h 162"/>
                <a:gd name="T8" fmla="*/ 122 w 213"/>
                <a:gd name="T9" fmla="*/ 161 h 162"/>
                <a:gd name="T10" fmla="*/ 0 w 213"/>
                <a:gd name="T11" fmla="*/ 63 h 162"/>
                <a:gd name="T12" fmla="*/ 51 w 213"/>
                <a:gd name="T13" fmla="*/ 0 h 162"/>
              </a:gdLst>
              <a:ahLst/>
              <a:cxnLst>
                <a:cxn ang="0">
                  <a:pos x="T0" y="T1"/>
                </a:cxn>
                <a:cxn ang="0">
                  <a:pos x="T2" y="T3"/>
                </a:cxn>
                <a:cxn ang="0">
                  <a:pos x="T4" y="T5"/>
                </a:cxn>
                <a:cxn ang="0">
                  <a:pos x="T6" y="T7"/>
                </a:cxn>
                <a:cxn ang="0">
                  <a:pos x="T8" y="T9"/>
                </a:cxn>
                <a:cxn ang="0">
                  <a:pos x="T10" y="T11"/>
                </a:cxn>
                <a:cxn ang="0">
                  <a:pos x="T12" y="T13"/>
                </a:cxn>
              </a:cxnLst>
              <a:rect l="0" t="0" r="r" b="b"/>
              <a:pathLst>
                <a:path w="213" h="162">
                  <a:moveTo>
                    <a:pt x="51" y="0"/>
                  </a:moveTo>
                  <a:cubicBezTo>
                    <a:pt x="68" y="17"/>
                    <a:pt x="117" y="99"/>
                    <a:pt x="131" y="102"/>
                  </a:cubicBezTo>
                  <a:cubicBezTo>
                    <a:pt x="145" y="105"/>
                    <a:pt x="165" y="92"/>
                    <a:pt x="181" y="97"/>
                  </a:cubicBezTo>
                  <a:cubicBezTo>
                    <a:pt x="197" y="102"/>
                    <a:pt x="213" y="116"/>
                    <a:pt x="209" y="125"/>
                  </a:cubicBezTo>
                  <a:cubicBezTo>
                    <a:pt x="206" y="135"/>
                    <a:pt x="168" y="159"/>
                    <a:pt x="122" y="161"/>
                  </a:cubicBezTo>
                  <a:cubicBezTo>
                    <a:pt x="83" y="162"/>
                    <a:pt x="0" y="63"/>
                    <a:pt x="0" y="63"/>
                  </a:cubicBezTo>
                  <a:cubicBezTo>
                    <a:pt x="0" y="25"/>
                    <a:pt x="51" y="0"/>
                    <a:pt x="5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5">
              <a:extLst>
                <a:ext uri="{FF2B5EF4-FFF2-40B4-BE49-F238E27FC236}">
                  <a16:creationId xmlns:a16="http://schemas.microsoft.com/office/drawing/2014/main" id="{4435009B-FA36-4926-A3EB-E31222E6FE81}"/>
                </a:ext>
              </a:extLst>
            </p:cNvPr>
            <p:cNvSpPr>
              <a:spLocks/>
            </p:cNvSpPr>
            <p:nvPr/>
          </p:nvSpPr>
          <p:spPr bwMode="auto">
            <a:xfrm>
              <a:off x="5914" y="1625"/>
              <a:ext cx="67" cy="95"/>
            </a:xfrm>
            <a:custGeom>
              <a:avLst/>
              <a:gdLst>
                <a:gd name="T0" fmla="*/ 17 w 28"/>
                <a:gd name="T1" fmla="*/ 40 h 40"/>
                <a:gd name="T2" fmla="*/ 17 w 28"/>
                <a:gd name="T3" fmla="*/ 36 h 40"/>
                <a:gd name="T4" fmla="*/ 24 w 28"/>
                <a:gd name="T5" fmla="*/ 29 h 40"/>
                <a:gd name="T6" fmla="*/ 0 w 28"/>
                <a:gd name="T7" fmla="*/ 3 h 40"/>
                <a:gd name="T8" fmla="*/ 2 w 28"/>
                <a:gd name="T9" fmla="*/ 0 h 40"/>
                <a:gd name="T10" fmla="*/ 28 w 28"/>
                <a:gd name="T11" fmla="*/ 29 h 40"/>
                <a:gd name="T12" fmla="*/ 17 w 2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8" h="40">
                  <a:moveTo>
                    <a:pt x="17" y="40"/>
                  </a:moveTo>
                  <a:cubicBezTo>
                    <a:pt x="17" y="36"/>
                    <a:pt x="17" y="36"/>
                    <a:pt x="17" y="36"/>
                  </a:cubicBezTo>
                  <a:cubicBezTo>
                    <a:pt x="18" y="36"/>
                    <a:pt x="24" y="36"/>
                    <a:pt x="24" y="29"/>
                  </a:cubicBezTo>
                  <a:cubicBezTo>
                    <a:pt x="24" y="23"/>
                    <a:pt x="9" y="10"/>
                    <a:pt x="0" y="3"/>
                  </a:cubicBezTo>
                  <a:cubicBezTo>
                    <a:pt x="2" y="0"/>
                    <a:pt x="2" y="0"/>
                    <a:pt x="2" y="0"/>
                  </a:cubicBezTo>
                  <a:cubicBezTo>
                    <a:pt x="5" y="2"/>
                    <a:pt x="28" y="19"/>
                    <a:pt x="28" y="29"/>
                  </a:cubicBezTo>
                  <a:cubicBezTo>
                    <a:pt x="28" y="38"/>
                    <a:pt x="21" y="40"/>
                    <a:pt x="17" y="4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276">
              <a:extLst>
                <a:ext uri="{FF2B5EF4-FFF2-40B4-BE49-F238E27FC236}">
                  <a16:creationId xmlns:a16="http://schemas.microsoft.com/office/drawing/2014/main" id="{245A41E7-0464-4210-8007-252CC37D4466}"/>
                </a:ext>
              </a:extLst>
            </p:cNvPr>
            <p:cNvSpPr>
              <a:spLocks noChangeArrowheads="1"/>
            </p:cNvSpPr>
            <p:nvPr/>
          </p:nvSpPr>
          <p:spPr bwMode="auto">
            <a:xfrm>
              <a:off x="5848" y="1523"/>
              <a:ext cx="102" cy="142"/>
            </a:xfrm>
            <a:prstGeom prst="ellipse">
              <a:avLst/>
            </a:pr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77">
              <a:extLst>
                <a:ext uri="{FF2B5EF4-FFF2-40B4-BE49-F238E27FC236}">
                  <a16:creationId xmlns:a16="http://schemas.microsoft.com/office/drawing/2014/main" id="{5B57082C-A9CD-42F5-BD85-3EE86384A74B}"/>
                </a:ext>
              </a:extLst>
            </p:cNvPr>
            <p:cNvSpPr>
              <a:spLocks noChangeArrowheads="1"/>
            </p:cNvSpPr>
            <p:nvPr/>
          </p:nvSpPr>
          <p:spPr bwMode="auto">
            <a:xfrm>
              <a:off x="5848" y="1523"/>
              <a:ext cx="102" cy="142"/>
            </a:xfrm>
            <a:prstGeom prst="ellipse">
              <a:avLst/>
            </a:pr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278">
              <a:extLst>
                <a:ext uri="{FF2B5EF4-FFF2-40B4-BE49-F238E27FC236}">
                  <a16:creationId xmlns:a16="http://schemas.microsoft.com/office/drawing/2014/main" id="{2C4604F8-4E71-44D1-8D91-47A8C2D566A5}"/>
                </a:ext>
              </a:extLst>
            </p:cNvPr>
            <p:cNvSpPr>
              <a:spLocks noChangeArrowheads="1"/>
            </p:cNvSpPr>
            <p:nvPr/>
          </p:nvSpPr>
          <p:spPr bwMode="auto">
            <a:xfrm>
              <a:off x="5883" y="1546"/>
              <a:ext cx="67" cy="93"/>
            </a:xfrm>
            <a:prstGeom prst="ellipse">
              <a:avLst/>
            </a:pr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79">
              <a:extLst>
                <a:ext uri="{FF2B5EF4-FFF2-40B4-BE49-F238E27FC236}">
                  <a16:creationId xmlns:a16="http://schemas.microsoft.com/office/drawing/2014/main" id="{E720FBFB-4350-4D98-9B4E-69E9AE4A8DAA}"/>
                </a:ext>
              </a:extLst>
            </p:cNvPr>
            <p:cNvSpPr>
              <a:spLocks/>
            </p:cNvSpPr>
            <p:nvPr/>
          </p:nvSpPr>
          <p:spPr bwMode="auto">
            <a:xfrm>
              <a:off x="5781" y="1354"/>
              <a:ext cx="155" cy="211"/>
            </a:xfrm>
            <a:custGeom>
              <a:avLst/>
              <a:gdLst>
                <a:gd name="T0" fmla="*/ 64 w 65"/>
                <a:gd name="T1" fmla="*/ 86 h 89"/>
                <a:gd name="T2" fmla="*/ 0 w 65"/>
                <a:gd name="T3" fmla="*/ 15 h 89"/>
                <a:gd name="T4" fmla="*/ 51 w 65"/>
                <a:gd name="T5" fmla="*/ 89 h 89"/>
                <a:gd name="T6" fmla="*/ 64 w 65"/>
                <a:gd name="T7" fmla="*/ 86 h 89"/>
              </a:gdLst>
              <a:ahLst/>
              <a:cxnLst>
                <a:cxn ang="0">
                  <a:pos x="T0" y="T1"/>
                </a:cxn>
                <a:cxn ang="0">
                  <a:pos x="T2" y="T3"/>
                </a:cxn>
                <a:cxn ang="0">
                  <a:pos x="T4" y="T5"/>
                </a:cxn>
                <a:cxn ang="0">
                  <a:pos x="T6" y="T7"/>
                </a:cxn>
              </a:cxnLst>
              <a:rect l="0" t="0" r="r" b="b"/>
              <a:pathLst>
                <a:path w="65" h="89">
                  <a:moveTo>
                    <a:pt x="64" y="86"/>
                  </a:moveTo>
                  <a:cubicBezTo>
                    <a:pt x="64" y="86"/>
                    <a:pt x="65" y="0"/>
                    <a:pt x="0" y="15"/>
                  </a:cubicBezTo>
                  <a:cubicBezTo>
                    <a:pt x="0" y="15"/>
                    <a:pt x="48" y="21"/>
                    <a:pt x="51" y="89"/>
                  </a:cubicBezTo>
                  <a:lnTo>
                    <a:pt x="64" y="86"/>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80">
              <a:extLst>
                <a:ext uri="{FF2B5EF4-FFF2-40B4-BE49-F238E27FC236}">
                  <a16:creationId xmlns:a16="http://schemas.microsoft.com/office/drawing/2014/main" id="{104153CD-6689-4A0B-B4BE-F295F5E12A73}"/>
                </a:ext>
              </a:extLst>
            </p:cNvPr>
            <p:cNvSpPr>
              <a:spLocks/>
            </p:cNvSpPr>
            <p:nvPr/>
          </p:nvSpPr>
          <p:spPr bwMode="auto">
            <a:xfrm>
              <a:off x="5945" y="1708"/>
              <a:ext cx="19" cy="16"/>
            </a:xfrm>
            <a:custGeom>
              <a:avLst/>
              <a:gdLst>
                <a:gd name="T0" fmla="*/ 6 w 8"/>
                <a:gd name="T1" fmla="*/ 6 h 7"/>
                <a:gd name="T2" fmla="*/ 3 w 8"/>
                <a:gd name="T3" fmla="*/ 7 h 7"/>
                <a:gd name="T4" fmla="*/ 1 w 8"/>
                <a:gd name="T5" fmla="*/ 5 h 7"/>
                <a:gd name="T6" fmla="*/ 0 w 8"/>
                <a:gd name="T7" fmla="*/ 3 h 7"/>
                <a:gd name="T8" fmla="*/ 2 w 8"/>
                <a:gd name="T9" fmla="*/ 1 h 7"/>
                <a:gd name="T10" fmla="*/ 5 w 8"/>
                <a:gd name="T11" fmla="*/ 0 h 7"/>
                <a:gd name="T12" fmla="*/ 8 w 8"/>
                <a:gd name="T13" fmla="*/ 2 h 7"/>
                <a:gd name="T14" fmla="*/ 8 w 8"/>
                <a:gd name="T15" fmla="*/ 4 h 7"/>
                <a:gd name="T16" fmla="*/ 6 w 8"/>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6" y="6"/>
                  </a:moveTo>
                  <a:cubicBezTo>
                    <a:pt x="3" y="7"/>
                    <a:pt x="3" y="7"/>
                    <a:pt x="3" y="7"/>
                  </a:cubicBezTo>
                  <a:cubicBezTo>
                    <a:pt x="2" y="7"/>
                    <a:pt x="1" y="6"/>
                    <a:pt x="1" y="5"/>
                  </a:cubicBezTo>
                  <a:cubicBezTo>
                    <a:pt x="0" y="3"/>
                    <a:pt x="0" y="3"/>
                    <a:pt x="0" y="3"/>
                  </a:cubicBezTo>
                  <a:cubicBezTo>
                    <a:pt x="0" y="2"/>
                    <a:pt x="1" y="1"/>
                    <a:pt x="2" y="1"/>
                  </a:cubicBezTo>
                  <a:cubicBezTo>
                    <a:pt x="5" y="0"/>
                    <a:pt x="5" y="0"/>
                    <a:pt x="5" y="0"/>
                  </a:cubicBezTo>
                  <a:cubicBezTo>
                    <a:pt x="6" y="0"/>
                    <a:pt x="7" y="1"/>
                    <a:pt x="8" y="2"/>
                  </a:cubicBezTo>
                  <a:cubicBezTo>
                    <a:pt x="8" y="4"/>
                    <a:pt x="8" y="4"/>
                    <a:pt x="8" y="4"/>
                  </a:cubicBezTo>
                  <a:cubicBezTo>
                    <a:pt x="8" y="5"/>
                    <a:pt x="7" y="6"/>
                    <a:pt x="6"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1">
              <a:extLst>
                <a:ext uri="{FF2B5EF4-FFF2-40B4-BE49-F238E27FC236}">
                  <a16:creationId xmlns:a16="http://schemas.microsoft.com/office/drawing/2014/main" id="{EB8EDA32-5829-483F-9003-C9A62010AD17}"/>
                </a:ext>
              </a:extLst>
            </p:cNvPr>
            <p:cNvSpPr>
              <a:spLocks/>
            </p:cNvSpPr>
            <p:nvPr/>
          </p:nvSpPr>
          <p:spPr bwMode="auto">
            <a:xfrm>
              <a:off x="5050" y="2769"/>
              <a:ext cx="729" cy="110"/>
            </a:xfrm>
            <a:custGeom>
              <a:avLst/>
              <a:gdLst>
                <a:gd name="T0" fmla="*/ 287 w 307"/>
                <a:gd name="T1" fmla="*/ 0 h 46"/>
                <a:gd name="T2" fmla="*/ 20 w 307"/>
                <a:gd name="T3" fmla="*/ 0 h 46"/>
                <a:gd name="T4" fmla="*/ 0 w 307"/>
                <a:gd name="T5" fmla="*/ 20 h 46"/>
                <a:gd name="T6" fmla="*/ 0 w 307"/>
                <a:gd name="T7" fmla="*/ 46 h 46"/>
                <a:gd name="T8" fmla="*/ 307 w 307"/>
                <a:gd name="T9" fmla="*/ 46 h 46"/>
                <a:gd name="T10" fmla="*/ 307 w 307"/>
                <a:gd name="T11" fmla="*/ 20 h 46"/>
                <a:gd name="T12" fmla="*/ 287 w 30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07" h="46">
                  <a:moveTo>
                    <a:pt x="287" y="0"/>
                  </a:moveTo>
                  <a:cubicBezTo>
                    <a:pt x="20" y="0"/>
                    <a:pt x="20" y="0"/>
                    <a:pt x="20" y="0"/>
                  </a:cubicBezTo>
                  <a:cubicBezTo>
                    <a:pt x="9" y="0"/>
                    <a:pt x="0" y="9"/>
                    <a:pt x="0" y="20"/>
                  </a:cubicBezTo>
                  <a:cubicBezTo>
                    <a:pt x="0" y="46"/>
                    <a:pt x="0" y="46"/>
                    <a:pt x="0" y="46"/>
                  </a:cubicBezTo>
                  <a:cubicBezTo>
                    <a:pt x="307" y="46"/>
                    <a:pt x="307" y="46"/>
                    <a:pt x="307" y="46"/>
                  </a:cubicBezTo>
                  <a:cubicBezTo>
                    <a:pt x="307" y="20"/>
                    <a:pt x="307" y="20"/>
                    <a:pt x="307" y="20"/>
                  </a:cubicBezTo>
                  <a:cubicBezTo>
                    <a:pt x="307" y="9"/>
                    <a:pt x="298" y="0"/>
                    <a:pt x="287" y="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82">
              <a:extLst>
                <a:ext uri="{FF2B5EF4-FFF2-40B4-BE49-F238E27FC236}">
                  <a16:creationId xmlns:a16="http://schemas.microsoft.com/office/drawing/2014/main" id="{73D987E7-B8AD-4AA8-B619-4C21FB285585}"/>
                </a:ext>
              </a:extLst>
            </p:cNvPr>
            <p:cNvSpPr>
              <a:spLocks noEditPoints="1"/>
            </p:cNvSpPr>
            <p:nvPr/>
          </p:nvSpPr>
          <p:spPr bwMode="auto">
            <a:xfrm>
              <a:off x="5050" y="2769"/>
              <a:ext cx="729" cy="55"/>
            </a:xfrm>
            <a:custGeom>
              <a:avLst/>
              <a:gdLst>
                <a:gd name="T0" fmla="*/ 9 w 307"/>
                <a:gd name="T1" fmla="*/ 3 h 23"/>
                <a:gd name="T2" fmla="*/ 0 w 307"/>
                <a:gd name="T3" fmla="*/ 20 h 23"/>
                <a:gd name="T4" fmla="*/ 0 w 307"/>
                <a:gd name="T5" fmla="*/ 23 h 23"/>
                <a:gd name="T6" fmla="*/ 19 w 307"/>
                <a:gd name="T7" fmla="*/ 23 h 23"/>
                <a:gd name="T8" fmla="*/ 9 w 307"/>
                <a:gd name="T9" fmla="*/ 3 h 23"/>
                <a:gd name="T10" fmla="*/ 287 w 307"/>
                <a:gd name="T11" fmla="*/ 0 h 23"/>
                <a:gd name="T12" fmla="*/ 68 w 307"/>
                <a:gd name="T13" fmla="*/ 0 h 23"/>
                <a:gd name="T14" fmla="*/ 83 w 307"/>
                <a:gd name="T15" fmla="*/ 23 h 23"/>
                <a:gd name="T16" fmla="*/ 307 w 307"/>
                <a:gd name="T17" fmla="*/ 23 h 23"/>
                <a:gd name="T18" fmla="*/ 307 w 307"/>
                <a:gd name="T19" fmla="*/ 20 h 23"/>
                <a:gd name="T20" fmla="*/ 287 w 307"/>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23">
                  <a:moveTo>
                    <a:pt x="9" y="3"/>
                  </a:moveTo>
                  <a:cubicBezTo>
                    <a:pt x="3" y="6"/>
                    <a:pt x="0" y="13"/>
                    <a:pt x="0" y="20"/>
                  </a:cubicBezTo>
                  <a:cubicBezTo>
                    <a:pt x="0" y="23"/>
                    <a:pt x="0" y="23"/>
                    <a:pt x="0" y="23"/>
                  </a:cubicBezTo>
                  <a:cubicBezTo>
                    <a:pt x="19" y="23"/>
                    <a:pt x="19" y="23"/>
                    <a:pt x="19" y="23"/>
                  </a:cubicBezTo>
                  <a:cubicBezTo>
                    <a:pt x="16" y="19"/>
                    <a:pt x="13" y="12"/>
                    <a:pt x="9" y="3"/>
                  </a:cubicBezTo>
                  <a:moveTo>
                    <a:pt x="287" y="0"/>
                  </a:moveTo>
                  <a:cubicBezTo>
                    <a:pt x="68" y="0"/>
                    <a:pt x="68" y="0"/>
                    <a:pt x="68" y="0"/>
                  </a:cubicBezTo>
                  <a:cubicBezTo>
                    <a:pt x="72" y="9"/>
                    <a:pt x="77" y="17"/>
                    <a:pt x="83" y="23"/>
                  </a:cubicBezTo>
                  <a:cubicBezTo>
                    <a:pt x="307" y="23"/>
                    <a:pt x="307" y="23"/>
                    <a:pt x="307" y="23"/>
                  </a:cubicBezTo>
                  <a:cubicBezTo>
                    <a:pt x="307" y="20"/>
                    <a:pt x="307" y="20"/>
                    <a:pt x="307" y="20"/>
                  </a:cubicBezTo>
                  <a:cubicBezTo>
                    <a:pt x="307" y="9"/>
                    <a:pt x="298" y="0"/>
                    <a:pt x="287"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83">
              <a:extLst>
                <a:ext uri="{FF2B5EF4-FFF2-40B4-BE49-F238E27FC236}">
                  <a16:creationId xmlns:a16="http://schemas.microsoft.com/office/drawing/2014/main" id="{949AC792-EE5F-4E45-9D0E-DABB3BE165CF}"/>
                </a:ext>
              </a:extLst>
            </p:cNvPr>
            <p:cNvSpPr>
              <a:spLocks/>
            </p:cNvSpPr>
            <p:nvPr/>
          </p:nvSpPr>
          <p:spPr bwMode="auto">
            <a:xfrm>
              <a:off x="4836" y="1964"/>
              <a:ext cx="537" cy="380"/>
            </a:xfrm>
            <a:custGeom>
              <a:avLst/>
              <a:gdLst>
                <a:gd name="T0" fmla="*/ 58 w 226"/>
                <a:gd name="T1" fmla="*/ 160 h 160"/>
                <a:gd name="T2" fmla="*/ 168 w 226"/>
                <a:gd name="T3" fmla="*/ 160 h 160"/>
                <a:gd name="T4" fmla="*/ 226 w 226"/>
                <a:gd name="T5" fmla="*/ 101 h 160"/>
                <a:gd name="T6" fmla="*/ 226 w 226"/>
                <a:gd name="T7" fmla="*/ 58 h 160"/>
                <a:gd name="T8" fmla="*/ 168 w 226"/>
                <a:gd name="T9" fmla="*/ 0 h 160"/>
                <a:gd name="T10" fmla="*/ 58 w 226"/>
                <a:gd name="T11" fmla="*/ 0 h 160"/>
                <a:gd name="T12" fmla="*/ 0 w 226"/>
                <a:gd name="T13" fmla="*/ 58 h 160"/>
                <a:gd name="T14" fmla="*/ 0 w 226"/>
                <a:gd name="T15" fmla="*/ 101 h 160"/>
                <a:gd name="T16" fmla="*/ 58 w 226"/>
                <a:gd name="T1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160">
                  <a:moveTo>
                    <a:pt x="58" y="160"/>
                  </a:moveTo>
                  <a:cubicBezTo>
                    <a:pt x="168" y="160"/>
                    <a:pt x="168" y="160"/>
                    <a:pt x="168" y="160"/>
                  </a:cubicBezTo>
                  <a:cubicBezTo>
                    <a:pt x="200" y="160"/>
                    <a:pt x="226" y="134"/>
                    <a:pt x="226" y="101"/>
                  </a:cubicBezTo>
                  <a:cubicBezTo>
                    <a:pt x="226" y="58"/>
                    <a:pt x="226" y="58"/>
                    <a:pt x="226" y="58"/>
                  </a:cubicBezTo>
                  <a:cubicBezTo>
                    <a:pt x="226" y="26"/>
                    <a:pt x="200" y="0"/>
                    <a:pt x="168" y="0"/>
                  </a:cubicBezTo>
                  <a:cubicBezTo>
                    <a:pt x="58" y="0"/>
                    <a:pt x="58" y="0"/>
                    <a:pt x="58" y="0"/>
                  </a:cubicBezTo>
                  <a:cubicBezTo>
                    <a:pt x="26" y="0"/>
                    <a:pt x="0" y="26"/>
                    <a:pt x="0" y="58"/>
                  </a:cubicBezTo>
                  <a:cubicBezTo>
                    <a:pt x="0" y="101"/>
                    <a:pt x="0" y="101"/>
                    <a:pt x="0" y="101"/>
                  </a:cubicBezTo>
                  <a:cubicBezTo>
                    <a:pt x="0" y="134"/>
                    <a:pt x="26" y="160"/>
                    <a:pt x="58" y="160"/>
                  </a:cubicBezTo>
                </a:path>
              </a:pathLst>
            </a:custGeom>
            <a:solidFill>
              <a:srgbClr val="407B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84">
              <a:extLst>
                <a:ext uri="{FF2B5EF4-FFF2-40B4-BE49-F238E27FC236}">
                  <a16:creationId xmlns:a16="http://schemas.microsoft.com/office/drawing/2014/main" id="{435BEACF-9E17-4372-BC57-482D69E36331}"/>
                </a:ext>
              </a:extLst>
            </p:cNvPr>
            <p:cNvSpPr>
              <a:spLocks/>
            </p:cNvSpPr>
            <p:nvPr/>
          </p:nvSpPr>
          <p:spPr bwMode="auto">
            <a:xfrm>
              <a:off x="4836" y="1964"/>
              <a:ext cx="537" cy="380"/>
            </a:xfrm>
            <a:custGeom>
              <a:avLst/>
              <a:gdLst>
                <a:gd name="T0" fmla="*/ 168 w 226"/>
                <a:gd name="T1" fmla="*/ 0 h 160"/>
                <a:gd name="T2" fmla="*/ 58 w 226"/>
                <a:gd name="T3" fmla="*/ 0 h 160"/>
                <a:gd name="T4" fmla="*/ 33 w 226"/>
                <a:gd name="T5" fmla="*/ 6 h 160"/>
                <a:gd name="T6" fmla="*/ 5 w 226"/>
                <a:gd name="T7" fmla="*/ 33 h 160"/>
                <a:gd name="T8" fmla="*/ 0 w 226"/>
                <a:gd name="T9" fmla="*/ 58 h 160"/>
                <a:gd name="T10" fmla="*/ 0 w 226"/>
                <a:gd name="T11" fmla="*/ 101 h 160"/>
                <a:gd name="T12" fmla="*/ 58 w 226"/>
                <a:gd name="T13" fmla="*/ 160 h 160"/>
                <a:gd name="T14" fmla="*/ 72 w 226"/>
                <a:gd name="T15" fmla="*/ 160 h 160"/>
                <a:gd name="T16" fmla="*/ 73 w 226"/>
                <a:gd name="T17" fmla="*/ 139 h 160"/>
                <a:gd name="T18" fmla="*/ 69 w 226"/>
                <a:gd name="T19" fmla="*/ 139 h 160"/>
                <a:gd name="T20" fmla="*/ 36 w 226"/>
                <a:gd name="T21" fmla="*/ 106 h 160"/>
                <a:gd name="T22" fmla="*/ 36 w 226"/>
                <a:gd name="T23" fmla="*/ 81 h 160"/>
                <a:gd name="T24" fmla="*/ 36 w 226"/>
                <a:gd name="T25" fmla="*/ 81 h 160"/>
                <a:gd name="T26" fmla="*/ 69 w 226"/>
                <a:gd name="T27" fmla="*/ 48 h 160"/>
                <a:gd name="T28" fmla="*/ 131 w 226"/>
                <a:gd name="T29" fmla="*/ 48 h 160"/>
                <a:gd name="T30" fmla="*/ 164 w 226"/>
                <a:gd name="T31" fmla="*/ 81 h 160"/>
                <a:gd name="T32" fmla="*/ 164 w 226"/>
                <a:gd name="T33" fmla="*/ 106 h 160"/>
                <a:gd name="T34" fmla="*/ 164 w 226"/>
                <a:gd name="T35" fmla="*/ 106 h 160"/>
                <a:gd name="T36" fmla="*/ 131 w 226"/>
                <a:gd name="T37" fmla="*/ 139 h 160"/>
                <a:gd name="T38" fmla="*/ 130 w 226"/>
                <a:gd name="T39" fmla="*/ 139 h 160"/>
                <a:gd name="T40" fmla="*/ 130 w 226"/>
                <a:gd name="T41" fmla="*/ 144 h 160"/>
                <a:gd name="T42" fmla="*/ 130 w 226"/>
                <a:gd name="T43" fmla="*/ 160 h 160"/>
                <a:gd name="T44" fmla="*/ 168 w 226"/>
                <a:gd name="T45" fmla="*/ 160 h 160"/>
                <a:gd name="T46" fmla="*/ 226 w 226"/>
                <a:gd name="T47" fmla="*/ 101 h 160"/>
                <a:gd name="T48" fmla="*/ 226 w 226"/>
                <a:gd name="T49" fmla="*/ 58 h 160"/>
                <a:gd name="T50" fmla="*/ 204 w 226"/>
                <a:gd name="T51" fmla="*/ 12 h 160"/>
                <a:gd name="T52" fmla="*/ 168 w 226"/>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6" h="160">
                  <a:moveTo>
                    <a:pt x="168" y="0"/>
                  </a:moveTo>
                  <a:cubicBezTo>
                    <a:pt x="58" y="0"/>
                    <a:pt x="58" y="0"/>
                    <a:pt x="58" y="0"/>
                  </a:cubicBezTo>
                  <a:cubicBezTo>
                    <a:pt x="49" y="0"/>
                    <a:pt x="40" y="2"/>
                    <a:pt x="33" y="6"/>
                  </a:cubicBezTo>
                  <a:cubicBezTo>
                    <a:pt x="21" y="12"/>
                    <a:pt x="11" y="21"/>
                    <a:pt x="5" y="33"/>
                  </a:cubicBezTo>
                  <a:cubicBezTo>
                    <a:pt x="2" y="41"/>
                    <a:pt x="0" y="49"/>
                    <a:pt x="0" y="58"/>
                  </a:cubicBezTo>
                  <a:cubicBezTo>
                    <a:pt x="0" y="101"/>
                    <a:pt x="0" y="101"/>
                    <a:pt x="0" y="101"/>
                  </a:cubicBezTo>
                  <a:cubicBezTo>
                    <a:pt x="0" y="134"/>
                    <a:pt x="26" y="160"/>
                    <a:pt x="58" y="160"/>
                  </a:cubicBezTo>
                  <a:cubicBezTo>
                    <a:pt x="72" y="160"/>
                    <a:pt x="72" y="160"/>
                    <a:pt x="72" y="160"/>
                  </a:cubicBezTo>
                  <a:cubicBezTo>
                    <a:pt x="73" y="153"/>
                    <a:pt x="73" y="146"/>
                    <a:pt x="73" y="139"/>
                  </a:cubicBezTo>
                  <a:cubicBezTo>
                    <a:pt x="69" y="139"/>
                    <a:pt x="69" y="139"/>
                    <a:pt x="69" y="139"/>
                  </a:cubicBezTo>
                  <a:cubicBezTo>
                    <a:pt x="51" y="139"/>
                    <a:pt x="36" y="124"/>
                    <a:pt x="36" y="106"/>
                  </a:cubicBezTo>
                  <a:cubicBezTo>
                    <a:pt x="36" y="81"/>
                    <a:pt x="36" y="81"/>
                    <a:pt x="36" y="81"/>
                  </a:cubicBezTo>
                  <a:cubicBezTo>
                    <a:pt x="36" y="81"/>
                    <a:pt x="36" y="81"/>
                    <a:pt x="36" y="81"/>
                  </a:cubicBezTo>
                  <a:cubicBezTo>
                    <a:pt x="36" y="63"/>
                    <a:pt x="51" y="48"/>
                    <a:pt x="69" y="48"/>
                  </a:cubicBezTo>
                  <a:cubicBezTo>
                    <a:pt x="131" y="48"/>
                    <a:pt x="131" y="48"/>
                    <a:pt x="131" y="48"/>
                  </a:cubicBezTo>
                  <a:cubicBezTo>
                    <a:pt x="149" y="48"/>
                    <a:pt x="164" y="63"/>
                    <a:pt x="164" y="81"/>
                  </a:cubicBezTo>
                  <a:cubicBezTo>
                    <a:pt x="164" y="106"/>
                    <a:pt x="164" y="106"/>
                    <a:pt x="164" y="106"/>
                  </a:cubicBezTo>
                  <a:cubicBezTo>
                    <a:pt x="164" y="106"/>
                    <a:pt x="164" y="106"/>
                    <a:pt x="164" y="106"/>
                  </a:cubicBezTo>
                  <a:cubicBezTo>
                    <a:pt x="164" y="124"/>
                    <a:pt x="149" y="139"/>
                    <a:pt x="131" y="139"/>
                  </a:cubicBezTo>
                  <a:cubicBezTo>
                    <a:pt x="130" y="139"/>
                    <a:pt x="130" y="139"/>
                    <a:pt x="130" y="139"/>
                  </a:cubicBezTo>
                  <a:cubicBezTo>
                    <a:pt x="130" y="140"/>
                    <a:pt x="130" y="142"/>
                    <a:pt x="130" y="144"/>
                  </a:cubicBezTo>
                  <a:cubicBezTo>
                    <a:pt x="130" y="149"/>
                    <a:pt x="130" y="154"/>
                    <a:pt x="130" y="160"/>
                  </a:cubicBezTo>
                  <a:cubicBezTo>
                    <a:pt x="168" y="160"/>
                    <a:pt x="168" y="160"/>
                    <a:pt x="168" y="160"/>
                  </a:cubicBezTo>
                  <a:cubicBezTo>
                    <a:pt x="200" y="160"/>
                    <a:pt x="226" y="134"/>
                    <a:pt x="226" y="101"/>
                  </a:cubicBezTo>
                  <a:cubicBezTo>
                    <a:pt x="226" y="58"/>
                    <a:pt x="226" y="58"/>
                    <a:pt x="226" y="58"/>
                  </a:cubicBezTo>
                  <a:cubicBezTo>
                    <a:pt x="226" y="40"/>
                    <a:pt x="217" y="23"/>
                    <a:pt x="204" y="12"/>
                  </a:cubicBezTo>
                  <a:cubicBezTo>
                    <a:pt x="194" y="5"/>
                    <a:pt x="181" y="0"/>
                    <a:pt x="168"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85">
              <a:extLst>
                <a:ext uri="{FF2B5EF4-FFF2-40B4-BE49-F238E27FC236}">
                  <a16:creationId xmlns:a16="http://schemas.microsoft.com/office/drawing/2014/main" id="{DF6D15E7-9073-4568-BE26-E54B3DA57518}"/>
                </a:ext>
              </a:extLst>
            </p:cNvPr>
            <p:cNvSpPr>
              <a:spLocks/>
            </p:cNvSpPr>
            <p:nvPr/>
          </p:nvSpPr>
          <p:spPr bwMode="auto">
            <a:xfrm>
              <a:off x="5028" y="3099"/>
              <a:ext cx="753" cy="506"/>
            </a:xfrm>
            <a:custGeom>
              <a:avLst/>
              <a:gdLst>
                <a:gd name="T0" fmla="*/ 20 w 317"/>
                <a:gd name="T1" fmla="*/ 174 h 213"/>
                <a:gd name="T2" fmla="*/ 136 w 317"/>
                <a:gd name="T3" fmla="*/ 162 h 213"/>
                <a:gd name="T4" fmla="*/ 136 w 317"/>
                <a:gd name="T5" fmla="*/ 0 h 213"/>
                <a:gd name="T6" fmla="*/ 181 w 317"/>
                <a:gd name="T7" fmla="*/ 0 h 213"/>
                <a:gd name="T8" fmla="*/ 181 w 317"/>
                <a:gd name="T9" fmla="*/ 162 h 213"/>
                <a:gd name="T10" fmla="*/ 297 w 317"/>
                <a:gd name="T11" fmla="*/ 174 h 213"/>
                <a:gd name="T12" fmla="*/ 317 w 317"/>
                <a:gd name="T13" fmla="*/ 196 h 213"/>
                <a:gd name="T14" fmla="*/ 317 w 317"/>
                <a:gd name="T15" fmla="*/ 213 h 213"/>
                <a:gd name="T16" fmla="*/ 163 w 317"/>
                <a:gd name="T17" fmla="*/ 213 h 213"/>
                <a:gd name="T18" fmla="*/ 154 w 317"/>
                <a:gd name="T19" fmla="*/ 213 h 213"/>
                <a:gd name="T20" fmla="*/ 0 w 317"/>
                <a:gd name="T21" fmla="*/ 213 h 213"/>
                <a:gd name="T22" fmla="*/ 0 w 317"/>
                <a:gd name="T23" fmla="*/ 196 h 213"/>
                <a:gd name="T24" fmla="*/ 20 w 317"/>
                <a:gd name="T25" fmla="*/ 17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213">
                  <a:moveTo>
                    <a:pt x="20" y="174"/>
                  </a:moveTo>
                  <a:cubicBezTo>
                    <a:pt x="136" y="162"/>
                    <a:pt x="136" y="162"/>
                    <a:pt x="136" y="162"/>
                  </a:cubicBezTo>
                  <a:cubicBezTo>
                    <a:pt x="136" y="0"/>
                    <a:pt x="136" y="0"/>
                    <a:pt x="136" y="0"/>
                  </a:cubicBezTo>
                  <a:cubicBezTo>
                    <a:pt x="181" y="0"/>
                    <a:pt x="181" y="0"/>
                    <a:pt x="181" y="0"/>
                  </a:cubicBezTo>
                  <a:cubicBezTo>
                    <a:pt x="181" y="162"/>
                    <a:pt x="181" y="162"/>
                    <a:pt x="181" y="162"/>
                  </a:cubicBezTo>
                  <a:cubicBezTo>
                    <a:pt x="297" y="174"/>
                    <a:pt x="297" y="174"/>
                    <a:pt x="297" y="174"/>
                  </a:cubicBezTo>
                  <a:cubicBezTo>
                    <a:pt x="308" y="175"/>
                    <a:pt x="317" y="184"/>
                    <a:pt x="317" y="196"/>
                  </a:cubicBezTo>
                  <a:cubicBezTo>
                    <a:pt x="317" y="213"/>
                    <a:pt x="317" y="213"/>
                    <a:pt x="317" y="213"/>
                  </a:cubicBezTo>
                  <a:cubicBezTo>
                    <a:pt x="163" y="213"/>
                    <a:pt x="163" y="213"/>
                    <a:pt x="163" y="213"/>
                  </a:cubicBezTo>
                  <a:cubicBezTo>
                    <a:pt x="154" y="213"/>
                    <a:pt x="154" y="213"/>
                    <a:pt x="154" y="213"/>
                  </a:cubicBezTo>
                  <a:cubicBezTo>
                    <a:pt x="0" y="213"/>
                    <a:pt x="0" y="213"/>
                    <a:pt x="0" y="213"/>
                  </a:cubicBezTo>
                  <a:cubicBezTo>
                    <a:pt x="0" y="196"/>
                    <a:pt x="0" y="196"/>
                    <a:pt x="0" y="196"/>
                  </a:cubicBezTo>
                  <a:cubicBezTo>
                    <a:pt x="0" y="184"/>
                    <a:pt x="9" y="175"/>
                    <a:pt x="20" y="17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86">
              <a:extLst>
                <a:ext uri="{FF2B5EF4-FFF2-40B4-BE49-F238E27FC236}">
                  <a16:creationId xmlns:a16="http://schemas.microsoft.com/office/drawing/2014/main" id="{32E9A6EA-7FBA-43ED-84EF-6D9942643CC5}"/>
                </a:ext>
              </a:extLst>
            </p:cNvPr>
            <p:cNvSpPr>
              <a:spLocks/>
            </p:cNvSpPr>
            <p:nvPr/>
          </p:nvSpPr>
          <p:spPr bwMode="auto">
            <a:xfrm>
              <a:off x="5028" y="3178"/>
              <a:ext cx="753" cy="427"/>
            </a:xfrm>
            <a:custGeom>
              <a:avLst/>
              <a:gdLst>
                <a:gd name="T0" fmla="*/ 181 w 317"/>
                <a:gd name="T1" fmla="*/ 0 h 180"/>
                <a:gd name="T2" fmla="*/ 173 w 317"/>
                <a:gd name="T3" fmla="*/ 2 h 180"/>
                <a:gd name="T4" fmla="*/ 144 w 317"/>
                <a:gd name="T5" fmla="*/ 2 h 180"/>
                <a:gd name="T6" fmla="*/ 136 w 317"/>
                <a:gd name="T7" fmla="*/ 0 h 180"/>
                <a:gd name="T8" fmla="*/ 136 w 317"/>
                <a:gd name="T9" fmla="*/ 129 h 180"/>
                <a:gd name="T10" fmla="*/ 128 w 317"/>
                <a:gd name="T11" fmla="*/ 130 h 180"/>
                <a:gd name="T12" fmla="*/ 20 w 317"/>
                <a:gd name="T13" fmla="*/ 141 h 180"/>
                <a:gd name="T14" fmla="*/ 0 w 317"/>
                <a:gd name="T15" fmla="*/ 163 h 180"/>
                <a:gd name="T16" fmla="*/ 0 w 317"/>
                <a:gd name="T17" fmla="*/ 180 h 180"/>
                <a:gd name="T18" fmla="*/ 154 w 317"/>
                <a:gd name="T19" fmla="*/ 180 h 180"/>
                <a:gd name="T20" fmla="*/ 163 w 317"/>
                <a:gd name="T21" fmla="*/ 180 h 180"/>
                <a:gd name="T22" fmla="*/ 317 w 317"/>
                <a:gd name="T23" fmla="*/ 180 h 180"/>
                <a:gd name="T24" fmla="*/ 317 w 317"/>
                <a:gd name="T25" fmla="*/ 163 h 180"/>
                <a:gd name="T26" fmla="*/ 310 w 317"/>
                <a:gd name="T27" fmla="*/ 147 h 180"/>
                <a:gd name="T28" fmla="*/ 297 w 317"/>
                <a:gd name="T29" fmla="*/ 141 h 180"/>
                <a:gd name="T30" fmla="*/ 246 w 317"/>
                <a:gd name="T31" fmla="*/ 136 h 180"/>
                <a:gd name="T32" fmla="*/ 181 w 317"/>
                <a:gd name="T33" fmla="*/ 129 h 180"/>
                <a:gd name="T34" fmla="*/ 181 w 317"/>
                <a:gd name="T3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180">
                  <a:moveTo>
                    <a:pt x="181" y="0"/>
                  </a:moveTo>
                  <a:cubicBezTo>
                    <a:pt x="179" y="1"/>
                    <a:pt x="176" y="2"/>
                    <a:pt x="173" y="2"/>
                  </a:cubicBezTo>
                  <a:cubicBezTo>
                    <a:pt x="144" y="2"/>
                    <a:pt x="144" y="2"/>
                    <a:pt x="144" y="2"/>
                  </a:cubicBezTo>
                  <a:cubicBezTo>
                    <a:pt x="141" y="2"/>
                    <a:pt x="138" y="1"/>
                    <a:pt x="136" y="0"/>
                  </a:cubicBezTo>
                  <a:cubicBezTo>
                    <a:pt x="136" y="129"/>
                    <a:pt x="136" y="129"/>
                    <a:pt x="136" y="129"/>
                  </a:cubicBezTo>
                  <a:cubicBezTo>
                    <a:pt x="128" y="130"/>
                    <a:pt x="128" y="130"/>
                    <a:pt x="128" y="130"/>
                  </a:cubicBezTo>
                  <a:cubicBezTo>
                    <a:pt x="20" y="141"/>
                    <a:pt x="20" y="141"/>
                    <a:pt x="20" y="141"/>
                  </a:cubicBezTo>
                  <a:cubicBezTo>
                    <a:pt x="9" y="142"/>
                    <a:pt x="0" y="151"/>
                    <a:pt x="0" y="163"/>
                  </a:cubicBezTo>
                  <a:cubicBezTo>
                    <a:pt x="0" y="180"/>
                    <a:pt x="0" y="180"/>
                    <a:pt x="0" y="180"/>
                  </a:cubicBezTo>
                  <a:cubicBezTo>
                    <a:pt x="154" y="180"/>
                    <a:pt x="154" y="180"/>
                    <a:pt x="154" y="180"/>
                  </a:cubicBezTo>
                  <a:cubicBezTo>
                    <a:pt x="163" y="180"/>
                    <a:pt x="163" y="180"/>
                    <a:pt x="163" y="180"/>
                  </a:cubicBezTo>
                  <a:cubicBezTo>
                    <a:pt x="317" y="180"/>
                    <a:pt x="317" y="180"/>
                    <a:pt x="317" y="180"/>
                  </a:cubicBezTo>
                  <a:cubicBezTo>
                    <a:pt x="317" y="163"/>
                    <a:pt x="317" y="163"/>
                    <a:pt x="317" y="163"/>
                  </a:cubicBezTo>
                  <a:cubicBezTo>
                    <a:pt x="317" y="157"/>
                    <a:pt x="315" y="151"/>
                    <a:pt x="310" y="147"/>
                  </a:cubicBezTo>
                  <a:cubicBezTo>
                    <a:pt x="307" y="143"/>
                    <a:pt x="302" y="141"/>
                    <a:pt x="297" y="141"/>
                  </a:cubicBezTo>
                  <a:cubicBezTo>
                    <a:pt x="246" y="136"/>
                    <a:pt x="246" y="136"/>
                    <a:pt x="246" y="136"/>
                  </a:cubicBezTo>
                  <a:cubicBezTo>
                    <a:pt x="181" y="129"/>
                    <a:pt x="181" y="129"/>
                    <a:pt x="181" y="129"/>
                  </a:cubicBezTo>
                  <a:cubicBezTo>
                    <a:pt x="181" y="0"/>
                    <a:pt x="181" y="0"/>
                    <a:pt x="181"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287">
              <a:extLst>
                <a:ext uri="{FF2B5EF4-FFF2-40B4-BE49-F238E27FC236}">
                  <a16:creationId xmlns:a16="http://schemas.microsoft.com/office/drawing/2014/main" id="{B00BD400-4C49-4676-BEE7-3B9F720945F2}"/>
                </a:ext>
              </a:extLst>
            </p:cNvPr>
            <p:cNvSpPr>
              <a:spLocks noChangeArrowheads="1"/>
            </p:cNvSpPr>
            <p:nvPr/>
          </p:nvSpPr>
          <p:spPr bwMode="auto">
            <a:xfrm>
              <a:off x="5681" y="3586"/>
              <a:ext cx="143" cy="143"/>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288">
              <a:extLst>
                <a:ext uri="{FF2B5EF4-FFF2-40B4-BE49-F238E27FC236}">
                  <a16:creationId xmlns:a16="http://schemas.microsoft.com/office/drawing/2014/main" id="{467061CC-7FBF-467E-BEB8-A2A0F442E240}"/>
                </a:ext>
              </a:extLst>
            </p:cNvPr>
            <p:cNvSpPr>
              <a:spLocks noChangeArrowheads="1"/>
            </p:cNvSpPr>
            <p:nvPr/>
          </p:nvSpPr>
          <p:spPr bwMode="auto">
            <a:xfrm>
              <a:off x="4986" y="3586"/>
              <a:ext cx="142" cy="143"/>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9">
              <a:extLst>
                <a:ext uri="{FF2B5EF4-FFF2-40B4-BE49-F238E27FC236}">
                  <a16:creationId xmlns:a16="http://schemas.microsoft.com/office/drawing/2014/main" id="{68CD2FD7-5765-48FF-9A06-06E5D2C5332E}"/>
                </a:ext>
              </a:extLst>
            </p:cNvPr>
            <p:cNvSpPr>
              <a:spLocks/>
            </p:cNvSpPr>
            <p:nvPr/>
          </p:nvSpPr>
          <p:spPr bwMode="auto">
            <a:xfrm>
              <a:off x="5332" y="2841"/>
              <a:ext cx="145" cy="342"/>
            </a:xfrm>
            <a:custGeom>
              <a:avLst/>
              <a:gdLst>
                <a:gd name="T0" fmla="*/ 16 w 61"/>
                <a:gd name="T1" fmla="*/ 144 h 144"/>
                <a:gd name="T2" fmla="*/ 45 w 61"/>
                <a:gd name="T3" fmla="*/ 144 h 144"/>
                <a:gd name="T4" fmla="*/ 61 w 61"/>
                <a:gd name="T5" fmla="*/ 128 h 144"/>
                <a:gd name="T6" fmla="*/ 61 w 61"/>
                <a:gd name="T7" fmla="*/ 0 h 144"/>
                <a:gd name="T8" fmla="*/ 0 w 61"/>
                <a:gd name="T9" fmla="*/ 0 h 144"/>
                <a:gd name="T10" fmla="*/ 0 w 61"/>
                <a:gd name="T11" fmla="*/ 128 h 144"/>
                <a:gd name="T12" fmla="*/ 16 w 61"/>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1" h="144">
                  <a:moveTo>
                    <a:pt x="16" y="144"/>
                  </a:moveTo>
                  <a:cubicBezTo>
                    <a:pt x="45" y="144"/>
                    <a:pt x="45" y="144"/>
                    <a:pt x="45" y="144"/>
                  </a:cubicBezTo>
                  <a:cubicBezTo>
                    <a:pt x="54" y="144"/>
                    <a:pt x="61" y="137"/>
                    <a:pt x="61" y="128"/>
                  </a:cubicBezTo>
                  <a:cubicBezTo>
                    <a:pt x="61" y="0"/>
                    <a:pt x="61" y="0"/>
                    <a:pt x="61" y="0"/>
                  </a:cubicBezTo>
                  <a:cubicBezTo>
                    <a:pt x="0" y="0"/>
                    <a:pt x="0" y="0"/>
                    <a:pt x="0" y="0"/>
                  </a:cubicBezTo>
                  <a:cubicBezTo>
                    <a:pt x="0" y="128"/>
                    <a:pt x="0" y="128"/>
                    <a:pt x="0" y="128"/>
                  </a:cubicBezTo>
                  <a:cubicBezTo>
                    <a:pt x="0" y="137"/>
                    <a:pt x="7" y="144"/>
                    <a:pt x="16" y="14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90">
              <a:extLst>
                <a:ext uri="{FF2B5EF4-FFF2-40B4-BE49-F238E27FC236}">
                  <a16:creationId xmlns:a16="http://schemas.microsoft.com/office/drawing/2014/main" id="{C53A01B1-A21E-4651-B1F6-8C93C6C21222}"/>
                </a:ext>
              </a:extLst>
            </p:cNvPr>
            <p:cNvSpPr>
              <a:spLocks/>
            </p:cNvSpPr>
            <p:nvPr/>
          </p:nvSpPr>
          <p:spPr bwMode="auto">
            <a:xfrm>
              <a:off x="5332" y="2879"/>
              <a:ext cx="145" cy="304"/>
            </a:xfrm>
            <a:custGeom>
              <a:avLst/>
              <a:gdLst>
                <a:gd name="T0" fmla="*/ 61 w 61"/>
                <a:gd name="T1" fmla="*/ 0 h 128"/>
                <a:gd name="T2" fmla="*/ 0 w 61"/>
                <a:gd name="T3" fmla="*/ 0 h 128"/>
                <a:gd name="T4" fmla="*/ 0 w 61"/>
                <a:gd name="T5" fmla="*/ 112 h 128"/>
                <a:gd name="T6" fmla="*/ 16 w 61"/>
                <a:gd name="T7" fmla="*/ 128 h 128"/>
                <a:gd name="T8" fmla="*/ 45 w 61"/>
                <a:gd name="T9" fmla="*/ 128 h 128"/>
                <a:gd name="T10" fmla="*/ 61 w 61"/>
                <a:gd name="T11" fmla="*/ 112 h 128"/>
                <a:gd name="T12" fmla="*/ 61 w 61"/>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61" h="128">
                  <a:moveTo>
                    <a:pt x="61" y="0"/>
                  </a:moveTo>
                  <a:cubicBezTo>
                    <a:pt x="0" y="0"/>
                    <a:pt x="0" y="0"/>
                    <a:pt x="0" y="0"/>
                  </a:cubicBezTo>
                  <a:cubicBezTo>
                    <a:pt x="0" y="112"/>
                    <a:pt x="0" y="112"/>
                    <a:pt x="0" y="112"/>
                  </a:cubicBezTo>
                  <a:cubicBezTo>
                    <a:pt x="0" y="121"/>
                    <a:pt x="7" y="128"/>
                    <a:pt x="16" y="128"/>
                  </a:cubicBezTo>
                  <a:cubicBezTo>
                    <a:pt x="45" y="128"/>
                    <a:pt x="45" y="128"/>
                    <a:pt x="45" y="128"/>
                  </a:cubicBezTo>
                  <a:cubicBezTo>
                    <a:pt x="54" y="128"/>
                    <a:pt x="61" y="121"/>
                    <a:pt x="61" y="112"/>
                  </a:cubicBezTo>
                  <a:cubicBezTo>
                    <a:pt x="61" y="0"/>
                    <a:pt x="61" y="0"/>
                    <a:pt x="61"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91">
              <a:extLst>
                <a:ext uri="{FF2B5EF4-FFF2-40B4-BE49-F238E27FC236}">
                  <a16:creationId xmlns:a16="http://schemas.microsoft.com/office/drawing/2014/main" id="{7672185F-FD92-4248-AA4A-EB69AC9C7972}"/>
                </a:ext>
              </a:extLst>
            </p:cNvPr>
            <p:cNvSpPr>
              <a:spLocks/>
            </p:cNvSpPr>
            <p:nvPr/>
          </p:nvSpPr>
          <p:spPr bwMode="auto">
            <a:xfrm>
              <a:off x="4978" y="2240"/>
              <a:ext cx="290" cy="601"/>
            </a:xfrm>
            <a:custGeom>
              <a:avLst/>
              <a:gdLst>
                <a:gd name="T0" fmla="*/ 70 w 122"/>
                <a:gd name="T1" fmla="*/ 0 h 253"/>
                <a:gd name="T2" fmla="*/ 122 w 122"/>
                <a:gd name="T3" fmla="*/ 253 h 253"/>
                <a:gd name="T4" fmla="*/ 53 w 122"/>
                <a:gd name="T5" fmla="*/ 253 h 253"/>
                <a:gd name="T6" fmla="*/ 15 w 122"/>
                <a:gd name="T7" fmla="*/ 0 h 253"/>
                <a:gd name="T8" fmla="*/ 70 w 122"/>
                <a:gd name="T9" fmla="*/ 0 h 253"/>
              </a:gdLst>
              <a:ahLst/>
              <a:cxnLst>
                <a:cxn ang="0">
                  <a:pos x="T0" y="T1"/>
                </a:cxn>
                <a:cxn ang="0">
                  <a:pos x="T2" y="T3"/>
                </a:cxn>
                <a:cxn ang="0">
                  <a:pos x="T4" y="T5"/>
                </a:cxn>
                <a:cxn ang="0">
                  <a:pos x="T6" y="T7"/>
                </a:cxn>
                <a:cxn ang="0">
                  <a:pos x="T8" y="T9"/>
                </a:cxn>
              </a:cxnLst>
              <a:rect l="0" t="0" r="r" b="b"/>
              <a:pathLst>
                <a:path w="122" h="253">
                  <a:moveTo>
                    <a:pt x="70" y="0"/>
                  </a:moveTo>
                  <a:cubicBezTo>
                    <a:pt x="70" y="0"/>
                    <a:pt x="62" y="216"/>
                    <a:pt x="122" y="253"/>
                  </a:cubicBezTo>
                  <a:cubicBezTo>
                    <a:pt x="53" y="253"/>
                    <a:pt x="53" y="253"/>
                    <a:pt x="53" y="253"/>
                  </a:cubicBezTo>
                  <a:cubicBezTo>
                    <a:pt x="53" y="253"/>
                    <a:pt x="0" y="179"/>
                    <a:pt x="15" y="0"/>
                  </a:cubicBezTo>
                  <a:cubicBezTo>
                    <a:pt x="70" y="0"/>
                    <a:pt x="70" y="0"/>
                    <a:pt x="7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92">
              <a:extLst>
                <a:ext uri="{FF2B5EF4-FFF2-40B4-BE49-F238E27FC236}">
                  <a16:creationId xmlns:a16="http://schemas.microsoft.com/office/drawing/2014/main" id="{3436B804-1029-45E1-9A01-5157845525E6}"/>
                </a:ext>
              </a:extLst>
            </p:cNvPr>
            <p:cNvSpPr>
              <a:spLocks/>
            </p:cNvSpPr>
            <p:nvPr/>
          </p:nvSpPr>
          <p:spPr bwMode="auto">
            <a:xfrm>
              <a:off x="5007" y="2294"/>
              <a:ext cx="240" cy="530"/>
            </a:xfrm>
            <a:custGeom>
              <a:avLst/>
              <a:gdLst>
                <a:gd name="T0" fmla="*/ 58 w 101"/>
                <a:gd name="T1" fmla="*/ 0 h 223"/>
                <a:gd name="T2" fmla="*/ 1 w 101"/>
                <a:gd name="T3" fmla="*/ 0 h 223"/>
                <a:gd name="T4" fmla="*/ 0 w 101"/>
                <a:gd name="T5" fmla="*/ 38 h 223"/>
                <a:gd name="T6" fmla="*/ 37 w 101"/>
                <a:gd name="T7" fmla="*/ 223 h 223"/>
                <a:gd name="T8" fmla="*/ 101 w 101"/>
                <a:gd name="T9" fmla="*/ 223 h 223"/>
                <a:gd name="T10" fmla="*/ 86 w 101"/>
                <a:gd name="T11" fmla="*/ 200 h 223"/>
                <a:gd name="T12" fmla="*/ 86 w 101"/>
                <a:gd name="T13" fmla="*/ 200 h 223"/>
                <a:gd name="T14" fmla="*/ 84 w 101"/>
                <a:gd name="T15" fmla="*/ 196 h 223"/>
                <a:gd name="T16" fmla="*/ 71 w 101"/>
                <a:gd name="T17" fmla="*/ 155 h 223"/>
                <a:gd name="T18" fmla="*/ 64 w 101"/>
                <a:gd name="T19" fmla="*/ 112 h 223"/>
                <a:gd name="T20" fmla="*/ 58 w 101"/>
                <a:gd name="T21" fmla="*/ 5 h 223"/>
                <a:gd name="T22" fmla="*/ 58 w 101"/>
                <a:gd name="T2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223">
                  <a:moveTo>
                    <a:pt x="58" y="0"/>
                  </a:moveTo>
                  <a:cubicBezTo>
                    <a:pt x="1" y="0"/>
                    <a:pt x="1" y="0"/>
                    <a:pt x="1" y="0"/>
                  </a:cubicBezTo>
                  <a:cubicBezTo>
                    <a:pt x="1" y="13"/>
                    <a:pt x="0" y="26"/>
                    <a:pt x="0" y="38"/>
                  </a:cubicBezTo>
                  <a:cubicBezTo>
                    <a:pt x="0" y="147"/>
                    <a:pt x="26" y="204"/>
                    <a:pt x="37" y="223"/>
                  </a:cubicBezTo>
                  <a:cubicBezTo>
                    <a:pt x="101" y="223"/>
                    <a:pt x="101" y="223"/>
                    <a:pt x="101" y="223"/>
                  </a:cubicBezTo>
                  <a:cubicBezTo>
                    <a:pt x="95" y="217"/>
                    <a:pt x="90" y="209"/>
                    <a:pt x="86" y="200"/>
                  </a:cubicBezTo>
                  <a:cubicBezTo>
                    <a:pt x="86" y="200"/>
                    <a:pt x="86" y="200"/>
                    <a:pt x="86" y="200"/>
                  </a:cubicBezTo>
                  <a:cubicBezTo>
                    <a:pt x="85" y="198"/>
                    <a:pt x="84" y="197"/>
                    <a:pt x="84" y="196"/>
                  </a:cubicBezTo>
                  <a:cubicBezTo>
                    <a:pt x="79" y="184"/>
                    <a:pt x="74" y="170"/>
                    <a:pt x="71" y="155"/>
                  </a:cubicBezTo>
                  <a:cubicBezTo>
                    <a:pt x="68" y="141"/>
                    <a:pt x="66" y="127"/>
                    <a:pt x="64" y="112"/>
                  </a:cubicBezTo>
                  <a:cubicBezTo>
                    <a:pt x="59" y="72"/>
                    <a:pt x="58" y="31"/>
                    <a:pt x="58" y="5"/>
                  </a:cubicBezTo>
                  <a:cubicBezTo>
                    <a:pt x="58" y="3"/>
                    <a:pt x="58" y="1"/>
                    <a:pt x="58" y="0"/>
                  </a:cubicBezTo>
                </a:path>
              </a:pathLst>
            </a:custGeom>
            <a:solidFill>
              <a:srgbClr val="687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3">
              <a:extLst>
                <a:ext uri="{FF2B5EF4-FFF2-40B4-BE49-F238E27FC236}">
                  <a16:creationId xmlns:a16="http://schemas.microsoft.com/office/drawing/2014/main" id="{55094D69-F2DB-4ADE-BFDE-5A0055B6860E}"/>
                </a:ext>
              </a:extLst>
            </p:cNvPr>
            <p:cNvSpPr>
              <a:spLocks/>
            </p:cNvSpPr>
            <p:nvPr/>
          </p:nvSpPr>
          <p:spPr bwMode="auto">
            <a:xfrm>
              <a:off x="5019" y="2824"/>
              <a:ext cx="791" cy="55"/>
            </a:xfrm>
            <a:custGeom>
              <a:avLst/>
              <a:gdLst>
                <a:gd name="T0" fmla="*/ 325 w 333"/>
                <a:gd name="T1" fmla="*/ 0 h 23"/>
                <a:gd name="T2" fmla="*/ 8 w 333"/>
                <a:gd name="T3" fmla="*/ 0 h 23"/>
                <a:gd name="T4" fmla="*/ 0 w 333"/>
                <a:gd name="T5" fmla="*/ 8 h 23"/>
                <a:gd name="T6" fmla="*/ 0 w 333"/>
                <a:gd name="T7" fmla="*/ 15 h 23"/>
                <a:gd name="T8" fmla="*/ 8 w 333"/>
                <a:gd name="T9" fmla="*/ 23 h 23"/>
                <a:gd name="T10" fmla="*/ 325 w 333"/>
                <a:gd name="T11" fmla="*/ 23 h 23"/>
                <a:gd name="T12" fmla="*/ 333 w 333"/>
                <a:gd name="T13" fmla="*/ 15 h 23"/>
                <a:gd name="T14" fmla="*/ 333 w 333"/>
                <a:gd name="T15" fmla="*/ 8 h 23"/>
                <a:gd name="T16" fmla="*/ 325 w 33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23">
                  <a:moveTo>
                    <a:pt x="325" y="0"/>
                  </a:moveTo>
                  <a:cubicBezTo>
                    <a:pt x="8" y="0"/>
                    <a:pt x="8" y="0"/>
                    <a:pt x="8" y="0"/>
                  </a:cubicBezTo>
                  <a:cubicBezTo>
                    <a:pt x="3" y="0"/>
                    <a:pt x="0" y="4"/>
                    <a:pt x="0" y="8"/>
                  </a:cubicBezTo>
                  <a:cubicBezTo>
                    <a:pt x="0" y="15"/>
                    <a:pt x="0" y="15"/>
                    <a:pt x="0" y="15"/>
                  </a:cubicBezTo>
                  <a:cubicBezTo>
                    <a:pt x="0" y="20"/>
                    <a:pt x="3" y="23"/>
                    <a:pt x="8" y="23"/>
                  </a:cubicBezTo>
                  <a:cubicBezTo>
                    <a:pt x="325" y="23"/>
                    <a:pt x="325" y="23"/>
                    <a:pt x="325" y="23"/>
                  </a:cubicBezTo>
                  <a:cubicBezTo>
                    <a:pt x="330" y="23"/>
                    <a:pt x="333" y="20"/>
                    <a:pt x="333" y="15"/>
                  </a:cubicBezTo>
                  <a:cubicBezTo>
                    <a:pt x="333" y="8"/>
                    <a:pt x="333" y="8"/>
                    <a:pt x="333" y="8"/>
                  </a:cubicBezTo>
                  <a:cubicBezTo>
                    <a:pt x="333" y="4"/>
                    <a:pt x="330" y="0"/>
                    <a:pt x="325"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94">
              <a:extLst>
                <a:ext uri="{FF2B5EF4-FFF2-40B4-BE49-F238E27FC236}">
                  <a16:creationId xmlns:a16="http://schemas.microsoft.com/office/drawing/2014/main" id="{E4231351-1366-4B9F-85B5-34B9761F741E}"/>
                </a:ext>
              </a:extLst>
            </p:cNvPr>
            <p:cNvSpPr>
              <a:spLocks/>
            </p:cNvSpPr>
            <p:nvPr/>
          </p:nvSpPr>
          <p:spPr bwMode="auto">
            <a:xfrm>
              <a:off x="5019" y="2824"/>
              <a:ext cx="791" cy="55"/>
            </a:xfrm>
            <a:custGeom>
              <a:avLst/>
              <a:gdLst>
                <a:gd name="T0" fmla="*/ 325 w 333"/>
                <a:gd name="T1" fmla="*/ 0 h 23"/>
                <a:gd name="T2" fmla="*/ 96 w 333"/>
                <a:gd name="T3" fmla="*/ 0 h 23"/>
                <a:gd name="T4" fmla="*/ 32 w 333"/>
                <a:gd name="T5" fmla="*/ 0 h 23"/>
                <a:gd name="T6" fmla="*/ 8 w 333"/>
                <a:gd name="T7" fmla="*/ 0 h 23"/>
                <a:gd name="T8" fmla="*/ 0 w 333"/>
                <a:gd name="T9" fmla="*/ 8 h 23"/>
                <a:gd name="T10" fmla="*/ 0 w 333"/>
                <a:gd name="T11" fmla="*/ 15 h 23"/>
                <a:gd name="T12" fmla="*/ 8 w 333"/>
                <a:gd name="T13" fmla="*/ 23 h 23"/>
                <a:gd name="T14" fmla="*/ 325 w 333"/>
                <a:gd name="T15" fmla="*/ 23 h 23"/>
                <a:gd name="T16" fmla="*/ 333 w 333"/>
                <a:gd name="T17" fmla="*/ 15 h 23"/>
                <a:gd name="T18" fmla="*/ 333 w 333"/>
                <a:gd name="T19" fmla="*/ 8 h 23"/>
                <a:gd name="T20" fmla="*/ 325 w 33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23">
                  <a:moveTo>
                    <a:pt x="325" y="0"/>
                  </a:moveTo>
                  <a:cubicBezTo>
                    <a:pt x="96" y="0"/>
                    <a:pt x="96" y="0"/>
                    <a:pt x="96" y="0"/>
                  </a:cubicBezTo>
                  <a:cubicBezTo>
                    <a:pt x="32" y="0"/>
                    <a:pt x="32" y="0"/>
                    <a:pt x="32" y="0"/>
                  </a:cubicBezTo>
                  <a:cubicBezTo>
                    <a:pt x="8" y="0"/>
                    <a:pt x="8" y="0"/>
                    <a:pt x="8" y="0"/>
                  </a:cubicBezTo>
                  <a:cubicBezTo>
                    <a:pt x="3" y="0"/>
                    <a:pt x="0" y="4"/>
                    <a:pt x="0" y="8"/>
                  </a:cubicBezTo>
                  <a:cubicBezTo>
                    <a:pt x="0" y="15"/>
                    <a:pt x="0" y="15"/>
                    <a:pt x="0" y="15"/>
                  </a:cubicBezTo>
                  <a:cubicBezTo>
                    <a:pt x="0" y="20"/>
                    <a:pt x="3" y="23"/>
                    <a:pt x="8" y="23"/>
                  </a:cubicBezTo>
                  <a:cubicBezTo>
                    <a:pt x="325" y="23"/>
                    <a:pt x="325" y="23"/>
                    <a:pt x="325" y="23"/>
                  </a:cubicBezTo>
                  <a:cubicBezTo>
                    <a:pt x="330" y="23"/>
                    <a:pt x="333" y="20"/>
                    <a:pt x="333" y="15"/>
                  </a:cubicBezTo>
                  <a:cubicBezTo>
                    <a:pt x="333" y="8"/>
                    <a:pt x="333" y="8"/>
                    <a:pt x="333" y="8"/>
                  </a:cubicBezTo>
                  <a:cubicBezTo>
                    <a:pt x="333" y="4"/>
                    <a:pt x="330" y="0"/>
                    <a:pt x="325"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95">
              <a:extLst>
                <a:ext uri="{FF2B5EF4-FFF2-40B4-BE49-F238E27FC236}">
                  <a16:creationId xmlns:a16="http://schemas.microsoft.com/office/drawing/2014/main" id="{3DBB480A-F51B-4E0D-A0E9-78FBA632A642}"/>
                </a:ext>
              </a:extLst>
            </p:cNvPr>
            <p:cNvSpPr>
              <a:spLocks/>
            </p:cNvSpPr>
            <p:nvPr/>
          </p:nvSpPr>
          <p:spPr bwMode="auto">
            <a:xfrm>
              <a:off x="4921" y="2078"/>
              <a:ext cx="304" cy="216"/>
            </a:xfrm>
            <a:custGeom>
              <a:avLst/>
              <a:gdLst>
                <a:gd name="T0" fmla="*/ 33 w 128"/>
                <a:gd name="T1" fmla="*/ 0 h 91"/>
                <a:gd name="T2" fmla="*/ 95 w 128"/>
                <a:gd name="T3" fmla="*/ 0 h 91"/>
                <a:gd name="T4" fmla="*/ 128 w 128"/>
                <a:gd name="T5" fmla="*/ 33 h 91"/>
                <a:gd name="T6" fmla="*/ 128 w 128"/>
                <a:gd name="T7" fmla="*/ 58 h 91"/>
                <a:gd name="T8" fmla="*/ 95 w 128"/>
                <a:gd name="T9" fmla="*/ 91 h 91"/>
                <a:gd name="T10" fmla="*/ 33 w 128"/>
                <a:gd name="T11" fmla="*/ 91 h 91"/>
                <a:gd name="T12" fmla="*/ 0 w 128"/>
                <a:gd name="T13" fmla="*/ 58 h 91"/>
                <a:gd name="T14" fmla="*/ 0 w 128"/>
                <a:gd name="T15" fmla="*/ 33 h 91"/>
                <a:gd name="T16" fmla="*/ 33 w 128"/>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91">
                  <a:moveTo>
                    <a:pt x="33" y="0"/>
                  </a:moveTo>
                  <a:cubicBezTo>
                    <a:pt x="95" y="0"/>
                    <a:pt x="95" y="0"/>
                    <a:pt x="95" y="0"/>
                  </a:cubicBezTo>
                  <a:cubicBezTo>
                    <a:pt x="113" y="0"/>
                    <a:pt x="128" y="15"/>
                    <a:pt x="128" y="33"/>
                  </a:cubicBezTo>
                  <a:cubicBezTo>
                    <a:pt x="128" y="58"/>
                    <a:pt x="128" y="58"/>
                    <a:pt x="128" y="58"/>
                  </a:cubicBezTo>
                  <a:cubicBezTo>
                    <a:pt x="128" y="76"/>
                    <a:pt x="113" y="91"/>
                    <a:pt x="95" y="91"/>
                  </a:cubicBezTo>
                  <a:cubicBezTo>
                    <a:pt x="33" y="91"/>
                    <a:pt x="33" y="91"/>
                    <a:pt x="33" y="91"/>
                  </a:cubicBezTo>
                  <a:cubicBezTo>
                    <a:pt x="15" y="91"/>
                    <a:pt x="0" y="76"/>
                    <a:pt x="0" y="58"/>
                  </a:cubicBezTo>
                  <a:cubicBezTo>
                    <a:pt x="0" y="33"/>
                    <a:pt x="0" y="33"/>
                    <a:pt x="0" y="33"/>
                  </a:cubicBezTo>
                  <a:cubicBezTo>
                    <a:pt x="0" y="15"/>
                    <a:pt x="15" y="0"/>
                    <a:pt x="3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96">
              <a:extLst>
                <a:ext uri="{FF2B5EF4-FFF2-40B4-BE49-F238E27FC236}">
                  <a16:creationId xmlns:a16="http://schemas.microsoft.com/office/drawing/2014/main" id="{71319D25-03ED-49A2-922D-75182DFA22E6}"/>
                </a:ext>
              </a:extLst>
            </p:cNvPr>
            <p:cNvSpPr>
              <a:spLocks/>
            </p:cNvSpPr>
            <p:nvPr/>
          </p:nvSpPr>
          <p:spPr bwMode="auto">
            <a:xfrm>
              <a:off x="4921" y="2078"/>
              <a:ext cx="304" cy="216"/>
            </a:xfrm>
            <a:custGeom>
              <a:avLst/>
              <a:gdLst>
                <a:gd name="T0" fmla="*/ 95 w 128"/>
                <a:gd name="T1" fmla="*/ 0 h 91"/>
                <a:gd name="T2" fmla="*/ 33 w 128"/>
                <a:gd name="T3" fmla="*/ 0 h 91"/>
                <a:gd name="T4" fmla="*/ 0 w 128"/>
                <a:gd name="T5" fmla="*/ 33 h 91"/>
                <a:gd name="T6" fmla="*/ 0 w 128"/>
                <a:gd name="T7" fmla="*/ 58 h 91"/>
                <a:gd name="T8" fmla="*/ 33 w 128"/>
                <a:gd name="T9" fmla="*/ 91 h 91"/>
                <a:gd name="T10" fmla="*/ 95 w 128"/>
                <a:gd name="T11" fmla="*/ 91 h 91"/>
                <a:gd name="T12" fmla="*/ 128 w 128"/>
                <a:gd name="T13" fmla="*/ 58 h 91"/>
                <a:gd name="T14" fmla="*/ 128 w 128"/>
                <a:gd name="T15" fmla="*/ 33 h 91"/>
                <a:gd name="T16" fmla="*/ 95 w 128"/>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91">
                  <a:moveTo>
                    <a:pt x="95" y="0"/>
                  </a:moveTo>
                  <a:cubicBezTo>
                    <a:pt x="33" y="0"/>
                    <a:pt x="33" y="0"/>
                    <a:pt x="33" y="0"/>
                  </a:cubicBezTo>
                  <a:cubicBezTo>
                    <a:pt x="15" y="0"/>
                    <a:pt x="0" y="15"/>
                    <a:pt x="0" y="33"/>
                  </a:cubicBezTo>
                  <a:cubicBezTo>
                    <a:pt x="0" y="58"/>
                    <a:pt x="0" y="58"/>
                    <a:pt x="0" y="58"/>
                  </a:cubicBezTo>
                  <a:cubicBezTo>
                    <a:pt x="0" y="76"/>
                    <a:pt x="15" y="91"/>
                    <a:pt x="33" y="91"/>
                  </a:cubicBezTo>
                  <a:cubicBezTo>
                    <a:pt x="95" y="91"/>
                    <a:pt x="95" y="91"/>
                    <a:pt x="95" y="91"/>
                  </a:cubicBezTo>
                  <a:cubicBezTo>
                    <a:pt x="113" y="91"/>
                    <a:pt x="128" y="76"/>
                    <a:pt x="128" y="58"/>
                  </a:cubicBezTo>
                  <a:cubicBezTo>
                    <a:pt x="128" y="33"/>
                    <a:pt x="128" y="33"/>
                    <a:pt x="128" y="33"/>
                  </a:cubicBezTo>
                  <a:cubicBezTo>
                    <a:pt x="128" y="15"/>
                    <a:pt x="113" y="0"/>
                    <a:pt x="95" y="0"/>
                  </a:cubicBezTo>
                </a:path>
              </a:pathLst>
            </a:custGeom>
            <a:solidFill>
              <a:srgbClr val="515B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6" name="TextBox 365">
            <a:extLst>
              <a:ext uri="{FF2B5EF4-FFF2-40B4-BE49-F238E27FC236}">
                <a16:creationId xmlns:a16="http://schemas.microsoft.com/office/drawing/2014/main" id="{0BBBB9B4-8325-4EE3-AC65-D79FADC9192C}"/>
              </a:ext>
            </a:extLst>
          </p:cNvPr>
          <p:cNvSpPr txBox="1"/>
          <p:nvPr/>
        </p:nvSpPr>
        <p:spPr>
          <a:xfrm>
            <a:off x="270110" y="1843933"/>
            <a:ext cx="5716448" cy="1354217"/>
          </a:xfrm>
          <a:prstGeom prst="rect">
            <a:avLst/>
          </a:prstGeom>
          <a:noFill/>
        </p:spPr>
        <p:txBody>
          <a:bodyPr wrap="square" lIns="0" tIns="0" rIns="0" bIns="0" rtlCol="0" anchor="b" anchorCtr="0">
            <a:spAutoFit/>
          </a:bodyPr>
          <a:lstStyle/>
          <a:p>
            <a:r>
              <a:rPr lang="en-US" sz="4400" b="1" dirty="0">
                <a:solidFill>
                  <a:srgbClr val="FB5252"/>
                </a:solidFill>
                <a:latin typeface="Arial Black" panose="020B0A04020102020204" pitchFamily="34" charset="0"/>
              </a:rPr>
              <a:t>Language L</a:t>
            </a:r>
            <a:r>
              <a:rPr lang="en-US" altLang="zh-CN" sz="4400" b="1" dirty="0">
                <a:solidFill>
                  <a:srgbClr val="FB5252"/>
                </a:solidFill>
                <a:latin typeface="Arial Black" panose="020B0A04020102020204" pitchFamily="34" charset="0"/>
              </a:rPr>
              <a:t>esson</a:t>
            </a:r>
          </a:p>
          <a:p>
            <a:r>
              <a:rPr lang="en-US" sz="4400" b="1" dirty="0">
                <a:solidFill>
                  <a:srgbClr val="FB5252"/>
                </a:solidFill>
                <a:latin typeface="Arial Black" panose="020B0A04020102020204" pitchFamily="34" charset="0"/>
              </a:rPr>
              <a:t>PPT Template</a:t>
            </a:r>
            <a:endParaRPr lang="en-US" sz="2800" b="1" dirty="0">
              <a:solidFill>
                <a:srgbClr val="FB5252"/>
              </a:solidFill>
              <a:latin typeface="Arial Black" panose="020B0A04020102020204" pitchFamily="34" charset="0"/>
            </a:endParaRPr>
          </a:p>
        </p:txBody>
      </p:sp>
      <p:sp>
        <p:nvSpPr>
          <p:cNvPr id="367" name="Rectangle 366">
            <a:extLst>
              <a:ext uri="{FF2B5EF4-FFF2-40B4-BE49-F238E27FC236}">
                <a16:creationId xmlns:a16="http://schemas.microsoft.com/office/drawing/2014/main" id="{83310872-4571-4068-8EAB-110C4F7C1648}"/>
              </a:ext>
            </a:extLst>
          </p:cNvPr>
          <p:cNvSpPr/>
          <p:nvPr/>
        </p:nvSpPr>
        <p:spPr>
          <a:xfrm>
            <a:off x="432254" y="3642939"/>
            <a:ext cx="4677921" cy="276999"/>
          </a:xfrm>
          <a:prstGeom prst="rect">
            <a:avLst/>
          </a:prstGeom>
        </p:spPr>
        <p:txBody>
          <a:bodyPr wrap="square" lIns="0" tIns="0" rIns="0" bIns="0">
            <a:spAutoFit/>
          </a:bodyPr>
          <a:lstStyle/>
          <a:p>
            <a:r>
              <a:rPr lang="en-US" i="1" dirty="0">
                <a:solidFill>
                  <a:schemeClr val="tx1">
                    <a:lumMod val="85000"/>
                    <a:lumOff val="15000"/>
                  </a:schemeClr>
                </a:solidFill>
              </a:rPr>
              <a:t>Here is where your presentation begins</a:t>
            </a:r>
          </a:p>
        </p:txBody>
      </p:sp>
    </p:spTree>
    <p:extLst>
      <p:ext uri="{BB962C8B-B14F-4D97-AF65-F5344CB8AC3E}">
        <p14:creationId xmlns:p14="http://schemas.microsoft.com/office/powerpoint/2010/main" val="1600110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E6059-A645-445E-A913-CC238F101F20}"/>
              </a:ext>
            </a:extLst>
          </p:cNvPr>
          <p:cNvGraphicFramePr>
            <a:graphicFrameLocks noChangeAspect="1"/>
          </p:cNvGraphicFramePr>
          <p:nvPr>
            <p:custDataLst>
              <p:tags r:id="rId2"/>
            </p:custDataLst>
            <p:extLst>
              <p:ext uri="{D42A27DB-BD31-4B8C-83A1-F6EECF244321}">
                <p14:modId xmlns:p14="http://schemas.microsoft.com/office/powerpoint/2010/main" val="362491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90"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5" name="Freeform: Shape 234">
            <a:extLst>
              <a:ext uri="{FF2B5EF4-FFF2-40B4-BE49-F238E27FC236}">
                <a16:creationId xmlns:a16="http://schemas.microsoft.com/office/drawing/2014/main" id="{402CEC89-B340-47B0-A5EA-775AA5780040}"/>
              </a:ext>
            </a:extLst>
          </p:cNvPr>
          <p:cNvSpPr/>
          <p:nvPr/>
        </p:nvSpPr>
        <p:spPr>
          <a:xfrm>
            <a:off x="0" y="2875492"/>
            <a:ext cx="12192000" cy="3982508"/>
          </a:xfrm>
          <a:custGeom>
            <a:avLst/>
            <a:gdLst>
              <a:gd name="connsiteX0" fmla="*/ 0 w 12192000"/>
              <a:gd name="connsiteY0" fmla="*/ 0 h 3982508"/>
              <a:gd name="connsiteX1" fmla="*/ 146561 w 12192000"/>
              <a:gd name="connsiteY1" fmla="*/ 54451 h 3982508"/>
              <a:gd name="connsiteX2" fmla="*/ 5080000 w 12192000"/>
              <a:gd name="connsiteY2" fmla="*/ 2219023 h 3982508"/>
              <a:gd name="connsiteX3" fmla="*/ 7460343 w 12192000"/>
              <a:gd name="connsiteY3" fmla="*/ 2770566 h 3982508"/>
              <a:gd name="connsiteX4" fmla="*/ 12157259 w 12192000"/>
              <a:gd name="connsiteY4" fmla="*/ 1775204 h 3982508"/>
              <a:gd name="connsiteX5" fmla="*/ 12192000 w 12192000"/>
              <a:gd name="connsiteY5" fmla="*/ 1774836 h 3982508"/>
              <a:gd name="connsiteX6" fmla="*/ 12192000 w 12192000"/>
              <a:gd name="connsiteY6" fmla="*/ 3982508 h 3982508"/>
              <a:gd name="connsiteX7" fmla="*/ 0 w 12192000"/>
              <a:gd name="connsiteY7" fmla="*/ 3982508 h 398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982508">
                <a:moveTo>
                  <a:pt x="0" y="0"/>
                </a:moveTo>
                <a:lnTo>
                  <a:pt x="146561" y="54451"/>
                </a:lnTo>
                <a:cubicBezTo>
                  <a:pt x="1210611" y="470080"/>
                  <a:pt x="3907518" y="1783595"/>
                  <a:pt x="5080000" y="2219023"/>
                </a:cubicBezTo>
                <a:cubicBezTo>
                  <a:pt x="6330648" y="2683480"/>
                  <a:pt x="6212117" y="2840718"/>
                  <a:pt x="7460343" y="2770566"/>
                </a:cubicBezTo>
                <a:cubicBezTo>
                  <a:pt x="8552543" y="2709183"/>
                  <a:pt x="10994911" y="1845848"/>
                  <a:pt x="12157259" y="1775204"/>
                </a:cubicBezTo>
                <a:lnTo>
                  <a:pt x="12192000" y="1774836"/>
                </a:lnTo>
                <a:lnTo>
                  <a:pt x="12192000" y="3982508"/>
                </a:lnTo>
                <a:lnTo>
                  <a:pt x="0" y="3982508"/>
                </a:lnTo>
                <a:close/>
              </a:path>
            </a:pathLst>
          </a:custGeom>
          <a:gradFill>
            <a:gsLst>
              <a:gs pos="100000">
                <a:srgbClr val="006496"/>
              </a:gs>
              <a:gs pos="49000">
                <a:srgbClr val="0077B5"/>
              </a:gs>
            </a:gsLst>
            <a:lin ang="5400000" scaled="1"/>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1" name="Group 5">
            <a:extLst>
              <a:ext uri="{FF2B5EF4-FFF2-40B4-BE49-F238E27FC236}">
                <a16:creationId xmlns:a16="http://schemas.microsoft.com/office/drawing/2014/main" id="{6E3E6205-D639-420F-A2FC-DC88AF234EF1}"/>
              </a:ext>
            </a:extLst>
          </p:cNvPr>
          <p:cNvGrpSpPr>
            <a:grpSpLocks noChangeAspect="1"/>
          </p:cNvGrpSpPr>
          <p:nvPr/>
        </p:nvGrpSpPr>
        <p:grpSpPr bwMode="auto">
          <a:xfrm>
            <a:off x="1758950" y="2776538"/>
            <a:ext cx="8664575" cy="3700462"/>
            <a:chOff x="1108" y="1749"/>
            <a:chExt cx="5458" cy="2331"/>
          </a:xfrm>
        </p:grpSpPr>
        <p:grpSp>
          <p:nvGrpSpPr>
            <p:cNvPr id="13" name="Group 206">
              <a:extLst>
                <a:ext uri="{FF2B5EF4-FFF2-40B4-BE49-F238E27FC236}">
                  <a16:creationId xmlns:a16="http://schemas.microsoft.com/office/drawing/2014/main" id="{1FAD92FE-E429-4246-A28C-4DC64BEBEB3D}"/>
                </a:ext>
              </a:extLst>
            </p:cNvPr>
            <p:cNvGrpSpPr>
              <a:grpSpLocks/>
            </p:cNvGrpSpPr>
            <p:nvPr/>
          </p:nvGrpSpPr>
          <p:grpSpPr bwMode="auto">
            <a:xfrm>
              <a:off x="1108" y="1749"/>
              <a:ext cx="5458" cy="2331"/>
              <a:chOff x="1108" y="1749"/>
              <a:chExt cx="5458" cy="2331"/>
            </a:xfrm>
          </p:grpSpPr>
          <p:sp>
            <p:nvSpPr>
              <p:cNvPr id="27" name="Freeform 6">
                <a:extLst>
                  <a:ext uri="{FF2B5EF4-FFF2-40B4-BE49-F238E27FC236}">
                    <a16:creationId xmlns:a16="http://schemas.microsoft.com/office/drawing/2014/main" id="{96F7C97D-023D-401D-9175-99960BF7A482}"/>
                  </a:ext>
                </a:extLst>
              </p:cNvPr>
              <p:cNvSpPr>
                <a:spLocks/>
              </p:cNvSpPr>
              <p:nvPr/>
            </p:nvSpPr>
            <p:spPr bwMode="auto">
              <a:xfrm>
                <a:off x="4640" y="3000"/>
                <a:ext cx="104" cy="112"/>
              </a:xfrm>
              <a:custGeom>
                <a:avLst/>
                <a:gdLst>
                  <a:gd name="T0" fmla="*/ 0 w 53"/>
                  <a:gd name="T1" fmla="*/ 26 h 57"/>
                  <a:gd name="T2" fmla="*/ 51 w 53"/>
                  <a:gd name="T3" fmla="*/ 42 h 57"/>
                  <a:gd name="T4" fmla="*/ 0 w 53"/>
                  <a:gd name="T5" fmla="*/ 26 h 57"/>
                </a:gdLst>
                <a:ahLst/>
                <a:cxnLst>
                  <a:cxn ang="0">
                    <a:pos x="T0" y="T1"/>
                  </a:cxn>
                  <a:cxn ang="0">
                    <a:pos x="T2" y="T3"/>
                  </a:cxn>
                  <a:cxn ang="0">
                    <a:pos x="T4" y="T5"/>
                  </a:cxn>
                </a:cxnLst>
                <a:rect l="0" t="0" r="r" b="b"/>
                <a:pathLst>
                  <a:path w="53" h="57">
                    <a:moveTo>
                      <a:pt x="0" y="26"/>
                    </a:moveTo>
                    <a:cubicBezTo>
                      <a:pt x="0" y="37"/>
                      <a:pt x="49" y="57"/>
                      <a:pt x="51" y="42"/>
                    </a:cubicBezTo>
                    <a:cubicBezTo>
                      <a:pt x="53" y="27"/>
                      <a:pt x="2" y="0"/>
                      <a:pt x="0" y="26"/>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a:extLst>
                  <a:ext uri="{FF2B5EF4-FFF2-40B4-BE49-F238E27FC236}">
                    <a16:creationId xmlns:a16="http://schemas.microsoft.com/office/drawing/2014/main" id="{53EFCCD0-B58F-4DC0-95DE-DBD303559D3D}"/>
                  </a:ext>
                </a:extLst>
              </p:cNvPr>
              <p:cNvSpPr>
                <a:spLocks/>
              </p:cNvSpPr>
              <p:nvPr/>
            </p:nvSpPr>
            <p:spPr bwMode="auto">
              <a:xfrm>
                <a:off x="4621" y="3004"/>
                <a:ext cx="115" cy="228"/>
              </a:xfrm>
              <a:custGeom>
                <a:avLst/>
                <a:gdLst>
                  <a:gd name="T0" fmla="*/ 53 w 59"/>
                  <a:gd name="T1" fmla="*/ 33 h 116"/>
                  <a:gd name="T2" fmla="*/ 56 w 59"/>
                  <a:gd name="T3" fmla="*/ 78 h 116"/>
                  <a:gd name="T4" fmla="*/ 56 w 59"/>
                  <a:gd name="T5" fmla="*/ 78 h 116"/>
                  <a:gd name="T6" fmla="*/ 43 w 59"/>
                  <a:gd name="T7" fmla="*/ 93 h 116"/>
                  <a:gd name="T8" fmla="*/ 33 w 59"/>
                  <a:gd name="T9" fmla="*/ 101 h 116"/>
                  <a:gd name="T10" fmla="*/ 20 w 59"/>
                  <a:gd name="T11" fmla="*/ 105 h 116"/>
                  <a:gd name="T12" fmla="*/ 5 w 59"/>
                  <a:gd name="T13" fmla="*/ 110 h 116"/>
                  <a:gd name="T14" fmla="*/ 13 w 59"/>
                  <a:gd name="T15" fmla="*/ 97 h 116"/>
                  <a:gd name="T16" fmla="*/ 20 w 59"/>
                  <a:gd name="T17" fmla="*/ 80 h 116"/>
                  <a:gd name="T18" fmla="*/ 12 w 59"/>
                  <a:gd name="T19" fmla="*/ 59 h 116"/>
                  <a:gd name="T20" fmla="*/ 7 w 59"/>
                  <a:gd name="T21" fmla="*/ 75 h 116"/>
                  <a:gd name="T22" fmla="*/ 0 w 59"/>
                  <a:gd name="T23" fmla="*/ 79 h 116"/>
                  <a:gd name="T24" fmla="*/ 0 w 59"/>
                  <a:gd name="T25" fmla="*/ 66 h 116"/>
                  <a:gd name="T26" fmla="*/ 3 w 59"/>
                  <a:gd name="T27" fmla="*/ 43 h 116"/>
                  <a:gd name="T28" fmla="*/ 17 w 59"/>
                  <a:gd name="T29" fmla="*/ 27 h 116"/>
                  <a:gd name="T30" fmla="*/ 23 w 59"/>
                  <a:gd name="T31" fmla="*/ 0 h 116"/>
                  <a:gd name="T32" fmla="*/ 59 w 59"/>
                  <a:gd name="T33" fmla="*/ 3 h 116"/>
                  <a:gd name="T34" fmla="*/ 53 w 59"/>
                  <a:gd name="T35"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16">
                    <a:moveTo>
                      <a:pt x="53" y="33"/>
                    </a:moveTo>
                    <a:cubicBezTo>
                      <a:pt x="53" y="38"/>
                      <a:pt x="58" y="72"/>
                      <a:pt x="56" y="78"/>
                    </a:cubicBezTo>
                    <a:cubicBezTo>
                      <a:pt x="56" y="78"/>
                      <a:pt x="56" y="78"/>
                      <a:pt x="56" y="78"/>
                    </a:cubicBezTo>
                    <a:cubicBezTo>
                      <a:pt x="53" y="84"/>
                      <a:pt x="46" y="90"/>
                      <a:pt x="43" y="93"/>
                    </a:cubicBezTo>
                    <a:cubicBezTo>
                      <a:pt x="41" y="97"/>
                      <a:pt x="37" y="98"/>
                      <a:pt x="33" y="101"/>
                    </a:cubicBezTo>
                    <a:cubicBezTo>
                      <a:pt x="29" y="105"/>
                      <a:pt x="20" y="105"/>
                      <a:pt x="20" y="105"/>
                    </a:cubicBezTo>
                    <a:cubicBezTo>
                      <a:pt x="20" y="105"/>
                      <a:pt x="6" y="116"/>
                      <a:pt x="5" y="110"/>
                    </a:cubicBezTo>
                    <a:cubicBezTo>
                      <a:pt x="5" y="103"/>
                      <a:pt x="13" y="97"/>
                      <a:pt x="13" y="97"/>
                    </a:cubicBezTo>
                    <a:cubicBezTo>
                      <a:pt x="20" y="80"/>
                      <a:pt x="20" y="80"/>
                      <a:pt x="20" y="80"/>
                    </a:cubicBezTo>
                    <a:cubicBezTo>
                      <a:pt x="20" y="80"/>
                      <a:pt x="16" y="59"/>
                      <a:pt x="12" y="59"/>
                    </a:cubicBezTo>
                    <a:cubicBezTo>
                      <a:pt x="8" y="59"/>
                      <a:pt x="9" y="68"/>
                      <a:pt x="7" y="75"/>
                    </a:cubicBezTo>
                    <a:cubicBezTo>
                      <a:pt x="6" y="79"/>
                      <a:pt x="0" y="79"/>
                      <a:pt x="0" y="79"/>
                    </a:cubicBezTo>
                    <a:cubicBezTo>
                      <a:pt x="0" y="66"/>
                      <a:pt x="0" y="66"/>
                      <a:pt x="0" y="66"/>
                    </a:cubicBezTo>
                    <a:cubicBezTo>
                      <a:pt x="0" y="66"/>
                      <a:pt x="1" y="47"/>
                      <a:pt x="3" y="43"/>
                    </a:cubicBezTo>
                    <a:cubicBezTo>
                      <a:pt x="5" y="40"/>
                      <a:pt x="17" y="27"/>
                      <a:pt x="17" y="27"/>
                    </a:cubicBezTo>
                    <a:cubicBezTo>
                      <a:pt x="23" y="0"/>
                      <a:pt x="23" y="0"/>
                      <a:pt x="23" y="0"/>
                    </a:cubicBezTo>
                    <a:cubicBezTo>
                      <a:pt x="59" y="3"/>
                      <a:pt x="59" y="3"/>
                      <a:pt x="59" y="3"/>
                    </a:cubicBezTo>
                    <a:cubicBezTo>
                      <a:pt x="59" y="3"/>
                      <a:pt x="52" y="29"/>
                      <a:pt x="53" y="3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8">
                <a:extLst>
                  <a:ext uri="{FF2B5EF4-FFF2-40B4-BE49-F238E27FC236}">
                    <a16:creationId xmlns:a16="http://schemas.microsoft.com/office/drawing/2014/main" id="{44FC1F03-50F8-4E29-9032-37E117C59E40}"/>
                  </a:ext>
                </a:extLst>
              </p:cNvPr>
              <p:cNvSpPr>
                <a:spLocks/>
              </p:cNvSpPr>
              <p:nvPr/>
            </p:nvSpPr>
            <p:spPr bwMode="auto">
              <a:xfrm>
                <a:off x="4660" y="3157"/>
                <a:ext cx="70" cy="53"/>
              </a:xfrm>
              <a:custGeom>
                <a:avLst/>
                <a:gdLst>
                  <a:gd name="T0" fmla="*/ 36 w 36"/>
                  <a:gd name="T1" fmla="*/ 0 h 27"/>
                  <a:gd name="T2" fmla="*/ 23 w 36"/>
                  <a:gd name="T3" fmla="*/ 15 h 27"/>
                  <a:gd name="T4" fmla="*/ 13 w 36"/>
                  <a:gd name="T5" fmla="*/ 23 h 27"/>
                  <a:gd name="T6" fmla="*/ 0 w 36"/>
                  <a:gd name="T7" fmla="*/ 27 h 27"/>
                  <a:gd name="T8" fmla="*/ 11 w 36"/>
                  <a:gd name="T9" fmla="*/ 8 h 27"/>
                  <a:gd name="T10" fmla="*/ 17 w 36"/>
                  <a:gd name="T11" fmla="*/ 9 h 27"/>
                  <a:gd name="T12" fmla="*/ 23 w 36"/>
                  <a:gd name="T13" fmla="*/ 5 h 27"/>
                  <a:gd name="T14" fmla="*/ 31 w 36"/>
                  <a:gd name="T15" fmla="*/ 2 h 27"/>
                  <a:gd name="T16" fmla="*/ 36 w 36"/>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6" y="0"/>
                    </a:moveTo>
                    <a:cubicBezTo>
                      <a:pt x="33" y="6"/>
                      <a:pt x="26" y="12"/>
                      <a:pt x="23" y="15"/>
                    </a:cubicBezTo>
                    <a:cubicBezTo>
                      <a:pt x="21" y="19"/>
                      <a:pt x="17" y="20"/>
                      <a:pt x="13" y="23"/>
                    </a:cubicBezTo>
                    <a:cubicBezTo>
                      <a:pt x="9" y="27"/>
                      <a:pt x="0" y="27"/>
                      <a:pt x="0" y="27"/>
                    </a:cubicBezTo>
                    <a:cubicBezTo>
                      <a:pt x="4" y="24"/>
                      <a:pt x="10" y="9"/>
                      <a:pt x="11" y="8"/>
                    </a:cubicBezTo>
                    <a:cubicBezTo>
                      <a:pt x="13" y="7"/>
                      <a:pt x="14" y="9"/>
                      <a:pt x="17" y="9"/>
                    </a:cubicBezTo>
                    <a:cubicBezTo>
                      <a:pt x="19" y="9"/>
                      <a:pt x="21" y="4"/>
                      <a:pt x="23" y="5"/>
                    </a:cubicBezTo>
                    <a:cubicBezTo>
                      <a:pt x="26" y="6"/>
                      <a:pt x="29" y="6"/>
                      <a:pt x="31" y="2"/>
                    </a:cubicBezTo>
                    <a:cubicBezTo>
                      <a:pt x="32" y="1"/>
                      <a:pt x="34" y="0"/>
                      <a:pt x="36"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9">
                <a:extLst>
                  <a:ext uri="{FF2B5EF4-FFF2-40B4-BE49-F238E27FC236}">
                    <a16:creationId xmlns:a16="http://schemas.microsoft.com/office/drawing/2014/main" id="{27C6676A-ABBA-4A42-89D1-E06F5233BF12}"/>
                  </a:ext>
                </a:extLst>
              </p:cNvPr>
              <p:cNvSpPr>
                <a:spLocks/>
              </p:cNvSpPr>
              <p:nvPr/>
            </p:nvSpPr>
            <p:spPr bwMode="auto">
              <a:xfrm>
                <a:off x="3775" y="2360"/>
                <a:ext cx="108" cy="141"/>
              </a:xfrm>
              <a:custGeom>
                <a:avLst/>
                <a:gdLst>
                  <a:gd name="T0" fmla="*/ 44 w 55"/>
                  <a:gd name="T1" fmla="*/ 10 h 72"/>
                  <a:gd name="T2" fmla="*/ 14 w 55"/>
                  <a:gd name="T3" fmla="*/ 57 h 72"/>
                  <a:gd name="T4" fmla="*/ 55 w 55"/>
                  <a:gd name="T5" fmla="*/ 42 h 72"/>
                  <a:gd name="T6" fmla="*/ 44 w 55"/>
                  <a:gd name="T7" fmla="*/ 10 h 72"/>
                </a:gdLst>
                <a:ahLst/>
                <a:cxnLst>
                  <a:cxn ang="0">
                    <a:pos x="T0" y="T1"/>
                  </a:cxn>
                  <a:cxn ang="0">
                    <a:pos x="T2" y="T3"/>
                  </a:cxn>
                  <a:cxn ang="0">
                    <a:pos x="T4" y="T5"/>
                  </a:cxn>
                  <a:cxn ang="0">
                    <a:pos x="T6" y="T7"/>
                  </a:cxn>
                </a:cxnLst>
                <a:rect l="0" t="0" r="r" b="b"/>
                <a:pathLst>
                  <a:path w="55" h="72">
                    <a:moveTo>
                      <a:pt x="44" y="10"/>
                    </a:moveTo>
                    <a:cubicBezTo>
                      <a:pt x="35" y="0"/>
                      <a:pt x="0" y="42"/>
                      <a:pt x="14" y="57"/>
                    </a:cubicBezTo>
                    <a:cubicBezTo>
                      <a:pt x="28" y="72"/>
                      <a:pt x="55" y="42"/>
                      <a:pt x="55" y="42"/>
                    </a:cubicBezTo>
                    <a:cubicBezTo>
                      <a:pt x="55" y="42"/>
                      <a:pt x="53" y="20"/>
                      <a:pt x="44" y="10"/>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0">
                <a:extLst>
                  <a:ext uri="{FF2B5EF4-FFF2-40B4-BE49-F238E27FC236}">
                    <a16:creationId xmlns:a16="http://schemas.microsoft.com/office/drawing/2014/main" id="{24916293-04A3-40DE-B6F6-DBAEB714B73C}"/>
                  </a:ext>
                </a:extLst>
              </p:cNvPr>
              <p:cNvSpPr>
                <a:spLocks/>
              </p:cNvSpPr>
              <p:nvPr/>
            </p:nvSpPr>
            <p:spPr bwMode="auto">
              <a:xfrm>
                <a:off x="3697" y="2262"/>
                <a:ext cx="176" cy="190"/>
              </a:xfrm>
              <a:custGeom>
                <a:avLst/>
                <a:gdLst>
                  <a:gd name="T0" fmla="*/ 18 w 90"/>
                  <a:gd name="T1" fmla="*/ 59 h 97"/>
                  <a:gd name="T2" fmla="*/ 36 w 90"/>
                  <a:gd name="T3" fmla="*/ 66 h 97"/>
                  <a:gd name="T4" fmla="*/ 57 w 90"/>
                  <a:gd name="T5" fmla="*/ 79 h 97"/>
                  <a:gd name="T6" fmla="*/ 74 w 90"/>
                  <a:gd name="T7" fmla="*/ 97 h 97"/>
                  <a:gd name="T8" fmla="*/ 90 w 90"/>
                  <a:gd name="T9" fmla="*/ 68 h 97"/>
                  <a:gd name="T10" fmla="*/ 82 w 90"/>
                  <a:gd name="T11" fmla="*/ 59 h 97"/>
                  <a:gd name="T12" fmla="*/ 80 w 90"/>
                  <a:gd name="T13" fmla="*/ 35 h 97"/>
                  <a:gd name="T14" fmla="*/ 74 w 90"/>
                  <a:gd name="T15" fmla="*/ 9 h 97"/>
                  <a:gd name="T16" fmla="*/ 67 w 90"/>
                  <a:gd name="T17" fmla="*/ 13 h 97"/>
                  <a:gd name="T18" fmla="*/ 68 w 90"/>
                  <a:gd name="T19" fmla="*/ 29 h 97"/>
                  <a:gd name="T20" fmla="*/ 67 w 90"/>
                  <a:gd name="T21" fmla="*/ 31 h 97"/>
                  <a:gd name="T22" fmla="*/ 67 w 90"/>
                  <a:gd name="T23" fmla="*/ 31 h 97"/>
                  <a:gd name="T24" fmla="*/ 62 w 90"/>
                  <a:gd name="T25" fmla="*/ 33 h 97"/>
                  <a:gd name="T26" fmla="*/ 62 w 90"/>
                  <a:gd name="T27" fmla="*/ 33 h 97"/>
                  <a:gd name="T28" fmla="*/ 40 w 90"/>
                  <a:gd name="T29" fmla="*/ 17 h 97"/>
                  <a:gd name="T30" fmla="*/ 22 w 90"/>
                  <a:gd name="T31" fmla="*/ 5 h 97"/>
                  <a:gd name="T32" fmla="*/ 37 w 90"/>
                  <a:gd name="T33" fmla="*/ 30 h 97"/>
                  <a:gd name="T34" fmla="*/ 36 w 90"/>
                  <a:gd name="T35" fmla="*/ 31 h 97"/>
                  <a:gd name="T36" fmla="*/ 15 w 90"/>
                  <a:gd name="T37" fmla="*/ 15 h 97"/>
                  <a:gd name="T38" fmla="*/ 7 w 90"/>
                  <a:gd name="T39" fmla="*/ 19 h 97"/>
                  <a:gd name="T40" fmla="*/ 20 w 90"/>
                  <a:gd name="T41" fmla="*/ 32 h 97"/>
                  <a:gd name="T42" fmla="*/ 28 w 90"/>
                  <a:gd name="T43" fmla="*/ 40 h 97"/>
                  <a:gd name="T44" fmla="*/ 27 w 90"/>
                  <a:gd name="T45" fmla="*/ 42 h 97"/>
                  <a:gd name="T46" fmla="*/ 4 w 90"/>
                  <a:gd name="T47" fmla="*/ 33 h 97"/>
                  <a:gd name="T48" fmla="*/ 16 w 90"/>
                  <a:gd name="T49" fmla="*/ 47 h 97"/>
                  <a:gd name="T50" fmla="*/ 25 w 90"/>
                  <a:gd name="T51" fmla="*/ 53 h 97"/>
                  <a:gd name="T52" fmla="*/ 6 w 90"/>
                  <a:gd name="T53" fmla="*/ 49 h 97"/>
                  <a:gd name="T54" fmla="*/ 18 w 90"/>
                  <a:gd name="T55"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7">
                    <a:moveTo>
                      <a:pt x="18" y="59"/>
                    </a:moveTo>
                    <a:cubicBezTo>
                      <a:pt x="23" y="59"/>
                      <a:pt x="36" y="66"/>
                      <a:pt x="36" y="66"/>
                    </a:cubicBezTo>
                    <a:cubicBezTo>
                      <a:pt x="45" y="74"/>
                      <a:pt x="51" y="78"/>
                      <a:pt x="57" y="79"/>
                    </a:cubicBezTo>
                    <a:cubicBezTo>
                      <a:pt x="64" y="81"/>
                      <a:pt x="74" y="97"/>
                      <a:pt x="74" y="97"/>
                    </a:cubicBezTo>
                    <a:cubicBezTo>
                      <a:pt x="74" y="97"/>
                      <a:pt x="87" y="85"/>
                      <a:pt x="90" y="68"/>
                    </a:cubicBezTo>
                    <a:cubicBezTo>
                      <a:pt x="90" y="68"/>
                      <a:pt x="83" y="62"/>
                      <a:pt x="82" y="59"/>
                    </a:cubicBezTo>
                    <a:cubicBezTo>
                      <a:pt x="80" y="53"/>
                      <a:pt x="85" y="45"/>
                      <a:pt x="80" y="35"/>
                    </a:cubicBezTo>
                    <a:cubicBezTo>
                      <a:pt x="75" y="25"/>
                      <a:pt x="74" y="9"/>
                      <a:pt x="74" y="9"/>
                    </a:cubicBezTo>
                    <a:cubicBezTo>
                      <a:pt x="74" y="9"/>
                      <a:pt x="68" y="7"/>
                      <a:pt x="67" y="13"/>
                    </a:cubicBezTo>
                    <a:cubicBezTo>
                      <a:pt x="66" y="18"/>
                      <a:pt x="69" y="27"/>
                      <a:pt x="68" y="29"/>
                    </a:cubicBezTo>
                    <a:cubicBezTo>
                      <a:pt x="68" y="30"/>
                      <a:pt x="67" y="30"/>
                      <a:pt x="67" y="31"/>
                    </a:cubicBezTo>
                    <a:cubicBezTo>
                      <a:pt x="67" y="31"/>
                      <a:pt x="67" y="31"/>
                      <a:pt x="67" y="31"/>
                    </a:cubicBezTo>
                    <a:cubicBezTo>
                      <a:pt x="66" y="32"/>
                      <a:pt x="64" y="33"/>
                      <a:pt x="62" y="33"/>
                    </a:cubicBezTo>
                    <a:cubicBezTo>
                      <a:pt x="62" y="33"/>
                      <a:pt x="62" y="33"/>
                      <a:pt x="62" y="33"/>
                    </a:cubicBezTo>
                    <a:cubicBezTo>
                      <a:pt x="55" y="32"/>
                      <a:pt x="44" y="22"/>
                      <a:pt x="40" y="17"/>
                    </a:cubicBezTo>
                    <a:cubicBezTo>
                      <a:pt x="34" y="9"/>
                      <a:pt x="25" y="0"/>
                      <a:pt x="22" y="5"/>
                    </a:cubicBezTo>
                    <a:cubicBezTo>
                      <a:pt x="20" y="11"/>
                      <a:pt x="27" y="11"/>
                      <a:pt x="37" y="30"/>
                    </a:cubicBezTo>
                    <a:cubicBezTo>
                      <a:pt x="36" y="31"/>
                      <a:pt x="36" y="31"/>
                      <a:pt x="36" y="31"/>
                    </a:cubicBezTo>
                    <a:cubicBezTo>
                      <a:pt x="36" y="33"/>
                      <a:pt x="24" y="25"/>
                      <a:pt x="15" y="15"/>
                    </a:cubicBezTo>
                    <a:cubicBezTo>
                      <a:pt x="8" y="9"/>
                      <a:pt x="6" y="16"/>
                      <a:pt x="7" y="19"/>
                    </a:cubicBezTo>
                    <a:cubicBezTo>
                      <a:pt x="8" y="22"/>
                      <a:pt x="15" y="27"/>
                      <a:pt x="20" y="32"/>
                    </a:cubicBezTo>
                    <a:cubicBezTo>
                      <a:pt x="23" y="35"/>
                      <a:pt x="26" y="38"/>
                      <a:pt x="28" y="40"/>
                    </a:cubicBezTo>
                    <a:cubicBezTo>
                      <a:pt x="27" y="42"/>
                      <a:pt x="27" y="42"/>
                      <a:pt x="27" y="42"/>
                    </a:cubicBezTo>
                    <a:cubicBezTo>
                      <a:pt x="10" y="36"/>
                      <a:pt x="8" y="30"/>
                      <a:pt x="4" y="33"/>
                    </a:cubicBezTo>
                    <a:cubicBezTo>
                      <a:pt x="0" y="36"/>
                      <a:pt x="10" y="45"/>
                      <a:pt x="16" y="47"/>
                    </a:cubicBezTo>
                    <a:cubicBezTo>
                      <a:pt x="18" y="47"/>
                      <a:pt x="22" y="50"/>
                      <a:pt x="25" y="53"/>
                    </a:cubicBezTo>
                    <a:cubicBezTo>
                      <a:pt x="11" y="51"/>
                      <a:pt x="9" y="46"/>
                      <a:pt x="6" y="49"/>
                    </a:cubicBezTo>
                    <a:cubicBezTo>
                      <a:pt x="3" y="53"/>
                      <a:pt x="13" y="58"/>
                      <a:pt x="18" y="59"/>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a:extLst>
                  <a:ext uri="{FF2B5EF4-FFF2-40B4-BE49-F238E27FC236}">
                    <a16:creationId xmlns:a16="http://schemas.microsoft.com/office/drawing/2014/main" id="{1C8EA275-DA28-40F8-B4C4-FE21AE167A1F}"/>
                  </a:ext>
                </a:extLst>
              </p:cNvPr>
              <p:cNvSpPr>
                <a:spLocks/>
              </p:cNvSpPr>
              <p:nvPr/>
            </p:nvSpPr>
            <p:spPr bwMode="auto">
              <a:xfrm>
                <a:off x="3809" y="2323"/>
                <a:ext cx="19" cy="39"/>
              </a:xfrm>
              <a:custGeom>
                <a:avLst/>
                <a:gdLst>
                  <a:gd name="T0" fmla="*/ 7 w 10"/>
                  <a:gd name="T1" fmla="*/ 20 h 20"/>
                  <a:gd name="T2" fmla="*/ 10 w 10"/>
                  <a:gd name="T3" fmla="*/ 0 h 20"/>
                  <a:gd name="T4" fmla="*/ 5 w 10"/>
                  <a:gd name="T5" fmla="*/ 2 h 20"/>
                  <a:gd name="T6" fmla="*/ 7 w 10"/>
                  <a:gd name="T7" fmla="*/ 20 h 20"/>
                </a:gdLst>
                <a:ahLst/>
                <a:cxnLst>
                  <a:cxn ang="0">
                    <a:pos x="T0" y="T1"/>
                  </a:cxn>
                  <a:cxn ang="0">
                    <a:pos x="T2" y="T3"/>
                  </a:cxn>
                  <a:cxn ang="0">
                    <a:pos x="T4" y="T5"/>
                  </a:cxn>
                  <a:cxn ang="0">
                    <a:pos x="T6" y="T7"/>
                  </a:cxn>
                </a:cxnLst>
                <a:rect l="0" t="0" r="r" b="b"/>
                <a:pathLst>
                  <a:path w="10" h="20">
                    <a:moveTo>
                      <a:pt x="7" y="20"/>
                    </a:moveTo>
                    <a:cubicBezTo>
                      <a:pt x="3" y="11"/>
                      <a:pt x="9" y="1"/>
                      <a:pt x="10" y="0"/>
                    </a:cubicBezTo>
                    <a:cubicBezTo>
                      <a:pt x="9" y="1"/>
                      <a:pt x="7" y="2"/>
                      <a:pt x="5" y="2"/>
                    </a:cubicBezTo>
                    <a:cubicBezTo>
                      <a:pt x="0" y="13"/>
                      <a:pt x="7" y="20"/>
                      <a:pt x="7" y="2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2">
                <a:extLst>
                  <a:ext uri="{FF2B5EF4-FFF2-40B4-BE49-F238E27FC236}">
                    <a16:creationId xmlns:a16="http://schemas.microsoft.com/office/drawing/2014/main" id="{7774663A-FFA4-443D-993A-B5910F8A91EB}"/>
                  </a:ext>
                </a:extLst>
              </p:cNvPr>
              <p:cNvSpPr>
                <a:spLocks/>
              </p:cNvSpPr>
              <p:nvPr/>
            </p:nvSpPr>
            <p:spPr bwMode="auto">
              <a:xfrm>
                <a:off x="3803" y="2150"/>
                <a:ext cx="433" cy="526"/>
              </a:xfrm>
              <a:custGeom>
                <a:avLst/>
                <a:gdLst>
                  <a:gd name="T0" fmla="*/ 201 w 221"/>
                  <a:gd name="T1" fmla="*/ 0 h 268"/>
                  <a:gd name="T2" fmla="*/ 104 w 221"/>
                  <a:gd name="T3" fmla="*/ 177 h 268"/>
                  <a:gd name="T4" fmla="*/ 95 w 221"/>
                  <a:gd name="T5" fmla="*/ 171 h 268"/>
                  <a:gd name="T6" fmla="*/ 30 w 221"/>
                  <a:gd name="T7" fmla="*/ 117 h 268"/>
                  <a:gd name="T8" fmla="*/ 0 w 221"/>
                  <a:gd name="T9" fmla="*/ 164 h 268"/>
                  <a:gd name="T10" fmla="*/ 106 w 221"/>
                  <a:gd name="T11" fmla="*/ 251 h 268"/>
                  <a:gd name="T12" fmla="*/ 221 w 221"/>
                  <a:gd name="T13" fmla="*/ 119 h 268"/>
                  <a:gd name="T14" fmla="*/ 201 w 221"/>
                  <a:gd name="T15" fmla="*/ 0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68">
                    <a:moveTo>
                      <a:pt x="201" y="0"/>
                    </a:moveTo>
                    <a:cubicBezTo>
                      <a:pt x="104" y="177"/>
                      <a:pt x="104" y="177"/>
                      <a:pt x="104" y="177"/>
                    </a:cubicBezTo>
                    <a:cubicBezTo>
                      <a:pt x="104" y="177"/>
                      <a:pt x="100" y="167"/>
                      <a:pt x="95" y="171"/>
                    </a:cubicBezTo>
                    <a:cubicBezTo>
                      <a:pt x="90" y="175"/>
                      <a:pt x="30" y="117"/>
                      <a:pt x="30" y="117"/>
                    </a:cubicBezTo>
                    <a:cubicBezTo>
                      <a:pt x="30" y="117"/>
                      <a:pt x="34" y="152"/>
                      <a:pt x="0" y="164"/>
                    </a:cubicBezTo>
                    <a:cubicBezTo>
                      <a:pt x="0" y="164"/>
                      <a:pt x="80" y="234"/>
                      <a:pt x="106" y="251"/>
                    </a:cubicBezTo>
                    <a:cubicBezTo>
                      <a:pt x="132" y="268"/>
                      <a:pt x="221" y="119"/>
                      <a:pt x="221" y="119"/>
                    </a:cubicBezTo>
                    <a:lnTo>
                      <a:pt x="201"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3">
                <a:extLst>
                  <a:ext uri="{FF2B5EF4-FFF2-40B4-BE49-F238E27FC236}">
                    <a16:creationId xmlns:a16="http://schemas.microsoft.com/office/drawing/2014/main" id="{6E0FFE80-1299-45F1-8EA7-12C29777B922}"/>
                  </a:ext>
                </a:extLst>
              </p:cNvPr>
              <p:cNvSpPr>
                <a:spLocks/>
              </p:cNvSpPr>
              <p:nvPr/>
            </p:nvSpPr>
            <p:spPr bwMode="auto">
              <a:xfrm>
                <a:off x="3899" y="3917"/>
                <a:ext cx="249" cy="163"/>
              </a:xfrm>
              <a:custGeom>
                <a:avLst/>
                <a:gdLst>
                  <a:gd name="T0" fmla="*/ 0 w 127"/>
                  <a:gd name="T1" fmla="*/ 75 h 83"/>
                  <a:gd name="T2" fmla="*/ 1 w 127"/>
                  <a:gd name="T3" fmla="*/ 83 h 83"/>
                  <a:gd name="T4" fmla="*/ 127 w 127"/>
                  <a:gd name="T5" fmla="*/ 83 h 83"/>
                  <a:gd name="T6" fmla="*/ 126 w 127"/>
                  <a:gd name="T7" fmla="*/ 75 h 83"/>
                  <a:gd name="T8" fmla="*/ 115 w 127"/>
                  <a:gd name="T9" fmla="*/ 14 h 83"/>
                  <a:gd name="T10" fmla="*/ 83 w 127"/>
                  <a:gd name="T11" fmla="*/ 0 h 83"/>
                  <a:gd name="T12" fmla="*/ 65 w 127"/>
                  <a:gd name="T13" fmla="*/ 34 h 83"/>
                  <a:gd name="T14" fmla="*/ 57 w 127"/>
                  <a:gd name="T15" fmla="*/ 38 h 83"/>
                  <a:gd name="T16" fmla="*/ 54 w 127"/>
                  <a:gd name="T17" fmla="*/ 40 h 83"/>
                  <a:gd name="T18" fmla="*/ 46 w 127"/>
                  <a:gd name="T19" fmla="*/ 43 h 83"/>
                  <a:gd name="T20" fmla="*/ 16 w 127"/>
                  <a:gd name="T21" fmla="*/ 48 h 83"/>
                  <a:gd name="T22" fmla="*/ 0 w 127"/>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83">
                    <a:moveTo>
                      <a:pt x="0" y="75"/>
                    </a:moveTo>
                    <a:cubicBezTo>
                      <a:pt x="0" y="80"/>
                      <a:pt x="1" y="83"/>
                      <a:pt x="1" y="83"/>
                    </a:cubicBezTo>
                    <a:cubicBezTo>
                      <a:pt x="127" y="83"/>
                      <a:pt x="127" y="83"/>
                      <a:pt x="127" y="83"/>
                    </a:cubicBezTo>
                    <a:cubicBezTo>
                      <a:pt x="127" y="80"/>
                      <a:pt x="126" y="78"/>
                      <a:pt x="126" y="75"/>
                    </a:cubicBezTo>
                    <a:cubicBezTo>
                      <a:pt x="125" y="42"/>
                      <a:pt x="115" y="14"/>
                      <a:pt x="115" y="14"/>
                    </a:cubicBezTo>
                    <a:cubicBezTo>
                      <a:pt x="83" y="0"/>
                      <a:pt x="83" y="0"/>
                      <a:pt x="83" y="0"/>
                    </a:cubicBezTo>
                    <a:cubicBezTo>
                      <a:pt x="80" y="17"/>
                      <a:pt x="73" y="27"/>
                      <a:pt x="65" y="34"/>
                    </a:cubicBezTo>
                    <a:cubicBezTo>
                      <a:pt x="62" y="36"/>
                      <a:pt x="60" y="37"/>
                      <a:pt x="57" y="38"/>
                    </a:cubicBezTo>
                    <a:cubicBezTo>
                      <a:pt x="56" y="39"/>
                      <a:pt x="55" y="40"/>
                      <a:pt x="54" y="40"/>
                    </a:cubicBezTo>
                    <a:cubicBezTo>
                      <a:pt x="51" y="41"/>
                      <a:pt x="49" y="42"/>
                      <a:pt x="46" y="43"/>
                    </a:cubicBezTo>
                    <a:cubicBezTo>
                      <a:pt x="35" y="46"/>
                      <a:pt x="24" y="47"/>
                      <a:pt x="16" y="48"/>
                    </a:cubicBezTo>
                    <a:cubicBezTo>
                      <a:pt x="2" y="50"/>
                      <a:pt x="0" y="66"/>
                      <a:pt x="0"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4">
                <a:extLst>
                  <a:ext uri="{FF2B5EF4-FFF2-40B4-BE49-F238E27FC236}">
                    <a16:creationId xmlns:a16="http://schemas.microsoft.com/office/drawing/2014/main" id="{95E4F7EB-A337-4E8A-8D88-9FA651CA5C08}"/>
                  </a:ext>
                </a:extLst>
              </p:cNvPr>
              <p:cNvSpPr>
                <a:spLocks/>
              </p:cNvSpPr>
              <p:nvPr/>
            </p:nvSpPr>
            <p:spPr bwMode="auto">
              <a:xfrm>
                <a:off x="3899" y="4064"/>
                <a:ext cx="249" cy="16"/>
              </a:xfrm>
              <a:custGeom>
                <a:avLst/>
                <a:gdLst>
                  <a:gd name="T0" fmla="*/ 0 w 127"/>
                  <a:gd name="T1" fmla="*/ 0 h 8"/>
                  <a:gd name="T2" fmla="*/ 1 w 127"/>
                  <a:gd name="T3" fmla="*/ 8 h 8"/>
                  <a:gd name="T4" fmla="*/ 127 w 127"/>
                  <a:gd name="T5" fmla="*/ 8 h 8"/>
                  <a:gd name="T6" fmla="*/ 126 w 127"/>
                  <a:gd name="T7" fmla="*/ 0 h 8"/>
                  <a:gd name="T8" fmla="*/ 0 w 127"/>
                  <a:gd name="T9" fmla="*/ 0 h 8"/>
                </a:gdLst>
                <a:ahLst/>
                <a:cxnLst>
                  <a:cxn ang="0">
                    <a:pos x="T0" y="T1"/>
                  </a:cxn>
                  <a:cxn ang="0">
                    <a:pos x="T2" y="T3"/>
                  </a:cxn>
                  <a:cxn ang="0">
                    <a:pos x="T4" y="T5"/>
                  </a:cxn>
                  <a:cxn ang="0">
                    <a:pos x="T6" y="T7"/>
                  </a:cxn>
                  <a:cxn ang="0">
                    <a:pos x="T8" y="T9"/>
                  </a:cxn>
                </a:cxnLst>
                <a:rect l="0" t="0" r="r" b="b"/>
                <a:pathLst>
                  <a:path w="127" h="8">
                    <a:moveTo>
                      <a:pt x="0" y="0"/>
                    </a:moveTo>
                    <a:cubicBezTo>
                      <a:pt x="0" y="5"/>
                      <a:pt x="1" y="8"/>
                      <a:pt x="1" y="8"/>
                    </a:cubicBezTo>
                    <a:cubicBezTo>
                      <a:pt x="127" y="8"/>
                      <a:pt x="127" y="8"/>
                      <a:pt x="127" y="8"/>
                    </a:cubicBezTo>
                    <a:cubicBezTo>
                      <a:pt x="127" y="5"/>
                      <a:pt x="126" y="3"/>
                      <a:pt x="126" y="0"/>
                    </a:cubicBezTo>
                    <a:lnTo>
                      <a:pt x="0"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5">
                <a:extLst>
                  <a:ext uri="{FF2B5EF4-FFF2-40B4-BE49-F238E27FC236}">
                    <a16:creationId xmlns:a16="http://schemas.microsoft.com/office/drawing/2014/main" id="{AF2C3CC2-FFEB-483C-9225-8FA0C088295B}"/>
                  </a:ext>
                </a:extLst>
              </p:cNvPr>
              <p:cNvSpPr>
                <a:spLocks/>
              </p:cNvSpPr>
              <p:nvPr/>
            </p:nvSpPr>
            <p:spPr bwMode="auto">
              <a:xfrm>
                <a:off x="4011" y="3984"/>
                <a:ext cx="43" cy="19"/>
              </a:xfrm>
              <a:custGeom>
                <a:avLst/>
                <a:gdLst>
                  <a:gd name="T0" fmla="*/ 0 w 22"/>
                  <a:gd name="T1" fmla="*/ 4 h 10"/>
                  <a:gd name="T2" fmla="*/ 18 w 22"/>
                  <a:gd name="T3" fmla="*/ 10 h 10"/>
                  <a:gd name="T4" fmla="*/ 22 w 22"/>
                  <a:gd name="T5" fmla="*/ 4 h 10"/>
                  <a:gd name="T6" fmla="*/ 8 w 22"/>
                  <a:gd name="T7" fmla="*/ 0 h 10"/>
                  <a:gd name="T8" fmla="*/ 0 w 22"/>
                  <a:gd name="T9" fmla="*/ 4 h 10"/>
                </a:gdLst>
                <a:ahLst/>
                <a:cxnLst>
                  <a:cxn ang="0">
                    <a:pos x="T0" y="T1"/>
                  </a:cxn>
                  <a:cxn ang="0">
                    <a:pos x="T2" y="T3"/>
                  </a:cxn>
                  <a:cxn ang="0">
                    <a:pos x="T4" y="T5"/>
                  </a:cxn>
                  <a:cxn ang="0">
                    <a:pos x="T6" y="T7"/>
                  </a:cxn>
                  <a:cxn ang="0">
                    <a:pos x="T8" y="T9"/>
                  </a:cxn>
                </a:cxnLst>
                <a:rect l="0" t="0" r="r" b="b"/>
                <a:pathLst>
                  <a:path w="22" h="10">
                    <a:moveTo>
                      <a:pt x="0" y="4"/>
                    </a:moveTo>
                    <a:cubicBezTo>
                      <a:pt x="18" y="10"/>
                      <a:pt x="18" y="10"/>
                      <a:pt x="18" y="10"/>
                    </a:cubicBezTo>
                    <a:cubicBezTo>
                      <a:pt x="22" y="4"/>
                      <a:pt x="22" y="4"/>
                      <a:pt x="22" y="4"/>
                    </a:cubicBezTo>
                    <a:cubicBezTo>
                      <a:pt x="8" y="0"/>
                      <a:pt x="8" y="0"/>
                      <a:pt x="8" y="0"/>
                    </a:cubicBezTo>
                    <a:cubicBezTo>
                      <a:pt x="5" y="2"/>
                      <a:pt x="3" y="3"/>
                      <a:pt x="0"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6">
                <a:extLst>
                  <a:ext uri="{FF2B5EF4-FFF2-40B4-BE49-F238E27FC236}">
                    <a16:creationId xmlns:a16="http://schemas.microsoft.com/office/drawing/2014/main" id="{0A9ACBC2-497B-4717-8A7A-43C97E9F4B57}"/>
                  </a:ext>
                </a:extLst>
              </p:cNvPr>
              <p:cNvSpPr>
                <a:spLocks/>
              </p:cNvSpPr>
              <p:nvPr/>
            </p:nvSpPr>
            <p:spPr bwMode="auto">
              <a:xfrm>
                <a:off x="3989" y="3996"/>
                <a:ext cx="37" cy="21"/>
              </a:xfrm>
              <a:custGeom>
                <a:avLst/>
                <a:gdLst>
                  <a:gd name="T0" fmla="*/ 0 w 19"/>
                  <a:gd name="T1" fmla="*/ 3 h 11"/>
                  <a:gd name="T2" fmla="*/ 12 w 19"/>
                  <a:gd name="T3" fmla="*/ 11 h 11"/>
                  <a:gd name="T4" fmla="*/ 19 w 19"/>
                  <a:gd name="T5" fmla="*/ 8 h 11"/>
                  <a:gd name="T6" fmla="*/ 8 w 19"/>
                  <a:gd name="T7" fmla="*/ 0 h 11"/>
                  <a:gd name="T8" fmla="*/ 0 w 19"/>
                  <a:gd name="T9" fmla="*/ 3 h 11"/>
                </a:gdLst>
                <a:ahLst/>
                <a:cxnLst>
                  <a:cxn ang="0">
                    <a:pos x="T0" y="T1"/>
                  </a:cxn>
                  <a:cxn ang="0">
                    <a:pos x="T2" y="T3"/>
                  </a:cxn>
                  <a:cxn ang="0">
                    <a:pos x="T4" y="T5"/>
                  </a:cxn>
                  <a:cxn ang="0">
                    <a:pos x="T6" y="T7"/>
                  </a:cxn>
                  <a:cxn ang="0">
                    <a:pos x="T8" y="T9"/>
                  </a:cxn>
                </a:cxnLst>
                <a:rect l="0" t="0" r="r" b="b"/>
                <a:pathLst>
                  <a:path w="19" h="11">
                    <a:moveTo>
                      <a:pt x="0" y="3"/>
                    </a:moveTo>
                    <a:cubicBezTo>
                      <a:pt x="12" y="11"/>
                      <a:pt x="12" y="11"/>
                      <a:pt x="12" y="11"/>
                    </a:cubicBezTo>
                    <a:cubicBezTo>
                      <a:pt x="19" y="8"/>
                      <a:pt x="19" y="8"/>
                      <a:pt x="19" y="8"/>
                    </a:cubicBezTo>
                    <a:cubicBezTo>
                      <a:pt x="8" y="0"/>
                      <a:pt x="8" y="0"/>
                      <a:pt x="8" y="0"/>
                    </a:cubicBezTo>
                    <a:cubicBezTo>
                      <a:pt x="5" y="1"/>
                      <a:pt x="3" y="2"/>
                      <a:pt x="0"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7">
                <a:extLst>
                  <a:ext uri="{FF2B5EF4-FFF2-40B4-BE49-F238E27FC236}">
                    <a16:creationId xmlns:a16="http://schemas.microsoft.com/office/drawing/2014/main" id="{3A946D97-A233-44F0-AA26-366505F0291B}"/>
                  </a:ext>
                </a:extLst>
              </p:cNvPr>
              <p:cNvSpPr>
                <a:spLocks/>
              </p:cNvSpPr>
              <p:nvPr/>
            </p:nvSpPr>
            <p:spPr bwMode="auto">
              <a:xfrm>
                <a:off x="4336" y="3890"/>
                <a:ext cx="188" cy="190"/>
              </a:xfrm>
              <a:custGeom>
                <a:avLst/>
                <a:gdLst>
                  <a:gd name="T0" fmla="*/ 1 w 96"/>
                  <a:gd name="T1" fmla="*/ 89 h 97"/>
                  <a:gd name="T2" fmla="*/ 2 w 96"/>
                  <a:gd name="T3" fmla="*/ 97 h 97"/>
                  <a:gd name="T4" fmla="*/ 86 w 96"/>
                  <a:gd name="T5" fmla="*/ 97 h 97"/>
                  <a:gd name="T6" fmla="*/ 88 w 96"/>
                  <a:gd name="T7" fmla="*/ 89 h 97"/>
                  <a:gd name="T8" fmla="*/ 41 w 96"/>
                  <a:gd name="T9" fmla="*/ 0 h 97"/>
                  <a:gd name="T10" fmla="*/ 23 w 96"/>
                  <a:gd name="T11" fmla="*/ 24 h 97"/>
                  <a:gd name="T12" fmla="*/ 10 w 96"/>
                  <a:gd name="T13" fmla="*/ 69 h 97"/>
                  <a:gd name="T14" fmla="*/ 1 w 96"/>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7">
                    <a:moveTo>
                      <a:pt x="1" y="89"/>
                    </a:moveTo>
                    <a:cubicBezTo>
                      <a:pt x="1" y="94"/>
                      <a:pt x="2" y="97"/>
                      <a:pt x="2" y="97"/>
                    </a:cubicBezTo>
                    <a:cubicBezTo>
                      <a:pt x="86" y="97"/>
                      <a:pt x="86" y="97"/>
                      <a:pt x="86" y="97"/>
                    </a:cubicBezTo>
                    <a:cubicBezTo>
                      <a:pt x="87" y="94"/>
                      <a:pt x="88" y="92"/>
                      <a:pt x="88" y="89"/>
                    </a:cubicBezTo>
                    <a:cubicBezTo>
                      <a:pt x="96" y="49"/>
                      <a:pt x="41" y="0"/>
                      <a:pt x="41" y="0"/>
                    </a:cubicBezTo>
                    <a:cubicBezTo>
                      <a:pt x="23" y="24"/>
                      <a:pt x="23" y="24"/>
                      <a:pt x="23" y="24"/>
                    </a:cubicBezTo>
                    <a:cubicBezTo>
                      <a:pt x="23" y="24"/>
                      <a:pt x="25" y="62"/>
                      <a:pt x="10" y="69"/>
                    </a:cubicBezTo>
                    <a:cubicBezTo>
                      <a:pt x="1" y="74"/>
                      <a:pt x="0" y="83"/>
                      <a:pt x="1"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8">
                <a:extLst>
                  <a:ext uri="{FF2B5EF4-FFF2-40B4-BE49-F238E27FC236}">
                    <a16:creationId xmlns:a16="http://schemas.microsoft.com/office/drawing/2014/main" id="{29A5B546-F6AF-4F55-B3EB-5BA312DC3DFE}"/>
                  </a:ext>
                </a:extLst>
              </p:cNvPr>
              <p:cNvSpPr>
                <a:spLocks/>
              </p:cNvSpPr>
              <p:nvPr/>
            </p:nvSpPr>
            <p:spPr bwMode="auto">
              <a:xfrm>
                <a:off x="4338" y="4064"/>
                <a:ext cx="171" cy="16"/>
              </a:xfrm>
              <a:custGeom>
                <a:avLst/>
                <a:gdLst>
                  <a:gd name="T0" fmla="*/ 87 w 87"/>
                  <a:gd name="T1" fmla="*/ 0 h 8"/>
                  <a:gd name="T2" fmla="*/ 0 w 87"/>
                  <a:gd name="T3" fmla="*/ 0 h 8"/>
                  <a:gd name="T4" fmla="*/ 1 w 87"/>
                  <a:gd name="T5" fmla="*/ 8 h 8"/>
                  <a:gd name="T6" fmla="*/ 85 w 87"/>
                  <a:gd name="T7" fmla="*/ 8 h 8"/>
                  <a:gd name="T8" fmla="*/ 87 w 87"/>
                  <a:gd name="T9" fmla="*/ 0 h 8"/>
                </a:gdLst>
                <a:ahLst/>
                <a:cxnLst>
                  <a:cxn ang="0">
                    <a:pos x="T0" y="T1"/>
                  </a:cxn>
                  <a:cxn ang="0">
                    <a:pos x="T2" y="T3"/>
                  </a:cxn>
                  <a:cxn ang="0">
                    <a:pos x="T4" y="T5"/>
                  </a:cxn>
                  <a:cxn ang="0">
                    <a:pos x="T6" y="T7"/>
                  </a:cxn>
                  <a:cxn ang="0">
                    <a:pos x="T8" y="T9"/>
                  </a:cxn>
                </a:cxnLst>
                <a:rect l="0" t="0" r="r" b="b"/>
                <a:pathLst>
                  <a:path w="87" h="8">
                    <a:moveTo>
                      <a:pt x="87" y="0"/>
                    </a:moveTo>
                    <a:cubicBezTo>
                      <a:pt x="0" y="0"/>
                      <a:pt x="0" y="0"/>
                      <a:pt x="0" y="0"/>
                    </a:cubicBezTo>
                    <a:cubicBezTo>
                      <a:pt x="0" y="5"/>
                      <a:pt x="1" y="8"/>
                      <a:pt x="1" y="8"/>
                    </a:cubicBezTo>
                    <a:cubicBezTo>
                      <a:pt x="85" y="8"/>
                      <a:pt x="85" y="8"/>
                      <a:pt x="85" y="8"/>
                    </a:cubicBezTo>
                    <a:cubicBezTo>
                      <a:pt x="86" y="5"/>
                      <a:pt x="87" y="3"/>
                      <a:pt x="87"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9">
                <a:extLst>
                  <a:ext uri="{FF2B5EF4-FFF2-40B4-BE49-F238E27FC236}">
                    <a16:creationId xmlns:a16="http://schemas.microsoft.com/office/drawing/2014/main" id="{2BC81FCE-E2E5-48EB-8311-004085976458}"/>
                  </a:ext>
                </a:extLst>
              </p:cNvPr>
              <p:cNvSpPr>
                <a:spLocks/>
              </p:cNvSpPr>
              <p:nvPr/>
            </p:nvSpPr>
            <p:spPr bwMode="auto">
              <a:xfrm>
                <a:off x="4364" y="3984"/>
                <a:ext cx="100" cy="41"/>
              </a:xfrm>
              <a:custGeom>
                <a:avLst/>
                <a:gdLst>
                  <a:gd name="T0" fmla="*/ 0 w 51"/>
                  <a:gd name="T1" fmla="*/ 18 h 21"/>
                  <a:gd name="T2" fmla="*/ 51 w 51"/>
                  <a:gd name="T3" fmla="*/ 21 h 21"/>
                  <a:gd name="T4" fmla="*/ 51 w 51"/>
                  <a:gd name="T5" fmla="*/ 15 h 21"/>
                  <a:gd name="T6" fmla="*/ 0 w 51"/>
                  <a:gd name="T7" fmla="*/ 18 h 21"/>
                </a:gdLst>
                <a:ahLst/>
                <a:cxnLst>
                  <a:cxn ang="0">
                    <a:pos x="T0" y="T1"/>
                  </a:cxn>
                  <a:cxn ang="0">
                    <a:pos x="T2" y="T3"/>
                  </a:cxn>
                  <a:cxn ang="0">
                    <a:pos x="T4" y="T5"/>
                  </a:cxn>
                  <a:cxn ang="0">
                    <a:pos x="T6" y="T7"/>
                  </a:cxn>
                </a:cxnLst>
                <a:rect l="0" t="0" r="r" b="b"/>
                <a:pathLst>
                  <a:path w="51" h="21">
                    <a:moveTo>
                      <a:pt x="0" y="18"/>
                    </a:moveTo>
                    <a:cubicBezTo>
                      <a:pt x="0" y="18"/>
                      <a:pt x="35" y="10"/>
                      <a:pt x="51" y="21"/>
                    </a:cubicBezTo>
                    <a:cubicBezTo>
                      <a:pt x="51" y="15"/>
                      <a:pt x="51" y="15"/>
                      <a:pt x="51" y="15"/>
                    </a:cubicBezTo>
                    <a:cubicBezTo>
                      <a:pt x="51" y="15"/>
                      <a:pt x="22" y="0"/>
                      <a:pt x="0"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0">
                <a:extLst>
                  <a:ext uri="{FF2B5EF4-FFF2-40B4-BE49-F238E27FC236}">
                    <a16:creationId xmlns:a16="http://schemas.microsoft.com/office/drawing/2014/main" id="{B49DBB09-799E-4C29-A5EE-1DB6142B5878}"/>
                  </a:ext>
                </a:extLst>
              </p:cNvPr>
              <p:cNvSpPr>
                <a:spLocks/>
              </p:cNvSpPr>
              <p:nvPr/>
            </p:nvSpPr>
            <p:spPr bwMode="auto">
              <a:xfrm>
                <a:off x="4377" y="3972"/>
                <a:ext cx="87" cy="30"/>
              </a:xfrm>
              <a:custGeom>
                <a:avLst/>
                <a:gdLst>
                  <a:gd name="T0" fmla="*/ 0 w 44"/>
                  <a:gd name="T1" fmla="*/ 15 h 15"/>
                  <a:gd name="T2" fmla="*/ 44 w 44"/>
                  <a:gd name="T3" fmla="*/ 15 h 15"/>
                  <a:gd name="T4" fmla="*/ 42 w 44"/>
                  <a:gd name="T5" fmla="*/ 10 h 15"/>
                  <a:gd name="T6" fmla="*/ 0 w 44"/>
                  <a:gd name="T7" fmla="*/ 15 h 15"/>
                </a:gdLst>
                <a:ahLst/>
                <a:cxnLst>
                  <a:cxn ang="0">
                    <a:pos x="T0" y="T1"/>
                  </a:cxn>
                  <a:cxn ang="0">
                    <a:pos x="T2" y="T3"/>
                  </a:cxn>
                  <a:cxn ang="0">
                    <a:pos x="T4" y="T5"/>
                  </a:cxn>
                  <a:cxn ang="0">
                    <a:pos x="T6" y="T7"/>
                  </a:cxn>
                </a:cxnLst>
                <a:rect l="0" t="0" r="r" b="b"/>
                <a:pathLst>
                  <a:path w="44" h="15">
                    <a:moveTo>
                      <a:pt x="0" y="15"/>
                    </a:moveTo>
                    <a:cubicBezTo>
                      <a:pt x="0" y="15"/>
                      <a:pt x="23" y="5"/>
                      <a:pt x="44" y="15"/>
                    </a:cubicBezTo>
                    <a:cubicBezTo>
                      <a:pt x="42" y="10"/>
                      <a:pt x="42" y="10"/>
                      <a:pt x="42" y="10"/>
                    </a:cubicBezTo>
                    <a:cubicBezTo>
                      <a:pt x="42" y="10"/>
                      <a:pt x="16" y="0"/>
                      <a:pt x="0"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1">
                <a:extLst>
                  <a:ext uri="{FF2B5EF4-FFF2-40B4-BE49-F238E27FC236}">
                    <a16:creationId xmlns:a16="http://schemas.microsoft.com/office/drawing/2014/main" id="{24AEB8ED-91AE-4775-8196-71A0C514F7E4}"/>
                  </a:ext>
                </a:extLst>
              </p:cNvPr>
              <p:cNvSpPr>
                <a:spLocks/>
              </p:cNvSpPr>
              <p:nvPr/>
            </p:nvSpPr>
            <p:spPr bwMode="auto">
              <a:xfrm>
                <a:off x="4026" y="2792"/>
                <a:ext cx="587" cy="1233"/>
              </a:xfrm>
              <a:custGeom>
                <a:avLst/>
                <a:gdLst>
                  <a:gd name="T0" fmla="*/ 299 w 299"/>
                  <a:gd name="T1" fmla="*/ 0 h 628"/>
                  <a:gd name="T2" fmla="*/ 289 w 299"/>
                  <a:gd name="T3" fmla="*/ 182 h 628"/>
                  <a:gd name="T4" fmla="*/ 262 w 299"/>
                  <a:gd name="T5" fmla="*/ 521 h 628"/>
                  <a:gd name="T6" fmla="*/ 246 w 299"/>
                  <a:gd name="T7" fmla="*/ 622 h 628"/>
                  <a:gd name="T8" fmla="*/ 178 w 299"/>
                  <a:gd name="T9" fmla="*/ 613 h 628"/>
                  <a:gd name="T10" fmla="*/ 172 w 299"/>
                  <a:gd name="T11" fmla="*/ 577 h 628"/>
                  <a:gd name="T12" fmla="*/ 184 w 299"/>
                  <a:gd name="T13" fmla="*/ 549 h 628"/>
                  <a:gd name="T14" fmla="*/ 181 w 299"/>
                  <a:gd name="T15" fmla="*/ 508 h 628"/>
                  <a:gd name="T16" fmla="*/ 194 w 299"/>
                  <a:gd name="T17" fmla="*/ 106 h 628"/>
                  <a:gd name="T18" fmla="*/ 175 w 299"/>
                  <a:gd name="T19" fmla="*/ 104 h 628"/>
                  <a:gd name="T20" fmla="*/ 82 w 299"/>
                  <a:gd name="T21" fmla="*/ 549 h 628"/>
                  <a:gd name="T22" fmla="*/ 82 w 299"/>
                  <a:gd name="T23" fmla="*/ 575 h 628"/>
                  <a:gd name="T24" fmla="*/ 62 w 299"/>
                  <a:gd name="T25" fmla="*/ 628 h 628"/>
                  <a:gd name="T26" fmla="*/ 0 w 299"/>
                  <a:gd name="T27" fmla="*/ 607 h 628"/>
                  <a:gd name="T28" fmla="*/ 10 w 299"/>
                  <a:gd name="T29" fmla="*/ 577 h 628"/>
                  <a:gd name="T30" fmla="*/ 3 w 299"/>
                  <a:gd name="T31" fmla="*/ 536 h 628"/>
                  <a:gd name="T32" fmla="*/ 26 w 299"/>
                  <a:gd name="T33" fmla="*/ 481 h 628"/>
                  <a:gd name="T34" fmla="*/ 85 w 299"/>
                  <a:gd name="T35" fmla="*/ 8 h 628"/>
                  <a:gd name="T36" fmla="*/ 299 w 299"/>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9" h="628">
                    <a:moveTo>
                      <a:pt x="299" y="0"/>
                    </a:moveTo>
                    <a:cubicBezTo>
                      <a:pt x="299" y="80"/>
                      <a:pt x="291" y="161"/>
                      <a:pt x="289" y="182"/>
                    </a:cubicBezTo>
                    <a:cubicBezTo>
                      <a:pt x="287" y="202"/>
                      <a:pt x="265" y="432"/>
                      <a:pt x="262" y="521"/>
                    </a:cubicBezTo>
                    <a:cubicBezTo>
                      <a:pt x="261" y="567"/>
                      <a:pt x="246" y="622"/>
                      <a:pt x="246" y="622"/>
                    </a:cubicBezTo>
                    <a:cubicBezTo>
                      <a:pt x="246" y="622"/>
                      <a:pt x="203" y="587"/>
                      <a:pt x="178" y="613"/>
                    </a:cubicBezTo>
                    <a:cubicBezTo>
                      <a:pt x="172" y="577"/>
                      <a:pt x="172" y="577"/>
                      <a:pt x="172" y="577"/>
                    </a:cubicBezTo>
                    <a:cubicBezTo>
                      <a:pt x="184" y="549"/>
                      <a:pt x="184" y="549"/>
                      <a:pt x="184" y="549"/>
                    </a:cubicBezTo>
                    <a:cubicBezTo>
                      <a:pt x="184" y="549"/>
                      <a:pt x="171" y="526"/>
                      <a:pt x="181" y="508"/>
                    </a:cubicBezTo>
                    <a:cubicBezTo>
                      <a:pt x="191" y="490"/>
                      <a:pt x="194" y="106"/>
                      <a:pt x="194" y="106"/>
                    </a:cubicBezTo>
                    <a:cubicBezTo>
                      <a:pt x="175" y="104"/>
                      <a:pt x="175" y="104"/>
                      <a:pt x="175" y="104"/>
                    </a:cubicBezTo>
                    <a:cubicBezTo>
                      <a:pt x="82" y="549"/>
                      <a:pt x="82" y="549"/>
                      <a:pt x="82" y="549"/>
                    </a:cubicBezTo>
                    <a:cubicBezTo>
                      <a:pt x="82" y="575"/>
                      <a:pt x="82" y="575"/>
                      <a:pt x="82" y="575"/>
                    </a:cubicBezTo>
                    <a:cubicBezTo>
                      <a:pt x="82" y="575"/>
                      <a:pt x="62" y="607"/>
                      <a:pt x="62" y="628"/>
                    </a:cubicBezTo>
                    <a:cubicBezTo>
                      <a:pt x="0" y="607"/>
                      <a:pt x="0" y="607"/>
                      <a:pt x="0" y="607"/>
                    </a:cubicBezTo>
                    <a:cubicBezTo>
                      <a:pt x="10" y="577"/>
                      <a:pt x="10" y="577"/>
                      <a:pt x="10" y="577"/>
                    </a:cubicBezTo>
                    <a:cubicBezTo>
                      <a:pt x="3" y="536"/>
                      <a:pt x="3" y="536"/>
                      <a:pt x="3" y="536"/>
                    </a:cubicBezTo>
                    <a:cubicBezTo>
                      <a:pt x="26" y="481"/>
                      <a:pt x="26" y="481"/>
                      <a:pt x="26" y="481"/>
                    </a:cubicBezTo>
                    <a:cubicBezTo>
                      <a:pt x="26" y="481"/>
                      <a:pt x="90" y="56"/>
                      <a:pt x="85" y="8"/>
                    </a:cubicBezTo>
                    <a:lnTo>
                      <a:pt x="299" y="0"/>
                    </a:lnTo>
                    <a:close/>
                  </a:path>
                </a:pathLst>
              </a:custGeom>
              <a:solidFill>
                <a:srgbClr val="8BB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2">
                <a:extLst>
                  <a:ext uri="{FF2B5EF4-FFF2-40B4-BE49-F238E27FC236}">
                    <a16:creationId xmlns:a16="http://schemas.microsoft.com/office/drawing/2014/main" id="{59C5C4FE-D6AE-49F6-8A4A-00F5EC5F9151}"/>
                  </a:ext>
                </a:extLst>
              </p:cNvPr>
              <p:cNvSpPr>
                <a:spLocks/>
              </p:cNvSpPr>
              <p:nvPr/>
            </p:nvSpPr>
            <p:spPr bwMode="auto">
              <a:xfrm>
                <a:off x="4158" y="2093"/>
                <a:ext cx="506" cy="830"/>
              </a:xfrm>
              <a:custGeom>
                <a:avLst/>
                <a:gdLst>
                  <a:gd name="T0" fmla="*/ 231 w 258"/>
                  <a:gd name="T1" fmla="*/ 376 h 423"/>
                  <a:gd name="T2" fmla="*/ 99 w 258"/>
                  <a:gd name="T3" fmla="*/ 408 h 423"/>
                  <a:gd name="T4" fmla="*/ 18 w 258"/>
                  <a:gd name="T5" fmla="*/ 372 h 423"/>
                  <a:gd name="T6" fmla="*/ 20 w 258"/>
                  <a:gd name="T7" fmla="*/ 29 h 423"/>
                  <a:gd name="T8" fmla="*/ 99 w 258"/>
                  <a:gd name="T9" fmla="*/ 1 h 423"/>
                  <a:gd name="T10" fmla="*/ 144 w 258"/>
                  <a:gd name="T11" fmla="*/ 1 h 423"/>
                  <a:gd name="T12" fmla="*/ 178 w 258"/>
                  <a:gd name="T13" fmla="*/ 6 h 423"/>
                  <a:gd name="T14" fmla="*/ 252 w 258"/>
                  <a:gd name="T15" fmla="*/ 66 h 423"/>
                  <a:gd name="T16" fmla="*/ 231 w 258"/>
                  <a:gd name="T17" fmla="*/ 37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423">
                    <a:moveTo>
                      <a:pt x="231" y="376"/>
                    </a:moveTo>
                    <a:cubicBezTo>
                      <a:pt x="231" y="376"/>
                      <a:pt x="197" y="423"/>
                      <a:pt x="99" y="408"/>
                    </a:cubicBezTo>
                    <a:cubicBezTo>
                      <a:pt x="43" y="399"/>
                      <a:pt x="18" y="372"/>
                      <a:pt x="18" y="372"/>
                    </a:cubicBezTo>
                    <a:cubicBezTo>
                      <a:pt x="18" y="372"/>
                      <a:pt x="0" y="55"/>
                      <a:pt x="20" y="29"/>
                    </a:cubicBezTo>
                    <a:cubicBezTo>
                      <a:pt x="34" y="11"/>
                      <a:pt x="62" y="3"/>
                      <a:pt x="99" y="1"/>
                    </a:cubicBezTo>
                    <a:cubicBezTo>
                      <a:pt x="113" y="0"/>
                      <a:pt x="128" y="0"/>
                      <a:pt x="144" y="1"/>
                    </a:cubicBezTo>
                    <a:cubicBezTo>
                      <a:pt x="156" y="2"/>
                      <a:pt x="167" y="3"/>
                      <a:pt x="178" y="6"/>
                    </a:cubicBezTo>
                    <a:cubicBezTo>
                      <a:pt x="219" y="18"/>
                      <a:pt x="248" y="45"/>
                      <a:pt x="252" y="66"/>
                    </a:cubicBezTo>
                    <a:cubicBezTo>
                      <a:pt x="258" y="93"/>
                      <a:pt x="231" y="376"/>
                      <a:pt x="231" y="376"/>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3">
                <a:extLst>
                  <a:ext uri="{FF2B5EF4-FFF2-40B4-BE49-F238E27FC236}">
                    <a16:creationId xmlns:a16="http://schemas.microsoft.com/office/drawing/2014/main" id="{D73BD07E-57A1-4175-87C9-696CB71260B1}"/>
                  </a:ext>
                </a:extLst>
              </p:cNvPr>
              <p:cNvSpPr>
                <a:spLocks/>
              </p:cNvSpPr>
              <p:nvPr/>
            </p:nvSpPr>
            <p:spPr bwMode="auto">
              <a:xfrm>
                <a:off x="4440" y="2056"/>
                <a:ext cx="55" cy="92"/>
              </a:xfrm>
              <a:custGeom>
                <a:avLst/>
                <a:gdLst>
                  <a:gd name="T0" fmla="*/ 5 w 28"/>
                  <a:gd name="T1" fmla="*/ 20 h 47"/>
                  <a:gd name="T2" fmla="*/ 23 w 28"/>
                  <a:gd name="T3" fmla="*/ 47 h 47"/>
                  <a:gd name="T4" fmla="*/ 14 w 28"/>
                  <a:gd name="T5" fmla="*/ 5 h 47"/>
                  <a:gd name="T6" fmla="*/ 5 w 28"/>
                  <a:gd name="T7" fmla="*/ 20 h 47"/>
                </a:gdLst>
                <a:ahLst/>
                <a:cxnLst>
                  <a:cxn ang="0">
                    <a:pos x="T0" y="T1"/>
                  </a:cxn>
                  <a:cxn ang="0">
                    <a:pos x="T2" y="T3"/>
                  </a:cxn>
                  <a:cxn ang="0">
                    <a:pos x="T4" y="T5"/>
                  </a:cxn>
                  <a:cxn ang="0">
                    <a:pos x="T6" y="T7"/>
                  </a:cxn>
                </a:cxnLst>
                <a:rect l="0" t="0" r="r" b="b"/>
                <a:pathLst>
                  <a:path w="28" h="47">
                    <a:moveTo>
                      <a:pt x="5" y="20"/>
                    </a:moveTo>
                    <a:cubicBezTo>
                      <a:pt x="5" y="20"/>
                      <a:pt x="23" y="31"/>
                      <a:pt x="23" y="47"/>
                    </a:cubicBezTo>
                    <a:cubicBezTo>
                      <a:pt x="23" y="47"/>
                      <a:pt x="28" y="11"/>
                      <a:pt x="14" y="5"/>
                    </a:cubicBezTo>
                    <a:cubicBezTo>
                      <a:pt x="0" y="0"/>
                      <a:pt x="5" y="20"/>
                      <a:pt x="5" y="20"/>
                    </a:cubicBezTo>
                    <a:close/>
                  </a:path>
                </a:pathLst>
              </a:custGeom>
              <a:solidFill>
                <a:srgbClr val="0A3D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4">
                <a:extLst>
                  <a:ext uri="{FF2B5EF4-FFF2-40B4-BE49-F238E27FC236}">
                    <a16:creationId xmlns:a16="http://schemas.microsoft.com/office/drawing/2014/main" id="{7290B0D5-3EEF-4F84-9331-A62CA0386018}"/>
                  </a:ext>
                </a:extLst>
              </p:cNvPr>
              <p:cNvSpPr>
                <a:spLocks/>
              </p:cNvSpPr>
              <p:nvPr/>
            </p:nvSpPr>
            <p:spPr bwMode="auto">
              <a:xfrm>
                <a:off x="4405" y="2105"/>
                <a:ext cx="261" cy="852"/>
              </a:xfrm>
              <a:custGeom>
                <a:avLst/>
                <a:gdLst>
                  <a:gd name="T0" fmla="*/ 112 w 133"/>
                  <a:gd name="T1" fmla="*/ 405 h 434"/>
                  <a:gd name="T2" fmla="*/ 17 w 133"/>
                  <a:gd name="T3" fmla="*/ 425 h 434"/>
                  <a:gd name="T4" fmla="*/ 5 w 133"/>
                  <a:gd name="T5" fmla="*/ 62 h 434"/>
                  <a:gd name="T6" fmla="*/ 35 w 133"/>
                  <a:gd name="T7" fmla="*/ 33 h 434"/>
                  <a:gd name="T8" fmla="*/ 52 w 133"/>
                  <a:gd name="T9" fmla="*/ 0 h 434"/>
                  <a:gd name="T10" fmla="*/ 127 w 133"/>
                  <a:gd name="T11" fmla="*/ 42 h 434"/>
                  <a:gd name="T12" fmla="*/ 112 w 133"/>
                  <a:gd name="T13" fmla="*/ 405 h 434"/>
                </a:gdLst>
                <a:ahLst/>
                <a:cxnLst>
                  <a:cxn ang="0">
                    <a:pos x="T0" y="T1"/>
                  </a:cxn>
                  <a:cxn ang="0">
                    <a:pos x="T2" y="T3"/>
                  </a:cxn>
                  <a:cxn ang="0">
                    <a:pos x="T4" y="T5"/>
                  </a:cxn>
                  <a:cxn ang="0">
                    <a:pos x="T6" y="T7"/>
                  </a:cxn>
                  <a:cxn ang="0">
                    <a:pos x="T8" y="T9"/>
                  </a:cxn>
                  <a:cxn ang="0">
                    <a:pos x="T10" y="T11"/>
                  </a:cxn>
                  <a:cxn ang="0">
                    <a:pos x="T12" y="T13"/>
                  </a:cxn>
                </a:cxnLst>
                <a:rect l="0" t="0" r="r" b="b"/>
                <a:pathLst>
                  <a:path w="133" h="434">
                    <a:moveTo>
                      <a:pt x="112" y="405"/>
                    </a:moveTo>
                    <a:cubicBezTo>
                      <a:pt x="112" y="405"/>
                      <a:pt x="70" y="434"/>
                      <a:pt x="17" y="425"/>
                    </a:cubicBezTo>
                    <a:cubicBezTo>
                      <a:pt x="17" y="425"/>
                      <a:pt x="0" y="93"/>
                      <a:pt x="5" y="62"/>
                    </a:cubicBezTo>
                    <a:cubicBezTo>
                      <a:pt x="5" y="62"/>
                      <a:pt x="21" y="44"/>
                      <a:pt x="35" y="33"/>
                    </a:cubicBezTo>
                    <a:cubicBezTo>
                      <a:pt x="48" y="24"/>
                      <a:pt x="51" y="5"/>
                      <a:pt x="52" y="0"/>
                    </a:cubicBezTo>
                    <a:cubicBezTo>
                      <a:pt x="93" y="12"/>
                      <a:pt x="123" y="21"/>
                      <a:pt x="127" y="42"/>
                    </a:cubicBezTo>
                    <a:cubicBezTo>
                      <a:pt x="133" y="69"/>
                      <a:pt x="112" y="405"/>
                      <a:pt x="112" y="405"/>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5">
                <a:extLst>
                  <a:ext uri="{FF2B5EF4-FFF2-40B4-BE49-F238E27FC236}">
                    <a16:creationId xmlns:a16="http://schemas.microsoft.com/office/drawing/2014/main" id="{5B3648F9-42AB-4234-912E-A918CA2AA872}"/>
                  </a:ext>
                </a:extLst>
              </p:cNvPr>
              <p:cNvSpPr>
                <a:spLocks/>
              </p:cNvSpPr>
              <p:nvPr/>
            </p:nvSpPr>
            <p:spPr bwMode="auto">
              <a:xfrm>
                <a:off x="4158" y="2095"/>
                <a:ext cx="194" cy="817"/>
              </a:xfrm>
              <a:custGeom>
                <a:avLst/>
                <a:gdLst>
                  <a:gd name="T0" fmla="*/ 99 w 99"/>
                  <a:gd name="T1" fmla="*/ 0 h 416"/>
                  <a:gd name="T2" fmla="*/ 80 w 99"/>
                  <a:gd name="T3" fmla="*/ 57 h 416"/>
                  <a:gd name="T4" fmla="*/ 45 w 99"/>
                  <a:gd name="T5" fmla="*/ 416 h 416"/>
                  <a:gd name="T6" fmla="*/ 8 w 99"/>
                  <a:gd name="T7" fmla="*/ 399 h 416"/>
                  <a:gd name="T8" fmla="*/ 20 w 99"/>
                  <a:gd name="T9" fmla="*/ 28 h 416"/>
                  <a:gd name="T10" fmla="*/ 99 w 99"/>
                  <a:gd name="T11" fmla="*/ 0 h 416"/>
                </a:gdLst>
                <a:ahLst/>
                <a:cxnLst>
                  <a:cxn ang="0">
                    <a:pos x="T0" y="T1"/>
                  </a:cxn>
                  <a:cxn ang="0">
                    <a:pos x="T2" y="T3"/>
                  </a:cxn>
                  <a:cxn ang="0">
                    <a:pos x="T4" y="T5"/>
                  </a:cxn>
                  <a:cxn ang="0">
                    <a:pos x="T6" y="T7"/>
                  </a:cxn>
                  <a:cxn ang="0">
                    <a:pos x="T8" y="T9"/>
                  </a:cxn>
                  <a:cxn ang="0">
                    <a:pos x="T10" y="T11"/>
                  </a:cxn>
                </a:cxnLst>
                <a:rect l="0" t="0" r="r" b="b"/>
                <a:pathLst>
                  <a:path w="99" h="416">
                    <a:moveTo>
                      <a:pt x="99" y="0"/>
                    </a:moveTo>
                    <a:cubicBezTo>
                      <a:pt x="93" y="9"/>
                      <a:pt x="83" y="29"/>
                      <a:pt x="80" y="57"/>
                    </a:cubicBezTo>
                    <a:cubicBezTo>
                      <a:pt x="78" y="77"/>
                      <a:pt x="45" y="416"/>
                      <a:pt x="45" y="416"/>
                    </a:cubicBezTo>
                    <a:cubicBezTo>
                      <a:pt x="15" y="416"/>
                      <a:pt x="8" y="399"/>
                      <a:pt x="8" y="399"/>
                    </a:cubicBezTo>
                    <a:cubicBezTo>
                      <a:pt x="8" y="399"/>
                      <a:pt x="0" y="54"/>
                      <a:pt x="20" y="28"/>
                    </a:cubicBezTo>
                    <a:cubicBezTo>
                      <a:pt x="34" y="10"/>
                      <a:pt x="62" y="2"/>
                      <a:pt x="99" y="0"/>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6">
                <a:extLst>
                  <a:ext uri="{FF2B5EF4-FFF2-40B4-BE49-F238E27FC236}">
                    <a16:creationId xmlns:a16="http://schemas.microsoft.com/office/drawing/2014/main" id="{DD18299B-223C-4972-9336-CD6F5C75A578}"/>
                  </a:ext>
                </a:extLst>
              </p:cNvPr>
              <p:cNvSpPr>
                <a:spLocks/>
              </p:cNvSpPr>
              <p:nvPr/>
            </p:nvSpPr>
            <p:spPr bwMode="auto">
              <a:xfrm>
                <a:off x="4415" y="2065"/>
                <a:ext cx="139" cy="165"/>
              </a:xfrm>
              <a:custGeom>
                <a:avLst/>
                <a:gdLst>
                  <a:gd name="T0" fmla="*/ 27 w 71"/>
                  <a:gd name="T1" fmla="*/ 0 h 84"/>
                  <a:gd name="T2" fmla="*/ 64 w 71"/>
                  <a:gd name="T3" fmla="*/ 30 h 84"/>
                  <a:gd name="T4" fmla="*/ 33 w 71"/>
                  <a:gd name="T5" fmla="*/ 84 h 84"/>
                  <a:gd name="T6" fmla="*/ 18 w 71"/>
                  <a:gd name="T7" fmla="*/ 68 h 84"/>
                  <a:gd name="T8" fmla="*/ 0 w 71"/>
                  <a:gd name="T9" fmla="*/ 82 h 84"/>
                  <a:gd name="T10" fmla="*/ 19 w 71"/>
                  <a:gd name="T11" fmla="*/ 55 h 84"/>
                  <a:gd name="T12" fmla="*/ 27 w 71"/>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71" h="84">
                    <a:moveTo>
                      <a:pt x="27" y="0"/>
                    </a:moveTo>
                    <a:cubicBezTo>
                      <a:pt x="27" y="0"/>
                      <a:pt x="57" y="1"/>
                      <a:pt x="64" y="30"/>
                    </a:cubicBezTo>
                    <a:cubicBezTo>
                      <a:pt x="71" y="60"/>
                      <a:pt x="33" y="84"/>
                      <a:pt x="33" y="84"/>
                    </a:cubicBezTo>
                    <a:cubicBezTo>
                      <a:pt x="33" y="84"/>
                      <a:pt x="27" y="68"/>
                      <a:pt x="18" y="68"/>
                    </a:cubicBezTo>
                    <a:cubicBezTo>
                      <a:pt x="10" y="68"/>
                      <a:pt x="0" y="82"/>
                      <a:pt x="0" y="82"/>
                    </a:cubicBezTo>
                    <a:cubicBezTo>
                      <a:pt x="0" y="82"/>
                      <a:pt x="8" y="64"/>
                      <a:pt x="19" y="55"/>
                    </a:cubicBezTo>
                    <a:cubicBezTo>
                      <a:pt x="31" y="46"/>
                      <a:pt x="43" y="20"/>
                      <a:pt x="27" y="0"/>
                    </a:cubicBez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7">
                <a:extLst>
                  <a:ext uri="{FF2B5EF4-FFF2-40B4-BE49-F238E27FC236}">
                    <a16:creationId xmlns:a16="http://schemas.microsoft.com/office/drawing/2014/main" id="{480ED74C-CBDC-4431-9EEA-04F6C5E8B8FA}"/>
                  </a:ext>
                </a:extLst>
              </p:cNvPr>
              <p:cNvSpPr>
                <a:spLocks/>
              </p:cNvSpPr>
              <p:nvPr/>
            </p:nvSpPr>
            <p:spPr bwMode="auto">
              <a:xfrm>
                <a:off x="4262" y="2063"/>
                <a:ext cx="110" cy="144"/>
              </a:xfrm>
              <a:custGeom>
                <a:avLst/>
                <a:gdLst>
                  <a:gd name="T0" fmla="*/ 51 w 56"/>
                  <a:gd name="T1" fmla="*/ 0 h 73"/>
                  <a:gd name="T2" fmla="*/ 0 w 56"/>
                  <a:gd name="T3" fmla="*/ 61 h 73"/>
                  <a:gd name="T4" fmla="*/ 14 w 56"/>
                  <a:gd name="T5" fmla="*/ 50 h 73"/>
                  <a:gd name="T6" fmla="*/ 27 w 56"/>
                  <a:gd name="T7" fmla="*/ 73 h 73"/>
                  <a:gd name="T8" fmla="*/ 56 w 56"/>
                  <a:gd name="T9" fmla="*/ 15 h 73"/>
                  <a:gd name="T10" fmla="*/ 51 w 56"/>
                  <a:gd name="T11" fmla="*/ 0 h 73"/>
                </a:gdLst>
                <a:ahLst/>
                <a:cxnLst>
                  <a:cxn ang="0">
                    <a:pos x="T0" y="T1"/>
                  </a:cxn>
                  <a:cxn ang="0">
                    <a:pos x="T2" y="T3"/>
                  </a:cxn>
                  <a:cxn ang="0">
                    <a:pos x="T4" y="T5"/>
                  </a:cxn>
                  <a:cxn ang="0">
                    <a:pos x="T6" y="T7"/>
                  </a:cxn>
                  <a:cxn ang="0">
                    <a:pos x="T8" y="T9"/>
                  </a:cxn>
                  <a:cxn ang="0">
                    <a:pos x="T10" y="T11"/>
                  </a:cxn>
                </a:cxnLst>
                <a:rect l="0" t="0" r="r" b="b"/>
                <a:pathLst>
                  <a:path w="56" h="73">
                    <a:moveTo>
                      <a:pt x="51" y="0"/>
                    </a:moveTo>
                    <a:cubicBezTo>
                      <a:pt x="51" y="0"/>
                      <a:pt x="12" y="13"/>
                      <a:pt x="0" y="61"/>
                    </a:cubicBezTo>
                    <a:cubicBezTo>
                      <a:pt x="0" y="61"/>
                      <a:pt x="8" y="45"/>
                      <a:pt x="14" y="50"/>
                    </a:cubicBezTo>
                    <a:cubicBezTo>
                      <a:pt x="21" y="55"/>
                      <a:pt x="27" y="73"/>
                      <a:pt x="27" y="73"/>
                    </a:cubicBezTo>
                    <a:cubicBezTo>
                      <a:pt x="27" y="73"/>
                      <a:pt x="34" y="27"/>
                      <a:pt x="56" y="15"/>
                    </a:cubicBezTo>
                    <a:lnTo>
                      <a:pt x="51"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8">
                <a:extLst>
                  <a:ext uri="{FF2B5EF4-FFF2-40B4-BE49-F238E27FC236}">
                    <a16:creationId xmlns:a16="http://schemas.microsoft.com/office/drawing/2014/main" id="{D5474A69-BFB0-4AAC-8F65-B08DB5AC0B2A}"/>
                  </a:ext>
                </a:extLst>
              </p:cNvPr>
              <p:cNvSpPr>
                <a:spLocks/>
              </p:cNvSpPr>
              <p:nvPr/>
            </p:nvSpPr>
            <p:spPr bwMode="auto">
              <a:xfrm>
                <a:off x="4572" y="2167"/>
                <a:ext cx="223" cy="916"/>
              </a:xfrm>
              <a:custGeom>
                <a:avLst/>
                <a:gdLst>
                  <a:gd name="T0" fmla="*/ 39 w 114"/>
                  <a:gd name="T1" fmla="*/ 0 h 466"/>
                  <a:gd name="T2" fmla="*/ 3 w 114"/>
                  <a:gd name="T3" fmla="*/ 102 h 466"/>
                  <a:gd name="T4" fmla="*/ 43 w 114"/>
                  <a:gd name="T5" fmla="*/ 224 h 466"/>
                  <a:gd name="T6" fmla="*/ 49 w 114"/>
                  <a:gd name="T7" fmla="*/ 240 h 466"/>
                  <a:gd name="T8" fmla="*/ 35 w 114"/>
                  <a:gd name="T9" fmla="*/ 450 h 466"/>
                  <a:gd name="T10" fmla="*/ 86 w 114"/>
                  <a:gd name="T11" fmla="*/ 466 h 466"/>
                  <a:gd name="T12" fmla="*/ 110 w 114"/>
                  <a:gd name="T13" fmla="*/ 208 h 466"/>
                  <a:gd name="T14" fmla="*/ 39 w 114"/>
                  <a:gd name="T15" fmla="*/ 0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466">
                    <a:moveTo>
                      <a:pt x="39" y="0"/>
                    </a:moveTo>
                    <a:cubicBezTo>
                      <a:pt x="10" y="15"/>
                      <a:pt x="0" y="77"/>
                      <a:pt x="3" y="102"/>
                    </a:cubicBezTo>
                    <a:cubicBezTo>
                      <a:pt x="43" y="224"/>
                      <a:pt x="43" y="224"/>
                      <a:pt x="43" y="224"/>
                    </a:cubicBezTo>
                    <a:cubicBezTo>
                      <a:pt x="43" y="224"/>
                      <a:pt x="44" y="238"/>
                      <a:pt x="49" y="240"/>
                    </a:cubicBezTo>
                    <a:cubicBezTo>
                      <a:pt x="35" y="450"/>
                      <a:pt x="35" y="450"/>
                      <a:pt x="35" y="450"/>
                    </a:cubicBezTo>
                    <a:cubicBezTo>
                      <a:pt x="39" y="442"/>
                      <a:pt x="81" y="449"/>
                      <a:pt x="86" y="466"/>
                    </a:cubicBezTo>
                    <a:cubicBezTo>
                      <a:pt x="86" y="466"/>
                      <a:pt x="114" y="264"/>
                      <a:pt x="110" y="208"/>
                    </a:cubicBezTo>
                    <a:cubicBezTo>
                      <a:pt x="110" y="197"/>
                      <a:pt x="39" y="0"/>
                      <a:pt x="39" y="0"/>
                    </a:cubicBez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9">
                <a:extLst>
                  <a:ext uri="{FF2B5EF4-FFF2-40B4-BE49-F238E27FC236}">
                    <a16:creationId xmlns:a16="http://schemas.microsoft.com/office/drawing/2014/main" id="{DBA132A5-544C-439B-A8F4-66B758588765}"/>
                  </a:ext>
                </a:extLst>
              </p:cNvPr>
              <p:cNvSpPr>
                <a:spLocks/>
              </p:cNvSpPr>
              <p:nvPr/>
            </p:nvSpPr>
            <p:spPr bwMode="auto">
              <a:xfrm>
                <a:off x="4356" y="1983"/>
                <a:ext cx="116" cy="173"/>
              </a:xfrm>
              <a:custGeom>
                <a:avLst/>
                <a:gdLst>
                  <a:gd name="T0" fmla="*/ 0 w 59"/>
                  <a:gd name="T1" fmla="*/ 30 h 88"/>
                  <a:gd name="T2" fmla="*/ 13 w 59"/>
                  <a:gd name="T3" fmla="*/ 81 h 88"/>
                  <a:gd name="T4" fmla="*/ 59 w 59"/>
                  <a:gd name="T5" fmla="*/ 67 h 88"/>
                  <a:gd name="T6" fmla="*/ 57 w 59"/>
                  <a:gd name="T7" fmla="*/ 0 h 88"/>
                  <a:gd name="T8" fmla="*/ 48 w 59"/>
                  <a:gd name="T9" fmla="*/ 1 h 88"/>
                  <a:gd name="T10" fmla="*/ 0 w 59"/>
                  <a:gd name="T11" fmla="*/ 30 h 88"/>
                </a:gdLst>
                <a:ahLst/>
                <a:cxnLst>
                  <a:cxn ang="0">
                    <a:pos x="T0" y="T1"/>
                  </a:cxn>
                  <a:cxn ang="0">
                    <a:pos x="T2" y="T3"/>
                  </a:cxn>
                  <a:cxn ang="0">
                    <a:pos x="T4" y="T5"/>
                  </a:cxn>
                  <a:cxn ang="0">
                    <a:pos x="T6" y="T7"/>
                  </a:cxn>
                  <a:cxn ang="0">
                    <a:pos x="T8" y="T9"/>
                  </a:cxn>
                  <a:cxn ang="0">
                    <a:pos x="T10" y="T11"/>
                  </a:cxn>
                </a:cxnLst>
                <a:rect l="0" t="0" r="r" b="b"/>
                <a:pathLst>
                  <a:path w="59" h="88">
                    <a:moveTo>
                      <a:pt x="0" y="30"/>
                    </a:moveTo>
                    <a:cubicBezTo>
                      <a:pt x="13" y="81"/>
                      <a:pt x="13" y="81"/>
                      <a:pt x="13" y="81"/>
                    </a:cubicBezTo>
                    <a:cubicBezTo>
                      <a:pt x="13" y="81"/>
                      <a:pt x="28" y="88"/>
                      <a:pt x="59" y="67"/>
                    </a:cubicBezTo>
                    <a:cubicBezTo>
                      <a:pt x="59" y="67"/>
                      <a:pt x="43" y="28"/>
                      <a:pt x="57" y="0"/>
                    </a:cubicBezTo>
                    <a:cubicBezTo>
                      <a:pt x="57" y="0"/>
                      <a:pt x="54" y="0"/>
                      <a:pt x="48" y="1"/>
                    </a:cubicBezTo>
                    <a:cubicBezTo>
                      <a:pt x="48" y="1"/>
                      <a:pt x="42" y="32"/>
                      <a:pt x="0" y="3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0">
                <a:extLst>
                  <a:ext uri="{FF2B5EF4-FFF2-40B4-BE49-F238E27FC236}">
                    <a16:creationId xmlns:a16="http://schemas.microsoft.com/office/drawing/2014/main" id="{D3F85644-C90B-4BB7-BC8E-93519B9CB90A}"/>
                  </a:ext>
                </a:extLst>
              </p:cNvPr>
              <p:cNvSpPr>
                <a:spLocks/>
              </p:cNvSpPr>
              <p:nvPr/>
            </p:nvSpPr>
            <p:spPr bwMode="auto">
              <a:xfrm>
                <a:off x="4297" y="1794"/>
                <a:ext cx="188" cy="273"/>
              </a:xfrm>
              <a:custGeom>
                <a:avLst/>
                <a:gdLst>
                  <a:gd name="T0" fmla="*/ 96 w 96"/>
                  <a:gd name="T1" fmla="*/ 70 h 139"/>
                  <a:gd name="T2" fmla="*/ 16 w 96"/>
                  <a:gd name="T3" fmla="*/ 117 h 139"/>
                  <a:gd name="T4" fmla="*/ 4 w 96"/>
                  <a:gd name="T5" fmla="*/ 82 h 139"/>
                  <a:gd name="T6" fmla="*/ 2 w 96"/>
                  <a:gd name="T7" fmla="*/ 72 h 139"/>
                  <a:gd name="T8" fmla="*/ 14 w 96"/>
                  <a:gd name="T9" fmla="*/ 21 h 139"/>
                  <a:gd name="T10" fmla="*/ 96 w 96"/>
                  <a:gd name="T11" fmla="*/ 70 h 139"/>
                </a:gdLst>
                <a:ahLst/>
                <a:cxnLst>
                  <a:cxn ang="0">
                    <a:pos x="T0" y="T1"/>
                  </a:cxn>
                  <a:cxn ang="0">
                    <a:pos x="T2" y="T3"/>
                  </a:cxn>
                  <a:cxn ang="0">
                    <a:pos x="T4" y="T5"/>
                  </a:cxn>
                  <a:cxn ang="0">
                    <a:pos x="T6" y="T7"/>
                  </a:cxn>
                  <a:cxn ang="0">
                    <a:pos x="T8" y="T9"/>
                  </a:cxn>
                  <a:cxn ang="0">
                    <a:pos x="T10" y="T11"/>
                  </a:cxn>
                </a:cxnLst>
                <a:rect l="0" t="0" r="r" b="b"/>
                <a:pathLst>
                  <a:path w="96" h="139">
                    <a:moveTo>
                      <a:pt x="96" y="70"/>
                    </a:moveTo>
                    <a:cubicBezTo>
                      <a:pt x="96" y="131"/>
                      <a:pt x="31" y="139"/>
                      <a:pt x="16" y="117"/>
                    </a:cubicBezTo>
                    <a:cubicBezTo>
                      <a:pt x="11" y="110"/>
                      <a:pt x="7" y="96"/>
                      <a:pt x="4" y="82"/>
                    </a:cubicBezTo>
                    <a:cubicBezTo>
                      <a:pt x="3" y="79"/>
                      <a:pt x="3" y="76"/>
                      <a:pt x="2" y="72"/>
                    </a:cubicBezTo>
                    <a:cubicBezTo>
                      <a:pt x="0" y="50"/>
                      <a:pt x="2" y="27"/>
                      <a:pt x="14" y="21"/>
                    </a:cubicBezTo>
                    <a:cubicBezTo>
                      <a:pt x="58" y="0"/>
                      <a:pt x="95" y="9"/>
                      <a:pt x="96" y="7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1">
                <a:extLst>
                  <a:ext uri="{FF2B5EF4-FFF2-40B4-BE49-F238E27FC236}">
                    <a16:creationId xmlns:a16="http://schemas.microsoft.com/office/drawing/2014/main" id="{EEF86D03-DD49-498A-86F3-BBCA65D8564E}"/>
                  </a:ext>
                </a:extLst>
              </p:cNvPr>
              <p:cNvSpPr>
                <a:spLocks/>
              </p:cNvSpPr>
              <p:nvPr/>
            </p:nvSpPr>
            <p:spPr bwMode="auto">
              <a:xfrm>
                <a:off x="4375" y="1900"/>
                <a:ext cx="14" cy="24"/>
              </a:xfrm>
              <a:custGeom>
                <a:avLst/>
                <a:gdLst>
                  <a:gd name="T0" fmla="*/ 7 w 7"/>
                  <a:gd name="T1" fmla="*/ 5 h 12"/>
                  <a:gd name="T2" fmla="*/ 4 w 7"/>
                  <a:gd name="T3" fmla="*/ 12 h 12"/>
                  <a:gd name="T4" fmla="*/ 0 w 7"/>
                  <a:gd name="T5" fmla="*/ 6 h 12"/>
                  <a:gd name="T6" fmla="*/ 3 w 7"/>
                  <a:gd name="T7" fmla="*/ 0 h 12"/>
                  <a:gd name="T8" fmla="*/ 7 w 7"/>
                  <a:gd name="T9" fmla="*/ 5 h 12"/>
                </a:gdLst>
                <a:ahLst/>
                <a:cxnLst>
                  <a:cxn ang="0">
                    <a:pos x="T0" y="T1"/>
                  </a:cxn>
                  <a:cxn ang="0">
                    <a:pos x="T2" y="T3"/>
                  </a:cxn>
                  <a:cxn ang="0">
                    <a:pos x="T4" y="T5"/>
                  </a:cxn>
                  <a:cxn ang="0">
                    <a:pos x="T6" y="T7"/>
                  </a:cxn>
                  <a:cxn ang="0">
                    <a:pos x="T8" y="T9"/>
                  </a:cxn>
                </a:cxnLst>
                <a:rect l="0" t="0" r="r" b="b"/>
                <a:pathLst>
                  <a:path w="7" h="12">
                    <a:moveTo>
                      <a:pt x="7" y="5"/>
                    </a:moveTo>
                    <a:cubicBezTo>
                      <a:pt x="7" y="9"/>
                      <a:pt x="6" y="12"/>
                      <a:pt x="4" y="12"/>
                    </a:cubicBezTo>
                    <a:cubicBezTo>
                      <a:pt x="2" y="12"/>
                      <a:pt x="0" y="9"/>
                      <a:pt x="0" y="6"/>
                    </a:cubicBezTo>
                    <a:cubicBezTo>
                      <a:pt x="0" y="3"/>
                      <a:pt x="1" y="0"/>
                      <a:pt x="3" y="0"/>
                    </a:cubicBezTo>
                    <a:cubicBezTo>
                      <a:pt x="5" y="0"/>
                      <a:pt x="6" y="2"/>
                      <a:pt x="7" y="5"/>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2">
                <a:extLst>
                  <a:ext uri="{FF2B5EF4-FFF2-40B4-BE49-F238E27FC236}">
                    <a16:creationId xmlns:a16="http://schemas.microsoft.com/office/drawing/2014/main" id="{FC5343BD-41B9-46C9-B6C3-C893D9C30084}"/>
                  </a:ext>
                </a:extLst>
              </p:cNvPr>
              <p:cNvSpPr>
                <a:spLocks/>
              </p:cNvSpPr>
              <p:nvPr/>
            </p:nvSpPr>
            <p:spPr bwMode="auto">
              <a:xfrm>
                <a:off x="4315" y="1910"/>
                <a:ext cx="13" cy="26"/>
              </a:xfrm>
              <a:custGeom>
                <a:avLst/>
                <a:gdLst>
                  <a:gd name="T0" fmla="*/ 7 w 7"/>
                  <a:gd name="T1" fmla="*/ 6 h 13"/>
                  <a:gd name="T2" fmla="*/ 4 w 7"/>
                  <a:gd name="T3" fmla="*/ 12 h 13"/>
                  <a:gd name="T4" fmla="*/ 0 w 7"/>
                  <a:gd name="T5" fmla="*/ 7 h 13"/>
                  <a:gd name="T6" fmla="*/ 3 w 7"/>
                  <a:gd name="T7" fmla="*/ 0 h 13"/>
                  <a:gd name="T8" fmla="*/ 7 w 7"/>
                  <a:gd name="T9" fmla="*/ 6 h 13"/>
                </a:gdLst>
                <a:ahLst/>
                <a:cxnLst>
                  <a:cxn ang="0">
                    <a:pos x="T0" y="T1"/>
                  </a:cxn>
                  <a:cxn ang="0">
                    <a:pos x="T2" y="T3"/>
                  </a:cxn>
                  <a:cxn ang="0">
                    <a:pos x="T4" y="T5"/>
                  </a:cxn>
                  <a:cxn ang="0">
                    <a:pos x="T6" y="T7"/>
                  </a:cxn>
                  <a:cxn ang="0">
                    <a:pos x="T8" y="T9"/>
                  </a:cxn>
                </a:cxnLst>
                <a:rect l="0" t="0" r="r" b="b"/>
                <a:pathLst>
                  <a:path w="7" h="13">
                    <a:moveTo>
                      <a:pt x="7" y="6"/>
                    </a:moveTo>
                    <a:cubicBezTo>
                      <a:pt x="7" y="9"/>
                      <a:pt x="6" y="12"/>
                      <a:pt x="4" y="12"/>
                    </a:cubicBezTo>
                    <a:cubicBezTo>
                      <a:pt x="2" y="13"/>
                      <a:pt x="1" y="10"/>
                      <a:pt x="0" y="7"/>
                    </a:cubicBezTo>
                    <a:cubicBezTo>
                      <a:pt x="0" y="3"/>
                      <a:pt x="1" y="0"/>
                      <a:pt x="3" y="0"/>
                    </a:cubicBezTo>
                    <a:cubicBezTo>
                      <a:pt x="5" y="0"/>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3">
                <a:extLst>
                  <a:ext uri="{FF2B5EF4-FFF2-40B4-BE49-F238E27FC236}">
                    <a16:creationId xmlns:a16="http://schemas.microsoft.com/office/drawing/2014/main" id="{AEA1E826-09D2-49B4-8908-8615F9C945B6}"/>
                  </a:ext>
                </a:extLst>
              </p:cNvPr>
              <p:cNvSpPr>
                <a:spLocks/>
              </p:cNvSpPr>
              <p:nvPr/>
            </p:nvSpPr>
            <p:spPr bwMode="auto">
              <a:xfrm>
                <a:off x="4391" y="1922"/>
                <a:ext cx="28" cy="24"/>
              </a:xfrm>
              <a:custGeom>
                <a:avLst/>
                <a:gdLst>
                  <a:gd name="T0" fmla="*/ 13 w 14"/>
                  <a:gd name="T1" fmla="*/ 4 h 12"/>
                  <a:gd name="T2" fmla="*/ 9 w 14"/>
                  <a:gd name="T3" fmla="*/ 11 h 12"/>
                  <a:gd name="T4" fmla="*/ 1 w 14"/>
                  <a:gd name="T5" fmla="*/ 9 h 12"/>
                  <a:gd name="T6" fmla="*/ 5 w 14"/>
                  <a:gd name="T7" fmla="*/ 2 h 12"/>
                  <a:gd name="T8" fmla="*/ 13 w 14"/>
                  <a:gd name="T9" fmla="*/ 4 h 12"/>
                </a:gdLst>
                <a:ahLst/>
                <a:cxnLst>
                  <a:cxn ang="0">
                    <a:pos x="T0" y="T1"/>
                  </a:cxn>
                  <a:cxn ang="0">
                    <a:pos x="T2" y="T3"/>
                  </a:cxn>
                  <a:cxn ang="0">
                    <a:pos x="T4" y="T5"/>
                  </a:cxn>
                  <a:cxn ang="0">
                    <a:pos x="T6" y="T7"/>
                  </a:cxn>
                  <a:cxn ang="0">
                    <a:pos x="T8" y="T9"/>
                  </a:cxn>
                </a:cxnLst>
                <a:rect l="0" t="0" r="r" b="b"/>
                <a:pathLst>
                  <a:path w="14" h="12">
                    <a:moveTo>
                      <a:pt x="13" y="4"/>
                    </a:moveTo>
                    <a:cubicBezTo>
                      <a:pt x="14" y="6"/>
                      <a:pt x="12" y="10"/>
                      <a:pt x="9" y="11"/>
                    </a:cubicBezTo>
                    <a:cubicBezTo>
                      <a:pt x="6" y="12"/>
                      <a:pt x="2" y="11"/>
                      <a:pt x="1" y="9"/>
                    </a:cubicBezTo>
                    <a:cubicBezTo>
                      <a:pt x="0" y="6"/>
                      <a:pt x="2" y="3"/>
                      <a:pt x="5" y="2"/>
                    </a:cubicBezTo>
                    <a:cubicBezTo>
                      <a:pt x="8" y="0"/>
                      <a:pt x="12" y="1"/>
                      <a:pt x="13"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4">
                <a:extLst>
                  <a:ext uri="{FF2B5EF4-FFF2-40B4-BE49-F238E27FC236}">
                    <a16:creationId xmlns:a16="http://schemas.microsoft.com/office/drawing/2014/main" id="{24129BC6-F52A-427D-B305-42F6F5258B29}"/>
                  </a:ext>
                </a:extLst>
              </p:cNvPr>
              <p:cNvSpPr>
                <a:spLocks/>
              </p:cNvSpPr>
              <p:nvPr/>
            </p:nvSpPr>
            <p:spPr bwMode="auto">
              <a:xfrm>
                <a:off x="4301" y="1936"/>
                <a:ext cx="18" cy="21"/>
              </a:xfrm>
              <a:custGeom>
                <a:avLst/>
                <a:gdLst>
                  <a:gd name="T0" fmla="*/ 9 w 9"/>
                  <a:gd name="T1" fmla="*/ 6 h 11"/>
                  <a:gd name="T2" fmla="*/ 2 w 9"/>
                  <a:gd name="T3" fmla="*/ 10 h 11"/>
                  <a:gd name="T4" fmla="*/ 0 w 9"/>
                  <a:gd name="T5" fmla="*/ 0 h 11"/>
                  <a:gd name="T6" fmla="*/ 3 w 9"/>
                  <a:gd name="T7" fmla="*/ 0 h 11"/>
                  <a:gd name="T8" fmla="*/ 9 w 9"/>
                  <a:gd name="T9" fmla="*/ 6 h 11"/>
                </a:gdLst>
                <a:ahLst/>
                <a:cxnLst>
                  <a:cxn ang="0">
                    <a:pos x="T0" y="T1"/>
                  </a:cxn>
                  <a:cxn ang="0">
                    <a:pos x="T2" y="T3"/>
                  </a:cxn>
                  <a:cxn ang="0">
                    <a:pos x="T4" y="T5"/>
                  </a:cxn>
                  <a:cxn ang="0">
                    <a:pos x="T6" y="T7"/>
                  </a:cxn>
                  <a:cxn ang="0">
                    <a:pos x="T8" y="T9"/>
                  </a:cxn>
                </a:cxnLst>
                <a:rect l="0" t="0" r="r" b="b"/>
                <a:pathLst>
                  <a:path w="9" h="11">
                    <a:moveTo>
                      <a:pt x="9" y="6"/>
                    </a:moveTo>
                    <a:cubicBezTo>
                      <a:pt x="8" y="9"/>
                      <a:pt x="5" y="11"/>
                      <a:pt x="2" y="10"/>
                    </a:cubicBezTo>
                    <a:cubicBezTo>
                      <a:pt x="1" y="7"/>
                      <a:pt x="1" y="4"/>
                      <a:pt x="0" y="0"/>
                    </a:cubicBezTo>
                    <a:cubicBezTo>
                      <a:pt x="1" y="0"/>
                      <a:pt x="2" y="0"/>
                      <a:pt x="3" y="0"/>
                    </a:cubicBezTo>
                    <a:cubicBezTo>
                      <a:pt x="7" y="1"/>
                      <a:pt x="9" y="4"/>
                      <a:pt x="9" y="6"/>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5">
                <a:extLst>
                  <a:ext uri="{FF2B5EF4-FFF2-40B4-BE49-F238E27FC236}">
                    <a16:creationId xmlns:a16="http://schemas.microsoft.com/office/drawing/2014/main" id="{0CE60EDD-62B8-4006-9E76-9508A095533B}"/>
                  </a:ext>
                </a:extLst>
              </p:cNvPr>
              <p:cNvSpPr>
                <a:spLocks/>
              </p:cNvSpPr>
              <p:nvPr/>
            </p:nvSpPr>
            <p:spPr bwMode="auto">
              <a:xfrm>
                <a:off x="4370" y="1867"/>
                <a:ext cx="23" cy="6"/>
              </a:xfrm>
              <a:custGeom>
                <a:avLst/>
                <a:gdLst>
                  <a:gd name="T0" fmla="*/ 0 w 12"/>
                  <a:gd name="T1" fmla="*/ 2 h 3"/>
                  <a:gd name="T2" fmla="*/ 12 w 12"/>
                  <a:gd name="T3" fmla="*/ 3 h 3"/>
                </a:gdLst>
                <a:ahLst/>
                <a:cxnLst>
                  <a:cxn ang="0">
                    <a:pos x="T0" y="T1"/>
                  </a:cxn>
                  <a:cxn ang="0">
                    <a:pos x="T2" y="T3"/>
                  </a:cxn>
                </a:cxnLst>
                <a:rect l="0" t="0" r="r" b="b"/>
                <a:pathLst>
                  <a:path w="12" h="3">
                    <a:moveTo>
                      <a:pt x="0" y="2"/>
                    </a:moveTo>
                    <a:cubicBezTo>
                      <a:pt x="0" y="2"/>
                      <a:pt x="7" y="0"/>
                      <a:pt x="12" y="3"/>
                    </a:cubicBezTo>
                  </a:path>
                </a:pathLst>
              </a:custGeom>
              <a:noFill/>
              <a:ln w="12700" cap="rnd">
                <a:solidFill>
                  <a:srgbClr val="8B38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7" name="Freeform 36">
                <a:extLst>
                  <a:ext uri="{FF2B5EF4-FFF2-40B4-BE49-F238E27FC236}">
                    <a16:creationId xmlns:a16="http://schemas.microsoft.com/office/drawing/2014/main" id="{8C105AB0-DB97-457B-BC92-24CEAA71A614}"/>
                  </a:ext>
                </a:extLst>
              </p:cNvPr>
              <p:cNvSpPr>
                <a:spLocks/>
              </p:cNvSpPr>
              <p:nvPr/>
            </p:nvSpPr>
            <p:spPr bwMode="auto">
              <a:xfrm>
                <a:off x="4305" y="1883"/>
                <a:ext cx="14" cy="10"/>
              </a:xfrm>
              <a:custGeom>
                <a:avLst/>
                <a:gdLst>
                  <a:gd name="T0" fmla="*/ 7 w 7"/>
                  <a:gd name="T1" fmla="*/ 0 h 5"/>
                  <a:gd name="T2" fmla="*/ 0 w 7"/>
                  <a:gd name="T3" fmla="*/ 5 h 5"/>
                </a:gdLst>
                <a:ahLst/>
                <a:cxnLst>
                  <a:cxn ang="0">
                    <a:pos x="T0" y="T1"/>
                  </a:cxn>
                  <a:cxn ang="0">
                    <a:pos x="T2" y="T3"/>
                  </a:cxn>
                </a:cxnLst>
                <a:rect l="0" t="0" r="r" b="b"/>
                <a:pathLst>
                  <a:path w="7" h="5">
                    <a:moveTo>
                      <a:pt x="7" y="0"/>
                    </a:moveTo>
                    <a:cubicBezTo>
                      <a:pt x="7" y="0"/>
                      <a:pt x="0" y="1"/>
                      <a:pt x="0" y="5"/>
                    </a:cubicBezTo>
                  </a:path>
                </a:pathLst>
              </a:custGeom>
              <a:noFill/>
              <a:ln w="12700" cap="rnd">
                <a:solidFill>
                  <a:srgbClr val="8B38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8" name="Freeform 37">
                <a:extLst>
                  <a:ext uri="{FF2B5EF4-FFF2-40B4-BE49-F238E27FC236}">
                    <a16:creationId xmlns:a16="http://schemas.microsoft.com/office/drawing/2014/main" id="{75590DCA-918A-4F86-80D7-FE2A1FC77AA3}"/>
                  </a:ext>
                </a:extLst>
              </p:cNvPr>
              <p:cNvSpPr>
                <a:spLocks/>
              </p:cNvSpPr>
              <p:nvPr/>
            </p:nvSpPr>
            <p:spPr bwMode="auto">
              <a:xfrm>
                <a:off x="4321" y="1902"/>
                <a:ext cx="23" cy="67"/>
              </a:xfrm>
              <a:custGeom>
                <a:avLst/>
                <a:gdLst>
                  <a:gd name="T0" fmla="*/ 9 w 12"/>
                  <a:gd name="T1" fmla="*/ 0 h 34"/>
                  <a:gd name="T2" fmla="*/ 1 w 12"/>
                  <a:gd name="T3" fmla="*/ 28 h 34"/>
                  <a:gd name="T4" fmla="*/ 12 w 12"/>
                  <a:gd name="T5" fmla="*/ 32 h 34"/>
                </a:gdLst>
                <a:ahLst/>
                <a:cxnLst>
                  <a:cxn ang="0">
                    <a:pos x="T0" y="T1"/>
                  </a:cxn>
                  <a:cxn ang="0">
                    <a:pos x="T2" y="T3"/>
                  </a:cxn>
                  <a:cxn ang="0">
                    <a:pos x="T4" y="T5"/>
                  </a:cxn>
                </a:cxnLst>
                <a:rect l="0" t="0" r="r" b="b"/>
                <a:pathLst>
                  <a:path w="12" h="34">
                    <a:moveTo>
                      <a:pt x="9" y="0"/>
                    </a:moveTo>
                    <a:cubicBezTo>
                      <a:pt x="9" y="0"/>
                      <a:pt x="9" y="15"/>
                      <a:pt x="1" y="28"/>
                    </a:cubicBezTo>
                    <a:cubicBezTo>
                      <a:pt x="1" y="28"/>
                      <a:pt x="0" y="34"/>
                      <a:pt x="12" y="32"/>
                    </a:cubicBezTo>
                  </a:path>
                </a:pathLst>
              </a:custGeom>
              <a:noFill/>
              <a:ln w="9525" cap="flat">
                <a:solidFill>
                  <a:srgbClr val="DB61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Freeform 38">
                <a:extLst>
                  <a:ext uri="{FF2B5EF4-FFF2-40B4-BE49-F238E27FC236}">
                    <a16:creationId xmlns:a16="http://schemas.microsoft.com/office/drawing/2014/main" id="{024A6D6D-5272-48B3-8AAE-ABB32AEAFF22}"/>
                  </a:ext>
                </a:extLst>
              </p:cNvPr>
              <p:cNvSpPr>
                <a:spLocks/>
              </p:cNvSpPr>
              <p:nvPr/>
            </p:nvSpPr>
            <p:spPr bwMode="auto">
              <a:xfrm>
                <a:off x="4283" y="1775"/>
                <a:ext cx="232" cy="210"/>
              </a:xfrm>
              <a:custGeom>
                <a:avLst/>
                <a:gdLst>
                  <a:gd name="T0" fmla="*/ 11 w 118"/>
                  <a:gd name="T1" fmla="*/ 45 h 107"/>
                  <a:gd name="T2" fmla="*/ 61 w 118"/>
                  <a:gd name="T3" fmla="*/ 33 h 107"/>
                  <a:gd name="T4" fmla="*/ 78 w 118"/>
                  <a:gd name="T5" fmla="*/ 62 h 107"/>
                  <a:gd name="T6" fmla="*/ 93 w 118"/>
                  <a:gd name="T7" fmla="*/ 88 h 107"/>
                  <a:gd name="T8" fmla="*/ 99 w 118"/>
                  <a:gd name="T9" fmla="*/ 77 h 107"/>
                  <a:gd name="T10" fmla="*/ 98 w 118"/>
                  <a:gd name="T11" fmla="*/ 107 h 107"/>
                  <a:gd name="T12" fmla="*/ 117 w 118"/>
                  <a:gd name="T13" fmla="*/ 53 h 107"/>
                  <a:gd name="T14" fmla="*/ 79 w 118"/>
                  <a:gd name="T15" fmla="*/ 19 h 107"/>
                  <a:gd name="T16" fmla="*/ 25 w 118"/>
                  <a:gd name="T17" fmla="*/ 9 h 107"/>
                  <a:gd name="T18" fmla="*/ 28 w 118"/>
                  <a:gd name="T19" fmla="*/ 11 h 107"/>
                  <a:gd name="T20" fmla="*/ 1 w 118"/>
                  <a:gd name="T21" fmla="*/ 31 h 107"/>
                  <a:gd name="T22" fmla="*/ 4 w 118"/>
                  <a:gd name="T23" fmla="*/ 31 h 107"/>
                  <a:gd name="T24" fmla="*/ 11 w 118"/>
                  <a:gd name="T25"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07">
                    <a:moveTo>
                      <a:pt x="11" y="45"/>
                    </a:moveTo>
                    <a:cubicBezTo>
                      <a:pt x="11" y="45"/>
                      <a:pt x="23" y="29"/>
                      <a:pt x="61" y="33"/>
                    </a:cubicBezTo>
                    <a:cubicBezTo>
                      <a:pt x="61" y="33"/>
                      <a:pt x="66" y="56"/>
                      <a:pt x="78" y="62"/>
                    </a:cubicBezTo>
                    <a:cubicBezTo>
                      <a:pt x="89" y="69"/>
                      <a:pt x="93" y="88"/>
                      <a:pt x="93" y="88"/>
                    </a:cubicBezTo>
                    <a:cubicBezTo>
                      <a:pt x="93" y="88"/>
                      <a:pt x="95" y="78"/>
                      <a:pt x="99" y="77"/>
                    </a:cubicBezTo>
                    <a:cubicBezTo>
                      <a:pt x="104" y="76"/>
                      <a:pt x="98" y="107"/>
                      <a:pt x="98" y="107"/>
                    </a:cubicBezTo>
                    <a:cubicBezTo>
                      <a:pt x="98" y="107"/>
                      <a:pt x="117" y="104"/>
                      <a:pt x="117" y="53"/>
                    </a:cubicBezTo>
                    <a:cubicBezTo>
                      <a:pt x="118" y="7"/>
                      <a:pt x="79" y="19"/>
                      <a:pt x="79" y="19"/>
                    </a:cubicBezTo>
                    <a:cubicBezTo>
                      <a:pt x="79" y="19"/>
                      <a:pt x="69" y="0"/>
                      <a:pt x="25" y="9"/>
                    </a:cubicBezTo>
                    <a:cubicBezTo>
                      <a:pt x="28" y="11"/>
                      <a:pt x="28" y="11"/>
                      <a:pt x="28" y="11"/>
                    </a:cubicBezTo>
                    <a:cubicBezTo>
                      <a:pt x="28" y="11"/>
                      <a:pt x="8" y="14"/>
                      <a:pt x="1" y="31"/>
                    </a:cubicBezTo>
                    <a:cubicBezTo>
                      <a:pt x="4" y="31"/>
                      <a:pt x="4" y="31"/>
                      <a:pt x="4" y="31"/>
                    </a:cubicBezTo>
                    <a:cubicBezTo>
                      <a:pt x="4" y="31"/>
                      <a:pt x="0" y="40"/>
                      <a:pt x="11" y="4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9">
                <a:extLst>
                  <a:ext uri="{FF2B5EF4-FFF2-40B4-BE49-F238E27FC236}">
                    <a16:creationId xmlns:a16="http://schemas.microsoft.com/office/drawing/2014/main" id="{58CD7977-C7A7-4B5F-8FBF-C10DDCAD735D}"/>
                  </a:ext>
                </a:extLst>
              </p:cNvPr>
              <p:cNvSpPr>
                <a:spLocks/>
              </p:cNvSpPr>
              <p:nvPr/>
            </p:nvSpPr>
            <p:spPr bwMode="auto">
              <a:xfrm>
                <a:off x="4450" y="1908"/>
                <a:ext cx="65" cy="69"/>
              </a:xfrm>
              <a:custGeom>
                <a:avLst/>
                <a:gdLst>
                  <a:gd name="T0" fmla="*/ 5 w 33"/>
                  <a:gd name="T1" fmla="*/ 12 h 35"/>
                  <a:gd name="T2" fmla="*/ 24 w 33"/>
                  <a:gd name="T3" fmla="*/ 6 h 35"/>
                  <a:gd name="T4" fmla="*/ 10 w 33"/>
                  <a:gd name="T5" fmla="*/ 35 h 35"/>
                  <a:gd name="T6" fmla="*/ 5 w 33"/>
                  <a:gd name="T7" fmla="*/ 12 h 35"/>
                </a:gdLst>
                <a:ahLst/>
                <a:cxnLst>
                  <a:cxn ang="0">
                    <a:pos x="T0" y="T1"/>
                  </a:cxn>
                  <a:cxn ang="0">
                    <a:pos x="T2" y="T3"/>
                  </a:cxn>
                  <a:cxn ang="0">
                    <a:pos x="T4" y="T5"/>
                  </a:cxn>
                  <a:cxn ang="0">
                    <a:pos x="T6" y="T7"/>
                  </a:cxn>
                </a:cxnLst>
                <a:rect l="0" t="0" r="r" b="b"/>
                <a:pathLst>
                  <a:path w="33" h="35">
                    <a:moveTo>
                      <a:pt x="5" y="12"/>
                    </a:moveTo>
                    <a:cubicBezTo>
                      <a:pt x="5" y="12"/>
                      <a:pt x="14" y="0"/>
                      <a:pt x="24" y="6"/>
                    </a:cubicBezTo>
                    <a:cubicBezTo>
                      <a:pt x="33" y="12"/>
                      <a:pt x="20" y="35"/>
                      <a:pt x="10" y="35"/>
                    </a:cubicBezTo>
                    <a:cubicBezTo>
                      <a:pt x="0" y="35"/>
                      <a:pt x="5" y="12"/>
                      <a:pt x="5"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0">
                <a:extLst>
                  <a:ext uri="{FF2B5EF4-FFF2-40B4-BE49-F238E27FC236}">
                    <a16:creationId xmlns:a16="http://schemas.microsoft.com/office/drawing/2014/main" id="{E91AD568-B8B3-4780-B14D-70B76C0C17EE}"/>
                  </a:ext>
                </a:extLst>
              </p:cNvPr>
              <p:cNvSpPr>
                <a:spLocks/>
              </p:cNvSpPr>
              <p:nvPr/>
            </p:nvSpPr>
            <p:spPr bwMode="auto">
              <a:xfrm>
                <a:off x="4291" y="1914"/>
                <a:ext cx="186" cy="157"/>
              </a:xfrm>
              <a:custGeom>
                <a:avLst/>
                <a:gdLst>
                  <a:gd name="T0" fmla="*/ 8 w 95"/>
                  <a:gd name="T1" fmla="*/ 25 h 80"/>
                  <a:gd name="T2" fmla="*/ 27 w 95"/>
                  <a:gd name="T3" fmla="*/ 31 h 80"/>
                  <a:gd name="T4" fmla="*/ 85 w 95"/>
                  <a:gd name="T5" fmla="*/ 0 h 80"/>
                  <a:gd name="T6" fmla="*/ 87 w 95"/>
                  <a:gd name="T7" fmla="*/ 7 h 80"/>
                  <a:gd name="T8" fmla="*/ 91 w 95"/>
                  <a:gd name="T9" fmla="*/ 46 h 80"/>
                  <a:gd name="T10" fmla="*/ 89 w 95"/>
                  <a:gd name="T11" fmla="*/ 45 h 80"/>
                  <a:gd name="T12" fmla="*/ 73 w 95"/>
                  <a:gd name="T13" fmla="*/ 66 h 80"/>
                  <a:gd name="T14" fmla="*/ 43 w 95"/>
                  <a:gd name="T15" fmla="*/ 76 h 80"/>
                  <a:gd name="T16" fmla="*/ 46 w 95"/>
                  <a:gd name="T17" fmla="*/ 78 h 80"/>
                  <a:gd name="T18" fmla="*/ 11 w 95"/>
                  <a:gd name="T19" fmla="*/ 61 h 80"/>
                  <a:gd name="T20" fmla="*/ 11 w 95"/>
                  <a:gd name="T21" fmla="*/ 66 h 80"/>
                  <a:gd name="T22" fmla="*/ 8 w 95"/>
                  <a:gd name="T23"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80">
                    <a:moveTo>
                      <a:pt x="8" y="25"/>
                    </a:moveTo>
                    <a:cubicBezTo>
                      <a:pt x="8" y="25"/>
                      <a:pt x="13" y="33"/>
                      <a:pt x="27" y="31"/>
                    </a:cubicBezTo>
                    <a:cubicBezTo>
                      <a:pt x="49" y="29"/>
                      <a:pt x="77" y="18"/>
                      <a:pt x="85" y="0"/>
                    </a:cubicBezTo>
                    <a:cubicBezTo>
                      <a:pt x="87" y="7"/>
                      <a:pt x="87" y="7"/>
                      <a:pt x="87" y="7"/>
                    </a:cubicBezTo>
                    <a:cubicBezTo>
                      <a:pt x="87" y="7"/>
                      <a:pt x="95" y="36"/>
                      <a:pt x="91" y="46"/>
                    </a:cubicBezTo>
                    <a:cubicBezTo>
                      <a:pt x="89" y="45"/>
                      <a:pt x="89" y="45"/>
                      <a:pt x="89" y="45"/>
                    </a:cubicBezTo>
                    <a:cubicBezTo>
                      <a:pt x="89" y="45"/>
                      <a:pt x="90" y="57"/>
                      <a:pt x="73" y="66"/>
                    </a:cubicBezTo>
                    <a:cubicBezTo>
                      <a:pt x="56" y="76"/>
                      <a:pt x="43" y="76"/>
                      <a:pt x="43" y="76"/>
                    </a:cubicBezTo>
                    <a:cubicBezTo>
                      <a:pt x="46" y="78"/>
                      <a:pt x="46" y="78"/>
                      <a:pt x="46" y="78"/>
                    </a:cubicBezTo>
                    <a:cubicBezTo>
                      <a:pt x="46" y="78"/>
                      <a:pt x="18" y="80"/>
                      <a:pt x="11" y="61"/>
                    </a:cubicBezTo>
                    <a:cubicBezTo>
                      <a:pt x="11" y="66"/>
                      <a:pt x="11" y="66"/>
                      <a:pt x="11" y="66"/>
                    </a:cubicBezTo>
                    <a:cubicBezTo>
                      <a:pt x="11" y="66"/>
                      <a:pt x="0" y="41"/>
                      <a:pt x="8" y="2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1">
                <a:extLst>
                  <a:ext uri="{FF2B5EF4-FFF2-40B4-BE49-F238E27FC236}">
                    <a16:creationId xmlns:a16="http://schemas.microsoft.com/office/drawing/2014/main" id="{B010AFCE-4B52-45C3-A108-61318AC8AE72}"/>
                  </a:ext>
                </a:extLst>
              </p:cNvPr>
              <p:cNvSpPr>
                <a:spLocks/>
              </p:cNvSpPr>
              <p:nvPr/>
            </p:nvSpPr>
            <p:spPr bwMode="auto">
              <a:xfrm>
                <a:off x="4330" y="1971"/>
                <a:ext cx="59" cy="47"/>
              </a:xfrm>
              <a:custGeom>
                <a:avLst/>
                <a:gdLst>
                  <a:gd name="T0" fmla="*/ 1 w 30"/>
                  <a:gd name="T1" fmla="*/ 6 h 24"/>
                  <a:gd name="T2" fmla="*/ 12 w 30"/>
                  <a:gd name="T3" fmla="*/ 6 h 24"/>
                  <a:gd name="T4" fmla="*/ 29 w 30"/>
                  <a:gd name="T5" fmla="*/ 0 h 24"/>
                  <a:gd name="T6" fmla="*/ 14 w 30"/>
                  <a:gd name="T7" fmla="*/ 23 h 24"/>
                  <a:gd name="T8" fmla="*/ 1 w 30"/>
                  <a:gd name="T9" fmla="*/ 6 h 24"/>
                </a:gdLst>
                <a:ahLst/>
                <a:cxnLst>
                  <a:cxn ang="0">
                    <a:pos x="T0" y="T1"/>
                  </a:cxn>
                  <a:cxn ang="0">
                    <a:pos x="T2" y="T3"/>
                  </a:cxn>
                  <a:cxn ang="0">
                    <a:pos x="T4" y="T5"/>
                  </a:cxn>
                  <a:cxn ang="0">
                    <a:pos x="T6" y="T7"/>
                  </a:cxn>
                  <a:cxn ang="0">
                    <a:pos x="T8" y="T9"/>
                  </a:cxn>
                </a:cxnLst>
                <a:rect l="0" t="0" r="r" b="b"/>
                <a:pathLst>
                  <a:path w="30" h="24">
                    <a:moveTo>
                      <a:pt x="1" y="6"/>
                    </a:moveTo>
                    <a:cubicBezTo>
                      <a:pt x="1" y="6"/>
                      <a:pt x="2" y="8"/>
                      <a:pt x="12" y="6"/>
                    </a:cubicBezTo>
                    <a:cubicBezTo>
                      <a:pt x="23" y="3"/>
                      <a:pt x="29" y="0"/>
                      <a:pt x="29" y="0"/>
                    </a:cubicBezTo>
                    <a:cubicBezTo>
                      <a:pt x="29" y="0"/>
                      <a:pt x="30" y="21"/>
                      <a:pt x="14" y="23"/>
                    </a:cubicBezTo>
                    <a:cubicBezTo>
                      <a:pt x="0" y="24"/>
                      <a:pt x="1" y="6"/>
                      <a:pt x="1"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42">
                <a:extLst>
                  <a:ext uri="{FF2B5EF4-FFF2-40B4-BE49-F238E27FC236}">
                    <a16:creationId xmlns:a16="http://schemas.microsoft.com/office/drawing/2014/main" id="{E657EDFC-23DB-4B33-9DB2-B1BDE32C20D5}"/>
                  </a:ext>
                </a:extLst>
              </p:cNvPr>
              <p:cNvSpPr>
                <a:spLocks/>
              </p:cNvSpPr>
              <p:nvPr/>
            </p:nvSpPr>
            <p:spPr bwMode="auto">
              <a:xfrm>
                <a:off x="3224" y="3839"/>
                <a:ext cx="118" cy="231"/>
              </a:xfrm>
              <a:custGeom>
                <a:avLst/>
                <a:gdLst>
                  <a:gd name="T0" fmla="*/ 59 w 60"/>
                  <a:gd name="T1" fmla="*/ 116 h 118"/>
                  <a:gd name="T2" fmla="*/ 33 w 60"/>
                  <a:gd name="T3" fmla="*/ 71 h 118"/>
                  <a:gd name="T4" fmla="*/ 33 w 60"/>
                  <a:gd name="T5" fmla="*/ 0 h 118"/>
                  <a:gd name="T6" fmla="*/ 5 w 60"/>
                  <a:gd name="T7" fmla="*/ 0 h 118"/>
                  <a:gd name="T8" fmla="*/ 5 w 60"/>
                  <a:gd name="T9" fmla="*/ 79 h 118"/>
                  <a:gd name="T10" fmla="*/ 2 w 60"/>
                  <a:gd name="T11" fmla="*/ 95 h 118"/>
                  <a:gd name="T12" fmla="*/ 1 w 60"/>
                  <a:gd name="T13" fmla="*/ 118 h 118"/>
                  <a:gd name="T14" fmla="*/ 60 w 60"/>
                  <a:gd name="T15" fmla="*/ 116 h 118"/>
                  <a:gd name="T16" fmla="*/ 59 w 60"/>
                  <a:gd name="T17" fmla="*/ 116 h 118"/>
                  <a:gd name="T18" fmla="*/ 59 w 60"/>
                  <a:gd name="T19"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18">
                    <a:moveTo>
                      <a:pt x="59" y="116"/>
                    </a:moveTo>
                    <a:cubicBezTo>
                      <a:pt x="53" y="110"/>
                      <a:pt x="33" y="84"/>
                      <a:pt x="33" y="71"/>
                    </a:cubicBezTo>
                    <a:cubicBezTo>
                      <a:pt x="32" y="53"/>
                      <a:pt x="33" y="28"/>
                      <a:pt x="33" y="0"/>
                    </a:cubicBezTo>
                    <a:cubicBezTo>
                      <a:pt x="5" y="0"/>
                      <a:pt x="5" y="0"/>
                      <a:pt x="5" y="0"/>
                    </a:cubicBezTo>
                    <a:cubicBezTo>
                      <a:pt x="6" y="30"/>
                      <a:pt x="6" y="67"/>
                      <a:pt x="5" y="79"/>
                    </a:cubicBezTo>
                    <a:cubicBezTo>
                      <a:pt x="5" y="80"/>
                      <a:pt x="3" y="93"/>
                      <a:pt x="2" y="95"/>
                    </a:cubicBezTo>
                    <a:cubicBezTo>
                      <a:pt x="0" y="98"/>
                      <a:pt x="1" y="118"/>
                      <a:pt x="1" y="118"/>
                    </a:cubicBezTo>
                    <a:cubicBezTo>
                      <a:pt x="60" y="116"/>
                      <a:pt x="60" y="116"/>
                      <a:pt x="60" y="116"/>
                    </a:cubicBezTo>
                    <a:cubicBezTo>
                      <a:pt x="59" y="116"/>
                      <a:pt x="59" y="116"/>
                      <a:pt x="59" y="116"/>
                    </a:cubicBezTo>
                    <a:cubicBezTo>
                      <a:pt x="59" y="116"/>
                      <a:pt x="59" y="116"/>
                      <a:pt x="59" y="11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3">
                <a:extLst>
                  <a:ext uri="{FF2B5EF4-FFF2-40B4-BE49-F238E27FC236}">
                    <a16:creationId xmlns:a16="http://schemas.microsoft.com/office/drawing/2014/main" id="{F37A3664-12A7-4046-B46E-2C0797DDB706}"/>
                  </a:ext>
                </a:extLst>
              </p:cNvPr>
              <p:cNvSpPr>
                <a:spLocks/>
              </p:cNvSpPr>
              <p:nvPr/>
            </p:nvSpPr>
            <p:spPr bwMode="auto">
              <a:xfrm>
                <a:off x="3109" y="2782"/>
                <a:ext cx="337" cy="1119"/>
              </a:xfrm>
              <a:custGeom>
                <a:avLst/>
                <a:gdLst>
                  <a:gd name="T0" fmla="*/ 92 w 172"/>
                  <a:gd name="T1" fmla="*/ 570 h 570"/>
                  <a:gd name="T2" fmla="*/ 110 w 172"/>
                  <a:gd name="T3" fmla="*/ 356 h 570"/>
                  <a:gd name="T4" fmla="*/ 137 w 172"/>
                  <a:gd name="T5" fmla="*/ 263 h 570"/>
                  <a:gd name="T6" fmla="*/ 161 w 172"/>
                  <a:gd name="T7" fmla="*/ 0 h 570"/>
                  <a:gd name="T8" fmla="*/ 87 w 172"/>
                  <a:gd name="T9" fmla="*/ 2 h 570"/>
                  <a:gd name="T10" fmla="*/ 50 w 172"/>
                  <a:gd name="T11" fmla="*/ 188 h 570"/>
                  <a:gd name="T12" fmla="*/ 60 w 172"/>
                  <a:gd name="T13" fmla="*/ 333 h 570"/>
                  <a:gd name="T14" fmla="*/ 52 w 172"/>
                  <a:gd name="T15" fmla="*/ 449 h 570"/>
                  <a:gd name="T16" fmla="*/ 64 w 172"/>
                  <a:gd name="T17" fmla="*/ 570 h 570"/>
                  <a:gd name="T18" fmla="*/ 92 w 172"/>
                  <a:gd name="T19" fmla="*/ 57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70">
                    <a:moveTo>
                      <a:pt x="92" y="570"/>
                    </a:moveTo>
                    <a:cubicBezTo>
                      <a:pt x="93" y="493"/>
                      <a:pt x="108" y="376"/>
                      <a:pt x="110" y="356"/>
                    </a:cubicBezTo>
                    <a:cubicBezTo>
                      <a:pt x="112" y="344"/>
                      <a:pt x="123" y="311"/>
                      <a:pt x="137" y="263"/>
                    </a:cubicBezTo>
                    <a:cubicBezTo>
                      <a:pt x="170" y="153"/>
                      <a:pt x="172" y="73"/>
                      <a:pt x="161" y="0"/>
                    </a:cubicBezTo>
                    <a:cubicBezTo>
                      <a:pt x="87" y="2"/>
                      <a:pt x="87" y="2"/>
                      <a:pt x="87" y="2"/>
                    </a:cubicBezTo>
                    <a:cubicBezTo>
                      <a:pt x="74" y="59"/>
                      <a:pt x="0" y="121"/>
                      <a:pt x="50" y="188"/>
                    </a:cubicBezTo>
                    <a:cubicBezTo>
                      <a:pt x="52" y="212"/>
                      <a:pt x="66" y="296"/>
                      <a:pt x="60" y="333"/>
                    </a:cubicBezTo>
                    <a:cubicBezTo>
                      <a:pt x="53" y="377"/>
                      <a:pt x="49" y="398"/>
                      <a:pt x="52" y="449"/>
                    </a:cubicBezTo>
                    <a:cubicBezTo>
                      <a:pt x="53" y="470"/>
                      <a:pt x="64" y="536"/>
                      <a:pt x="64" y="570"/>
                    </a:cubicBezTo>
                    <a:lnTo>
                      <a:pt x="92" y="57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4">
                <a:extLst>
                  <a:ext uri="{FF2B5EF4-FFF2-40B4-BE49-F238E27FC236}">
                    <a16:creationId xmlns:a16="http://schemas.microsoft.com/office/drawing/2014/main" id="{7B53471D-5119-4DF4-9C47-BA666D48C5CE}"/>
                  </a:ext>
                </a:extLst>
              </p:cNvPr>
              <p:cNvSpPr>
                <a:spLocks/>
              </p:cNvSpPr>
              <p:nvPr/>
            </p:nvSpPr>
            <p:spPr bwMode="auto">
              <a:xfrm>
                <a:off x="3607" y="2482"/>
                <a:ext cx="164" cy="112"/>
              </a:xfrm>
              <a:custGeom>
                <a:avLst/>
                <a:gdLst>
                  <a:gd name="T0" fmla="*/ 28 w 84"/>
                  <a:gd name="T1" fmla="*/ 0 h 57"/>
                  <a:gd name="T2" fmla="*/ 14 w 84"/>
                  <a:gd name="T3" fmla="*/ 17 h 57"/>
                  <a:gd name="T4" fmla="*/ 6 w 84"/>
                  <a:gd name="T5" fmla="*/ 47 h 57"/>
                  <a:gd name="T6" fmla="*/ 37 w 84"/>
                  <a:gd name="T7" fmla="*/ 52 h 57"/>
                  <a:gd name="T8" fmla="*/ 68 w 84"/>
                  <a:gd name="T9" fmla="*/ 49 h 57"/>
                  <a:gd name="T10" fmla="*/ 62 w 84"/>
                  <a:gd name="T11" fmla="*/ 47 h 57"/>
                  <a:gd name="T12" fmla="*/ 49 w 84"/>
                  <a:gd name="T13" fmla="*/ 43 h 57"/>
                  <a:gd name="T14" fmla="*/ 82 w 84"/>
                  <a:gd name="T15" fmla="*/ 34 h 57"/>
                  <a:gd name="T16" fmla="*/ 51 w 84"/>
                  <a:gd name="T17" fmla="*/ 33 h 57"/>
                  <a:gd name="T18" fmla="*/ 66 w 84"/>
                  <a:gd name="T19" fmla="*/ 26 h 57"/>
                  <a:gd name="T20" fmla="*/ 84 w 84"/>
                  <a:gd name="T21" fmla="*/ 18 h 57"/>
                  <a:gd name="T22" fmla="*/ 47 w 84"/>
                  <a:gd name="T23" fmla="*/ 23 h 57"/>
                  <a:gd name="T24" fmla="*/ 64 w 84"/>
                  <a:gd name="T25" fmla="*/ 15 h 57"/>
                  <a:gd name="T26" fmla="*/ 77 w 84"/>
                  <a:gd name="T27" fmla="*/ 7 h 57"/>
                  <a:gd name="T28" fmla="*/ 57 w 84"/>
                  <a:gd name="T29" fmla="*/ 13 h 57"/>
                  <a:gd name="T30" fmla="*/ 26 w 84"/>
                  <a:gd name="T31" fmla="*/ 20 h 57"/>
                  <a:gd name="T32" fmla="*/ 22 w 84"/>
                  <a:gd name="T33" fmla="*/ 20 h 57"/>
                  <a:gd name="T34" fmla="*/ 28 w 84"/>
                  <a:gd name="T3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7">
                    <a:moveTo>
                      <a:pt x="28" y="0"/>
                    </a:moveTo>
                    <a:cubicBezTo>
                      <a:pt x="28" y="0"/>
                      <a:pt x="28" y="0"/>
                      <a:pt x="14" y="17"/>
                    </a:cubicBezTo>
                    <a:cubicBezTo>
                      <a:pt x="0" y="34"/>
                      <a:pt x="3" y="35"/>
                      <a:pt x="6" y="47"/>
                    </a:cubicBezTo>
                    <a:cubicBezTo>
                      <a:pt x="9" y="57"/>
                      <a:pt x="29" y="55"/>
                      <a:pt x="37" y="52"/>
                    </a:cubicBezTo>
                    <a:cubicBezTo>
                      <a:pt x="44" y="49"/>
                      <a:pt x="63" y="53"/>
                      <a:pt x="68" y="49"/>
                    </a:cubicBezTo>
                    <a:cubicBezTo>
                      <a:pt x="70" y="48"/>
                      <a:pt x="68" y="47"/>
                      <a:pt x="62" y="47"/>
                    </a:cubicBezTo>
                    <a:cubicBezTo>
                      <a:pt x="55" y="46"/>
                      <a:pt x="49" y="43"/>
                      <a:pt x="49" y="43"/>
                    </a:cubicBezTo>
                    <a:cubicBezTo>
                      <a:pt x="53" y="36"/>
                      <a:pt x="78" y="41"/>
                      <a:pt x="82" y="34"/>
                    </a:cubicBezTo>
                    <a:cubicBezTo>
                      <a:pt x="83" y="30"/>
                      <a:pt x="54" y="37"/>
                      <a:pt x="51" y="33"/>
                    </a:cubicBezTo>
                    <a:cubicBezTo>
                      <a:pt x="51" y="33"/>
                      <a:pt x="52" y="30"/>
                      <a:pt x="66" y="26"/>
                    </a:cubicBezTo>
                    <a:cubicBezTo>
                      <a:pt x="75" y="23"/>
                      <a:pt x="83" y="21"/>
                      <a:pt x="84" y="18"/>
                    </a:cubicBezTo>
                    <a:cubicBezTo>
                      <a:pt x="84" y="13"/>
                      <a:pt x="68" y="21"/>
                      <a:pt x="47" y="23"/>
                    </a:cubicBezTo>
                    <a:cubicBezTo>
                      <a:pt x="47" y="23"/>
                      <a:pt x="56" y="19"/>
                      <a:pt x="64" y="15"/>
                    </a:cubicBezTo>
                    <a:cubicBezTo>
                      <a:pt x="71" y="12"/>
                      <a:pt x="78" y="10"/>
                      <a:pt x="77" y="7"/>
                    </a:cubicBezTo>
                    <a:cubicBezTo>
                      <a:pt x="75" y="4"/>
                      <a:pt x="64" y="10"/>
                      <a:pt x="57" y="13"/>
                    </a:cubicBezTo>
                    <a:cubicBezTo>
                      <a:pt x="43" y="18"/>
                      <a:pt x="32" y="19"/>
                      <a:pt x="26" y="20"/>
                    </a:cubicBezTo>
                    <a:cubicBezTo>
                      <a:pt x="23" y="20"/>
                      <a:pt x="22" y="20"/>
                      <a:pt x="22" y="20"/>
                    </a:cubicBezTo>
                    <a:cubicBezTo>
                      <a:pt x="35" y="1"/>
                      <a:pt x="28" y="0"/>
                      <a:pt x="28"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5">
                <a:extLst>
                  <a:ext uri="{FF2B5EF4-FFF2-40B4-BE49-F238E27FC236}">
                    <a16:creationId xmlns:a16="http://schemas.microsoft.com/office/drawing/2014/main" id="{95029F69-1964-45B5-B5A6-B31775DB4CD4}"/>
                  </a:ext>
                </a:extLst>
              </p:cNvPr>
              <p:cNvSpPr>
                <a:spLocks/>
              </p:cNvSpPr>
              <p:nvPr/>
            </p:nvSpPr>
            <p:spPr bwMode="auto">
              <a:xfrm>
                <a:off x="3642" y="2521"/>
                <a:ext cx="22" cy="29"/>
              </a:xfrm>
              <a:custGeom>
                <a:avLst/>
                <a:gdLst>
                  <a:gd name="T0" fmla="*/ 4 w 11"/>
                  <a:gd name="T1" fmla="*/ 0 h 15"/>
                  <a:gd name="T2" fmla="*/ 0 w 11"/>
                  <a:gd name="T3" fmla="*/ 15 h 15"/>
                  <a:gd name="T4" fmla="*/ 8 w 11"/>
                  <a:gd name="T5" fmla="*/ 0 h 15"/>
                  <a:gd name="T6" fmla="*/ 4 w 11"/>
                  <a:gd name="T7" fmla="*/ 0 h 15"/>
                </a:gdLst>
                <a:ahLst/>
                <a:cxnLst>
                  <a:cxn ang="0">
                    <a:pos x="T0" y="T1"/>
                  </a:cxn>
                  <a:cxn ang="0">
                    <a:pos x="T2" y="T3"/>
                  </a:cxn>
                  <a:cxn ang="0">
                    <a:pos x="T4" y="T5"/>
                  </a:cxn>
                  <a:cxn ang="0">
                    <a:pos x="T6" y="T7"/>
                  </a:cxn>
                </a:cxnLst>
                <a:rect l="0" t="0" r="r" b="b"/>
                <a:pathLst>
                  <a:path w="11" h="15">
                    <a:moveTo>
                      <a:pt x="4" y="0"/>
                    </a:moveTo>
                    <a:cubicBezTo>
                      <a:pt x="4" y="0"/>
                      <a:pt x="5" y="9"/>
                      <a:pt x="0" y="15"/>
                    </a:cubicBezTo>
                    <a:cubicBezTo>
                      <a:pt x="0" y="15"/>
                      <a:pt x="11" y="12"/>
                      <a:pt x="8" y="0"/>
                    </a:cubicBezTo>
                    <a:cubicBezTo>
                      <a:pt x="5" y="0"/>
                      <a:pt x="4" y="0"/>
                      <a:pt x="4"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6">
                <a:extLst>
                  <a:ext uri="{FF2B5EF4-FFF2-40B4-BE49-F238E27FC236}">
                    <a16:creationId xmlns:a16="http://schemas.microsoft.com/office/drawing/2014/main" id="{9B2B4D44-81B4-4F15-BAC8-CC356DB4181E}"/>
                  </a:ext>
                </a:extLst>
              </p:cNvPr>
              <p:cNvSpPr>
                <a:spLocks/>
              </p:cNvSpPr>
              <p:nvPr/>
            </p:nvSpPr>
            <p:spPr bwMode="auto">
              <a:xfrm>
                <a:off x="3030" y="2085"/>
                <a:ext cx="320" cy="611"/>
              </a:xfrm>
              <a:custGeom>
                <a:avLst/>
                <a:gdLst>
                  <a:gd name="T0" fmla="*/ 33 w 163"/>
                  <a:gd name="T1" fmla="*/ 4 h 311"/>
                  <a:gd name="T2" fmla="*/ 33 w 163"/>
                  <a:gd name="T3" fmla="*/ 300 h 311"/>
                  <a:gd name="T4" fmla="*/ 151 w 163"/>
                  <a:gd name="T5" fmla="*/ 293 h 311"/>
                  <a:gd name="T6" fmla="*/ 132 w 163"/>
                  <a:gd name="T7" fmla="*/ 0 h 311"/>
                  <a:gd name="T8" fmla="*/ 33 w 163"/>
                  <a:gd name="T9" fmla="*/ 4 h 311"/>
                </a:gdLst>
                <a:ahLst/>
                <a:cxnLst>
                  <a:cxn ang="0">
                    <a:pos x="T0" y="T1"/>
                  </a:cxn>
                  <a:cxn ang="0">
                    <a:pos x="T2" y="T3"/>
                  </a:cxn>
                  <a:cxn ang="0">
                    <a:pos x="T4" y="T5"/>
                  </a:cxn>
                  <a:cxn ang="0">
                    <a:pos x="T6" y="T7"/>
                  </a:cxn>
                  <a:cxn ang="0">
                    <a:pos x="T8" y="T9"/>
                  </a:cxn>
                </a:cxnLst>
                <a:rect l="0" t="0" r="r" b="b"/>
                <a:pathLst>
                  <a:path w="163" h="311">
                    <a:moveTo>
                      <a:pt x="33" y="4"/>
                    </a:moveTo>
                    <a:cubicBezTo>
                      <a:pt x="14" y="27"/>
                      <a:pt x="0" y="228"/>
                      <a:pt x="33" y="300"/>
                    </a:cubicBezTo>
                    <a:cubicBezTo>
                      <a:pt x="33" y="300"/>
                      <a:pt x="99" y="311"/>
                      <a:pt x="151" y="293"/>
                    </a:cubicBezTo>
                    <a:cubicBezTo>
                      <a:pt x="151" y="293"/>
                      <a:pt x="163" y="32"/>
                      <a:pt x="132" y="0"/>
                    </a:cubicBezTo>
                    <a:lnTo>
                      <a:pt x="33" y="4"/>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7">
                <a:extLst>
                  <a:ext uri="{FF2B5EF4-FFF2-40B4-BE49-F238E27FC236}">
                    <a16:creationId xmlns:a16="http://schemas.microsoft.com/office/drawing/2014/main" id="{B5BBFC15-6A10-4DB0-B71A-51AF678A3DB2}"/>
                  </a:ext>
                </a:extLst>
              </p:cNvPr>
              <p:cNvSpPr>
                <a:spLocks/>
              </p:cNvSpPr>
              <p:nvPr/>
            </p:nvSpPr>
            <p:spPr bwMode="auto">
              <a:xfrm>
                <a:off x="3291" y="2368"/>
                <a:ext cx="384" cy="491"/>
              </a:xfrm>
              <a:custGeom>
                <a:avLst/>
                <a:gdLst>
                  <a:gd name="T0" fmla="*/ 5 w 196"/>
                  <a:gd name="T1" fmla="*/ 0 h 250"/>
                  <a:gd name="T2" fmla="*/ 89 w 196"/>
                  <a:gd name="T3" fmla="*/ 151 h 250"/>
                  <a:gd name="T4" fmla="*/ 173 w 196"/>
                  <a:gd name="T5" fmla="*/ 77 h 250"/>
                  <a:gd name="T6" fmla="*/ 179 w 196"/>
                  <a:gd name="T7" fmla="*/ 101 h 250"/>
                  <a:gd name="T8" fmla="*/ 194 w 196"/>
                  <a:gd name="T9" fmla="*/ 111 h 250"/>
                  <a:gd name="T10" fmla="*/ 102 w 196"/>
                  <a:gd name="T11" fmla="*/ 243 h 250"/>
                  <a:gd name="T12" fmla="*/ 10 w 196"/>
                  <a:gd name="T13" fmla="*/ 151 h 250"/>
                  <a:gd name="T14" fmla="*/ 5 w 196"/>
                  <a:gd name="T15" fmla="*/ 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6" h="250">
                    <a:moveTo>
                      <a:pt x="5" y="0"/>
                    </a:moveTo>
                    <a:cubicBezTo>
                      <a:pt x="53" y="12"/>
                      <a:pt x="62" y="16"/>
                      <a:pt x="89" y="151"/>
                    </a:cubicBezTo>
                    <a:cubicBezTo>
                      <a:pt x="89" y="151"/>
                      <a:pt x="160" y="71"/>
                      <a:pt x="173" y="77"/>
                    </a:cubicBezTo>
                    <a:cubicBezTo>
                      <a:pt x="173" y="77"/>
                      <a:pt x="169" y="84"/>
                      <a:pt x="179" y="101"/>
                    </a:cubicBezTo>
                    <a:cubicBezTo>
                      <a:pt x="184" y="111"/>
                      <a:pt x="194" y="111"/>
                      <a:pt x="194" y="111"/>
                    </a:cubicBezTo>
                    <a:cubicBezTo>
                      <a:pt x="196" y="127"/>
                      <a:pt x="125" y="236"/>
                      <a:pt x="102" y="243"/>
                    </a:cubicBezTo>
                    <a:cubicBezTo>
                      <a:pt x="79" y="250"/>
                      <a:pt x="19" y="176"/>
                      <a:pt x="10" y="151"/>
                    </a:cubicBezTo>
                    <a:cubicBezTo>
                      <a:pt x="0" y="127"/>
                      <a:pt x="5" y="0"/>
                      <a:pt x="5" y="0"/>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8">
                <a:extLst>
                  <a:ext uri="{FF2B5EF4-FFF2-40B4-BE49-F238E27FC236}">
                    <a16:creationId xmlns:a16="http://schemas.microsoft.com/office/drawing/2014/main" id="{2C2B6DE8-63A1-4968-A09B-D5098F83E2EE}"/>
                  </a:ext>
                </a:extLst>
              </p:cNvPr>
              <p:cNvSpPr>
                <a:spLocks/>
              </p:cNvSpPr>
              <p:nvPr/>
            </p:nvSpPr>
            <p:spPr bwMode="auto">
              <a:xfrm>
                <a:off x="3152" y="2315"/>
                <a:ext cx="135" cy="72"/>
              </a:xfrm>
              <a:custGeom>
                <a:avLst/>
                <a:gdLst>
                  <a:gd name="T0" fmla="*/ 3 w 69"/>
                  <a:gd name="T1" fmla="*/ 6 h 37"/>
                  <a:gd name="T2" fmla="*/ 64 w 69"/>
                  <a:gd name="T3" fmla="*/ 14 h 37"/>
                  <a:gd name="T4" fmla="*/ 31 w 69"/>
                  <a:gd name="T5" fmla="*/ 31 h 37"/>
                  <a:gd name="T6" fmla="*/ 3 w 69"/>
                  <a:gd name="T7" fmla="*/ 6 h 37"/>
                </a:gdLst>
                <a:ahLst/>
                <a:cxnLst>
                  <a:cxn ang="0">
                    <a:pos x="T0" y="T1"/>
                  </a:cxn>
                  <a:cxn ang="0">
                    <a:pos x="T2" y="T3"/>
                  </a:cxn>
                  <a:cxn ang="0">
                    <a:pos x="T4" y="T5"/>
                  </a:cxn>
                  <a:cxn ang="0">
                    <a:pos x="T6" y="T7"/>
                  </a:cxn>
                </a:cxnLst>
                <a:rect l="0" t="0" r="r" b="b"/>
                <a:pathLst>
                  <a:path w="69" h="37">
                    <a:moveTo>
                      <a:pt x="3" y="6"/>
                    </a:moveTo>
                    <a:cubicBezTo>
                      <a:pt x="6" y="0"/>
                      <a:pt x="59" y="9"/>
                      <a:pt x="64" y="14"/>
                    </a:cubicBezTo>
                    <a:cubicBezTo>
                      <a:pt x="69" y="18"/>
                      <a:pt x="44" y="37"/>
                      <a:pt x="31" y="31"/>
                    </a:cubicBezTo>
                    <a:cubicBezTo>
                      <a:pt x="18" y="26"/>
                      <a:pt x="0" y="12"/>
                      <a:pt x="3" y="6"/>
                    </a:cubicBezTo>
                    <a:close/>
                  </a:path>
                </a:pathLst>
              </a:custGeom>
              <a:solidFill>
                <a:srgbClr val="B72E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9">
                <a:extLst>
                  <a:ext uri="{FF2B5EF4-FFF2-40B4-BE49-F238E27FC236}">
                    <a16:creationId xmlns:a16="http://schemas.microsoft.com/office/drawing/2014/main" id="{4CE9ECDC-9497-473C-BCA2-16977729221D}"/>
                  </a:ext>
                </a:extLst>
              </p:cNvPr>
              <p:cNvSpPr>
                <a:spLocks/>
              </p:cNvSpPr>
              <p:nvPr/>
            </p:nvSpPr>
            <p:spPr bwMode="auto">
              <a:xfrm>
                <a:off x="3128" y="3850"/>
                <a:ext cx="79" cy="230"/>
              </a:xfrm>
              <a:custGeom>
                <a:avLst/>
                <a:gdLst>
                  <a:gd name="T0" fmla="*/ 34 w 40"/>
                  <a:gd name="T1" fmla="*/ 0 h 117"/>
                  <a:gd name="T2" fmla="*/ 0 w 40"/>
                  <a:gd name="T3" fmla="*/ 0 h 117"/>
                  <a:gd name="T4" fmla="*/ 7 w 40"/>
                  <a:gd name="T5" fmla="*/ 65 h 117"/>
                  <a:gd name="T6" fmla="*/ 3 w 40"/>
                  <a:gd name="T7" fmla="*/ 117 h 117"/>
                  <a:gd name="T8" fmla="*/ 40 w 40"/>
                  <a:gd name="T9" fmla="*/ 117 h 117"/>
                  <a:gd name="T10" fmla="*/ 32 w 40"/>
                  <a:gd name="T11" fmla="*/ 35 h 117"/>
                  <a:gd name="T12" fmla="*/ 34 w 40"/>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0" h="117">
                    <a:moveTo>
                      <a:pt x="34" y="0"/>
                    </a:moveTo>
                    <a:cubicBezTo>
                      <a:pt x="0" y="0"/>
                      <a:pt x="0" y="0"/>
                      <a:pt x="0" y="0"/>
                    </a:cubicBezTo>
                    <a:cubicBezTo>
                      <a:pt x="4" y="35"/>
                      <a:pt x="7" y="65"/>
                      <a:pt x="7" y="65"/>
                    </a:cubicBezTo>
                    <a:cubicBezTo>
                      <a:pt x="3" y="117"/>
                      <a:pt x="3" y="117"/>
                      <a:pt x="3" y="117"/>
                    </a:cubicBezTo>
                    <a:cubicBezTo>
                      <a:pt x="40" y="117"/>
                      <a:pt x="40" y="117"/>
                      <a:pt x="40" y="117"/>
                    </a:cubicBezTo>
                    <a:cubicBezTo>
                      <a:pt x="38" y="101"/>
                      <a:pt x="31" y="55"/>
                      <a:pt x="32" y="35"/>
                    </a:cubicBezTo>
                    <a:cubicBezTo>
                      <a:pt x="33" y="24"/>
                      <a:pt x="34" y="12"/>
                      <a:pt x="34"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0">
                <a:extLst>
                  <a:ext uri="{FF2B5EF4-FFF2-40B4-BE49-F238E27FC236}">
                    <a16:creationId xmlns:a16="http://schemas.microsoft.com/office/drawing/2014/main" id="{7A9D86A6-D0E4-41AA-B2AC-DDF33668F2F7}"/>
                  </a:ext>
                </a:extLst>
              </p:cNvPr>
              <p:cNvSpPr>
                <a:spLocks/>
              </p:cNvSpPr>
              <p:nvPr/>
            </p:nvSpPr>
            <p:spPr bwMode="auto">
              <a:xfrm>
                <a:off x="3071" y="2782"/>
                <a:ext cx="353" cy="1139"/>
              </a:xfrm>
              <a:custGeom>
                <a:avLst/>
                <a:gdLst>
                  <a:gd name="T0" fmla="*/ 7 w 180"/>
                  <a:gd name="T1" fmla="*/ 255 h 580"/>
                  <a:gd name="T2" fmla="*/ 7 w 180"/>
                  <a:gd name="T3" fmla="*/ 255 h 580"/>
                  <a:gd name="T4" fmla="*/ 18 w 180"/>
                  <a:gd name="T5" fmla="*/ 316 h 580"/>
                  <a:gd name="T6" fmla="*/ 15 w 180"/>
                  <a:gd name="T7" fmla="*/ 439 h 580"/>
                  <a:gd name="T8" fmla="*/ 33 w 180"/>
                  <a:gd name="T9" fmla="*/ 580 h 580"/>
                  <a:gd name="T10" fmla="*/ 61 w 180"/>
                  <a:gd name="T11" fmla="*/ 580 h 580"/>
                  <a:gd name="T12" fmla="*/ 61 w 180"/>
                  <a:gd name="T13" fmla="*/ 579 h 580"/>
                  <a:gd name="T14" fmla="*/ 72 w 180"/>
                  <a:gd name="T15" fmla="*/ 312 h 580"/>
                  <a:gd name="T16" fmla="*/ 94 w 180"/>
                  <a:gd name="T17" fmla="*/ 236 h 580"/>
                  <a:gd name="T18" fmla="*/ 121 w 180"/>
                  <a:gd name="T19" fmla="*/ 156 h 580"/>
                  <a:gd name="T20" fmla="*/ 180 w 180"/>
                  <a:gd name="T21" fmla="*/ 0 h 580"/>
                  <a:gd name="T22" fmla="*/ 69 w 180"/>
                  <a:gd name="T23" fmla="*/ 6 h 580"/>
                  <a:gd name="T24" fmla="*/ 10 w 180"/>
                  <a:gd name="T25" fmla="*/ 155 h 580"/>
                  <a:gd name="T26" fmla="*/ 10 w 180"/>
                  <a:gd name="T27" fmla="*/ 158 h 580"/>
                  <a:gd name="T28" fmla="*/ 7 w 180"/>
                  <a:gd name="T29" fmla="*/ 255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0" h="580">
                    <a:moveTo>
                      <a:pt x="7" y="255"/>
                    </a:moveTo>
                    <a:cubicBezTo>
                      <a:pt x="7" y="255"/>
                      <a:pt x="7" y="255"/>
                      <a:pt x="7" y="255"/>
                    </a:cubicBezTo>
                    <a:cubicBezTo>
                      <a:pt x="10" y="279"/>
                      <a:pt x="16" y="296"/>
                      <a:pt x="18" y="316"/>
                    </a:cubicBezTo>
                    <a:cubicBezTo>
                      <a:pt x="21" y="347"/>
                      <a:pt x="3" y="390"/>
                      <a:pt x="15" y="439"/>
                    </a:cubicBezTo>
                    <a:cubicBezTo>
                      <a:pt x="21" y="462"/>
                      <a:pt x="29" y="538"/>
                      <a:pt x="33" y="580"/>
                    </a:cubicBezTo>
                    <a:cubicBezTo>
                      <a:pt x="61" y="580"/>
                      <a:pt x="61" y="580"/>
                      <a:pt x="61" y="580"/>
                    </a:cubicBezTo>
                    <a:cubicBezTo>
                      <a:pt x="61" y="580"/>
                      <a:pt x="61" y="579"/>
                      <a:pt x="61" y="579"/>
                    </a:cubicBezTo>
                    <a:cubicBezTo>
                      <a:pt x="69" y="477"/>
                      <a:pt x="67" y="359"/>
                      <a:pt x="72" y="312"/>
                    </a:cubicBezTo>
                    <a:cubicBezTo>
                      <a:pt x="75" y="293"/>
                      <a:pt x="88" y="261"/>
                      <a:pt x="94" y="236"/>
                    </a:cubicBezTo>
                    <a:cubicBezTo>
                      <a:pt x="94" y="236"/>
                      <a:pt x="110" y="162"/>
                      <a:pt x="121" y="156"/>
                    </a:cubicBezTo>
                    <a:cubicBezTo>
                      <a:pt x="166" y="131"/>
                      <a:pt x="180" y="0"/>
                      <a:pt x="180" y="0"/>
                    </a:cubicBezTo>
                    <a:cubicBezTo>
                      <a:pt x="69" y="6"/>
                      <a:pt x="69" y="6"/>
                      <a:pt x="69" y="6"/>
                    </a:cubicBezTo>
                    <a:cubicBezTo>
                      <a:pt x="69" y="6"/>
                      <a:pt x="0" y="59"/>
                      <a:pt x="10" y="155"/>
                    </a:cubicBezTo>
                    <a:cubicBezTo>
                      <a:pt x="10" y="155"/>
                      <a:pt x="10" y="156"/>
                      <a:pt x="10" y="158"/>
                    </a:cubicBezTo>
                    <a:cubicBezTo>
                      <a:pt x="4" y="203"/>
                      <a:pt x="5" y="232"/>
                      <a:pt x="7" y="255"/>
                    </a:cubicBezTo>
                    <a:close/>
                  </a:path>
                </a:pathLst>
              </a:custGeom>
              <a:solidFill>
                <a:srgbClr val="105E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1">
                <a:extLst>
                  <a:ext uri="{FF2B5EF4-FFF2-40B4-BE49-F238E27FC236}">
                    <a16:creationId xmlns:a16="http://schemas.microsoft.com/office/drawing/2014/main" id="{72A9E332-1BC6-4D83-9F16-20C959F9EB6F}"/>
                  </a:ext>
                </a:extLst>
              </p:cNvPr>
              <p:cNvSpPr>
                <a:spLocks/>
              </p:cNvSpPr>
              <p:nvPr/>
            </p:nvSpPr>
            <p:spPr bwMode="auto">
              <a:xfrm>
                <a:off x="3111" y="3976"/>
                <a:ext cx="109" cy="104"/>
              </a:xfrm>
              <a:custGeom>
                <a:avLst/>
                <a:gdLst>
                  <a:gd name="T0" fmla="*/ 10 w 56"/>
                  <a:gd name="T1" fmla="*/ 13 h 53"/>
                  <a:gd name="T2" fmla="*/ 29 w 56"/>
                  <a:gd name="T3" fmla="*/ 1 h 53"/>
                  <a:gd name="T4" fmla="*/ 44 w 56"/>
                  <a:gd name="T5" fmla="*/ 16 h 53"/>
                  <a:gd name="T6" fmla="*/ 49 w 56"/>
                  <a:gd name="T7" fmla="*/ 16 h 53"/>
                  <a:gd name="T8" fmla="*/ 52 w 56"/>
                  <a:gd name="T9" fmla="*/ 39 h 53"/>
                  <a:gd name="T10" fmla="*/ 54 w 56"/>
                  <a:gd name="T11" fmla="*/ 53 h 53"/>
                  <a:gd name="T12" fmla="*/ 3 w 56"/>
                  <a:gd name="T13" fmla="*/ 53 h 53"/>
                  <a:gd name="T14" fmla="*/ 6 w 56"/>
                  <a:gd name="T15" fmla="*/ 36 h 53"/>
                  <a:gd name="T16" fmla="*/ 10 w 56"/>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3">
                    <a:moveTo>
                      <a:pt x="10" y="13"/>
                    </a:moveTo>
                    <a:cubicBezTo>
                      <a:pt x="10" y="13"/>
                      <a:pt x="11" y="0"/>
                      <a:pt x="29" y="1"/>
                    </a:cubicBezTo>
                    <a:cubicBezTo>
                      <a:pt x="46" y="3"/>
                      <a:pt x="44" y="16"/>
                      <a:pt x="44" y="16"/>
                    </a:cubicBezTo>
                    <a:cubicBezTo>
                      <a:pt x="44" y="16"/>
                      <a:pt x="47" y="14"/>
                      <a:pt x="49" y="16"/>
                    </a:cubicBezTo>
                    <a:cubicBezTo>
                      <a:pt x="51" y="18"/>
                      <a:pt x="48" y="36"/>
                      <a:pt x="52" y="39"/>
                    </a:cubicBezTo>
                    <a:cubicBezTo>
                      <a:pt x="56" y="43"/>
                      <a:pt x="54" y="53"/>
                      <a:pt x="54" y="53"/>
                    </a:cubicBezTo>
                    <a:cubicBezTo>
                      <a:pt x="3" y="53"/>
                      <a:pt x="3" y="53"/>
                      <a:pt x="3" y="53"/>
                    </a:cubicBezTo>
                    <a:cubicBezTo>
                      <a:pt x="3" y="53"/>
                      <a:pt x="1" y="40"/>
                      <a:pt x="6" y="36"/>
                    </a:cubicBezTo>
                    <a:cubicBezTo>
                      <a:pt x="12" y="31"/>
                      <a:pt x="0" y="14"/>
                      <a:pt x="10" y="13"/>
                    </a:cubicBezTo>
                    <a:close/>
                  </a:path>
                </a:pathLst>
              </a:custGeom>
              <a:solidFill>
                <a:srgbClr val="CDCF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2">
                <a:extLst>
                  <a:ext uri="{FF2B5EF4-FFF2-40B4-BE49-F238E27FC236}">
                    <a16:creationId xmlns:a16="http://schemas.microsoft.com/office/drawing/2014/main" id="{5D5CA8BB-3567-42BC-9D96-84C5C4A8C6FA}"/>
                  </a:ext>
                </a:extLst>
              </p:cNvPr>
              <p:cNvSpPr>
                <a:spLocks/>
              </p:cNvSpPr>
              <p:nvPr/>
            </p:nvSpPr>
            <p:spPr bwMode="auto">
              <a:xfrm>
                <a:off x="2983" y="2317"/>
                <a:ext cx="520" cy="813"/>
              </a:xfrm>
              <a:custGeom>
                <a:avLst/>
                <a:gdLst>
                  <a:gd name="T0" fmla="*/ 59 w 265"/>
                  <a:gd name="T1" fmla="*/ 368 h 414"/>
                  <a:gd name="T2" fmla="*/ 259 w 265"/>
                  <a:gd name="T3" fmla="*/ 358 h 414"/>
                  <a:gd name="T4" fmla="*/ 213 w 265"/>
                  <a:gd name="T5" fmla="*/ 179 h 414"/>
                  <a:gd name="T6" fmla="*/ 175 w 265"/>
                  <a:gd name="T7" fmla="*/ 30 h 414"/>
                  <a:gd name="T8" fmla="*/ 45 w 265"/>
                  <a:gd name="T9" fmla="*/ 39 h 414"/>
                  <a:gd name="T10" fmla="*/ 97 w 265"/>
                  <a:gd name="T11" fmla="*/ 199 h 414"/>
                  <a:gd name="T12" fmla="*/ 59 w 265"/>
                  <a:gd name="T13" fmla="*/ 368 h 414"/>
                </a:gdLst>
                <a:ahLst/>
                <a:cxnLst>
                  <a:cxn ang="0">
                    <a:pos x="T0" y="T1"/>
                  </a:cxn>
                  <a:cxn ang="0">
                    <a:pos x="T2" y="T3"/>
                  </a:cxn>
                  <a:cxn ang="0">
                    <a:pos x="T4" y="T5"/>
                  </a:cxn>
                  <a:cxn ang="0">
                    <a:pos x="T6" y="T7"/>
                  </a:cxn>
                  <a:cxn ang="0">
                    <a:pos x="T8" y="T9"/>
                  </a:cxn>
                  <a:cxn ang="0">
                    <a:pos x="T10" y="T11"/>
                  </a:cxn>
                  <a:cxn ang="0">
                    <a:pos x="T12" y="T13"/>
                  </a:cxn>
                </a:cxnLst>
                <a:rect l="0" t="0" r="r" b="b"/>
                <a:pathLst>
                  <a:path w="265" h="414">
                    <a:moveTo>
                      <a:pt x="59" y="368"/>
                    </a:moveTo>
                    <a:cubicBezTo>
                      <a:pt x="79" y="414"/>
                      <a:pt x="265" y="400"/>
                      <a:pt x="259" y="358"/>
                    </a:cubicBezTo>
                    <a:cubicBezTo>
                      <a:pt x="240" y="247"/>
                      <a:pt x="213" y="179"/>
                      <a:pt x="213" y="179"/>
                    </a:cubicBezTo>
                    <a:cubicBezTo>
                      <a:pt x="264" y="91"/>
                      <a:pt x="175" y="30"/>
                      <a:pt x="175" y="30"/>
                    </a:cubicBezTo>
                    <a:cubicBezTo>
                      <a:pt x="175" y="30"/>
                      <a:pt x="91" y="0"/>
                      <a:pt x="45" y="39"/>
                    </a:cubicBezTo>
                    <a:cubicBezTo>
                      <a:pt x="0" y="78"/>
                      <a:pt x="97" y="199"/>
                      <a:pt x="97" y="199"/>
                    </a:cubicBezTo>
                    <a:cubicBezTo>
                      <a:pt x="83" y="232"/>
                      <a:pt x="50" y="348"/>
                      <a:pt x="59" y="368"/>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3">
                <a:extLst>
                  <a:ext uri="{FF2B5EF4-FFF2-40B4-BE49-F238E27FC236}">
                    <a16:creationId xmlns:a16="http://schemas.microsoft.com/office/drawing/2014/main" id="{C13384D9-7ADC-4DA3-8C27-0284B9A87C3E}"/>
                  </a:ext>
                </a:extLst>
              </p:cNvPr>
              <p:cNvSpPr>
                <a:spLocks/>
              </p:cNvSpPr>
              <p:nvPr/>
            </p:nvSpPr>
            <p:spPr bwMode="auto">
              <a:xfrm>
                <a:off x="3044" y="2042"/>
                <a:ext cx="280" cy="277"/>
              </a:xfrm>
              <a:custGeom>
                <a:avLst/>
                <a:gdLst>
                  <a:gd name="T0" fmla="*/ 51 w 143"/>
                  <a:gd name="T1" fmla="*/ 22 h 141"/>
                  <a:gd name="T2" fmla="*/ 130 w 143"/>
                  <a:gd name="T3" fmla="*/ 46 h 141"/>
                  <a:gd name="T4" fmla="*/ 101 w 143"/>
                  <a:gd name="T5" fmla="*/ 138 h 141"/>
                  <a:gd name="T6" fmla="*/ 51 w 143"/>
                  <a:gd name="T7" fmla="*/ 22 h 141"/>
                </a:gdLst>
                <a:ahLst/>
                <a:cxnLst>
                  <a:cxn ang="0">
                    <a:pos x="T0" y="T1"/>
                  </a:cxn>
                  <a:cxn ang="0">
                    <a:pos x="T2" y="T3"/>
                  </a:cxn>
                  <a:cxn ang="0">
                    <a:pos x="T4" y="T5"/>
                  </a:cxn>
                  <a:cxn ang="0">
                    <a:pos x="T6" y="T7"/>
                  </a:cxn>
                </a:cxnLst>
                <a:rect l="0" t="0" r="r" b="b"/>
                <a:pathLst>
                  <a:path w="143" h="141">
                    <a:moveTo>
                      <a:pt x="51" y="22"/>
                    </a:moveTo>
                    <a:cubicBezTo>
                      <a:pt x="51" y="22"/>
                      <a:pt x="117" y="0"/>
                      <a:pt x="130" y="46"/>
                    </a:cubicBezTo>
                    <a:cubicBezTo>
                      <a:pt x="143" y="92"/>
                      <a:pt x="131" y="141"/>
                      <a:pt x="101" y="138"/>
                    </a:cubicBezTo>
                    <a:cubicBezTo>
                      <a:pt x="57" y="133"/>
                      <a:pt x="0" y="48"/>
                      <a:pt x="5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4">
                <a:extLst>
                  <a:ext uri="{FF2B5EF4-FFF2-40B4-BE49-F238E27FC236}">
                    <a16:creationId xmlns:a16="http://schemas.microsoft.com/office/drawing/2014/main" id="{25BCBF70-AFC3-4691-80F4-D0C8EF2BCF7D}"/>
                  </a:ext>
                </a:extLst>
              </p:cNvPr>
              <p:cNvSpPr>
                <a:spLocks/>
              </p:cNvSpPr>
              <p:nvPr/>
            </p:nvSpPr>
            <p:spPr bwMode="auto">
              <a:xfrm>
                <a:off x="3209" y="2203"/>
                <a:ext cx="25" cy="21"/>
              </a:xfrm>
              <a:custGeom>
                <a:avLst/>
                <a:gdLst>
                  <a:gd name="T0" fmla="*/ 0 w 13"/>
                  <a:gd name="T1" fmla="*/ 5 h 11"/>
                  <a:gd name="T2" fmla="*/ 6 w 13"/>
                  <a:gd name="T3" fmla="*/ 11 h 11"/>
                  <a:gd name="T4" fmla="*/ 13 w 13"/>
                  <a:gd name="T5" fmla="*/ 6 h 11"/>
                  <a:gd name="T6" fmla="*/ 7 w 13"/>
                  <a:gd name="T7" fmla="*/ 1 h 11"/>
                  <a:gd name="T8" fmla="*/ 0 w 13"/>
                  <a:gd name="T9" fmla="*/ 5 h 11"/>
                </a:gdLst>
                <a:ahLst/>
                <a:cxnLst>
                  <a:cxn ang="0">
                    <a:pos x="T0" y="T1"/>
                  </a:cxn>
                  <a:cxn ang="0">
                    <a:pos x="T2" y="T3"/>
                  </a:cxn>
                  <a:cxn ang="0">
                    <a:pos x="T4" y="T5"/>
                  </a:cxn>
                  <a:cxn ang="0">
                    <a:pos x="T6" y="T7"/>
                  </a:cxn>
                  <a:cxn ang="0">
                    <a:pos x="T8" y="T9"/>
                  </a:cxn>
                </a:cxnLst>
                <a:rect l="0" t="0" r="r" b="b"/>
                <a:pathLst>
                  <a:path w="13" h="11">
                    <a:moveTo>
                      <a:pt x="0" y="5"/>
                    </a:moveTo>
                    <a:cubicBezTo>
                      <a:pt x="0" y="8"/>
                      <a:pt x="3" y="10"/>
                      <a:pt x="6" y="11"/>
                    </a:cubicBezTo>
                    <a:cubicBezTo>
                      <a:pt x="10" y="11"/>
                      <a:pt x="13" y="9"/>
                      <a:pt x="13" y="6"/>
                    </a:cubicBezTo>
                    <a:cubicBezTo>
                      <a:pt x="13" y="3"/>
                      <a:pt x="11" y="1"/>
                      <a:pt x="7" y="1"/>
                    </a:cubicBezTo>
                    <a:cubicBezTo>
                      <a:pt x="4" y="0"/>
                      <a:pt x="1" y="2"/>
                      <a:pt x="0"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5">
                <a:extLst>
                  <a:ext uri="{FF2B5EF4-FFF2-40B4-BE49-F238E27FC236}">
                    <a16:creationId xmlns:a16="http://schemas.microsoft.com/office/drawing/2014/main" id="{9DA944A1-7D3E-4041-A3FC-21B0728C0952}"/>
                  </a:ext>
                </a:extLst>
              </p:cNvPr>
              <p:cNvSpPr>
                <a:spLocks/>
              </p:cNvSpPr>
              <p:nvPr/>
            </p:nvSpPr>
            <p:spPr bwMode="auto">
              <a:xfrm>
                <a:off x="3216" y="2142"/>
                <a:ext cx="24" cy="16"/>
              </a:xfrm>
              <a:custGeom>
                <a:avLst/>
                <a:gdLst>
                  <a:gd name="T0" fmla="*/ 1 w 12"/>
                  <a:gd name="T1" fmla="*/ 8 h 8"/>
                  <a:gd name="T2" fmla="*/ 2 w 12"/>
                  <a:gd name="T3" fmla="*/ 7 h 8"/>
                  <a:gd name="T4" fmla="*/ 11 w 12"/>
                  <a:gd name="T5" fmla="*/ 3 h 8"/>
                  <a:gd name="T6" fmla="*/ 12 w 12"/>
                  <a:gd name="T7" fmla="*/ 2 h 8"/>
                  <a:gd name="T8" fmla="*/ 11 w 12"/>
                  <a:gd name="T9" fmla="*/ 0 h 8"/>
                  <a:gd name="T10" fmla="*/ 0 w 12"/>
                  <a:gd name="T11" fmla="*/ 5 h 8"/>
                  <a:gd name="T12" fmla="*/ 1 w 12"/>
                  <a:gd name="T13" fmla="*/ 7 h 8"/>
                  <a:gd name="T14" fmla="*/ 1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 y="8"/>
                    </a:moveTo>
                    <a:cubicBezTo>
                      <a:pt x="2" y="8"/>
                      <a:pt x="2" y="7"/>
                      <a:pt x="2" y="7"/>
                    </a:cubicBezTo>
                    <a:cubicBezTo>
                      <a:pt x="5" y="3"/>
                      <a:pt x="11" y="3"/>
                      <a:pt x="11" y="3"/>
                    </a:cubicBezTo>
                    <a:cubicBezTo>
                      <a:pt x="11" y="3"/>
                      <a:pt x="12" y="3"/>
                      <a:pt x="12" y="2"/>
                    </a:cubicBezTo>
                    <a:cubicBezTo>
                      <a:pt x="12" y="1"/>
                      <a:pt x="12" y="1"/>
                      <a:pt x="11" y="0"/>
                    </a:cubicBezTo>
                    <a:cubicBezTo>
                      <a:pt x="11" y="0"/>
                      <a:pt x="4" y="0"/>
                      <a:pt x="0" y="5"/>
                    </a:cubicBezTo>
                    <a:cubicBezTo>
                      <a:pt x="0" y="6"/>
                      <a:pt x="0" y="7"/>
                      <a:pt x="1" y="7"/>
                    </a:cubicBezTo>
                    <a:cubicBezTo>
                      <a:pt x="1" y="8"/>
                      <a:pt x="1" y="8"/>
                      <a:pt x="1" y="8"/>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6">
                <a:extLst>
                  <a:ext uri="{FF2B5EF4-FFF2-40B4-BE49-F238E27FC236}">
                    <a16:creationId xmlns:a16="http://schemas.microsoft.com/office/drawing/2014/main" id="{246BA5D7-AD60-476B-BB85-6E8E2A4F6360}"/>
                  </a:ext>
                </a:extLst>
              </p:cNvPr>
              <p:cNvSpPr>
                <a:spLocks/>
              </p:cNvSpPr>
              <p:nvPr/>
            </p:nvSpPr>
            <p:spPr bwMode="auto">
              <a:xfrm>
                <a:off x="3275" y="2130"/>
                <a:ext cx="26" cy="14"/>
              </a:xfrm>
              <a:custGeom>
                <a:avLst/>
                <a:gdLst>
                  <a:gd name="T0" fmla="*/ 2 w 13"/>
                  <a:gd name="T1" fmla="*/ 7 h 7"/>
                  <a:gd name="T2" fmla="*/ 2 w 13"/>
                  <a:gd name="T3" fmla="*/ 6 h 7"/>
                  <a:gd name="T4" fmla="*/ 11 w 13"/>
                  <a:gd name="T5" fmla="*/ 5 h 7"/>
                  <a:gd name="T6" fmla="*/ 13 w 13"/>
                  <a:gd name="T7" fmla="*/ 4 h 7"/>
                  <a:gd name="T8" fmla="*/ 12 w 13"/>
                  <a:gd name="T9" fmla="*/ 3 h 7"/>
                  <a:gd name="T10" fmla="*/ 1 w 13"/>
                  <a:gd name="T11" fmla="*/ 4 h 7"/>
                  <a:gd name="T12" fmla="*/ 1 w 13"/>
                  <a:gd name="T13" fmla="*/ 6 h 7"/>
                  <a:gd name="T14" fmla="*/ 2 w 1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2" y="7"/>
                    </a:moveTo>
                    <a:cubicBezTo>
                      <a:pt x="2" y="7"/>
                      <a:pt x="2" y="6"/>
                      <a:pt x="2" y="6"/>
                    </a:cubicBezTo>
                    <a:cubicBezTo>
                      <a:pt x="6" y="3"/>
                      <a:pt x="11" y="5"/>
                      <a:pt x="11" y="5"/>
                    </a:cubicBezTo>
                    <a:cubicBezTo>
                      <a:pt x="12" y="5"/>
                      <a:pt x="13" y="5"/>
                      <a:pt x="13" y="4"/>
                    </a:cubicBezTo>
                    <a:cubicBezTo>
                      <a:pt x="13" y="4"/>
                      <a:pt x="13" y="3"/>
                      <a:pt x="12" y="3"/>
                    </a:cubicBezTo>
                    <a:cubicBezTo>
                      <a:pt x="12" y="2"/>
                      <a:pt x="6" y="0"/>
                      <a:pt x="1" y="4"/>
                    </a:cubicBezTo>
                    <a:cubicBezTo>
                      <a:pt x="0" y="5"/>
                      <a:pt x="0" y="5"/>
                      <a:pt x="1" y="6"/>
                    </a:cubicBezTo>
                    <a:cubicBezTo>
                      <a:pt x="1" y="6"/>
                      <a:pt x="1" y="7"/>
                      <a:pt x="2" y="7"/>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7">
                <a:extLst>
                  <a:ext uri="{FF2B5EF4-FFF2-40B4-BE49-F238E27FC236}">
                    <a16:creationId xmlns:a16="http://schemas.microsoft.com/office/drawing/2014/main" id="{891AC18C-0F50-4E6E-A9EA-ED36FF367CA4}"/>
                  </a:ext>
                </a:extLst>
              </p:cNvPr>
              <p:cNvSpPr>
                <a:spLocks/>
              </p:cNvSpPr>
              <p:nvPr/>
            </p:nvSpPr>
            <p:spPr bwMode="auto">
              <a:xfrm>
                <a:off x="3238" y="2238"/>
                <a:ext cx="53" cy="41"/>
              </a:xfrm>
              <a:custGeom>
                <a:avLst/>
                <a:gdLst>
                  <a:gd name="T0" fmla="*/ 27 w 27"/>
                  <a:gd name="T1" fmla="*/ 0 h 21"/>
                  <a:gd name="T2" fmla="*/ 0 w 27"/>
                  <a:gd name="T3" fmla="*/ 1 h 21"/>
                  <a:gd name="T4" fmla="*/ 16 w 27"/>
                  <a:gd name="T5" fmla="*/ 19 h 21"/>
                  <a:gd name="T6" fmla="*/ 27 w 27"/>
                  <a:gd name="T7" fmla="*/ 0 h 21"/>
                </a:gdLst>
                <a:ahLst/>
                <a:cxnLst>
                  <a:cxn ang="0">
                    <a:pos x="T0" y="T1"/>
                  </a:cxn>
                  <a:cxn ang="0">
                    <a:pos x="T2" y="T3"/>
                  </a:cxn>
                  <a:cxn ang="0">
                    <a:pos x="T4" y="T5"/>
                  </a:cxn>
                  <a:cxn ang="0">
                    <a:pos x="T6" y="T7"/>
                  </a:cxn>
                </a:cxnLst>
                <a:rect l="0" t="0" r="r" b="b"/>
                <a:pathLst>
                  <a:path w="27" h="21">
                    <a:moveTo>
                      <a:pt x="27" y="0"/>
                    </a:moveTo>
                    <a:cubicBezTo>
                      <a:pt x="27" y="0"/>
                      <a:pt x="17" y="6"/>
                      <a:pt x="0" y="1"/>
                    </a:cubicBezTo>
                    <a:cubicBezTo>
                      <a:pt x="0" y="1"/>
                      <a:pt x="5" y="21"/>
                      <a:pt x="16" y="19"/>
                    </a:cubicBezTo>
                    <a:cubicBezTo>
                      <a:pt x="27" y="16"/>
                      <a:pt x="27" y="0"/>
                      <a:pt x="27"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8">
                <a:extLst>
                  <a:ext uri="{FF2B5EF4-FFF2-40B4-BE49-F238E27FC236}">
                    <a16:creationId xmlns:a16="http://schemas.microsoft.com/office/drawing/2014/main" id="{E12931C0-F439-43E5-8A41-BEB6F64DA6F9}"/>
                  </a:ext>
                </a:extLst>
              </p:cNvPr>
              <p:cNvSpPr>
                <a:spLocks/>
              </p:cNvSpPr>
              <p:nvPr/>
            </p:nvSpPr>
            <p:spPr bwMode="auto">
              <a:xfrm>
                <a:off x="3083" y="2105"/>
                <a:ext cx="112" cy="170"/>
              </a:xfrm>
              <a:custGeom>
                <a:avLst/>
                <a:gdLst>
                  <a:gd name="T0" fmla="*/ 57 w 57"/>
                  <a:gd name="T1" fmla="*/ 14 h 87"/>
                  <a:gd name="T2" fmla="*/ 43 w 57"/>
                  <a:gd name="T3" fmla="*/ 58 h 87"/>
                  <a:gd name="T4" fmla="*/ 26 w 57"/>
                  <a:gd name="T5" fmla="*/ 56 h 87"/>
                  <a:gd name="T6" fmla="*/ 44 w 57"/>
                  <a:gd name="T7" fmla="*/ 85 h 87"/>
                  <a:gd name="T8" fmla="*/ 2 w 57"/>
                  <a:gd name="T9" fmla="*/ 39 h 87"/>
                  <a:gd name="T10" fmla="*/ 57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57" y="14"/>
                    </a:moveTo>
                    <a:cubicBezTo>
                      <a:pt x="57" y="14"/>
                      <a:pt x="42" y="33"/>
                      <a:pt x="43" y="58"/>
                    </a:cubicBezTo>
                    <a:cubicBezTo>
                      <a:pt x="43" y="58"/>
                      <a:pt x="32" y="44"/>
                      <a:pt x="26" y="56"/>
                    </a:cubicBezTo>
                    <a:cubicBezTo>
                      <a:pt x="21" y="68"/>
                      <a:pt x="44" y="85"/>
                      <a:pt x="44" y="85"/>
                    </a:cubicBezTo>
                    <a:cubicBezTo>
                      <a:pt x="44" y="85"/>
                      <a:pt x="6" y="87"/>
                      <a:pt x="2" y="39"/>
                    </a:cubicBezTo>
                    <a:cubicBezTo>
                      <a:pt x="0" y="19"/>
                      <a:pt x="27" y="0"/>
                      <a:pt x="57" y="14"/>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59">
                <a:extLst>
                  <a:ext uri="{FF2B5EF4-FFF2-40B4-BE49-F238E27FC236}">
                    <a16:creationId xmlns:a16="http://schemas.microsoft.com/office/drawing/2014/main" id="{514B5D24-CA76-404E-8DD0-F16C62D982F6}"/>
                  </a:ext>
                </a:extLst>
              </p:cNvPr>
              <p:cNvSpPr>
                <a:spLocks/>
              </p:cNvSpPr>
              <p:nvPr/>
            </p:nvSpPr>
            <p:spPr bwMode="auto">
              <a:xfrm>
                <a:off x="3156" y="2250"/>
                <a:ext cx="127" cy="155"/>
              </a:xfrm>
              <a:custGeom>
                <a:avLst/>
                <a:gdLst>
                  <a:gd name="T0" fmla="*/ 7 w 65"/>
                  <a:gd name="T1" fmla="*/ 0 h 79"/>
                  <a:gd name="T2" fmla="*/ 52 w 65"/>
                  <a:gd name="T3" fmla="*/ 31 h 79"/>
                  <a:gd name="T4" fmla="*/ 56 w 65"/>
                  <a:gd name="T5" fmla="*/ 58 h 79"/>
                  <a:gd name="T6" fmla="*/ 44 w 65"/>
                  <a:gd name="T7" fmla="*/ 76 h 79"/>
                  <a:gd name="T8" fmla="*/ 4 w 65"/>
                  <a:gd name="T9" fmla="*/ 58 h 79"/>
                  <a:gd name="T10" fmla="*/ 0 w 65"/>
                  <a:gd name="T11" fmla="*/ 3 h 79"/>
                  <a:gd name="T12" fmla="*/ 7 w 65"/>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65" h="79">
                    <a:moveTo>
                      <a:pt x="7" y="0"/>
                    </a:moveTo>
                    <a:cubicBezTo>
                      <a:pt x="13" y="14"/>
                      <a:pt x="32" y="38"/>
                      <a:pt x="52" y="31"/>
                    </a:cubicBezTo>
                    <a:cubicBezTo>
                      <a:pt x="52" y="31"/>
                      <a:pt x="47" y="51"/>
                      <a:pt x="56" y="58"/>
                    </a:cubicBezTo>
                    <a:cubicBezTo>
                      <a:pt x="56" y="58"/>
                      <a:pt x="65" y="74"/>
                      <a:pt x="44" y="76"/>
                    </a:cubicBezTo>
                    <a:cubicBezTo>
                      <a:pt x="19" y="79"/>
                      <a:pt x="4" y="58"/>
                      <a:pt x="4" y="58"/>
                    </a:cubicBezTo>
                    <a:cubicBezTo>
                      <a:pt x="15" y="34"/>
                      <a:pt x="0" y="3"/>
                      <a:pt x="0" y="3"/>
                    </a:cubicBezTo>
                    <a:cubicBezTo>
                      <a:pt x="6" y="7"/>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0">
                <a:extLst>
                  <a:ext uri="{FF2B5EF4-FFF2-40B4-BE49-F238E27FC236}">
                    <a16:creationId xmlns:a16="http://schemas.microsoft.com/office/drawing/2014/main" id="{29BA8BAC-013E-4664-A900-EAF5A5F85A02}"/>
                  </a:ext>
                </a:extLst>
              </p:cNvPr>
              <p:cNvSpPr>
                <a:spLocks/>
              </p:cNvSpPr>
              <p:nvPr/>
            </p:nvSpPr>
            <p:spPr bwMode="auto">
              <a:xfrm>
                <a:off x="3222" y="2175"/>
                <a:ext cx="30" cy="12"/>
              </a:xfrm>
              <a:custGeom>
                <a:avLst/>
                <a:gdLst>
                  <a:gd name="T0" fmla="*/ 15 w 15"/>
                  <a:gd name="T1" fmla="*/ 5 h 6"/>
                  <a:gd name="T2" fmla="*/ 0 w 15"/>
                  <a:gd name="T3" fmla="*/ 5 h 6"/>
                  <a:gd name="T4" fmla="*/ 13 w 15"/>
                  <a:gd name="T5" fmla="*/ 6 h 6"/>
                  <a:gd name="T6" fmla="*/ 15 w 15"/>
                  <a:gd name="T7" fmla="*/ 5 h 6"/>
                </a:gdLst>
                <a:ahLst/>
                <a:cxnLst>
                  <a:cxn ang="0">
                    <a:pos x="T0" y="T1"/>
                  </a:cxn>
                  <a:cxn ang="0">
                    <a:pos x="T2" y="T3"/>
                  </a:cxn>
                  <a:cxn ang="0">
                    <a:pos x="T4" y="T5"/>
                  </a:cxn>
                  <a:cxn ang="0">
                    <a:pos x="T6" y="T7"/>
                  </a:cxn>
                </a:cxnLst>
                <a:rect l="0" t="0" r="r" b="b"/>
                <a:pathLst>
                  <a:path w="15" h="6">
                    <a:moveTo>
                      <a:pt x="15" y="5"/>
                    </a:moveTo>
                    <a:cubicBezTo>
                      <a:pt x="15" y="5"/>
                      <a:pt x="6" y="0"/>
                      <a:pt x="0" y="5"/>
                    </a:cubicBezTo>
                    <a:cubicBezTo>
                      <a:pt x="0" y="5"/>
                      <a:pt x="7" y="3"/>
                      <a:pt x="13" y="6"/>
                    </a:cubicBezTo>
                    <a:lnTo>
                      <a:pt x="15" y="5"/>
                    </a:ln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1">
                <a:extLst>
                  <a:ext uri="{FF2B5EF4-FFF2-40B4-BE49-F238E27FC236}">
                    <a16:creationId xmlns:a16="http://schemas.microsoft.com/office/drawing/2014/main" id="{6F4C9A79-E211-4DAD-88F1-1330479BB232}"/>
                  </a:ext>
                </a:extLst>
              </p:cNvPr>
              <p:cNvSpPr>
                <a:spLocks/>
              </p:cNvSpPr>
              <p:nvPr/>
            </p:nvSpPr>
            <p:spPr bwMode="auto">
              <a:xfrm>
                <a:off x="3285" y="2173"/>
                <a:ext cx="16" cy="14"/>
              </a:xfrm>
              <a:custGeom>
                <a:avLst/>
                <a:gdLst>
                  <a:gd name="T0" fmla="*/ 8 w 8"/>
                  <a:gd name="T1" fmla="*/ 2 h 7"/>
                  <a:gd name="T2" fmla="*/ 0 w 8"/>
                  <a:gd name="T3" fmla="*/ 6 h 7"/>
                  <a:gd name="T4" fmla="*/ 2 w 8"/>
                  <a:gd name="T5" fmla="*/ 7 h 7"/>
                  <a:gd name="T6" fmla="*/ 8 w 8"/>
                  <a:gd name="T7" fmla="*/ 2 h 7"/>
                </a:gdLst>
                <a:ahLst/>
                <a:cxnLst>
                  <a:cxn ang="0">
                    <a:pos x="T0" y="T1"/>
                  </a:cxn>
                  <a:cxn ang="0">
                    <a:pos x="T2" y="T3"/>
                  </a:cxn>
                  <a:cxn ang="0">
                    <a:pos x="T4" y="T5"/>
                  </a:cxn>
                  <a:cxn ang="0">
                    <a:pos x="T6" y="T7"/>
                  </a:cxn>
                </a:cxnLst>
                <a:rect l="0" t="0" r="r" b="b"/>
                <a:pathLst>
                  <a:path w="8" h="7">
                    <a:moveTo>
                      <a:pt x="8" y="2"/>
                    </a:moveTo>
                    <a:cubicBezTo>
                      <a:pt x="8" y="2"/>
                      <a:pt x="3" y="0"/>
                      <a:pt x="0" y="6"/>
                    </a:cubicBezTo>
                    <a:cubicBezTo>
                      <a:pt x="2" y="7"/>
                      <a:pt x="2" y="7"/>
                      <a:pt x="2" y="7"/>
                    </a:cubicBezTo>
                    <a:cubicBezTo>
                      <a:pt x="2" y="7"/>
                      <a:pt x="2" y="3"/>
                      <a:pt x="8" y="2"/>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2">
                <a:extLst>
                  <a:ext uri="{FF2B5EF4-FFF2-40B4-BE49-F238E27FC236}">
                    <a16:creationId xmlns:a16="http://schemas.microsoft.com/office/drawing/2014/main" id="{DDB202A8-EDF9-4002-A045-D493D5C38F74}"/>
                  </a:ext>
                </a:extLst>
              </p:cNvPr>
              <p:cNvSpPr>
                <a:spLocks/>
              </p:cNvSpPr>
              <p:nvPr/>
            </p:nvSpPr>
            <p:spPr bwMode="auto">
              <a:xfrm>
                <a:off x="3275" y="2195"/>
                <a:ext cx="24" cy="29"/>
              </a:xfrm>
              <a:custGeom>
                <a:avLst/>
                <a:gdLst>
                  <a:gd name="T0" fmla="*/ 5 w 12"/>
                  <a:gd name="T1" fmla="*/ 15 h 15"/>
                  <a:gd name="T2" fmla="*/ 4 w 12"/>
                  <a:gd name="T3" fmla="*/ 12 h 15"/>
                  <a:gd name="T4" fmla="*/ 7 w 12"/>
                  <a:gd name="T5" fmla="*/ 6 h 15"/>
                  <a:gd name="T6" fmla="*/ 5 w 12"/>
                  <a:gd name="T7" fmla="*/ 3 h 15"/>
                  <a:gd name="T8" fmla="*/ 1 w 12"/>
                  <a:gd name="T9" fmla="*/ 4 h 15"/>
                  <a:gd name="T10" fmla="*/ 0 w 12"/>
                  <a:gd name="T11" fmla="*/ 1 h 15"/>
                  <a:gd name="T12" fmla="*/ 6 w 12"/>
                  <a:gd name="T13" fmla="*/ 1 h 15"/>
                  <a:gd name="T14" fmla="*/ 10 w 12"/>
                  <a:gd name="T15" fmla="*/ 5 h 15"/>
                  <a:gd name="T16" fmla="*/ 5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5" y="15"/>
                    </a:moveTo>
                    <a:cubicBezTo>
                      <a:pt x="4" y="12"/>
                      <a:pt x="4" y="12"/>
                      <a:pt x="4" y="12"/>
                    </a:cubicBezTo>
                    <a:cubicBezTo>
                      <a:pt x="4" y="12"/>
                      <a:pt x="9" y="10"/>
                      <a:pt x="7" y="6"/>
                    </a:cubicBezTo>
                    <a:cubicBezTo>
                      <a:pt x="6" y="5"/>
                      <a:pt x="6" y="4"/>
                      <a:pt x="5" y="3"/>
                    </a:cubicBezTo>
                    <a:cubicBezTo>
                      <a:pt x="3" y="3"/>
                      <a:pt x="1" y="4"/>
                      <a:pt x="1" y="4"/>
                    </a:cubicBezTo>
                    <a:cubicBezTo>
                      <a:pt x="0" y="1"/>
                      <a:pt x="0" y="1"/>
                      <a:pt x="0" y="1"/>
                    </a:cubicBezTo>
                    <a:cubicBezTo>
                      <a:pt x="0" y="1"/>
                      <a:pt x="3" y="0"/>
                      <a:pt x="6" y="1"/>
                    </a:cubicBezTo>
                    <a:cubicBezTo>
                      <a:pt x="8" y="1"/>
                      <a:pt x="9" y="3"/>
                      <a:pt x="10" y="5"/>
                    </a:cubicBezTo>
                    <a:cubicBezTo>
                      <a:pt x="12" y="10"/>
                      <a:pt x="8" y="14"/>
                      <a:pt x="5"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3">
                <a:extLst>
                  <a:ext uri="{FF2B5EF4-FFF2-40B4-BE49-F238E27FC236}">
                    <a16:creationId xmlns:a16="http://schemas.microsoft.com/office/drawing/2014/main" id="{80F0B8E8-1435-4EBB-945E-E177EC05FC56}"/>
                  </a:ext>
                </a:extLst>
              </p:cNvPr>
              <p:cNvSpPr>
                <a:spLocks/>
              </p:cNvSpPr>
              <p:nvPr/>
            </p:nvSpPr>
            <p:spPr bwMode="auto">
              <a:xfrm>
                <a:off x="3054" y="2026"/>
                <a:ext cx="260" cy="155"/>
              </a:xfrm>
              <a:custGeom>
                <a:avLst/>
                <a:gdLst>
                  <a:gd name="T0" fmla="*/ 40 w 133"/>
                  <a:gd name="T1" fmla="*/ 18 h 79"/>
                  <a:gd name="T2" fmla="*/ 17 w 133"/>
                  <a:gd name="T3" fmla="*/ 79 h 79"/>
                  <a:gd name="T4" fmla="*/ 52 w 133"/>
                  <a:gd name="T5" fmla="*/ 51 h 79"/>
                  <a:gd name="T6" fmla="*/ 62 w 133"/>
                  <a:gd name="T7" fmla="*/ 75 h 79"/>
                  <a:gd name="T8" fmla="*/ 72 w 133"/>
                  <a:gd name="T9" fmla="*/ 64 h 79"/>
                  <a:gd name="T10" fmla="*/ 74 w 133"/>
                  <a:gd name="T11" fmla="*/ 57 h 79"/>
                  <a:gd name="T12" fmla="*/ 76 w 133"/>
                  <a:gd name="T13" fmla="*/ 51 h 79"/>
                  <a:gd name="T14" fmla="*/ 76 w 133"/>
                  <a:gd name="T15" fmla="*/ 48 h 79"/>
                  <a:gd name="T16" fmla="*/ 76 w 133"/>
                  <a:gd name="T17" fmla="*/ 45 h 79"/>
                  <a:gd name="T18" fmla="*/ 76 w 133"/>
                  <a:gd name="T19" fmla="*/ 41 h 79"/>
                  <a:gd name="T20" fmla="*/ 76 w 133"/>
                  <a:gd name="T21" fmla="*/ 39 h 79"/>
                  <a:gd name="T22" fmla="*/ 76 w 133"/>
                  <a:gd name="T23" fmla="*/ 41 h 79"/>
                  <a:gd name="T24" fmla="*/ 77 w 133"/>
                  <a:gd name="T25" fmla="*/ 45 h 79"/>
                  <a:gd name="T26" fmla="*/ 77 w 133"/>
                  <a:gd name="T27" fmla="*/ 48 h 79"/>
                  <a:gd name="T28" fmla="*/ 77 w 133"/>
                  <a:gd name="T29" fmla="*/ 51 h 79"/>
                  <a:gd name="T30" fmla="*/ 76 w 133"/>
                  <a:gd name="T31" fmla="*/ 57 h 79"/>
                  <a:gd name="T32" fmla="*/ 76 w 133"/>
                  <a:gd name="T33" fmla="*/ 61 h 79"/>
                  <a:gd name="T34" fmla="*/ 80 w 133"/>
                  <a:gd name="T35" fmla="*/ 58 h 79"/>
                  <a:gd name="T36" fmla="*/ 82 w 133"/>
                  <a:gd name="T37" fmla="*/ 56 h 79"/>
                  <a:gd name="T38" fmla="*/ 85 w 133"/>
                  <a:gd name="T39" fmla="*/ 45 h 79"/>
                  <a:gd name="T40" fmla="*/ 86 w 133"/>
                  <a:gd name="T41" fmla="*/ 42 h 79"/>
                  <a:gd name="T42" fmla="*/ 86 w 133"/>
                  <a:gd name="T43" fmla="*/ 41 h 79"/>
                  <a:gd name="T44" fmla="*/ 86 w 133"/>
                  <a:gd name="T45" fmla="*/ 42 h 79"/>
                  <a:gd name="T46" fmla="*/ 86 w 133"/>
                  <a:gd name="T47" fmla="*/ 45 h 79"/>
                  <a:gd name="T48" fmla="*/ 84 w 133"/>
                  <a:gd name="T49" fmla="*/ 56 h 79"/>
                  <a:gd name="T50" fmla="*/ 84 w 133"/>
                  <a:gd name="T51" fmla="*/ 57 h 79"/>
                  <a:gd name="T52" fmla="*/ 97 w 133"/>
                  <a:gd name="T53" fmla="*/ 52 h 79"/>
                  <a:gd name="T54" fmla="*/ 96 w 133"/>
                  <a:gd name="T55" fmla="*/ 48 h 79"/>
                  <a:gd name="T56" fmla="*/ 95 w 133"/>
                  <a:gd name="T57" fmla="*/ 41 h 79"/>
                  <a:gd name="T58" fmla="*/ 93 w 133"/>
                  <a:gd name="T59" fmla="*/ 37 h 79"/>
                  <a:gd name="T60" fmla="*/ 95 w 133"/>
                  <a:gd name="T61" fmla="*/ 40 h 79"/>
                  <a:gd name="T62" fmla="*/ 98 w 133"/>
                  <a:gd name="T63" fmla="*/ 48 h 79"/>
                  <a:gd name="T64" fmla="*/ 99 w 133"/>
                  <a:gd name="T65" fmla="*/ 52 h 79"/>
                  <a:gd name="T66" fmla="*/ 107 w 133"/>
                  <a:gd name="T67" fmla="*/ 51 h 79"/>
                  <a:gd name="T68" fmla="*/ 106 w 133"/>
                  <a:gd name="T69" fmla="*/ 43 h 79"/>
                  <a:gd name="T70" fmla="*/ 103 w 133"/>
                  <a:gd name="T71" fmla="*/ 35 h 79"/>
                  <a:gd name="T72" fmla="*/ 101 w 133"/>
                  <a:gd name="T73" fmla="*/ 32 h 79"/>
                  <a:gd name="T74" fmla="*/ 103 w 133"/>
                  <a:gd name="T75" fmla="*/ 35 h 79"/>
                  <a:gd name="T76" fmla="*/ 108 w 133"/>
                  <a:gd name="T77" fmla="*/ 43 h 79"/>
                  <a:gd name="T78" fmla="*/ 111 w 133"/>
                  <a:gd name="T79" fmla="*/ 50 h 79"/>
                  <a:gd name="T80" fmla="*/ 123 w 133"/>
                  <a:gd name="T81" fmla="*/ 51 h 79"/>
                  <a:gd name="T82" fmla="*/ 123 w 133"/>
                  <a:gd name="T83" fmla="*/ 50 h 79"/>
                  <a:gd name="T84" fmla="*/ 122 w 133"/>
                  <a:gd name="T85" fmla="*/ 43 h 79"/>
                  <a:gd name="T86" fmla="*/ 120 w 133"/>
                  <a:gd name="T87" fmla="*/ 36 h 79"/>
                  <a:gd name="T88" fmla="*/ 119 w 133"/>
                  <a:gd name="T89" fmla="*/ 34 h 79"/>
                  <a:gd name="T90" fmla="*/ 118 w 133"/>
                  <a:gd name="T91" fmla="*/ 33 h 79"/>
                  <a:gd name="T92" fmla="*/ 119 w 133"/>
                  <a:gd name="T93" fmla="*/ 34 h 79"/>
                  <a:gd name="T94" fmla="*/ 121 w 133"/>
                  <a:gd name="T95" fmla="*/ 36 h 79"/>
                  <a:gd name="T96" fmla="*/ 124 w 133"/>
                  <a:gd name="T97" fmla="*/ 42 h 79"/>
                  <a:gd name="T98" fmla="*/ 126 w 133"/>
                  <a:gd name="T99" fmla="*/ 49 h 79"/>
                  <a:gd name="T100" fmla="*/ 127 w 133"/>
                  <a:gd name="T101" fmla="*/ 51 h 79"/>
                  <a:gd name="T102" fmla="*/ 130 w 133"/>
                  <a:gd name="T103" fmla="*/ 52 h 79"/>
                  <a:gd name="T104" fmla="*/ 40 w 133"/>
                  <a:gd name="T105"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 h="79">
                    <a:moveTo>
                      <a:pt x="40" y="18"/>
                    </a:moveTo>
                    <a:cubicBezTo>
                      <a:pt x="0" y="37"/>
                      <a:pt x="17" y="79"/>
                      <a:pt x="17" y="79"/>
                    </a:cubicBezTo>
                    <a:cubicBezTo>
                      <a:pt x="21" y="63"/>
                      <a:pt x="52" y="51"/>
                      <a:pt x="52" y="51"/>
                    </a:cubicBezTo>
                    <a:cubicBezTo>
                      <a:pt x="50" y="64"/>
                      <a:pt x="62" y="75"/>
                      <a:pt x="62" y="75"/>
                    </a:cubicBezTo>
                    <a:cubicBezTo>
                      <a:pt x="65" y="70"/>
                      <a:pt x="68" y="67"/>
                      <a:pt x="72" y="64"/>
                    </a:cubicBezTo>
                    <a:cubicBezTo>
                      <a:pt x="73" y="62"/>
                      <a:pt x="74" y="59"/>
                      <a:pt x="74" y="57"/>
                    </a:cubicBezTo>
                    <a:cubicBezTo>
                      <a:pt x="75" y="55"/>
                      <a:pt x="76" y="53"/>
                      <a:pt x="76" y="51"/>
                    </a:cubicBezTo>
                    <a:cubicBezTo>
                      <a:pt x="76" y="50"/>
                      <a:pt x="76" y="49"/>
                      <a:pt x="76" y="48"/>
                    </a:cubicBezTo>
                    <a:cubicBezTo>
                      <a:pt x="76" y="47"/>
                      <a:pt x="76" y="46"/>
                      <a:pt x="76" y="45"/>
                    </a:cubicBezTo>
                    <a:cubicBezTo>
                      <a:pt x="76" y="43"/>
                      <a:pt x="76" y="42"/>
                      <a:pt x="76" y="41"/>
                    </a:cubicBezTo>
                    <a:cubicBezTo>
                      <a:pt x="76" y="40"/>
                      <a:pt x="76" y="39"/>
                      <a:pt x="76" y="39"/>
                    </a:cubicBezTo>
                    <a:cubicBezTo>
                      <a:pt x="76" y="39"/>
                      <a:pt x="76" y="40"/>
                      <a:pt x="76" y="41"/>
                    </a:cubicBezTo>
                    <a:cubicBezTo>
                      <a:pt x="76" y="42"/>
                      <a:pt x="77" y="43"/>
                      <a:pt x="77" y="45"/>
                    </a:cubicBezTo>
                    <a:cubicBezTo>
                      <a:pt x="77" y="46"/>
                      <a:pt x="77" y="47"/>
                      <a:pt x="77" y="48"/>
                    </a:cubicBezTo>
                    <a:cubicBezTo>
                      <a:pt x="77" y="49"/>
                      <a:pt x="77" y="50"/>
                      <a:pt x="77" y="51"/>
                    </a:cubicBezTo>
                    <a:cubicBezTo>
                      <a:pt x="77" y="53"/>
                      <a:pt x="77" y="55"/>
                      <a:pt x="76" y="57"/>
                    </a:cubicBezTo>
                    <a:cubicBezTo>
                      <a:pt x="76" y="59"/>
                      <a:pt x="76" y="60"/>
                      <a:pt x="76" y="61"/>
                    </a:cubicBezTo>
                    <a:cubicBezTo>
                      <a:pt x="77" y="60"/>
                      <a:pt x="79" y="59"/>
                      <a:pt x="80" y="58"/>
                    </a:cubicBezTo>
                    <a:cubicBezTo>
                      <a:pt x="81" y="57"/>
                      <a:pt x="81" y="56"/>
                      <a:pt x="82" y="56"/>
                    </a:cubicBezTo>
                    <a:cubicBezTo>
                      <a:pt x="84" y="52"/>
                      <a:pt x="85" y="48"/>
                      <a:pt x="85" y="45"/>
                    </a:cubicBezTo>
                    <a:cubicBezTo>
                      <a:pt x="85" y="44"/>
                      <a:pt x="86" y="43"/>
                      <a:pt x="86" y="42"/>
                    </a:cubicBezTo>
                    <a:cubicBezTo>
                      <a:pt x="86" y="41"/>
                      <a:pt x="86" y="41"/>
                      <a:pt x="86" y="41"/>
                    </a:cubicBezTo>
                    <a:cubicBezTo>
                      <a:pt x="86" y="41"/>
                      <a:pt x="86" y="41"/>
                      <a:pt x="86" y="42"/>
                    </a:cubicBezTo>
                    <a:cubicBezTo>
                      <a:pt x="86" y="43"/>
                      <a:pt x="86" y="44"/>
                      <a:pt x="86" y="45"/>
                    </a:cubicBezTo>
                    <a:cubicBezTo>
                      <a:pt x="86" y="49"/>
                      <a:pt x="85" y="53"/>
                      <a:pt x="84" y="56"/>
                    </a:cubicBezTo>
                    <a:cubicBezTo>
                      <a:pt x="84" y="56"/>
                      <a:pt x="84" y="57"/>
                      <a:pt x="84" y="57"/>
                    </a:cubicBezTo>
                    <a:cubicBezTo>
                      <a:pt x="88" y="55"/>
                      <a:pt x="92" y="53"/>
                      <a:pt x="97" y="52"/>
                    </a:cubicBezTo>
                    <a:cubicBezTo>
                      <a:pt x="97" y="51"/>
                      <a:pt x="96" y="50"/>
                      <a:pt x="96" y="48"/>
                    </a:cubicBezTo>
                    <a:cubicBezTo>
                      <a:pt x="96" y="46"/>
                      <a:pt x="95" y="43"/>
                      <a:pt x="95" y="41"/>
                    </a:cubicBezTo>
                    <a:cubicBezTo>
                      <a:pt x="94" y="39"/>
                      <a:pt x="93" y="37"/>
                      <a:pt x="93" y="37"/>
                    </a:cubicBezTo>
                    <a:cubicBezTo>
                      <a:pt x="93" y="37"/>
                      <a:pt x="94" y="38"/>
                      <a:pt x="95" y="40"/>
                    </a:cubicBezTo>
                    <a:cubicBezTo>
                      <a:pt x="96" y="42"/>
                      <a:pt x="97" y="45"/>
                      <a:pt x="98" y="48"/>
                    </a:cubicBezTo>
                    <a:cubicBezTo>
                      <a:pt x="99" y="49"/>
                      <a:pt x="99" y="50"/>
                      <a:pt x="99" y="52"/>
                    </a:cubicBezTo>
                    <a:cubicBezTo>
                      <a:pt x="102" y="51"/>
                      <a:pt x="105" y="51"/>
                      <a:pt x="107" y="51"/>
                    </a:cubicBezTo>
                    <a:cubicBezTo>
                      <a:pt x="107" y="48"/>
                      <a:pt x="106" y="46"/>
                      <a:pt x="106" y="43"/>
                    </a:cubicBezTo>
                    <a:cubicBezTo>
                      <a:pt x="105" y="40"/>
                      <a:pt x="104" y="37"/>
                      <a:pt x="103" y="35"/>
                    </a:cubicBezTo>
                    <a:cubicBezTo>
                      <a:pt x="102" y="33"/>
                      <a:pt x="101" y="32"/>
                      <a:pt x="101" y="32"/>
                    </a:cubicBezTo>
                    <a:cubicBezTo>
                      <a:pt x="101" y="32"/>
                      <a:pt x="102" y="33"/>
                      <a:pt x="103" y="35"/>
                    </a:cubicBezTo>
                    <a:cubicBezTo>
                      <a:pt x="105" y="37"/>
                      <a:pt x="106" y="40"/>
                      <a:pt x="108" y="43"/>
                    </a:cubicBezTo>
                    <a:cubicBezTo>
                      <a:pt x="109" y="45"/>
                      <a:pt x="110" y="48"/>
                      <a:pt x="111" y="50"/>
                    </a:cubicBezTo>
                    <a:cubicBezTo>
                      <a:pt x="115" y="50"/>
                      <a:pt x="120" y="50"/>
                      <a:pt x="123" y="51"/>
                    </a:cubicBezTo>
                    <a:cubicBezTo>
                      <a:pt x="123" y="50"/>
                      <a:pt x="123" y="50"/>
                      <a:pt x="123" y="50"/>
                    </a:cubicBezTo>
                    <a:cubicBezTo>
                      <a:pt x="123" y="48"/>
                      <a:pt x="123" y="45"/>
                      <a:pt x="122" y="43"/>
                    </a:cubicBezTo>
                    <a:cubicBezTo>
                      <a:pt x="122" y="40"/>
                      <a:pt x="121" y="38"/>
                      <a:pt x="120" y="36"/>
                    </a:cubicBezTo>
                    <a:cubicBezTo>
                      <a:pt x="120" y="35"/>
                      <a:pt x="119" y="34"/>
                      <a:pt x="119" y="34"/>
                    </a:cubicBezTo>
                    <a:cubicBezTo>
                      <a:pt x="119" y="33"/>
                      <a:pt x="118" y="33"/>
                      <a:pt x="118" y="33"/>
                    </a:cubicBezTo>
                    <a:cubicBezTo>
                      <a:pt x="118" y="33"/>
                      <a:pt x="119" y="33"/>
                      <a:pt x="119" y="34"/>
                    </a:cubicBezTo>
                    <a:cubicBezTo>
                      <a:pt x="119" y="34"/>
                      <a:pt x="120" y="35"/>
                      <a:pt x="121" y="36"/>
                    </a:cubicBezTo>
                    <a:cubicBezTo>
                      <a:pt x="122" y="37"/>
                      <a:pt x="123" y="40"/>
                      <a:pt x="124" y="42"/>
                    </a:cubicBezTo>
                    <a:cubicBezTo>
                      <a:pt x="125" y="45"/>
                      <a:pt x="126" y="47"/>
                      <a:pt x="126" y="49"/>
                    </a:cubicBezTo>
                    <a:cubicBezTo>
                      <a:pt x="126" y="50"/>
                      <a:pt x="126" y="51"/>
                      <a:pt x="127" y="51"/>
                    </a:cubicBezTo>
                    <a:cubicBezTo>
                      <a:pt x="129" y="52"/>
                      <a:pt x="130" y="52"/>
                      <a:pt x="130" y="52"/>
                    </a:cubicBezTo>
                    <a:cubicBezTo>
                      <a:pt x="133" y="12"/>
                      <a:pt x="81" y="0"/>
                      <a:pt x="40" y="18"/>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4">
                <a:extLst>
                  <a:ext uri="{FF2B5EF4-FFF2-40B4-BE49-F238E27FC236}">
                    <a16:creationId xmlns:a16="http://schemas.microsoft.com/office/drawing/2014/main" id="{18B6D28B-E7BE-4E6A-83B9-23C2F4CCF83E}"/>
                  </a:ext>
                </a:extLst>
              </p:cNvPr>
              <p:cNvSpPr>
                <a:spLocks/>
              </p:cNvSpPr>
              <p:nvPr/>
            </p:nvSpPr>
            <p:spPr bwMode="auto">
              <a:xfrm>
                <a:off x="3142" y="2326"/>
                <a:ext cx="169" cy="89"/>
              </a:xfrm>
              <a:custGeom>
                <a:avLst/>
                <a:gdLst>
                  <a:gd name="T0" fmla="*/ 0 w 86"/>
                  <a:gd name="T1" fmla="*/ 17 h 45"/>
                  <a:gd name="T2" fmla="*/ 56 w 86"/>
                  <a:gd name="T3" fmla="*/ 41 h 45"/>
                  <a:gd name="T4" fmla="*/ 69 w 86"/>
                  <a:gd name="T5" fmla="*/ 8 h 45"/>
                  <a:gd name="T6" fmla="*/ 8 w 86"/>
                  <a:gd name="T7" fmla="*/ 0 h 45"/>
                  <a:gd name="T8" fmla="*/ 3 w 86"/>
                  <a:gd name="T9" fmla="*/ 9 h 45"/>
                  <a:gd name="T10" fmla="*/ 0 w 86"/>
                  <a:gd name="T11" fmla="*/ 17 h 45"/>
                </a:gdLst>
                <a:ahLst/>
                <a:cxnLst>
                  <a:cxn ang="0">
                    <a:pos x="T0" y="T1"/>
                  </a:cxn>
                  <a:cxn ang="0">
                    <a:pos x="T2" y="T3"/>
                  </a:cxn>
                  <a:cxn ang="0">
                    <a:pos x="T4" y="T5"/>
                  </a:cxn>
                  <a:cxn ang="0">
                    <a:pos x="T6" y="T7"/>
                  </a:cxn>
                  <a:cxn ang="0">
                    <a:pos x="T8" y="T9"/>
                  </a:cxn>
                  <a:cxn ang="0">
                    <a:pos x="T10" y="T11"/>
                  </a:cxn>
                </a:cxnLst>
                <a:rect l="0" t="0" r="r" b="b"/>
                <a:pathLst>
                  <a:path w="86" h="45">
                    <a:moveTo>
                      <a:pt x="0" y="17"/>
                    </a:moveTo>
                    <a:cubicBezTo>
                      <a:pt x="0" y="27"/>
                      <a:pt x="25" y="45"/>
                      <a:pt x="56" y="41"/>
                    </a:cubicBezTo>
                    <a:cubicBezTo>
                      <a:pt x="86" y="37"/>
                      <a:pt x="74" y="11"/>
                      <a:pt x="69" y="8"/>
                    </a:cubicBezTo>
                    <a:cubicBezTo>
                      <a:pt x="69" y="8"/>
                      <a:pt x="50" y="20"/>
                      <a:pt x="8" y="0"/>
                    </a:cubicBezTo>
                    <a:cubicBezTo>
                      <a:pt x="8" y="0"/>
                      <a:pt x="3" y="3"/>
                      <a:pt x="3" y="9"/>
                    </a:cubicBezTo>
                    <a:cubicBezTo>
                      <a:pt x="4" y="15"/>
                      <a:pt x="0" y="17"/>
                      <a:pt x="0" y="17"/>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5">
                <a:extLst>
                  <a:ext uri="{FF2B5EF4-FFF2-40B4-BE49-F238E27FC236}">
                    <a16:creationId xmlns:a16="http://schemas.microsoft.com/office/drawing/2014/main" id="{18E76683-9E50-4041-88F9-47E7AC574CEA}"/>
                  </a:ext>
                </a:extLst>
              </p:cNvPr>
              <p:cNvSpPr>
                <a:spLocks/>
              </p:cNvSpPr>
              <p:nvPr/>
            </p:nvSpPr>
            <p:spPr bwMode="auto">
              <a:xfrm>
                <a:off x="3091" y="3187"/>
                <a:ext cx="29" cy="84"/>
              </a:xfrm>
              <a:custGeom>
                <a:avLst/>
                <a:gdLst>
                  <a:gd name="T0" fmla="*/ 13 w 15"/>
                  <a:gd name="T1" fmla="*/ 3 h 43"/>
                  <a:gd name="T2" fmla="*/ 13 w 15"/>
                  <a:gd name="T3" fmla="*/ 14 h 43"/>
                  <a:gd name="T4" fmla="*/ 5 w 15"/>
                  <a:gd name="T5" fmla="*/ 35 h 43"/>
                  <a:gd name="T6" fmla="*/ 1 w 15"/>
                  <a:gd name="T7" fmla="*/ 27 h 43"/>
                  <a:gd name="T8" fmla="*/ 13 w 15"/>
                  <a:gd name="T9" fmla="*/ 3 h 43"/>
                </a:gdLst>
                <a:ahLst/>
                <a:cxnLst>
                  <a:cxn ang="0">
                    <a:pos x="T0" y="T1"/>
                  </a:cxn>
                  <a:cxn ang="0">
                    <a:pos x="T2" y="T3"/>
                  </a:cxn>
                  <a:cxn ang="0">
                    <a:pos x="T4" y="T5"/>
                  </a:cxn>
                  <a:cxn ang="0">
                    <a:pos x="T6" y="T7"/>
                  </a:cxn>
                  <a:cxn ang="0">
                    <a:pos x="T8" y="T9"/>
                  </a:cxn>
                </a:cxnLst>
                <a:rect l="0" t="0" r="r" b="b"/>
                <a:pathLst>
                  <a:path w="15" h="43">
                    <a:moveTo>
                      <a:pt x="13" y="3"/>
                    </a:moveTo>
                    <a:cubicBezTo>
                      <a:pt x="13" y="3"/>
                      <a:pt x="15" y="10"/>
                      <a:pt x="13" y="14"/>
                    </a:cubicBezTo>
                    <a:cubicBezTo>
                      <a:pt x="12" y="19"/>
                      <a:pt x="4" y="29"/>
                      <a:pt x="5" y="35"/>
                    </a:cubicBezTo>
                    <a:cubicBezTo>
                      <a:pt x="6" y="40"/>
                      <a:pt x="0" y="43"/>
                      <a:pt x="1" y="27"/>
                    </a:cubicBezTo>
                    <a:cubicBezTo>
                      <a:pt x="1" y="12"/>
                      <a:pt x="1" y="0"/>
                      <a:pt x="13" y="3"/>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6">
                <a:extLst>
                  <a:ext uri="{FF2B5EF4-FFF2-40B4-BE49-F238E27FC236}">
                    <a16:creationId xmlns:a16="http://schemas.microsoft.com/office/drawing/2014/main" id="{CE8907C6-D638-4589-B4AC-2A3ED396D7A4}"/>
                  </a:ext>
                </a:extLst>
              </p:cNvPr>
              <p:cNvSpPr>
                <a:spLocks/>
              </p:cNvSpPr>
              <p:nvPr/>
            </p:nvSpPr>
            <p:spPr bwMode="auto">
              <a:xfrm>
                <a:off x="3040" y="3153"/>
                <a:ext cx="61" cy="118"/>
              </a:xfrm>
              <a:custGeom>
                <a:avLst/>
                <a:gdLst>
                  <a:gd name="T0" fmla="*/ 31 w 31"/>
                  <a:gd name="T1" fmla="*/ 22 h 60"/>
                  <a:gd name="T2" fmla="*/ 27 w 31"/>
                  <a:gd name="T3" fmla="*/ 44 h 60"/>
                  <a:gd name="T4" fmla="*/ 21 w 31"/>
                  <a:gd name="T5" fmla="*/ 59 h 60"/>
                  <a:gd name="T6" fmla="*/ 16 w 31"/>
                  <a:gd name="T7" fmla="*/ 47 h 60"/>
                  <a:gd name="T8" fmla="*/ 8 w 31"/>
                  <a:gd name="T9" fmla="*/ 40 h 60"/>
                  <a:gd name="T10" fmla="*/ 4 w 31"/>
                  <a:gd name="T11" fmla="*/ 29 h 60"/>
                  <a:gd name="T12" fmla="*/ 1 w 31"/>
                  <a:gd name="T13" fmla="*/ 0 h 60"/>
                  <a:gd name="T14" fmla="*/ 31 w 31"/>
                  <a:gd name="T15" fmla="*/ 22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31" y="22"/>
                    </a:moveTo>
                    <a:cubicBezTo>
                      <a:pt x="27" y="44"/>
                      <a:pt x="27" y="44"/>
                      <a:pt x="27" y="44"/>
                    </a:cubicBezTo>
                    <a:cubicBezTo>
                      <a:pt x="27" y="44"/>
                      <a:pt x="24" y="60"/>
                      <a:pt x="21" y="59"/>
                    </a:cubicBezTo>
                    <a:cubicBezTo>
                      <a:pt x="18" y="59"/>
                      <a:pt x="16" y="47"/>
                      <a:pt x="16" y="47"/>
                    </a:cubicBezTo>
                    <a:cubicBezTo>
                      <a:pt x="16" y="47"/>
                      <a:pt x="9" y="43"/>
                      <a:pt x="8" y="40"/>
                    </a:cubicBezTo>
                    <a:cubicBezTo>
                      <a:pt x="8" y="38"/>
                      <a:pt x="8" y="30"/>
                      <a:pt x="4" y="29"/>
                    </a:cubicBezTo>
                    <a:cubicBezTo>
                      <a:pt x="0" y="28"/>
                      <a:pt x="1" y="0"/>
                      <a:pt x="1" y="0"/>
                    </a:cubicBezTo>
                    <a:cubicBezTo>
                      <a:pt x="1" y="0"/>
                      <a:pt x="28" y="14"/>
                      <a:pt x="3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7">
                <a:extLst>
                  <a:ext uri="{FF2B5EF4-FFF2-40B4-BE49-F238E27FC236}">
                    <a16:creationId xmlns:a16="http://schemas.microsoft.com/office/drawing/2014/main" id="{C5CC8A38-8A11-4FB4-8AB9-391BC115E291}"/>
                  </a:ext>
                </a:extLst>
              </p:cNvPr>
              <p:cNvSpPr>
                <a:spLocks/>
              </p:cNvSpPr>
              <p:nvPr/>
            </p:nvSpPr>
            <p:spPr bwMode="auto">
              <a:xfrm>
                <a:off x="2997" y="2364"/>
                <a:ext cx="184" cy="876"/>
              </a:xfrm>
              <a:custGeom>
                <a:avLst/>
                <a:gdLst>
                  <a:gd name="T0" fmla="*/ 38 w 94"/>
                  <a:gd name="T1" fmla="*/ 15 h 446"/>
                  <a:gd name="T2" fmla="*/ 87 w 94"/>
                  <a:gd name="T3" fmla="*/ 104 h 446"/>
                  <a:gd name="T4" fmla="*/ 68 w 94"/>
                  <a:gd name="T5" fmla="*/ 426 h 446"/>
                  <a:gd name="T6" fmla="*/ 20 w 94"/>
                  <a:gd name="T7" fmla="*/ 412 h 446"/>
                  <a:gd name="T8" fmla="*/ 26 w 94"/>
                  <a:gd name="T9" fmla="*/ 233 h 446"/>
                  <a:gd name="T10" fmla="*/ 38 w 94"/>
                  <a:gd name="T11" fmla="*/ 15 h 446"/>
                </a:gdLst>
                <a:ahLst/>
                <a:cxnLst>
                  <a:cxn ang="0">
                    <a:pos x="T0" y="T1"/>
                  </a:cxn>
                  <a:cxn ang="0">
                    <a:pos x="T2" y="T3"/>
                  </a:cxn>
                  <a:cxn ang="0">
                    <a:pos x="T4" y="T5"/>
                  </a:cxn>
                  <a:cxn ang="0">
                    <a:pos x="T6" y="T7"/>
                  </a:cxn>
                  <a:cxn ang="0">
                    <a:pos x="T8" y="T9"/>
                  </a:cxn>
                  <a:cxn ang="0">
                    <a:pos x="T10" y="T11"/>
                  </a:cxn>
                </a:cxnLst>
                <a:rect l="0" t="0" r="r" b="b"/>
                <a:pathLst>
                  <a:path w="94" h="446">
                    <a:moveTo>
                      <a:pt x="38" y="15"/>
                    </a:moveTo>
                    <a:cubicBezTo>
                      <a:pt x="59" y="0"/>
                      <a:pt x="84" y="77"/>
                      <a:pt x="87" y="104"/>
                    </a:cubicBezTo>
                    <a:cubicBezTo>
                      <a:pt x="94" y="167"/>
                      <a:pt x="85" y="406"/>
                      <a:pt x="68" y="426"/>
                    </a:cubicBezTo>
                    <a:cubicBezTo>
                      <a:pt x="51" y="446"/>
                      <a:pt x="31" y="421"/>
                      <a:pt x="20" y="412"/>
                    </a:cubicBezTo>
                    <a:cubicBezTo>
                      <a:pt x="9" y="404"/>
                      <a:pt x="26" y="233"/>
                      <a:pt x="26" y="233"/>
                    </a:cubicBezTo>
                    <a:cubicBezTo>
                      <a:pt x="26" y="233"/>
                      <a:pt x="0" y="43"/>
                      <a:pt x="38" y="15"/>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8">
                <a:extLst>
                  <a:ext uri="{FF2B5EF4-FFF2-40B4-BE49-F238E27FC236}">
                    <a16:creationId xmlns:a16="http://schemas.microsoft.com/office/drawing/2014/main" id="{8FFEDC75-EE96-45F9-B131-732FD3B18E42}"/>
                  </a:ext>
                </a:extLst>
              </p:cNvPr>
              <p:cNvSpPr>
                <a:spLocks/>
              </p:cNvSpPr>
              <p:nvPr/>
            </p:nvSpPr>
            <p:spPr bwMode="auto">
              <a:xfrm>
                <a:off x="3214" y="3978"/>
                <a:ext cx="189" cy="102"/>
              </a:xfrm>
              <a:custGeom>
                <a:avLst/>
                <a:gdLst>
                  <a:gd name="T0" fmla="*/ 3 w 96"/>
                  <a:gd name="T1" fmla="*/ 52 h 52"/>
                  <a:gd name="T2" fmla="*/ 7 w 96"/>
                  <a:gd name="T3" fmla="*/ 3 h 52"/>
                  <a:gd name="T4" fmla="*/ 27 w 96"/>
                  <a:gd name="T5" fmla="*/ 17 h 52"/>
                  <a:gd name="T6" fmla="*/ 44 w 96"/>
                  <a:gd name="T7" fmla="*/ 3 h 52"/>
                  <a:gd name="T8" fmla="*/ 68 w 96"/>
                  <a:gd name="T9" fmla="*/ 26 h 52"/>
                  <a:gd name="T10" fmla="*/ 96 w 96"/>
                  <a:gd name="T11" fmla="*/ 52 h 52"/>
                  <a:gd name="T12" fmla="*/ 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3" y="52"/>
                    </a:moveTo>
                    <a:cubicBezTo>
                      <a:pt x="3" y="52"/>
                      <a:pt x="0" y="13"/>
                      <a:pt x="7" y="3"/>
                    </a:cubicBezTo>
                    <a:cubicBezTo>
                      <a:pt x="7" y="3"/>
                      <a:pt x="16" y="17"/>
                      <a:pt x="27" y="17"/>
                    </a:cubicBezTo>
                    <a:cubicBezTo>
                      <a:pt x="34" y="17"/>
                      <a:pt x="37" y="0"/>
                      <a:pt x="44" y="3"/>
                    </a:cubicBezTo>
                    <a:cubicBezTo>
                      <a:pt x="49" y="7"/>
                      <a:pt x="53" y="16"/>
                      <a:pt x="68" y="26"/>
                    </a:cubicBezTo>
                    <a:cubicBezTo>
                      <a:pt x="83" y="36"/>
                      <a:pt x="95" y="33"/>
                      <a:pt x="96" y="52"/>
                    </a:cubicBezTo>
                    <a:lnTo>
                      <a:pt x="3" y="52"/>
                    </a:lnTo>
                    <a:close/>
                  </a:path>
                </a:pathLst>
              </a:custGeom>
              <a:solidFill>
                <a:srgbClr val="BFC0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9">
                <a:extLst>
                  <a:ext uri="{FF2B5EF4-FFF2-40B4-BE49-F238E27FC236}">
                    <a16:creationId xmlns:a16="http://schemas.microsoft.com/office/drawing/2014/main" id="{1B2ACB71-0649-4C3C-875F-520D2256915D}"/>
                  </a:ext>
                </a:extLst>
              </p:cNvPr>
              <p:cNvSpPr>
                <a:spLocks/>
              </p:cNvSpPr>
              <p:nvPr/>
            </p:nvSpPr>
            <p:spPr bwMode="auto">
              <a:xfrm>
                <a:off x="5578" y="2448"/>
                <a:ext cx="100" cy="136"/>
              </a:xfrm>
              <a:custGeom>
                <a:avLst/>
                <a:gdLst>
                  <a:gd name="T0" fmla="*/ 29 w 51"/>
                  <a:gd name="T1" fmla="*/ 6 h 69"/>
                  <a:gd name="T2" fmla="*/ 19 w 51"/>
                  <a:gd name="T3" fmla="*/ 61 h 69"/>
                  <a:gd name="T4" fmla="*/ 51 w 51"/>
                  <a:gd name="T5" fmla="*/ 32 h 69"/>
                  <a:gd name="T6" fmla="*/ 29 w 51"/>
                  <a:gd name="T7" fmla="*/ 6 h 69"/>
                </a:gdLst>
                <a:ahLst/>
                <a:cxnLst>
                  <a:cxn ang="0">
                    <a:pos x="T0" y="T1"/>
                  </a:cxn>
                  <a:cxn ang="0">
                    <a:pos x="T2" y="T3"/>
                  </a:cxn>
                  <a:cxn ang="0">
                    <a:pos x="T4" y="T5"/>
                  </a:cxn>
                  <a:cxn ang="0">
                    <a:pos x="T6" y="T7"/>
                  </a:cxn>
                </a:cxnLst>
                <a:rect l="0" t="0" r="r" b="b"/>
                <a:pathLst>
                  <a:path w="51" h="69">
                    <a:moveTo>
                      <a:pt x="29" y="6"/>
                    </a:moveTo>
                    <a:cubicBezTo>
                      <a:pt x="18" y="0"/>
                      <a:pt x="0" y="52"/>
                      <a:pt x="19" y="61"/>
                    </a:cubicBezTo>
                    <a:cubicBezTo>
                      <a:pt x="37" y="69"/>
                      <a:pt x="51" y="32"/>
                      <a:pt x="51" y="32"/>
                    </a:cubicBezTo>
                    <a:cubicBezTo>
                      <a:pt x="51" y="32"/>
                      <a:pt x="42" y="13"/>
                      <a:pt x="29" y="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0">
                <a:extLst>
                  <a:ext uri="{FF2B5EF4-FFF2-40B4-BE49-F238E27FC236}">
                    <a16:creationId xmlns:a16="http://schemas.microsoft.com/office/drawing/2014/main" id="{CFC463C2-55E7-4344-AB07-F3B84C44288D}"/>
                  </a:ext>
                </a:extLst>
              </p:cNvPr>
              <p:cNvSpPr>
                <a:spLocks/>
              </p:cNvSpPr>
              <p:nvPr/>
            </p:nvSpPr>
            <p:spPr bwMode="auto">
              <a:xfrm>
                <a:off x="5462" y="2374"/>
                <a:ext cx="196" cy="161"/>
              </a:xfrm>
              <a:custGeom>
                <a:avLst/>
                <a:gdLst>
                  <a:gd name="T0" fmla="*/ 27 w 100"/>
                  <a:gd name="T1" fmla="*/ 67 h 82"/>
                  <a:gd name="T2" fmla="*/ 46 w 100"/>
                  <a:gd name="T3" fmla="*/ 68 h 82"/>
                  <a:gd name="T4" fmla="*/ 71 w 100"/>
                  <a:gd name="T5" fmla="*/ 72 h 82"/>
                  <a:gd name="T6" fmla="*/ 93 w 100"/>
                  <a:gd name="T7" fmla="*/ 82 h 82"/>
                  <a:gd name="T8" fmla="*/ 97 w 100"/>
                  <a:gd name="T9" fmla="*/ 50 h 82"/>
                  <a:gd name="T10" fmla="*/ 86 w 100"/>
                  <a:gd name="T11" fmla="*/ 44 h 82"/>
                  <a:gd name="T12" fmla="*/ 76 w 100"/>
                  <a:gd name="T13" fmla="*/ 22 h 82"/>
                  <a:gd name="T14" fmla="*/ 61 w 100"/>
                  <a:gd name="T15" fmla="*/ 1 h 82"/>
                  <a:gd name="T16" fmla="*/ 56 w 100"/>
                  <a:gd name="T17" fmla="*/ 6 h 82"/>
                  <a:gd name="T18" fmla="*/ 63 w 100"/>
                  <a:gd name="T19" fmla="*/ 22 h 82"/>
                  <a:gd name="T20" fmla="*/ 62 w 100"/>
                  <a:gd name="T21" fmla="*/ 23 h 82"/>
                  <a:gd name="T22" fmla="*/ 62 w 100"/>
                  <a:gd name="T23" fmla="*/ 23 h 82"/>
                  <a:gd name="T24" fmla="*/ 58 w 100"/>
                  <a:gd name="T25" fmla="*/ 27 h 82"/>
                  <a:gd name="T26" fmla="*/ 58 w 100"/>
                  <a:gd name="T27" fmla="*/ 28 h 82"/>
                  <a:gd name="T28" fmla="*/ 32 w 100"/>
                  <a:gd name="T29" fmla="*/ 20 h 82"/>
                  <a:gd name="T30" fmla="*/ 11 w 100"/>
                  <a:gd name="T31" fmla="*/ 16 h 82"/>
                  <a:gd name="T32" fmla="*/ 34 w 100"/>
                  <a:gd name="T33" fmla="*/ 33 h 82"/>
                  <a:gd name="T34" fmla="*/ 33 w 100"/>
                  <a:gd name="T35" fmla="*/ 35 h 82"/>
                  <a:gd name="T36" fmla="*/ 8 w 100"/>
                  <a:gd name="T37" fmla="*/ 28 h 82"/>
                  <a:gd name="T38" fmla="*/ 2 w 100"/>
                  <a:gd name="T39" fmla="*/ 34 h 82"/>
                  <a:gd name="T40" fmla="*/ 19 w 100"/>
                  <a:gd name="T41" fmla="*/ 41 h 82"/>
                  <a:gd name="T42" fmla="*/ 29 w 100"/>
                  <a:gd name="T43" fmla="*/ 46 h 82"/>
                  <a:gd name="T44" fmla="*/ 29 w 100"/>
                  <a:gd name="T45" fmla="*/ 48 h 82"/>
                  <a:gd name="T46" fmla="*/ 4 w 100"/>
                  <a:gd name="T47" fmla="*/ 48 h 82"/>
                  <a:gd name="T48" fmla="*/ 20 w 100"/>
                  <a:gd name="T49" fmla="*/ 57 h 82"/>
                  <a:gd name="T50" fmla="*/ 32 w 100"/>
                  <a:gd name="T51" fmla="*/ 59 h 82"/>
                  <a:gd name="T52" fmla="*/ 12 w 100"/>
                  <a:gd name="T53" fmla="*/ 63 h 82"/>
                  <a:gd name="T54" fmla="*/ 27 w 100"/>
                  <a:gd name="T55" fmla="*/ 6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0" h="82">
                    <a:moveTo>
                      <a:pt x="27" y="67"/>
                    </a:moveTo>
                    <a:cubicBezTo>
                      <a:pt x="31" y="66"/>
                      <a:pt x="46" y="68"/>
                      <a:pt x="46" y="68"/>
                    </a:cubicBezTo>
                    <a:cubicBezTo>
                      <a:pt x="58" y="71"/>
                      <a:pt x="64" y="73"/>
                      <a:pt x="71" y="72"/>
                    </a:cubicBezTo>
                    <a:cubicBezTo>
                      <a:pt x="78" y="71"/>
                      <a:pt x="93" y="82"/>
                      <a:pt x="93" y="82"/>
                    </a:cubicBezTo>
                    <a:cubicBezTo>
                      <a:pt x="93" y="82"/>
                      <a:pt x="100" y="66"/>
                      <a:pt x="97" y="50"/>
                    </a:cubicBezTo>
                    <a:cubicBezTo>
                      <a:pt x="97" y="50"/>
                      <a:pt x="88" y="47"/>
                      <a:pt x="86" y="44"/>
                    </a:cubicBezTo>
                    <a:cubicBezTo>
                      <a:pt x="83" y="39"/>
                      <a:pt x="84" y="30"/>
                      <a:pt x="76" y="22"/>
                    </a:cubicBezTo>
                    <a:cubicBezTo>
                      <a:pt x="68" y="14"/>
                      <a:pt x="61" y="1"/>
                      <a:pt x="61" y="1"/>
                    </a:cubicBezTo>
                    <a:cubicBezTo>
                      <a:pt x="61" y="1"/>
                      <a:pt x="55" y="0"/>
                      <a:pt x="56" y="6"/>
                    </a:cubicBezTo>
                    <a:cubicBezTo>
                      <a:pt x="57" y="12"/>
                      <a:pt x="63" y="19"/>
                      <a:pt x="63" y="22"/>
                    </a:cubicBezTo>
                    <a:cubicBezTo>
                      <a:pt x="62" y="22"/>
                      <a:pt x="62" y="23"/>
                      <a:pt x="62" y="23"/>
                    </a:cubicBezTo>
                    <a:cubicBezTo>
                      <a:pt x="62" y="23"/>
                      <a:pt x="62" y="23"/>
                      <a:pt x="62" y="23"/>
                    </a:cubicBezTo>
                    <a:cubicBezTo>
                      <a:pt x="61" y="25"/>
                      <a:pt x="60" y="27"/>
                      <a:pt x="58" y="27"/>
                    </a:cubicBezTo>
                    <a:cubicBezTo>
                      <a:pt x="58" y="27"/>
                      <a:pt x="58" y="27"/>
                      <a:pt x="58" y="28"/>
                    </a:cubicBezTo>
                    <a:cubicBezTo>
                      <a:pt x="52" y="29"/>
                      <a:pt x="38" y="23"/>
                      <a:pt x="32" y="20"/>
                    </a:cubicBezTo>
                    <a:cubicBezTo>
                      <a:pt x="24" y="15"/>
                      <a:pt x="12" y="10"/>
                      <a:pt x="11" y="16"/>
                    </a:cubicBezTo>
                    <a:cubicBezTo>
                      <a:pt x="11" y="22"/>
                      <a:pt x="18" y="20"/>
                      <a:pt x="34" y="33"/>
                    </a:cubicBezTo>
                    <a:cubicBezTo>
                      <a:pt x="33" y="35"/>
                      <a:pt x="33" y="35"/>
                      <a:pt x="33" y="35"/>
                    </a:cubicBezTo>
                    <a:cubicBezTo>
                      <a:pt x="34" y="36"/>
                      <a:pt x="20" y="33"/>
                      <a:pt x="8" y="28"/>
                    </a:cubicBezTo>
                    <a:cubicBezTo>
                      <a:pt x="0" y="24"/>
                      <a:pt x="0" y="31"/>
                      <a:pt x="2" y="34"/>
                    </a:cubicBezTo>
                    <a:cubicBezTo>
                      <a:pt x="4" y="36"/>
                      <a:pt x="13" y="38"/>
                      <a:pt x="19" y="41"/>
                    </a:cubicBezTo>
                    <a:cubicBezTo>
                      <a:pt x="23" y="43"/>
                      <a:pt x="27" y="45"/>
                      <a:pt x="29" y="46"/>
                    </a:cubicBezTo>
                    <a:cubicBezTo>
                      <a:pt x="29" y="48"/>
                      <a:pt x="29" y="48"/>
                      <a:pt x="29" y="48"/>
                    </a:cubicBezTo>
                    <a:cubicBezTo>
                      <a:pt x="11" y="49"/>
                      <a:pt x="7" y="44"/>
                      <a:pt x="4" y="48"/>
                    </a:cubicBezTo>
                    <a:cubicBezTo>
                      <a:pt x="2" y="53"/>
                      <a:pt x="14" y="57"/>
                      <a:pt x="20" y="57"/>
                    </a:cubicBezTo>
                    <a:cubicBezTo>
                      <a:pt x="23" y="57"/>
                      <a:pt x="27" y="58"/>
                      <a:pt x="32" y="59"/>
                    </a:cubicBezTo>
                    <a:cubicBezTo>
                      <a:pt x="18" y="62"/>
                      <a:pt x="13" y="59"/>
                      <a:pt x="12" y="63"/>
                    </a:cubicBezTo>
                    <a:cubicBezTo>
                      <a:pt x="11" y="67"/>
                      <a:pt x="22" y="68"/>
                      <a:pt x="27" y="67"/>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1">
                <a:extLst>
                  <a:ext uri="{FF2B5EF4-FFF2-40B4-BE49-F238E27FC236}">
                    <a16:creationId xmlns:a16="http://schemas.microsoft.com/office/drawing/2014/main" id="{09B3D512-C879-44A8-BEB1-1C514F17E89F}"/>
                  </a:ext>
                </a:extLst>
              </p:cNvPr>
              <p:cNvSpPr>
                <a:spLocks/>
              </p:cNvSpPr>
              <p:nvPr/>
            </p:nvSpPr>
            <p:spPr bwMode="auto">
              <a:xfrm>
                <a:off x="5576" y="2419"/>
                <a:ext cx="15" cy="39"/>
              </a:xfrm>
              <a:custGeom>
                <a:avLst/>
                <a:gdLst>
                  <a:gd name="T0" fmla="*/ 8 w 8"/>
                  <a:gd name="T1" fmla="*/ 20 h 20"/>
                  <a:gd name="T2" fmla="*/ 4 w 8"/>
                  <a:gd name="T3" fmla="*/ 0 h 20"/>
                  <a:gd name="T4" fmla="*/ 0 w 8"/>
                  <a:gd name="T5" fmla="*/ 4 h 20"/>
                  <a:gd name="T6" fmla="*/ 8 w 8"/>
                  <a:gd name="T7" fmla="*/ 20 h 20"/>
                </a:gdLst>
                <a:ahLst/>
                <a:cxnLst>
                  <a:cxn ang="0">
                    <a:pos x="T0" y="T1"/>
                  </a:cxn>
                  <a:cxn ang="0">
                    <a:pos x="T2" y="T3"/>
                  </a:cxn>
                  <a:cxn ang="0">
                    <a:pos x="T4" y="T5"/>
                  </a:cxn>
                  <a:cxn ang="0">
                    <a:pos x="T6" y="T7"/>
                  </a:cxn>
                </a:cxnLst>
                <a:rect l="0" t="0" r="r" b="b"/>
                <a:pathLst>
                  <a:path w="8" h="20">
                    <a:moveTo>
                      <a:pt x="8" y="20"/>
                    </a:moveTo>
                    <a:cubicBezTo>
                      <a:pt x="2" y="13"/>
                      <a:pt x="4" y="2"/>
                      <a:pt x="4" y="0"/>
                    </a:cubicBezTo>
                    <a:cubicBezTo>
                      <a:pt x="3" y="2"/>
                      <a:pt x="2" y="4"/>
                      <a:pt x="0" y="4"/>
                    </a:cubicBezTo>
                    <a:cubicBezTo>
                      <a:pt x="0" y="16"/>
                      <a:pt x="8" y="20"/>
                      <a:pt x="8" y="20"/>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2">
                <a:extLst>
                  <a:ext uri="{FF2B5EF4-FFF2-40B4-BE49-F238E27FC236}">
                    <a16:creationId xmlns:a16="http://schemas.microsoft.com/office/drawing/2014/main" id="{E742A200-0FEC-42D9-A511-C7D606633A81}"/>
                  </a:ext>
                </a:extLst>
              </p:cNvPr>
              <p:cNvSpPr>
                <a:spLocks/>
              </p:cNvSpPr>
              <p:nvPr/>
            </p:nvSpPr>
            <p:spPr bwMode="auto">
              <a:xfrm>
                <a:off x="5615" y="2136"/>
                <a:ext cx="392" cy="542"/>
              </a:xfrm>
              <a:custGeom>
                <a:avLst/>
                <a:gdLst>
                  <a:gd name="T0" fmla="*/ 188 w 200"/>
                  <a:gd name="T1" fmla="*/ 0 h 276"/>
                  <a:gd name="T2" fmla="*/ 109 w 200"/>
                  <a:gd name="T3" fmla="*/ 191 h 276"/>
                  <a:gd name="T4" fmla="*/ 98 w 200"/>
                  <a:gd name="T5" fmla="*/ 188 h 276"/>
                  <a:gd name="T6" fmla="*/ 10 w 200"/>
                  <a:gd name="T7" fmla="*/ 165 h 276"/>
                  <a:gd name="T8" fmla="*/ 0 w 200"/>
                  <a:gd name="T9" fmla="*/ 220 h 276"/>
                  <a:gd name="T10" fmla="*/ 121 w 200"/>
                  <a:gd name="T11" fmla="*/ 270 h 276"/>
                  <a:gd name="T12" fmla="*/ 200 w 200"/>
                  <a:gd name="T13" fmla="*/ 121 h 276"/>
                  <a:gd name="T14" fmla="*/ 188 w 200"/>
                  <a:gd name="T15" fmla="*/ 0 h 2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276">
                    <a:moveTo>
                      <a:pt x="188" y="0"/>
                    </a:moveTo>
                    <a:cubicBezTo>
                      <a:pt x="159" y="14"/>
                      <a:pt x="109" y="191"/>
                      <a:pt x="109" y="191"/>
                    </a:cubicBezTo>
                    <a:cubicBezTo>
                      <a:pt x="109" y="191"/>
                      <a:pt x="102" y="183"/>
                      <a:pt x="98" y="188"/>
                    </a:cubicBezTo>
                    <a:cubicBezTo>
                      <a:pt x="95" y="194"/>
                      <a:pt x="10" y="165"/>
                      <a:pt x="10" y="165"/>
                    </a:cubicBezTo>
                    <a:cubicBezTo>
                      <a:pt x="10" y="165"/>
                      <a:pt x="28" y="196"/>
                      <a:pt x="0" y="220"/>
                    </a:cubicBezTo>
                    <a:cubicBezTo>
                      <a:pt x="0" y="220"/>
                      <a:pt x="90" y="264"/>
                      <a:pt x="121" y="270"/>
                    </a:cubicBezTo>
                    <a:cubicBezTo>
                      <a:pt x="152" y="276"/>
                      <a:pt x="200" y="121"/>
                      <a:pt x="200" y="121"/>
                    </a:cubicBezTo>
                    <a:lnTo>
                      <a:pt x="188" y="0"/>
                    </a:ln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3">
                <a:extLst>
                  <a:ext uri="{FF2B5EF4-FFF2-40B4-BE49-F238E27FC236}">
                    <a16:creationId xmlns:a16="http://schemas.microsoft.com/office/drawing/2014/main" id="{95B747C6-0940-4E0B-B8E1-87129B7DC744}"/>
                  </a:ext>
                </a:extLst>
              </p:cNvPr>
              <p:cNvSpPr>
                <a:spLocks/>
              </p:cNvSpPr>
              <p:nvPr/>
            </p:nvSpPr>
            <p:spPr bwMode="auto">
              <a:xfrm>
                <a:off x="5674" y="3917"/>
                <a:ext cx="247" cy="163"/>
              </a:xfrm>
              <a:custGeom>
                <a:avLst/>
                <a:gdLst>
                  <a:gd name="T0" fmla="*/ 0 w 126"/>
                  <a:gd name="T1" fmla="*/ 75 h 83"/>
                  <a:gd name="T2" fmla="*/ 0 w 126"/>
                  <a:gd name="T3" fmla="*/ 83 h 83"/>
                  <a:gd name="T4" fmla="*/ 126 w 126"/>
                  <a:gd name="T5" fmla="*/ 83 h 83"/>
                  <a:gd name="T6" fmla="*/ 126 w 126"/>
                  <a:gd name="T7" fmla="*/ 75 h 83"/>
                  <a:gd name="T8" fmla="*/ 114 w 126"/>
                  <a:gd name="T9" fmla="*/ 14 h 83"/>
                  <a:gd name="T10" fmla="*/ 82 w 126"/>
                  <a:gd name="T11" fmla="*/ 0 h 83"/>
                  <a:gd name="T12" fmla="*/ 64 w 126"/>
                  <a:gd name="T13" fmla="*/ 34 h 83"/>
                  <a:gd name="T14" fmla="*/ 57 w 126"/>
                  <a:gd name="T15" fmla="*/ 38 h 83"/>
                  <a:gd name="T16" fmla="*/ 53 w 126"/>
                  <a:gd name="T17" fmla="*/ 40 h 83"/>
                  <a:gd name="T18" fmla="*/ 45 w 126"/>
                  <a:gd name="T19" fmla="*/ 43 h 83"/>
                  <a:gd name="T20" fmla="*/ 15 w 126"/>
                  <a:gd name="T21" fmla="*/ 48 h 83"/>
                  <a:gd name="T22" fmla="*/ 0 w 126"/>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3">
                    <a:moveTo>
                      <a:pt x="0" y="75"/>
                    </a:moveTo>
                    <a:cubicBezTo>
                      <a:pt x="0" y="80"/>
                      <a:pt x="0" y="83"/>
                      <a:pt x="0" y="83"/>
                    </a:cubicBezTo>
                    <a:cubicBezTo>
                      <a:pt x="126" y="83"/>
                      <a:pt x="126" y="83"/>
                      <a:pt x="126" y="83"/>
                    </a:cubicBezTo>
                    <a:cubicBezTo>
                      <a:pt x="126" y="80"/>
                      <a:pt x="126" y="78"/>
                      <a:pt x="126" y="75"/>
                    </a:cubicBezTo>
                    <a:cubicBezTo>
                      <a:pt x="124" y="42"/>
                      <a:pt x="114" y="14"/>
                      <a:pt x="114" y="14"/>
                    </a:cubicBezTo>
                    <a:cubicBezTo>
                      <a:pt x="82" y="0"/>
                      <a:pt x="82" y="0"/>
                      <a:pt x="82" y="0"/>
                    </a:cubicBezTo>
                    <a:cubicBezTo>
                      <a:pt x="80" y="17"/>
                      <a:pt x="73" y="27"/>
                      <a:pt x="64" y="34"/>
                    </a:cubicBezTo>
                    <a:cubicBezTo>
                      <a:pt x="62" y="36"/>
                      <a:pt x="59" y="37"/>
                      <a:pt x="57" y="38"/>
                    </a:cubicBezTo>
                    <a:cubicBezTo>
                      <a:pt x="56" y="39"/>
                      <a:pt x="54" y="40"/>
                      <a:pt x="53" y="40"/>
                    </a:cubicBezTo>
                    <a:cubicBezTo>
                      <a:pt x="51" y="41"/>
                      <a:pt x="48" y="42"/>
                      <a:pt x="45" y="43"/>
                    </a:cubicBezTo>
                    <a:cubicBezTo>
                      <a:pt x="34" y="46"/>
                      <a:pt x="23" y="47"/>
                      <a:pt x="15" y="48"/>
                    </a:cubicBezTo>
                    <a:cubicBezTo>
                      <a:pt x="2" y="50"/>
                      <a:pt x="0" y="66"/>
                      <a:pt x="0"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4">
                <a:extLst>
                  <a:ext uri="{FF2B5EF4-FFF2-40B4-BE49-F238E27FC236}">
                    <a16:creationId xmlns:a16="http://schemas.microsoft.com/office/drawing/2014/main" id="{FD6F3FBF-7E2C-4A12-A218-141FE8DD3E9B}"/>
                  </a:ext>
                </a:extLst>
              </p:cNvPr>
              <p:cNvSpPr>
                <a:spLocks/>
              </p:cNvSpPr>
              <p:nvPr/>
            </p:nvSpPr>
            <p:spPr bwMode="auto">
              <a:xfrm>
                <a:off x="5674" y="4064"/>
                <a:ext cx="247" cy="16"/>
              </a:xfrm>
              <a:custGeom>
                <a:avLst/>
                <a:gdLst>
                  <a:gd name="T0" fmla="*/ 0 w 126"/>
                  <a:gd name="T1" fmla="*/ 0 h 8"/>
                  <a:gd name="T2" fmla="*/ 0 w 126"/>
                  <a:gd name="T3" fmla="*/ 8 h 8"/>
                  <a:gd name="T4" fmla="*/ 126 w 126"/>
                  <a:gd name="T5" fmla="*/ 8 h 8"/>
                  <a:gd name="T6" fmla="*/ 126 w 126"/>
                  <a:gd name="T7" fmla="*/ 0 h 8"/>
                  <a:gd name="T8" fmla="*/ 0 w 126"/>
                  <a:gd name="T9" fmla="*/ 0 h 8"/>
                </a:gdLst>
                <a:ahLst/>
                <a:cxnLst>
                  <a:cxn ang="0">
                    <a:pos x="T0" y="T1"/>
                  </a:cxn>
                  <a:cxn ang="0">
                    <a:pos x="T2" y="T3"/>
                  </a:cxn>
                  <a:cxn ang="0">
                    <a:pos x="T4" y="T5"/>
                  </a:cxn>
                  <a:cxn ang="0">
                    <a:pos x="T6" y="T7"/>
                  </a:cxn>
                  <a:cxn ang="0">
                    <a:pos x="T8" y="T9"/>
                  </a:cxn>
                </a:cxnLst>
                <a:rect l="0" t="0" r="r" b="b"/>
                <a:pathLst>
                  <a:path w="126" h="8">
                    <a:moveTo>
                      <a:pt x="0" y="0"/>
                    </a:moveTo>
                    <a:cubicBezTo>
                      <a:pt x="0" y="5"/>
                      <a:pt x="0" y="8"/>
                      <a:pt x="0" y="8"/>
                    </a:cubicBezTo>
                    <a:cubicBezTo>
                      <a:pt x="126" y="8"/>
                      <a:pt x="126" y="8"/>
                      <a:pt x="126" y="8"/>
                    </a:cubicBezTo>
                    <a:cubicBezTo>
                      <a:pt x="126" y="5"/>
                      <a:pt x="126" y="3"/>
                      <a:pt x="126" y="0"/>
                    </a:cubicBezTo>
                    <a:lnTo>
                      <a:pt x="0"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5">
                <a:extLst>
                  <a:ext uri="{FF2B5EF4-FFF2-40B4-BE49-F238E27FC236}">
                    <a16:creationId xmlns:a16="http://schemas.microsoft.com/office/drawing/2014/main" id="{91892A7C-871F-4EC9-8FBB-0E7CC5D4B13C}"/>
                  </a:ext>
                </a:extLst>
              </p:cNvPr>
              <p:cNvSpPr>
                <a:spLocks/>
              </p:cNvSpPr>
              <p:nvPr/>
            </p:nvSpPr>
            <p:spPr bwMode="auto">
              <a:xfrm>
                <a:off x="5785" y="3984"/>
                <a:ext cx="42" cy="19"/>
              </a:xfrm>
              <a:custGeom>
                <a:avLst/>
                <a:gdLst>
                  <a:gd name="T0" fmla="*/ 0 w 21"/>
                  <a:gd name="T1" fmla="*/ 4 h 10"/>
                  <a:gd name="T2" fmla="*/ 17 w 21"/>
                  <a:gd name="T3" fmla="*/ 10 h 10"/>
                  <a:gd name="T4" fmla="*/ 21 w 21"/>
                  <a:gd name="T5" fmla="*/ 4 h 10"/>
                  <a:gd name="T6" fmla="*/ 7 w 21"/>
                  <a:gd name="T7" fmla="*/ 0 h 10"/>
                  <a:gd name="T8" fmla="*/ 0 w 21"/>
                  <a:gd name="T9" fmla="*/ 4 h 10"/>
                </a:gdLst>
                <a:ahLst/>
                <a:cxnLst>
                  <a:cxn ang="0">
                    <a:pos x="T0" y="T1"/>
                  </a:cxn>
                  <a:cxn ang="0">
                    <a:pos x="T2" y="T3"/>
                  </a:cxn>
                  <a:cxn ang="0">
                    <a:pos x="T4" y="T5"/>
                  </a:cxn>
                  <a:cxn ang="0">
                    <a:pos x="T6" y="T7"/>
                  </a:cxn>
                  <a:cxn ang="0">
                    <a:pos x="T8" y="T9"/>
                  </a:cxn>
                </a:cxnLst>
                <a:rect l="0" t="0" r="r" b="b"/>
                <a:pathLst>
                  <a:path w="21" h="10">
                    <a:moveTo>
                      <a:pt x="0" y="4"/>
                    </a:moveTo>
                    <a:cubicBezTo>
                      <a:pt x="17" y="10"/>
                      <a:pt x="17" y="10"/>
                      <a:pt x="17" y="10"/>
                    </a:cubicBezTo>
                    <a:cubicBezTo>
                      <a:pt x="21" y="4"/>
                      <a:pt x="21" y="4"/>
                      <a:pt x="21" y="4"/>
                    </a:cubicBezTo>
                    <a:cubicBezTo>
                      <a:pt x="7" y="0"/>
                      <a:pt x="7" y="0"/>
                      <a:pt x="7" y="0"/>
                    </a:cubicBezTo>
                    <a:cubicBezTo>
                      <a:pt x="5" y="2"/>
                      <a:pt x="2" y="3"/>
                      <a:pt x="0"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6">
                <a:extLst>
                  <a:ext uri="{FF2B5EF4-FFF2-40B4-BE49-F238E27FC236}">
                    <a16:creationId xmlns:a16="http://schemas.microsoft.com/office/drawing/2014/main" id="{DAC4014D-4654-4155-A7F4-5BF51893CA45}"/>
                  </a:ext>
                </a:extLst>
              </p:cNvPr>
              <p:cNvSpPr>
                <a:spLocks/>
              </p:cNvSpPr>
              <p:nvPr/>
            </p:nvSpPr>
            <p:spPr bwMode="auto">
              <a:xfrm>
                <a:off x="5762" y="3996"/>
                <a:ext cx="37" cy="21"/>
              </a:xfrm>
              <a:custGeom>
                <a:avLst/>
                <a:gdLst>
                  <a:gd name="T0" fmla="*/ 0 w 19"/>
                  <a:gd name="T1" fmla="*/ 3 h 11"/>
                  <a:gd name="T2" fmla="*/ 12 w 19"/>
                  <a:gd name="T3" fmla="*/ 11 h 11"/>
                  <a:gd name="T4" fmla="*/ 19 w 19"/>
                  <a:gd name="T5" fmla="*/ 8 h 11"/>
                  <a:gd name="T6" fmla="*/ 8 w 19"/>
                  <a:gd name="T7" fmla="*/ 0 h 11"/>
                  <a:gd name="T8" fmla="*/ 0 w 19"/>
                  <a:gd name="T9" fmla="*/ 3 h 11"/>
                </a:gdLst>
                <a:ahLst/>
                <a:cxnLst>
                  <a:cxn ang="0">
                    <a:pos x="T0" y="T1"/>
                  </a:cxn>
                  <a:cxn ang="0">
                    <a:pos x="T2" y="T3"/>
                  </a:cxn>
                  <a:cxn ang="0">
                    <a:pos x="T4" y="T5"/>
                  </a:cxn>
                  <a:cxn ang="0">
                    <a:pos x="T6" y="T7"/>
                  </a:cxn>
                  <a:cxn ang="0">
                    <a:pos x="T8" y="T9"/>
                  </a:cxn>
                </a:cxnLst>
                <a:rect l="0" t="0" r="r" b="b"/>
                <a:pathLst>
                  <a:path w="19" h="11">
                    <a:moveTo>
                      <a:pt x="0" y="3"/>
                    </a:moveTo>
                    <a:cubicBezTo>
                      <a:pt x="12" y="11"/>
                      <a:pt x="12" y="11"/>
                      <a:pt x="12" y="11"/>
                    </a:cubicBezTo>
                    <a:cubicBezTo>
                      <a:pt x="19" y="8"/>
                      <a:pt x="19" y="8"/>
                      <a:pt x="19" y="8"/>
                    </a:cubicBezTo>
                    <a:cubicBezTo>
                      <a:pt x="8" y="0"/>
                      <a:pt x="8" y="0"/>
                      <a:pt x="8" y="0"/>
                    </a:cubicBezTo>
                    <a:cubicBezTo>
                      <a:pt x="6" y="1"/>
                      <a:pt x="3" y="2"/>
                      <a:pt x="0"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7">
                <a:extLst>
                  <a:ext uri="{FF2B5EF4-FFF2-40B4-BE49-F238E27FC236}">
                    <a16:creationId xmlns:a16="http://schemas.microsoft.com/office/drawing/2014/main" id="{63D43807-1E5D-4B81-B5F5-044DD007F66D}"/>
                  </a:ext>
                </a:extLst>
              </p:cNvPr>
              <p:cNvSpPr>
                <a:spLocks/>
              </p:cNvSpPr>
              <p:nvPr/>
            </p:nvSpPr>
            <p:spPr bwMode="auto">
              <a:xfrm>
                <a:off x="6109" y="3890"/>
                <a:ext cx="190" cy="190"/>
              </a:xfrm>
              <a:custGeom>
                <a:avLst/>
                <a:gdLst>
                  <a:gd name="T0" fmla="*/ 1 w 97"/>
                  <a:gd name="T1" fmla="*/ 89 h 97"/>
                  <a:gd name="T2" fmla="*/ 2 w 97"/>
                  <a:gd name="T3" fmla="*/ 97 h 97"/>
                  <a:gd name="T4" fmla="*/ 86 w 97"/>
                  <a:gd name="T5" fmla="*/ 97 h 97"/>
                  <a:gd name="T6" fmla="*/ 88 w 97"/>
                  <a:gd name="T7" fmla="*/ 89 h 97"/>
                  <a:gd name="T8" fmla="*/ 41 w 97"/>
                  <a:gd name="T9" fmla="*/ 0 h 97"/>
                  <a:gd name="T10" fmla="*/ 23 w 97"/>
                  <a:gd name="T11" fmla="*/ 24 h 97"/>
                  <a:gd name="T12" fmla="*/ 10 w 97"/>
                  <a:gd name="T13" fmla="*/ 69 h 97"/>
                  <a:gd name="T14" fmla="*/ 1 w 97"/>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97">
                    <a:moveTo>
                      <a:pt x="1" y="89"/>
                    </a:moveTo>
                    <a:cubicBezTo>
                      <a:pt x="1" y="94"/>
                      <a:pt x="2" y="97"/>
                      <a:pt x="2" y="97"/>
                    </a:cubicBezTo>
                    <a:cubicBezTo>
                      <a:pt x="86" y="97"/>
                      <a:pt x="86" y="97"/>
                      <a:pt x="86" y="97"/>
                    </a:cubicBezTo>
                    <a:cubicBezTo>
                      <a:pt x="87" y="94"/>
                      <a:pt x="88" y="92"/>
                      <a:pt x="88" y="89"/>
                    </a:cubicBezTo>
                    <a:cubicBezTo>
                      <a:pt x="97" y="49"/>
                      <a:pt x="41" y="0"/>
                      <a:pt x="41" y="0"/>
                    </a:cubicBezTo>
                    <a:cubicBezTo>
                      <a:pt x="23" y="24"/>
                      <a:pt x="23" y="24"/>
                      <a:pt x="23" y="24"/>
                    </a:cubicBezTo>
                    <a:cubicBezTo>
                      <a:pt x="23" y="24"/>
                      <a:pt x="25" y="62"/>
                      <a:pt x="10" y="69"/>
                    </a:cubicBezTo>
                    <a:cubicBezTo>
                      <a:pt x="1" y="74"/>
                      <a:pt x="0" y="83"/>
                      <a:pt x="1"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78">
                <a:extLst>
                  <a:ext uri="{FF2B5EF4-FFF2-40B4-BE49-F238E27FC236}">
                    <a16:creationId xmlns:a16="http://schemas.microsoft.com/office/drawing/2014/main" id="{387A2AA8-8261-40DF-B992-464346F81C7E}"/>
                  </a:ext>
                </a:extLst>
              </p:cNvPr>
              <p:cNvSpPr>
                <a:spLocks/>
              </p:cNvSpPr>
              <p:nvPr/>
            </p:nvSpPr>
            <p:spPr bwMode="auto">
              <a:xfrm>
                <a:off x="6111" y="4064"/>
                <a:ext cx="171" cy="16"/>
              </a:xfrm>
              <a:custGeom>
                <a:avLst/>
                <a:gdLst>
                  <a:gd name="T0" fmla="*/ 87 w 87"/>
                  <a:gd name="T1" fmla="*/ 0 h 8"/>
                  <a:gd name="T2" fmla="*/ 0 w 87"/>
                  <a:gd name="T3" fmla="*/ 0 h 8"/>
                  <a:gd name="T4" fmla="*/ 1 w 87"/>
                  <a:gd name="T5" fmla="*/ 8 h 8"/>
                  <a:gd name="T6" fmla="*/ 85 w 87"/>
                  <a:gd name="T7" fmla="*/ 8 h 8"/>
                  <a:gd name="T8" fmla="*/ 87 w 87"/>
                  <a:gd name="T9" fmla="*/ 0 h 8"/>
                </a:gdLst>
                <a:ahLst/>
                <a:cxnLst>
                  <a:cxn ang="0">
                    <a:pos x="T0" y="T1"/>
                  </a:cxn>
                  <a:cxn ang="0">
                    <a:pos x="T2" y="T3"/>
                  </a:cxn>
                  <a:cxn ang="0">
                    <a:pos x="T4" y="T5"/>
                  </a:cxn>
                  <a:cxn ang="0">
                    <a:pos x="T6" y="T7"/>
                  </a:cxn>
                  <a:cxn ang="0">
                    <a:pos x="T8" y="T9"/>
                  </a:cxn>
                </a:cxnLst>
                <a:rect l="0" t="0" r="r" b="b"/>
                <a:pathLst>
                  <a:path w="87" h="8">
                    <a:moveTo>
                      <a:pt x="87" y="0"/>
                    </a:moveTo>
                    <a:cubicBezTo>
                      <a:pt x="0" y="0"/>
                      <a:pt x="0" y="0"/>
                      <a:pt x="0" y="0"/>
                    </a:cubicBezTo>
                    <a:cubicBezTo>
                      <a:pt x="0" y="5"/>
                      <a:pt x="1" y="8"/>
                      <a:pt x="1" y="8"/>
                    </a:cubicBezTo>
                    <a:cubicBezTo>
                      <a:pt x="85" y="8"/>
                      <a:pt x="85" y="8"/>
                      <a:pt x="85" y="8"/>
                    </a:cubicBezTo>
                    <a:cubicBezTo>
                      <a:pt x="86" y="5"/>
                      <a:pt x="87" y="3"/>
                      <a:pt x="87"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79">
                <a:extLst>
                  <a:ext uri="{FF2B5EF4-FFF2-40B4-BE49-F238E27FC236}">
                    <a16:creationId xmlns:a16="http://schemas.microsoft.com/office/drawing/2014/main" id="{51CC0B7D-8768-4A3D-B7A6-26727872FCFA}"/>
                  </a:ext>
                </a:extLst>
              </p:cNvPr>
              <p:cNvSpPr>
                <a:spLocks/>
              </p:cNvSpPr>
              <p:nvPr/>
            </p:nvSpPr>
            <p:spPr bwMode="auto">
              <a:xfrm>
                <a:off x="6136" y="3984"/>
                <a:ext cx="102" cy="41"/>
              </a:xfrm>
              <a:custGeom>
                <a:avLst/>
                <a:gdLst>
                  <a:gd name="T0" fmla="*/ 0 w 52"/>
                  <a:gd name="T1" fmla="*/ 18 h 21"/>
                  <a:gd name="T2" fmla="*/ 52 w 52"/>
                  <a:gd name="T3" fmla="*/ 21 h 21"/>
                  <a:gd name="T4" fmla="*/ 52 w 52"/>
                  <a:gd name="T5" fmla="*/ 15 h 21"/>
                  <a:gd name="T6" fmla="*/ 0 w 52"/>
                  <a:gd name="T7" fmla="*/ 18 h 21"/>
                </a:gdLst>
                <a:ahLst/>
                <a:cxnLst>
                  <a:cxn ang="0">
                    <a:pos x="T0" y="T1"/>
                  </a:cxn>
                  <a:cxn ang="0">
                    <a:pos x="T2" y="T3"/>
                  </a:cxn>
                  <a:cxn ang="0">
                    <a:pos x="T4" y="T5"/>
                  </a:cxn>
                  <a:cxn ang="0">
                    <a:pos x="T6" y="T7"/>
                  </a:cxn>
                </a:cxnLst>
                <a:rect l="0" t="0" r="r" b="b"/>
                <a:pathLst>
                  <a:path w="52" h="21">
                    <a:moveTo>
                      <a:pt x="0" y="18"/>
                    </a:moveTo>
                    <a:cubicBezTo>
                      <a:pt x="0" y="18"/>
                      <a:pt x="36" y="10"/>
                      <a:pt x="52" y="21"/>
                    </a:cubicBezTo>
                    <a:cubicBezTo>
                      <a:pt x="52" y="15"/>
                      <a:pt x="52" y="15"/>
                      <a:pt x="52" y="15"/>
                    </a:cubicBezTo>
                    <a:cubicBezTo>
                      <a:pt x="52" y="15"/>
                      <a:pt x="22" y="0"/>
                      <a:pt x="0"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0">
                <a:extLst>
                  <a:ext uri="{FF2B5EF4-FFF2-40B4-BE49-F238E27FC236}">
                    <a16:creationId xmlns:a16="http://schemas.microsoft.com/office/drawing/2014/main" id="{C223867E-EECC-442F-A21D-95E1DFC3A525}"/>
                  </a:ext>
                </a:extLst>
              </p:cNvPr>
              <p:cNvSpPr>
                <a:spLocks/>
              </p:cNvSpPr>
              <p:nvPr/>
            </p:nvSpPr>
            <p:spPr bwMode="auto">
              <a:xfrm>
                <a:off x="6150" y="3972"/>
                <a:ext cx="88" cy="30"/>
              </a:xfrm>
              <a:custGeom>
                <a:avLst/>
                <a:gdLst>
                  <a:gd name="T0" fmla="*/ 0 w 45"/>
                  <a:gd name="T1" fmla="*/ 15 h 15"/>
                  <a:gd name="T2" fmla="*/ 45 w 45"/>
                  <a:gd name="T3" fmla="*/ 15 h 15"/>
                  <a:gd name="T4" fmla="*/ 42 w 45"/>
                  <a:gd name="T5" fmla="*/ 10 h 15"/>
                  <a:gd name="T6" fmla="*/ 0 w 45"/>
                  <a:gd name="T7" fmla="*/ 15 h 15"/>
                </a:gdLst>
                <a:ahLst/>
                <a:cxnLst>
                  <a:cxn ang="0">
                    <a:pos x="T0" y="T1"/>
                  </a:cxn>
                  <a:cxn ang="0">
                    <a:pos x="T2" y="T3"/>
                  </a:cxn>
                  <a:cxn ang="0">
                    <a:pos x="T4" y="T5"/>
                  </a:cxn>
                  <a:cxn ang="0">
                    <a:pos x="T6" y="T7"/>
                  </a:cxn>
                </a:cxnLst>
                <a:rect l="0" t="0" r="r" b="b"/>
                <a:pathLst>
                  <a:path w="45" h="15">
                    <a:moveTo>
                      <a:pt x="0" y="15"/>
                    </a:moveTo>
                    <a:cubicBezTo>
                      <a:pt x="0" y="15"/>
                      <a:pt x="23" y="5"/>
                      <a:pt x="45" y="15"/>
                    </a:cubicBezTo>
                    <a:cubicBezTo>
                      <a:pt x="42" y="10"/>
                      <a:pt x="42" y="10"/>
                      <a:pt x="42" y="10"/>
                    </a:cubicBezTo>
                    <a:cubicBezTo>
                      <a:pt x="42" y="10"/>
                      <a:pt x="16" y="0"/>
                      <a:pt x="0"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1">
                <a:extLst>
                  <a:ext uri="{FF2B5EF4-FFF2-40B4-BE49-F238E27FC236}">
                    <a16:creationId xmlns:a16="http://schemas.microsoft.com/office/drawing/2014/main" id="{28195D3C-D003-4266-9A31-A98311805853}"/>
                  </a:ext>
                </a:extLst>
              </p:cNvPr>
              <p:cNvSpPr>
                <a:spLocks/>
              </p:cNvSpPr>
              <p:nvPr/>
            </p:nvSpPr>
            <p:spPr bwMode="auto">
              <a:xfrm>
                <a:off x="5799" y="2792"/>
                <a:ext cx="587" cy="1233"/>
              </a:xfrm>
              <a:custGeom>
                <a:avLst/>
                <a:gdLst>
                  <a:gd name="T0" fmla="*/ 299 w 299"/>
                  <a:gd name="T1" fmla="*/ 0 h 628"/>
                  <a:gd name="T2" fmla="*/ 289 w 299"/>
                  <a:gd name="T3" fmla="*/ 182 h 628"/>
                  <a:gd name="T4" fmla="*/ 263 w 299"/>
                  <a:gd name="T5" fmla="*/ 521 h 628"/>
                  <a:gd name="T6" fmla="*/ 246 w 299"/>
                  <a:gd name="T7" fmla="*/ 622 h 628"/>
                  <a:gd name="T8" fmla="*/ 178 w 299"/>
                  <a:gd name="T9" fmla="*/ 613 h 628"/>
                  <a:gd name="T10" fmla="*/ 172 w 299"/>
                  <a:gd name="T11" fmla="*/ 577 h 628"/>
                  <a:gd name="T12" fmla="*/ 184 w 299"/>
                  <a:gd name="T13" fmla="*/ 549 h 628"/>
                  <a:gd name="T14" fmla="*/ 182 w 299"/>
                  <a:gd name="T15" fmla="*/ 508 h 628"/>
                  <a:gd name="T16" fmla="*/ 195 w 299"/>
                  <a:gd name="T17" fmla="*/ 106 h 628"/>
                  <a:gd name="T18" fmla="*/ 175 w 299"/>
                  <a:gd name="T19" fmla="*/ 104 h 628"/>
                  <a:gd name="T20" fmla="*/ 82 w 299"/>
                  <a:gd name="T21" fmla="*/ 549 h 628"/>
                  <a:gd name="T22" fmla="*/ 82 w 299"/>
                  <a:gd name="T23" fmla="*/ 575 h 628"/>
                  <a:gd name="T24" fmla="*/ 62 w 299"/>
                  <a:gd name="T25" fmla="*/ 628 h 628"/>
                  <a:gd name="T26" fmla="*/ 0 w 299"/>
                  <a:gd name="T27" fmla="*/ 607 h 628"/>
                  <a:gd name="T28" fmla="*/ 10 w 299"/>
                  <a:gd name="T29" fmla="*/ 577 h 628"/>
                  <a:gd name="T30" fmla="*/ 3 w 299"/>
                  <a:gd name="T31" fmla="*/ 536 h 628"/>
                  <a:gd name="T32" fmla="*/ 26 w 299"/>
                  <a:gd name="T33" fmla="*/ 481 h 628"/>
                  <a:gd name="T34" fmla="*/ 85 w 299"/>
                  <a:gd name="T35" fmla="*/ 8 h 628"/>
                  <a:gd name="T36" fmla="*/ 299 w 299"/>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9" h="628">
                    <a:moveTo>
                      <a:pt x="299" y="0"/>
                    </a:moveTo>
                    <a:cubicBezTo>
                      <a:pt x="299" y="80"/>
                      <a:pt x="291" y="161"/>
                      <a:pt x="289" y="182"/>
                    </a:cubicBezTo>
                    <a:cubicBezTo>
                      <a:pt x="287" y="202"/>
                      <a:pt x="266" y="432"/>
                      <a:pt x="263" y="521"/>
                    </a:cubicBezTo>
                    <a:cubicBezTo>
                      <a:pt x="261" y="567"/>
                      <a:pt x="246" y="622"/>
                      <a:pt x="246" y="622"/>
                    </a:cubicBezTo>
                    <a:cubicBezTo>
                      <a:pt x="246" y="622"/>
                      <a:pt x="203" y="587"/>
                      <a:pt x="178" y="613"/>
                    </a:cubicBezTo>
                    <a:cubicBezTo>
                      <a:pt x="172" y="577"/>
                      <a:pt x="172" y="577"/>
                      <a:pt x="172" y="577"/>
                    </a:cubicBezTo>
                    <a:cubicBezTo>
                      <a:pt x="184" y="549"/>
                      <a:pt x="184" y="549"/>
                      <a:pt x="184" y="549"/>
                    </a:cubicBezTo>
                    <a:cubicBezTo>
                      <a:pt x="184" y="549"/>
                      <a:pt x="171" y="526"/>
                      <a:pt x="182" y="508"/>
                    </a:cubicBezTo>
                    <a:cubicBezTo>
                      <a:pt x="192" y="490"/>
                      <a:pt x="195" y="106"/>
                      <a:pt x="195" y="106"/>
                    </a:cubicBezTo>
                    <a:cubicBezTo>
                      <a:pt x="175" y="104"/>
                      <a:pt x="175" y="104"/>
                      <a:pt x="175" y="104"/>
                    </a:cubicBezTo>
                    <a:cubicBezTo>
                      <a:pt x="82" y="549"/>
                      <a:pt x="82" y="549"/>
                      <a:pt x="82" y="549"/>
                    </a:cubicBezTo>
                    <a:cubicBezTo>
                      <a:pt x="82" y="575"/>
                      <a:pt x="82" y="575"/>
                      <a:pt x="82" y="575"/>
                    </a:cubicBezTo>
                    <a:cubicBezTo>
                      <a:pt x="82" y="575"/>
                      <a:pt x="62" y="607"/>
                      <a:pt x="62" y="628"/>
                    </a:cubicBezTo>
                    <a:cubicBezTo>
                      <a:pt x="0" y="607"/>
                      <a:pt x="0" y="607"/>
                      <a:pt x="0" y="607"/>
                    </a:cubicBezTo>
                    <a:cubicBezTo>
                      <a:pt x="10" y="577"/>
                      <a:pt x="10" y="577"/>
                      <a:pt x="10" y="577"/>
                    </a:cubicBezTo>
                    <a:cubicBezTo>
                      <a:pt x="3" y="536"/>
                      <a:pt x="3" y="536"/>
                      <a:pt x="3" y="536"/>
                    </a:cubicBezTo>
                    <a:cubicBezTo>
                      <a:pt x="26" y="481"/>
                      <a:pt x="26" y="481"/>
                      <a:pt x="26" y="481"/>
                    </a:cubicBezTo>
                    <a:cubicBezTo>
                      <a:pt x="26" y="481"/>
                      <a:pt x="90" y="56"/>
                      <a:pt x="85" y="8"/>
                    </a:cubicBezTo>
                    <a:lnTo>
                      <a:pt x="299" y="0"/>
                    </a:lnTo>
                    <a:close/>
                  </a:path>
                </a:pathLst>
              </a:custGeom>
              <a:solidFill>
                <a:srgbClr val="0D52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2">
                <a:extLst>
                  <a:ext uri="{FF2B5EF4-FFF2-40B4-BE49-F238E27FC236}">
                    <a16:creationId xmlns:a16="http://schemas.microsoft.com/office/drawing/2014/main" id="{051EB2D9-8C40-4527-B4AC-16BDEB34B758}"/>
                  </a:ext>
                </a:extLst>
              </p:cNvPr>
              <p:cNvSpPr>
                <a:spLocks/>
              </p:cNvSpPr>
              <p:nvPr/>
            </p:nvSpPr>
            <p:spPr bwMode="auto">
              <a:xfrm>
                <a:off x="5952" y="2093"/>
                <a:ext cx="477" cy="830"/>
              </a:xfrm>
              <a:custGeom>
                <a:avLst/>
                <a:gdLst>
                  <a:gd name="T0" fmla="*/ 0 w 243"/>
                  <a:gd name="T1" fmla="*/ 130 h 423"/>
                  <a:gd name="T2" fmla="*/ 0 w 243"/>
                  <a:gd name="T3" fmla="*/ 146 h 423"/>
                  <a:gd name="T4" fmla="*/ 0 w 243"/>
                  <a:gd name="T5" fmla="*/ 177 h 423"/>
                  <a:gd name="T6" fmla="*/ 0 w 243"/>
                  <a:gd name="T7" fmla="*/ 193 h 423"/>
                  <a:gd name="T8" fmla="*/ 1 w 243"/>
                  <a:gd name="T9" fmla="*/ 232 h 423"/>
                  <a:gd name="T10" fmla="*/ 2 w 243"/>
                  <a:gd name="T11" fmla="*/ 248 h 423"/>
                  <a:gd name="T12" fmla="*/ 3 w 243"/>
                  <a:gd name="T13" fmla="*/ 290 h 423"/>
                  <a:gd name="T14" fmla="*/ 4 w 243"/>
                  <a:gd name="T15" fmla="*/ 306 h 423"/>
                  <a:gd name="T16" fmla="*/ 5 w 243"/>
                  <a:gd name="T17" fmla="*/ 339 h 423"/>
                  <a:gd name="T18" fmla="*/ 6 w 243"/>
                  <a:gd name="T19" fmla="*/ 356 h 423"/>
                  <a:gd name="T20" fmla="*/ 7 w 243"/>
                  <a:gd name="T21" fmla="*/ 372 h 423"/>
                  <a:gd name="T22" fmla="*/ 88 w 243"/>
                  <a:gd name="T23" fmla="*/ 408 h 423"/>
                  <a:gd name="T24" fmla="*/ 220 w 243"/>
                  <a:gd name="T25" fmla="*/ 376 h 423"/>
                  <a:gd name="T26" fmla="*/ 221 w 243"/>
                  <a:gd name="T27" fmla="*/ 366 h 423"/>
                  <a:gd name="T28" fmla="*/ 223 w 243"/>
                  <a:gd name="T29" fmla="*/ 349 h 423"/>
                  <a:gd name="T30" fmla="*/ 226 w 243"/>
                  <a:gd name="T31" fmla="*/ 321 h 423"/>
                  <a:gd name="T32" fmla="*/ 227 w 243"/>
                  <a:gd name="T33" fmla="*/ 305 h 423"/>
                  <a:gd name="T34" fmla="*/ 231 w 243"/>
                  <a:gd name="T35" fmla="*/ 267 h 423"/>
                  <a:gd name="T36" fmla="*/ 232 w 243"/>
                  <a:gd name="T37" fmla="*/ 251 h 423"/>
                  <a:gd name="T38" fmla="*/ 235 w 243"/>
                  <a:gd name="T39" fmla="*/ 218 h 423"/>
                  <a:gd name="T40" fmla="*/ 236 w 243"/>
                  <a:gd name="T41" fmla="*/ 202 h 423"/>
                  <a:gd name="T42" fmla="*/ 239 w 243"/>
                  <a:gd name="T43" fmla="*/ 167 h 423"/>
                  <a:gd name="T44" fmla="*/ 240 w 243"/>
                  <a:gd name="T45" fmla="*/ 151 h 423"/>
                  <a:gd name="T46" fmla="*/ 242 w 243"/>
                  <a:gd name="T47" fmla="*/ 115 h 423"/>
                  <a:gd name="T48" fmla="*/ 243 w 243"/>
                  <a:gd name="T49" fmla="*/ 98 h 423"/>
                  <a:gd name="T50" fmla="*/ 243 w 243"/>
                  <a:gd name="T51" fmla="*/ 67 h 423"/>
                  <a:gd name="T52" fmla="*/ 242 w 243"/>
                  <a:gd name="T53" fmla="*/ 50 h 423"/>
                  <a:gd name="T54" fmla="*/ 239 w 243"/>
                  <a:gd name="T55" fmla="*/ 38 h 423"/>
                  <a:gd name="T56" fmla="*/ 167 w 243"/>
                  <a:gd name="T57" fmla="*/ 6 h 423"/>
                  <a:gd name="T58" fmla="*/ 133 w 243"/>
                  <a:gd name="T59" fmla="*/ 1 h 423"/>
                  <a:gd name="T60" fmla="*/ 88 w 243"/>
                  <a:gd name="T61" fmla="*/ 1 h 423"/>
                  <a:gd name="T62" fmla="*/ 10 w 243"/>
                  <a:gd name="T63" fmla="*/ 28 h 423"/>
                  <a:gd name="T64" fmla="*/ 9 w 243"/>
                  <a:gd name="T65" fmla="*/ 29 h 423"/>
                  <a:gd name="T66" fmla="*/ 4 w 243"/>
                  <a:gd name="T67" fmla="*/ 45 h 423"/>
                  <a:gd name="T68" fmla="*/ 1 w 243"/>
                  <a:gd name="T69" fmla="*/ 76 h 423"/>
                  <a:gd name="T70" fmla="*/ 0 w 243"/>
                  <a:gd name="T71" fmla="*/ 93 h 423"/>
                  <a:gd name="T72" fmla="*/ 0 w 243"/>
                  <a:gd name="T73" fmla="*/ 13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3" h="423">
                    <a:moveTo>
                      <a:pt x="0" y="130"/>
                    </a:moveTo>
                    <a:cubicBezTo>
                      <a:pt x="0" y="136"/>
                      <a:pt x="0" y="141"/>
                      <a:pt x="0" y="146"/>
                    </a:cubicBezTo>
                    <a:cubicBezTo>
                      <a:pt x="0" y="156"/>
                      <a:pt x="0" y="167"/>
                      <a:pt x="0" y="177"/>
                    </a:cubicBezTo>
                    <a:cubicBezTo>
                      <a:pt x="0" y="183"/>
                      <a:pt x="0" y="188"/>
                      <a:pt x="0" y="193"/>
                    </a:cubicBezTo>
                    <a:cubicBezTo>
                      <a:pt x="1" y="206"/>
                      <a:pt x="1" y="219"/>
                      <a:pt x="1" y="232"/>
                    </a:cubicBezTo>
                    <a:cubicBezTo>
                      <a:pt x="1" y="237"/>
                      <a:pt x="2" y="242"/>
                      <a:pt x="2" y="248"/>
                    </a:cubicBezTo>
                    <a:cubicBezTo>
                      <a:pt x="2" y="262"/>
                      <a:pt x="3" y="277"/>
                      <a:pt x="3" y="290"/>
                    </a:cubicBezTo>
                    <a:cubicBezTo>
                      <a:pt x="4" y="296"/>
                      <a:pt x="4" y="301"/>
                      <a:pt x="4" y="306"/>
                    </a:cubicBezTo>
                    <a:cubicBezTo>
                      <a:pt x="4" y="318"/>
                      <a:pt x="5" y="329"/>
                      <a:pt x="5" y="339"/>
                    </a:cubicBezTo>
                    <a:cubicBezTo>
                      <a:pt x="6" y="345"/>
                      <a:pt x="6" y="351"/>
                      <a:pt x="6" y="356"/>
                    </a:cubicBezTo>
                    <a:cubicBezTo>
                      <a:pt x="7" y="366"/>
                      <a:pt x="7" y="372"/>
                      <a:pt x="7" y="372"/>
                    </a:cubicBezTo>
                    <a:cubicBezTo>
                      <a:pt x="7" y="372"/>
                      <a:pt x="33" y="399"/>
                      <a:pt x="88" y="408"/>
                    </a:cubicBezTo>
                    <a:cubicBezTo>
                      <a:pt x="187" y="423"/>
                      <a:pt x="220" y="376"/>
                      <a:pt x="220" y="376"/>
                    </a:cubicBezTo>
                    <a:cubicBezTo>
                      <a:pt x="220" y="376"/>
                      <a:pt x="221" y="372"/>
                      <a:pt x="221" y="366"/>
                    </a:cubicBezTo>
                    <a:cubicBezTo>
                      <a:pt x="222" y="361"/>
                      <a:pt x="222" y="356"/>
                      <a:pt x="223" y="349"/>
                    </a:cubicBezTo>
                    <a:cubicBezTo>
                      <a:pt x="224" y="341"/>
                      <a:pt x="225" y="332"/>
                      <a:pt x="226" y="321"/>
                    </a:cubicBezTo>
                    <a:cubicBezTo>
                      <a:pt x="226" y="316"/>
                      <a:pt x="227" y="311"/>
                      <a:pt x="227" y="305"/>
                    </a:cubicBezTo>
                    <a:cubicBezTo>
                      <a:pt x="229" y="293"/>
                      <a:pt x="230" y="280"/>
                      <a:pt x="231" y="267"/>
                    </a:cubicBezTo>
                    <a:cubicBezTo>
                      <a:pt x="231" y="262"/>
                      <a:pt x="232" y="256"/>
                      <a:pt x="232" y="251"/>
                    </a:cubicBezTo>
                    <a:cubicBezTo>
                      <a:pt x="233" y="240"/>
                      <a:pt x="234" y="229"/>
                      <a:pt x="235" y="218"/>
                    </a:cubicBezTo>
                    <a:cubicBezTo>
                      <a:pt x="236" y="213"/>
                      <a:pt x="236" y="208"/>
                      <a:pt x="236" y="202"/>
                    </a:cubicBezTo>
                    <a:cubicBezTo>
                      <a:pt x="237" y="190"/>
                      <a:pt x="238" y="179"/>
                      <a:pt x="239" y="167"/>
                    </a:cubicBezTo>
                    <a:cubicBezTo>
                      <a:pt x="239" y="162"/>
                      <a:pt x="240" y="156"/>
                      <a:pt x="240" y="151"/>
                    </a:cubicBezTo>
                    <a:cubicBezTo>
                      <a:pt x="241" y="138"/>
                      <a:pt x="241" y="126"/>
                      <a:pt x="242" y="115"/>
                    </a:cubicBezTo>
                    <a:cubicBezTo>
                      <a:pt x="242" y="109"/>
                      <a:pt x="242" y="103"/>
                      <a:pt x="243" y="98"/>
                    </a:cubicBezTo>
                    <a:cubicBezTo>
                      <a:pt x="243" y="86"/>
                      <a:pt x="243" y="76"/>
                      <a:pt x="243" y="67"/>
                    </a:cubicBezTo>
                    <a:cubicBezTo>
                      <a:pt x="243" y="60"/>
                      <a:pt x="242" y="54"/>
                      <a:pt x="242" y="50"/>
                    </a:cubicBezTo>
                    <a:cubicBezTo>
                      <a:pt x="241" y="44"/>
                      <a:pt x="240" y="40"/>
                      <a:pt x="239" y="38"/>
                    </a:cubicBezTo>
                    <a:cubicBezTo>
                      <a:pt x="229" y="24"/>
                      <a:pt x="208" y="18"/>
                      <a:pt x="167" y="6"/>
                    </a:cubicBezTo>
                    <a:cubicBezTo>
                      <a:pt x="157" y="3"/>
                      <a:pt x="145" y="2"/>
                      <a:pt x="133" y="1"/>
                    </a:cubicBezTo>
                    <a:cubicBezTo>
                      <a:pt x="117" y="0"/>
                      <a:pt x="102" y="0"/>
                      <a:pt x="88" y="1"/>
                    </a:cubicBezTo>
                    <a:cubicBezTo>
                      <a:pt x="53" y="3"/>
                      <a:pt x="25" y="10"/>
                      <a:pt x="10" y="28"/>
                    </a:cubicBezTo>
                    <a:cubicBezTo>
                      <a:pt x="10" y="28"/>
                      <a:pt x="9" y="29"/>
                      <a:pt x="9" y="29"/>
                    </a:cubicBezTo>
                    <a:cubicBezTo>
                      <a:pt x="7" y="32"/>
                      <a:pt x="5" y="37"/>
                      <a:pt x="4" y="45"/>
                    </a:cubicBezTo>
                    <a:cubicBezTo>
                      <a:pt x="3" y="53"/>
                      <a:pt x="2" y="64"/>
                      <a:pt x="1" y="76"/>
                    </a:cubicBezTo>
                    <a:cubicBezTo>
                      <a:pt x="1" y="81"/>
                      <a:pt x="1" y="87"/>
                      <a:pt x="0" y="93"/>
                    </a:cubicBezTo>
                    <a:cubicBezTo>
                      <a:pt x="0" y="104"/>
                      <a:pt x="0" y="117"/>
                      <a:pt x="0" y="13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3">
                <a:extLst>
                  <a:ext uri="{FF2B5EF4-FFF2-40B4-BE49-F238E27FC236}">
                    <a16:creationId xmlns:a16="http://schemas.microsoft.com/office/drawing/2014/main" id="{F08A1597-4635-4FF0-A2C8-C62549ED8DD0}"/>
                  </a:ext>
                </a:extLst>
              </p:cNvPr>
              <p:cNvSpPr>
                <a:spLocks/>
              </p:cNvSpPr>
              <p:nvPr/>
            </p:nvSpPr>
            <p:spPr bwMode="auto">
              <a:xfrm>
                <a:off x="5960" y="2120"/>
                <a:ext cx="469" cy="104"/>
              </a:xfrm>
              <a:custGeom>
                <a:avLst/>
                <a:gdLst>
                  <a:gd name="T0" fmla="*/ 0 w 239"/>
                  <a:gd name="T1" fmla="*/ 31 h 53"/>
                  <a:gd name="T2" fmla="*/ 239 w 239"/>
                  <a:gd name="T3" fmla="*/ 53 h 53"/>
                  <a:gd name="T4" fmla="*/ 238 w 239"/>
                  <a:gd name="T5" fmla="*/ 36 h 53"/>
                  <a:gd name="T6" fmla="*/ 6 w 239"/>
                  <a:gd name="T7" fmla="*/ 14 h 53"/>
                  <a:gd name="T8" fmla="*/ 5 w 239"/>
                  <a:gd name="T9" fmla="*/ 15 h 53"/>
                  <a:gd name="T10" fmla="*/ 0 w 239"/>
                  <a:gd name="T11" fmla="*/ 31 h 53"/>
                </a:gdLst>
                <a:ahLst/>
                <a:cxnLst>
                  <a:cxn ang="0">
                    <a:pos x="T0" y="T1"/>
                  </a:cxn>
                  <a:cxn ang="0">
                    <a:pos x="T2" y="T3"/>
                  </a:cxn>
                  <a:cxn ang="0">
                    <a:pos x="T4" y="T5"/>
                  </a:cxn>
                  <a:cxn ang="0">
                    <a:pos x="T6" y="T7"/>
                  </a:cxn>
                  <a:cxn ang="0">
                    <a:pos x="T8" y="T9"/>
                  </a:cxn>
                  <a:cxn ang="0">
                    <a:pos x="T10" y="T11"/>
                  </a:cxn>
                </a:cxnLst>
                <a:rect l="0" t="0" r="r" b="b"/>
                <a:pathLst>
                  <a:path w="239" h="53">
                    <a:moveTo>
                      <a:pt x="0" y="31"/>
                    </a:moveTo>
                    <a:cubicBezTo>
                      <a:pt x="86" y="15"/>
                      <a:pt x="184" y="37"/>
                      <a:pt x="239" y="53"/>
                    </a:cubicBezTo>
                    <a:cubicBezTo>
                      <a:pt x="239" y="46"/>
                      <a:pt x="238" y="40"/>
                      <a:pt x="238" y="36"/>
                    </a:cubicBezTo>
                    <a:cubicBezTo>
                      <a:pt x="183" y="20"/>
                      <a:pt x="91" y="0"/>
                      <a:pt x="6" y="14"/>
                    </a:cubicBezTo>
                    <a:cubicBezTo>
                      <a:pt x="6" y="14"/>
                      <a:pt x="5" y="15"/>
                      <a:pt x="5" y="15"/>
                    </a:cubicBezTo>
                    <a:cubicBezTo>
                      <a:pt x="3" y="18"/>
                      <a:pt x="1" y="23"/>
                      <a:pt x="0" y="31"/>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4">
                <a:extLst>
                  <a:ext uri="{FF2B5EF4-FFF2-40B4-BE49-F238E27FC236}">
                    <a16:creationId xmlns:a16="http://schemas.microsoft.com/office/drawing/2014/main" id="{6D5F02CA-BF72-444C-8596-1883E62CB9F2}"/>
                  </a:ext>
                </a:extLst>
              </p:cNvPr>
              <p:cNvSpPr>
                <a:spLocks/>
              </p:cNvSpPr>
              <p:nvPr/>
            </p:nvSpPr>
            <p:spPr bwMode="auto">
              <a:xfrm>
                <a:off x="5952" y="2222"/>
                <a:ext cx="477" cy="97"/>
              </a:xfrm>
              <a:custGeom>
                <a:avLst/>
                <a:gdLst>
                  <a:gd name="T0" fmla="*/ 0 w 243"/>
                  <a:gd name="T1" fmla="*/ 27 h 49"/>
                  <a:gd name="T2" fmla="*/ 242 w 243"/>
                  <a:gd name="T3" fmla="*/ 49 h 49"/>
                  <a:gd name="T4" fmla="*/ 243 w 243"/>
                  <a:gd name="T5" fmla="*/ 32 h 49"/>
                  <a:gd name="T6" fmla="*/ 1 w 243"/>
                  <a:gd name="T7" fmla="*/ 10 h 49"/>
                  <a:gd name="T8" fmla="*/ 0 w 243"/>
                  <a:gd name="T9" fmla="*/ 27 h 49"/>
                </a:gdLst>
                <a:ahLst/>
                <a:cxnLst>
                  <a:cxn ang="0">
                    <a:pos x="T0" y="T1"/>
                  </a:cxn>
                  <a:cxn ang="0">
                    <a:pos x="T2" y="T3"/>
                  </a:cxn>
                  <a:cxn ang="0">
                    <a:pos x="T4" y="T5"/>
                  </a:cxn>
                  <a:cxn ang="0">
                    <a:pos x="T6" y="T7"/>
                  </a:cxn>
                  <a:cxn ang="0">
                    <a:pos x="T8" y="T9"/>
                  </a:cxn>
                </a:cxnLst>
                <a:rect l="0" t="0" r="r" b="b"/>
                <a:pathLst>
                  <a:path w="243" h="49">
                    <a:moveTo>
                      <a:pt x="0" y="27"/>
                    </a:moveTo>
                    <a:cubicBezTo>
                      <a:pt x="74" y="16"/>
                      <a:pt x="176" y="34"/>
                      <a:pt x="242" y="49"/>
                    </a:cubicBezTo>
                    <a:cubicBezTo>
                      <a:pt x="242" y="43"/>
                      <a:pt x="242" y="37"/>
                      <a:pt x="243" y="32"/>
                    </a:cubicBezTo>
                    <a:cubicBezTo>
                      <a:pt x="176" y="17"/>
                      <a:pt x="76" y="0"/>
                      <a:pt x="1" y="10"/>
                    </a:cubicBezTo>
                    <a:cubicBezTo>
                      <a:pt x="1" y="15"/>
                      <a:pt x="1" y="21"/>
                      <a:pt x="0" y="27"/>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85">
                <a:extLst>
                  <a:ext uri="{FF2B5EF4-FFF2-40B4-BE49-F238E27FC236}">
                    <a16:creationId xmlns:a16="http://schemas.microsoft.com/office/drawing/2014/main" id="{45FD1906-E758-4D21-A484-E512897A7029}"/>
                  </a:ext>
                </a:extLst>
              </p:cNvPr>
              <p:cNvSpPr>
                <a:spLocks/>
              </p:cNvSpPr>
              <p:nvPr/>
            </p:nvSpPr>
            <p:spPr bwMode="auto">
              <a:xfrm>
                <a:off x="5952" y="2336"/>
                <a:ext cx="471" cy="85"/>
              </a:xfrm>
              <a:custGeom>
                <a:avLst/>
                <a:gdLst>
                  <a:gd name="T0" fmla="*/ 0 w 240"/>
                  <a:gd name="T1" fmla="*/ 6 h 43"/>
                  <a:gd name="T2" fmla="*/ 0 w 240"/>
                  <a:gd name="T3" fmla="*/ 22 h 43"/>
                  <a:gd name="T4" fmla="*/ 239 w 240"/>
                  <a:gd name="T5" fmla="*/ 43 h 43"/>
                  <a:gd name="T6" fmla="*/ 240 w 240"/>
                  <a:gd name="T7" fmla="*/ 27 h 43"/>
                  <a:gd name="T8" fmla="*/ 0 w 240"/>
                  <a:gd name="T9" fmla="*/ 6 h 43"/>
                </a:gdLst>
                <a:ahLst/>
                <a:cxnLst>
                  <a:cxn ang="0">
                    <a:pos x="T0" y="T1"/>
                  </a:cxn>
                  <a:cxn ang="0">
                    <a:pos x="T2" y="T3"/>
                  </a:cxn>
                  <a:cxn ang="0">
                    <a:pos x="T4" y="T5"/>
                  </a:cxn>
                  <a:cxn ang="0">
                    <a:pos x="T6" y="T7"/>
                  </a:cxn>
                  <a:cxn ang="0">
                    <a:pos x="T8" y="T9"/>
                  </a:cxn>
                </a:cxnLst>
                <a:rect l="0" t="0" r="r" b="b"/>
                <a:pathLst>
                  <a:path w="240" h="43">
                    <a:moveTo>
                      <a:pt x="0" y="6"/>
                    </a:moveTo>
                    <a:cubicBezTo>
                      <a:pt x="0" y="12"/>
                      <a:pt x="0" y="17"/>
                      <a:pt x="0" y="22"/>
                    </a:cubicBezTo>
                    <a:cubicBezTo>
                      <a:pt x="75" y="16"/>
                      <a:pt x="173" y="30"/>
                      <a:pt x="239" y="43"/>
                    </a:cubicBezTo>
                    <a:cubicBezTo>
                      <a:pt x="239" y="38"/>
                      <a:pt x="240" y="32"/>
                      <a:pt x="240" y="27"/>
                    </a:cubicBezTo>
                    <a:cubicBezTo>
                      <a:pt x="174" y="14"/>
                      <a:pt x="77" y="0"/>
                      <a:pt x="0" y="6"/>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86">
                <a:extLst>
                  <a:ext uri="{FF2B5EF4-FFF2-40B4-BE49-F238E27FC236}">
                    <a16:creationId xmlns:a16="http://schemas.microsoft.com/office/drawing/2014/main" id="{6287354E-04E9-4AB2-B17F-6C145EF1DC02}"/>
                  </a:ext>
                </a:extLst>
              </p:cNvPr>
              <p:cNvSpPr>
                <a:spLocks/>
              </p:cNvSpPr>
              <p:nvPr/>
            </p:nvSpPr>
            <p:spPr bwMode="auto">
              <a:xfrm>
                <a:off x="5952" y="2440"/>
                <a:ext cx="463" cy="81"/>
              </a:xfrm>
              <a:custGeom>
                <a:avLst/>
                <a:gdLst>
                  <a:gd name="T0" fmla="*/ 0 w 236"/>
                  <a:gd name="T1" fmla="*/ 0 h 41"/>
                  <a:gd name="T2" fmla="*/ 0 w 236"/>
                  <a:gd name="T3" fmla="*/ 16 h 41"/>
                  <a:gd name="T4" fmla="*/ 235 w 236"/>
                  <a:gd name="T5" fmla="*/ 41 h 41"/>
                  <a:gd name="T6" fmla="*/ 236 w 236"/>
                  <a:gd name="T7" fmla="*/ 25 h 41"/>
                  <a:gd name="T8" fmla="*/ 0 w 236"/>
                  <a:gd name="T9" fmla="*/ 0 h 41"/>
                </a:gdLst>
                <a:ahLst/>
                <a:cxnLst>
                  <a:cxn ang="0">
                    <a:pos x="T0" y="T1"/>
                  </a:cxn>
                  <a:cxn ang="0">
                    <a:pos x="T2" y="T3"/>
                  </a:cxn>
                  <a:cxn ang="0">
                    <a:pos x="T4" y="T5"/>
                  </a:cxn>
                  <a:cxn ang="0">
                    <a:pos x="T6" y="T7"/>
                  </a:cxn>
                  <a:cxn ang="0">
                    <a:pos x="T8" y="T9"/>
                  </a:cxn>
                </a:cxnLst>
                <a:rect l="0" t="0" r="r" b="b"/>
                <a:pathLst>
                  <a:path w="236" h="41">
                    <a:moveTo>
                      <a:pt x="0" y="0"/>
                    </a:moveTo>
                    <a:cubicBezTo>
                      <a:pt x="0" y="6"/>
                      <a:pt x="0" y="11"/>
                      <a:pt x="0" y="16"/>
                    </a:cubicBezTo>
                    <a:cubicBezTo>
                      <a:pt x="68" y="17"/>
                      <a:pt x="165" y="30"/>
                      <a:pt x="235" y="41"/>
                    </a:cubicBezTo>
                    <a:cubicBezTo>
                      <a:pt x="236" y="36"/>
                      <a:pt x="236" y="31"/>
                      <a:pt x="236" y="25"/>
                    </a:cubicBezTo>
                    <a:cubicBezTo>
                      <a:pt x="166" y="14"/>
                      <a:pt x="69" y="1"/>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87">
                <a:extLst>
                  <a:ext uri="{FF2B5EF4-FFF2-40B4-BE49-F238E27FC236}">
                    <a16:creationId xmlns:a16="http://schemas.microsoft.com/office/drawing/2014/main" id="{3DB81017-41F1-47CC-950F-25D69C9ABA8F}"/>
                  </a:ext>
                </a:extLst>
              </p:cNvPr>
              <p:cNvSpPr>
                <a:spLocks/>
              </p:cNvSpPr>
              <p:nvPr/>
            </p:nvSpPr>
            <p:spPr bwMode="auto">
              <a:xfrm>
                <a:off x="5954" y="2548"/>
                <a:ext cx="453" cy="69"/>
              </a:xfrm>
              <a:custGeom>
                <a:avLst/>
                <a:gdLst>
                  <a:gd name="T0" fmla="*/ 0 w 231"/>
                  <a:gd name="T1" fmla="*/ 0 h 35"/>
                  <a:gd name="T2" fmla="*/ 1 w 231"/>
                  <a:gd name="T3" fmla="*/ 16 h 35"/>
                  <a:gd name="T4" fmla="*/ 230 w 231"/>
                  <a:gd name="T5" fmla="*/ 35 h 35"/>
                  <a:gd name="T6" fmla="*/ 231 w 231"/>
                  <a:gd name="T7" fmla="*/ 19 h 35"/>
                  <a:gd name="T8" fmla="*/ 0 w 231"/>
                  <a:gd name="T9" fmla="*/ 0 h 35"/>
                </a:gdLst>
                <a:ahLst/>
                <a:cxnLst>
                  <a:cxn ang="0">
                    <a:pos x="T0" y="T1"/>
                  </a:cxn>
                  <a:cxn ang="0">
                    <a:pos x="T2" y="T3"/>
                  </a:cxn>
                  <a:cxn ang="0">
                    <a:pos x="T4" y="T5"/>
                  </a:cxn>
                  <a:cxn ang="0">
                    <a:pos x="T6" y="T7"/>
                  </a:cxn>
                  <a:cxn ang="0">
                    <a:pos x="T8" y="T9"/>
                  </a:cxn>
                </a:cxnLst>
                <a:rect l="0" t="0" r="r" b="b"/>
                <a:pathLst>
                  <a:path w="231" h="35">
                    <a:moveTo>
                      <a:pt x="0" y="0"/>
                    </a:moveTo>
                    <a:cubicBezTo>
                      <a:pt x="0" y="5"/>
                      <a:pt x="1" y="10"/>
                      <a:pt x="1" y="16"/>
                    </a:cubicBezTo>
                    <a:cubicBezTo>
                      <a:pt x="73" y="23"/>
                      <a:pt x="164" y="30"/>
                      <a:pt x="230" y="35"/>
                    </a:cubicBezTo>
                    <a:cubicBezTo>
                      <a:pt x="230" y="30"/>
                      <a:pt x="231" y="24"/>
                      <a:pt x="231" y="19"/>
                    </a:cubicBezTo>
                    <a:cubicBezTo>
                      <a:pt x="165" y="14"/>
                      <a:pt x="73" y="7"/>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8">
                <a:extLst>
                  <a:ext uri="{FF2B5EF4-FFF2-40B4-BE49-F238E27FC236}">
                    <a16:creationId xmlns:a16="http://schemas.microsoft.com/office/drawing/2014/main" id="{5ACC06CA-B100-42E3-9DC6-4D5AF10AC306}"/>
                  </a:ext>
                </a:extLst>
              </p:cNvPr>
              <p:cNvSpPr>
                <a:spLocks/>
              </p:cNvSpPr>
              <p:nvPr/>
            </p:nvSpPr>
            <p:spPr bwMode="auto">
              <a:xfrm>
                <a:off x="5958" y="2662"/>
                <a:ext cx="439" cy="63"/>
              </a:xfrm>
              <a:custGeom>
                <a:avLst/>
                <a:gdLst>
                  <a:gd name="T0" fmla="*/ 0 w 224"/>
                  <a:gd name="T1" fmla="*/ 0 h 32"/>
                  <a:gd name="T2" fmla="*/ 1 w 224"/>
                  <a:gd name="T3" fmla="*/ 16 h 32"/>
                  <a:gd name="T4" fmla="*/ 185 w 224"/>
                  <a:gd name="T5" fmla="*/ 32 h 32"/>
                  <a:gd name="T6" fmla="*/ 223 w 224"/>
                  <a:gd name="T7" fmla="*/ 31 h 32"/>
                  <a:gd name="T8" fmla="*/ 224 w 224"/>
                  <a:gd name="T9" fmla="*/ 15 h 32"/>
                  <a:gd name="T10" fmla="*/ 0 w 224"/>
                  <a:gd name="T11" fmla="*/ 0 h 32"/>
                </a:gdLst>
                <a:ahLst/>
                <a:cxnLst>
                  <a:cxn ang="0">
                    <a:pos x="T0" y="T1"/>
                  </a:cxn>
                  <a:cxn ang="0">
                    <a:pos x="T2" y="T3"/>
                  </a:cxn>
                  <a:cxn ang="0">
                    <a:pos x="T4" y="T5"/>
                  </a:cxn>
                  <a:cxn ang="0">
                    <a:pos x="T6" y="T7"/>
                  </a:cxn>
                  <a:cxn ang="0">
                    <a:pos x="T8" y="T9"/>
                  </a:cxn>
                  <a:cxn ang="0">
                    <a:pos x="T10" y="T11"/>
                  </a:cxn>
                </a:cxnLst>
                <a:rect l="0" t="0" r="r" b="b"/>
                <a:pathLst>
                  <a:path w="224" h="32">
                    <a:moveTo>
                      <a:pt x="0" y="0"/>
                    </a:moveTo>
                    <a:cubicBezTo>
                      <a:pt x="1" y="6"/>
                      <a:pt x="1" y="11"/>
                      <a:pt x="1" y="16"/>
                    </a:cubicBezTo>
                    <a:cubicBezTo>
                      <a:pt x="57" y="28"/>
                      <a:pt x="126" y="32"/>
                      <a:pt x="185" y="32"/>
                    </a:cubicBezTo>
                    <a:cubicBezTo>
                      <a:pt x="198" y="32"/>
                      <a:pt x="211" y="31"/>
                      <a:pt x="223" y="31"/>
                    </a:cubicBezTo>
                    <a:cubicBezTo>
                      <a:pt x="223" y="26"/>
                      <a:pt x="224" y="21"/>
                      <a:pt x="224" y="15"/>
                    </a:cubicBezTo>
                    <a:cubicBezTo>
                      <a:pt x="159" y="16"/>
                      <a:pt x="69" y="15"/>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9">
                <a:extLst>
                  <a:ext uri="{FF2B5EF4-FFF2-40B4-BE49-F238E27FC236}">
                    <a16:creationId xmlns:a16="http://schemas.microsoft.com/office/drawing/2014/main" id="{E0E528D5-8AEC-4CDA-B005-4640DEA007E4}"/>
                  </a:ext>
                </a:extLst>
              </p:cNvPr>
              <p:cNvSpPr>
                <a:spLocks/>
              </p:cNvSpPr>
              <p:nvPr/>
            </p:nvSpPr>
            <p:spPr bwMode="auto">
              <a:xfrm>
                <a:off x="5962" y="2759"/>
                <a:ext cx="427" cy="70"/>
              </a:xfrm>
              <a:custGeom>
                <a:avLst/>
                <a:gdLst>
                  <a:gd name="T0" fmla="*/ 0 w 218"/>
                  <a:gd name="T1" fmla="*/ 0 h 36"/>
                  <a:gd name="T2" fmla="*/ 1 w 218"/>
                  <a:gd name="T3" fmla="*/ 17 h 36"/>
                  <a:gd name="T4" fmla="*/ 125 w 218"/>
                  <a:gd name="T5" fmla="*/ 36 h 36"/>
                  <a:gd name="T6" fmla="*/ 216 w 218"/>
                  <a:gd name="T7" fmla="*/ 27 h 36"/>
                  <a:gd name="T8" fmla="*/ 218 w 218"/>
                  <a:gd name="T9" fmla="*/ 10 h 36"/>
                  <a:gd name="T10" fmla="*/ 0 w 218"/>
                  <a:gd name="T11" fmla="*/ 0 h 36"/>
                </a:gdLst>
                <a:ahLst/>
                <a:cxnLst>
                  <a:cxn ang="0">
                    <a:pos x="T0" y="T1"/>
                  </a:cxn>
                  <a:cxn ang="0">
                    <a:pos x="T2" y="T3"/>
                  </a:cxn>
                  <a:cxn ang="0">
                    <a:pos x="T4" y="T5"/>
                  </a:cxn>
                  <a:cxn ang="0">
                    <a:pos x="T6" y="T7"/>
                  </a:cxn>
                  <a:cxn ang="0">
                    <a:pos x="T8" y="T9"/>
                  </a:cxn>
                  <a:cxn ang="0">
                    <a:pos x="T10" y="T11"/>
                  </a:cxn>
                </a:cxnLst>
                <a:rect l="0" t="0" r="r" b="b"/>
                <a:pathLst>
                  <a:path w="218" h="36">
                    <a:moveTo>
                      <a:pt x="0" y="0"/>
                    </a:moveTo>
                    <a:cubicBezTo>
                      <a:pt x="1" y="6"/>
                      <a:pt x="1" y="12"/>
                      <a:pt x="1" y="17"/>
                    </a:cubicBezTo>
                    <a:cubicBezTo>
                      <a:pt x="45" y="31"/>
                      <a:pt x="87" y="36"/>
                      <a:pt x="125" y="36"/>
                    </a:cubicBezTo>
                    <a:cubicBezTo>
                      <a:pt x="159" y="36"/>
                      <a:pt x="190" y="32"/>
                      <a:pt x="216" y="27"/>
                    </a:cubicBezTo>
                    <a:cubicBezTo>
                      <a:pt x="217" y="22"/>
                      <a:pt x="217" y="17"/>
                      <a:pt x="218" y="10"/>
                    </a:cubicBezTo>
                    <a:cubicBezTo>
                      <a:pt x="163" y="22"/>
                      <a:pt x="84" y="29"/>
                      <a:pt x="0"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0">
                <a:extLst>
                  <a:ext uri="{FF2B5EF4-FFF2-40B4-BE49-F238E27FC236}">
                    <a16:creationId xmlns:a16="http://schemas.microsoft.com/office/drawing/2014/main" id="{5383E32D-8A4C-41FD-98BD-58AAC93A8F4C}"/>
                  </a:ext>
                </a:extLst>
              </p:cNvPr>
              <p:cNvSpPr>
                <a:spLocks/>
              </p:cNvSpPr>
              <p:nvPr/>
            </p:nvSpPr>
            <p:spPr bwMode="auto">
              <a:xfrm>
                <a:off x="6111" y="2081"/>
                <a:ext cx="153" cy="86"/>
              </a:xfrm>
              <a:custGeom>
                <a:avLst/>
                <a:gdLst>
                  <a:gd name="T0" fmla="*/ 63 w 78"/>
                  <a:gd name="T1" fmla="*/ 6 h 44"/>
                  <a:gd name="T2" fmla="*/ 77 w 78"/>
                  <a:gd name="T3" fmla="*/ 18 h 44"/>
                  <a:gd name="T4" fmla="*/ 25 w 78"/>
                  <a:gd name="T5" fmla="*/ 42 h 44"/>
                  <a:gd name="T6" fmla="*/ 5 w 78"/>
                  <a:gd name="T7" fmla="*/ 19 h 44"/>
                  <a:gd name="T8" fmla="*/ 63 w 78"/>
                  <a:gd name="T9" fmla="*/ 6 h 44"/>
                </a:gdLst>
                <a:ahLst/>
                <a:cxnLst>
                  <a:cxn ang="0">
                    <a:pos x="T0" y="T1"/>
                  </a:cxn>
                  <a:cxn ang="0">
                    <a:pos x="T2" y="T3"/>
                  </a:cxn>
                  <a:cxn ang="0">
                    <a:pos x="T4" y="T5"/>
                  </a:cxn>
                  <a:cxn ang="0">
                    <a:pos x="T6" y="T7"/>
                  </a:cxn>
                  <a:cxn ang="0">
                    <a:pos x="T8" y="T9"/>
                  </a:cxn>
                </a:cxnLst>
                <a:rect l="0" t="0" r="r" b="b"/>
                <a:pathLst>
                  <a:path w="78" h="44">
                    <a:moveTo>
                      <a:pt x="63" y="6"/>
                    </a:moveTo>
                    <a:cubicBezTo>
                      <a:pt x="67" y="7"/>
                      <a:pt x="77" y="13"/>
                      <a:pt x="77" y="18"/>
                    </a:cubicBezTo>
                    <a:cubicBezTo>
                      <a:pt x="78" y="32"/>
                      <a:pt x="50" y="44"/>
                      <a:pt x="25" y="42"/>
                    </a:cubicBezTo>
                    <a:cubicBezTo>
                      <a:pt x="0" y="40"/>
                      <a:pt x="0" y="26"/>
                      <a:pt x="5" y="19"/>
                    </a:cubicBezTo>
                    <a:cubicBezTo>
                      <a:pt x="10" y="12"/>
                      <a:pt x="21" y="0"/>
                      <a:pt x="63" y="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1">
                <a:extLst>
                  <a:ext uri="{FF2B5EF4-FFF2-40B4-BE49-F238E27FC236}">
                    <a16:creationId xmlns:a16="http://schemas.microsoft.com/office/drawing/2014/main" id="{32806F96-3CA1-47A0-998B-FB1CDAFFA013}"/>
                  </a:ext>
                </a:extLst>
              </p:cNvPr>
              <p:cNvSpPr>
                <a:spLocks/>
              </p:cNvSpPr>
              <p:nvPr/>
            </p:nvSpPr>
            <p:spPr bwMode="auto">
              <a:xfrm>
                <a:off x="6131" y="1989"/>
                <a:ext cx="115" cy="167"/>
              </a:xfrm>
              <a:custGeom>
                <a:avLst/>
                <a:gdLst>
                  <a:gd name="T0" fmla="*/ 0 w 59"/>
                  <a:gd name="T1" fmla="*/ 25 h 85"/>
                  <a:gd name="T2" fmla="*/ 9 w 59"/>
                  <a:gd name="T3" fmla="*/ 77 h 85"/>
                  <a:gd name="T4" fmla="*/ 56 w 59"/>
                  <a:gd name="T5" fmla="*/ 67 h 85"/>
                  <a:gd name="T6" fmla="*/ 59 w 59"/>
                  <a:gd name="T7" fmla="*/ 0 h 85"/>
                  <a:gd name="T8" fmla="*/ 50 w 59"/>
                  <a:gd name="T9" fmla="*/ 0 h 85"/>
                  <a:gd name="T10" fmla="*/ 0 w 59"/>
                  <a:gd name="T11" fmla="*/ 25 h 85"/>
                </a:gdLst>
                <a:ahLst/>
                <a:cxnLst>
                  <a:cxn ang="0">
                    <a:pos x="T0" y="T1"/>
                  </a:cxn>
                  <a:cxn ang="0">
                    <a:pos x="T2" y="T3"/>
                  </a:cxn>
                  <a:cxn ang="0">
                    <a:pos x="T4" y="T5"/>
                  </a:cxn>
                  <a:cxn ang="0">
                    <a:pos x="T6" y="T7"/>
                  </a:cxn>
                  <a:cxn ang="0">
                    <a:pos x="T8" y="T9"/>
                  </a:cxn>
                  <a:cxn ang="0">
                    <a:pos x="T10" y="T11"/>
                  </a:cxn>
                </a:cxnLst>
                <a:rect l="0" t="0" r="r" b="b"/>
                <a:pathLst>
                  <a:path w="59" h="85">
                    <a:moveTo>
                      <a:pt x="0" y="25"/>
                    </a:moveTo>
                    <a:cubicBezTo>
                      <a:pt x="9" y="77"/>
                      <a:pt x="9" y="77"/>
                      <a:pt x="9" y="77"/>
                    </a:cubicBezTo>
                    <a:cubicBezTo>
                      <a:pt x="9" y="77"/>
                      <a:pt x="23" y="85"/>
                      <a:pt x="56" y="67"/>
                    </a:cubicBezTo>
                    <a:cubicBezTo>
                      <a:pt x="56" y="67"/>
                      <a:pt x="42" y="26"/>
                      <a:pt x="59" y="0"/>
                    </a:cubicBezTo>
                    <a:cubicBezTo>
                      <a:pt x="59" y="0"/>
                      <a:pt x="56" y="0"/>
                      <a:pt x="50" y="0"/>
                    </a:cubicBezTo>
                    <a:cubicBezTo>
                      <a:pt x="50" y="0"/>
                      <a:pt x="41" y="30"/>
                      <a:pt x="0" y="25"/>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92">
                <a:extLst>
                  <a:ext uri="{FF2B5EF4-FFF2-40B4-BE49-F238E27FC236}">
                    <a16:creationId xmlns:a16="http://schemas.microsoft.com/office/drawing/2014/main" id="{9287DF14-F4FB-43F3-A5CD-071170640226}"/>
                  </a:ext>
                </a:extLst>
              </p:cNvPr>
              <p:cNvSpPr>
                <a:spLocks/>
              </p:cNvSpPr>
              <p:nvPr/>
            </p:nvSpPr>
            <p:spPr bwMode="auto">
              <a:xfrm>
                <a:off x="6064" y="1749"/>
                <a:ext cx="247" cy="253"/>
              </a:xfrm>
              <a:custGeom>
                <a:avLst/>
                <a:gdLst>
                  <a:gd name="T0" fmla="*/ 15 w 126"/>
                  <a:gd name="T1" fmla="*/ 54 h 129"/>
                  <a:gd name="T2" fmla="*/ 14 w 126"/>
                  <a:gd name="T3" fmla="*/ 37 h 129"/>
                  <a:gd name="T4" fmla="*/ 15 w 126"/>
                  <a:gd name="T5" fmla="*/ 20 h 129"/>
                  <a:gd name="T6" fmla="*/ 32 w 126"/>
                  <a:gd name="T7" fmla="*/ 17 h 129"/>
                  <a:gd name="T8" fmla="*/ 58 w 126"/>
                  <a:gd name="T9" fmla="*/ 10 h 129"/>
                  <a:gd name="T10" fmla="*/ 86 w 126"/>
                  <a:gd name="T11" fmla="*/ 9 h 129"/>
                  <a:gd name="T12" fmla="*/ 98 w 126"/>
                  <a:gd name="T13" fmla="*/ 24 h 129"/>
                  <a:gd name="T14" fmla="*/ 115 w 126"/>
                  <a:gd name="T15" fmla="*/ 38 h 129"/>
                  <a:gd name="T16" fmla="*/ 124 w 126"/>
                  <a:gd name="T17" fmla="*/ 55 h 129"/>
                  <a:gd name="T18" fmla="*/ 120 w 126"/>
                  <a:gd name="T19" fmla="*/ 68 h 129"/>
                  <a:gd name="T20" fmla="*/ 124 w 126"/>
                  <a:gd name="T21" fmla="*/ 83 h 129"/>
                  <a:gd name="T22" fmla="*/ 114 w 126"/>
                  <a:gd name="T23" fmla="*/ 95 h 129"/>
                  <a:gd name="T24" fmla="*/ 113 w 126"/>
                  <a:gd name="T25" fmla="*/ 115 h 129"/>
                  <a:gd name="T26" fmla="*/ 95 w 126"/>
                  <a:gd name="T27" fmla="*/ 127 h 129"/>
                  <a:gd name="T28" fmla="*/ 15 w 126"/>
                  <a:gd name="T29" fmla="*/ 5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29">
                    <a:moveTo>
                      <a:pt x="15" y="54"/>
                    </a:moveTo>
                    <a:cubicBezTo>
                      <a:pt x="15" y="54"/>
                      <a:pt x="0" y="41"/>
                      <a:pt x="14" y="37"/>
                    </a:cubicBezTo>
                    <a:cubicBezTo>
                      <a:pt x="14" y="37"/>
                      <a:pt x="8" y="22"/>
                      <a:pt x="15" y="20"/>
                    </a:cubicBezTo>
                    <a:cubicBezTo>
                      <a:pt x="21" y="17"/>
                      <a:pt x="28" y="23"/>
                      <a:pt x="32" y="17"/>
                    </a:cubicBezTo>
                    <a:cubicBezTo>
                      <a:pt x="35" y="10"/>
                      <a:pt x="43" y="0"/>
                      <a:pt x="58" y="10"/>
                    </a:cubicBezTo>
                    <a:cubicBezTo>
                      <a:pt x="72" y="20"/>
                      <a:pt x="80" y="4"/>
                      <a:pt x="86" y="9"/>
                    </a:cubicBezTo>
                    <a:cubicBezTo>
                      <a:pt x="92" y="14"/>
                      <a:pt x="88" y="23"/>
                      <a:pt x="98" y="24"/>
                    </a:cubicBezTo>
                    <a:cubicBezTo>
                      <a:pt x="108" y="26"/>
                      <a:pt x="117" y="28"/>
                      <a:pt x="115" y="38"/>
                    </a:cubicBezTo>
                    <a:cubicBezTo>
                      <a:pt x="113" y="48"/>
                      <a:pt x="124" y="49"/>
                      <a:pt x="124" y="55"/>
                    </a:cubicBezTo>
                    <a:cubicBezTo>
                      <a:pt x="125" y="61"/>
                      <a:pt x="120" y="62"/>
                      <a:pt x="120" y="68"/>
                    </a:cubicBezTo>
                    <a:cubicBezTo>
                      <a:pt x="119" y="73"/>
                      <a:pt x="126" y="75"/>
                      <a:pt x="124" y="83"/>
                    </a:cubicBezTo>
                    <a:cubicBezTo>
                      <a:pt x="121" y="90"/>
                      <a:pt x="114" y="89"/>
                      <a:pt x="114" y="95"/>
                    </a:cubicBezTo>
                    <a:cubicBezTo>
                      <a:pt x="115" y="101"/>
                      <a:pt x="120" y="113"/>
                      <a:pt x="113" y="115"/>
                    </a:cubicBezTo>
                    <a:cubicBezTo>
                      <a:pt x="106" y="116"/>
                      <a:pt x="103" y="129"/>
                      <a:pt x="95" y="127"/>
                    </a:cubicBezTo>
                    <a:cubicBezTo>
                      <a:pt x="86" y="125"/>
                      <a:pt x="15" y="54"/>
                      <a:pt x="15" y="54"/>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3">
                <a:extLst>
                  <a:ext uri="{FF2B5EF4-FFF2-40B4-BE49-F238E27FC236}">
                    <a16:creationId xmlns:a16="http://schemas.microsoft.com/office/drawing/2014/main" id="{C2EC4868-BB3B-4471-8816-DAA734B556F2}"/>
                  </a:ext>
                </a:extLst>
              </p:cNvPr>
              <p:cNvSpPr>
                <a:spLocks/>
              </p:cNvSpPr>
              <p:nvPr/>
            </p:nvSpPr>
            <p:spPr bwMode="auto">
              <a:xfrm>
                <a:off x="6084" y="1794"/>
                <a:ext cx="188" cy="285"/>
              </a:xfrm>
              <a:custGeom>
                <a:avLst/>
                <a:gdLst>
                  <a:gd name="T0" fmla="*/ 94 w 96"/>
                  <a:gd name="T1" fmla="*/ 74 h 145"/>
                  <a:gd name="T2" fmla="*/ 11 w 96"/>
                  <a:gd name="T3" fmla="*/ 121 h 145"/>
                  <a:gd name="T4" fmla="*/ 1 w 96"/>
                  <a:gd name="T5" fmla="*/ 78 h 145"/>
                  <a:gd name="T6" fmla="*/ 1 w 96"/>
                  <a:gd name="T7" fmla="*/ 68 h 145"/>
                  <a:gd name="T8" fmla="*/ 17 w 96"/>
                  <a:gd name="T9" fmla="*/ 18 h 145"/>
                  <a:gd name="T10" fmla="*/ 94 w 96"/>
                  <a:gd name="T11" fmla="*/ 74 h 145"/>
                </a:gdLst>
                <a:ahLst/>
                <a:cxnLst>
                  <a:cxn ang="0">
                    <a:pos x="T0" y="T1"/>
                  </a:cxn>
                  <a:cxn ang="0">
                    <a:pos x="T2" y="T3"/>
                  </a:cxn>
                  <a:cxn ang="0">
                    <a:pos x="T4" y="T5"/>
                  </a:cxn>
                  <a:cxn ang="0">
                    <a:pos x="T6" y="T7"/>
                  </a:cxn>
                  <a:cxn ang="0">
                    <a:pos x="T8" y="T9"/>
                  </a:cxn>
                  <a:cxn ang="0">
                    <a:pos x="T10" y="T11"/>
                  </a:cxn>
                </a:cxnLst>
                <a:rect l="0" t="0" r="r" b="b"/>
                <a:pathLst>
                  <a:path w="96" h="145">
                    <a:moveTo>
                      <a:pt x="94" y="74"/>
                    </a:moveTo>
                    <a:cubicBezTo>
                      <a:pt x="96" y="123"/>
                      <a:pt x="25" y="145"/>
                      <a:pt x="11" y="121"/>
                    </a:cubicBezTo>
                    <a:cubicBezTo>
                      <a:pt x="7" y="114"/>
                      <a:pt x="3" y="92"/>
                      <a:pt x="1" y="78"/>
                    </a:cubicBezTo>
                    <a:cubicBezTo>
                      <a:pt x="1" y="75"/>
                      <a:pt x="1" y="71"/>
                      <a:pt x="1" y="68"/>
                    </a:cubicBezTo>
                    <a:cubicBezTo>
                      <a:pt x="0" y="45"/>
                      <a:pt x="4" y="23"/>
                      <a:pt x="17" y="18"/>
                    </a:cubicBezTo>
                    <a:cubicBezTo>
                      <a:pt x="62" y="0"/>
                      <a:pt x="92" y="13"/>
                      <a:pt x="94" y="74"/>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4">
                <a:extLst>
                  <a:ext uri="{FF2B5EF4-FFF2-40B4-BE49-F238E27FC236}">
                    <a16:creationId xmlns:a16="http://schemas.microsoft.com/office/drawing/2014/main" id="{974FAC0D-BFA6-424B-BE04-91165F3F0977}"/>
                  </a:ext>
                </a:extLst>
              </p:cNvPr>
              <p:cNvSpPr>
                <a:spLocks/>
              </p:cNvSpPr>
              <p:nvPr/>
            </p:nvSpPr>
            <p:spPr bwMode="auto">
              <a:xfrm>
                <a:off x="6160" y="1898"/>
                <a:ext cx="14" cy="24"/>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4" y="12"/>
                    </a:cubicBezTo>
                    <a:cubicBezTo>
                      <a:pt x="2" y="12"/>
                      <a:pt x="0" y="9"/>
                      <a:pt x="0" y="6"/>
                    </a:cubicBezTo>
                    <a:cubicBezTo>
                      <a:pt x="0" y="3"/>
                      <a:pt x="1" y="0"/>
                      <a:pt x="3" y="0"/>
                    </a:cubicBezTo>
                    <a:cubicBezTo>
                      <a:pt x="5" y="0"/>
                      <a:pt x="7" y="2"/>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95">
                <a:extLst>
                  <a:ext uri="{FF2B5EF4-FFF2-40B4-BE49-F238E27FC236}">
                    <a16:creationId xmlns:a16="http://schemas.microsoft.com/office/drawing/2014/main" id="{A8A95CAA-C4C7-435D-A1E1-29C25ED2C90E}"/>
                  </a:ext>
                </a:extLst>
              </p:cNvPr>
              <p:cNvSpPr>
                <a:spLocks/>
              </p:cNvSpPr>
              <p:nvPr/>
            </p:nvSpPr>
            <p:spPr bwMode="auto">
              <a:xfrm>
                <a:off x="6099" y="1904"/>
                <a:ext cx="14" cy="24"/>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4" y="12"/>
                    </a:cubicBezTo>
                    <a:cubicBezTo>
                      <a:pt x="2" y="12"/>
                      <a:pt x="0" y="9"/>
                      <a:pt x="0" y="6"/>
                    </a:cubicBezTo>
                    <a:cubicBezTo>
                      <a:pt x="0" y="2"/>
                      <a:pt x="2" y="0"/>
                      <a:pt x="3" y="0"/>
                    </a:cubicBezTo>
                    <a:cubicBezTo>
                      <a:pt x="5" y="0"/>
                      <a:pt x="7" y="2"/>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96">
                <a:extLst>
                  <a:ext uri="{FF2B5EF4-FFF2-40B4-BE49-F238E27FC236}">
                    <a16:creationId xmlns:a16="http://schemas.microsoft.com/office/drawing/2014/main" id="{FE14F49C-148A-4F17-A45D-11B1440BF388}"/>
                  </a:ext>
                </a:extLst>
              </p:cNvPr>
              <p:cNvSpPr>
                <a:spLocks/>
              </p:cNvSpPr>
              <p:nvPr/>
            </p:nvSpPr>
            <p:spPr bwMode="auto">
              <a:xfrm>
                <a:off x="6174" y="1922"/>
                <a:ext cx="27" cy="24"/>
              </a:xfrm>
              <a:custGeom>
                <a:avLst/>
                <a:gdLst>
                  <a:gd name="T0" fmla="*/ 13 w 14"/>
                  <a:gd name="T1" fmla="*/ 4 h 12"/>
                  <a:gd name="T2" fmla="*/ 9 w 14"/>
                  <a:gd name="T3" fmla="*/ 11 h 12"/>
                  <a:gd name="T4" fmla="*/ 1 w 14"/>
                  <a:gd name="T5" fmla="*/ 8 h 12"/>
                  <a:gd name="T6" fmla="*/ 6 w 14"/>
                  <a:gd name="T7" fmla="*/ 1 h 12"/>
                  <a:gd name="T8" fmla="*/ 13 w 14"/>
                  <a:gd name="T9" fmla="*/ 4 h 12"/>
                </a:gdLst>
                <a:ahLst/>
                <a:cxnLst>
                  <a:cxn ang="0">
                    <a:pos x="T0" y="T1"/>
                  </a:cxn>
                  <a:cxn ang="0">
                    <a:pos x="T2" y="T3"/>
                  </a:cxn>
                  <a:cxn ang="0">
                    <a:pos x="T4" y="T5"/>
                  </a:cxn>
                  <a:cxn ang="0">
                    <a:pos x="T6" y="T7"/>
                  </a:cxn>
                  <a:cxn ang="0">
                    <a:pos x="T8" y="T9"/>
                  </a:cxn>
                </a:cxnLst>
                <a:rect l="0" t="0" r="r" b="b"/>
                <a:pathLst>
                  <a:path w="14" h="12">
                    <a:moveTo>
                      <a:pt x="13" y="4"/>
                    </a:moveTo>
                    <a:cubicBezTo>
                      <a:pt x="14" y="7"/>
                      <a:pt x="12" y="10"/>
                      <a:pt x="9" y="11"/>
                    </a:cubicBezTo>
                    <a:cubicBezTo>
                      <a:pt x="5" y="12"/>
                      <a:pt x="2" y="11"/>
                      <a:pt x="1" y="8"/>
                    </a:cubicBezTo>
                    <a:cubicBezTo>
                      <a:pt x="0" y="6"/>
                      <a:pt x="2" y="3"/>
                      <a:pt x="6" y="1"/>
                    </a:cubicBezTo>
                    <a:cubicBezTo>
                      <a:pt x="9" y="0"/>
                      <a:pt x="12" y="2"/>
                      <a:pt x="13"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7">
                <a:extLst>
                  <a:ext uri="{FF2B5EF4-FFF2-40B4-BE49-F238E27FC236}">
                    <a16:creationId xmlns:a16="http://schemas.microsoft.com/office/drawing/2014/main" id="{4BA77C2B-B232-48F0-A571-C3B2ABDBC123}"/>
                  </a:ext>
                </a:extLst>
              </p:cNvPr>
              <p:cNvSpPr>
                <a:spLocks/>
              </p:cNvSpPr>
              <p:nvPr/>
            </p:nvSpPr>
            <p:spPr bwMode="auto">
              <a:xfrm>
                <a:off x="6086" y="1928"/>
                <a:ext cx="15" cy="21"/>
              </a:xfrm>
              <a:custGeom>
                <a:avLst/>
                <a:gdLst>
                  <a:gd name="T0" fmla="*/ 7 w 8"/>
                  <a:gd name="T1" fmla="*/ 7 h 11"/>
                  <a:gd name="T2" fmla="*/ 0 w 8"/>
                  <a:gd name="T3" fmla="*/ 10 h 11"/>
                  <a:gd name="T4" fmla="*/ 0 w 8"/>
                  <a:gd name="T5" fmla="*/ 0 h 11"/>
                  <a:gd name="T6" fmla="*/ 3 w 8"/>
                  <a:gd name="T7" fmla="*/ 0 h 11"/>
                  <a:gd name="T8" fmla="*/ 7 w 8"/>
                  <a:gd name="T9" fmla="*/ 7 h 11"/>
                </a:gdLst>
                <a:ahLst/>
                <a:cxnLst>
                  <a:cxn ang="0">
                    <a:pos x="T0" y="T1"/>
                  </a:cxn>
                  <a:cxn ang="0">
                    <a:pos x="T2" y="T3"/>
                  </a:cxn>
                  <a:cxn ang="0">
                    <a:pos x="T4" y="T5"/>
                  </a:cxn>
                  <a:cxn ang="0">
                    <a:pos x="T6" y="T7"/>
                  </a:cxn>
                  <a:cxn ang="0">
                    <a:pos x="T8" y="T9"/>
                  </a:cxn>
                </a:cxnLst>
                <a:rect l="0" t="0" r="r" b="b"/>
                <a:pathLst>
                  <a:path w="8" h="11">
                    <a:moveTo>
                      <a:pt x="7" y="7"/>
                    </a:moveTo>
                    <a:cubicBezTo>
                      <a:pt x="7" y="9"/>
                      <a:pt x="4" y="11"/>
                      <a:pt x="0" y="10"/>
                    </a:cubicBezTo>
                    <a:cubicBezTo>
                      <a:pt x="0" y="7"/>
                      <a:pt x="0" y="3"/>
                      <a:pt x="0" y="0"/>
                    </a:cubicBezTo>
                    <a:cubicBezTo>
                      <a:pt x="1" y="0"/>
                      <a:pt x="2" y="0"/>
                      <a:pt x="3" y="0"/>
                    </a:cubicBezTo>
                    <a:cubicBezTo>
                      <a:pt x="6" y="1"/>
                      <a:pt x="8" y="4"/>
                      <a:pt x="7" y="7"/>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98">
                <a:extLst>
                  <a:ext uri="{FF2B5EF4-FFF2-40B4-BE49-F238E27FC236}">
                    <a16:creationId xmlns:a16="http://schemas.microsoft.com/office/drawing/2014/main" id="{552B7BEC-253D-404A-81AC-2121CFDE1749}"/>
                  </a:ext>
                </a:extLst>
              </p:cNvPr>
              <p:cNvSpPr>
                <a:spLocks/>
              </p:cNvSpPr>
              <p:nvPr/>
            </p:nvSpPr>
            <p:spPr bwMode="auto">
              <a:xfrm>
                <a:off x="6152" y="1861"/>
                <a:ext cx="34" cy="16"/>
              </a:xfrm>
              <a:custGeom>
                <a:avLst/>
                <a:gdLst>
                  <a:gd name="T0" fmla="*/ 14 w 17"/>
                  <a:gd name="T1" fmla="*/ 8 h 8"/>
                  <a:gd name="T2" fmla="*/ 16 w 17"/>
                  <a:gd name="T3" fmla="*/ 7 h 8"/>
                  <a:gd name="T4" fmla="*/ 16 w 17"/>
                  <a:gd name="T5" fmla="*/ 4 h 8"/>
                  <a:gd name="T6" fmla="*/ 2 w 17"/>
                  <a:gd name="T7" fmla="*/ 1 h 8"/>
                  <a:gd name="T8" fmla="*/ 0 w 17"/>
                  <a:gd name="T9" fmla="*/ 4 h 8"/>
                  <a:gd name="T10" fmla="*/ 3 w 17"/>
                  <a:gd name="T11" fmla="*/ 5 h 8"/>
                  <a:gd name="T12" fmla="*/ 13 w 17"/>
                  <a:gd name="T13" fmla="*/ 7 h 8"/>
                  <a:gd name="T14" fmla="*/ 14 w 17"/>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8">
                    <a:moveTo>
                      <a:pt x="14" y="8"/>
                    </a:moveTo>
                    <a:cubicBezTo>
                      <a:pt x="15" y="8"/>
                      <a:pt x="16" y="8"/>
                      <a:pt x="16" y="7"/>
                    </a:cubicBezTo>
                    <a:cubicBezTo>
                      <a:pt x="17" y="6"/>
                      <a:pt x="17" y="5"/>
                      <a:pt x="16" y="4"/>
                    </a:cubicBezTo>
                    <a:cubicBezTo>
                      <a:pt x="10" y="0"/>
                      <a:pt x="2" y="1"/>
                      <a:pt x="2" y="1"/>
                    </a:cubicBezTo>
                    <a:cubicBezTo>
                      <a:pt x="1" y="1"/>
                      <a:pt x="0" y="2"/>
                      <a:pt x="0" y="4"/>
                    </a:cubicBezTo>
                    <a:cubicBezTo>
                      <a:pt x="1" y="5"/>
                      <a:pt x="2" y="5"/>
                      <a:pt x="3" y="5"/>
                    </a:cubicBezTo>
                    <a:cubicBezTo>
                      <a:pt x="3" y="5"/>
                      <a:pt x="9" y="4"/>
                      <a:pt x="13" y="7"/>
                    </a:cubicBezTo>
                    <a:cubicBezTo>
                      <a:pt x="14" y="8"/>
                      <a:pt x="14" y="8"/>
                      <a:pt x="14" y="8"/>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99">
                <a:extLst>
                  <a:ext uri="{FF2B5EF4-FFF2-40B4-BE49-F238E27FC236}">
                    <a16:creationId xmlns:a16="http://schemas.microsoft.com/office/drawing/2014/main" id="{12E90A7F-E85B-4207-90FC-96DE312B80C9}"/>
                  </a:ext>
                </a:extLst>
              </p:cNvPr>
              <p:cNvSpPr>
                <a:spLocks/>
              </p:cNvSpPr>
              <p:nvPr/>
            </p:nvSpPr>
            <p:spPr bwMode="auto">
              <a:xfrm>
                <a:off x="6087" y="1871"/>
                <a:ext cx="24" cy="18"/>
              </a:xfrm>
              <a:custGeom>
                <a:avLst/>
                <a:gdLst>
                  <a:gd name="T0" fmla="*/ 2 w 12"/>
                  <a:gd name="T1" fmla="*/ 9 h 9"/>
                  <a:gd name="T2" fmla="*/ 2 w 12"/>
                  <a:gd name="T3" fmla="*/ 9 h 9"/>
                  <a:gd name="T4" fmla="*/ 4 w 12"/>
                  <a:gd name="T5" fmla="*/ 7 h 9"/>
                  <a:gd name="T6" fmla="*/ 10 w 12"/>
                  <a:gd name="T7" fmla="*/ 4 h 9"/>
                  <a:gd name="T8" fmla="*/ 12 w 12"/>
                  <a:gd name="T9" fmla="*/ 2 h 9"/>
                  <a:gd name="T10" fmla="*/ 9 w 12"/>
                  <a:gd name="T11" fmla="*/ 0 h 9"/>
                  <a:gd name="T12" fmla="*/ 0 w 12"/>
                  <a:gd name="T13" fmla="*/ 7 h 9"/>
                  <a:gd name="T14" fmla="*/ 2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2" y="9"/>
                    </a:moveTo>
                    <a:cubicBezTo>
                      <a:pt x="2" y="9"/>
                      <a:pt x="2" y="9"/>
                      <a:pt x="2" y="9"/>
                    </a:cubicBezTo>
                    <a:cubicBezTo>
                      <a:pt x="3" y="9"/>
                      <a:pt x="4" y="8"/>
                      <a:pt x="4" y="7"/>
                    </a:cubicBezTo>
                    <a:cubicBezTo>
                      <a:pt x="4" y="5"/>
                      <a:pt x="8" y="4"/>
                      <a:pt x="10" y="4"/>
                    </a:cubicBezTo>
                    <a:cubicBezTo>
                      <a:pt x="11" y="4"/>
                      <a:pt x="12" y="3"/>
                      <a:pt x="12" y="2"/>
                    </a:cubicBezTo>
                    <a:cubicBezTo>
                      <a:pt x="12" y="1"/>
                      <a:pt x="11" y="0"/>
                      <a:pt x="9" y="0"/>
                    </a:cubicBezTo>
                    <a:cubicBezTo>
                      <a:pt x="6" y="1"/>
                      <a:pt x="0" y="2"/>
                      <a:pt x="0" y="7"/>
                    </a:cubicBezTo>
                    <a:cubicBezTo>
                      <a:pt x="0" y="8"/>
                      <a:pt x="1" y="9"/>
                      <a:pt x="2" y="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0">
                <a:extLst>
                  <a:ext uri="{FF2B5EF4-FFF2-40B4-BE49-F238E27FC236}">
                    <a16:creationId xmlns:a16="http://schemas.microsoft.com/office/drawing/2014/main" id="{3213F556-A901-4BDD-9A2A-59357303EEA6}"/>
                  </a:ext>
                </a:extLst>
              </p:cNvPr>
              <p:cNvSpPr>
                <a:spLocks/>
              </p:cNvSpPr>
              <p:nvPr/>
            </p:nvSpPr>
            <p:spPr bwMode="auto">
              <a:xfrm>
                <a:off x="6099" y="1896"/>
                <a:ext cx="28" cy="67"/>
              </a:xfrm>
              <a:custGeom>
                <a:avLst/>
                <a:gdLst>
                  <a:gd name="T0" fmla="*/ 8 w 14"/>
                  <a:gd name="T1" fmla="*/ 34 h 34"/>
                  <a:gd name="T2" fmla="*/ 13 w 14"/>
                  <a:gd name="T3" fmla="*/ 34 h 34"/>
                  <a:gd name="T4" fmla="*/ 13 w 14"/>
                  <a:gd name="T5" fmla="*/ 31 h 34"/>
                  <a:gd name="T6" fmla="*/ 4 w 14"/>
                  <a:gd name="T7" fmla="*/ 30 h 34"/>
                  <a:gd name="T8" fmla="*/ 4 w 14"/>
                  <a:gd name="T9" fmla="*/ 28 h 34"/>
                  <a:gd name="T10" fmla="*/ 14 w 14"/>
                  <a:gd name="T11" fmla="*/ 0 h 34"/>
                  <a:gd name="T12" fmla="*/ 11 w 14"/>
                  <a:gd name="T13" fmla="*/ 0 h 34"/>
                  <a:gd name="T14" fmla="*/ 1 w 14"/>
                  <a:gd name="T15" fmla="*/ 26 h 34"/>
                  <a:gd name="T16" fmla="*/ 1 w 14"/>
                  <a:gd name="T17" fmla="*/ 27 h 34"/>
                  <a:gd name="T18" fmla="*/ 1 w 14"/>
                  <a:gd name="T19" fmla="*/ 27 h 34"/>
                  <a:gd name="T20" fmla="*/ 2 w 14"/>
                  <a:gd name="T21" fmla="*/ 32 h 34"/>
                  <a:gd name="T22" fmla="*/ 8 w 14"/>
                  <a:gd name="T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34">
                    <a:moveTo>
                      <a:pt x="8" y="34"/>
                    </a:moveTo>
                    <a:cubicBezTo>
                      <a:pt x="10" y="34"/>
                      <a:pt x="12" y="34"/>
                      <a:pt x="13" y="34"/>
                    </a:cubicBezTo>
                    <a:cubicBezTo>
                      <a:pt x="13" y="31"/>
                      <a:pt x="13" y="31"/>
                      <a:pt x="13" y="31"/>
                    </a:cubicBezTo>
                    <a:cubicBezTo>
                      <a:pt x="9" y="31"/>
                      <a:pt x="6" y="31"/>
                      <a:pt x="4" y="30"/>
                    </a:cubicBezTo>
                    <a:cubicBezTo>
                      <a:pt x="4" y="29"/>
                      <a:pt x="4" y="28"/>
                      <a:pt x="4" y="28"/>
                    </a:cubicBezTo>
                    <a:cubicBezTo>
                      <a:pt x="13" y="16"/>
                      <a:pt x="14" y="1"/>
                      <a:pt x="14" y="0"/>
                    </a:cubicBezTo>
                    <a:cubicBezTo>
                      <a:pt x="11" y="0"/>
                      <a:pt x="11" y="0"/>
                      <a:pt x="11" y="0"/>
                    </a:cubicBezTo>
                    <a:cubicBezTo>
                      <a:pt x="11" y="0"/>
                      <a:pt x="10" y="15"/>
                      <a:pt x="1" y="26"/>
                    </a:cubicBezTo>
                    <a:cubicBezTo>
                      <a:pt x="1" y="27"/>
                      <a:pt x="1" y="27"/>
                      <a:pt x="1" y="27"/>
                    </a:cubicBezTo>
                    <a:cubicBezTo>
                      <a:pt x="1" y="27"/>
                      <a:pt x="1" y="27"/>
                      <a:pt x="1" y="27"/>
                    </a:cubicBezTo>
                    <a:cubicBezTo>
                      <a:pt x="1" y="27"/>
                      <a:pt x="0" y="30"/>
                      <a:pt x="2" y="32"/>
                    </a:cubicBezTo>
                    <a:cubicBezTo>
                      <a:pt x="4" y="33"/>
                      <a:pt x="6" y="34"/>
                      <a:pt x="8" y="34"/>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01">
                <a:extLst>
                  <a:ext uri="{FF2B5EF4-FFF2-40B4-BE49-F238E27FC236}">
                    <a16:creationId xmlns:a16="http://schemas.microsoft.com/office/drawing/2014/main" id="{AEEA5571-6ECB-4C17-811D-C1B25F04E527}"/>
                  </a:ext>
                </a:extLst>
              </p:cNvPr>
              <p:cNvSpPr>
                <a:spLocks/>
              </p:cNvSpPr>
              <p:nvPr/>
            </p:nvSpPr>
            <p:spPr bwMode="auto">
              <a:xfrm>
                <a:off x="6107" y="1969"/>
                <a:ext cx="61" cy="43"/>
              </a:xfrm>
              <a:custGeom>
                <a:avLst/>
                <a:gdLst>
                  <a:gd name="T0" fmla="*/ 2 w 31"/>
                  <a:gd name="T1" fmla="*/ 4 h 22"/>
                  <a:gd name="T2" fmla="*/ 14 w 31"/>
                  <a:gd name="T3" fmla="*/ 4 h 22"/>
                  <a:gd name="T4" fmla="*/ 31 w 31"/>
                  <a:gd name="T5" fmla="*/ 0 h 22"/>
                  <a:gd name="T6" fmla="*/ 13 w 31"/>
                  <a:gd name="T7" fmla="*/ 22 h 22"/>
                  <a:gd name="T8" fmla="*/ 2 w 31"/>
                  <a:gd name="T9" fmla="*/ 4 h 22"/>
                </a:gdLst>
                <a:ahLst/>
                <a:cxnLst>
                  <a:cxn ang="0">
                    <a:pos x="T0" y="T1"/>
                  </a:cxn>
                  <a:cxn ang="0">
                    <a:pos x="T2" y="T3"/>
                  </a:cxn>
                  <a:cxn ang="0">
                    <a:pos x="T4" y="T5"/>
                  </a:cxn>
                  <a:cxn ang="0">
                    <a:pos x="T6" y="T7"/>
                  </a:cxn>
                  <a:cxn ang="0">
                    <a:pos x="T8" y="T9"/>
                  </a:cxn>
                </a:cxnLst>
                <a:rect l="0" t="0" r="r" b="b"/>
                <a:pathLst>
                  <a:path w="31" h="22">
                    <a:moveTo>
                      <a:pt x="2" y="4"/>
                    </a:moveTo>
                    <a:cubicBezTo>
                      <a:pt x="2" y="4"/>
                      <a:pt x="3" y="6"/>
                      <a:pt x="14" y="4"/>
                    </a:cubicBezTo>
                    <a:cubicBezTo>
                      <a:pt x="24" y="3"/>
                      <a:pt x="31" y="0"/>
                      <a:pt x="31" y="0"/>
                    </a:cubicBezTo>
                    <a:cubicBezTo>
                      <a:pt x="31" y="0"/>
                      <a:pt x="30" y="22"/>
                      <a:pt x="13" y="22"/>
                    </a:cubicBezTo>
                    <a:cubicBezTo>
                      <a:pt x="0" y="22"/>
                      <a:pt x="2" y="4"/>
                      <a:pt x="2" y="4"/>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02">
                <a:extLst>
                  <a:ext uri="{FF2B5EF4-FFF2-40B4-BE49-F238E27FC236}">
                    <a16:creationId xmlns:a16="http://schemas.microsoft.com/office/drawing/2014/main" id="{133A82BD-26DA-46BA-A3C5-1310C445D354}"/>
                  </a:ext>
                </a:extLst>
              </p:cNvPr>
              <p:cNvSpPr>
                <a:spLocks/>
              </p:cNvSpPr>
              <p:nvPr/>
            </p:nvSpPr>
            <p:spPr bwMode="auto">
              <a:xfrm>
                <a:off x="6066" y="1763"/>
                <a:ext cx="294" cy="236"/>
              </a:xfrm>
              <a:custGeom>
                <a:avLst/>
                <a:gdLst>
                  <a:gd name="T0" fmla="*/ 89 w 150"/>
                  <a:gd name="T1" fmla="*/ 91 h 120"/>
                  <a:gd name="T2" fmla="*/ 79 w 150"/>
                  <a:gd name="T3" fmla="*/ 62 h 120"/>
                  <a:gd name="T4" fmla="*/ 77 w 150"/>
                  <a:gd name="T5" fmla="*/ 36 h 120"/>
                  <a:gd name="T6" fmla="*/ 14 w 150"/>
                  <a:gd name="T7" fmla="*/ 47 h 120"/>
                  <a:gd name="T8" fmla="*/ 41 w 150"/>
                  <a:gd name="T9" fmla="*/ 11 h 120"/>
                  <a:gd name="T10" fmla="*/ 94 w 150"/>
                  <a:gd name="T11" fmla="*/ 120 h 120"/>
                  <a:gd name="T12" fmla="*/ 103 w 150"/>
                  <a:gd name="T13" fmla="*/ 90 h 120"/>
                  <a:gd name="T14" fmla="*/ 89 w 150"/>
                  <a:gd name="T15" fmla="*/ 9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20">
                    <a:moveTo>
                      <a:pt x="89" y="91"/>
                    </a:moveTo>
                    <a:cubicBezTo>
                      <a:pt x="89" y="91"/>
                      <a:pt x="90" y="73"/>
                      <a:pt x="79" y="62"/>
                    </a:cubicBezTo>
                    <a:cubicBezTo>
                      <a:pt x="68" y="52"/>
                      <a:pt x="77" y="36"/>
                      <a:pt x="77" y="36"/>
                    </a:cubicBezTo>
                    <a:cubicBezTo>
                      <a:pt x="77" y="36"/>
                      <a:pt x="34" y="29"/>
                      <a:pt x="14" y="47"/>
                    </a:cubicBezTo>
                    <a:cubicBezTo>
                      <a:pt x="14" y="47"/>
                      <a:pt x="0" y="21"/>
                      <a:pt x="41" y="11"/>
                    </a:cubicBezTo>
                    <a:cubicBezTo>
                      <a:pt x="83" y="0"/>
                      <a:pt x="150" y="32"/>
                      <a:pt x="94" y="120"/>
                    </a:cubicBezTo>
                    <a:cubicBezTo>
                      <a:pt x="103" y="90"/>
                      <a:pt x="103" y="90"/>
                      <a:pt x="103" y="90"/>
                    </a:cubicBezTo>
                    <a:lnTo>
                      <a:pt x="89" y="91"/>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03">
                <a:extLst>
                  <a:ext uri="{FF2B5EF4-FFF2-40B4-BE49-F238E27FC236}">
                    <a16:creationId xmlns:a16="http://schemas.microsoft.com/office/drawing/2014/main" id="{613142B5-AA42-496A-BF2F-6BCC0995ED04}"/>
                  </a:ext>
                </a:extLst>
              </p:cNvPr>
              <p:cNvSpPr>
                <a:spLocks/>
              </p:cNvSpPr>
              <p:nvPr/>
            </p:nvSpPr>
            <p:spPr bwMode="auto">
              <a:xfrm>
                <a:off x="6229" y="1914"/>
                <a:ext cx="68" cy="69"/>
              </a:xfrm>
              <a:custGeom>
                <a:avLst/>
                <a:gdLst>
                  <a:gd name="T0" fmla="*/ 7 w 35"/>
                  <a:gd name="T1" fmla="*/ 11 h 35"/>
                  <a:gd name="T2" fmla="*/ 26 w 35"/>
                  <a:gd name="T3" fmla="*/ 7 h 35"/>
                  <a:gd name="T4" fmla="*/ 10 w 35"/>
                  <a:gd name="T5" fmla="*/ 34 h 35"/>
                  <a:gd name="T6" fmla="*/ 7 w 35"/>
                  <a:gd name="T7" fmla="*/ 11 h 35"/>
                </a:gdLst>
                <a:ahLst/>
                <a:cxnLst>
                  <a:cxn ang="0">
                    <a:pos x="T0" y="T1"/>
                  </a:cxn>
                  <a:cxn ang="0">
                    <a:pos x="T2" y="T3"/>
                  </a:cxn>
                  <a:cxn ang="0">
                    <a:pos x="T4" y="T5"/>
                  </a:cxn>
                  <a:cxn ang="0">
                    <a:pos x="T6" y="T7"/>
                  </a:cxn>
                </a:cxnLst>
                <a:rect l="0" t="0" r="r" b="b"/>
                <a:pathLst>
                  <a:path w="35" h="35">
                    <a:moveTo>
                      <a:pt x="7" y="11"/>
                    </a:moveTo>
                    <a:cubicBezTo>
                      <a:pt x="7" y="11"/>
                      <a:pt x="17" y="0"/>
                      <a:pt x="26" y="7"/>
                    </a:cubicBezTo>
                    <a:cubicBezTo>
                      <a:pt x="35" y="14"/>
                      <a:pt x="20" y="35"/>
                      <a:pt x="10" y="34"/>
                    </a:cubicBezTo>
                    <a:cubicBezTo>
                      <a:pt x="0" y="34"/>
                      <a:pt x="7" y="11"/>
                      <a:pt x="7" y="11"/>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04">
                <a:extLst>
                  <a:ext uri="{FF2B5EF4-FFF2-40B4-BE49-F238E27FC236}">
                    <a16:creationId xmlns:a16="http://schemas.microsoft.com/office/drawing/2014/main" id="{7050D967-6115-481F-8BE6-ADD82C2E018B}"/>
                  </a:ext>
                </a:extLst>
              </p:cNvPr>
              <p:cNvSpPr>
                <a:spLocks/>
              </p:cNvSpPr>
              <p:nvPr/>
            </p:nvSpPr>
            <p:spPr bwMode="auto">
              <a:xfrm>
                <a:off x="6244" y="2560"/>
                <a:ext cx="91" cy="106"/>
              </a:xfrm>
              <a:custGeom>
                <a:avLst/>
                <a:gdLst>
                  <a:gd name="T0" fmla="*/ 17 w 46"/>
                  <a:gd name="T1" fmla="*/ 0 h 54"/>
                  <a:gd name="T2" fmla="*/ 21 w 46"/>
                  <a:gd name="T3" fmla="*/ 54 h 54"/>
                  <a:gd name="T4" fmla="*/ 17 w 46"/>
                  <a:gd name="T5" fmla="*/ 0 h 54"/>
                </a:gdLst>
                <a:ahLst/>
                <a:cxnLst>
                  <a:cxn ang="0">
                    <a:pos x="T0" y="T1"/>
                  </a:cxn>
                  <a:cxn ang="0">
                    <a:pos x="T2" y="T3"/>
                  </a:cxn>
                  <a:cxn ang="0">
                    <a:pos x="T4" y="T5"/>
                  </a:cxn>
                </a:cxnLst>
                <a:rect l="0" t="0" r="r" b="b"/>
                <a:pathLst>
                  <a:path w="46" h="54">
                    <a:moveTo>
                      <a:pt x="17" y="0"/>
                    </a:moveTo>
                    <a:cubicBezTo>
                      <a:pt x="6" y="0"/>
                      <a:pt x="0" y="48"/>
                      <a:pt x="21" y="54"/>
                    </a:cubicBezTo>
                    <a:cubicBezTo>
                      <a:pt x="21" y="54"/>
                      <a:pt x="46" y="0"/>
                      <a:pt x="17" y="0"/>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05">
                <a:extLst>
                  <a:ext uri="{FF2B5EF4-FFF2-40B4-BE49-F238E27FC236}">
                    <a16:creationId xmlns:a16="http://schemas.microsoft.com/office/drawing/2014/main" id="{CA3894CA-2AF0-462A-B9E3-E49D599D7310}"/>
                  </a:ext>
                </a:extLst>
              </p:cNvPr>
              <p:cNvSpPr>
                <a:spLocks/>
              </p:cNvSpPr>
              <p:nvPr/>
            </p:nvSpPr>
            <p:spPr bwMode="auto">
              <a:xfrm>
                <a:off x="6101" y="2552"/>
                <a:ext cx="239" cy="120"/>
              </a:xfrm>
              <a:custGeom>
                <a:avLst/>
                <a:gdLst>
                  <a:gd name="T0" fmla="*/ 90 w 122"/>
                  <a:gd name="T1" fmla="*/ 48 h 61"/>
                  <a:gd name="T2" fmla="*/ 48 w 122"/>
                  <a:gd name="T3" fmla="*/ 60 h 61"/>
                  <a:gd name="T4" fmla="*/ 47 w 122"/>
                  <a:gd name="T5" fmla="*/ 60 h 61"/>
                  <a:gd name="T6" fmla="*/ 30 w 122"/>
                  <a:gd name="T7" fmla="*/ 51 h 61"/>
                  <a:gd name="T8" fmla="*/ 20 w 122"/>
                  <a:gd name="T9" fmla="*/ 42 h 61"/>
                  <a:gd name="T10" fmla="*/ 14 w 122"/>
                  <a:gd name="T11" fmla="*/ 31 h 61"/>
                  <a:gd name="T12" fmla="*/ 6 w 122"/>
                  <a:gd name="T13" fmla="*/ 17 h 61"/>
                  <a:gd name="T14" fmla="*/ 21 w 122"/>
                  <a:gd name="T15" fmla="*/ 22 h 61"/>
                  <a:gd name="T16" fmla="*/ 38 w 122"/>
                  <a:gd name="T17" fmla="*/ 25 h 61"/>
                  <a:gd name="T18" fmla="*/ 57 w 122"/>
                  <a:gd name="T19" fmla="*/ 13 h 61"/>
                  <a:gd name="T20" fmla="*/ 41 w 122"/>
                  <a:gd name="T21" fmla="*/ 12 h 61"/>
                  <a:gd name="T22" fmla="*/ 35 w 122"/>
                  <a:gd name="T23" fmla="*/ 6 h 61"/>
                  <a:gd name="T24" fmla="*/ 48 w 122"/>
                  <a:gd name="T25" fmla="*/ 3 h 61"/>
                  <a:gd name="T26" fmla="*/ 70 w 122"/>
                  <a:gd name="T27" fmla="*/ 1 h 61"/>
                  <a:gd name="T28" fmla="*/ 89 w 122"/>
                  <a:gd name="T29" fmla="*/ 12 h 61"/>
                  <a:gd name="T30" fmla="*/ 117 w 122"/>
                  <a:gd name="T31" fmla="*/ 12 h 61"/>
                  <a:gd name="T32" fmla="*/ 122 w 122"/>
                  <a:gd name="T33" fmla="*/ 47 h 61"/>
                  <a:gd name="T34" fmla="*/ 90 w 122"/>
                  <a:gd name="T35"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61">
                    <a:moveTo>
                      <a:pt x="90" y="48"/>
                    </a:moveTo>
                    <a:cubicBezTo>
                      <a:pt x="86" y="50"/>
                      <a:pt x="54" y="61"/>
                      <a:pt x="48" y="60"/>
                    </a:cubicBezTo>
                    <a:cubicBezTo>
                      <a:pt x="48" y="60"/>
                      <a:pt x="47" y="60"/>
                      <a:pt x="47" y="60"/>
                    </a:cubicBezTo>
                    <a:cubicBezTo>
                      <a:pt x="41" y="59"/>
                      <a:pt x="34" y="53"/>
                      <a:pt x="30" y="51"/>
                    </a:cubicBezTo>
                    <a:cubicBezTo>
                      <a:pt x="25" y="50"/>
                      <a:pt x="24" y="45"/>
                      <a:pt x="20" y="42"/>
                    </a:cubicBezTo>
                    <a:cubicBezTo>
                      <a:pt x="16" y="40"/>
                      <a:pt x="14" y="31"/>
                      <a:pt x="14" y="31"/>
                    </a:cubicBezTo>
                    <a:cubicBezTo>
                      <a:pt x="14" y="31"/>
                      <a:pt x="0" y="19"/>
                      <a:pt x="6" y="17"/>
                    </a:cubicBezTo>
                    <a:cubicBezTo>
                      <a:pt x="13" y="15"/>
                      <a:pt x="21" y="22"/>
                      <a:pt x="21" y="22"/>
                    </a:cubicBezTo>
                    <a:cubicBezTo>
                      <a:pt x="38" y="25"/>
                      <a:pt x="38" y="25"/>
                      <a:pt x="38" y="25"/>
                    </a:cubicBezTo>
                    <a:cubicBezTo>
                      <a:pt x="38" y="25"/>
                      <a:pt x="58" y="17"/>
                      <a:pt x="57" y="13"/>
                    </a:cubicBezTo>
                    <a:cubicBezTo>
                      <a:pt x="57" y="9"/>
                      <a:pt x="48" y="12"/>
                      <a:pt x="41" y="12"/>
                    </a:cubicBezTo>
                    <a:cubicBezTo>
                      <a:pt x="36" y="11"/>
                      <a:pt x="35" y="6"/>
                      <a:pt x="35" y="6"/>
                    </a:cubicBezTo>
                    <a:cubicBezTo>
                      <a:pt x="48" y="3"/>
                      <a:pt x="48" y="3"/>
                      <a:pt x="48" y="3"/>
                    </a:cubicBezTo>
                    <a:cubicBezTo>
                      <a:pt x="48" y="3"/>
                      <a:pt x="66" y="0"/>
                      <a:pt x="70" y="1"/>
                    </a:cubicBezTo>
                    <a:cubicBezTo>
                      <a:pt x="74" y="3"/>
                      <a:pt x="89" y="12"/>
                      <a:pt x="89" y="12"/>
                    </a:cubicBezTo>
                    <a:cubicBezTo>
                      <a:pt x="117" y="12"/>
                      <a:pt x="117" y="12"/>
                      <a:pt x="117" y="12"/>
                    </a:cubicBezTo>
                    <a:cubicBezTo>
                      <a:pt x="122" y="47"/>
                      <a:pt x="122" y="47"/>
                      <a:pt x="122" y="47"/>
                    </a:cubicBezTo>
                    <a:cubicBezTo>
                      <a:pt x="122" y="47"/>
                      <a:pt x="95" y="46"/>
                      <a:pt x="90" y="48"/>
                    </a:cubicBezTo>
                    <a:close/>
                  </a:path>
                </a:pathLst>
              </a:custGeom>
              <a:solidFill>
                <a:srgbClr val="A860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06">
                <a:extLst>
                  <a:ext uri="{FF2B5EF4-FFF2-40B4-BE49-F238E27FC236}">
                    <a16:creationId xmlns:a16="http://schemas.microsoft.com/office/drawing/2014/main" id="{B66192F6-3BB0-4DF6-A01D-9273497D12D6}"/>
                  </a:ext>
                </a:extLst>
              </p:cNvPr>
              <p:cNvSpPr>
                <a:spLocks/>
              </p:cNvSpPr>
              <p:nvPr/>
            </p:nvSpPr>
            <p:spPr bwMode="auto">
              <a:xfrm>
                <a:off x="6129" y="2613"/>
                <a:ext cx="64" cy="57"/>
              </a:xfrm>
              <a:custGeom>
                <a:avLst/>
                <a:gdLst>
                  <a:gd name="T0" fmla="*/ 33 w 33"/>
                  <a:gd name="T1" fmla="*/ 29 h 29"/>
                  <a:gd name="T2" fmla="*/ 16 w 33"/>
                  <a:gd name="T3" fmla="*/ 20 h 29"/>
                  <a:gd name="T4" fmla="*/ 6 w 33"/>
                  <a:gd name="T5" fmla="*/ 11 h 29"/>
                  <a:gd name="T6" fmla="*/ 0 w 33"/>
                  <a:gd name="T7" fmla="*/ 0 h 29"/>
                  <a:gd name="T8" fmla="*/ 20 w 33"/>
                  <a:gd name="T9" fmla="*/ 7 h 29"/>
                  <a:gd name="T10" fmla="*/ 20 w 33"/>
                  <a:gd name="T11" fmla="*/ 12 h 29"/>
                  <a:gd name="T12" fmla="*/ 26 w 33"/>
                  <a:gd name="T13" fmla="*/ 18 h 29"/>
                  <a:gd name="T14" fmla="*/ 30 w 33"/>
                  <a:gd name="T15" fmla="*/ 25 h 29"/>
                  <a:gd name="T16" fmla="*/ 33 w 33"/>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9">
                    <a:moveTo>
                      <a:pt x="33" y="29"/>
                    </a:moveTo>
                    <a:cubicBezTo>
                      <a:pt x="27" y="28"/>
                      <a:pt x="20" y="22"/>
                      <a:pt x="16" y="20"/>
                    </a:cubicBezTo>
                    <a:cubicBezTo>
                      <a:pt x="11" y="19"/>
                      <a:pt x="10" y="14"/>
                      <a:pt x="6" y="11"/>
                    </a:cubicBezTo>
                    <a:cubicBezTo>
                      <a:pt x="2" y="9"/>
                      <a:pt x="0" y="0"/>
                      <a:pt x="0" y="0"/>
                    </a:cubicBezTo>
                    <a:cubicBezTo>
                      <a:pt x="3" y="3"/>
                      <a:pt x="19" y="5"/>
                      <a:pt x="20" y="7"/>
                    </a:cubicBezTo>
                    <a:cubicBezTo>
                      <a:pt x="22" y="8"/>
                      <a:pt x="20" y="10"/>
                      <a:pt x="20" y="12"/>
                    </a:cubicBezTo>
                    <a:cubicBezTo>
                      <a:pt x="21" y="15"/>
                      <a:pt x="27" y="15"/>
                      <a:pt x="26" y="18"/>
                    </a:cubicBezTo>
                    <a:cubicBezTo>
                      <a:pt x="26" y="21"/>
                      <a:pt x="26" y="24"/>
                      <a:pt x="30" y="25"/>
                    </a:cubicBezTo>
                    <a:cubicBezTo>
                      <a:pt x="32" y="26"/>
                      <a:pt x="33" y="27"/>
                      <a:pt x="33" y="29"/>
                    </a:cubicBezTo>
                    <a:close/>
                  </a:path>
                </a:pathLst>
              </a:custGeom>
              <a:solidFill>
                <a:srgbClr val="8745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07">
                <a:extLst>
                  <a:ext uri="{FF2B5EF4-FFF2-40B4-BE49-F238E27FC236}">
                    <a16:creationId xmlns:a16="http://schemas.microsoft.com/office/drawing/2014/main" id="{39749CA5-2F91-4381-B437-3E6EF5A53428}"/>
                  </a:ext>
                </a:extLst>
              </p:cNvPr>
              <p:cNvSpPr>
                <a:spLocks/>
              </p:cNvSpPr>
              <p:nvPr/>
            </p:nvSpPr>
            <p:spPr bwMode="auto">
              <a:xfrm>
                <a:off x="6278" y="2167"/>
                <a:ext cx="288" cy="550"/>
              </a:xfrm>
              <a:custGeom>
                <a:avLst/>
                <a:gdLst>
                  <a:gd name="T0" fmla="*/ 73 w 147"/>
                  <a:gd name="T1" fmla="*/ 0 h 280"/>
                  <a:gd name="T2" fmla="*/ 38 w 147"/>
                  <a:gd name="T3" fmla="*/ 102 h 280"/>
                  <a:gd name="T4" fmla="*/ 69 w 147"/>
                  <a:gd name="T5" fmla="*/ 185 h 280"/>
                  <a:gd name="T6" fmla="*/ 68 w 147"/>
                  <a:gd name="T7" fmla="*/ 198 h 280"/>
                  <a:gd name="T8" fmla="*/ 0 w 147"/>
                  <a:gd name="T9" fmla="*/ 200 h 280"/>
                  <a:gd name="T10" fmla="*/ 4 w 147"/>
                  <a:gd name="T11" fmla="*/ 254 h 280"/>
                  <a:gd name="T12" fmla="*/ 131 w 147"/>
                  <a:gd name="T13" fmla="*/ 254 h 280"/>
                  <a:gd name="T14" fmla="*/ 145 w 147"/>
                  <a:gd name="T15" fmla="*/ 208 h 280"/>
                  <a:gd name="T16" fmla="*/ 73 w 147"/>
                  <a:gd name="T17"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280">
                    <a:moveTo>
                      <a:pt x="73" y="0"/>
                    </a:moveTo>
                    <a:cubicBezTo>
                      <a:pt x="45" y="15"/>
                      <a:pt x="35" y="77"/>
                      <a:pt x="38" y="102"/>
                    </a:cubicBezTo>
                    <a:cubicBezTo>
                      <a:pt x="69" y="185"/>
                      <a:pt x="69" y="185"/>
                      <a:pt x="69" y="185"/>
                    </a:cubicBezTo>
                    <a:cubicBezTo>
                      <a:pt x="69" y="185"/>
                      <a:pt x="63" y="196"/>
                      <a:pt x="68" y="198"/>
                    </a:cubicBezTo>
                    <a:cubicBezTo>
                      <a:pt x="0" y="200"/>
                      <a:pt x="0" y="200"/>
                      <a:pt x="0" y="200"/>
                    </a:cubicBezTo>
                    <a:cubicBezTo>
                      <a:pt x="0" y="200"/>
                      <a:pt x="17" y="218"/>
                      <a:pt x="4" y="254"/>
                    </a:cubicBezTo>
                    <a:cubicBezTo>
                      <a:pt x="4" y="254"/>
                      <a:pt x="93" y="280"/>
                      <a:pt x="131" y="254"/>
                    </a:cubicBezTo>
                    <a:cubicBezTo>
                      <a:pt x="142" y="246"/>
                      <a:pt x="147" y="224"/>
                      <a:pt x="145" y="208"/>
                    </a:cubicBezTo>
                    <a:cubicBezTo>
                      <a:pt x="125" y="95"/>
                      <a:pt x="73" y="0"/>
                      <a:pt x="73" y="0"/>
                    </a:cubicBezTo>
                    <a:close/>
                  </a:path>
                </a:pathLst>
              </a:custGeom>
              <a:solidFill>
                <a:srgbClr val="E28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08">
                <a:extLst>
                  <a:ext uri="{FF2B5EF4-FFF2-40B4-BE49-F238E27FC236}">
                    <a16:creationId xmlns:a16="http://schemas.microsoft.com/office/drawing/2014/main" id="{1449C44A-293E-4528-BD3A-D2A45D489C5E}"/>
                  </a:ext>
                </a:extLst>
              </p:cNvPr>
              <p:cNvSpPr>
                <a:spLocks/>
              </p:cNvSpPr>
              <p:nvPr/>
            </p:nvSpPr>
            <p:spPr bwMode="auto">
              <a:xfrm>
                <a:off x="1924" y="2652"/>
                <a:ext cx="110" cy="110"/>
              </a:xfrm>
              <a:custGeom>
                <a:avLst/>
                <a:gdLst>
                  <a:gd name="T0" fmla="*/ 43 w 56"/>
                  <a:gd name="T1" fmla="*/ 2 h 56"/>
                  <a:gd name="T2" fmla="*/ 21 w 56"/>
                  <a:gd name="T3" fmla="*/ 53 h 56"/>
                  <a:gd name="T4" fmla="*/ 10 w 56"/>
                  <a:gd name="T5" fmla="*/ 10 h 56"/>
                  <a:gd name="T6" fmla="*/ 43 w 56"/>
                  <a:gd name="T7" fmla="*/ 2 h 56"/>
                </a:gdLst>
                <a:ahLst/>
                <a:cxnLst>
                  <a:cxn ang="0">
                    <a:pos x="T0" y="T1"/>
                  </a:cxn>
                  <a:cxn ang="0">
                    <a:pos x="T2" y="T3"/>
                  </a:cxn>
                  <a:cxn ang="0">
                    <a:pos x="T4" y="T5"/>
                  </a:cxn>
                  <a:cxn ang="0">
                    <a:pos x="T6" y="T7"/>
                  </a:cxn>
                </a:cxnLst>
                <a:rect l="0" t="0" r="r" b="b"/>
                <a:pathLst>
                  <a:path w="56" h="56">
                    <a:moveTo>
                      <a:pt x="43" y="2"/>
                    </a:moveTo>
                    <a:cubicBezTo>
                      <a:pt x="56" y="4"/>
                      <a:pt x="41" y="56"/>
                      <a:pt x="21" y="53"/>
                    </a:cubicBezTo>
                    <a:cubicBezTo>
                      <a:pt x="0" y="50"/>
                      <a:pt x="10" y="10"/>
                      <a:pt x="10" y="10"/>
                    </a:cubicBezTo>
                    <a:cubicBezTo>
                      <a:pt x="10" y="10"/>
                      <a:pt x="29" y="0"/>
                      <a:pt x="43" y="2"/>
                    </a:cubicBezTo>
                    <a:close/>
                  </a:path>
                </a:pathLst>
              </a:custGeom>
              <a:solidFill>
                <a:srgbClr val="A1B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09">
                <a:extLst>
                  <a:ext uri="{FF2B5EF4-FFF2-40B4-BE49-F238E27FC236}">
                    <a16:creationId xmlns:a16="http://schemas.microsoft.com/office/drawing/2014/main" id="{1C1DCDE8-AF3F-4F5C-B1BD-E0CBA1874D8A}"/>
                  </a:ext>
                </a:extLst>
              </p:cNvPr>
              <p:cNvSpPr>
                <a:spLocks/>
              </p:cNvSpPr>
              <p:nvPr/>
            </p:nvSpPr>
            <p:spPr bwMode="auto">
              <a:xfrm>
                <a:off x="1959" y="2617"/>
                <a:ext cx="214" cy="165"/>
              </a:xfrm>
              <a:custGeom>
                <a:avLst/>
                <a:gdLst>
                  <a:gd name="T0" fmla="*/ 62 w 109"/>
                  <a:gd name="T1" fmla="*/ 75 h 84"/>
                  <a:gd name="T2" fmla="*/ 46 w 109"/>
                  <a:gd name="T3" fmla="*/ 64 h 84"/>
                  <a:gd name="T4" fmla="*/ 23 w 109"/>
                  <a:gd name="T5" fmla="*/ 53 h 84"/>
                  <a:gd name="T6" fmla="*/ 0 w 109"/>
                  <a:gd name="T7" fmla="*/ 49 h 84"/>
                  <a:gd name="T8" fmla="*/ 14 w 109"/>
                  <a:gd name="T9" fmla="*/ 20 h 84"/>
                  <a:gd name="T10" fmla="*/ 27 w 109"/>
                  <a:gd name="T11" fmla="*/ 21 h 84"/>
                  <a:gd name="T12" fmla="*/ 48 w 109"/>
                  <a:gd name="T13" fmla="*/ 9 h 84"/>
                  <a:gd name="T14" fmla="*/ 72 w 109"/>
                  <a:gd name="T15" fmla="*/ 0 h 84"/>
                  <a:gd name="T16" fmla="*/ 74 w 109"/>
                  <a:gd name="T17" fmla="*/ 8 h 84"/>
                  <a:gd name="T18" fmla="*/ 59 w 109"/>
                  <a:gd name="T19" fmla="*/ 17 h 84"/>
                  <a:gd name="T20" fmla="*/ 58 w 109"/>
                  <a:gd name="T21" fmla="*/ 18 h 84"/>
                  <a:gd name="T22" fmla="*/ 58 w 109"/>
                  <a:gd name="T23" fmla="*/ 18 h 84"/>
                  <a:gd name="T24" fmla="*/ 59 w 109"/>
                  <a:gd name="T25" fmla="*/ 24 h 84"/>
                  <a:gd name="T26" fmla="*/ 59 w 109"/>
                  <a:gd name="T27" fmla="*/ 24 h 84"/>
                  <a:gd name="T28" fmla="*/ 85 w 109"/>
                  <a:gd name="T29" fmla="*/ 33 h 84"/>
                  <a:gd name="T30" fmla="*/ 104 w 109"/>
                  <a:gd name="T31" fmla="*/ 41 h 84"/>
                  <a:gd name="T32" fmla="*/ 76 w 109"/>
                  <a:gd name="T33" fmla="*/ 42 h 84"/>
                  <a:gd name="T34" fmla="*/ 75 w 109"/>
                  <a:gd name="T35" fmla="*/ 44 h 84"/>
                  <a:gd name="T36" fmla="*/ 100 w 109"/>
                  <a:gd name="T37" fmla="*/ 53 h 84"/>
                  <a:gd name="T38" fmla="*/ 102 w 109"/>
                  <a:gd name="T39" fmla="*/ 61 h 84"/>
                  <a:gd name="T40" fmla="*/ 84 w 109"/>
                  <a:gd name="T41" fmla="*/ 58 h 84"/>
                  <a:gd name="T42" fmla="*/ 72 w 109"/>
                  <a:gd name="T43" fmla="*/ 55 h 84"/>
                  <a:gd name="T44" fmla="*/ 71 w 109"/>
                  <a:gd name="T45" fmla="*/ 57 h 84"/>
                  <a:gd name="T46" fmla="*/ 91 w 109"/>
                  <a:gd name="T47" fmla="*/ 72 h 84"/>
                  <a:gd name="T48" fmla="*/ 74 w 109"/>
                  <a:gd name="T49" fmla="*/ 70 h 84"/>
                  <a:gd name="T50" fmla="*/ 63 w 109"/>
                  <a:gd name="T51" fmla="*/ 65 h 84"/>
                  <a:gd name="T52" fmla="*/ 77 w 109"/>
                  <a:gd name="T53" fmla="*/ 79 h 84"/>
                  <a:gd name="T54" fmla="*/ 62 w 109"/>
                  <a:gd name="T55"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9" h="84">
                    <a:moveTo>
                      <a:pt x="62" y="75"/>
                    </a:moveTo>
                    <a:cubicBezTo>
                      <a:pt x="59" y="71"/>
                      <a:pt x="46" y="64"/>
                      <a:pt x="46" y="64"/>
                    </a:cubicBezTo>
                    <a:cubicBezTo>
                      <a:pt x="34" y="60"/>
                      <a:pt x="28" y="58"/>
                      <a:pt x="23" y="53"/>
                    </a:cubicBezTo>
                    <a:cubicBezTo>
                      <a:pt x="18" y="48"/>
                      <a:pt x="0" y="49"/>
                      <a:pt x="0" y="49"/>
                    </a:cubicBezTo>
                    <a:cubicBezTo>
                      <a:pt x="0" y="49"/>
                      <a:pt x="2" y="32"/>
                      <a:pt x="14" y="20"/>
                    </a:cubicBezTo>
                    <a:cubicBezTo>
                      <a:pt x="14" y="20"/>
                      <a:pt x="24" y="22"/>
                      <a:pt x="27" y="21"/>
                    </a:cubicBezTo>
                    <a:cubicBezTo>
                      <a:pt x="32" y="19"/>
                      <a:pt x="36" y="11"/>
                      <a:pt x="48" y="9"/>
                    </a:cubicBezTo>
                    <a:cubicBezTo>
                      <a:pt x="59" y="8"/>
                      <a:pt x="72" y="0"/>
                      <a:pt x="72" y="0"/>
                    </a:cubicBezTo>
                    <a:cubicBezTo>
                      <a:pt x="72" y="0"/>
                      <a:pt x="78" y="4"/>
                      <a:pt x="74" y="8"/>
                    </a:cubicBezTo>
                    <a:cubicBezTo>
                      <a:pt x="69" y="12"/>
                      <a:pt x="60" y="14"/>
                      <a:pt x="59" y="17"/>
                    </a:cubicBezTo>
                    <a:cubicBezTo>
                      <a:pt x="59" y="17"/>
                      <a:pt x="59" y="18"/>
                      <a:pt x="58" y="18"/>
                    </a:cubicBezTo>
                    <a:cubicBezTo>
                      <a:pt x="58" y="18"/>
                      <a:pt x="58" y="18"/>
                      <a:pt x="58" y="18"/>
                    </a:cubicBezTo>
                    <a:cubicBezTo>
                      <a:pt x="58" y="20"/>
                      <a:pt x="58" y="22"/>
                      <a:pt x="59" y="24"/>
                    </a:cubicBezTo>
                    <a:cubicBezTo>
                      <a:pt x="59" y="24"/>
                      <a:pt x="59" y="24"/>
                      <a:pt x="59" y="24"/>
                    </a:cubicBezTo>
                    <a:cubicBezTo>
                      <a:pt x="64" y="29"/>
                      <a:pt x="78" y="32"/>
                      <a:pt x="85" y="33"/>
                    </a:cubicBezTo>
                    <a:cubicBezTo>
                      <a:pt x="94" y="34"/>
                      <a:pt x="107" y="36"/>
                      <a:pt x="104" y="41"/>
                    </a:cubicBezTo>
                    <a:cubicBezTo>
                      <a:pt x="101" y="47"/>
                      <a:pt x="97" y="41"/>
                      <a:pt x="76" y="42"/>
                    </a:cubicBezTo>
                    <a:cubicBezTo>
                      <a:pt x="75" y="44"/>
                      <a:pt x="75" y="44"/>
                      <a:pt x="75" y="44"/>
                    </a:cubicBezTo>
                    <a:cubicBezTo>
                      <a:pt x="74" y="45"/>
                      <a:pt x="87" y="50"/>
                      <a:pt x="100" y="53"/>
                    </a:cubicBezTo>
                    <a:cubicBezTo>
                      <a:pt x="109" y="55"/>
                      <a:pt x="105" y="60"/>
                      <a:pt x="102" y="61"/>
                    </a:cubicBezTo>
                    <a:cubicBezTo>
                      <a:pt x="99" y="62"/>
                      <a:pt x="90" y="59"/>
                      <a:pt x="84" y="58"/>
                    </a:cubicBezTo>
                    <a:cubicBezTo>
                      <a:pt x="79" y="57"/>
                      <a:pt x="75" y="56"/>
                      <a:pt x="72" y="55"/>
                    </a:cubicBezTo>
                    <a:cubicBezTo>
                      <a:pt x="71" y="57"/>
                      <a:pt x="71" y="57"/>
                      <a:pt x="71" y="57"/>
                    </a:cubicBezTo>
                    <a:cubicBezTo>
                      <a:pt x="85" y="69"/>
                      <a:pt x="92" y="66"/>
                      <a:pt x="91" y="72"/>
                    </a:cubicBezTo>
                    <a:cubicBezTo>
                      <a:pt x="91" y="77"/>
                      <a:pt x="78" y="73"/>
                      <a:pt x="74" y="70"/>
                    </a:cubicBezTo>
                    <a:cubicBezTo>
                      <a:pt x="72" y="68"/>
                      <a:pt x="67" y="66"/>
                      <a:pt x="63" y="65"/>
                    </a:cubicBezTo>
                    <a:cubicBezTo>
                      <a:pt x="72" y="75"/>
                      <a:pt x="78" y="75"/>
                      <a:pt x="77" y="79"/>
                    </a:cubicBezTo>
                    <a:cubicBezTo>
                      <a:pt x="75" y="84"/>
                      <a:pt x="65" y="78"/>
                      <a:pt x="62" y="75"/>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10">
                <a:extLst>
                  <a:ext uri="{FF2B5EF4-FFF2-40B4-BE49-F238E27FC236}">
                    <a16:creationId xmlns:a16="http://schemas.microsoft.com/office/drawing/2014/main" id="{C0BA5051-CE21-4274-A7DE-A13CC5354841}"/>
                  </a:ext>
                </a:extLst>
              </p:cNvPr>
              <p:cNvSpPr>
                <a:spLocks/>
              </p:cNvSpPr>
              <p:nvPr/>
            </p:nvSpPr>
            <p:spPr bwMode="auto">
              <a:xfrm>
                <a:off x="2044" y="2652"/>
                <a:ext cx="31" cy="32"/>
              </a:xfrm>
              <a:custGeom>
                <a:avLst/>
                <a:gdLst>
                  <a:gd name="T0" fmla="*/ 0 w 16"/>
                  <a:gd name="T1" fmla="*/ 14 h 16"/>
                  <a:gd name="T2" fmla="*/ 15 w 16"/>
                  <a:gd name="T3" fmla="*/ 0 h 16"/>
                  <a:gd name="T4" fmla="*/ 16 w 16"/>
                  <a:gd name="T5" fmla="*/ 6 h 16"/>
                  <a:gd name="T6" fmla="*/ 0 w 16"/>
                  <a:gd name="T7" fmla="*/ 14 h 16"/>
                </a:gdLst>
                <a:ahLst/>
                <a:cxnLst>
                  <a:cxn ang="0">
                    <a:pos x="T0" y="T1"/>
                  </a:cxn>
                  <a:cxn ang="0">
                    <a:pos x="T2" y="T3"/>
                  </a:cxn>
                  <a:cxn ang="0">
                    <a:pos x="T4" y="T5"/>
                  </a:cxn>
                  <a:cxn ang="0">
                    <a:pos x="T6" y="T7"/>
                  </a:cxn>
                </a:cxnLst>
                <a:rect l="0" t="0" r="r" b="b"/>
                <a:pathLst>
                  <a:path w="16" h="16">
                    <a:moveTo>
                      <a:pt x="0" y="14"/>
                    </a:moveTo>
                    <a:cubicBezTo>
                      <a:pt x="9" y="12"/>
                      <a:pt x="15" y="1"/>
                      <a:pt x="15" y="0"/>
                    </a:cubicBezTo>
                    <a:cubicBezTo>
                      <a:pt x="15" y="2"/>
                      <a:pt x="15" y="4"/>
                      <a:pt x="16" y="6"/>
                    </a:cubicBezTo>
                    <a:cubicBezTo>
                      <a:pt x="10" y="16"/>
                      <a:pt x="0" y="14"/>
                      <a:pt x="0" y="14"/>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11">
                <a:extLst>
                  <a:ext uri="{FF2B5EF4-FFF2-40B4-BE49-F238E27FC236}">
                    <a16:creationId xmlns:a16="http://schemas.microsoft.com/office/drawing/2014/main" id="{B8E699A2-9C20-41F2-AF5D-788B077EA91A}"/>
                  </a:ext>
                </a:extLst>
              </p:cNvPr>
              <p:cNvSpPr>
                <a:spLocks/>
              </p:cNvSpPr>
              <p:nvPr/>
            </p:nvSpPr>
            <p:spPr bwMode="auto">
              <a:xfrm>
                <a:off x="1644" y="2150"/>
                <a:ext cx="364" cy="607"/>
              </a:xfrm>
              <a:custGeom>
                <a:avLst/>
                <a:gdLst>
                  <a:gd name="T0" fmla="*/ 33 w 186"/>
                  <a:gd name="T1" fmla="*/ 0 h 309"/>
                  <a:gd name="T2" fmla="*/ 90 w 186"/>
                  <a:gd name="T3" fmla="*/ 222 h 309"/>
                  <a:gd name="T4" fmla="*/ 100 w 186"/>
                  <a:gd name="T5" fmla="*/ 227 h 309"/>
                  <a:gd name="T6" fmla="*/ 186 w 186"/>
                  <a:gd name="T7" fmla="*/ 258 h 309"/>
                  <a:gd name="T8" fmla="*/ 164 w 186"/>
                  <a:gd name="T9" fmla="*/ 309 h 309"/>
                  <a:gd name="T10" fmla="*/ 35 w 186"/>
                  <a:gd name="T11" fmla="*/ 281 h 309"/>
                  <a:gd name="T12" fmla="*/ 0 w 186"/>
                  <a:gd name="T13" fmla="*/ 76 h 309"/>
                  <a:gd name="T14" fmla="*/ 33 w 186"/>
                  <a:gd name="T15" fmla="*/ 0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09">
                    <a:moveTo>
                      <a:pt x="33" y="0"/>
                    </a:moveTo>
                    <a:cubicBezTo>
                      <a:pt x="64" y="41"/>
                      <a:pt x="90" y="222"/>
                      <a:pt x="90" y="222"/>
                    </a:cubicBezTo>
                    <a:cubicBezTo>
                      <a:pt x="90" y="222"/>
                      <a:pt x="101" y="220"/>
                      <a:pt x="100" y="227"/>
                    </a:cubicBezTo>
                    <a:cubicBezTo>
                      <a:pt x="100" y="233"/>
                      <a:pt x="186" y="258"/>
                      <a:pt x="186" y="258"/>
                    </a:cubicBezTo>
                    <a:cubicBezTo>
                      <a:pt x="186" y="258"/>
                      <a:pt x="154" y="274"/>
                      <a:pt x="164" y="309"/>
                    </a:cubicBezTo>
                    <a:cubicBezTo>
                      <a:pt x="164" y="309"/>
                      <a:pt x="63" y="293"/>
                      <a:pt x="35" y="281"/>
                    </a:cubicBezTo>
                    <a:cubicBezTo>
                      <a:pt x="6" y="268"/>
                      <a:pt x="0" y="76"/>
                      <a:pt x="0" y="76"/>
                    </a:cubicBezTo>
                    <a:lnTo>
                      <a:pt x="33" y="0"/>
                    </a:ln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12">
                <a:extLst>
                  <a:ext uri="{FF2B5EF4-FFF2-40B4-BE49-F238E27FC236}">
                    <a16:creationId xmlns:a16="http://schemas.microsoft.com/office/drawing/2014/main" id="{58248328-15B0-4D9D-B1C1-4B2A7ED0AA2D}"/>
                  </a:ext>
                </a:extLst>
              </p:cNvPr>
              <p:cNvSpPr>
                <a:spLocks/>
              </p:cNvSpPr>
              <p:nvPr/>
            </p:nvSpPr>
            <p:spPr bwMode="auto">
              <a:xfrm>
                <a:off x="1522" y="3917"/>
                <a:ext cx="247" cy="163"/>
              </a:xfrm>
              <a:custGeom>
                <a:avLst/>
                <a:gdLst>
                  <a:gd name="T0" fmla="*/ 126 w 126"/>
                  <a:gd name="T1" fmla="*/ 75 h 83"/>
                  <a:gd name="T2" fmla="*/ 126 w 126"/>
                  <a:gd name="T3" fmla="*/ 83 h 83"/>
                  <a:gd name="T4" fmla="*/ 0 w 126"/>
                  <a:gd name="T5" fmla="*/ 83 h 83"/>
                  <a:gd name="T6" fmla="*/ 0 w 126"/>
                  <a:gd name="T7" fmla="*/ 75 h 83"/>
                  <a:gd name="T8" fmla="*/ 12 w 126"/>
                  <a:gd name="T9" fmla="*/ 14 h 83"/>
                  <a:gd name="T10" fmla="*/ 43 w 126"/>
                  <a:gd name="T11" fmla="*/ 0 h 83"/>
                  <a:gd name="T12" fmla="*/ 62 w 126"/>
                  <a:gd name="T13" fmla="*/ 34 h 83"/>
                  <a:gd name="T14" fmla="*/ 69 w 126"/>
                  <a:gd name="T15" fmla="*/ 38 h 83"/>
                  <a:gd name="T16" fmla="*/ 73 w 126"/>
                  <a:gd name="T17" fmla="*/ 40 h 83"/>
                  <a:gd name="T18" fmla="*/ 81 w 126"/>
                  <a:gd name="T19" fmla="*/ 43 h 83"/>
                  <a:gd name="T20" fmla="*/ 111 w 126"/>
                  <a:gd name="T21" fmla="*/ 48 h 83"/>
                  <a:gd name="T22" fmla="*/ 126 w 126"/>
                  <a:gd name="T23"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3">
                    <a:moveTo>
                      <a:pt x="126" y="75"/>
                    </a:moveTo>
                    <a:cubicBezTo>
                      <a:pt x="126" y="80"/>
                      <a:pt x="126" y="83"/>
                      <a:pt x="126" y="83"/>
                    </a:cubicBezTo>
                    <a:cubicBezTo>
                      <a:pt x="0" y="83"/>
                      <a:pt x="0" y="83"/>
                      <a:pt x="0" y="83"/>
                    </a:cubicBezTo>
                    <a:cubicBezTo>
                      <a:pt x="0" y="80"/>
                      <a:pt x="0" y="78"/>
                      <a:pt x="0" y="75"/>
                    </a:cubicBezTo>
                    <a:cubicBezTo>
                      <a:pt x="2" y="42"/>
                      <a:pt x="12" y="14"/>
                      <a:pt x="12" y="14"/>
                    </a:cubicBezTo>
                    <a:cubicBezTo>
                      <a:pt x="43" y="0"/>
                      <a:pt x="43" y="0"/>
                      <a:pt x="43" y="0"/>
                    </a:cubicBezTo>
                    <a:cubicBezTo>
                      <a:pt x="46" y="17"/>
                      <a:pt x="53" y="27"/>
                      <a:pt x="62" y="34"/>
                    </a:cubicBezTo>
                    <a:cubicBezTo>
                      <a:pt x="64" y="36"/>
                      <a:pt x="67" y="37"/>
                      <a:pt x="69" y="38"/>
                    </a:cubicBezTo>
                    <a:cubicBezTo>
                      <a:pt x="70" y="39"/>
                      <a:pt x="71" y="40"/>
                      <a:pt x="73" y="40"/>
                    </a:cubicBezTo>
                    <a:cubicBezTo>
                      <a:pt x="75" y="41"/>
                      <a:pt x="78" y="42"/>
                      <a:pt x="81" y="43"/>
                    </a:cubicBezTo>
                    <a:cubicBezTo>
                      <a:pt x="92" y="46"/>
                      <a:pt x="103" y="47"/>
                      <a:pt x="111" y="48"/>
                    </a:cubicBezTo>
                    <a:cubicBezTo>
                      <a:pt x="124" y="50"/>
                      <a:pt x="126" y="66"/>
                      <a:pt x="126" y="75"/>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13">
                <a:extLst>
                  <a:ext uri="{FF2B5EF4-FFF2-40B4-BE49-F238E27FC236}">
                    <a16:creationId xmlns:a16="http://schemas.microsoft.com/office/drawing/2014/main" id="{EAF1DFFD-C4AF-459D-87FD-9C974F394874}"/>
                  </a:ext>
                </a:extLst>
              </p:cNvPr>
              <p:cNvSpPr>
                <a:spLocks/>
              </p:cNvSpPr>
              <p:nvPr/>
            </p:nvSpPr>
            <p:spPr bwMode="auto">
              <a:xfrm>
                <a:off x="1522" y="4064"/>
                <a:ext cx="247" cy="16"/>
              </a:xfrm>
              <a:custGeom>
                <a:avLst/>
                <a:gdLst>
                  <a:gd name="T0" fmla="*/ 126 w 126"/>
                  <a:gd name="T1" fmla="*/ 0 h 8"/>
                  <a:gd name="T2" fmla="*/ 126 w 126"/>
                  <a:gd name="T3" fmla="*/ 8 h 8"/>
                  <a:gd name="T4" fmla="*/ 0 w 126"/>
                  <a:gd name="T5" fmla="*/ 8 h 8"/>
                  <a:gd name="T6" fmla="*/ 0 w 126"/>
                  <a:gd name="T7" fmla="*/ 0 h 8"/>
                  <a:gd name="T8" fmla="*/ 126 w 126"/>
                  <a:gd name="T9" fmla="*/ 0 h 8"/>
                </a:gdLst>
                <a:ahLst/>
                <a:cxnLst>
                  <a:cxn ang="0">
                    <a:pos x="T0" y="T1"/>
                  </a:cxn>
                  <a:cxn ang="0">
                    <a:pos x="T2" y="T3"/>
                  </a:cxn>
                  <a:cxn ang="0">
                    <a:pos x="T4" y="T5"/>
                  </a:cxn>
                  <a:cxn ang="0">
                    <a:pos x="T6" y="T7"/>
                  </a:cxn>
                  <a:cxn ang="0">
                    <a:pos x="T8" y="T9"/>
                  </a:cxn>
                </a:cxnLst>
                <a:rect l="0" t="0" r="r" b="b"/>
                <a:pathLst>
                  <a:path w="126" h="8">
                    <a:moveTo>
                      <a:pt x="126" y="0"/>
                    </a:moveTo>
                    <a:cubicBezTo>
                      <a:pt x="126" y="5"/>
                      <a:pt x="126" y="8"/>
                      <a:pt x="126" y="8"/>
                    </a:cubicBezTo>
                    <a:cubicBezTo>
                      <a:pt x="0" y="8"/>
                      <a:pt x="0" y="8"/>
                      <a:pt x="0" y="8"/>
                    </a:cubicBezTo>
                    <a:cubicBezTo>
                      <a:pt x="0" y="5"/>
                      <a:pt x="0" y="3"/>
                      <a:pt x="0" y="0"/>
                    </a:cubicBezTo>
                    <a:lnTo>
                      <a:pt x="126" y="0"/>
                    </a:ln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14">
                <a:extLst>
                  <a:ext uri="{FF2B5EF4-FFF2-40B4-BE49-F238E27FC236}">
                    <a16:creationId xmlns:a16="http://schemas.microsoft.com/office/drawing/2014/main" id="{7093C24D-19F4-4238-BC34-4EB7C18DD066}"/>
                  </a:ext>
                </a:extLst>
              </p:cNvPr>
              <p:cNvSpPr>
                <a:spLocks/>
              </p:cNvSpPr>
              <p:nvPr/>
            </p:nvSpPr>
            <p:spPr bwMode="auto">
              <a:xfrm>
                <a:off x="1616" y="3984"/>
                <a:ext cx="41" cy="19"/>
              </a:xfrm>
              <a:custGeom>
                <a:avLst/>
                <a:gdLst>
                  <a:gd name="T0" fmla="*/ 21 w 21"/>
                  <a:gd name="T1" fmla="*/ 4 h 10"/>
                  <a:gd name="T2" fmla="*/ 4 w 21"/>
                  <a:gd name="T3" fmla="*/ 10 h 10"/>
                  <a:gd name="T4" fmla="*/ 0 w 21"/>
                  <a:gd name="T5" fmla="*/ 4 h 10"/>
                  <a:gd name="T6" fmla="*/ 14 w 21"/>
                  <a:gd name="T7" fmla="*/ 0 h 10"/>
                  <a:gd name="T8" fmla="*/ 21 w 21"/>
                  <a:gd name="T9" fmla="*/ 4 h 10"/>
                </a:gdLst>
                <a:ahLst/>
                <a:cxnLst>
                  <a:cxn ang="0">
                    <a:pos x="T0" y="T1"/>
                  </a:cxn>
                  <a:cxn ang="0">
                    <a:pos x="T2" y="T3"/>
                  </a:cxn>
                  <a:cxn ang="0">
                    <a:pos x="T4" y="T5"/>
                  </a:cxn>
                  <a:cxn ang="0">
                    <a:pos x="T6" y="T7"/>
                  </a:cxn>
                  <a:cxn ang="0">
                    <a:pos x="T8" y="T9"/>
                  </a:cxn>
                </a:cxnLst>
                <a:rect l="0" t="0" r="r" b="b"/>
                <a:pathLst>
                  <a:path w="21" h="10">
                    <a:moveTo>
                      <a:pt x="21" y="4"/>
                    </a:moveTo>
                    <a:cubicBezTo>
                      <a:pt x="4" y="10"/>
                      <a:pt x="4" y="10"/>
                      <a:pt x="4" y="10"/>
                    </a:cubicBezTo>
                    <a:cubicBezTo>
                      <a:pt x="0" y="4"/>
                      <a:pt x="0" y="4"/>
                      <a:pt x="0" y="4"/>
                    </a:cubicBezTo>
                    <a:cubicBezTo>
                      <a:pt x="14" y="0"/>
                      <a:pt x="14" y="0"/>
                      <a:pt x="14" y="0"/>
                    </a:cubicBezTo>
                    <a:cubicBezTo>
                      <a:pt x="16" y="2"/>
                      <a:pt x="19" y="3"/>
                      <a:pt x="21" y="4"/>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15">
                <a:extLst>
                  <a:ext uri="{FF2B5EF4-FFF2-40B4-BE49-F238E27FC236}">
                    <a16:creationId xmlns:a16="http://schemas.microsoft.com/office/drawing/2014/main" id="{CFE091CD-B4EC-446F-9858-68D002E2815F}"/>
                  </a:ext>
                </a:extLst>
              </p:cNvPr>
              <p:cNvSpPr>
                <a:spLocks/>
              </p:cNvSpPr>
              <p:nvPr/>
            </p:nvSpPr>
            <p:spPr bwMode="auto">
              <a:xfrm>
                <a:off x="1644" y="3996"/>
                <a:ext cx="37" cy="21"/>
              </a:xfrm>
              <a:custGeom>
                <a:avLst/>
                <a:gdLst>
                  <a:gd name="T0" fmla="*/ 19 w 19"/>
                  <a:gd name="T1" fmla="*/ 3 h 11"/>
                  <a:gd name="T2" fmla="*/ 7 w 19"/>
                  <a:gd name="T3" fmla="*/ 11 h 11"/>
                  <a:gd name="T4" fmla="*/ 0 w 19"/>
                  <a:gd name="T5" fmla="*/ 8 h 11"/>
                  <a:gd name="T6" fmla="*/ 11 w 19"/>
                  <a:gd name="T7" fmla="*/ 0 h 11"/>
                  <a:gd name="T8" fmla="*/ 19 w 19"/>
                  <a:gd name="T9" fmla="*/ 3 h 11"/>
                </a:gdLst>
                <a:ahLst/>
                <a:cxnLst>
                  <a:cxn ang="0">
                    <a:pos x="T0" y="T1"/>
                  </a:cxn>
                  <a:cxn ang="0">
                    <a:pos x="T2" y="T3"/>
                  </a:cxn>
                  <a:cxn ang="0">
                    <a:pos x="T4" y="T5"/>
                  </a:cxn>
                  <a:cxn ang="0">
                    <a:pos x="T6" y="T7"/>
                  </a:cxn>
                  <a:cxn ang="0">
                    <a:pos x="T8" y="T9"/>
                  </a:cxn>
                </a:cxnLst>
                <a:rect l="0" t="0" r="r" b="b"/>
                <a:pathLst>
                  <a:path w="19" h="11">
                    <a:moveTo>
                      <a:pt x="19" y="3"/>
                    </a:moveTo>
                    <a:cubicBezTo>
                      <a:pt x="7" y="11"/>
                      <a:pt x="7" y="11"/>
                      <a:pt x="7" y="11"/>
                    </a:cubicBezTo>
                    <a:cubicBezTo>
                      <a:pt x="0" y="8"/>
                      <a:pt x="0" y="8"/>
                      <a:pt x="0" y="8"/>
                    </a:cubicBezTo>
                    <a:cubicBezTo>
                      <a:pt x="11" y="0"/>
                      <a:pt x="11" y="0"/>
                      <a:pt x="11" y="0"/>
                    </a:cubicBezTo>
                    <a:cubicBezTo>
                      <a:pt x="13" y="1"/>
                      <a:pt x="16" y="2"/>
                      <a:pt x="19" y="3"/>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16">
                <a:extLst>
                  <a:ext uri="{FF2B5EF4-FFF2-40B4-BE49-F238E27FC236}">
                    <a16:creationId xmlns:a16="http://schemas.microsoft.com/office/drawing/2014/main" id="{4774EA4C-F17E-45A2-B9F8-D880C13B9ADC}"/>
                  </a:ext>
                </a:extLst>
              </p:cNvPr>
              <p:cNvSpPr>
                <a:spLocks/>
              </p:cNvSpPr>
              <p:nvPr/>
            </p:nvSpPr>
            <p:spPr bwMode="auto">
              <a:xfrm>
                <a:off x="1191" y="3890"/>
                <a:ext cx="188" cy="190"/>
              </a:xfrm>
              <a:custGeom>
                <a:avLst/>
                <a:gdLst>
                  <a:gd name="T0" fmla="*/ 96 w 96"/>
                  <a:gd name="T1" fmla="*/ 89 h 97"/>
                  <a:gd name="T2" fmla="*/ 94 w 96"/>
                  <a:gd name="T3" fmla="*/ 97 h 97"/>
                  <a:gd name="T4" fmla="*/ 11 w 96"/>
                  <a:gd name="T5" fmla="*/ 97 h 97"/>
                  <a:gd name="T6" fmla="*/ 8 w 96"/>
                  <a:gd name="T7" fmla="*/ 89 h 97"/>
                  <a:gd name="T8" fmla="*/ 68 w 96"/>
                  <a:gd name="T9" fmla="*/ 0 h 97"/>
                  <a:gd name="T10" fmla="*/ 73 w 96"/>
                  <a:gd name="T11" fmla="*/ 24 h 97"/>
                  <a:gd name="T12" fmla="*/ 86 w 96"/>
                  <a:gd name="T13" fmla="*/ 69 h 97"/>
                  <a:gd name="T14" fmla="*/ 96 w 96"/>
                  <a:gd name="T15" fmla="*/ 89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97">
                    <a:moveTo>
                      <a:pt x="96" y="89"/>
                    </a:moveTo>
                    <a:cubicBezTo>
                      <a:pt x="96" y="94"/>
                      <a:pt x="94" y="97"/>
                      <a:pt x="94" y="97"/>
                    </a:cubicBezTo>
                    <a:cubicBezTo>
                      <a:pt x="11" y="97"/>
                      <a:pt x="11" y="97"/>
                      <a:pt x="11" y="97"/>
                    </a:cubicBezTo>
                    <a:cubicBezTo>
                      <a:pt x="10" y="94"/>
                      <a:pt x="9" y="92"/>
                      <a:pt x="8" y="89"/>
                    </a:cubicBezTo>
                    <a:cubicBezTo>
                      <a:pt x="0" y="49"/>
                      <a:pt x="68" y="0"/>
                      <a:pt x="68" y="0"/>
                    </a:cubicBezTo>
                    <a:cubicBezTo>
                      <a:pt x="73" y="24"/>
                      <a:pt x="73" y="24"/>
                      <a:pt x="73" y="24"/>
                    </a:cubicBezTo>
                    <a:cubicBezTo>
                      <a:pt x="73" y="24"/>
                      <a:pt x="71" y="62"/>
                      <a:pt x="86" y="69"/>
                    </a:cubicBezTo>
                    <a:cubicBezTo>
                      <a:pt x="95" y="74"/>
                      <a:pt x="96" y="83"/>
                      <a:pt x="96" y="89"/>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17">
                <a:extLst>
                  <a:ext uri="{FF2B5EF4-FFF2-40B4-BE49-F238E27FC236}">
                    <a16:creationId xmlns:a16="http://schemas.microsoft.com/office/drawing/2014/main" id="{F3507439-2EFB-4AF0-98C8-687B1CA5B4D8}"/>
                  </a:ext>
                </a:extLst>
              </p:cNvPr>
              <p:cNvSpPr>
                <a:spLocks/>
              </p:cNvSpPr>
              <p:nvPr/>
            </p:nvSpPr>
            <p:spPr bwMode="auto">
              <a:xfrm>
                <a:off x="1206" y="4064"/>
                <a:ext cx="173" cy="16"/>
              </a:xfrm>
              <a:custGeom>
                <a:avLst/>
                <a:gdLst>
                  <a:gd name="T0" fmla="*/ 0 w 88"/>
                  <a:gd name="T1" fmla="*/ 0 h 8"/>
                  <a:gd name="T2" fmla="*/ 88 w 88"/>
                  <a:gd name="T3" fmla="*/ 0 h 8"/>
                  <a:gd name="T4" fmla="*/ 86 w 88"/>
                  <a:gd name="T5" fmla="*/ 8 h 8"/>
                  <a:gd name="T6" fmla="*/ 3 w 88"/>
                  <a:gd name="T7" fmla="*/ 8 h 8"/>
                  <a:gd name="T8" fmla="*/ 0 w 88"/>
                  <a:gd name="T9" fmla="*/ 0 h 8"/>
                </a:gdLst>
                <a:ahLst/>
                <a:cxnLst>
                  <a:cxn ang="0">
                    <a:pos x="T0" y="T1"/>
                  </a:cxn>
                  <a:cxn ang="0">
                    <a:pos x="T2" y="T3"/>
                  </a:cxn>
                  <a:cxn ang="0">
                    <a:pos x="T4" y="T5"/>
                  </a:cxn>
                  <a:cxn ang="0">
                    <a:pos x="T6" y="T7"/>
                  </a:cxn>
                  <a:cxn ang="0">
                    <a:pos x="T8" y="T9"/>
                  </a:cxn>
                </a:cxnLst>
                <a:rect l="0" t="0" r="r" b="b"/>
                <a:pathLst>
                  <a:path w="88" h="8">
                    <a:moveTo>
                      <a:pt x="0" y="0"/>
                    </a:moveTo>
                    <a:cubicBezTo>
                      <a:pt x="88" y="0"/>
                      <a:pt x="88" y="0"/>
                      <a:pt x="88" y="0"/>
                    </a:cubicBezTo>
                    <a:cubicBezTo>
                      <a:pt x="88" y="5"/>
                      <a:pt x="86" y="8"/>
                      <a:pt x="86" y="8"/>
                    </a:cubicBezTo>
                    <a:cubicBezTo>
                      <a:pt x="3" y="8"/>
                      <a:pt x="3" y="8"/>
                      <a:pt x="3" y="8"/>
                    </a:cubicBezTo>
                    <a:cubicBezTo>
                      <a:pt x="2" y="5"/>
                      <a:pt x="1" y="3"/>
                      <a:pt x="0" y="0"/>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18">
                <a:extLst>
                  <a:ext uri="{FF2B5EF4-FFF2-40B4-BE49-F238E27FC236}">
                    <a16:creationId xmlns:a16="http://schemas.microsoft.com/office/drawing/2014/main" id="{C9065ABF-79A2-4A84-8C58-FC7273C153D5}"/>
                  </a:ext>
                </a:extLst>
              </p:cNvPr>
              <p:cNvSpPr>
                <a:spLocks/>
              </p:cNvSpPr>
              <p:nvPr/>
            </p:nvSpPr>
            <p:spPr bwMode="auto">
              <a:xfrm>
                <a:off x="1251" y="3984"/>
                <a:ext cx="102" cy="41"/>
              </a:xfrm>
              <a:custGeom>
                <a:avLst/>
                <a:gdLst>
                  <a:gd name="T0" fmla="*/ 52 w 52"/>
                  <a:gd name="T1" fmla="*/ 18 h 21"/>
                  <a:gd name="T2" fmla="*/ 0 w 52"/>
                  <a:gd name="T3" fmla="*/ 21 h 21"/>
                  <a:gd name="T4" fmla="*/ 0 w 52"/>
                  <a:gd name="T5" fmla="*/ 15 h 21"/>
                  <a:gd name="T6" fmla="*/ 52 w 52"/>
                  <a:gd name="T7" fmla="*/ 18 h 21"/>
                </a:gdLst>
                <a:ahLst/>
                <a:cxnLst>
                  <a:cxn ang="0">
                    <a:pos x="T0" y="T1"/>
                  </a:cxn>
                  <a:cxn ang="0">
                    <a:pos x="T2" y="T3"/>
                  </a:cxn>
                  <a:cxn ang="0">
                    <a:pos x="T4" y="T5"/>
                  </a:cxn>
                  <a:cxn ang="0">
                    <a:pos x="T6" y="T7"/>
                  </a:cxn>
                </a:cxnLst>
                <a:rect l="0" t="0" r="r" b="b"/>
                <a:pathLst>
                  <a:path w="52" h="21">
                    <a:moveTo>
                      <a:pt x="52" y="18"/>
                    </a:moveTo>
                    <a:cubicBezTo>
                      <a:pt x="52" y="18"/>
                      <a:pt x="16" y="10"/>
                      <a:pt x="0" y="21"/>
                    </a:cubicBezTo>
                    <a:cubicBezTo>
                      <a:pt x="0" y="15"/>
                      <a:pt x="0" y="15"/>
                      <a:pt x="0" y="15"/>
                    </a:cubicBezTo>
                    <a:cubicBezTo>
                      <a:pt x="0" y="15"/>
                      <a:pt x="30" y="0"/>
                      <a:pt x="52" y="18"/>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19">
                <a:extLst>
                  <a:ext uri="{FF2B5EF4-FFF2-40B4-BE49-F238E27FC236}">
                    <a16:creationId xmlns:a16="http://schemas.microsoft.com/office/drawing/2014/main" id="{47B76C91-DBEE-4CDD-86D3-EA73C0AE641B}"/>
                  </a:ext>
                </a:extLst>
              </p:cNvPr>
              <p:cNvSpPr>
                <a:spLocks/>
              </p:cNvSpPr>
              <p:nvPr/>
            </p:nvSpPr>
            <p:spPr bwMode="auto">
              <a:xfrm>
                <a:off x="1251" y="3972"/>
                <a:ext cx="89" cy="30"/>
              </a:xfrm>
              <a:custGeom>
                <a:avLst/>
                <a:gdLst>
                  <a:gd name="T0" fmla="*/ 45 w 45"/>
                  <a:gd name="T1" fmla="*/ 15 h 15"/>
                  <a:gd name="T2" fmla="*/ 0 w 45"/>
                  <a:gd name="T3" fmla="*/ 15 h 15"/>
                  <a:gd name="T4" fmla="*/ 3 w 45"/>
                  <a:gd name="T5" fmla="*/ 10 h 15"/>
                  <a:gd name="T6" fmla="*/ 45 w 45"/>
                  <a:gd name="T7" fmla="*/ 15 h 15"/>
                </a:gdLst>
                <a:ahLst/>
                <a:cxnLst>
                  <a:cxn ang="0">
                    <a:pos x="T0" y="T1"/>
                  </a:cxn>
                  <a:cxn ang="0">
                    <a:pos x="T2" y="T3"/>
                  </a:cxn>
                  <a:cxn ang="0">
                    <a:pos x="T4" y="T5"/>
                  </a:cxn>
                  <a:cxn ang="0">
                    <a:pos x="T6" y="T7"/>
                  </a:cxn>
                </a:cxnLst>
                <a:rect l="0" t="0" r="r" b="b"/>
                <a:pathLst>
                  <a:path w="45" h="15">
                    <a:moveTo>
                      <a:pt x="45" y="15"/>
                    </a:moveTo>
                    <a:cubicBezTo>
                      <a:pt x="45" y="15"/>
                      <a:pt x="22" y="5"/>
                      <a:pt x="0" y="15"/>
                    </a:cubicBezTo>
                    <a:cubicBezTo>
                      <a:pt x="3" y="10"/>
                      <a:pt x="3" y="10"/>
                      <a:pt x="3" y="10"/>
                    </a:cubicBezTo>
                    <a:cubicBezTo>
                      <a:pt x="3" y="10"/>
                      <a:pt x="29" y="0"/>
                      <a:pt x="45" y="15"/>
                    </a:cubicBezTo>
                    <a:close/>
                  </a:path>
                </a:pathLst>
              </a:custGeom>
              <a:solidFill>
                <a:srgbClr val="AD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20">
                <a:extLst>
                  <a:ext uri="{FF2B5EF4-FFF2-40B4-BE49-F238E27FC236}">
                    <a16:creationId xmlns:a16="http://schemas.microsoft.com/office/drawing/2014/main" id="{420B587D-47B2-4288-AB29-E249B77C9EA4}"/>
                  </a:ext>
                </a:extLst>
              </p:cNvPr>
              <p:cNvSpPr>
                <a:spLocks/>
              </p:cNvSpPr>
              <p:nvPr/>
            </p:nvSpPr>
            <p:spPr bwMode="auto">
              <a:xfrm>
                <a:off x="1202" y="2792"/>
                <a:ext cx="510" cy="1233"/>
              </a:xfrm>
              <a:custGeom>
                <a:avLst/>
                <a:gdLst>
                  <a:gd name="T0" fmla="*/ 46 w 260"/>
                  <a:gd name="T1" fmla="*/ 0 h 628"/>
                  <a:gd name="T2" fmla="*/ 18 w 260"/>
                  <a:gd name="T3" fmla="*/ 388 h 628"/>
                  <a:gd name="T4" fmla="*/ 8 w 260"/>
                  <a:gd name="T5" fmla="*/ 537 h 628"/>
                  <a:gd name="T6" fmla="*/ 2 w 260"/>
                  <a:gd name="T7" fmla="*/ 622 h 628"/>
                  <a:gd name="T8" fmla="*/ 70 w 260"/>
                  <a:gd name="T9" fmla="*/ 613 h 628"/>
                  <a:gd name="T10" fmla="*/ 81 w 260"/>
                  <a:gd name="T11" fmla="*/ 577 h 628"/>
                  <a:gd name="T12" fmla="*/ 73 w 260"/>
                  <a:gd name="T13" fmla="*/ 549 h 628"/>
                  <a:gd name="T14" fmla="*/ 87 w 260"/>
                  <a:gd name="T15" fmla="*/ 508 h 628"/>
                  <a:gd name="T16" fmla="*/ 150 w 260"/>
                  <a:gd name="T17" fmla="*/ 106 h 628"/>
                  <a:gd name="T18" fmla="*/ 158 w 260"/>
                  <a:gd name="T19" fmla="*/ 104 h 628"/>
                  <a:gd name="T20" fmla="*/ 155 w 260"/>
                  <a:gd name="T21" fmla="*/ 549 h 628"/>
                  <a:gd name="T22" fmla="*/ 155 w 260"/>
                  <a:gd name="T23" fmla="*/ 575 h 628"/>
                  <a:gd name="T24" fmla="*/ 163 w 260"/>
                  <a:gd name="T25" fmla="*/ 628 h 628"/>
                  <a:gd name="T26" fmla="*/ 237 w 260"/>
                  <a:gd name="T27" fmla="*/ 607 h 628"/>
                  <a:gd name="T28" fmla="*/ 227 w 260"/>
                  <a:gd name="T29" fmla="*/ 577 h 628"/>
                  <a:gd name="T30" fmla="*/ 233 w 260"/>
                  <a:gd name="T31" fmla="*/ 540 h 628"/>
                  <a:gd name="T32" fmla="*/ 231 w 260"/>
                  <a:gd name="T33" fmla="*/ 489 h 628"/>
                  <a:gd name="T34" fmla="*/ 260 w 260"/>
                  <a:gd name="T35" fmla="*/ 8 h 628"/>
                  <a:gd name="T36" fmla="*/ 46 w 260"/>
                  <a:gd name="T37"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628">
                    <a:moveTo>
                      <a:pt x="46" y="0"/>
                    </a:moveTo>
                    <a:cubicBezTo>
                      <a:pt x="46" y="80"/>
                      <a:pt x="20" y="367"/>
                      <a:pt x="18" y="388"/>
                    </a:cubicBezTo>
                    <a:cubicBezTo>
                      <a:pt x="12" y="427"/>
                      <a:pt x="15" y="495"/>
                      <a:pt x="8" y="537"/>
                    </a:cubicBezTo>
                    <a:cubicBezTo>
                      <a:pt x="0" y="582"/>
                      <a:pt x="2" y="622"/>
                      <a:pt x="2" y="622"/>
                    </a:cubicBezTo>
                    <a:cubicBezTo>
                      <a:pt x="2" y="622"/>
                      <a:pt x="46" y="587"/>
                      <a:pt x="70" y="613"/>
                    </a:cubicBezTo>
                    <a:cubicBezTo>
                      <a:pt x="81" y="577"/>
                      <a:pt x="81" y="577"/>
                      <a:pt x="81" y="577"/>
                    </a:cubicBezTo>
                    <a:cubicBezTo>
                      <a:pt x="73" y="549"/>
                      <a:pt x="73" y="549"/>
                      <a:pt x="73" y="549"/>
                    </a:cubicBezTo>
                    <a:cubicBezTo>
                      <a:pt x="87" y="508"/>
                      <a:pt x="87" y="508"/>
                      <a:pt x="87" y="508"/>
                    </a:cubicBezTo>
                    <a:cubicBezTo>
                      <a:pt x="77" y="490"/>
                      <a:pt x="150" y="106"/>
                      <a:pt x="150" y="106"/>
                    </a:cubicBezTo>
                    <a:cubicBezTo>
                      <a:pt x="158" y="104"/>
                      <a:pt x="158" y="104"/>
                      <a:pt x="158" y="104"/>
                    </a:cubicBezTo>
                    <a:cubicBezTo>
                      <a:pt x="155" y="549"/>
                      <a:pt x="155" y="549"/>
                      <a:pt x="155" y="549"/>
                    </a:cubicBezTo>
                    <a:cubicBezTo>
                      <a:pt x="155" y="575"/>
                      <a:pt x="155" y="575"/>
                      <a:pt x="155" y="575"/>
                    </a:cubicBezTo>
                    <a:cubicBezTo>
                      <a:pt x="155" y="575"/>
                      <a:pt x="163" y="607"/>
                      <a:pt x="163" y="628"/>
                    </a:cubicBezTo>
                    <a:cubicBezTo>
                      <a:pt x="237" y="607"/>
                      <a:pt x="237" y="607"/>
                      <a:pt x="237" y="607"/>
                    </a:cubicBezTo>
                    <a:cubicBezTo>
                      <a:pt x="227" y="577"/>
                      <a:pt x="227" y="577"/>
                      <a:pt x="227" y="577"/>
                    </a:cubicBezTo>
                    <a:cubicBezTo>
                      <a:pt x="233" y="540"/>
                      <a:pt x="233" y="540"/>
                      <a:pt x="233" y="540"/>
                    </a:cubicBezTo>
                    <a:cubicBezTo>
                      <a:pt x="231" y="489"/>
                      <a:pt x="231" y="489"/>
                      <a:pt x="231" y="489"/>
                    </a:cubicBezTo>
                    <a:cubicBezTo>
                      <a:pt x="231" y="489"/>
                      <a:pt x="255" y="56"/>
                      <a:pt x="260" y="8"/>
                    </a:cubicBezTo>
                    <a:lnTo>
                      <a:pt x="46" y="0"/>
                    </a:ln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21">
                <a:extLst>
                  <a:ext uri="{FF2B5EF4-FFF2-40B4-BE49-F238E27FC236}">
                    <a16:creationId xmlns:a16="http://schemas.microsoft.com/office/drawing/2014/main" id="{20AF7B7D-5F0A-461C-AFCA-A7F38B332232}"/>
                  </a:ext>
                </a:extLst>
              </p:cNvPr>
              <p:cNvSpPr>
                <a:spLocks/>
              </p:cNvSpPr>
              <p:nvPr/>
            </p:nvSpPr>
            <p:spPr bwMode="auto">
              <a:xfrm>
                <a:off x="1242" y="2093"/>
                <a:ext cx="506" cy="774"/>
              </a:xfrm>
              <a:custGeom>
                <a:avLst/>
                <a:gdLst>
                  <a:gd name="T0" fmla="*/ 23 w 258"/>
                  <a:gd name="T1" fmla="*/ 376 h 394"/>
                  <a:gd name="T2" fmla="*/ 142 w 258"/>
                  <a:gd name="T3" fmla="*/ 392 h 394"/>
                  <a:gd name="T4" fmla="*/ 240 w 258"/>
                  <a:gd name="T5" fmla="*/ 372 h 394"/>
                  <a:gd name="T6" fmla="*/ 238 w 258"/>
                  <a:gd name="T7" fmla="*/ 29 h 394"/>
                  <a:gd name="T8" fmla="*/ 158 w 258"/>
                  <a:gd name="T9" fmla="*/ 1 h 394"/>
                  <a:gd name="T10" fmla="*/ 113 w 258"/>
                  <a:gd name="T11" fmla="*/ 1 h 394"/>
                  <a:gd name="T12" fmla="*/ 80 w 258"/>
                  <a:gd name="T13" fmla="*/ 6 h 394"/>
                  <a:gd name="T14" fmla="*/ 5 w 258"/>
                  <a:gd name="T15" fmla="*/ 66 h 394"/>
                  <a:gd name="T16" fmla="*/ 23 w 258"/>
                  <a:gd name="T17" fmla="*/ 37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394">
                    <a:moveTo>
                      <a:pt x="23" y="376"/>
                    </a:moveTo>
                    <a:cubicBezTo>
                      <a:pt x="23" y="376"/>
                      <a:pt x="43" y="394"/>
                      <a:pt x="142" y="392"/>
                    </a:cubicBezTo>
                    <a:cubicBezTo>
                      <a:pt x="219" y="390"/>
                      <a:pt x="240" y="372"/>
                      <a:pt x="240" y="372"/>
                    </a:cubicBezTo>
                    <a:cubicBezTo>
                      <a:pt x="240" y="372"/>
                      <a:pt x="258" y="55"/>
                      <a:pt x="238" y="29"/>
                    </a:cubicBezTo>
                    <a:cubicBezTo>
                      <a:pt x="224" y="11"/>
                      <a:pt x="195" y="3"/>
                      <a:pt x="158" y="1"/>
                    </a:cubicBezTo>
                    <a:cubicBezTo>
                      <a:pt x="145" y="0"/>
                      <a:pt x="129" y="0"/>
                      <a:pt x="113" y="1"/>
                    </a:cubicBezTo>
                    <a:cubicBezTo>
                      <a:pt x="102" y="2"/>
                      <a:pt x="90" y="3"/>
                      <a:pt x="80" y="6"/>
                    </a:cubicBezTo>
                    <a:cubicBezTo>
                      <a:pt x="39" y="18"/>
                      <a:pt x="10" y="45"/>
                      <a:pt x="5" y="66"/>
                    </a:cubicBezTo>
                    <a:cubicBezTo>
                      <a:pt x="0" y="93"/>
                      <a:pt x="23" y="376"/>
                      <a:pt x="23" y="376"/>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22">
                <a:extLst>
                  <a:ext uri="{FF2B5EF4-FFF2-40B4-BE49-F238E27FC236}">
                    <a16:creationId xmlns:a16="http://schemas.microsoft.com/office/drawing/2014/main" id="{C66AEB89-2935-4F06-89B8-22AD54775648}"/>
                  </a:ext>
                </a:extLst>
              </p:cNvPr>
              <p:cNvSpPr>
                <a:spLocks/>
              </p:cNvSpPr>
              <p:nvPr/>
            </p:nvSpPr>
            <p:spPr bwMode="auto">
              <a:xfrm>
                <a:off x="1571" y="2097"/>
                <a:ext cx="212" cy="642"/>
              </a:xfrm>
              <a:custGeom>
                <a:avLst/>
                <a:gdLst>
                  <a:gd name="T0" fmla="*/ 96 w 108"/>
                  <a:gd name="T1" fmla="*/ 220 h 327"/>
                  <a:gd name="T2" fmla="*/ 92 w 108"/>
                  <a:gd name="T3" fmla="*/ 311 h 327"/>
                  <a:gd name="T4" fmla="*/ 42 w 108"/>
                  <a:gd name="T5" fmla="*/ 320 h 327"/>
                  <a:gd name="T6" fmla="*/ 37 w 108"/>
                  <a:gd name="T7" fmla="*/ 113 h 327"/>
                  <a:gd name="T8" fmla="*/ 0 w 108"/>
                  <a:gd name="T9" fmla="*/ 0 h 327"/>
                  <a:gd name="T10" fmla="*/ 84 w 108"/>
                  <a:gd name="T11" fmla="*/ 43 h 327"/>
                  <a:gd name="T12" fmla="*/ 87 w 108"/>
                  <a:gd name="T13" fmla="*/ 103 h 327"/>
                  <a:gd name="T14" fmla="*/ 84 w 108"/>
                  <a:gd name="T15" fmla="*/ 113 h 327"/>
                  <a:gd name="T16" fmla="*/ 85 w 108"/>
                  <a:gd name="T17" fmla="*/ 113 h 327"/>
                  <a:gd name="T18" fmla="*/ 101 w 108"/>
                  <a:gd name="T19" fmla="*/ 146 h 327"/>
                  <a:gd name="T20" fmla="*/ 92 w 108"/>
                  <a:gd name="T21" fmla="*/ 213 h 327"/>
                  <a:gd name="T22" fmla="*/ 96 w 108"/>
                  <a:gd name="T23" fmla="*/ 22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327">
                    <a:moveTo>
                      <a:pt x="96" y="220"/>
                    </a:moveTo>
                    <a:cubicBezTo>
                      <a:pt x="105" y="242"/>
                      <a:pt x="100" y="296"/>
                      <a:pt x="92" y="311"/>
                    </a:cubicBezTo>
                    <a:cubicBezTo>
                      <a:pt x="83" y="327"/>
                      <a:pt x="42" y="320"/>
                      <a:pt x="42" y="320"/>
                    </a:cubicBezTo>
                    <a:cubicBezTo>
                      <a:pt x="42" y="320"/>
                      <a:pt x="43" y="182"/>
                      <a:pt x="37" y="113"/>
                    </a:cubicBezTo>
                    <a:cubicBezTo>
                      <a:pt x="30" y="43"/>
                      <a:pt x="0" y="0"/>
                      <a:pt x="0" y="0"/>
                    </a:cubicBezTo>
                    <a:cubicBezTo>
                      <a:pt x="0" y="0"/>
                      <a:pt x="73" y="2"/>
                      <a:pt x="84" y="43"/>
                    </a:cubicBezTo>
                    <a:cubicBezTo>
                      <a:pt x="91" y="70"/>
                      <a:pt x="89" y="91"/>
                      <a:pt x="87" y="103"/>
                    </a:cubicBezTo>
                    <a:cubicBezTo>
                      <a:pt x="86" y="109"/>
                      <a:pt x="84" y="113"/>
                      <a:pt x="84" y="113"/>
                    </a:cubicBezTo>
                    <a:cubicBezTo>
                      <a:pt x="84" y="113"/>
                      <a:pt x="85" y="113"/>
                      <a:pt x="85" y="113"/>
                    </a:cubicBezTo>
                    <a:cubicBezTo>
                      <a:pt x="87" y="113"/>
                      <a:pt x="95" y="117"/>
                      <a:pt x="101" y="146"/>
                    </a:cubicBezTo>
                    <a:cubicBezTo>
                      <a:pt x="108" y="180"/>
                      <a:pt x="92" y="213"/>
                      <a:pt x="92" y="213"/>
                    </a:cubicBezTo>
                    <a:cubicBezTo>
                      <a:pt x="94" y="214"/>
                      <a:pt x="95" y="217"/>
                      <a:pt x="96" y="220"/>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23">
                <a:extLst>
                  <a:ext uri="{FF2B5EF4-FFF2-40B4-BE49-F238E27FC236}">
                    <a16:creationId xmlns:a16="http://schemas.microsoft.com/office/drawing/2014/main" id="{C22CF53E-4782-41B8-B16D-C45F1D4863B4}"/>
                  </a:ext>
                </a:extLst>
              </p:cNvPr>
              <p:cNvSpPr>
                <a:spLocks/>
              </p:cNvSpPr>
              <p:nvPr/>
            </p:nvSpPr>
            <p:spPr bwMode="auto">
              <a:xfrm>
                <a:off x="1559" y="2057"/>
                <a:ext cx="92" cy="167"/>
              </a:xfrm>
              <a:custGeom>
                <a:avLst/>
                <a:gdLst>
                  <a:gd name="T0" fmla="*/ 34 w 47"/>
                  <a:gd name="T1" fmla="*/ 85 h 85"/>
                  <a:gd name="T2" fmla="*/ 32 w 47"/>
                  <a:gd name="T3" fmla="*/ 23 h 85"/>
                  <a:gd name="T4" fmla="*/ 0 w 47"/>
                  <a:gd name="T5" fmla="*/ 0 h 85"/>
                  <a:gd name="T6" fmla="*/ 23 w 47"/>
                  <a:gd name="T7" fmla="*/ 32 h 85"/>
                  <a:gd name="T8" fmla="*/ 34 w 47"/>
                  <a:gd name="T9" fmla="*/ 85 h 85"/>
                </a:gdLst>
                <a:ahLst/>
                <a:cxnLst>
                  <a:cxn ang="0">
                    <a:pos x="T0" y="T1"/>
                  </a:cxn>
                  <a:cxn ang="0">
                    <a:pos x="T2" y="T3"/>
                  </a:cxn>
                  <a:cxn ang="0">
                    <a:pos x="T4" y="T5"/>
                  </a:cxn>
                  <a:cxn ang="0">
                    <a:pos x="T6" y="T7"/>
                  </a:cxn>
                  <a:cxn ang="0">
                    <a:pos x="T8" y="T9"/>
                  </a:cxn>
                </a:cxnLst>
                <a:rect l="0" t="0" r="r" b="b"/>
                <a:pathLst>
                  <a:path w="47" h="85">
                    <a:moveTo>
                      <a:pt x="34" y="85"/>
                    </a:moveTo>
                    <a:cubicBezTo>
                      <a:pt x="34" y="85"/>
                      <a:pt x="47" y="43"/>
                      <a:pt x="32" y="23"/>
                    </a:cubicBezTo>
                    <a:cubicBezTo>
                      <a:pt x="17" y="3"/>
                      <a:pt x="0" y="0"/>
                      <a:pt x="0" y="0"/>
                    </a:cubicBezTo>
                    <a:cubicBezTo>
                      <a:pt x="0" y="0"/>
                      <a:pt x="21" y="19"/>
                      <a:pt x="23" y="32"/>
                    </a:cubicBezTo>
                    <a:cubicBezTo>
                      <a:pt x="26" y="44"/>
                      <a:pt x="34" y="85"/>
                      <a:pt x="34" y="85"/>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4">
                <a:extLst>
                  <a:ext uri="{FF2B5EF4-FFF2-40B4-BE49-F238E27FC236}">
                    <a16:creationId xmlns:a16="http://schemas.microsoft.com/office/drawing/2014/main" id="{8DED56AD-20CB-4E47-8905-AC8C90D11FBE}"/>
                  </a:ext>
                </a:extLst>
              </p:cNvPr>
              <p:cNvSpPr>
                <a:spLocks/>
              </p:cNvSpPr>
              <p:nvPr/>
            </p:nvSpPr>
            <p:spPr bwMode="auto">
              <a:xfrm>
                <a:off x="1359" y="2024"/>
                <a:ext cx="279" cy="183"/>
              </a:xfrm>
              <a:custGeom>
                <a:avLst/>
                <a:gdLst>
                  <a:gd name="T0" fmla="*/ 102 w 142"/>
                  <a:gd name="T1" fmla="*/ 17 h 93"/>
                  <a:gd name="T2" fmla="*/ 2 w 142"/>
                  <a:gd name="T3" fmla="*/ 11 h 93"/>
                  <a:gd name="T4" fmla="*/ 9 w 142"/>
                  <a:gd name="T5" fmla="*/ 41 h 93"/>
                  <a:gd name="T6" fmla="*/ 134 w 142"/>
                  <a:gd name="T7" fmla="*/ 93 h 93"/>
                  <a:gd name="T8" fmla="*/ 102 w 142"/>
                  <a:gd name="T9" fmla="*/ 17 h 93"/>
                </a:gdLst>
                <a:ahLst/>
                <a:cxnLst>
                  <a:cxn ang="0">
                    <a:pos x="T0" y="T1"/>
                  </a:cxn>
                  <a:cxn ang="0">
                    <a:pos x="T2" y="T3"/>
                  </a:cxn>
                  <a:cxn ang="0">
                    <a:pos x="T4" y="T5"/>
                  </a:cxn>
                  <a:cxn ang="0">
                    <a:pos x="T6" y="T7"/>
                  </a:cxn>
                  <a:cxn ang="0">
                    <a:pos x="T8" y="T9"/>
                  </a:cxn>
                </a:cxnLst>
                <a:rect l="0" t="0" r="r" b="b"/>
                <a:pathLst>
                  <a:path w="142" h="93">
                    <a:moveTo>
                      <a:pt x="102" y="17"/>
                    </a:moveTo>
                    <a:cubicBezTo>
                      <a:pt x="81" y="10"/>
                      <a:pt x="29" y="0"/>
                      <a:pt x="2" y="11"/>
                    </a:cubicBezTo>
                    <a:cubicBezTo>
                      <a:pt x="2" y="11"/>
                      <a:pt x="0" y="34"/>
                      <a:pt x="9" y="41"/>
                    </a:cubicBezTo>
                    <a:cubicBezTo>
                      <a:pt x="19" y="49"/>
                      <a:pt x="108" y="4"/>
                      <a:pt x="134" y="93"/>
                    </a:cubicBezTo>
                    <a:cubicBezTo>
                      <a:pt x="134" y="93"/>
                      <a:pt x="142" y="29"/>
                      <a:pt x="102" y="17"/>
                    </a:cubicBezTo>
                    <a:close/>
                  </a:path>
                </a:pathLst>
              </a:custGeom>
              <a:solidFill>
                <a:srgbClr val="B72E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5">
                <a:extLst>
                  <a:ext uri="{FF2B5EF4-FFF2-40B4-BE49-F238E27FC236}">
                    <a16:creationId xmlns:a16="http://schemas.microsoft.com/office/drawing/2014/main" id="{8BB5BC76-BB9A-45F9-B1D7-8FD216B1E1EB}"/>
                  </a:ext>
                </a:extLst>
              </p:cNvPr>
              <p:cNvSpPr>
                <a:spLocks/>
              </p:cNvSpPr>
              <p:nvPr/>
            </p:nvSpPr>
            <p:spPr bwMode="auto">
              <a:xfrm>
                <a:off x="1212" y="2105"/>
                <a:ext cx="263" cy="665"/>
              </a:xfrm>
              <a:custGeom>
                <a:avLst/>
                <a:gdLst>
                  <a:gd name="T0" fmla="*/ 134 w 134"/>
                  <a:gd name="T1" fmla="*/ 180 h 339"/>
                  <a:gd name="T2" fmla="*/ 120 w 134"/>
                  <a:gd name="T3" fmla="*/ 328 h 339"/>
                  <a:gd name="T4" fmla="*/ 20 w 134"/>
                  <a:gd name="T5" fmla="*/ 322 h 339"/>
                  <a:gd name="T6" fmla="*/ 20 w 134"/>
                  <a:gd name="T7" fmla="*/ 252 h 339"/>
                  <a:gd name="T8" fmla="*/ 13 w 134"/>
                  <a:gd name="T9" fmla="*/ 231 h 339"/>
                  <a:gd name="T10" fmla="*/ 13 w 134"/>
                  <a:gd name="T11" fmla="*/ 231 h 339"/>
                  <a:gd name="T12" fmla="*/ 8 w 134"/>
                  <a:gd name="T13" fmla="*/ 213 h 339"/>
                  <a:gd name="T14" fmla="*/ 5 w 134"/>
                  <a:gd name="T15" fmla="*/ 192 h 339"/>
                  <a:gd name="T16" fmla="*/ 11 w 134"/>
                  <a:gd name="T17" fmla="*/ 151 h 339"/>
                  <a:gd name="T18" fmla="*/ 16 w 134"/>
                  <a:gd name="T19" fmla="*/ 142 h 339"/>
                  <a:gd name="T20" fmla="*/ 7 w 134"/>
                  <a:gd name="T21" fmla="*/ 45 h 339"/>
                  <a:gd name="T22" fmla="*/ 16 w 134"/>
                  <a:gd name="T23" fmla="*/ 28 h 339"/>
                  <a:gd name="T24" fmla="*/ 87 w 134"/>
                  <a:gd name="T25" fmla="*/ 0 h 339"/>
                  <a:gd name="T26" fmla="*/ 131 w 134"/>
                  <a:gd name="T27" fmla="*/ 112 h 339"/>
                  <a:gd name="T28" fmla="*/ 131 w 134"/>
                  <a:gd name="T29" fmla="*/ 112 h 339"/>
                  <a:gd name="T30" fmla="*/ 134 w 134"/>
                  <a:gd name="T31" fmla="*/ 18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339">
                    <a:moveTo>
                      <a:pt x="134" y="180"/>
                    </a:moveTo>
                    <a:cubicBezTo>
                      <a:pt x="133" y="295"/>
                      <a:pt x="120" y="328"/>
                      <a:pt x="120" y="328"/>
                    </a:cubicBezTo>
                    <a:cubicBezTo>
                      <a:pt x="120" y="328"/>
                      <a:pt x="35" y="339"/>
                      <a:pt x="20" y="322"/>
                    </a:cubicBezTo>
                    <a:cubicBezTo>
                      <a:pt x="4" y="305"/>
                      <a:pt x="20" y="252"/>
                      <a:pt x="20" y="252"/>
                    </a:cubicBezTo>
                    <a:cubicBezTo>
                      <a:pt x="20" y="252"/>
                      <a:pt x="16" y="243"/>
                      <a:pt x="13" y="231"/>
                    </a:cubicBezTo>
                    <a:cubicBezTo>
                      <a:pt x="13" y="231"/>
                      <a:pt x="13" y="231"/>
                      <a:pt x="13" y="231"/>
                    </a:cubicBezTo>
                    <a:cubicBezTo>
                      <a:pt x="11" y="225"/>
                      <a:pt x="9" y="219"/>
                      <a:pt x="8" y="213"/>
                    </a:cubicBezTo>
                    <a:cubicBezTo>
                      <a:pt x="7" y="206"/>
                      <a:pt x="6" y="199"/>
                      <a:pt x="5" y="192"/>
                    </a:cubicBezTo>
                    <a:cubicBezTo>
                      <a:pt x="3" y="173"/>
                      <a:pt x="7" y="159"/>
                      <a:pt x="11" y="151"/>
                    </a:cubicBezTo>
                    <a:cubicBezTo>
                      <a:pt x="14" y="145"/>
                      <a:pt x="16" y="142"/>
                      <a:pt x="16" y="142"/>
                    </a:cubicBezTo>
                    <a:cubicBezTo>
                      <a:pt x="16" y="142"/>
                      <a:pt x="0" y="75"/>
                      <a:pt x="7" y="45"/>
                    </a:cubicBezTo>
                    <a:cubicBezTo>
                      <a:pt x="9" y="39"/>
                      <a:pt x="12" y="33"/>
                      <a:pt x="16" y="28"/>
                    </a:cubicBezTo>
                    <a:cubicBezTo>
                      <a:pt x="37" y="0"/>
                      <a:pt x="87" y="0"/>
                      <a:pt x="87" y="0"/>
                    </a:cubicBezTo>
                    <a:cubicBezTo>
                      <a:pt x="101" y="4"/>
                      <a:pt x="123" y="41"/>
                      <a:pt x="131" y="112"/>
                    </a:cubicBezTo>
                    <a:cubicBezTo>
                      <a:pt x="131" y="112"/>
                      <a:pt x="131" y="112"/>
                      <a:pt x="131" y="112"/>
                    </a:cubicBezTo>
                    <a:cubicBezTo>
                      <a:pt x="133" y="132"/>
                      <a:pt x="134" y="155"/>
                      <a:pt x="134" y="180"/>
                    </a:cubicBezTo>
                    <a:close/>
                  </a:path>
                </a:pathLst>
              </a:custGeom>
              <a:solidFill>
                <a:srgbClr val="F24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6">
                <a:extLst>
                  <a:ext uri="{FF2B5EF4-FFF2-40B4-BE49-F238E27FC236}">
                    <a16:creationId xmlns:a16="http://schemas.microsoft.com/office/drawing/2014/main" id="{D88A20E6-C660-4EDE-948A-693BE9BF3762}"/>
                  </a:ext>
                </a:extLst>
              </p:cNvPr>
              <p:cNvSpPr>
                <a:spLocks/>
              </p:cNvSpPr>
              <p:nvPr/>
            </p:nvSpPr>
            <p:spPr bwMode="auto">
              <a:xfrm>
                <a:off x="1432" y="1983"/>
                <a:ext cx="118" cy="173"/>
              </a:xfrm>
              <a:custGeom>
                <a:avLst/>
                <a:gdLst>
                  <a:gd name="T0" fmla="*/ 60 w 60"/>
                  <a:gd name="T1" fmla="*/ 30 h 88"/>
                  <a:gd name="T2" fmla="*/ 46 w 60"/>
                  <a:gd name="T3" fmla="*/ 81 h 88"/>
                  <a:gd name="T4" fmla="*/ 0 w 60"/>
                  <a:gd name="T5" fmla="*/ 67 h 88"/>
                  <a:gd name="T6" fmla="*/ 2 w 60"/>
                  <a:gd name="T7" fmla="*/ 0 h 88"/>
                  <a:gd name="T8" fmla="*/ 12 w 60"/>
                  <a:gd name="T9" fmla="*/ 1 h 88"/>
                  <a:gd name="T10" fmla="*/ 60 w 60"/>
                  <a:gd name="T11" fmla="*/ 30 h 88"/>
                </a:gdLst>
                <a:ahLst/>
                <a:cxnLst>
                  <a:cxn ang="0">
                    <a:pos x="T0" y="T1"/>
                  </a:cxn>
                  <a:cxn ang="0">
                    <a:pos x="T2" y="T3"/>
                  </a:cxn>
                  <a:cxn ang="0">
                    <a:pos x="T4" y="T5"/>
                  </a:cxn>
                  <a:cxn ang="0">
                    <a:pos x="T6" y="T7"/>
                  </a:cxn>
                  <a:cxn ang="0">
                    <a:pos x="T8" y="T9"/>
                  </a:cxn>
                  <a:cxn ang="0">
                    <a:pos x="T10" y="T11"/>
                  </a:cxn>
                </a:cxnLst>
                <a:rect l="0" t="0" r="r" b="b"/>
                <a:pathLst>
                  <a:path w="60" h="88">
                    <a:moveTo>
                      <a:pt x="60" y="30"/>
                    </a:moveTo>
                    <a:cubicBezTo>
                      <a:pt x="46" y="81"/>
                      <a:pt x="46" y="81"/>
                      <a:pt x="46" y="81"/>
                    </a:cubicBezTo>
                    <a:cubicBezTo>
                      <a:pt x="46" y="81"/>
                      <a:pt x="32" y="88"/>
                      <a:pt x="0" y="67"/>
                    </a:cubicBezTo>
                    <a:cubicBezTo>
                      <a:pt x="0" y="67"/>
                      <a:pt x="17" y="28"/>
                      <a:pt x="2" y="0"/>
                    </a:cubicBezTo>
                    <a:cubicBezTo>
                      <a:pt x="2" y="0"/>
                      <a:pt x="6" y="0"/>
                      <a:pt x="12" y="1"/>
                    </a:cubicBezTo>
                    <a:cubicBezTo>
                      <a:pt x="12" y="1"/>
                      <a:pt x="18" y="32"/>
                      <a:pt x="60" y="3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27">
                <a:extLst>
                  <a:ext uri="{FF2B5EF4-FFF2-40B4-BE49-F238E27FC236}">
                    <a16:creationId xmlns:a16="http://schemas.microsoft.com/office/drawing/2014/main" id="{463719B2-B0E7-4B3B-BD2F-A82301992F64}"/>
                  </a:ext>
                </a:extLst>
              </p:cNvPr>
              <p:cNvSpPr>
                <a:spLocks/>
              </p:cNvSpPr>
              <p:nvPr/>
            </p:nvSpPr>
            <p:spPr bwMode="auto">
              <a:xfrm>
                <a:off x="1432" y="1794"/>
                <a:ext cx="176" cy="273"/>
              </a:xfrm>
              <a:custGeom>
                <a:avLst/>
                <a:gdLst>
                  <a:gd name="T0" fmla="*/ 0 w 90"/>
                  <a:gd name="T1" fmla="*/ 70 h 139"/>
                  <a:gd name="T2" fmla="*/ 73 w 90"/>
                  <a:gd name="T3" fmla="*/ 117 h 139"/>
                  <a:gd name="T4" fmla="*/ 86 w 90"/>
                  <a:gd name="T5" fmla="*/ 82 h 139"/>
                  <a:gd name="T6" fmla="*/ 87 w 90"/>
                  <a:gd name="T7" fmla="*/ 72 h 139"/>
                  <a:gd name="T8" fmla="*/ 75 w 90"/>
                  <a:gd name="T9" fmla="*/ 21 h 139"/>
                  <a:gd name="T10" fmla="*/ 0 w 90"/>
                  <a:gd name="T11" fmla="*/ 70 h 139"/>
                </a:gdLst>
                <a:ahLst/>
                <a:cxnLst>
                  <a:cxn ang="0">
                    <a:pos x="T0" y="T1"/>
                  </a:cxn>
                  <a:cxn ang="0">
                    <a:pos x="T2" y="T3"/>
                  </a:cxn>
                  <a:cxn ang="0">
                    <a:pos x="T4" y="T5"/>
                  </a:cxn>
                  <a:cxn ang="0">
                    <a:pos x="T6" y="T7"/>
                  </a:cxn>
                  <a:cxn ang="0">
                    <a:pos x="T8" y="T9"/>
                  </a:cxn>
                  <a:cxn ang="0">
                    <a:pos x="T10" y="T11"/>
                  </a:cxn>
                </a:cxnLst>
                <a:rect l="0" t="0" r="r" b="b"/>
                <a:pathLst>
                  <a:path w="90" h="139">
                    <a:moveTo>
                      <a:pt x="0" y="70"/>
                    </a:moveTo>
                    <a:cubicBezTo>
                      <a:pt x="0" y="131"/>
                      <a:pt x="58" y="139"/>
                      <a:pt x="73" y="117"/>
                    </a:cubicBezTo>
                    <a:cubicBezTo>
                      <a:pt x="78" y="110"/>
                      <a:pt x="83" y="96"/>
                      <a:pt x="86" y="82"/>
                    </a:cubicBezTo>
                    <a:cubicBezTo>
                      <a:pt x="86" y="79"/>
                      <a:pt x="87" y="76"/>
                      <a:pt x="87" y="72"/>
                    </a:cubicBezTo>
                    <a:cubicBezTo>
                      <a:pt x="90" y="50"/>
                      <a:pt x="88" y="27"/>
                      <a:pt x="75" y="21"/>
                    </a:cubicBezTo>
                    <a:cubicBezTo>
                      <a:pt x="32" y="0"/>
                      <a:pt x="1" y="9"/>
                      <a:pt x="0" y="7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28">
                <a:extLst>
                  <a:ext uri="{FF2B5EF4-FFF2-40B4-BE49-F238E27FC236}">
                    <a16:creationId xmlns:a16="http://schemas.microsoft.com/office/drawing/2014/main" id="{142E1FDE-6F1C-4F6D-ACD8-05B618D0950B}"/>
                  </a:ext>
                </a:extLst>
              </p:cNvPr>
              <p:cNvSpPr>
                <a:spLocks/>
              </p:cNvSpPr>
              <p:nvPr/>
            </p:nvSpPr>
            <p:spPr bwMode="auto">
              <a:xfrm>
                <a:off x="1514" y="1900"/>
                <a:ext cx="16" cy="24"/>
              </a:xfrm>
              <a:custGeom>
                <a:avLst/>
                <a:gdLst>
                  <a:gd name="T0" fmla="*/ 1 w 8"/>
                  <a:gd name="T1" fmla="*/ 5 h 12"/>
                  <a:gd name="T2" fmla="*/ 4 w 8"/>
                  <a:gd name="T3" fmla="*/ 12 h 12"/>
                  <a:gd name="T4" fmla="*/ 8 w 8"/>
                  <a:gd name="T5" fmla="*/ 6 h 12"/>
                  <a:gd name="T6" fmla="*/ 5 w 8"/>
                  <a:gd name="T7" fmla="*/ 0 h 12"/>
                  <a:gd name="T8" fmla="*/ 1 w 8"/>
                  <a:gd name="T9" fmla="*/ 5 h 12"/>
                </a:gdLst>
                <a:ahLst/>
                <a:cxnLst>
                  <a:cxn ang="0">
                    <a:pos x="T0" y="T1"/>
                  </a:cxn>
                  <a:cxn ang="0">
                    <a:pos x="T2" y="T3"/>
                  </a:cxn>
                  <a:cxn ang="0">
                    <a:pos x="T4" y="T5"/>
                  </a:cxn>
                  <a:cxn ang="0">
                    <a:pos x="T6" y="T7"/>
                  </a:cxn>
                  <a:cxn ang="0">
                    <a:pos x="T8" y="T9"/>
                  </a:cxn>
                </a:cxnLst>
                <a:rect l="0" t="0" r="r" b="b"/>
                <a:pathLst>
                  <a:path w="8" h="12">
                    <a:moveTo>
                      <a:pt x="1" y="5"/>
                    </a:moveTo>
                    <a:cubicBezTo>
                      <a:pt x="0" y="9"/>
                      <a:pt x="2" y="12"/>
                      <a:pt x="4" y="12"/>
                    </a:cubicBezTo>
                    <a:cubicBezTo>
                      <a:pt x="5" y="12"/>
                      <a:pt x="7" y="9"/>
                      <a:pt x="8" y="6"/>
                    </a:cubicBezTo>
                    <a:cubicBezTo>
                      <a:pt x="8" y="3"/>
                      <a:pt x="7" y="0"/>
                      <a:pt x="5" y="0"/>
                    </a:cubicBezTo>
                    <a:cubicBezTo>
                      <a:pt x="3" y="0"/>
                      <a:pt x="1" y="2"/>
                      <a:pt x="1" y="5"/>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29">
                <a:extLst>
                  <a:ext uri="{FF2B5EF4-FFF2-40B4-BE49-F238E27FC236}">
                    <a16:creationId xmlns:a16="http://schemas.microsoft.com/office/drawing/2014/main" id="{91508EB1-52AA-4D2F-8F72-A98FB9CDCD13}"/>
                  </a:ext>
                </a:extLst>
              </p:cNvPr>
              <p:cNvSpPr>
                <a:spLocks/>
              </p:cNvSpPr>
              <p:nvPr/>
            </p:nvSpPr>
            <p:spPr bwMode="auto">
              <a:xfrm>
                <a:off x="1575" y="1910"/>
                <a:ext cx="16" cy="26"/>
              </a:xfrm>
              <a:custGeom>
                <a:avLst/>
                <a:gdLst>
                  <a:gd name="T0" fmla="*/ 0 w 8"/>
                  <a:gd name="T1" fmla="*/ 6 h 13"/>
                  <a:gd name="T2" fmla="*/ 3 w 8"/>
                  <a:gd name="T3" fmla="*/ 12 h 13"/>
                  <a:gd name="T4" fmla="*/ 7 w 8"/>
                  <a:gd name="T5" fmla="*/ 7 h 13"/>
                  <a:gd name="T6" fmla="*/ 4 w 8"/>
                  <a:gd name="T7" fmla="*/ 0 h 13"/>
                  <a:gd name="T8" fmla="*/ 0 w 8"/>
                  <a:gd name="T9" fmla="*/ 6 h 13"/>
                </a:gdLst>
                <a:ahLst/>
                <a:cxnLst>
                  <a:cxn ang="0">
                    <a:pos x="T0" y="T1"/>
                  </a:cxn>
                  <a:cxn ang="0">
                    <a:pos x="T2" y="T3"/>
                  </a:cxn>
                  <a:cxn ang="0">
                    <a:pos x="T4" y="T5"/>
                  </a:cxn>
                  <a:cxn ang="0">
                    <a:pos x="T6" y="T7"/>
                  </a:cxn>
                  <a:cxn ang="0">
                    <a:pos x="T8" y="T9"/>
                  </a:cxn>
                </a:cxnLst>
                <a:rect l="0" t="0" r="r" b="b"/>
                <a:pathLst>
                  <a:path w="8" h="13">
                    <a:moveTo>
                      <a:pt x="0" y="6"/>
                    </a:moveTo>
                    <a:cubicBezTo>
                      <a:pt x="0" y="9"/>
                      <a:pt x="1" y="12"/>
                      <a:pt x="3" y="12"/>
                    </a:cubicBezTo>
                    <a:cubicBezTo>
                      <a:pt x="5" y="13"/>
                      <a:pt x="7" y="10"/>
                      <a:pt x="7" y="7"/>
                    </a:cubicBezTo>
                    <a:cubicBezTo>
                      <a:pt x="8" y="3"/>
                      <a:pt x="6" y="0"/>
                      <a:pt x="4" y="0"/>
                    </a:cubicBezTo>
                    <a:cubicBezTo>
                      <a:pt x="2" y="0"/>
                      <a:pt x="1"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30">
                <a:extLst>
                  <a:ext uri="{FF2B5EF4-FFF2-40B4-BE49-F238E27FC236}">
                    <a16:creationId xmlns:a16="http://schemas.microsoft.com/office/drawing/2014/main" id="{B697B1F8-EADA-4944-A812-13F623BA8A68}"/>
                  </a:ext>
                </a:extLst>
              </p:cNvPr>
              <p:cNvSpPr>
                <a:spLocks/>
              </p:cNvSpPr>
              <p:nvPr/>
            </p:nvSpPr>
            <p:spPr bwMode="auto">
              <a:xfrm>
                <a:off x="1487" y="1922"/>
                <a:ext cx="25" cy="24"/>
              </a:xfrm>
              <a:custGeom>
                <a:avLst/>
                <a:gdLst>
                  <a:gd name="T0" fmla="*/ 1 w 13"/>
                  <a:gd name="T1" fmla="*/ 4 h 12"/>
                  <a:gd name="T2" fmla="*/ 5 w 13"/>
                  <a:gd name="T3" fmla="*/ 11 h 12"/>
                  <a:gd name="T4" fmla="*/ 12 w 13"/>
                  <a:gd name="T5" fmla="*/ 9 h 12"/>
                  <a:gd name="T6" fmla="*/ 8 w 13"/>
                  <a:gd name="T7" fmla="*/ 2 h 12"/>
                  <a:gd name="T8" fmla="*/ 1 w 13"/>
                  <a:gd name="T9" fmla="*/ 4 h 12"/>
                </a:gdLst>
                <a:ahLst/>
                <a:cxnLst>
                  <a:cxn ang="0">
                    <a:pos x="T0" y="T1"/>
                  </a:cxn>
                  <a:cxn ang="0">
                    <a:pos x="T2" y="T3"/>
                  </a:cxn>
                  <a:cxn ang="0">
                    <a:pos x="T4" y="T5"/>
                  </a:cxn>
                  <a:cxn ang="0">
                    <a:pos x="T6" y="T7"/>
                  </a:cxn>
                  <a:cxn ang="0">
                    <a:pos x="T8" y="T9"/>
                  </a:cxn>
                </a:cxnLst>
                <a:rect l="0" t="0" r="r" b="b"/>
                <a:pathLst>
                  <a:path w="13" h="12">
                    <a:moveTo>
                      <a:pt x="1" y="4"/>
                    </a:moveTo>
                    <a:cubicBezTo>
                      <a:pt x="0" y="6"/>
                      <a:pt x="1" y="10"/>
                      <a:pt x="5" y="11"/>
                    </a:cubicBezTo>
                    <a:cubicBezTo>
                      <a:pt x="8" y="12"/>
                      <a:pt x="11" y="11"/>
                      <a:pt x="12" y="9"/>
                    </a:cubicBezTo>
                    <a:cubicBezTo>
                      <a:pt x="13" y="6"/>
                      <a:pt x="12" y="3"/>
                      <a:pt x="8" y="2"/>
                    </a:cubicBezTo>
                    <a:cubicBezTo>
                      <a:pt x="5" y="0"/>
                      <a:pt x="2" y="1"/>
                      <a:pt x="1" y="4"/>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1">
                <a:extLst>
                  <a:ext uri="{FF2B5EF4-FFF2-40B4-BE49-F238E27FC236}">
                    <a16:creationId xmlns:a16="http://schemas.microsoft.com/office/drawing/2014/main" id="{95CB9BB0-8161-4B84-93D2-46DC7922E73A}"/>
                  </a:ext>
                </a:extLst>
              </p:cNvPr>
              <p:cNvSpPr>
                <a:spLocks/>
              </p:cNvSpPr>
              <p:nvPr/>
            </p:nvSpPr>
            <p:spPr bwMode="auto">
              <a:xfrm>
                <a:off x="1585" y="1936"/>
                <a:ext cx="17" cy="21"/>
              </a:xfrm>
              <a:custGeom>
                <a:avLst/>
                <a:gdLst>
                  <a:gd name="T0" fmla="*/ 1 w 9"/>
                  <a:gd name="T1" fmla="*/ 6 h 11"/>
                  <a:gd name="T2" fmla="*/ 8 w 9"/>
                  <a:gd name="T3" fmla="*/ 10 h 11"/>
                  <a:gd name="T4" fmla="*/ 9 w 9"/>
                  <a:gd name="T5" fmla="*/ 0 h 11"/>
                  <a:gd name="T6" fmla="*/ 6 w 9"/>
                  <a:gd name="T7" fmla="*/ 0 h 11"/>
                  <a:gd name="T8" fmla="*/ 1 w 9"/>
                  <a:gd name="T9" fmla="*/ 6 h 11"/>
                </a:gdLst>
                <a:ahLst/>
                <a:cxnLst>
                  <a:cxn ang="0">
                    <a:pos x="T0" y="T1"/>
                  </a:cxn>
                  <a:cxn ang="0">
                    <a:pos x="T2" y="T3"/>
                  </a:cxn>
                  <a:cxn ang="0">
                    <a:pos x="T4" y="T5"/>
                  </a:cxn>
                  <a:cxn ang="0">
                    <a:pos x="T6" y="T7"/>
                  </a:cxn>
                  <a:cxn ang="0">
                    <a:pos x="T8" y="T9"/>
                  </a:cxn>
                </a:cxnLst>
                <a:rect l="0" t="0" r="r" b="b"/>
                <a:pathLst>
                  <a:path w="9" h="11">
                    <a:moveTo>
                      <a:pt x="1" y="6"/>
                    </a:moveTo>
                    <a:cubicBezTo>
                      <a:pt x="1" y="9"/>
                      <a:pt x="4" y="11"/>
                      <a:pt x="8" y="10"/>
                    </a:cubicBezTo>
                    <a:cubicBezTo>
                      <a:pt x="8" y="7"/>
                      <a:pt x="9" y="4"/>
                      <a:pt x="9" y="0"/>
                    </a:cubicBezTo>
                    <a:cubicBezTo>
                      <a:pt x="8" y="0"/>
                      <a:pt x="7" y="0"/>
                      <a:pt x="6" y="0"/>
                    </a:cubicBezTo>
                    <a:cubicBezTo>
                      <a:pt x="3" y="1"/>
                      <a:pt x="0" y="4"/>
                      <a:pt x="1" y="6"/>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32">
                <a:extLst>
                  <a:ext uri="{FF2B5EF4-FFF2-40B4-BE49-F238E27FC236}">
                    <a16:creationId xmlns:a16="http://schemas.microsoft.com/office/drawing/2014/main" id="{EECC0A8A-0434-4662-9BE7-652C2A7FBF9B}"/>
                  </a:ext>
                </a:extLst>
              </p:cNvPr>
              <p:cNvSpPr>
                <a:spLocks/>
              </p:cNvSpPr>
              <p:nvPr/>
            </p:nvSpPr>
            <p:spPr bwMode="auto">
              <a:xfrm>
                <a:off x="1506" y="1863"/>
                <a:ext cx="34" cy="14"/>
              </a:xfrm>
              <a:custGeom>
                <a:avLst/>
                <a:gdLst>
                  <a:gd name="T0" fmla="*/ 3 w 17"/>
                  <a:gd name="T1" fmla="*/ 7 h 7"/>
                  <a:gd name="T2" fmla="*/ 4 w 17"/>
                  <a:gd name="T3" fmla="*/ 7 h 7"/>
                  <a:gd name="T4" fmla="*/ 14 w 17"/>
                  <a:gd name="T5" fmla="*/ 6 h 7"/>
                  <a:gd name="T6" fmla="*/ 17 w 17"/>
                  <a:gd name="T7" fmla="*/ 4 h 7"/>
                  <a:gd name="T8" fmla="*/ 15 w 17"/>
                  <a:gd name="T9" fmla="*/ 2 h 7"/>
                  <a:gd name="T10" fmla="*/ 2 w 17"/>
                  <a:gd name="T11" fmla="*/ 3 h 7"/>
                  <a:gd name="T12" fmla="*/ 1 w 17"/>
                  <a:gd name="T13" fmla="*/ 6 h 7"/>
                  <a:gd name="T14" fmla="*/ 3 w 1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7">
                    <a:moveTo>
                      <a:pt x="3" y="7"/>
                    </a:moveTo>
                    <a:cubicBezTo>
                      <a:pt x="3" y="7"/>
                      <a:pt x="4" y="7"/>
                      <a:pt x="4" y="7"/>
                    </a:cubicBezTo>
                    <a:cubicBezTo>
                      <a:pt x="8" y="4"/>
                      <a:pt x="14" y="6"/>
                      <a:pt x="14" y="6"/>
                    </a:cubicBezTo>
                    <a:cubicBezTo>
                      <a:pt x="15" y="6"/>
                      <a:pt x="17" y="5"/>
                      <a:pt x="17" y="4"/>
                    </a:cubicBezTo>
                    <a:cubicBezTo>
                      <a:pt x="17" y="3"/>
                      <a:pt x="17" y="2"/>
                      <a:pt x="15" y="2"/>
                    </a:cubicBezTo>
                    <a:cubicBezTo>
                      <a:pt x="15" y="2"/>
                      <a:pt x="7" y="0"/>
                      <a:pt x="2" y="3"/>
                    </a:cubicBezTo>
                    <a:cubicBezTo>
                      <a:pt x="1" y="4"/>
                      <a:pt x="0" y="5"/>
                      <a:pt x="1" y="6"/>
                    </a:cubicBezTo>
                    <a:cubicBezTo>
                      <a:pt x="1" y="7"/>
                      <a:pt x="2" y="7"/>
                      <a:pt x="3" y="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33">
                <a:extLst>
                  <a:ext uri="{FF2B5EF4-FFF2-40B4-BE49-F238E27FC236}">
                    <a16:creationId xmlns:a16="http://schemas.microsoft.com/office/drawing/2014/main" id="{F9EC698B-6805-4D72-937B-F366328842D4}"/>
                  </a:ext>
                </a:extLst>
              </p:cNvPr>
              <p:cNvSpPr>
                <a:spLocks/>
              </p:cNvSpPr>
              <p:nvPr/>
            </p:nvSpPr>
            <p:spPr bwMode="auto">
              <a:xfrm>
                <a:off x="1581" y="1879"/>
                <a:ext cx="23" cy="17"/>
              </a:xfrm>
              <a:custGeom>
                <a:avLst/>
                <a:gdLst>
                  <a:gd name="T0" fmla="*/ 9 w 12"/>
                  <a:gd name="T1" fmla="*/ 9 h 9"/>
                  <a:gd name="T2" fmla="*/ 11 w 12"/>
                  <a:gd name="T3" fmla="*/ 7 h 9"/>
                  <a:gd name="T4" fmla="*/ 3 w 12"/>
                  <a:gd name="T5" fmla="*/ 0 h 9"/>
                  <a:gd name="T6" fmla="*/ 0 w 12"/>
                  <a:gd name="T7" fmla="*/ 2 h 9"/>
                  <a:gd name="T8" fmla="*/ 2 w 12"/>
                  <a:gd name="T9" fmla="*/ 4 h 9"/>
                  <a:gd name="T10" fmla="*/ 7 w 12"/>
                  <a:gd name="T11" fmla="*/ 7 h 9"/>
                  <a:gd name="T12" fmla="*/ 9 w 12"/>
                  <a:gd name="T13" fmla="*/ 9 h 9"/>
                  <a:gd name="T14" fmla="*/ 9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9" y="9"/>
                    </a:moveTo>
                    <a:cubicBezTo>
                      <a:pt x="11" y="9"/>
                      <a:pt x="11" y="8"/>
                      <a:pt x="11" y="7"/>
                    </a:cubicBezTo>
                    <a:cubicBezTo>
                      <a:pt x="12" y="2"/>
                      <a:pt x="6" y="0"/>
                      <a:pt x="3" y="0"/>
                    </a:cubicBezTo>
                    <a:cubicBezTo>
                      <a:pt x="2" y="0"/>
                      <a:pt x="1" y="1"/>
                      <a:pt x="0" y="2"/>
                    </a:cubicBezTo>
                    <a:cubicBezTo>
                      <a:pt x="0" y="3"/>
                      <a:pt x="1" y="4"/>
                      <a:pt x="2" y="4"/>
                    </a:cubicBezTo>
                    <a:cubicBezTo>
                      <a:pt x="4" y="4"/>
                      <a:pt x="8" y="5"/>
                      <a:pt x="7" y="7"/>
                    </a:cubicBezTo>
                    <a:cubicBezTo>
                      <a:pt x="7" y="8"/>
                      <a:pt x="8" y="9"/>
                      <a:pt x="9" y="9"/>
                    </a:cubicBezTo>
                    <a:cubicBezTo>
                      <a:pt x="9" y="9"/>
                      <a:pt x="9" y="9"/>
                      <a:pt x="9" y="9"/>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34">
                <a:extLst>
                  <a:ext uri="{FF2B5EF4-FFF2-40B4-BE49-F238E27FC236}">
                    <a16:creationId xmlns:a16="http://schemas.microsoft.com/office/drawing/2014/main" id="{D738252A-4E06-41DE-BFA6-B153D84011D0}"/>
                  </a:ext>
                </a:extLst>
              </p:cNvPr>
              <p:cNvSpPr>
                <a:spLocks/>
              </p:cNvSpPr>
              <p:nvPr/>
            </p:nvSpPr>
            <p:spPr bwMode="auto">
              <a:xfrm>
                <a:off x="1559" y="1902"/>
                <a:ext cx="24" cy="67"/>
              </a:xfrm>
              <a:custGeom>
                <a:avLst/>
                <a:gdLst>
                  <a:gd name="T0" fmla="*/ 4 w 12"/>
                  <a:gd name="T1" fmla="*/ 0 h 34"/>
                  <a:gd name="T2" fmla="*/ 12 w 12"/>
                  <a:gd name="T3" fmla="*/ 28 h 34"/>
                  <a:gd name="T4" fmla="*/ 0 w 12"/>
                  <a:gd name="T5" fmla="*/ 32 h 34"/>
                </a:gdLst>
                <a:ahLst/>
                <a:cxnLst>
                  <a:cxn ang="0">
                    <a:pos x="T0" y="T1"/>
                  </a:cxn>
                  <a:cxn ang="0">
                    <a:pos x="T2" y="T3"/>
                  </a:cxn>
                  <a:cxn ang="0">
                    <a:pos x="T4" y="T5"/>
                  </a:cxn>
                </a:cxnLst>
                <a:rect l="0" t="0" r="r" b="b"/>
                <a:pathLst>
                  <a:path w="12" h="34">
                    <a:moveTo>
                      <a:pt x="4" y="0"/>
                    </a:moveTo>
                    <a:cubicBezTo>
                      <a:pt x="4" y="0"/>
                      <a:pt x="3" y="15"/>
                      <a:pt x="12" y="28"/>
                    </a:cubicBezTo>
                    <a:cubicBezTo>
                      <a:pt x="12" y="28"/>
                      <a:pt x="12" y="34"/>
                      <a:pt x="0" y="32"/>
                    </a:cubicBezTo>
                  </a:path>
                </a:pathLst>
              </a:custGeom>
              <a:noFill/>
              <a:ln w="9525" cap="flat">
                <a:solidFill>
                  <a:srgbClr val="DB61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Freeform 135">
                <a:extLst>
                  <a:ext uri="{FF2B5EF4-FFF2-40B4-BE49-F238E27FC236}">
                    <a16:creationId xmlns:a16="http://schemas.microsoft.com/office/drawing/2014/main" id="{F0AE58EA-967A-49C7-843E-B9DC9199A8BF}"/>
                  </a:ext>
                </a:extLst>
              </p:cNvPr>
              <p:cNvSpPr>
                <a:spLocks/>
              </p:cNvSpPr>
              <p:nvPr/>
            </p:nvSpPr>
            <p:spPr bwMode="auto">
              <a:xfrm>
                <a:off x="1516" y="1971"/>
                <a:ext cx="59" cy="31"/>
              </a:xfrm>
              <a:custGeom>
                <a:avLst/>
                <a:gdLst>
                  <a:gd name="T0" fmla="*/ 29 w 30"/>
                  <a:gd name="T1" fmla="*/ 6 h 16"/>
                  <a:gd name="T2" fmla="*/ 17 w 30"/>
                  <a:gd name="T3" fmla="*/ 3 h 16"/>
                  <a:gd name="T4" fmla="*/ 0 w 30"/>
                  <a:gd name="T5" fmla="*/ 0 h 16"/>
                  <a:gd name="T6" fmla="*/ 17 w 30"/>
                  <a:gd name="T7" fmla="*/ 15 h 16"/>
                  <a:gd name="T8" fmla="*/ 29 w 30"/>
                  <a:gd name="T9" fmla="*/ 6 h 16"/>
                </a:gdLst>
                <a:ahLst/>
                <a:cxnLst>
                  <a:cxn ang="0">
                    <a:pos x="T0" y="T1"/>
                  </a:cxn>
                  <a:cxn ang="0">
                    <a:pos x="T2" y="T3"/>
                  </a:cxn>
                  <a:cxn ang="0">
                    <a:pos x="T4" y="T5"/>
                  </a:cxn>
                  <a:cxn ang="0">
                    <a:pos x="T6" y="T7"/>
                  </a:cxn>
                  <a:cxn ang="0">
                    <a:pos x="T8" y="T9"/>
                  </a:cxn>
                </a:cxnLst>
                <a:rect l="0" t="0" r="r" b="b"/>
                <a:pathLst>
                  <a:path w="30" h="16">
                    <a:moveTo>
                      <a:pt x="29" y="6"/>
                    </a:moveTo>
                    <a:cubicBezTo>
                      <a:pt x="29" y="6"/>
                      <a:pt x="27" y="5"/>
                      <a:pt x="17" y="3"/>
                    </a:cubicBezTo>
                    <a:cubicBezTo>
                      <a:pt x="6" y="1"/>
                      <a:pt x="0" y="0"/>
                      <a:pt x="0" y="0"/>
                    </a:cubicBezTo>
                    <a:cubicBezTo>
                      <a:pt x="0" y="0"/>
                      <a:pt x="0" y="13"/>
                      <a:pt x="17" y="15"/>
                    </a:cubicBezTo>
                    <a:cubicBezTo>
                      <a:pt x="30" y="16"/>
                      <a:pt x="29" y="6"/>
                      <a:pt x="29"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6">
                <a:extLst>
                  <a:ext uri="{FF2B5EF4-FFF2-40B4-BE49-F238E27FC236}">
                    <a16:creationId xmlns:a16="http://schemas.microsoft.com/office/drawing/2014/main" id="{20FCA1ED-B4EA-4FDE-BC14-B2C22CCF0549}"/>
                  </a:ext>
                </a:extLst>
              </p:cNvPr>
              <p:cNvSpPr>
                <a:spLocks/>
              </p:cNvSpPr>
              <p:nvPr/>
            </p:nvSpPr>
            <p:spPr bwMode="auto">
              <a:xfrm>
                <a:off x="1367" y="1779"/>
                <a:ext cx="269" cy="231"/>
              </a:xfrm>
              <a:custGeom>
                <a:avLst/>
                <a:gdLst>
                  <a:gd name="T0" fmla="*/ 118 w 137"/>
                  <a:gd name="T1" fmla="*/ 40 h 118"/>
                  <a:gd name="T2" fmla="*/ 137 w 137"/>
                  <a:gd name="T3" fmla="*/ 29 h 118"/>
                  <a:gd name="T4" fmla="*/ 127 w 137"/>
                  <a:gd name="T5" fmla="*/ 29 h 118"/>
                  <a:gd name="T6" fmla="*/ 132 w 137"/>
                  <a:gd name="T7" fmla="*/ 13 h 118"/>
                  <a:gd name="T8" fmla="*/ 113 w 137"/>
                  <a:gd name="T9" fmla="*/ 13 h 118"/>
                  <a:gd name="T10" fmla="*/ 120 w 137"/>
                  <a:gd name="T11" fmla="*/ 7 h 118"/>
                  <a:gd name="T12" fmla="*/ 94 w 137"/>
                  <a:gd name="T13" fmla="*/ 4 h 118"/>
                  <a:gd name="T14" fmla="*/ 30 w 137"/>
                  <a:gd name="T15" fmla="*/ 13 h 118"/>
                  <a:gd name="T16" fmla="*/ 40 w 137"/>
                  <a:gd name="T17" fmla="*/ 118 h 118"/>
                  <a:gd name="T18" fmla="*/ 38 w 137"/>
                  <a:gd name="T19" fmla="*/ 104 h 118"/>
                  <a:gd name="T20" fmla="*/ 33 w 137"/>
                  <a:gd name="T21" fmla="*/ 83 h 118"/>
                  <a:gd name="T22" fmla="*/ 41 w 137"/>
                  <a:gd name="T23" fmla="*/ 81 h 118"/>
                  <a:gd name="T24" fmla="*/ 55 w 137"/>
                  <a:gd name="T25" fmla="*/ 44 h 118"/>
                  <a:gd name="T26" fmla="*/ 55 w 137"/>
                  <a:gd name="T27" fmla="*/ 29 h 118"/>
                  <a:gd name="T28" fmla="*/ 118 w 137"/>
                  <a:gd name="T29" fmla="*/ 4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118">
                    <a:moveTo>
                      <a:pt x="118" y="40"/>
                    </a:moveTo>
                    <a:cubicBezTo>
                      <a:pt x="118" y="40"/>
                      <a:pt x="132" y="38"/>
                      <a:pt x="137" y="29"/>
                    </a:cubicBezTo>
                    <a:cubicBezTo>
                      <a:pt x="137" y="29"/>
                      <a:pt x="132" y="30"/>
                      <a:pt x="127" y="29"/>
                    </a:cubicBezTo>
                    <a:cubicBezTo>
                      <a:pt x="127" y="29"/>
                      <a:pt x="134" y="24"/>
                      <a:pt x="132" y="13"/>
                    </a:cubicBezTo>
                    <a:cubicBezTo>
                      <a:pt x="132" y="13"/>
                      <a:pt x="118" y="15"/>
                      <a:pt x="113" y="13"/>
                    </a:cubicBezTo>
                    <a:cubicBezTo>
                      <a:pt x="120" y="7"/>
                      <a:pt x="120" y="7"/>
                      <a:pt x="120" y="7"/>
                    </a:cubicBezTo>
                    <a:cubicBezTo>
                      <a:pt x="120" y="7"/>
                      <a:pt x="109" y="8"/>
                      <a:pt x="94" y="4"/>
                    </a:cubicBezTo>
                    <a:cubicBezTo>
                      <a:pt x="80" y="1"/>
                      <a:pt x="49" y="0"/>
                      <a:pt x="30" y="13"/>
                    </a:cubicBezTo>
                    <a:cubicBezTo>
                      <a:pt x="12" y="27"/>
                      <a:pt x="0" y="91"/>
                      <a:pt x="40" y="118"/>
                    </a:cubicBezTo>
                    <a:cubicBezTo>
                      <a:pt x="38" y="104"/>
                      <a:pt x="38" y="104"/>
                      <a:pt x="38" y="104"/>
                    </a:cubicBezTo>
                    <a:cubicBezTo>
                      <a:pt x="38" y="104"/>
                      <a:pt x="31" y="92"/>
                      <a:pt x="33" y="83"/>
                    </a:cubicBezTo>
                    <a:cubicBezTo>
                      <a:pt x="36" y="74"/>
                      <a:pt x="41" y="81"/>
                      <a:pt x="41" y="81"/>
                    </a:cubicBezTo>
                    <a:cubicBezTo>
                      <a:pt x="41" y="81"/>
                      <a:pt x="55" y="59"/>
                      <a:pt x="55" y="44"/>
                    </a:cubicBezTo>
                    <a:cubicBezTo>
                      <a:pt x="55" y="29"/>
                      <a:pt x="55" y="29"/>
                      <a:pt x="55" y="29"/>
                    </a:cubicBezTo>
                    <a:cubicBezTo>
                      <a:pt x="55" y="29"/>
                      <a:pt x="99" y="19"/>
                      <a:pt x="118" y="4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37">
                <a:extLst>
                  <a:ext uri="{FF2B5EF4-FFF2-40B4-BE49-F238E27FC236}">
                    <a16:creationId xmlns:a16="http://schemas.microsoft.com/office/drawing/2014/main" id="{1D2F611D-26BE-4DCE-A21C-E53E085D362C}"/>
                  </a:ext>
                </a:extLst>
              </p:cNvPr>
              <p:cNvSpPr>
                <a:spLocks/>
              </p:cNvSpPr>
              <p:nvPr/>
            </p:nvSpPr>
            <p:spPr bwMode="auto">
              <a:xfrm>
                <a:off x="1389" y="1908"/>
                <a:ext cx="66" cy="69"/>
              </a:xfrm>
              <a:custGeom>
                <a:avLst/>
                <a:gdLst>
                  <a:gd name="T0" fmla="*/ 29 w 34"/>
                  <a:gd name="T1" fmla="*/ 12 h 35"/>
                  <a:gd name="T2" fmla="*/ 10 w 34"/>
                  <a:gd name="T3" fmla="*/ 6 h 35"/>
                  <a:gd name="T4" fmla="*/ 24 w 34"/>
                  <a:gd name="T5" fmla="*/ 35 h 35"/>
                  <a:gd name="T6" fmla="*/ 29 w 34"/>
                  <a:gd name="T7" fmla="*/ 12 h 35"/>
                </a:gdLst>
                <a:ahLst/>
                <a:cxnLst>
                  <a:cxn ang="0">
                    <a:pos x="T0" y="T1"/>
                  </a:cxn>
                  <a:cxn ang="0">
                    <a:pos x="T2" y="T3"/>
                  </a:cxn>
                  <a:cxn ang="0">
                    <a:pos x="T4" y="T5"/>
                  </a:cxn>
                  <a:cxn ang="0">
                    <a:pos x="T6" y="T7"/>
                  </a:cxn>
                </a:cxnLst>
                <a:rect l="0" t="0" r="r" b="b"/>
                <a:pathLst>
                  <a:path w="34" h="35">
                    <a:moveTo>
                      <a:pt x="29" y="12"/>
                    </a:moveTo>
                    <a:cubicBezTo>
                      <a:pt x="29" y="12"/>
                      <a:pt x="20" y="0"/>
                      <a:pt x="10" y="6"/>
                    </a:cubicBezTo>
                    <a:cubicBezTo>
                      <a:pt x="0" y="12"/>
                      <a:pt x="14" y="35"/>
                      <a:pt x="24" y="35"/>
                    </a:cubicBezTo>
                    <a:cubicBezTo>
                      <a:pt x="34" y="35"/>
                      <a:pt x="29" y="12"/>
                      <a:pt x="29"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38">
                <a:extLst>
                  <a:ext uri="{FF2B5EF4-FFF2-40B4-BE49-F238E27FC236}">
                    <a16:creationId xmlns:a16="http://schemas.microsoft.com/office/drawing/2014/main" id="{E8825FAE-CF2A-4490-99F6-C5CFC9C73D95}"/>
                  </a:ext>
                </a:extLst>
              </p:cNvPr>
              <p:cNvSpPr>
                <a:spLocks/>
              </p:cNvSpPr>
              <p:nvPr/>
            </p:nvSpPr>
            <p:spPr bwMode="auto">
              <a:xfrm>
                <a:off x="1348" y="2038"/>
                <a:ext cx="125" cy="169"/>
              </a:xfrm>
              <a:custGeom>
                <a:avLst/>
                <a:gdLst>
                  <a:gd name="T0" fmla="*/ 50 w 64"/>
                  <a:gd name="T1" fmla="*/ 86 h 86"/>
                  <a:gd name="T2" fmla="*/ 59 w 64"/>
                  <a:gd name="T3" fmla="*/ 29 h 86"/>
                  <a:gd name="T4" fmla="*/ 8 w 64"/>
                  <a:gd name="T5" fmla="*/ 4 h 86"/>
                  <a:gd name="T6" fmla="*/ 4 w 64"/>
                  <a:gd name="T7" fmla="*/ 35 h 86"/>
                  <a:gd name="T8" fmla="*/ 50 w 64"/>
                  <a:gd name="T9" fmla="*/ 86 h 86"/>
                </a:gdLst>
                <a:ahLst/>
                <a:cxnLst>
                  <a:cxn ang="0">
                    <a:pos x="T0" y="T1"/>
                  </a:cxn>
                  <a:cxn ang="0">
                    <a:pos x="T2" y="T3"/>
                  </a:cxn>
                  <a:cxn ang="0">
                    <a:pos x="T4" y="T5"/>
                  </a:cxn>
                  <a:cxn ang="0">
                    <a:pos x="T6" y="T7"/>
                  </a:cxn>
                  <a:cxn ang="0">
                    <a:pos x="T8" y="T9"/>
                  </a:cxn>
                </a:cxnLst>
                <a:rect l="0" t="0" r="r" b="b"/>
                <a:pathLst>
                  <a:path w="64" h="86">
                    <a:moveTo>
                      <a:pt x="50" y="86"/>
                    </a:moveTo>
                    <a:cubicBezTo>
                      <a:pt x="50" y="86"/>
                      <a:pt x="64" y="43"/>
                      <a:pt x="59" y="29"/>
                    </a:cubicBezTo>
                    <a:cubicBezTo>
                      <a:pt x="55" y="15"/>
                      <a:pt x="12" y="0"/>
                      <a:pt x="8" y="4"/>
                    </a:cubicBezTo>
                    <a:cubicBezTo>
                      <a:pt x="4" y="8"/>
                      <a:pt x="0" y="21"/>
                      <a:pt x="4" y="35"/>
                    </a:cubicBezTo>
                    <a:cubicBezTo>
                      <a:pt x="4" y="35"/>
                      <a:pt x="31" y="40"/>
                      <a:pt x="50" y="86"/>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39">
                <a:extLst>
                  <a:ext uri="{FF2B5EF4-FFF2-40B4-BE49-F238E27FC236}">
                    <a16:creationId xmlns:a16="http://schemas.microsoft.com/office/drawing/2014/main" id="{E9A3ACFD-BF6C-48B3-8E42-B5F317B1F795}"/>
                  </a:ext>
                </a:extLst>
              </p:cNvPr>
              <p:cNvSpPr>
                <a:spLocks/>
              </p:cNvSpPr>
              <p:nvPr/>
            </p:nvSpPr>
            <p:spPr bwMode="auto">
              <a:xfrm>
                <a:off x="1197" y="2160"/>
                <a:ext cx="272" cy="437"/>
              </a:xfrm>
              <a:custGeom>
                <a:avLst/>
                <a:gdLst>
                  <a:gd name="T0" fmla="*/ 139 w 139"/>
                  <a:gd name="T1" fmla="*/ 84 h 223"/>
                  <a:gd name="T2" fmla="*/ 139 w 139"/>
                  <a:gd name="T3" fmla="*/ 84 h 223"/>
                  <a:gd name="T4" fmla="*/ 50 w 139"/>
                  <a:gd name="T5" fmla="*/ 102 h 223"/>
                  <a:gd name="T6" fmla="*/ 36 w 139"/>
                  <a:gd name="T7" fmla="*/ 198 h 223"/>
                  <a:gd name="T8" fmla="*/ 137 w 139"/>
                  <a:gd name="T9" fmla="*/ 204 h 223"/>
                  <a:gd name="T10" fmla="*/ 21 w 139"/>
                  <a:gd name="T11" fmla="*/ 203 h 223"/>
                  <a:gd name="T12" fmla="*/ 21 w 139"/>
                  <a:gd name="T13" fmla="*/ 203 h 223"/>
                  <a:gd name="T14" fmla="*/ 19 w 139"/>
                  <a:gd name="T15" fmla="*/ 200 h 223"/>
                  <a:gd name="T16" fmla="*/ 16 w 139"/>
                  <a:gd name="T17" fmla="*/ 185 h 223"/>
                  <a:gd name="T18" fmla="*/ 19 w 139"/>
                  <a:gd name="T19" fmla="*/ 123 h 223"/>
                  <a:gd name="T20" fmla="*/ 24 w 139"/>
                  <a:gd name="T21" fmla="*/ 114 h 223"/>
                  <a:gd name="T22" fmla="*/ 15 w 139"/>
                  <a:gd name="T23" fmla="*/ 17 h 223"/>
                  <a:gd name="T24" fmla="*/ 24 w 139"/>
                  <a:gd name="T25" fmla="*/ 0 h 223"/>
                  <a:gd name="T26" fmla="*/ 72 w 139"/>
                  <a:gd name="T27" fmla="*/ 84 h 223"/>
                  <a:gd name="T28" fmla="*/ 139 w 139"/>
                  <a:gd name="T29" fmla="*/ 84 h 223"/>
                  <a:gd name="T30" fmla="*/ 139 w 139"/>
                  <a:gd name="T31" fmla="*/ 8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 h="223">
                    <a:moveTo>
                      <a:pt x="139" y="84"/>
                    </a:moveTo>
                    <a:cubicBezTo>
                      <a:pt x="139" y="84"/>
                      <a:pt x="139" y="84"/>
                      <a:pt x="139" y="84"/>
                    </a:cubicBezTo>
                    <a:cubicBezTo>
                      <a:pt x="126" y="101"/>
                      <a:pt x="50" y="102"/>
                      <a:pt x="50" y="102"/>
                    </a:cubicBezTo>
                    <a:cubicBezTo>
                      <a:pt x="50" y="102"/>
                      <a:pt x="0" y="175"/>
                      <a:pt x="36" y="198"/>
                    </a:cubicBezTo>
                    <a:cubicBezTo>
                      <a:pt x="72" y="220"/>
                      <a:pt x="135" y="204"/>
                      <a:pt x="137" y="204"/>
                    </a:cubicBezTo>
                    <a:cubicBezTo>
                      <a:pt x="123" y="215"/>
                      <a:pt x="36" y="223"/>
                      <a:pt x="21" y="203"/>
                    </a:cubicBezTo>
                    <a:cubicBezTo>
                      <a:pt x="21" y="203"/>
                      <a:pt x="21" y="203"/>
                      <a:pt x="21" y="203"/>
                    </a:cubicBezTo>
                    <a:cubicBezTo>
                      <a:pt x="20" y="202"/>
                      <a:pt x="19" y="201"/>
                      <a:pt x="19" y="200"/>
                    </a:cubicBezTo>
                    <a:cubicBezTo>
                      <a:pt x="17" y="196"/>
                      <a:pt x="17" y="190"/>
                      <a:pt x="16" y="185"/>
                    </a:cubicBezTo>
                    <a:cubicBezTo>
                      <a:pt x="14" y="165"/>
                      <a:pt x="17" y="139"/>
                      <a:pt x="19" y="123"/>
                    </a:cubicBezTo>
                    <a:cubicBezTo>
                      <a:pt x="22" y="117"/>
                      <a:pt x="24" y="114"/>
                      <a:pt x="24" y="114"/>
                    </a:cubicBezTo>
                    <a:cubicBezTo>
                      <a:pt x="24" y="114"/>
                      <a:pt x="8" y="47"/>
                      <a:pt x="15" y="17"/>
                    </a:cubicBezTo>
                    <a:cubicBezTo>
                      <a:pt x="17" y="11"/>
                      <a:pt x="20" y="5"/>
                      <a:pt x="24" y="0"/>
                    </a:cubicBezTo>
                    <a:cubicBezTo>
                      <a:pt x="69" y="1"/>
                      <a:pt x="72" y="84"/>
                      <a:pt x="72" y="84"/>
                    </a:cubicBezTo>
                    <a:cubicBezTo>
                      <a:pt x="85" y="89"/>
                      <a:pt x="137" y="84"/>
                      <a:pt x="139" y="84"/>
                    </a:cubicBezTo>
                    <a:cubicBezTo>
                      <a:pt x="139" y="84"/>
                      <a:pt x="139" y="84"/>
                      <a:pt x="139" y="84"/>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40">
                <a:extLst>
                  <a:ext uri="{FF2B5EF4-FFF2-40B4-BE49-F238E27FC236}">
                    <a16:creationId xmlns:a16="http://schemas.microsoft.com/office/drawing/2014/main" id="{E912002C-17CA-4EF8-80CD-960AAE72B28C}"/>
                  </a:ext>
                </a:extLst>
              </p:cNvPr>
              <p:cNvSpPr>
                <a:spLocks/>
              </p:cNvSpPr>
              <p:nvPr/>
            </p:nvSpPr>
            <p:spPr bwMode="auto">
              <a:xfrm>
                <a:off x="1159" y="3000"/>
                <a:ext cx="106" cy="112"/>
              </a:xfrm>
              <a:custGeom>
                <a:avLst/>
                <a:gdLst>
                  <a:gd name="T0" fmla="*/ 53 w 54"/>
                  <a:gd name="T1" fmla="*/ 26 h 57"/>
                  <a:gd name="T2" fmla="*/ 2 w 54"/>
                  <a:gd name="T3" fmla="*/ 42 h 57"/>
                  <a:gd name="T4" fmla="*/ 53 w 54"/>
                  <a:gd name="T5" fmla="*/ 26 h 57"/>
                </a:gdLst>
                <a:ahLst/>
                <a:cxnLst>
                  <a:cxn ang="0">
                    <a:pos x="T0" y="T1"/>
                  </a:cxn>
                  <a:cxn ang="0">
                    <a:pos x="T2" y="T3"/>
                  </a:cxn>
                  <a:cxn ang="0">
                    <a:pos x="T4" y="T5"/>
                  </a:cxn>
                </a:cxnLst>
                <a:rect l="0" t="0" r="r" b="b"/>
                <a:pathLst>
                  <a:path w="54" h="57">
                    <a:moveTo>
                      <a:pt x="53" y="26"/>
                    </a:moveTo>
                    <a:cubicBezTo>
                      <a:pt x="54" y="37"/>
                      <a:pt x="4" y="57"/>
                      <a:pt x="2" y="42"/>
                    </a:cubicBezTo>
                    <a:cubicBezTo>
                      <a:pt x="0" y="27"/>
                      <a:pt x="52" y="0"/>
                      <a:pt x="53" y="26"/>
                    </a:cubicBezTo>
                    <a:close/>
                  </a:path>
                </a:pathLst>
              </a:custGeom>
              <a:solidFill>
                <a:srgbClr val="A1B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41">
                <a:extLst>
                  <a:ext uri="{FF2B5EF4-FFF2-40B4-BE49-F238E27FC236}">
                    <a16:creationId xmlns:a16="http://schemas.microsoft.com/office/drawing/2014/main" id="{27949A14-57EF-4DDD-9E35-C89810F7FE1A}"/>
                  </a:ext>
                </a:extLst>
              </p:cNvPr>
              <p:cNvSpPr>
                <a:spLocks/>
              </p:cNvSpPr>
              <p:nvPr/>
            </p:nvSpPr>
            <p:spPr bwMode="auto">
              <a:xfrm>
                <a:off x="1169" y="3004"/>
                <a:ext cx="116" cy="228"/>
              </a:xfrm>
              <a:custGeom>
                <a:avLst/>
                <a:gdLst>
                  <a:gd name="T0" fmla="*/ 6 w 59"/>
                  <a:gd name="T1" fmla="*/ 33 h 116"/>
                  <a:gd name="T2" fmla="*/ 3 w 59"/>
                  <a:gd name="T3" fmla="*/ 78 h 116"/>
                  <a:gd name="T4" fmla="*/ 3 w 59"/>
                  <a:gd name="T5" fmla="*/ 78 h 116"/>
                  <a:gd name="T6" fmla="*/ 15 w 59"/>
                  <a:gd name="T7" fmla="*/ 93 h 116"/>
                  <a:gd name="T8" fmla="*/ 26 w 59"/>
                  <a:gd name="T9" fmla="*/ 101 h 116"/>
                  <a:gd name="T10" fmla="*/ 38 w 59"/>
                  <a:gd name="T11" fmla="*/ 105 h 116"/>
                  <a:gd name="T12" fmla="*/ 53 w 59"/>
                  <a:gd name="T13" fmla="*/ 110 h 116"/>
                  <a:gd name="T14" fmla="*/ 45 w 59"/>
                  <a:gd name="T15" fmla="*/ 97 h 116"/>
                  <a:gd name="T16" fmla="*/ 39 w 59"/>
                  <a:gd name="T17" fmla="*/ 80 h 116"/>
                  <a:gd name="T18" fmla="*/ 47 w 59"/>
                  <a:gd name="T19" fmla="*/ 59 h 116"/>
                  <a:gd name="T20" fmla="*/ 52 w 59"/>
                  <a:gd name="T21" fmla="*/ 75 h 116"/>
                  <a:gd name="T22" fmla="*/ 58 w 59"/>
                  <a:gd name="T23" fmla="*/ 79 h 116"/>
                  <a:gd name="T24" fmla="*/ 59 w 59"/>
                  <a:gd name="T25" fmla="*/ 66 h 116"/>
                  <a:gd name="T26" fmla="*/ 56 w 59"/>
                  <a:gd name="T27" fmla="*/ 43 h 116"/>
                  <a:gd name="T28" fmla="*/ 41 w 59"/>
                  <a:gd name="T29" fmla="*/ 27 h 116"/>
                  <a:gd name="T30" fmla="*/ 36 w 59"/>
                  <a:gd name="T31" fmla="*/ 0 h 116"/>
                  <a:gd name="T32" fmla="*/ 0 w 59"/>
                  <a:gd name="T33" fmla="*/ 3 h 116"/>
                  <a:gd name="T34" fmla="*/ 6 w 59"/>
                  <a:gd name="T35"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16">
                    <a:moveTo>
                      <a:pt x="6" y="33"/>
                    </a:moveTo>
                    <a:cubicBezTo>
                      <a:pt x="5" y="38"/>
                      <a:pt x="1" y="72"/>
                      <a:pt x="3" y="78"/>
                    </a:cubicBezTo>
                    <a:cubicBezTo>
                      <a:pt x="3" y="78"/>
                      <a:pt x="3" y="78"/>
                      <a:pt x="3" y="78"/>
                    </a:cubicBezTo>
                    <a:cubicBezTo>
                      <a:pt x="5" y="84"/>
                      <a:pt x="13" y="90"/>
                      <a:pt x="15" y="93"/>
                    </a:cubicBezTo>
                    <a:cubicBezTo>
                      <a:pt x="18" y="97"/>
                      <a:pt x="22" y="98"/>
                      <a:pt x="26" y="101"/>
                    </a:cubicBezTo>
                    <a:cubicBezTo>
                      <a:pt x="29" y="105"/>
                      <a:pt x="38" y="105"/>
                      <a:pt x="38" y="105"/>
                    </a:cubicBezTo>
                    <a:cubicBezTo>
                      <a:pt x="38" y="105"/>
                      <a:pt x="53" y="116"/>
                      <a:pt x="53" y="110"/>
                    </a:cubicBezTo>
                    <a:cubicBezTo>
                      <a:pt x="54" y="103"/>
                      <a:pt x="45" y="97"/>
                      <a:pt x="45" y="97"/>
                    </a:cubicBezTo>
                    <a:cubicBezTo>
                      <a:pt x="39" y="80"/>
                      <a:pt x="39" y="80"/>
                      <a:pt x="39" y="80"/>
                    </a:cubicBezTo>
                    <a:cubicBezTo>
                      <a:pt x="39" y="80"/>
                      <a:pt x="43" y="59"/>
                      <a:pt x="47" y="59"/>
                    </a:cubicBezTo>
                    <a:cubicBezTo>
                      <a:pt x="51" y="59"/>
                      <a:pt x="49" y="68"/>
                      <a:pt x="52" y="75"/>
                    </a:cubicBezTo>
                    <a:cubicBezTo>
                      <a:pt x="53" y="79"/>
                      <a:pt x="58" y="79"/>
                      <a:pt x="58" y="79"/>
                    </a:cubicBezTo>
                    <a:cubicBezTo>
                      <a:pt x="59" y="66"/>
                      <a:pt x="59" y="66"/>
                      <a:pt x="59" y="66"/>
                    </a:cubicBezTo>
                    <a:cubicBezTo>
                      <a:pt x="59" y="66"/>
                      <a:pt x="58" y="47"/>
                      <a:pt x="56" y="43"/>
                    </a:cubicBezTo>
                    <a:cubicBezTo>
                      <a:pt x="53" y="40"/>
                      <a:pt x="41" y="27"/>
                      <a:pt x="41" y="27"/>
                    </a:cubicBezTo>
                    <a:cubicBezTo>
                      <a:pt x="36" y="0"/>
                      <a:pt x="36" y="0"/>
                      <a:pt x="36" y="0"/>
                    </a:cubicBezTo>
                    <a:cubicBezTo>
                      <a:pt x="0" y="3"/>
                      <a:pt x="0" y="3"/>
                      <a:pt x="0" y="3"/>
                    </a:cubicBezTo>
                    <a:cubicBezTo>
                      <a:pt x="0" y="3"/>
                      <a:pt x="7" y="29"/>
                      <a:pt x="6" y="3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42">
                <a:extLst>
                  <a:ext uri="{FF2B5EF4-FFF2-40B4-BE49-F238E27FC236}">
                    <a16:creationId xmlns:a16="http://schemas.microsoft.com/office/drawing/2014/main" id="{9D9ABA12-5FF0-4BA5-8D84-8063C1BDEEBF}"/>
                  </a:ext>
                </a:extLst>
              </p:cNvPr>
              <p:cNvSpPr>
                <a:spLocks/>
              </p:cNvSpPr>
              <p:nvPr/>
            </p:nvSpPr>
            <p:spPr bwMode="auto">
              <a:xfrm>
                <a:off x="1175" y="3157"/>
                <a:ext cx="69" cy="53"/>
              </a:xfrm>
              <a:custGeom>
                <a:avLst/>
                <a:gdLst>
                  <a:gd name="T0" fmla="*/ 0 w 35"/>
                  <a:gd name="T1" fmla="*/ 0 h 27"/>
                  <a:gd name="T2" fmla="*/ 12 w 35"/>
                  <a:gd name="T3" fmla="*/ 15 h 27"/>
                  <a:gd name="T4" fmla="*/ 23 w 35"/>
                  <a:gd name="T5" fmla="*/ 23 h 27"/>
                  <a:gd name="T6" fmla="*/ 35 w 35"/>
                  <a:gd name="T7" fmla="*/ 27 h 27"/>
                  <a:gd name="T8" fmla="*/ 24 w 35"/>
                  <a:gd name="T9" fmla="*/ 8 h 27"/>
                  <a:gd name="T10" fmla="*/ 19 w 35"/>
                  <a:gd name="T11" fmla="*/ 9 h 27"/>
                  <a:gd name="T12" fmla="*/ 12 w 35"/>
                  <a:gd name="T13" fmla="*/ 5 h 27"/>
                  <a:gd name="T14" fmla="*/ 4 w 35"/>
                  <a:gd name="T15" fmla="*/ 2 h 27"/>
                  <a:gd name="T16" fmla="*/ 0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0" y="0"/>
                    </a:moveTo>
                    <a:cubicBezTo>
                      <a:pt x="2" y="6"/>
                      <a:pt x="10" y="12"/>
                      <a:pt x="12" y="15"/>
                    </a:cubicBezTo>
                    <a:cubicBezTo>
                      <a:pt x="15" y="19"/>
                      <a:pt x="19" y="20"/>
                      <a:pt x="23" y="23"/>
                    </a:cubicBezTo>
                    <a:cubicBezTo>
                      <a:pt x="26" y="27"/>
                      <a:pt x="35" y="27"/>
                      <a:pt x="35" y="27"/>
                    </a:cubicBezTo>
                    <a:cubicBezTo>
                      <a:pt x="32" y="24"/>
                      <a:pt x="26" y="9"/>
                      <a:pt x="24" y="8"/>
                    </a:cubicBezTo>
                    <a:cubicBezTo>
                      <a:pt x="23" y="7"/>
                      <a:pt x="22" y="9"/>
                      <a:pt x="19" y="9"/>
                    </a:cubicBezTo>
                    <a:cubicBezTo>
                      <a:pt x="16" y="9"/>
                      <a:pt x="15" y="4"/>
                      <a:pt x="12" y="5"/>
                    </a:cubicBezTo>
                    <a:cubicBezTo>
                      <a:pt x="9" y="6"/>
                      <a:pt x="6" y="6"/>
                      <a:pt x="4" y="2"/>
                    </a:cubicBezTo>
                    <a:cubicBezTo>
                      <a:pt x="3" y="1"/>
                      <a:pt x="2" y="0"/>
                      <a:pt x="0"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3">
                <a:extLst>
                  <a:ext uri="{FF2B5EF4-FFF2-40B4-BE49-F238E27FC236}">
                    <a16:creationId xmlns:a16="http://schemas.microsoft.com/office/drawing/2014/main" id="{8A697293-507D-491D-8CC1-4A62845E3072}"/>
                  </a:ext>
                </a:extLst>
              </p:cNvPr>
              <p:cNvSpPr>
                <a:spLocks/>
              </p:cNvSpPr>
              <p:nvPr/>
            </p:nvSpPr>
            <p:spPr bwMode="auto">
              <a:xfrm>
                <a:off x="1108" y="2167"/>
                <a:ext cx="224" cy="916"/>
              </a:xfrm>
              <a:custGeom>
                <a:avLst/>
                <a:gdLst>
                  <a:gd name="T0" fmla="*/ 76 w 114"/>
                  <a:gd name="T1" fmla="*/ 0 h 466"/>
                  <a:gd name="T2" fmla="*/ 111 w 114"/>
                  <a:gd name="T3" fmla="*/ 102 h 466"/>
                  <a:gd name="T4" fmla="*/ 71 w 114"/>
                  <a:gd name="T5" fmla="*/ 224 h 466"/>
                  <a:gd name="T6" fmla="*/ 65 w 114"/>
                  <a:gd name="T7" fmla="*/ 240 h 466"/>
                  <a:gd name="T8" fmla="*/ 79 w 114"/>
                  <a:gd name="T9" fmla="*/ 450 h 466"/>
                  <a:gd name="T10" fmla="*/ 28 w 114"/>
                  <a:gd name="T11" fmla="*/ 466 h 466"/>
                  <a:gd name="T12" fmla="*/ 4 w 114"/>
                  <a:gd name="T13" fmla="*/ 208 h 466"/>
                  <a:gd name="T14" fmla="*/ 76 w 114"/>
                  <a:gd name="T15" fmla="*/ 0 h 4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466">
                    <a:moveTo>
                      <a:pt x="76" y="0"/>
                    </a:moveTo>
                    <a:cubicBezTo>
                      <a:pt x="104" y="15"/>
                      <a:pt x="114" y="77"/>
                      <a:pt x="111" y="102"/>
                    </a:cubicBezTo>
                    <a:cubicBezTo>
                      <a:pt x="71" y="224"/>
                      <a:pt x="71" y="224"/>
                      <a:pt x="71" y="224"/>
                    </a:cubicBezTo>
                    <a:cubicBezTo>
                      <a:pt x="71" y="224"/>
                      <a:pt x="70" y="238"/>
                      <a:pt x="65" y="240"/>
                    </a:cubicBezTo>
                    <a:cubicBezTo>
                      <a:pt x="79" y="450"/>
                      <a:pt x="79" y="450"/>
                      <a:pt x="79" y="450"/>
                    </a:cubicBezTo>
                    <a:cubicBezTo>
                      <a:pt x="75" y="442"/>
                      <a:pt x="34" y="449"/>
                      <a:pt x="28" y="466"/>
                    </a:cubicBezTo>
                    <a:cubicBezTo>
                      <a:pt x="28" y="466"/>
                      <a:pt x="0" y="264"/>
                      <a:pt x="4" y="208"/>
                    </a:cubicBezTo>
                    <a:cubicBezTo>
                      <a:pt x="5" y="197"/>
                      <a:pt x="76" y="0"/>
                      <a:pt x="76" y="0"/>
                    </a:cubicBezTo>
                    <a:close/>
                  </a:path>
                </a:pathLst>
              </a:custGeom>
              <a:solidFill>
                <a:srgbClr val="CF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44">
                <a:extLst>
                  <a:ext uri="{FF2B5EF4-FFF2-40B4-BE49-F238E27FC236}">
                    <a16:creationId xmlns:a16="http://schemas.microsoft.com/office/drawing/2014/main" id="{C76A039C-460D-4FC3-85D1-707DFCF5E77E}"/>
                  </a:ext>
                </a:extLst>
              </p:cNvPr>
              <p:cNvSpPr>
                <a:spLocks/>
              </p:cNvSpPr>
              <p:nvPr/>
            </p:nvSpPr>
            <p:spPr bwMode="auto">
              <a:xfrm>
                <a:off x="1651" y="2299"/>
                <a:ext cx="91" cy="26"/>
              </a:xfrm>
              <a:custGeom>
                <a:avLst/>
                <a:gdLst>
                  <a:gd name="T0" fmla="*/ 0 w 46"/>
                  <a:gd name="T1" fmla="*/ 10 h 13"/>
                  <a:gd name="T2" fmla="*/ 46 w 46"/>
                  <a:gd name="T3" fmla="*/ 0 h 13"/>
                  <a:gd name="T4" fmla="*/ 43 w 46"/>
                  <a:gd name="T5" fmla="*/ 10 h 13"/>
                  <a:gd name="T6" fmla="*/ 0 w 46"/>
                  <a:gd name="T7" fmla="*/ 10 h 13"/>
                </a:gdLst>
                <a:ahLst/>
                <a:cxnLst>
                  <a:cxn ang="0">
                    <a:pos x="T0" y="T1"/>
                  </a:cxn>
                  <a:cxn ang="0">
                    <a:pos x="T2" y="T3"/>
                  </a:cxn>
                  <a:cxn ang="0">
                    <a:pos x="T4" y="T5"/>
                  </a:cxn>
                  <a:cxn ang="0">
                    <a:pos x="T6" y="T7"/>
                  </a:cxn>
                </a:cxnLst>
                <a:rect l="0" t="0" r="r" b="b"/>
                <a:pathLst>
                  <a:path w="46" h="13">
                    <a:moveTo>
                      <a:pt x="0" y="10"/>
                    </a:moveTo>
                    <a:cubicBezTo>
                      <a:pt x="0" y="10"/>
                      <a:pt x="26" y="9"/>
                      <a:pt x="46" y="0"/>
                    </a:cubicBezTo>
                    <a:cubicBezTo>
                      <a:pt x="45" y="6"/>
                      <a:pt x="43" y="10"/>
                      <a:pt x="43" y="10"/>
                    </a:cubicBezTo>
                    <a:cubicBezTo>
                      <a:pt x="43" y="10"/>
                      <a:pt x="16" y="13"/>
                      <a:pt x="0" y="10"/>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45">
                <a:extLst>
                  <a:ext uri="{FF2B5EF4-FFF2-40B4-BE49-F238E27FC236}">
                    <a16:creationId xmlns:a16="http://schemas.microsoft.com/office/drawing/2014/main" id="{67A775CC-265D-4958-8E5D-C7F64A41E46E}"/>
                  </a:ext>
                </a:extLst>
              </p:cNvPr>
              <p:cNvSpPr>
                <a:spLocks/>
              </p:cNvSpPr>
              <p:nvPr/>
            </p:nvSpPr>
            <p:spPr bwMode="auto">
              <a:xfrm>
                <a:off x="1671" y="2515"/>
                <a:ext cx="88" cy="18"/>
              </a:xfrm>
              <a:custGeom>
                <a:avLst/>
                <a:gdLst>
                  <a:gd name="T0" fmla="*/ 45 w 45"/>
                  <a:gd name="T1" fmla="*/ 7 h 9"/>
                  <a:gd name="T2" fmla="*/ 0 w 45"/>
                  <a:gd name="T3" fmla="*/ 5 h 9"/>
                  <a:gd name="T4" fmla="*/ 41 w 45"/>
                  <a:gd name="T5" fmla="*/ 0 h 9"/>
                  <a:gd name="T6" fmla="*/ 45 w 45"/>
                  <a:gd name="T7" fmla="*/ 7 h 9"/>
                </a:gdLst>
                <a:ahLst/>
                <a:cxnLst>
                  <a:cxn ang="0">
                    <a:pos x="T0" y="T1"/>
                  </a:cxn>
                  <a:cxn ang="0">
                    <a:pos x="T2" y="T3"/>
                  </a:cxn>
                  <a:cxn ang="0">
                    <a:pos x="T4" y="T5"/>
                  </a:cxn>
                  <a:cxn ang="0">
                    <a:pos x="T6" y="T7"/>
                  </a:cxn>
                </a:cxnLst>
                <a:rect l="0" t="0" r="r" b="b"/>
                <a:pathLst>
                  <a:path w="45" h="9">
                    <a:moveTo>
                      <a:pt x="45" y="7"/>
                    </a:moveTo>
                    <a:cubicBezTo>
                      <a:pt x="27" y="9"/>
                      <a:pt x="0" y="5"/>
                      <a:pt x="0" y="5"/>
                    </a:cubicBezTo>
                    <a:cubicBezTo>
                      <a:pt x="0" y="5"/>
                      <a:pt x="30" y="5"/>
                      <a:pt x="41" y="0"/>
                    </a:cubicBezTo>
                    <a:cubicBezTo>
                      <a:pt x="43" y="1"/>
                      <a:pt x="44" y="4"/>
                      <a:pt x="45" y="7"/>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46">
                <a:extLst>
                  <a:ext uri="{FF2B5EF4-FFF2-40B4-BE49-F238E27FC236}">
                    <a16:creationId xmlns:a16="http://schemas.microsoft.com/office/drawing/2014/main" id="{A2F1427E-BE57-4A0D-8CF3-43B2D58099BA}"/>
                  </a:ext>
                </a:extLst>
              </p:cNvPr>
              <p:cNvSpPr>
                <a:spLocks/>
              </p:cNvSpPr>
              <p:nvPr/>
            </p:nvSpPr>
            <p:spPr bwMode="auto">
              <a:xfrm>
                <a:off x="2203" y="2488"/>
                <a:ext cx="74" cy="135"/>
              </a:xfrm>
              <a:custGeom>
                <a:avLst/>
                <a:gdLst>
                  <a:gd name="T0" fmla="*/ 29 w 38"/>
                  <a:gd name="T1" fmla="*/ 5 h 69"/>
                  <a:gd name="T2" fmla="*/ 7 w 38"/>
                  <a:gd name="T3" fmla="*/ 50 h 69"/>
                  <a:gd name="T4" fmla="*/ 29 w 38"/>
                  <a:gd name="T5" fmla="*/ 66 h 69"/>
                  <a:gd name="T6" fmla="*/ 29 w 38"/>
                  <a:gd name="T7" fmla="*/ 5 h 69"/>
                </a:gdLst>
                <a:ahLst/>
                <a:cxnLst>
                  <a:cxn ang="0">
                    <a:pos x="T0" y="T1"/>
                  </a:cxn>
                  <a:cxn ang="0">
                    <a:pos x="T2" y="T3"/>
                  </a:cxn>
                  <a:cxn ang="0">
                    <a:pos x="T4" y="T5"/>
                  </a:cxn>
                  <a:cxn ang="0">
                    <a:pos x="T6" y="T7"/>
                  </a:cxn>
                </a:cxnLst>
                <a:rect l="0" t="0" r="r" b="b"/>
                <a:pathLst>
                  <a:path w="38" h="69">
                    <a:moveTo>
                      <a:pt x="29" y="5"/>
                    </a:moveTo>
                    <a:cubicBezTo>
                      <a:pt x="26" y="0"/>
                      <a:pt x="0" y="31"/>
                      <a:pt x="7" y="50"/>
                    </a:cubicBezTo>
                    <a:cubicBezTo>
                      <a:pt x="15" y="69"/>
                      <a:pt x="29" y="66"/>
                      <a:pt x="29" y="66"/>
                    </a:cubicBezTo>
                    <a:cubicBezTo>
                      <a:pt x="29" y="66"/>
                      <a:pt x="38" y="22"/>
                      <a:pt x="29" y="5"/>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47">
                <a:extLst>
                  <a:ext uri="{FF2B5EF4-FFF2-40B4-BE49-F238E27FC236}">
                    <a16:creationId xmlns:a16="http://schemas.microsoft.com/office/drawing/2014/main" id="{690C7863-66EC-42C7-B557-BA6FC57D795E}"/>
                  </a:ext>
                </a:extLst>
              </p:cNvPr>
              <p:cNvSpPr>
                <a:spLocks/>
              </p:cNvSpPr>
              <p:nvPr/>
            </p:nvSpPr>
            <p:spPr bwMode="auto">
              <a:xfrm>
                <a:off x="2087" y="2407"/>
                <a:ext cx="165" cy="114"/>
              </a:xfrm>
              <a:custGeom>
                <a:avLst/>
                <a:gdLst>
                  <a:gd name="T0" fmla="*/ 56 w 84"/>
                  <a:gd name="T1" fmla="*/ 0 h 58"/>
                  <a:gd name="T2" fmla="*/ 70 w 84"/>
                  <a:gd name="T3" fmla="*/ 17 h 58"/>
                  <a:gd name="T4" fmla="*/ 78 w 84"/>
                  <a:gd name="T5" fmla="*/ 47 h 58"/>
                  <a:gd name="T6" fmla="*/ 47 w 84"/>
                  <a:gd name="T7" fmla="*/ 52 h 58"/>
                  <a:gd name="T8" fmla="*/ 16 w 84"/>
                  <a:gd name="T9" fmla="*/ 50 h 58"/>
                  <a:gd name="T10" fmla="*/ 22 w 84"/>
                  <a:gd name="T11" fmla="*/ 47 h 58"/>
                  <a:gd name="T12" fmla="*/ 35 w 84"/>
                  <a:gd name="T13" fmla="*/ 43 h 58"/>
                  <a:gd name="T14" fmla="*/ 3 w 84"/>
                  <a:gd name="T15" fmla="*/ 34 h 58"/>
                  <a:gd name="T16" fmla="*/ 33 w 84"/>
                  <a:gd name="T17" fmla="*/ 33 h 58"/>
                  <a:gd name="T18" fmla="*/ 18 w 84"/>
                  <a:gd name="T19" fmla="*/ 26 h 58"/>
                  <a:gd name="T20" fmla="*/ 0 w 84"/>
                  <a:gd name="T21" fmla="*/ 18 h 58"/>
                  <a:gd name="T22" fmla="*/ 37 w 84"/>
                  <a:gd name="T23" fmla="*/ 23 h 58"/>
                  <a:gd name="T24" fmla="*/ 20 w 84"/>
                  <a:gd name="T25" fmla="*/ 16 h 58"/>
                  <a:gd name="T26" fmla="*/ 7 w 84"/>
                  <a:gd name="T27" fmla="*/ 7 h 58"/>
                  <a:gd name="T28" fmla="*/ 27 w 84"/>
                  <a:gd name="T29" fmla="*/ 13 h 58"/>
                  <a:gd name="T30" fmla="*/ 58 w 84"/>
                  <a:gd name="T31" fmla="*/ 20 h 58"/>
                  <a:gd name="T32" fmla="*/ 63 w 84"/>
                  <a:gd name="T33" fmla="*/ 20 h 58"/>
                  <a:gd name="T34" fmla="*/ 56 w 84"/>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58">
                    <a:moveTo>
                      <a:pt x="56" y="0"/>
                    </a:moveTo>
                    <a:cubicBezTo>
                      <a:pt x="56" y="0"/>
                      <a:pt x="56" y="0"/>
                      <a:pt x="70" y="17"/>
                    </a:cubicBezTo>
                    <a:cubicBezTo>
                      <a:pt x="84" y="34"/>
                      <a:pt x="81" y="35"/>
                      <a:pt x="78" y="47"/>
                    </a:cubicBezTo>
                    <a:cubicBezTo>
                      <a:pt x="75" y="58"/>
                      <a:pt x="55" y="55"/>
                      <a:pt x="47" y="52"/>
                    </a:cubicBezTo>
                    <a:cubicBezTo>
                      <a:pt x="40" y="49"/>
                      <a:pt x="22" y="53"/>
                      <a:pt x="16" y="50"/>
                    </a:cubicBezTo>
                    <a:cubicBezTo>
                      <a:pt x="14" y="48"/>
                      <a:pt x="16" y="47"/>
                      <a:pt x="22" y="47"/>
                    </a:cubicBezTo>
                    <a:cubicBezTo>
                      <a:pt x="29" y="46"/>
                      <a:pt x="35" y="43"/>
                      <a:pt x="35" y="43"/>
                    </a:cubicBezTo>
                    <a:cubicBezTo>
                      <a:pt x="31" y="36"/>
                      <a:pt x="6" y="41"/>
                      <a:pt x="3" y="34"/>
                    </a:cubicBezTo>
                    <a:cubicBezTo>
                      <a:pt x="1" y="30"/>
                      <a:pt x="31" y="37"/>
                      <a:pt x="33" y="33"/>
                    </a:cubicBezTo>
                    <a:cubicBezTo>
                      <a:pt x="33" y="33"/>
                      <a:pt x="32" y="30"/>
                      <a:pt x="18" y="26"/>
                    </a:cubicBezTo>
                    <a:cubicBezTo>
                      <a:pt x="9" y="23"/>
                      <a:pt x="1" y="21"/>
                      <a:pt x="0" y="18"/>
                    </a:cubicBezTo>
                    <a:cubicBezTo>
                      <a:pt x="0" y="13"/>
                      <a:pt x="16" y="21"/>
                      <a:pt x="37" y="23"/>
                    </a:cubicBezTo>
                    <a:cubicBezTo>
                      <a:pt x="37" y="23"/>
                      <a:pt x="28" y="19"/>
                      <a:pt x="20" y="16"/>
                    </a:cubicBezTo>
                    <a:cubicBezTo>
                      <a:pt x="13" y="12"/>
                      <a:pt x="6" y="10"/>
                      <a:pt x="7" y="7"/>
                    </a:cubicBezTo>
                    <a:cubicBezTo>
                      <a:pt x="9" y="5"/>
                      <a:pt x="20" y="10"/>
                      <a:pt x="27" y="13"/>
                    </a:cubicBezTo>
                    <a:cubicBezTo>
                      <a:pt x="41" y="18"/>
                      <a:pt x="52" y="20"/>
                      <a:pt x="58" y="20"/>
                    </a:cubicBezTo>
                    <a:cubicBezTo>
                      <a:pt x="61" y="20"/>
                      <a:pt x="63" y="20"/>
                      <a:pt x="63" y="20"/>
                    </a:cubicBezTo>
                    <a:cubicBezTo>
                      <a:pt x="49" y="1"/>
                      <a:pt x="56" y="0"/>
                      <a:pt x="56"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48">
                <a:extLst>
                  <a:ext uri="{FF2B5EF4-FFF2-40B4-BE49-F238E27FC236}">
                    <a16:creationId xmlns:a16="http://schemas.microsoft.com/office/drawing/2014/main" id="{BEBA337C-1902-4ADC-A996-3B6D96AE8449}"/>
                  </a:ext>
                </a:extLst>
              </p:cNvPr>
              <p:cNvSpPr>
                <a:spLocks/>
              </p:cNvSpPr>
              <p:nvPr/>
            </p:nvSpPr>
            <p:spPr bwMode="auto">
              <a:xfrm>
                <a:off x="2197" y="2446"/>
                <a:ext cx="19" cy="30"/>
              </a:xfrm>
              <a:custGeom>
                <a:avLst/>
                <a:gdLst>
                  <a:gd name="T0" fmla="*/ 7 w 10"/>
                  <a:gd name="T1" fmla="*/ 0 h 15"/>
                  <a:gd name="T2" fmla="*/ 10 w 10"/>
                  <a:gd name="T3" fmla="*/ 15 h 15"/>
                  <a:gd name="T4" fmla="*/ 2 w 10"/>
                  <a:gd name="T5" fmla="*/ 0 h 15"/>
                  <a:gd name="T6" fmla="*/ 7 w 10"/>
                  <a:gd name="T7" fmla="*/ 0 h 15"/>
                </a:gdLst>
                <a:ahLst/>
                <a:cxnLst>
                  <a:cxn ang="0">
                    <a:pos x="T0" y="T1"/>
                  </a:cxn>
                  <a:cxn ang="0">
                    <a:pos x="T2" y="T3"/>
                  </a:cxn>
                  <a:cxn ang="0">
                    <a:pos x="T4" y="T5"/>
                  </a:cxn>
                  <a:cxn ang="0">
                    <a:pos x="T6" y="T7"/>
                  </a:cxn>
                </a:cxnLst>
                <a:rect l="0" t="0" r="r" b="b"/>
                <a:pathLst>
                  <a:path w="10" h="15">
                    <a:moveTo>
                      <a:pt x="7" y="0"/>
                    </a:moveTo>
                    <a:cubicBezTo>
                      <a:pt x="7" y="0"/>
                      <a:pt x="5" y="9"/>
                      <a:pt x="10" y="15"/>
                    </a:cubicBezTo>
                    <a:cubicBezTo>
                      <a:pt x="10" y="15"/>
                      <a:pt x="0" y="12"/>
                      <a:pt x="2" y="0"/>
                    </a:cubicBezTo>
                    <a:cubicBezTo>
                      <a:pt x="5" y="0"/>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49">
                <a:extLst>
                  <a:ext uri="{FF2B5EF4-FFF2-40B4-BE49-F238E27FC236}">
                    <a16:creationId xmlns:a16="http://schemas.microsoft.com/office/drawing/2014/main" id="{C12938C6-5F07-46AC-98F5-C88716097F16}"/>
                  </a:ext>
                </a:extLst>
              </p:cNvPr>
              <p:cNvSpPr>
                <a:spLocks/>
              </p:cNvSpPr>
              <p:nvPr/>
            </p:nvSpPr>
            <p:spPr bwMode="auto">
              <a:xfrm>
                <a:off x="2210" y="2474"/>
                <a:ext cx="61" cy="127"/>
              </a:xfrm>
              <a:custGeom>
                <a:avLst/>
                <a:gdLst>
                  <a:gd name="T0" fmla="*/ 17 w 31"/>
                  <a:gd name="T1" fmla="*/ 0 h 65"/>
                  <a:gd name="T2" fmla="*/ 31 w 31"/>
                  <a:gd name="T3" fmla="*/ 33 h 65"/>
                  <a:gd name="T4" fmla="*/ 17 w 31"/>
                  <a:gd name="T5" fmla="*/ 65 h 65"/>
                  <a:gd name="T6" fmla="*/ 3 w 31"/>
                  <a:gd name="T7" fmla="*/ 15 h 65"/>
                  <a:gd name="T8" fmla="*/ 17 w 31"/>
                  <a:gd name="T9" fmla="*/ 0 h 65"/>
                </a:gdLst>
                <a:ahLst/>
                <a:cxnLst>
                  <a:cxn ang="0">
                    <a:pos x="T0" y="T1"/>
                  </a:cxn>
                  <a:cxn ang="0">
                    <a:pos x="T2" y="T3"/>
                  </a:cxn>
                  <a:cxn ang="0">
                    <a:pos x="T4" y="T5"/>
                  </a:cxn>
                  <a:cxn ang="0">
                    <a:pos x="T6" y="T7"/>
                  </a:cxn>
                  <a:cxn ang="0">
                    <a:pos x="T8" y="T9"/>
                  </a:cxn>
                </a:cxnLst>
                <a:rect l="0" t="0" r="r" b="b"/>
                <a:pathLst>
                  <a:path w="31" h="65">
                    <a:moveTo>
                      <a:pt x="17" y="0"/>
                    </a:moveTo>
                    <a:cubicBezTo>
                      <a:pt x="31" y="33"/>
                      <a:pt x="31" y="33"/>
                      <a:pt x="31" y="33"/>
                    </a:cubicBezTo>
                    <a:cubicBezTo>
                      <a:pt x="17" y="65"/>
                      <a:pt x="17" y="65"/>
                      <a:pt x="17" y="65"/>
                    </a:cubicBezTo>
                    <a:cubicBezTo>
                      <a:pt x="17" y="65"/>
                      <a:pt x="7" y="27"/>
                      <a:pt x="3" y="15"/>
                    </a:cubicBezTo>
                    <a:cubicBezTo>
                      <a:pt x="0" y="3"/>
                      <a:pt x="17" y="0"/>
                      <a:pt x="17"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50">
                <a:extLst>
                  <a:ext uri="{FF2B5EF4-FFF2-40B4-BE49-F238E27FC236}">
                    <a16:creationId xmlns:a16="http://schemas.microsoft.com/office/drawing/2014/main" id="{D6F98E6A-86F0-428B-A143-8A98AF375176}"/>
                  </a:ext>
                </a:extLst>
              </p:cNvPr>
              <p:cNvSpPr>
                <a:spLocks/>
              </p:cNvSpPr>
              <p:nvPr/>
            </p:nvSpPr>
            <p:spPr bwMode="auto">
              <a:xfrm>
                <a:off x="2216" y="2372"/>
                <a:ext cx="338" cy="473"/>
              </a:xfrm>
              <a:custGeom>
                <a:avLst/>
                <a:gdLst>
                  <a:gd name="T0" fmla="*/ 172 w 172"/>
                  <a:gd name="T1" fmla="*/ 0 h 241"/>
                  <a:gd name="T2" fmla="*/ 109 w 172"/>
                  <a:gd name="T3" fmla="*/ 30 h 241"/>
                  <a:gd name="T4" fmla="*/ 70 w 172"/>
                  <a:gd name="T5" fmla="*/ 151 h 241"/>
                  <a:gd name="T6" fmla="*/ 66 w 172"/>
                  <a:gd name="T7" fmla="*/ 146 h 241"/>
                  <a:gd name="T8" fmla="*/ 22 w 172"/>
                  <a:gd name="T9" fmla="*/ 64 h 241"/>
                  <a:gd name="T10" fmla="*/ 0 w 172"/>
                  <a:gd name="T11" fmla="*/ 109 h 241"/>
                  <a:gd name="T12" fmla="*/ 67 w 172"/>
                  <a:gd name="T13" fmla="*/ 234 h 241"/>
                  <a:gd name="T14" fmla="*/ 133 w 172"/>
                  <a:gd name="T15" fmla="*/ 136 h 241"/>
                  <a:gd name="T16" fmla="*/ 172 w 172"/>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241">
                    <a:moveTo>
                      <a:pt x="172" y="0"/>
                    </a:moveTo>
                    <a:cubicBezTo>
                      <a:pt x="172" y="0"/>
                      <a:pt x="124" y="17"/>
                      <a:pt x="109" y="30"/>
                    </a:cubicBezTo>
                    <a:cubicBezTo>
                      <a:pt x="70" y="151"/>
                      <a:pt x="70" y="151"/>
                      <a:pt x="70" y="151"/>
                    </a:cubicBezTo>
                    <a:cubicBezTo>
                      <a:pt x="70" y="151"/>
                      <a:pt x="69" y="143"/>
                      <a:pt x="66" y="146"/>
                    </a:cubicBezTo>
                    <a:cubicBezTo>
                      <a:pt x="22" y="64"/>
                      <a:pt x="22" y="64"/>
                      <a:pt x="22" y="64"/>
                    </a:cubicBezTo>
                    <a:cubicBezTo>
                      <a:pt x="22" y="64"/>
                      <a:pt x="21" y="109"/>
                      <a:pt x="0" y="109"/>
                    </a:cubicBezTo>
                    <a:cubicBezTo>
                      <a:pt x="0" y="109"/>
                      <a:pt x="43" y="228"/>
                      <a:pt x="67" y="234"/>
                    </a:cubicBezTo>
                    <a:cubicBezTo>
                      <a:pt x="91" y="241"/>
                      <a:pt x="133" y="136"/>
                      <a:pt x="133" y="136"/>
                    </a:cubicBezTo>
                    <a:lnTo>
                      <a:pt x="172" y="0"/>
                    </a:ln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1">
                <a:extLst>
                  <a:ext uri="{FF2B5EF4-FFF2-40B4-BE49-F238E27FC236}">
                    <a16:creationId xmlns:a16="http://schemas.microsoft.com/office/drawing/2014/main" id="{ABDD56E3-3ACC-47CC-BD88-4872790B7D80}"/>
                  </a:ext>
                </a:extLst>
              </p:cNvPr>
              <p:cNvSpPr>
                <a:spLocks/>
              </p:cNvSpPr>
              <p:nvPr/>
            </p:nvSpPr>
            <p:spPr bwMode="auto">
              <a:xfrm>
                <a:off x="2318" y="2501"/>
                <a:ext cx="434" cy="544"/>
              </a:xfrm>
              <a:custGeom>
                <a:avLst/>
                <a:gdLst>
                  <a:gd name="T0" fmla="*/ 0 w 221"/>
                  <a:gd name="T1" fmla="*/ 246 h 277"/>
                  <a:gd name="T2" fmla="*/ 203 w 221"/>
                  <a:gd name="T3" fmla="*/ 258 h 277"/>
                  <a:gd name="T4" fmla="*/ 177 w 221"/>
                  <a:gd name="T5" fmla="*/ 7 h 277"/>
                  <a:gd name="T6" fmla="*/ 90 w 221"/>
                  <a:gd name="T7" fmla="*/ 21 h 277"/>
                  <a:gd name="T8" fmla="*/ 0 w 221"/>
                  <a:gd name="T9" fmla="*/ 246 h 277"/>
                </a:gdLst>
                <a:ahLst/>
                <a:cxnLst>
                  <a:cxn ang="0">
                    <a:pos x="T0" y="T1"/>
                  </a:cxn>
                  <a:cxn ang="0">
                    <a:pos x="T2" y="T3"/>
                  </a:cxn>
                  <a:cxn ang="0">
                    <a:pos x="T4" y="T5"/>
                  </a:cxn>
                  <a:cxn ang="0">
                    <a:pos x="T6" y="T7"/>
                  </a:cxn>
                  <a:cxn ang="0">
                    <a:pos x="T8" y="T9"/>
                  </a:cxn>
                </a:cxnLst>
                <a:rect l="0" t="0" r="r" b="b"/>
                <a:pathLst>
                  <a:path w="221" h="277">
                    <a:moveTo>
                      <a:pt x="0" y="246"/>
                    </a:moveTo>
                    <a:cubicBezTo>
                      <a:pt x="20" y="225"/>
                      <a:pt x="185" y="239"/>
                      <a:pt x="203" y="258"/>
                    </a:cubicBezTo>
                    <a:cubicBezTo>
                      <a:pt x="221" y="277"/>
                      <a:pt x="177" y="7"/>
                      <a:pt x="177" y="7"/>
                    </a:cubicBezTo>
                    <a:cubicBezTo>
                      <a:pt x="177" y="7"/>
                      <a:pt x="95" y="0"/>
                      <a:pt x="90" y="21"/>
                    </a:cubicBezTo>
                    <a:cubicBezTo>
                      <a:pt x="66" y="133"/>
                      <a:pt x="0" y="246"/>
                      <a:pt x="0" y="246"/>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52">
                <a:extLst>
                  <a:ext uri="{FF2B5EF4-FFF2-40B4-BE49-F238E27FC236}">
                    <a16:creationId xmlns:a16="http://schemas.microsoft.com/office/drawing/2014/main" id="{4F7E0E59-321B-4F92-BDBB-453F53742256}"/>
                  </a:ext>
                </a:extLst>
              </p:cNvPr>
              <p:cNvSpPr>
                <a:spLocks/>
              </p:cNvSpPr>
              <p:nvPr/>
            </p:nvSpPr>
            <p:spPr bwMode="auto">
              <a:xfrm>
                <a:off x="2505" y="2315"/>
                <a:ext cx="221" cy="143"/>
              </a:xfrm>
              <a:custGeom>
                <a:avLst/>
                <a:gdLst>
                  <a:gd name="T0" fmla="*/ 50 w 113"/>
                  <a:gd name="T1" fmla="*/ 14 h 73"/>
                  <a:gd name="T2" fmla="*/ 108 w 113"/>
                  <a:gd name="T3" fmla="*/ 11 h 73"/>
                  <a:gd name="T4" fmla="*/ 113 w 113"/>
                  <a:gd name="T5" fmla="*/ 50 h 73"/>
                  <a:gd name="T6" fmla="*/ 27 w 113"/>
                  <a:gd name="T7" fmla="*/ 66 h 73"/>
                  <a:gd name="T8" fmla="*/ 50 w 113"/>
                  <a:gd name="T9" fmla="*/ 14 h 73"/>
                </a:gdLst>
                <a:ahLst/>
                <a:cxnLst>
                  <a:cxn ang="0">
                    <a:pos x="T0" y="T1"/>
                  </a:cxn>
                  <a:cxn ang="0">
                    <a:pos x="T2" y="T3"/>
                  </a:cxn>
                  <a:cxn ang="0">
                    <a:pos x="T4" y="T5"/>
                  </a:cxn>
                  <a:cxn ang="0">
                    <a:pos x="T6" y="T7"/>
                  </a:cxn>
                  <a:cxn ang="0">
                    <a:pos x="T8" y="T9"/>
                  </a:cxn>
                </a:cxnLst>
                <a:rect l="0" t="0" r="r" b="b"/>
                <a:pathLst>
                  <a:path w="113" h="73">
                    <a:moveTo>
                      <a:pt x="50" y="14"/>
                    </a:moveTo>
                    <a:cubicBezTo>
                      <a:pt x="50" y="14"/>
                      <a:pt x="81" y="0"/>
                      <a:pt x="108" y="11"/>
                    </a:cubicBezTo>
                    <a:cubicBezTo>
                      <a:pt x="113" y="50"/>
                      <a:pt x="113" y="50"/>
                      <a:pt x="113" y="50"/>
                    </a:cubicBezTo>
                    <a:cubicBezTo>
                      <a:pt x="113" y="50"/>
                      <a:pt x="48" y="73"/>
                      <a:pt x="27" y="66"/>
                    </a:cubicBezTo>
                    <a:cubicBezTo>
                      <a:pt x="6" y="59"/>
                      <a:pt x="0" y="43"/>
                      <a:pt x="50" y="14"/>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53">
                <a:extLst>
                  <a:ext uri="{FF2B5EF4-FFF2-40B4-BE49-F238E27FC236}">
                    <a16:creationId xmlns:a16="http://schemas.microsoft.com/office/drawing/2014/main" id="{16AAA58D-EE49-418E-85D5-AE7340C48153}"/>
                  </a:ext>
                </a:extLst>
              </p:cNvPr>
              <p:cNvSpPr>
                <a:spLocks/>
              </p:cNvSpPr>
              <p:nvPr/>
            </p:nvSpPr>
            <p:spPr bwMode="auto">
              <a:xfrm>
                <a:off x="2161" y="3850"/>
                <a:ext cx="155" cy="230"/>
              </a:xfrm>
              <a:custGeom>
                <a:avLst/>
                <a:gdLst>
                  <a:gd name="T0" fmla="*/ 1 w 79"/>
                  <a:gd name="T1" fmla="*/ 117 h 117"/>
                  <a:gd name="T2" fmla="*/ 31 w 79"/>
                  <a:gd name="T3" fmla="*/ 72 h 117"/>
                  <a:gd name="T4" fmla="*/ 50 w 79"/>
                  <a:gd name="T5" fmla="*/ 0 h 117"/>
                  <a:gd name="T6" fmla="*/ 79 w 79"/>
                  <a:gd name="T7" fmla="*/ 0 h 117"/>
                  <a:gd name="T8" fmla="*/ 61 w 79"/>
                  <a:gd name="T9" fmla="*/ 67 h 117"/>
                  <a:gd name="T10" fmla="*/ 62 w 79"/>
                  <a:gd name="T11" fmla="*/ 72 h 117"/>
                  <a:gd name="T12" fmla="*/ 64 w 79"/>
                  <a:gd name="T13" fmla="*/ 117 h 117"/>
                  <a:gd name="T14" fmla="*/ 0 w 79"/>
                  <a:gd name="T15" fmla="*/ 117 h 117"/>
                  <a:gd name="T16" fmla="*/ 1 w 79"/>
                  <a:gd name="T17" fmla="*/ 117 h 117"/>
                  <a:gd name="T18" fmla="*/ 1 w 79"/>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17">
                    <a:moveTo>
                      <a:pt x="1" y="117"/>
                    </a:moveTo>
                    <a:cubicBezTo>
                      <a:pt x="8" y="110"/>
                      <a:pt x="28" y="85"/>
                      <a:pt x="31" y="72"/>
                    </a:cubicBezTo>
                    <a:cubicBezTo>
                      <a:pt x="37" y="53"/>
                      <a:pt x="44" y="28"/>
                      <a:pt x="50" y="0"/>
                    </a:cubicBezTo>
                    <a:cubicBezTo>
                      <a:pt x="79" y="0"/>
                      <a:pt x="79" y="0"/>
                      <a:pt x="79" y="0"/>
                    </a:cubicBezTo>
                    <a:cubicBezTo>
                      <a:pt x="70" y="30"/>
                      <a:pt x="64" y="56"/>
                      <a:pt x="61" y="67"/>
                    </a:cubicBezTo>
                    <a:cubicBezTo>
                      <a:pt x="61" y="69"/>
                      <a:pt x="62" y="70"/>
                      <a:pt x="62" y="72"/>
                    </a:cubicBezTo>
                    <a:cubicBezTo>
                      <a:pt x="63" y="75"/>
                      <a:pt x="64" y="117"/>
                      <a:pt x="64" y="117"/>
                    </a:cubicBezTo>
                    <a:cubicBezTo>
                      <a:pt x="0" y="117"/>
                      <a:pt x="0" y="117"/>
                      <a:pt x="0" y="117"/>
                    </a:cubicBezTo>
                    <a:cubicBezTo>
                      <a:pt x="0" y="117"/>
                      <a:pt x="0" y="117"/>
                      <a:pt x="1" y="117"/>
                    </a:cubicBezTo>
                    <a:cubicBezTo>
                      <a:pt x="1" y="117"/>
                      <a:pt x="1" y="117"/>
                      <a:pt x="1" y="117"/>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54">
                <a:extLst>
                  <a:ext uri="{FF2B5EF4-FFF2-40B4-BE49-F238E27FC236}">
                    <a16:creationId xmlns:a16="http://schemas.microsoft.com/office/drawing/2014/main" id="{C732758D-B8FC-4F4B-9269-B178B04A002C}"/>
                  </a:ext>
                </a:extLst>
              </p:cNvPr>
              <p:cNvSpPr>
                <a:spLocks/>
              </p:cNvSpPr>
              <p:nvPr/>
            </p:nvSpPr>
            <p:spPr bwMode="auto">
              <a:xfrm>
                <a:off x="2558" y="3850"/>
                <a:ext cx="96" cy="230"/>
              </a:xfrm>
              <a:custGeom>
                <a:avLst/>
                <a:gdLst>
                  <a:gd name="T0" fmla="*/ 15 w 49"/>
                  <a:gd name="T1" fmla="*/ 0 h 117"/>
                  <a:gd name="T2" fmla="*/ 49 w 49"/>
                  <a:gd name="T3" fmla="*/ 0 h 117"/>
                  <a:gd name="T4" fmla="*/ 38 w 49"/>
                  <a:gd name="T5" fmla="*/ 65 h 117"/>
                  <a:gd name="T6" fmla="*/ 38 w 49"/>
                  <a:gd name="T7" fmla="*/ 117 h 117"/>
                  <a:gd name="T8" fmla="*/ 0 w 49"/>
                  <a:gd name="T9" fmla="*/ 117 h 117"/>
                  <a:gd name="T10" fmla="*/ 14 w 49"/>
                  <a:gd name="T11" fmla="*/ 35 h 117"/>
                  <a:gd name="T12" fmla="*/ 15 w 49"/>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9" h="117">
                    <a:moveTo>
                      <a:pt x="15" y="0"/>
                    </a:moveTo>
                    <a:cubicBezTo>
                      <a:pt x="49" y="0"/>
                      <a:pt x="49" y="0"/>
                      <a:pt x="49" y="0"/>
                    </a:cubicBezTo>
                    <a:cubicBezTo>
                      <a:pt x="42" y="35"/>
                      <a:pt x="38" y="65"/>
                      <a:pt x="38" y="65"/>
                    </a:cubicBezTo>
                    <a:cubicBezTo>
                      <a:pt x="38" y="117"/>
                      <a:pt x="38" y="117"/>
                      <a:pt x="38" y="117"/>
                    </a:cubicBezTo>
                    <a:cubicBezTo>
                      <a:pt x="0" y="117"/>
                      <a:pt x="0" y="117"/>
                      <a:pt x="0" y="117"/>
                    </a:cubicBezTo>
                    <a:cubicBezTo>
                      <a:pt x="4" y="101"/>
                      <a:pt x="14" y="55"/>
                      <a:pt x="14" y="35"/>
                    </a:cubicBezTo>
                    <a:cubicBezTo>
                      <a:pt x="14" y="24"/>
                      <a:pt x="15" y="12"/>
                      <a:pt x="15"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55">
                <a:extLst>
                  <a:ext uri="{FF2B5EF4-FFF2-40B4-BE49-F238E27FC236}">
                    <a16:creationId xmlns:a16="http://schemas.microsoft.com/office/drawing/2014/main" id="{E1420C2B-25DE-4F35-999D-6A0B74111D44}"/>
                  </a:ext>
                </a:extLst>
              </p:cNvPr>
              <p:cNvSpPr>
                <a:spLocks/>
              </p:cNvSpPr>
              <p:nvPr/>
            </p:nvSpPr>
            <p:spPr bwMode="auto">
              <a:xfrm>
                <a:off x="2244" y="2788"/>
                <a:ext cx="439" cy="1125"/>
              </a:xfrm>
              <a:custGeom>
                <a:avLst/>
                <a:gdLst>
                  <a:gd name="T0" fmla="*/ 0 w 224"/>
                  <a:gd name="T1" fmla="*/ 573 h 573"/>
                  <a:gd name="T2" fmla="*/ 49 w 224"/>
                  <a:gd name="T3" fmla="*/ 358 h 573"/>
                  <a:gd name="T4" fmla="*/ 58 w 224"/>
                  <a:gd name="T5" fmla="*/ 256 h 573"/>
                  <a:gd name="T6" fmla="*/ 97 w 224"/>
                  <a:gd name="T7" fmla="*/ 0 h 573"/>
                  <a:gd name="T8" fmla="*/ 171 w 224"/>
                  <a:gd name="T9" fmla="*/ 1 h 573"/>
                  <a:gd name="T10" fmla="*/ 156 w 224"/>
                  <a:gd name="T11" fmla="*/ 188 h 573"/>
                  <a:gd name="T12" fmla="*/ 113 w 224"/>
                  <a:gd name="T13" fmla="*/ 335 h 573"/>
                  <a:gd name="T14" fmla="*/ 75 w 224"/>
                  <a:gd name="T15" fmla="*/ 447 h 573"/>
                  <a:gd name="T16" fmla="*/ 28 w 224"/>
                  <a:gd name="T17" fmla="*/ 573 h 573"/>
                  <a:gd name="T18" fmla="*/ 0 w 224"/>
                  <a:gd name="T19"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573">
                    <a:moveTo>
                      <a:pt x="0" y="573"/>
                    </a:moveTo>
                    <a:cubicBezTo>
                      <a:pt x="21" y="495"/>
                      <a:pt x="46" y="377"/>
                      <a:pt x="49" y="358"/>
                    </a:cubicBezTo>
                    <a:cubicBezTo>
                      <a:pt x="51" y="345"/>
                      <a:pt x="53" y="305"/>
                      <a:pt x="58" y="256"/>
                    </a:cubicBezTo>
                    <a:cubicBezTo>
                      <a:pt x="59" y="200"/>
                      <a:pt x="66" y="72"/>
                      <a:pt x="97" y="0"/>
                    </a:cubicBezTo>
                    <a:cubicBezTo>
                      <a:pt x="171" y="1"/>
                      <a:pt x="171" y="1"/>
                      <a:pt x="171" y="1"/>
                    </a:cubicBezTo>
                    <a:cubicBezTo>
                      <a:pt x="168" y="59"/>
                      <a:pt x="224" y="121"/>
                      <a:pt x="156" y="188"/>
                    </a:cubicBezTo>
                    <a:cubicBezTo>
                      <a:pt x="147" y="213"/>
                      <a:pt x="118" y="297"/>
                      <a:pt x="113" y="335"/>
                    </a:cubicBezTo>
                    <a:cubicBezTo>
                      <a:pt x="108" y="379"/>
                      <a:pt x="100" y="398"/>
                      <a:pt x="75" y="447"/>
                    </a:cubicBezTo>
                    <a:cubicBezTo>
                      <a:pt x="53" y="490"/>
                      <a:pt x="37" y="539"/>
                      <a:pt x="28" y="573"/>
                    </a:cubicBezTo>
                    <a:lnTo>
                      <a:pt x="0" y="573"/>
                    </a:ln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56">
                <a:extLst>
                  <a:ext uri="{FF2B5EF4-FFF2-40B4-BE49-F238E27FC236}">
                    <a16:creationId xmlns:a16="http://schemas.microsoft.com/office/drawing/2014/main" id="{7CDA9442-FE01-4B5B-A3A5-214ED6B0CE4C}"/>
                  </a:ext>
                </a:extLst>
              </p:cNvPr>
              <p:cNvSpPr>
                <a:spLocks/>
              </p:cNvSpPr>
              <p:nvPr/>
            </p:nvSpPr>
            <p:spPr bwMode="auto">
              <a:xfrm>
                <a:off x="2434" y="2788"/>
                <a:ext cx="343" cy="1135"/>
              </a:xfrm>
              <a:custGeom>
                <a:avLst/>
                <a:gdLst>
                  <a:gd name="T0" fmla="*/ 154 w 175"/>
                  <a:gd name="T1" fmla="*/ 253 h 578"/>
                  <a:gd name="T2" fmla="*/ 154 w 175"/>
                  <a:gd name="T3" fmla="*/ 253 h 578"/>
                  <a:gd name="T4" fmla="*/ 139 w 175"/>
                  <a:gd name="T5" fmla="*/ 315 h 578"/>
                  <a:gd name="T6" fmla="*/ 134 w 175"/>
                  <a:gd name="T7" fmla="*/ 437 h 578"/>
                  <a:gd name="T8" fmla="*/ 105 w 175"/>
                  <a:gd name="T9" fmla="*/ 578 h 578"/>
                  <a:gd name="T10" fmla="*/ 77 w 175"/>
                  <a:gd name="T11" fmla="*/ 578 h 578"/>
                  <a:gd name="T12" fmla="*/ 77 w 175"/>
                  <a:gd name="T13" fmla="*/ 576 h 578"/>
                  <a:gd name="T14" fmla="*/ 89 w 175"/>
                  <a:gd name="T15" fmla="*/ 306 h 578"/>
                  <a:gd name="T16" fmla="*/ 82 w 175"/>
                  <a:gd name="T17" fmla="*/ 234 h 578"/>
                  <a:gd name="T18" fmla="*/ 60 w 175"/>
                  <a:gd name="T19" fmla="*/ 155 h 578"/>
                  <a:gd name="T20" fmla="*/ 0 w 175"/>
                  <a:gd name="T21" fmla="*/ 0 h 578"/>
                  <a:gd name="T22" fmla="*/ 111 w 175"/>
                  <a:gd name="T23" fmla="*/ 5 h 578"/>
                  <a:gd name="T24" fmla="*/ 159 w 175"/>
                  <a:gd name="T25" fmla="*/ 154 h 578"/>
                  <a:gd name="T26" fmla="*/ 159 w 175"/>
                  <a:gd name="T27" fmla="*/ 157 h 578"/>
                  <a:gd name="T28" fmla="*/ 154 w 175"/>
                  <a:gd name="T29" fmla="*/ 2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578">
                    <a:moveTo>
                      <a:pt x="154" y="253"/>
                    </a:moveTo>
                    <a:cubicBezTo>
                      <a:pt x="154" y="253"/>
                      <a:pt x="154" y="253"/>
                      <a:pt x="154" y="253"/>
                    </a:cubicBezTo>
                    <a:cubicBezTo>
                      <a:pt x="150" y="277"/>
                      <a:pt x="143" y="294"/>
                      <a:pt x="139" y="315"/>
                    </a:cubicBezTo>
                    <a:cubicBezTo>
                      <a:pt x="134" y="345"/>
                      <a:pt x="149" y="388"/>
                      <a:pt x="134" y="437"/>
                    </a:cubicBezTo>
                    <a:cubicBezTo>
                      <a:pt x="126" y="460"/>
                      <a:pt x="113" y="536"/>
                      <a:pt x="105" y="578"/>
                    </a:cubicBezTo>
                    <a:cubicBezTo>
                      <a:pt x="77" y="578"/>
                      <a:pt x="77" y="578"/>
                      <a:pt x="77" y="578"/>
                    </a:cubicBezTo>
                    <a:cubicBezTo>
                      <a:pt x="77" y="577"/>
                      <a:pt x="77" y="577"/>
                      <a:pt x="77" y="576"/>
                    </a:cubicBezTo>
                    <a:cubicBezTo>
                      <a:pt x="77" y="474"/>
                      <a:pt x="91" y="353"/>
                      <a:pt x="89" y="306"/>
                    </a:cubicBezTo>
                    <a:cubicBezTo>
                      <a:pt x="88" y="287"/>
                      <a:pt x="85" y="259"/>
                      <a:pt x="82" y="234"/>
                    </a:cubicBezTo>
                    <a:cubicBezTo>
                      <a:pt x="82" y="234"/>
                      <a:pt x="71" y="161"/>
                      <a:pt x="60" y="155"/>
                    </a:cubicBezTo>
                    <a:cubicBezTo>
                      <a:pt x="17" y="130"/>
                      <a:pt x="0" y="0"/>
                      <a:pt x="0" y="0"/>
                    </a:cubicBezTo>
                    <a:cubicBezTo>
                      <a:pt x="111" y="5"/>
                      <a:pt x="111" y="5"/>
                      <a:pt x="111" y="5"/>
                    </a:cubicBezTo>
                    <a:cubicBezTo>
                      <a:pt x="111" y="5"/>
                      <a:pt x="175" y="58"/>
                      <a:pt x="159" y="154"/>
                    </a:cubicBezTo>
                    <a:cubicBezTo>
                      <a:pt x="159" y="154"/>
                      <a:pt x="159" y="155"/>
                      <a:pt x="159" y="157"/>
                    </a:cubicBezTo>
                    <a:cubicBezTo>
                      <a:pt x="161" y="201"/>
                      <a:pt x="159" y="230"/>
                      <a:pt x="154" y="25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57">
                <a:extLst>
                  <a:ext uri="{FF2B5EF4-FFF2-40B4-BE49-F238E27FC236}">
                    <a16:creationId xmlns:a16="http://schemas.microsoft.com/office/drawing/2014/main" id="{448A143F-75E2-49B6-9C37-8364C6ADC139}"/>
                  </a:ext>
                </a:extLst>
              </p:cNvPr>
              <p:cNvSpPr>
                <a:spLocks/>
              </p:cNvSpPr>
              <p:nvPr/>
            </p:nvSpPr>
            <p:spPr bwMode="auto">
              <a:xfrm>
                <a:off x="2112" y="3978"/>
                <a:ext cx="189" cy="102"/>
              </a:xfrm>
              <a:custGeom>
                <a:avLst/>
                <a:gdLst>
                  <a:gd name="T0" fmla="*/ 93 w 96"/>
                  <a:gd name="T1" fmla="*/ 52 h 52"/>
                  <a:gd name="T2" fmla="*/ 88 w 96"/>
                  <a:gd name="T3" fmla="*/ 3 h 52"/>
                  <a:gd name="T4" fmla="*/ 68 w 96"/>
                  <a:gd name="T5" fmla="*/ 17 h 52"/>
                  <a:gd name="T6" fmla="*/ 52 w 96"/>
                  <a:gd name="T7" fmla="*/ 3 h 52"/>
                  <a:gd name="T8" fmla="*/ 28 w 96"/>
                  <a:gd name="T9" fmla="*/ 26 h 52"/>
                  <a:gd name="T10" fmla="*/ 0 w 96"/>
                  <a:gd name="T11" fmla="*/ 52 h 52"/>
                  <a:gd name="T12" fmla="*/ 9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93" y="52"/>
                    </a:moveTo>
                    <a:cubicBezTo>
                      <a:pt x="93" y="52"/>
                      <a:pt x="96" y="13"/>
                      <a:pt x="88" y="3"/>
                    </a:cubicBezTo>
                    <a:cubicBezTo>
                      <a:pt x="88" y="3"/>
                      <a:pt x="80" y="17"/>
                      <a:pt x="68" y="17"/>
                    </a:cubicBezTo>
                    <a:cubicBezTo>
                      <a:pt x="61" y="17"/>
                      <a:pt x="58" y="0"/>
                      <a:pt x="52" y="3"/>
                    </a:cubicBezTo>
                    <a:cubicBezTo>
                      <a:pt x="46" y="7"/>
                      <a:pt x="43" y="16"/>
                      <a:pt x="28" y="26"/>
                    </a:cubicBezTo>
                    <a:cubicBezTo>
                      <a:pt x="13" y="36"/>
                      <a:pt x="1" y="33"/>
                      <a:pt x="0" y="52"/>
                    </a:cubicBezTo>
                    <a:lnTo>
                      <a:pt x="93" y="52"/>
                    </a:ln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58">
                <a:extLst>
                  <a:ext uri="{FF2B5EF4-FFF2-40B4-BE49-F238E27FC236}">
                    <a16:creationId xmlns:a16="http://schemas.microsoft.com/office/drawing/2014/main" id="{920A1424-995E-4EA9-887B-98C1C0CBA0B1}"/>
                  </a:ext>
                </a:extLst>
              </p:cNvPr>
              <p:cNvSpPr>
                <a:spLocks/>
              </p:cNvSpPr>
              <p:nvPr/>
            </p:nvSpPr>
            <p:spPr bwMode="auto">
              <a:xfrm>
                <a:off x="2546" y="3976"/>
                <a:ext cx="115" cy="104"/>
              </a:xfrm>
              <a:custGeom>
                <a:avLst/>
                <a:gdLst>
                  <a:gd name="T0" fmla="*/ 49 w 59"/>
                  <a:gd name="T1" fmla="*/ 13 h 53"/>
                  <a:gd name="T2" fmla="*/ 31 w 59"/>
                  <a:gd name="T3" fmla="*/ 2 h 53"/>
                  <a:gd name="T4" fmla="*/ 14 w 59"/>
                  <a:gd name="T5" fmla="*/ 16 h 53"/>
                  <a:gd name="T6" fmla="*/ 9 w 59"/>
                  <a:gd name="T7" fmla="*/ 16 h 53"/>
                  <a:gd name="T8" fmla="*/ 4 w 59"/>
                  <a:gd name="T9" fmla="*/ 39 h 53"/>
                  <a:gd name="T10" fmla="*/ 1 w 59"/>
                  <a:gd name="T11" fmla="*/ 53 h 53"/>
                  <a:gd name="T12" fmla="*/ 53 w 59"/>
                  <a:gd name="T13" fmla="*/ 53 h 53"/>
                  <a:gd name="T14" fmla="*/ 51 w 59"/>
                  <a:gd name="T15" fmla="*/ 36 h 53"/>
                  <a:gd name="T16" fmla="*/ 49 w 59"/>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3">
                    <a:moveTo>
                      <a:pt x="49" y="13"/>
                    </a:moveTo>
                    <a:cubicBezTo>
                      <a:pt x="49" y="13"/>
                      <a:pt x="48" y="0"/>
                      <a:pt x="31" y="2"/>
                    </a:cubicBezTo>
                    <a:cubicBezTo>
                      <a:pt x="13" y="3"/>
                      <a:pt x="14" y="16"/>
                      <a:pt x="14" y="16"/>
                    </a:cubicBezTo>
                    <a:cubicBezTo>
                      <a:pt x="14" y="16"/>
                      <a:pt x="12" y="14"/>
                      <a:pt x="9" y="16"/>
                    </a:cubicBezTo>
                    <a:cubicBezTo>
                      <a:pt x="7" y="18"/>
                      <a:pt x="9" y="36"/>
                      <a:pt x="4" y="39"/>
                    </a:cubicBezTo>
                    <a:cubicBezTo>
                      <a:pt x="0" y="43"/>
                      <a:pt x="1" y="53"/>
                      <a:pt x="1" y="53"/>
                    </a:cubicBezTo>
                    <a:cubicBezTo>
                      <a:pt x="53" y="53"/>
                      <a:pt x="53" y="53"/>
                      <a:pt x="53" y="53"/>
                    </a:cubicBezTo>
                    <a:cubicBezTo>
                      <a:pt x="53" y="53"/>
                      <a:pt x="56" y="40"/>
                      <a:pt x="51" y="36"/>
                    </a:cubicBezTo>
                    <a:cubicBezTo>
                      <a:pt x="46" y="31"/>
                      <a:pt x="59" y="14"/>
                      <a:pt x="49" y="13"/>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59">
                <a:extLst>
                  <a:ext uri="{FF2B5EF4-FFF2-40B4-BE49-F238E27FC236}">
                    <a16:creationId xmlns:a16="http://schemas.microsoft.com/office/drawing/2014/main" id="{CF5A6236-97AD-4E0F-A524-11C8F40258F1}"/>
                  </a:ext>
                </a:extLst>
              </p:cNvPr>
              <p:cNvSpPr>
                <a:spLocks/>
              </p:cNvSpPr>
              <p:nvPr/>
            </p:nvSpPr>
            <p:spPr bwMode="auto">
              <a:xfrm>
                <a:off x="2295" y="2332"/>
                <a:ext cx="580" cy="1014"/>
              </a:xfrm>
              <a:custGeom>
                <a:avLst/>
                <a:gdLst>
                  <a:gd name="T0" fmla="*/ 200 w 296"/>
                  <a:gd name="T1" fmla="*/ 193 h 516"/>
                  <a:gd name="T2" fmla="*/ 240 w 296"/>
                  <a:gd name="T3" fmla="*/ 491 h 516"/>
                  <a:gd name="T4" fmla="*/ 115 w 296"/>
                  <a:gd name="T5" fmla="*/ 513 h 516"/>
                  <a:gd name="T6" fmla="*/ 0 w 296"/>
                  <a:gd name="T7" fmla="*/ 481 h 516"/>
                  <a:gd name="T8" fmla="*/ 83 w 296"/>
                  <a:gd name="T9" fmla="*/ 173 h 516"/>
                  <a:gd name="T10" fmla="*/ 122 w 296"/>
                  <a:gd name="T11" fmla="*/ 24 h 516"/>
                  <a:gd name="T12" fmla="*/ 123 w 296"/>
                  <a:gd name="T13" fmla="*/ 24 h 516"/>
                  <a:gd name="T14" fmla="*/ 243 w 296"/>
                  <a:gd name="T15" fmla="*/ 27 h 516"/>
                  <a:gd name="T16" fmla="*/ 251 w 296"/>
                  <a:gd name="T17" fmla="*/ 33 h 516"/>
                  <a:gd name="T18" fmla="*/ 200 w 296"/>
                  <a:gd name="T19" fmla="*/ 193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516">
                    <a:moveTo>
                      <a:pt x="200" y="193"/>
                    </a:moveTo>
                    <a:cubicBezTo>
                      <a:pt x="213" y="226"/>
                      <a:pt x="253" y="339"/>
                      <a:pt x="240" y="491"/>
                    </a:cubicBezTo>
                    <a:cubicBezTo>
                      <a:pt x="240" y="491"/>
                      <a:pt x="200" y="516"/>
                      <a:pt x="115" y="513"/>
                    </a:cubicBezTo>
                    <a:cubicBezTo>
                      <a:pt x="23" y="510"/>
                      <a:pt x="0" y="481"/>
                      <a:pt x="0" y="481"/>
                    </a:cubicBezTo>
                    <a:cubicBezTo>
                      <a:pt x="36" y="339"/>
                      <a:pt x="83" y="173"/>
                      <a:pt x="83" y="173"/>
                    </a:cubicBezTo>
                    <a:cubicBezTo>
                      <a:pt x="32" y="85"/>
                      <a:pt x="122" y="24"/>
                      <a:pt x="122" y="24"/>
                    </a:cubicBezTo>
                    <a:cubicBezTo>
                      <a:pt x="122" y="24"/>
                      <a:pt x="122" y="24"/>
                      <a:pt x="123" y="24"/>
                    </a:cubicBezTo>
                    <a:cubicBezTo>
                      <a:pt x="135" y="20"/>
                      <a:pt x="200" y="0"/>
                      <a:pt x="243" y="27"/>
                    </a:cubicBezTo>
                    <a:cubicBezTo>
                      <a:pt x="245" y="29"/>
                      <a:pt x="248" y="31"/>
                      <a:pt x="251" y="33"/>
                    </a:cubicBezTo>
                    <a:cubicBezTo>
                      <a:pt x="296" y="72"/>
                      <a:pt x="200" y="193"/>
                      <a:pt x="200" y="193"/>
                    </a:cubicBezTo>
                    <a:close/>
                  </a:path>
                </a:pathLst>
              </a:custGeom>
              <a:solidFill>
                <a:srgbClr val="CE36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60">
                <a:extLst>
                  <a:ext uri="{FF2B5EF4-FFF2-40B4-BE49-F238E27FC236}">
                    <a16:creationId xmlns:a16="http://schemas.microsoft.com/office/drawing/2014/main" id="{483217EB-7BF7-49C3-ADD1-647CB4959BFE}"/>
                  </a:ext>
                </a:extLst>
              </p:cNvPr>
              <p:cNvSpPr>
                <a:spLocks/>
              </p:cNvSpPr>
              <p:nvPr/>
            </p:nvSpPr>
            <p:spPr bwMode="auto">
              <a:xfrm>
                <a:off x="2724" y="2077"/>
                <a:ext cx="122" cy="287"/>
              </a:xfrm>
              <a:custGeom>
                <a:avLst/>
                <a:gdLst>
                  <a:gd name="T0" fmla="*/ 4 w 62"/>
                  <a:gd name="T1" fmla="*/ 20 h 146"/>
                  <a:gd name="T2" fmla="*/ 43 w 62"/>
                  <a:gd name="T3" fmla="*/ 18 h 146"/>
                  <a:gd name="T4" fmla="*/ 43 w 62"/>
                  <a:gd name="T5" fmla="*/ 77 h 146"/>
                  <a:gd name="T6" fmla="*/ 55 w 62"/>
                  <a:gd name="T7" fmla="*/ 94 h 146"/>
                  <a:gd name="T8" fmla="*/ 43 w 62"/>
                  <a:gd name="T9" fmla="*/ 107 h 146"/>
                  <a:gd name="T10" fmla="*/ 49 w 62"/>
                  <a:gd name="T11" fmla="*/ 122 h 146"/>
                  <a:gd name="T12" fmla="*/ 37 w 62"/>
                  <a:gd name="T13" fmla="*/ 129 h 146"/>
                  <a:gd name="T14" fmla="*/ 34 w 62"/>
                  <a:gd name="T15" fmla="*/ 146 h 146"/>
                  <a:gd name="T16" fmla="*/ 34 w 62"/>
                  <a:gd name="T17" fmla="*/ 135 h 146"/>
                  <a:gd name="T18" fmla="*/ 21 w 62"/>
                  <a:gd name="T19" fmla="*/ 127 h 146"/>
                  <a:gd name="T20" fmla="*/ 25 w 62"/>
                  <a:gd name="T21" fmla="*/ 110 h 146"/>
                  <a:gd name="T22" fmla="*/ 13 w 62"/>
                  <a:gd name="T23" fmla="*/ 98 h 146"/>
                  <a:gd name="T24" fmla="*/ 10 w 62"/>
                  <a:gd name="T25" fmla="*/ 78 h 146"/>
                  <a:gd name="T26" fmla="*/ 4 w 62"/>
                  <a:gd name="T27" fmla="*/ 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46">
                    <a:moveTo>
                      <a:pt x="4" y="20"/>
                    </a:moveTo>
                    <a:cubicBezTo>
                      <a:pt x="4" y="20"/>
                      <a:pt x="24" y="0"/>
                      <a:pt x="43" y="18"/>
                    </a:cubicBezTo>
                    <a:cubicBezTo>
                      <a:pt x="62" y="35"/>
                      <a:pt x="42" y="71"/>
                      <a:pt x="43" y="77"/>
                    </a:cubicBezTo>
                    <a:cubicBezTo>
                      <a:pt x="44" y="84"/>
                      <a:pt x="59" y="85"/>
                      <a:pt x="55" y="94"/>
                    </a:cubicBezTo>
                    <a:cubicBezTo>
                      <a:pt x="52" y="102"/>
                      <a:pt x="42" y="103"/>
                      <a:pt x="43" y="107"/>
                    </a:cubicBezTo>
                    <a:cubicBezTo>
                      <a:pt x="44" y="111"/>
                      <a:pt x="53" y="117"/>
                      <a:pt x="49" y="122"/>
                    </a:cubicBezTo>
                    <a:cubicBezTo>
                      <a:pt x="45" y="126"/>
                      <a:pt x="36" y="121"/>
                      <a:pt x="37" y="129"/>
                    </a:cubicBezTo>
                    <a:cubicBezTo>
                      <a:pt x="38" y="136"/>
                      <a:pt x="42" y="145"/>
                      <a:pt x="34" y="146"/>
                    </a:cubicBezTo>
                    <a:cubicBezTo>
                      <a:pt x="34" y="146"/>
                      <a:pt x="40" y="138"/>
                      <a:pt x="34" y="135"/>
                    </a:cubicBezTo>
                    <a:cubicBezTo>
                      <a:pt x="28" y="132"/>
                      <a:pt x="24" y="135"/>
                      <a:pt x="21" y="127"/>
                    </a:cubicBezTo>
                    <a:cubicBezTo>
                      <a:pt x="18" y="118"/>
                      <a:pt x="31" y="115"/>
                      <a:pt x="25" y="110"/>
                    </a:cubicBezTo>
                    <a:cubicBezTo>
                      <a:pt x="20" y="106"/>
                      <a:pt x="8" y="106"/>
                      <a:pt x="13" y="98"/>
                    </a:cubicBezTo>
                    <a:cubicBezTo>
                      <a:pt x="19" y="91"/>
                      <a:pt x="21" y="84"/>
                      <a:pt x="10" y="78"/>
                    </a:cubicBezTo>
                    <a:cubicBezTo>
                      <a:pt x="0" y="72"/>
                      <a:pt x="4" y="20"/>
                      <a:pt x="4" y="20"/>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61">
                <a:extLst>
                  <a:ext uri="{FF2B5EF4-FFF2-40B4-BE49-F238E27FC236}">
                    <a16:creationId xmlns:a16="http://schemas.microsoft.com/office/drawing/2014/main" id="{7F1F6FFA-EA26-48FC-84F6-DB83A25D99E7}"/>
                  </a:ext>
                </a:extLst>
              </p:cNvPr>
              <p:cNvSpPr>
                <a:spLocks/>
              </p:cNvSpPr>
              <p:nvPr/>
            </p:nvSpPr>
            <p:spPr bwMode="auto">
              <a:xfrm>
                <a:off x="2520" y="2097"/>
                <a:ext cx="118" cy="196"/>
              </a:xfrm>
              <a:custGeom>
                <a:avLst/>
                <a:gdLst>
                  <a:gd name="T0" fmla="*/ 24 w 60"/>
                  <a:gd name="T1" fmla="*/ 1 h 100"/>
                  <a:gd name="T2" fmla="*/ 27 w 60"/>
                  <a:gd name="T3" fmla="*/ 74 h 100"/>
                  <a:gd name="T4" fmla="*/ 24 w 60"/>
                  <a:gd name="T5" fmla="*/ 1 h 100"/>
                </a:gdLst>
                <a:ahLst/>
                <a:cxnLst>
                  <a:cxn ang="0">
                    <a:pos x="T0" y="T1"/>
                  </a:cxn>
                  <a:cxn ang="0">
                    <a:pos x="T2" y="T3"/>
                  </a:cxn>
                  <a:cxn ang="0">
                    <a:pos x="T4" y="T5"/>
                  </a:cxn>
                </a:cxnLst>
                <a:rect l="0" t="0" r="r" b="b"/>
                <a:pathLst>
                  <a:path w="60" h="100">
                    <a:moveTo>
                      <a:pt x="24" y="1"/>
                    </a:moveTo>
                    <a:cubicBezTo>
                      <a:pt x="2" y="0"/>
                      <a:pt x="0" y="48"/>
                      <a:pt x="27" y="74"/>
                    </a:cubicBezTo>
                    <a:cubicBezTo>
                      <a:pt x="53" y="100"/>
                      <a:pt x="60" y="2"/>
                      <a:pt x="24" y="1"/>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62">
                <a:extLst>
                  <a:ext uri="{FF2B5EF4-FFF2-40B4-BE49-F238E27FC236}">
                    <a16:creationId xmlns:a16="http://schemas.microsoft.com/office/drawing/2014/main" id="{6EEC2ADA-A66C-43FA-B488-BA329A5F469C}"/>
                  </a:ext>
                </a:extLst>
              </p:cNvPr>
              <p:cNvSpPr>
                <a:spLocks/>
              </p:cNvSpPr>
              <p:nvPr/>
            </p:nvSpPr>
            <p:spPr bwMode="auto">
              <a:xfrm>
                <a:off x="2534" y="2046"/>
                <a:ext cx="280" cy="277"/>
              </a:xfrm>
              <a:custGeom>
                <a:avLst/>
                <a:gdLst>
                  <a:gd name="T0" fmla="*/ 92 w 143"/>
                  <a:gd name="T1" fmla="*/ 22 h 141"/>
                  <a:gd name="T2" fmla="*/ 13 w 143"/>
                  <a:gd name="T3" fmla="*/ 46 h 141"/>
                  <a:gd name="T4" fmla="*/ 43 w 143"/>
                  <a:gd name="T5" fmla="*/ 138 h 141"/>
                  <a:gd name="T6" fmla="*/ 92 w 143"/>
                  <a:gd name="T7" fmla="*/ 22 h 141"/>
                </a:gdLst>
                <a:ahLst/>
                <a:cxnLst>
                  <a:cxn ang="0">
                    <a:pos x="T0" y="T1"/>
                  </a:cxn>
                  <a:cxn ang="0">
                    <a:pos x="T2" y="T3"/>
                  </a:cxn>
                  <a:cxn ang="0">
                    <a:pos x="T4" y="T5"/>
                  </a:cxn>
                  <a:cxn ang="0">
                    <a:pos x="T6" y="T7"/>
                  </a:cxn>
                </a:cxnLst>
                <a:rect l="0" t="0" r="r" b="b"/>
                <a:pathLst>
                  <a:path w="143" h="141">
                    <a:moveTo>
                      <a:pt x="92" y="22"/>
                    </a:moveTo>
                    <a:cubicBezTo>
                      <a:pt x="92" y="22"/>
                      <a:pt x="26" y="0"/>
                      <a:pt x="13" y="46"/>
                    </a:cubicBezTo>
                    <a:cubicBezTo>
                      <a:pt x="0" y="93"/>
                      <a:pt x="12" y="141"/>
                      <a:pt x="43" y="138"/>
                    </a:cubicBezTo>
                    <a:cubicBezTo>
                      <a:pt x="86" y="133"/>
                      <a:pt x="143" y="48"/>
                      <a:pt x="92"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63">
                <a:extLst>
                  <a:ext uri="{FF2B5EF4-FFF2-40B4-BE49-F238E27FC236}">
                    <a16:creationId xmlns:a16="http://schemas.microsoft.com/office/drawing/2014/main" id="{D62194F7-712A-439D-B2E6-FE78DBACAB26}"/>
                  </a:ext>
                </a:extLst>
              </p:cNvPr>
              <p:cNvSpPr>
                <a:spLocks/>
              </p:cNvSpPr>
              <p:nvPr/>
            </p:nvSpPr>
            <p:spPr bwMode="auto">
              <a:xfrm>
                <a:off x="2624" y="2207"/>
                <a:ext cx="26" cy="21"/>
              </a:xfrm>
              <a:custGeom>
                <a:avLst/>
                <a:gdLst>
                  <a:gd name="T0" fmla="*/ 13 w 13"/>
                  <a:gd name="T1" fmla="*/ 5 h 11"/>
                  <a:gd name="T2" fmla="*/ 7 w 13"/>
                  <a:gd name="T3" fmla="*/ 11 h 11"/>
                  <a:gd name="T4" fmla="*/ 0 w 13"/>
                  <a:gd name="T5" fmla="*/ 6 h 11"/>
                  <a:gd name="T6" fmla="*/ 6 w 13"/>
                  <a:gd name="T7" fmla="*/ 1 h 11"/>
                  <a:gd name="T8" fmla="*/ 13 w 13"/>
                  <a:gd name="T9" fmla="*/ 5 h 11"/>
                </a:gdLst>
                <a:ahLst/>
                <a:cxnLst>
                  <a:cxn ang="0">
                    <a:pos x="T0" y="T1"/>
                  </a:cxn>
                  <a:cxn ang="0">
                    <a:pos x="T2" y="T3"/>
                  </a:cxn>
                  <a:cxn ang="0">
                    <a:pos x="T4" y="T5"/>
                  </a:cxn>
                  <a:cxn ang="0">
                    <a:pos x="T6" y="T7"/>
                  </a:cxn>
                  <a:cxn ang="0">
                    <a:pos x="T8" y="T9"/>
                  </a:cxn>
                </a:cxnLst>
                <a:rect l="0" t="0" r="r" b="b"/>
                <a:pathLst>
                  <a:path w="13" h="11">
                    <a:moveTo>
                      <a:pt x="13" y="5"/>
                    </a:moveTo>
                    <a:cubicBezTo>
                      <a:pt x="13" y="8"/>
                      <a:pt x="11" y="10"/>
                      <a:pt x="7" y="11"/>
                    </a:cubicBezTo>
                    <a:cubicBezTo>
                      <a:pt x="4" y="11"/>
                      <a:pt x="1" y="9"/>
                      <a:pt x="0" y="6"/>
                    </a:cubicBezTo>
                    <a:cubicBezTo>
                      <a:pt x="0" y="4"/>
                      <a:pt x="3" y="1"/>
                      <a:pt x="6" y="1"/>
                    </a:cubicBezTo>
                    <a:cubicBezTo>
                      <a:pt x="9" y="0"/>
                      <a:pt x="13" y="2"/>
                      <a:pt x="13"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64">
                <a:extLst>
                  <a:ext uri="{FF2B5EF4-FFF2-40B4-BE49-F238E27FC236}">
                    <a16:creationId xmlns:a16="http://schemas.microsoft.com/office/drawing/2014/main" id="{9753737A-4A2B-4AB5-8250-F84446641695}"/>
                  </a:ext>
                </a:extLst>
              </p:cNvPr>
              <p:cNvSpPr>
                <a:spLocks/>
              </p:cNvSpPr>
              <p:nvPr/>
            </p:nvSpPr>
            <p:spPr bwMode="auto">
              <a:xfrm>
                <a:off x="2618" y="2146"/>
                <a:ext cx="24" cy="16"/>
              </a:xfrm>
              <a:custGeom>
                <a:avLst/>
                <a:gdLst>
                  <a:gd name="T0" fmla="*/ 11 w 12"/>
                  <a:gd name="T1" fmla="*/ 8 h 8"/>
                  <a:gd name="T2" fmla="*/ 10 w 12"/>
                  <a:gd name="T3" fmla="*/ 7 h 8"/>
                  <a:gd name="T4" fmla="*/ 2 w 12"/>
                  <a:gd name="T5" fmla="*/ 3 h 8"/>
                  <a:gd name="T6" fmla="*/ 0 w 12"/>
                  <a:gd name="T7" fmla="*/ 2 h 8"/>
                  <a:gd name="T8" fmla="*/ 1 w 12"/>
                  <a:gd name="T9" fmla="*/ 1 h 8"/>
                  <a:gd name="T10" fmla="*/ 12 w 12"/>
                  <a:gd name="T11" fmla="*/ 6 h 8"/>
                  <a:gd name="T12" fmla="*/ 12 w 12"/>
                  <a:gd name="T13" fmla="*/ 7 h 8"/>
                  <a:gd name="T14" fmla="*/ 11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11" y="8"/>
                    </a:moveTo>
                    <a:cubicBezTo>
                      <a:pt x="10" y="8"/>
                      <a:pt x="10" y="7"/>
                      <a:pt x="10" y="7"/>
                    </a:cubicBezTo>
                    <a:cubicBezTo>
                      <a:pt x="7" y="3"/>
                      <a:pt x="2" y="3"/>
                      <a:pt x="2" y="3"/>
                    </a:cubicBezTo>
                    <a:cubicBezTo>
                      <a:pt x="1" y="3"/>
                      <a:pt x="0" y="3"/>
                      <a:pt x="0" y="2"/>
                    </a:cubicBezTo>
                    <a:cubicBezTo>
                      <a:pt x="0" y="1"/>
                      <a:pt x="1" y="1"/>
                      <a:pt x="1" y="1"/>
                    </a:cubicBezTo>
                    <a:cubicBezTo>
                      <a:pt x="2" y="0"/>
                      <a:pt x="8" y="0"/>
                      <a:pt x="12" y="6"/>
                    </a:cubicBezTo>
                    <a:cubicBezTo>
                      <a:pt x="12" y="6"/>
                      <a:pt x="12" y="7"/>
                      <a:pt x="12" y="7"/>
                    </a:cubicBezTo>
                    <a:cubicBezTo>
                      <a:pt x="11" y="8"/>
                      <a:pt x="11" y="8"/>
                      <a:pt x="11" y="8"/>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65">
                <a:extLst>
                  <a:ext uri="{FF2B5EF4-FFF2-40B4-BE49-F238E27FC236}">
                    <a16:creationId xmlns:a16="http://schemas.microsoft.com/office/drawing/2014/main" id="{010268C9-13ED-49CC-A6B7-84621FE2300C}"/>
                  </a:ext>
                </a:extLst>
              </p:cNvPr>
              <p:cNvSpPr>
                <a:spLocks/>
              </p:cNvSpPr>
              <p:nvPr/>
            </p:nvSpPr>
            <p:spPr bwMode="auto">
              <a:xfrm>
                <a:off x="2558" y="2134"/>
                <a:ext cx="25" cy="14"/>
              </a:xfrm>
              <a:custGeom>
                <a:avLst/>
                <a:gdLst>
                  <a:gd name="T0" fmla="*/ 11 w 13"/>
                  <a:gd name="T1" fmla="*/ 7 h 7"/>
                  <a:gd name="T2" fmla="*/ 11 w 13"/>
                  <a:gd name="T3" fmla="*/ 6 h 7"/>
                  <a:gd name="T4" fmla="*/ 2 w 13"/>
                  <a:gd name="T5" fmla="*/ 5 h 7"/>
                  <a:gd name="T6" fmla="*/ 0 w 13"/>
                  <a:gd name="T7" fmla="*/ 4 h 7"/>
                  <a:gd name="T8" fmla="*/ 1 w 13"/>
                  <a:gd name="T9" fmla="*/ 3 h 7"/>
                  <a:gd name="T10" fmla="*/ 12 w 13"/>
                  <a:gd name="T11" fmla="*/ 4 h 7"/>
                  <a:gd name="T12" fmla="*/ 13 w 13"/>
                  <a:gd name="T13" fmla="*/ 6 h 7"/>
                  <a:gd name="T14" fmla="*/ 11 w 1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1" y="7"/>
                    </a:moveTo>
                    <a:cubicBezTo>
                      <a:pt x="11" y="7"/>
                      <a:pt x="11" y="6"/>
                      <a:pt x="11" y="6"/>
                    </a:cubicBezTo>
                    <a:cubicBezTo>
                      <a:pt x="7" y="3"/>
                      <a:pt x="2" y="5"/>
                      <a:pt x="2" y="5"/>
                    </a:cubicBezTo>
                    <a:cubicBezTo>
                      <a:pt x="1" y="5"/>
                      <a:pt x="0" y="5"/>
                      <a:pt x="0" y="4"/>
                    </a:cubicBezTo>
                    <a:cubicBezTo>
                      <a:pt x="0" y="4"/>
                      <a:pt x="0" y="3"/>
                      <a:pt x="1" y="3"/>
                    </a:cubicBezTo>
                    <a:cubicBezTo>
                      <a:pt x="1" y="3"/>
                      <a:pt x="7" y="0"/>
                      <a:pt x="12" y="4"/>
                    </a:cubicBezTo>
                    <a:cubicBezTo>
                      <a:pt x="13" y="5"/>
                      <a:pt x="13" y="6"/>
                      <a:pt x="13" y="6"/>
                    </a:cubicBezTo>
                    <a:cubicBezTo>
                      <a:pt x="12" y="6"/>
                      <a:pt x="12" y="7"/>
                      <a:pt x="11" y="7"/>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66">
                <a:extLst>
                  <a:ext uri="{FF2B5EF4-FFF2-40B4-BE49-F238E27FC236}">
                    <a16:creationId xmlns:a16="http://schemas.microsoft.com/office/drawing/2014/main" id="{C362A214-7B7C-4001-806E-76D0C187FD16}"/>
                  </a:ext>
                </a:extLst>
              </p:cNvPr>
              <p:cNvSpPr>
                <a:spLocks/>
              </p:cNvSpPr>
              <p:nvPr/>
            </p:nvSpPr>
            <p:spPr bwMode="auto">
              <a:xfrm>
                <a:off x="2567" y="2242"/>
                <a:ext cx="53" cy="41"/>
              </a:xfrm>
              <a:custGeom>
                <a:avLst/>
                <a:gdLst>
                  <a:gd name="T0" fmla="*/ 0 w 27"/>
                  <a:gd name="T1" fmla="*/ 0 h 21"/>
                  <a:gd name="T2" fmla="*/ 27 w 27"/>
                  <a:gd name="T3" fmla="*/ 1 h 21"/>
                  <a:gd name="T4" fmla="*/ 11 w 27"/>
                  <a:gd name="T5" fmla="*/ 19 h 21"/>
                  <a:gd name="T6" fmla="*/ 0 w 27"/>
                  <a:gd name="T7" fmla="*/ 0 h 21"/>
                </a:gdLst>
                <a:ahLst/>
                <a:cxnLst>
                  <a:cxn ang="0">
                    <a:pos x="T0" y="T1"/>
                  </a:cxn>
                  <a:cxn ang="0">
                    <a:pos x="T2" y="T3"/>
                  </a:cxn>
                  <a:cxn ang="0">
                    <a:pos x="T4" y="T5"/>
                  </a:cxn>
                  <a:cxn ang="0">
                    <a:pos x="T6" y="T7"/>
                  </a:cxn>
                </a:cxnLst>
                <a:rect l="0" t="0" r="r" b="b"/>
                <a:pathLst>
                  <a:path w="27" h="21">
                    <a:moveTo>
                      <a:pt x="0" y="0"/>
                    </a:moveTo>
                    <a:cubicBezTo>
                      <a:pt x="0" y="0"/>
                      <a:pt x="10" y="6"/>
                      <a:pt x="27" y="1"/>
                    </a:cubicBezTo>
                    <a:cubicBezTo>
                      <a:pt x="27" y="1"/>
                      <a:pt x="22" y="21"/>
                      <a:pt x="11" y="19"/>
                    </a:cubicBezTo>
                    <a:cubicBezTo>
                      <a:pt x="0" y="16"/>
                      <a:pt x="0" y="0"/>
                      <a:pt x="0"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67">
                <a:extLst>
                  <a:ext uri="{FF2B5EF4-FFF2-40B4-BE49-F238E27FC236}">
                    <a16:creationId xmlns:a16="http://schemas.microsoft.com/office/drawing/2014/main" id="{F202C181-FD38-4EE8-91CF-EB62179A5D95}"/>
                  </a:ext>
                </a:extLst>
              </p:cNvPr>
              <p:cNvSpPr>
                <a:spLocks/>
              </p:cNvSpPr>
              <p:nvPr/>
            </p:nvSpPr>
            <p:spPr bwMode="auto">
              <a:xfrm>
                <a:off x="2663" y="2109"/>
                <a:ext cx="112" cy="170"/>
              </a:xfrm>
              <a:custGeom>
                <a:avLst/>
                <a:gdLst>
                  <a:gd name="T0" fmla="*/ 0 w 57"/>
                  <a:gd name="T1" fmla="*/ 14 h 87"/>
                  <a:gd name="T2" fmla="*/ 14 w 57"/>
                  <a:gd name="T3" fmla="*/ 58 h 87"/>
                  <a:gd name="T4" fmla="*/ 31 w 57"/>
                  <a:gd name="T5" fmla="*/ 56 h 87"/>
                  <a:gd name="T6" fmla="*/ 13 w 57"/>
                  <a:gd name="T7" fmla="*/ 85 h 87"/>
                  <a:gd name="T8" fmla="*/ 55 w 57"/>
                  <a:gd name="T9" fmla="*/ 39 h 87"/>
                  <a:gd name="T10" fmla="*/ 0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0" y="14"/>
                    </a:moveTo>
                    <a:cubicBezTo>
                      <a:pt x="0" y="14"/>
                      <a:pt x="15" y="33"/>
                      <a:pt x="14" y="58"/>
                    </a:cubicBezTo>
                    <a:cubicBezTo>
                      <a:pt x="14" y="58"/>
                      <a:pt x="25" y="44"/>
                      <a:pt x="31" y="56"/>
                    </a:cubicBezTo>
                    <a:cubicBezTo>
                      <a:pt x="37" y="68"/>
                      <a:pt x="13" y="85"/>
                      <a:pt x="13" y="85"/>
                    </a:cubicBezTo>
                    <a:cubicBezTo>
                      <a:pt x="13" y="85"/>
                      <a:pt x="51" y="87"/>
                      <a:pt x="55" y="39"/>
                    </a:cubicBezTo>
                    <a:cubicBezTo>
                      <a:pt x="57" y="19"/>
                      <a:pt x="31" y="0"/>
                      <a:pt x="0" y="14"/>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68">
                <a:extLst>
                  <a:ext uri="{FF2B5EF4-FFF2-40B4-BE49-F238E27FC236}">
                    <a16:creationId xmlns:a16="http://schemas.microsoft.com/office/drawing/2014/main" id="{B2AB5164-0DF6-4361-B220-F383BB314DBA}"/>
                  </a:ext>
                </a:extLst>
              </p:cNvPr>
              <p:cNvSpPr>
                <a:spLocks/>
              </p:cNvSpPr>
              <p:nvPr/>
            </p:nvSpPr>
            <p:spPr bwMode="auto">
              <a:xfrm>
                <a:off x="2575" y="2256"/>
                <a:ext cx="128" cy="153"/>
              </a:xfrm>
              <a:custGeom>
                <a:avLst/>
                <a:gdLst>
                  <a:gd name="T0" fmla="*/ 58 w 65"/>
                  <a:gd name="T1" fmla="*/ 0 h 78"/>
                  <a:gd name="T2" fmla="*/ 13 w 65"/>
                  <a:gd name="T3" fmla="*/ 30 h 78"/>
                  <a:gd name="T4" fmla="*/ 9 w 65"/>
                  <a:gd name="T5" fmla="*/ 58 h 78"/>
                  <a:gd name="T6" fmla="*/ 21 w 65"/>
                  <a:gd name="T7" fmla="*/ 75 h 78"/>
                  <a:gd name="T8" fmla="*/ 61 w 65"/>
                  <a:gd name="T9" fmla="*/ 58 h 78"/>
                  <a:gd name="T10" fmla="*/ 65 w 65"/>
                  <a:gd name="T11" fmla="*/ 2 h 78"/>
                  <a:gd name="T12" fmla="*/ 58 w 65"/>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5" h="78">
                    <a:moveTo>
                      <a:pt x="58" y="0"/>
                    </a:moveTo>
                    <a:cubicBezTo>
                      <a:pt x="53" y="13"/>
                      <a:pt x="33" y="37"/>
                      <a:pt x="13" y="30"/>
                    </a:cubicBezTo>
                    <a:cubicBezTo>
                      <a:pt x="13" y="30"/>
                      <a:pt x="18" y="50"/>
                      <a:pt x="9" y="58"/>
                    </a:cubicBezTo>
                    <a:cubicBezTo>
                      <a:pt x="9" y="58"/>
                      <a:pt x="0" y="73"/>
                      <a:pt x="21" y="75"/>
                    </a:cubicBezTo>
                    <a:cubicBezTo>
                      <a:pt x="47" y="78"/>
                      <a:pt x="61" y="58"/>
                      <a:pt x="61" y="58"/>
                    </a:cubicBezTo>
                    <a:cubicBezTo>
                      <a:pt x="50" y="33"/>
                      <a:pt x="65" y="2"/>
                      <a:pt x="65" y="2"/>
                    </a:cubicBezTo>
                    <a:cubicBezTo>
                      <a:pt x="59" y="6"/>
                      <a:pt x="58" y="0"/>
                      <a:pt x="58"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69">
                <a:extLst>
                  <a:ext uri="{FF2B5EF4-FFF2-40B4-BE49-F238E27FC236}">
                    <a16:creationId xmlns:a16="http://schemas.microsoft.com/office/drawing/2014/main" id="{CC0950B2-C6BC-48FD-B4BE-CBCB2FE66209}"/>
                  </a:ext>
                </a:extLst>
              </p:cNvPr>
              <p:cNvSpPr>
                <a:spLocks/>
              </p:cNvSpPr>
              <p:nvPr/>
            </p:nvSpPr>
            <p:spPr bwMode="auto">
              <a:xfrm>
                <a:off x="2559" y="2199"/>
                <a:ext cx="24" cy="29"/>
              </a:xfrm>
              <a:custGeom>
                <a:avLst/>
                <a:gdLst>
                  <a:gd name="T0" fmla="*/ 7 w 12"/>
                  <a:gd name="T1" fmla="*/ 15 h 15"/>
                  <a:gd name="T2" fmla="*/ 8 w 12"/>
                  <a:gd name="T3" fmla="*/ 12 h 15"/>
                  <a:gd name="T4" fmla="*/ 5 w 12"/>
                  <a:gd name="T5" fmla="*/ 6 h 15"/>
                  <a:gd name="T6" fmla="*/ 7 w 12"/>
                  <a:gd name="T7" fmla="*/ 3 h 15"/>
                  <a:gd name="T8" fmla="*/ 11 w 12"/>
                  <a:gd name="T9" fmla="*/ 4 h 15"/>
                  <a:gd name="T10" fmla="*/ 12 w 12"/>
                  <a:gd name="T11" fmla="*/ 1 h 15"/>
                  <a:gd name="T12" fmla="*/ 6 w 12"/>
                  <a:gd name="T13" fmla="*/ 1 h 15"/>
                  <a:gd name="T14" fmla="*/ 2 w 12"/>
                  <a:gd name="T15" fmla="*/ 5 h 15"/>
                  <a:gd name="T16" fmla="*/ 7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7" y="15"/>
                    </a:moveTo>
                    <a:cubicBezTo>
                      <a:pt x="8" y="12"/>
                      <a:pt x="8" y="12"/>
                      <a:pt x="8" y="12"/>
                    </a:cubicBezTo>
                    <a:cubicBezTo>
                      <a:pt x="8" y="12"/>
                      <a:pt x="3" y="10"/>
                      <a:pt x="5" y="6"/>
                    </a:cubicBezTo>
                    <a:cubicBezTo>
                      <a:pt x="6" y="5"/>
                      <a:pt x="6" y="4"/>
                      <a:pt x="7" y="3"/>
                    </a:cubicBezTo>
                    <a:cubicBezTo>
                      <a:pt x="9" y="3"/>
                      <a:pt x="11" y="4"/>
                      <a:pt x="11" y="4"/>
                    </a:cubicBezTo>
                    <a:cubicBezTo>
                      <a:pt x="12" y="1"/>
                      <a:pt x="12" y="1"/>
                      <a:pt x="12" y="1"/>
                    </a:cubicBezTo>
                    <a:cubicBezTo>
                      <a:pt x="12" y="1"/>
                      <a:pt x="9" y="0"/>
                      <a:pt x="6" y="1"/>
                    </a:cubicBezTo>
                    <a:cubicBezTo>
                      <a:pt x="5" y="1"/>
                      <a:pt x="3" y="3"/>
                      <a:pt x="2" y="5"/>
                    </a:cubicBezTo>
                    <a:cubicBezTo>
                      <a:pt x="0" y="10"/>
                      <a:pt x="4" y="14"/>
                      <a:pt x="7"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70">
                <a:extLst>
                  <a:ext uri="{FF2B5EF4-FFF2-40B4-BE49-F238E27FC236}">
                    <a16:creationId xmlns:a16="http://schemas.microsoft.com/office/drawing/2014/main" id="{86D453AF-C238-40D6-BC2B-82C73BF940CE}"/>
                  </a:ext>
                </a:extLst>
              </p:cNvPr>
              <p:cNvSpPr>
                <a:spLocks/>
              </p:cNvSpPr>
              <p:nvPr/>
            </p:nvSpPr>
            <p:spPr bwMode="auto">
              <a:xfrm>
                <a:off x="2616" y="2181"/>
                <a:ext cx="14" cy="22"/>
              </a:xfrm>
              <a:custGeom>
                <a:avLst/>
                <a:gdLst>
                  <a:gd name="T0" fmla="*/ 7 w 7"/>
                  <a:gd name="T1" fmla="*/ 6 h 11"/>
                  <a:gd name="T2" fmla="*/ 3 w 7"/>
                  <a:gd name="T3" fmla="*/ 11 h 11"/>
                  <a:gd name="T4" fmla="*/ 0 w 7"/>
                  <a:gd name="T5" fmla="*/ 6 h 11"/>
                  <a:gd name="T6" fmla="*/ 4 w 7"/>
                  <a:gd name="T7" fmla="*/ 1 h 11"/>
                  <a:gd name="T8" fmla="*/ 7 w 7"/>
                  <a:gd name="T9" fmla="*/ 6 h 11"/>
                </a:gdLst>
                <a:ahLst/>
                <a:cxnLst>
                  <a:cxn ang="0">
                    <a:pos x="T0" y="T1"/>
                  </a:cxn>
                  <a:cxn ang="0">
                    <a:pos x="T2" y="T3"/>
                  </a:cxn>
                  <a:cxn ang="0">
                    <a:pos x="T4" y="T5"/>
                  </a:cxn>
                  <a:cxn ang="0">
                    <a:pos x="T6" y="T7"/>
                  </a:cxn>
                  <a:cxn ang="0">
                    <a:pos x="T8" y="T9"/>
                  </a:cxn>
                </a:cxnLst>
                <a:rect l="0" t="0" r="r" b="b"/>
                <a:pathLst>
                  <a:path w="7" h="11">
                    <a:moveTo>
                      <a:pt x="7" y="6"/>
                    </a:moveTo>
                    <a:cubicBezTo>
                      <a:pt x="7" y="9"/>
                      <a:pt x="5" y="11"/>
                      <a:pt x="3" y="11"/>
                    </a:cubicBezTo>
                    <a:cubicBezTo>
                      <a:pt x="2" y="11"/>
                      <a:pt x="0" y="9"/>
                      <a:pt x="0" y="6"/>
                    </a:cubicBezTo>
                    <a:cubicBezTo>
                      <a:pt x="1" y="3"/>
                      <a:pt x="2" y="0"/>
                      <a:pt x="4" y="1"/>
                    </a:cubicBezTo>
                    <a:cubicBezTo>
                      <a:pt x="6" y="1"/>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1">
                <a:extLst>
                  <a:ext uri="{FF2B5EF4-FFF2-40B4-BE49-F238E27FC236}">
                    <a16:creationId xmlns:a16="http://schemas.microsoft.com/office/drawing/2014/main" id="{41B7AB76-E69A-44AA-AB29-7D2ED6A93BEC}"/>
                  </a:ext>
                </a:extLst>
              </p:cNvPr>
              <p:cNvSpPr>
                <a:spLocks/>
              </p:cNvSpPr>
              <p:nvPr/>
            </p:nvSpPr>
            <p:spPr bwMode="auto">
              <a:xfrm>
                <a:off x="2605" y="2173"/>
                <a:ext cx="29" cy="18"/>
              </a:xfrm>
              <a:custGeom>
                <a:avLst/>
                <a:gdLst>
                  <a:gd name="T0" fmla="*/ 15 w 15"/>
                  <a:gd name="T1" fmla="*/ 9 h 9"/>
                  <a:gd name="T2" fmla="*/ 11 w 15"/>
                  <a:gd name="T3" fmla="*/ 2 h 9"/>
                  <a:gd name="T4" fmla="*/ 5 w 15"/>
                  <a:gd name="T5" fmla="*/ 7 h 9"/>
                  <a:gd name="T6" fmla="*/ 0 w 15"/>
                  <a:gd name="T7" fmla="*/ 4 h 9"/>
                  <a:gd name="T8" fmla="*/ 4 w 15"/>
                  <a:gd name="T9" fmla="*/ 5 h 9"/>
                  <a:gd name="T10" fmla="*/ 11 w 15"/>
                  <a:gd name="T11" fmla="*/ 1 h 9"/>
                  <a:gd name="T12" fmla="*/ 15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5" y="9"/>
                    </a:moveTo>
                    <a:cubicBezTo>
                      <a:pt x="15" y="9"/>
                      <a:pt x="13" y="3"/>
                      <a:pt x="11" y="2"/>
                    </a:cubicBezTo>
                    <a:cubicBezTo>
                      <a:pt x="9" y="2"/>
                      <a:pt x="5" y="7"/>
                      <a:pt x="5" y="7"/>
                    </a:cubicBezTo>
                    <a:cubicBezTo>
                      <a:pt x="0" y="4"/>
                      <a:pt x="0" y="4"/>
                      <a:pt x="0" y="4"/>
                    </a:cubicBezTo>
                    <a:cubicBezTo>
                      <a:pt x="4" y="5"/>
                      <a:pt x="4" y="5"/>
                      <a:pt x="4" y="5"/>
                    </a:cubicBezTo>
                    <a:cubicBezTo>
                      <a:pt x="4" y="5"/>
                      <a:pt x="8" y="0"/>
                      <a:pt x="11" y="1"/>
                    </a:cubicBezTo>
                    <a:cubicBezTo>
                      <a:pt x="15" y="2"/>
                      <a:pt x="15" y="9"/>
                      <a:pt x="15"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72">
                <a:extLst>
                  <a:ext uri="{FF2B5EF4-FFF2-40B4-BE49-F238E27FC236}">
                    <a16:creationId xmlns:a16="http://schemas.microsoft.com/office/drawing/2014/main" id="{77842CBC-65FA-47E5-BB53-38C4B43C91FF}"/>
                  </a:ext>
                </a:extLst>
              </p:cNvPr>
              <p:cNvSpPr>
                <a:spLocks/>
              </p:cNvSpPr>
              <p:nvPr/>
            </p:nvSpPr>
            <p:spPr bwMode="auto">
              <a:xfrm>
                <a:off x="2563" y="2173"/>
                <a:ext cx="14" cy="22"/>
              </a:xfrm>
              <a:custGeom>
                <a:avLst/>
                <a:gdLst>
                  <a:gd name="T0" fmla="*/ 7 w 7"/>
                  <a:gd name="T1" fmla="*/ 6 h 11"/>
                  <a:gd name="T2" fmla="*/ 3 w 7"/>
                  <a:gd name="T3" fmla="*/ 11 h 11"/>
                  <a:gd name="T4" fmla="*/ 0 w 7"/>
                  <a:gd name="T5" fmla="*/ 5 h 11"/>
                  <a:gd name="T6" fmla="*/ 4 w 7"/>
                  <a:gd name="T7" fmla="*/ 0 h 11"/>
                  <a:gd name="T8" fmla="*/ 7 w 7"/>
                  <a:gd name="T9" fmla="*/ 6 h 11"/>
                </a:gdLst>
                <a:ahLst/>
                <a:cxnLst>
                  <a:cxn ang="0">
                    <a:pos x="T0" y="T1"/>
                  </a:cxn>
                  <a:cxn ang="0">
                    <a:pos x="T2" y="T3"/>
                  </a:cxn>
                  <a:cxn ang="0">
                    <a:pos x="T4" y="T5"/>
                  </a:cxn>
                  <a:cxn ang="0">
                    <a:pos x="T6" y="T7"/>
                  </a:cxn>
                  <a:cxn ang="0">
                    <a:pos x="T8" y="T9"/>
                  </a:cxn>
                </a:cxnLst>
                <a:rect l="0" t="0" r="r" b="b"/>
                <a:pathLst>
                  <a:path w="7" h="11">
                    <a:moveTo>
                      <a:pt x="7" y="6"/>
                    </a:moveTo>
                    <a:cubicBezTo>
                      <a:pt x="7" y="9"/>
                      <a:pt x="5" y="11"/>
                      <a:pt x="3" y="11"/>
                    </a:cubicBezTo>
                    <a:cubicBezTo>
                      <a:pt x="1" y="11"/>
                      <a:pt x="0" y="8"/>
                      <a:pt x="0" y="5"/>
                    </a:cubicBezTo>
                    <a:cubicBezTo>
                      <a:pt x="0" y="3"/>
                      <a:pt x="2" y="0"/>
                      <a:pt x="4" y="0"/>
                    </a:cubicBezTo>
                    <a:cubicBezTo>
                      <a:pt x="6" y="0"/>
                      <a:pt x="7" y="3"/>
                      <a:pt x="7"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73">
                <a:extLst>
                  <a:ext uri="{FF2B5EF4-FFF2-40B4-BE49-F238E27FC236}">
                    <a16:creationId xmlns:a16="http://schemas.microsoft.com/office/drawing/2014/main" id="{7D7DDAFF-C433-441A-88F8-3E979E8FAC12}"/>
                  </a:ext>
                </a:extLst>
              </p:cNvPr>
              <p:cNvSpPr>
                <a:spLocks/>
              </p:cNvSpPr>
              <p:nvPr/>
            </p:nvSpPr>
            <p:spPr bwMode="auto">
              <a:xfrm>
                <a:off x="2552" y="2165"/>
                <a:ext cx="29" cy="18"/>
              </a:xfrm>
              <a:custGeom>
                <a:avLst/>
                <a:gdLst>
                  <a:gd name="T0" fmla="*/ 15 w 15"/>
                  <a:gd name="T1" fmla="*/ 9 h 9"/>
                  <a:gd name="T2" fmla="*/ 11 w 15"/>
                  <a:gd name="T3" fmla="*/ 2 h 9"/>
                  <a:gd name="T4" fmla="*/ 4 w 15"/>
                  <a:gd name="T5" fmla="*/ 7 h 9"/>
                  <a:gd name="T6" fmla="*/ 0 w 15"/>
                  <a:gd name="T7" fmla="*/ 3 h 9"/>
                  <a:gd name="T8" fmla="*/ 4 w 15"/>
                  <a:gd name="T9" fmla="*/ 5 h 9"/>
                  <a:gd name="T10" fmla="*/ 11 w 15"/>
                  <a:gd name="T11" fmla="*/ 1 h 9"/>
                  <a:gd name="T12" fmla="*/ 15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5" y="9"/>
                    </a:moveTo>
                    <a:cubicBezTo>
                      <a:pt x="15" y="9"/>
                      <a:pt x="13" y="2"/>
                      <a:pt x="11" y="2"/>
                    </a:cubicBezTo>
                    <a:cubicBezTo>
                      <a:pt x="8" y="2"/>
                      <a:pt x="4" y="7"/>
                      <a:pt x="4" y="7"/>
                    </a:cubicBezTo>
                    <a:cubicBezTo>
                      <a:pt x="0" y="3"/>
                      <a:pt x="0" y="3"/>
                      <a:pt x="0" y="3"/>
                    </a:cubicBezTo>
                    <a:cubicBezTo>
                      <a:pt x="4" y="5"/>
                      <a:pt x="4" y="5"/>
                      <a:pt x="4" y="5"/>
                    </a:cubicBezTo>
                    <a:cubicBezTo>
                      <a:pt x="4" y="5"/>
                      <a:pt x="8" y="0"/>
                      <a:pt x="11" y="1"/>
                    </a:cubicBezTo>
                    <a:cubicBezTo>
                      <a:pt x="14" y="2"/>
                      <a:pt x="15" y="9"/>
                      <a:pt x="15"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74">
                <a:extLst>
                  <a:ext uri="{FF2B5EF4-FFF2-40B4-BE49-F238E27FC236}">
                    <a16:creationId xmlns:a16="http://schemas.microsoft.com/office/drawing/2014/main" id="{400AFDE0-C30C-4AEB-8EBC-45C8C46AFCDC}"/>
                  </a:ext>
                </a:extLst>
              </p:cNvPr>
              <p:cNvSpPr>
                <a:spLocks/>
              </p:cNvSpPr>
              <p:nvPr/>
            </p:nvSpPr>
            <p:spPr bwMode="auto">
              <a:xfrm>
                <a:off x="2477" y="2036"/>
                <a:ext cx="320" cy="281"/>
              </a:xfrm>
              <a:custGeom>
                <a:avLst/>
                <a:gdLst>
                  <a:gd name="T0" fmla="*/ 78 w 163"/>
                  <a:gd name="T1" fmla="*/ 37 h 143"/>
                  <a:gd name="T2" fmla="*/ 109 w 163"/>
                  <a:gd name="T3" fmla="*/ 95 h 143"/>
                  <a:gd name="T4" fmla="*/ 143 w 163"/>
                  <a:gd name="T5" fmla="*/ 87 h 143"/>
                  <a:gd name="T6" fmla="*/ 115 w 163"/>
                  <a:gd name="T7" fmla="*/ 22 h 143"/>
                  <a:gd name="T8" fmla="*/ 68 w 163"/>
                  <a:gd name="T9" fmla="*/ 7 h 143"/>
                  <a:gd name="T10" fmla="*/ 30 w 163"/>
                  <a:gd name="T11" fmla="*/ 143 h 143"/>
                  <a:gd name="T12" fmla="*/ 78 w 163"/>
                  <a:gd name="T13" fmla="*/ 37 h 143"/>
                </a:gdLst>
                <a:ahLst/>
                <a:cxnLst>
                  <a:cxn ang="0">
                    <a:pos x="T0" y="T1"/>
                  </a:cxn>
                  <a:cxn ang="0">
                    <a:pos x="T2" y="T3"/>
                  </a:cxn>
                  <a:cxn ang="0">
                    <a:pos x="T4" y="T5"/>
                  </a:cxn>
                  <a:cxn ang="0">
                    <a:pos x="T6" y="T7"/>
                  </a:cxn>
                  <a:cxn ang="0">
                    <a:pos x="T8" y="T9"/>
                  </a:cxn>
                  <a:cxn ang="0">
                    <a:pos x="T10" y="T11"/>
                  </a:cxn>
                  <a:cxn ang="0">
                    <a:pos x="T12" y="T13"/>
                  </a:cxn>
                </a:cxnLst>
                <a:rect l="0" t="0" r="r" b="b"/>
                <a:pathLst>
                  <a:path w="163" h="143">
                    <a:moveTo>
                      <a:pt x="78" y="37"/>
                    </a:moveTo>
                    <a:cubicBezTo>
                      <a:pt x="78" y="37"/>
                      <a:pt x="68" y="90"/>
                      <a:pt x="109" y="95"/>
                    </a:cubicBezTo>
                    <a:cubicBezTo>
                      <a:pt x="109" y="95"/>
                      <a:pt x="124" y="70"/>
                      <a:pt x="143" y="87"/>
                    </a:cubicBezTo>
                    <a:cubicBezTo>
                      <a:pt x="143" y="87"/>
                      <a:pt x="163" y="31"/>
                      <a:pt x="115" y="22"/>
                    </a:cubicBezTo>
                    <a:cubicBezTo>
                      <a:pt x="115" y="22"/>
                      <a:pt x="106" y="0"/>
                      <a:pt x="68" y="7"/>
                    </a:cubicBezTo>
                    <a:cubicBezTo>
                      <a:pt x="15" y="17"/>
                      <a:pt x="0" y="80"/>
                      <a:pt x="30" y="143"/>
                    </a:cubicBezTo>
                    <a:cubicBezTo>
                      <a:pt x="30" y="143"/>
                      <a:pt x="4" y="30"/>
                      <a:pt x="78" y="37"/>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75">
                <a:extLst>
                  <a:ext uri="{FF2B5EF4-FFF2-40B4-BE49-F238E27FC236}">
                    <a16:creationId xmlns:a16="http://schemas.microsoft.com/office/drawing/2014/main" id="{8303DBCE-1847-4C80-B7C6-A9EDA4162A04}"/>
                  </a:ext>
                </a:extLst>
              </p:cNvPr>
              <p:cNvSpPr>
                <a:spLocks/>
              </p:cNvSpPr>
              <p:nvPr/>
            </p:nvSpPr>
            <p:spPr bwMode="auto">
              <a:xfrm>
                <a:off x="2456" y="2334"/>
                <a:ext cx="315" cy="195"/>
              </a:xfrm>
              <a:custGeom>
                <a:avLst/>
                <a:gdLst>
                  <a:gd name="T0" fmla="*/ 161 w 161"/>
                  <a:gd name="T1" fmla="*/ 26 h 99"/>
                  <a:gd name="T2" fmla="*/ 141 w 161"/>
                  <a:gd name="T3" fmla="*/ 36 h 99"/>
                  <a:gd name="T4" fmla="*/ 33 w 161"/>
                  <a:gd name="T5" fmla="*/ 40 h 99"/>
                  <a:gd name="T6" fmla="*/ 37 w 161"/>
                  <a:gd name="T7" fmla="*/ 28 h 99"/>
                  <a:gd name="T8" fmla="*/ 41 w 161"/>
                  <a:gd name="T9" fmla="*/ 23 h 99"/>
                  <a:gd name="T10" fmla="*/ 158 w 161"/>
                  <a:gd name="T11" fmla="*/ 24 h 99"/>
                  <a:gd name="T12" fmla="*/ 161 w 161"/>
                  <a:gd name="T13" fmla="*/ 26 h 99"/>
                </a:gdLst>
                <a:ahLst/>
                <a:cxnLst>
                  <a:cxn ang="0">
                    <a:pos x="T0" y="T1"/>
                  </a:cxn>
                  <a:cxn ang="0">
                    <a:pos x="T2" y="T3"/>
                  </a:cxn>
                  <a:cxn ang="0">
                    <a:pos x="T4" y="T5"/>
                  </a:cxn>
                  <a:cxn ang="0">
                    <a:pos x="T6" y="T7"/>
                  </a:cxn>
                  <a:cxn ang="0">
                    <a:pos x="T8" y="T9"/>
                  </a:cxn>
                  <a:cxn ang="0">
                    <a:pos x="T10" y="T11"/>
                  </a:cxn>
                  <a:cxn ang="0">
                    <a:pos x="T12" y="T13"/>
                  </a:cxn>
                </a:cxnLst>
                <a:rect l="0" t="0" r="r" b="b"/>
                <a:pathLst>
                  <a:path w="161" h="99">
                    <a:moveTo>
                      <a:pt x="161" y="26"/>
                    </a:moveTo>
                    <a:cubicBezTo>
                      <a:pt x="155" y="29"/>
                      <a:pt x="149" y="32"/>
                      <a:pt x="141" y="36"/>
                    </a:cubicBezTo>
                    <a:cubicBezTo>
                      <a:pt x="0" y="99"/>
                      <a:pt x="33" y="40"/>
                      <a:pt x="33" y="40"/>
                    </a:cubicBezTo>
                    <a:cubicBezTo>
                      <a:pt x="33" y="35"/>
                      <a:pt x="35" y="31"/>
                      <a:pt x="37" y="28"/>
                    </a:cubicBezTo>
                    <a:cubicBezTo>
                      <a:pt x="38" y="26"/>
                      <a:pt x="40" y="24"/>
                      <a:pt x="41" y="23"/>
                    </a:cubicBezTo>
                    <a:cubicBezTo>
                      <a:pt x="53" y="19"/>
                      <a:pt x="115" y="0"/>
                      <a:pt x="158" y="24"/>
                    </a:cubicBezTo>
                    <a:cubicBezTo>
                      <a:pt x="159" y="25"/>
                      <a:pt x="160" y="25"/>
                      <a:pt x="161" y="2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76">
                <a:extLst>
                  <a:ext uri="{FF2B5EF4-FFF2-40B4-BE49-F238E27FC236}">
                    <a16:creationId xmlns:a16="http://schemas.microsoft.com/office/drawing/2014/main" id="{B8C000B7-0275-4967-B65F-411DBAE46E4D}"/>
                  </a:ext>
                </a:extLst>
              </p:cNvPr>
              <p:cNvSpPr>
                <a:spLocks/>
              </p:cNvSpPr>
              <p:nvPr/>
            </p:nvSpPr>
            <p:spPr bwMode="auto">
              <a:xfrm>
                <a:off x="2456" y="2381"/>
                <a:ext cx="315" cy="148"/>
              </a:xfrm>
              <a:custGeom>
                <a:avLst/>
                <a:gdLst>
                  <a:gd name="T0" fmla="*/ 161 w 161"/>
                  <a:gd name="T1" fmla="*/ 2 h 75"/>
                  <a:gd name="T2" fmla="*/ 141 w 161"/>
                  <a:gd name="T3" fmla="*/ 12 h 75"/>
                  <a:gd name="T4" fmla="*/ 33 w 161"/>
                  <a:gd name="T5" fmla="*/ 16 h 75"/>
                  <a:gd name="T6" fmla="*/ 37 w 161"/>
                  <a:gd name="T7" fmla="*/ 4 h 75"/>
                  <a:gd name="T8" fmla="*/ 56 w 161"/>
                  <a:gd name="T9" fmla="*/ 12 h 75"/>
                  <a:gd name="T10" fmla="*/ 58 w 161"/>
                  <a:gd name="T11" fmla="*/ 20 h 75"/>
                  <a:gd name="T12" fmla="*/ 70 w 161"/>
                  <a:gd name="T13" fmla="*/ 13 h 75"/>
                  <a:gd name="T14" fmla="*/ 158 w 161"/>
                  <a:gd name="T15" fmla="*/ 0 h 75"/>
                  <a:gd name="T16" fmla="*/ 161 w 161"/>
                  <a:gd name="T17"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75">
                    <a:moveTo>
                      <a:pt x="161" y="2"/>
                    </a:moveTo>
                    <a:cubicBezTo>
                      <a:pt x="155" y="5"/>
                      <a:pt x="149" y="8"/>
                      <a:pt x="141" y="12"/>
                    </a:cubicBezTo>
                    <a:cubicBezTo>
                      <a:pt x="0" y="75"/>
                      <a:pt x="33" y="16"/>
                      <a:pt x="33" y="16"/>
                    </a:cubicBezTo>
                    <a:cubicBezTo>
                      <a:pt x="33" y="11"/>
                      <a:pt x="35" y="7"/>
                      <a:pt x="37" y="4"/>
                    </a:cubicBezTo>
                    <a:cubicBezTo>
                      <a:pt x="42" y="6"/>
                      <a:pt x="53" y="11"/>
                      <a:pt x="56" y="12"/>
                    </a:cubicBezTo>
                    <a:cubicBezTo>
                      <a:pt x="58" y="20"/>
                      <a:pt x="58" y="20"/>
                      <a:pt x="58" y="20"/>
                    </a:cubicBezTo>
                    <a:cubicBezTo>
                      <a:pt x="70" y="13"/>
                      <a:pt x="70" y="13"/>
                      <a:pt x="70" y="13"/>
                    </a:cubicBezTo>
                    <a:cubicBezTo>
                      <a:pt x="70" y="13"/>
                      <a:pt x="113" y="14"/>
                      <a:pt x="158" y="0"/>
                    </a:cubicBezTo>
                    <a:cubicBezTo>
                      <a:pt x="159" y="1"/>
                      <a:pt x="160" y="1"/>
                      <a:pt x="161" y="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77">
                <a:extLst>
                  <a:ext uri="{FF2B5EF4-FFF2-40B4-BE49-F238E27FC236}">
                    <a16:creationId xmlns:a16="http://schemas.microsoft.com/office/drawing/2014/main" id="{83DC77FB-5F4E-4FEA-90CB-0747BAC2CE1B}"/>
                  </a:ext>
                </a:extLst>
              </p:cNvPr>
              <p:cNvSpPr>
                <a:spLocks/>
              </p:cNvSpPr>
              <p:nvPr/>
            </p:nvSpPr>
            <p:spPr bwMode="auto">
              <a:xfrm>
                <a:off x="2542" y="2358"/>
                <a:ext cx="290" cy="740"/>
              </a:xfrm>
              <a:custGeom>
                <a:avLst/>
                <a:gdLst>
                  <a:gd name="T0" fmla="*/ 89 w 148"/>
                  <a:gd name="T1" fmla="*/ 0 h 377"/>
                  <a:gd name="T2" fmla="*/ 24 w 148"/>
                  <a:gd name="T3" fmla="*/ 85 h 377"/>
                  <a:gd name="T4" fmla="*/ 67 w 148"/>
                  <a:gd name="T5" fmla="*/ 377 h 377"/>
                  <a:gd name="T6" fmla="*/ 143 w 148"/>
                  <a:gd name="T7" fmla="*/ 345 h 377"/>
                  <a:gd name="T8" fmla="*/ 94 w 148"/>
                  <a:gd name="T9" fmla="*/ 179 h 377"/>
                  <a:gd name="T10" fmla="*/ 148 w 148"/>
                  <a:gd name="T11" fmla="*/ 51 h 377"/>
                  <a:gd name="T12" fmla="*/ 89 w 148"/>
                  <a:gd name="T13" fmla="*/ 0 h 377"/>
                </a:gdLst>
                <a:ahLst/>
                <a:cxnLst>
                  <a:cxn ang="0">
                    <a:pos x="T0" y="T1"/>
                  </a:cxn>
                  <a:cxn ang="0">
                    <a:pos x="T2" y="T3"/>
                  </a:cxn>
                  <a:cxn ang="0">
                    <a:pos x="T4" y="T5"/>
                  </a:cxn>
                  <a:cxn ang="0">
                    <a:pos x="T6" y="T7"/>
                  </a:cxn>
                  <a:cxn ang="0">
                    <a:pos x="T8" y="T9"/>
                  </a:cxn>
                  <a:cxn ang="0">
                    <a:pos x="T10" y="T11"/>
                  </a:cxn>
                  <a:cxn ang="0">
                    <a:pos x="T12" y="T13"/>
                  </a:cxn>
                </a:cxnLst>
                <a:rect l="0" t="0" r="r" b="b"/>
                <a:pathLst>
                  <a:path w="148" h="377">
                    <a:moveTo>
                      <a:pt x="89" y="0"/>
                    </a:moveTo>
                    <a:cubicBezTo>
                      <a:pt x="89" y="0"/>
                      <a:pt x="48" y="28"/>
                      <a:pt x="24" y="85"/>
                    </a:cubicBezTo>
                    <a:cubicBezTo>
                      <a:pt x="0" y="141"/>
                      <a:pt x="67" y="377"/>
                      <a:pt x="67" y="377"/>
                    </a:cubicBezTo>
                    <a:cubicBezTo>
                      <a:pt x="67" y="377"/>
                      <a:pt x="110" y="366"/>
                      <a:pt x="143" y="345"/>
                    </a:cubicBezTo>
                    <a:cubicBezTo>
                      <a:pt x="94" y="179"/>
                      <a:pt x="94" y="179"/>
                      <a:pt x="94" y="179"/>
                    </a:cubicBezTo>
                    <a:cubicBezTo>
                      <a:pt x="94" y="179"/>
                      <a:pt x="147" y="69"/>
                      <a:pt x="148" y="51"/>
                    </a:cubicBezTo>
                    <a:cubicBezTo>
                      <a:pt x="148" y="51"/>
                      <a:pt x="139" y="12"/>
                      <a:pt x="89" y="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78">
                <a:extLst>
                  <a:ext uri="{FF2B5EF4-FFF2-40B4-BE49-F238E27FC236}">
                    <a16:creationId xmlns:a16="http://schemas.microsoft.com/office/drawing/2014/main" id="{2A5FD1C8-01DF-45DD-93C5-63781F4D5998}"/>
                  </a:ext>
                </a:extLst>
              </p:cNvPr>
              <p:cNvSpPr>
                <a:spLocks/>
              </p:cNvSpPr>
              <p:nvPr/>
            </p:nvSpPr>
            <p:spPr bwMode="auto">
              <a:xfrm>
                <a:off x="2554" y="2336"/>
                <a:ext cx="209" cy="415"/>
              </a:xfrm>
              <a:custGeom>
                <a:avLst/>
                <a:gdLst>
                  <a:gd name="T0" fmla="*/ 100 w 107"/>
                  <a:gd name="T1" fmla="*/ 14 h 211"/>
                  <a:gd name="T2" fmla="*/ 102 w 107"/>
                  <a:gd name="T3" fmla="*/ 76 h 211"/>
                  <a:gd name="T4" fmla="*/ 71 w 107"/>
                  <a:gd name="T5" fmla="*/ 69 h 211"/>
                  <a:gd name="T6" fmla="*/ 21 w 107"/>
                  <a:gd name="T7" fmla="*/ 211 h 211"/>
                  <a:gd name="T8" fmla="*/ 15 w 107"/>
                  <a:gd name="T9" fmla="*/ 88 h 211"/>
                  <a:gd name="T10" fmla="*/ 83 w 107"/>
                  <a:gd name="T11" fmla="*/ 0 h 211"/>
                  <a:gd name="T12" fmla="*/ 100 w 107"/>
                  <a:gd name="T13" fmla="*/ 14 h 211"/>
                </a:gdLst>
                <a:ahLst/>
                <a:cxnLst>
                  <a:cxn ang="0">
                    <a:pos x="T0" y="T1"/>
                  </a:cxn>
                  <a:cxn ang="0">
                    <a:pos x="T2" y="T3"/>
                  </a:cxn>
                  <a:cxn ang="0">
                    <a:pos x="T4" y="T5"/>
                  </a:cxn>
                  <a:cxn ang="0">
                    <a:pos x="T6" y="T7"/>
                  </a:cxn>
                  <a:cxn ang="0">
                    <a:pos x="T8" y="T9"/>
                  </a:cxn>
                  <a:cxn ang="0">
                    <a:pos x="T10" y="T11"/>
                  </a:cxn>
                  <a:cxn ang="0">
                    <a:pos x="T12" y="T13"/>
                  </a:cxn>
                </a:cxnLst>
                <a:rect l="0" t="0" r="r" b="b"/>
                <a:pathLst>
                  <a:path w="107" h="211">
                    <a:moveTo>
                      <a:pt x="100" y="14"/>
                    </a:moveTo>
                    <a:cubicBezTo>
                      <a:pt x="100" y="14"/>
                      <a:pt x="107" y="34"/>
                      <a:pt x="102" y="76"/>
                    </a:cubicBezTo>
                    <a:cubicBezTo>
                      <a:pt x="102" y="76"/>
                      <a:pt x="91" y="68"/>
                      <a:pt x="71" y="69"/>
                    </a:cubicBezTo>
                    <a:cubicBezTo>
                      <a:pt x="71" y="69"/>
                      <a:pt x="22" y="125"/>
                      <a:pt x="21" y="211"/>
                    </a:cubicBezTo>
                    <a:cubicBezTo>
                      <a:pt x="21" y="211"/>
                      <a:pt x="0" y="129"/>
                      <a:pt x="15" y="88"/>
                    </a:cubicBezTo>
                    <a:cubicBezTo>
                      <a:pt x="30" y="46"/>
                      <a:pt x="83" y="0"/>
                      <a:pt x="83" y="0"/>
                    </a:cubicBezTo>
                    <a:lnTo>
                      <a:pt x="100" y="14"/>
                    </a:ln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79">
                <a:extLst>
                  <a:ext uri="{FF2B5EF4-FFF2-40B4-BE49-F238E27FC236}">
                    <a16:creationId xmlns:a16="http://schemas.microsoft.com/office/drawing/2014/main" id="{1684604D-7EF6-4192-A62E-1DA287282588}"/>
                  </a:ext>
                </a:extLst>
              </p:cNvPr>
              <p:cNvSpPr>
                <a:spLocks/>
              </p:cNvSpPr>
              <p:nvPr/>
            </p:nvSpPr>
            <p:spPr bwMode="auto">
              <a:xfrm>
                <a:off x="2291" y="2372"/>
                <a:ext cx="263" cy="648"/>
              </a:xfrm>
              <a:custGeom>
                <a:avLst/>
                <a:gdLst>
                  <a:gd name="T0" fmla="*/ 134 w 134"/>
                  <a:gd name="T1" fmla="*/ 0 h 330"/>
                  <a:gd name="T2" fmla="*/ 88 w 134"/>
                  <a:gd name="T3" fmla="*/ 85 h 330"/>
                  <a:gd name="T4" fmla="*/ 88 w 134"/>
                  <a:gd name="T5" fmla="*/ 178 h 330"/>
                  <a:gd name="T6" fmla="*/ 14 w 134"/>
                  <a:gd name="T7" fmla="*/ 330 h 330"/>
                  <a:gd name="T8" fmla="*/ 71 w 134"/>
                  <a:gd name="T9" fmla="*/ 182 h 330"/>
                  <a:gd name="T10" fmla="*/ 66 w 134"/>
                  <a:gd name="T11" fmla="*/ 85 h 330"/>
                  <a:gd name="T12" fmla="*/ 134 w 134"/>
                  <a:gd name="T13" fmla="*/ 0 h 330"/>
                </a:gdLst>
                <a:ahLst/>
                <a:cxnLst>
                  <a:cxn ang="0">
                    <a:pos x="T0" y="T1"/>
                  </a:cxn>
                  <a:cxn ang="0">
                    <a:pos x="T2" y="T3"/>
                  </a:cxn>
                  <a:cxn ang="0">
                    <a:pos x="T4" y="T5"/>
                  </a:cxn>
                  <a:cxn ang="0">
                    <a:pos x="T6" y="T7"/>
                  </a:cxn>
                  <a:cxn ang="0">
                    <a:pos x="T8" y="T9"/>
                  </a:cxn>
                  <a:cxn ang="0">
                    <a:pos x="T10" y="T11"/>
                  </a:cxn>
                  <a:cxn ang="0">
                    <a:pos x="T12" y="T13"/>
                  </a:cxn>
                </a:cxnLst>
                <a:rect l="0" t="0" r="r" b="b"/>
                <a:pathLst>
                  <a:path w="134" h="330">
                    <a:moveTo>
                      <a:pt x="134" y="0"/>
                    </a:moveTo>
                    <a:cubicBezTo>
                      <a:pt x="134" y="0"/>
                      <a:pt x="89" y="63"/>
                      <a:pt x="88" y="85"/>
                    </a:cubicBezTo>
                    <a:cubicBezTo>
                      <a:pt x="87" y="107"/>
                      <a:pt x="88" y="178"/>
                      <a:pt x="88" y="178"/>
                    </a:cubicBezTo>
                    <a:cubicBezTo>
                      <a:pt x="14" y="330"/>
                      <a:pt x="14" y="330"/>
                      <a:pt x="14" y="330"/>
                    </a:cubicBezTo>
                    <a:cubicBezTo>
                      <a:pt x="14" y="330"/>
                      <a:pt x="0" y="296"/>
                      <a:pt x="71" y="182"/>
                    </a:cubicBezTo>
                    <a:cubicBezTo>
                      <a:pt x="71" y="182"/>
                      <a:pt x="62" y="108"/>
                      <a:pt x="66" y="85"/>
                    </a:cubicBezTo>
                    <a:cubicBezTo>
                      <a:pt x="70" y="62"/>
                      <a:pt x="90" y="17"/>
                      <a:pt x="134" y="0"/>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80">
                <a:extLst>
                  <a:ext uri="{FF2B5EF4-FFF2-40B4-BE49-F238E27FC236}">
                    <a16:creationId xmlns:a16="http://schemas.microsoft.com/office/drawing/2014/main" id="{463E76B3-F86D-4344-BFF8-ECBD4D76387C}"/>
                  </a:ext>
                </a:extLst>
              </p:cNvPr>
              <p:cNvSpPr>
                <a:spLocks/>
              </p:cNvSpPr>
              <p:nvPr/>
            </p:nvSpPr>
            <p:spPr bwMode="auto">
              <a:xfrm>
                <a:off x="2436" y="2342"/>
                <a:ext cx="167" cy="379"/>
              </a:xfrm>
              <a:custGeom>
                <a:avLst/>
                <a:gdLst>
                  <a:gd name="T0" fmla="*/ 14 w 85"/>
                  <a:gd name="T1" fmla="*/ 193 h 193"/>
                  <a:gd name="T2" fmla="*/ 28 w 85"/>
                  <a:gd name="T3" fmla="*/ 65 h 193"/>
                  <a:gd name="T4" fmla="*/ 85 w 85"/>
                  <a:gd name="T5" fmla="*/ 0 h 193"/>
                  <a:gd name="T6" fmla="*/ 12 w 85"/>
                  <a:gd name="T7" fmla="*/ 63 h 193"/>
                  <a:gd name="T8" fmla="*/ 22 w 85"/>
                  <a:gd name="T9" fmla="*/ 62 h 193"/>
                  <a:gd name="T10" fmla="*/ 14 w 85"/>
                  <a:gd name="T11" fmla="*/ 193 h 193"/>
                </a:gdLst>
                <a:ahLst/>
                <a:cxnLst>
                  <a:cxn ang="0">
                    <a:pos x="T0" y="T1"/>
                  </a:cxn>
                  <a:cxn ang="0">
                    <a:pos x="T2" y="T3"/>
                  </a:cxn>
                  <a:cxn ang="0">
                    <a:pos x="T4" y="T5"/>
                  </a:cxn>
                  <a:cxn ang="0">
                    <a:pos x="T6" y="T7"/>
                  </a:cxn>
                  <a:cxn ang="0">
                    <a:pos x="T8" y="T9"/>
                  </a:cxn>
                  <a:cxn ang="0">
                    <a:pos x="T10" y="T11"/>
                  </a:cxn>
                </a:cxnLst>
                <a:rect l="0" t="0" r="r" b="b"/>
                <a:pathLst>
                  <a:path w="85" h="193">
                    <a:moveTo>
                      <a:pt x="14" y="193"/>
                    </a:moveTo>
                    <a:cubicBezTo>
                      <a:pt x="14" y="193"/>
                      <a:pt x="14" y="102"/>
                      <a:pt x="28" y="65"/>
                    </a:cubicBezTo>
                    <a:cubicBezTo>
                      <a:pt x="43" y="28"/>
                      <a:pt x="85" y="0"/>
                      <a:pt x="85" y="0"/>
                    </a:cubicBezTo>
                    <a:cubicBezTo>
                      <a:pt x="85" y="0"/>
                      <a:pt x="32" y="17"/>
                      <a:pt x="12" y="63"/>
                    </a:cubicBezTo>
                    <a:cubicBezTo>
                      <a:pt x="12" y="63"/>
                      <a:pt x="17" y="61"/>
                      <a:pt x="22" y="62"/>
                    </a:cubicBezTo>
                    <a:cubicBezTo>
                      <a:pt x="22" y="62"/>
                      <a:pt x="0" y="83"/>
                      <a:pt x="14" y="193"/>
                    </a:cubicBez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81">
                <a:extLst>
                  <a:ext uri="{FF2B5EF4-FFF2-40B4-BE49-F238E27FC236}">
                    <a16:creationId xmlns:a16="http://schemas.microsoft.com/office/drawing/2014/main" id="{94AFEE42-190F-4DDF-9E2C-2B0A18B790EF}"/>
                  </a:ext>
                </a:extLst>
              </p:cNvPr>
              <p:cNvSpPr>
                <a:spLocks/>
              </p:cNvSpPr>
              <p:nvPr/>
            </p:nvSpPr>
            <p:spPr bwMode="auto">
              <a:xfrm>
                <a:off x="2732" y="2458"/>
                <a:ext cx="186" cy="434"/>
              </a:xfrm>
              <a:custGeom>
                <a:avLst/>
                <a:gdLst>
                  <a:gd name="T0" fmla="*/ 51 w 95"/>
                  <a:gd name="T1" fmla="*/ 0 h 221"/>
                  <a:gd name="T2" fmla="*/ 82 w 95"/>
                  <a:gd name="T3" fmla="*/ 181 h 221"/>
                  <a:gd name="T4" fmla="*/ 28 w 95"/>
                  <a:gd name="T5" fmla="*/ 167 h 221"/>
                  <a:gd name="T6" fmla="*/ 0 w 95"/>
                  <a:gd name="T7" fmla="*/ 69 h 221"/>
                  <a:gd name="T8" fmla="*/ 51 w 95"/>
                  <a:gd name="T9" fmla="*/ 0 h 221"/>
                </a:gdLst>
                <a:ahLst/>
                <a:cxnLst>
                  <a:cxn ang="0">
                    <a:pos x="T0" y="T1"/>
                  </a:cxn>
                  <a:cxn ang="0">
                    <a:pos x="T2" y="T3"/>
                  </a:cxn>
                  <a:cxn ang="0">
                    <a:pos x="T4" y="T5"/>
                  </a:cxn>
                  <a:cxn ang="0">
                    <a:pos x="T6" y="T7"/>
                  </a:cxn>
                  <a:cxn ang="0">
                    <a:pos x="T8" y="T9"/>
                  </a:cxn>
                </a:cxnLst>
                <a:rect l="0" t="0" r="r" b="b"/>
                <a:pathLst>
                  <a:path w="95" h="221">
                    <a:moveTo>
                      <a:pt x="51" y="0"/>
                    </a:moveTo>
                    <a:cubicBezTo>
                      <a:pt x="51" y="0"/>
                      <a:pt x="95" y="167"/>
                      <a:pt x="82" y="181"/>
                    </a:cubicBezTo>
                    <a:cubicBezTo>
                      <a:pt x="68" y="195"/>
                      <a:pt x="52" y="221"/>
                      <a:pt x="28" y="167"/>
                    </a:cubicBezTo>
                    <a:cubicBezTo>
                      <a:pt x="5" y="113"/>
                      <a:pt x="0" y="69"/>
                      <a:pt x="0" y="69"/>
                    </a:cubicBezTo>
                    <a:cubicBezTo>
                      <a:pt x="0" y="69"/>
                      <a:pt x="23" y="1"/>
                      <a:pt x="51" y="0"/>
                    </a:cubicBezTo>
                    <a:close/>
                  </a:path>
                </a:pathLst>
              </a:custGeom>
              <a:solidFill>
                <a:srgbClr val="F2A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82">
                <a:extLst>
                  <a:ext uri="{FF2B5EF4-FFF2-40B4-BE49-F238E27FC236}">
                    <a16:creationId xmlns:a16="http://schemas.microsoft.com/office/drawing/2014/main" id="{1FF29864-A002-4520-9BE9-23529F2B3B83}"/>
                  </a:ext>
                </a:extLst>
              </p:cNvPr>
              <p:cNvSpPr>
                <a:spLocks/>
              </p:cNvSpPr>
              <p:nvPr/>
            </p:nvSpPr>
            <p:spPr bwMode="auto">
              <a:xfrm>
                <a:off x="2771" y="2560"/>
                <a:ext cx="75" cy="57"/>
              </a:xfrm>
              <a:custGeom>
                <a:avLst/>
                <a:gdLst>
                  <a:gd name="T0" fmla="*/ 0 w 38"/>
                  <a:gd name="T1" fmla="*/ 29 h 29"/>
                  <a:gd name="T2" fmla="*/ 38 w 38"/>
                  <a:gd name="T3" fmla="*/ 9 h 29"/>
                  <a:gd name="T4" fmla="*/ 0 w 38"/>
                  <a:gd name="T5" fmla="*/ 29 h 29"/>
                </a:gdLst>
                <a:ahLst/>
                <a:cxnLst>
                  <a:cxn ang="0">
                    <a:pos x="T0" y="T1"/>
                  </a:cxn>
                  <a:cxn ang="0">
                    <a:pos x="T2" y="T3"/>
                  </a:cxn>
                  <a:cxn ang="0">
                    <a:pos x="T4" y="T5"/>
                  </a:cxn>
                </a:cxnLst>
                <a:rect l="0" t="0" r="r" b="b"/>
                <a:pathLst>
                  <a:path w="38" h="29">
                    <a:moveTo>
                      <a:pt x="0" y="29"/>
                    </a:moveTo>
                    <a:cubicBezTo>
                      <a:pt x="0" y="29"/>
                      <a:pt x="31" y="29"/>
                      <a:pt x="38" y="9"/>
                    </a:cubicBezTo>
                    <a:cubicBezTo>
                      <a:pt x="38" y="9"/>
                      <a:pt x="14" y="0"/>
                      <a:pt x="0" y="29"/>
                    </a:cubicBezTo>
                    <a:close/>
                  </a:path>
                </a:pathLst>
              </a:custGeom>
              <a:solidFill>
                <a:srgbClr val="C96F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83">
                <a:extLst>
                  <a:ext uri="{FF2B5EF4-FFF2-40B4-BE49-F238E27FC236}">
                    <a16:creationId xmlns:a16="http://schemas.microsoft.com/office/drawing/2014/main" id="{3DB5BD2F-A83A-4F30-B219-F82F84D1AF28}"/>
                  </a:ext>
                </a:extLst>
              </p:cNvPr>
              <p:cNvSpPr>
                <a:spLocks/>
              </p:cNvSpPr>
              <p:nvPr/>
            </p:nvSpPr>
            <p:spPr bwMode="auto">
              <a:xfrm>
                <a:off x="2775" y="2525"/>
                <a:ext cx="65" cy="86"/>
              </a:xfrm>
              <a:custGeom>
                <a:avLst/>
                <a:gdLst>
                  <a:gd name="T0" fmla="*/ 0 w 33"/>
                  <a:gd name="T1" fmla="*/ 0 h 44"/>
                  <a:gd name="T2" fmla="*/ 11 w 33"/>
                  <a:gd name="T3" fmla="*/ 44 h 44"/>
                  <a:gd name="T4" fmla="*/ 33 w 33"/>
                  <a:gd name="T5" fmla="*/ 28 h 44"/>
                  <a:gd name="T6" fmla="*/ 25 w 33"/>
                  <a:gd name="T7" fmla="*/ 0 h 44"/>
                  <a:gd name="T8" fmla="*/ 0 w 33"/>
                  <a:gd name="T9" fmla="*/ 0 h 44"/>
                </a:gdLst>
                <a:ahLst/>
                <a:cxnLst>
                  <a:cxn ang="0">
                    <a:pos x="T0" y="T1"/>
                  </a:cxn>
                  <a:cxn ang="0">
                    <a:pos x="T2" y="T3"/>
                  </a:cxn>
                  <a:cxn ang="0">
                    <a:pos x="T4" y="T5"/>
                  </a:cxn>
                  <a:cxn ang="0">
                    <a:pos x="T6" y="T7"/>
                  </a:cxn>
                  <a:cxn ang="0">
                    <a:pos x="T8" y="T9"/>
                  </a:cxn>
                </a:cxnLst>
                <a:rect l="0" t="0" r="r" b="b"/>
                <a:pathLst>
                  <a:path w="33" h="44">
                    <a:moveTo>
                      <a:pt x="0" y="0"/>
                    </a:moveTo>
                    <a:cubicBezTo>
                      <a:pt x="11" y="44"/>
                      <a:pt x="11" y="44"/>
                      <a:pt x="11" y="44"/>
                    </a:cubicBezTo>
                    <a:cubicBezTo>
                      <a:pt x="11" y="44"/>
                      <a:pt x="29" y="40"/>
                      <a:pt x="33" y="28"/>
                    </a:cubicBezTo>
                    <a:cubicBezTo>
                      <a:pt x="25" y="0"/>
                      <a:pt x="25" y="0"/>
                      <a:pt x="25" y="0"/>
                    </a:cubicBezTo>
                    <a:lnTo>
                      <a:pt x="0" y="0"/>
                    </a:ln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84">
                <a:extLst>
                  <a:ext uri="{FF2B5EF4-FFF2-40B4-BE49-F238E27FC236}">
                    <a16:creationId xmlns:a16="http://schemas.microsoft.com/office/drawing/2014/main" id="{1984E5E1-DC1B-49DC-AD4E-2317A5127047}"/>
                  </a:ext>
                </a:extLst>
              </p:cNvPr>
              <p:cNvSpPr>
                <a:spLocks/>
              </p:cNvSpPr>
              <p:nvPr/>
            </p:nvSpPr>
            <p:spPr bwMode="auto">
              <a:xfrm>
                <a:off x="2767" y="2417"/>
                <a:ext cx="149" cy="143"/>
              </a:xfrm>
              <a:custGeom>
                <a:avLst/>
                <a:gdLst>
                  <a:gd name="T0" fmla="*/ 14 w 76"/>
                  <a:gd name="T1" fmla="*/ 12 h 73"/>
                  <a:gd name="T2" fmla="*/ 7 w 76"/>
                  <a:gd name="T3" fmla="*/ 33 h 73"/>
                  <a:gd name="T4" fmla="*/ 11 w 76"/>
                  <a:gd name="T5" fmla="*/ 64 h 73"/>
                  <a:gd name="T6" fmla="*/ 42 w 76"/>
                  <a:gd name="T7" fmla="*/ 58 h 73"/>
                  <a:gd name="T8" fmla="*/ 69 w 76"/>
                  <a:gd name="T9" fmla="*/ 44 h 73"/>
                  <a:gd name="T10" fmla="*/ 62 w 76"/>
                  <a:gd name="T11" fmla="*/ 44 h 73"/>
                  <a:gd name="T12" fmla="*/ 49 w 76"/>
                  <a:gd name="T13" fmla="*/ 45 h 73"/>
                  <a:gd name="T14" fmla="*/ 76 w 76"/>
                  <a:gd name="T15" fmla="*/ 25 h 73"/>
                  <a:gd name="T16" fmla="*/ 47 w 76"/>
                  <a:gd name="T17" fmla="*/ 35 h 73"/>
                  <a:gd name="T18" fmla="*/ 59 w 76"/>
                  <a:gd name="T19" fmla="*/ 23 h 73"/>
                  <a:gd name="T20" fmla="*/ 72 w 76"/>
                  <a:gd name="T21" fmla="*/ 9 h 73"/>
                  <a:gd name="T22" fmla="*/ 41 w 76"/>
                  <a:gd name="T23" fmla="*/ 27 h 73"/>
                  <a:gd name="T24" fmla="*/ 53 w 76"/>
                  <a:gd name="T25" fmla="*/ 14 h 73"/>
                  <a:gd name="T26" fmla="*/ 62 w 76"/>
                  <a:gd name="T27" fmla="*/ 2 h 73"/>
                  <a:gd name="T28" fmla="*/ 45 w 76"/>
                  <a:gd name="T29" fmla="*/ 14 h 73"/>
                  <a:gd name="T30" fmla="*/ 19 w 76"/>
                  <a:gd name="T31" fmla="*/ 32 h 73"/>
                  <a:gd name="T32" fmla="*/ 15 w 76"/>
                  <a:gd name="T33" fmla="*/ 33 h 73"/>
                  <a:gd name="T34" fmla="*/ 14 w 76"/>
                  <a:gd name="T35" fmla="*/ 1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73">
                    <a:moveTo>
                      <a:pt x="14" y="12"/>
                    </a:moveTo>
                    <a:cubicBezTo>
                      <a:pt x="14" y="12"/>
                      <a:pt x="14" y="12"/>
                      <a:pt x="7" y="33"/>
                    </a:cubicBezTo>
                    <a:cubicBezTo>
                      <a:pt x="0" y="54"/>
                      <a:pt x="4" y="54"/>
                      <a:pt x="11" y="64"/>
                    </a:cubicBezTo>
                    <a:cubicBezTo>
                      <a:pt x="17" y="73"/>
                      <a:pt x="35" y="64"/>
                      <a:pt x="42" y="58"/>
                    </a:cubicBezTo>
                    <a:cubicBezTo>
                      <a:pt x="47" y="53"/>
                      <a:pt x="66" y="50"/>
                      <a:pt x="69" y="44"/>
                    </a:cubicBezTo>
                    <a:cubicBezTo>
                      <a:pt x="70" y="42"/>
                      <a:pt x="68" y="42"/>
                      <a:pt x="62" y="44"/>
                    </a:cubicBezTo>
                    <a:cubicBezTo>
                      <a:pt x="56" y="46"/>
                      <a:pt x="49" y="45"/>
                      <a:pt x="49" y="45"/>
                    </a:cubicBezTo>
                    <a:cubicBezTo>
                      <a:pt x="51" y="37"/>
                      <a:pt x="76" y="33"/>
                      <a:pt x="76" y="25"/>
                    </a:cubicBezTo>
                    <a:cubicBezTo>
                      <a:pt x="76" y="21"/>
                      <a:pt x="51" y="38"/>
                      <a:pt x="47" y="35"/>
                    </a:cubicBezTo>
                    <a:cubicBezTo>
                      <a:pt x="47" y="35"/>
                      <a:pt x="47" y="32"/>
                      <a:pt x="59" y="23"/>
                    </a:cubicBezTo>
                    <a:cubicBezTo>
                      <a:pt x="66" y="17"/>
                      <a:pt x="73" y="12"/>
                      <a:pt x="72" y="9"/>
                    </a:cubicBezTo>
                    <a:cubicBezTo>
                      <a:pt x="71" y="4"/>
                      <a:pt x="59" y="18"/>
                      <a:pt x="41" y="27"/>
                    </a:cubicBezTo>
                    <a:cubicBezTo>
                      <a:pt x="41" y="27"/>
                      <a:pt x="47" y="20"/>
                      <a:pt x="53" y="14"/>
                    </a:cubicBezTo>
                    <a:cubicBezTo>
                      <a:pt x="59" y="8"/>
                      <a:pt x="65" y="4"/>
                      <a:pt x="62" y="2"/>
                    </a:cubicBezTo>
                    <a:cubicBezTo>
                      <a:pt x="60" y="0"/>
                      <a:pt x="51" y="9"/>
                      <a:pt x="45" y="14"/>
                    </a:cubicBezTo>
                    <a:cubicBezTo>
                      <a:pt x="35" y="24"/>
                      <a:pt x="25" y="30"/>
                      <a:pt x="19" y="32"/>
                    </a:cubicBezTo>
                    <a:cubicBezTo>
                      <a:pt x="17" y="33"/>
                      <a:pt x="15" y="33"/>
                      <a:pt x="15" y="33"/>
                    </a:cubicBezTo>
                    <a:cubicBezTo>
                      <a:pt x="21" y="11"/>
                      <a:pt x="14" y="12"/>
                      <a:pt x="14" y="1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85">
                <a:extLst>
                  <a:ext uri="{FF2B5EF4-FFF2-40B4-BE49-F238E27FC236}">
                    <a16:creationId xmlns:a16="http://schemas.microsoft.com/office/drawing/2014/main" id="{77AA3FC2-FB30-4A5B-8F45-3CC1C9A2BE1F}"/>
                  </a:ext>
                </a:extLst>
              </p:cNvPr>
              <p:cNvSpPr>
                <a:spLocks/>
              </p:cNvSpPr>
              <p:nvPr/>
            </p:nvSpPr>
            <p:spPr bwMode="auto">
              <a:xfrm>
                <a:off x="2797" y="2480"/>
                <a:ext cx="21" cy="33"/>
              </a:xfrm>
              <a:custGeom>
                <a:avLst/>
                <a:gdLst>
                  <a:gd name="T0" fmla="*/ 0 w 11"/>
                  <a:gd name="T1" fmla="*/ 1 h 17"/>
                  <a:gd name="T2" fmla="*/ 2 w 11"/>
                  <a:gd name="T3" fmla="*/ 17 h 17"/>
                  <a:gd name="T4" fmla="*/ 4 w 11"/>
                  <a:gd name="T5" fmla="*/ 0 h 17"/>
                  <a:gd name="T6" fmla="*/ 0 w 11"/>
                  <a:gd name="T7" fmla="*/ 1 h 17"/>
                </a:gdLst>
                <a:ahLst/>
                <a:cxnLst>
                  <a:cxn ang="0">
                    <a:pos x="T0" y="T1"/>
                  </a:cxn>
                  <a:cxn ang="0">
                    <a:pos x="T2" y="T3"/>
                  </a:cxn>
                  <a:cxn ang="0">
                    <a:pos x="T4" y="T5"/>
                  </a:cxn>
                  <a:cxn ang="0">
                    <a:pos x="T6" y="T7"/>
                  </a:cxn>
                </a:cxnLst>
                <a:rect l="0" t="0" r="r" b="b"/>
                <a:pathLst>
                  <a:path w="11" h="17">
                    <a:moveTo>
                      <a:pt x="0" y="1"/>
                    </a:moveTo>
                    <a:cubicBezTo>
                      <a:pt x="0" y="1"/>
                      <a:pt x="5" y="10"/>
                      <a:pt x="2" y="17"/>
                    </a:cubicBezTo>
                    <a:cubicBezTo>
                      <a:pt x="2" y="17"/>
                      <a:pt x="11" y="10"/>
                      <a:pt x="4" y="0"/>
                    </a:cubicBezTo>
                    <a:cubicBezTo>
                      <a:pt x="2" y="1"/>
                      <a:pt x="0" y="1"/>
                      <a:pt x="0" y="1"/>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86">
                <a:extLst>
                  <a:ext uri="{FF2B5EF4-FFF2-40B4-BE49-F238E27FC236}">
                    <a16:creationId xmlns:a16="http://schemas.microsoft.com/office/drawing/2014/main" id="{1ECF1390-3797-485E-80B0-B6340471E567}"/>
                  </a:ext>
                </a:extLst>
              </p:cNvPr>
              <p:cNvSpPr>
                <a:spLocks/>
              </p:cNvSpPr>
              <p:nvPr/>
            </p:nvSpPr>
            <p:spPr bwMode="auto">
              <a:xfrm>
                <a:off x="5434" y="3850"/>
                <a:ext cx="155" cy="230"/>
              </a:xfrm>
              <a:custGeom>
                <a:avLst/>
                <a:gdLst>
                  <a:gd name="T0" fmla="*/ 79 w 79"/>
                  <a:gd name="T1" fmla="*/ 117 h 117"/>
                  <a:gd name="T2" fmla="*/ 48 w 79"/>
                  <a:gd name="T3" fmla="*/ 72 h 117"/>
                  <a:gd name="T4" fmla="*/ 29 w 79"/>
                  <a:gd name="T5" fmla="*/ 0 h 117"/>
                  <a:gd name="T6" fmla="*/ 0 w 79"/>
                  <a:gd name="T7" fmla="*/ 0 h 117"/>
                  <a:gd name="T8" fmla="*/ 18 w 79"/>
                  <a:gd name="T9" fmla="*/ 67 h 117"/>
                  <a:gd name="T10" fmla="*/ 17 w 79"/>
                  <a:gd name="T11" fmla="*/ 72 h 117"/>
                  <a:gd name="T12" fmla="*/ 15 w 79"/>
                  <a:gd name="T13" fmla="*/ 117 h 117"/>
                  <a:gd name="T14" fmla="*/ 79 w 79"/>
                  <a:gd name="T15" fmla="*/ 117 h 117"/>
                  <a:gd name="T16" fmla="*/ 79 w 79"/>
                  <a:gd name="T17" fmla="*/ 117 h 117"/>
                  <a:gd name="T18" fmla="*/ 79 w 79"/>
                  <a:gd name="T19"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117">
                    <a:moveTo>
                      <a:pt x="79" y="117"/>
                    </a:moveTo>
                    <a:cubicBezTo>
                      <a:pt x="71" y="110"/>
                      <a:pt x="52" y="85"/>
                      <a:pt x="48" y="72"/>
                    </a:cubicBezTo>
                    <a:cubicBezTo>
                      <a:pt x="42" y="53"/>
                      <a:pt x="36" y="28"/>
                      <a:pt x="29" y="0"/>
                    </a:cubicBezTo>
                    <a:cubicBezTo>
                      <a:pt x="0" y="0"/>
                      <a:pt x="0" y="0"/>
                      <a:pt x="0" y="0"/>
                    </a:cubicBezTo>
                    <a:cubicBezTo>
                      <a:pt x="10" y="30"/>
                      <a:pt x="16" y="56"/>
                      <a:pt x="18" y="67"/>
                    </a:cubicBezTo>
                    <a:cubicBezTo>
                      <a:pt x="18" y="69"/>
                      <a:pt x="18" y="70"/>
                      <a:pt x="17" y="72"/>
                    </a:cubicBezTo>
                    <a:cubicBezTo>
                      <a:pt x="17" y="75"/>
                      <a:pt x="15" y="117"/>
                      <a:pt x="15" y="117"/>
                    </a:cubicBezTo>
                    <a:cubicBezTo>
                      <a:pt x="79" y="117"/>
                      <a:pt x="79" y="117"/>
                      <a:pt x="79" y="117"/>
                    </a:cubicBezTo>
                    <a:cubicBezTo>
                      <a:pt x="79" y="117"/>
                      <a:pt x="79" y="117"/>
                      <a:pt x="79" y="117"/>
                    </a:cubicBezTo>
                    <a:cubicBezTo>
                      <a:pt x="79" y="117"/>
                      <a:pt x="79" y="117"/>
                      <a:pt x="79" y="117"/>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87">
                <a:extLst>
                  <a:ext uri="{FF2B5EF4-FFF2-40B4-BE49-F238E27FC236}">
                    <a16:creationId xmlns:a16="http://schemas.microsoft.com/office/drawing/2014/main" id="{82EE4D8A-DC3C-47F4-A4E2-5E73198B3C9E}"/>
                  </a:ext>
                </a:extLst>
              </p:cNvPr>
              <p:cNvSpPr>
                <a:spLocks/>
              </p:cNvSpPr>
              <p:nvPr/>
            </p:nvSpPr>
            <p:spPr bwMode="auto">
              <a:xfrm>
                <a:off x="5068" y="2788"/>
                <a:ext cx="439" cy="1125"/>
              </a:xfrm>
              <a:custGeom>
                <a:avLst/>
                <a:gdLst>
                  <a:gd name="T0" fmla="*/ 224 w 224"/>
                  <a:gd name="T1" fmla="*/ 573 h 573"/>
                  <a:gd name="T2" fmla="*/ 176 w 224"/>
                  <a:gd name="T3" fmla="*/ 358 h 573"/>
                  <a:gd name="T4" fmla="*/ 167 w 224"/>
                  <a:gd name="T5" fmla="*/ 256 h 573"/>
                  <a:gd name="T6" fmla="*/ 127 w 224"/>
                  <a:gd name="T7" fmla="*/ 0 h 573"/>
                  <a:gd name="T8" fmla="*/ 53 w 224"/>
                  <a:gd name="T9" fmla="*/ 1 h 573"/>
                  <a:gd name="T10" fmla="*/ 69 w 224"/>
                  <a:gd name="T11" fmla="*/ 188 h 573"/>
                  <a:gd name="T12" fmla="*/ 111 w 224"/>
                  <a:gd name="T13" fmla="*/ 335 h 573"/>
                  <a:gd name="T14" fmla="*/ 150 w 224"/>
                  <a:gd name="T15" fmla="*/ 447 h 573"/>
                  <a:gd name="T16" fmla="*/ 197 w 224"/>
                  <a:gd name="T17" fmla="*/ 573 h 573"/>
                  <a:gd name="T18" fmla="*/ 224 w 224"/>
                  <a:gd name="T19"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573">
                    <a:moveTo>
                      <a:pt x="224" y="573"/>
                    </a:moveTo>
                    <a:cubicBezTo>
                      <a:pt x="204" y="495"/>
                      <a:pt x="179" y="377"/>
                      <a:pt x="176" y="358"/>
                    </a:cubicBezTo>
                    <a:cubicBezTo>
                      <a:pt x="173" y="345"/>
                      <a:pt x="172" y="305"/>
                      <a:pt x="167" y="256"/>
                    </a:cubicBezTo>
                    <a:cubicBezTo>
                      <a:pt x="165" y="200"/>
                      <a:pt x="159" y="72"/>
                      <a:pt x="127" y="0"/>
                    </a:cubicBezTo>
                    <a:cubicBezTo>
                      <a:pt x="53" y="1"/>
                      <a:pt x="53" y="1"/>
                      <a:pt x="53" y="1"/>
                    </a:cubicBezTo>
                    <a:cubicBezTo>
                      <a:pt x="56" y="59"/>
                      <a:pt x="0" y="121"/>
                      <a:pt x="69" y="188"/>
                    </a:cubicBezTo>
                    <a:cubicBezTo>
                      <a:pt x="77" y="213"/>
                      <a:pt x="107" y="297"/>
                      <a:pt x="111" y="335"/>
                    </a:cubicBezTo>
                    <a:cubicBezTo>
                      <a:pt x="116" y="379"/>
                      <a:pt x="124" y="398"/>
                      <a:pt x="150" y="447"/>
                    </a:cubicBezTo>
                    <a:cubicBezTo>
                      <a:pt x="172" y="490"/>
                      <a:pt x="187" y="539"/>
                      <a:pt x="197" y="573"/>
                    </a:cubicBezTo>
                    <a:lnTo>
                      <a:pt x="224" y="573"/>
                    </a:ln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88">
                <a:extLst>
                  <a:ext uri="{FF2B5EF4-FFF2-40B4-BE49-F238E27FC236}">
                    <a16:creationId xmlns:a16="http://schemas.microsoft.com/office/drawing/2014/main" id="{54FF7094-BDDE-4974-A6DC-2868FB6D7C2C}"/>
                  </a:ext>
                </a:extLst>
              </p:cNvPr>
              <p:cNvSpPr>
                <a:spLocks/>
              </p:cNvSpPr>
              <p:nvPr/>
            </p:nvSpPr>
            <p:spPr bwMode="auto">
              <a:xfrm>
                <a:off x="5452" y="3978"/>
                <a:ext cx="188" cy="102"/>
              </a:xfrm>
              <a:custGeom>
                <a:avLst/>
                <a:gdLst>
                  <a:gd name="T0" fmla="*/ 3 w 96"/>
                  <a:gd name="T1" fmla="*/ 52 h 52"/>
                  <a:gd name="T2" fmla="*/ 7 w 96"/>
                  <a:gd name="T3" fmla="*/ 3 h 52"/>
                  <a:gd name="T4" fmla="*/ 27 w 96"/>
                  <a:gd name="T5" fmla="*/ 17 h 52"/>
                  <a:gd name="T6" fmla="*/ 44 w 96"/>
                  <a:gd name="T7" fmla="*/ 3 h 52"/>
                  <a:gd name="T8" fmla="*/ 68 w 96"/>
                  <a:gd name="T9" fmla="*/ 26 h 52"/>
                  <a:gd name="T10" fmla="*/ 96 w 96"/>
                  <a:gd name="T11" fmla="*/ 52 h 52"/>
                  <a:gd name="T12" fmla="*/ 3 w 96"/>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6" h="52">
                    <a:moveTo>
                      <a:pt x="3" y="52"/>
                    </a:moveTo>
                    <a:cubicBezTo>
                      <a:pt x="3" y="52"/>
                      <a:pt x="0" y="13"/>
                      <a:pt x="7" y="3"/>
                    </a:cubicBezTo>
                    <a:cubicBezTo>
                      <a:pt x="7" y="3"/>
                      <a:pt x="16" y="17"/>
                      <a:pt x="27" y="17"/>
                    </a:cubicBezTo>
                    <a:cubicBezTo>
                      <a:pt x="34" y="17"/>
                      <a:pt x="37" y="0"/>
                      <a:pt x="44" y="3"/>
                    </a:cubicBezTo>
                    <a:cubicBezTo>
                      <a:pt x="49" y="7"/>
                      <a:pt x="53" y="16"/>
                      <a:pt x="68" y="26"/>
                    </a:cubicBezTo>
                    <a:cubicBezTo>
                      <a:pt x="83" y="36"/>
                      <a:pt x="95" y="33"/>
                      <a:pt x="96" y="52"/>
                    </a:cubicBezTo>
                    <a:lnTo>
                      <a:pt x="3" y="52"/>
                    </a:ln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89">
                <a:extLst>
                  <a:ext uri="{FF2B5EF4-FFF2-40B4-BE49-F238E27FC236}">
                    <a16:creationId xmlns:a16="http://schemas.microsoft.com/office/drawing/2014/main" id="{E7C2DD07-5FB2-4B17-BE48-3276F9245A42}"/>
                  </a:ext>
                </a:extLst>
              </p:cNvPr>
              <p:cNvSpPr>
                <a:spLocks/>
              </p:cNvSpPr>
              <p:nvPr/>
            </p:nvSpPr>
            <p:spPr bwMode="auto">
              <a:xfrm>
                <a:off x="5099" y="3850"/>
                <a:ext cx="94" cy="230"/>
              </a:xfrm>
              <a:custGeom>
                <a:avLst/>
                <a:gdLst>
                  <a:gd name="T0" fmla="*/ 34 w 48"/>
                  <a:gd name="T1" fmla="*/ 0 h 117"/>
                  <a:gd name="T2" fmla="*/ 0 w 48"/>
                  <a:gd name="T3" fmla="*/ 0 h 117"/>
                  <a:gd name="T4" fmla="*/ 11 w 48"/>
                  <a:gd name="T5" fmla="*/ 65 h 117"/>
                  <a:gd name="T6" fmla="*/ 11 w 48"/>
                  <a:gd name="T7" fmla="*/ 117 h 117"/>
                  <a:gd name="T8" fmla="*/ 48 w 48"/>
                  <a:gd name="T9" fmla="*/ 117 h 117"/>
                  <a:gd name="T10" fmla="*/ 34 w 48"/>
                  <a:gd name="T11" fmla="*/ 35 h 117"/>
                  <a:gd name="T12" fmla="*/ 34 w 48"/>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48" h="117">
                    <a:moveTo>
                      <a:pt x="34" y="0"/>
                    </a:moveTo>
                    <a:cubicBezTo>
                      <a:pt x="0" y="0"/>
                      <a:pt x="0" y="0"/>
                      <a:pt x="0" y="0"/>
                    </a:cubicBezTo>
                    <a:cubicBezTo>
                      <a:pt x="6" y="35"/>
                      <a:pt x="11" y="65"/>
                      <a:pt x="11" y="65"/>
                    </a:cubicBezTo>
                    <a:cubicBezTo>
                      <a:pt x="11" y="117"/>
                      <a:pt x="11" y="117"/>
                      <a:pt x="11" y="117"/>
                    </a:cubicBezTo>
                    <a:cubicBezTo>
                      <a:pt x="48" y="117"/>
                      <a:pt x="48" y="117"/>
                      <a:pt x="48" y="117"/>
                    </a:cubicBezTo>
                    <a:cubicBezTo>
                      <a:pt x="44" y="101"/>
                      <a:pt x="34" y="55"/>
                      <a:pt x="34" y="35"/>
                    </a:cubicBezTo>
                    <a:cubicBezTo>
                      <a:pt x="34" y="24"/>
                      <a:pt x="34" y="12"/>
                      <a:pt x="34"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90">
                <a:extLst>
                  <a:ext uri="{FF2B5EF4-FFF2-40B4-BE49-F238E27FC236}">
                    <a16:creationId xmlns:a16="http://schemas.microsoft.com/office/drawing/2014/main" id="{19EF3216-C105-4BA0-B0F3-37DF6F8EA754}"/>
                  </a:ext>
                </a:extLst>
              </p:cNvPr>
              <p:cNvSpPr>
                <a:spLocks/>
              </p:cNvSpPr>
              <p:nvPr/>
            </p:nvSpPr>
            <p:spPr bwMode="auto">
              <a:xfrm>
                <a:off x="4974" y="2788"/>
                <a:ext cx="343" cy="1135"/>
              </a:xfrm>
              <a:custGeom>
                <a:avLst/>
                <a:gdLst>
                  <a:gd name="T0" fmla="*/ 21 w 175"/>
                  <a:gd name="T1" fmla="*/ 253 h 578"/>
                  <a:gd name="T2" fmla="*/ 21 w 175"/>
                  <a:gd name="T3" fmla="*/ 253 h 578"/>
                  <a:gd name="T4" fmla="*/ 36 w 175"/>
                  <a:gd name="T5" fmla="*/ 315 h 578"/>
                  <a:gd name="T6" fmla="*/ 42 w 175"/>
                  <a:gd name="T7" fmla="*/ 437 h 578"/>
                  <a:gd name="T8" fmla="*/ 70 w 175"/>
                  <a:gd name="T9" fmla="*/ 578 h 578"/>
                  <a:gd name="T10" fmla="*/ 98 w 175"/>
                  <a:gd name="T11" fmla="*/ 578 h 578"/>
                  <a:gd name="T12" fmla="*/ 98 w 175"/>
                  <a:gd name="T13" fmla="*/ 576 h 578"/>
                  <a:gd name="T14" fmla="*/ 86 w 175"/>
                  <a:gd name="T15" fmla="*/ 306 h 578"/>
                  <a:gd name="T16" fmla="*/ 94 w 175"/>
                  <a:gd name="T17" fmla="*/ 234 h 578"/>
                  <a:gd name="T18" fmla="*/ 115 w 175"/>
                  <a:gd name="T19" fmla="*/ 155 h 578"/>
                  <a:gd name="T20" fmla="*/ 175 w 175"/>
                  <a:gd name="T21" fmla="*/ 0 h 578"/>
                  <a:gd name="T22" fmla="*/ 65 w 175"/>
                  <a:gd name="T23" fmla="*/ 5 h 578"/>
                  <a:gd name="T24" fmla="*/ 17 w 175"/>
                  <a:gd name="T25" fmla="*/ 154 h 578"/>
                  <a:gd name="T26" fmla="*/ 17 w 175"/>
                  <a:gd name="T27" fmla="*/ 157 h 578"/>
                  <a:gd name="T28" fmla="*/ 21 w 175"/>
                  <a:gd name="T29" fmla="*/ 253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 h="578">
                    <a:moveTo>
                      <a:pt x="21" y="253"/>
                    </a:moveTo>
                    <a:cubicBezTo>
                      <a:pt x="21" y="253"/>
                      <a:pt x="21" y="253"/>
                      <a:pt x="21" y="253"/>
                    </a:cubicBezTo>
                    <a:cubicBezTo>
                      <a:pt x="26" y="277"/>
                      <a:pt x="33" y="294"/>
                      <a:pt x="36" y="315"/>
                    </a:cubicBezTo>
                    <a:cubicBezTo>
                      <a:pt x="42" y="345"/>
                      <a:pt x="26" y="388"/>
                      <a:pt x="42" y="437"/>
                    </a:cubicBezTo>
                    <a:cubicBezTo>
                      <a:pt x="49" y="460"/>
                      <a:pt x="63" y="536"/>
                      <a:pt x="70" y="578"/>
                    </a:cubicBezTo>
                    <a:cubicBezTo>
                      <a:pt x="98" y="578"/>
                      <a:pt x="98" y="578"/>
                      <a:pt x="98" y="578"/>
                    </a:cubicBezTo>
                    <a:cubicBezTo>
                      <a:pt x="98" y="577"/>
                      <a:pt x="98" y="577"/>
                      <a:pt x="98" y="576"/>
                    </a:cubicBezTo>
                    <a:cubicBezTo>
                      <a:pt x="98" y="474"/>
                      <a:pt x="84" y="353"/>
                      <a:pt x="86" y="306"/>
                    </a:cubicBezTo>
                    <a:cubicBezTo>
                      <a:pt x="87" y="287"/>
                      <a:pt x="90" y="259"/>
                      <a:pt x="94" y="234"/>
                    </a:cubicBezTo>
                    <a:cubicBezTo>
                      <a:pt x="94" y="234"/>
                      <a:pt x="105" y="161"/>
                      <a:pt x="115" y="155"/>
                    </a:cubicBezTo>
                    <a:cubicBezTo>
                      <a:pt x="159" y="130"/>
                      <a:pt x="175" y="0"/>
                      <a:pt x="175" y="0"/>
                    </a:cubicBezTo>
                    <a:cubicBezTo>
                      <a:pt x="65" y="5"/>
                      <a:pt x="65" y="5"/>
                      <a:pt x="65" y="5"/>
                    </a:cubicBezTo>
                    <a:cubicBezTo>
                      <a:pt x="65" y="5"/>
                      <a:pt x="0" y="58"/>
                      <a:pt x="17" y="154"/>
                    </a:cubicBezTo>
                    <a:cubicBezTo>
                      <a:pt x="17" y="154"/>
                      <a:pt x="17" y="155"/>
                      <a:pt x="17" y="157"/>
                    </a:cubicBezTo>
                    <a:cubicBezTo>
                      <a:pt x="14" y="201"/>
                      <a:pt x="17" y="230"/>
                      <a:pt x="21" y="253"/>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91">
                <a:extLst>
                  <a:ext uri="{FF2B5EF4-FFF2-40B4-BE49-F238E27FC236}">
                    <a16:creationId xmlns:a16="http://schemas.microsoft.com/office/drawing/2014/main" id="{C616E785-7CFF-4EFA-A611-1BAFE438C24C}"/>
                  </a:ext>
                </a:extLst>
              </p:cNvPr>
              <p:cNvSpPr>
                <a:spLocks/>
              </p:cNvSpPr>
              <p:nvPr/>
            </p:nvSpPr>
            <p:spPr bwMode="auto">
              <a:xfrm>
                <a:off x="5091" y="3976"/>
                <a:ext cx="114" cy="104"/>
              </a:xfrm>
              <a:custGeom>
                <a:avLst/>
                <a:gdLst>
                  <a:gd name="T0" fmla="*/ 10 w 58"/>
                  <a:gd name="T1" fmla="*/ 13 h 53"/>
                  <a:gd name="T2" fmla="*/ 28 w 58"/>
                  <a:gd name="T3" fmla="*/ 2 h 53"/>
                  <a:gd name="T4" fmla="*/ 44 w 58"/>
                  <a:gd name="T5" fmla="*/ 16 h 53"/>
                  <a:gd name="T6" fmla="*/ 49 w 58"/>
                  <a:gd name="T7" fmla="*/ 16 h 53"/>
                  <a:gd name="T8" fmla="*/ 54 w 58"/>
                  <a:gd name="T9" fmla="*/ 39 h 53"/>
                  <a:gd name="T10" fmla="*/ 57 w 58"/>
                  <a:gd name="T11" fmla="*/ 53 h 53"/>
                  <a:gd name="T12" fmla="*/ 5 w 58"/>
                  <a:gd name="T13" fmla="*/ 53 h 53"/>
                  <a:gd name="T14" fmla="*/ 8 w 58"/>
                  <a:gd name="T15" fmla="*/ 36 h 53"/>
                  <a:gd name="T16" fmla="*/ 10 w 58"/>
                  <a:gd name="T17" fmla="*/ 1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3">
                    <a:moveTo>
                      <a:pt x="10" y="13"/>
                    </a:moveTo>
                    <a:cubicBezTo>
                      <a:pt x="10" y="13"/>
                      <a:pt x="10" y="0"/>
                      <a:pt x="28" y="2"/>
                    </a:cubicBezTo>
                    <a:cubicBezTo>
                      <a:pt x="45" y="3"/>
                      <a:pt x="44" y="16"/>
                      <a:pt x="44" y="16"/>
                    </a:cubicBezTo>
                    <a:cubicBezTo>
                      <a:pt x="44" y="16"/>
                      <a:pt x="47" y="14"/>
                      <a:pt x="49" y="16"/>
                    </a:cubicBezTo>
                    <a:cubicBezTo>
                      <a:pt x="52" y="18"/>
                      <a:pt x="50" y="36"/>
                      <a:pt x="54" y="39"/>
                    </a:cubicBezTo>
                    <a:cubicBezTo>
                      <a:pt x="58" y="43"/>
                      <a:pt x="57" y="53"/>
                      <a:pt x="57" y="53"/>
                    </a:cubicBezTo>
                    <a:cubicBezTo>
                      <a:pt x="5" y="53"/>
                      <a:pt x="5" y="53"/>
                      <a:pt x="5" y="53"/>
                    </a:cubicBezTo>
                    <a:cubicBezTo>
                      <a:pt x="5" y="53"/>
                      <a:pt x="3" y="40"/>
                      <a:pt x="8" y="36"/>
                    </a:cubicBezTo>
                    <a:cubicBezTo>
                      <a:pt x="13" y="31"/>
                      <a:pt x="0" y="14"/>
                      <a:pt x="10" y="13"/>
                    </a:cubicBezTo>
                    <a:close/>
                  </a:path>
                </a:pathLst>
              </a:custGeom>
              <a:solidFill>
                <a:srgbClr val="0E39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92">
                <a:extLst>
                  <a:ext uri="{FF2B5EF4-FFF2-40B4-BE49-F238E27FC236}">
                    <a16:creationId xmlns:a16="http://schemas.microsoft.com/office/drawing/2014/main" id="{1659998F-4C91-48DC-BC29-5E73F29D67EE}"/>
                  </a:ext>
                </a:extLst>
              </p:cNvPr>
              <p:cNvSpPr>
                <a:spLocks/>
              </p:cNvSpPr>
              <p:nvPr/>
            </p:nvSpPr>
            <p:spPr bwMode="auto">
              <a:xfrm>
                <a:off x="5166" y="2698"/>
                <a:ext cx="300" cy="1066"/>
              </a:xfrm>
              <a:custGeom>
                <a:avLst/>
                <a:gdLst>
                  <a:gd name="T0" fmla="*/ 153 w 153"/>
                  <a:gd name="T1" fmla="*/ 534 h 543"/>
                  <a:gd name="T2" fmla="*/ 111 w 153"/>
                  <a:gd name="T3" fmla="*/ 539 h 543"/>
                  <a:gd name="T4" fmla="*/ 111 w 153"/>
                  <a:gd name="T5" fmla="*/ 533 h 543"/>
                  <a:gd name="T6" fmla="*/ 54 w 153"/>
                  <a:gd name="T7" fmla="*/ 371 h 543"/>
                  <a:gd name="T8" fmla="*/ 31 w 153"/>
                  <a:gd name="T9" fmla="*/ 306 h 543"/>
                  <a:gd name="T10" fmla="*/ 22 w 153"/>
                  <a:gd name="T11" fmla="*/ 275 h 543"/>
                  <a:gd name="T12" fmla="*/ 5 w 153"/>
                  <a:gd name="T13" fmla="*/ 202 h 543"/>
                  <a:gd name="T14" fmla="*/ 14 w 153"/>
                  <a:gd name="T15" fmla="*/ 1 h 543"/>
                  <a:gd name="T16" fmla="*/ 65 w 153"/>
                  <a:gd name="T17" fmla="*/ 0 h 543"/>
                  <a:gd name="T18" fmla="*/ 69 w 153"/>
                  <a:gd name="T19" fmla="*/ 0 h 543"/>
                  <a:gd name="T20" fmla="*/ 99 w 153"/>
                  <a:gd name="T21" fmla="*/ 90 h 543"/>
                  <a:gd name="T22" fmla="*/ 123 w 153"/>
                  <a:gd name="T23" fmla="*/ 314 h 543"/>
                  <a:gd name="T24" fmla="*/ 153 w 153"/>
                  <a:gd name="T25" fmla="*/ 534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 h="543">
                    <a:moveTo>
                      <a:pt x="153" y="534"/>
                    </a:moveTo>
                    <a:cubicBezTo>
                      <a:pt x="153" y="534"/>
                      <a:pt x="134" y="543"/>
                      <a:pt x="111" y="539"/>
                    </a:cubicBezTo>
                    <a:cubicBezTo>
                      <a:pt x="111" y="533"/>
                      <a:pt x="111" y="533"/>
                      <a:pt x="111" y="533"/>
                    </a:cubicBezTo>
                    <a:cubicBezTo>
                      <a:pt x="111" y="533"/>
                      <a:pt x="59" y="437"/>
                      <a:pt x="54" y="371"/>
                    </a:cubicBezTo>
                    <a:cubicBezTo>
                      <a:pt x="54" y="371"/>
                      <a:pt x="43" y="342"/>
                      <a:pt x="31" y="306"/>
                    </a:cubicBezTo>
                    <a:cubicBezTo>
                      <a:pt x="28" y="296"/>
                      <a:pt x="25" y="285"/>
                      <a:pt x="22" y="275"/>
                    </a:cubicBezTo>
                    <a:cubicBezTo>
                      <a:pt x="14" y="248"/>
                      <a:pt x="7" y="221"/>
                      <a:pt x="5" y="202"/>
                    </a:cubicBezTo>
                    <a:cubicBezTo>
                      <a:pt x="0" y="146"/>
                      <a:pt x="14" y="1"/>
                      <a:pt x="14" y="1"/>
                    </a:cubicBezTo>
                    <a:cubicBezTo>
                      <a:pt x="65" y="0"/>
                      <a:pt x="65" y="0"/>
                      <a:pt x="65" y="0"/>
                    </a:cubicBezTo>
                    <a:cubicBezTo>
                      <a:pt x="69" y="0"/>
                      <a:pt x="69" y="0"/>
                      <a:pt x="69" y="0"/>
                    </a:cubicBezTo>
                    <a:cubicBezTo>
                      <a:pt x="69" y="0"/>
                      <a:pt x="84" y="30"/>
                      <a:pt x="99" y="90"/>
                    </a:cubicBezTo>
                    <a:cubicBezTo>
                      <a:pt x="111" y="143"/>
                      <a:pt x="123" y="217"/>
                      <a:pt x="123" y="314"/>
                    </a:cubicBezTo>
                    <a:lnTo>
                      <a:pt x="153" y="534"/>
                    </a:ln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93">
                <a:extLst>
                  <a:ext uri="{FF2B5EF4-FFF2-40B4-BE49-F238E27FC236}">
                    <a16:creationId xmlns:a16="http://schemas.microsoft.com/office/drawing/2014/main" id="{F49271C2-8591-4B7A-9219-C6E118D2C457}"/>
                  </a:ext>
                </a:extLst>
              </p:cNvPr>
              <p:cNvSpPr>
                <a:spLocks/>
              </p:cNvSpPr>
              <p:nvPr/>
            </p:nvSpPr>
            <p:spPr bwMode="auto">
              <a:xfrm>
                <a:off x="4954" y="2696"/>
                <a:ext cx="402" cy="1095"/>
              </a:xfrm>
              <a:custGeom>
                <a:avLst/>
                <a:gdLst>
                  <a:gd name="T0" fmla="*/ 137 w 205"/>
                  <a:gd name="T1" fmla="*/ 205 h 558"/>
                  <a:gd name="T2" fmla="*/ 111 w 205"/>
                  <a:gd name="T3" fmla="*/ 552 h 558"/>
                  <a:gd name="T4" fmla="*/ 61 w 205"/>
                  <a:gd name="T5" fmla="*/ 552 h 558"/>
                  <a:gd name="T6" fmla="*/ 61 w 205"/>
                  <a:gd name="T7" fmla="*/ 541 h 558"/>
                  <a:gd name="T8" fmla="*/ 37 w 205"/>
                  <a:gd name="T9" fmla="*/ 363 h 558"/>
                  <a:gd name="T10" fmla="*/ 25 w 205"/>
                  <a:gd name="T11" fmla="*/ 122 h 558"/>
                  <a:gd name="T12" fmla="*/ 57 w 205"/>
                  <a:gd name="T13" fmla="*/ 8 h 558"/>
                  <a:gd name="T14" fmla="*/ 78 w 205"/>
                  <a:gd name="T15" fmla="*/ 6 h 558"/>
                  <a:gd name="T16" fmla="*/ 149 w 205"/>
                  <a:gd name="T17" fmla="*/ 0 h 558"/>
                  <a:gd name="T18" fmla="*/ 137 w 205"/>
                  <a:gd name="T19" fmla="*/ 20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558">
                    <a:moveTo>
                      <a:pt x="137" y="205"/>
                    </a:moveTo>
                    <a:cubicBezTo>
                      <a:pt x="137" y="205"/>
                      <a:pt x="117" y="371"/>
                      <a:pt x="111" y="552"/>
                    </a:cubicBezTo>
                    <a:cubicBezTo>
                      <a:pt x="111" y="552"/>
                      <a:pt x="80" y="558"/>
                      <a:pt x="61" y="552"/>
                    </a:cubicBezTo>
                    <a:cubicBezTo>
                      <a:pt x="61" y="541"/>
                      <a:pt x="61" y="541"/>
                      <a:pt x="61" y="541"/>
                    </a:cubicBezTo>
                    <a:cubicBezTo>
                      <a:pt x="61" y="541"/>
                      <a:pt x="29" y="431"/>
                      <a:pt x="37" y="363"/>
                    </a:cubicBezTo>
                    <a:cubicBezTo>
                      <a:pt x="37" y="363"/>
                      <a:pt x="0" y="264"/>
                      <a:pt x="25" y="122"/>
                    </a:cubicBezTo>
                    <a:cubicBezTo>
                      <a:pt x="32" y="86"/>
                      <a:pt x="42" y="48"/>
                      <a:pt x="57" y="8"/>
                    </a:cubicBezTo>
                    <a:cubicBezTo>
                      <a:pt x="78" y="6"/>
                      <a:pt x="78" y="6"/>
                      <a:pt x="78" y="6"/>
                    </a:cubicBezTo>
                    <a:cubicBezTo>
                      <a:pt x="149" y="0"/>
                      <a:pt x="149" y="0"/>
                      <a:pt x="149" y="0"/>
                    </a:cubicBezTo>
                    <a:cubicBezTo>
                      <a:pt x="149" y="0"/>
                      <a:pt x="205" y="95"/>
                      <a:pt x="137" y="205"/>
                    </a:cubicBezTo>
                    <a:close/>
                  </a:path>
                </a:pathLst>
              </a:custGeom>
              <a:solidFill>
                <a:srgbClr val="8B38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94">
                <a:extLst>
                  <a:ext uri="{FF2B5EF4-FFF2-40B4-BE49-F238E27FC236}">
                    <a16:creationId xmlns:a16="http://schemas.microsoft.com/office/drawing/2014/main" id="{23FC0766-ECB3-49AB-8DAB-24C810A95E77}"/>
                  </a:ext>
                </a:extLst>
              </p:cNvPr>
              <p:cNvSpPr>
                <a:spLocks/>
              </p:cNvSpPr>
              <p:nvPr/>
            </p:nvSpPr>
            <p:spPr bwMode="auto">
              <a:xfrm>
                <a:off x="5003" y="2707"/>
                <a:ext cx="129" cy="228"/>
              </a:xfrm>
              <a:custGeom>
                <a:avLst/>
                <a:gdLst>
                  <a:gd name="T0" fmla="*/ 66 w 66"/>
                  <a:gd name="T1" fmla="*/ 5 h 116"/>
                  <a:gd name="T2" fmla="*/ 0 w 66"/>
                  <a:gd name="T3" fmla="*/ 116 h 116"/>
                  <a:gd name="T4" fmla="*/ 32 w 66"/>
                  <a:gd name="T5" fmla="*/ 2 h 116"/>
                  <a:gd name="T6" fmla="*/ 53 w 66"/>
                  <a:gd name="T7" fmla="*/ 0 h 116"/>
                  <a:gd name="T8" fmla="*/ 66 w 66"/>
                  <a:gd name="T9" fmla="*/ 5 h 116"/>
                </a:gdLst>
                <a:ahLst/>
                <a:cxnLst>
                  <a:cxn ang="0">
                    <a:pos x="T0" y="T1"/>
                  </a:cxn>
                  <a:cxn ang="0">
                    <a:pos x="T2" y="T3"/>
                  </a:cxn>
                  <a:cxn ang="0">
                    <a:pos x="T4" y="T5"/>
                  </a:cxn>
                  <a:cxn ang="0">
                    <a:pos x="T6" y="T7"/>
                  </a:cxn>
                  <a:cxn ang="0">
                    <a:pos x="T8" y="T9"/>
                  </a:cxn>
                </a:cxnLst>
                <a:rect l="0" t="0" r="r" b="b"/>
                <a:pathLst>
                  <a:path w="66" h="116">
                    <a:moveTo>
                      <a:pt x="66" y="5"/>
                    </a:moveTo>
                    <a:cubicBezTo>
                      <a:pt x="66" y="5"/>
                      <a:pt x="46" y="95"/>
                      <a:pt x="0" y="116"/>
                    </a:cubicBezTo>
                    <a:cubicBezTo>
                      <a:pt x="7" y="80"/>
                      <a:pt x="17" y="42"/>
                      <a:pt x="32" y="2"/>
                    </a:cubicBezTo>
                    <a:cubicBezTo>
                      <a:pt x="53" y="0"/>
                      <a:pt x="53" y="0"/>
                      <a:pt x="53" y="0"/>
                    </a:cubicBezTo>
                    <a:cubicBezTo>
                      <a:pt x="58" y="1"/>
                      <a:pt x="62" y="3"/>
                      <a:pt x="66" y="5"/>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95">
                <a:extLst>
                  <a:ext uri="{FF2B5EF4-FFF2-40B4-BE49-F238E27FC236}">
                    <a16:creationId xmlns:a16="http://schemas.microsoft.com/office/drawing/2014/main" id="{6817E5D9-E4EF-49E5-B2DA-899B921B3C42}"/>
                  </a:ext>
                </a:extLst>
              </p:cNvPr>
              <p:cNvSpPr>
                <a:spLocks/>
              </p:cNvSpPr>
              <p:nvPr/>
            </p:nvSpPr>
            <p:spPr bwMode="auto">
              <a:xfrm>
                <a:off x="5293" y="2698"/>
                <a:ext cx="67" cy="176"/>
              </a:xfrm>
              <a:custGeom>
                <a:avLst/>
                <a:gdLst>
                  <a:gd name="T0" fmla="*/ 34 w 34"/>
                  <a:gd name="T1" fmla="*/ 90 h 90"/>
                  <a:gd name="T2" fmla="*/ 25 w 34"/>
                  <a:gd name="T3" fmla="*/ 76 h 90"/>
                  <a:gd name="T4" fmla="*/ 0 w 34"/>
                  <a:gd name="T5" fmla="*/ 0 h 90"/>
                  <a:gd name="T6" fmla="*/ 4 w 34"/>
                  <a:gd name="T7" fmla="*/ 0 h 90"/>
                  <a:gd name="T8" fmla="*/ 34 w 34"/>
                  <a:gd name="T9" fmla="*/ 90 h 90"/>
                </a:gdLst>
                <a:ahLst/>
                <a:cxnLst>
                  <a:cxn ang="0">
                    <a:pos x="T0" y="T1"/>
                  </a:cxn>
                  <a:cxn ang="0">
                    <a:pos x="T2" y="T3"/>
                  </a:cxn>
                  <a:cxn ang="0">
                    <a:pos x="T4" y="T5"/>
                  </a:cxn>
                  <a:cxn ang="0">
                    <a:pos x="T6" y="T7"/>
                  </a:cxn>
                  <a:cxn ang="0">
                    <a:pos x="T8" y="T9"/>
                  </a:cxn>
                </a:cxnLst>
                <a:rect l="0" t="0" r="r" b="b"/>
                <a:pathLst>
                  <a:path w="34" h="90">
                    <a:moveTo>
                      <a:pt x="34" y="90"/>
                    </a:moveTo>
                    <a:cubicBezTo>
                      <a:pt x="30" y="86"/>
                      <a:pt x="27" y="81"/>
                      <a:pt x="25" y="76"/>
                    </a:cubicBezTo>
                    <a:cubicBezTo>
                      <a:pt x="20" y="57"/>
                      <a:pt x="5" y="16"/>
                      <a:pt x="0" y="0"/>
                    </a:cubicBezTo>
                    <a:cubicBezTo>
                      <a:pt x="4" y="0"/>
                      <a:pt x="4" y="0"/>
                      <a:pt x="4" y="0"/>
                    </a:cubicBezTo>
                    <a:cubicBezTo>
                      <a:pt x="4" y="0"/>
                      <a:pt x="19" y="30"/>
                      <a:pt x="34" y="90"/>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96">
                <a:extLst>
                  <a:ext uri="{FF2B5EF4-FFF2-40B4-BE49-F238E27FC236}">
                    <a16:creationId xmlns:a16="http://schemas.microsoft.com/office/drawing/2014/main" id="{325422DC-E7C2-4BB8-A531-8A40EED4ADA8}"/>
                  </a:ext>
                </a:extLst>
              </p:cNvPr>
              <p:cNvSpPr>
                <a:spLocks/>
              </p:cNvSpPr>
              <p:nvPr/>
            </p:nvSpPr>
            <p:spPr bwMode="auto">
              <a:xfrm>
                <a:off x="5209" y="2702"/>
                <a:ext cx="88" cy="597"/>
              </a:xfrm>
              <a:custGeom>
                <a:avLst/>
                <a:gdLst>
                  <a:gd name="T0" fmla="*/ 22 w 45"/>
                  <a:gd name="T1" fmla="*/ 259 h 304"/>
                  <a:gd name="T2" fmla="*/ 9 w 45"/>
                  <a:gd name="T3" fmla="*/ 304 h 304"/>
                  <a:gd name="T4" fmla="*/ 0 w 45"/>
                  <a:gd name="T5" fmla="*/ 273 h 304"/>
                  <a:gd name="T6" fmla="*/ 11 w 45"/>
                  <a:gd name="T7" fmla="*/ 159 h 304"/>
                  <a:gd name="T8" fmla="*/ 3 w 45"/>
                  <a:gd name="T9" fmla="*/ 1 h 304"/>
                  <a:gd name="T10" fmla="*/ 9 w 45"/>
                  <a:gd name="T11" fmla="*/ 0 h 304"/>
                  <a:gd name="T12" fmla="*/ 11 w 45"/>
                  <a:gd name="T13" fmla="*/ 186 h 304"/>
                  <a:gd name="T14" fmla="*/ 36 w 45"/>
                  <a:gd name="T15" fmla="*/ 146 h 304"/>
                  <a:gd name="T16" fmla="*/ 22 w 45"/>
                  <a:gd name="T17" fmla="*/ 25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04">
                    <a:moveTo>
                      <a:pt x="22" y="259"/>
                    </a:moveTo>
                    <a:cubicBezTo>
                      <a:pt x="15" y="270"/>
                      <a:pt x="11" y="287"/>
                      <a:pt x="9" y="304"/>
                    </a:cubicBezTo>
                    <a:cubicBezTo>
                      <a:pt x="6" y="294"/>
                      <a:pt x="3" y="283"/>
                      <a:pt x="0" y="273"/>
                    </a:cubicBezTo>
                    <a:cubicBezTo>
                      <a:pt x="1" y="265"/>
                      <a:pt x="8" y="226"/>
                      <a:pt x="11" y="159"/>
                    </a:cubicBezTo>
                    <a:cubicBezTo>
                      <a:pt x="15" y="84"/>
                      <a:pt x="3" y="1"/>
                      <a:pt x="3" y="1"/>
                    </a:cubicBezTo>
                    <a:cubicBezTo>
                      <a:pt x="9" y="0"/>
                      <a:pt x="9" y="0"/>
                      <a:pt x="9" y="0"/>
                    </a:cubicBezTo>
                    <a:cubicBezTo>
                      <a:pt x="9" y="0"/>
                      <a:pt x="40" y="110"/>
                      <a:pt x="11" y="186"/>
                    </a:cubicBezTo>
                    <a:cubicBezTo>
                      <a:pt x="12" y="185"/>
                      <a:pt x="31" y="164"/>
                      <a:pt x="36" y="146"/>
                    </a:cubicBezTo>
                    <a:cubicBezTo>
                      <a:pt x="36" y="146"/>
                      <a:pt x="45" y="223"/>
                      <a:pt x="22" y="259"/>
                    </a:cubicBezTo>
                    <a:close/>
                  </a:path>
                </a:pathLst>
              </a:custGeom>
              <a:solidFill>
                <a:srgbClr val="662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97">
                <a:extLst>
                  <a:ext uri="{FF2B5EF4-FFF2-40B4-BE49-F238E27FC236}">
                    <a16:creationId xmlns:a16="http://schemas.microsoft.com/office/drawing/2014/main" id="{AEF77486-D761-478C-BA52-4CE8FF952FD9}"/>
                  </a:ext>
                </a:extLst>
              </p:cNvPr>
              <p:cNvSpPr>
                <a:spLocks/>
              </p:cNvSpPr>
              <p:nvPr/>
            </p:nvSpPr>
            <p:spPr bwMode="auto">
              <a:xfrm>
                <a:off x="5582" y="2696"/>
                <a:ext cx="172" cy="125"/>
              </a:xfrm>
              <a:custGeom>
                <a:avLst/>
                <a:gdLst>
                  <a:gd name="T0" fmla="*/ 49 w 88"/>
                  <a:gd name="T1" fmla="*/ 0 h 64"/>
                  <a:gd name="T2" fmla="*/ 27 w 88"/>
                  <a:gd name="T3" fmla="*/ 7 h 64"/>
                  <a:gd name="T4" fmla="*/ 4 w 88"/>
                  <a:gd name="T5" fmla="*/ 27 h 64"/>
                  <a:gd name="T6" fmla="*/ 27 w 88"/>
                  <a:gd name="T7" fmla="*/ 49 h 64"/>
                  <a:gd name="T8" fmla="*/ 54 w 88"/>
                  <a:gd name="T9" fmla="*/ 63 h 64"/>
                  <a:gd name="T10" fmla="*/ 51 w 88"/>
                  <a:gd name="T11" fmla="*/ 58 h 64"/>
                  <a:gd name="T12" fmla="*/ 42 w 88"/>
                  <a:gd name="T13" fmla="*/ 47 h 64"/>
                  <a:gd name="T14" fmla="*/ 74 w 88"/>
                  <a:gd name="T15" fmla="*/ 58 h 64"/>
                  <a:gd name="T16" fmla="*/ 49 w 88"/>
                  <a:gd name="T17" fmla="*/ 40 h 64"/>
                  <a:gd name="T18" fmla="*/ 66 w 88"/>
                  <a:gd name="T19" fmla="*/ 43 h 64"/>
                  <a:gd name="T20" fmla="*/ 85 w 88"/>
                  <a:gd name="T21" fmla="*/ 46 h 64"/>
                  <a:gd name="T22" fmla="*/ 52 w 88"/>
                  <a:gd name="T23" fmla="*/ 30 h 64"/>
                  <a:gd name="T24" fmla="*/ 70 w 88"/>
                  <a:gd name="T25" fmla="*/ 33 h 64"/>
                  <a:gd name="T26" fmla="*/ 85 w 88"/>
                  <a:gd name="T27" fmla="*/ 33 h 64"/>
                  <a:gd name="T28" fmla="*/ 65 w 88"/>
                  <a:gd name="T29" fmla="*/ 27 h 64"/>
                  <a:gd name="T30" fmla="*/ 35 w 88"/>
                  <a:gd name="T31" fmla="*/ 16 h 64"/>
                  <a:gd name="T32" fmla="*/ 32 w 88"/>
                  <a:gd name="T33" fmla="*/ 13 h 64"/>
                  <a:gd name="T34" fmla="*/ 49 w 88"/>
                  <a:gd name="T3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64">
                    <a:moveTo>
                      <a:pt x="49" y="0"/>
                    </a:moveTo>
                    <a:cubicBezTo>
                      <a:pt x="49" y="0"/>
                      <a:pt x="49" y="0"/>
                      <a:pt x="27" y="7"/>
                    </a:cubicBezTo>
                    <a:cubicBezTo>
                      <a:pt x="6" y="13"/>
                      <a:pt x="8" y="16"/>
                      <a:pt x="4" y="27"/>
                    </a:cubicBezTo>
                    <a:cubicBezTo>
                      <a:pt x="0" y="38"/>
                      <a:pt x="19" y="47"/>
                      <a:pt x="27" y="49"/>
                    </a:cubicBezTo>
                    <a:cubicBezTo>
                      <a:pt x="35" y="50"/>
                      <a:pt x="48" y="64"/>
                      <a:pt x="54" y="63"/>
                    </a:cubicBezTo>
                    <a:cubicBezTo>
                      <a:pt x="57" y="63"/>
                      <a:pt x="55" y="61"/>
                      <a:pt x="51" y="58"/>
                    </a:cubicBezTo>
                    <a:cubicBezTo>
                      <a:pt x="45" y="53"/>
                      <a:pt x="42" y="47"/>
                      <a:pt x="42" y="47"/>
                    </a:cubicBezTo>
                    <a:cubicBezTo>
                      <a:pt x="49" y="44"/>
                      <a:pt x="67" y="62"/>
                      <a:pt x="74" y="58"/>
                    </a:cubicBezTo>
                    <a:cubicBezTo>
                      <a:pt x="78" y="56"/>
                      <a:pt x="49" y="45"/>
                      <a:pt x="49" y="40"/>
                    </a:cubicBezTo>
                    <a:cubicBezTo>
                      <a:pt x="49" y="40"/>
                      <a:pt x="52" y="39"/>
                      <a:pt x="66" y="43"/>
                    </a:cubicBezTo>
                    <a:cubicBezTo>
                      <a:pt x="74" y="45"/>
                      <a:pt x="83" y="48"/>
                      <a:pt x="85" y="46"/>
                    </a:cubicBezTo>
                    <a:cubicBezTo>
                      <a:pt x="88" y="42"/>
                      <a:pt x="70" y="40"/>
                      <a:pt x="52" y="30"/>
                    </a:cubicBezTo>
                    <a:cubicBezTo>
                      <a:pt x="52" y="30"/>
                      <a:pt x="61" y="31"/>
                      <a:pt x="70" y="33"/>
                    </a:cubicBezTo>
                    <a:cubicBezTo>
                      <a:pt x="77" y="34"/>
                      <a:pt x="85" y="36"/>
                      <a:pt x="85" y="33"/>
                    </a:cubicBezTo>
                    <a:cubicBezTo>
                      <a:pt x="85" y="30"/>
                      <a:pt x="73" y="28"/>
                      <a:pt x="65" y="27"/>
                    </a:cubicBezTo>
                    <a:cubicBezTo>
                      <a:pt x="50" y="24"/>
                      <a:pt x="40" y="19"/>
                      <a:pt x="35" y="16"/>
                    </a:cubicBezTo>
                    <a:cubicBezTo>
                      <a:pt x="33" y="14"/>
                      <a:pt x="32" y="13"/>
                      <a:pt x="32" y="13"/>
                    </a:cubicBezTo>
                    <a:cubicBezTo>
                      <a:pt x="53" y="5"/>
                      <a:pt x="49" y="0"/>
                      <a:pt x="49"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98">
                <a:extLst>
                  <a:ext uri="{FF2B5EF4-FFF2-40B4-BE49-F238E27FC236}">
                    <a16:creationId xmlns:a16="http://schemas.microsoft.com/office/drawing/2014/main" id="{FAB54C81-B3F9-419B-A33A-4BB7AFE0B5AB}"/>
                  </a:ext>
                </a:extLst>
              </p:cNvPr>
              <p:cNvSpPr>
                <a:spLocks/>
              </p:cNvSpPr>
              <p:nvPr/>
            </p:nvSpPr>
            <p:spPr bwMode="auto">
              <a:xfrm>
                <a:off x="5621" y="2721"/>
                <a:ext cx="29" cy="28"/>
              </a:xfrm>
              <a:custGeom>
                <a:avLst/>
                <a:gdLst>
                  <a:gd name="T0" fmla="*/ 12 w 15"/>
                  <a:gd name="T1" fmla="*/ 0 h 14"/>
                  <a:gd name="T2" fmla="*/ 0 w 15"/>
                  <a:gd name="T3" fmla="*/ 11 h 14"/>
                  <a:gd name="T4" fmla="*/ 15 w 15"/>
                  <a:gd name="T5" fmla="*/ 3 h 14"/>
                  <a:gd name="T6" fmla="*/ 12 w 15"/>
                  <a:gd name="T7" fmla="*/ 0 h 14"/>
                </a:gdLst>
                <a:ahLst/>
                <a:cxnLst>
                  <a:cxn ang="0">
                    <a:pos x="T0" y="T1"/>
                  </a:cxn>
                  <a:cxn ang="0">
                    <a:pos x="T2" y="T3"/>
                  </a:cxn>
                  <a:cxn ang="0">
                    <a:pos x="T4" y="T5"/>
                  </a:cxn>
                  <a:cxn ang="0">
                    <a:pos x="T6" y="T7"/>
                  </a:cxn>
                </a:cxnLst>
                <a:rect l="0" t="0" r="r" b="b"/>
                <a:pathLst>
                  <a:path w="15" h="14">
                    <a:moveTo>
                      <a:pt x="12" y="0"/>
                    </a:moveTo>
                    <a:cubicBezTo>
                      <a:pt x="12" y="0"/>
                      <a:pt x="8" y="9"/>
                      <a:pt x="0" y="11"/>
                    </a:cubicBezTo>
                    <a:cubicBezTo>
                      <a:pt x="0" y="11"/>
                      <a:pt x="11" y="14"/>
                      <a:pt x="15" y="3"/>
                    </a:cubicBezTo>
                    <a:cubicBezTo>
                      <a:pt x="13" y="1"/>
                      <a:pt x="12" y="0"/>
                      <a:pt x="12"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99">
                <a:extLst>
                  <a:ext uri="{FF2B5EF4-FFF2-40B4-BE49-F238E27FC236}">
                    <a16:creationId xmlns:a16="http://schemas.microsoft.com/office/drawing/2014/main" id="{3705CAD4-C2AD-4A4F-9D2B-F0ABC3060F82}"/>
                  </a:ext>
                </a:extLst>
              </p:cNvPr>
              <p:cNvSpPr>
                <a:spLocks/>
              </p:cNvSpPr>
              <p:nvPr/>
            </p:nvSpPr>
            <p:spPr bwMode="auto">
              <a:xfrm>
                <a:off x="5215" y="2380"/>
                <a:ext cx="406" cy="379"/>
              </a:xfrm>
              <a:custGeom>
                <a:avLst/>
                <a:gdLst>
                  <a:gd name="T0" fmla="*/ 0 w 207"/>
                  <a:gd name="T1" fmla="*/ 0 h 193"/>
                  <a:gd name="T2" fmla="*/ 78 w 207"/>
                  <a:gd name="T3" fmla="*/ 148 h 193"/>
                  <a:gd name="T4" fmla="*/ 120 w 207"/>
                  <a:gd name="T5" fmla="*/ 157 h 193"/>
                  <a:gd name="T6" fmla="*/ 207 w 207"/>
                  <a:gd name="T7" fmla="*/ 176 h 193"/>
                  <a:gd name="T8" fmla="*/ 201 w 207"/>
                  <a:gd name="T9" fmla="*/ 193 h 193"/>
                  <a:gd name="T10" fmla="*/ 66 w 207"/>
                  <a:gd name="T11" fmla="*/ 185 h 193"/>
                  <a:gd name="T12" fmla="*/ 12 w 207"/>
                  <a:gd name="T13" fmla="*/ 79 h 193"/>
                  <a:gd name="T14" fmla="*/ 0 w 207"/>
                  <a:gd name="T15" fmla="*/ 0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7" h="193">
                    <a:moveTo>
                      <a:pt x="0" y="0"/>
                    </a:moveTo>
                    <a:cubicBezTo>
                      <a:pt x="35" y="9"/>
                      <a:pt x="41" y="30"/>
                      <a:pt x="78" y="148"/>
                    </a:cubicBezTo>
                    <a:cubicBezTo>
                      <a:pt x="78" y="148"/>
                      <a:pt x="99" y="149"/>
                      <a:pt x="120" y="157"/>
                    </a:cubicBezTo>
                    <a:cubicBezTo>
                      <a:pt x="141" y="166"/>
                      <a:pt x="207" y="176"/>
                      <a:pt x="207" y="176"/>
                    </a:cubicBezTo>
                    <a:cubicBezTo>
                      <a:pt x="201" y="193"/>
                      <a:pt x="201" y="193"/>
                      <a:pt x="201" y="193"/>
                    </a:cubicBezTo>
                    <a:cubicBezTo>
                      <a:pt x="201" y="193"/>
                      <a:pt x="83" y="193"/>
                      <a:pt x="66" y="185"/>
                    </a:cubicBezTo>
                    <a:cubicBezTo>
                      <a:pt x="50" y="177"/>
                      <a:pt x="12" y="79"/>
                      <a:pt x="12" y="79"/>
                    </a:cubicBezTo>
                    <a:lnTo>
                      <a:pt x="0" y="0"/>
                    </a:ln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200">
                <a:extLst>
                  <a:ext uri="{FF2B5EF4-FFF2-40B4-BE49-F238E27FC236}">
                    <a16:creationId xmlns:a16="http://schemas.microsoft.com/office/drawing/2014/main" id="{C43A8971-C704-4320-A4DB-97EE14A63A98}"/>
                  </a:ext>
                </a:extLst>
              </p:cNvPr>
              <p:cNvSpPr>
                <a:spLocks/>
              </p:cNvSpPr>
              <p:nvPr/>
            </p:nvSpPr>
            <p:spPr bwMode="auto">
              <a:xfrm>
                <a:off x="4876" y="2332"/>
                <a:ext cx="525" cy="419"/>
              </a:xfrm>
              <a:custGeom>
                <a:avLst/>
                <a:gdLst>
                  <a:gd name="T0" fmla="*/ 97 w 268"/>
                  <a:gd name="T1" fmla="*/ 193 h 213"/>
                  <a:gd name="T2" fmla="*/ 217 w 268"/>
                  <a:gd name="T3" fmla="*/ 186 h 213"/>
                  <a:gd name="T4" fmla="*/ 175 w 268"/>
                  <a:gd name="T5" fmla="*/ 24 h 213"/>
                  <a:gd name="T6" fmla="*/ 173 w 268"/>
                  <a:gd name="T7" fmla="*/ 24 h 213"/>
                  <a:gd name="T8" fmla="*/ 54 w 268"/>
                  <a:gd name="T9" fmla="*/ 27 h 213"/>
                  <a:gd name="T10" fmla="*/ 46 w 268"/>
                  <a:gd name="T11" fmla="*/ 33 h 213"/>
                  <a:gd name="T12" fmla="*/ 97 w 268"/>
                  <a:gd name="T13" fmla="*/ 193 h 213"/>
                </a:gdLst>
                <a:ahLst/>
                <a:cxnLst>
                  <a:cxn ang="0">
                    <a:pos x="T0" y="T1"/>
                  </a:cxn>
                  <a:cxn ang="0">
                    <a:pos x="T2" y="T3"/>
                  </a:cxn>
                  <a:cxn ang="0">
                    <a:pos x="T4" y="T5"/>
                  </a:cxn>
                  <a:cxn ang="0">
                    <a:pos x="T6" y="T7"/>
                  </a:cxn>
                  <a:cxn ang="0">
                    <a:pos x="T8" y="T9"/>
                  </a:cxn>
                  <a:cxn ang="0">
                    <a:pos x="T10" y="T11"/>
                  </a:cxn>
                  <a:cxn ang="0">
                    <a:pos x="T12" y="T13"/>
                  </a:cxn>
                </a:cxnLst>
                <a:rect l="0" t="0" r="r" b="b"/>
                <a:pathLst>
                  <a:path w="268" h="213">
                    <a:moveTo>
                      <a:pt x="97" y="193"/>
                    </a:moveTo>
                    <a:cubicBezTo>
                      <a:pt x="183" y="213"/>
                      <a:pt x="217" y="186"/>
                      <a:pt x="217" y="186"/>
                    </a:cubicBezTo>
                    <a:cubicBezTo>
                      <a:pt x="268" y="99"/>
                      <a:pt x="175" y="24"/>
                      <a:pt x="175" y="24"/>
                    </a:cubicBezTo>
                    <a:cubicBezTo>
                      <a:pt x="175" y="24"/>
                      <a:pt x="174" y="24"/>
                      <a:pt x="173" y="24"/>
                    </a:cubicBezTo>
                    <a:cubicBezTo>
                      <a:pt x="161" y="20"/>
                      <a:pt x="96" y="0"/>
                      <a:pt x="54" y="27"/>
                    </a:cubicBezTo>
                    <a:cubicBezTo>
                      <a:pt x="51" y="29"/>
                      <a:pt x="48" y="31"/>
                      <a:pt x="46" y="33"/>
                    </a:cubicBezTo>
                    <a:cubicBezTo>
                      <a:pt x="0" y="72"/>
                      <a:pt x="97" y="193"/>
                      <a:pt x="97" y="193"/>
                    </a:cubicBezTo>
                    <a:close/>
                  </a:path>
                </a:pathLst>
              </a:custGeom>
              <a:solidFill>
                <a:srgbClr val="8BBD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201">
                <a:extLst>
                  <a:ext uri="{FF2B5EF4-FFF2-40B4-BE49-F238E27FC236}">
                    <a16:creationId xmlns:a16="http://schemas.microsoft.com/office/drawing/2014/main" id="{A8CF5842-F284-4C5C-86FC-25F8FD4FB798}"/>
                  </a:ext>
                </a:extLst>
              </p:cNvPr>
              <p:cNvSpPr>
                <a:spLocks/>
              </p:cNvSpPr>
              <p:nvPr/>
            </p:nvSpPr>
            <p:spPr bwMode="auto">
              <a:xfrm>
                <a:off x="4891" y="2065"/>
                <a:ext cx="381" cy="267"/>
              </a:xfrm>
              <a:custGeom>
                <a:avLst/>
                <a:gdLst>
                  <a:gd name="T0" fmla="*/ 166 w 194"/>
                  <a:gd name="T1" fmla="*/ 128 h 136"/>
                  <a:gd name="T2" fmla="*/ 56 w 194"/>
                  <a:gd name="T3" fmla="*/ 136 h 136"/>
                  <a:gd name="T4" fmla="*/ 97 w 194"/>
                  <a:gd name="T5" fmla="*/ 2 h 136"/>
                  <a:gd name="T6" fmla="*/ 166 w 194"/>
                  <a:gd name="T7" fmla="*/ 128 h 136"/>
                </a:gdLst>
                <a:ahLst/>
                <a:cxnLst>
                  <a:cxn ang="0">
                    <a:pos x="T0" y="T1"/>
                  </a:cxn>
                  <a:cxn ang="0">
                    <a:pos x="T2" y="T3"/>
                  </a:cxn>
                  <a:cxn ang="0">
                    <a:pos x="T4" y="T5"/>
                  </a:cxn>
                  <a:cxn ang="0">
                    <a:pos x="T6" y="T7"/>
                  </a:cxn>
                </a:cxnLst>
                <a:rect l="0" t="0" r="r" b="b"/>
                <a:pathLst>
                  <a:path w="194" h="136">
                    <a:moveTo>
                      <a:pt x="166" y="128"/>
                    </a:moveTo>
                    <a:cubicBezTo>
                      <a:pt x="166" y="128"/>
                      <a:pt x="105" y="111"/>
                      <a:pt x="56" y="136"/>
                    </a:cubicBezTo>
                    <a:cubicBezTo>
                      <a:pt x="56" y="136"/>
                      <a:pt x="0" y="0"/>
                      <a:pt x="97" y="2"/>
                    </a:cubicBezTo>
                    <a:cubicBezTo>
                      <a:pt x="194" y="3"/>
                      <a:pt x="174" y="104"/>
                      <a:pt x="166" y="128"/>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202">
                <a:extLst>
                  <a:ext uri="{FF2B5EF4-FFF2-40B4-BE49-F238E27FC236}">
                    <a16:creationId xmlns:a16="http://schemas.microsoft.com/office/drawing/2014/main" id="{F7DE91B7-74EB-4C81-8706-38E1F5A2CFEE}"/>
                  </a:ext>
                </a:extLst>
              </p:cNvPr>
              <p:cNvSpPr>
                <a:spLocks/>
              </p:cNvSpPr>
              <p:nvPr/>
            </p:nvSpPr>
            <p:spPr bwMode="auto">
              <a:xfrm>
                <a:off x="4938" y="2046"/>
                <a:ext cx="281" cy="277"/>
              </a:xfrm>
              <a:custGeom>
                <a:avLst/>
                <a:gdLst>
                  <a:gd name="T0" fmla="*/ 51 w 143"/>
                  <a:gd name="T1" fmla="*/ 22 h 141"/>
                  <a:gd name="T2" fmla="*/ 130 w 143"/>
                  <a:gd name="T3" fmla="*/ 46 h 141"/>
                  <a:gd name="T4" fmla="*/ 100 w 143"/>
                  <a:gd name="T5" fmla="*/ 138 h 141"/>
                  <a:gd name="T6" fmla="*/ 51 w 143"/>
                  <a:gd name="T7" fmla="*/ 22 h 141"/>
                </a:gdLst>
                <a:ahLst/>
                <a:cxnLst>
                  <a:cxn ang="0">
                    <a:pos x="T0" y="T1"/>
                  </a:cxn>
                  <a:cxn ang="0">
                    <a:pos x="T2" y="T3"/>
                  </a:cxn>
                  <a:cxn ang="0">
                    <a:pos x="T4" y="T5"/>
                  </a:cxn>
                  <a:cxn ang="0">
                    <a:pos x="T6" y="T7"/>
                  </a:cxn>
                </a:cxnLst>
                <a:rect l="0" t="0" r="r" b="b"/>
                <a:pathLst>
                  <a:path w="143" h="141">
                    <a:moveTo>
                      <a:pt x="51" y="22"/>
                    </a:moveTo>
                    <a:cubicBezTo>
                      <a:pt x="51" y="22"/>
                      <a:pt x="116" y="0"/>
                      <a:pt x="130" y="46"/>
                    </a:cubicBezTo>
                    <a:cubicBezTo>
                      <a:pt x="143" y="93"/>
                      <a:pt x="131" y="141"/>
                      <a:pt x="100" y="138"/>
                    </a:cubicBezTo>
                    <a:cubicBezTo>
                      <a:pt x="57" y="133"/>
                      <a:pt x="0" y="48"/>
                      <a:pt x="51" y="2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03">
                <a:extLst>
                  <a:ext uri="{FF2B5EF4-FFF2-40B4-BE49-F238E27FC236}">
                    <a16:creationId xmlns:a16="http://schemas.microsoft.com/office/drawing/2014/main" id="{3C89B5F1-A4AC-4900-842D-A0FB2B21D6DA}"/>
                  </a:ext>
                </a:extLst>
              </p:cNvPr>
              <p:cNvSpPr>
                <a:spLocks/>
              </p:cNvSpPr>
              <p:nvPr/>
            </p:nvSpPr>
            <p:spPr bwMode="auto">
              <a:xfrm>
                <a:off x="5101" y="2207"/>
                <a:ext cx="27" cy="21"/>
              </a:xfrm>
              <a:custGeom>
                <a:avLst/>
                <a:gdLst>
                  <a:gd name="T0" fmla="*/ 1 w 14"/>
                  <a:gd name="T1" fmla="*/ 5 h 11"/>
                  <a:gd name="T2" fmla="*/ 6 w 14"/>
                  <a:gd name="T3" fmla="*/ 11 h 11"/>
                  <a:gd name="T4" fmla="*/ 13 w 14"/>
                  <a:gd name="T5" fmla="*/ 6 h 11"/>
                  <a:gd name="T6" fmla="*/ 7 w 14"/>
                  <a:gd name="T7" fmla="*/ 1 h 11"/>
                  <a:gd name="T8" fmla="*/ 1 w 14"/>
                  <a:gd name="T9" fmla="*/ 5 h 11"/>
                </a:gdLst>
                <a:ahLst/>
                <a:cxnLst>
                  <a:cxn ang="0">
                    <a:pos x="T0" y="T1"/>
                  </a:cxn>
                  <a:cxn ang="0">
                    <a:pos x="T2" y="T3"/>
                  </a:cxn>
                  <a:cxn ang="0">
                    <a:pos x="T4" y="T5"/>
                  </a:cxn>
                  <a:cxn ang="0">
                    <a:pos x="T6" y="T7"/>
                  </a:cxn>
                  <a:cxn ang="0">
                    <a:pos x="T8" y="T9"/>
                  </a:cxn>
                </a:cxnLst>
                <a:rect l="0" t="0" r="r" b="b"/>
                <a:pathLst>
                  <a:path w="14" h="11">
                    <a:moveTo>
                      <a:pt x="1" y="5"/>
                    </a:moveTo>
                    <a:cubicBezTo>
                      <a:pt x="0" y="8"/>
                      <a:pt x="3" y="10"/>
                      <a:pt x="6" y="11"/>
                    </a:cubicBezTo>
                    <a:cubicBezTo>
                      <a:pt x="10" y="11"/>
                      <a:pt x="13" y="9"/>
                      <a:pt x="13" y="6"/>
                    </a:cubicBezTo>
                    <a:cubicBezTo>
                      <a:pt x="14" y="4"/>
                      <a:pt x="11" y="1"/>
                      <a:pt x="7" y="1"/>
                    </a:cubicBezTo>
                    <a:cubicBezTo>
                      <a:pt x="4" y="0"/>
                      <a:pt x="1" y="2"/>
                      <a:pt x="1" y="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204">
                <a:extLst>
                  <a:ext uri="{FF2B5EF4-FFF2-40B4-BE49-F238E27FC236}">
                    <a16:creationId xmlns:a16="http://schemas.microsoft.com/office/drawing/2014/main" id="{80BAA4FF-2F2A-4D08-8B8F-E04EEA48AEFB}"/>
                  </a:ext>
                </a:extLst>
              </p:cNvPr>
              <p:cNvSpPr>
                <a:spLocks/>
              </p:cNvSpPr>
              <p:nvPr/>
            </p:nvSpPr>
            <p:spPr bwMode="auto">
              <a:xfrm>
                <a:off x="5109" y="2146"/>
                <a:ext cx="25" cy="16"/>
              </a:xfrm>
              <a:custGeom>
                <a:avLst/>
                <a:gdLst>
                  <a:gd name="T0" fmla="*/ 2 w 13"/>
                  <a:gd name="T1" fmla="*/ 8 h 8"/>
                  <a:gd name="T2" fmla="*/ 3 w 13"/>
                  <a:gd name="T3" fmla="*/ 7 h 8"/>
                  <a:gd name="T4" fmla="*/ 11 w 13"/>
                  <a:gd name="T5" fmla="*/ 3 h 8"/>
                  <a:gd name="T6" fmla="*/ 12 w 13"/>
                  <a:gd name="T7" fmla="*/ 2 h 8"/>
                  <a:gd name="T8" fmla="*/ 11 w 13"/>
                  <a:gd name="T9" fmla="*/ 1 h 8"/>
                  <a:gd name="T10" fmla="*/ 1 w 13"/>
                  <a:gd name="T11" fmla="*/ 6 h 8"/>
                  <a:gd name="T12" fmla="*/ 1 w 13"/>
                  <a:gd name="T13" fmla="*/ 7 h 8"/>
                  <a:gd name="T14" fmla="*/ 2 w 13"/>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2" y="8"/>
                    </a:moveTo>
                    <a:cubicBezTo>
                      <a:pt x="2" y="8"/>
                      <a:pt x="3" y="7"/>
                      <a:pt x="3" y="7"/>
                    </a:cubicBezTo>
                    <a:cubicBezTo>
                      <a:pt x="6" y="3"/>
                      <a:pt x="11" y="3"/>
                      <a:pt x="11" y="3"/>
                    </a:cubicBezTo>
                    <a:cubicBezTo>
                      <a:pt x="12" y="3"/>
                      <a:pt x="12" y="3"/>
                      <a:pt x="12" y="2"/>
                    </a:cubicBezTo>
                    <a:cubicBezTo>
                      <a:pt x="13" y="1"/>
                      <a:pt x="12" y="1"/>
                      <a:pt x="11" y="1"/>
                    </a:cubicBezTo>
                    <a:cubicBezTo>
                      <a:pt x="11" y="0"/>
                      <a:pt x="4" y="0"/>
                      <a:pt x="1" y="6"/>
                    </a:cubicBezTo>
                    <a:cubicBezTo>
                      <a:pt x="0" y="6"/>
                      <a:pt x="0" y="7"/>
                      <a:pt x="1" y="7"/>
                    </a:cubicBezTo>
                    <a:cubicBezTo>
                      <a:pt x="1" y="8"/>
                      <a:pt x="2" y="8"/>
                      <a:pt x="2" y="8"/>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05">
                <a:extLst>
                  <a:ext uri="{FF2B5EF4-FFF2-40B4-BE49-F238E27FC236}">
                    <a16:creationId xmlns:a16="http://schemas.microsoft.com/office/drawing/2014/main" id="{711E3CD8-3539-43DB-A6E2-742AB9A4D677}"/>
                  </a:ext>
                </a:extLst>
              </p:cNvPr>
              <p:cNvSpPr>
                <a:spLocks/>
              </p:cNvSpPr>
              <p:nvPr/>
            </p:nvSpPr>
            <p:spPr bwMode="auto">
              <a:xfrm>
                <a:off x="5168" y="2134"/>
                <a:ext cx="27" cy="14"/>
              </a:xfrm>
              <a:custGeom>
                <a:avLst/>
                <a:gdLst>
                  <a:gd name="T0" fmla="*/ 2 w 14"/>
                  <a:gd name="T1" fmla="*/ 7 h 7"/>
                  <a:gd name="T2" fmla="*/ 3 w 14"/>
                  <a:gd name="T3" fmla="*/ 6 h 7"/>
                  <a:gd name="T4" fmla="*/ 12 w 14"/>
                  <a:gd name="T5" fmla="*/ 5 h 7"/>
                  <a:gd name="T6" fmla="*/ 13 w 14"/>
                  <a:gd name="T7" fmla="*/ 4 h 7"/>
                  <a:gd name="T8" fmla="*/ 13 w 14"/>
                  <a:gd name="T9" fmla="*/ 3 h 7"/>
                  <a:gd name="T10" fmla="*/ 1 w 14"/>
                  <a:gd name="T11" fmla="*/ 4 h 7"/>
                  <a:gd name="T12" fmla="*/ 1 w 14"/>
                  <a:gd name="T13" fmla="*/ 6 h 7"/>
                  <a:gd name="T14" fmla="*/ 2 w 1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2" y="7"/>
                    </a:moveTo>
                    <a:cubicBezTo>
                      <a:pt x="2" y="7"/>
                      <a:pt x="3" y="6"/>
                      <a:pt x="3" y="6"/>
                    </a:cubicBezTo>
                    <a:cubicBezTo>
                      <a:pt x="7" y="3"/>
                      <a:pt x="12" y="5"/>
                      <a:pt x="12" y="5"/>
                    </a:cubicBezTo>
                    <a:cubicBezTo>
                      <a:pt x="12" y="5"/>
                      <a:pt x="13" y="5"/>
                      <a:pt x="13" y="4"/>
                    </a:cubicBezTo>
                    <a:cubicBezTo>
                      <a:pt x="14" y="4"/>
                      <a:pt x="13" y="3"/>
                      <a:pt x="13" y="3"/>
                    </a:cubicBezTo>
                    <a:cubicBezTo>
                      <a:pt x="13" y="3"/>
                      <a:pt x="6" y="0"/>
                      <a:pt x="1" y="4"/>
                    </a:cubicBezTo>
                    <a:cubicBezTo>
                      <a:pt x="1" y="5"/>
                      <a:pt x="0" y="6"/>
                      <a:pt x="1" y="6"/>
                    </a:cubicBezTo>
                    <a:cubicBezTo>
                      <a:pt x="1" y="6"/>
                      <a:pt x="2" y="7"/>
                      <a:pt x="2" y="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Freeform 207">
              <a:extLst>
                <a:ext uri="{FF2B5EF4-FFF2-40B4-BE49-F238E27FC236}">
                  <a16:creationId xmlns:a16="http://schemas.microsoft.com/office/drawing/2014/main" id="{F1CAFF07-1CA6-47C2-95D5-B607FEE39986}"/>
                </a:ext>
              </a:extLst>
            </p:cNvPr>
            <p:cNvSpPr>
              <a:spLocks/>
            </p:cNvSpPr>
            <p:nvPr/>
          </p:nvSpPr>
          <p:spPr bwMode="auto">
            <a:xfrm>
              <a:off x="5130" y="2242"/>
              <a:ext cx="55" cy="41"/>
            </a:xfrm>
            <a:custGeom>
              <a:avLst/>
              <a:gdLst>
                <a:gd name="T0" fmla="*/ 28 w 28"/>
                <a:gd name="T1" fmla="*/ 0 h 21"/>
                <a:gd name="T2" fmla="*/ 0 w 28"/>
                <a:gd name="T3" fmla="*/ 1 h 21"/>
                <a:gd name="T4" fmla="*/ 17 w 28"/>
                <a:gd name="T5" fmla="*/ 19 h 21"/>
                <a:gd name="T6" fmla="*/ 28 w 28"/>
                <a:gd name="T7" fmla="*/ 0 h 21"/>
              </a:gdLst>
              <a:ahLst/>
              <a:cxnLst>
                <a:cxn ang="0">
                  <a:pos x="T0" y="T1"/>
                </a:cxn>
                <a:cxn ang="0">
                  <a:pos x="T2" y="T3"/>
                </a:cxn>
                <a:cxn ang="0">
                  <a:pos x="T4" y="T5"/>
                </a:cxn>
                <a:cxn ang="0">
                  <a:pos x="T6" y="T7"/>
                </a:cxn>
              </a:cxnLst>
              <a:rect l="0" t="0" r="r" b="b"/>
              <a:pathLst>
                <a:path w="28" h="21">
                  <a:moveTo>
                    <a:pt x="28" y="0"/>
                  </a:moveTo>
                  <a:cubicBezTo>
                    <a:pt x="28" y="0"/>
                    <a:pt x="18" y="6"/>
                    <a:pt x="0" y="1"/>
                  </a:cubicBezTo>
                  <a:cubicBezTo>
                    <a:pt x="0" y="1"/>
                    <a:pt x="6" y="21"/>
                    <a:pt x="17" y="19"/>
                  </a:cubicBezTo>
                  <a:cubicBezTo>
                    <a:pt x="28" y="16"/>
                    <a:pt x="28" y="0"/>
                    <a:pt x="28" y="0"/>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08">
              <a:extLst>
                <a:ext uri="{FF2B5EF4-FFF2-40B4-BE49-F238E27FC236}">
                  <a16:creationId xmlns:a16="http://schemas.microsoft.com/office/drawing/2014/main" id="{6918BD73-ED1B-4527-A8B6-010CB1D29343}"/>
                </a:ext>
              </a:extLst>
            </p:cNvPr>
            <p:cNvSpPr>
              <a:spLocks/>
            </p:cNvSpPr>
            <p:nvPr/>
          </p:nvSpPr>
          <p:spPr bwMode="auto">
            <a:xfrm>
              <a:off x="4977" y="2109"/>
              <a:ext cx="112" cy="170"/>
            </a:xfrm>
            <a:custGeom>
              <a:avLst/>
              <a:gdLst>
                <a:gd name="T0" fmla="*/ 57 w 57"/>
                <a:gd name="T1" fmla="*/ 14 h 87"/>
                <a:gd name="T2" fmla="*/ 43 w 57"/>
                <a:gd name="T3" fmla="*/ 58 h 87"/>
                <a:gd name="T4" fmla="*/ 26 w 57"/>
                <a:gd name="T5" fmla="*/ 56 h 87"/>
                <a:gd name="T6" fmla="*/ 43 w 57"/>
                <a:gd name="T7" fmla="*/ 85 h 87"/>
                <a:gd name="T8" fmla="*/ 2 w 57"/>
                <a:gd name="T9" fmla="*/ 39 h 87"/>
                <a:gd name="T10" fmla="*/ 57 w 57"/>
                <a:gd name="T11" fmla="*/ 14 h 87"/>
              </a:gdLst>
              <a:ahLst/>
              <a:cxnLst>
                <a:cxn ang="0">
                  <a:pos x="T0" y="T1"/>
                </a:cxn>
                <a:cxn ang="0">
                  <a:pos x="T2" y="T3"/>
                </a:cxn>
                <a:cxn ang="0">
                  <a:pos x="T4" y="T5"/>
                </a:cxn>
                <a:cxn ang="0">
                  <a:pos x="T6" y="T7"/>
                </a:cxn>
                <a:cxn ang="0">
                  <a:pos x="T8" y="T9"/>
                </a:cxn>
                <a:cxn ang="0">
                  <a:pos x="T10" y="T11"/>
                </a:cxn>
              </a:cxnLst>
              <a:rect l="0" t="0" r="r" b="b"/>
              <a:pathLst>
                <a:path w="57" h="87">
                  <a:moveTo>
                    <a:pt x="57" y="14"/>
                  </a:moveTo>
                  <a:cubicBezTo>
                    <a:pt x="57" y="14"/>
                    <a:pt x="42" y="33"/>
                    <a:pt x="43" y="58"/>
                  </a:cubicBezTo>
                  <a:cubicBezTo>
                    <a:pt x="43" y="58"/>
                    <a:pt x="31" y="44"/>
                    <a:pt x="26" y="56"/>
                  </a:cubicBezTo>
                  <a:cubicBezTo>
                    <a:pt x="20" y="68"/>
                    <a:pt x="43" y="85"/>
                    <a:pt x="43" y="85"/>
                  </a:cubicBezTo>
                  <a:cubicBezTo>
                    <a:pt x="43" y="85"/>
                    <a:pt x="6" y="87"/>
                    <a:pt x="2" y="39"/>
                  </a:cubicBezTo>
                  <a:cubicBezTo>
                    <a:pt x="0" y="19"/>
                    <a:pt x="26" y="0"/>
                    <a:pt x="57" y="14"/>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09">
              <a:extLst>
                <a:ext uri="{FF2B5EF4-FFF2-40B4-BE49-F238E27FC236}">
                  <a16:creationId xmlns:a16="http://schemas.microsoft.com/office/drawing/2014/main" id="{7FC86FFF-B985-4135-80DE-E67F96B18F0E}"/>
                </a:ext>
              </a:extLst>
            </p:cNvPr>
            <p:cNvSpPr>
              <a:spLocks/>
            </p:cNvSpPr>
            <p:nvPr/>
          </p:nvSpPr>
          <p:spPr bwMode="auto">
            <a:xfrm>
              <a:off x="5050" y="2256"/>
              <a:ext cx="126" cy="153"/>
            </a:xfrm>
            <a:custGeom>
              <a:avLst/>
              <a:gdLst>
                <a:gd name="T0" fmla="*/ 7 w 64"/>
                <a:gd name="T1" fmla="*/ 0 h 78"/>
                <a:gd name="T2" fmla="*/ 52 w 64"/>
                <a:gd name="T3" fmla="*/ 30 h 78"/>
                <a:gd name="T4" fmla="*/ 55 w 64"/>
                <a:gd name="T5" fmla="*/ 58 h 78"/>
                <a:gd name="T6" fmla="*/ 44 w 64"/>
                <a:gd name="T7" fmla="*/ 75 h 78"/>
                <a:gd name="T8" fmla="*/ 4 w 64"/>
                <a:gd name="T9" fmla="*/ 58 h 78"/>
                <a:gd name="T10" fmla="*/ 0 w 64"/>
                <a:gd name="T11" fmla="*/ 2 h 78"/>
                <a:gd name="T12" fmla="*/ 7 w 64"/>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64" h="78">
                  <a:moveTo>
                    <a:pt x="7" y="0"/>
                  </a:moveTo>
                  <a:cubicBezTo>
                    <a:pt x="12" y="13"/>
                    <a:pt x="31" y="37"/>
                    <a:pt x="52" y="30"/>
                  </a:cubicBezTo>
                  <a:cubicBezTo>
                    <a:pt x="52" y="30"/>
                    <a:pt x="47" y="50"/>
                    <a:pt x="55" y="58"/>
                  </a:cubicBezTo>
                  <a:cubicBezTo>
                    <a:pt x="55" y="58"/>
                    <a:pt x="64" y="73"/>
                    <a:pt x="44" y="75"/>
                  </a:cubicBezTo>
                  <a:cubicBezTo>
                    <a:pt x="18" y="78"/>
                    <a:pt x="4" y="58"/>
                    <a:pt x="4" y="58"/>
                  </a:cubicBezTo>
                  <a:cubicBezTo>
                    <a:pt x="15" y="33"/>
                    <a:pt x="0" y="2"/>
                    <a:pt x="0" y="2"/>
                  </a:cubicBezTo>
                  <a:cubicBezTo>
                    <a:pt x="5" y="6"/>
                    <a:pt x="7" y="0"/>
                    <a:pt x="7" y="0"/>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10">
              <a:extLst>
                <a:ext uri="{FF2B5EF4-FFF2-40B4-BE49-F238E27FC236}">
                  <a16:creationId xmlns:a16="http://schemas.microsoft.com/office/drawing/2014/main" id="{F64405C6-817F-453C-BF75-1C060C7586C9}"/>
                </a:ext>
              </a:extLst>
            </p:cNvPr>
            <p:cNvSpPr>
              <a:spLocks/>
            </p:cNvSpPr>
            <p:nvPr/>
          </p:nvSpPr>
          <p:spPr bwMode="auto">
            <a:xfrm>
              <a:off x="5168" y="2199"/>
              <a:ext cx="23" cy="29"/>
            </a:xfrm>
            <a:custGeom>
              <a:avLst/>
              <a:gdLst>
                <a:gd name="T0" fmla="*/ 5 w 12"/>
                <a:gd name="T1" fmla="*/ 15 h 15"/>
                <a:gd name="T2" fmla="*/ 4 w 12"/>
                <a:gd name="T3" fmla="*/ 12 h 15"/>
                <a:gd name="T4" fmla="*/ 7 w 12"/>
                <a:gd name="T5" fmla="*/ 6 h 15"/>
                <a:gd name="T6" fmla="*/ 5 w 12"/>
                <a:gd name="T7" fmla="*/ 3 h 15"/>
                <a:gd name="T8" fmla="*/ 2 w 12"/>
                <a:gd name="T9" fmla="*/ 4 h 15"/>
                <a:gd name="T10" fmla="*/ 0 w 12"/>
                <a:gd name="T11" fmla="*/ 1 h 15"/>
                <a:gd name="T12" fmla="*/ 6 w 12"/>
                <a:gd name="T13" fmla="*/ 1 h 15"/>
                <a:gd name="T14" fmla="*/ 10 w 12"/>
                <a:gd name="T15" fmla="*/ 5 h 15"/>
                <a:gd name="T16" fmla="*/ 5 w 1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5">
                  <a:moveTo>
                    <a:pt x="5" y="15"/>
                  </a:moveTo>
                  <a:cubicBezTo>
                    <a:pt x="4" y="12"/>
                    <a:pt x="4" y="12"/>
                    <a:pt x="4" y="12"/>
                  </a:cubicBezTo>
                  <a:cubicBezTo>
                    <a:pt x="5" y="12"/>
                    <a:pt x="9" y="10"/>
                    <a:pt x="7" y="6"/>
                  </a:cubicBezTo>
                  <a:cubicBezTo>
                    <a:pt x="7" y="5"/>
                    <a:pt x="6" y="4"/>
                    <a:pt x="5" y="3"/>
                  </a:cubicBezTo>
                  <a:cubicBezTo>
                    <a:pt x="4" y="3"/>
                    <a:pt x="2" y="4"/>
                    <a:pt x="2" y="4"/>
                  </a:cubicBezTo>
                  <a:cubicBezTo>
                    <a:pt x="0" y="1"/>
                    <a:pt x="0" y="1"/>
                    <a:pt x="0" y="1"/>
                  </a:cubicBezTo>
                  <a:cubicBezTo>
                    <a:pt x="0" y="1"/>
                    <a:pt x="3" y="0"/>
                    <a:pt x="6" y="1"/>
                  </a:cubicBezTo>
                  <a:cubicBezTo>
                    <a:pt x="8" y="1"/>
                    <a:pt x="9" y="3"/>
                    <a:pt x="10" y="5"/>
                  </a:cubicBezTo>
                  <a:cubicBezTo>
                    <a:pt x="12" y="10"/>
                    <a:pt x="8" y="14"/>
                    <a:pt x="5" y="15"/>
                  </a:cubicBezTo>
                  <a:close/>
                </a:path>
              </a:pathLst>
            </a:custGeom>
            <a:solidFill>
              <a:srgbClr val="DB61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1">
              <a:extLst>
                <a:ext uri="{FF2B5EF4-FFF2-40B4-BE49-F238E27FC236}">
                  <a16:creationId xmlns:a16="http://schemas.microsoft.com/office/drawing/2014/main" id="{20C0DA61-370A-469E-9F7D-142CD8037824}"/>
                </a:ext>
              </a:extLst>
            </p:cNvPr>
            <p:cNvSpPr>
              <a:spLocks/>
            </p:cNvSpPr>
            <p:nvPr/>
          </p:nvSpPr>
          <p:spPr bwMode="auto">
            <a:xfrm>
              <a:off x="5121" y="2181"/>
              <a:ext cx="13" cy="22"/>
            </a:xfrm>
            <a:custGeom>
              <a:avLst/>
              <a:gdLst>
                <a:gd name="T0" fmla="*/ 0 w 7"/>
                <a:gd name="T1" fmla="*/ 6 h 11"/>
                <a:gd name="T2" fmla="*/ 4 w 7"/>
                <a:gd name="T3" fmla="*/ 11 h 11"/>
                <a:gd name="T4" fmla="*/ 7 w 7"/>
                <a:gd name="T5" fmla="*/ 6 h 11"/>
                <a:gd name="T6" fmla="*/ 3 w 7"/>
                <a:gd name="T7" fmla="*/ 1 h 11"/>
                <a:gd name="T8" fmla="*/ 0 w 7"/>
                <a:gd name="T9" fmla="*/ 6 h 11"/>
              </a:gdLst>
              <a:ahLst/>
              <a:cxnLst>
                <a:cxn ang="0">
                  <a:pos x="T0" y="T1"/>
                </a:cxn>
                <a:cxn ang="0">
                  <a:pos x="T2" y="T3"/>
                </a:cxn>
                <a:cxn ang="0">
                  <a:pos x="T4" y="T5"/>
                </a:cxn>
                <a:cxn ang="0">
                  <a:pos x="T6" y="T7"/>
                </a:cxn>
                <a:cxn ang="0">
                  <a:pos x="T8" y="T9"/>
                </a:cxn>
              </a:cxnLst>
              <a:rect l="0" t="0" r="r" b="b"/>
              <a:pathLst>
                <a:path w="7" h="11">
                  <a:moveTo>
                    <a:pt x="0" y="6"/>
                  </a:moveTo>
                  <a:cubicBezTo>
                    <a:pt x="1" y="9"/>
                    <a:pt x="2" y="11"/>
                    <a:pt x="4" y="11"/>
                  </a:cubicBezTo>
                  <a:cubicBezTo>
                    <a:pt x="6" y="11"/>
                    <a:pt x="7" y="9"/>
                    <a:pt x="7" y="6"/>
                  </a:cubicBezTo>
                  <a:cubicBezTo>
                    <a:pt x="7" y="3"/>
                    <a:pt x="5" y="0"/>
                    <a:pt x="3" y="1"/>
                  </a:cubicBezTo>
                  <a:cubicBezTo>
                    <a:pt x="2" y="1"/>
                    <a:pt x="0"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2">
              <a:extLst>
                <a:ext uri="{FF2B5EF4-FFF2-40B4-BE49-F238E27FC236}">
                  <a16:creationId xmlns:a16="http://schemas.microsoft.com/office/drawing/2014/main" id="{684DEAEC-875D-4461-BFDD-0C6D5BF85FCB}"/>
                </a:ext>
              </a:extLst>
            </p:cNvPr>
            <p:cNvSpPr>
              <a:spLocks/>
            </p:cNvSpPr>
            <p:nvPr/>
          </p:nvSpPr>
          <p:spPr bwMode="auto">
            <a:xfrm>
              <a:off x="5119" y="2173"/>
              <a:ext cx="27" cy="18"/>
            </a:xfrm>
            <a:custGeom>
              <a:avLst/>
              <a:gdLst>
                <a:gd name="T0" fmla="*/ 0 w 14"/>
                <a:gd name="T1" fmla="*/ 9 h 9"/>
                <a:gd name="T2" fmla="*/ 4 w 14"/>
                <a:gd name="T3" fmla="*/ 2 h 9"/>
                <a:gd name="T4" fmla="*/ 10 w 14"/>
                <a:gd name="T5" fmla="*/ 7 h 9"/>
                <a:gd name="T6" fmla="*/ 14 w 14"/>
                <a:gd name="T7" fmla="*/ 4 h 9"/>
                <a:gd name="T8" fmla="*/ 10 w 14"/>
                <a:gd name="T9" fmla="*/ 5 h 9"/>
                <a:gd name="T10" fmla="*/ 3 w 14"/>
                <a:gd name="T11" fmla="*/ 1 h 9"/>
                <a:gd name="T12" fmla="*/ 0 w 1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4" h="9">
                  <a:moveTo>
                    <a:pt x="0" y="9"/>
                  </a:moveTo>
                  <a:cubicBezTo>
                    <a:pt x="0" y="9"/>
                    <a:pt x="1" y="3"/>
                    <a:pt x="4" y="2"/>
                  </a:cubicBezTo>
                  <a:cubicBezTo>
                    <a:pt x="6" y="2"/>
                    <a:pt x="10" y="7"/>
                    <a:pt x="10" y="7"/>
                  </a:cubicBezTo>
                  <a:cubicBezTo>
                    <a:pt x="14" y="4"/>
                    <a:pt x="14" y="4"/>
                    <a:pt x="14" y="4"/>
                  </a:cubicBezTo>
                  <a:cubicBezTo>
                    <a:pt x="10" y="5"/>
                    <a:pt x="10" y="5"/>
                    <a:pt x="10" y="5"/>
                  </a:cubicBezTo>
                  <a:cubicBezTo>
                    <a:pt x="10" y="5"/>
                    <a:pt x="6" y="0"/>
                    <a:pt x="3" y="1"/>
                  </a:cubicBezTo>
                  <a:cubicBezTo>
                    <a:pt x="0" y="2"/>
                    <a:pt x="0" y="9"/>
                    <a:pt x="0"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3">
              <a:extLst>
                <a:ext uri="{FF2B5EF4-FFF2-40B4-BE49-F238E27FC236}">
                  <a16:creationId xmlns:a16="http://schemas.microsoft.com/office/drawing/2014/main" id="{22A3792F-7684-45FF-8198-2E7C2AD1D222}"/>
                </a:ext>
              </a:extLst>
            </p:cNvPr>
            <p:cNvSpPr>
              <a:spLocks/>
            </p:cNvSpPr>
            <p:nvPr/>
          </p:nvSpPr>
          <p:spPr bwMode="auto">
            <a:xfrm>
              <a:off x="5176" y="2173"/>
              <a:ext cx="13" cy="22"/>
            </a:xfrm>
            <a:custGeom>
              <a:avLst/>
              <a:gdLst>
                <a:gd name="T0" fmla="*/ 0 w 7"/>
                <a:gd name="T1" fmla="*/ 6 h 11"/>
                <a:gd name="T2" fmla="*/ 3 w 7"/>
                <a:gd name="T3" fmla="*/ 11 h 11"/>
                <a:gd name="T4" fmla="*/ 6 w 7"/>
                <a:gd name="T5" fmla="*/ 5 h 11"/>
                <a:gd name="T6" fmla="*/ 3 w 7"/>
                <a:gd name="T7" fmla="*/ 0 h 11"/>
                <a:gd name="T8" fmla="*/ 0 w 7"/>
                <a:gd name="T9" fmla="*/ 6 h 11"/>
              </a:gdLst>
              <a:ahLst/>
              <a:cxnLst>
                <a:cxn ang="0">
                  <a:pos x="T0" y="T1"/>
                </a:cxn>
                <a:cxn ang="0">
                  <a:pos x="T2" y="T3"/>
                </a:cxn>
                <a:cxn ang="0">
                  <a:pos x="T4" y="T5"/>
                </a:cxn>
                <a:cxn ang="0">
                  <a:pos x="T6" y="T7"/>
                </a:cxn>
                <a:cxn ang="0">
                  <a:pos x="T8" y="T9"/>
                </a:cxn>
              </a:cxnLst>
              <a:rect l="0" t="0" r="r" b="b"/>
              <a:pathLst>
                <a:path w="7" h="11">
                  <a:moveTo>
                    <a:pt x="0" y="6"/>
                  </a:moveTo>
                  <a:cubicBezTo>
                    <a:pt x="0" y="9"/>
                    <a:pt x="2" y="11"/>
                    <a:pt x="3" y="11"/>
                  </a:cubicBezTo>
                  <a:cubicBezTo>
                    <a:pt x="5" y="11"/>
                    <a:pt x="7" y="8"/>
                    <a:pt x="6" y="5"/>
                  </a:cubicBezTo>
                  <a:cubicBezTo>
                    <a:pt x="6" y="3"/>
                    <a:pt x="5" y="0"/>
                    <a:pt x="3" y="0"/>
                  </a:cubicBezTo>
                  <a:cubicBezTo>
                    <a:pt x="1" y="0"/>
                    <a:pt x="0" y="3"/>
                    <a:pt x="0" y="6"/>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4">
              <a:extLst>
                <a:ext uri="{FF2B5EF4-FFF2-40B4-BE49-F238E27FC236}">
                  <a16:creationId xmlns:a16="http://schemas.microsoft.com/office/drawing/2014/main" id="{7A982A41-590A-4F49-B342-96AF3D7D1794}"/>
                </a:ext>
              </a:extLst>
            </p:cNvPr>
            <p:cNvSpPr>
              <a:spLocks/>
            </p:cNvSpPr>
            <p:nvPr/>
          </p:nvSpPr>
          <p:spPr bwMode="auto">
            <a:xfrm>
              <a:off x="5172" y="2165"/>
              <a:ext cx="29" cy="18"/>
            </a:xfrm>
            <a:custGeom>
              <a:avLst/>
              <a:gdLst>
                <a:gd name="T0" fmla="*/ 0 w 15"/>
                <a:gd name="T1" fmla="*/ 9 h 9"/>
                <a:gd name="T2" fmla="*/ 4 w 15"/>
                <a:gd name="T3" fmla="*/ 2 h 9"/>
                <a:gd name="T4" fmla="*/ 10 w 15"/>
                <a:gd name="T5" fmla="*/ 7 h 9"/>
                <a:gd name="T6" fmla="*/ 15 w 15"/>
                <a:gd name="T7" fmla="*/ 3 h 9"/>
                <a:gd name="T8" fmla="*/ 11 w 15"/>
                <a:gd name="T9" fmla="*/ 5 h 9"/>
                <a:gd name="T10" fmla="*/ 3 w 15"/>
                <a:gd name="T11" fmla="*/ 1 h 9"/>
                <a:gd name="T12" fmla="*/ 0 w 15"/>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0" y="9"/>
                  </a:moveTo>
                  <a:cubicBezTo>
                    <a:pt x="0" y="9"/>
                    <a:pt x="1" y="2"/>
                    <a:pt x="4" y="2"/>
                  </a:cubicBezTo>
                  <a:cubicBezTo>
                    <a:pt x="6" y="2"/>
                    <a:pt x="10" y="7"/>
                    <a:pt x="10" y="7"/>
                  </a:cubicBezTo>
                  <a:cubicBezTo>
                    <a:pt x="15" y="3"/>
                    <a:pt x="15" y="3"/>
                    <a:pt x="15" y="3"/>
                  </a:cubicBezTo>
                  <a:cubicBezTo>
                    <a:pt x="11" y="5"/>
                    <a:pt x="11" y="5"/>
                    <a:pt x="11" y="5"/>
                  </a:cubicBezTo>
                  <a:cubicBezTo>
                    <a:pt x="11" y="5"/>
                    <a:pt x="7" y="0"/>
                    <a:pt x="3" y="1"/>
                  </a:cubicBezTo>
                  <a:cubicBezTo>
                    <a:pt x="0" y="2"/>
                    <a:pt x="0" y="9"/>
                    <a:pt x="0" y="9"/>
                  </a:cubicBezTo>
                  <a:close/>
                </a:path>
              </a:pathLst>
            </a:custGeom>
            <a:solidFill>
              <a:srgbClr val="1A48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5">
              <a:extLst>
                <a:ext uri="{FF2B5EF4-FFF2-40B4-BE49-F238E27FC236}">
                  <a16:creationId xmlns:a16="http://schemas.microsoft.com/office/drawing/2014/main" id="{5006BDAD-0B14-4D0D-868D-FB77BDF43625}"/>
                </a:ext>
              </a:extLst>
            </p:cNvPr>
            <p:cNvSpPr>
              <a:spLocks/>
            </p:cNvSpPr>
            <p:nvPr/>
          </p:nvSpPr>
          <p:spPr bwMode="auto">
            <a:xfrm>
              <a:off x="4954" y="2036"/>
              <a:ext cx="320" cy="281"/>
            </a:xfrm>
            <a:custGeom>
              <a:avLst/>
              <a:gdLst>
                <a:gd name="T0" fmla="*/ 85 w 163"/>
                <a:gd name="T1" fmla="*/ 37 h 143"/>
                <a:gd name="T2" fmla="*/ 55 w 163"/>
                <a:gd name="T3" fmla="*/ 95 h 143"/>
                <a:gd name="T4" fmla="*/ 21 w 163"/>
                <a:gd name="T5" fmla="*/ 87 h 143"/>
                <a:gd name="T6" fmla="*/ 49 w 163"/>
                <a:gd name="T7" fmla="*/ 22 h 143"/>
                <a:gd name="T8" fmla="*/ 96 w 163"/>
                <a:gd name="T9" fmla="*/ 7 h 143"/>
                <a:gd name="T10" fmla="*/ 134 w 163"/>
                <a:gd name="T11" fmla="*/ 143 h 143"/>
                <a:gd name="T12" fmla="*/ 85 w 163"/>
                <a:gd name="T13" fmla="*/ 37 h 143"/>
              </a:gdLst>
              <a:ahLst/>
              <a:cxnLst>
                <a:cxn ang="0">
                  <a:pos x="T0" y="T1"/>
                </a:cxn>
                <a:cxn ang="0">
                  <a:pos x="T2" y="T3"/>
                </a:cxn>
                <a:cxn ang="0">
                  <a:pos x="T4" y="T5"/>
                </a:cxn>
                <a:cxn ang="0">
                  <a:pos x="T6" y="T7"/>
                </a:cxn>
                <a:cxn ang="0">
                  <a:pos x="T8" y="T9"/>
                </a:cxn>
                <a:cxn ang="0">
                  <a:pos x="T10" y="T11"/>
                </a:cxn>
                <a:cxn ang="0">
                  <a:pos x="T12" y="T13"/>
                </a:cxn>
              </a:cxnLst>
              <a:rect l="0" t="0" r="r" b="b"/>
              <a:pathLst>
                <a:path w="163" h="143">
                  <a:moveTo>
                    <a:pt x="85" y="37"/>
                  </a:moveTo>
                  <a:cubicBezTo>
                    <a:pt x="85" y="37"/>
                    <a:pt x="95" y="90"/>
                    <a:pt x="55" y="95"/>
                  </a:cubicBezTo>
                  <a:cubicBezTo>
                    <a:pt x="55" y="95"/>
                    <a:pt x="40" y="70"/>
                    <a:pt x="21" y="87"/>
                  </a:cubicBezTo>
                  <a:cubicBezTo>
                    <a:pt x="21" y="87"/>
                    <a:pt x="0" y="31"/>
                    <a:pt x="49" y="22"/>
                  </a:cubicBezTo>
                  <a:cubicBezTo>
                    <a:pt x="49" y="22"/>
                    <a:pt x="58" y="0"/>
                    <a:pt x="96" y="7"/>
                  </a:cubicBezTo>
                  <a:cubicBezTo>
                    <a:pt x="148" y="17"/>
                    <a:pt x="163" y="80"/>
                    <a:pt x="134" y="143"/>
                  </a:cubicBezTo>
                  <a:cubicBezTo>
                    <a:pt x="134" y="143"/>
                    <a:pt x="159" y="30"/>
                    <a:pt x="85" y="37"/>
                  </a:cubicBezTo>
                  <a:close/>
                </a:path>
              </a:pathLst>
            </a:custGeom>
            <a:solidFill>
              <a:srgbClr val="FFB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6">
              <a:extLst>
                <a:ext uri="{FF2B5EF4-FFF2-40B4-BE49-F238E27FC236}">
                  <a16:creationId xmlns:a16="http://schemas.microsoft.com/office/drawing/2014/main" id="{FBBCE9D8-1552-4F38-827F-0D24F42CF148}"/>
                </a:ext>
              </a:extLst>
            </p:cNvPr>
            <p:cNvSpPr>
              <a:spLocks/>
            </p:cNvSpPr>
            <p:nvPr/>
          </p:nvSpPr>
          <p:spPr bwMode="auto">
            <a:xfrm>
              <a:off x="4981" y="2334"/>
              <a:ext cx="314" cy="195"/>
            </a:xfrm>
            <a:custGeom>
              <a:avLst/>
              <a:gdLst>
                <a:gd name="T0" fmla="*/ 0 w 160"/>
                <a:gd name="T1" fmla="*/ 26 h 99"/>
                <a:gd name="T2" fmla="*/ 20 w 160"/>
                <a:gd name="T3" fmla="*/ 36 h 99"/>
                <a:gd name="T4" fmla="*/ 127 w 160"/>
                <a:gd name="T5" fmla="*/ 40 h 99"/>
                <a:gd name="T6" fmla="*/ 123 w 160"/>
                <a:gd name="T7" fmla="*/ 28 h 99"/>
                <a:gd name="T8" fmla="*/ 119 w 160"/>
                <a:gd name="T9" fmla="*/ 23 h 99"/>
                <a:gd name="T10" fmla="*/ 3 w 160"/>
                <a:gd name="T11" fmla="*/ 24 h 99"/>
                <a:gd name="T12" fmla="*/ 0 w 160"/>
                <a:gd name="T13" fmla="*/ 26 h 99"/>
              </a:gdLst>
              <a:ahLst/>
              <a:cxnLst>
                <a:cxn ang="0">
                  <a:pos x="T0" y="T1"/>
                </a:cxn>
                <a:cxn ang="0">
                  <a:pos x="T2" y="T3"/>
                </a:cxn>
                <a:cxn ang="0">
                  <a:pos x="T4" y="T5"/>
                </a:cxn>
                <a:cxn ang="0">
                  <a:pos x="T6" y="T7"/>
                </a:cxn>
                <a:cxn ang="0">
                  <a:pos x="T8" y="T9"/>
                </a:cxn>
                <a:cxn ang="0">
                  <a:pos x="T10" y="T11"/>
                </a:cxn>
                <a:cxn ang="0">
                  <a:pos x="T12" y="T13"/>
                </a:cxn>
              </a:cxnLst>
              <a:rect l="0" t="0" r="r" b="b"/>
              <a:pathLst>
                <a:path w="160" h="99">
                  <a:moveTo>
                    <a:pt x="0" y="26"/>
                  </a:moveTo>
                  <a:cubicBezTo>
                    <a:pt x="5" y="29"/>
                    <a:pt x="12" y="32"/>
                    <a:pt x="20" y="36"/>
                  </a:cubicBezTo>
                  <a:cubicBezTo>
                    <a:pt x="160" y="99"/>
                    <a:pt x="127" y="40"/>
                    <a:pt x="127" y="40"/>
                  </a:cubicBezTo>
                  <a:cubicBezTo>
                    <a:pt x="127" y="35"/>
                    <a:pt x="126" y="31"/>
                    <a:pt x="123" y="28"/>
                  </a:cubicBezTo>
                  <a:cubicBezTo>
                    <a:pt x="122" y="26"/>
                    <a:pt x="121" y="24"/>
                    <a:pt x="119" y="23"/>
                  </a:cubicBezTo>
                  <a:cubicBezTo>
                    <a:pt x="108" y="19"/>
                    <a:pt x="45" y="0"/>
                    <a:pt x="3" y="24"/>
                  </a:cubicBezTo>
                  <a:cubicBezTo>
                    <a:pt x="2" y="25"/>
                    <a:pt x="1" y="25"/>
                    <a:pt x="0" y="26"/>
                  </a:cubicBezTo>
                  <a:close/>
                </a:path>
              </a:pathLst>
            </a:custGeom>
            <a:solidFill>
              <a:srgbClr val="EF6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7">
              <a:extLst>
                <a:ext uri="{FF2B5EF4-FFF2-40B4-BE49-F238E27FC236}">
                  <a16:creationId xmlns:a16="http://schemas.microsoft.com/office/drawing/2014/main" id="{9B6CA067-5664-4F36-B8C1-70CEE6A850BD}"/>
                </a:ext>
              </a:extLst>
            </p:cNvPr>
            <p:cNvSpPr>
              <a:spLocks/>
            </p:cNvSpPr>
            <p:nvPr/>
          </p:nvSpPr>
          <p:spPr bwMode="auto">
            <a:xfrm>
              <a:off x="4981" y="2381"/>
              <a:ext cx="314" cy="148"/>
            </a:xfrm>
            <a:custGeom>
              <a:avLst/>
              <a:gdLst>
                <a:gd name="T0" fmla="*/ 0 w 160"/>
                <a:gd name="T1" fmla="*/ 2 h 75"/>
                <a:gd name="T2" fmla="*/ 20 w 160"/>
                <a:gd name="T3" fmla="*/ 12 h 75"/>
                <a:gd name="T4" fmla="*/ 127 w 160"/>
                <a:gd name="T5" fmla="*/ 16 h 75"/>
                <a:gd name="T6" fmla="*/ 123 w 160"/>
                <a:gd name="T7" fmla="*/ 4 h 75"/>
                <a:gd name="T8" fmla="*/ 104 w 160"/>
                <a:gd name="T9" fmla="*/ 12 h 75"/>
                <a:gd name="T10" fmla="*/ 102 w 160"/>
                <a:gd name="T11" fmla="*/ 20 h 75"/>
                <a:gd name="T12" fmla="*/ 90 w 160"/>
                <a:gd name="T13" fmla="*/ 13 h 75"/>
                <a:gd name="T14" fmla="*/ 3 w 160"/>
                <a:gd name="T15" fmla="*/ 0 h 75"/>
                <a:gd name="T16" fmla="*/ 0 w 160"/>
                <a:gd name="T17"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75">
                  <a:moveTo>
                    <a:pt x="0" y="2"/>
                  </a:moveTo>
                  <a:cubicBezTo>
                    <a:pt x="5" y="5"/>
                    <a:pt x="12" y="8"/>
                    <a:pt x="20" y="12"/>
                  </a:cubicBezTo>
                  <a:cubicBezTo>
                    <a:pt x="160" y="75"/>
                    <a:pt x="127" y="16"/>
                    <a:pt x="127" y="16"/>
                  </a:cubicBezTo>
                  <a:cubicBezTo>
                    <a:pt x="127" y="11"/>
                    <a:pt x="126" y="7"/>
                    <a:pt x="123" y="4"/>
                  </a:cubicBezTo>
                  <a:cubicBezTo>
                    <a:pt x="118" y="6"/>
                    <a:pt x="108" y="11"/>
                    <a:pt x="104" y="12"/>
                  </a:cubicBezTo>
                  <a:cubicBezTo>
                    <a:pt x="102" y="20"/>
                    <a:pt x="102" y="20"/>
                    <a:pt x="102" y="20"/>
                  </a:cubicBezTo>
                  <a:cubicBezTo>
                    <a:pt x="90" y="13"/>
                    <a:pt x="90" y="13"/>
                    <a:pt x="90" y="13"/>
                  </a:cubicBezTo>
                  <a:cubicBezTo>
                    <a:pt x="90" y="13"/>
                    <a:pt x="48" y="14"/>
                    <a:pt x="3" y="0"/>
                  </a:cubicBezTo>
                  <a:cubicBezTo>
                    <a:pt x="2" y="1"/>
                    <a:pt x="1" y="1"/>
                    <a:pt x="0" y="2"/>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8">
              <a:extLst>
                <a:ext uri="{FF2B5EF4-FFF2-40B4-BE49-F238E27FC236}">
                  <a16:creationId xmlns:a16="http://schemas.microsoft.com/office/drawing/2014/main" id="{C9CB2D2D-3DAB-4B94-AF49-49286F05D26A}"/>
                </a:ext>
              </a:extLst>
            </p:cNvPr>
            <p:cNvSpPr>
              <a:spLocks/>
            </p:cNvSpPr>
            <p:nvPr/>
          </p:nvSpPr>
          <p:spPr bwMode="auto">
            <a:xfrm>
              <a:off x="5144" y="2607"/>
              <a:ext cx="173" cy="126"/>
            </a:xfrm>
            <a:custGeom>
              <a:avLst/>
              <a:gdLst>
                <a:gd name="T0" fmla="*/ 49 w 88"/>
                <a:gd name="T1" fmla="*/ 0 h 64"/>
                <a:gd name="T2" fmla="*/ 27 w 88"/>
                <a:gd name="T3" fmla="*/ 7 h 64"/>
                <a:gd name="T4" fmla="*/ 4 w 88"/>
                <a:gd name="T5" fmla="*/ 28 h 64"/>
                <a:gd name="T6" fmla="*/ 27 w 88"/>
                <a:gd name="T7" fmla="*/ 49 h 64"/>
                <a:gd name="T8" fmla="*/ 54 w 88"/>
                <a:gd name="T9" fmla="*/ 64 h 64"/>
                <a:gd name="T10" fmla="*/ 51 w 88"/>
                <a:gd name="T11" fmla="*/ 58 h 64"/>
                <a:gd name="T12" fmla="*/ 42 w 88"/>
                <a:gd name="T13" fmla="*/ 48 h 64"/>
                <a:gd name="T14" fmla="*/ 74 w 88"/>
                <a:gd name="T15" fmla="*/ 58 h 64"/>
                <a:gd name="T16" fmla="*/ 49 w 88"/>
                <a:gd name="T17" fmla="*/ 41 h 64"/>
                <a:gd name="T18" fmla="*/ 66 w 88"/>
                <a:gd name="T19" fmla="*/ 43 h 64"/>
                <a:gd name="T20" fmla="*/ 85 w 88"/>
                <a:gd name="T21" fmla="*/ 46 h 64"/>
                <a:gd name="T22" fmla="*/ 51 w 88"/>
                <a:gd name="T23" fmla="*/ 31 h 64"/>
                <a:gd name="T24" fmla="*/ 69 w 88"/>
                <a:gd name="T25" fmla="*/ 33 h 64"/>
                <a:gd name="T26" fmla="*/ 85 w 88"/>
                <a:gd name="T27" fmla="*/ 33 h 64"/>
                <a:gd name="T28" fmla="*/ 65 w 88"/>
                <a:gd name="T29" fmla="*/ 27 h 64"/>
                <a:gd name="T30" fmla="*/ 35 w 88"/>
                <a:gd name="T31" fmla="*/ 16 h 64"/>
                <a:gd name="T32" fmla="*/ 32 w 88"/>
                <a:gd name="T33" fmla="*/ 13 h 64"/>
                <a:gd name="T34" fmla="*/ 49 w 88"/>
                <a:gd name="T3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64">
                  <a:moveTo>
                    <a:pt x="49" y="0"/>
                  </a:moveTo>
                  <a:cubicBezTo>
                    <a:pt x="49" y="0"/>
                    <a:pt x="49" y="0"/>
                    <a:pt x="27" y="7"/>
                  </a:cubicBezTo>
                  <a:cubicBezTo>
                    <a:pt x="6" y="13"/>
                    <a:pt x="8" y="16"/>
                    <a:pt x="4" y="28"/>
                  </a:cubicBezTo>
                  <a:cubicBezTo>
                    <a:pt x="0" y="38"/>
                    <a:pt x="19" y="47"/>
                    <a:pt x="27" y="49"/>
                  </a:cubicBezTo>
                  <a:cubicBezTo>
                    <a:pt x="35" y="51"/>
                    <a:pt x="48" y="64"/>
                    <a:pt x="54" y="64"/>
                  </a:cubicBezTo>
                  <a:cubicBezTo>
                    <a:pt x="57" y="64"/>
                    <a:pt x="55" y="62"/>
                    <a:pt x="51" y="58"/>
                  </a:cubicBezTo>
                  <a:cubicBezTo>
                    <a:pt x="45" y="54"/>
                    <a:pt x="42" y="48"/>
                    <a:pt x="42" y="48"/>
                  </a:cubicBezTo>
                  <a:cubicBezTo>
                    <a:pt x="49" y="45"/>
                    <a:pt x="67" y="63"/>
                    <a:pt x="74" y="58"/>
                  </a:cubicBezTo>
                  <a:cubicBezTo>
                    <a:pt x="78" y="56"/>
                    <a:pt x="49" y="45"/>
                    <a:pt x="49" y="41"/>
                  </a:cubicBezTo>
                  <a:cubicBezTo>
                    <a:pt x="49" y="41"/>
                    <a:pt x="51" y="39"/>
                    <a:pt x="66" y="43"/>
                  </a:cubicBezTo>
                  <a:cubicBezTo>
                    <a:pt x="74" y="46"/>
                    <a:pt x="83" y="48"/>
                    <a:pt x="85" y="46"/>
                  </a:cubicBezTo>
                  <a:cubicBezTo>
                    <a:pt x="88" y="42"/>
                    <a:pt x="70" y="40"/>
                    <a:pt x="51" y="31"/>
                  </a:cubicBezTo>
                  <a:cubicBezTo>
                    <a:pt x="51" y="31"/>
                    <a:pt x="61" y="32"/>
                    <a:pt x="69" y="33"/>
                  </a:cubicBezTo>
                  <a:cubicBezTo>
                    <a:pt x="77" y="35"/>
                    <a:pt x="84" y="37"/>
                    <a:pt x="85" y="33"/>
                  </a:cubicBezTo>
                  <a:cubicBezTo>
                    <a:pt x="85" y="30"/>
                    <a:pt x="73" y="28"/>
                    <a:pt x="65" y="27"/>
                  </a:cubicBezTo>
                  <a:cubicBezTo>
                    <a:pt x="50" y="24"/>
                    <a:pt x="40" y="19"/>
                    <a:pt x="35" y="16"/>
                  </a:cubicBezTo>
                  <a:cubicBezTo>
                    <a:pt x="33" y="14"/>
                    <a:pt x="32" y="13"/>
                    <a:pt x="32" y="13"/>
                  </a:cubicBezTo>
                  <a:cubicBezTo>
                    <a:pt x="53" y="5"/>
                    <a:pt x="49" y="0"/>
                    <a:pt x="49" y="0"/>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9">
              <a:extLst>
                <a:ext uri="{FF2B5EF4-FFF2-40B4-BE49-F238E27FC236}">
                  <a16:creationId xmlns:a16="http://schemas.microsoft.com/office/drawing/2014/main" id="{50C3C96D-3231-4281-8466-EEEB723E494E}"/>
                </a:ext>
              </a:extLst>
            </p:cNvPr>
            <p:cNvSpPr>
              <a:spLocks/>
            </p:cNvSpPr>
            <p:nvPr/>
          </p:nvSpPr>
          <p:spPr bwMode="auto">
            <a:xfrm>
              <a:off x="4860" y="2376"/>
              <a:ext cx="314" cy="461"/>
            </a:xfrm>
            <a:custGeom>
              <a:avLst/>
              <a:gdLst>
                <a:gd name="T0" fmla="*/ 50 w 160"/>
                <a:gd name="T1" fmla="*/ 15 h 235"/>
                <a:gd name="T2" fmla="*/ 86 w 160"/>
                <a:gd name="T3" fmla="*/ 76 h 235"/>
                <a:gd name="T4" fmla="*/ 50 w 160"/>
                <a:gd name="T5" fmla="*/ 187 h 235"/>
                <a:gd name="T6" fmla="*/ 154 w 160"/>
                <a:gd name="T7" fmla="*/ 134 h 235"/>
                <a:gd name="T8" fmla="*/ 160 w 160"/>
                <a:gd name="T9" fmla="*/ 150 h 235"/>
                <a:gd name="T10" fmla="*/ 82 w 160"/>
                <a:gd name="T11" fmla="*/ 210 h 235"/>
                <a:gd name="T12" fmla="*/ 11 w 160"/>
                <a:gd name="T13" fmla="*/ 226 h 235"/>
                <a:gd name="T14" fmla="*/ 23 w 160"/>
                <a:gd name="T15" fmla="*/ 113 h 235"/>
                <a:gd name="T16" fmla="*/ 50 w 160"/>
                <a:gd name="T17" fmla="*/ 1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35">
                  <a:moveTo>
                    <a:pt x="50" y="15"/>
                  </a:moveTo>
                  <a:cubicBezTo>
                    <a:pt x="72" y="0"/>
                    <a:pt x="89" y="46"/>
                    <a:pt x="86" y="76"/>
                  </a:cubicBezTo>
                  <a:cubicBezTo>
                    <a:pt x="85" y="89"/>
                    <a:pt x="50" y="187"/>
                    <a:pt x="50" y="187"/>
                  </a:cubicBezTo>
                  <a:cubicBezTo>
                    <a:pt x="154" y="134"/>
                    <a:pt x="154" y="134"/>
                    <a:pt x="154" y="134"/>
                  </a:cubicBezTo>
                  <a:cubicBezTo>
                    <a:pt x="160" y="150"/>
                    <a:pt x="160" y="150"/>
                    <a:pt x="160" y="150"/>
                  </a:cubicBezTo>
                  <a:cubicBezTo>
                    <a:pt x="160" y="150"/>
                    <a:pt x="111" y="185"/>
                    <a:pt x="82" y="210"/>
                  </a:cubicBezTo>
                  <a:cubicBezTo>
                    <a:pt x="53" y="234"/>
                    <a:pt x="21" y="235"/>
                    <a:pt x="11" y="226"/>
                  </a:cubicBezTo>
                  <a:cubicBezTo>
                    <a:pt x="0" y="218"/>
                    <a:pt x="17" y="144"/>
                    <a:pt x="23" y="113"/>
                  </a:cubicBezTo>
                  <a:cubicBezTo>
                    <a:pt x="29" y="82"/>
                    <a:pt x="37" y="23"/>
                    <a:pt x="50" y="15"/>
                  </a:cubicBezTo>
                  <a:close/>
                </a:path>
              </a:pathLst>
            </a:custGeom>
            <a:solidFill>
              <a:srgbClr val="FF8B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7" name="Picture 226">
            <a:extLst>
              <a:ext uri="{FF2B5EF4-FFF2-40B4-BE49-F238E27FC236}">
                <a16:creationId xmlns:a16="http://schemas.microsoft.com/office/drawing/2014/main" id="{C5EF4CFE-0C73-4FBB-96A2-E0D1A143E667}"/>
              </a:ext>
            </a:extLst>
          </p:cNvPr>
          <p:cNvPicPr>
            <a:picLocks noChangeAspect="1"/>
          </p:cNvPicPr>
          <p:nvPr/>
        </p:nvPicPr>
        <p:blipFill>
          <a:blip r:embed="rId7"/>
          <a:stretch>
            <a:fillRect/>
          </a:stretch>
        </p:blipFill>
        <p:spPr>
          <a:xfrm>
            <a:off x="2620702" y="2068513"/>
            <a:ext cx="6950596" cy="1707328"/>
          </a:xfrm>
          <a:prstGeom prst="rect">
            <a:avLst/>
          </a:prstGeom>
        </p:spPr>
      </p:pic>
      <p:sp>
        <p:nvSpPr>
          <p:cNvPr id="236" name="Title 1">
            <a:extLst>
              <a:ext uri="{FF2B5EF4-FFF2-40B4-BE49-F238E27FC236}">
                <a16:creationId xmlns:a16="http://schemas.microsoft.com/office/drawing/2014/main" id="{F2A51151-E437-4198-B55A-A7F442F2DC99}"/>
              </a:ext>
            </a:extLst>
          </p:cNvPr>
          <p:cNvSpPr txBox="1">
            <a:spLocks/>
          </p:cNvSpPr>
          <p:nvPr/>
        </p:nvSpPr>
        <p:spPr>
          <a:xfrm>
            <a:off x="508000" y="646113"/>
            <a:ext cx="5360988" cy="955675"/>
          </a:xfrm>
          <a:prstGeom prst="rect">
            <a:avLst/>
          </a:prstGeom>
        </p:spPr>
        <p:txBody>
          <a:bodyPr vert="horz" lIns="91440" tIns="45720" rIns="91440" bIns="45720" rtlCol="0" anchor="ctr" anchorCtr="0">
            <a:noAutofit/>
          </a:bodyPr>
          <a:lstStyle>
            <a:lvl1pPr algn="ctr" defTabSz="914400" rtl="0" eaLnBrk="1" latinLnBrk="0" hangingPunct="1">
              <a:lnSpc>
                <a:spcPct val="90000"/>
              </a:lnSpc>
              <a:spcBef>
                <a:spcPct val="0"/>
              </a:spcBef>
              <a:buNone/>
              <a:defRPr sz="6000" kern="1200">
                <a:solidFill>
                  <a:schemeClr val="tx1"/>
                </a:solidFill>
                <a:latin typeface="Arial Black" panose="020B0A04020102020204" pitchFamily="34" charset="0"/>
                <a:ea typeface="+mj-ea"/>
                <a:cs typeface="+mj-cs"/>
              </a:defRPr>
            </a:lvl1pPr>
          </a:lstStyle>
          <a:p>
            <a:pPr algn="l">
              <a:lnSpc>
                <a:spcPct val="100000"/>
              </a:lnSpc>
            </a:pPr>
            <a:r>
              <a:rPr lang="en-US" dirty="0">
                <a:solidFill>
                  <a:srgbClr val="FB5252"/>
                </a:solidFill>
              </a:rPr>
              <a:t>THANK YOU</a:t>
            </a:r>
          </a:p>
        </p:txBody>
      </p:sp>
      <p:sp>
        <p:nvSpPr>
          <p:cNvPr id="240" name="Text Placeholder 2">
            <a:extLst>
              <a:ext uri="{FF2B5EF4-FFF2-40B4-BE49-F238E27FC236}">
                <a16:creationId xmlns:a16="http://schemas.microsoft.com/office/drawing/2014/main" id="{04E7466B-A7FF-4EE4-B2E3-E881A1BD6643}"/>
              </a:ext>
            </a:extLst>
          </p:cNvPr>
          <p:cNvSpPr txBox="1">
            <a:spLocks/>
          </p:cNvSpPr>
          <p:nvPr/>
        </p:nvSpPr>
        <p:spPr>
          <a:xfrm>
            <a:off x="6466607" y="673100"/>
            <a:ext cx="5217393" cy="984885"/>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2000" dirty="0"/>
              <a:t>Lorem ipsum dolor sit </a:t>
            </a:r>
            <a:r>
              <a:rPr lang="en-US" sz="2000" dirty="0" err="1"/>
              <a:t>amet</a:t>
            </a:r>
            <a:r>
              <a:rPr lang="en-US" sz="2000" dirty="0"/>
              <a:t>, </a:t>
            </a:r>
            <a:r>
              <a:rPr lang="en-US" sz="2000" dirty="0" err="1"/>
              <a:t>consectetur</a:t>
            </a:r>
            <a:r>
              <a:rPr lang="en-US" sz="2000" dirty="0"/>
              <a:t> </a:t>
            </a:r>
            <a:r>
              <a:rPr lang="en-US" sz="2000" dirty="0" err="1"/>
              <a:t>adipiscing</a:t>
            </a:r>
            <a:r>
              <a:rPr lang="en-US" sz="2000" dirty="0"/>
              <a:t> </a:t>
            </a:r>
            <a:r>
              <a:rPr lang="en-US" sz="2000" dirty="0" err="1"/>
              <a:t>elit</a:t>
            </a:r>
            <a:r>
              <a:rPr lang="en-US" sz="2000" dirty="0"/>
              <a:t>. Nunc in </a:t>
            </a:r>
            <a:r>
              <a:rPr lang="en-US" sz="2000" dirty="0" err="1"/>
              <a:t>aliquet</a:t>
            </a:r>
            <a:r>
              <a:rPr lang="en-US" sz="2000" dirty="0"/>
              <a:t> </a:t>
            </a:r>
            <a:r>
              <a:rPr lang="en-US" sz="2000" dirty="0" err="1"/>
              <a:t>nunc</a:t>
            </a:r>
            <a:r>
              <a:rPr lang="en-US" sz="2000" dirty="0"/>
              <a:t>. Morbi </a:t>
            </a:r>
            <a:r>
              <a:rPr lang="en-US" sz="2000" dirty="0" err="1"/>
              <a:t>efficitur</a:t>
            </a:r>
            <a:r>
              <a:rPr lang="en-US" sz="2000" dirty="0"/>
              <a:t> libero at </a:t>
            </a:r>
            <a:r>
              <a:rPr lang="en-US" sz="2000" dirty="0" err="1"/>
              <a:t>lectus</a:t>
            </a:r>
            <a:r>
              <a:rPr lang="en-US" sz="2000" dirty="0"/>
              <a:t> </a:t>
            </a:r>
            <a:r>
              <a:rPr lang="en-US" sz="2000" dirty="0" err="1"/>
              <a:t>laoreet</a:t>
            </a:r>
            <a:endParaRPr lang="en-US" sz="2000" dirty="0"/>
          </a:p>
        </p:txBody>
      </p:sp>
      <p:cxnSp>
        <p:nvCxnSpPr>
          <p:cNvPr id="242" name="Straight Connector 241">
            <a:extLst>
              <a:ext uri="{FF2B5EF4-FFF2-40B4-BE49-F238E27FC236}">
                <a16:creationId xmlns:a16="http://schemas.microsoft.com/office/drawing/2014/main" id="{FA69C700-0E23-476B-B6EF-AEC6F4AA065D}"/>
              </a:ext>
            </a:extLst>
          </p:cNvPr>
          <p:cNvCxnSpPr/>
          <p:nvPr/>
        </p:nvCxnSpPr>
        <p:spPr>
          <a:xfrm>
            <a:off x="6167798" y="776590"/>
            <a:ext cx="0" cy="78838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3" name="Text Placeholder 2">
            <a:extLst>
              <a:ext uri="{FF2B5EF4-FFF2-40B4-BE49-F238E27FC236}">
                <a16:creationId xmlns:a16="http://schemas.microsoft.com/office/drawing/2014/main" id="{8E339E66-BF9D-4AD8-9C2B-46BAA0C5E868}"/>
              </a:ext>
            </a:extLst>
          </p:cNvPr>
          <p:cNvSpPr txBox="1">
            <a:spLocks/>
          </p:cNvSpPr>
          <p:nvPr/>
        </p:nvSpPr>
        <p:spPr>
          <a:xfrm>
            <a:off x="2620703" y="2501901"/>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Bonjour</a:t>
            </a:r>
          </a:p>
        </p:txBody>
      </p:sp>
      <p:sp>
        <p:nvSpPr>
          <p:cNvPr id="244" name="Text Placeholder 2">
            <a:extLst>
              <a:ext uri="{FF2B5EF4-FFF2-40B4-BE49-F238E27FC236}">
                <a16:creationId xmlns:a16="http://schemas.microsoft.com/office/drawing/2014/main" id="{E98E26EF-E40E-4A3C-8BD7-701360B7F39B}"/>
              </a:ext>
            </a:extLst>
          </p:cNvPr>
          <p:cNvSpPr txBox="1">
            <a:spLocks/>
          </p:cNvSpPr>
          <p:nvPr/>
        </p:nvSpPr>
        <p:spPr>
          <a:xfrm>
            <a:off x="3287453" y="3117851"/>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Hola!</a:t>
            </a:r>
          </a:p>
        </p:txBody>
      </p:sp>
      <p:sp>
        <p:nvSpPr>
          <p:cNvPr id="245" name="Text Placeholder 2">
            <a:extLst>
              <a:ext uri="{FF2B5EF4-FFF2-40B4-BE49-F238E27FC236}">
                <a16:creationId xmlns:a16="http://schemas.microsoft.com/office/drawing/2014/main" id="{2A9B9640-4940-4B41-853A-6E72E0DC68F0}"/>
              </a:ext>
            </a:extLst>
          </p:cNvPr>
          <p:cNvSpPr txBox="1">
            <a:spLocks/>
          </p:cNvSpPr>
          <p:nvPr/>
        </p:nvSpPr>
        <p:spPr>
          <a:xfrm>
            <a:off x="5273416" y="3013076"/>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Ciao!</a:t>
            </a:r>
          </a:p>
        </p:txBody>
      </p:sp>
      <p:sp>
        <p:nvSpPr>
          <p:cNvPr id="246" name="Text Placeholder 2">
            <a:extLst>
              <a:ext uri="{FF2B5EF4-FFF2-40B4-BE49-F238E27FC236}">
                <a16:creationId xmlns:a16="http://schemas.microsoft.com/office/drawing/2014/main" id="{D78DDC5B-CD9D-49CE-AA10-F77564F4F11E}"/>
              </a:ext>
            </a:extLst>
          </p:cNvPr>
          <p:cNvSpPr txBox="1">
            <a:spLocks/>
          </p:cNvSpPr>
          <p:nvPr/>
        </p:nvSpPr>
        <p:spPr>
          <a:xfrm>
            <a:off x="5959216" y="2351088"/>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Salam!</a:t>
            </a:r>
          </a:p>
        </p:txBody>
      </p:sp>
      <p:sp>
        <p:nvSpPr>
          <p:cNvPr id="247" name="Text Placeholder 2">
            <a:extLst>
              <a:ext uri="{FF2B5EF4-FFF2-40B4-BE49-F238E27FC236}">
                <a16:creationId xmlns:a16="http://schemas.microsoft.com/office/drawing/2014/main" id="{85C0A28F-94B0-4697-B34C-F6A857F0BAAF}"/>
              </a:ext>
            </a:extLst>
          </p:cNvPr>
          <p:cNvSpPr txBox="1">
            <a:spLocks/>
          </p:cNvSpPr>
          <p:nvPr/>
        </p:nvSpPr>
        <p:spPr>
          <a:xfrm>
            <a:off x="8321416" y="2960688"/>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err="1">
                <a:solidFill>
                  <a:schemeClr val="bg1"/>
                </a:solidFill>
              </a:rPr>
              <a:t>Guten</a:t>
            </a:r>
            <a:r>
              <a:rPr lang="en-US" sz="1400" i="1" dirty="0">
                <a:solidFill>
                  <a:schemeClr val="bg1"/>
                </a:solidFill>
              </a:rPr>
              <a:t> tag!</a:t>
            </a:r>
          </a:p>
        </p:txBody>
      </p:sp>
      <p:sp>
        <p:nvSpPr>
          <p:cNvPr id="248" name="Text Placeholder 2">
            <a:extLst>
              <a:ext uri="{FF2B5EF4-FFF2-40B4-BE49-F238E27FC236}">
                <a16:creationId xmlns:a16="http://schemas.microsoft.com/office/drawing/2014/main" id="{AE4C54ED-CAD8-4AF6-9267-A249696A7BB4}"/>
              </a:ext>
            </a:extLst>
          </p:cNvPr>
          <p:cNvSpPr txBox="1">
            <a:spLocks/>
          </p:cNvSpPr>
          <p:nvPr/>
        </p:nvSpPr>
        <p:spPr>
          <a:xfrm>
            <a:off x="8764329" y="2232025"/>
            <a:ext cx="778135" cy="382588"/>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400" i="1" dirty="0">
                <a:solidFill>
                  <a:schemeClr val="bg1"/>
                </a:solidFill>
              </a:rPr>
              <a:t>Hello!</a:t>
            </a:r>
          </a:p>
        </p:txBody>
      </p:sp>
    </p:spTree>
    <p:extLst>
      <p:ext uri="{BB962C8B-B14F-4D97-AF65-F5344CB8AC3E}">
        <p14:creationId xmlns:p14="http://schemas.microsoft.com/office/powerpoint/2010/main" val="16577860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1565"/>
        <p:cNvGrpSpPr/>
        <p:nvPr/>
      </p:nvGrpSpPr>
      <p:grpSpPr>
        <a:xfrm>
          <a:off x="0" y="0"/>
          <a:ext cx="0" cy="0"/>
          <a:chOff x="0" y="0"/>
          <a:chExt cx="0" cy="0"/>
        </a:xfrm>
      </p:grpSpPr>
      <p:sp>
        <p:nvSpPr>
          <p:cNvPr id="1566" name="Google Shape;1566;p65"/>
          <p:cNvSpPr txBox="1"/>
          <p:nvPr/>
        </p:nvSpPr>
        <p:spPr>
          <a:xfrm>
            <a:off x="1424133" y="2045435"/>
            <a:ext cx="9396400" cy="643200"/>
          </a:xfrm>
          <a:prstGeom prst="rect">
            <a:avLst/>
          </a:prstGeom>
          <a:noFill/>
          <a:ln>
            <a:noFill/>
          </a:ln>
        </p:spPr>
        <p:txBody>
          <a:bodyPr spcFirstLastPara="1" wrap="square" lIns="121900" tIns="121900" rIns="121900" bIns="121900" anchor="ctr" anchorCtr="0">
            <a:noAutofit/>
          </a:bodyPr>
          <a:lstStyle/>
          <a:p>
            <a:pPr algn="ctr" defTabSz="1219170">
              <a:lnSpc>
                <a:spcPct val="115000"/>
              </a:lnSpc>
              <a:buClr>
                <a:srgbClr val="000000"/>
              </a:buClr>
            </a:pPr>
            <a:r>
              <a:rPr lang="en" sz="1467" kern="0" dirty="0">
                <a:solidFill>
                  <a:srgbClr val="FFFFFF"/>
                </a:solidFill>
                <a:latin typeface="Arial"/>
                <a:cs typeface="Arial"/>
                <a:sym typeface="Arial"/>
              </a:rPr>
              <a:t>You can easily</a:t>
            </a:r>
            <a:r>
              <a:rPr lang="en" sz="1467" kern="0" dirty="0">
                <a:solidFill>
                  <a:srgbClr val="435D74"/>
                </a:solidFill>
                <a:latin typeface="Arial"/>
                <a:cs typeface="Arial"/>
                <a:sym typeface="Arial"/>
              </a:rPr>
              <a:t> </a:t>
            </a:r>
            <a:r>
              <a:rPr lang="en" sz="1467" kern="0" dirty="0">
                <a:solidFill>
                  <a:srgbClr val="869FB2"/>
                </a:solidFill>
                <a:latin typeface="Arial"/>
                <a:cs typeface="Arial"/>
                <a:sym typeface="Arial"/>
              </a:rPr>
              <a:t>resize</a:t>
            </a:r>
            <a:r>
              <a:rPr lang="en" sz="1467" kern="0" dirty="0">
                <a:solidFill>
                  <a:srgbClr val="435D74"/>
                </a:solidFill>
                <a:latin typeface="Arial"/>
                <a:cs typeface="Arial"/>
                <a:sym typeface="Arial"/>
              </a:rPr>
              <a:t> </a:t>
            </a:r>
            <a:r>
              <a:rPr lang="en" sz="1467" kern="0" dirty="0">
                <a:solidFill>
                  <a:srgbClr val="FFFFFF"/>
                </a:solidFill>
                <a:latin typeface="Arial"/>
                <a:cs typeface="Arial"/>
                <a:sym typeface="Arial"/>
              </a:rPr>
              <a:t>these resources without losing quality. To</a:t>
            </a:r>
            <a:r>
              <a:rPr lang="en" sz="1467" kern="0" dirty="0">
                <a:solidFill>
                  <a:srgbClr val="435D74"/>
                </a:solidFill>
                <a:latin typeface="Arial"/>
                <a:cs typeface="Arial"/>
                <a:sym typeface="Arial"/>
              </a:rPr>
              <a:t> </a:t>
            </a:r>
            <a:r>
              <a:rPr lang="en" sz="1467" kern="0" dirty="0">
                <a:solidFill>
                  <a:srgbClr val="869FB2"/>
                </a:solidFill>
                <a:latin typeface="Arial"/>
                <a:cs typeface="Arial"/>
                <a:sym typeface="Arial"/>
              </a:rPr>
              <a:t>change the color</a:t>
            </a:r>
            <a:r>
              <a:rPr lang="en" sz="1467" kern="0" dirty="0">
                <a:solidFill>
                  <a:srgbClr val="FFFFFF"/>
                </a:solidFill>
                <a:latin typeface="Arial"/>
                <a:cs typeface="Arial"/>
                <a:sym typeface="Arial"/>
              </a:rPr>
              <a:t>, just ungroup the resource and click on the object you want to change. Then, click on the paint bucket and select the color you want. Group the resource again when you’re done. You can also look for more </a:t>
            </a:r>
            <a:r>
              <a:rPr lang="en" sz="1467" kern="0" dirty="0">
                <a:solidFill>
                  <a:srgbClr val="869FB2"/>
                </a:solidFill>
                <a:uFill>
                  <a:noFill/>
                </a:uFill>
                <a:latin typeface="Arial"/>
                <a:cs typeface="Arial"/>
                <a:sym typeface="Arial"/>
              </a:rPr>
              <a:t>infographics</a:t>
            </a:r>
            <a:r>
              <a:rPr lang="en" sz="1467" kern="0" dirty="0">
                <a:solidFill>
                  <a:srgbClr val="FFFFFF"/>
                </a:solidFill>
                <a:latin typeface="Arial"/>
                <a:cs typeface="Arial"/>
                <a:sym typeface="Arial"/>
              </a:rPr>
              <a:t> on G</a:t>
            </a:r>
            <a:r>
              <a:rPr lang="en-US" altLang="zh-CN" sz="1467" kern="0" dirty="0" err="1">
                <a:solidFill>
                  <a:srgbClr val="FFFFFF"/>
                </a:solidFill>
                <a:latin typeface="Arial"/>
                <a:cs typeface="Arial"/>
                <a:sym typeface="Arial"/>
              </a:rPr>
              <a:t>reatPPT</a:t>
            </a:r>
            <a:r>
              <a:rPr lang="en" sz="1467" kern="0" dirty="0">
                <a:solidFill>
                  <a:srgbClr val="FFFFFF"/>
                </a:solidFill>
                <a:latin typeface="Arial"/>
                <a:cs typeface="Arial"/>
                <a:sym typeface="Arial"/>
              </a:rPr>
              <a:t>.</a:t>
            </a:r>
            <a:endParaRPr sz="1467" kern="0" dirty="0">
              <a:solidFill>
                <a:srgbClr val="FFFFFF"/>
              </a:solidFill>
              <a:latin typeface="Arial"/>
              <a:cs typeface="Arial"/>
              <a:sym typeface="Arial"/>
            </a:endParaRPr>
          </a:p>
        </p:txBody>
      </p:sp>
      <p:grpSp>
        <p:nvGrpSpPr>
          <p:cNvPr id="1567" name="Google Shape;1567;p65"/>
          <p:cNvGrpSpPr/>
          <p:nvPr/>
        </p:nvGrpSpPr>
        <p:grpSpPr>
          <a:xfrm>
            <a:off x="6874771" y="4114315"/>
            <a:ext cx="632392" cy="735055"/>
            <a:chOff x="4727025" y="1332775"/>
            <a:chExt cx="59900" cy="69625"/>
          </a:xfrm>
        </p:grpSpPr>
        <p:sp>
          <p:nvSpPr>
            <p:cNvPr id="1568" name="Google Shape;1568;p65"/>
            <p:cNvSpPr/>
            <p:nvPr/>
          </p:nvSpPr>
          <p:spPr>
            <a:xfrm>
              <a:off x="4727025" y="1332775"/>
              <a:ext cx="36450" cy="33200"/>
            </a:xfrm>
            <a:custGeom>
              <a:avLst/>
              <a:gdLst/>
              <a:ahLst/>
              <a:cxnLst/>
              <a:rect l="l" t="t" r="r" b="b"/>
              <a:pathLst>
                <a:path w="1458" h="1328" extrusionOk="0">
                  <a:moveTo>
                    <a:pt x="1047" y="1"/>
                  </a:moveTo>
                  <a:lnTo>
                    <a:pt x="1047" y="188"/>
                  </a:lnTo>
                  <a:cubicBezTo>
                    <a:pt x="484" y="289"/>
                    <a:pt x="51" y="758"/>
                    <a:pt x="1" y="1328"/>
                  </a:cubicBezTo>
                  <a:lnTo>
                    <a:pt x="477" y="1328"/>
                  </a:lnTo>
                  <a:cubicBezTo>
                    <a:pt x="527" y="1018"/>
                    <a:pt x="751" y="765"/>
                    <a:pt x="1047" y="679"/>
                  </a:cubicBezTo>
                  <a:lnTo>
                    <a:pt x="1047" y="845"/>
                  </a:lnTo>
                  <a:lnTo>
                    <a:pt x="1458" y="433"/>
                  </a:lnTo>
                  <a:lnTo>
                    <a:pt x="104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69" name="Google Shape;1569;p65"/>
            <p:cNvSpPr/>
            <p:nvPr/>
          </p:nvSpPr>
          <p:spPr>
            <a:xfrm>
              <a:off x="4750475" y="1369025"/>
              <a:ext cx="36450" cy="33375"/>
            </a:xfrm>
            <a:custGeom>
              <a:avLst/>
              <a:gdLst/>
              <a:ahLst/>
              <a:cxnLst/>
              <a:rect l="l" t="t" r="r" b="b"/>
              <a:pathLst>
                <a:path w="1458" h="1335" extrusionOk="0">
                  <a:moveTo>
                    <a:pt x="974" y="0"/>
                  </a:moveTo>
                  <a:cubicBezTo>
                    <a:pt x="931" y="311"/>
                    <a:pt x="707" y="570"/>
                    <a:pt x="404" y="657"/>
                  </a:cubicBezTo>
                  <a:lnTo>
                    <a:pt x="404" y="491"/>
                  </a:lnTo>
                  <a:lnTo>
                    <a:pt x="0" y="902"/>
                  </a:lnTo>
                  <a:lnTo>
                    <a:pt x="404" y="1335"/>
                  </a:lnTo>
                  <a:lnTo>
                    <a:pt x="404" y="1140"/>
                  </a:lnTo>
                  <a:cubicBezTo>
                    <a:pt x="967" y="1039"/>
                    <a:pt x="1400" y="577"/>
                    <a:pt x="1457"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70" name="Google Shape;1570;p65"/>
          <p:cNvGrpSpPr/>
          <p:nvPr/>
        </p:nvGrpSpPr>
        <p:grpSpPr>
          <a:xfrm>
            <a:off x="7692979" y="3085787"/>
            <a:ext cx="740871" cy="742708"/>
            <a:chOff x="4820425" y="1329900"/>
            <a:chExt cx="70175" cy="70350"/>
          </a:xfrm>
        </p:grpSpPr>
        <p:sp>
          <p:nvSpPr>
            <p:cNvPr id="1571" name="Google Shape;1571;p65"/>
            <p:cNvSpPr/>
            <p:nvPr/>
          </p:nvSpPr>
          <p:spPr>
            <a:xfrm>
              <a:off x="4862975" y="1335475"/>
              <a:ext cx="27625" cy="34650"/>
            </a:xfrm>
            <a:custGeom>
              <a:avLst/>
              <a:gdLst/>
              <a:ahLst/>
              <a:cxnLst/>
              <a:rect l="l" t="t" r="r" b="b"/>
              <a:pathLst>
                <a:path w="1105" h="1386" extrusionOk="0">
                  <a:moveTo>
                    <a:pt x="1" y="1"/>
                  </a:moveTo>
                  <a:lnTo>
                    <a:pt x="1" y="491"/>
                  </a:lnTo>
                  <a:cubicBezTo>
                    <a:pt x="217" y="585"/>
                    <a:pt x="376" y="765"/>
                    <a:pt x="441" y="989"/>
                  </a:cubicBezTo>
                  <a:lnTo>
                    <a:pt x="275" y="989"/>
                  </a:lnTo>
                  <a:lnTo>
                    <a:pt x="679" y="1386"/>
                  </a:lnTo>
                  <a:lnTo>
                    <a:pt x="1104" y="989"/>
                  </a:lnTo>
                  <a:lnTo>
                    <a:pt x="917" y="989"/>
                  </a:lnTo>
                  <a:cubicBezTo>
                    <a:pt x="830" y="513"/>
                    <a:pt x="470" y="123"/>
                    <a:pt x="1"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2" name="Google Shape;1572;p65"/>
            <p:cNvSpPr/>
            <p:nvPr/>
          </p:nvSpPr>
          <p:spPr>
            <a:xfrm>
              <a:off x="4820425" y="1360000"/>
              <a:ext cx="27625" cy="34650"/>
            </a:xfrm>
            <a:custGeom>
              <a:avLst/>
              <a:gdLst/>
              <a:ahLst/>
              <a:cxnLst/>
              <a:rect l="l" t="t" r="r" b="b"/>
              <a:pathLst>
                <a:path w="1105" h="1386" extrusionOk="0">
                  <a:moveTo>
                    <a:pt x="426" y="1"/>
                  </a:moveTo>
                  <a:lnTo>
                    <a:pt x="1" y="397"/>
                  </a:lnTo>
                  <a:lnTo>
                    <a:pt x="188" y="397"/>
                  </a:lnTo>
                  <a:cubicBezTo>
                    <a:pt x="275" y="873"/>
                    <a:pt x="628" y="1263"/>
                    <a:pt x="1097" y="1386"/>
                  </a:cubicBezTo>
                  <a:lnTo>
                    <a:pt x="1104" y="895"/>
                  </a:lnTo>
                  <a:cubicBezTo>
                    <a:pt x="888" y="801"/>
                    <a:pt x="729" y="621"/>
                    <a:pt x="664" y="397"/>
                  </a:cubicBezTo>
                  <a:lnTo>
                    <a:pt x="830" y="397"/>
                  </a:lnTo>
                  <a:lnTo>
                    <a:pt x="426"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3" name="Google Shape;1573;p65"/>
            <p:cNvSpPr/>
            <p:nvPr/>
          </p:nvSpPr>
          <p:spPr>
            <a:xfrm>
              <a:off x="4850375" y="1372800"/>
              <a:ext cx="34625" cy="27450"/>
            </a:xfrm>
            <a:custGeom>
              <a:avLst/>
              <a:gdLst/>
              <a:ahLst/>
              <a:cxnLst/>
              <a:rect l="l" t="t" r="r" b="b"/>
              <a:pathLst>
                <a:path w="1385" h="1098" extrusionOk="0">
                  <a:moveTo>
                    <a:pt x="894" y="1"/>
                  </a:moveTo>
                  <a:cubicBezTo>
                    <a:pt x="801" y="210"/>
                    <a:pt x="620" y="369"/>
                    <a:pt x="397" y="434"/>
                  </a:cubicBezTo>
                  <a:lnTo>
                    <a:pt x="397" y="275"/>
                  </a:lnTo>
                  <a:lnTo>
                    <a:pt x="0" y="672"/>
                  </a:lnTo>
                  <a:lnTo>
                    <a:pt x="397" y="1097"/>
                  </a:lnTo>
                  <a:lnTo>
                    <a:pt x="397" y="910"/>
                  </a:lnTo>
                  <a:cubicBezTo>
                    <a:pt x="873" y="823"/>
                    <a:pt x="1262" y="470"/>
                    <a:pt x="1385" y="1"/>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4" name="Google Shape;1574;p65"/>
            <p:cNvSpPr/>
            <p:nvPr/>
          </p:nvSpPr>
          <p:spPr>
            <a:xfrm>
              <a:off x="4825850" y="1329900"/>
              <a:ext cx="34625" cy="27975"/>
            </a:xfrm>
            <a:custGeom>
              <a:avLst/>
              <a:gdLst/>
              <a:ahLst/>
              <a:cxnLst/>
              <a:rect l="l" t="t" r="r" b="b"/>
              <a:pathLst>
                <a:path w="1385" h="1119" extrusionOk="0">
                  <a:moveTo>
                    <a:pt x="988" y="0"/>
                  </a:moveTo>
                  <a:lnTo>
                    <a:pt x="988" y="188"/>
                  </a:lnTo>
                  <a:cubicBezTo>
                    <a:pt x="505" y="274"/>
                    <a:pt x="123" y="635"/>
                    <a:pt x="0" y="1118"/>
                  </a:cubicBezTo>
                  <a:lnTo>
                    <a:pt x="491" y="1118"/>
                  </a:lnTo>
                  <a:cubicBezTo>
                    <a:pt x="584" y="895"/>
                    <a:pt x="765" y="729"/>
                    <a:pt x="995" y="664"/>
                  </a:cubicBezTo>
                  <a:lnTo>
                    <a:pt x="995" y="830"/>
                  </a:lnTo>
                  <a:lnTo>
                    <a:pt x="1385" y="426"/>
                  </a:lnTo>
                  <a:lnTo>
                    <a:pt x="988"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75" name="Google Shape;1575;p65"/>
          <p:cNvGrpSpPr/>
          <p:nvPr/>
        </p:nvGrpSpPr>
        <p:grpSpPr>
          <a:xfrm>
            <a:off x="8528138" y="3091794"/>
            <a:ext cx="776765" cy="711828"/>
            <a:chOff x="4903200" y="1331525"/>
            <a:chExt cx="73575" cy="67425"/>
          </a:xfrm>
        </p:grpSpPr>
        <p:sp>
          <p:nvSpPr>
            <p:cNvPr id="1576" name="Google Shape;1576;p65"/>
            <p:cNvSpPr/>
            <p:nvPr/>
          </p:nvSpPr>
          <p:spPr>
            <a:xfrm>
              <a:off x="4903200" y="1331525"/>
              <a:ext cx="73575" cy="67425"/>
            </a:xfrm>
            <a:custGeom>
              <a:avLst/>
              <a:gdLst/>
              <a:ahLst/>
              <a:cxnLst/>
              <a:rect l="l" t="t" r="r" b="b"/>
              <a:pathLst>
                <a:path w="2943" h="2697" extrusionOk="0">
                  <a:moveTo>
                    <a:pt x="1652" y="0"/>
                  </a:moveTo>
                  <a:lnTo>
                    <a:pt x="1652" y="173"/>
                  </a:lnTo>
                  <a:cubicBezTo>
                    <a:pt x="534" y="195"/>
                    <a:pt x="0" y="1551"/>
                    <a:pt x="794" y="2330"/>
                  </a:cubicBezTo>
                  <a:cubicBezTo>
                    <a:pt x="1051" y="2583"/>
                    <a:pt x="1366" y="2696"/>
                    <a:pt x="1674" y="2696"/>
                  </a:cubicBezTo>
                  <a:cubicBezTo>
                    <a:pt x="2323" y="2696"/>
                    <a:pt x="2943" y="2194"/>
                    <a:pt x="2943" y="1435"/>
                  </a:cubicBezTo>
                  <a:lnTo>
                    <a:pt x="2503" y="1435"/>
                  </a:lnTo>
                  <a:cubicBezTo>
                    <a:pt x="2503" y="1928"/>
                    <a:pt x="2093" y="2259"/>
                    <a:pt x="1668" y="2259"/>
                  </a:cubicBezTo>
                  <a:cubicBezTo>
                    <a:pt x="1470" y="2259"/>
                    <a:pt x="1269" y="2187"/>
                    <a:pt x="1104" y="2027"/>
                  </a:cubicBezTo>
                  <a:cubicBezTo>
                    <a:pt x="577" y="1515"/>
                    <a:pt x="923" y="628"/>
                    <a:pt x="1652" y="613"/>
                  </a:cubicBezTo>
                  <a:lnTo>
                    <a:pt x="1652" y="765"/>
                  </a:lnTo>
                  <a:lnTo>
                    <a:pt x="2020" y="390"/>
                  </a:lnTo>
                  <a:lnTo>
                    <a:pt x="1652" y="0"/>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77" name="Google Shape;1577;p65"/>
            <p:cNvSpPr/>
            <p:nvPr/>
          </p:nvSpPr>
          <p:spPr>
            <a:xfrm>
              <a:off x="4930250" y="1353150"/>
              <a:ext cx="29775" cy="32475"/>
            </a:xfrm>
            <a:custGeom>
              <a:avLst/>
              <a:gdLst/>
              <a:ahLst/>
              <a:cxnLst/>
              <a:rect l="l" t="t" r="r" b="b"/>
              <a:pathLst>
                <a:path w="1191" h="1299" extrusionOk="0">
                  <a:moveTo>
                    <a:pt x="592" y="1"/>
                  </a:moveTo>
                  <a:cubicBezTo>
                    <a:pt x="274" y="1"/>
                    <a:pt x="15" y="246"/>
                    <a:pt x="0" y="570"/>
                  </a:cubicBezTo>
                  <a:lnTo>
                    <a:pt x="447" y="570"/>
                  </a:lnTo>
                  <a:cubicBezTo>
                    <a:pt x="447" y="479"/>
                    <a:pt x="519" y="416"/>
                    <a:pt x="597" y="416"/>
                  </a:cubicBezTo>
                  <a:cubicBezTo>
                    <a:pt x="624" y="416"/>
                    <a:pt x="652" y="424"/>
                    <a:pt x="678" y="441"/>
                  </a:cubicBezTo>
                  <a:cubicBezTo>
                    <a:pt x="779" y="506"/>
                    <a:pt x="765" y="657"/>
                    <a:pt x="656" y="707"/>
                  </a:cubicBezTo>
                  <a:lnTo>
                    <a:pt x="656" y="534"/>
                  </a:lnTo>
                  <a:lnTo>
                    <a:pt x="289" y="902"/>
                  </a:lnTo>
                  <a:lnTo>
                    <a:pt x="656" y="1299"/>
                  </a:lnTo>
                  <a:lnTo>
                    <a:pt x="656" y="1155"/>
                  </a:lnTo>
                  <a:cubicBezTo>
                    <a:pt x="959" y="1126"/>
                    <a:pt x="1190" y="873"/>
                    <a:pt x="1190" y="570"/>
                  </a:cubicBezTo>
                  <a:cubicBezTo>
                    <a:pt x="1176" y="246"/>
                    <a:pt x="916" y="1"/>
                    <a:pt x="59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78" name="Google Shape;1578;p65"/>
          <p:cNvGrpSpPr/>
          <p:nvPr/>
        </p:nvGrpSpPr>
        <p:grpSpPr>
          <a:xfrm>
            <a:off x="7674108" y="4104946"/>
            <a:ext cx="778613" cy="753793"/>
            <a:chOff x="4815575" y="1416800"/>
            <a:chExt cx="73750" cy="71400"/>
          </a:xfrm>
        </p:grpSpPr>
        <p:sp>
          <p:nvSpPr>
            <p:cNvPr id="1579" name="Google Shape;1579;p65"/>
            <p:cNvSpPr/>
            <p:nvPr/>
          </p:nvSpPr>
          <p:spPr>
            <a:xfrm>
              <a:off x="4815575" y="1416800"/>
              <a:ext cx="43100" cy="52150"/>
            </a:xfrm>
            <a:custGeom>
              <a:avLst/>
              <a:gdLst/>
              <a:ahLst/>
              <a:cxnLst/>
              <a:rect l="l" t="t" r="r" b="b"/>
              <a:pathLst>
                <a:path w="1724" h="2086" extrusionOk="0">
                  <a:moveTo>
                    <a:pt x="1327" y="1"/>
                  </a:moveTo>
                  <a:lnTo>
                    <a:pt x="1327" y="181"/>
                  </a:lnTo>
                  <a:cubicBezTo>
                    <a:pt x="469" y="361"/>
                    <a:pt x="0" y="1299"/>
                    <a:pt x="375" y="2085"/>
                  </a:cubicBezTo>
                  <a:lnTo>
                    <a:pt x="772" y="1818"/>
                  </a:lnTo>
                  <a:cubicBezTo>
                    <a:pt x="729" y="1717"/>
                    <a:pt x="707" y="1609"/>
                    <a:pt x="707" y="1501"/>
                  </a:cubicBezTo>
                  <a:cubicBezTo>
                    <a:pt x="714" y="1111"/>
                    <a:pt x="959" y="772"/>
                    <a:pt x="1327" y="657"/>
                  </a:cubicBezTo>
                  <a:lnTo>
                    <a:pt x="1327" y="823"/>
                  </a:lnTo>
                  <a:lnTo>
                    <a:pt x="1724" y="426"/>
                  </a:lnTo>
                  <a:lnTo>
                    <a:pt x="132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0" name="Google Shape;1580;p65"/>
            <p:cNvSpPr/>
            <p:nvPr/>
          </p:nvSpPr>
          <p:spPr>
            <a:xfrm>
              <a:off x="4861725" y="1421125"/>
              <a:ext cx="27600" cy="51250"/>
            </a:xfrm>
            <a:custGeom>
              <a:avLst/>
              <a:gdLst/>
              <a:ahLst/>
              <a:cxnLst/>
              <a:rect l="l" t="t" r="r" b="b"/>
              <a:pathLst>
                <a:path w="1104" h="2050" extrusionOk="0">
                  <a:moveTo>
                    <a:pt x="0" y="1"/>
                  </a:moveTo>
                  <a:lnTo>
                    <a:pt x="0" y="477"/>
                  </a:lnTo>
                  <a:cubicBezTo>
                    <a:pt x="375" y="592"/>
                    <a:pt x="635" y="938"/>
                    <a:pt x="635" y="1328"/>
                  </a:cubicBezTo>
                  <a:cubicBezTo>
                    <a:pt x="635" y="1429"/>
                    <a:pt x="621" y="1530"/>
                    <a:pt x="585" y="1624"/>
                  </a:cubicBezTo>
                  <a:lnTo>
                    <a:pt x="404" y="1494"/>
                  </a:lnTo>
                  <a:lnTo>
                    <a:pt x="513" y="2049"/>
                  </a:lnTo>
                  <a:lnTo>
                    <a:pt x="1089" y="1963"/>
                  </a:lnTo>
                  <a:lnTo>
                    <a:pt x="981" y="1883"/>
                  </a:lnTo>
                  <a:cubicBezTo>
                    <a:pt x="1061" y="1710"/>
                    <a:pt x="1104" y="1523"/>
                    <a:pt x="1104" y="1328"/>
                  </a:cubicBezTo>
                  <a:cubicBezTo>
                    <a:pt x="1104" y="679"/>
                    <a:pt x="635" y="123"/>
                    <a:pt x="0"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1" name="Google Shape;1581;p65"/>
            <p:cNvSpPr/>
            <p:nvPr/>
          </p:nvSpPr>
          <p:spPr>
            <a:xfrm>
              <a:off x="4829450" y="1467825"/>
              <a:ext cx="49250" cy="20375"/>
            </a:xfrm>
            <a:custGeom>
              <a:avLst/>
              <a:gdLst/>
              <a:ahLst/>
              <a:cxnLst/>
              <a:rect l="l" t="t" r="r" b="b"/>
              <a:pathLst>
                <a:path w="1970" h="815" extrusionOk="0">
                  <a:moveTo>
                    <a:pt x="109" y="1"/>
                  </a:moveTo>
                  <a:lnTo>
                    <a:pt x="0" y="556"/>
                  </a:lnTo>
                  <a:lnTo>
                    <a:pt x="137" y="462"/>
                  </a:lnTo>
                  <a:cubicBezTo>
                    <a:pt x="394" y="698"/>
                    <a:pt x="720" y="815"/>
                    <a:pt x="1045" y="815"/>
                  </a:cubicBezTo>
                  <a:cubicBezTo>
                    <a:pt x="1378" y="815"/>
                    <a:pt x="1710" y="692"/>
                    <a:pt x="1969" y="448"/>
                  </a:cubicBezTo>
                  <a:lnTo>
                    <a:pt x="1969" y="441"/>
                  </a:lnTo>
                  <a:lnTo>
                    <a:pt x="1573" y="174"/>
                  </a:lnTo>
                  <a:cubicBezTo>
                    <a:pt x="1418" y="292"/>
                    <a:pt x="1232" y="352"/>
                    <a:pt x="1046" y="352"/>
                  </a:cubicBezTo>
                  <a:cubicBezTo>
                    <a:pt x="868" y="352"/>
                    <a:pt x="689" y="297"/>
                    <a:pt x="534" y="188"/>
                  </a:cubicBezTo>
                  <a:lnTo>
                    <a:pt x="678" y="95"/>
                  </a:lnTo>
                  <a:lnTo>
                    <a:pt x="109"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82" name="Google Shape;1582;p65"/>
          <p:cNvGrpSpPr/>
          <p:nvPr/>
        </p:nvGrpSpPr>
        <p:grpSpPr>
          <a:xfrm>
            <a:off x="8520483" y="4145195"/>
            <a:ext cx="786531" cy="673293"/>
            <a:chOff x="4902475" y="1418875"/>
            <a:chExt cx="74500" cy="63775"/>
          </a:xfrm>
        </p:grpSpPr>
        <p:sp>
          <p:nvSpPr>
            <p:cNvPr id="1583" name="Google Shape;1583;p65"/>
            <p:cNvSpPr/>
            <p:nvPr/>
          </p:nvSpPr>
          <p:spPr>
            <a:xfrm>
              <a:off x="4902475" y="1418875"/>
              <a:ext cx="74500" cy="63775"/>
            </a:xfrm>
            <a:custGeom>
              <a:avLst/>
              <a:gdLst/>
              <a:ahLst/>
              <a:cxnLst/>
              <a:rect l="l" t="t" r="r" b="b"/>
              <a:pathLst>
                <a:path w="2980" h="2551" extrusionOk="0">
                  <a:moveTo>
                    <a:pt x="1703" y="444"/>
                  </a:moveTo>
                  <a:cubicBezTo>
                    <a:pt x="2164" y="444"/>
                    <a:pt x="2539" y="819"/>
                    <a:pt x="2539" y="1281"/>
                  </a:cubicBezTo>
                  <a:cubicBezTo>
                    <a:pt x="2539" y="1784"/>
                    <a:pt x="2126" y="2118"/>
                    <a:pt x="1695" y="2118"/>
                  </a:cubicBezTo>
                  <a:cubicBezTo>
                    <a:pt x="1490" y="2118"/>
                    <a:pt x="1281" y="2042"/>
                    <a:pt x="1111" y="1872"/>
                  </a:cubicBezTo>
                  <a:cubicBezTo>
                    <a:pt x="585" y="1346"/>
                    <a:pt x="960" y="444"/>
                    <a:pt x="1703" y="444"/>
                  </a:cubicBezTo>
                  <a:close/>
                  <a:moveTo>
                    <a:pt x="1697" y="0"/>
                  </a:moveTo>
                  <a:cubicBezTo>
                    <a:pt x="1383" y="0"/>
                    <a:pt x="1063" y="118"/>
                    <a:pt x="801" y="379"/>
                  </a:cubicBezTo>
                  <a:cubicBezTo>
                    <a:pt x="0" y="1180"/>
                    <a:pt x="570" y="2550"/>
                    <a:pt x="1703" y="2550"/>
                  </a:cubicBezTo>
                  <a:cubicBezTo>
                    <a:pt x="2409" y="2550"/>
                    <a:pt x="2979" y="1980"/>
                    <a:pt x="2979" y="1281"/>
                  </a:cubicBezTo>
                  <a:cubicBezTo>
                    <a:pt x="2979" y="510"/>
                    <a:pt x="2353" y="0"/>
                    <a:pt x="1697" y="0"/>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4" name="Google Shape;1584;p65"/>
            <p:cNvSpPr/>
            <p:nvPr/>
          </p:nvSpPr>
          <p:spPr>
            <a:xfrm>
              <a:off x="4916350" y="1418975"/>
              <a:ext cx="59725" cy="63675"/>
            </a:xfrm>
            <a:custGeom>
              <a:avLst/>
              <a:gdLst/>
              <a:ahLst/>
              <a:cxnLst/>
              <a:rect l="l" t="t" r="r" b="b"/>
              <a:pathLst>
                <a:path w="2389" h="2547" extrusionOk="0">
                  <a:moveTo>
                    <a:pt x="1148" y="0"/>
                  </a:moveTo>
                  <a:cubicBezTo>
                    <a:pt x="765" y="0"/>
                    <a:pt x="397" y="173"/>
                    <a:pt x="159" y="476"/>
                  </a:cubicBezTo>
                  <a:lnTo>
                    <a:pt x="1" y="354"/>
                  </a:lnTo>
                  <a:lnTo>
                    <a:pt x="116" y="967"/>
                  </a:lnTo>
                  <a:lnTo>
                    <a:pt x="700" y="909"/>
                  </a:lnTo>
                  <a:lnTo>
                    <a:pt x="498" y="750"/>
                  </a:lnTo>
                  <a:cubicBezTo>
                    <a:pt x="669" y="541"/>
                    <a:pt x="910" y="441"/>
                    <a:pt x="1149" y="441"/>
                  </a:cubicBezTo>
                  <a:cubicBezTo>
                    <a:pt x="1454" y="441"/>
                    <a:pt x="1755" y="605"/>
                    <a:pt x="1905" y="916"/>
                  </a:cubicBezTo>
                  <a:cubicBezTo>
                    <a:pt x="2165" y="1472"/>
                    <a:pt x="1768" y="2106"/>
                    <a:pt x="1148" y="2106"/>
                  </a:cubicBezTo>
                  <a:lnTo>
                    <a:pt x="1148" y="2546"/>
                  </a:lnTo>
                  <a:cubicBezTo>
                    <a:pt x="1840" y="2532"/>
                    <a:pt x="2388" y="1962"/>
                    <a:pt x="2388" y="1277"/>
                  </a:cubicBezTo>
                  <a:cubicBezTo>
                    <a:pt x="2388" y="584"/>
                    <a:pt x="1840" y="22"/>
                    <a:pt x="1148"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85" name="Google Shape;1585;p65"/>
          <p:cNvGrpSpPr/>
          <p:nvPr/>
        </p:nvGrpSpPr>
        <p:grpSpPr>
          <a:xfrm>
            <a:off x="7687437" y="5101334"/>
            <a:ext cx="751956" cy="756169"/>
            <a:chOff x="4818100" y="1507675"/>
            <a:chExt cx="71225" cy="71625"/>
          </a:xfrm>
        </p:grpSpPr>
        <p:sp>
          <p:nvSpPr>
            <p:cNvPr id="1586" name="Google Shape;1586;p65"/>
            <p:cNvSpPr/>
            <p:nvPr/>
          </p:nvSpPr>
          <p:spPr>
            <a:xfrm>
              <a:off x="4818100" y="1507675"/>
              <a:ext cx="46000" cy="56300"/>
            </a:xfrm>
            <a:custGeom>
              <a:avLst/>
              <a:gdLst/>
              <a:ahLst/>
              <a:cxnLst/>
              <a:rect l="l" t="t" r="r" b="b"/>
              <a:pathLst>
                <a:path w="1840" h="2252" extrusionOk="0">
                  <a:moveTo>
                    <a:pt x="1457" y="1"/>
                  </a:moveTo>
                  <a:lnTo>
                    <a:pt x="1457" y="159"/>
                  </a:lnTo>
                  <a:cubicBezTo>
                    <a:pt x="606" y="188"/>
                    <a:pt x="0" y="989"/>
                    <a:pt x="195" y="1818"/>
                  </a:cubicBezTo>
                  <a:cubicBezTo>
                    <a:pt x="188" y="1818"/>
                    <a:pt x="188" y="1825"/>
                    <a:pt x="188" y="1833"/>
                  </a:cubicBezTo>
                  <a:lnTo>
                    <a:pt x="195" y="1869"/>
                  </a:lnTo>
                  <a:cubicBezTo>
                    <a:pt x="195" y="1876"/>
                    <a:pt x="202" y="1883"/>
                    <a:pt x="202" y="1898"/>
                  </a:cubicBezTo>
                  <a:cubicBezTo>
                    <a:pt x="202" y="1905"/>
                    <a:pt x="209" y="1912"/>
                    <a:pt x="209" y="1919"/>
                  </a:cubicBezTo>
                  <a:cubicBezTo>
                    <a:pt x="209" y="1934"/>
                    <a:pt x="216" y="1948"/>
                    <a:pt x="224" y="1955"/>
                  </a:cubicBezTo>
                  <a:lnTo>
                    <a:pt x="231" y="1977"/>
                  </a:lnTo>
                  <a:cubicBezTo>
                    <a:pt x="245" y="2013"/>
                    <a:pt x="260" y="2056"/>
                    <a:pt x="274" y="2092"/>
                  </a:cubicBezTo>
                  <a:lnTo>
                    <a:pt x="281" y="2100"/>
                  </a:lnTo>
                  <a:cubicBezTo>
                    <a:pt x="289" y="2114"/>
                    <a:pt x="296" y="2128"/>
                    <a:pt x="303" y="2143"/>
                  </a:cubicBezTo>
                  <a:lnTo>
                    <a:pt x="317" y="2157"/>
                  </a:lnTo>
                  <a:cubicBezTo>
                    <a:pt x="317" y="2172"/>
                    <a:pt x="325" y="2186"/>
                    <a:pt x="332" y="2201"/>
                  </a:cubicBezTo>
                  <a:lnTo>
                    <a:pt x="346" y="2215"/>
                  </a:lnTo>
                  <a:cubicBezTo>
                    <a:pt x="353" y="2229"/>
                    <a:pt x="361" y="2237"/>
                    <a:pt x="368" y="2251"/>
                  </a:cubicBezTo>
                  <a:lnTo>
                    <a:pt x="743" y="1970"/>
                  </a:lnTo>
                  <a:lnTo>
                    <a:pt x="721" y="1934"/>
                  </a:lnTo>
                  <a:lnTo>
                    <a:pt x="700" y="1898"/>
                  </a:lnTo>
                  <a:lnTo>
                    <a:pt x="692" y="1883"/>
                  </a:lnTo>
                  <a:cubicBezTo>
                    <a:pt x="685" y="1862"/>
                    <a:pt x="678" y="1847"/>
                    <a:pt x="671" y="1825"/>
                  </a:cubicBezTo>
                  <a:cubicBezTo>
                    <a:pt x="671" y="1818"/>
                    <a:pt x="664" y="1811"/>
                    <a:pt x="664" y="1804"/>
                  </a:cubicBezTo>
                  <a:cubicBezTo>
                    <a:pt x="664" y="1797"/>
                    <a:pt x="656" y="1782"/>
                    <a:pt x="649" y="1775"/>
                  </a:cubicBezTo>
                  <a:lnTo>
                    <a:pt x="642" y="1732"/>
                  </a:lnTo>
                  <a:lnTo>
                    <a:pt x="635" y="1703"/>
                  </a:lnTo>
                  <a:lnTo>
                    <a:pt x="628" y="1667"/>
                  </a:lnTo>
                  <a:lnTo>
                    <a:pt x="628" y="1645"/>
                  </a:lnTo>
                  <a:cubicBezTo>
                    <a:pt x="628" y="1638"/>
                    <a:pt x="620" y="1609"/>
                    <a:pt x="620" y="1587"/>
                  </a:cubicBezTo>
                  <a:lnTo>
                    <a:pt x="620" y="1573"/>
                  </a:lnTo>
                  <a:lnTo>
                    <a:pt x="620" y="1508"/>
                  </a:lnTo>
                  <a:cubicBezTo>
                    <a:pt x="620" y="1039"/>
                    <a:pt x="988" y="650"/>
                    <a:pt x="1457" y="628"/>
                  </a:cubicBezTo>
                  <a:lnTo>
                    <a:pt x="1457" y="809"/>
                  </a:lnTo>
                  <a:lnTo>
                    <a:pt x="1839" y="419"/>
                  </a:lnTo>
                  <a:lnTo>
                    <a:pt x="145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7" name="Google Shape;1587;p65"/>
            <p:cNvSpPr/>
            <p:nvPr/>
          </p:nvSpPr>
          <p:spPr>
            <a:xfrm>
              <a:off x="4869825" y="1519575"/>
              <a:ext cx="19500" cy="23825"/>
            </a:xfrm>
            <a:custGeom>
              <a:avLst/>
              <a:gdLst/>
              <a:ahLst/>
              <a:cxnLst/>
              <a:rect l="l" t="t" r="r" b="b"/>
              <a:pathLst>
                <a:path w="780" h="953" extrusionOk="0">
                  <a:moveTo>
                    <a:pt x="304" y="1"/>
                  </a:moveTo>
                  <a:lnTo>
                    <a:pt x="1" y="354"/>
                  </a:lnTo>
                  <a:cubicBezTo>
                    <a:pt x="181" y="506"/>
                    <a:pt x="289" y="722"/>
                    <a:pt x="311" y="953"/>
                  </a:cubicBezTo>
                  <a:lnTo>
                    <a:pt x="780" y="953"/>
                  </a:lnTo>
                  <a:cubicBezTo>
                    <a:pt x="751" y="585"/>
                    <a:pt x="585" y="239"/>
                    <a:pt x="304"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8" name="Google Shape;1588;p65"/>
            <p:cNvSpPr/>
            <p:nvPr/>
          </p:nvSpPr>
          <p:spPr>
            <a:xfrm>
              <a:off x="4857575" y="1547700"/>
              <a:ext cx="31575" cy="31600"/>
            </a:xfrm>
            <a:custGeom>
              <a:avLst/>
              <a:gdLst/>
              <a:ahLst/>
              <a:cxnLst/>
              <a:rect l="l" t="t" r="r" b="b"/>
              <a:pathLst>
                <a:path w="1263" h="1264" extrusionOk="0">
                  <a:moveTo>
                    <a:pt x="801" y="1"/>
                  </a:moveTo>
                  <a:cubicBezTo>
                    <a:pt x="758" y="419"/>
                    <a:pt x="426" y="751"/>
                    <a:pt x="1" y="794"/>
                  </a:cubicBezTo>
                  <a:lnTo>
                    <a:pt x="1" y="1263"/>
                  </a:lnTo>
                  <a:cubicBezTo>
                    <a:pt x="679" y="1213"/>
                    <a:pt x="1219" y="679"/>
                    <a:pt x="1263"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89" name="Google Shape;1589;p65"/>
            <p:cNvSpPr/>
            <p:nvPr/>
          </p:nvSpPr>
          <p:spPr>
            <a:xfrm>
              <a:off x="4829800" y="1560150"/>
              <a:ext cx="23650" cy="18950"/>
            </a:xfrm>
            <a:custGeom>
              <a:avLst/>
              <a:gdLst/>
              <a:ahLst/>
              <a:cxnLst/>
              <a:rect l="l" t="t" r="r" b="b"/>
              <a:pathLst>
                <a:path w="946" h="758" extrusionOk="0">
                  <a:moveTo>
                    <a:pt x="376" y="1"/>
                  </a:moveTo>
                  <a:lnTo>
                    <a:pt x="1" y="282"/>
                  </a:lnTo>
                  <a:cubicBezTo>
                    <a:pt x="239" y="563"/>
                    <a:pt x="578" y="736"/>
                    <a:pt x="946" y="758"/>
                  </a:cubicBezTo>
                  <a:lnTo>
                    <a:pt x="946" y="289"/>
                  </a:lnTo>
                  <a:cubicBezTo>
                    <a:pt x="722" y="267"/>
                    <a:pt x="520" y="166"/>
                    <a:pt x="376"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90" name="Google Shape;1590;p65"/>
          <p:cNvGrpSpPr/>
          <p:nvPr/>
        </p:nvGrpSpPr>
        <p:grpSpPr>
          <a:xfrm>
            <a:off x="6772101" y="5105949"/>
            <a:ext cx="837735" cy="784673"/>
            <a:chOff x="4721450" y="1509475"/>
            <a:chExt cx="79350" cy="74325"/>
          </a:xfrm>
        </p:grpSpPr>
        <p:sp>
          <p:nvSpPr>
            <p:cNvPr id="1591" name="Google Shape;1591;p65"/>
            <p:cNvSpPr/>
            <p:nvPr/>
          </p:nvSpPr>
          <p:spPr>
            <a:xfrm>
              <a:off x="4729025" y="1509475"/>
              <a:ext cx="27050" cy="26725"/>
            </a:xfrm>
            <a:custGeom>
              <a:avLst/>
              <a:gdLst/>
              <a:ahLst/>
              <a:cxnLst/>
              <a:rect l="l" t="t" r="r" b="b"/>
              <a:pathLst>
                <a:path w="1082" h="1069" extrusionOk="0">
                  <a:moveTo>
                    <a:pt x="440" y="1"/>
                  </a:moveTo>
                  <a:lnTo>
                    <a:pt x="570" y="224"/>
                  </a:lnTo>
                  <a:cubicBezTo>
                    <a:pt x="296" y="405"/>
                    <a:pt x="94" y="672"/>
                    <a:pt x="0" y="989"/>
                  </a:cubicBezTo>
                  <a:lnTo>
                    <a:pt x="188" y="809"/>
                  </a:lnTo>
                  <a:lnTo>
                    <a:pt x="462" y="1068"/>
                  </a:lnTo>
                  <a:cubicBezTo>
                    <a:pt x="527" y="888"/>
                    <a:pt x="649" y="737"/>
                    <a:pt x="808" y="628"/>
                  </a:cubicBezTo>
                  <a:lnTo>
                    <a:pt x="923" y="823"/>
                  </a:lnTo>
                  <a:lnTo>
                    <a:pt x="1082" y="188"/>
                  </a:lnTo>
                  <a:lnTo>
                    <a:pt x="440" y="1"/>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2" name="Google Shape;1592;p65"/>
            <p:cNvSpPr/>
            <p:nvPr/>
          </p:nvSpPr>
          <p:spPr>
            <a:xfrm>
              <a:off x="4721450" y="1533275"/>
              <a:ext cx="32300" cy="42600"/>
            </a:xfrm>
            <a:custGeom>
              <a:avLst/>
              <a:gdLst/>
              <a:ahLst/>
              <a:cxnLst/>
              <a:rect l="l" t="t" r="r" b="b"/>
              <a:pathLst>
                <a:path w="1292" h="1704" extrusionOk="0">
                  <a:moveTo>
                    <a:pt x="491" y="1"/>
                  </a:moveTo>
                  <a:lnTo>
                    <a:pt x="0" y="455"/>
                  </a:lnTo>
                  <a:lnTo>
                    <a:pt x="238" y="455"/>
                  </a:lnTo>
                  <a:cubicBezTo>
                    <a:pt x="253" y="1025"/>
                    <a:pt x="635" y="1530"/>
                    <a:pt x="1183" y="1703"/>
                  </a:cubicBezTo>
                  <a:lnTo>
                    <a:pt x="1024" y="1530"/>
                  </a:lnTo>
                  <a:lnTo>
                    <a:pt x="1291" y="1256"/>
                  </a:lnTo>
                  <a:cubicBezTo>
                    <a:pt x="952" y="1133"/>
                    <a:pt x="721" y="816"/>
                    <a:pt x="707" y="455"/>
                  </a:cubicBezTo>
                  <a:lnTo>
                    <a:pt x="945" y="455"/>
                  </a:lnTo>
                  <a:lnTo>
                    <a:pt x="491" y="1"/>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3" name="Google Shape;1593;p65"/>
            <p:cNvSpPr/>
            <p:nvPr/>
          </p:nvSpPr>
          <p:spPr>
            <a:xfrm>
              <a:off x="4750650" y="1551675"/>
              <a:ext cx="42950" cy="32125"/>
            </a:xfrm>
            <a:custGeom>
              <a:avLst/>
              <a:gdLst/>
              <a:ahLst/>
              <a:cxnLst/>
              <a:rect l="l" t="t" r="r" b="b"/>
              <a:pathLst>
                <a:path w="1718" h="1285" extrusionOk="0">
                  <a:moveTo>
                    <a:pt x="1256" y="1"/>
                  </a:moveTo>
                  <a:cubicBezTo>
                    <a:pt x="1126" y="332"/>
                    <a:pt x="808" y="556"/>
                    <a:pt x="448" y="570"/>
                  </a:cubicBezTo>
                  <a:lnTo>
                    <a:pt x="448" y="340"/>
                  </a:lnTo>
                  <a:lnTo>
                    <a:pt x="1" y="794"/>
                  </a:lnTo>
                  <a:lnTo>
                    <a:pt x="448" y="1284"/>
                  </a:lnTo>
                  <a:lnTo>
                    <a:pt x="448" y="1032"/>
                  </a:lnTo>
                  <a:cubicBezTo>
                    <a:pt x="1039" y="1025"/>
                    <a:pt x="1551" y="635"/>
                    <a:pt x="1717" y="73"/>
                  </a:cubicBezTo>
                  <a:lnTo>
                    <a:pt x="1717" y="73"/>
                  </a:lnTo>
                  <a:lnTo>
                    <a:pt x="1515" y="260"/>
                  </a:lnTo>
                  <a:lnTo>
                    <a:pt x="125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4" name="Google Shape;1594;p65"/>
            <p:cNvSpPr/>
            <p:nvPr/>
          </p:nvSpPr>
          <p:spPr>
            <a:xfrm>
              <a:off x="4761300" y="1510025"/>
              <a:ext cx="39500" cy="44375"/>
            </a:xfrm>
            <a:custGeom>
              <a:avLst/>
              <a:gdLst/>
              <a:ahLst/>
              <a:cxnLst/>
              <a:rect l="l" t="t" r="r" b="b"/>
              <a:pathLst>
                <a:path w="1580" h="1775" extrusionOk="0">
                  <a:moveTo>
                    <a:pt x="13" y="0"/>
                  </a:moveTo>
                  <a:cubicBezTo>
                    <a:pt x="9" y="0"/>
                    <a:pt x="5" y="0"/>
                    <a:pt x="0" y="0"/>
                  </a:cubicBezTo>
                  <a:lnTo>
                    <a:pt x="0" y="462"/>
                  </a:lnTo>
                  <a:cubicBezTo>
                    <a:pt x="476" y="462"/>
                    <a:pt x="873" y="844"/>
                    <a:pt x="880" y="1328"/>
                  </a:cubicBezTo>
                  <a:lnTo>
                    <a:pt x="635" y="1328"/>
                  </a:lnTo>
                  <a:lnTo>
                    <a:pt x="1089" y="1775"/>
                  </a:lnTo>
                  <a:lnTo>
                    <a:pt x="1580" y="1328"/>
                  </a:lnTo>
                  <a:lnTo>
                    <a:pt x="1349" y="1328"/>
                  </a:lnTo>
                  <a:cubicBezTo>
                    <a:pt x="1335" y="589"/>
                    <a:pt x="743" y="0"/>
                    <a:pt x="13" y="0"/>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595" name="Google Shape;1595;p65"/>
          <p:cNvGrpSpPr/>
          <p:nvPr/>
        </p:nvGrpSpPr>
        <p:grpSpPr>
          <a:xfrm>
            <a:off x="8566144" y="5085369"/>
            <a:ext cx="742717" cy="750363"/>
            <a:chOff x="4906800" y="1507500"/>
            <a:chExt cx="70350" cy="71075"/>
          </a:xfrm>
        </p:grpSpPr>
        <p:sp>
          <p:nvSpPr>
            <p:cNvPr id="1596" name="Google Shape;1596;p65"/>
            <p:cNvSpPr/>
            <p:nvPr/>
          </p:nvSpPr>
          <p:spPr>
            <a:xfrm>
              <a:off x="4916000" y="1507500"/>
              <a:ext cx="30850" cy="24000"/>
            </a:xfrm>
            <a:custGeom>
              <a:avLst/>
              <a:gdLst/>
              <a:ahLst/>
              <a:cxnLst/>
              <a:rect l="l" t="t" r="r" b="b"/>
              <a:pathLst>
                <a:path w="1234" h="960" extrusionOk="0">
                  <a:moveTo>
                    <a:pt x="837" y="1"/>
                  </a:moveTo>
                  <a:lnTo>
                    <a:pt x="837" y="202"/>
                  </a:lnTo>
                  <a:cubicBezTo>
                    <a:pt x="484" y="282"/>
                    <a:pt x="181" y="498"/>
                    <a:pt x="0" y="808"/>
                  </a:cubicBezTo>
                  <a:lnTo>
                    <a:pt x="455" y="960"/>
                  </a:lnTo>
                  <a:cubicBezTo>
                    <a:pt x="556" y="837"/>
                    <a:pt x="686" y="736"/>
                    <a:pt x="837" y="686"/>
                  </a:cubicBezTo>
                  <a:lnTo>
                    <a:pt x="837" y="823"/>
                  </a:lnTo>
                  <a:lnTo>
                    <a:pt x="1234" y="426"/>
                  </a:lnTo>
                  <a:lnTo>
                    <a:pt x="837" y="1"/>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7" name="Google Shape;1597;p65"/>
            <p:cNvSpPr/>
            <p:nvPr/>
          </p:nvSpPr>
          <p:spPr>
            <a:xfrm>
              <a:off x="4906800" y="1533825"/>
              <a:ext cx="19675" cy="32475"/>
            </a:xfrm>
            <a:custGeom>
              <a:avLst/>
              <a:gdLst/>
              <a:ahLst/>
              <a:cxnLst/>
              <a:rect l="l" t="t" r="r" b="b"/>
              <a:pathLst>
                <a:path w="787" h="1299" extrusionOk="0">
                  <a:moveTo>
                    <a:pt x="527" y="1"/>
                  </a:moveTo>
                  <a:lnTo>
                    <a:pt x="1" y="246"/>
                  </a:lnTo>
                  <a:lnTo>
                    <a:pt x="181" y="303"/>
                  </a:lnTo>
                  <a:cubicBezTo>
                    <a:pt x="181" y="347"/>
                    <a:pt x="174" y="390"/>
                    <a:pt x="174" y="433"/>
                  </a:cubicBezTo>
                  <a:cubicBezTo>
                    <a:pt x="174" y="751"/>
                    <a:pt x="289" y="1061"/>
                    <a:pt x="498" y="1299"/>
                  </a:cubicBezTo>
                  <a:lnTo>
                    <a:pt x="787" y="909"/>
                  </a:lnTo>
                  <a:cubicBezTo>
                    <a:pt x="693" y="772"/>
                    <a:pt x="650" y="614"/>
                    <a:pt x="642" y="455"/>
                  </a:cubicBezTo>
                  <a:lnTo>
                    <a:pt x="642" y="455"/>
                  </a:lnTo>
                  <a:lnTo>
                    <a:pt x="787" y="498"/>
                  </a:lnTo>
                  <a:lnTo>
                    <a:pt x="527"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8" name="Google Shape;1598;p65"/>
            <p:cNvSpPr/>
            <p:nvPr/>
          </p:nvSpPr>
          <p:spPr>
            <a:xfrm>
              <a:off x="4926625" y="1561950"/>
              <a:ext cx="30675" cy="16625"/>
            </a:xfrm>
            <a:custGeom>
              <a:avLst/>
              <a:gdLst/>
              <a:ahLst/>
              <a:cxnLst/>
              <a:rect l="l" t="t" r="r" b="b"/>
              <a:pathLst>
                <a:path w="1227" h="665" extrusionOk="0">
                  <a:moveTo>
                    <a:pt x="556" y="1"/>
                  </a:moveTo>
                  <a:lnTo>
                    <a:pt x="1" y="87"/>
                  </a:lnTo>
                  <a:lnTo>
                    <a:pt x="66" y="664"/>
                  </a:lnTo>
                  <a:lnTo>
                    <a:pt x="181" y="513"/>
                  </a:lnTo>
                  <a:cubicBezTo>
                    <a:pt x="347" y="585"/>
                    <a:pt x="526" y="621"/>
                    <a:pt x="704" y="621"/>
                  </a:cubicBezTo>
                  <a:cubicBezTo>
                    <a:pt x="883" y="621"/>
                    <a:pt x="1061" y="585"/>
                    <a:pt x="1227" y="513"/>
                  </a:cubicBezTo>
                  <a:lnTo>
                    <a:pt x="946" y="123"/>
                  </a:lnTo>
                  <a:cubicBezTo>
                    <a:pt x="866" y="149"/>
                    <a:pt x="785" y="161"/>
                    <a:pt x="704" y="161"/>
                  </a:cubicBezTo>
                  <a:cubicBezTo>
                    <a:pt x="623" y="161"/>
                    <a:pt x="542" y="149"/>
                    <a:pt x="462" y="123"/>
                  </a:cubicBezTo>
                  <a:lnTo>
                    <a:pt x="55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599" name="Google Shape;1599;p65"/>
            <p:cNvSpPr/>
            <p:nvPr/>
          </p:nvSpPr>
          <p:spPr>
            <a:xfrm>
              <a:off x="4957475" y="1541400"/>
              <a:ext cx="19675" cy="27800"/>
            </a:xfrm>
            <a:custGeom>
              <a:avLst/>
              <a:gdLst/>
              <a:ahLst/>
              <a:cxnLst/>
              <a:rect l="l" t="t" r="r" b="b"/>
              <a:pathLst>
                <a:path w="787" h="1112" extrusionOk="0">
                  <a:moveTo>
                    <a:pt x="779" y="0"/>
                  </a:moveTo>
                  <a:lnTo>
                    <a:pt x="318" y="145"/>
                  </a:lnTo>
                  <a:cubicBezTo>
                    <a:pt x="318" y="303"/>
                    <a:pt x="274" y="455"/>
                    <a:pt x="188" y="592"/>
                  </a:cubicBezTo>
                  <a:lnTo>
                    <a:pt x="80" y="448"/>
                  </a:lnTo>
                  <a:lnTo>
                    <a:pt x="0" y="1003"/>
                  </a:lnTo>
                  <a:lnTo>
                    <a:pt x="570" y="1111"/>
                  </a:lnTo>
                  <a:lnTo>
                    <a:pt x="469" y="981"/>
                  </a:lnTo>
                  <a:cubicBezTo>
                    <a:pt x="671" y="743"/>
                    <a:pt x="786" y="440"/>
                    <a:pt x="786" y="130"/>
                  </a:cubicBezTo>
                  <a:cubicBezTo>
                    <a:pt x="786" y="87"/>
                    <a:pt x="786" y="44"/>
                    <a:pt x="779"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0" name="Google Shape;1600;p65"/>
            <p:cNvSpPr/>
            <p:nvPr/>
          </p:nvSpPr>
          <p:spPr>
            <a:xfrm>
              <a:off x="4951325" y="1512550"/>
              <a:ext cx="24925" cy="26350"/>
            </a:xfrm>
            <a:custGeom>
              <a:avLst/>
              <a:gdLst/>
              <a:ahLst/>
              <a:cxnLst/>
              <a:rect l="l" t="t" r="r" b="b"/>
              <a:pathLst>
                <a:path w="997" h="1054" extrusionOk="0">
                  <a:moveTo>
                    <a:pt x="1" y="0"/>
                  </a:moveTo>
                  <a:lnTo>
                    <a:pt x="1" y="476"/>
                  </a:lnTo>
                  <a:cubicBezTo>
                    <a:pt x="145" y="534"/>
                    <a:pt x="282" y="628"/>
                    <a:pt x="376" y="751"/>
                  </a:cubicBezTo>
                  <a:lnTo>
                    <a:pt x="210" y="801"/>
                  </a:lnTo>
                  <a:lnTo>
                    <a:pt x="715" y="1053"/>
                  </a:lnTo>
                  <a:lnTo>
                    <a:pt x="996" y="549"/>
                  </a:lnTo>
                  <a:lnTo>
                    <a:pt x="996" y="549"/>
                  </a:lnTo>
                  <a:lnTo>
                    <a:pt x="838" y="599"/>
                  </a:lnTo>
                  <a:cubicBezTo>
                    <a:pt x="650" y="296"/>
                    <a:pt x="347" y="73"/>
                    <a:pt x="1" y="0"/>
                  </a:cubicBez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01" name="Google Shape;1601;p65"/>
          <p:cNvGrpSpPr/>
          <p:nvPr/>
        </p:nvGrpSpPr>
        <p:grpSpPr>
          <a:xfrm>
            <a:off x="5949621" y="3121284"/>
            <a:ext cx="690579" cy="690579"/>
            <a:chOff x="3736598" y="2170606"/>
            <a:chExt cx="404889" cy="404889"/>
          </a:xfrm>
        </p:grpSpPr>
        <p:sp>
          <p:nvSpPr>
            <p:cNvPr id="1602" name="Google Shape;1602;p65"/>
            <p:cNvSpPr/>
            <p:nvPr/>
          </p:nvSpPr>
          <p:spPr>
            <a:xfrm>
              <a:off x="3950281" y="2170846"/>
              <a:ext cx="191206" cy="231947"/>
            </a:xfrm>
            <a:custGeom>
              <a:avLst/>
              <a:gdLst/>
              <a:ahLst/>
              <a:cxnLst/>
              <a:rect l="l" t="t" r="r" b="b"/>
              <a:pathLst>
                <a:path w="8781" h="10652" extrusionOk="0">
                  <a:moveTo>
                    <a:pt x="23" y="1"/>
                  </a:moveTo>
                  <a:lnTo>
                    <a:pt x="1435" y="2583"/>
                  </a:lnTo>
                  <a:lnTo>
                    <a:pt x="0" y="5246"/>
                  </a:lnTo>
                  <a:cubicBezTo>
                    <a:pt x="1997" y="5498"/>
                    <a:pt x="3512" y="7186"/>
                    <a:pt x="3547" y="9217"/>
                  </a:cubicBezTo>
                  <a:lnTo>
                    <a:pt x="6187" y="10652"/>
                  </a:lnTo>
                  <a:lnTo>
                    <a:pt x="8780" y="9217"/>
                  </a:lnTo>
                  <a:cubicBezTo>
                    <a:pt x="8746" y="4305"/>
                    <a:pt x="4913" y="276"/>
                    <a:pt x="23"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3" name="Google Shape;1603;p65"/>
            <p:cNvSpPr/>
            <p:nvPr/>
          </p:nvSpPr>
          <p:spPr>
            <a:xfrm>
              <a:off x="3737099" y="2170606"/>
              <a:ext cx="231947" cy="191446"/>
            </a:xfrm>
            <a:custGeom>
              <a:avLst/>
              <a:gdLst/>
              <a:ahLst/>
              <a:cxnLst/>
              <a:rect l="l" t="t" r="r" b="b"/>
              <a:pathLst>
                <a:path w="10652" h="8792" extrusionOk="0">
                  <a:moveTo>
                    <a:pt x="9216" y="0"/>
                  </a:moveTo>
                  <a:cubicBezTo>
                    <a:pt x="4304" y="35"/>
                    <a:pt x="276" y="3868"/>
                    <a:pt x="0" y="8769"/>
                  </a:cubicBezTo>
                  <a:lnTo>
                    <a:pt x="2583" y="7346"/>
                  </a:lnTo>
                  <a:lnTo>
                    <a:pt x="5245" y="8792"/>
                  </a:lnTo>
                  <a:cubicBezTo>
                    <a:pt x="5498" y="6783"/>
                    <a:pt x="7185" y="5268"/>
                    <a:pt x="9216" y="5234"/>
                  </a:cubicBezTo>
                  <a:lnTo>
                    <a:pt x="10651" y="2594"/>
                  </a:lnTo>
                  <a:lnTo>
                    <a:pt x="9216"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4" name="Google Shape;1604;p65"/>
            <p:cNvSpPr/>
            <p:nvPr/>
          </p:nvSpPr>
          <p:spPr>
            <a:xfrm>
              <a:off x="3909539" y="2384027"/>
              <a:ext cx="231686" cy="191468"/>
            </a:xfrm>
            <a:custGeom>
              <a:avLst/>
              <a:gdLst/>
              <a:ahLst/>
              <a:cxnLst/>
              <a:rect l="l" t="t" r="r" b="b"/>
              <a:pathLst>
                <a:path w="10640" h="8793" extrusionOk="0">
                  <a:moveTo>
                    <a:pt x="5395" y="1"/>
                  </a:moveTo>
                  <a:cubicBezTo>
                    <a:pt x="5142" y="1998"/>
                    <a:pt x="3455" y="3513"/>
                    <a:pt x="1435" y="3559"/>
                  </a:cubicBezTo>
                  <a:lnTo>
                    <a:pt x="0" y="6187"/>
                  </a:lnTo>
                  <a:lnTo>
                    <a:pt x="1424" y="8792"/>
                  </a:lnTo>
                  <a:cubicBezTo>
                    <a:pt x="6324" y="8758"/>
                    <a:pt x="10364" y="4913"/>
                    <a:pt x="10640" y="24"/>
                  </a:cubicBezTo>
                  <a:lnTo>
                    <a:pt x="10640" y="24"/>
                  </a:lnTo>
                  <a:lnTo>
                    <a:pt x="8058" y="1436"/>
                  </a:lnTo>
                  <a:lnTo>
                    <a:pt x="5395" y="1"/>
                  </a:lnTo>
                  <a:close/>
                </a:path>
              </a:pathLst>
            </a:custGeom>
            <a:noFill/>
            <a:ln w="9525"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5" name="Google Shape;1605;p65"/>
            <p:cNvSpPr/>
            <p:nvPr/>
          </p:nvSpPr>
          <p:spPr>
            <a:xfrm>
              <a:off x="3736598" y="2343307"/>
              <a:ext cx="191707" cy="231686"/>
            </a:xfrm>
            <a:custGeom>
              <a:avLst/>
              <a:gdLst/>
              <a:ahLst/>
              <a:cxnLst/>
              <a:rect l="l" t="t" r="r" b="b"/>
              <a:pathLst>
                <a:path w="8804" h="10640" extrusionOk="0">
                  <a:moveTo>
                    <a:pt x="2606" y="0"/>
                  </a:moveTo>
                  <a:lnTo>
                    <a:pt x="0" y="1435"/>
                  </a:lnTo>
                  <a:cubicBezTo>
                    <a:pt x="46" y="6335"/>
                    <a:pt x="3880" y="10364"/>
                    <a:pt x="8769" y="10639"/>
                  </a:cubicBezTo>
                  <a:lnTo>
                    <a:pt x="7357" y="8057"/>
                  </a:lnTo>
                  <a:lnTo>
                    <a:pt x="8803" y="5394"/>
                  </a:lnTo>
                  <a:cubicBezTo>
                    <a:pt x="6795" y="5142"/>
                    <a:pt x="5280" y="3455"/>
                    <a:pt x="5245" y="1435"/>
                  </a:cubicBezTo>
                  <a:lnTo>
                    <a:pt x="2606" y="0"/>
                  </a:ln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06" name="Google Shape;1606;p65"/>
          <p:cNvGrpSpPr/>
          <p:nvPr/>
        </p:nvGrpSpPr>
        <p:grpSpPr>
          <a:xfrm>
            <a:off x="4972369" y="3121415"/>
            <a:ext cx="782648" cy="690320"/>
            <a:chOff x="3161917" y="2170682"/>
            <a:chExt cx="458870" cy="404737"/>
          </a:xfrm>
        </p:grpSpPr>
        <p:sp>
          <p:nvSpPr>
            <p:cNvPr id="1607" name="Google Shape;1607;p65"/>
            <p:cNvSpPr/>
            <p:nvPr/>
          </p:nvSpPr>
          <p:spPr>
            <a:xfrm>
              <a:off x="3161917" y="2170682"/>
              <a:ext cx="277174" cy="291676"/>
            </a:xfrm>
            <a:custGeom>
              <a:avLst/>
              <a:gdLst/>
              <a:ahLst/>
              <a:cxnLst/>
              <a:rect l="l" t="t" r="r" b="b"/>
              <a:pathLst>
                <a:path w="12729" h="13395" extrusionOk="0">
                  <a:moveTo>
                    <a:pt x="11294" y="0"/>
                  </a:moveTo>
                  <a:cubicBezTo>
                    <a:pt x="4442" y="46"/>
                    <a:pt x="0" y="7242"/>
                    <a:pt x="3019" y="13394"/>
                  </a:cubicBezTo>
                  <a:lnTo>
                    <a:pt x="4522" y="10915"/>
                  </a:lnTo>
                  <a:lnTo>
                    <a:pt x="7598" y="10835"/>
                  </a:lnTo>
                  <a:cubicBezTo>
                    <a:pt x="6531" y="8195"/>
                    <a:pt x="8436" y="5291"/>
                    <a:pt x="11294" y="5234"/>
                  </a:cubicBezTo>
                  <a:lnTo>
                    <a:pt x="12729" y="2606"/>
                  </a:lnTo>
                  <a:lnTo>
                    <a:pt x="11294"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8" name="Google Shape;1608;p65"/>
            <p:cNvSpPr/>
            <p:nvPr/>
          </p:nvSpPr>
          <p:spPr>
            <a:xfrm>
              <a:off x="3420326" y="2170922"/>
              <a:ext cx="200461" cy="302934"/>
            </a:xfrm>
            <a:custGeom>
              <a:avLst/>
              <a:gdLst/>
              <a:ahLst/>
              <a:cxnLst/>
              <a:rect l="l" t="t" r="r" b="b"/>
              <a:pathLst>
                <a:path w="9206" h="13912" extrusionOk="0">
                  <a:moveTo>
                    <a:pt x="24" y="1"/>
                  </a:moveTo>
                  <a:lnTo>
                    <a:pt x="1447" y="2583"/>
                  </a:lnTo>
                  <a:lnTo>
                    <a:pt x="1" y="5246"/>
                  </a:lnTo>
                  <a:cubicBezTo>
                    <a:pt x="2893" y="5602"/>
                    <a:pt x="4488" y="8815"/>
                    <a:pt x="3008" y="11329"/>
                  </a:cubicBezTo>
                  <a:lnTo>
                    <a:pt x="4557" y="13854"/>
                  </a:lnTo>
                  <a:lnTo>
                    <a:pt x="7564" y="13911"/>
                  </a:lnTo>
                  <a:cubicBezTo>
                    <a:pt x="9171" y="11122"/>
                    <a:pt x="9206" y="7691"/>
                    <a:pt x="7679" y="4856"/>
                  </a:cubicBezTo>
                  <a:cubicBezTo>
                    <a:pt x="6141" y="2021"/>
                    <a:pt x="3237" y="184"/>
                    <a:pt x="24"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09" name="Google Shape;1609;p65"/>
            <p:cNvSpPr/>
            <p:nvPr/>
          </p:nvSpPr>
          <p:spPr>
            <a:xfrm>
              <a:off x="3233645" y="2417594"/>
              <a:ext cx="344393" cy="157825"/>
            </a:xfrm>
            <a:custGeom>
              <a:avLst/>
              <a:gdLst/>
              <a:ahLst/>
              <a:cxnLst/>
              <a:rect l="l" t="t" r="r" b="b"/>
              <a:pathLst>
                <a:path w="15816" h="7248" extrusionOk="0">
                  <a:moveTo>
                    <a:pt x="4557" y="1"/>
                  </a:moveTo>
                  <a:lnTo>
                    <a:pt x="1515" y="81"/>
                  </a:lnTo>
                  <a:lnTo>
                    <a:pt x="0" y="2583"/>
                  </a:lnTo>
                  <a:cubicBezTo>
                    <a:pt x="1607" y="5372"/>
                    <a:pt x="4545" y="7140"/>
                    <a:pt x="7770" y="7243"/>
                  </a:cubicBezTo>
                  <a:cubicBezTo>
                    <a:pt x="7870" y="7246"/>
                    <a:pt x="7970" y="7248"/>
                    <a:pt x="8070" y="7248"/>
                  </a:cubicBezTo>
                  <a:cubicBezTo>
                    <a:pt x="11183" y="7248"/>
                    <a:pt x="14092" y="5691"/>
                    <a:pt x="15816" y="3088"/>
                  </a:cubicBezTo>
                  <a:lnTo>
                    <a:pt x="12832" y="3019"/>
                  </a:lnTo>
                  <a:lnTo>
                    <a:pt x="11260" y="471"/>
                  </a:lnTo>
                  <a:cubicBezTo>
                    <a:pt x="10437" y="1506"/>
                    <a:pt x="9252" y="2011"/>
                    <a:pt x="8072" y="2011"/>
                  </a:cubicBezTo>
                  <a:cubicBezTo>
                    <a:pt x="6699" y="2011"/>
                    <a:pt x="5334" y="1328"/>
                    <a:pt x="4557"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10" name="Google Shape;1610;p65"/>
          <p:cNvGrpSpPr/>
          <p:nvPr/>
        </p:nvGrpSpPr>
        <p:grpSpPr>
          <a:xfrm>
            <a:off x="5003066" y="4136534"/>
            <a:ext cx="721257" cy="690617"/>
            <a:chOff x="3179914" y="2889488"/>
            <a:chExt cx="422876" cy="404911"/>
          </a:xfrm>
        </p:grpSpPr>
        <p:sp>
          <p:nvSpPr>
            <p:cNvPr id="1611" name="Google Shape;1611;p65"/>
            <p:cNvSpPr/>
            <p:nvPr/>
          </p:nvSpPr>
          <p:spPr>
            <a:xfrm>
              <a:off x="3402328" y="2889749"/>
              <a:ext cx="163726" cy="157477"/>
            </a:xfrm>
            <a:custGeom>
              <a:avLst/>
              <a:gdLst/>
              <a:ahLst/>
              <a:cxnLst/>
              <a:rect l="l" t="t" r="r" b="b"/>
              <a:pathLst>
                <a:path w="7519" h="7232" extrusionOk="0">
                  <a:moveTo>
                    <a:pt x="24" y="0"/>
                  </a:moveTo>
                  <a:lnTo>
                    <a:pt x="1447" y="2583"/>
                  </a:lnTo>
                  <a:lnTo>
                    <a:pt x="1" y="5257"/>
                  </a:lnTo>
                  <a:cubicBezTo>
                    <a:pt x="1252" y="5418"/>
                    <a:pt x="2365" y="6141"/>
                    <a:pt x="2996" y="7231"/>
                  </a:cubicBezTo>
                  <a:lnTo>
                    <a:pt x="5958" y="7151"/>
                  </a:lnTo>
                  <a:lnTo>
                    <a:pt x="7518" y="4580"/>
                  </a:lnTo>
                  <a:cubicBezTo>
                    <a:pt x="5946" y="1894"/>
                    <a:pt x="3134" y="184"/>
                    <a:pt x="24"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2" name="Google Shape;1612;p65"/>
            <p:cNvSpPr/>
            <p:nvPr/>
          </p:nvSpPr>
          <p:spPr>
            <a:xfrm>
              <a:off x="3467807" y="3000956"/>
              <a:ext cx="134983" cy="191707"/>
            </a:xfrm>
            <a:custGeom>
              <a:avLst/>
              <a:gdLst/>
              <a:ahLst/>
              <a:cxnLst/>
              <a:rect l="l" t="t" r="r" b="b"/>
              <a:pathLst>
                <a:path w="6199" h="8804" extrusionOk="0">
                  <a:moveTo>
                    <a:pt x="4798" y="1"/>
                  </a:moveTo>
                  <a:lnTo>
                    <a:pt x="3249" y="2549"/>
                  </a:lnTo>
                  <a:lnTo>
                    <a:pt x="242" y="2629"/>
                  </a:lnTo>
                  <a:cubicBezTo>
                    <a:pt x="724" y="3800"/>
                    <a:pt x="644" y="5131"/>
                    <a:pt x="1" y="6221"/>
                  </a:cubicBezTo>
                  <a:lnTo>
                    <a:pt x="1550" y="8746"/>
                  </a:lnTo>
                  <a:lnTo>
                    <a:pt x="4557" y="8804"/>
                  </a:lnTo>
                  <a:cubicBezTo>
                    <a:pt x="6107" y="6095"/>
                    <a:pt x="6199" y="2790"/>
                    <a:pt x="4798" y="1"/>
                  </a:cubicBez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3" name="Google Shape;1613;p65"/>
            <p:cNvSpPr/>
            <p:nvPr/>
          </p:nvSpPr>
          <p:spPr>
            <a:xfrm>
              <a:off x="3222637" y="2889488"/>
              <a:ext cx="198457" cy="149224"/>
            </a:xfrm>
            <a:custGeom>
              <a:avLst/>
              <a:gdLst/>
              <a:ahLst/>
              <a:cxnLst/>
              <a:rect l="l" t="t" r="r" b="b"/>
              <a:pathLst>
                <a:path w="9114" h="6853" extrusionOk="0">
                  <a:moveTo>
                    <a:pt x="7690" y="1"/>
                  </a:moveTo>
                  <a:cubicBezTo>
                    <a:pt x="4592" y="24"/>
                    <a:pt x="1711" y="1585"/>
                    <a:pt x="1" y="4156"/>
                  </a:cubicBezTo>
                  <a:lnTo>
                    <a:pt x="2904" y="4225"/>
                  </a:lnTo>
                  <a:lnTo>
                    <a:pt x="4511" y="6853"/>
                  </a:lnTo>
                  <a:cubicBezTo>
                    <a:pt x="5257" y="5854"/>
                    <a:pt x="6428" y="5258"/>
                    <a:pt x="7679" y="5235"/>
                  </a:cubicBezTo>
                  <a:lnTo>
                    <a:pt x="9114" y="2606"/>
                  </a:lnTo>
                  <a:lnTo>
                    <a:pt x="7690" y="1"/>
                  </a:ln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4" name="Google Shape;1614;p65"/>
            <p:cNvSpPr/>
            <p:nvPr/>
          </p:nvSpPr>
          <p:spPr>
            <a:xfrm>
              <a:off x="3179914" y="2991462"/>
              <a:ext cx="133960" cy="190205"/>
            </a:xfrm>
            <a:custGeom>
              <a:avLst/>
              <a:gdLst/>
              <a:ahLst/>
              <a:cxnLst/>
              <a:rect l="l" t="t" r="r" b="b"/>
              <a:pathLst>
                <a:path w="6152" h="8735" extrusionOk="0">
                  <a:moveTo>
                    <a:pt x="1641" y="1"/>
                  </a:moveTo>
                  <a:cubicBezTo>
                    <a:pt x="103" y="2686"/>
                    <a:pt x="0" y="5957"/>
                    <a:pt x="1366" y="8735"/>
                  </a:cubicBezTo>
                  <a:lnTo>
                    <a:pt x="2869" y="6244"/>
                  </a:lnTo>
                  <a:lnTo>
                    <a:pt x="5957" y="6164"/>
                  </a:lnTo>
                  <a:cubicBezTo>
                    <a:pt x="5486" y="5016"/>
                    <a:pt x="5555" y="3731"/>
                    <a:pt x="6152" y="2640"/>
                  </a:cubicBezTo>
                  <a:lnTo>
                    <a:pt x="4568" y="58"/>
                  </a:lnTo>
                  <a:lnTo>
                    <a:pt x="1641" y="1"/>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5" name="Google Shape;1615;p65"/>
            <p:cNvSpPr/>
            <p:nvPr/>
          </p:nvSpPr>
          <p:spPr>
            <a:xfrm>
              <a:off x="3215887" y="3136661"/>
              <a:ext cx="162725" cy="157477"/>
            </a:xfrm>
            <a:custGeom>
              <a:avLst/>
              <a:gdLst/>
              <a:ahLst/>
              <a:cxnLst/>
              <a:rect l="l" t="t" r="r" b="b"/>
              <a:pathLst>
                <a:path w="7473" h="7232" extrusionOk="0">
                  <a:moveTo>
                    <a:pt x="4546" y="1"/>
                  </a:moveTo>
                  <a:lnTo>
                    <a:pt x="1516" y="81"/>
                  </a:lnTo>
                  <a:lnTo>
                    <a:pt x="1" y="2583"/>
                  </a:lnTo>
                  <a:cubicBezTo>
                    <a:pt x="1550" y="5280"/>
                    <a:pt x="4339" y="7025"/>
                    <a:pt x="7438" y="7232"/>
                  </a:cubicBezTo>
                  <a:lnTo>
                    <a:pt x="6026" y="4649"/>
                  </a:lnTo>
                  <a:lnTo>
                    <a:pt x="7472" y="1964"/>
                  </a:lnTo>
                  <a:cubicBezTo>
                    <a:pt x="6256" y="1791"/>
                    <a:pt x="5177" y="1068"/>
                    <a:pt x="4546" y="1"/>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6" name="Google Shape;1616;p65"/>
            <p:cNvSpPr/>
            <p:nvPr/>
          </p:nvSpPr>
          <p:spPr>
            <a:xfrm>
              <a:off x="3359605" y="3146677"/>
              <a:ext cx="200439" cy="147722"/>
            </a:xfrm>
            <a:custGeom>
              <a:avLst/>
              <a:gdLst/>
              <a:ahLst/>
              <a:cxnLst/>
              <a:rect l="l" t="t" r="r" b="b"/>
              <a:pathLst>
                <a:path w="9205" h="6784" extrusionOk="0">
                  <a:moveTo>
                    <a:pt x="4649" y="0"/>
                  </a:moveTo>
                  <a:cubicBezTo>
                    <a:pt x="3880" y="976"/>
                    <a:pt x="2697" y="1549"/>
                    <a:pt x="1446" y="1549"/>
                  </a:cubicBezTo>
                  <a:lnTo>
                    <a:pt x="1435" y="1549"/>
                  </a:lnTo>
                  <a:lnTo>
                    <a:pt x="0" y="4189"/>
                  </a:lnTo>
                  <a:lnTo>
                    <a:pt x="1435" y="6783"/>
                  </a:lnTo>
                  <a:lnTo>
                    <a:pt x="1446" y="6783"/>
                  </a:lnTo>
                  <a:cubicBezTo>
                    <a:pt x="1458" y="6783"/>
                    <a:pt x="1469" y="6783"/>
                    <a:pt x="1481" y="6783"/>
                  </a:cubicBezTo>
                  <a:cubicBezTo>
                    <a:pt x="4589" y="6783"/>
                    <a:pt x="7490" y="5224"/>
                    <a:pt x="9205" y="2628"/>
                  </a:cubicBezTo>
                  <a:lnTo>
                    <a:pt x="6221" y="2559"/>
                  </a:lnTo>
                  <a:lnTo>
                    <a:pt x="4649"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17" name="Google Shape;1617;p65"/>
          <p:cNvGrpSpPr/>
          <p:nvPr/>
        </p:nvGrpSpPr>
        <p:grpSpPr>
          <a:xfrm>
            <a:off x="5937457" y="4136478"/>
            <a:ext cx="714907" cy="690729"/>
            <a:chOff x="3729467" y="2889422"/>
            <a:chExt cx="419153" cy="404977"/>
          </a:xfrm>
        </p:grpSpPr>
        <p:sp>
          <p:nvSpPr>
            <p:cNvPr id="1618" name="Google Shape;1618;p65"/>
            <p:cNvSpPr/>
            <p:nvPr/>
          </p:nvSpPr>
          <p:spPr>
            <a:xfrm>
              <a:off x="4014137" y="2974913"/>
              <a:ext cx="134482" cy="178707"/>
            </a:xfrm>
            <a:custGeom>
              <a:avLst/>
              <a:gdLst/>
              <a:ahLst/>
              <a:cxnLst/>
              <a:rect l="l" t="t" r="r" b="b"/>
              <a:pathLst>
                <a:path w="6176" h="8207" extrusionOk="0">
                  <a:moveTo>
                    <a:pt x="4121" y="0"/>
                  </a:moveTo>
                  <a:lnTo>
                    <a:pt x="2973" y="2732"/>
                  </a:lnTo>
                  <a:lnTo>
                    <a:pt x="0" y="3260"/>
                  </a:lnTo>
                  <a:cubicBezTo>
                    <a:pt x="391" y="3891"/>
                    <a:pt x="586" y="4625"/>
                    <a:pt x="586" y="5372"/>
                  </a:cubicBezTo>
                  <a:cubicBezTo>
                    <a:pt x="586" y="5658"/>
                    <a:pt x="563" y="5945"/>
                    <a:pt x="494" y="6232"/>
                  </a:cubicBezTo>
                  <a:lnTo>
                    <a:pt x="2743" y="8206"/>
                  </a:lnTo>
                  <a:lnTo>
                    <a:pt x="5613" y="7392"/>
                  </a:lnTo>
                  <a:cubicBezTo>
                    <a:pt x="6175" y="4832"/>
                    <a:pt x="5636" y="2146"/>
                    <a:pt x="4121" y="0"/>
                  </a:cubicBezTo>
                  <a:close/>
                </a:path>
              </a:pathLst>
            </a:custGeom>
            <a:no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19" name="Google Shape;1619;p65"/>
            <p:cNvSpPr/>
            <p:nvPr/>
          </p:nvSpPr>
          <p:spPr>
            <a:xfrm>
              <a:off x="3741225" y="3095375"/>
              <a:ext cx="148963" cy="173460"/>
            </a:xfrm>
            <a:custGeom>
              <a:avLst/>
              <a:gdLst/>
              <a:ahLst/>
              <a:cxnLst/>
              <a:rect l="l" t="t" r="r" b="b"/>
              <a:pathLst>
                <a:path w="6841" h="7966" extrusionOk="0">
                  <a:moveTo>
                    <a:pt x="2215" y="0"/>
                  </a:moveTo>
                  <a:lnTo>
                    <a:pt x="0" y="1963"/>
                  </a:lnTo>
                  <a:cubicBezTo>
                    <a:pt x="597" y="4511"/>
                    <a:pt x="2250" y="6691"/>
                    <a:pt x="4534" y="7965"/>
                  </a:cubicBezTo>
                  <a:lnTo>
                    <a:pt x="4373" y="5027"/>
                  </a:lnTo>
                  <a:lnTo>
                    <a:pt x="6841" y="3248"/>
                  </a:lnTo>
                  <a:cubicBezTo>
                    <a:pt x="5980" y="2686"/>
                    <a:pt x="5360" y="1814"/>
                    <a:pt x="5108" y="804"/>
                  </a:cubicBezTo>
                  <a:lnTo>
                    <a:pt x="2215"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0" name="Google Shape;1620;p65"/>
            <p:cNvSpPr/>
            <p:nvPr/>
          </p:nvSpPr>
          <p:spPr>
            <a:xfrm>
              <a:off x="3949660" y="2889684"/>
              <a:ext cx="146219" cy="145980"/>
            </a:xfrm>
            <a:custGeom>
              <a:avLst/>
              <a:gdLst/>
              <a:ahLst/>
              <a:cxnLst/>
              <a:rect l="l" t="t" r="r" b="b"/>
              <a:pathLst>
                <a:path w="6715" h="6704" extrusionOk="0">
                  <a:moveTo>
                    <a:pt x="12" y="0"/>
                  </a:moveTo>
                  <a:lnTo>
                    <a:pt x="1435" y="2583"/>
                  </a:lnTo>
                  <a:lnTo>
                    <a:pt x="0" y="5257"/>
                  </a:lnTo>
                  <a:cubicBezTo>
                    <a:pt x="1022" y="5383"/>
                    <a:pt x="1963" y="5900"/>
                    <a:pt x="2629" y="6703"/>
                  </a:cubicBezTo>
                  <a:lnTo>
                    <a:pt x="5567" y="6187"/>
                  </a:lnTo>
                  <a:lnTo>
                    <a:pt x="6714" y="3432"/>
                  </a:lnTo>
                  <a:cubicBezTo>
                    <a:pt x="5062" y="1401"/>
                    <a:pt x="2629" y="150"/>
                    <a:pt x="1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1" name="Google Shape;1621;p65"/>
            <p:cNvSpPr/>
            <p:nvPr/>
          </p:nvSpPr>
          <p:spPr>
            <a:xfrm>
              <a:off x="3847947" y="3172089"/>
              <a:ext cx="167210" cy="122310"/>
            </a:xfrm>
            <a:custGeom>
              <a:avLst/>
              <a:gdLst/>
              <a:ahLst/>
              <a:cxnLst/>
              <a:rect l="l" t="t" r="r" b="b"/>
              <a:pathLst>
                <a:path w="7679" h="5617" extrusionOk="0">
                  <a:moveTo>
                    <a:pt x="2433" y="1"/>
                  </a:moveTo>
                  <a:lnTo>
                    <a:pt x="0" y="1757"/>
                  </a:lnTo>
                  <a:lnTo>
                    <a:pt x="149" y="4718"/>
                  </a:lnTo>
                  <a:cubicBezTo>
                    <a:pt x="1415" y="5317"/>
                    <a:pt x="2781" y="5616"/>
                    <a:pt x="4148" y="5616"/>
                  </a:cubicBezTo>
                  <a:cubicBezTo>
                    <a:pt x="5347" y="5616"/>
                    <a:pt x="6546" y="5386"/>
                    <a:pt x="7678" y="4924"/>
                  </a:cubicBezTo>
                  <a:lnTo>
                    <a:pt x="5280" y="3203"/>
                  </a:lnTo>
                  <a:lnTo>
                    <a:pt x="5417" y="173"/>
                  </a:lnTo>
                  <a:lnTo>
                    <a:pt x="5417" y="173"/>
                  </a:lnTo>
                  <a:cubicBezTo>
                    <a:pt x="5016" y="311"/>
                    <a:pt x="4591" y="379"/>
                    <a:pt x="4155" y="379"/>
                  </a:cubicBezTo>
                  <a:cubicBezTo>
                    <a:pt x="3558" y="379"/>
                    <a:pt x="2973" y="253"/>
                    <a:pt x="2433" y="1"/>
                  </a:cubicBezTo>
                  <a:close/>
                </a:path>
              </a:pathLst>
            </a:custGeom>
            <a:noFill/>
            <a:ln w="9525" cap="flat" cmpd="sng">
              <a:solidFill>
                <a:srgbClr val="F8FAFB"/>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2" name="Google Shape;1622;p65"/>
            <p:cNvSpPr/>
            <p:nvPr/>
          </p:nvSpPr>
          <p:spPr>
            <a:xfrm>
              <a:off x="3974658" y="3122616"/>
              <a:ext cx="158457" cy="151206"/>
            </a:xfrm>
            <a:custGeom>
              <a:avLst/>
              <a:gdLst/>
              <a:ahLst/>
              <a:cxnLst/>
              <a:rect l="l" t="t" r="r" b="b"/>
              <a:pathLst>
                <a:path w="7277" h="6944" extrusionOk="0">
                  <a:moveTo>
                    <a:pt x="2158" y="0"/>
                  </a:moveTo>
                  <a:cubicBezTo>
                    <a:pt x="1790" y="964"/>
                    <a:pt x="1079" y="1768"/>
                    <a:pt x="149" y="2227"/>
                  </a:cubicBezTo>
                  <a:lnTo>
                    <a:pt x="0" y="5222"/>
                  </a:lnTo>
                  <a:lnTo>
                    <a:pt x="2422" y="6944"/>
                  </a:lnTo>
                  <a:cubicBezTo>
                    <a:pt x="4775" y="5785"/>
                    <a:pt x="6542" y="3696"/>
                    <a:pt x="7277" y="1171"/>
                  </a:cubicBezTo>
                  <a:lnTo>
                    <a:pt x="7277" y="1171"/>
                  </a:lnTo>
                  <a:lnTo>
                    <a:pt x="4430" y="1986"/>
                  </a:lnTo>
                  <a:lnTo>
                    <a:pt x="2158" y="0"/>
                  </a:lnTo>
                  <a:close/>
                </a:path>
              </a:pathLst>
            </a:cu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3" name="Google Shape;1623;p65"/>
            <p:cNvSpPr/>
            <p:nvPr/>
          </p:nvSpPr>
          <p:spPr>
            <a:xfrm>
              <a:off x="3729467" y="2966660"/>
              <a:ext cx="138990" cy="158718"/>
            </a:xfrm>
            <a:custGeom>
              <a:avLst/>
              <a:gdLst/>
              <a:ahLst/>
              <a:cxnLst/>
              <a:rect l="l" t="t" r="r" b="b"/>
              <a:pathLst>
                <a:path w="6383" h="7289" extrusionOk="0">
                  <a:moveTo>
                    <a:pt x="2296" y="0"/>
                  </a:moveTo>
                  <a:cubicBezTo>
                    <a:pt x="678" y="2055"/>
                    <a:pt x="1" y="4706"/>
                    <a:pt x="425" y="7288"/>
                  </a:cubicBezTo>
                  <a:lnTo>
                    <a:pt x="2618" y="5337"/>
                  </a:lnTo>
                  <a:lnTo>
                    <a:pt x="5556" y="6152"/>
                  </a:lnTo>
                  <a:cubicBezTo>
                    <a:pt x="5544" y="6026"/>
                    <a:pt x="5533" y="5888"/>
                    <a:pt x="5533" y="5751"/>
                  </a:cubicBezTo>
                  <a:cubicBezTo>
                    <a:pt x="5533" y="4855"/>
                    <a:pt x="5831" y="3983"/>
                    <a:pt x="6382" y="3271"/>
                  </a:cubicBezTo>
                  <a:lnTo>
                    <a:pt x="5211" y="505"/>
                  </a:lnTo>
                  <a:lnTo>
                    <a:pt x="2296"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4" name="Google Shape;1624;p65"/>
            <p:cNvSpPr/>
            <p:nvPr/>
          </p:nvSpPr>
          <p:spPr>
            <a:xfrm>
              <a:off x="3787716" y="2889422"/>
              <a:ext cx="180449" cy="139229"/>
            </a:xfrm>
            <a:custGeom>
              <a:avLst/>
              <a:gdLst/>
              <a:ahLst/>
              <a:cxnLst/>
              <a:rect l="l" t="t" r="r" b="b"/>
              <a:pathLst>
                <a:path w="8287" h="6394" extrusionOk="0">
                  <a:moveTo>
                    <a:pt x="6863" y="1"/>
                  </a:moveTo>
                  <a:cubicBezTo>
                    <a:pt x="4235" y="12"/>
                    <a:pt x="1756" y="1137"/>
                    <a:pt x="0" y="3088"/>
                  </a:cubicBezTo>
                  <a:lnTo>
                    <a:pt x="2904" y="3593"/>
                  </a:lnTo>
                  <a:lnTo>
                    <a:pt x="4086" y="6394"/>
                  </a:lnTo>
                  <a:cubicBezTo>
                    <a:pt x="4820" y="5671"/>
                    <a:pt x="5819" y="5258"/>
                    <a:pt x="6852" y="5235"/>
                  </a:cubicBezTo>
                  <a:lnTo>
                    <a:pt x="8287" y="2606"/>
                  </a:lnTo>
                  <a:lnTo>
                    <a:pt x="6863" y="1"/>
                  </a:lnTo>
                  <a:close/>
                </a:path>
              </a:pathLst>
            </a:custGeom>
            <a:noFill/>
            <a:ln w="9525" cap="flat" cmpd="sng">
              <a:solidFill>
                <a:srgbClr val="A5B7C6"/>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25" name="Google Shape;1625;p65"/>
          <p:cNvGrpSpPr/>
          <p:nvPr/>
        </p:nvGrpSpPr>
        <p:grpSpPr>
          <a:xfrm>
            <a:off x="2653502" y="4594384"/>
            <a:ext cx="1287135" cy="179481"/>
            <a:chOff x="4411970" y="2962952"/>
            <a:chExt cx="706544" cy="104212"/>
          </a:xfrm>
        </p:grpSpPr>
        <p:sp>
          <p:nvSpPr>
            <p:cNvPr id="1626" name="Google Shape;1626;p65"/>
            <p:cNvSpPr/>
            <p:nvPr/>
          </p:nvSpPr>
          <p:spPr>
            <a:xfrm>
              <a:off x="4583864" y="2962952"/>
              <a:ext cx="534651" cy="104077"/>
            </a:xfrm>
            <a:custGeom>
              <a:avLst/>
              <a:gdLst/>
              <a:ahLst/>
              <a:cxnLst/>
              <a:rect l="l" t="t" r="r" b="b"/>
              <a:pathLst>
                <a:path w="11841" h="2305" extrusionOk="0">
                  <a:moveTo>
                    <a:pt x="1155" y="0"/>
                  </a:moveTo>
                  <a:lnTo>
                    <a:pt x="0" y="2304"/>
                  </a:lnTo>
                  <a:lnTo>
                    <a:pt x="11410" y="2304"/>
                  </a:lnTo>
                  <a:lnTo>
                    <a:pt x="11840" y="1153"/>
                  </a:lnTo>
                  <a:lnTo>
                    <a:pt x="11410"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7" name="Google Shape;1627;p65"/>
            <p:cNvSpPr/>
            <p:nvPr/>
          </p:nvSpPr>
          <p:spPr>
            <a:xfrm>
              <a:off x="4411970" y="2963088"/>
              <a:ext cx="124124" cy="104077"/>
            </a:xfrm>
            <a:custGeom>
              <a:avLst/>
              <a:gdLst/>
              <a:ahLst/>
              <a:cxnLst/>
              <a:rect l="l" t="t" r="r" b="b"/>
              <a:pathLst>
                <a:path w="2749" h="2305" extrusionOk="0">
                  <a:moveTo>
                    <a:pt x="2749" y="0"/>
                  </a:moveTo>
                  <a:lnTo>
                    <a:pt x="177" y="2"/>
                  </a:lnTo>
                  <a:cubicBezTo>
                    <a:pt x="79" y="2"/>
                    <a:pt x="1" y="79"/>
                    <a:pt x="1" y="176"/>
                  </a:cubicBezTo>
                  <a:lnTo>
                    <a:pt x="1" y="2130"/>
                  </a:lnTo>
                  <a:cubicBezTo>
                    <a:pt x="1" y="2226"/>
                    <a:pt x="79" y="2305"/>
                    <a:pt x="177" y="2305"/>
                  </a:cubicBezTo>
                  <a:lnTo>
                    <a:pt x="1522" y="2305"/>
                  </a:lnTo>
                  <a:lnTo>
                    <a:pt x="2749"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8" name="Google Shape;1628;p65"/>
            <p:cNvSpPr/>
            <p:nvPr/>
          </p:nvSpPr>
          <p:spPr>
            <a:xfrm>
              <a:off x="4496946" y="2963133"/>
              <a:ext cx="79920" cy="104031"/>
            </a:xfrm>
            <a:custGeom>
              <a:avLst/>
              <a:gdLst/>
              <a:ahLst/>
              <a:cxnLst/>
              <a:rect l="l" t="t" r="r" b="b"/>
              <a:pathLst>
                <a:path w="1770" h="2304" extrusionOk="0">
                  <a:moveTo>
                    <a:pt x="1227" y="1"/>
                  </a:moveTo>
                  <a:lnTo>
                    <a:pt x="0" y="2304"/>
                  </a:lnTo>
                  <a:lnTo>
                    <a:pt x="542"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29" name="Google Shape;1629;p65"/>
            <p:cNvSpPr/>
            <p:nvPr/>
          </p:nvSpPr>
          <p:spPr>
            <a:xfrm>
              <a:off x="4537628" y="2963133"/>
              <a:ext cx="79965" cy="104031"/>
            </a:xfrm>
            <a:custGeom>
              <a:avLst/>
              <a:gdLst/>
              <a:ahLst/>
              <a:cxnLst/>
              <a:rect l="l" t="t" r="r" b="b"/>
              <a:pathLst>
                <a:path w="1771" h="2304" extrusionOk="0">
                  <a:moveTo>
                    <a:pt x="1229" y="1"/>
                  </a:moveTo>
                  <a:lnTo>
                    <a:pt x="1" y="2304"/>
                  </a:lnTo>
                  <a:lnTo>
                    <a:pt x="544" y="2304"/>
                  </a:lnTo>
                  <a:lnTo>
                    <a:pt x="1770"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30" name="Google Shape;1630;p65"/>
          <p:cNvGrpSpPr/>
          <p:nvPr/>
        </p:nvGrpSpPr>
        <p:grpSpPr>
          <a:xfrm>
            <a:off x="2653501" y="4054769"/>
            <a:ext cx="1280211" cy="385563"/>
            <a:chOff x="4411970" y="2726085"/>
            <a:chExt cx="643107" cy="193659"/>
          </a:xfrm>
        </p:grpSpPr>
        <p:sp>
          <p:nvSpPr>
            <p:cNvPr id="1631" name="Google Shape;1631;p65"/>
            <p:cNvSpPr/>
            <p:nvPr/>
          </p:nvSpPr>
          <p:spPr>
            <a:xfrm>
              <a:off x="4411970" y="2726085"/>
              <a:ext cx="118796" cy="193659"/>
            </a:xfrm>
            <a:custGeom>
              <a:avLst/>
              <a:gdLst/>
              <a:ahLst/>
              <a:cxnLst/>
              <a:rect l="l" t="t" r="r" b="b"/>
              <a:pathLst>
                <a:path w="2631" h="4289" extrusionOk="0">
                  <a:moveTo>
                    <a:pt x="450" y="0"/>
                  </a:moveTo>
                  <a:cubicBezTo>
                    <a:pt x="357" y="0"/>
                    <a:pt x="264" y="35"/>
                    <a:pt x="193" y="106"/>
                  </a:cubicBezTo>
                  <a:lnTo>
                    <a:pt x="1" y="298"/>
                  </a:lnTo>
                  <a:lnTo>
                    <a:pt x="1591" y="1886"/>
                  </a:lnTo>
                  <a:cubicBezTo>
                    <a:pt x="1732" y="2029"/>
                    <a:pt x="1732" y="2258"/>
                    <a:pt x="1591" y="2401"/>
                  </a:cubicBezTo>
                  <a:lnTo>
                    <a:pt x="1" y="3991"/>
                  </a:lnTo>
                  <a:lnTo>
                    <a:pt x="193" y="4183"/>
                  </a:lnTo>
                  <a:cubicBezTo>
                    <a:pt x="264" y="4253"/>
                    <a:pt x="357" y="4288"/>
                    <a:pt x="450" y="4288"/>
                  </a:cubicBezTo>
                  <a:cubicBezTo>
                    <a:pt x="543" y="4288"/>
                    <a:pt x="636" y="4253"/>
                    <a:pt x="707" y="4183"/>
                  </a:cubicBezTo>
                  <a:lnTo>
                    <a:pt x="2488" y="2401"/>
                  </a:lnTo>
                  <a:cubicBezTo>
                    <a:pt x="2630" y="2260"/>
                    <a:pt x="2630" y="2029"/>
                    <a:pt x="2488" y="1888"/>
                  </a:cubicBezTo>
                  <a:lnTo>
                    <a:pt x="707" y="106"/>
                  </a:lnTo>
                  <a:cubicBezTo>
                    <a:pt x="636" y="35"/>
                    <a:pt x="543" y="0"/>
                    <a:pt x="450"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2" name="Google Shape;1632;p65"/>
            <p:cNvSpPr/>
            <p:nvPr/>
          </p:nvSpPr>
          <p:spPr>
            <a:xfrm>
              <a:off x="4426058" y="2791601"/>
              <a:ext cx="36167" cy="62627"/>
            </a:xfrm>
            <a:custGeom>
              <a:avLst/>
              <a:gdLst/>
              <a:ahLst/>
              <a:cxnLst/>
              <a:rect l="l" t="t" r="r" b="b"/>
              <a:pathLst>
                <a:path w="801" h="1387" extrusionOk="0">
                  <a:moveTo>
                    <a:pt x="176" y="0"/>
                  </a:moveTo>
                  <a:cubicBezTo>
                    <a:pt x="87" y="0"/>
                    <a:pt x="1" y="69"/>
                    <a:pt x="1" y="173"/>
                  </a:cubicBezTo>
                  <a:lnTo>
                    <a:pt x="1" y="1214"/>
                  </a:lnTo>
                  <a:cubicBezTo>
                    <a:pt x="1" y="1318"/>
                    <a:pt x="87" y="1386"/>
                    <a:pt x="176" y="1386"/>
                  </a:cubicBezTo>
                  <a:cubicBezTo>
                    <a:pt x="218" y="1386"/>
                    <a:pt x="262" y="1371"/>
                    <a:pt x="297" y="1335"/>
                  </a:cubicBezTo>
                  <a:lnTo>
                    <a:pt x="627" y="1006"/>
                  </a:lnTo>
                  <a:cubicBezTo>
                    <a:pt x="800" y="834"/>
                    <a:pt x="800" y="554"/>
                    <a:pt x="627" y="381"/>
                  </a:cubicBezTo>
                  <a:lnTo>
                    <a:pt x="297" y="51"/>
                  </a:lnTo>
                  <a:cubicBezTo>
                    <a:pt x="262" y="16"/>
                    <a:pt x="218" y="0"/>
                    <a:pt x="176"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3" name="Google Shape;1633;p65"/>
            <p:cNvSpPr/>
            <p:nvPr/>
          </p:nvSpPr>
          <p:spPr>
            <a:xfrm>
              <a:off x="4456806" y="2743875"/>
              <a:ext cx="598271" cy="157989"/>
            </a:xfrm>
            <a:custGeom>
              <a:avLst/>
              <a:gdLst/>
              <a:ahLst/>
              <a:cxnLst/>
              <a:rect l="l" t="t" r="r" b="b"/>
              <a:pathLst>
                <a:path w="13250" h="3499" extrusionOk="0">
                  <a:moveTo>
                    <a:pt x="1" y="0"/>
                  </a:moveTo>
                  <a:lnTo>
                    <a:pt x="1495" y="1494"/>
                  </a:lnTo>
                  <a:cubicBezTo>
                    <a:pt x="1635" y="1635"/>
                    <a:pt x="1635" y="1866"/>
                    <a:pt x="1495" y="2007"/>
                  </a:cubicBezTo>
                  <a:lnTo>
                    <a:pt x="2" y="3499"/>
                  </a:lnTo>
                  <a:lnTo>
                    <a:pt x="11527" y="3499"/>
                  </a:lnTo>
                  <a:lnTo>
                    <a:pt x="13250" y="1750"/>
                  </a:lnTo>
                  <a:lnTo>
                    <a:pt x="11527"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34" name="Google Shape;1634;p65"/>
          <p:cNvGrpSpPr/>
          <p:nvPr/>
        </p:nvGrpSpPr>
        <p:grpSpPr>
          <a:xfrm>
            <a:off x="1331499" y="4393867"/>
            <a:ext cx="1082004" cy="336779"/>
            <a:chOff x="4411970" y="4340222"/>
            <a:chExt cx="779467" cy="242683"/>
          </a:xfrm>
        </p:grpSpPr>
        <p:sp>
          <p:nvSpPr>
            <p:cNvPr id="1635" name="Google Shape;1635;p65"/>
            <p:cNvSpPr/>
            <p:nvPr/>
          </p:nvSpPr>
          <p:spPr>
            <a:xfrm>
              <a:off x="4411970" y="4340222"/>
              <a:ext cx="121370" cy="121370"/>
            </a:xfrm>
            <a:custGeom>
              <a:avLst/>
              <a:gdLst/>
              <a:ahLst/>
              <a:cxnLst/>
              <a:rect l="l" t="t" r="r" b="b"/>
              <a:pathLst>
                <a:path w="2688" h="2688" extrusionOk="0">
                  <a:moveTo>
                    <a:pt x="2688" y="1"/>
                  </a:moveTo>
                  <a:cubicBezTo>
                    <a:pt x="1205" y="1"/>
                    <a:pt x="1" y="1203"/>
                    <a:pt x="1" y="2688"/>
                  </a:cubicBezTo>
                  <a:lnTo>
                    <a:pt x="379" y="2688"/>
                  </a:lnTo>
                  <a:cubicBezTo>
                    <a:pt x="379" y="1411"/>
                    <a:pt x="1413" y="379"/>
                    <a:pt x="2688" y="379"/>
                  </a:cubicBezTo>
                  <a:lnTo>
                    <a:pt x="2688" y="1"/>
                  </a:lnTo>
                  <a:close/>
                </a:path>
              </a:pathLst>
            </a:cu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6" name="Google Shape;1636;p65"/>
            <p:cNvSpPr/>
            <p:nvPr/>
          </p:nvSpPr>
          <p:spPr>
            <a:xfrm>
              <a:off x="4457032" y="4385284"/>
              <a:ext cx="152661" cy="152615"/>
            </a:xfrm>
            <a:custGeom>
              <a:avLst/>
              <a:gdLst/>
              <a:ahLst/>
              <a:cxnLst/>
              <a:rect l="l" t="t" r="r" b="b"/>
              <a:pathLst>
                <a:path w="3381" h="3380" extrusionOk="0">
                  <a:moveTo>
                    <a:pt x="1690" y="0"/>
                  </a:moveTo>
                  <a:cubicBezTo>
                    <a:pt x="756" y="0"/>
                    <a:pt x="0" y="756"/>
                    <a:pt x="0" y="1690"/>
                  </a:cubicBezTo>
                  <a:cubicBezTo>
                    <a:pt x="0" y="2623"/>
                    <a:pt x="756" y="3379"/>
                    <a:pt x="1690" y="3379"/>
                  </a:cubicBezTo>
                  <a:cubicBezTo>
                    <a:pt x="2623" y="3379"/>
                    <a:pt x="3381" y="2623"/>
                    <a:pt x="3381" y="1690"/>
                  </a:cubicBezTo>
                  <a:cubicBezTo>
                    <a:pt x="3381" y="756"/>
                    <a:pt x="2623" y="0"/>
                    <a:pt x="1690" y="0"/>
                  </a:cubicBez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37" name="Google Shape;1637;p65"/>
            <p:cNvSpPr/>
            <p:nvPr/>
          </p:nvSpPr>
          <p:spPr>
            <a:xfrm>
              <a:off x="4533392" y="4383749"/>
              <a:ext cx="658046" cy="199155"/>
            </a:xfrm>
            <a:custGeom>
              <a:avLst/>
              <a:gdLst/>
              <a:ahLst/>
              <a:cxnLst/>
              <a:rect l="l" t="t" r="r" b="b"/>
              <a:pathLst>
                <a:path w="16511" h="4997" extrusionOk="0">
                  <a:moveTo>
                    <a:pt x="4619" y="1"/>
                  </a:moveTo>
                  <a:cubicBezTo>
                    <a:pt x="3342" y="1"/>
                    <a:pt x="2309" y="1035"/>
                    <a:pt x="2309" y="2310"/>
                  </a:cubicBezTo>
                  <a:cubicBezTo>
                    <a:pt x="2309" y="3586"/>
                    <a:pt x="1275" y="4619"/>
                    <a:pt x="0" y="4619"/>
                  </a:cubicBezTo>
                  <a:lnTo>
                    <a:pt x="0" y="4997"/>
                  </a:lnTo>
                  <a:cubicBezTo>
                    <a:pt x="482" y="4997"/>
                    <a:pt x="958" y="4867"/>
                    <a:pt x="1373" y="4619"/>
                  </a:cubicBezTo>
                  <a:lnTo>
                    <a:pt x="14185" y="4619"/>
                  </a:lnTo>
                  <a:cubicBezTo>
                    <a:pt x="15472" y="4619"/>
                    <a:pt x="16510" y="3567"/>
                    <a:pt x="16494" y="2279"/>
                  </a:cubicBezTo>
                  <a:cubicBezTo>
                    <a:pt x="16478" y="1006"/>
                    <a:pt x="15399" y="1"/>
                    <a:pt x="14126" y="1"/>
                  </a:cubicBezTo>
                  <a:close/>
                </a:path>
              </a:pathLst>
            </a:custGeom>
            <a:noFill/>
            <a:ln w="9525" cap="flat" cmpd="sng">
              <a:solidFill>
                <a:srgbClr val="7994A9"/>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38" name="Google Shape;1638;p65"/>
          <p:cNvGrpSpPr/>
          <p:nvPr/>
        </p:nvGrpSpPr>
        <p:grpSpPr>
          <a:xfrm>
            <a:off x="2653501" y="3612411"/>
            <a:ext cx="1286880" cy="288307"/>
            <a:chOff x="4411970" y="2468674"/>
            <a:chExt cx="747317" cy="167425"/>
          </a:xfrm>
        </p:grpSpPr>
        <p:sp>
          <p:nvSpPr>
            <p:cNvPr id="1639" name="Google Shape;1639;p65"/>
            <p:cNvSpPr/>
            <p:nvPr/>
          </p:nvSpPr>
          <p:spPr>
            <a:xfrm>
              <a:off x="4411970" y="2468674"/>
              <a:ext cx="216235" cy="167425"/>
            </a:xfrm>
            <a:custGeom>
              <a:avLst/>
              <a:gdLst/>
              <a:ahLst/>
              <a:cxnLst/>
              <a:rect l="l" t="t" r="r" b="b"/>
              <a:pathLst>
                <a:path w="4789" h="3708" extrusionOk="0">
                  <a:moveTo>
                    <a:pt x="1" y="0"/>
                  </a:moveTo>
                  <a:lnTo>
                    <a:pt x="1" y="3707"/>
                  </a:lnTo>
                  <a:lnTo>
                    <a:pt x="3381" y="3707"/>
                  </a:lnTo>
                  <a:lnTo>
                    <a:pt x="4789" y="1853"/>
                  </a:lnTo>
                  <a:lnTo>
                    <a:pt x="3381" y="0"/>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0" name="Google Shape;1640;p65"/>
            <p:cNvSpPr/>
            <p:nvPr/>
          </p:nvSpPr>
          <p:spPr>
            <a:xfrm>
              <a:off x="4564629" y="2468674"/>
              <a:ext cx="594658" cy="167425"/>
            </a:xfrm>
            <a:custGeom>
              <a:avLst/>
              <a:gdLst/>
              <a:ahLst/>
              <a:cxnLst/>
              <a:rect l="l" t="t" r="r" b="b"/>
              <a:pathLst>
                <a:path w="13170" h="3708" extrusionOk="0">
                  <a:moveTo>
                    <a:pt x="0" y="0"/>
                  </a:moveTo>
                  <a:lnTo>
                    <a:pt x="1408" y="1853"/>
                  </a:lnTo>
                  <a:lnTo>
                    <a:pt x="0" y="3707"/>
                  </a:lnTo>
                  <a:lnTo>
                    <a:pt x="13169" y="3707"/>
                  </a:lnTo>
                  <a:lnTo>
                    <a:pt x="13169"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641" name="Google Shape;1641;p65"/>
          <p:cNvSpPr/>
          <p:nvPr/>
        </p:nvSpPr>
        <p:spPr>
          <a:xfrm>
            <a:off x="1329165" y="4018786"/>
            <a:ext cx="1080824" cy="257311"/>
          </a:xfrm>
          <a:custGeom>
            <a:avLst/>
            <a:gdLst/>
            <a:ahLst/>
            <a:cxnLst/>
            <a:rect l="l" t="t" r="r" b="b"/>
            <a:pathLst>
              <a:path w="17936" h="4270" extrusionOk="0">
                <a:moveTo>
                  <a:pt x="2303" y="1110"/>
                </a:moveTo>
                <a:cubicBezTo>
                  <a:pt x="2883" y="1110"/>
                  <a:pt x="3355" y="1569"/>
                  <a:pt x="3355" y="2135"/>
                </a:cubicBezTo>
                <a:cubicBezTo>
                  <a:pt x="3353" y="2716"/>
                  <a:pt x="2883" y="3187"/>
                  <a:pt x="2303" y="3187"/>
                </a:cubicBezTo>
                <a:cubicBezTo>
                  <a:pt x="1722" y="3187"/>
                  <a:pt x="1251" y="2716"/>
                  <a:pt x="1251" y="2135"/>
                </a:cubicBezTo>
                <a:cubicBezTo>
                  <a:pt x="1251" y="1569"/>
                  <a:pt x="1722" y="1110"/>
                  <a:pt x="2303" y="1110"/>
                </a:cubicBezTo>
                <a:close/>
                <a:moveTo>
                  <a:pt x="2304" y="0"/>
                </a:moveTo>
                <a:cubicBezTo>
                  <a:pt x="1748" y="0"/>
                  <a:pt x="1201" y="218"/>
                  <a:pt x="793" y="626"/>
                </a:cubicBezTo>
                <a:cubicBezTo>
                  <a:pt x="183" y="1236"/>
                  <a:pt x="0" y="2154"/>
                  <a:pt x="330" y="2951"/>
                </a:cubicBezTo>
                <a:cubicBezTo>
                  <a:pt x="662" y="3749"/>
                  <a:pt x="1438" y="4269"/>
                  <a:pt x="2303" y="4269"/>
                </a:cubicBezTo>
                <a:cubicBezTo>
                  <a:pt x="3481" y="4269"/>
                  <a:pt x="4436" y="3313"/>
                  <a:pt x="4436" y="2135"/>
                </a:cubicBezTo>
                <a:lnTo>
                  <a:pt x="4436" y="3254"/>
                </a:lnTo>
                <a:cubicBezTo>
                  <a:pt x="4436" y="3814"/>
                  <a:pt x="4891" y="4269"/>
                  <a:pt x="5451" y="4269"/>
                </a:cubicBezTo>
                <a:lnTo>
                  <a:pt x="17600" y="4269"/>
                </a:lnTo>
                <a:cubicBezTo>
                  <a:pt x="17785" y="4269"/>
                  <a:pt x="17935" y="4119"/>
                  <a:pt x="17935" y="3936"/>
                </a:cubicBezTo>
                <a:lnTo>
                  <a:pt x="17935" y="333"/>
                </a:lnTo>
                <a:cubicBezTo>
                  <a:pt x="17934" y="149"/>
                  <a:pt x="17785" y="0"/>
                  <a:pt x="17602" y="0"/>
                </a:cubicBezTo>
                <a:lnTo>
                  <a:pt x="5451" y="0"/>
                </a:lnTo>
                <a:cubicBezTo>
                  <a:pt x="4891" y="0"/>
                  <a:pt x="4437" y="453"/>
                  <a:pt x="4437" y="1014"/>
                </a:cubicBezTo>
                <a:lnTo>
                  <a:pt x="4437" y="2133"/>
                </a:lnTo>
                <a:cubicBezTo>
                  <a:pt x="4436" y="1270"/>
                  <a:pt x="3915" y="492"/>
                  <a:pt x="3118" y="162"/>
                </a:cubicBezTo>
                <a:cubicBezTo>
                  <a:pt x="2855" y="53"/>
                  <a:pt x="2578" y="0"/>
                  <a:pt x="2304" y="0"/>
                </a:cubicBez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642" name="Google Shape;1642;p65"/>
          <p:cNvGrpSpPr/>
          <p:nvPr/>
        </p:nvGrpSpPr>
        <p:grpSpPr>
          <a:xfrm>
            <a:off x="1330257" y="3112916"/>
            <a:ext cx="2612055" cy="278379"/>
            <a:chOff x="6336019" y="3733725"/>
            <a:chExt cx="2566206" cy="351310"/>
          </a:xfrm>
        </p:grpSpPr>
        <p:sp>
          <p:nvSpPr>
            <p:cNvPr id="1643" name="Google Shape;1643;p65"/>
            <p:cNvSpPr/>
            <p:nvPr/>
          </p:nvSpPr>
          <p:spPr>
            <a:xfrm>
              <a:off x="6336019" y="3733735"/>
              <a:ext cx="1881300" cy="351300"/>
            </a:xfrm>
            <a:prstGeom prst="homePlate">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4" name="Google Shape;1644;p65"/>
            <p:cNvSpPr/>
            <p:nvPr/>
          </p:nvSpPr>
          <p:spPr>
            <a:xfrm>
              <a:off x="80985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5" name="Google Shape;1645;p65"/>
            <p:cNvSpPr/>
            <p:nvPr/>
          </p:nvSpPr>
          <p:spPr>
            <a:xfrm>
              <a:off x="83271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6" name="Google Shape;1646;p65"/>
            <p:cNvSpPr/>
            <p:nvPr/>
          </p:nvSpPr>
          <p:spPr>
            <a:xfrm>
              <a:off x="8555725" y="3733725"/>
              <a:ext cx="346500" cy="351300"/>
            </a:xfrm>
            <a:prstGeom prst="chevron">
              <a:avLst>
                <a:gd name="adj" fmla="val 50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47" name="Google Shape;1647;p65"/>
          <p:cNvGrpSpPr/>
          <p:nvPr/>
        </p:nvGrpSpPr>
        <p:grpSpPr>
          <a:xfrm>
            <a:off x="2653502" y="5267469"/>
            <a:ext cx="1262068" cy="204267"/>
            <a:chOff x="4404545" y="3301592"/>
            <a:chExt cx="782403" cy="129272"/>
          </a:xfrm>
        </p:grpSpPr>
        <p:sp>
          <p:nvSpPr>
            <p:cNvPr id="1648" name="Google Shape;1648;p65"/>
            <p:cNvSpPr/>
            <p:nvPr/>
          </p:nvSpPr>
          <p:spPr>
            <a:xfrm>
              <a:off x="4404545" y="3301592"/>
              <a:ext cx="782403" cy="129272"/>
            </a:xfrm>
            <a:custGeom>
              <a:avLst/>
              <a:gdLst/>
              <a:ahLst/>
              <a:cxnLst/>
              <a:rect l="l" t="t" r="r" b="b"/>
              <a:pathLst>
                <a:path w="17328" h="2863" extrusionOk="0">
                  <a:moveTo>
                    <a:pt x="1432" y="1"/>
                  </a:moveTo>
                  <a:cubicBezTo>
                    <a:pt x="641" y="1"/>
                    <a:pt x="1" y="641"/>
                    <a:pt x="2" y="1431"/>
                  </a:cubicBezTo>
                  <a:cubicBezTo>
                    <a:pt x="1" y="2222"/>
                    <a:pt x="641" y="2861"/>
                    <a:pt x="1432" y="2862"/>
                  </a:cubicBezTo>
                  <a:lnTo>
                    <a:pt x="15897" y="2862"/>
                  </a:lnTo>
                  <a:cubicBezTo>
                    <a:pt x="16687" y="2861"/>
                    <a:pt x="17327" y="2222"/>
                    <a:pt x="17327" y="1431"/>
                  </a:cubicBezTo>
                  <a:cubicBezTo>
                    <a:pt x="17327" y="641"/>
                    <a:pt x="16687" y="1"/>
                    <a:pt x="15897"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49" name="Google Shape;1649;p65"/>
            <p:cNvSpPr/>
            <p:nvPr/>
          </p:nvSpPr>
          <p:spPr>
            <a:xfrm>
              <a:off x="4420869" y="3318308"/>
              <a:ext cx="92621" cy="95856"/>
            </a:xfrm>
            <a:custGeom>
              <a:avLst/>
              <a:gdLst/>
              <a:ahLst/>
              <a:cxnLst/>
              <a:rect l="l" t="t" r="r" b="b"/>
              <a:pathLst>
                <a:path w="2664" h="2563" extrusionOk="0">
                  <a:moveTo>
                    <a:pt x="1382" y="1"/>
                  </a:moveTo>
                  <a:cubicBezTo>
                    <a:pt x="864" y="1"/>
                    <a:pt x="398" y="313"/>
                    <a:pt x="199" y="792"/>
                  </a:cubicBezTo>
                  <a:cubicBezTo>
                    <a:pt x="0" y="1270"/>
                    <a:pt x="109" y="1821"/>
                    <a:pt x="476" y="2188"/>
                  </a:cubicBezTo>
                  <a:cubicBezTo>
                    <a:pt x="721" y="2433"/>
                    <a:pt x="1048" y="2563"/>
                    <a:pt x="1381" y="2563"/>
                  </a:cubicBezTo>
                  <a:cubicBezTo>
                    <a:pt x="1547" y="2563"/>
                    <a:pt x="1713" y="2531"/>
                    <a:pt x="1872" y="2465"/>
                  </a:cubicBezTo>
                  <a:cubicBezTo>
                    <a:pt x="2351" y="2268"/>
                    <a:pt x="2663" y="1800"/>
                    <a:pt x="2663" y="1282"/>
                  </a:cubicBezTo>
                  <a:cubicBezTo>
                    <a:pt x="2663" y="574"/>
                    <a:pt x="2090" y="1"/>
                    <a:pt x="138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50" name="Google Shape;1650;p65"/>
          <p:cNvGrpSpPr/>
          <p:nvPr/>
        </p:nvGrpSpPr>
        <p:grpSpPr>
          <a:xfrm>
            <a:off x="2653502" y="4927917"/>
            <a:ext cx="1283009" cy="185503"/>
            <a:chOff x="4411970" y="3131459"/>
            <a:chExt cx="710520" cy="117397"/>
          </a:xfrm>
        </p:grpSpPr>
        <p:sp>
          <p:nvSpPr>
            <p:cNvPr id="1651" name="Google Shape;1651;p65"/>
            <p:cNvSpPr/>
            <p:nvPr/>
          </p:nvSpPr>
          <p:spPr>
            <a:xfrm>
              <a:off x="4411970" y="3131459"/>
              <a:ext cx="710520" cy="117397"/>
            </a:xfrm>
            <a:custGeom>
              <a:avLst/>
              <a:gdLst/>
              <a:ahLst/>
              <a:cxnLst/>
              <a:rect l="l" t="t" r="r" b="b"/>
              <a:pathLst>
                <a:path w="15736" h="2600" extrusionOk="0">
                  <a:moveTo>
                    <a:pt x="201" y="1"/>
                  </a:moveTo>
                  <a:cubicBezTo>
                    <a:pt x="90" y="1"/>
                    <a:pt x="1" y="90"/>
                    <a:pt x="1" y="201"/>
                  </a:cubicBezTo>
                  <a:lnTo>
                    <a:pt x="1" y="2400"/>
                  </a:lnTo>
                  <a:cubicBezTo>
                    <a:pt x="1" y="2510"/>
                    <a:pt x="90" y="2600"/>
                    <a:pt x="201" y="2600"/>
                  </a:cubicBezTo>
                  <a:lnTo>
                    <a:pt x="15537" y="2600"/>
                  </a:lnTo>
                  <a:cubicBezTo>
                    <a:pt x="15646" y="2600"/>
                    <a:pt x="15735" y="2510"/>
                    <a:pt x="15735" y="2400"/>
                  </a:cubicBezTo>
                  <a:lnTo>
                    <a:pt x="15735" y="201"/>
                  </a:lnTo>
                  <a:cubicBezTo>
                    <a:pt x="15735" y="90"/>
                    <a:pt x="15646" y="1"/>
                    <a:pt x="15537"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2" name="Google Shape;1652;p65"/>
            <p:cNvSpPr/>
            <p:nvPr/>
          </p:nvSpPr>
          <p:spPr>
            <a:xfrm>
              <a:off x="4411970" y="3131459"/>
              <a:ext cx="168012" cy="117397"/>
            </a:xfrm>
            <a:custGeom>
              <a:avLst/>
              <a:gdLst/>
              <a:ahLst/>
              <a:cxnLst/>
              <a:rect l="l" t="t" r="r" b="b"/>
              <a:pathLst>
                <a:path w="3721" h="2600" extrusionOk="0">
                  <a:moveTo>
                    <a:pt x="201" y="1"/>
                  </a:moveTo>
                  <a:cubicBezTo>
                    <a:pt x="90" y="1"/>
                    <a:pt x="1" y="90"/>
                    <a:pt x="1" y="201"/>
                  </a:cubicBezTo>
                  <a:lnTo>
                    <a:pt x="1" y="2400"/>
                  </a:lnTo>
                  <a:cubicBezTo>
                    <a:pt x="1" y="2510"/>
                    <a:pt x="90" y="2600"/>
                    <a:pt x="201" y="2600"/>
                  </a:cubicBezTo>
                  <a:lnTo>
                    <a:pt x="3721" y="2600"/>
                  </a:lnTo>
                  <a:lnTo>
                    <a:pt x="2925" y="1693"/>
                  </a:lnTo>
                  <a:lnTo>
                    <a:pt x="2925" y="1"/>
                  </a:lnTo>
                  <a:close/>
                </a:path>
              </a:pathLst>
            </a:custGeom>
            <a:noFill/>
            <a:ln w="9525" cap="flat" cmpd="sng">
              <a:solidFill>
                <a:srgbClr val="A5B7C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653" name="Google Shape;1653;p65" descr="Timeline background shape"/>
          <p:cNvSpPr/>
          <p:nvPr/>
        </p:nvSpPr>
        <p:spPr>
          <a:xfrm>
            <a:off x="2653501" y="5625788"/>
            <a:ext cx="1280400" cy="204000"/>
          </a:xfrm>
          <a:prstGeom prst="homePlate">
            <a:avLst>
              <a:gd name="adj" fmla="val 50000"/>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654" name="Google Shape;1654;p65"/>
          <p:cNvGrpSpPr/>
          <p:nvPr/>
        </p:nvGrpSpPr>
        <p:grpSpPr>
          <a:xfrm>
            <a:off x="1320361" y="4828804"/>
            <a:ext cx="1098451" cy="611984"/>
            <a:chOff x="4411970" y="1801825"/>
            <a:chExt cx="734586" cy="409262"/>
          </a:xfrm>
        </p:grpSpPr>
        <p:sp>
          <p:nvSpPr>
            <p:cNvPr id="1655" name="Google Shape;1655;p65"/>
            <p:cNvSpPr/>
            <p:nvPr/>
          </p:nvSpPr>
          <p:spPr>
            <a:xfrm>
              <a:off x="4411970" y="1801825"/>
              <a:ext cx="734586" cy="409262"/>
            </a:xfrm>
            <a:custGeom>
              <a:avLst/>
              <a:gdLst/>
              <a:ahLst/>
              <a:cxnLst/>
              <a:rect l="l" t="t" r="r" b="b"/>
              <a:pathLst>
                <a:path w="16269" h="9064" extrusionOk="0">
                  <a:moveTo>
                    <a:pt x="428" y="0"/>
                  </a:moveTo>
                  <a:cubicBezTo>
                    <a:pt x="193" y="0"/>
                    <a:pt x="2" y="191"/>
                    <a:pt x="2" y="428"/>
                  </a:cubicBezTo>
                  <a:lnTo>
                    <a:pt x="2" y="6900"/>
                  </a:lnTo>
                  <a:cubicBezTo>
                    <a:pt x="1" y="7136"/>
                    <a:pt x="193" y="7328"/>
                    <a:pt x="428" y="7328"/>
                  </a:cubicBezTo>
                  <a:lnTo>
                    <a:pt x="12834" y="7328"/>
                  </a:lnTo>
                  <a:lnTo>
                    <a:pt x="13836" y="9064"/>
                  </a:lnTo>
                  <a:lnTo>
                    <a:pt x="14839" y="7328"/>
                  </a:lnTo>
                  <a:lnTo>
                    <a:pt x="15839" y="7328"/>
                  </a:lnTo>
                  <a:cubicBezTo>
                    <a:pt x="16076" y="7328"/>
                    <a:pt x="16269" y="7137"/>
                    <a:pt x="16269" y="6900"/>
                  </a:cubicBezTo>
                  <a:lnTo>
                    <a:pt x="16269" y="428"/>
                  </a:lnTo>
                  <a:cubicBezTo>
                    <a:pt x="16267" y="191"/>
                    <a:pt x="16076" y="0"/>
                    <a:pt x="15839" y="0"/>
                  </a:cubicBezTo>
                  <a:close/>
                </a:path>
              </a:pathLst>
            </a:custGeom>
            <a:noFill/>
            <a:ln w="9525" cap="flat" cmpd="sng">
              <a:solidFill>
                <a:srgbClr val="B3C3CE"/>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6" name="Google Shape;1656;p65"/>
            <p:cNvSpPr/>
            <p:nvPr/>
          </p:nvSpPr>
          <p:spPr>
            <a:xfrm>
              <a:off x="4411970" y="1801825"/>
              <a:ext cx="184087" cy="330923"/>
            </a:xfrm>
            <a:custGeom>
              <a:avLst/>
              <a:gdLst/>
              <a:ahLst/>
              <a:cxnLst/>
              <a:rect l="l" t="t" r="r" b="b"/>
              <a:pathLst>
                <a:path w="4077" h="7329" extrusionOk="0">
                  <a:moveTo>
                    <a:pt x="428" y="0"/>
                  </a:moveTo>
                  <a:cubicBezTo>
                    <a:pt x="193" y="0"/>
                    <a:pt x="2" y="191"/>
                    <a:pt x="2" y="428"/>
                  </a:cubicBezTo>
                  <a:lnTo>
                    <a:pt x="2" y="6900"/>
                  </a:lnTo>
                  <a:cubicBezTo>
                    <a:pt x="1" y="7136"/>
                    <a:pt x="193" y="7328"/>
                    <a:pt x="428" y="7328"/>
                  </a:cubicBezTo>
                  <a:lnTo>
                    <a:pt x="4076" y="7328"/>
                  </a:lnTo>
                  <a:lnTo>
                    <a:pt x="407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57" name="Google Shape;1657;p65"/>
          <p:cNvGrpSpPr/>
          <p:nvPr/>
        </p:nvGrpSpPr>
        <p:grpSpPr>
          <a:xfrm>
            <a:off x="4126991" y="3118897"/>
            <a:ext cx="695352" cy="695352"/>
            <a:chOff x="5681300" y="2527788"/>
            <a:chExt cx="805800" cy="805800"/>
          </a:xfrm>
        </p:grpSpPr>
        <p:sp>
          <p:nvSpPr>
            <p:cNvPr id="1658" name="Google Shape;1658;p65"/>
            <p:cNvSpPr/>
            <p:nvPr/>
          </p:nvSpPr>
          <p:spPr>
            <a:xfrm>
              <a:off x="5681300" y="2527788"/>
              <a:ext cx="805800" cy="805800"/>
            </a:xfrm>
            <a:prstGeom prst="ellipse">
              <a:avLst/>
            </a:prstGeom>
            <a:noFill/>
            <a:ln w="9525" cap="flat" cmpd="sng">
              <a:solidFill>
                <a:srgbClr val="37495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59" name="Google Shape;1659;p65"/>
            <p:cNvSpPr/>
            <p:nvPr/>
          </p:nvSpPr>
          <p:spPr>
            <a:xfrm>
              <a:off x="5681300" y="2527788"/>
              <a:ext cx="805800" cy="805800"/>
            </a:xfrm>
            <a:prstGeom prst="pie">
              <a:avLst>
                <a:gd name="adj1" fmla="val 0"/>
                <a:gd name="adj2" fmla="val 16200000"/>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60" name="Google Shape;1660;p65"/>
          <p:cNvGrpSpPr/>
          <p:nvPr/>
        </p:nvGrpSpPr>
        <p:grpSpPr>
          <a:xfrm>
            <a:off x="4119311" y="4126487"/>
            <a:ext cx="710711" cy="710711"/>
            <a:chOff x="4049800" y="640400"/>
            <a:chExt cx="858900" cy="858900"/>
          </a:xfrm>
        </p:grpSpPr>
        <p:sp>
          <p:nvSpPr>
            <p:cNvPr id="1661" name="Google Shape;1661;p65"/>
            <p:cNvSpPr/>
            <p:nvPr/>
          </p:nvSpPr>
          <p:spPr>
            <a:xfrm>
              <a:off x="4049800" y="640400"/>
              <a:ext cx="858900" cy="858900"/>
            </a:xfrm>
            <a:prstGeom prst="donut">
              <a:avLst>
                <a:gd name="adj" fmla="val 25000"/>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2" name="Google Shape;1662;p65"/>
            <p:cNvSpPr/>
            <p:nvPr/>
          </p:nvSpPr>
          <p:spPr>
            <a:xfrm>
              <a:off x="4049800" y="640400"/>
              <a:ext cx="858900" cy="858900"/>
            </a:xfrm>
            <a:prstGeom prst="blockArc">
              <a:avLst>
                <a:gd name="adj1" fmla="val 7914150"/>
                <a:gd name="adj2" fmla="val 0"/>
                <a:gd name="adj3" fmla="val 25000"/>
              </a:avLst>
            </a:prstGeom>
            <a:solidFill>
              <a:srgbClr val="667E92"/>
            </a:solid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63" name="Google Shape;1663;p65"/>
          <p:cNvGrpSpPr/>
          <p:nvPr/>
        </p:nvGrpSpPr>
        <p:grpSpPr>
          <a:xfrm>
            <a:off x="4019955" y="5030057"/>
            <a:ext cx="909424" cy="909424"/>
            <a:chOff x="5080188" y="927900"/>
            <a:chExt cx="961200" cy="961200"/>
          </a:xfrm>
        </p:grpSpPr>
        <p:sp>
          <p:nvSpPr>
            <p:cNvPr id="1664" name="Google Shape;1664;p65"/>
            <p:cNvSpPr/>
            <p:nvPr/>
          </p:nvSpPr>
          <p:spPr>
            <a:xfrm>
              <a:off x="5201900" y="1050116"/>
              <a:ext cx="716700" cy="716700"/>
            </a:xfrm>
            <a:prstGeom prst="donut">
              <a:avLst>
                <a:gd name="adj" fmla="val 4716"/>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5" name="Google Shape;1665;p65"/>
            <p:cNvSpPr/>
            <p:nvPr/>
          </p:nvSpPr>
          <p:spPr>
            <a:xfrm>
              <a:off x="5269594" y="1117818"/>
              <a:ext cx="581100" cy="581100"/>
            </a:xfrm>
            <a:prstGeom prst="donut">
              <a:avLst>
                <a:gd name="adj" fmla="val 5814"/>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6" name="Google Shape;1666;p65"/>
            <p:cNvSpPr/>
            <p:nvPr/>
          </p:nvSpPr>
          <p:spPr>
            <a:xfrm>
              <a:off x="5339279" y="1187526"/>
              <a:ext cx="441900" cy="441600"/>
            </a:xfrm>
            <a:prstGeom prst="donut">
              <a:avLst>
                <a:gd name="adj" fmla="val 7648"/>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7" name="Google Shape;1667;p65"/>
            <p:cNvSpPr/>
            <p:nvPr/>
          </p:nvSpPr>
          <p:spPr>
            <a:xfrm>
              <a:off x="5414892" y="1263155"/>
              <a:ext cx="290700" cy="290700"/>
            </a:xfrm>
            <a:prstGeom prst="donut">
              <a:avLst>
                <a:gd name="adj" fmla="val 10182"/>
              </a:avLst>
            </a:pr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8" name="Google Shape;1668;p65"/>
            <p:cNvSpPr/>
            <p:nvPr/>
          </p:nvSpPr>
          <p:spPr>
            <a:xfrm rot="-3809958">
              <a:off x="5202435" y="1050148"/>
              <a:ext cx="716705" cy="716705"/>
            </a:xfrm>
            <a:prstGeom prst="blockArc">
              <a:avLst>
                <a:gd name="adj1" fmla="val 5266439"/>
                <a:gd name="adj2" fmla="val 19995741"/>
                <a:gd name="adj3" fmla="val 4692"/>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69" name="Google Shape;1669;p65"/>
            <p:cNvSpPr/>
            <p:nvPr/>
          </p:nvSpPr>
          <p:spPr>
            <a:xfrm rot="-3906059">
              <a:off x="5269616" y="1117617"/>
              <a:ext cx="581445" cy="581445"/>
            </a:xfrm>
            <a:prstGeom prst="blockArc">
              <a:avLst>
                <a:gd name="adj1" fmla="val 3085776"/>
                <a:gd name="adj2" fmla="val 20100839"/>
                <a:gd name="adj3" fmla="val 5564"/>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0" name="Google Shape;1670;p65"/>
            <p:cNvSpPr/>
            <p:nvPr/>
          </p:nvSpPr>
          <p:spPr>
            <a:xfrm rot="-4222340">
              <a:off x="5339825" y="1187386"/>
              <a:ext cx="442087" cy="442087"/>
            </a:xfrm>
            <a:prstGeom prst="blockArc">
              <a:avLst>
                <a:gd name="adj1" fmla="val 8884448"/>
                <a:gd name="adj2" fmla="val 20414899"/>
                <a:gd name="adj3" fmla="val 7688"/>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1" name="Google Shape;1671;p65"/>
            <p:cNvSpPr/>
            <p:nvPr/>
          </p:nvSpPr>
          <p:spPr>
            <a:xfrm rot="-4538880">
              <a:off x="5414922" y="1262925"/>
              <a:ext cx="290465" cy="290465"/>
            </a:xfrm>
            <a:prstGeom prst="blockArc">
              <a:avLst>
                <a:gd name="adj1" fmla="val 6490304"/>
                <a:gd name="adj2" fmla="val 20700625"/>
                <a:gd name="adj3" fmla="val 10156"/>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72" name="Google Shape;1672;p65"/>
          <p:cNvGrpSpPr/>
          <p:nvPr/>
        </p:nvGrpSpPr>
        <p:grpSpPr>
          <a:xfrm>
            <a:off x="5971287" y="5158979"/>
            <a:ext cx="674200" cy="672008"/>
            <a:chOff x="6039282" y="1042577"/>
            <a:chExt cx="734315" cy="731929"/>
          </a:xfrm>
        </p:grpSpPr>
        <p:sp>
          <p:nvSpPr>
            <p:cNvPr id="1673" name="Google Shape;1673;p65"/>
            <p:cNvSpPr/>
            <p:nvPr/>
          </p:nvSpPr>
          <p:spPr>
            <a:xfrm>
              <a:off x="6045348" y="1300071"/>
              <a:ext cx="131951" cy="65352"/>
            </a:xfrm>
            <a:custGeom>
              <a:avLst/>
              <a:gdLst/>
              <a:ahLst/>
              <a:cxnLst/>
              <a:rect l="l" t="t" r="r" b="b"/>
              <a:pathLst>
                <a:path w="1414" h="701" extrusionOk="0">
                  <a:moveTo>
                    <a:pt x="108" y="0"/>
                  </a:moveTo>
                  <a:lnTo>
                    <a:pt x="51" y="224"/>
                  </a:lnTo>
                  <a:cubicBezTo>
                    <a:pt x="29" y="303"/>
                    <a:pt x="7" y="375"/>
                    <a:pt x="0" y="455"/>
                  </a:cubicBezTo>
                  <a:lnTo>
                    <a:pt x="1342" y="700"/>
                  </a:lnTo>
                  <a:cubicBezTo>
                    <a:pt x="1349" y="650"/>
                    <a:pt x="1363" y="599"/>
                    <a:pt x="1378" y="549"/>
                  </a:cubicBezTo>
                  <a:lnTo>
                    <a:pt x="1414" y="397"/>
                  </a:lnTo>
                  <a:lnTo>
                    <a:pt x="108"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4" name="Google Shape;1674;p65"/>
            <p:cNvSpPr/>
            <p:nvPr/>
          </p:nvSpPr>
          <p:spPr>
            <a:xfrm>
              <a:off x="6080342" y="1201250"/>
              <a:ext cx="127938" cy="96863"/>
            </a:xfrm>
            <a:custGeom>
              <a:avLst/>
              <a:gdLst/>
              <a:ahLst/>
              <a:cxnLst/>
              <a:rect l="l" t="t" r="r" b="b"/>
              <a:pathLst>
                <a:path w="1371" h="1039" extrusionOk="0">
                  <a:moveTo>
                    <a:pt x="245" y="0"/>
                  </a:moveTo>
                  <a:cubicBezTo>
                    <a:pt x="159" y="137"/>
                    <a:pt x="72" y="267"/>
                    <a:pt x="0" y="404"/>
                  </a:cubicBezTo>
                  <a:lnTo>
                    <a:pt x="1219" y="1039"/>
                  </a:lnTo>
                  <a:cubicBezTo>
                    <a:pt x="1262" y="945"/>
                    <a:pt x="1320" y="866"/>
                    <a:pt x="1371" y="772"/>
                  </a:cubicBezTo>
                  <a:lnTo>
                    <a:pt x="245"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5" name="Google Shape;1675;p65"/>
            <p:cNvSpPr/>
            <p:nvPr/>
          </p:nvSpPr>
          <p:spPr>
            <a:xfrm>
              <a:off x="6144918" y="1121167"/>
              <a:ext cx="112541" cy="119145"/>
            </a:xfrm>
            <a:custGeom>
              <a:avLst/>
              <a:gdLst/>
              <a:ahLst/>
              <a:cxnLst/>
              <a:rect l="l" t="t" r="r" b="b"/>
              <a:pathLst>
                <a:path w="1206" h="1278" extrusionOk="0">
                  <a:moveTo>
                    <a:pt x="347" y="1"/>
                  </a:moveTo>
                  <a:cubicBezTo>
                    <a:pt x="224" y="95"/>
                    <a:pt x="116" y="210"/>
                    <a:pt x="1" y="318"/>
                  </a:cubicBezTo>
                  <a:lnTo>
                    <a:pt x="974" y="1278"/>
                  </a:lnTo>
                  <a:cubicBezTo>
                    <a:pt x="1046" y="1205"/>
                    <a:pt x="1126" y="1133"/>
                    <a:pt x="1205" y="1068"/>
                  </a:cubicBezTo>
                  <a:lnTo>
                    <a:pt x="347"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6" name="Google Shape;1676;p65"/>
            <p:cNvSpPr/>
            <p:nvPr/>
          </p:nvSpPr>
          <p:spPr>
            <a:xfrm>
              <a:off x="6232449" y="1066723"/>
              <a:ext cx="86879" cy="130518"/>
            </a:xfrm>
            <a:custGeom>
              <a:avLst/>
              <a:gdLst/>
              <a:ahLst/>
              <a:cxnLst/>
              <a:rect l="l" t="t" r="r" b="b"/>
              <a:pathLst>
                <a:path w="931" h="1400" extrusionOk="0">
                  <a:moveTo>
                    <a:pt x="426" y="1"/>
                  </a:moveTo>
                  <a:cubicBezTo>
                    <a:pt x="354" y="22"/>
                    <a:pt x="282" y="58"/>
                    <a:pt x="209" y="94"/>
                  </a:cubicBezTo>
                  <a:lnTo>
                    <a:pt x="0" y="195"/>
                  </a:lnTo>
                  <a:lnTo>
                    <a:pt x="649" y="1400"/>
                  </a:lnTo>
                  <a:lnTo>
                    <a:pt x="786" y="1335"/>
                  </a:lnTo>
                  <a:cubicBezTo>
                    <a:pt x="830" y="1306"/>
                    <a:pt x="880" y="1285"/>
                    <a:pt x="931" y="1270"/>
                  </a:cubicBezTo>
                  <a:lnTo>
                    <a:pt x="426" y="1"/>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7" name="Google Shape;1677;p65"/>
            <p:cNvSpPr/>
            <p:nvPr/>
          </p:nvSpPr>
          <p:spPr>
            <a:xfrm>
              <a:off x="6335379" y="1042577"/>
              <a:ext cx="53284" cy="130518"/>
            </a:xfrm>
            <a:custGeom>
              <a:avLst/>
              <a:gdLst/>
              <a:ahLst/>
              <a:cxnLst/>
              <a:rect l="l" t="t" r="r" b="b"/>
              <a:pathLst>
                <a:path w="571" h="1400" extrusionOk="0">
                  <a:moveTo>
                    <a:pt x="470" y="0"/>
                  </a:moveTo>
                  <a:cubicBezTo>
                    <a:pt x="390" y="0"/>
                    <a:pt x="311" y="7"/>
                    <a:pt x="239" y="22"/>
                  </a:cubicBezTo>
                  <a:lnTo>
                    <a:pt x="1" y="58"/>
                  </a:lnTo>
                  <a:lnTo>
                    <a:pt x="268" y="1399"/>
                  </a:lnTo>
                  <a:lnTo>
                    <a:pt x="419" y="1378"/>
                  </a:lnTo>
                  <a:cubicBezTo>
                    <a:pt x="470" y="1370"/>
                    <a:pt x="520" y="1363"/>
                    <a:pt x="571" y="1363"/>
                  </a:cubicBezTo>
                  <a:lnTo>
                    <a:pt x="470"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8" name="Google Shape;1678;p65"/>
            <p:cNvSpPr/>
            <p:nvPr/>
          </p:nvSpPr>
          <p:spPr>
            <a:xfrm>
              <a:off x="6431682" y="1043229"/>
              <a:ext cx="56550" cy="131824"/>
            </a:xfrm>
            <a:custGeom>
              <a:avLst/>
              <a:gdLst/>
              <a:ahLst/>
              <a:cxnLst/>
              <a:rect l="l" t="t" r="r" b="b"/>
              <a:pathLst>
                <a:path w="606" h="1414" extrusionOk="0">
                  <a:moveTo>
                    <a:pt x="144" y="0"/>
                  </a:moveTo>
                  <a:lnTo>
                    <a:pt x="0" y="1356"/>
                  </a:lnTo>
                  <a:cubicBezTo>
                    <a:pt x="101" y="1378"/>
                    <a:pt x="202" y="1385"/>
                    <a:pt x="303" y="1414"/>
                  </a:cubicBezTo>
                  <a:lnTo>
                    <a:pt x="606" y="80"/>
                  </a:lnTo>
                  <a:cubicBezTo>
                    <a:pt x="454" y="36"/>
                    <a:pt x="296" y="22"/>
                    <a:pt x="144"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79" name="Google Shape;1679;p65"/>
            <p:cNvSpPr/>
            <p:nvPr/>
          </p:nvSpPr>
          <p:spPr>
            <a:xfrm>
              <a:off x="6500924" y="1070731"/>
              <a:ext cx="89678" cy="130612"/>
            </a:xfrm>
            <a:custGeom>
              <a:avLst/>
              <a:gdLst/>
              <a:ahLst/>
              <a:cxnLst/>
              <a:rect l="l" t="t" r="r" b="b"/>
              <a:pathLst>
                <a:path w="961" h="1401" extrusionOk="0">
                  <a:moveTo>
                    <a:pt x="542" y="1"/>
                  </a:moveTo>
                  <a:lnTo>
                    <a:pt x="1" y="1256"/>
                  </a:lnTo>
                  <a:lnTo>
                    <a:pt x="138" y="1321"/>
                  </a:lnTo>
                  <a:cubicBezTo>
                    <a:pt x="181" y="1343"/>
                    <a:pt x="232" y="1371"/>
                    <a:pt x="275" y="1400"/>
                  </a:cubicBezTo>
                  <a:lnTo>
                    <a:pt x="960" y="210"/>
                  </a:lnTo>
                  <a:cubicBezTo>
                    <a:pt x="895" y="174"/>
                    <a:pt x="823" y="131"/>
                    <a:pt x="751" y="102"/>
                  </a:cubicBezTo>
                  <a:lnTo>
                    <a:pt x="542"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0" name="Google Shape;1680;p65"/>
            <p:cNvSpPr/>
            <p:nvPr/>
          </p:nvSpPr>
          <p:spPr>
            <a:xfrm>
              <a:off x="6561580" y="1127973"/>
              <a:ext cx="114501" cy="117746"/>
            </a:xfrm>
            <a:custGeom>
              <a:avLst/>
              <a:gdLst/>
              <a:ahLst/>
              <a:cxnLst/>
              <a:rect l="l" t="t" r="r" b="b"/>
              <a:pathLst>
                <a:path w="1227" h="1263" extrusionOk="0">
                  <a:moveTo>
                    <a:pt x="887" y="0"/>
                  </a:moveTo>
                  <a:lnTo>
                    <a:pt x="0" y="1046"/>
                  </a:lnTo>
                  <a:cubicBezTo>
                    <a:pt x="79" y="1111"/>
                    <a:pt x="152" y="1183"/>
                    <a:pt x="224" y="1262"/>
                  </a:cubicBezTo>
                  <a:lnTo>
                    <a:pt x="1226" y="332"/>
                  </a:lnTo>
                  <a:cubicBezTo>
                    <a:pt x="1118" y="209"/>
                    <a:pt x="1003" y="101"/>
                    <a:pt x="887" y="0"/>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1" name="Google Shape;1681;p65"/>
            <p:cNvSpPr/>
            <p:nvPr/>
          </p:nvSpPr>
          <p:spPr>
            <a:xfrm>
              <a:off x="6636887" y="1310792"/>
              <a:ext cx="132697" cy="61996"/>
            </a:xfrm>
            <a:custGeom>
              <a:avLst/>
              <a:gdLst/>
              <a:ahLst/>
              <a:cxnLst/>
              <a:rect l="l" t="t" r="r" b="b"/>
              <a:pathLst>
                <a:path w="1422" h="665" extrusionOk="0">
                  <a:moveTo>
                    <a:pt x="1321" y="1"/>
                  </a:moveTo>
                  <a:lnTo>
                    <a:pt x="1" y="361"/>
                  </a:lnTo>
                  <a:lnTo>
                    <a:pt x="44" y="506"/>
                  </a:lnTo>
                  <a:cubicBezTo>
                    <a:pt x="51" y="556"/>
                    <a:pt x="59" y="614"/>
                    <a:pt x="66" y="664"/>
                  </a:cubicBezTo>
                  <a:lnTo>
                    <a:pt x="1422" y="462"/>
                  </a:lnTo>
                  <a:cubicBezTo>
                    <a:pt x="1407" y="383"/>
                    <a:pt x="1400" y="304"/>
                    <a:pt x="1378" y="232"/>
                  </a:cubicBezTo>
                  <a:lnTo>
                    <a:pt x="1321"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2" name="Google Shape;1682;p65"/>
            <p:cNvSpPr/>
            <p:nvPr/>
          </p:nvSpPr>
          <p:spPr>
            <a:xfrm>
              <a:off x="6642953" y="1415020"/>
              <a:ext cx="130645" cy="47826"/>
            </a:xfrm>
            <a:custGeom>
              <a:avLst/>
              <a:gdLst/>
              <a:ahLst/>
              <a:cxnLst/>
              <a:rect l="l" t="t" r="r" b="b"/>
              <a:pathLst>
                <a:path w="1400" h="513" extrusionOk="0">
                  <a:moveTo>
                    <a:pt x="30" y="1"/>
                  </a:moveTo>
                  <a:cubicBezTo>
                    <a:pt x="30" y="109"/>
                    <a:pt x="15" y="210"/>
                    <a:pt x="1" y="311"/>
                  </a:cubicBezTo>
                  <a:lnTo>
                    <a:pt x="1357" y="513"/>
                  </a:lnTo>
                  <a:cubicBezTo>
                    <a:pt x="1378" y="354"/>
                    <a:pt x="1393" y="203"/>
                    <a:pt x="1400" y="44"/>
                  </a:cubicBezTo>
                  <a:lnTo>
                    <a:pt x="30"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3" name="Google Shape;1683;p65"/>
            <p:cNvSpPr/>
            <p:nvPr/>
          </p:nvSpPr>
          <p:spPr>
            <a:xfrm>
              <a:off x="6622143" y="1485687"/>
              <a:ext cx="131951" cy="81388"/>
            </a:xfrm>
            <a:custGeom>
              <a:avLst/>
              <a:gdLst/>
              <a:ahLst/>
              <a:cxnLst/>
              <a:rect l="l" t="t" r="r" b="b"/>
              <a:pathLst>
                <a:path w="1414" h="873" extrusionOk="0">
                  <a:moveTo>
                    <a:pt x="123" y="0"/>
                  </a:moveTo>
                  <a:lnTo>
                    <a:pt x="65" y="144"/>
                  </a:lnTo>
                  <a:cubicBezTo>
                    <a:pt x="51" y="195"/>
                    <a:pt x="22" y="238"/>
                    <a:pt x="0" y="281"/>
                  </a:cubicBezTo>
                  <a:lnTo>
                    <a:pt x="1234" y="873"/>
                  </a:lnTo>
                  <a:cubicBezTo>
                    <a:pt x="1270" y="801"/>
                    <a:pt x="1306" y="736"/>
                    <a:pt x="1335" y="664"/>
                  </a:cubicBezTo>
                  <a:lnTo>
                    <a:pt x="1414" y="440"/>
                  </a:lnTo>
                  <a:lnTo>
                    <a:pt x="123"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4" name="Google Shape;1684;p65"/>
            <p:cNvSpPr/>
            <p:nvPr/>
          </p:nvSpPr>
          <p:spPr>
            <a:xfrm>
              <a:off x="6582390" y="1548895"/>
              <a:ext cx="121219" cy="108983"/>
            </a:xfrm>
            <a:custGeom>
              <a:avLst/>
              <a:gdLst/>
              <a:ahLst/>
              <a:cxnLst/>
              <a:rect l="l" t="t" r="r" b="b"/>
              <a:pathLst>
                <a:path w="1299" h="1169" extrusionOk="0">
                  <a:moveTo>
                    <a:pt x="195" y="0"/>
                  </a:moveTo>
                  <a:lnTo>
                    <a:pt x="102" y="123"/>
                  </a:lnTo>
                  <a:lnTo>
                    <a:pt x="1" y="238"/>
                  </a:lnTo>
                  <a:lnTo>
                    <a:pt x="1003" y="1168"/>
                  </a:lnTo>
                  <a:lnTo>
                    <a:pt x="1155" y="988"/>
                  </a:lnTo>
                  <a:lnTo>
                    <a:pt x="1299" y="801"/>
                  </a:lnTo>
                  <a:lnTo>
                    <a:pt x="195"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5" name="Google Shape;1685;p65"/>
            <p:cNvSpPr/>
            <p:nvPr/>
          </p:nvSpPr>
          <p:spPr>
            <a:xfrm>
              <a:off x="6526586" y="1599238"/>
              <a:ext cx="100316" cy="126510"/>
            </a:xfrm>
            <a:custGeom>
              <a:avLst/>
              <a:gdLst/>
              <a:ahLst/>
              <a:cxnLst/>
              <a:rect l="l" t="t" r="r" b="b"/>
              <a:pathLst>
                <a:path w="1075" h="1357" extrusionOk="0">
                  <a:moveTo>
                    <a:pt x="252" y="1"/>
                  </a:moveTo>
                  <a:cubicBezTo>
                    <a:pt x="209" y="37"/>
                    <a:pt x="173" y="66"/>
                    <a:pt x="130" y="95"/>
                  </a:cubicBezTo>
                  <a:lnTo>
                    <a:pt x="0" y="174"/>
                  </a:lnTo>
                  <a:lnTo>
                    <a:pt x="685" y="1357"/>
                  </a:lnTo>
                  <a:lnTo>
                    <a:pt x="880" y="1234"/>
                  </a:lnTo>
                  <a:cubicBezTo>
                    <a:pt x="952" y="1191"/>
                    <a:pt x="1010" y="1141"/>
                    <a:pt x="1075" y="1097"/>
                  </a:cubicBezTo>
                  <a:lnTo>
                    <a:pt x="252"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6" name="Google Shape;1686;p65"/>
            <p:cNvSpPr/>
            <p:nvPr/>
          </p:nvSpPr>
          <p:spPr>
            <a:xfrm>
              <a:off x="6459957" y="1632893"/>
              <a:ext cx="70735" cy="132570"/>
            </a:xfrm>
            <a:custGeom>
              <a:avLst/>
              <a:gdLst/>
              <a:ahLst/>
              <a:cxnLst/>
              <a:rect l="l" t="t" r="r" b="b"/>
              <a:pathLst>
                <a:path w="758" h="1422" extrusionOk="0">
                  <a:moveTo>
                    <a:pt x="296" y="1"/>
                  </a:moveTo>
                  <a:cubicBezTo>
                    <a:pt x="195" y="37"/>
                    <a:pt x="101" y="73"/>
                    <a:pt x="0" y="94"/>
                  </a:cubicBezTo>
                  <a:lnTo>
                    <a:pt x="303" y="1421"/>
                  </a:lnTo>
                  <a:cubicBezTo>
                    <a:pt x="454" y="1393"/>
                    <a:pt x="606" y="1342"/>
                    <a:pt x="757" y="1292"/>
                  </a:cubicBezTo>
                  <a:lnTo>
                    <a:pt x="296" y="1"/>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7" name="Google Shape;1687;p65"/>
            <p:cNvSpPr/>
            <p:nvPr/>
          </p:nvSpPr>
          <p:spPr>
            <a:xfrm>
              <a:off x="6379145" y="1646318"/>
              <a:ext cx="43859" cy="128188"/>
            </a:xfrm>
            <a:custGeom>
              <a:avLst/>
              <a:gdLst/>
              <a:ahLst/>
              <a:cxnLst/>
              <a:rect l="l" t="t" r="r" b="b"/>
              <a:pathLst>
                <a:path w="470" h="1375" extrusionOk="0">
                  <a:moveTo>
                    <a:pt x="102" y="1"/>
                  </a:moveTo>
                  <a:lnTo>
                    <a:pt x="1" y="1364"/>
                  </a:lnTo>
                  <a:cubicBezTo>
                    <a:pt x="113" y="1369"/>
                    <a:pt x="221" y="1374"/>
                    <a:pt x="331" y="1374"/>
                  </a:cubicBezTo>
                  <a:cubicBezTo>
                    <a:pt x="377" y="1374"/>
                    <a:pt x="423" y="1373"/>
                    <a:pt x="469" y="1371"/>
                  </a:cubicBezTo>
                  <a:lnTo>
                    <a:pt x="412" y="1"/>
                  </a:lnTo>
                  <a:cubicBezTo>
                    <a:pt x="361" y="4"/>
                    <a:pt x="309" y="6"/>
                    <a:pt x="257" y="6"/>
                  </a:cubicBezTo>
                  <a:cubicBezTo>
                    <a:pt x="204" y="6"/>
                    <a:pt x="152" y="4"/>
                    <a:pt x="102"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8" name="Google Shape;1688;p65"/>
            <p:cNvSpPr/>
            <p:nvPr/>
          </p:nvSpPr>
          <p:spPr>
            <a:xfrm>
              <a:off x="6272109" y="1630842"/>
              <a:ext cx="74187" cy="131917"/>
            </a:xfrm>
            <a:custGeom>
              <a:avLst/>
              <a:gdLst/>
              <a:ahLst/>
              <a:cxnLst/>
              <a:rect l="l" t="t" r="r" b="b"/>
              <a:pathLst>
                <a:path w="795" h="1415" extrusionOk="0">
                  <a:moveTo>
                    <a:pt x="506" y="1"/>
                  </a:moveTo>
                  <a:lnTo>
                    <a:pt x="1" y="1270"/>
                  </a:lnTo>
                  <a:cubicBezTo>
                    <a:pt x="145" y="1328"/>
                    <a:pt x="296" y="1379"/>
                    <a:pt x="448" y="1415"/>
                  </a:cubicBezTo>
                  <a:lnTo>
                    <a:pt x="794" y="95"/>
                  </a:lnTo>
                  <a:cubicBezTo>
                    <a:pt x="693" y="66"/>
                    <a:pt x="599" y="37"/>
                    <a:pt x="5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89" name="Google Shape;1689;p65"/>
            <p:cNvSpPr/>
            <p:nvPr/>
          </p:nvSpPr>
          <p:spPr>
            <a:xfrm>
              <a:off x="6177205" y="1595229"/>
              <a:ext cx="103769" cy="125205"/>
            </a:xfrm>
            <a:custGeom>
              <a:avLst/>
              <a:gdLst/>
              <a:ahLst/>
              <a:cxnLst/>
              <a:rect l="l" t="t" r="r" b="b"/>
              <a:pathLst>
                <a:path w="1112" h="1343" extrusionOk="0">
                  <a:moveTo>
                    <a:pt x="859" y="1"/>
                  </a:moveTo>
                  <a:lnTo>
                    <a:pt x="1" y="1068"/>
                  </a:lnTo>
                  <a:cubicBezTo>
                    <a:pt x="123" y="1169"/>
                    <a:pt x="253" y="1256"/>
                    <a:pt x="390" y="1342"/>
                  </a:cubicBezTo>
                  <a:lnTo>
                    <a:pt x="1112" y="174"/>
                  </a:lnTo>
                  <a:cubicBezTo>
                    <a:pt x="1018" y="123"/>
                    <a:pt x="938" y="66"/>
                    <a:pt x="859"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0" name="Google Shape;1690;p65"/>
            <p:cNvSpPr/>
            <p:nvPr/>
          </p:nvSpPr>
          <p:spPr>
            <a:xfrm>
              <a:off x="6103205" y="1542835"/>
              <a:ext cx="123272" cy="106932"/>
            </a:xfrm>
            <a:custGeom>
              <a:avLst/>
              <a:gdLst/>
              <a:ahLst/>
              <a:cxnLst/>
              <a:rect l="l" t="t" r="r" b="b"/>
              <a:pathLst>
                <a:path w="1321" h="1147" extrusionOk="0">
                  <a:moveTo>
                    <a:pt x="1126" y="0"/>
                  </a:moveTo>
                  <a:lnTo>
                    <a:pt x="0" y="772"/>
                  </a:lnTo>
                  <a:lnTo>
                    <a:pt x="137" y="959"/>
                  </a:lnTo>
                  <a:lnTo>
                    <a:pt x="210" y="1053"/>
                  </a:lnTo>
                  <a:lnTo>
                    <a:pt x="289" y="1147"/>
                  </a:lnTo>
                  <a:lnTo>
                    <a:pt x="1320" y="245"/>
                  </a:lnTo>
                  <a:lnTo>
                    <a:pt x="1263" y="188"/>
                  </a:lnTo>
                  <a:lnTo>
                    <a:pt x="1219" y="123"/>
                  </a:lnTo>
                  <a:lnTo>
                    <a:pt x="1126" y="0"/>
                  </a:ln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1" name="Google Shape;1691;p65"/>
            <p:cNvSpPr/>
            <p:nvPr/>
          </p:nvSpPr>
          <p:spPr>
            <a:xfrm>
              <a:off x="6055426" y="1478881"/>
              <a:ext cx="131951" cy="78777"/>
            </a:xfrm>
            <a:custGeom>
              <a:avLst/>
              <a:gdLst/>
              <a:ahLst/>
              <a:cxnLst/>
              <a:rect l="l" t="t" r="r" b="b"/>
              <a:pathLst>
                <a:path w="1414" h="845" extrusionOk="0">
                  <a:moveTo>
                    <a:pt x="1306" y="1"/>
                  </a:moveTo>
                  <a:lnTo>
                    <a:pt x="0" y="405"/>
                  </a:lnTo>
                  <a:cubicBezTo>
                    <a:pt x="51" y="549"/>
                    <a:pt x="101" y="701"/>
                    <a:pt x="166" y="845"/>
                  </a:cubicBezTo>
                  <a:lnTo>
                    <a:pt x="1414" y="282"/>
                  </a:lnTo>
                  <a:cubicBezTo>
                    <a:pt x="1371" y="196"/>
                    <a:pt x="1342" y="95"/>
                    <a:pt x="1306"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2" name="Google Shape;1692;p65"/>
            <p:cNvSpPr/>
            <p:nvPr/>
          </p:nvSpPr>
          <p:spPr>
            <a:xfrm>
              <a:off x="6039282" y="1408308"/>
              <a:ext cx="129338" cy="43817"/>
            </a:xfrm>
            <a:custGeom>
              <a:avLst/>
              <a:gdLst/>
              <a:ahLst/>
              <a:cxnLst/>
              <a:rect l="l" t="t" r="r" b="b"/>
              <a:pathLst>
                <a:path w="1386" h="470" extrusionOk="0">
                  <a:moveTo>
                    <a:pt x="0" y="1"/>
                  </a:moveTo>
                  <a:cubicBezTo>
                    <a:pt x="7" y="152"/>
                    <a:pt x="7" y="311"/>
                    <a:pt x="29" y="469"/>
                  </a:cubicBezTo>
                  <a:lnTo>
                    <a:pt x="1385" y="304"/>
                  </a:lnTo>
                  <a:cubicBezTo>
                    <a:pt x="1371" y="203"/>
                    <a:pt x="1378" y="102"/>
                    <a:pt x="1363" y="1"/>
                  </a:cubicBezTo>
                  <a:close/>
                </a:path>
              </a:pathLst>
            </a:custGeom>
            <a:solidFill>
              <a:srgbClr val="5F7D95"/>
            </a:solidFill>
            <a:ln w="9525"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3" name="Google Shape;1693;p65"/>
            <p:cNvSpPr/>
            <p:nvPr/>
          </p:nvSpPr>
          <p:spPr>
            <a:xfrm>
              <a:off x="6608612" y="1210666"/>
              <a:ext cx="128685" cy="93507"/>
            </a:xfrm>
            <a:custGeom>
              <a:avLst/>
              <a:gdLst/>
              <a:ahLst/>
              <a:cxnLst/>
              <a:rect l="l" t="t" r="r" b="b"/>
              <a:pathLst>
                <a:path w="1379" h="1003" extrusionOk="0">
                  <a:moveTo>
                    <a:pt x="1155" y="0"/>
                  </a:moveTo>
                  <a:lnTo>
                    <a:pt x="1" y="736"/>
                  </a:lnTo>
                  <a:lnTo>
                    <a:pt x="80" y="866"/>
                  </a:lnTo>
                  <a:cubicBezTo>
                    <a:pt x="102" y="909"/>
                    <a:pt x="131" y="959"/>
                    <a:pt x="145" y="1003"/>
                  </a:cubicBezTo>
                  <a:lnTo>
                    <a:pt x="1379" y="411"/>
                  </a:lnTo>
                  <a:cubicBezTo>
                    <a:pt x="1342" y="339"/>
                    <a:pt x="1314" y="267"/>
                    <a:pt x="1278" y="202"/>
                  </a:cubicBezTo>
                  <a:lnTo>
                    <a:pt x="1155" y="0"/>
                  </a:ln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94" name="Google Shape;1694;p65"/>
          <p:cNvGrpSpPr/>
          <p:nvPr/>
        </p:nvGrpSpPr>
        <p:grpSpPr>
          <a:xfrm>
            <a:off x="6788089" y="3065149"/>
            <a:ext cx="756992" cy="802848"/>
            <a:chOff x="1825800" y="1651625"/>
            <a:chExt cx="539989" cy="571775"/>
          </a:xfrm>
        </p:grpSpPr>
        <p:sp>
          <p:nvSpPr>
            <p:cNvPr id="1695" name="Google Shape;1695;p65"/>
            <p:cNvSpPr/>
            <p:nvPr/>
          </p:nvSpPr>
          <p:spPr>
            <a:xfrm>
              <a:off x="2093189" y="1651625"/>
              <a:ext cx="272600" cy="287950"/>
            </a:xfrm>
            <a:custGeom>
              <a:avLst/>
              <a:gdLst/>
              <a:ahLst/>
              <a:cxnLst/>
              <a:rect l="l" t="t" r="r" b="b"/>
              <a:pathLst>
                <a:path w="10904" h="11518" extrusionOk="0">
                  <a:moveTo>
                    <a:pt x="2" y="1"/>
                  </a:moveTo>
                  <a:lnTo>
                    <a:pt x="0" y="11518"/>
                  </a:lnTo>
                  <a:lnTo>
                    <a:pt x="10904" y="11518"/>
                  </a:lnTo>
                  <a:cubicBezTo>
                    <a:pt x="10391" y="5596"/>
                    <a:pt x="5836" y="826"/>
                    <a:pt x="2" y="1"/>
                  </a:cubicBez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6" name="Google Shape;1696;p65"/>
            <p:cNvSpPr/>
            <p:nvPr/>
          </p:nvSpPr>
          <p:spPr>
            <a:xfrm>
              <a:off x="1825800" y="1967150"/>
              <a:ext cx="231900" cy="233575"/>
            </a:xfrm>
            <a:custGeom>
              <a:avLst/>
              <a:gdLst/>
              <a:ahLst/>
              <a:cxnLst/>
              <a:rect l="l" t="t" r="r" b="b"/>
              <a:pathLst>
                <a:path w="9276" h="9343" extrusionOk="0">
                  <a:moveTo>
                    <a:pt x="0" y="1"/>
                  </a:moveTo>
                  <a:cubicBezTo>
                    <a:pt x="465" y="4930"/>
                    <a:pt x="4350" y="8842"/>
                    <a:pt x="9275" y="9343"/>
                  </a:cubicBezTo>
                  <a:lnTo>
                    <a:pt x="9275" y="1"/>
                  </a:lnTo>
                  <a:close/>
                </a:path>
              </a:pathLst>
            </a:custGeom>
            <a:noFill/>
            <a:ln w="9525" cap="flat" cmpd="sng">
              <a:solidFill>
                <a:srgbClr val="445D7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7" name="Google Shape;1697;p65"/>
            <p:cNvSpPr/>
            <p:nvPr/>
          </p:nvSpPr>
          <p:spPr>
            <a:xfrm>
              <a:off x="2093189" y="1967150"/>
              <a:ext cx="244350" cy="256250"/>
            </a:xfrm>
            <a:custGeom>
              <a:avLst/>
              <a:gdLst/>
              <a:ahLst/>
              <a:cxnLst/>
              <a:rect l="l" t="t" r="r" b="b"/>
              <a:pathLst>
                <a:path w="9774" h="10250" extrusionOk="0">
                  <a:moveTo>
                    <a:pt x="0" y="1"/>
                  </a:moveTo>
                  <a:lnTo>
                    <a:pt x="0" y="10249"/>
                  </a:lnTo>
                  <a:cubicBezTo>
                    <a:pt x="5200" y="9514"/>
                    <a:pt x="9280" y="5280"/>
                    <a:pt x="9773" y="1"/>
                  </a:cubicBezTo>
                  <a:close/>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698" name="Google Shape;1698;p65"/>
            <p:cNvSpPr/>
            <p:nvPr/>
          </p:nvSpPr>
          <p:spPr>
            <a:xfrm>
              <a:off x="1851375" y="1730300"/>
              <a:ext cx="206325" cy="209275"/>
            </a:xfrm>
            <a:custGeom>
              <a:avLst/>
              <a:gdLst/>
              <a:ahLst/>
              <a:cxnLst/>
              <a:rect l="l" t="t" r="r" b="b"/>
              <a:pathLst>
                <a:path w="8253" h="8371" extrusionOk="0">
                  <a:moveTo>
                    <a:pt x="8252" y="1"/>
                  </a:moveTo>
                  <a:cubicBezTo>
                    <a:pt x="3865" y="441"/>
                    <a:pt x="383" y="3959"/>
                    <a:pt x="1" y="8371"/>
                  </a:cubicBezTo>
                  <a:lnTo>
                    <a:pt x="8252" y="8371"/>
                  </a:lnTo>
                  <a:lnTo>
                    <a:pt x="8252" y="1"/>
                  </a:lnTo>
                  <a:close/>
                </a:path>
              </a:pathLst>
            </a:custGeom>
            <a:noFill/>
            <a:ln w="9525" cap="flat" cmpd="sng">
              <a:solidFill>
                <a:srgbClr val="869FB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699" name="Google Shape;1699;p65"/>
          <p:cNvGrpSpPr/>
          <p:nvPr/>
        </p:nvGrpSpPr>
        <p:grpSpPr>
          <a:xfrm>
            <a:off x="5021328" y="5140773"/>
            <a:ext cx="677497" cy="677273"/>
            <a:chOff x="1897577" y="2802432"/>
            <a:chExt cx="492176" cy="492014"/>
          </a:xfrm>
        </p:grpSpPr>
        <p:sp>
          <p:nvSpPr>
            <p:cNvPr id="1700" name="Google Shape;1700;p65"/>
            <p:cNvSpPr/>
            <p:nvPr/>
          </p:nvSpPr>
          <p:spPr>
            <a:xfrm>
              <a:off x="2067309" y="2802432"/>
              <a:ext cx="152163" cy="136326"/>
            </a:xfrm>
            <a:custGeom>
              <a:avLst/>
              <a:gdLst/>
              <a:ahLst/>
              <a:cxnLst/>
              <a:rect l="l" t="t" r="r" b="b"/>
              <a:pathLst>
                <a:path w="9435" h="8453" extrusionOk="0">
                  <a:moveTo>
                    <a:pt x="4727" y="1"/>
                  </a:moveTo>
                  <a:cubicBezTo>
                    <a:pt x="3131" y="1"/>
                    <a:pt x="1537" y="250"/>
                    <a:pt x="0" y="751"/>
                  </a:cubicBezTo>
                  <a:lnTo>
                    <a:pt x="2502" y="8452"/>
                  </a:lnTo>
                  <a:cubicBezTo>
                    <a:pt x="3225" y="8211"/>
                    <a:pt x="3983" y="8097"/>
                    <a:pt x="4740" y="8097"/>
                  </a:cubicBezTo>
                  <a:cubicBezTo>
                    <a:pt x="5486" y="8097"/>
                    <a:pt x="6221" y="8211"/>
                    <a:pt x="6932" y="8441"/>
                  </a:cubicBezTo>
                  <a:lnTo>
                    <a:pt x="9434" y="740"/>
                  </a:lnTo>
                  <a:cubicBezTo>
                    <a:pt x="7901" y="248"/>
                    <a:pt x="6313" y="1"/>
                    <a:pt x="4727"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1" name="Google Shape;1701;p65"/>
            <p:cNvSpPr/>
            <p:nvPr/>
          </p:nvSpPr>
          <p:spPr>
            <a:xfrm>
              <a:off x="2179099" y="2814350"/>
              <a:ext cx="163452" cy="166049"/>
            </a:xfrm>
            <a:custGeom>
              <a:avLst/>
              <a:gdLst/>
              <a:ahLst/>
              <a:cxnLst/>
              <a:rect l="l" t="t" r="r" b="b"/>
              <a:pathLst>
                <a:path w="10135" h="10296" extrusionOk="0">
                  <a:moveTo>
                    <a:pt x="2491" y="1"/>
                  </a:moveTo>
                  <a:lnTo>
                    <a:pt x="0" y="7702"/>
                  </a:lnTo>
                  <a:cubicBezTo>
                    <a:pt x="1435" y="8161"/>
                    <a:pt x="2686" y="9079"/>
                    <a:pt x="3581" y="10296"/>
                  </a:cubicBezTo>
                  <a:lnTo>
                    <a:pt x="10135" y="5533"/>
                  </a:lnTo>
                  <a:cubicBezTo>
                    <a:pt x="8230" y="2927"/>
                    <a:pt x="5555" y="988"/>
                    <a:pt x="2491"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2" name="Google Shape;1702;p65"/>
            <p:cNvSpPr/>
            <p:nvPr/>
          </p:nvSpPr>
          <p:spPr>
            <a:xfrm>
              <a:off x="2236848" y="3048492"/>
              <a:ext cx="152905" cy="144760"/>
            </a:xfrm>
            <a:custGeom>
              <a:avLst/>
              <a:gdLst/>
              <a:ahLst/>
              <a:cxnLst/>
              <a:rect l="l" t="t" r="r" b="b"/>
              <a:pathLst>
                <a:path w="9481" h="8976" extrusionOk="0">
                  <a:moveTo>
                    <a:pt x="1377" y="0"/>
                  </a:moveTo>
                  <a:cubicBezTo>
                    <a:pt x="1377" y="1515"/>
                    <a:pt x="895" y="2996"/>
                    <a:pt x="0" y="4212"/>
                  </a:cubicBezTo>
                  <a:lnTo>
                    <a:pt x="6554" y="8976"/>
                  </a:lnTo>
                  <a:cubicBezTo>
                    <a:pt x="8459" y="6370"/>
                    <a:pt x="9480" y="3225"/>
                    <a:pt x="9480"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3" name="Google Shape;1703;p65"/>
            <p:cNvSpPr/>
            <p:nvPr/>
          </p:nvSpPr>
          <p:spPr>
            <a:xfrm>
              <a:off x="1944586" y="2814543"/>
              <a:ext cx="163097" cy="166226"/>
            </a:xfrm>
            <a:custGeom>
              <a:avLst/>
              <a:gdLst/>
              <a:ahLst/>
              <a:cxnLst/>
              <a:rect l="l" t="t" r="r" b="b"/>
              <a:pathLst>
                <a:path w="10113" h="10307" extrusionOk="0">
                  <a:moveTo>
                    <a:pt x="7610" y="0"/>
                  </a:moveTo>
                  <a:cubicBezTo>
                    <a:pt x="4557" y="999"/>
                    <a:pt x="1883" y="2938"/>
                    <a:pt x="1" y="5544"/>
                  </a:cubicBezTo>
                  <a:lnTo>
                    <a:pt x="6554" y="10307"/>
                  </a:lnTo>
                  <a:cubicBezTo>
                    <a:pt x="7438" y="9090"/>
                    <a:pt x="8677" y="8172"/>
                    <a:pt x="10112" y="7701"/>
                  </a:cubicBezTo>
                  <a:lnTo>
                    <a:pt x="761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4" name="Google Shape;1704;p65"/>
            <p:cNvSpPr/>
            <p:nvPr/>
          </p:nvSpPr>
          <p:spPr>
            <a:xfrm>
              <a:off x="2236848" y="2903562"/>
              <a:ext cx="152905" cy="144954"/>
            </a:xfrm>
            <a:custGeom>
              <a:avLst/>
              <a:gdLst/>
              <a:ahLst/>
              <a:cxnLst/>
              <a:rect l="l" t="t" r="r" b="b"/>
              <a:pathLst>
                <a:path w="9481" h="8988" extrusionOk="0">
                  <a:moveTo>
                    <a:pt x="6554" y="1"/>
                  </a:moveTo>
                  <a:lnTo>
                    <a:pt x="0" y="4764"/>
                  </a:lnTo>
                  <a:cubicBezTo>
                    <a:pt x="895" y="5992"/>
                    <a:pt x="1377" y="7472"/>
                    <a:pt x="1377" y="8987"/>
                  </a:cubicBezTo>
                  <a:lnTo>
                    <a:pt x="9469" y="8987"/>
                  </a:lnTo>
                  <a:cubicBezTo>
                    <a:pt x="9480" y="5751"/>
                    <a:pt x="8459" y="2606"/>
                    <a:pt x="6554"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5" name="Google Shape;1705;p65"/>
            <p:cNvSpPr/>
            <p:nvPr/>
          </p:nvSpPr>
          <p:spPr>
            <a:xfrm>
              <a:off x="2179099" y="3116417"/>
              <a:ext cx="163452" cy="166242"/>
            </a:xfrm>
            <a:custGeom>
              <a:avLst/>
              <a:gdLst/>
              <a:ahLst/>
              <a:cxnLst/>
              <a:rect l="l" t="t" r="r" b="b"/>
              <a:pathLst>
                <a:path w="10135" h="10308" extrusionOk="0">
                  <a:moveTo>
                    <a:pt x="3581" y="0"/>
                  </a:moveTo>
                  <a:cubicBezTo>
                    <a:pt x="2686" y="1229"/>
                    <a:pt x="1435" y="2135"/>
                    <a:pt x="0" y="2594"/>
                  </a:cubicBezTo>
                  <a:lnTo>
                    <a:pt x="2502" y="10307"/>
                  </a:lnTo>
                  <a:cubicBezTo>
                    <a:pt x="5567" y="9309"/>
                    <a:pt x="8241" y="7369"/>
                    <a:pt x="10135" y="4764"/>
                  </a:cubicBezTo>
                  <a:lnTo>
                    <a:pt x="3581"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6" name="Google Shape;1706;p65"/>
            <p:cNvSpPr/>
            <p:nvPr/>
          </p:nvSpPr>
          <p:spPr>
            <a:xfrm>
              <a:off x="1897577" y="2903933"/>
              <a:ext cx="152727" cy="144583"/>
            </a:xfrm>
            <a:custGeom>
              <a:avLst/>
              <a:gdLst/>
              <a:ahLst/>
              <a:cxnLst/>
              <a:rect l="l" t="t" r="r" b="b"/>
              <a:pathLst>
                <a:path w="9470" h="8965" extrusionOk="0">
                  <a:moveTo>
                    <a:pt x="2916" y="1"/>
                  </a:moveTo>
                  <a:cubicBezTo>
                    <a:pt x="1022" y="2606"/>
                    <a:pt x="0" y="5739"/>
                    <a:pt x="12" y="8964"/>
                  </a:cubicBezTo>
                  <a:lnTo>
                    <a:pt x="8103" y="8964"/>
                  </a:lnTo>
                  <a:cubicBezTo>
                    <a:pt x="8103" y="7449"/>
                    <a:pt x="8574" y="5980"/>
                    <a:pt x="9469" y="4764"/>
                  </a:cubicBezTo>
                  <a:lnTo>
                    <a:pt x="2916" y="1"/>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7" name="Google Shape;1707;p65"/>
            <p:cNvSpPr/>
            <p:nvPr/>
          </p:nvSpPr>
          <p:spPr>
            <a:xfrm>
              <a:off x="2067309" y="3158056"/>
              <a:ext cx="152163" cy="136390"/>
            </a:xfrm>
            <a:custGeom>
              <a:avLst/>
              <a:gdLst/>
              <a:ahLst/>
              <a:cxnLst/>
              <a:rect l="l" t="t" r="r" b="b"/>
              <a:pathLst>
                <a:path w="9435" h="8457" extrusionOk="0">
                  <a:moveTo>
                    <a:pt x="2502" y="1"/>
                  </a:moveTo>
                  <a:lnTo>
                    <a:pt x="0" y="7702"/>
                  </a:lnTo>
                  <a:cubicBezTo>
                    <a:pt x="1541" y="8204"/>
                    <a:pt x="3140" y="8457"/>
                    <a:pt x="4740" y="8457"/>
                  </a:cubicBezTo>
                  <a:cubicBezTo>
                    <a:pt x="6322" y="8457"/>
                    <a:pt x="7905" y="8210"/>
                    <a:pt x="9434" y="7714"/>
                  </a:cubicBezTo>
                  <a:lnTo>
                    <a:pt x="6932" y="12"/>
                  </a:lnTo>
                  <a:cubicBezTo>
                    <a:pt x="6221" y="242"/>
                    <a:pt x="5475" y="357"/>
                    <a:pt x="4740" y="357"/>
                  </a:cubicBezTo>
                  <a:cubicBezTo>
                    <a:pt x="3983" y="357"/>
                    <a:pt x="3225" y="242"/>
                    <a:pt x="2502"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8" name="Google Shape;1708;p65"/>
            <p:cNvSpPr/>
            <p:nvPr/>
          </p:nvSpPr>
          <p:spPr>
            <a:xfrm>
              <a:off x="1944586" y="3116046"/>
              <a:ext cx="163097" cy="166242"/>
            </a:xfrm>
            <a:custGeom>
              <a:avLst/>
              <a:gdLst/>
              <a:ahLst/>
              <a:cxnLst/>
              <a:rect l="l" t="t" r="r" b="b"/>
              <a:pathLst>
                <a:path w="10113" h="10308" extrusionOk="0">
                  <a:moveTo>
                    <a:pt x="6554" y="1"/>
                  </a:moveTo>
                  <a:lnTo>
                    <a:pt x="1" y="4764"/>
                  </a:lnTo>
                  <a:cubicBezTo>
                    <a:pt x="1883" y="7369"/>
                    <a:pt x="4557" y="9309"/>
                    <a:pt x="7610" y="10307"/>
                  </a:cubicBezTo>
                  <a:lnTo>
                    <a:pt x="10112" y="2606"/>
                  </a:lnTo>
                  <a:cubicBezTo>
                    <a:pt x="8677" y="2135"/>
                    <a:pt x="7438" y="1229"/>
                    <a:pt x="6554" y="1"/>
                  </a:cubicBez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09" name="Google Shape;1709;p65"/>
            <p:cNvSpPr/>
            <p:nvPr/>
          </p:nvSpPr>
          <p:spPr>
            <a:xfrm>
              <a:off x="1897577" y="3048492"/>
              <a:ext cx="152727" cy="144390"/>
            </a:xfrm>
            <a:custGeom>
              <a:avLst/>
              <a:gdLst/>
              <a:ahLst/>
              <a:cxnLst/>
              <a:rect l="l" t="t" r="r" b="b"/>
              <a:pathLst>
                <a:path w="9470" h="8953" extrusionOk="0">
                  <a:moveTo>
                    <a:pt x="12" y="0"/>
                  </a:moveTo>
                  <a:cubicBezTo>
                    <a:pt x="0" y="3214"/>
                    <a:pt x="1022" y="6347"/>
                    <a:pt x="2916" y="8953"/>
                  </a:cubicBezTo>
                  <a:lnTo>
                    <a:pt x="9469" y="4190"/>
                  </a:lnTo>
                  <a:cubicBezTo>
                    <a:pt x="8574" y="2973"/>
                    <a:pt x="8103" y="1504"/>
                    <a:pt x="8103"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0" name="Google Shape;1710;p65"/>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1" name="Google Shape;1711;p65"/>
            <p:cNvSpPr/>
            <p:nvPr/>
          </p:nvSpPr>
          <p:spPr>
            <a:xfrm>
              <a:off x="2143379" y="3048492"/>
              <a:ext cx="16" cy="16"/>
            </a:xfrm>
            <a:custGeom>
              <a:avLst/>
              <a:gdLst/>
              <a:ahLst/>
              <a:cxnLst/>
              <a:rect l="l" t="t" r="r" b="b"/>
              <a:pathLst>
                <a:path w="1" h="1" fill="none" extrusionOk="0">
                  <a:moveTo>
                    <a:pt x="0" y="0"/>
                  </a:moveTo>
                  <a:lnTo>
                    <a:pt x="0" y="0"/>
                  </a:lnTo>
                  <a:close/>
                </a:path>
              </a:pathLst>
            </a:custGeom>
            <a:noFill/>
            <a:ln w="9525" cap="flat"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12" name="Google Shape;1712;p65"/>
          <p:cNvGrpSpPr/>
          <p:nvPr/>
        </p:nvGrpSpPr>
        <p:grpSpPr>
          <a:xfrm>
            <a:off x="1330034" y="5558831"/>
            <a:ext cx="1078969" cy="267789"/>
            <a:chOff x="2013045" y="4813233"/>
            <a:chExt cx="921986" cy="228854"/>
          </a:xfrm>
        </p:grpSpPr>
        <p:sp>
          <p:nvSpPr>
            <p:cNvPr id="1713" name="Google Shape;1713;p65"/>
            <p:cNvSpPr/>
            <p:nvPr/>
          </p:nvSpPr>
          <p:spPr>
            <a:xfrm>
              <a:off x="2013045" y="4867370"/>
              <a:ext cx="921986" cy="174718"/>
            </a:xfrm>
            <a:custGeom>
              <a:avLst/>
              <a:gdLst/>
              <a:ahLst/>
              <a:cxnLst/>
              <a:rect l="l" t="t" r="r" b="b"/>
              <a:pathLst>
                <a:path w="138801" h="26303" fill="none" extrusionOk="0">
                  <a:moveTo>
                    <a:pt x="0" y="18153"/>
                  </a:moveTo>
                  <a:lnTo>
                    <a:pt x="0" y="26303"/>
                  </a:lnTo>
                  <a:lnTo>
                    <a:pt x="138800" y="26303"/>
                  </a:lnTo>
                  <a:lnTo>
                    <a:pt x="138800" y="0"/>
                  </a:lnTo>
                  <a:lnTo>
                    <a:pt x="38405" y="0"/>
                  </a:lnTo>
                </a:path>
              </a:pathLst>
            </a:custGeom>
            <a:noFill/>
            <a:ln w="9525" cap="flat"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4" name="Google Shape;1714;p65"/>
            <p:cNvSpPr/>
            <p:nvPr/>
          </p:nvSpPr>
          <p:spPr>
            <a:xfrm>
              <a:off x="2013045" y="4813233"/>
              <a:ext cx="316628" cy="174718"/>
            </a:xfrm>
            <a:custGeom>
              <a:avLst/>
              <a:gdLst/>
              <a:ahLst/>
              <a:cxnLst/>
              <a:rect l="l" t="t" r="r" b="b"/>
              <a:pathLst>
                <a:path w="47667" h="26303" fill="none" extrusionOk="0">
                  <a:moveTo>
                    <a:pt x="0" y="0"/>
                  </a:moveTo>
                  <a:lnTo>
                    <a:pt x="0" y="26303"/>
                  </a:lnTo>
                  <a:lnTo>
                    <a:pt x="47666" y="26303"/>
                  </a:lnTo>
                  <a:lnTo>
                    <a:pt x="34453" y="0"/>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15" name="Google Shape;1715;p65"/>
          <p:cNvGrpSpPr/>
          <p:nvPr/>
        </p:nvGrpSpPr>
        <p:grpSpPr>
          <a:xfrm>
            <a:off x="1341314" y="3541340"/>
            <a:ext cx="1056561" cy="359921"/>
            <a:chOff x="1046767" y="4756633"/>
            <a:chExt cx="859646" cy="292841"/>
          </a:xfrm>
        </p:grpSpPr>
        <p:sp>
          <p:nvSpPr>
            <p:cNvPr id="1716" name="Google Shape;1716;p65"/>
            <p:cNvSpPr/>
            <p:nvPr/>
          </p:nvSpPr>
          <p:spPr>
            <a:xfrm>
              <a:off x="1046767" y="4811593"/>
              <a:ext cx="859646" cy="237881"/>
            </a:xfrm>
            <a:custGeom>
              <a:avLst/>
              <a:gdLst/>
              <a:ahLst/>
              <a:cxnLst/>
              <a:rect l="l" t="t" r="r" b="b"/>
              <a:pathLst>
                <a:path w="129416" h="35812" fill="none" extrusionOk="0">
                  <a:moveTo>
                    <a:pt x="31737" y="0"/>
                  </a:moveTo>
                  <a:cubicBezTo>
                    <a:pt x="33960" y="8644"/>
                    <a:pt x="27539" y="17041"/>
                    <a:pt x="18524" y="17041"/>
                  </a:cubicBezTo>
                  <a:cubicBezTo>
                    <a:pt x="9633" y="17041"/>
                    <a:pt x="3088" y="8644"/>
                    <a:pt x="5434" y="0"/>
                  </a:cubicBezTo>
                  <a:lnTo>
                    <a:pt x="2594" y="0"/>
                  </a:lnTo>
                  <a:cubicBezTo>
                    <a:pt x="1236" y="0"/>
                    <a:pt x="1" y="1112"/>
                    <a:pt x="1" y="2594"/>
                  </a:cubicBezTo>
                  <a:lnTo>
                    <a:pt x="1" y="35811"/>
                  </a:lnTo>
                  <a:lnTo>
                    <a:pt x="126823" y="35811"/>
                  </a:lnTo>
                  <a:cubicBezTo>
                    <a:pt x="128304" y="35811"/>
                    <a:pt x="129416" y="34576"/>
                    <a:pt x="129416" y="33218"/>
                  </a:cubicBezTo>
                  <a:lnTo>
                    <a:pt x="129416" y="0"/>
                  </a:lnTo>
                  <a:close/>
                </a:path>
              </a:pathLst>
            </a:custGeom>
            <a:noFill/>
            <a:ln w="9525" cap="flat" cmpd="sng">
              <a:solidFill>
                <a:srgbClr val="667E9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7" name="Google Shape;1717;p65"/>
            <p:cNvSpPr/>
            <p:nvPr/>
          </p:nvSpPr>
          <p:spPr>
            <a:xfrm>
              <a:off x="1046767" y="4983846"/>
              <a:ext cx="65628" cy="65628"/>
            </a:xfrm>
            <a:custGeom>
              <a:avLst/>
              <a:gdLst/>
              <a:ahLst/>
              <a:cxnLst/>
              <a:rect l="l" t="t" r="r" b="b"/>
              <a:pathLst>
                <a:path w="9880" h="9880" fill="none" extrusionOk="0">
                  <a:moveTo>
                    <a:pt x="1" y="0"/>
                  </a:moveTo>
                  <a:lnTo>
                    <a:pt x="1" y="9879"/>
                  </a:lnTo>
                  <a:lnTo>
                    <a:pt x="9880" y="9879"/>
                  </a:lnTo>
                  <a:close/>
                </a:path>
              </a:pathLst>
            </a:custGeom>
            <a:noFill/>
            <a:ln w="9525" cap="flat" cmpd="sng">
              <a:solidFill>
                <a:srgbClr val="E3E9E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18" name="Google Shape;1718;p65"/>
            <p:cNvSpPr/>
            <p:nvPr/>
          </p:nvSpPr>
          <p:spPr>
            <a:xfrm>
              <a:off x="1067279" y="4756633"/>
              <a:ext cx="179640" cy="179646"/>
            </a:xfrm>
            <a:custGeom>
              <a:avLst/>
              <a:gdLst/>
              <a:ahLst/>
              <a:cxnLst/>
              <a:rect l="l" t="t" r="r" b="b"/>
              <a:pathLst>
                <a:path w="27044" h="27045" fill="none" extrusionOk="0">
                  <a:moveTo>
                    <a:pt x="15560" y="1"/>
                  </a:moveTo>
                  <a:cubicBezTo>
                    <a:pt x="5187" y="1"/>
                    <a:pt x="0" y="12473"/>
                    <a:pt x="7286" y="19759"/>
                  </a:cubicBezTo>
                  <a:cubicBezTo>
                    <a:pt x="14572" y="27044"/>
                    <a:pt x="27044" y="21858"/>
                    <a:pt x="27044" y="11609"/>
                  </a:cubicBezTo>
                  <a:cubicBezTo>
                    <a:pt x="27044" y="5187"/>
                    <a:pt x="21857" y="1"/>
                    <a:pt x="15560" y="1"/>
                  </a:cubicBezTo>
                  <a:close/>
                </a:path>
              </a:pathLst>
            </a:custGeom>
            <a:noFill/>
            <a:ln w="9525" cap="flat" cmpd="sng">
              <a:solidFill>
                <a:srgbClr val="A5B7C5"/>
              </a:solidFill>
              <a:prstDash val="solid"/>
              <a:miter lim="12348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719" name="Google Shape;1719;p65"/>
          <p:cNvSpPr/>
          <p:nvPr/>
        </p:nvSpPr>
        <p:spPr>
          <a:xfrm>
            <a:off x="9919651" y="3134230"/>
            <a:ext cx="247213" cy="125341"/>
          </a:xfrm>
          <a:custGeom>
            <a:avLst/>
            <a:gdLst/>
            <a:ahLst/>
            <a:cxnLst/>
            <a:rect l="l" t="t" r="r" b="b"/>
            <a:pathLst>
              <a:path w="3045" h="1544" extrusionOk="0">
                <a:moveTo>
                  <a:pt x="1645" y="0"/>
                </a:moveTo>
                <a:lnTo>
                  <a:pt x="2143" y="505"/>
                </a:lnTo>
                <a:lnTo>
                  <a:pt x="0" y="505"/>
                </a:lnTo>
                <a:lnTo>
                  <a:pt x="0" y="1046"/>
                </a:lnTo>
                <a:lnTo>
                  <a:pt x="2143" y="1046"/>
                </a:lnTo>
                <a:lnTo>
                  <a:pt x="1645" y="1544"/>
                </a:lnTo>
                <a:lnTo>
                  <a:pt x="2272" y="1544"/>
                </a:lnTo>
                <a:lnTo>
                  <a:pt x="3044" y="772"/>
                </a:lnTo>
                <a:lnTo>
                  <a:pt x="2272"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0" name="Google Shape;1720;p65"/>
          <p:cNvSpPr/>
          <p:nvPr/>
        </p:nvSpPr>
        <p:spPr>
          <a:xfrm>
            <a:off x="9518925" y="3110767"/>
            <a:ext cx="229028" cy="172264"/>
          </a:xfrm>
          <a:custGeom>
            <a:avLst/>
            <a:gdLst/>
            <a:ahLst/>
            <a:cxnLst/>
            <a:rect l="l" t="t" r="r" b="b"/>
            <a:pathLst>
              <a:path w="2821" h="2122" extrusionOk="0">
                <a:moveTo>
                  <a:pt x="1761" y="1"/>
                </a:moveTo>
                <a:lnTo>
                  <a:pt x="1400" y="361"/>
                </a:lnTo>
                <a:lnTo>
                  <a:pt x="1847" y="808"/>
                </a:lnTo>
                <a:lnTo>
                  <a:pt x="1" y="808"/>
                </a:lnTo>
                <a:lnTo>
                  <a:pt x="1" y="1321"/>
                </a:lnTo>
                <a:lnTo>
                  <a:pt x="1847" y="1321"/>
                </a:lnTo>
                <a:lnTo>
                  <a:pt x="1400" y="1768"/>
                </a:lnTo>
                <a:lnTo>
                  <a:pt x="1761" y="2121"/>
                </a:lnTo>
                <a:lnTo>
                  <a:pt x="2821" y="1061"/>
                </a:lnTo>
                <a:lnTo>
                  <a:pt x="176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1" name="Google Shape;1721;p65"/>
          <p:cNvSpPr/>
          <p:nvPr/>
        </p:nvSpPr>
        <p:spPr>
          <a:xfrm>
            <a:off x="10348643" y="3119373"/>
            <a:ext cx="223751" cy="155703"/>
          </a:xfrm>
          <a:custGeom>
            <a:avLst/>
            <a:gdLst/>
            <a:ahLst/>
            <a:cxnLst/>
            <a:rect l="l" t="t" r="r" b="b"/>
            <a:pathLst>
              <a:path w="2756" h="1918" extrusionOk="0">
                <a:moveTo>
                  <a:pt x="1757" y="0"/>
                </a:moveTo>
                <a:cubicBezTo>
                  <a:pt x="1693" y="0"/>
                  <a:pt x="1630" y="25"/>
                  <a:pt x="1580" y="75"/>
                </a:cubicBezTo>
                <a:cubicBezTo>
                  <a:pt x="1479" y="176"/>
                  <a:pt x="1479" y="335"/>
                  <a:pt x="1580" y="436"/>
                </a:cubicBezTo>
                <a:lnTo>
                  <a:pt x="1768" y="623"/>
                </a:lnTo>
                <a:cubicBezTo>
                  <a:pt x="1797" y="652"/>
                  <a:pt x="1775" y="702"/>
                  <a:pt x="1739" y="702"/>
                </a:cubicBezTo>
                <a:lnTo>
                  <a:pt x="253" y="702"/>
                </a:lnTo>
                <a:cubicBezTo>
                  <a:pt x="116" y="702"/>
                  <a:pt x="1" y="818"/>
                  <a:pt x="1" y="962"/>
                </a:cubicBezTo>
                <a:cubicBezTo>
                  <a:pt x="1" y="1099"/>
                  <a:pt x="116" y="1215"/>
                  <a:pt x="253" y="1215"/>
                </a:cubicBezTo>
                <a:lnTo>
                  <a:pt x="1739" y="1215"/>
                </a:lnTo>
                <a:cubicBezTo>
                  <a:pt x="1775" y="1215"/>
                  <a:pt x="1797" y="1265"/>
                  <a:pt x="1768" y="1294"/>
                </a:cubicBezTo>
                <a:lnTo>
                  <a:pt x="1580" y="1481"/>
                </a:lnTo>
                <a:cubicBezTo>
                  <a:pt x="1479" y="1582"/>
                  <a:pt x="1479" y="1741"/>
                  <a:pt x="1580" y="1842"/>
                </a:cubicBezTo>
                <a:cubicBezTo>
                  <a:pt x="1631" y="1892"/>
                  <a:pt x="1696" y="1918"/>
                  <a:pt x="1760" y="1918"/>
                </a:cubicBezTo>
                <a:cubicBezTo>
                  <a:pt x="1825" y="1918"/>
                  <a:pt x="1890" y="1892"/>
                  <a:pt x="1941" y="1842"/>
                </a:cubicBezTo>
                <a:lnTo>
                  <a:pt x="2676" y="1106"/>
                </a:lnTo>
                <a:cubicBezTo>
                  <a:pt x="2756" y="1027"/>
                  <a:pt x="2756" y="897"/>
                  <a:pt x="2676" y="811"/>
                </a:cubicBezTo>
                <a:lnTo>
                  <a:pt x="1941" y="82"/>
                </a:lnTo>
                <a:cubicBezTo>
                  <a:pt x="1889" y="27"/>
                  <a:pt x="1823" y="0"/>
                  <a:pt x="1757"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2" name="Google Shape;1722;p65"/>
          <p:cNvSpPr/>
          <p:nvPr/>
        </p:nvSpPr>
        <p:spPr>
          <a:xfrm>
            <a:off x="10741584" y="3110767"/>
            <a:ext cx="218473" cy="172264"/>
          </a:xfrm>
          <a:custGeom>
            <a:avLst/>
            <a:gdLst/>
            <a:ahLst/>
            <a:cxnLst/>
            <a:rect l="l" t="t" r="r" b="b"/>
            <a:pathLst>
              <a:path w="2691" h="2122" extrusionOk="0">
                <a:moveTo>
                  <a:pt x="1630" y="1"/>
                </a:moveTo>
                <a:lnTo>
                  <a:pt x="1630" y="722"/>
                </a:lnTo>
                <a:lnTo>
                  <a:pt x="1630" y="808"/>
                </a:lnTo>
                <a:lnTo>
                  <a:pt x="0" y="808"/>
                </a:lnTo>
                <a:lnTo>
                  <a:pt x="0" y="1321"/>
                </a:lnTo>
                <a:lnTo>
                  <a:pt x="1630" y="1321"/>
                </a:lnTo>
                <a:lnTo>
                  <a:pt x="1630" y="1407"/>
                </a:lnTo>
                <a:lnTo>
                  <a:pt x="1630" y="2121"/>
                </a:lnTo>
                <a:lnTo>
                  <a:pt x="2691" y="1061"/>
                </a:lnTo>
                <a:lnTo>
                  <a:pt x="163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723" name="Google Shape;1723;p65"/>
          <p:cNvGrpSpPr/>
          <p:nvPr/>
        </p:nvGrpSpPr>
        <p:grpSpPr>
          <a:xfrm>
            <a:off x="9522455" y="3400750"/>
            <a:ext cx="221964" cy="188663"/>
            <a:chOff x="4660325" y="1866850"/>
            <a:chExt cx="68350" cy="58100"/>
          </a:xfrm>
        </p:grpSpPr>
        <p:sp>
          <p:nvSpPr>
            <p:cNvPr id="1724" name="Google Shape;1724;p65"/>
            <p:cNvSpPr/>
            <p:nvPr/>
          </p:nvSpPr>
          <p:spPr>
            <a:xfrm>
              <a:off x="4660325" y="1866850"/>
              <a:ext cx="37700" cy="58100"/>
            </a:xfrm>
            <a:custGeom>
              <a:avLst/>
              <a:gdLst/>
              <a:ahLst/>
              <a:cxnLst/>
              <a:rect l="l" t="t" r="r" b="b"/>
              <a:pathLst>
                <a:path w="1508" h="2324" extrusionOk="0">
                  <a:moveTo>
                    <a:pt x="346" y="1"/>
                  </a:moveTo>
                  <a:lnTo>
                    <a:pt x="0" y="354"/>
                  </a:lnTo>
                  <a:lnTo>
                    <a:pt x="815"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5" name="Google Shape;1725;p65"/>
            <p:cNvSpPr/>
            <p:nvPr/>
          </p:nvSpPr>
          <p:spPr>
            <a:xfrm>
              <a:off x="4690975" y="1866850"/>
              <a:ext cx="37700" cy="58100"/>
            </a:xfrm>
            <a:custGeom>
              <a:avLst/>
              <a:gdLst/>
              <a:ahLst/>
              <a:cxnLst/>
              <a:rect l="l" t="t" r="r" b="b"/>
              <a:pathLst>
                <a:path w="1508" h="2324" extrusionOk="0">
                  <a:moveTo>
                    <a:pt x="346" y="1"/>
                  </a:moveTo>
                  <a:lnTo>
                    <a:pt x="0" y="354"/>
                  </a:lnTo>
                  <a:lnTo>
                    <a:pt x="808" y="1162"/>
                  </a:lnTo>
                  <a:lnTo>
                    <a:pt x="0" y="1977"/>
                  </a:lnTo>
                  <a:lnTo>
                    <a:pt x="346" y="2323"/>
                  </a:lnTo>
                  <a:lnTo>
                    <a:pt x="1508" y="1162"/>
                  </a:lnTo>
                  <a:lnTo>
                    <a:pt x="346"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26" name="Google Shape;1726;p65"/>
          <p:cNvGrpSpPr/>
          <p:nvPr/>
        </p:nvGrpSpPr>
        <p:grpSpPr>
          <a:xfrm>
            <a:off x="9934915" y="3435049"/>
            <a:ext cx="216687" cy="120065"/>
            <a:chOff x="4791775" y="1877500"/>
            <a:chExt cx="66725" cy="36975"/>
          </a:xfrm>
        </p:grpSpPr>
        <p:sp>
          <p:nvSpPr>
            <p:cNvPr id="1727" name="Google Shape;1727;p65"/>
            <p:cNvSpPr/>
            <p:nvPr/>
          </p:nvSpPr>
          <p:spPr>
            <a:xfrm>
              <a:off x="4791775" y="1877500"/>
              <a:ext cx="36075" cy="36975"/>
            </a:xfrm>
            <a:custGeom>
              <a:avLst/>
              <a:gdLst/>
              <a:ahLst/>
              <a:cxnLst/>
              <a:rect l="l" t="t" r="r" b="b"/>
              <a:pathLst>
                <a:path w="1443" h="1479" extrusionOk="0">
                  <a:moveTo>
                    <a:pt x="0" y="0"/>
                  </a:moveTo>
                  <a:lnTo>
                    <a:pt x="743" y="736"/>
                  </a:lnTo>
                  <a:lnTo>
                    <a:pt x="0" y="1479"/>
                  </a:lnTo>
                  <a:lnTo>
                    <a:pt x="700" y="1479"/>
                  </a:lnTo>
                  <a:lnTo>
                    <a:pt x="1442"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28" name="Google Shape;1728;p65"/>
            <p:cNvSpPr/>
            <p:nvPr/>
          </p:nvSpPr>
          <p:spPr>
            <a:xfrm>
              <a:off x="4822425" y="1877500"/>
              <a:ext cx="36075" cy="36975"/>
            </a:xfrm>
            <a:custGeom>
              <a:avLst/>
              <a:gdLst/>
              <a:ahLst/>
              <a:cxnLst/>
              <a:rect l="l" t="t" r="r" b="b"/>
              <a:pathLst>
                <a:path w="1443" h="1479" extrusionOk="0">
                  <a:moveTo>
                    <a:pt x="0" y="0"/>
                  </a:moveTo>
                  <a:lnTo>
                    <a:pt x="743" y="736"/>
                  </a:lnTo>
                  <a:lnTo>
                    <a:pt x="0" y="1479"/>
                  </a:lnTo>
                  <a:lnTo>
                    <a:pt x="700" y="1479"/>
                  </a:lnTo>
                  <a:lnTo>
                    <a:pt x="1443" y="736"/>
                  </a:lnTo>
                  <a:lnTo>
                    <a:pt x="70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29" name="Google Shape;1729;p65"/>
          <p:cNvGrpSpPr/>
          <p:nvPr/>
        </p:nvGrpSpPr>
        <p:grpSpPr>
          <a:xfrm>
            <a:off x="10363866" y="3435049"/>
            <a:ext cx="193305" cy="120065"/>
            <a:chOff x="4923925" y="1877500"/>
            <a:chExt cx="59525" cy="36975"/>
          </a:xfrm>
        </p:grpSpPr>
        <p:sp>
          <p:nvSpPr>
            <p:cNvPr id="1730" name="Google Shape;1730;p65"/>
            <p:cNvSpPr/>
            <p:nvPr/>
          </p:nvSpPr>
          <p:spPr>
            <a:xfrm>
              <a:off x="4923925" y="1877500"/>
              <a:ext cx="28875" cy="36975"/>
            </a:xfrm>
            <a:custGeom>
              <a:avLst/>
              <a:gdLst/>
              <a:ahLst/>
              <a:cxnLst/>
              <a:rect l="l" t="t" r="r" b="b"/>
              <a:pathLst>
                <a:path w="1155" h="1479" extrusionOk="0">
                  <a:moveTo>
                    <a:pt x="332" y="0"/>
                  </a:moveTo>
                  <a:cubicBezTo>
                    <a:pt x="116" y="0"/>
                    <a:pt x="1" y="260"/>
                    <a:pt x="159" y="419"/>
                  </a:cubicBezTo>
                  <a:lnTo>
                    <a:pt x="433" y="700"/>
                  </a:lnTo>
                  <a:cubicBezTo>
                    <a:pt x="455" y="722"/>
                    <a:pt x="455" y="758"/>
                    <a:pt x="433" y="779"/>
                  </a:cubicBezTo>
                  <a:lnTo>
                    <a:pt x="159" y="1053"/>
                  </a:lnTo>
                  <a:cubicBezTo>
                    <a:pt x="1" y="1212"/>
                    <a:pt x="116" y="1479"/>
                    <a:pt x="332" y="1479"/>
                  </a:cubicBezTo>
                  <a:cubicBezTo>
                    <a:pt x="397" y="1479"/>
                    <a:pt x="462" y="1450"/>
                    <a:pt x="506" y="1407"/>
                  </a:cubicBezTo>
                  <a:lnTo>
                    <a:pt x="1133" y="779"/>
                  </a:lnTo>
                  <a:cubicBezTo>
                    <a:pt x="1155" y="758"/>
                    <a:pt x="1155" y="722"/>
                    <a:pt x="1133" y="700"/>
                  </a:cubicBezTo>
                  <a:lnTo>
                    <a:pt x="506" y="73"/>
                  </a:lnTo>
                  <a:cubicBezTo>
                    <a:pt x="462" y="22"/>
                    <a:pt x="397" y="0"/>
                    <a:pt x="332"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1" name="Google Shape;1731;p65"/>
            <p:cNvSpPr/>
            <p:nvPr/>
          </p:nvSpPr>
          <p:spPr>
            <a:xfrm>
              <a:off x="4954575" y="1877500"/>
              <a:ext cx="28875" cy="36975"/>
            </a:xfrm>
            <a:custGeom>
              <a:avLst/>
              <a:gdLst/>
              <a:ahLst/>
              <a:cxnLst/>
              <a:rect l="l" t="t" r="r" b="b"/>
              <a:pathLst>
                <a:path w="1155" h="1479" extrusionOk="0">
                  <a:moveTo>
                    <a:pt x="333" y="0"/>
                  </a:moveTo>
                  <a:cubicBezTo>
                    <a:pt x="116" y="0"/>
                    <a:pt x="1" y="260"/>
                    <a:pt x="159" y="419"/>
                  </a:cubicBezTo>
                  <a:lnTo>
                    <a:pt x="434" y="700"/>
                  </a:lnTo>
                  <a:cubicBezTo>
                    <a:pt x="455" y="722"/>
                    <a:pt x="455" y="758"/>
                    <a:pt x="434" y="779"/>
                  </a:cubicBezTo>
                  <a:lnTo>
                    <a:pt x="159" y="1053"/>
                  </a:lnTo>
                  <a:cubicBezTo>
                    <a:pt x="1" y="1212"/>
                    <a:pt x="116" y="1479"/>
                    <a:pt x="333" y="1479"/>
                  </a:cubicBezTo>
                  <a:cubicBezTo>
                    <a:pt x="397" y="1479"/>
                    <a:pt x="462" y="1450"/>
                    <a:pt x="506" y="1407"/>
                  </a:cubicBezTo>
                  <a:lnTo>
                    <a:pt x="1133" y="779"/>
                  </a:lnTo>
                  <a:cubicBezTo>
                    <a:pt x="1155" y="758"/>
                    <a:pt x="1155" y="722"/>
                    <a:pt x="1133" y="700"/>
                  </a:cubicBezTo>
                  <a:lnTo>
                    <a:pt x="506" y="73"/>
                  </a:lnTo>
                  <a:cubicBezTo>
                    <a:pt x="462" y="22"/>
                    <a:pt x="397" y="0"/>
                    <a:pt x="333"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32" name="Google Shape;1732;p65"/>
          <p:cNvGrpSpPr/>
          <p:nvPr/>
        </p:nvGrpSpPr>
        <p:grpSpPr>
          <a:xfrm>
            <a:off x="10756521" y="3411303"/>
            <a:ext cx="188596" cy="167556"/>
            <a:chOff x="5058450" y="1870100"/>
            <a:chExt cx="58075" cy="51600"/>
          </a:xfrm>
        </p:grpSpPr>
        <p:sp>
          <p:nvSpPr>
            <p:cNvPr id="1733" name="Google Shape;1733;p65"/>
            <p:cNvSpPr/>
            <p:nvPr/>
          </p:nvSpPr>
          <p:spPr>
            <a:xfrm>
              <a:off x="5058450"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4" name="Google Shape;1734;p65"/>
            <p:cNvSpPr/>
            <p:nvPr/>
          </p:nvSpPr>
          <p:spPr>
            <a:xfrm>
              <a:off x="5090725" y="1870100"/>
              <a:ext cx="25800" cy="51600"/>
            </a:xfrm>
            <a:custGeom>
              <a:avLst/>
              <a:gdLst/>
              <a:ahLst/>
              <a:cxnLst/>
              <a:rect l="l" t="t" r="r" b="b"/>
              <a:pathLst>
                <a:path w="1032" h="2064" extrusionOk="0">
                  <a:moveTo>
                    <a:pt x="0" y="1"/>
                  </a:moveTo>
                  <a:lnTo>
                    <a:pt x="0" y="621"/>
                  </a:lnTo>
                  <a:lnTo>
                    <a:pt x="0" y="1443"/>
                  </a:lnTo>
                  <a:lnTo>
                    <a:pt x="0" y="2063"/>
                  </a:lnTo>
                  <a:lnTo>
                    <a:pt x="1032" y="1032"/>
                  </a:lnTo>
                  <a:lnTo>
                    <a:pt x="0"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35" name="Google Shape;1735;p65"/>
          <p:cNvGrpSpPr/>
          <p:nvPr/>
        </p:nvGrpSpPr>
        <p:grpSpPr>
          <a:xfrm>
            <a:off x="9975874" y="3974514"/>
            <a:ext cx="134769" cy="143527"/>
            <a:chOff x="4811425" y="2065025"/>
            <a:chExt cx="41500" cy="44200"/>
          </a:xfrm>
        </p:grpSpPr>
        <p:sp>
          <p:nvSpPr>
            <p:cNvPr id="1736" name="Google Shape;1736;p65"/>
            <p:cNvSpPr/>
            <p:nvPr/>
          </p:nvSpPr>
          <p:spPr>
            <a:xfrm>
              <a:off x="4825300" y="2065025"/>
              <a:ext cx="27625" cy="44200"/>
            </a:xfrm>
            <a:custGeom>
              <a:avLst/>
              <a:gdLst/>
              <a:ahLst/>
              <a:cxnLst/>
              <a:rect l="l" t="t" r="r" b="b"/>
              <a:pathLst>
                <a:path w="1105" h="1768" extrusionOk="0">
                  <a:moveTo>
                    <a:pt x="217" y="0"/>
                  </a:moveTo>
                  <a:lnTo>
                    <a:pt x="1" y="224"/>
                  </a:lnTo>
                  <a:lnTo>
                    <a:pt x="657" y="880"/>
                  </a:lnTo>
                  <a:lnTo>
                    <a:pt x="1" y="1544"/>
                  </a:lnTo>
                  <a:lnTo>
                    <a:pt x="217" y="1767"/>
                  </a:lnTo>
                  <a:lnTo>
                    <a:pt x="1104" y="880"/>
                  </a:lnTo>
                  <a:lnTo>
                    <a:pt x="217"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37" name="Google Shape;1737;p65"/>
            <p:cNvSpPr/>
            <p:nvPr/>
          </p:nvSpPr>
          <p:spPr>
            <a:xfrm>
              <a:off x="4811425" y="2072950"/>
              <a:ext cx="19850" cy="28350"/>
            </a:xfrm>
            <a:custGeom>
              <a:avLst/>
              <a:gdLst/>
              <a:ahLst/>
              <a:cxnLst/>
              <a:rect l="l" t="t" r="r" b="b"/>
              <a:pathLst>
                <a:path w="794" h="1134" extrusionOk="0">
                  <a:moveTo>
                    <a:pt x="224" y="1"/>
                  </a:moveTo>
                  <a:lnTo>
                    <a:pt x="0" y="224"/>
                  </a:lnTo>
                  <a:lnTo>
                    <a:pt x="346" y="563"/>
                  </a:lnTo>
                  <a:lnTo>
                    <a:pt x="0" y="909"/>
                  </a:lnTo>
                  <a:lnTo>
                    <a:pt x="224" y="1133"/>
                  </a:lnTo>
                  <a:lnTo>
                    <a:pt x="794" y="563"/>
                  </a:lnTo>
                  <a:lnTo>
                    <a:pt x="224"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38" name="Google Shape;1738;p65"/>
          <p:cNvGrpSpPr/>
          <p:nvPr/>
        </p:nvGrpSpPr>
        <p:grpSpPr>
          <a:xfrm>
            <a:off x="10365790" y="3974798"/>
            <a:ext cx="161156" cy="142957"/>
            <a:chOff x="4929875" y="2065025"/>
            <a:chExt cx="49625" cy="44025"/>
          </a:xfrm>
        </p:grpSpPr>
        <p:sp>
          <p:nvSpPr>
            <p:cNvPr id="1739" name="Google Shape;1739;p65"/>
            <p:cNvSpPr/>
            <p:nvPr/>
          </p:nvSpPr>
          <p:spPr>
            <a:xfrm>
              <a:off x="4950075" y="2065025"/>
              <a:ext cx="29425" cy="44025"/>
            </a:xfrm>
            <a:custGeom>
              <a:avLst/>
              <a:gdLst/>
              <a:ahLst/>
              <a:cxnLst/>
              <a:rect l="l" t="t" r="r" b="b"/>
              <a:pathLst>
                <a:path w="1177" h="1761" extrusionOk="0">
                  <a:moveTo>
                    <a:pt x="1" y="0"/>
                  </a:moveTo>
                  <a:lnTo>
                    <a:pt x="729" y="880"/>
                  </a:lnTo>
                  <a:lnTo>
                    <a:pt x="1" y="1760"/>
                  </a:lnTo>
                  <a:lnTo>
                    <a:pt x="1176" y="880"/>
                  </a:lnTo>
                  <a:lnTo>
                    <a:pt x="1"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0" name="Google Shape;1740;p65"/>
            <p:cNvSpPr/>
            <p:nvPr/>
          </p:nvSpPr>
          <p:spPr>
            <a:xfrm>
              <a:off x="4929875" y="2065025"/>
              <a:ext cx="29425" cy="44025"/>
            </a:xfrm>
            <a:custGeom>
              <a:avLst/>
              <a:gdLst/>
              <a:ahLst/>
              <a:cxnLst/>
              <a:rect l="l" t="t" r="r" b="b"/>
              <a:pathLst>
                <a:path w="1177" h="1761" extrusionOk="0">
                  <a:moveTo>
                    <a:pt x="1" y="0"/>
                  </a:moveTo>
                  <a:lnTo>
                    <a:pt x="736" y="880"/>
                  </a:lnTo>
                  <a:lnTo>
                    <a:pt x="1" y="1760"/>
                  </a:lnTo>
                  <a:lnTo>
                    <a:pt x="1" y="1760"/>
                  </a:lnTo>
                  <a:lnTo>
                    <a:pt x="1176" y="880"/>
                  </a:lnTo>
                  <a:lnTo>
                    <a:pt x="1"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41" name="Google Shape;1741;p65"/>
          <p:cNvGrpSpPr/>
          <p:nvPr/>
        </p:nvGrpSpPr>
        <p:grpSpPr>
          <a:xfrm>
            <a:off x="10804015" y="3978817"/>
            <a:ext cx="93608" cy="134921"/>
            <a:chOff x="5083925" y="2066350"/>
            <a:chExt cx="28825" cy="41550"/>
          </a:xfrm>
        </p:grpSpPr>
        <p:sp>
          <p:nvSpPr>
            <p:cNvPr id="1742" name="Google Shape;1742;p65"/>
            <p:cNvSpPr/>
            <p:nvPr/>
          </p:nvSpPr>
          <p:spPr>
            <a:xfrm>
              <a:off x="5084050" y="2066350"/>
              <a:ext cx="28700" cy="41550"/>
            </a:xfrm>
            <a:custGeom>
              <a:avLst/>
              <a:gdLst/>
              <a:ahLst/>
              <a:cxnLst/>
              <a:rect l="l" t="t" r="r" b="b"/>
              <a:pathLst>
                <a:path w="1148" h="1662" extrusionOk="0">
                  <a:moveTo>
                    <a:pt x="52" y="1"/>
                  </a:moveTo>
                  <a:cubicBezTo>
                    <a:pt x="27" y="1"/>
                    <a:pt x="0" y="24"/>
                    <a:pt x="0" y="56"/>
                  </a:cubicBezTo>
                  <a:lnTo>
                    <a:pt x="0" y="200"/>
                  </a:lnTo>
                  <a:cubicBezTo>
                    <a:pt x="0" y="243"/>
                    <a:pt x="22" y="279"/>
                    <a:pt x="51" y="308"/>
                  </a:cubicBezTo>
                  <a:lnTo>
                    <a:pt x="700" y="791"/>
                  </a:lnTo>
                  <a:cubicBezTo>
                    <a:pt x="729" y="813"/>
                    <a:pt x="729" y="849"/>
                    <a:pt x="700" y="871"/>
                  </a:cubicBezTo>
                  <a:lnTo>
                    <a:pt x="51" y="1354"/>
                  </a:lnTo>
                  <a:cubicBezTo>
                    <a:pt x="22" y="1383"/>
                    <a:pt x="0" y="1419"/>
                    <a:pt x="0" y="1462"/>
                  </a:cubicBezTo>
                  <a:lnTo>
                    <a:pt x="0" y="1613"/>
                  </a:lnTo>
                  <a:cubicBezTo>
                    <a:pt x="0" y="1639"/>
                    <a:pt x="26" y="1661"/>
                    <a:pt x="51" y="1661"/>
                  </a:cubicBezTo>
                  <a:cubicBezTo>
                    <a:pt x="61" y="1661"/>
                    <a:pt x="71" y="1658"/>
                    <a:pt x="80" y="1649"/>
                  </a:cubicBezTo>
                  <a:lnTo>
                    <a:pt x="1111" y="878"/>
                  </a:lnTo>
                  <a:cubicBezTo>
                    <a:pt x="1147" y="856"/>
                    <a:pt x="1147" y="806"/>
                    <a:pt x="1111" y="784"/>
                  </a:cubicBezTo>
                  <a:lnTo>
                    <a:pt x="80" y="12"/>
                  </a:lnTo>
                  <a:cubicBezTo>
                    <a:pt x="72" y="4"/>
                    <a:pt x="62" y="1"/>
                    <a:pt x="5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3" name="Google Shape;1743;p65"/>
            <p:cNvSpPr/>
            <p:nvPr/>
          </p:nvSpPr>
          <p:spPr>
            <a:xfrm>
              <a:off x="5083925" y="2081325"/>
              <a:ext cx="8800" cy="11600"/>
            </a:xfrm>
            <a:custGeom>
              <a:avLst/>
              <a:gdLst/>
              <a:ahLst/>
              <a:cxnLst/>
              <a:rect l="l" t="t" r="r" b="b"/>
              <a:pathLst>
                <a:path w="352" h="464" extrusionOk="0">
                  <a:moveTo>
                    <a:pt x="53" y="0"/>
                  </a:moveTo>
                  <a:cubicBezTo>
                    <a:pt x="25" y="0"/>
                    <a:pt x="0" y="24"/>
                    <a:pt x="5" y="55"/>
                  </a:cubicBezTo>
                  <a:lnTo>
                    <a:pt x="5" y="416"/>
                  </a:lnTo>
                  <a:cubicBezTo>
                    <a:pt x="5" y="442"/>
                    <a:pt x="31" y="464"/>
                    <a:pt x="56" y="464"/>
                  </a:cubicBezTo>
                  <a:cubicBezTo>
                    <a:pt x="66" y="464"/>
                    <a:pt x="76" y="460"/>
                    <a:pt x="85" y="452"/>
                  </a:cubicBezTo>
                  <a:lnTo>
                    <a:pt x="323" y="279"/>
                  </a:lnTo>
                  <a:cubicBezTo>
                    <a:pt x="352" y="257"/>
                    <a:pt x="352" y="207"/>
                    <a:pt x="323" y="185"/>
                  </a:cubicBezTo>
                  <a:lnTo>
                    <a:pt x="85" y="12"/>
                  </a:lnTo>
                  <a:cubicBezTo>
                    <a:pt x="75" y="4"/>
                    <a:pt x="63" y="0"/>
                    <a:pt x="5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44" name="Google Shape;1744;p65"/>
          <p:cNvGrpSpPr/>
          <p:nvPr/>
        </p:nvGrpSpPr>
        <p:grpSpPr>
          <a:xfrm>
            <a:off x="9512753" y="3999679"/>
            <a:ext cx="241368" cy="93195"/>
            <a:chOff x="4659775" y="2072775"/>
            <a:chExt cx="74325" cy="28700"/>
          </a:xfrm>
        </p:grpSpPr>
        <p:sp>
          <p:nvSpPr>
            <p:cNvPr id="1745" name="Google Shape;1745;p65"/>
            <p:cNvSpPr/>
            <p:nvPr/>
          </p:nvSpPr>
          <p:spPr>
            <a:xfrm>
              <a:off x="4659775" y="2072775"/>
              <a:ext cx="38075" cy="28700"/>
            </a:xfrm>
            <a:custGeom>
              <a:avLst/>
              <a:gdLst/>
              <a:ahLst/>
              <a:cxnLst/>
              <a:rect l="l" t="t" r="r" b="b"/>
              <a:pathLst>
                <a:path w="1523" h="1148" extrusionOk="0">
                  <a:moveTo>
                    <a:pt x="1" y="0"/>
                  </a:moveTo>
                  <a:lnTo>
                    <a:pt x="578" y="570"/>
                  </a:lnTo>
                  <a:lnTo>
                    <a:pt x="1" y="1147"/>
                  </a:lnTo>
                  <a:lnTo>
                    <a:pt x="945" y="1147"/>
                  </a:lnTo>
                  <a:lnTo>
                    <a:pt x="1522" y="570"/>
                  </a:lnTo>
                  <a:lnTo>
                    <a:pt x="945"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6" name="Google Shape;1746;p65"/>
            <p:cNvSpPr/>
            <p:nvPr/>
          </p:nvSpPr>
          <p:spPr>
            <a:xfrm>
              <a:off x="4691875" y="2072775"/>
              <a:ext cx="24550" cy="28700"/>
            </a:xfrm>
            <a:custGeom>
              <a:avLst/>
              <a:gdLst/>
              <a:ahLst/>
              <a:cxnLst/>
              <a:rect l="l" t="t" r="r" b="b"/>
              <a:pathLst>
                <a:path w="982" h="1148" extrusionOk="0">
                  <a:moveTo>
                    <a:pt x="0" y="0"/>
                  </a:moveTo>
                  <a:lnTo>
                    <a:pt x="570" y="570"/>
                  </a:lnTo>
                  <a:lnTo>
                    <a:pt x="0" y="1147"/>
                  </a:lnTo>
                  <a:lnTo>
                    <a:pt x="411" y="1147"/>
                  </a:lnTo>
                  <a:lnTo>
                    <a:pt x="981" y="570"/>
                  </a:lnTo>
                  <a:lnTo>
                    <a:pt x="411"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47" name="Google Shape;1747;p65"/>
            <p:cNvSpPr/>
            <p:nvPr/>
          </p:nvSpPr>
          <p:spPr>
            <a:xfrm>
              <a:off x="4709350" y="2072775"/>
              <a:ext cx="24750" cy="28700"/>
            </a:xfrm>
            <a:custGeom>
              <a:avLst/>
              <a:gdLst/>
              <a:ahLst/>
              <a:cxnLst/>
              <a:rect l="l" t="t" r="r" b="b"/>
              <a:pathLst>
                <a:path w="990" h="1148" extrusionOk="0">
                  <a:moveTo>
                    <a:pt x="1" y="0"/>
                  </a:moveTo>
                  <a:lnTo>
                    <a:pt x="578" y="570"/>
                  </a:lnTo>
                  <a:lnTo>
                    <a:pt x="1" y="1147"/>
                  </a:lnTo>
                  <a:lnTo>
                    <a:pt x="412" y="1147"/>
                  </a:lnTo>
                  <a:lnTo>
                    <a:pt x="989" y="570"/>
                  </a:lnTo>
                  <a:lnTo>
                    <a:pt x="412"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48" name="Google Shape;1748;p65"/>
          <p:cNvGrpSpPr/>
          <p:nvPr/>
        </p:nvGrpSpPr>
        <p:grpSpPr>
          <a:xfrm>
            <a:off x="10739229" y="3720433"/>
            <a:ext cx="223183" cy="118929"/>
            <a:chOff x="4662475" y="1976500"/>
            <a:chExt cx="68725" cy="36625"/>
          </a:xfrm>
        </p:grpSpPr>
        <p:sp>
          <p:nvSpPr>
            <p:cNvPr id="1749" name="Google Shape;1749;p65"/>
            <p:cNvSpPr/>
            <p:nvPr/>
          </p:nvSpPr>
          <p:spPr>
            <a:xfrm>
              <a:off x="4690800" y="1976500"/>
              <a:ext cx="40400" cy="36625"/>
            </a:xfrm>
            <a:custGeom>
              <a:avLst/>
              <a:gdLst/>
              <a:ahLst/>
              <a:cxnLst/>
              <a:rect l="l" t="t" r="r" b="b"/>
              <a:pathLst>
                <a:path w="1616" h="1465" extrusionOk="0">
                  <a:moveTo>
                    <a:pt x="887" y="0"/>
                  </a:moveTo>
                  <a:lnTo>
                    <a:pt x="692" y="188"/>
                  </a:lnTo>
                  <a:lnTo>
                    <a:pt x="1104" y="599"/>
                  </a:lnTo>
                  <a:lnTo>
                    <a:pt x="0" y="599"/>
                  </a:lnTo>
                  <a:lnTo>
                    <a:pt x="0" y="866"/>
                  </a:lnTo>
                  <a:lnTo>
                    <a:pt x="1104" y="866"/>
                  </a:lnTo>
                  <a:lnTo>
                    <a:pt x="692" y="1269"/>
                  </a:lnTo>
                  <a:lnTo>
                    <a:pt x="887" y="1464"/>
                  </a:lnTo>
                  <a:lnTo>
                    <a:pt x="1616" y="729"/>
                  </a:lnTo>
                  <a:lnTo>
                    <a:pt x="887"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0" name="Google Shape;1750;p65"/>
            <p:cNvSpPr/>
            <p:nvPr/>
          </p:nvSpPr>
          <p:spPr>
            <a:xfrm>
              <a:off x="4674375" y="1991450"/>
              <a:ext cx="10675" cy="6700"/>
            </a:xfrm>
            <a:custGeom>
              <a:avLst/>
              <a:gdLst/>
              <a:ahLst/>
              <a:cxnLst/>
              <a:rect l="l" t="t" r="r" b="b"/>
              <a:pathLst>
                <a:path w="427" h="268" extrusionOk="0">
                  <a:moveTo>
                    <a:pt x="1" y="1"/>
                  </a:moveTo>
                  <a:lnTo>
                    <a:pt x="1" y="268"/>
                  </a:lnTo>
                  <a:lnTo>
                    <a:pt x="426" y="268"/>
                  </a:lnTo>
                  <a:lnTo>
                    <a:pt x="426"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1" name="Google Shape;1751;p65"/>
            <p:cNvSpPr/>
            <p:nvPr/>
          </p:nvSpPr>
          <p:spPr>
            <a:xfrm>
              <a:off x="4662475" y="1991450"/>
              <a:ext cx="5625" cy="6700"/>
            </a:xfrm>
            <a:custGeom>
              <a:avLst/>
              <a:gdLst/>
              <a:ahLst/>
              <a:cxnLst/>
              <a:rect l="l" t="t" r="r" b="b"/>
              <a:pathLst>
                <a:path w="225" h="268" extrusionOk="0">
                  <a:moveTo>
                    <a:pt x="1" y="1"/>
                  </a:moveTo>
                  <a:lnTo>
                    <a:pt x="1" y="268"/>
                  </a:lnTo>
                  <a:lnTo>
                    <a:pt x="224" y="268"/>
                  </a:lnTo>
                  <a:lnTo>
                    <a:pt x="224"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52" name="Google Shape;1752;p65"/>
          <p:cNvGrpSpPr/>
          <p:nvPr/>
        </p:nvGrpSpPr>
        <p:grpSpPr>
          <a:xfrm>
            <a:off x="10335102" y="3725019"/>
            <a:ext cx="222532" cy="109756"/>
            <a:chOff x="4920150" y="1977875"/>
            <a:chExt cx="68525" cy="33800"/>
          </a:xfrm>
        </p:grpSpPr>
        <p:sp>
          <p:nvSpPr>
            <p:cNvPr id="1753" name="Google Shape;1753;p65"/>
            <p:cNvSpPr/>
            <p:nvPr/>
          </p:nvSpPr>
          <p:spPr>
            <a:xfrm>
              <a:off x="4949175" y="1977875"/>
              <a:ext cx="39500" cy="33800"/>
            </a:xfrm>
            <a:custGeom>
              <a:avLst/>
              <a:gdLst/>
              <a:ahLst/>
              <a:cxnLst/>
              <a:rect l="l" t="t" r="r" b="b"/>
              <a:pathLst>
                <a:path w="1580" h="1352" extrusionOk="0">
                  <a:moveTo>
                    <a:pt x="891" y="1"/>
                  </a:moveTo>
                  <a:cubicBezTo>
                    <a:pt x="859" y="1"/>
                    <a:pt x="828" y="12"/>
                    <a:pt x="801" y="32"/>
                  </a:cubicBezTo>
                  <a:cubicBezTo>
                    <a:pt x="743" y="89"/>
                    <a:pt x="743" y="176"/>
                    <a:pt x="801" y="226"/>
                  </a:cubicBezTo>
                  <a:lnTo>
                    <a:pt x="1039" y="472"/>
                  </a:lnTo>
                  <a:cubicBezTo>
                    <a:pt x="1068" y="493"/>
                    <a:pt x="1046" y="544"/>
                    <a:pt x="1010" y="544"/>
                  </a:cubicBezTo>
                  <a:lnTo>
                    <a:pt x="152" y="544"/>
                  </a:lnTo>
                  <a:cubicBezTo>
                    <a:pt x="147" y="543"/>
                    <a:pt x="143" y="543"/>
                    <a:pt x="139" y="543"/>
                  </a:cubicBezTo>
                  <a:cubicBezTo>
                    <a:pt x="66" y="543"/>
                    <a:pt x="14" y="598"/>
                    <a:pt x="8" y="666"/>
                  </a:cubicBezTo>
                  <a:cubicBezTo>
                    <a:pt x="0" y="746"/>
                    <a:pt x="65" y="811"/>
                    <a:pt x="145" y="811"/>
                  </a:cubicBezTo>
                  <a:lnTo>
                    <a:pt x="1010" y="811"/>
                  </a:lnTo>
                  <a:cubicBezTo>
                    <a:pt x="1046" y="811"/>
                    <a:pt x="1068" y="854"/>
                    <a:pt x="1039" y="883"/>
                  </a:cubicBezTo>
                  <a:lnTo>
                    <a:pt x="808" y="1113"/>
                  </a:lnTo>
                  <a:cubicBezTo>
                    <a:pt x="758" y="1164"/>
                    <a:pt x="751" y="1251"/>
                    <a:pt x="794" y="1308"/>
                  </a:cubicBezTo>
                  <a:cubicBezTo>
                    <a:pt x="823" y="1337"/>
                    <a:pt x="859" y="1351"/>
                    <a:pt x="895" y="1351"/>
                  </a:cubicBezTo>
                  <a:cubicBezTo>
                    <a:pt x="931" y="1351"/>
                    <a:pt x="967" y="1337"/>
                    <a:pt x="996" y="1308"/>
                  </a:cubicBezTo>
                  <a:lnTo>
                    <a:pt x="1522" y="774"/>
                  </a:lnTo>
                  <a:cubicBezTo>
                    <a:pt x="1580" y="717"/>
                    <a:pt x="1573" y="630"/>
                    <a:pt x="1522" y="573"/>
                  </a:cubicBezTo>
                  <a:lnTo>
                    <a:pt x="996" y="46"/>
                  </a:lnTo>
                  <a:cubicBezTo>
                    <a:pt x="965" y="15"/>
                    <a:pt x="928" y="1"/>
                    <a:pt x="89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4" name="Google Shape;1754;p65"/>
            <p:cNvSpPr/>
            <p:nvPr/>
          </p:nvSpPr>
          <p:spPr>
            <a:xfrm>
              <a:off x="4931875" y="1991450"/>
              <a:ext cx="12825" cy="6700"/>
            </a:xfrm>
            <a:custGeom>
              <a:avLst/>
              <a:gdLst/>
              <a:ahLst/>
              <a:cxnLst/>
              <a:rect l="l" t="t" r="r" b="b"/>
              <a:pathLst>
                <a:path w="513" h="268" extrusionOk="0">
                  <a:moveTo>
                    <a:pt x="180" y="1"/>
                  </a:moveTo>
                  <a:cubicBezTo>
                    <a:pt x="0" y="1"/>
                    <a:pt x="0" y="268"/>
                    <a:pt x="180" y="268"/>
                  </a:cubicBezTo>
                  <a:lnTo>
                    <a:pt x="332" y="268"/>
                  </a:lnTo>
                  <a:cubicBezTo>
                    <a:pt x="512" y="268"/>
                    <a:pt x="512" y="1"/>
                    <a:pt x="33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5" name="Google Shape;1755;p65"/>
            <p:cNvSpPr/>
            <p:nvPr/>
          </p:nvSpPr>
          <p:spPr>
            <a:xfrm>
              <a:off x="4920150" y="1991450"/>
              <a:ext cx="9225" cy="6700"/>
            </a:xfrm>
            <a:custGeom>
              <a:avLst/>
              <a:gdLst/>
              <a:ahLst/>
              <a:cxnLst/>
              <a:rect l="l" t="t" r="r" b="b"/>
              <a:pathLst>
                <a:path w="369" h="268" extrusionOk="0">
                  <a:moveTo>
                    <a:pt x="181" y="1"/>
                  </a:moveTo>
                  <a:cubicBezTo>
                    <a:pt x="0" y="1"/>
                    <a:pt x="0" y="268"/>
                    <a:pt x="181" y="268"/>
                  </a:cubicBezTo>
                  <a:lnTo>
                    <a:pt x="195" y="268"/>
                  </a:lnTo>
                  <a:cubicBezTo>
                    <a:pt x="368" y="268"/>
                    <a:pt x="368" y="1"/>
                    <a:pt x="195"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56" name="Google Shape;1756;p65"/>
          <p:cNvGrpSpPr/>
          <p:nvPr/>
        </p:nvGrpSpPr>
        <p:grpSpPr>
          <a:xfrm>
            <a:off x="9549977" y="4263577"/>
            <a:ext cx="166920" cy="170479"/>
            <a:chOff x="4676550" y="2160575"/>
            <a:chExt cx="51400" cy="52500"/>
          </a:xfrm>
        </p:grpSpPr>
        <p:sp>
          <p:nvSpPr>
            <p:cNvPr id="1757" name="Google Shape;1757;p65"/>
            <p:cNvSpPr/>
            <p:nvPr/>
          </p:nvSpPr>
          <p:spPr>
            <a:xfrm>
              <a:off x="4676550" y="2160575"/>
              <a:ext cx="27775" cy="52500"/>
            </a:xfrm>
            <a:custGeom>
              <a:avLst/>
              <a:gdLst/>
              <a:ahLst/>
              <a:cxnLst/>
              <a:rect l="l" t="t" r="r" b="b"/>
              <a:pathLst>
                <a:path w="1111" h="2100" extrusionOk="0">
                  <a:moveTo>
                    <a:pt x="0" y="1"/>
                  </a:moveTo>
                  <a:lnTo>
                    <a:pt x="823" y="1047"/>
                  </a:lnTo>
                  <a:lnTo>
                    <a:pt x="0" y="2100"/>
                  </a:lnTo>
                  <a:lnTo>
                    <a:pt x="289" y="2100"/>
                  </a:lnTo>
                  <a:lnTo>
                    <a:pt x="1111" y="1047"/>
                  </a:lnTo>
                  <a:lnTo>
                    <a:pt x="289"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8" name="Google Shape;1758;p65"/>
            <p:cNvSpPr/>
            <p:nvPr/>
          </p:nvSpPr>
          <p:spPr>
            <a:xfrm>
              <a:off x="4688275" y="2160575"/>
              <a:ext cx="27975" cy="52500"/>
            </a:xfrm>
            <a:custGeom>
              <a:avLst/>
              <a:gdLst/>
              <a:ahLst/>
              <a:cxnLst/>
              <a:rect l="l" t="t" r="r" b="b"/>
              <a:pathLst>
                <a:path w="1119" h="2100" extrusionOk="0">
                  <a:moveTo>
                    <a:pt x="0" y="1"/>
                  </a:moveTo>
                  <a:lnTo>
                    <a:pt x="822" y="1047"/>
                  </a:lnTo>
                  <a:lnTo>
                    <a:pt x="0" y="2100"/>
                  </a:lnTo>
                  <a:lnTo>
                    <a:pt x="296" y="2100"/>
                  </a:lnTo>
                  <a:lnTo>
                    <a:pt x="1118" y="1047"/>
                  </a:lnTo>
                  <a:lnTo>
                    <a:pt x="296"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59" name="Google Shape;1759;p65"/>
            <p:cNvSpPr/>
            <p:nvPr/>
          </p:nvSpPr>
          <p:spPr>
            <a:xfrm>
              <a:off x="4700175" y="2160575"/>
              <a:ext cx="27775" cy="52500"/>
            </a:xfrm>
            <a:custGeom>
              <a:avLst/>
              <a:gdLst/>
              <a:ahLst/>
              <a:cxnLst/>
              <a:rect l="l" t="t" r="r" b="b"/>
              <a:pathLst>
                <a:path w="1111" h="2100" extrusionOk="0">
                  <a:moveTo>
                    <a:pt x="0" y="1"/>
                  </a:moveTo>
                  <a:lnTo>
                    <a:pt x="822" y="1047"/>
                  </a:lnTo>
                  <a:lnTo>
                    <a:pt x="0" y="2100"/>
                  </a:lnTo>
                  <a:lnTo>
                    <a:pt x="289" y="2100"/>
                  </a:lnTo>
                  <a:lnTo>
                    <a:pt x="1111" y="1047"/>
                  </a:lnTo>
                  <a:lnTo>
                    <a:pt x="289"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60" name="Google Shape;1760;p65"/>
          <p:cNvGrpSpPr/>
          <p:nvPr/>
        </p:nvGrpSpPr>
        <p:grpSpPr>
          <a:xfrm>
            <a:off x="9946322" y="4272952"/>
            <a:ext cx="193873" cy="151725"/>
            <a:chOff x="4768325" y="2163475"/>
            <a:chExt cx="59700" cy="46725"/>
          </a:xfrm>
        </p:grpSpPr>
        <p:sp>
          <p:nvSpPr>
            <p:cNvPr id="1761" name="Google Shape;1761;p65"/>
            <p:cNvSpPr/>
            <p:nvPr/>
          </p:nvSpPr>
          <p:spPr>
            <a:xfrm>
              <a:off x="4768325" y="2163475"/>
              <a:ext cx="35375" cy="46725"/>
            </a:xfrm>
            <a:custGeom>
              <a:avLst/>
              <a:gdLst/>
              <a:ahLst/>
              <a:cxnLst/>
              <a:rect l="l" t="t" r="r" b="b"/>
              <a:pathLst>
                <a:path w="1415" h="1869" extrusionOk="0">
                  <a:moveTo>
                    <a:pt x="0" y="0"/>
                  </a:moveTo>
                  <a:lnTo>
                    <a:pt x="895" y="931"/>
                  </a:lnTo>
                  <a:lnTo>
                    <a:pt x="0" y="1868"/>
                  </a:lnTo>
                  <a:lnTo>
                    <a:pt x="520" y="1868"/>
                  </a:lnTo>
                  <a:lnTo>
                    <a:pt x="1414" y="931"/>
                  </a:lnTo>
                  <a:lnTo>
                    <a:pt x="52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2" name="Google Shape;1762;p65"/>
            <p:cNvSpPr/>
            <p:nvPr/>
          </p:nvSpPr>
          <p:spPr>
            <a:xfrm>
              <a:off x="4792475" y="2163475"/>
              <a:ext cx="35550" cy="46725"/>
            </a:xfrm>
            <a:custGeom>
              <a:avLst/>
              <a:gdLst/>
              <a:ahLst/>
              <a:cxnLst/>
              <a:rect l="l" t="t" r="r" b="b"/>
              <a:pathLst>
                <a:path w="1422" h="1869" extrusionOk="0">
                  <a:moveTo>
                    <a:pt x="1" y="0"/>
                  </a:moveTo>
                  <a:lnTo>
                    <a:pt x="895" y="931"/>
                  </a:lnTo>
                  <a:lnTo>
                    <a:pt x="1" y="1868"/>
                  </a:lnTo>
                  <a:lnTo>
                    <a:pt x="527" y="1868"/>
                  </a:lnTo>
                  <a:lnTo>
                    <a:pt x="1422" y="931"/>
                  </a:lnTo>
                  <a:lnTo>
                    <a:pt x="527"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763" name="Google Shape;1763;p65"/>
          <p:cNvSpPr/>
          <p:nvPr/>
        </p:nvSpPr>
        <p:spPr>
          <a:xfrm>
            <a:off x="10388929" y="4261629"/>
            <a:ext cx="114879" cy="174375"/>
          </a:xfrm>
          <a:custGeom>
            <a:avLst/>
            <a:gdLst/>
            <a:ahLst/>
            <a:cxnLst/>
            <a:rect l="l" t="t" r="r" b="b"/>
            <a:pathLst>
              <a:path w="1415" h="2148" extrusionOk="0">
                <a:moveTo>
                  <a:pt x="308" y="0"/>
                </a:moveTo>
                <a:cubicBezTo>
                  <a:pt x="152" y="0"/>
                  <a:pt x="1" y="123"/>
                  <a:pt x="1" y="308"/>
                </a:cubicBezTo>
                <a:lnTo>
                  <a:pt x="8" y="1844"/>
                </a:lnTo>
                <a:cubicBezTo>
                  <a:pt x="8" y="2026"/>
                  <a:pt x="158" y="2148"/>
                  <a:pt x="316" y="2148"/>
                </a:cubicBezTo>
                <a:cubicBezTo>
                  <a:pt x="390" y="2148"/>
                  <a:pt x="465" y="2121"/>
                  <a:pt x="527" y="2061"/>
                </a:cubicBezTo>
                <a:lnTo>
                  <a:pt x="1292" y="1296"/>
                </a:lnTo>
                <a:cubicBezTo>
                  <a:pt x="1414" y="1181"/>
                  <a:pt x="1414" y="986"/>
                  <a:pt x="1292" y="864"/>
                </a:cubicBezTo>
                <a:lnTo>
                  <a:pt x="520" y="92"/>
                </a:lnTo>
                <a:cubicBezTo>
                  <a:pt x="459" y="29"/>
                  <a:pt x="383" y="0"/>
                  <a:pt x="308"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4" name="Google Shape;1764;p65"/>
          <p:cNvSpPr/>
          <p:nvPr/>
        </p:nvSpPr>
        <p:spPr>
          <a:xfrm>
            <a:off x="10752096" y="5604409"/>
            <a:ext cx="197445" cy="217319"/>
          </a:xfrm>
          <a:custGeom>
            <a:avLst/>
            <a:gdLst/>
            <a:ahLst/>
            <a:cxnLst/>
            <a:rect l="l" t="t" r="r" b="b"/>
            <a:pathLst>
              <a:path w="2432" h="2677" extrusionOk="0">
                <a:moveTo>
                  <a:pt x="801" y="1"/>
                </a:moveTo>
                <a:lnTo>
                  <a:pt x="1205" y="751"/>
                </a:lnTo>
                <a:lnTo>
                  <a:pt x="1" y="751"/>
                </a:lnTo>
                <a:lnTo>
                  <a:pt x="1" y="1927"/>
                </a:lnTo>
                <a:lnTo>
                  <a:pt x="1205" y="1927"/>
                </a:lnTo>
                <a:lnTo>
                  <a:pt x="801" y="2677"/>
                </a:lnTo>
                <a:lnTo>
                  <a:pt x="2431" y="1335"/>
                </a:lnTo>
                <a:lnTo>
                  <a:pt x="801"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5" name="Google Shape;1765;p65"/>
          <p:cNvSpPr/>
          <p:nvPr/>
        </p:nvSpPr>
        <p:spPr>
          <a:xfrm>
            <a:off x="9554038" y="4575370"/>
            <a:ext cx="158801" cy="217887"/>
          </a:xfrm>
          <a:custGeom>
            <a:avLst/>
            <a:gdLst/>
            <a:ahLst/>
            <a:cxnLst/>
            <a:rect l="l" t="t" r="r" b="b"/>
            <a:pathLst>
              <a:path w="1956" h="2684" extrusionOk="0">
                <a:moveTo>
                  <a:pt x="1" y="0"/>
                </a:moveTo>
                <a:lnTo>
                  <a:pt x="787" y="1342"/>
                </a:lnTo>
                <a:lnTo>
                  <a:pt x="1" y="2683"/>
                </a:lnTo>
                <a:lnTo>
                  <a:pt x="1955" y="1342"/>
                </a:lnTo>
                <a:lnTo>
                  <a:pt x="1"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6" name="Google Shape;1766;p65"/>
          <p:cNvSpPr/>
          <p:nvPr/>
        </p:nvSpPr>
        <p:spPr>
          <a:xfrm>
            <a:off x="9511333" y="5625516"/>
            <a:ext cx="244209" cy="175105"/>
          </a:xfrm>
          <a:custGeom>
            <a:avLst/>
            <a:gdLst/>
            <a:ahLst/>
            <a:cxnLst/>
            <a:rect l="l" t="t" r="r" b="b"/>
            <a:pathLst>
              <a:path w="3008" h="2157" extrusionOk="0">
                <a:moveTo>
                  <a:pt x="0" y="0"/>
                </a:moveTo>
                <a:lnTo>
                  <a:pt x="729" y="1075"/>
                </a:lnTo>
                <a:lnTo>
                  <a:pt x="0" y="2157"/>
                </a:lnTo>
                <a:lnTo>
                  <a:pt x="0" y="2157"/>
                </a:lnTo>
                <a:lnTo>
                  <a:pt x="3008" y="1075"/>
                </a:lnTo>
                <a:lnTo>
                  <a:pt x="0" y="0"/>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7" name="Google Shape;1767;p65"/>
          <p:cNvSpPr/>
          <p:nvPr/>
        </p:nvSpPr>
        <p:spPr>
          <a:xfrm>
            <a:off x="9534431" y="4934374"/>
            <a:ext cx="198015" cy="150020"/>
          </a:xfrm>
          <a:custGeom>
            <a:avLst/>
            <a:gdLst/>
            <a:ahLst/>
            <a:cxnLst/>
            <a:rect l="l" t="t" r="r" b="b"/>
            <a:pathLst>
              <a:path w="2439" h="1848" extrusionOk="0">
                <a:moveTo>
                  <a:pt x="1580" y="1"/>
                </a:moveTo>
                <a:lnTo>
                  <a:pt x="1371" y="203"/>
                </a:lnTo>
                <a:lnTo>
                  <a:pt x="1919" y="780"/>
                </a:lnTo>
                <a:lnTo>
                  <a:pt x="1" y="780"/>
                </a:lnTo>
                <a:lnTo>
                  <a:pt x="1" y="1068"/>
                </a:lnTo>
                <a:lnTo>
                  <a:pt x="1919" y="1068"/>
                </a:lnTo>
                <a:lnTo>
                  <a:pt x="1371" y="1645"/>
                </a:lnTo>
                <a:lnTo>
                  <a:pt x="1580" y="1847"/>
                </a:lnTo>
                <a:lnTo>
                  <a:pt x="2439" y="924"/>
                </a:lnTo>
                <a:lnTo>
                  <a:pt x="1580"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68" name="Google Shape;1768;p65"/>
          <p:cNvSpPr/>
          <p:nvPr/>
        </p:nvSpPr>
        <p:spPr>
          <a:xfrm>
            <a:off x="10379430" y="4910264"/>
            <a:ext cx="133877" cy="198241"/>
          </a:xfrm>
          <a:custGeom>
            <a:avLst/>
            <a:gdLst/>
            <a:ahLst/>
            <a:cxnLst/>
            <a:rect l="l" t="t" r="r" b="b"/>
            <a:pathLst>
              <a:path w="1649" h="2442" extrusionOk="0">
                <a:moveTo>
                  <a:pt x="501" y="1"/>
                </a:moveTo>
                <a:cubicBezTo>
                  <a:pt x="238" y="1"/>
                  <a:pt x="1" y="336"/>
                  <a:pt x="250" y="590"/>
                </a:cubicBezTo>
                <a:lnTo>
                  <a:pt x="841" y="1232"/>
                </a:lnTo>
                <a:lnTo>
                  <a:pt x="250" y="1874"/>
                </a:lnTo>
                <a:cubicBezTo>
                  <a:pt x="36" y="2126"/>
                  <a:pt x="260" y="2441"/>
                  <a:pt x="516" y="2441"/>
                </a:cubicBezTo>
                <a:cubicBezTo>
                  <a:pt x="596" y="2441"/>
                  <a:pt x="680" y="2410"/>
                  <a:pt x="754" y="2336"/>
                </a:cubicBezTo>
                <a:lnTo>
                  <a:pt x="1555" y="1463"/>
                </a:lnTo>
                <a:cubicBezTo>
                  <a:pt x="1613" y="1405"/>
                  <a:pt x="1641" y="1326"/>
                  <a:pt x="1649" y="1246"/>
                </a:cubicBezTo>
                <a:cubicBezTo>
                  <a:pt x="1649" y="1239"/>
                  <a:pt x="1649" y="1239"/>
                  <a:pt x="1649" y="1232"/>
                </a:cubicBezTo>
                <a:cubicBezTo>
                  <a:pt x="1649" y="1225"/>
                  <a:pt x="1649" y="1225"/>
                  <a:pt x="1649" y="1218"/>
                </a:cubicBezTo>
                <a:cubicBezTo>
                  <a:pt x="1641" y="1138"/>
                  <a:pt x="1613" y="1059"/>
                  <a:pt x="1555" y="1001"/>
                </a:cubicBezTo>
                <a:lnTo>
                  <a:pt x="754" y="129"/>
                </a:lnTo>
                <a:cubicBezTo>
                  <a:pt x="679" y="38"/>
                  <a:pt x="588" y="1"/>
                  <a:pt x="501"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769" name="Google Shape;1769;p65"/>
          <p:cNvGrpSpPr/>
          <p:nvPr/>
        </p:nvGrpSpPr>
        <p:grpSpPr>
          <a:xfrm>
            <a:off x="9968079" y="4613078"/>
            <a:ext cx="150357" cy="142471"/>
            <a:chOff x="4768575" y="2253950"/>
            <a:chExt cx="46300" cy="43875"/>
          </a:xfrm>
        </p:grpSpPr>
        <p:sp>
          <p:nvSpPr>
            <p:cNvPr id="1770" name="Google Shape;1770;p65"/>
            <p:cNvSpPr/>
            <p:nvPr/>
          </p:nvSpPr>
          <p:spPr>
            <a:xfrm>
              <a:off x="4785700" y="2253950"/>
              <a:ext cx="29175" cy="43875"/>
            </a:xfrm>
            <a:custGeom>
              <a:avLst/>
              <a:gdLst/>
              <a:ahLst/>
              <a:cxnLst/>
              <a:rect l="l" t="t" r="r" b="b"/>
              <a:pathLst>
                <a:path w="1167" h="1755" extrusionOk="0">
                  <a:moveTo>
                    <a:pt x="262" y="1"/>
                  </a:moveTo>
                  <a:cubicBezTo>
                    <a:pt x="150" y="1"/>
                    <a:pt x="49" y="149"/>
                    <a:pt x="164" y="247"/>
                  </a:cubicBezTo>
                  <a:lnTo>
                    <a:pt x="770" y="853"/>
                  </a:lnTo>
                  <a:lnTo>
                    <a:pt x="106" y="1517"/>
                  </a:lnTo>
                  <a:cubicBezTo>
                    <a:pt x="1" y="1616"/>
                    <a:pt x="95" y="1754"/>
                    <a:pt x="204" y="1754"/>
                  </a:cubicBezTo>
                  <a:cubicBezTo>
                    <a:pt x="236" y="1754"/>
                    <a:pt x="271" y="1742"/>
                    <a:pt x="301" y="1711"/>
                  </a:cubicBezTo>
                  <a:lnTo>
                    <a:pt x="1166" y="853"/>
                  </a:lnTo>
                  <a:lnTo>
                    <a:pt x="366" y="52"/>
                  </a:lnTo>
                  <a:cubicBezTo>
                    <a:pt x="334" y="16"/>
                    <a:pt x="297" y="1"/>
                    <a:pt x="26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1" name="Google Shape;1771;p65"/>
            <p:cNvSpPr/>
            <p:nvPr/>
          </p:nvSpPr>
          <p:spPr>
            <a:xfrm>
              <a:off x="4768575" y="2253950"/>
              <a:ext cx="29175" cy="43875"/>
            </a:xfrm>
            <a:custGeom>
              <a:avLst/>
              <a:gdLst/>
              <a:ahLst/>
              <a:cxnLst/>
              <a:rect l="l" t="t" r="r" b="b"/>
              <a:pathLst>
                <a:path w="1167" h="1755" extrusionOk="0">
                  <a:moveTo>
                    <a:pt x="261" y="1"/>
                  </a:moveTo>
                  <a:cubicBezTo>
                    <a:pt x="150" y="1"/>
                    <a:pt x="50" y="149"/>
                    <a:pt x="171" y="247"/>
                  </a:cubicBezTo>
                  <a:lnTo>
                    <a:pt x="769" y="853"/>
                  </a:lnTo>
                  <a:lnTo>
                    <a:pt x="106" y="1517"/>
                  </a:lnTo>
                  <a:cubicBezTo>
                    <a:pt x="1" y="1616"/>
                    <a:pt x="95" y="1754"/>
                    <a:pt x="203" y="1754"/>
                  </a:cubicBezTo>
                  <a:cubicBezTo>
                    <a:pt x="236" y="1754"/>
                    <a:pt x="270" y="1742"/>
                    <a:pt x="301" y="1711"/>
                  </a:cubicBezTo>
                  <a:lnTo>
                    <a:pt x="1166" y="853"/>
                  </a:lnTo>
                  <a:lnTo>
                    <a:pt x="365" y="52"/>
                  </a:lnTo>
                  <a:cubicBezTo>
                    <a:pt x="334" y="16"/>
                    <a:pt x="297" y="1"/>
                    <a:pt x="26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72" name="Google Shape;1772;p65"/>
          <p:cNvGrpSpPr/>
          <p:nvPr/>
        </p:nvGrpSpPr>
        <p:grpSpPr>
          <a:xfrm>
            <a:off x="10367577" y="5265112"/>
            <a:ext cx="157583" cy="194995"/>
            <a:chOff x="4960900" y="2433225"/>
            <a:chExt cx="48525" cy="60050"/>
          </a:xfrm>
        </p:grpSpPr>
        <p:sp>
          <p:nvSpPr>
            <p:cNvPr id="1773" name="Google Shape;1773;p65"/>
            <p:cNvSpPr/>
            <p:nvPr/>
          </p:nvSpPr>
          <p:spPr>
            <a:xfrm>
              <a:off x="4974225" y="2433225"/>
              <a:ext cx="35200" cy="60050"/>
            </a:xfrm>
            <a:custGeom>
              <a:avLst/>
              <a:gdLst/>
              <a:ahLst/>
              <a:cxnLst/>
              <a:rect l="l" t="t" r="r" b="b"/>
              <a:pathLst>
                <a:path w="1408" h="2402" extrusionOk="0">
                  <a:moveTo>
                    <a:pt x="102" y="0"/>
                  </a:moveTo>
                  <a:lnTo>
                    <a:pt x="95" y="7"/>
                  </a:lnTo>
                  <a:lnTo>
                    <a:pt x="1112" y="1154"/>
                  </a:lnTo>
                  <a:lnTo>
                    <a:pt x="1" y="2402"/>
                  </a:lnTo>
                  <a:lnTo>
                    <a:pt x="297" y="2402"/>
                  </a:lnTo>
                  <a:lnTo>
                    <a:pt x="1407" y="1154"/>
                  </a:lnTo>
                  <a:lnTo>
                    <a:pt x="383"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4" name="Google Shape;1774;p65"/>
            <p:cNvSpPr/>
            <p:nvPr/>
          </p:nvSpPr>
          <p:spPr>
            <a:xfrm>
              <a:off x="4960900" y="2433225"/>
              <a:ext cx="35175" cy="60050"/>
            </a:xfrm>
            <a:custGeom>
              <a:avLst/>
              <a:gdLst/>
              <a:ahLst/>
              <a:cxnLst/>
              <a:rect l="l" t="t" r="r" b="b"/>
              <a:pathLst>
                <a:path w="1407" h="2402" extrusionOk="0">
                  <a:moveTo>
                    <a:pt x="108" y="0"/>
                  </a:moveTo>
                  <a:lnTo>
                    <a:pt x="94" y="7"/>
                  </a:lnTo>
                  <a:lnTo>
                    <a:pt x="1111" y="1154"/>
                  </a:lnTo>
                  <a:lnTo>
                    <a:pt x="0" y="2402"/>
                  </a:lnTo>
                  <a:lnTo>
                    <a:pt x="296" y="2402"/>
                  </a:lnTo>
                  <a:lnTo>
                    <a:pt x="1407" y="1154"/>
                  </a:lnTo>
                  <a:lnTo>
                    <a:pt x="390"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75" name="Google Shape;1775;p65"/>
          <p:cNvGrpSpPr/>
          <p:nvPr/>
        </p:nvGrpSpPr>
        <p:grpSpPr>
          <a:xfrm>
            <a:off x="9952329" y="5617193"/>
            <a:ext cx="181859" cy="191747"/>
            <a:chOff x="4854075" y="2527625"/>
            <a:chExt cx="56000" cy="59050"/>
          </a:xfrm>
        </p:grpSpPr>
        <p:sp>
          <p:nvSpPr>
            <p:cNvPr id="1776" name="Google Shape;1776;p65"/>
            <p:cNvSpPr/>
            <p:nvPr/>
          </p:nvSpPr>
          <p:spPr>
            <a:xfrm>
              <a:off x="4872325" y="2527625"/>
              <a:ext cx="37750" cy="59050"/>
            </a:xfrm>
            <a:custGeom>
              <a:avLst/>
              <a:gdLst/>
              <a:ahLst/>
              <a:cxnLst/>
              <a:rect l="l" t="t" r="r" b="b"/>
              <a:pathLst>
                <a:path w="1510" h="2362" extrusionOk="0">
                  <a:moveTo>
                    <a:pt x="305" y="1"/>
                  </a:moveTo>
                  <a:cubicBezTo>
                    <a:pt x="141" y="1"/>
                    <a:pt x="1" y="210"/>
                    <a:pt x="146" y="371"/>
                  </a:cubicBezTo>
                  <a:lnTo>
                    <a:pt x="961" y="1179"/>
                  </a:lnTo>
                  <a:lnTo>
                    <a:pt x="146" y="1994"/>
                  </a:lnTo>
                  <a:cubicBezTo>
                    <a:pt x="0" y="2151"/>
                    <a:pt x="143" y="2361"/>
                    <a:pt x="308" y="2361"/>
                  </a:cubicBezTo>
                  <a:cubicBezTo>
                    <a:pt x="355" y="2361"/>
                    <a:pt x="404" y="2344"/>
                    <a:pt x="449" y="2304"/>
                  </a:cubicBezTo>
                  <a:lnTo>
                    <a:pt x="1423" y="1338"/>
                  </a:lnTo>
                  <a:cubicBezTo>
                    <a:pt x="1509" y="1244"/>
                    <a:pt x="1509" y="1107"/>
                    <a:pt x="1423" y="1013"/>
                  </a:cubicBezTo>
                  <a:lnTo>
                    <a:pt x="1423" y="1020"/>
                  </a:lnTo>
                  <a:lnTo>
                    <a:pt x="449" y="61"/>
                  </a:lnTo>
                  <a:cubicBezTo>
                    <a:pt x="403" y="19"/>
                    <a:pt x="353" y="1"/>
                    <a:pt x="305"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7" name="Google Shape;1777;p65"/>
            <p:cNvSpPr/>
            <p:nvPr/>
          </p:nvSpPr>
          <p:spPr>
            <a:xfrm>
              <a:off x="4854075" y="2539100"/>
              <a:ext cx="26075" cy="35875"/>
            </a:xfrm>
            <a:custGeom>
              <a:avLst/>
              <a:gdLst/>
              <a:ahLst/>
              <a:cxnLst/>
              <a:rect l="l" t="t" r="r" b="b"/>
              <a:pathLst>
                <a:path w="1043" h="1435" extrusionOk="0">
                  <a:moveTo>
                    <a:pt x="326" y="1"/>
                  </a:moveTo>
                  <a:cubicBezTo>
                    <a:pt x="152" y="1"/>
                    <a:pt x="1" y="234"/>
                    <a:pt x="177" y="388"/>
                  </a:cubicBezTo>
                  <a:lnTo>
                    <a:pt x="516" y="720"/>
                  </a:lnTo>
                  <a:lnTo>
                    <a:pt x="177" y="1059"/>
                  </a:lnTo>
                  <a:cubicBezTo>
                    <a:pt x="21" y="1215"/>
                    <a:pt x="165" y="1435"/>
                    <a:pt x="336" y="1435"/>
                  </a:cubicBezTo>
                  <a:cubicBezTo>
                    <a:pt x="386" y="1435"/>
                    <a:pt x="439" y="1415"/>
                    <a:pt x="487" y="1369"/>
                  </a:cubicBezTo>
                  <a:lnTo>
                    <a:pt x="977" y="886"/>
                  </a:lnTo>
                  <a:cubicBezTo>
                    <a:pt x="1020" y="843"/>
                    <a:pt x="1042" y="785"/>
                    <a:pt x="1042" y="720"/>
                  </a:cubicBezTo>
                  <a:cubicBezTo>
                    <a:pt x="1042" y="662"/>
                    <a:pt x="1013" y="605"/>
                    <a:pt x="977" y="561"/>
                  </a:cubicBezTo>
                  <a:lnTo>
                    <a:pt x="487" y="78"/>
                  </a:lnTo>
                  <a:cubicBezTo>
                    <a:pt x="437" y="23"/>
                    <a:pt x="380" y="1"/>
                    <a:pt x="326" y="1"/>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778" name="Google Shape;1778;p65"/>
          <p:cNvSpPr/>
          <p:nvPr/>
        </p:nvSpPr>
        <p:spPr>
          <a:xfrm>
            <a:off x="9972667" y="5274164"/>
            <a:ext cx="141184" cy="176891"/>
          </a:xfrm>
          <a:custGeom>
            <a:avLst/>
            <a:gdLst/>
            <a:ahLst/>
            <a:cxnLst/>
            <a:rect l="l" t="t" r="r" b="b"/>
            <a:pathLst>
              <a:path w="1739" h="2179" extrusionOk="0">
                <a:moveTo>
                  <a:pt x="1" y="1"/>
                </a:moveTo>
                <a:lnTo>
                  <a:pt x="1" y="2179"/>
                </a:lnTo>
                <a:lnTo>
                  <a:pt x="758" y="2179"/>
                </a:lnTo>
                <a:lnTo>
                  <a:pt x="1739" y="1090"/>
                </a:lnTo>
                <a:lnTo>
                  <a:pt x="758"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79" name="Google Shape;1779;p65"/>
          <p:cNvSpPr/>
          <p:nvPr/>
        </p:nvSpPr>
        <p:spPr>
          <a:xfrm>
            <a:off x="10744222" y="4260369"/>
            <a:ext cx="213196" cy="176891"/>
          </a:xfrm>
          <a:custGeom>
            <a:avLst/>
            <a:gdLst/>
            <a:ahLst/>
            <a:cxnLst/>
            <a:rect l="l" t="t" r="r" b="b"/>
            <a:pathLst>
              <a:path w="2626" h="2179" extrusionOk="0">
                <a:moveTo>
                  <a:pt x="0" y="1"/>
                </a:moveTo>
                <a:lnTo>
                  <a:pt x="887" y="1090"/>
                </a:lnTo>
                <a:lnTo>
                  <a:pt x="0" y="2179"/>
                </a:lnTo>
                <a:lnTo>
                  <a:pt x="1644" y="2179"/>
                </a:lnTo>
                <a:lnTo>
                  <a:pt x="2625" y="1090"/>
                </a:lnTo>
                <a:lnTo>
                  <a:pt x="1644"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0" name="Google Shape;1780;p65"/>
          <p:cNvSpPr/>
          <p:nvPr/>
        </p:nvSpPr>
        <p:spPr>
          <a:xfrm>
            <a:off x="9543239" y="5274164"/>
            <a:ext cx="180397" cy="176891"/>
          </a:xfrm>
          <a:custGeom>
            <a:avLst/>
            <a:gdLst/>
            <a:ahLst/>
            <a:cxnLst/>
            <a:rect l="l" t="t" r="r" b="b"/>
            <a:pathLst>
              <a:path w="2222" h="2179" extrusionOk="0">
                <a:moveTo>
                  <a:pt x="477" y="1"/>
                </a:moveTo>
                <a:lnTo>
                  <a:pt x="895" y="513"/>
                </a:lnTo>
                <a:lnTo>
                  <a:pt x="1" y="513"/>
                </a:lnTo>
                <a:lnTo>
                  <a:pt x="1" y="1659"/>
                </a:lnTo>
                <a:lnTo>
                  <a:pt x="895" y="1659"/>
                </a:lnTo>
                <a:lnTo>
                  <a:pt x="477" y="2179"/>
                </a:lnTo>
                <a:lnTo>
                  <a:pt x="1234" y="2179"/>
                </a:lnTo>
                <a:lnTo>
                  <a:pt x="2222" y="1090"/>
                </a:lnTo>
                <a:lnTo>
                  <a:pt x="1234"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781" name="Google Shape;1781;p65"/>
          <p:cNvGrpSpPr/>
          <p:nvPr/>
        </p:nvGrpSpPr>
        <p:grpSpPr>
          <a:xfrm>
            <a:off x="10784611" y="4902186"/>
            <a:ext cx="132416" cy="214396"/>
            <a:chOff x="5059700" y="2334775"/>
            <a:chExt cx="40775" cy="66025"/>
          </a:xfrm>
        </p:grpSpPr>
        <p:sp>
          <p:nvSpPr>
            <p:cNvPr id="1782" name="Google Shape;1782;p65"/>
            <p:cNvSpPr/>
            <p:nvPr/>
          </p:nvSpPr>
          <p:spPr>
            <a:xfrm>
              <a:off x="5059700" y="2334775"/>
              <a:ext cx="12475" cy="10525"/>
            </a:xfrm>
            <a:custGeom>
              <a:avLst/>
              <a:gdLst/>
              <a:ahLst/>
              <a:cxnLst/>
              <a:rect l="l" t="t" r="r" b="b"/>
              <a:pathLst>
                <a:path w="499" h="421" extrusionOk="0">
                  <a:moveTo>
                    <a:pt x="282" y="0"/>
                  </a:moveTo>
                  <a:cubicBezTo>
                    <a:pt x="94" y="0"/>
                    <a:pt x="1" y="224"/>
                    <a:pt x="138" y="361"/>
                  </a:cubicBezTo>
                  <a:cubicBezTo>
                    <a:pt x="179" y="402"/>
                    <a:pt x="230" y="421"/>
                    <a:pt x="281" y="421"/>
                  </a:cubicBezTo>
                  <a:cubicBezTo>
                    <a:pt x="388" y="421"/>
                    <a:pt x="491" y="337"/>
                    <a:pt x="491" y="209"/>
                  </a:cubicBezTo>
                  <a:cubicBezTo>
                    <a:pt x="498" y="94"/>
                    <a:pt x="397" y="0"/>
                    <a:pt x="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3" name="Google Shape;1783;p65"/>
            <p:cNvSpPr/>
            <p:nvPr/>
          </p:nvSpPr>
          <p:spPr>
            <a:xfrm>
              <a:off x="5059700" y="2348650"/>
              <a:ext cx="12475" cy="10550"/>
            </a:xfrm>
            <a:custGeom>
              <a:avLst/>
              <a:gdLst/>
              <a:ahLst/>
              <a:cxnLst/>
              <a:rect l="l" t="t" r="r" b="b"/>
              <a:pathLst>
                <a:path w="499" h="422" extrusionOk="0">
                  <a:moveTo>
                    <a:pt x="282" y="1"/>
                  </a:moveTo>
                  <a:cubicBezTo>
                    <a:pt x="94" y="1"/>
                    <a:pt x="1" y="224"/>
                    <a:pt x="138" y="361"/>
                  </a:cubicBezTo>
                  <a:cubicBezTo>
                    <a:pt x="179" y="403"/>
                    <a:pt x="230" y="421"/>
                    <a:pt x="281" y="421"/>
                  </a:cubicBezTo>
                  <a:cubicBezTo>
                    <a:pt x="388" y="421"/>
                    <a:pt x="491" y="337"/>
                    <a:pt x="491" y="210"/>
                  </a:cubicBezTo>
                  <a:cubicBezTo>
                    <a:pt x="498" y="94"/>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4" name="Google Shape;1784;p65"/>
            <p:cNvSpPr/>
            <p:nvPr/>
          </p:nvSpPr>
          <p:spPr>
            <a:xfrm>
              <a:off x="5059700" y="2362525"/>
              <a:ext cx="12475" cy="10550"/>
            </a:xfrm>
            <a:custGeom>
              <a:avLst/>
              <a:gdLst/>
              <a:ahLst/>
              <a:cxnLst/>
              <a:rect l="l" t="t" r="r" b="b"/>
              <a:pathLst>
                <a:path w="499" h="422" extrusionOk="0">
                  <a:moveTo>
                    <a:pt x="282" y="1"/>
                  </a:moveTo>
                  <a:cubicBezTo>
                    <a:pt x="94" y="1"/>
                    <a:pt x="1" y="224"/>
                    <a:pt x="138" y="361"/>
                  </a:cubicBezTo>
                  <a:cubicBezTo>
                    <a:pt x="179" y="403"/>
                    <a:pt x="230" y="422"/>
                    <a:pt x="281" y="422"/>
                  </a:cubicBezTo>
                  <a:cubicBezTo>
                    <a:pt x="388" y="422"/>
                    <a:pt x="491" y="338"/>
                    <a:pt x="491" y="210"/>
                  </a:cubicBezTo>
                  <a:cubicBezTo>
                    <a:pt x="498" y="95"/>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5" name="Google Shape;1785;p65"/>
            <p:cNvSpPr/>
            <p:nvPr/>
          </p:nvSpPr>
          <p:spPr>
            <a:xfrm>
              <a:off x="5059700" y="2376400"/>
              <a:ext cx="12475" cy="10500"/>
            </a:xfrm>
            <a:custGeom>
              <a:avLst/>
              <a:gdLst/>
              <a:ahLst/>
              <a:cxnLst/>
              <a:rect l="l" t="t" r="r" b="b"/>
              <a:pathLst>
                <a:path w="499" h="420" extrusionOk="0">
                  <a:moveTo>
                    <a:pt x="294" y="1"/>
                  </a:moveTo>
                  <a:cubicBezTo>
                    <a:pt x="290" y="1"/>
                    <a:pt x="286" y="1"/>
                    <a:pt x="282" y="1"/>
                  </a:cubicBezTo>
                  <a:cubicBezTo>
                    <a:pt x="94" y="1"/>
                    <a:pt x="1" y="225"/>
                    <a:pt x="138" y="355"/>
                  </a:cubicBezTo>
                  <a:cubicBezTo>
                    <a:pt x="180" y="400"/>
                    <a:pt x="233" y="420"/>
                    <a:pt x="285" y="420"/>
                  </a:cubicBezTo>
                  <a:cubicBezTo>
                    <a:pt x="390" y="420"/>
                    <a:pt x="491" y="336"/>
                    <a:pt x="491" y="210"/>
                  </a:cubicBezTo>
                  <a:cubicBezTo>
                    <a:pt x="498" y="99"/>
                    <a:pt x="404" y="1"/>
                    <a:pt x="29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6" name="Google Shape;1786;p65"/>
            <p:cNvSpPr/>
            <p:nvPr/>
          </p:nvSpPr>
          <p:spPr>
            <a:xfrm>
              <a:off x="5059700" y="2390125"/>
              <a:ext cx="12475" cy="10675"/>
            </a:xfrm>
            <a:custGeom>
              <a:avLst/>
              <a:gdLst/>
              <a:ahLst/>
              <a:cxnLst/>
              <a:rect l="l" t="t" r="r" b="b"/>
              <a:pathLst>
                <a:path w="499" h="427" extrusionOk="0">
                  <a:moveTo>
                    <a:pt x="282" y="0"/>
                  </a:moveTo>
                  <a:cubicBezTo>
                    <a:pt x="94" y="0"/>
                    <a:pt x="1" y="231"/>
                    <a:pt x="138" y="361"/>
                  </a:cubicBezTo>
                  <a:cubicBezTo>
                    <a:pt x="180" y="406"/>
                    <a:pt x="233" y="426"/>
                    <a:pt x="285" y="426"/>
                  </a:cubicBezTo>
                  <a:cubicBezTo>
                    <a:pt x="390" y="426"/>
                    <a:pt x="491" y="343"/>
                    <a:pt x="491" y="217"/>
                  </a:cubicBezTo>
                  <a:cubicBezTo>
                    <a:pt x="498" y="94"/>
                    <a:pt x="397" y="0"/>
                    <a:pt x="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7" name="Google Shape;1787;p65"/>
            <p:cNvSpPr/>
            <p:nvPr/>
          </p:nvSpPr>
          <p:spPr>
            <a:xfrm>
              <a:off x="5073950" y="2348650"/>
              <a:ext cx="12275" cy="10550"/>
            </a:xfrm>
            <a:custGeom>
              <a:avLst/>
              <a:gdLst/>
              <a:ahLst/>
              <a:cxnLst/>
              <a:rect l="l" t="t" r="r" b="b"/>
              <a:pathLst>
                <a:path w="491" h="422" extrusionOk="0">
                  <a:moveTo>
                    <a:pt x="282" y="1"/>
                  </a:moveTo>
                  <a:cubicBezTo>
                    <a:pt x="94" y="1"/>
                    <a:pt x="0" y="224"/>
                    <a:pt x="130" y="361"/>
                  </a:cubicBezTo>
                  <a:cubicBezTo>
                    <a:pt x="174" y="403"/>
                    <a:pt x="227" y="421"/>
                    <a:pt x="278" y="421"/>
                  </a:cubicBezTo>
                  <a:cubicBezTo>
                    <a:pt x="387" y="421"/>
                    <a:pt x="491" y="337"/>
                    <a:pt x="491" y="210"/>
                  </a:cubicBezTo>
                  <a:cubicBezTo>
                    <a:pt x="491" y="94"/>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8" name="Google Shape;1788;p65"/>
            <p:cNvSpPr/>
            <p:nvPr/>
          </p:nvSpPr>
          <p:spPr>
            <a:xfrm>
              <a:off x="5073950" y="2362525"/>
              <a:ext cx="12275" cy="10550"/>
            </a:xfrm>
            <a:custGeom>
              <a:avLst/>
              <a:gdLst/>
              <a:ahLst/>
              <a:cxnLst/>
              <a:rect l="l" t="t" r="r" b="b"/>
              <a:pathLst>
                <a:path w="491" h="422" extrusionOk="0">
                  <a:moveTo>
                    <a:pt x="282" y="1"/>
                  </a:moveTo>
                  <a:cubicBezTo>
                    <a:pt x="94" y="1"/>
                    <a:pt x="0" y="224"/>
                    <a:pt x="130" y="361"/>
                  </a:cubicBezTo>
                  <a:cubicBezTo>
                    <a:pt x="174" y="403"/>
                    <a:pt x="227" y="422"/>
                    <a:pt x="278" y="422"/>
                  </a:cubicBezTo>
                  <a:cubicBezTo>
                    <a:pt x="387" y="422"/>
                    <a:pt x="491" y="338"/>
                    <a:pt x="491" y="210"/>
                  </a:cubicBezTo>
                  <a:cubicBezTo>
                    <a:pt x="491" y="95"/>
                    <a:pt x="397" y="1"/>
                    <a:pt x="28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89" name="Google Shape;1789;p65"/>
            <p:cNvSpPr/>
            <p:nvPr/>
          </p:nvSpPr>
          <p:spPr>
            <a:xfrm>
              <a:off x="5074000" y="2376400"/>
              <a:ext cx="12225" cy="10500"/>
            </a:xfrm>
            <a:custGeom>
              <a:avLst/>
              <a:gdLst/>
              <a:ahLst/>
              <a:cxnLst/>
              <a:rect l="l" t="t" r="r" b="b"/>
              <a:pathLst>
                <a:path w="489" h="420" extrusionOk="0">
                  <a:moveTo>
                    <a:pt x="291" y="1"/>
                  </a:moveTo>
                  <a:cubicBezTo>
                    <a:pt x="287" y="1"/>
                    <a:pt x="284" y="1"/>
                    <a:pt x="280" y="1"/>
                  </a:cubicBezTo>
                  <a:cubicBezTo>
                    <a:pt x="277" y="1"/>
                    <a:pt x="274" y="1"/>
                    <a:pt x="271" y="1"/>
                  </a:cubicBezTo>
                  <a:cubicBezTo>
                    <a:pt x="89" y="1"/>
                    <a:pt x="0" y="227"/>
                    <a:pt x="128" y="355"/>
                  </a:cubicBezTo>
                  <a:cubicBezTo>
                    <a:pt x="173" y="400"/>
                    <a:pt x="228" y="420"/>
                    <a:pt x="281" y="420"/>
                  </a:cubicBezTo>
                  <a:cubicBezTo>
                    <a:pt x="388" y="420"/>
                    <a:pt x="489" y="336"/>
                    <a:pt x="489" y="210"/>
                  </a:cubicBezTo>
                  <a:cubicBezTo>
                    <a:pt x="489" y="99"/>
                    <a:pt x="401" y="1"/>
                    <a:pt x="29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0" name="Google Shape;1790;p65"/>
            <p:cNvSpPr/>
            <p:nvPr/>
          </p:nvSpPr>
          <p:spPr>
            <a:xfrm>
              <a:off x="5088000" y="2362525"/>
              <a:ext cx="12475" cy="10550"/>
            </a:xfrm>
            <a:custGeom>
              <a:avLst/>
              <a:gdLst/>
              <a:ahLst/>
              <a:cxnLst/>
              <a:rect l="l" t="t" r="r" b="b"/>
              <a:pathLst>
                <a:path w="499" h="422" extrusionOk="0">
                  <a:moveTo>
                    <a:pt x="289" y="1"/>
                  </a:moveTo>
                  <a:cubicBezTo>
                    <a:pt x="102" y="1"/>
                    <a:pt x="1" y="224"/>
                    <a:pt x="138" y="361"/>
                  </a:cubicBezTo>
                  <a:cubicBezTo>
                    <a:pt x="180" y="403"/>
                    <a:pt x="231" y="422"/>
                    <a:pt x="283" y="422"/>
                  </a:cubicBezTo>
                  <a:cubicBezTo>
                    <a:pt x="392" y="422"/>
                    <a:pt x="499" y="338"/>
                    <a:pt x="499" y="210"/>
                  </a:cubicBezTo>
                  <a:cubicBezTo>
                    <a:pt x="499" y="95"/>
                    <a:pt x="405" y="1"/>
                    <a:pt x="28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91" name="Google Shape;1791;p65"/>
          <p:cNvGrpSpPr/>
          <p:nvPr/>
        </p:nvGrpSpPr>
        <p:grpSpPr>
          <a:xfrm>
            <a:off x="10727496" y="5255695"/>
            <a:ext cx="246645" cy="213828"/>
            <a:chOff x="5037700" y="2430325"/>
            <a:chExt cx="75950" cy="65850"/>
          </a:xfrm>
        </p:grpSpPr>
        <p:sp>
          <p:nvSpPr>
            <p:cNvPr id="1792" name="Google Shape;1792;p65"/>
            <p:cNvSpPr/>
            <p:nvPr/>
          </p:nvSpPr>
          <p:spPr>
            <a:xfrm>
              <a:off x="5059700" y="2430325"/>
              <a:ext cx="53950" cy="65850"/>
            </a:xfrm>
            <a:custGeom>
              <a:avLst/>
              <a:gdLst/>
              <a:ahLst/>
              <a:cxnLst/>
              <a:rect l="l" t="t" r="r" b="b"/>
              <a:pathLst>
                <a:path w="2158" h="2634" extrusionOk="0">
                  <a:moveTo>
                    <a:pt x="1" y="1"/>
                  </a:moveTo>
                  <a:lnTo>
                    <a:pt x="866" y="1321"/>
                  </a:lnTo>
                  <a:lnTo>
                    <a:pt x="1" y="2633"/>
                  </a:lnTo>
                  <a:lnTo>
                    <a:pt x="1292" y="2633"/>
                  </a:lnTo>
                  <a:lnTo>
                    <a:pt x="2157" y="1321"/>
                  </a:lnTo>
                  <a:lnTo>
                    <a:pt x="1292"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3" name="Google Shape;1793;p65"/>
            <p:cNvSpPr/>
            <p:nvPr/>
          </p:nvSpPr>
          <p:spPr>
            <a:xfrm>
              <a:off x="5037700" y="2430325"/>
              <a:ext cx="34100" cy="65850"/>
            </a:xfrm>
            <a:custGeom>
              <a:avLst/>
              <a:gdLst/>
              <a:ahLst/>
              <a:cxnLst/>
              <a:rect l="l" t="t" r="r" b="b"/>
              <a:pathLst>
                <a:path w="1364" h="2634" extrusionOk="0">
                  <a:moveTo>
                    <a:pt x="1" y="1"/>
                  </a:moveTo>
                  <a:lnTo>
                    <a:pt x="866" y="1321"/>
                  </a:lnTo>
                  <a:lnTo>
                    <a:pt x="1" y="2633"/>
                  </a:lnTo>
                  <a:lnTo>
                    <a:pt x="498" y="2633"/>
                  </a:lnTo>
                  <a:lnTo>
                    <a:pt x="1364" y="1321"/>
                  </a:lnTo>
                  <a:lnTo>
                    <a:pt x="498" y="1"/>
                  </a:ln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794" name="Google Shape;1794;p65"/>
          <p:cNvGrpSpPr/>
          <p:nvPr/>
        </p:nvGrpSpPr>
        <p:grpSpPr>
          <a:xfrm>
            <a:off x="9953504" y="4944298"/>
            <a:ext cx="230685" cy="130172"/>
            <a:chOff x="4756975" y="2341800"/>
            <a:chExt cx="91975" cy="51925"/>
          </a:xfrm>
        </p:grpSpPr>
        <p:sp>
          <p:nvSpPr>
            <p:cNvPr id="1795" name="Google Shape;1795;p65"/>
            <p:cNvSpPr/>
            <p:nvPr/>
          </p:nvSpPr>
          <p:spPr>
            <a:xfrm>
              <a:off x="4756975"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46"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6" name="Google Shape;1796;p65"/>
            <p:cNvSpPr/>
            <p:nvPr/>
          </p:nvSpPr>
          <p:spPr>
            <a:xfrm>
              <a:off x="4777350" y="2341800"/>
              <a:ext cx="10650" cy="9150"/>
            </a:xfrm>
            <a:custGeom>
              <a:avLst/>
              <a:gdLst/>
              <a:ahLst/>
              <a:cxnLst/>
              <a:rect l="l" t="t" r="r" b="b"/>
              <a:pathLst>
                <a:path w="426" h="366" extrusionOk="0">
                  <a:moveTo>
                    <a:pt x="245" y="0"/>
                  </a:moveTo>
                  <a:cubicBezTo>
                    <a:pt x="79" y="0"/>
                    <a:pt x="0" y="195"/>
                    <a:pt x="115" y="311"/>
                  </a:cubicBezTo>
                  <a:cubicBezTo>
                    <a:pt x="153" y="348"/>
                    <a:pt x="199" y="365"/>
                    <a:pt x="244" y="365"/>
                  </a:cubicBezTo>
                  <a:cubicBezTo>
                    <a:pt x="337" y="365"/>
                    <a:pt x="426" y="293"/>
                    <a:pt x="426" y="181"/>
                  </a:cubicBezTo>
                  <a:cubicBezTo>
                    <a:pt x="426" y="80"/>
                    <a:pt x="339"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7" name="Google Shape;1797;p65"/>
            <p:cNvSpPr/>
            <p:nvPr/>
          </p:nvSpPr>
          <p:spPr>
            <a:xfrm>
              <a:off x="4797725"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8" name="Google Shape;1798;p65"/>
            <p:cNvSpPr/>
            <p:nvPr/>
          </p:nvSpPr>
          <p:spPr>
            <a:xfrm>
              <a:off x="4818100" y="2341800"/>
              <a:ext cx="10475" cy="9150"/>
            </a:xfrm>
            <a:custGeom>
              <a:avLst/>
              <a:gdLst/>
              <a:ahLst/>
              <a:cxnLst/>
              <a:rect l="l" t="t" r="r" b="b"/>
              <a:pathLst>
                <a:path w="419" h="366" extrusionOk="0">
                  <a:moveTo>
                    <a:pt x="238" y="0"/>
                  </a:moveTo>
                  <a:cubicBezTo>
                    <a:pt x="79" y="0"/>
                    <a:pt x="0" y="195"/>
                    <a:pt x="115" y="311"/>
                  </a:cubicBezTo>
                  <a:cubicBezTo>
                    <a:pt x="151" y="348"/>
                    <a:pt x="195" y="365"/>
                    <a:pt x="239" y="365"/>
                  </a:cubicBezTo>
                  <a:cubicBezTo>
                    <a:pt x="330" y="365"/>
                    <a:pt x="418" y="293"/>
                    <a:pt x="418" y="181"/>
                  </a:cubicBezTo>
                  <a:cubicBezTo>
                    <a:pt x="418" y="80"/>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799" name="Google Shape;1799;p65"/>
            <p:cNvSpPr/>
            <p:nvPr/>
          </p:nvSpPr>
          <p:spPr>
            <a:xfrm>
              <a:off x="4768675" y="2352625"/>
              <a:ext cx="8875" cy="9025"/>
            </a:xfrm>
            <a:custGeom>
              <a:avLst/>
              <a:gdLst/>
              <a:ahLst/>
              <a:cxnLst/>
              <a:rect l="l" t="t" r="r" b="b"/>
              <a:pathLst>
                <a:path w="355" h="361" extrusionOk="0">
                  <a:moveTo>
                    <a:pt x="174" y="0"/>
                  </a:moveTo>
                  <a:cubicBezTo>
                    <a:pt x="80" y="0"/>
                    <a:pt x="1" y="87"/>
                    <a:pt x="1" y="181"/>
                  </a:cubicBezTo>
                  <a:cubicBezTo>
                    <a:pt x="1" y="281"/>
                    <a:pt x="80" y="361"/>
                    <a:pt x="174" y="361"/>
                  </a:cubicBezTo>
                  <a:cubicBezTo>
                    <a:pt x="275" y="361"/>
                    <a:pt x="354" y="281"/>
                    <a:pt x="354" y="181"/>
                  </a:cubicBezTo>
                  <a:cubicBezTo>
                    <a:pt x="354" y="87"/>
                    <a:pt x="275" y="0"/>
                    <a:pt x="174"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0" name="Google Shape;1800;p65"/>
            <p:cNvSpPr/>
            <p:nvPr/>
          </p:nvSpPr>
          <p:spPr>
            <a:xfrm>
              <a:off x="4787425" y="2352625"/>
              <a:ext cx="10500" cy="9125"/>
            </a:xfrm>
            <a:custGeom>
              <a:avLst/>
              <a:gdLst/>
              <a:ahLst/>
              <a:cxnLst/>
              <a:rect l="l" t="t" r="r" b="b"/>
              <a:pathLst>
                <a:path w="420" h="365" extrusionOk="0">
                  <a:moveTo>
                    <a:pt x="239" y="0"/>
                  </a:moveTo>
                  <a:cubicBezTo>
                    <a:pt x="80" y="0"/>
                    <a:pt x="1" y="195"/>
                    <a:pt x="116" y="310"/>
                  </a:cubicBezTo>
                  <a:cubicBezTo>
                    <a:pt x="152" y="348"/>
                    <a:pt x="196" y="365"/>
                    <a:pt x="240" y="365"/>
                  </a:cubicBezTo>
                  <a:cubicBezTo>
                    <a:pt x="331" y="365"/>
                    <a:pt x="419" y="292"/>
                    <a:pt x="419" y="181"/>
                  </a:cubicBezTo>
                  <a:cubicBezTo>
                    <a:pt x="419" y="87"/>
                    <a:pt x="340" y="0"/>
                    <a:pt x="23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1" name="Google Shape;1801;p65"/>
            <p:cNvSpPr/>
            <p:nvPr/>
          </p:nvSpPr>
          <p:spPr>
            <a:xfrm>
              <a:off x="4809250"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2" name="Google Shape;1802;p65"/>
            <p:cNvSpPr/>
            <p:nvPr/>
          </p:nvSpPr>
          <p:spPr>
            <a:xfrm>
              <a:off x="4829625" y="2352625"/>
              <a:ext cx="9050" cy="9025"/>
            </a:xfrm>
            <a:custGeom>
              <a:avLst/>
              <a:gdLst/>
              <a:ahLst/>
              <a:cxnLst/>
              <a:rect l="l" t="t" r="r" b="b"/>
              <a:pathLst>
                <a:path w="362" h="361" extrusionOk="0">
                  <a:moveTo>
                    <a:pt x="181" y="0"/>
                  </a:moveTo>
                  <a:cubicBezTo>
                    <a:pt x="80" y="0"/>
                    <a:pt x="1" y="87"/>
                    <a:pt x="1" y="181"/>
                  </a:cubicBezTo>
                  <a:cubicBezTo>
                    <a:pt x="1" y="281"/>
                    <a:pt x="80" y="361"/>
                    <a:pt x="181" y="361"/>
                  </a:cubicBezTo>
                  <a:cubicBezTo>
                    <a:pt x="282" y="361"/>
                    <a:pt x="361" y="281"/>
                    <a:pt x="361" y="181"/>
                  </a:cubicBezTo>
                  <a:cubicBezTo>
                    <a:pt x="361" y="87"/>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3" name="Google Shape;1803;p65"/>
            <p:cNvSpPr/>
            <p:nvPr/>
          </p:nvSpPr>
          <p:spPr>
            <a:xfrm>
              <a:off x="4777350" y="2363250"/>
              <a:ext cx="10650" cy="9025"/>
            </a:xfrm>
            <a:custGeom>
              <a:avLst/>
              <a:gdLst/>
              <a:ahLst/>
              <a:cxnLst/>
              <a:rect l="l" t="t" r="r" b="b"/>
              <a:pathLst>
                <a:path w="426" h="361" extrusionOk="0">
                  <a:moveTo>
                    <a:pt x="245" y="1"/>
                  </a:moveTo>
                  <a:cubicBezTo>
                    <a:pt x="79" y="1"/>
                    <a:pt x="0" y="195"/>
                    <a:pt x="115" y="311"/>
                  </a:cubicBezTo>
                  <a:cubicBezTo>
                    <a:pt x="152" y="345"/>
                    <a:pt x="197" y="361"/>
                    <a:pt x="241" y="361"/>
                  </a:cubicBezTo>
                  <a:cubicBezTo>
                    <a:pt x="335" y="361"/>
                    <a:pt x="426" y="289"/>
                    <a:pt x="426" y="181"/>
                  </a:cubicBezTo>
                  <a:cubicBezTo>
                    <a:pt x="426" y="80"/>
                    <a:pt x="339" y="1"/>
                    <a:pt x="245"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4" name="Google Shape;1804;p65"/>
            <p:cNvSpPr/>
            <p:nvPr/>
          </p:nvSpPr>
          <p:spPr>
            <a:xfrm>
              <a:off x="4797725"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5" name="Google Shape;1805;p65"/>
            <p:cNvSpPr/>
            <p:nvPr/>
          </p:nvSpPr>
          <p:spPr>
            <a:xfrm>
              <a:off x="4818100" y="2363250"/>
              <a:ext cx="10475" cy="9025"/>
            </a:xfrm>
            <a:custGeom>
              <a:avLst/>
              <a:gdLst/>
              <a:ahLst/>
              <a:cxnLst/>
              <a:rect l="l" t="t" r="r" b="b"/>
              <a:pathLst>
                <a:path w="419" h="361" extrusionOk="0">
                  <a:moveTo>
                    <a:pt x="238" y="1"/>
                  </a:moveTo>
                  <a:cubicBezTo>
                    <a:pt x="79" y="1"/>
                    <a:pt x="0" y="195"/>
                    <a:pt x="115" y="311"/>
                  </a:cubicBezTo>
                  <a:cubicBezTo>
                    <a:pt x="150" y="345"/>
                    <a:pt x="193" y="361"/>
                    <a:pt x="236"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6" name="Google Shape;1806;p65"/>
            <p:cNvSpPr/>
            <p:nvPr/>
          </p:nvSpPr>
          <p:spPr>
            <a:xfrm>
              <a:off x="4838475" y="2363250"/>
              <a:ext cx="10475" cy="9025"/>
            </a:xfrm>
            <a:custGeom>
              <a:avLst/>
              <a:gdLst/>
              <a:ahLst/>
              <a:cxnLst/>
              <a:rect l="l" t="t" r="r" b="b"/>
              <a:pathLst>
                <a:path w="419" h="361" extrusionOk="0">
                  <a:moveTo>
                    <a:pt x="238" y="1"/>
                  </a:moveTo>
                  <a:cubicBezTo>
                    <a:pt x="79" y="1"/>
                    <a:pt x="0" y="195"/>
                    <a:pt x="108" y="311"/>
                  </a:cubicBezTo>
                  <a:cubicBezTo>
                    <a:pt x="145" y="345"/>
                    <a:pt x="190" y="361"/>
                    <a:pt x="233" y="361"/>
                  </a:cubicBezTo>
                  <a:cubicBezTo>
                    <a:pt x="328" y="361"/>
                    <a:pt x="418" y="289"/>
                    <a:pt x="418" y="181"/>
                  </a:cubicBezTo>
                  <a:cubicBezTo>
                    <a:pt x="418" y="80"/>
                    <a:pt x="339" y="1"/>
                    <a:pt x="238"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7" name="Google Shape;1807;p65"/>
            <p:cNvSpPr/>
            <p:nvPr/>
          </p:nvSpPr>
          <p:spPr>
            <a:xfrm>
              <a:off x="4768675" y="2374075"/>
              <a:ext cx="8875" cy="9050"/>
            </a:xfrm>
            <a:custGeom>
              <a:avLst/>
              <a:gdLst/>
              <a:ahLst/>
              <a:cxnLst/>
              <a:rect l="l" t="t" r="r" b="b"/>
              <a:pathLst>
                <a:path w="355" h="362" extrusionOk="0">
                  <a:moveTo>
                    <a:pt x="174" y="0"/>
                  </a:moveTo>
                  <a:cubicBezTo>
                    <a:pt x="80" y="0"/>
                    <a:pt x="1" y="80"/>
                    <a:pt x="1" y="181"/>
                  </a:cubicBezTo>
                  <a:cubicBezTo>
                    <a:pt x="1" y="282"/>
                    <a:pt x="80" y="361"/>
                    <a:pt x="174" y="361"/>
                  </a:cubicBezTo>
                  <a:cubicBezTo>
                    <a:pt x="275" y="361"/>
                    <a:pt x="354" y="282"/>
                    <a:pt x="354" y="181"/>
                  </a:cubicBezTo>
                  <a:cubicBezTo>
                    <a:pt x="354" y="80"/>
                    <a:pt x="275" y="0"/>
                    <a:pt x="174"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8" name="Google Shape;1808;p65"/>
            <p:cNvSpPr/>
            <p:nvPr/>
          </p:nvSpPr>
          <p:spPr>
            <a:xfrm>
              <a:off x="4787425" y="2374075"/>
              <a:ext cx="10500" cy="9150"/>
            </a:xfrm>
            <a:custGeom>
              <a:avLst/>
              <a:gdLst/>
              <a:ahLst/>
              <a:cxnLst/>
              <a:rect l="l" t="t" r="r" b="b"/>
              <a:pathLst>
                <a:path w="420" h="366" extrusionOk="0">
                  <a:moveTo>
                    <a:pt x="239" y="0"/>
                  </a:moveTo>
                  <a:cubicBezTo>
                    <a:pt x="80" y="0"/>
                    <a:pt x="1" y="195"/>
                    <a:pt x="116" y="311"/>
                  </a:cubicBezTo>
                  <a:cubicBezTo>
                    <a:pt x="152" y="348"/>
                    <a:pt x="196" y="365"/>
                    <a:pt x="240" y="365"/>
                  </a:cubicBezTo>
                  <a:cubicBezTo>
                    <a:pt x="331" y="365"/>
                    <a:pt x="419" y="293"/>
                    <a:pt x="419" y="181"/>
                  </a:cubicBezTo>
                  <a:cubicBezTo>
                    <a:pt x="419" y="80"/>
                    <a:pt x="340" y="0"/>
                    <a:pt x="23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09" name="Google Shape;1809;p65"/>
            <p:cNvSpPr/>
            <p:nvPr/>
          </p:nvSpPr>
          <p:spPr>
            <a:xfrm>
              <a:off x="4809250"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0" name="Google Shape;1810;p65"/>
            <p:cNvSpPr/>
            <p:nvPr/>
          </p:nvSpPr>
          <p:spPr>
            <a:xfrm>
              <a:off x="4829625" y="2374075"/>
              <a:ext cx="9050" cy="9050"/>
            </a:xfrm>
            <a:custGeom>
              <a:avLst/>
              <a:gdLst/>
              <a:ahLst/>
              <a:cxnLst/>
              <a:rect l="l" t="t" r="r" b="b"/>
              <a:pathLst>
                <a:path w="362" h="362" extrusionOk="0">
                  <a:moveTo>
                    <a:pt x="181" y="0"/>
                  </a:moveTo>
                  <a:cubicBezTo>
                    <a:pt x="80" y="0"/>
                    <a:pt x="1" y="80"/>
                    <a:pt x="1" y="181"/>
                  </a:cubicBezTo>
                  <a:cubicBezTo>
                    <a:pt x="1" y="282"/>
                    <a:pt x="80" y="361"/>
                    <a:pt x="181" y="361"/>
                  </a:cubicBezTo>
                  <a:cubicBezTo>
                    <a:pt x="282" y="361"/>
                    <a:pt x="361" y="282"/>
                    <a:pt x="361" y="181"/>
                  </a:cubicBezTo>
                  <a:cubicBezTo>
                    <a:pt x="361" y="80"/>
                    <a:pt x="282" y="0"/>
                    <a:pt x="18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1" name="Google Shape;1811;p65"/>
            <p:cNvSpPr/>
            <p:nvPr/>
          </p:nvSpPr>
          <p:spPr>
            <a:xfrm>
              <a:off x="4756975"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46"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2" name="Google Shape;1812;p65"/>
            <p:cNvSpPr/>
            <p:nvPr/>
          </p:nvSpPr>
          <p:spPr>
            <a:xfrm>
              <a:off x="4777350" y="2384725"/>
              <a:ext cx="10650" cy="9000"/>
            </a:xfrm>
            <a:custGeom>
              <a:avLst/>
              <a:gdLst/>
              <a:ahLst/>
              <a:cxnLst/>
              <a:rect l="l" t="t" r="r" b="b"/>
              <a:pathLst>
                <a:path w="426" h="360" extrusionOk="0">
                  <a:moveTo>
                    <a:pt x="245" y="0"/>
                  </a:moveTo>
                  <a:cubicBezTo>
                    <a:pt x="79" y="0"/>
                    <a:pt x="0" y="195"/>
                    <a:pt x="115" y="310"/>
                  </a:cubicBezTo>
                  <a:cubicBezTo>
                    <a:pt x="152" y="344"/>
                    <a:pt x="197" y="360"/>
                    <a:pt x="241" y="360"/>
                  </a:cubicBezTo>
                  <a:cubicBezTo>
                    <a:pt x="335" y="360"/>
                    <a:pt x="426" y="289"/>
                    <a:pt x="426" y="180"/>
                  </a:cubicBezTo>
                  <a:cubicBezTo>
                    <a:pt x="426" y="79"/>
                    <a:pt x="339" y="0"/>
                    <a:pt x="245"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3" name="Google Shape;1813;p65"/>
            <p:cNvSpPr/>
            <p:nvPr/>
          </p:nvSpPr>
          <p:spPr>
            <a:xfrm>
              <a:off x="4797725"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4" name="Google Shape;1814;p65"/>
            <p:cNvSpPr/>
            <p:nvPr/>
          </p:nvSpPr>
          <p:spPr>
            <a:xfrm>
              <a:off x="4818100" y="2384725"/>
              <a:ext cx="10475" cy="9000"/>
            </a:xfrm>
            <a:custGeom>
              <a:avLst/>
              <a:gdLst/>
              <a:ahLst/>
              <a:cxnLst/>
              <a:rect l="l" t="t" r="r" b="b"/>
              <a:pathLst>
                <a:path w="419" h="360" extrusionOk="0">
                  <a:moveTo>
                    <a:pt x="238" y="0"/>
                  </a:moveTo>
                  <a:cubicBezTo>
                    <a:pt x="79" y="0"/>
                    <a:pt x="0" y="195"/>
                    <a:pt x="115" y="310"/>
                  </a:cubicBezTo>
                  <a:cubicBezTo>
                    <a:pt x="150" y="344"/>
                    <a:pt x="193" y="360"/>
                    <a:pt x="236" y="360"/>
                  </a:cubicBezTo>
                  <a:cubicBezTo>
                    <a:pt x="328" y="360"/>
                    <a:pt x="418" y="289"/>
                    <a:pt x="418" y="180"/>
                  </a:cubicBezTo>
                  <a:cubicBezTo>
                    <a:pt x="418" y="79"/>
                    <a:pt x="339" y="0"/>
                    <a:pt x="23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815" name="Google Shape;1815;p65"/>
          <p:cNvGrpSpPr/>
          <p:nvPr/>
        </p:nvGrpSpPr>
        <p:grpSpPr>
          <a:xfrm>
            <a:off x="10309421" y="5595894"/>
            <a:ext cx="283329" cy="234348"/>
            <a:chOff x="4943575" y="2516350"/>
            <a:chExt cx="98675" cy="81700"/>
          </a:xfrm>
        </p:grpSpPr>
        <p:sp>
          <p:nvSpPr>
            <p:cNvPr id="1816" name="Google Shape;1816;p65"/>
            <p:cNvSpPr/>
            <p:nvPr/>
          </p:nvSpPr>
          <p:spPr>
            <a:xfrm>
              <a:off x="5036450" y="2554750"/>
              <a:ext cx="5800" cy="4825"/>
            </a:xfrm>
            <a:custGeom>
              <a:avLst/>
              <a:gdLst/>
              <a:ahLst/>
              <a:cxnLst/>
              <a:rect l="l" t="t" r="r" b="b"/>
              <a:pathLst>
                <a:path w="232" h="193" extrusionOk="0">
                  <a:moveTo>
                    <a:pt x="130" y="0"/>
                  </a:moveTo>
                  <a:cubicBezTo>
                    <a:pt x="51" y="0"/>
                    <a:pt x="0" y="101"/>
                    <a:pt x="65" y="166"/>
                  </a:cubicBezTo>
                  <a:cubicBezTo>
                    <a:pt x="83" y="184"/>
                    <a:pt x="106" y="192"/>
                    <a:pt x="129" y="192"/>
                  </a:cubicBezTo>
                  <a:cubicBezTo>
                    <a:pt x="179" y="192"/>
                    <a:pt x="229" y="153"/>
                    <a:pt x="224" y="94"/>
                  </a:cubicBezTo>
                  <a:cubicBezTo>
                    <a:pt x="231" y="44"/>
                    <a:pt x="188"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7" name="Google Shape;1817;p65"/>
            <p:cNvSpPr/>
            <p:nvPr/>
          </p:nvSpPr>
          <p:spPr>
            <a:xfrm>
              <a:off x="5028150" y="2547175"/>
              <a:ext cx="5625" cy="4725"/>
            </a:xfrm>
            <a:custGeom>
              <a:avLst/>
              <a:gdLst/>
              <a:ahLst/>
              <a:cxnLst/>
              <a:rect l="l" t="t" r="r" b="b"/>
              <a:pathLst>
                <a:path w="225" h="189" extrusionOk="0">
                  <a:moveTo>
                    <a:pt x="123" y="0"/>
                  </a:moveTo>
                  <a:cubicBezTo>
                    <a:pt x="37" y="0"/>
                    <a:pt x="0" y="101"/>
                    <a:pt x="58"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8" name="Google Shape;1818;p65"/>
            <p:cNvSpPr/>
            <p:nvPr/>
          </p:nvSpPr>
          <p:spPr>
            <a:xfrm>
              <a:off x="5028150" y="2554750"/>
              <a:ext cx="5625" cy="4825"/>
            </a:xfrm>
            <a:custGeom>
              <a:avLst/>
              <a:gdLst/>
              <a:ahLst/>
              <a:cxnLst/>
              <a:rect l="l" t="t" r="r" b="b"/>
              <a:pathLst>
                <a:path w="225" h="193" extrusionOk="0">
                  <a:moveTo>
                    <a:pt x="123" y="0"/>
                  </a:moveTo>
                  <a:cubicBezTo>
                    <a:pt x="44" y="0"/>
                    <a:pt x="0" y="101"/>
                    <a:pt x="58" y="166"/>
                  </a:cubicBezTo>
                  <a:cubicBezTo>
                    <a:pt x="76" y="184"/>
                    <a:pt x="99"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19" name="Google Shape;1819;p65"/>
            <p:cNvSpPr/>
            <p:nvPr/>
          </p:nvSpPr>
          <p:spPr>
            <a:xfrm>
              <a:off x="5028150" y="2562500"/>
              <a:ext cx="5625" cy="4800"/>
            </a:xfrm>
            <a:custGeom>
              <a:avLst/>
              <a:gdLst/>
              <a:ahLst/>
              <a:cxnLst/>
              <a:rect l="l" t="t" r="r" b="b"/>
              <a:pathLst>
                <a:path w="225" h="192" extrusionOk="0">
                  <a:moveTo>
                    <a:pt x="123" y="0"/>
                  </a:moveTo>
                  <a:cubicBezTo>
                    <a:pt x="37" y="0"/>
                    <a:pt x="0" y="101"/>
                    <a:pt x="58" y="166"/>
                  </a:cubicBezTo>
                  <a:cubicBezTo>
                    <a:pt x="77"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0" name="Google Shape;1820;p65"/>
            <p:cNvSpPr/>
            <p:nvPr/>
          </p:nvSpPr>
          <p:spPr>
            <a:xfrm>
              <a:off x="501972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1" name="Google Shape;1821;p65"/>
            <p:cNvSpPr/>
            <p:nvPr/>
          </p:nvSpPr>
          <p:spPr>
            <a:xfrm>
              <a:off x="5019675" y="2547175"/>
              <a:ext cx="5625" cy="4725"/>
            </a:xfrm>
            <a:custGeom>
              <a:avLst/>
              <a:gdLst/>
              <a:ahLst/>
              <a:cxnLst/>
              <a:rect l="l" t="t" r="r" b="b"/>
              <a:pathLst>
                <a:path w="225" h="189" extrusionOk="0">
                  <a:moveTo>
                    <a:pt x="130" y="0"/>
                  </a:moveTo>
                  <a:cubicBezTo>
                    <a:pt x="44" y="0"/>
                    <a:pt x="0" y="101"/>
                    <a:pt x="58" y="159"/>
                  </a:cubicBezTo>
                  <a:cubicBezTo>
                    <a:pt x="79" y="180"/>
                    <a:pt x="103" y="189"/>
                    <a:pt x="126" y="189"/>
                  </a:cubicBezTo>
                  <a:cubicBezTo>
                    <a:pt x="177" y="189"/>
                    <a:pt x="224" y="146"/>
                    <a:pt x="224" y="87"/>
                  </a:cubicBezTo>
                  <a:cubicBezTo>
                    <a:pt x="217"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2" name="Google Shape;1822;p65"/>
            <p:cNvSpPr/>
            <p:nvPr/>
          </p:nvSpPr>
          <p:spPr>
            <a:xfrm>
              <a:off x="5019675" y="2554750"/>
              <a:ext cx="5625" cy="4825"/>
            </a:xfrm>
            <a:custGeom>
              <a:avLst/>
              <a:gdLst/>
              <a:ahLst/>
              <a:cxnLst/>
              <a:rect l="l" t="t" r="r" b="b"/>
              <a:pathLst>
                <a:path w="225" h="193" extrusionOk="0">
                  <a:moveTo>
                    <a:pt x="130" y="0"/>
                  </a:moveTo>
                  <a:cubicBezTo>
                    <a:pt x="44" y="0"/>
                    <a:pt x="0" y="101"/>
                    <a:pt x="58" y="166"/>
                  </a:cubicBezTo>
                  <a:cubicBezTo>
                    <a:pt x="79" y="184"/>
                    <a:pt x="102"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3" name="Google Shape;1823;p65"/>
            <p:cNvSpPr/>
            <p:nvPr/>
          </p:nvSpPr>
          <p:spPr>
            <a:xfrm>
              <a:off x="5019675" y="2562500"/>
              <a:ext cx="5625" cy="4800"/>
            </a:xfrm>
            <a:custGeom>
              <a:avLst/>
              <a:gdLst/>
              <a:ahLst/>
              <a:cxnLst/>
              <a:rect l="l" t="t" r="r" b="b"/>
              <a:pathLst>
                <a:path w="225" h="192" extrusionOk="0">
                  <a:moveTo>
                    <a:pt x="130" y="0"/>
                  </a:moveTo>
                  <a:cubicBezTo>
                    <a:pt x="44" y="0"/>
                    <a:pt x="0" y="101"/>
                    <a:pt x="58" y="166"/>
                  </a:cubicBezTo>
                  <a:cubicBezTo>
                    <a:pt x="77" y="183"/>
                    <a:pt x="100" y="191"/>
                    <a:pt x="122" y="191"/>
                  </a:cubicBezTo>
                  <a:cubicBezTo>
                    <a:pt x="174" y="191"/>
                    <a:pt x="224" y="148"/>
                    <a:pt x="224" y="87"/>
                  </a:cubicBezTo>
                  <a:cubicBezTo>
                    <a:pt x="217"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4" name="Google Shape;1824;p65"/>
            <p:cNvSpPr/>
            <p:nvPr/>
          </p:nvSpPr>
          <p:spPr>
            <a:xfrm>
              <a:off x="5019725" y="2570225"/>
              <a:ext cx="5575" cy="4750"/>
            </a:xfrm>
            <a:custGeom>
              <a:avLst/>
              <a:gdLst/>
              <a:ahLst/>
              <a:cxnLst/>
              <a:rect l="l" t="t" r="r" b="b"/>
              <a:pathLst>
                <a:path w="223" h="190" extrusionOk="0">
                  <a:moveTo>
                    <a:pt x="139" y="1"/>
                  </a:moveTo>
                  <a:cubicBezTo>
                    <a:pt x="136" y="1"/>
                    <a:pt x="132" y="1"/>
                    <a:pt x="128" y="2"/>
                  </a:cubicBezTo>
                  <a:cubicBezTo>
                    <a:pt x="126" y="1"/>
                    <a:pt x="123" y="1"/>
                    <a:pt x="120" y="1"/>
                  </a:cubicBezTo>
                  <a:cubicBezTo>
                    <a:pt x="39" y="1"/>
                    <a:pt x="0" y="104"/>
                    <a:pt x="56" y="160"/>
                  </a:cubicBezTo>
                  <a:cubicBezTo>
                    <a:pt x="77" y="181"/>
                    <a:pt x="101" y="190"/>
                    <a:pt x="124" y="190"/>
                  </a:cubicBezTo>
                  <a:cubicBezTo>
                    <a:pt x="175" y="190"/>
                    <a:pt x="222" y="147"/>
                    <a:pt x="222" y="88"/>
                  </a:cubicBezTo>
                  <a:cubicBezTo>
                    <a:pt x="215" y="41"/>
                    <a:pt x="184"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5" name="Google Shape;1825;p65"/>
            <p:cNvSpPr/>
            <p:nvPr/>
          </p:nvSpPr>
          <p:spPr>
            <a:xfrm>
              <a:off x="501120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6" name="Google Shape;1826;p65"/>
            <p:cNvSpPr/>
            <p:nvPr/>
          </p:nvSpPr>
          <p:spPr>
            <a:xfrm>
              <a:off x="5011250"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7" name="Google Shape;1827;p65"/>
            <p:cNvSpPr/>
            <p:nvPr/>
          </p:nvSpPr>
          <p:spPr>
            <a:xfrm>
              <a:off x="501120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8" name="Google Shape;1828;p65"/>
            <p:cNvSpPr/>
            <p:nvPr/>
          </p:nvSpPr>
          <p:spPr>
            <a:xfrm>
              <a:off x="5011200"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29" name="Google Shape;1829;p65"/>
            <p:cNvSpPr/>
            <p:nvPr/>
          </p:nvSpPr>
          <p:spPr>
            <a:xfrm>
              <a:off x="5011200" y="2562500"/>
              <a:ext cx="5750" cy="4800"/>
            </a:xfrm>
            <a:custGeom>
              <a:avLst/>
              <a:gdLst/>
              <a:ahLst/>
              <a:cxnLst/>
              <a:rect l="l" t="t" r="r" b="b"/>
              <a:pathLst>
                <a:path w="230" h="192" extrusionOk="0">
                  <a:moveTo>
                    <a:pt x="130" y="0"/>
                  </a:moveTo>
                  <a:cubicBezTo>
                    <a:pt x="44" y="0"/>
                    <a:pt x="1" y="101"/>
                    <a:pt x="65" y="166"/>
                  </a:cubicBezTo>
                  <a:cubicBezTo>
                    <a:pt x="82"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0" name="Google Shape;1830;p65"/>
            <p:cNvSpPr/>
            <p:nvPr/>
          </p:nvSpPr>
          <p:spPr>
            <a:xfrm>
              <a:off x="50112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1" name="Google Shape;1831;p65"/>
            <p:cNvSpPr/>
            <p:nvPr/>
          </p:nvSpPr>
          <p:spPr>
            <a:xfrm>
              <a:off x="5011200"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2" name="Google Shape;1832;p65"/>
            <p:cNvSpPr/>
            <p:nvPr/>
          </p:nvSpPr>
          <p:spPr>
            <a:xfrm>
              <a:off x="5002725"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3" name="Google Shape;1833;p65"/>
            <p:cNvSpPr/>
            <p:nvPr/>
          </p:nvSpPr>
          <p:spPr>
            <a:xfrm>
              <a:off x="5002725"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4" name="Google Shape;1834;p65"/>
            <p:cNvSpPr/>
            <p:nvPr/>
          </p:nvSpPr>
          <p:spPr>
            <a:xfrm>
              <a:off x="5002775" y="2539400"/>
              <a:ext cx="5575" cy="4750"/>
            </a:xfrm>
            <a:custGeom>
              <a:avLst/>
              <a:gdLst/>
              <a:ahLst/>
              <a:cxnLst/>
              <a:rect l="l" t="t" r="r" b="b"/>
              <a:pathLst>
                <a:path w="223" h="190" extrusionOk="0">
                  <a:moveTo>
                    <a:pt x="120" y="1"/>
                  </a:moveTo>
                  <a:cubicBezTo>
                    <a:pt x="39" y="1"/>
                    <a:pt x="0" y="104"/>
                    <a:pt x="56" y="160"/>
                  </a:cubicBezTo>
                  <a:cubicBezTo>
                    <a:pt x="77" y="181"/>
                    <a:pt x="101" y="190"/>
                    <a:pt x="125"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5" name="Google Shape;1835;p65"/>
            <p:cNvSpPr/>
            <p:nvPr/>
          </p:nvSpPr>
          <p:spPr>
            <a:xfrm>
              <a:off x="5002725"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6" name="Google Shape;1836;p65"/>
            <p:cNvSpPr/>
            <p:nvPr/>
          </p:nvSpPr>
          <p:spPr>
            <a:xfrm>
              <a:off x="5002725" y="2554750"/>
              <a:ext cx="5625" cy="4825"/>
            </a:xfrm>
            <a:custGeom>
              <a:avLst/>
              <a:gdLst/>
              <a:ahLst/>
              <a:cxnLst/>
              <a:rect l="l" t="t" r="r" b="b"/>
              <a:pathLst>
                <a:path w="225" h="193" extrusionOk="0">
                  <a:moveTo>
                    <a:pt x="130" y="0"/>
                  </a:moveTo>
                  <a:cubicBezTo>
                    <a:pt x="44" y="0"/>
                    <a:pt x="1" y="101"/>
                    <a:pt x="58" y="166"/>
                  </a:cubicBezTo>
                  <a:cubicBezTo>
                    <a:pt x="79" y="184"/>
                    <a:pt x="103" y="192"/>
                    <a:pt x="126"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7" name="Google Shape;1837;p65"/>
            <p:cNvSpPr/>
            <p:nvPr/>
          </p:nvSpPr>
          <p:spPr>
            <a:xfrm>
              <a:off x="5002725"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8" name="Google Shape;1838;p65"/>
            <p:cNvSpPr/>
            <p:nvPr/>
          </p:nvSpPr>
          <p:spPr>
            <a:xfrm>
              <a:off x="50027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39" name="Google Shape;1839;p65"/>
            <p:cNvSpPr/>
            <p:nvPr/>
          </p:nvSpPr>
          <p:spPr>
            <a:xfrm>
              <a:off x="5002725" y="2577825"/>
              <a:ext cx="5625" cy="4825"/>
            </a:xfrm>
            <a:custGeom>
              <a:avLst/>
              <a:gdLst/>
              <a:ahLst/>
              <a:cxnLst/>
              <a:rect l="l" t="t" r="r" b="b"/>
              <a:pathLst>
                <a:path w="225" h="193" extrusionOk="0">
                  <a:moveTo>
                    <a:pt x="130" y="1"/>
                  </a:moveTo>
                  <a:cubicBezTo>
                    <a:pt x="44" y="1"/>
                    <a:pt x="1" y="101"/>
                    <a:pt x="58" y="166"/>
                  </a:cubicBezTo>
                  <a:cubicBezTo>
                    <a:pt x="79" y="185"/>
                    <a:pt x="103" y="193"/>
                    <a:pt x="126"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0" name="Google Shape;1840;p65"/>
            <p:cNvSpPr/>
            <p:nvPr/>
          </p:nvSpPr>
          <p:spPr>
            <a:xfrm>
              <a:off x="5002725"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1" name="Google Shape;1841;p65"/>
            <p:cNvSpPr/>
            <p:nvPr/>
          </p:nvSpPr>
          <p:spPr>
            <a:xfrm>
              <a:off x="4994250" y="25163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2" name="Google Shape;1842;p65"/>
            <p:cNvSpPr/>
            <p:nvPr/>
          </p:nvSpPr>
          <p:spPr>
            <a:xfrm>
              <a:off x="4994250" y="2524100"/>
              <a:ext cx="5750" cy="4775"/>
            </a:xfrm>
            <a:custGeom>
              <a:avLst/>
              <a:gdLst/>
              <a:ahLst/>
              <a:cxnLst/>
              <a:rect l="l" t="t" r="r" b="b"/>
              <a:pathLst>
                <a:path w="230" h="191" extrusionOk="0">
                  <a:moveTo>
                    <a:pt x="130" y="0"/>
                  </a:moveTo>
                  <a:cubicBezTo>
                    <a:pt x="44" y="0"/>
                    <a:pt x="1" y="101"/>
                    <a:pt x="65" y="166"/>
                  </a:cubicBezTo>
                  <a:cubicBezTo>
                    <a:pt x="83" y="183"/>
                    <a:pt x="104" y="191"/>
                    <a:pt x="126" y="191"/>
                  </a:cubicBezTo>
                  <a:cubicBezTo>
                    <a:pt x="177" y="191"/>
                    <a:pt x="229" y="148"/>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3" name="Google Shape;1843;p65"/>
            <p:cNvSpPr/>
            <p:nvPr/>
          </p:nvSpPr>
          <p:spPr>
            <a:xfrm>
              <a:off x="4994250" y="2531675"/>
              <a:ext cx="5750" cy="4900"/>
            </a:xfrm>
            <a:custGeom>
              <a:avLst/>
              <a:gdLst/>
              <a:ahLst/>
              <a:cxnLst/>
              <a:rect l="l" t="t" r="r" b="b"/>
              <a:pathLst>
                <a:path w="230" h="196" extrusionOk="0">
                  <a:moveTo>
                    <a:pt x="130" y="0"/>
                  </a:moveTo>
                  <a:cubicBezTo>
                    <a:pt x="44" y="0"/>
                    <a:pt x="1" y="108"/>
                    <a:pt x="65" y="166"/>
                  </a:cubicBezTo>
                  <a:cubicBezTo>
                    <a:pt x="84" y="187"/>
                    <a:pt x="107" y="195"/>
                    <a:pt x="130" y="195"/>
                  </a:cubicBezTo>
                  <a:cubicBezTo>
                    <a:pt x="180"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4" name="Google Shape;1844;p65"/>
            <p:cNvSpPr/>
            <p:nvPr/>
          </p:nvSpPr>
          <p:spPr>
            <a:xfrm>
              <a:off x="499430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5" name="Google Shape;1845;p65"/>
            <p:cNvSpPr/>
            <p:nvPr/>
          </p:nvSpPr>
          <p:spPr>
            <a:xfrm>
              <a:off x="4994250" y="2547175"/>
              <a:ext cx="5750" cy="4725"/>
            </a:xfrm>
            <a:custGeom>
              <a:avLst/>
              <a:gdLst/>
              <a:ahLst/>
              <a:cxnLst/>
              <a:rect l="l" t="t" r="r" b="b"/>
              <a:pathLst>
                <a:path w="230" h="189" extrusionOk="0">
                  <a:moveTo>
                    <a:pt x="130" y="0"/>
                  </a:moveTo>
                  <a:cubicBezTo>
                    <a:pt x="44" y="0"/>
                    <a:pt x="1" y="101"/>
                    <a:pt x="65" y="159"/>
                  </a:cubicBezTo>
                  <a:cubicBezTo>
                    <a:pt x="84" y="180"/>
                    <a:pt x="107" y="189"/>
                    <a:pt x="130" y="189"/>
                  </a:cubicBezTo>
                  <a:cubicBezTo>
                    <a:pt x="180"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6" name="Google Shape;1846;p65"/>
            <p:cNvSpPr/>
            <p:nvPr/>
          </p:nvSpPr>
          <p:spPr>
            <a:xfrm>
              <a:off x="499425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7" name="Google Shape;1847;p65"/>
            <p:cNvSpPr/>
            <p:nvPr/>
          </p:nvSpPr>
          <p:spPr>
            <a:xfrm>
              <a:off x="4994250" y="2562500"/>
              <a:ext cx="5750" cy="4800"/>
            </a:xfrm>
            <a:custGeom>
              <a:avLst/>
              <a:gdLst/>
              <a:ahLst/>
              <a:cxnLst/>
              <a:rect l="l" t="t" r="r" b="b"/>
              <a:pathLst>
                <a:path w="230" h="192" extrusionOk="0">
                  <a:moveTo>
                    <a:pt x="130" y="0"/>
                  </a:moveTo>
                  <a:cubicBezTo>
                    <a:pt x="44" y="0"/>
                    <a:pt x="1" y="101"/>
                    <a:pt x="65" y="166"/>
                  </a:cubicBezTo>
                  <a:cubicBezTo>
                    <a:pt x="83" y="183"/>
                    <a:pt x="104" y="191"/>
                    <a:pt x="126" y="191"/>
                  </a:cubicBezTo>
                  <a:cubicBezTo>
                    <a:pt x="177"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8" name="Google Shape;1848;p65"/>
            <p:cNvSpPr/>
            <p:nvPr/>
          </p:nvSpPr>
          <p:spPr>
            <a:xfrm>
              <a:off x="499430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2" y="181"/>
                    <a:pt x="105" y="190"/>
                    <a:pt x="128" y="190"/>
                  </a:cubicBezTo>
                  <a:cubicBezTo>
                    <a:pt x="178"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49" name="Google Shape;1849;p65"/>
            <p:cNvSpPr/>
            <p:nvPr/>
          </p:nvSpPr>
          <p:spPr>
            <a:xfrm>
              <a:off x="499425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0" name="Google Shape;1850;p65"/>
            <p:cNvSpPr/>
            <p:nvPr/>
          </p:nvSpPr>
          <p:spPr>
            <a:xfrm>
              <a:off x="4994250" y="2585575"/>
              <a:ext cx="5750" cy="4800"/>
            </a:xfrm>
            <a:custGeom>
              <a:avLst/>
              <a:gdLst/>
              <a:ahLst/>
              <a:cxnLst/>
              <a:rect l="l" t="t" r="r" b="b"/>
              <a:pathLst>
                <a:path w="230" h="192" extrusionOk="0">
                  <a:moveTo>
                    <a:pt x="130" y="1"/>
                  </a:moveTo>
                  <a:cubicBezTo>
                    <a:pt x="44" y="1"/>
                    <a:pt x="1" y="102"/>
                    <a:pt x="65" y="167"/>
                  </a:cubicBezTo>
                  <a:cubicBezTo>
                    <a:pt x="83" y="184"/>
                    <a:pt x="104" y="191"/>
                    <a:pt x="126" y="191"/>
                  </a:cubicBezTo>
                  <a:cubicBezTo>
                    <a:pt x="177" y="191"/>
                    <a:pt x="229" y="148"/>
                    <a:pt x="224" y="87"/>
                  </a:cubicBezTo>
                  <a:cubicBezTo>
                    <a:pt x="224" y="37"/>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1" name="Google Shape;1851;p65"/>
            <p:cNvSpPr/>
            <p:nvPr/>
          </p:nvSpPr>
          <p:spPr>
            <a:xfrm>
              <a:off x="4994250" y="2593150"/>
              <a:ext cx="5750" cy="4900"/>
            </a:xfrm>
            <a:custGeom>
              <a:avLst/>
              <a:gdLst/>
              <a:ahLst/>
              <a:cxnLst/>
              <a:rect l="l" t="t" r="r" b="b"/>
              <a:pathLst>
                <a:path w="230" h="196" extrusionOk="0">
                  <a:moveTo>
                    <a:pt x="130" y="1"/>
                  </a:moveTo>
                  <a:cubicBezTo>
                    <a:pt x="44" y="1"/>
                    <a:pt x="1" y="109"/>
                    <a:pt x="65" y="166"/>
                  </a:cubicBezTo>
                  <a:cubicBezTo>
                    <a:pt x="84" y="187"/>
                    <a:pt x="107" y="196"/>
                    <a:pt x="130" y="196"/>
                  </a:cubicBezTo>
                  <a:cubicBezTo>
                    <a:pt x="180" y="196"/>
                    <a:pt x="229"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2" name="Google Shape;1852;p65"/>
            <p:cNvSpPr/>
            <p:nvPr/>
          </p:nvSpPr>
          <p:spPr>
            <a:xfrm>
              <a:off x="4985775"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3" name="Google Shape;1853;p65"/>
            <p:cNvSpPr/>
            <p:nvPr/>
          </p:nvSpPr>
          <p:spPr>
            <a:xfrm>
              <a:off x="4985825"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4" name="Google Shape;1854;p65"/>
            <p:cNvSpPr/>
            <p:nvPr/>
          </p:nvSpPr>
          <p:spPr>
            <a:xfrm>
              <a:off x="4985775"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5" name="Google Shape;1855;p65"/>
            <p:cNvSpPr/>
            <p:nvPr/>
          </p:nvSpPr>
          <p:spPr>
            <a:xfrm>
              <a:off x="4985775"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6" name="Google Shape;1856;p65"/>
            <p:cNvSpPr/>
            <p:nvPr/>
          </p:nvSpPr>
          <p:spPr>
            <a:xfrm>
              <a:off x="4985775"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7" name="Google Shape;1857;p65"/>
            <p:cNvSpPr/>
            <p:nvPr/>
          </p:nvSpPr>
          <p:spPr>
            <a:xfrm>
              <a:off x="498582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8" name="Google Shape;1858;p65"/>
            <p:cNvSpPr/>
            <p:nvPr/>
          </p:nvSpPr>
          <p:spPr>
            <a:xfrm>
              <a:off x="4985775"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59" name="Google Shape;1859;p65"/>
            <p:cNvSpPr/>
            <p:nvPr/>
          </p:nvSpPr>
          <p:spPr>
            <a:xfrm>
              <a:off x="4977300" y="2531675"/>
              <a:ext cx="5750" cy="4900"/>
            </a:xfrm>
            <a:custGeom>
              <a:avLst/>
              <a:gdLst/>
              <a:ahLst/>
              <a:cxnLst/>
              <a:rect l="l" t="t" r="r" b="b"/>
              <a:pathLst>
                <a:path w="230" h="196" extrusionOk="0">
                  <a:moveTo>
                    <a:pt x="130" y="0"/>
                  </a:moveTo>
                  <a:cubicBezTo>
                    <a:pt x="44" y="0"/>
                    <a:pt x="1" y="108"/>
                    <a:pt x="65"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0" name="Google Shape;1860;p65"/>
            <p:cNvSpPr/>
            <p:nvPr/>
          </p:nvSpPr>
          <p:spPr>
            <a:xfrm>
              <a:off x="4977350" y="2539400"/>
              <a:ext cx="5575" cy="4750"/>
            </a:xfrm>
            <a:custGeom>
              <a:avLst/>
              <a:gdLst/>
              <a:ahLst/>
              <a:cxnLst/>
              <a:rect l="l" t="t" r="r" b="b"/>
              <a:pathLst>
                <a:path w="223" h="190" extrusionOk="0">
                  <a:moveTo>
                    <a:pt x="120" y="1"/>
                  </a:moveTo>
                  <a:cubicBezTo>
                    <a:pt x="39" y="1"/>
                    <a:pt x="1" y="104"/>
                    <a:pt x="63" y="160"/>
                  </a:cubicBezTo>
                  <a:cubicBezTo>
                    <a:pt x="82" y="181"/>
                    <a:pt x="105" y="190"/>
                    <a:pt x="127" y="190"/>
                  </a:cubicBezTo>
                  <a:cubicBezTo>
                    <a:pt x="175" y="190"/>
                    <a:pt x="222" y="149"/>
                    <a:pt x="222" y="95"/>
                  </a:cubicBezTo>
                  <a:cubicBezTo>
                    <a:pt x="222" y="37"/>
                    <a:pt x="179" y="1"/>
                    <a:pt x="128"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1" name="Google Shape;1861;p65"/>
            <p:cNvSpPr/>
            <p:nvPr/>
          </p:nvSpPr>
          <p:spPr>
            <a:xfrm>
              <a:off x="4977300" y="2547175"/>
              <a:ext cx="5750" cy="4725"/>
            </a:xfrm>
            <a:custGeom>
              <a:avLst/>
              <a:gdLst/>
              <a:ahLst/>
              <a:cxnLst/>
              <a:rect l="l" t="t" r="r" b="b"/>
              <a:pathLst>
                <a:path w="230" h="189" extrusionOk="0">
                  <a:moveTo>
                    <a:pt x="130" y="0"/>
                  </a:moveTo>
                  <a:cubicBezTo>
                    <a:pt x="44" y="0"/>
                    <a:pt x="1" y="101"/>
                    <a:pt x="65"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2" name="Google Shape;1862;p65"/>
            <p:cNvSpPr/>
            <p:nvPr/>
          </p:nvSpPr>
          <p:spPr>
            <a:xfrm>
              <a:off x="4977300" y="2554750"/>
              <a:ext cx="5625" cy="4825"/>
            </a:xfrm>
            <a:custGeom>
              <a:avLst/>
              <a:gdLst/>
              <a:ahLst/>
              <a:cxnLst/>
              <a:rect l="l" t="t" r="r" b="b"/>
              <a:pathLst>
                <a:path w="225" h="193" extrusionOk="0">
                  <a:moveTo>
                    <a:pt x="130" y="0"/>
                  </a:moveTo>
                  <a:cubicBezTo>
                    <a:pt x="44" y="0"/>
                    <a:pt x="1" y="101"/>
                    <a:pt x="65" y="166"/>
                  </a:cubicBezTo>
                  <a:cubicBezTo>
                    <a:pt x="84" y="184"/>
                    <a:pt x="106" y="192"/>
                    <a:pt x="128" y="192"/>
                  </a:cubicBezTo>
                  <a:cubicBezTo>
                    <a:pt x="177" y="192"/>
                    <a:pt x="224" y="153"/>
                    <a:pt x="224" y="94"/>
                  </a:cubicBezTo>
                  <a:cubicBezTo>
                    <a:pt x="224" y="44"/>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3" name="Google Shape;1863;p65"/>
            <p:cNvSpPr/>
            <p:nvPr/>
          </p:nvSpPr>
          <p:spPr>
            <a:xfrm>
              <a:off x="4977300" y="2562500"/>
              <a:ext cx="5750" cy="4800"/>
            </a:xfrm>
            <a:custGeom>
              <a:avLst/>
              <a:gdLst/>
              <a:ahLst/>
              <a:cxnLst/>
              <a:rect l="l" t="t" r="r" b="b"/>
              <a:pathLst>
                <a:path w="230" h="192" extrusionOk="0">
                  <a:moveTo>
                    <a:pt x="130" y="0"/>
                  </a:moveTo>
                  <a:cubicBezTo>
                    <a:pt x="44" y="0"/>
                    <a:pt x="1" y="101"/>
                    <a:pt x="65"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4" name="Google Shape;1864;p65"/>
            <p:cNvSpPr/>
            <p:nvPr/>
          </p:nvSpPr>
          <p:spPr>
            <a:xfrm>
              <a:off x="4977350"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3"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5" name="Google Shape;1865;p65"/>
            <p:cNvSpPr/>
            <p:nvPr/>
          </p:nvSpPr>
          <p:spPr>
            <a:xfrm>
              <a:off x="4977300" y="2577825"/>
              <a:ext cx="5625" cy="4825"/>
            </a:xfrm>
            <a:custGeom>
              <a:avLst/>
              <a:gdLst/>
              <a:ahLst/>
              <a:cxnLst/>
              <a:rect l="l" t="t" r="r" b="b"/>
              <a:pathLst>
                <a:path w="225" h="193" extrusionOk="0">
                  <a:moveTo>
                    <a:pt x="130" y="1"/>
                  </a:moveTo>
                  <a:cubicBezTo>
                    <a:pt x="44" y="1"/>
                    <a:pt x="1" y="101"/>
                    <a:pt x="65" y="166"/>
                  </a:cubicBezTo>
                  <a:cubicBezTo>
                    <a:pt x="84" y="185"/>
                    <a:pt x="106" y="193"/>
                    <a:pt x="128" y="193"/>
                  </a:cubicBezTo>
                  <a:cubicBezTo>
                    <a:pt x="177" y="193"/>
                    <a:pt x="224" y="154"/>
                    <a:pt x="224" y="94"/>
                  </a:cubicBezTo>
                  <a:cubicBezTo>
                    <a:pt x="224" y="44"/>
                    <a:pt x="181"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6" name="Google Shape;1866;p65"/>
            <p:cNvSpPr/>
            <p:nvPr/>
          </p:nvSpPr>
          <p:spPr>
            <a:xfrm>
              <a:off x="4968825" y="2531675"/>
              <a:ext cx="5750" cy="4900"/>
            </a:xfrm>
            <a:custGeom>
              <a:avLst/>
              <a:gdLst/>
              <a:ahLst/>
              <a:cxnLst/>
              <a:rect l="l" t="t" r="r" b="b"/>
              <a:pathLst>
                <a:path w="230" h="196" extrusionOk="0">
                  <a:moveTo>
                    <a:pt x="130" y="0"/>
                  </a:moveTo>
                  <a:cubicBezTo>
                    <a:pt x="44" y="0"/>
                    <a:pt x="1" y="108"/>
                    <a:pt x="66" y="166"/>
                  </a:cubicBezTo>
                  <a:cubicBezTo>
                    <a:pt x="86" y="187"/>
                    <a:pt x="110" y="195"/>
                    <a:pt x="133" y="195"/>
                  </a:cubicBezTo>
                  <a:cubicBezTo>
                    <a:pt x="183" y="195"/>
                    <a:pt x="229" y="153"/>
                    <a:pt x="224" y="94"/>
                  </a:cubicBezTo>
                  <a:cubicBezTo>
                    <a:pt x="224" y="43"/>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7" name="Google Shape;1867;p65"/>
            <p:cNvSpPr/>
            <p:nvPr/>
          </p:nvSpPr>
          <p:spPr>
            <a:xfrm>
              <a:off x="4968875" y="2539400"/>
              <a:ext cx="5700" cy="4750"/>
            </a:xfrm>
            <a:custGeom>
              <a:avLst/>
              <a:gdLst/>
              <a:ahLst/>
              <a:cxnLst/>
              <a:rect l="l" t="t" r="r" b="b"/>
              <a:pathLst>
                <a:path w="228" h="190" extrusionOk="0">
                  <a:moveTo>
                    <a:pt x="121" y="1"/>
                  </a:moveTo>
                  <a:cubicBezTo>
                    <a:pt x="46" y="1"/>
                    <a:pt x="1" y="104"/>
                    <a:pt x="64" y="160"/>
                  </a:cubicBezTo>
                  <a:cubicBezTo>
                    <a:pt x="82" y="181"/>
                    <a:pt x="106" y="190"/>
                    <a:pt x="129" y="190"/>
                  </a:cubicBezTo>
                  <a:cubicBezTo>
                    <a:pt x="179" y="190"/>
                    <a:pt x="227" y="149"/>
                    <a:pt x="222" y="95"/>
                  </a:cubicBezTo>
                  <a:cubicBezTo>
                    <a:pt x="222" y="37"/>
                    <a:pt x="186" y="1"/>
                    <a:pt x="128" y="1"/>
                  </a:cubicBezTo>
                  <a:cubicBezTo>
                    <a:pt x="126" y="1"/>
                    <a:pt x="123" y="1"/>
                    <a:pt x="12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8" name="Google Shape;1868;p65"/>
            <p:cNvSpPr/>
            <p:nvPr/>
          </p:nvSpPr>
          <p:spPr>
            <a:xfrm>
              <a:off x="4968825" y="2547175"/>
              <a:ext cx="5750" cy="4725"/>
            </a:xfrm>
            <a:custGeom>
              <a:avLst/>
              <a:gdLst/>
              <a:ahLst/>
              <a:cxnLst/>
              <a:rect l="l" t="t" r="r" b="b"/>
              <a:pathLst>
                <a:path w="230" h="189" extrusionOk="0">
                  <a:moveTo>
                    <a:pt x="130" y="0"/>
                  </a:moveTo>
                  <a:cubicBezTo>
                    <a:pt x="44" y="0"/>
                    <a:pt x="1" y="101"/>
                    <a:pt x="66" y="159"/>
                  </a:cubicBezTo>
                  <a:cubicBezTo>
                    <a:pt x="86" y="180"/>
                    <a:pt x="110" y="189"/>
                    <a:pt x="133" y="189"/>
                  </a:cubicBezTo>
                  <a:cubicBezTo>
                    <a:pt x="183" y="189"/>
                    <a:pt x="229" y="146"/>
                    <a:pt x="224" y="87"/>
                  </a:cubicBezTo>
                  <a:cubicBezTo>
                    <a:pt x="224" y="36"/>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69" name="Google Shape;1869;p65"/>
            <p:cNvSpPr/>
            <p:nvPr/>
          </p:nvSpPr>
          <p:spPr>
            <a:xfrm>
              <a:off x="4968825" y="2554750"/>
              <a:ext cx="5800" cy="4825"/>
            </a:xfrm>
            <a:custGeom>
              <a:avLst/>
              <a:gdLst/>
              <a:ahLst/>
              <a:cxnLst/>
              <a:rect l="l" t="t" r="r" b="b"/>
              <a:pathLst>
                <a:path w="232" h="193" extrusionOk="0">
                  <a:moveTo>
                    <a:pt x="130" y="0"/>
                  </a:moveTo>
                  <a:cubicBezTo>
                    <a:pt x="51" y="0"/>
                    <a:pt x="1" y="101"/>
                    <a:pt x="66" y="166"/>
                  </a:cubicBezTo>
                  <a:cubicBezTo>
                    <a:pt x="84" y="184"/>
                    <a:pt x="107" y="192"/>
                    <a:pt x="130" y="192"/>
                  </a:cubicBezTo>
                  <a:cubicBezTo>
                    <a:pt x="180" y="192"/>
                    <a:pt x="229" y="153"/>
                    <a:pt x="224" y="94"/>
                  </a:cubicBezTo>
                  <a:cubicBezTo>
                    <a:pt x="231" y="44"/>
                    <a:pt x="188"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0" name="Google Shape;1870;p65"/>
            <p:cNvSpPr/>
            <p:nvPr/>
          </p:nvSpPr>
          <p:spPr>
            <a:xfrm>
              <a:off x="4968825" y="2562500"/>
              <a:ext cx="5750" cy="4800"/>
            </a:xfrm>
            <a:custGeom>
              <a:avLst/>
              <a:gdLst/>
              <a:ahLst/>
              <a:cxnLst/>
              <a:rect l="l" t="t" r="r" b="b"/>
              <a:pathLst>
                <a:path w="230" h="192" extrusionOk="0">
                  <a:moveTo>
                    <a:pt x="130" y="0"/>
                  </a:moveTo>
                  <a:cubicBezTo>
                    <a:pt x="44" y="0"/>
                    <a:pt x="1" y="101"/>
                    <a:pt x="66" y="166"/>
                  </a:cubicBezTo>
                  <a:cubicBezTo>
                    <a:pt x="85" y="183"/>
                    <a:pt x="107" y="191"/>
                    <a:pt x="129" y="191"/>
                  </a:cubicBezTo>
                  <a:cubicBezTo>
                    <a:pt x="181" y="191"/>
                    <a:pt x="229" y="148"/>
                    <a:pt x="224" y="87"/>
                  </a:cubicBezTo>
                  <a:cubicBezTo>
                    <a:pt x="224" y="37"/>
                    <a:pt x="181" y="0"/>
                    <a:pt x="13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1" name="Google Shape;1871;p65"/>
            <p:cNvSpPr/>
            <p:nvPr/>
          </p:nvSpPr>
          <p:spPr>
            <a:xfrm>
              <a:off x="4968875" y="2570225"/>
              <a:ext cx="5700" cy="4750"/>
            </a:xfrm>
            <a:custGeom>
              <a:avLst/>
              <a:gdLst/>
              <a:ahLst/>
              <a:cxnLst/>
              <a:rect l="l" t="t" r="r" b="b"/>
              <a:pathLst>
                <a:path w="228" h="190" extrusionOk="0">
                  <a:moveTo>
                    <a:pt x="139" y="1"/>
                  </a:moveTo>
                  <a:cubicBezTo>
                    <a:pt x="136" y="1"/>
                    <a:pt x="132" y="1"/>
                    <a:pt x="128" y="2"/>
                  </a:cubicBezTo>
                  <a:cubicBezTo>
                    <a:pt x="126" y="1"/>
                    <a:pt x="123" y="1"/>
                    <a:pt x="120" y="1"/>
                  </a:cubicBezTo>
                  <a:cubicBezTo>
                    <a:pt x="39" y="1"/>
                    <a:pt x="1" y="104"/>
                    <a:pt x="64" y="160"/>
                  </a:cubicBezTo>
                  <a:cubicBezTo>
                    <a:pt x="84" y="181"/>
                    <a:pt x="108" y="190"/>
                    <a:pt x="131" y="190"/>
                  </a:cubicBezTo>
                  <a:cubicBezTo>
                    <a:pt x="181" y="190"/>
                    <a:pt x="227" y="147"/>
                    <a:pt x="222" y="88"/>
                  </a:cubicBezTo>
                  <a:cubicBezTo>
                    <a:pt x="222" y="41"/>
                    <a:pt x="185" y="1"/>
                    <a:pt x="139"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2" name="Google Shape;1872;p65"/>
            <p:cNvSpPr/>
            <p:nvPr/>
          </p:nvSpPr>
          <p:spPr>
            <a:xfrm>
              <a:off x="4968825" y="2577825"/>
              <a:ext cx="5800" cy="4825"/>
            </a:xfrm>
            <a:custGeom>
              <a:avLst/>
              <a:gdLst/>
              <a:ahLst/>
              <a:cxnLst/>
              <a:rect l="l" t="t" r="r" b="b"/>
              <a:pathLst>
                <a:path w="232" h="193" extrusionOk="0">
                  <a:moveTo>
                    <a:pt x="130" y="1"/>
                  </a:moveTo>
                  <a:cubicBezTo>
                    <a:pt x="51" y="1"/>
                    <a:pt x="1" y="101"/>
                    <a:pt x="66" y="166"/>
                  </a:cubicBezTo>
                  <a:cubicBezTo>
                    <a:pt x="84" y="185"/>
                    <a:pt x="107" y="193"/>
                    <a:pt x="130" y="193"/>
                  </a:cubicBezTo>
                  <a:cubicBezTo>
                    <a:pt x="180" y="193"/>
                    <a:pt x="229" y="154"/>
                    <a:pt x="224" y="94"/>
                  </a:cubicBezTo>
                  <a:cubicBezTo>
                    <a:pt x="231" y="44"/>
                    <a:pt x="188" y="1"/>
                    <a:pt x="13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3" name="Google Shape;1873;p65"/>
            <p:cNvSpPr/>
            <p:nvPr/>
          </p:nvSpPr>
          <p:spPr>
            <a:xfrm>
              <a:off x="4960525" y="2531675"/>
              <a:ext cx="5625" cy="4900"/>
            </a:xfrm>
            <a:custGeom>
              <a:avLst/>
              <a:gdLst/>
              <a:ahLst/>
              <a:cxnLst/>
              <a:rect l="l" t="t" r="r" b="b"/>
              <a:pathLst>
                <a:path w="225" h="196" extrusionOk="0">
                  <a:moveTo>
                    <a:pt x="123" y="0"/>
                  </a:moveTo>
                  <a:cubicBezTo>
                    <a:pt x="37" y="0"/>
                    <a:pt x="1" y="108"/>
                    <a:pt x="59" y="166"/>
                  </a:cubicBezTo>
                  <a:cubicBezTo>
                    <a:pt x="79" y="187"/>
                    <a:pt x="103" y="195"/>
                    <a:pt x="126" y="195"/>
                  </a:cubicBezTo>
                  <a:cubicBezTo>
                    <a:pt x="177" y="195"/>
                    <a:pt x="224" y="153"/>
                    <a:pt x="224" y="94"/>
                  </a:cubicBezTo>
                  <a:cubicBezTo>
                    <a:pt x="217" y="43"/>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4" name="Google Shape;1874;p65"/>
            <p:cNvSpPr/>
            <p:nvPr/>
          </p:nvSpPr>
          <p:spPr>
            <a:xfrm>
              <a:off x="4960575" y="2539400"/>
              <a:ext cx="5575" cy="4750"/>
            </a:xfrm>
            <a:custGeom>
              <a:avLst/>
              <a:gdLst/>
              <a:ahLst/>
              <a:cxnLst/>
              <a:rect l="l" t="t" r="r" b="b"/>
              <a:pathLst>
                <a:path w="223" h="190" extrusionOk="0">
                  <a:moveTo>
                    <a:pt x="114" y="1"/>
                  </a:moveTo>
                  <a:cubicBezTo>
                    <a:pt x="39" y="1"/>
                    <a:pt x="1" y="104"/>
                    <a:pt x="57" y="160"/>
                  </a:cubicBezTo>
                  <a:cubicBezTo>
                    <a:pt x="75" y="181"/>
                    <a:pt x="99" y="190"/>
                    <a:pt x="122" y="190"/>
                  </a:cubicBezTo>
                  <a:cubicBezTo>
                    <a:pt x="172" y="190"/>
                    <a:pt x="222" y="149"/>
                    <a:pt x="222" y="95"/>
                  </a:cubicBezTo>
                  <a:cubicBezTo>
                    <a:pt x="222" y="37"/>
                    <a:pt x="179" y="1"/>
                    <a:pt x="121" y="1"/>
                  </a:cubicBezTo>
                  <a:cubicBezTo>
                    <a:pt x="119" y="1"/>
                    <a:pt x="116" y="1"/>
                    <a:pt x="11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5" name="Google Shape;1875;p65"/>
            <p:cNvSpPr/>
            <p:nvPr/>
          </p:nvSpPr>
          <p:spPr>
            <a:xfrm>
              <a:off x="4960525" y="2547175"/>
              <a:ext cx="5625" cy="4725"/>
            </a:xfrm>
            <a:custGeom>
              <a:avLst/>
              <a:gdLst/>
              <a:ahLst/>
              <a:cxnLst/>
              <a:rect l="l" t="t" r="r" b="b"/>
              <a:pathLst>
                <a:path w="225" h="189" extrusionOk="0">
                  <a:moveTo>
                    <a:pt x="123" y="0"/>
                  </a:moveTo>
                  <a:cubicBezTo>
                    <a:pt x="37" y="0"/>
                    <a:pt x="1" y="101"/>
                    <a:pt x="59" y="159"/>
                  </a:cubicBezTo>
                  <a:cubicBezTo>
                    <a:pt x="79" y="180"/>
                    <a:pt x="103" y="189"/>
                    <a:pt x="126" y="189"/>
                  </a:cubicBezTo>
                  <a:cubicBezTo>
                    <a:pt x="177" y="189"/>
                    <a:pt x="224" y="146"/>
                    <a:pt x="224" y="87"/>
                  </a:cubicBezTo>
                  <a:cubicBezTo>
                    <a:pt x="217" y="36"/>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6" name="Google Shape;1876;p65"/>
            <p:cNvSpPr/>
            <p:nvPr/>
          </p:nvSpPr>
          <p:spPr>
            <a:xfrm>
              <a:off x="4960525" y="2554750"/>
              <a:ext cx="5625" cy="4825"/>
            </a:xfrm>
            <a:custGeom>
              <a:avLst/>
              <a:gdLst/>
              <a:ahLst/>
              <a:cxnLst/>
              <a:rect l="l" t="t" r="r" b="b"/>
              <a:pathLst>
                <a:path w="225" h="193" extrusionOk="0">
                  <a:moveTo>
                    <a:pt x="123" y="0"/>
                  </a:moveTo>
                  <a:cubicBezTo>
                    <a:pt x="44" y="0"/>
                    <a:pt x="1" y="101"/>
                    <a:pt x="59" y="166"/>
                  </a:cubicBezTo>
                  <a:cubicBezTo>
                    <a:pt x="77" y="184"/>
                    <a:pt x="100" y="192"/>
                    <a:pt x="123" y="192"/>
                  </a:cubicBezTo>
                  <a:cubicBezTo>
                    <a:pt x="173" y="192"/>
                    <a:pt x="224" y="153"/>
                    <a:pt x="224" y="94"/>
                  </a:cubicBezTo>
                  <a:cubicBezTo>
                    <a:pt x="224" y="44"/>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7" name="Google Shape;1877;p65"/>
            <p:cNvSpPr/>
            <p:nvPr/>
          </p:nvSpPr>
          <p:spPr>
            <a:xfrm>
              <a:off x="4960525" y="2562500"/>
              <a:ext cx="5625" cy="4800"/>
            </a:xfrm>
            <a:custGeom>
              <a:avLst/>
              <a:gdLst/>
              <a:ahLst/>
              <a:cxnLst/>
              <a:rect l="l" t="t" r="r" b="b"/>
              <a:pathLst>
                <a:path w="225" h="192" extrusionOk="0">
                  <a:moveTo>
                    <a:pt x="123" y="0"/>
                  </a:moveTo>
                  <a:cubicBezTo>
                    <a:pt x="37" y="0"/>
                    <a:pt x="1" y="101"/>
                    <a:pt x="59" y="166"/>
                  </a:cubicBezTo>
                  <a:cubicBezTo>
                    <a:pt x="78" y="183"/>
                    <a:pt x="100" y="191"/>
                    <a:pt x="122" y="191"/>
                  </a:cubicBezTo>
                  <a:cubicBezTo>
                    <a:pt x="174" y="191"/>
                    <a:pt x="224" y="148"/>
                    <a:pt x="224" y="87"/>
                  </a:cubicBezTo>
                  <a:cubicBezTo>
                    <a:pt x="217" y="37"/>
                    <a:pt x="181" y="0"/>
                    <a:pt x="12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8" name="Google Shape;1878;p65"/>
            <p:cNvSpPr/>
            <p:nvPr/>
          </p:nvSpPr>
          <p:spPr>
            <a:xfrm>
              <a:off x="4960575" y="2570225"/>
              <a:ext cx="5575" cy="4750"/>
            </a:xfrm>
            <a:custGeom>
              <a:avLst/>
              <a:gdLst/>
              <a:ahLst/>
              <a:cxnLst/>
              <a:rect l="l" t="t" r="r" b="b"/>
              <a:pathLst>
                <a:path w="223" h="190" extrusionOk="0">
                  <a:moveTo>
                    <a:pt x="134" y="1"/>
                  </a:moveTo>
                  <a:cubicBezTo>
                    <a:pt x="130" y="1"/>
                    <a:pt x="126" y="1"/>
                    <a:pt x="121" y="2"/>
                  </a:cubicBezTo>
                  <a:cubicBezTo>
                    <a:pt x="119" y="1"/>
                    <a:pt x="116" y="1"/>
                    <a:pt x="113" y="1"/>
                  </a:cubicBezTo>
                  <a:cubicBezTo>
                    <a:pt x="33" y="1"/>
                    <a:pt x="1" y="104"/>
                    <a:pt x="57" y="160"/>
                  </a:cubicBezTo>
                  <a:cubicBezTo>
                    <a:pt x="77" y="181"/>
                    <a:pt x="101" y="190"/>
                    <a:pt x="124" y="190"/>
                  </a:cubicBezTo>
                  <a:cubicBezTo>
                    <a:pt x="175" y="190"/>
                    <a:pt x="222" y="147"/>
                    <a:pt x="222" y="88"/>
                  </a:cubicBezTo>
                  <a:cubicBezTo>
                    <a:pt x="216" y="41"/>
                    <a:pt x="184" y="1"/>
                    <a:pt x="13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79" name="Google Shape;1879;p65"/>
            <p:cNvSpPr/>
            <p:nvPr/>
          </p:nvSpPr>
          <p:spPr>
            <a:xfrm>
              <a:off x="4960525" y="2577825"/>
              <a:ext cx="5625" cy="4825"/>
            </a:xfrm>
            <a:custGeom>
              <a:avLst/>
              <a:gdLst/>
              <a:ahLst/>
              <a:cxnLst/>
              <a:rect l="l" t="t" r="r" b="b"/>
              <a:pathLst>
                <a:path w="225" h="193" extrusionOk="0">
                  <a:moveTo>
                    <a:pt x="123" y="1"/>
                  </a:moveTo>
                  <a:cubicBezTo>
                    <a:pt x="44" y="1"/>
                    <a:pt x="1" y="101"/>
                    <a:pt x="59" y="166"/>
                  </a:cubicBezTo>
                  <a:cubicBezTo>
                    <a:pt x="77" y="185"/>
                    <a:pt x="100" y="193"/>
                    <a:pt x="123" y="193"/>
                  </a:cubicBezTo>
                  <a:cubicBezTo>
                    <a:pt x="173" y="193"/>
                    <a:pt x="224" y="154"/>
                    <a:pt x="224" y="94"/>
                  </a:cubicBezTo>
                  <a:cubicBezTo>
                    <a:pt x="224" y="44"/>
                    <a:pt x="181" y="1"/>
                    <a:pt x="123"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0" name="Google Shape;1880;p65"/>
            <p:cNvSpPr/>
            <p:nvPr/>
          </p:nvSpPr>
          <p:spPr>
            <a:xfrm>
              <a:off x="4952050" y="2531675"/>
              <a:ext cx="5625" cy="4900"/>
            </a:xfrm>
            <a:custGeom>
              <a:avLst/>
              <a:gdLst/>
              <a:ahLst/>
              <a:cxnLst/>
              <a:rect l="l" t="t" r="r" b="b"/>
              <a:pathLst>
                <a:path w="225" h="196" extrusionOk="0">
                  <a:moveTo>
                    <a:pt x="131" y="0"/>
                  </a:moveTo>
                  <a:cubicBezTo>
                    <a:pt x="44" y="0"/>
                    <a:pt x="1" y="108"/>
                    <a:pt x="59" y="166"/>
                  </a:cubicBezTo>
                  <a:cubicBezTo>
                    <a:pt x="79" y="187"/>
                    <a:pt x="103" y="195"/>
                    <a:pt x="126" y="195"/>
                  </a:cubicBezTo>
                  <a:cubicBezTo>
                    <a:pt x="177" y="195"/>
                    <a:pt x="224" y="153"/>
                    <a:pt x="224" y="94"/>
                  </a:cubicBezTo>
                  <a:cubicBezTo>
                    <a:pt x="217" y="43"/>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1" name="Google Shape;1881;p65"/>
            <p:cNvSpPr/>
            <p:nvPr/>
          </p:nvSpPr>
          <p:spPr>
            <a:xfrm>
              <a:off x="4952100" y="2539400"/>
              <a:ext cx="5575" cy="4750"/>
            </a:xfrm>
            <a:custGeom>
              <a:avLst/>
              <a:gdLst/>
              <a:ahLst/>
              <a:cxnLst/>
              <a:rect l="l" t="t" r="r" b="b"/>
              <a:pathLst>
                <a:path w="223" h="190" extrusionOk="0">
                  <a:moveTo>
                    <a:pt x="120"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2" name="Google Shape;1882;p65"/>
            <p:cNvSpPr/>
            <p:nvPr/>
          </p:nvSpPr>
          <p:spPr>
            <a:xfrm>
              <a:off x="4952050" y="2547175"/>
              <a:ext cx="5625" cy="4725"/>
            </a:xfrm>
            <a:custGeom>
              <a:avLst/>
              <a:gdLst/>
              <a:ahLst/>
              <a:cxnLst/>
              <a:rect l="l" t="t" r="r" b="b"/>
              <a:pathLst>
                <a:path w="225" h="189" extrusionOk="0">
                  <a:moveTo>
                    <a:pt x="131" y="0"/>
                  </a:moveTo>
                  <a:cubicBezTo>
                    <a:pt x="44" y="0"/>
                    <a:pt x="1" y="101"/>
                    <a:pt x="59" y="159"/>
                  </a:cubicBezTo>
                  <a:cubicBezTo>
                    <a:pt x="79" y="180"/>
                    <a:pt x="103" y="189"/>
                    <a:pt x="126" y="189"/>
                  </a:cubicBezTo>
                  <a:cubicBezTo>
                    <a:pt x="177" y="189"/>
                    <a:pt x="224" y="146"/>
                    <a:pt x="224" y="87"/>
                  </a:cubicBezTo>
                  <a:cubicBezTo>
                    <a:pt x="217" y="36"/>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3" name="Google Shape;1883;p65"/>
            <p:cNvSpPr/>
            <p:nvPr/>
          </p:nvSpPr>
          <p:spPr>
            <a:xfrm>
              <a:off x="4952050"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4" name="Google Shape;1884;p65"/>
            <p:cNvSpPr/>
            <p:nvPr/>
          </p:nvSpPr>
          <p:spPr>
            <a:xfrm>
              <a:off x="4952050" y="2562500"/>
              <a:ext cx="5625" cy="4800"/>
            </a:xfrm>
            <a:custGeom>
              <a:avLst/>
              <a:gdLst/>
              <a:ahLst/>
              <a:cxnLst/>
              <a:rect l="l" t="t" r="r" b="b"/>
              <a:pathLst>
                <a:path w="225" h="192" extrusionOk="0">
                  <a:moveTo>
                    <a:pt x="131" y="0"/>
                  </a:moveTo>
                  <a:cubicBezTo>
                    <a:pt x="44" y="0"/>
                    <a:pt x="1" y="101"/>
                    <a:pt x="59" y="166"/>
                  </a:cubicBezTo>
                  <a:cubicBezTo>
                    <a:pt x="78" y="183"/>
                    <a:pt x="100" y="191"/>
                    <a:pt x="122" y="191"/>
                  </a:cubicBezTo>
                  <a:cubicBezTo>
                    <a:pt x="174" y="191"/>
                    <a:pt x="224" y="148"/>
                    <a:pt x="224" y="87"/>
                  </a:cubicBezTo>
                  <a:cubicBezTo>
                    <a:pt x="217" y="37"/>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5" name="Google Shape;1885;p65"/>
            <p:cNvSpPr/>
            <p:nvPr/>
          </p:nvSpPr>
          <p:spPr>
            <a:xfrm>
              <a:off x="4952100" y="2570225"/>
              <a:ext cx="5575" cy="4750"/>
            </a:xfrm>
            <a:custGeom>
              <a:avLst/>
              <a:gdLst/>
              <a:ahLst/>
              <a:cxnLst/>
              <a:rect l="l" t="t" r="r" b="b"/>
              <a:pathLst>
                <a:path w="223" h="190" extrusionOk="0">
                  <a:moveTo>
                    <a:pt x="140" y="1"/>
                  </a:moveTo>
                  <a:cubicBezTo>
                    <a:pt x="136" y="1"/>
                    <a:pt x="132" y="1"/>
                    <a:pt x="129" y="2"/>
                  </a:cubicBezTo>
                  <a:cubicBezTo>
                    <a:pt x="126" y="1"/>
                    <a:pt x="123" y="1"/>
                    <a:pt x="120" y="1"/>
                  </a:cubicBezTo>
                  <a:cubicBezTo>
                    <a:pt x="39" y="1"/>
                    <a:pt x="1" y="104"/>
                    <a:pt x="57" y="160"/>
                  </a:cubicBezTo>
                  <a:cubicBezTo>
                    <a:pt x="77" y="181"/>
                    <a:pt x="101" y="190"/>
                    <a:pt x="124" y="190"/>
                  </a:cubicBezTo>
                  <a:cubicBezTo>
                    <a:pt x="175" y="190"/>
                    <a:pt x="222" y="147"/>
                    <a:pt x="222" y="88"/>
                  </a:cubicBezTo>
                  <a:cubicBezTo>
                    <a:pt x="216" y="41"/>
                    <a:pt x="184" y="1"/>
                    <a:pt x="14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6" name="Google Shape;1886;p65"/>
            <p:cNvSpPr/>
            <p:nvPr/>
          </p:nvSpPr>
          <p:spPr>
            <a:xfrm>
              <a:off x="4952050"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7" name="Google Shape;1887;p65"/>
            <p:cNvSpPr/>
            <p:nvPr/>
          </p:nvSpPr>
          <p:spPr>
            <a:xfrm>
              <a:off x="4943575" y="2531675"/>
              <a:ext cx="5750" cy="4900"/>
            </a:xfrm>
            <a:custGeom>
              <a:avLst/>
              <a:gdLst/>
              <a:ahLst/>
              <a:cxnLst/>
              <a:rect l="l" t="t" r="r" b="b"/>
              <a:pathLst>
                <a:path w="230" h="196" extrusionOk="0">
                  <a:moveTo>
                    <a:pt x="131" y="0"/>
                  </a:moveTo>
                  <a:cubicBezTo>
                    <a:pt x="44" y="0"/>
                    <a:pt x="1" y="108"/>
                    <a:pt x="66" y="166"/>
                  </a:cubicBezTo>
                  <a:cubicBezTo>
                    <a:pt x="84" y="187"/>
                    <a:pt x="107" y="195"/>
                    <a:pt x="130" y="195"/>
                  </a:cubicBezTo>
                  <a:cubicBezTo>
                    <a:pt x="180" y="195"/>
                    <a:pt x="229" y="153"/>
                    <a:pt x="224" y="94"/>
                  </a:cubicBezTo>
                  <a:cubicBezTo>
                    <a:pt x="224" y="43"/>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8" name="Google Shape;1888;p65"/>
            <p:cNvSpPr/>
            <p:nvPr/>
          </p:nvSpPr>
          <p:spPr>
            <a:xfrm>
              <a:off x="4943625" y="2539400"/>
              <a:ext cx="5575" cy="4750"/>
            </a:xfrm>
            <a:custGeom>
              <a:avLst/>
              <a:gdLst/>
              <a:ahLst/>
              <a:cxnLst/>
              <a:rect l="l" t="t" r="r" b="b"/>
              <a:pathLst>
                <a:path w="223" h="190" extrusionOk="0">
                  <a:moveTo>
                    <a:pt x="121" y="1"/>
                  </a:moveTo>
                  <a:cubicBezTo>
                    <a:pt x="39" y="1"/>
                    <a:pt x="1" y="104"/>
                    <a:pt x="57" y="160"/>
                  </a:cubicBezTo>
                  <a:cubicBezTo>
                    <a:pt x="77" y="181"/>
                    <a:pt x="102" y="190"/>
                    <a:pt x="125" y="190"/>
                  </a:cubicBezTo>
                  <a:cubicBezTo>
                    <a:pt x="176" y="190"/>
                    <a:pt x="222" y="149"/>
                    <a:pt x="222" y="95"/>
                  </a:cubicBezTo>
                  <a:cubicBezTo>
                    <a:pt x="222" y="37"/>
                    <a:pt x="179" y="1"/>
                    <a:pt x="129" y="1"/>
                  </a:cubicBezTo>
                  <a:cubicBezTo>
                    <a:pt x="126" y="1"/>
                    <a:pt x="123" y="1"/>
                    <a:pt x="12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89" name="Google Shape;1889;p65"/>
            <p:cNvSpPr/>
            <p:nvPr/>
          </p:nvSpPr>
          <p:spPr>
            <a:xfrm>
              <a:off x="4943575" y="2547175"/>
              <a:ext cx="5750" cy="4725"/>
            </a:xfrm>
            <a:custGeom>
              <a:avLst/>
              <a:gdLst/>
              <a:ahLst/>
              <a:cxnLst/>
              <a:rect l="l" t="t" r="r" b="b"/>
              <a:pathLst>
                <a:path w="230" h="189" extrusionOk="0">
                  <a:moveTo>
                    <a:pt x="131" y="0"/>
                  </a:moveTo>
                  <a:cubicBezTo>
                    <a:pt x="44" y="0"/>
                    <a:pt x="1" y="101"/>
                    <a:pt x="66" y="159"/>
                  </a:cubicBezTo>
                  <a:cubicBezTo>
                    <a:pt x="84" y="180"/>
                    <a:pt x="107" y="189"/>
                    <a:pt x="130" y="189"/>
                  </a:cubicBezTo>
                  <a:cubicBezTo>
                    <a:pt x="180" y="189"/>
                    <a:pt x="229" y="146"/>
                    <a:pt x="224" y="87"/>
                  </a:cubicBezTo>
                  <a:cubicBezTo>
                    <a:pt x="224" y="36"/>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0" name="Google Shape;1890;p65"/>
            <p:cNvSpPr/>
            <p:nvPr/>
          </p:nvSpPr>
          <p:spPr>
            <a:xfrm>
              <a:off x="4943575" y="2554750"/>
              <a:ext cx="5625" cy="4825"/>
            </a:xfrm>
            <a:custGeom>
              <a:avLst/>
              <a:gdLst/>
              <a:ahLst/>
              <a:cxnLst/>
              <a:rect l="l" t="t" r="r" b="b"/>
              <a:pathLst>
                <a:path w="225" h="193" extrusionOk="0">
                  <a:moveTo>
                    <a:pt x="131" y="0"/>
                  </a:moveTo>
                  <a:cubicBezTo>
                    <a:pt x="44" y="0"/>
                    <a:pt x="1" y="101"/>
                    <a:pt x="59" y="166"/>
                  </a:cubicBezTo>
                  <a:cubicBezTo>
                    <a:pt x="79" y="184"/>
                    <a:pt x="103" y="192"/>
                    <a:pt x="126" y="192"/>
                  </a:cubicBezTo>
                  <a:cubicBezTo>
                    <a:pt x="177" y="192"/>
                    <a:pt x="224" y="153"/>
                    <a:pt x="224" y="94"/>
                  </a:cubicBezTo>
                  <a:cubicBezTo>
                    <a:pt x="224" y="44"/>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1" name="Google Shape;1891;p65"/>
            <p:cNvSpPr/>
            <p:nvPr/>
          </p:nvSpPr>
          <p:spPr>
            <a:xfrm>
              <a:off x="4943575" y="2562500"/>
              <a:ext cx="5750" cy="4800"/>
            </a:xfrm>
            <a:custGeom>
              <a:avLst/>
              <a:gdLst/>
              <a:ahLst/>
              <a:cxnLst/>
              <a:rect l="l" t="t" r="r" b="b"/>
              <a:pathLst>
                <a:path w="230" h="192" extrusionOk="0">
                  <a:moveTo>
                    <a:pt x="131" y="0"/>
                  </a:moveTo>
                  <a:cubicBezTo>
                    <a:pt x="44" y="0"/>
                    <a:pt x="1" y="101"/>
                    <a:pt x="66" y="166"/>
                  </a:cubicBezTo>
                  <a:cubicBezTo>
                    <a:pt x="83" y="183"/>
                    <a:pt x="104" y="191"/>
                    <a:pt x="126" y="191"/>
                  </a:cubicBezTo>
                  <a:cubicBezTo>
                    <a:pt x="177" y="191"/>
                    <a:pt x="230" y="148"/>
                    <a:pt x="224" y="87"/>
                  </a:cubicBezTo>
                  <a:cubicBezTo>
                    <a:pt x="224" y="37"/>
                    <a:pt x="181" y="0"/>
                    <a:pt x="13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2" name="Google Shape;1892;p65"/>
            <p:cNvSpPr/>
            <p:nvPr/>
          </p:nvSpPr>
          <p:spPr>
            <a:xfrm>
              <a:off x="4943625" y="2570225"/>
              <a:ext cx="5700" cy="4750"/>
            </a:xfrm>
            <a:custGeom>
              <a:avLst/>
              <a:gdLst/>
              <a:ahLst/>
              <a:cxnLst/>
              <a:rect l="l" t="t" r="r" b="b"/>
              <a:pathLst>
                <a:path w="228" h="190" extrusionOk="0">
                  <a:moveTo>
                    <a:pt x="140" y="1"/>
                  </a:moveTo>
                  <a:cubicBezTo>
                    <a:pt x="136" y="1"/>
                    <a:pt x="132" y="1"/>
                    <a:pt x="129" y="2"/>
                  </a:cubicBezTo>
                  <a:cubicBezTo>
                    <a:pt x="126" y="1"/>
                    <a:pt x="123" y="1"/>
                    <a:pt x="121" y="1"/>
                  </a:cubicBezTo>
                  <a:cubicBezTo>
                    <a:pt x="39" y="1"/>
                    <a:pt x="1" y="104"/>
                    <a:pt x="64" y="160"/>
                  </a:cubicBezTo>
                  <a:cubicBezTo>
                    <a:pt x="82" y="181"/>
                    <a:pt x="105" y="190"/>
                    <a:pt x="128" y="190"/>
                  </a:cubicBezTo>
                  <a:cubicBezTo>
                    <a:pt x="178" y="190"/>
                    <a:pt x="227" y="147"/>
                    <a:pt x="222" y="88"/>
                  </a:cubicBezTo>
                  <a:cubicBezTo>
                    <a:pt x="222" y="41"/>
                    <a:pt x="185" y="1"/>
                    <a:pt x="14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3" name="Google Shape;1893;p65"/>
            <p:cNvSpPr/>
            <p:nvPr/>
          </p:nvSpPr>
          <p:spPr>
            <a:xfrm>
              <a:off x="4943575" y="2577825"/>
              <a:ext cx="5625" cy="4825"/>
            </a:xfrm>
            <a:custGeom>
              <a:avLst/>
              <a:gdLst/>
              <a:ahLst/>
              <a:cxnLst/>
              <a:rect l="l" t="t" r="r" b="b"/>
              <a:pathLst>
                <a:path w="225" h="193" extrusionOk="0">
                  <a:moveTo>
                    <a:pt x="131" y="1"/>
                  </a:moveTo>
                  <a:cubicBezTo>
                    <a:pt x="44" y="1"/>
                    <a:pt x="1" y="101"/>
                    <a:pt x="59" y="166"/>
                  </a:cubicBezTo>
                  <a:cubicBezTo>
                    <a:pt x="79" y="185"/>
                    <a:pt x="103" y="193"/>
                    <a:pt x="126" y="193"/>
                  </a:cubicBezTo>
                  <a:cubicBezTo>
                    <a:pt x="177" y="193"/>
                    <a:pt x="224" y="154"/>
                    <a:pt x="224" y="94"/>
                  </a:cubicBezTo>
                  <a:cubicBezTo>
                    <a:pt x="224" y="44"/>
                    <a:pt x="181" y="1"/>
                    <a:pt x="13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894" name="Google Shape;1894;p65"/>
          <p:cNvSpPr/>
          <p:nvPr/>
        </p:nvSpPr>
        <p:spPr>
          <a:xfrm>
            <a:off x="10330144" y="4568089"/>
            <a:ext cx="232449" cy="232449"/>
          </a:xfrm>
          <a:custGeom>
            <a:avLst/>
            <a:gdLst/>
            <a:ahLst/>
            <a:cxnLst/>
            <a:rect l="l" t="t" r="r" b="b"/>
            <a:pathLst>
              <a:path w="208163" h="208163" extrusionOk="0">
                <a:moveTo>
                  <a:pt x="79632" y="48546"/>
                </a:moveTo>
                <a:cubicBezTo>
                  <a:pt x="80399" y="48546"/>
                  <a:pt x="81191" y="48783"/>
                  <a:pt x="81877" y="49126"/>
                </a:cubicBezTo>
                <a:lnTo>
                  <a:pt x="158203" y="101306"/>
                </a:lnTo>
                <a:cubicBezTo>
                  <a:pt x="159036" y="101861"/>
                  <a:pt x="159591" y="102971"/>
                  <a:pt x="159591" y="104081"/>
                </a:cubicBezTo>
                <a:cubicBezTo>
                  <a:pt x="159591" y="105191"/>
                  <a:pt x="159036" y="106302"/>
                  <a:pt x="158203" y="106857"/>
                </a:cubicBezTo>
                <a:lnTo>
                  <a:pt x="81877" y="159036"/>
                </a:lnTo>
                <a:cubicBezTo>
                  <a:pt x="81045" y="159314"/>
                  <a:pt x="80489" y="159591"/>
                  <a:pt x="79934" y="159591"/>
                </a:cubicBezTo>
                <a:cubicBezTo>
                  <a:pt x="79379" y="159591"/>
                  <a:pt x="78547" y="159591"/>
                  <a:pt x="78269" y="159314"/>
                </a:cubicBezTo>
                <a:cubicBezTo>
                  <a:pt x="77159" y="158481"/>
                  <a:pt x="76326" y="157371"/>
                  <a:pt x="76326" y="156260"/>
                </a:cubicBezTo>
                <a:lnTo>
                  <a:pt x="76326" y="52179"/>
                </a:lnTo>
                <a:cubicBezTo>
                  <a:pt x="76326" y="50792"/>
                  <a:pt x="77159" y="49681"/>
                  <a:pt x="78269" y="48849"/>
                </a:cubicBezTo>
                <a:cubicBezTo>
                  <a:pt x="78693" y="48637"/>
                  <a:pt x="79158" y="48546"/>
                  <a:pt x="79632" y="48546"/>
                </a:cubicBezTo>
                <a:close/>
                <a:moveTo>
                  <a:pt x="104081" y="0"/>
                </a:moveTo>
                <a:cubicBezTo>
                  <a:pt x="46628" y="0"/>
                  <a:pt x="0" y="46628"/>
                  <a:pt x="0" y="104081"/>
                </a:cubicBezTo>
                <a:cubicBezTo>
                  <a:pt x="0" y="161534"/>
                  <a:pt x="46628" y="208162"/>
                  <a:pt x="104081" y="208162"/>
                </a:cubicBezTo>
                <a:cubicBezTo>
                  <a:pt x="161534" y="208162"/>
                  <a:pt x="208162" y="161534"/>
                  <a:pt x="208162" y="104081"/>
                </a:cubicBezTo>
                <a:cubicBezTo>
                  <a:pt x="208162" y="46628"/>
                  <a:pt x="161534" y="0"/>
                  <a:pt x="104081" y="0"/>
                </a:cubicBezTo>
                <a:close/>
              </a:path>
            </a:pathLst>
          </a:cu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5" name="Google Shape;1895;p65"/>
          <p:cNvSpPr/>
          <p:nvPr/>
        </p:nvSpPr>
        <p:spPr>
          <a:xfrm>
            <a:off x="10751819" y="4606513"/>
            <a:ext cx="198000" cy="155600"/>
          </a:xfrm>
          <a:prstGeom prst="stripedRightArrow">
            <a:avLst>
              <a:gd name="adj1" fmla="val 50000"/>
              <a:gd name="adj2" fmla="val 50000"/>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6" name="Google Shape;1896;p65"/>
          <p:cNvSpPr/>
          <p:nvPr/>
        </p:nvSpPr>
        <p:spPr>
          <a:xfrm>
            <a:off x="9554637" y="3701096"/>
            <a:ext cx="157600" cy="1576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7" name="Google Shape;1897;p65"/>
          <p:cNvSpPr/>
          <p:nvPr/>
        </p:nvSpPr>
        <p:spPr>
          <a:xfrm flipH="1">
            <a:off x="9964459" y="3701096"/>
            <a:ext cx="157600" cy="157600"/>
          </a:xfrm>
          <a:prstGeom prst="curvedRightArrow">
            <a:avLst>
              <a:gd name="adj1" fmla="val 25000"/>
              <a:gd name="adj2" fmla="val 50000"/>
              <a:gd name="adj3" fmla="val 25000"/>
            </a:avLst>
          </a:prstGeom>
          <a:no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898" name="Google Shape;1898;p65"/>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chemeClr val="dk1"/>
              </a:buClr>
              <a:buSzPts val="1100"/>
            </a:pPr>
            <a:r>
              <a:rPr lang="en">
                <a:solidFill>
                  <a:schemeClr val="lt1"/>
                </a:solidFill>
                <a:latin typeface="Arial"/>
                <a:ea typeface="Arial"/>
                <a:cs typeface="Arial"/>
                <a:sym typeface="Arial"/>
              </a:rPr>
              <a:t>Use our editable graphic resources...</a:t>
            </a:r>
            <a:endParaRPr>
              <a:solidFill>
                <a:schemeClr val="lt1"/>
              </a:solidFill>
              <a:latin typeface="Arial"/>
              <a:ea typeface="Arial"/>
              <a:cs typeface="Arial"/>
              <a:sym typeface="Arial"/>
            </a:endParaRPr>
          </a:p>
          <a:p>
            <a:pPr>
              <a:buClr>
                <a:srgbClr val="000000"/>
              </a:buClr>
              <a:buSzPts val="1100"/>
            </a:pPr>
            <a:endParaRPr>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02"/>
        <p:cNvGrpSpPr/>
        <p:nvPr/>
      </p:nvGrpSpPr>
      <p:grpSpPr>
        <a:xfrm>
          <a:off x="0" y="0"/>
          <a:ext cx="0" cy="0"/>
          <a:chOff x="0" y="0"/>
          <a:chExt cx="0" cy="0"/>
        </a:xfrm>
      </p:grpSpPr>
      <p:grpSp>
        <p:nvGrpSpPr>
          <p:cNvPr id="1903" name="Google Shape;1903;p66"/>
          <p:cNvGrpSpPr/>
          <p:nvPr/>
        </p:nvGrpSpPr>
        <p:grpSpPr>
          <a:xfrm>
            <a:off x="994095" y="1558221"/>
            <a:ext cx="3323824" cy="1839835"/>
            <a:chOff x="2654821" y="2311071"/>
            <a:chExt cx="2279715" cy="1262120"/>
          </a:xfrm>
        </p:grpSpPr>
        <p:grpSp>
          <p:nvGrpSpPr>
            <p:cNvPr id="1904" name="Google Shape;1904;p66"/>
            <p:cNvGrpSpPr/>
            <p:nvPr/>
          </p:nvGrpSpPr>
          <p:grpSpPr>
            <a:xfrm>
              <a:off x="4034269" y="2840745"/>
              <a:ext cx="40212" cy="36437"/>
              <a:chOff x="4293400" y="2574725"/>
              <a:chExt cx="84425" cy="80100"/>
            </a:xfrm>
          </p:grpSpPr>
          <p:sp>
            <p:nvSpPr>
              <p:cNvPr id="1905" name="Google Shape;1905;p66"/>
              <p:cNvSpPr/>
              <p:nvPr/>
            </p:nvSpPr>
            <p:spPr>
              <a:xfrm>
                <a:off x="4293400" y="2574725"/>
                <a:ext cx="57150" cy="45250"/>
              </a:xfrm>
              <a:custGeom>
                <a:avLst/>
                <a:gdLst/>
                <a:ahLst/>
                <a:cxnLst/>
                <a:rect l="l" t="t" r="r" b="b"/>
                <a:pathLst>
                  <a:path w="2286" h="1810" extrusionOk="0">
                    <a:moveTo>
                      <a:pt x="2286" y="905"/>
                    </a:moveTo>
                    <a:lnTo>
                      <a:pt x="1857" y="476"/>
                    </a:lnTo>
                    <a:lnTo>
                      <a:pt x="0" y="0"/>
                    </a:lnTo>
                    <a:lnTo>
                      <a:pt x="95" y="834"/>
                    </a:lnTo>
                    <a:lnTo>
                      <a:pt x="952" y="1476"/>
                    </a:lnTo>
                    <a:lnTo>
                      <a:pt x="1952" y="1810"/>
                    </a:lnTo>
                    <a:close/>
                  </a:path>
                </a:pathLst>
              </a:custGeom>
              <a:solidFill>
                <a:srgbClr val="5F7D95"/>
              </a:solidFill>
              <a:ln>
                <a:noFill/>
              </a:ln>
            </p:spPr>
          </p:sp>
          <p:sp>
            <p:nvSpPr>
              <p:cNvPr id="1906" name="Google Shape;1906;p66"/>
              <p:cNvSpPr/>
              <p:nvPr/>
            </p:nvSpPr>
            <p:spPr>
              <a:xfrm>
                <a:off x="4299350" y="2589925"/>
                <a:ext cx="78475" cy="64900"/>
              </a:xfrm>
              <a:custGeom>
                <a:avLst/>
                <a:gdLst/>
                <a:ahLst/>
                <a:cxnLst/>
                <a:rect l="l" t="t" r="r" b="b"/>
                <a:pathLst>
                  <a:path w="3139" h="2596" extrusionOk="0">
                    <a:moveTo>
                      <a:pt x="2009" y="1"/>
                    </a:moveTo>
                    <a:lnTo>
                      <a:pt x="1820" y="252"/>
                    </a:lnTo>
                    <a:lnTo>
                      <a:pt x="1632" y="314"/>
                    </a:lnTo>
                    <a:lnTo>
                      <a:pt x="1590" y="419"/>
                    </a:lnTo>
                    <a:lnTo>
                      <a:pt x="1318" y="398"/>
                    </a:lnTo>
                    <a:lnTo>
                      <a:pt x="1255" y="273"/>
                    </a:lnTo>
                    <a:lnTo>
                      <a:pt x="983" y="63"/>
                    </a:lnTo>
                    <a:lnTo>
                      <a:pt x="837" y="42"/>
                    </a:lnTo>
                    <a:lnTo>
                      <a:pt x="795" y="63"/>
                    </a:lnTo>
                    <a:lnTo>
                      <a:pt x="753" y="252"/>
                    </a:lnTo>
                    <a:lnTo>
                      <a:pt x="900" y="314"/>
                    </a:lnTo>
                    <a:lnTo>
                      <a:pt x="983" y="461"/>
                    </a:lnTo>
                    <a:lnTo>
                      <a:pt x="963" y="670"/>
                    </a:lnTo>
                    <a:lnTo>
                      <a:pt x="753" y="566"/>
                    </a:lnTo>
                    <a:lnTo>
                      <a:pt x="544" y="524"/>
                    </a:lnTo>
                    <a:lnTo>
                      <a:pt x="209" y="356"/>
                    </a:lnTo>
                    <a:lnTo>
                      <a:pt x="0" y="419"/>
                    </a:lnTo>
                    <a:lnTo>
                      <a:pt x="0" y="524"/>
                    </a:lnTo>
                    <a:lnTo>
                      <a:pt x="105" y="628"/>
                    </a:lnTo>
                    <a:lnTo>
                      <a:pt x="314" y="670"/>
                    </a:lnTo>
                    <a:lnTo>
                      <a:pt x="419" y="796"/>
                    </a:lnTo>
                    <a:lnTo>
                      <a:pt x="377" y="921"/>
                    </a:lnTo>
                    <a:lnTo>
                      <a:pt x="377" y="1026"/>
                    </a:lnTo>
                    <a:lnTo>
                      <a:pt x="628" y="1214"/>
                    </a:lnTo>
                    <a:lnTo>
                      <a:pt x="628" y="1340"/>
                    </a:lnTo>
                    <a:lnTo>
                      <a:pt x="544" y="1423"/>
                    </a:lnTo>
                    <a:lnTo>
                      <a:pt x="628" y="1612"/>
                    </a:lnTo>
                    <a:lnTo>
                      <a:pt x="879" y="1737"/>
                    </a:lnTo>
                    <a:lnTo>
                      <a:pt x="1067" y="1737"/>
                    </a:lnTo>
                    <a:lnTo>
                      <a:pt x="1193" y="1863"/>
                    </a:lnTo>
                    <a:lnTo>
                      <a:pt x="1046" y="1884"/>
                    </a:lnTo>
                    <a:lnTo>
                      <a:pt x="1109" y="2051"/>
                    </a:lnTo>
                    <a:lnTo>
                      <a:pt x="1088" y="2093"/>
                    </a:lnTo>
                    <a:lnTo>
                      <a:pt x="1088" y="2239"/>
                    </a:lnTo>
                    <a:lnTo>
                      <a:pt x="1172" y="2260"/>
                    </a:lnTo>
                    <a:lnTo>
                      <a:pt x="1276" y="2198"/>
                    </a:lnTo>
                    <a:lnTo>
                      <a:pt x="1276" y="2156"/>
                    </a:lnTo>
                    <a:lnTo>
                      <a:pt x="1318" y="2093"/>
                    </a:lnTo>
                    <a:lnTo>
                      <a:pt x="1381" y="2072"/>
                    </a:lnTo>
                    <a:lnTo>
                      <a:pt x="1486" y="1946"/>
                    </a:lnTo>
                    <a:lnTo>
                      <a:pt x="1569" y="1926"/>
                    </a:lnTo>
                    <a:lnTo>
                      <a:pt x="1611" y="1821"/>
                    </a:lnTo>
                    <a:lnTo>
                      <a:pt x="1695" y="1821"/>
                    </a:lnTo>
                    <a:lnTo>
                      <a:pt x="1820" y="1737"/>
                    </a:lnTo>
                    <a:lnTo>
                      <a:pt x="1883" y="1737"/>
                    </a:lnTo>
                    <a:lnTo>
                      <a:pt x="1883" y="1758"/>
                    </a:lnTo>
                    <a:lnTo>
                      <a:pt x="1925" y="1758"/>
                    </a:lnTo>
                    <a:lnTo>
                      <a:pt x="1988" y="1863"/>
                    </a:lnTo>
                    <a:lnTo>
                      <a:pt x="2051" y="1946"/>
                    </a:lnTo>
                    <a:lnTo>
                      <a:pt x="2009" y="1988"/>
                    </a:lnTo>
                    <a:lnTo>
                      <a:pt x="2030" y="2051"/>
                    </a:lnTo>
                    <a:lnTo>
                      <a:pt x="2155" y="2135"/>
                    </a:lnTo>
                    <a:lnTo>
                      <a:pt x="1988" y="2260"/>
                    </a:lnTo>
                    <a:lnTo>
                      <a:pt x="2155" y="2470"/>
                    </a:lnTo>
                    <a:lnTo>
                      <a:pt x="2260" y="2511"/>
                    </a:lnTo>
                    <a:lnTo>
                      <a:pt x="2302" y="2574"/>
                    </a:lnTo>
                    <a:lnTo>
                      <a:pt x="2406" y="2595"/>
                    </a:lnTo>
                    <a:lnTo>
                      <a:pt x="2448" y="2574"/>
                    </a:lnTo>
                    <a:lnTo>
                      <a:pt x="2448" y="2365"/>
                    </a:lnTo>
                    <a:lnTo>
                      <a:pt x="2427" y="2302"/>
                    </a:lnTo>
                    <a:lnTo>
                      <a:pt x="2427" y="2198"/>
                    </a:lnTo>
                    <a:lnTo>
                      <a:pt x="2406" y="2072"/>
                    </a:lnTo>
                    <a:lnTo>
                      <a:pt x="2427" y="1967"/>
                    </a:lnTo>
                    <a:lnTo>
                      <a:pt x="2469" y="1946"/>
                    </a:lnTo>
                    <a:lnTo>
                      <a:pt x="2553" y="2030"/>
                    </a:lnTo>
                    <a:lnTo>
                      <a:pt x="2511" y="2135"/>
                    </a:lnTo>
                    <a:lnTo>
                      <a:pt x="2553" y="2198"/>
                    </a:lnTo>
                    <a:lnTo>
                      <a:pt x="2574" y="2135"/>
                    </a:lnTo>
                    <a:lnTo>
                      <a:pt x="2574" y="1946"/>
                    </a:lnTo>
                    <a:lnTo>
                      <a:pt x="2636" y="1884"/>
                    </a:lnTo>
                    <a:lnTo>
                      <a:pt x="2636" y="1779"/>
                    </a:lnTo>
                    <a:lnTo>
                      <a:pt x="2574" y="1737"/>
                    </a:lnTo>
                    <a:lnTo>
                      <a:pt x="2616" y="1633"/>
                    </a:lnTo>
                    <a:lnTo>
                      <a:pt x="2657" y="1549"/>
                    </a:lnTo>
                    <a:lnTo>
                      <a:pt x="2636" y="1444"/>
                    </a:lnTo>
                    <a:lnTo>
                      <a:pt x="2636" y="1298"/>
                    </a:lnTo>
                    <a:lnTo>
                      <a:pt x="2783" y="1151"/>
                    </a:lnTo>
                    <a:lnTo>
                      <a:pt x="2950" y="1130"/>
                    </a:lnTo>
                    <a:lnTo>
                      <a:pt x="3034" y="1089"/>
                    </a:lnTo>
                    <a:lnTo>
                      <a:pt x="3139" y="1089"/>
                    </a:lnTo>
                    <a:lnTo>
                      <a:pt x="3034" y="984"/>
                    </a:lnTo>
                    <a:lnTo>
                      <a:pt x="2888" y="900"/>
                    </a:lnTo>
                    <a:lnTo>
                      <a:pt x="2741" y="921"/>
                    </a:lnTo>
                    <a:lnTo>
                      <a:pt x="2616" y="817"/>
                    </a:lnTo>
                    <a:lnTo>
                      <a:pt x="2574" y="712"/>
                    </a:lnTo>
                    <a:lnTo>
                      <a:pt x="2406" y="586"/>
                    </a:lnTo>
                    <a:lnTo>
                      <a:pt x="2323" y="419"/>
                    </a:lnTo>
                    <a:lnTo>
                      <a:pt x="2323" y="314"/>
                    </a:lnTo>
                    <a:lnTo>
                      <a:pt x="2134" y="84"/>
                    </a:lnTo>
                    <a:lnTo>
                      <a:pt x="200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907" name="Google Shape;1907;p66"/>
            <p:cNvGrpSpPr/>
            <p:nvPr/>
          </p:nvGrpSpPr>
          <p:grpSpPr>
            <a:xfrm>
              <a:off x="3894606" y="2334874"/>
              <a:ext cx="913198" cy="518984"/>
              <a:chOff x="4000175" y="1462675"/>
              <a:chExt cx="1917275" cy="1140875"/>
            </a:xfrm>
          </p:grpSpPr>
          <p:sp>
            <p:nvSpPr>
              <p:cNvPr id="1908" name="Google Shape;1908;p66"/>
              <p:cNvSpPr/>
              <p:nvPr/>
            </p:nvSpPr>
            <p:spPr>
              <a:xfrm>
                <a:off x="4178050" y="2433300"/>
                <a:ext cx="60250" cy="65175"/>
              </a:xfrm>
              <a:custGeom>
                <a:avLst/>
                <a:gdLst/>
                <a:ahLst/>
                <a:cxnLst/>
                <a:rect l="l" t="t" r="r" b="b"/>
                <a:pathLst>
                  <a:path w="2410" h="2607" extrusionOk="0">
                    <a:moveTo>
                      <a:pt x="639" y="2410"/>
                    </a:moveTo>
                    <a:lnTo>
                      <a:pt x="1180" y="2607"/>
                    </a:lnTo>
                    <a:lnTo>
                      <a:pt x="2410" y="2017"/>
                    </a:lnTo>
                    <a:lnTo>
                      <a:pt x="2262" y="0"/>
                    </a:lnTo>
                    <a:lnTo>
                      <a:pt x="541" y="0"/>
                    </a:lnTo>
                    <a:lnTo>
                      <a:pt x="0" y="1771"/>
                    </a:lnTo>
                    <a:close/>
                  </a:path>
                </a:pathLst>
              </a:custGeom>
              <a:solidFill>
                <a:srgbClr val="5F7D95"/>
              </a:solidFill>
              <a:ln>
                <a:noFill/>
              </a:ln>
            </p:spPr>
          </p:sp>
          <p:grpSp>
            <p:nvGrpSpPr>
              <p:cNvPr id="1909" name="Google Shape;1909;p66"/>
              <p:cNvGrpSpPr/>
              <p:nvPr/>
            </p:nvGrpSpPr>
            <p:grpSpPr>
              <a:xfrm>
                <a:off x="4000175" y="1462675"/>
                <a:ext cx="1917275" cy="1140875"/>
                <a:chOff x="4000175" y="1462675"/>
                <a:chExt cx="1917275" cy="1140875"/>
              </a:xfrm>
            </p:grpSpPr>
            <p:sp>
              <p:nvSpPr>
                <p:cNvPr id="1910" name="Google Shape;1910;p66"/>
                <p:cNvSpPr/>
                <p:nvPr/>
              </p:nvSpPr>
              <p:spPr>
                <a:xfrm>
                  <a:off x="4000175" y="2000075"/>
                  <a:ext cx="1545875" cy="510000"/>
                </a:xfrm>
                <a:custGeom>
                  <a:avLst/>
                  <a:gdLst/>
                  <a:ahLst/>
                  <a:cxnLst/>
                  <a:rect l="l" t="t" r="r" b="b"/>
                  <a:pathLst>
                    <a:path w="61835" h="20400" extrusionOk="0">
                      <a:moveTo>
                        <a:pt x="1594" y="319"/>
                      </a:moveTo>
                      <a:lnTo>
                        <a:pt x="106" y="0"/>
                      </a:lnTo>
                      <a:lnTo>
                        <a:pt x="0" y="2444"/>
                      </a:lnTo>
                      <a:lnTo>
                        <a:pt x="1062" y="9031"/>
                      </a:lnTo>
                      <a:lnTo>
                        <a:pt x="3931" y="9775"/>
                      </a:lnTo>
                      <a:lnTo>
                        <a:pt x="2125" y="10200"/>
                      </a:lnTo>
                      <a:lnTo>
                        <a:pt x="531" y="10413"/>
                      </a:lnTo>
                      <a:lnTo>
                        <a:pt x="1487" y="13600"/>
                      </a:lnTo>
                      <a:lnTo>
                        <a:pt x="3931" y="17212"/>
                      </a:lnTo>
                      <a:lnTo>
                        <a:pt x="8393" y="18594"/>
                      </a:lnTo>
                      <a:lnTo>
                        <a:pt x="9987" y="18169"/>
                      </a:lnTo>
                      <a:lnTo>
                        <a:pt x="13281" y="20400"/>
                      </a:lnTo>
                      <a:lnTo>
                        <a:pt x="14343" y="18912"/>
                      </a:lnTo>
                      <a:lnTo>
                        <a:pt x="28793" y="17319"/>
                      </a:lnTo>
                      <a:lnTo>
                        <a:pt x="35699" y="16894"/>
                      </a:lnTo>
                      <a:lnTo>
                        <a:pt x="48342" y="16894"/>
                      </a:lnTo>
                      <a:lnTo>
                        <a:pt x="49617" y="15194"/>
                      </a:lnTo>
                      <a:lnTo>
                        <a:pt x="59285" y="20294"/>
                      </a:lnTo>
                      <a:lnTo>
                        <a:pt x="60135" y="19231"/>
                      </a:lnTo>
                      <a:lnTo>
                        <a:pt x="61835" y="18487"/>
                      </a:lnTo>
                      <a:lnTo>
                        <a:pt x="61092" y="13494"/>
                      </a:lnTo>
                      <a:lnTo>
                        <a:pt x="46323" y="3188"/>
                      </a:lnTo>
                      <a:lnTo>
                        <a:pt x="12962" y="10413"/>
                      </a:lnTo>
                      <a:lnTo>
                        <a:pt x="4569" y="7013"/>
                      </a:lnTo>
                      <a:lnTo>
                        <a:pt x="2444" y="3507"/>
                      </a:lnTo>
                      <a:lnTo>
                        <a:pt x="2019" y="1807"/>
                      </a:lnTo>
                      <a:close/>
                    </a:path>
                  </a:pathLst>
                </a:custGeom>
                <a:solidFill>
                  <a:srgbClr val="5F7D95"/>
                </a:solidFill>
                <a:ln>
                  <a:noFill/>
                </a:ln>
              </p:spPr>
            </p:sp>
            <p:sp>
              <p:nvSpPr>
                <p:cNvPr id="1911" name="Google Shape;1911;p66"/>
                <p:cNvSpPr/>
                <p:nvPr/>
              </p:nvSpPr>
              <p:spPr>
                <a:xfrm>
                  <a:off x="4624175" y="1521775"/>
                  <a:ext cx="58100" cy="73775"/>
                </a:xfrm>
                <a:custGeom>
                  <a:avLst/>
                  <a:gdLst/>
                  <a:ahLst/>
                  <a:cxnLst/>
                  <a:rect l="l" t="t" r="r" b="b"/>
                  <a:pathLst>
                    <a:path w="2324" h="2951" extrusionOk="0">
                      <a:moveTo>
                        <a:pt x="210" y="1"/>
                      </a:moveTo>
                      <a:lnTo>
                        <a:pt x="126" y="84"/>
                      </a:lnTo>
                      <a:lnTo>
                        <a:pt x="147" y="189"/>
                      </a:lnTo>
                      <a:lnTo>
                        <a:pt x="252" y="252"/>
                      </a:lnTo>
                      <a:lnTo>
                        <a:pt x="335" y="356"/>
                      </a:lnTo>
                      <a:lnTo>
                        <a:pt x="273" y="419"/>
                      </a:lnTo>
                      <a:lnTo>
                        <a:pt x="210" y="419"/>
                      </a:lnTo>
                      <a:lnTo>
                        <a:pt x="147" y="335"/>
                      </a:lnTo>
                      <a:lnTo>
                        <a:pt x="63" y="293"/>
                      </a:lnTo>
                      <a:lnTo>
                        <a:pt x="22" y="293"/>
                      </a:lnTo>
                      <a:lnTo>
                        <a:pt x="42" y="356"/>
                      </a:lnTo>
                      <a:lnTo>
                        <a:pt x="22" y="545"/>
                      </a:lnTo>
                      <a:lnTo>
                        <a:pt x="1" y="565"/>
                      </a:lnTo>
                      <a:lnTo>
                        <a:pt x="1" y="712"/>
                      </a:lnTo>
                      <a:lnTo>
                        <a:pt x="42" y="754"/>
                      </a:lnTo>
                      <a:lnTo>
                        <a:pt x="126" y="775"/>
                      </a:lnTo>
                      <a:lnTo>
                        <a:pt x="189" y="858"/>
                      </a:lnTo>
                      <a:lnTo>
                        <a:pt x="147" y="963"/>
                      </a:lnTo>
                      <a:lnTo>
                        <a:pt x="294" y="1256"/>
                      </a:lnTo>
                      <a:lnTo>
                        <a:pt x="356" y="1340"/>
                      </a:lnTo>
                      <a:lnTo>
                        <a:pt x="461" y="1340"/>
                      </a:lnTo>
                      <a:lnTo>
                        <a:pt x="398" y="1402"/>
                      </a:lnTo>
                      <a:lnTo>
                        <a:pt x="294" y="1444"/>
                      </a:lnTo>
                      <a:lnTo>
                        <a:pt x="231" y="1612"/>
                      </a:lnTo>
                      <a:lnTo>
                        <a:pt x="335" y="1821"/>
                      </a:lnTo>
                      <a:lnTo>
                        <a:pt x="398" y="1988"/>
                      </a:lnTo>
                      <a:lnTo>
                        <a:pt x="398" y="2114"/>
                      </a:lnTo>
                      <a:lnTo>
                        <a:pt x="440" y="2177"/>
                      </a:lnTo>
                      <a:lnTo>
                        <a:pt x="461" y="2281"/>
                      </a:lnTo>
                      <a:lnTo>
                        <a:pt x="419" y="2323"/>
                      </a:lnTo>
                      <a:lnTo>
                        <a:pt x="503" y="2511"/>
                      </a:lnTo>
                      <a:lnTo>
                        <a:pt x="545" y="2679"/>
                      </a:lnTo>
                      <a:lnTo>
                        <a:pt x="649" y="2762"/>
                      </a:lnTo>
                      <a:lnTo>
                        <a:pt x="649" y="2867"/>
                      </a:lnTo>
                      <a:lnTo>
                        <a:pt x="733" y="2951"/>
                      </a:lnTo>
                      <a:lnTo>
                        <a:pt x="879" y="2909"/>
                      </a:lnTo>
                      <a:lnTo>
                        <a:pt x="963" y="2742"/>
                      </a:lnTo>
                      <a:lnTo>
                        <a:pt x="1089" y="2553"/>
                      </a:lnTo>
                      <a:lnTo>
                        <a:pt x="1172" y="2511"/>
                      </a:lnTo>
                      <a:lnTo>
                        <a:pt x="1151" y="2428"/>
                      </a:lnTo>
                      <a:lnTo>
                        <a:pt x="1172" y="2323"/>
                      </a:lnTo>
                      <a:lnTo>
                        <a:pt x="1423" y="2135"/>
                      </a:lnTo>
                      <a:lnTo>
                        <a:pt x="1528" y="2114"/>
                      </a:lnTo>
                      <a:lnTo>
                        <a:pt x="1612" y="2177"/>
                      </a:lnTo>
                      <a:lnTo>
                        <a:pt x="1695" y="2177"/>
                      </a:lnTo>
                      <a:lnTo>
                        <a:pt x="1737" y="2072"/>
                      </a:lnTo>
                      <a:lnTo>
                        <a:pt x="1800" y="1988"/>
                      </a:lnTo>
                      <a:lnTo>
                        <a:pt x="1926" y="1926"/>
                      </a:lnTo>
                      <a:lnTo>
                        <a:pt x="2114" y="1779"/>
                      </a:lnTo>
                      <a:lnTo>
                        <a:pt x="2135" y="1674"/>
                      </a:lnTo>
                      <a:lnTo>
                        <a:pt x="2219" y="1612"/>
                      </a:lnTo>
                      <a:lnTo>
                        <a:pt x="2323" y="1382"/>
                      </a:lnTo>
                      <a:lnTo>
                        <a:pt x="2302" y="1256"/>
                      </a:lnTo>
                      <a:lnTo>
                        <a:pt x="2135" y="1068"/>
                      </a:lnTo>
                      <a:lnTo>
                        <a:pt x="2051" y="942"/>
                      </a:lnTo>
                      <a:lnTo>
                        <a:pt x="2051" y="837"/>
                      </a:lnTo>
                      <a:lnTo>
                        <a:pt x="1884" y="712"/>
                      </a:lnTo>
                      <a:lnTo>
                        <a:pt x="1779" y="712"/>
                      </a:lnTo>
                      <a:lnTo>
                        <a:pt x="1716" y="733"/>
                      </a:lnTo>
                      <a:lnTo>
                        <a:pt x="1633" y="670"/>
                      </a:lnTo>
                      <a:lnTo>
                        <a:pt x="1507" y="628"/>
                      </a:lnTo>
                      <a:lnTo>
                        <a:pt x="1382" y="503"/>
                      </a:lnTo>
                      <a:lnTo>
                        <a:pt x="1319" y="461"/>
                      </a:lnTo>
                      <a:lnTo>
                        <a:pt x="1298" y="524"/>
                      </a:lnTo>
                      <a:lnTo>
                        <a:pt x="1214" y="503"/>
                      </a:lnTo>
                      <a:lnTo>
                        <a:pt x="1193" y="419"/>
                      </a:lnTo>
                      <a:lnTo>
                        <a:pt x="1110" y="314"/>
                      </a:lnTo>
                      <a:lnTo>
                        <a:pt x="1047" y="314"/>
                      </a:lnTo>
                      <a:lnTo>
                        <a:pt x="1005" y="419"/>
                      </a:lnTo>
                      <a:lnTo>
                        <a:pt x="963" y="419"/>
                      </a:lnTo>
                      <a:lnTo>
                        <a:pt x="858" y="252"/>
                      </a:lnTo>
                      <a:lnTo>
                        <a:pt x="775" y="210"/>
                      </a:lnTo>
                      <a:lnTo>
                        <a:pt x="775" y="252"/>
                      </a:lnTo>
                      <a:lnTo>
                        <a:pt x="858" y="356"/>
                      </a:lnTo>
                      <a:lnTo>
                        <a:pt x="858" y="440"/>
                      </a:lnTo>
                      <a:lnTo>
                        <a:pt x="775" y="503"/>
                      </a:lnTo>
                      <a:lnTo>
                        <a:pt x="775" y="607"/>
                      </a:lnTo>
                      <a:lnTo>
                        <a:pt x="733" y="607"/>
                      </a:lnTo>
                      <a:lnTo>
                        <a:pt x="670" y="524"/>
                      </a:lnTo>
                      <a:lnTo>
                        <a:pt x="649" y="147"/>
                      </a:lnTo>
                      <a:lnTo>
                        <a:pt x="545" y="105"/>
                      </a:lnTo>
                      <a:lnTo>
                        <a:pt x="440" y="84"/>
                      </a:lnTo>
                      <a:lnTo>
                        <a:pt x="27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2" name="Google Shape;1912;p66"/>
                <p:cNvSpPr/>
                <p:nvPr/>
              </p:nvSpPr>
              <p:spPr>
                <a:xfrm>
                  <a:off x="4499150" y="1462675"/>
                  <a:ext cx="117200" cy="104100"/>
                </a:xfrm>
                <a:custGeom>
                  <a:avLst/>
                  <a:gdLst/>
                  <a:ahLst/>
                  <a:cxnLst/>
                  <a:rect l="l" t="t" r="r" b="b"/>
                  <a:pathLst>
                    <a:path w="4688" h="4164" extrusionOk="0">
                      <a:moveTo>
                        <a:pt x="398" y="0"/>
                      </a:moveTo>
                      <a:lnTo>
                        <a:pt x="357" y="63"/>
                      </a:lnTo>
                      <a:lnTo>
                        <a:pt x="336" y="168"/>
                      </a:lnTo>
                      <a:lnTo>
                        <a:pt x="357" y="251"/>
                      </a:lnTo>
                      <a:lnTo>
                        <a:pt x="357" y="398"/>
                      </a:lnTo>
                      <a:lnTo>
                        <a:pt x="252" y="523"/>
                      </a:lnTo>
                      <a:lnTo>
                        <a:pt x="147" y="712"/>
                      </a:lnTo>
                      <a:lnTo>
                        <a:pt x="22" y="879"/>
                      </a:lnTo>
                      <a:lnTo>
                        <a:pt x="1" y="984"/>
                      </a:lnTo>
                      <a:lnTo>
                        <a:pt x="22" y="1423"/>
                      </a:lnTo>
                      <a:lnTo>
                        <a:pt x="105" y="1507"/>
                      </a:lnTo>
                      <a:lnTo>
                        <a:pt x="210" y="1549"/>
                      </a:lnTo>
                      <a:lnTo>
                        <a:pt x="231" y="1653"/>
                      </a:lnTo>
                      <a:lnTo>
                        <a:pt x="189" y="1967"/>
                      </a:lnTo>
                      <a:lnTo>
                        <a:pt x="126" y="2093"/>
                      </a:lnTo>
                      <a:lnTo>
                        <a:pt x="105" y="2197"/>
                      </a:lnTo>
                      <a:lnTo>
                        <a:pt x="126" y="2281"/>
                      </a:lnTo>
                      <a:lnTo>
                        <a:pt x="189" y="2260"/>
                      </a:lnTo>
                      <a:lnTo>
                        <a:pt x="273" y="2155"/>
                      </a:lnTo>
                      <a:lnTo>
                        <a:pt x="419" y="2093"/>
                      </a:lnTo>
                      <a:lnTo>
                        <a:pt x="482" y="2155"/>
                      </a:lnTo>
                      <a:lnTo>
                        <a:pt x="503" y="2260"/>
                      </a:lnTo>
                      <a:lnTo>
                        <a:pt x="650" y="2385"/>
                      </a:lnTo>
                      <a:lnTo>
                        <a:pt x="754" y="2385"/>
                      </a:lnTo>
                      <a:lnTo>
                        <a:pt x="817" y="2344"/>
                      </a:lnTo>
                      <a:lnTo>
                        <a:pt x="901" y="2365"/>
                      </a:lnTo>
                      <a:cubicBezTo>
                        <a:pt x="859" y="2448"/>
                        <a:pt x="859" y="2511"/>
                        <a:pt x="859" y="2595"/>
                      </a:cubicBezTo>
                      <a:lnTo>
                        <a:pt x="838" y="2595"/>
                      </a:lnTo>
                      <a:lnTo>
                        <a:pt x="733" y="2657"/>
                      </a:lnTo>
                      <a:lnTo>
                        <a:pt x="629" y="2595"/>
                      </a:lnTo>
                      <a:lnTo>
                        <a:pt x="545" y="2595"/>
                      </a:lnTo>
                      <a:lnTo>
                        <a:pt x="440" y="2678"/>
                      </a:lnTo>
                      <a:lnTo>
                        <a:pt x="315" y="2678"/>
                      </a:lnTo>
                      <a:lnTo>
                        <a:pt x="294" y="2699"/>
                      </a:lnTo>
                      <a:lnTo>
                        <a:pt x="336" y="2783"/>
                      </a:lnTo>
                      <a:lnTo>
                        <a:pt x="482" y="2804"/>
                      </a:lnTo>
                      <a:lnTo>
                        <a:pt x="524" y="2909"/>
                      </a:lnTo>
                      <a:lnTo>
                        <a:pt x="650" y="2971"/>
                      </a:lnTo>
                      <a:lnTo>
                        <a:pt x="733" y="3076"/>
                      </a:lnTo>
                      <a:lnTo>
                        <a:pt x="901" y="3118"/>
                      </a:lnTo>
                      <a:lnTo>
                        <a:pt x="1110" y="3118"/>
                      </a:lnTo>
                      <a:lnTo>
                        <a:pt x="1173" y="3139"/>
                      </a:lnTo>
                      <a:lnTo>
                        <a:pt x="1131" y="3181"/>
                      </a:lnTo>
                      <a:lnTo>
                        <a:pt x="963" y="3222"/>
                      </a:lnTo>
                      <a:lnTo>
                        <a:pt x="838" y="3222"/>
                      </a:lnTo>
                      <a:lnTo>
                        <a:pt x="838" y="3285"/>
                      </a:lnTo>
                      <a:lnTo>
                        <a:pt x="942" y="3327"/>
                      </a:lnTo>
                      <a:lnTo>
                        <a:pt x="1068" y="3327"/>
                      </a:lnTo>
                      <a:lnTo>
                        <a:pt x="1173" y="3243"/>
                      </a:lnTo>
                      <a:lnTo>
                        <a:pt x="1319" y="3139"/>
                      </a:lnTo>
                      <a:lnTo>
                        <a:pt x="1382" y="3097"/>
                      </a:lnTo>
                      <a:lnTo>
                        <a:pt x="1445" y="2929"/>
                      </a:lnTo>
                      <a:lnTo>
                        <a:pt x="1528" y="2762"/>
                      </a:lnTo>
                      <a:lnTo>
                        <a:pt x="1486" y="2678"/>
                      </a:lnTo>
                      <a:lnTo>
                        <a:pt x="1256" y="2532"/>
                      </a:lnTo>
                      <a:lnTo>
                        <a:pt x="1152" y="2511"/>
                      </a:lnTo>
                      <a:lnTo>
                        <a:pt x="1152" y="2385"/>
                      </a:lnTo>
                      <a:lnTo>
                        <a:pt x="1256" y="2406"/>
                      </a:lnTo>
                      <a:lnTo>
                        <a:pt x="1382" y="2385"/>
                      </a:lnTo>
                      <a:lnTo>
                        <a:pt x="1570" y="2281"/>
                      </a:lnTo>
                      <a:lnTo>
                        <a:pt x="1654" y="2176"/>
                      </a:lnTo>
                      <a:lnTo>
                        <a:pt x="1654" y="2072"/>
                      </a:lnTo>
                      <a:lnTo>
                        <a:pt x="1779" y="1946"/>
                      </a:lnTo>
                      <a:lnTo>
                        <a:pt x="1968" y="1800"/>
                      </a:lnTo>
                      <a:lnTo>
                        <a:pt x="2114" y="1967"/>
                      </a:lnTo>
                      <a:lnTo>
                        <a:pt x="2010" y="2009"/>
                      </a:lnTo>
                      <a:lnTo>
                        <a:pt x="1968" y="2093"/>
                      </a:lnTo>
                      <a:lnTo>
                        <a:pt x="1968" y="2176"/>
                      </a:lnTo>
                      <a:lnTo>
                        <a:pt x="1800" y="2197"/>
                      </a:lnTo>
                      <a:lnTo>
                        <a:pt x="1696" y="2281"/>
                      </a:lnTo>
                      <a:lnTo>
                        <a:pt x="1654" y="2469"/>
                      </a:lnTo>
                      <a:lnTo>
                        <a:pt x="1654" y="2574"/>
                      </a:lnTo>
                      <a:lnTo>
                        <a:pt x="1758" y="2637"/>
                      </a:lnTo>
                      <a:lnTo>
                        <a:pt x="1821" y="2637"/>
                      </a:lnTo>
                      <a:lnTo>
                        <a:pt x="1884" y="2720"/>
                      </a:lnTo>
                      <a:lnTo>
                        <a:pt x="1758" y="2867"/>
                      </a:lnTo>
                      <a:lnTo>
                        <a:pt x="1717" y="2971"/>
                      </a:lnTo>
                      <a:lnTo>
                        <a:pt x="1779" y="3139"/>
                      </a:lnTo>
                      <a:lnTo>
                        <a:pt x="1758" y="3222"/>
                      </a:lnTo>
                      <a:lnTo>
                        <a:pt x="1570" y="3327"/>
                      </a:lnTo>
                      <a:lnTo>
                        <a:pt x="1549" y="3390"/>
                      </a:lnTo>
                      <a:lnTo>
                        <a:pt x="1675" y="3453"/>
                      </a:lnTo>
                      <a:lnTo>
                        <a:pt x="1738" y="3515"/>
                      </a:lnTo>
                      <a:lnTo>
                        <a:pt x="1779" y="3494"/>
                      </a:lnTo>
                      <a:lnTo>
                        <a:pt x="1758" y="3411"/>
                      </a:lnTo>
                      <a:lnTo>
                        <a:pt x="1779" y="3348"/>
                      </a:lnTo>
                      <a:lnTo>
                        <a:pt x="1884" y="3411"/>
                      </a:lnTo>
                      <a:lnTo>
                        <a:pt x="1989" y="3494"/>
                      </a:lnTo>
                      <a:lnTo>
                        <a:pt x="2093" y="3432"/>
                      </a:lnTo>
                      <a:lnTo>
                        <a:pt x="2177" y="3432"/>
                      </a:lnTo>
                      <a:lnTo>
                        <a:pt x="2240" y="3536"/>
                      </a:lnTo>
                      <a:lnTo>
                        <a:pt x="2323" y="3746"/>
                      </a:lnTo>
                      <a:lnTo>
                        <a:pt x="2407" y="3829"/>
                      </a:lnTo>
                      <a:lnTo>
                        <a:pt x="2533" y="3850"/>
                      </a:lnTo>
                      <a:lnTo>
                        <a:pt x="2658" y="3934"/>
                      </a:lnTo>
                      <a:lnTo>
                        <a:pt x="2763" y="3955"/>
                      </a:lnTo>
                      <a:lnTo>
                        <a:pt x="2909" y="3871"/>
                      </a:lnTo>
                      <a:lnTo>
                        <a:pt x="3056" y="3829"/>
                      </a:lnTo>
                      <a:lnTo>
                        <a:pt x="3139" y="3871"/>
                      </a:lnTo>
                      <a:lnTo>
                        <a:pt x="3286" y="3955"/>
                      </a:lnTo>
                      <a:lnTo>
                        <a:pt x="3579" y="3976"/>
                      </a:lnTo>
                      <a:lnTo>
                        <a:pt x="3683" y="3955"/>
                      </a:lnTo>
                      <a:lnTo>
                        <a:pt x="3767" y="3976"/>
                      </a:lnTo>
                      <a:lnTo>
                        <a:pt x="3872" y="3976"/>
                      </a:lnTo>
                      <a:lnTo>
                        <a:pt x="3955" y="4059"/>
                      </a:lnTo>
                      <a:lnTo>
                        <a:pt x="4060" y="4164"/>
                      </a:lnTo>
                      <a:lnTo>
                        <a:pt x="4165" y="4164"/>
                      </a:lnTo>
                      <a:lnTo>
                        <a:pt x="4269" y="4080"/>
                      </a:lnTo>
                      <a:lnTo>
                        <a:pt x="4395" y="3955"/>
                      </a:lnTo>
                      <a:lnTo>
                        <a:pt x="4541" y="3913"/>
                      </a:lnTo>
                      <a:lnTo>
                        <a:pt x="4688" y="3725"/>
                      </a:lnTo>
                      <a:lnTo>
                        <a:pt x="4688" y="3620"/>
                      </a:lnTo>
                      <a:lnTo>
                        <a:pt x="4541" y="3453"/>
                      </a:lnTo>
                      <a:lnTo>
                        <a:pt x="4479" y="3432"/>
                      </a:lnTo>
                      <a:lnTo>
                        <a:pt x="4332" y="3285"/>
                      </a:lnTo>
                      <a:lnTo>
                        <a:pt x="4186" y="3243"/>
                      </a:lnTo>
                      <a:lnTo>
                        <a:pt x="4060" y="3181"/>
                      </a:lnTo>
                      <a:lnTo>
                        <a:pt x="4018" y="3034"/>
                      </a:lnTo>
                      <a:lnTo>
                        <a:pt x="4102" y="3034"/>
                      </a:lnTo>
                      <a:lnTo>
                        <a:pt x="4186" y="3097"/>
                      </a:lnTo>
                      <a:lnTo>
                        <a:pt x="4290" y="3097"/>
                      </a:lnTo>
                      <a:lnTo>
                        <a:pt x="4290" y="3013"/>
                      </a:lnTo>
                      <a:lnTo>
                        <a:pt x="4165" y="2825"/>
                      </a:lnTo>
                      <a:lnTo>
                        <a:pt x="3976" y="2657"/>
                      </a:lnTo>
                      <a:lnTo>
                        <a:pt x="3976" y="2490"/>
                      </a:lnTo>
                      <a:lnTo>
                        <a:pt x="3955" y="2344"/>
                      </a:lnTo>
                      <a:lnTo>
                        <a:pt x="3851" y="2281"/>
                      </a:lnTo>
                      <a:lnTo>
                        <a:pt x="3851" y="2155"/>
                      </a:lnTo>
                      <a:lnTo>
                        <a:pt x="3788" y="2093"/>
                      </a:lnTo>
                      <a:lnTo>
                        <a:pt x="3746" y="2093"/>
                      </a:lnTo>
                      <a:lnTo>
                        <a:pt x="3370" y="1821"/>
                      </a:lnTo>
                      <a:lnTo>
                        <a:pt x="3160" y="1779"/>
                      </a:lnTo>
                      <a:lnTo>
                        <a:pt x="2972" y="1821"/>
                      </a:lnTo>
                      <a:lnTo>
                        <a:pt x="2951" y="1883"/>
                      </a:lnTo>
                      <a:lnTo>
                        <a:pt x="2972" y="1967"/>
                      </a:lnTo>
                      <a:lnTo>
                        <a:pt x="3139" y="2155"/>
                      </a:lnTo>
                      <a:lnTo>
                        <a:pt x="3139" y="2239"/>
                      </a:lnTo>
                      <a:lnTo>
                        <a:pt x="3077" y="2344"/>
                      </a:lnTo>
                      <a:lnTo>
                        <a:pt x="3077" y="2448"/>
                      </a:lnTo>
                      <a:lnTo>
                        <a:pt x="3056" y="2574"/>
                      </a:lnTo>
                      <a:lnTo>
                        <a:pt x="2972" y="2720"/>
                      </a:lnTo>
                      <a:lnTo>
                        <a:pt x="2930" y="2783"/>
                      </a:lnTo>
                      <a:lnTo>
                        <a:pt x="2909" y="2699"/>
                      </a:lnTo>
                      <a:lnTo>
                        <a:pt x="2951" y="2595"/>
                      </a:lnTo>
                      <a:lnTo>
                        <a:pt x="2972" y="2490"/>
                      </a:lnTo>
                      <a:lnTo>
                        <a:pt x="2930" y="2448"/>
                      </a:lnTo>
                      <a:lnTo>
                        <a:pt x="2972" y="2260"/>
                      </a:lnTo>
                      <a:lnTo>
                        <a:pt x="2930" y="2155"/>
                      </a:lnTo>
                      <a:lnTo>
                        <a:pt x="2742" y="1883"/>
                      </a:lnTo>
                      <a:lnTo>
                        <a:pt x="2595" y="1779"/>
                      </a:lnTo>
                      <a:lnTo>
                        <a:pt x="2386" y="1758"/>
                      </a:lnTo>
                      <a:lnTo>
                        <a:pt x="2323" y="1779"/>
                      </a:lnTo>
                      <a:lnTo>
                        <a:pt x="2282" y="1925"/>
                      </a:lnTo>
                      <a:lnTo>
                        <a:pt x="2240" y="1946"/>
                      </a:lnTo>
                      <a:cubicBezTo>
                        <a:pt x="2198" y="1883"/>
                        <a:pt x="2114" y="1841"/>
                        <a:pt x="2072" y="1821"/>
                      </a:cubicBezTo>
                      <a:lnTo>
                        <a:pt x="2114" y="1779"/>
                      </a:lnTo>
                      <a:lnTo>
                        <a:pt x="2177" y="1674"/>
                      </a:lnTo>
                      <a:lnTo>
                        <a:pt x="2177" y="1549"/>
                      </a:lnTo>
                      <a:lnTo>
                        <a:pt x="1989" y="1444"/>
                      </a:lnTo>
                      <a:lnTo>
                        <a:pt x="1800" y="1297"/>
                      </a:lnTo>
                      <a:lnTo>
                        <a:pt x="1696" y="1109"/>
                      </a:lnTo>
                      <a:lnTo>
                        <a:pt x="1696" y="984"/>
                      </a:lnTo>
                      <a:lnTo>
                        <a:pt x="1758" y="837"/>
                      </a:lnTo>
                      <a:lnTo>
                        <a:pt x="1758" y="733"/>
                      </a:lnTo>
                      <a:lnTo>
                        <a:pt x="1696" y="712"/>
                      </a:lnTo>
                      <a:lnTo>
                        <a:pt x="1403" y="712"/>
                      </a:lnTo>
                      <a:lnTo>
                        <a:pt x="1194" y="628"/>
                      </a:lnTo>
                      <a:lnTo>
                        <a:pt x="1047" y="523"/>
                      </a:lnTo>
                      <a:lnTo>
                        <a:pt x="817" y="251"/>
                      </a:lnTo>
                      <a:lnTo>
                        <a:pt x="650" y="105"/>
                      </a:lnTo>
                      <a:lnTo>
                        <a:pt x="46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3" name="Google Shape;1913;p66"/>
                <p:cNvSpPr/>
                <p:nvPr/>
              </p:nvSpPr>
              <p:spPr>
                <a:xfrm>
                  <a:off x="4241800" y="1706950"/>
                  <a:ext cx="130800" cy="246400"/>
                </a:xfrm>
                <a:custGeom>
                  <a:avLst/>
                  <a:gdLst/>
                  <a:ahLst/>
                  <a:cxnLst/>
                  <a:rect l="l" t="t" r="r" b="b"/>
                  <a:pathLst>
                    <a:path w="5232" h="9856" extrusionOk="0">
                      <a:moveTo>
                        <a:pt x="4750" y="1"/>
                      </a:moveTo>
                      <a:lnTo>
                        <a:pt x="4625" y="63"/>
                      </a:lnTo>
                      <a:lnTo>
                        <a:pt x="4604" y="126"/>
                      </a:lnTo>
                      <a:lnTo>
                        <a:pt x="4520" y="105"/>
                      </a:lnTo>
                      <a:lnTo>
                        <a:pt x="4436" y="42"/>
                      </a:lnTo>
                      <a:lnTo>
                        <a:pt x="4332" y="63"/>
                      </a:lnTo>
                      <a:lnTo>
                        <a:pt x="4206" y="168"/>
                      </a:lnTo>
                      <a:lnTo>
                        <a:pt x="4185" y="273"/>
                      </a:lnTo>
                      <a:lnTo>
                        <a:pt x="4101" y="335"/>
                      </a:lnTo>
                      <a:lnTo>
                        <a:pt x="4018" y="356"/>
                      </a:lnTo>
                      <a:lnTo>
                        <a:pt x="3934" y="440"/>
                      </a:lnTo>
                      <a:lnTo>
                        <a:pt x="3934" y="524"/>
                      </a:lnTo>
                      <a:lnTo>
                        <a:pt x="3871" y="628"/>
                      </a:lnTo>
                      <a:lnTo>
                        <a:pt x="3871" y="670"/>
                      </a:lnTo>
                      <a:lnTo>
                        <a:pt x="3934" y="775"/>
                      </a:lnTo>
                      <a:lnTo>
                        <a:pt x="3934" y="858"/>
                      </a:lnTo>
                      <a:lnTo>
                        <a:pt x="3829" y="858"/>
                      </a:lnTo>
                      <a:lnTo>
                        <a:pt x="3788" y="900"/>
                      </a:lnTo>
                      <a:lnTo>
                        <a:pt x="3788" y="984"/>
                      </a:lnTo>
                      <a:lnTo>
                        <a:pt x="3725" y="1047"/>
                      </a:lnTo>
                      <a:lnTo>
                        <a:pt x="3662" y="1109"/>
                      </a:lnTo>
                      <a:lnTo>
                        <a:pt x="3453" y="1256"/>
                      </a:lnTo>
                      <a:lnTo>
                        <a:pt x="3369" y="1298"/>
                      </a:lnTo>
                      <a:lnTo>
                        <a:pt x="3306" y="1277"/>
                      </a:lnTo>
                      <a:lnTo>
                        <a:pt x="3202" y="1277"/>
                      </a:lnTo>
                      <a:lnTo>
                        <a:pt x="3139" y="1319"/>
                      </a:lnTo>
                      <a:lnTo>
                        <a:pt x="3034" y="1486"/>
                      </a:lnTo>
                      <a:lnTo>
                        <a:pt x="2951" y="1528"/>
                      </a:lnTo>
                      <a:lnTo>
                        <a:pt x="2888" y="1507"/>
                      </a:lnTo>
                      <a:lnTo>
                        <a:pt x="2867" y="1423"/>
                      </a:lnTo>
                      <a:lnTo>
                        <a:pt x="2825" y="1423"/>
                      </a:lnTo>
                      <a:lnTo>
                        <a:pt x="2783" y="1507"/>
                      </a:lnTo>
                      <a:lnTo>
                        <a:pt x="2825" y="1633"/>
                      </a:lnTo>
                      <a:lnTo>
                        <a:pt x="2783" y="1695"/>
                      </a:lnTo>
                      <a:lnTo>
                        <a:pt x="2762" y="1591"/>
                      </a:lnTo>
                      <a:lnTo>
                        <a:pt x="2721" y="1486"/>
                      </a:lnTo>
                      <a:lnTo>
                        <a:pt x="2532" y="1507"/>
                      </a:lnTo>
                      <a:lnTo>
                        <a:pt x="2323" y="1570"/>
                      </a:lnTo>
                      <a:lnTo>
                        <a:pt x="2260" y="1612"/>
                      </a:lnTo>
                      <a:lnTo>
                        <a:pt x="2197" y="1633"/>
                      </a:lnTo>
                      <a:lnTo>
                        <a:pt x="2156" y="1695"/>
                      </a:lnTo>
                      <a:lnTo>
                        <a:pt x="2218" y="1842"/>
                      </a:lnTo>
                      <a:lnTo>
                        <a:pt x="2260" y="1905"/>
                      </a:lnTo>
                      <a:lnTo>
                        <a:pt x="2260" y="1946"/>
                      </a:lnTo>
                      <a:lnTo>
                        <a:pt x="2218" y="1988"/>
                      </a:lnTo>
                      <a:lnTo>
                        <a:pt x="2135" y="2093"/>
                      </a:lnTo>
                      <a:lnTo>
                        <a:pt x="2093" y="2051"/>
                      </a:lnTo>
                      <a:lnTo>
                        <a:pt x="2093" y="2009"/>
                      </a:lnTo>
                      <a:lnTo>
                        <a:pt x="2135" y="1946"/>
                      </a:lnTo>
                      <a:lnTo>
                        <a:pt x="2135" y="1884"/>
                      </a:lnTo>
                      <a:lnTo>
                        <a:pt x="2051" y="1884"/>
                      </a:lnTo>
                      <a:lnTo>
                        <a:pt x="1946" y="2009"/>
                      </a:lnTo>
                      <a:lnTo>
                        <a:pt x="1884" y="2051"/>
                      </a:lnTo>
                      <a:lnTo>
                        <a:pt x="1884" y="2135"/>
                      </a:lnTo>
                      <a:lnTo>
                        <a:pt x="1946" y="2156"/>
                      </a:lnTo>
                      <a:lnTo>
                        <a:pt x="1905" y="2218"/>
                      </a:lnTo>
                      <a:lnTo>
                        <a:pt x="1842" y="2323"/>
                      </a:lnTo>
                      <a:lnTo>
                        <a:pt x="1716" y="2323"/>
                      </a:lnTo>
                      <a:lnTo>
                        <a:pt x="1632" y="2365"/>
                      </a:lnTo>
                      <a:lnTo>
                        <a:pt x="1612" y="2449"/>
                      </a:lnTo>
                      <a:lnTo>
                        <a:pt x="1507" y="2470"/>
                      </a:lnTo>
                      <a:lnTo>
                        <a:pt x="1465" y="2553"/>
                      </a:lnTo>
                      <a:lnTo>
                        <a:pt x="1423" y="2721"/>
                      </a:lnTo>
                      <a:lnTo>
                        <a:pt x="1465" y="2742"/>
                      </a:lnTo>
                      <a:lnTo>
                        <a:pt x="1528" y="2742"/>
                      </a:lnTo>
                      <a:lnTo>
                        <a:pt x="1465" y="2825"/>
                      </a:lnTo>
                      <a:lnTo>
                        <a:pt x="1277" y="2825"/>
                      </a:lnTo>
                      <a:lnTo>
                        <a:pt x="1214" y="2867"/>
                      </a:lnTo>
                      <a:lnTo>
                        <a:pt x="1193" y="3034"/>
                      </a:lnTo>
                      <a:lnTo>
                        <a:pt x="1214" y="3097"/>
                      </a:lnTo>
                      <a:lnTo>
                        <a:pt x="1277" y="3097"/>
                      </a:lnTo>
                      <a:lnTo>
                        <a:pt x="1360" y="3076"/>
                      </a:lnTo>
                      <a:lnTo>
                        <a:pt x="1381" y="3139"/>
                      </a:lnTo>
                      <a:lnTo>
                        <a:pt x="1360" y="3181"/>
                      </a:lnTo>
                      <a:lnTo>
                        <a:pt x="1360" y="3286"/>
                      </a:lnTo>
                      <a:lnTo>
                        <a:pt x="1277" y="3348"/>
                      </a:lnTo>
                      <a:lnTo>
                        <a:pt x="1193" y="3306"/>
                      </a:lnTo>
                      <a:lnTo>
                        <a:pt x="1068" y="3286"/>
                      </a:lnTo>
                      <a:lnTo>
                        <a:pt x="942" y="3348"/>
                      </a:lnTo>
                      <a:lnTo>
                        <a:pt x="900" y="3411"/>
                      </a:lnTo>
                      <a:lnTo>
                        <a:pt x="900" y="3495"/>
                      </a:lnTo>
                      <a:lnTo>
                        <a:pt x="858" y="3599"/>
                      </a:lnTo>
                      <a:lnTo>
                        <a:pt x="754" y="3683"/>
                      </a:lnTo>
                      <a:lnTo>
                        <a:pt x="670" y="3620"/>
                      </a:lnTo>
                      <a:lnTo>
                        <a:pt x="628" y="3558"/>
                      </a:lnTo>
                      <a:lnTo>
                        <a:pt x="586" y="3474"/>
                      </a:lnTo>
                      <a:lnTo>
                        <a:pt x="544" y="3495"/>
                      </a:lnTo>
                      <a:lnTo>
                        <a:pt x="524" y="3662"/>
                      </a:lnTo>
                      <a:lnTo>
                        <a:pt x="544" y="3788"/>
                      </a:lnTo>
                      <a:lnTo>
                        <a:pt x="649" y="3871"/>
                      </a:lnTo>
                      <a:lnTo>
                        <a:pt x="733" y="3830"/>
                      </a:lnTo>
                      <a:lnTo>
                        <a:pt x="754" y="3871"/>
                      </a:lnTo>
                      <a:lnTo>
                        <a:pt x="754" y="3934"/>
                      </a:lnTo>
                      <a:lnTo>
                        <a:pt x="691" y="4081"/>
                      </a:lnTo>
                      <a:lnTo>
                        <a:pt x="733" y="4122"/>
                      </a:lnTo>
                      <a:lnTo>
                        <a:pt x="796" y="4143"/>
                      </a:lnTo>
                      <a:lnTo>
                        <a:pt x="858" y="4081"/>
                      </a:lnTo>
                      <a:lnTo>
                        <a:pt x="900" y="4081"/>
                      </a:lnTo>
                      <a:lnTo>
                        <a:pt x="963" y="4102"/>
                      </a:lnTo>
                      <a:lnTo>
                        <a:pt x="1068" y="4102"/>
                      </a:lnTo>
                      <a:lnTo>
                        <a:pt x="1151" y="4039"/>
                      </a:lnTo>
                      <a:lnTo>
                        <a:pt x="1172" y="4081"/>
                      </a:lnTo>
                      <a:lnTo>
                        <a:pt x="1109" y="4143"/>
                      </a:lnTo>
                      <a:lnTo>
                        <a:pt x="1047" y="4185"/>
                      </a:lnTo>
                      <a:lnTo>
                        <a:pt x="900" y="4185"/>
                      </a:lnTo>
                      <a:lnTo>
                        <a:pt x="858" y="4248"/>
                      </a:lnTo>
                      <a:lnTo>
                        <a:pt x="775" y="4227"/>
                      </a:lnTo>
                      <a:lnTo>
                        <a:pt x="733" y="4311"/>
                      </a:lnTo>
                      <a:lnTo>
                        <a:pt x="754" y="4436"/>
                      </a:lnTo>
                      <a:lnTo>
                        <a:pt x="837" y="4499"/>
                      </a:lnTo>
                      <a:lnTo>
                        <a:pt x="900" y="4520"/>
                      </a:lnTo>
                      <a:lnTo>
                        <a:pt x="984" y="4499"/>
                      </a:lnTo>
                      <a:lnTo>
                        <a:pt x="1005" y="4520"/>
                      </a:lnTo>
                      <a:lnTo>
                        <a:pt x="984" y="4562"/>
                      </a:lnTo>
                      <a:lnTo>
                        <a:pt x="858" y="4625"/>
                      </a:lnTo>
                      <a:lnTo>
                        <a:pt x="733" y="4625"/>
                      </a:lnTo>
                      <a:lnTo>
                        <a:pt x="649" y="4666"/>
                      </a:lnTo>
                      <a:lnTo>
                        <a:pt x="649" y="4729"/>
                      </a:lnTo>
                      <a:lnTo>
                        <a:pt x="691" y="4771"/>
                      </a:lnTo>
                      <a:lnTo>
                        <a:pt x="796" y="4750"/>
                      </a:lnTo>
                      <a:lnTo>
                        <a:pt x="900" y="4750"/>
                      </a:lnTo>
                      <a:lnTo>
                        <a:pt x="900" y="4813"/>
                      </a:lnTo>
                      <a:lnTo>
                        <a:pt x="837" y="4834"/>
                      </a:lnTo>
                      <a:lnTo>
                        <a:pt x="733" y="4855"/>
                      </a:lnTo>
                      <a:lnTo>
                        <a:pt x="733" y="4897"/>
                      </a:lnTo>
                      <a:lnTo>
                        <a:pt x="754" y="4938"/>
                      </a:lnTo>
                      <a:lnTo>
                        <a:pt x="879" y="4959"/>
                      </a:lnTo>
                      <a:lnTo>
                        <a:pt x="984" y="5043"/>
                      </a:lnTo>
                      <a:lnTo>
                        <a:pt x="984" y="5085"/>
                      </a:lnTo>
                      <a:lnTo>
                        <a:pt x="858" y="5085"/>
                      </a:lnTo>
                      <a:lnTo>
                        <a:pt x="754" y="5043"/>
                      </a:lnTo>
                      <a:lnTo>
                        <a:pt x="649" y="5043"/>
                      </a:lnTo>
                      <a:lnTo>
                        <a:pt x="565" y="5085"/>
                      </a:lnTo>
                      <a:lnTo>
                        <a:pt x="544" y="5169"/>
                      </a:lnTo>
                      <a:lnTo>
                        <a:pt x="482" y="5210"/>
                      </a:lnTo>
                      <a:lnTo>
                        <a:pt x="482" y="5273"/>
                      </a:lnTo>
                      <a:lnTo>
                        <a:pt x="544" y="5315"/>
                      </a:lnTo>
                      <a:lnTo>
                        <a:pt x="524" y="5378"/>
                      </a:lnTo>
                      <a:lnTo>
                        <a:pt x="461" y="5399"/>
                      </a:lnTo>
                      <a:lnTo>
                        <a:pt x="419" y="5399"/>
                      </a:lnTo>
                      <a:lnTo>
                        <a:pt x="335" y="5483"/>
                      </a:lnTo>
                      <a:lnTo>
                        <a:pt x="314" y="5566"/>
                      </a:lnTo>
                      <a:lnTo>
                        <a:pt x="335" y="5608"/>
                      </a:lnTo>
                      <a:lnTo>
                        <a:pt x="314" y="5671"/>
                      </a:lnTo>
                      <a:lnTo>
                        <a:pt x="210" y="5692"/>
                      </a:lnTo>
                      <a:lnTo>
                        <a:pt x="210" y="5713"/>
                      </a:lnTo>
                      <a:lnTo>
                        <a:pt x="335" y="5838"/>
                      </a:lnTo>
                      <a:lnTo>
                        <a:pt x="440" y="5901"/>
                      </a:lnTo>
                      <a:lnTo>
                        <a:pt x="482" y="5880"/>
                      </a:lnTo>
                      <a:lnTo>
                        <a:pt x="524" y="5796"/>
                      </a:lnTo>
                      <a:lnTo>
                        <a:pt x="586" y="5734"/>
                      </a:lnTo>
                      <a:lnTo>
                        <a:pt x="754" y="5629"/>
                      </a:lnTo>
                      <a:lnTo>
                        <a:pt x="858" y="5587"/>
                      </a:lnTo>
                      <a:lnTo>
                        <a:pt x="858" y="5629"/>
                      </a:lnTo>
                      <a:lnTo>
                        <a:pt x="837" y="5629"/>
                      </a:lnTo>
                      <a:lnTo>
                        <a:pt x="796" y="5713"/>
                      </a:lnTo>
                      <a:lnTo>
                        <a:pt x="649" y="5817"/>
                      </a:lnTo>
                      <a:lnTo>
                        <a:pt x="586" y="5922"/>
                      </a:lnTo>
                      <a:lnTo>
                        <a:pt x="565" y="6027"/>
                      </a:lnTo>
                      <a:lnTo>
                        <a:pt x="586" y="6131"/>
                      </a:lnTo>
                      <a:lnTo>
                        <a:pt x="565" y="6194"/>
                      </a:lnTo>
                      <a:lnTo>
                        <a:pt x="565" y="6236"/>
                      </a:lnTo>
                      <a:lnTo>
                        <a:pt x="754" y="6236"/>
                      </a:lnTo>
                      <a:lnTo>
                        <a:pt x="837" y="6194"/>
                      </a:lnTo>
                      <a:lnTo>
                        <a:pt x="837" y="6257"/>
                      </a:lnTo>
                      <a:lnTo>
                        <a:pt x="775" y="6299"/>
                      </a:lnTo>
                      <a:lnTo>
                        <a:pt x="586" y="6299"/>
                      </a:lnTo>
                      <a:lnTo>
                        <a:pt x="524" y="6340"/>
                      </a:lnTo>
                      <a:lnTo>
                        <a:pt x="356" y="6445"/>
                      </a:lnTo>
                      <a:lnTo>
                        <a:pt x="356" y="6571"/>
                      </a:lnTo>
                      <a:lnTo>
                        <a:pt x="335" y="6654"/>
                      </a:lnTo>
                      <a:lnTo>
                        <a:pt x="356" y="6759"/>
                      </a:lnTo>
                      <a:lnTo>
                        <a:pt x="461" y="6759"/>
                      </a:lnTo>
                      <a:lnTo>
                        <a:pt x="524" y="6822"/>
                      </a:lnTo>
                      <a:lnTo>
                        <a:pt x="482" y="6863"/>
                      </a:lnTo>
                      <a:lnTo>
                        <a:pt x="377" y="6863"/>
                      </a:lnTo>
                      <a:lnTo>
                        <a:pt x="252" y="6884"/>
                      </a:lnTo>
                      <a:lnTo>
                        <a:pt x="147" y="7052"/>
                      </a:lnTo>
                      <a:lnTo>
                        <a:pt x="147" y="7177"/>
                      </a:lnTo>
                      <a:lnTo>
                        <a:pt x="210" y="7240"/>
                      </a:lnTo>
                      <a:lnTo>
                        <a:pt x="272" y="7198"/>
                      </a:lnTo>
                      <a:lnTo>
                        <a:pt x="440" y="7135"/>
                      </a:lnTo>
                      <a:lnTo>
                        <a:pt x="461" y="7177"/>
                      </a:lnTo>
                      <a:lnTo>
                        <a:pt x="356" y="7261"/>
                      </a:lnTo>
                      <a:lnTo>
                        <a:pt x="335" y="7366"/>
                      </a:lnTo>
                      <a:lnTo>
                        <a:pt x="377" y="7366"/>
                      </a:lnTo>
                      <a:lnTo>
                        <a:pt x="461" y="7282"/>
                      </a:lnTo>
                      <a:lnTo>
                        <a:pt x="544" y="7261"/>
                      </a:lnTo>
                      <a:lnTo>
                        <a:pt x="565" y="7303"/>
                      </a:lnTo>
                      <a:lnTo>
                        <a:pt x="482" y="7387"/>
                      </a:lnTo>
                      <a:lnTo>
                        <a:pt x="461" y="7470"/>
                      </a:lnTo>
                      <a:lnTo>
                        <a:pt x="544" y="7554"/>
                      </a:lnTo>
                      <a:lnTo>
                        <a:pt x="649" y="7554"/>
                      </a:lnTo>
                      <a:lnTo>
                        <a:pt x="565" y="7575"/>
                      </a:lnTo>
                      <a:lnTo>
                        <a:pt x="482" y="7575"/>
                      </a:lnTo>
                      <a:lnTo>
                        <a:pt x="419" y="7659"/>
                      </a:lnTo>
                      <a:lnTo>
                        <a:pt x="419" y="7721"/>
                      </a:lnTo>
                      <a:lnTo>
                        <a:pt x="461" y="7826"/>
                      </a:lnTo>
                      <a:lnTo>
                        <a:pt x="419" y="7889"/>
                      </a:lnTo>
                      <a:lnTo>
                        <a:pt x="356" y="7868"/>
                      </a:lnTo>
                      <a:lnTo>
                        <a:pt x="252" y="7889"/>
                      </a:lnTo>
                      <a:lnTo>
                        <a:pt x="168" y="7826"/>
                      </a:lnTo>
                      <a:lnTo>
                        <a:pt x="105" y="7826"/>
                      </a:lnTo>
                      <a:lnTo>
                        <a:pt x="0" y="7972"/>
                      </a:lnTo>
                      <a:lnTo>
                        <a:pt x="0" y="8077"/>
                      </a:lnTo>
                      <a:lnTo>
                        <a:pt x="168" y="8265"/>
                      </a:lnTo>
                      <a:lnTo>
                        <a:pt x="147" y="8391"/>
                      </a:lnTo>
                      <a:lnTo>
                        <a:pt x="168" y="8496"/>
                      </a:lnTo>
                      <a:lnTo>
                        <a:pt x="335" y="8621"/>
                      </a:lnTo>
                      <a:lnTo>
                        <a:pt x="335" y="8705"/>
                      </a:lnTo>
                      <a:lnTo>
                        <a:pt x="482" y="8830"/>
                      </a:lnTo>
                      <a:lnTo>
                        <a:pt x="586" y="8872"/>
                      </a:lnTo>
                      <a:lnTo>
                        <a:pt x="649" y="8851"/>
                      </a:lnTo>
                      <a:lnTo>
                        <a:pt x="733" y="8830"/>
                      </a:lnTo>
                      <a:lnTo>
                        <a:pt x="837" y="8663"/>
                      </a:lnTo>
                      <a:lnTo>
                        <a:pt x="796" y="8516"/>
                      </a:lnTo>
                      <a:lnTo>
                        <a:pt x="837" y="8412"/>
                      </a:lnTo>
                      <a:lnTo>
                        <a:pt x="900" y="8307"/>
                      </a:lnTo>
                      <a:lnTo>
                        <a:pt x="858" y="8433"/>
                      </a:lnTo>
                      <a:lnTo>
                        <a:pt x="858" y="8516"/>
                      </a:lnTo>
                      <a:lnTo>
                        <a:pt x="900" y="8600"/>
                      </a:lnTo>
                      <a:lnTo>
                        <a:pt x="963" y="8747"/>
                      </a:lnTo>
                      <a:lnTo>
                        <a:pt x="1047" y="8788"/>
                      </a:lnTo>
                      <a:lnTo>
                        <a:pt x="1109" y="8726"/>
                      </a:lnTo>
                      <a:lnTo>
                        <a:pt x="1109" y="8642"/>
                      </a:lnTo>
                      <a:lnTo>
                        <a:pt x="1172" y="8537"/>
                      </a:lnTo>
                      <a:lnTo>
                        <a:pt x="1193" y="8600"/>
                      </a:lnTo>
                      <a:lnTo>
                        <a:pt x="1172" y="8642"/>
                      </a:lnTo>
                      <a:lnTo>
                        <a:pt x="1172" y="8747"/>
                      </a:lnTo>
                      <a:lnTo>
                        <a:pt x="1277" y="8935"/>
                      </a:lnTo>
                      <a:lnTo>
                        <a:pt x="1402" y="9019"/>
                      </a:lnTo>
                      <a:lnTo>
                        <a:pt x="1507" y="9019"/>
                      </a:lnTo>
                      <a:lnTo>
                        <a:pt x="1591" y="8956"/>
                      </a:lnTo>
                      <a:lnTo>
                        <a:pt x="1632" y="8998"/>
                      </a:lnTo>
                      <a:lnTo>
                        <a:pt x="1612" y="9040"/>
                      </a:lnTo>
                      <a:lnTo>
                        <a:pt x="1570" y="9040"/>
                      </a:lnTo>
                      <a:lnTo>
                        <a:pt x="1528" y="9123"/>
                      </a:lnTo>
                      <a:lnTo>
                        <a:pt x="1444" y="9165"/>
                      </a:lnTo>
                      <a:lnTo>
                        <a:pt x="1423" y="9249"/>
                      </a:lnTo>
                      <a:lnTo>
                        <a:pt x="1528" y="9332"/>
                      </a:lnTo>
                      <a:lnTo>
                        <a:pt x="1528" y="9416"/>
                      </a:lnTo>
                      <a:lnTo>
                        <a:pt x="1444" y="9416"/>
                      </a:lnTo>
                      <a:lnTo>
                        <a:pt x="1381" y="9374"/>
                      </a:lnTo>
                      <a:lnTo>
                        <a:pt x="1381" y="9458"/>
                      </a:lnTo>
                      <a:lnTo>
                        <a:pt x="1423" y="9521"/>
                      </a:lnTo>
                      <a:lnTo>
                        <a:pt x="1612" y="9542"/>
                      </a:lnTo>
                      <a:lnTo>
                        <a:pt x="1716" y="9584"/>
                      </a:lnTo>
                      <a:lnTo>
                        <a:pt x="1821" y="9563"/>
                      </a:lnTo>
                      <a:lnTo>
                        <a:pt x="1967" y="9604"/>
                      </a:lnTo>
                      <a:lnTo>
                        <a:pt x="1967" y="9521"/>
                      </a:lnTo>
                      <a:lnTo>
                        <a:pt x="2051" y="9542"/>
                      </a:lnTo>
                      <a:lnTo>
                        <a:pt x="2072" y="9625"/>
                      </a:lnTo>
                      <a:lnTo>
                        <a:pt x="2135" y="9772"/>
                      </a:lnTo>
                      <a:lnTo>
                        <a:pt x="2218" y="9856"/>
                      </a:lnTo>
                      <a:lnTo>
                        <a:pt x="2281" y="9856"/>
                      </a:lnTo>
                      <a:lnTo>
                        <a:pt x="2365" y="9751"/>
                      </a:lnTo>
                      <a:lnTo>
                        <a:pt x="2344" y="9625"/>
                      </a:lnTo>
                      <a:lnTo>
                        <a:pt x="2177" y="9542"/>
                      </a:lnTo>
                      <a:lnTo>
                        <a:pt x="2135" y="9521"/>
                      </a:lnTo>
                      <a:lnTo>
                        <a:pt x="2177" y="9479"/>
                      </a:lnTo>
                      <a:lnTo>
                        <a:pt x="2260" y="9521"/>
                      </a:lnTo>
                      <a:lnTo>
                        <a:pt x="2365" y="9584"/>
                      </a:lnTo>
                      <a:lnTo>
                        <a:pt x="2428" y="9667"/>
                      </a:lnTo>
                      <a:lnTo>
                        <a:pt x="2469" y="9772"/>
                      </a:lnTo>
                      <a:lnTo>
                        <a:pt x="2532" y="9772"/>
                      </a:lnTo>
                      <a:lnTo>
                        <a:pt x="2553" y="9667"/>
                      </a:lnTo>
                      <a:lnTo>
                        <a:pt x="2595" y="9646"/>
                      </a:lnTo>
                      <a:lnTo>
                        <a:pt x="2679" y="9751"/>
                      </a:lnTo>
                      <a:lnTo>
                        <a:pt x="2804" y="9793"/>
                      </a:lnTo>
                      <a:lnTo>
                        <a:pt x="2888" y="9793"/>
                      </a:lnTo>
                      <a:lnTo>
                        <a:pt x="2888" y="9730"/>
                      </a:lnTo>
                      <a:lnTo>
                        <a:pt x="2783" y="9646"/>
                      </a:lnTo>
                      <a:lnTo>
                        <a:pt x="2783" y="9584"/>
                      </a:lnTo>
                      <a:lnTo>
                        <a:pt x="2846" y="9563"/>
                      </a:lnTo>
                      <a:lnTo>
                        <a:pt x="2951" y="9604"/>
                      </a:lnTo>
                      <a:lnTo>
                        <a:pt x="2993" y="9667"/>
                      </a:lnTo>
                      <a:lnTo>
                        <a:pt x="3013" y="9667"/>
                      </a:lnTo>
                      <a:lnTo>
                        <a:pt x="3055" y="9772"/>
                      </a:lnTo>
                      <a:lnTo>
                        <a:pt x="3118" y="9814"/>
                      </a:lnTo>
                      <a:lnTo>
                        <a:pt x="3181" y="9793"/>
                      </a:lnTo>
                      <a:lnTo>
                        <a:pt x="3202" y="9688"/>
                      </a:lnTo>
                      <a:lnTo>
                        <a:pt x="3160" y="9604"/>
                      </a:lnTo>
                      <a:lnTo>
                        <a:pt x="3076" y="9604"/>
                      </a:lnTo>
                      <a:lnTo>
                        <a:pt x="3013" y="9563"/>
                      </a:lnTo>
                      <a:lnTo>
                        <a:pt x="3055" y="9500"/>
                      </a:lnTo>
                      <a:lnTo>
                        <a:pt x="3097" y="9542"/>
                      </a:lnTo>
                      <a:lnTo>
                        <a:pt x="3160" y="9542"/>
                      </a:lnTo>
                      <a:lnTo>
                        <a:pt x="3223" y="9437"/>
                      </a:lnTo>
                      <a:lnTo>
                        <a:pt x="3265" y="9353"/>
                      </a:lnTo>
                      <a:lnTo>
                        <a:pt x="3265" y="9312"/>
                      </a:lnTo>
                      <a:lnTo>
                        <a:pt x="3118" y="9207"/>
                      </a:lnTo>
                      <a:lnTo>
                        <a:pt x="3055" y="9228"/>
                      </a:lnTo>
                      <a:lnTo>
                        <a:pt x="2951" y="9207"/>
                      </a:lnTo>
                      <a:lnTo>
                        <a:pt x="2867" y="9040"/>
                      </a:lnTo>
                      <a:lnTo>
                        <a:pt x="2762" y="9040"/>
                      </a:lnTo>
                      <a:lnTo>
                        <a:pt x="2574" y="8872"/>
                      </a:lnTo>
                      <a:lnTo>
                        <a:pt x="2490" y="8788"/>
                      </a:lnTo>
                      <a:lnTo>
                        <a:pt x="2365" y="8788"/>
                      </a:lnTo>
                      <a:lnTo>
                        <a:pt x="2239" y="8516"/>
                      </a:lnTo>
                      <a:lnTo>
                        <a:pt x="2030" y="8286"/>
                      </a:lnTo>
                      <a:lnTo>
                        <a:pt x="1946" y="8014"/>
                      </a:lnTo>
                      <a:lnTo>
                        <a:pt x="1842" y="7847"/>
                      </a:lnTo>
                      <a:lnTo>
                        <a:pt x="1842" y="7554"/>
                      </a:lnTo>
                      <a:lnTo>
                        <a:pt x="1758" y="7387"/>
                      </a:lnTo>
                      <a:lnTo>
                        <a:pt x="1716" y="7073"/>
                      </a:lnTo>
                      <a:lnTo>
                        <a:pt x="1695" y="7010"/>
                      </a:lnTo>
                      <a:lnTo>
                        <a:pt x="1737" y="6905"/>
                      </a:lnTo>
                      <a:lnTo>
                        <a:pt x="1737" y="6822"/>
                      </a:lnTo>
                      <a:lnTo>
                        <a:pt x="1632" y="6801"/>
                      </a:lnTo>
                      <a:lnTo>
                        <a:pt x="1549" y="6843"/>
                      </a:lnTo>
                      <a:lnTo>
                        <a:pt x="1486" y="6801"/>
                      </a:lnTo>
                      <a:lnTo>
                        <a:pt x="1507" y="6759"/>
                      </a:lnTo>
                      <a:lnTo>
                        <a:pt x="1653" y="6759"/>
                      </a:lnTo>
                      <a:lnTo>
                        <a:pt x="1800" y="6696"/>
                      </a:lnTo>
                      <a:lnTo>
                        <a:pt x="1821" y="6487"/>
                      </a:lnTo>
                      <a:lnTo>
                        <a:pt x="1800" y="6382"/>
                      </a:lnTo>
                      <a:lnTo>
                        <a:pt x="1695" y="6403"/>
                      </a:lnTo>
                      <a:lnTo>
                        <a:pt x="1591" y="6424"/>
                      </a:lnTo>
                      <a:lnTo>
                        <a:pt x="1632" y="6382"/>
                      </a:lnTo>
                      <a:lnTo>
                        <a:pt x="1800" y="6319"/>
                      </a:lnTo>
                      <a:lnTo>
                        <a:pt x="1821" y="6236"/>
                      </a:lnTo>
                      <a:lnTo>
                        <a:pt x="1779" y="6194"/>
                      </a:lnTo>
                      <a:lnTo>
                        <a:pt x="1570" y="6194"/>
                      </a:lnTo>
                      <a:lnTo>
                        <a:pt x="1423" y="6173"/>
                      </a:lnTo>
                      <a:lnTo>
                        <a:pt x="1423" y="6110"/>
                      </a:lnTo>
                      <a:lnTo>
                        <a:pt x="1507" y="6068"/>
                      </a:lnTo>
                      <a:lnTo>
                        <a:pt x="1465" y="6006"/>
                      </a:lnTo>
                      <a:lnTo>
                        <a:pt x="1465" y="5922"/>
                      </a:lnTo>
                      <a:lnTo>
                        <a:pt x="1507" y="5964"/>
                      </a:lnTo>
                      <a:lnTo>
                        <a:pt x="1570" y="6068"/>
                      </a:lnTo>
                      <a:lnTo>
                        <a:pt x="1674" y="6110"/>
                      </a:lnTo>
                      <a:lnTo>
                        <a:pt x="1821" y="6110"/>
                      </a:lnTo>
                      <a:lnTo>
                        <a:pt x="1842" y="6068"/>
                      </a:lnTo>
                      <a:lnTo>
                        <a:pt x="1925" y="6027"/>
                      </a:lnTo>
                      <a:lnTo>
                        <a:pt x="1988" y="5901"/>
                      </a:lnTo>
                      <a:lnTo>
                        <a:pt x="1988" y="5775"/>
                      </a:lnTo>
                      <a:lnTo>
                        <a:pt x="2051" y="5650"/>
                      </a:lnTo>
                      <a:lnTo>
                        <a:pt x="2093" y="5545"/>
                      </a:lnTo>
                      <a:lnTo>
                        <a:pt x="2009" y="5462"/>
                      </a:lnTo>
                      <a:lnTo>
                        <a:pt x="1946" y="5336"/>
                      </a:lnTo>
                      <a:lnTo>
                        <a:pt x="1842" y="5294"/>
                      </a:lnTo>
                      <a:lnTo>
                        <a:pt x="1779" y="5294"/>
                      </a:lnTo>
                      <a:lnTo>
                        <a:pt x="1716" y="5252"/>
                      </a:lnTo>
                      <a:lnTo>
                        <a:pt x="1800" y="5231"/>
                      </a:lnTo>
                      <a:lnTo>
                        <a:pt x="1884" y="5252"/>
                      </a:lnTo>
                      <a:lnTo>
                        <a:pt x="1946" y="5231"/>
                      </a:lnTo>
                      <a:lnTo>
                        <a:pt x="2009" y="5294"/>
                      </a:lnTo>
                      <a:lnTo>
                        <a:pt x="2009" y="5378"/>
                      </a:lnTo>
                      <a:lnTo>
                        <a:pt x="2051" y="5399"/>
                      </a:lnTo>
                      <a:lnTo>
                        <a:pt x="2114" y="5336"/>
                      </a:lnTo>
                      <a:lnTo>
                        <a:pt x="2051" y="5148"/>
                      </a:lnTo>
                      <a:lnTo>
                        <a:pt x="1925" y="4980"/>
                      </a:lnTo>
                      <a:lnTo>
                        <a:pt x="1821" y="4834"/>
                      </a:lnTo>
                      <a:lnTo>
                        <a:pt x="1842" y="4771"/>
                      </a:lnTo>
                      <a:lnTo>
                        <a:pt x="1925" y="4855"/>
                      </a:lnTo>
                      <a:lnTo>
                        <a:pt x="1946" y="4938"/>
                      </a:lnTo>
                      <a:lnTo>
                        <a:pt x="2051" y="4980"/>
                      </a:lnTo>
                      <a:lnTo>
                        <a:pt x="2156" y="5022"/>
                      </a:lnTo>
                      <a:lnTo>
                        <a:pt x="2197" y="4938"/>
                      </a:lnTo>
                      <a:lnTo>
                        <a:pt x="2197" y="4855"/>
                      </a:lnTo>
                      <a:lnTo>
                        <a:pt x="2135" y="4813"/>
                      </a:lnTo>
                      <a:lnTo>
                        <a:pt x="2135" y="4729"/>
                      </a:lnTo>
                      <a:lnTo>
                        <a:pt x="2218" y="4625"/>
                      </a:lnTo>
                      <a:lnTo>
                        <a:pt x="2218" y="4520"/>
                      </a:lnTo>
                      <a:lnTo>
                        <a:pt x="2135" y="4415"/>
                      </a:lnTo>
                      <a:lnTo>
                        <a:pt x="2009" y="4248"/>
                      </a:lnTo>
                      <a:lnTo>
                        <a:pt x="2093" y="4248"/>
                      </a:lnTo>
                      <a:lnTo>
                        <a:pt x="2197" y="4332"/>
                      </a:lnTo>
                      <a:lnTo>
                        <a:pt x="2260" y="4311"/>
                      </a:lnTo>
                      <a:lnTo>
                        <a:pt x="2323" y="4185"/>
                      </a:lnTo>
                      <a:lnTo>
                        <a:pt x="2302" y="4143"/>
                      </a:lnTo>
                      <a:lnTo>
                        <a:pt x="2218" y="4143"/>
                      </a:lnTo>
                      <a:lnTo>
                        <a:pt x="2218" y="3997"/>
                      </a:lnTo>
                      <a:lnTo>
                        <a:pt x="2302" y="3976"/>
                      </a:lnTo>
                      <a:lnTo>
                        <a:pt x="2407" y="4039"/>
                      </a:lnTo>
                      <a:lnTo>
                        <a:pt x="2553" y="4102"/>
                      </a:lnTo>
                      <a:lnTo>
                        <a:pt x="2616" y="4018"/>
                      </a:lnTo>
                      <a:lnTo>
                        <a:pt x="2532" y="3976"/>
                      </a:lnTo>
                      <a:lnTo>
                        <a:pt x="2532" y="3913"/>
                      </a:lnTo>
                      <a:lnTo>
                        <a:pt x="2616" y="3913"/>
                      </a:lnTo>
                      <a:lnTo>
                        <a:pt x="2679" y="3934"/>
                      </a:lnTo>
                      <a:lnTo>
                        <a:pt x="2762" y="3871"/>
                      </a:lnTo>
                      <a:lnTo>
                        <a:pt x="2762" y="3767"/>
                      </a:lnTo>
                      <a:lnTo>
                        <a:pt x="2741" y="3704"/>
                      </a:lnTo>
                      <a:lnTo>
                        <a:pt x="2762" y="3662"/>
                      </a:lnTo>
                      <a:lnTo>
                        <a:pt x="2930" y="3578"/>
                      </a:lnTo>
                      <a:lnTo>
                        <a:pt x="2951" y="3495"/>
                      </a:lnTo>
                      <a:lnTo>
                        <a:pt x="2846" y="3453"/>
                      </a:lnTo>
                      <a:lnTo>
                        <a:pt x="2783" y="3369"/>
                      </a:lnTo>
                      <a:lnTo>
                        <a:pt x="2846" y="3265"/>
                      </a:lnTo>
                      <a:lnTo>
                        <a:pt x="2888" y="3369"/>
                      </a:lnTo>
                      <a:lnTo>
                        <a:pt x="2972" y="3306"/>
                      </a:lnTo>
                      <a:lnTo>
                        <a:pt x="3139" y="3097"/>
                      </a:lnTo>
                      <a:lnTo>
                        <a:pt x="3181" y="2972"/>
                      </a:lnTo>
                      <a:lnTo>
                        <a:pt x="3265" y="2930"/>
                      </a:lnTo>
                      <a:lnTo>
                        <a:pt x="3285" y="2783"/>
                      </a:lnTo>
                      <a:lnTo>
                        <a:pt x="3453" y="2679"/>
                      </a:lnTo>
                      <a:lnTo>
                        <a:pt x="3516" y="2532"/>
                      </a:lnTo>
                      <a:lnTo>
                        <a:pt x="3599" y="2323"/>
                      </a:lnTo>
                      <a:lnTo>
                        <a:pt x="3683" y="2323"/>
                      </a:lnTo>
                      <a:lnTo>
                        <a:pt x="3892" y="2156"/>
                      </a:lnTo>
                      <a:lnTo>
                        <a:pt x="4122" y="1905"/>
                      </a:lnTo>
                      <a:lnTo>
                        <a:pt x="4311" y="1737"/>
                      </a:lnTo>
                      <a:lnTo>
                        <a:pt x="4394" y="1737"/>
                      </a:lnTo>
                      <a:lnTo>
                        <a:pt x="4541" y="1612"/>
                      </a:lnTo>
                      <a:lnTo>
                        <a:pt x="4729" y="1570"/>
                      </a:lnTo>
                      <a:lnTo>
                        <a:pt x="4834" y="1486"/>
                      </a:lnTo>
                      <a:lnTo>
                        <a:pt x="4980" y="1277"/>
                      </a:lnTo>
                      <a:lnTo>
                        <a:pt x="5064" y="1214"/>
                      </a:lnTo>
                      <a:lnTo>
                        <a:pt x="5127" y="1214"/>
                      </a:lnTo>
                      <a:lnTo>
                        <a:pt x="5190" y="1193"/>
                      </a:lnTo>
                      <a:lnTo>
                        <a:pt x="5190" y="1109"/>
                      </a:lnTo>
                      <a:lnTo>
                        <a:pt x="5169" y="1068"/>
                      </a:lnTo>
                      <a:lnTo>
                        <a:pt x="5231" y="963"/>
                      </a:lnTo>
                      <a:lnTo>
                        <a:pt x="5190" y="858"/>
                      </a:lnTo>
                      <a:lnTo>
                        <a:pt x="5190" y="691"/>
                      </a:lnTo>
                      <a:lnTo>
                        <a:pt x="5169" y="670"/>
                      </a:lnTo>
                      <a:lnTo>
                        <a:pt x="5085" y="670"/>
                      </a:lnTo>
                      <a:lnTo>
                        <a:pt x="5085" y="524"/>
                      </a:lnTo>
                      <a:lnTo>
                        <a:pt x="5148" y="377"/>
                      </a:lnTo>
                      <a:lnTo>
                        <a:pt x="5127" y="335"/>
                      </a:lnTo>
                      <a:lnTo>
                        <a:pt x="5022" y="314"/>
                      </a:lnTo>
                      <a:lnTo>
                        <a:pt x="4959" y="252"/>
                      </a:lnTo>
                      <a:lnTo>
                        <a:pt x="4855" y="231"/>
                      </a:lnTo>
                      <a:lnTo>
                        <a:pt x="4813" y="147"/>
                      </a:lnTo>
                      <a:lnTo>
                        <a:pt x="4813" y="42"/>
                      </a:lnTo>
                      <a:lnTo>
                        <a:pt x="475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14" name="Google Shape;1914;p66"/>
                <p:cNvSpPr/>
                <p:nvPr/>
              </p:nvSpPr>
              <p:spPr>
                <a:xfrm>
                  <a:off x="4015475" y="1586100"/>
                  <a:ext cx="1901975" cy="1017450"/>
                </a:xfrm>
                <a:custGeom>
                  <a:avLst/>
                  <a:gdLst/>
                  <a:ahLst/>
                  <a:cxnLst/>
                  <a:rect l="l" t="t" r="r" b="b"/>
                  <a:pathLst>
                    <a:path w="76079" h="40698" extrusionOk="0">
                      <a:moveTo>
                        <a:pt x="27578" y="1"/>
                      </a:moveTo>
                      <a:lnTo>
                        <a:pt x="27431" y="126"/>
                      </a:lnTo>
                      <a:lnTo>
                        <a:pt x="27389" y="231"/>
                      </a:lnTo>
                      <a:lnTo>
                        <a:pt x="27285" y="273"/>
                      </a:lnTo>
                      <a:lnTo>
                        <a:pt x="27368" y="377"/>
                      </a:lnTo>
                      <a:lnTo>
                        <a:pt x="27264" y="482"/>
                      </a:lnTo>
                      <a:lnTo>
                        <a:pt x="27243" y="649"/>
                      </a:lnTo>
                      <a:lnTo>
                        <a:pt x="27285" y="796"/>
                      </a:lnTo>
                      <a:lnTo>
                        <a:pt x="27159" y="921"/>
                      </a:lnTo>
                      <a:lnTo>
                        <a:pt x="27138" y="1444"/>
                      </a:lnTo>
                      <a:lnTo>
                        <a:pt x="27264" y="1570"/>
                      </a:lnTo>
                      <a:lnTo>
                        <a:pt x="27264" y="1695"/>
                      </a:lnTo>
                      <a:lnTo>
                        <a:pt x="27159" y="1695"/>
                      </a:lnTo>
                      <a:lnTo>
                        <a:pt x="27180" y="1842"/>
                      </a:lnTo>
                      <a:lnTo>
                        <a:pt x="27285" y="1967"/>
                      </a:lnTo>
                      <a:lnTo>
                        <a:pt x="27389" y="1967"/>
                      </a:lnTo>
                      <a:lnTo>
                        <a:pt x="27536" y="2156"/>
                      </a:lnTo>
                      <a:lnTo>
                        <a:pt x="27682" y="2177"/>
                      </a:lnTo>
                      <a:lnTo>
                        <a:pt x="27536" y="2281"/>
                      </a:lnTo>
                      <a:lnTo>
                        <a:pt x="27578" y="2407"/>
                      </a:lnTo>
                      <a:lnTo>
                        <a:pt x="27578" y="2491"/>
                      </a:lnTo>
                      <a:lnTo>
                        <a:pt x="27787" y="2511"/>
                      </a:lnTo>
                      <a:lnTo>
                        <a:pt x="27912" y="2470"/>
                      </a:lnTo>
                      <a:lnTo>
                        <a:pt x="28101" y="2532"/>
                      </a:lnTo>
                      <a:lnTo>
                        <a:pt x="28289" y="2532"/>
                      </a:lnTo>
                      <a:lnTo>
                        <a:pt x="28331" y="2616"/>
                      </a:lnTo>
                      <a:lnTo>
                        <a:pt x="28226" y="2700"/>
                      </a:lnTo>
                      <a:lnTo>
                        <a:pt x="28122" y="2679"/>
                      </a:lnTo>
                      <a:lnTo>
                        <a:pt x="28059" y="2700"/>
                      </a:lnTo>
                      <a:lnTo>
                        <a:pt x="27933" y="2616"/>
                      </a:lnTo>
                      <a:lnTo>
                        <a:pt x="27661" y="2721"/>
                      </a:lnTo>
                      <a:lnTo>
                        <a:pt x="27578" y="2679"/>
                      </a:lnTo>
                      <a:lnTo>
                        <a:pt x="27473" y="2721"/>
                      </a:lnTo>
                      <a:lnTo>
                        <a:pt x="27368" y="2700"/>
                      </a:lnTo>
                      <a:lnTo>
                        <a:pt x="27264" y="2700"/>
                      </a:lnTo>
                      <a:lnTo>
                        <a:pt x="27201" y="2783"/>
                      </a:lnTo>
                      <a:lnTo>
                        <a:pt x="26950" y="2783"/>
                      </a:lnTo>
                      <a:lnTo>
                        <a:pt x="26887" y="2888"/>
                      </a:lnTo>
                      <a:lnTo>
                        <a:pt x="26908" y="2930"/>
                      </a:lnTo>
                      <a:lnTo>
                        <a:pt x="27034" y="2951"/>
                      </a:lnTo>
                      <a:lnTo>
                        <a:pt x="27054" y="3055"/>
                      </a:lnTo>
                      <a:lnTo>
                        <a:pt x="27201" y="3035"/>
                      </a:lnTo>
                      <a:lnTo>
                        <a:pt x="27264" y="3097"/>
                      </a:lnTo>
                      <a:lnTo>
                        <a:pt x="27410" y="3014"/>
                      </a:lnTo>
                      <a:lnTo>
                        <a:pt x="27515" y="3160"/>
                      </a:lnTo>
                      <a:lnTo>
                        <a:pt x="27661" y="3265"/>
                      </a:lnTo>
                      <a:lnTo>
                        <a:pt x="27787" y="3516"/>
                      </a:lnTo>
                      <a:lnTo>
                        <a:pt x="27682" y="3746"/>
                      </a:lnTo>
                      <a:lnTo>
                        <a:pt x="27410" y="4018"/>
                      </a:lnTo>
                      <a:lnTo>
                        <a:pt x="27515" y="3746"/>
                      </a:lnTo>
                      <a:lnTo>
                        <a:pt x="27431" y="3662"/>
                      </a:lnTo>
                      <a:lnTo>
                        <a:pt x="27431" y="3495"/>
                      </a:lnTo>
                      <a:lnTo>
                        <a:pt x="27243" y="3453"/>
                      </a:lnTo>
                      <a:lnTo>
                        <a:pt x="27180" y="3432"/>
                      </a:lnTo>
                      <a:lnTo>
                        <a:pt x="27180" y="3348"/>
                      </a:lnTo>
                      <a:lnTo>
                        <a:pt x="27117" y="3327"/>
                      </a:lnTo>
                      <a:lnTo>
                        <a:pt x="27013" y="3411"/>
                      </a:lnTo>
                      <a:lnTo>
                        <a:pt x="26845" y="3411"/>
                      </a:lnTo>
                      <a:lnTo>
                        <a:pt x="26720" y="3537"/>
                      </a:lnTo>
                      <a:lnTo>
                        <a:pt x="26845" y="3599"/>
                      </a:lnTo>
                      <a:lnTo>
                        <a:pt x="26803" y="3662"/>
                      </a:lnTo>
                      <a:lnTo>
                        <a:pt x="26657" y="3662"/>
                      </a:lnTo>
                      <a:lnTo>
                        <a:pt x="26741" y="3767"/>
                      </a:lnTo>
                      <a:lnTo>
                        <a:pt x="26720" y="3851"/>
                      </a:lnTo>
                      <a:lnTo>
                        <a:pt x="26552" y="3976"/>
                      </a:lnTo>
                      <a:lnTo>
                        <a:pt x="26531" y="3851"/>
                      </a:lnTo>
                      <a:lnTo>
                        <a:pt x="26490" y="3851"/>
                      </a:lnTo>
                      <a:lnTo>
                        <a:pt x="26406" y="3913"/>
                      </a:lnTo>
                      <a:lnTo>
                        <a:pt x="26448" y="4039"/>
                      </a:lnTo>
                      <a:lnTo>
                        <a:pt x="26406" y="4164"/>
                      </a:lnTo>
                      <a:lnTo>
                        <a:pt x="26301" y="4164"/>
                      </a:lnTo>
                      <a:lnTo>
                        <a:pt x="26280" y="3976"/>
                      </a:lnTo>
                      <a:lnTo>
                        <a:pt x="26176" y="3871"/>
                      </a:lnTo>
                      <a:lnTo>
                        <a:pt x="26134" y="3934"/>
                      </a:lnTo>
                      <a:lnTo>
                        <a:pt x="26176" y="4039"/>
                      </a:lnTo>
                      <a:lnTo>
                        <a:pt x="26071" y="4227"/>
                      </a:lnTo>
                      <a:lnTo>
                        <a:pt x="26008" y="4374"/>
                      </a:lnTo>
                      <a:lnTo>
                        <a:pt x="25883" y="4290"/>
                      </a:lnTo>
                      <a:lnTo>
                        <a:pt x="25883" y="4227"/>
                      </a:lnTo>
                      <a:lnTo>
                        <a:pt x="26008" y="3955"/>
                      </a:lnTo>
                      <a:lnTo>
                        <a:pt x="25966" y="3851"/>
                      </a:lnTo>
                      <a:lnTo>
                        <a:pt x="25820" y="3830"/>
                      </a:lnTo>
                      <a:lnTo>
                        <a:pt x="25506" y="3934"/>
                      </a:lnTo>
                      <a:lnTo>
                        <a:pt x="25401" y="3871"/>
                      </a:lnTo>
                      <a:lnTo>
                        <a:pt x="25255" y="4018"/>
                      </a:lnTo>
                      <a:lnTo>
                        <a:pt x="25150" y="3976"/>
                      </a:lnTo>
                      <a:lnTo>
                        <a:pt x="25046" y="3934"/>
                      </a:lnTo>
                      <a:lnTo>
                        <a:pt x="24878" y="3955"/>
                      </a:lnTo>
                      <a:lnTo>
                        <a:pt x="25025" y="4081"/>
                      </a:lnTo>
                      <a:lnTo>
                        <a:pt x="24941" y="4164"/>
                      </a:lnTo>
                      <a:lnTo>
                        <a:pt x="24920" y="4143"/>
                      </a:lnTo>
                      <a:lnTo>
                        <a:pt x="24878" y="4081"/>
                      </a:lnTo>
                      <a:lnTo>
                        <a:pt x="24837" y="4060"/>
                      </a:lnTo>
                      <a:lnTo>
                        <a:pt x="24774" y="4164"/>
                      </a:lnTo>
                      <a:lnTo>
                        <a:pt x="24732" y="4227"/>
                      </a:lnTo>
                      <a:lnTo>
                        <a:pt x="24732" y="4478"/>
                      </a:lnTo>
                      <a:lnTo>
                        <a:pt x="24816" y="4562"/>
                      </a:lnTo>
                      <a:lnTo>
                        <a:pt x="24941" y="4436"/>
                      </a:lnTo>
                      <a:lnTo>
                        <a:pt x="25025" y="4478"/>
                      </a:lnTo>
                      <a:lnTo>
                        <a:pt x="25192" y="4353"/>
                      </a:lnTo>
                      <a:lnTo>
                        <a:pt x="25276" y="4374"/>
                      </a:lnTo>
                      <a:lnTo>
                        <a:pt x="25255" y="4478"/>
                      </a:lnTo>
                      <a:lnTo>
                        <a:pt x="24941" y="4604"/>
                      </a:lnTo>
                      <a:lnTo>
                        <a:pt x="24878" y="4750"/>
                      </a:lnTo>
                      <a:lnTo>
                        <a:pt x="24753" y="4813"/>
                      </a:lnTo>
                      <a:lnTo>
                        <a:pt x="24502" y="4855"/>
                      </a:lnTo>
                      <a:lnTo>
                        <a:pt x="24460" y="4918"/>
                      </a:lnTo>
                      <a:lnTo>
                        <a:pt x="24523" y="5001"/>
                      </a:lnTo>
                      <a:lnTo>
                        <a:pt x="24313" y="5064"/>
                      </a:lnTo>
                      <a:lnTo>
                        <a:pt x="24209" y="5001"/>
                      </a:lnTo>
                      <a:lnTo>
                        <a:pt x="24146" y="5022"/>
                      </a:lnTo>
                      <a:lnTo>
                        <a:pt x="24125" y="5127"/>
                      </a:lnTo>
                      <a:lnTo>
                        <a:pt x="24041" y="5169"/>
                      </a:lnTo>
                      <a:lnTo>
                        <a:pt x="23895" y="5211"/>
                      </a:lnTo>
                      <a:lnTo>
                        <a:pt x="23832" y="5294"/>
                      </a:lnTo>
                      <a:lnTo>
                        <a:pt x="23916" y="5399"/>
                      </a:lnTo>
                      <a:lnTo>
                        <a:pt x="23874" y="5399"/>
                      </a:lnTo>
                      <a:lnTo>
                        <a:pt x="23832" y="5504"/>
                      </a:lnTo>
                      <a:lnTo>
                        <a:pt x="23790" y="5524"/>
                      </a:lnTo>
                      <a:lnTo>
                        <a:pt x="23728" y="5441"/>
                      </a:lnTo>
                      <a:lnTo>
                        <a:pt x="23686" y="5441"/>
                      </a:lnTo>
                      <a:lnTo>
                        <a:pt x="23581" y="5608"/>
                      </a:lnTo>
                      <a:lnTo>
                        <a:pt x="23602" y="5650"/>
                      </a:lnTo>
                      <a:lnTo>
                        <a:pt x="23560" y="5713"/>
                      </a:lnTo>
                      <a:lnTo>
                        <a:pt x="23560" y="5817"/>
                      </a:lnTo>
                      <a:lnTo>
                        <a:pt x="23456" y="5943"/>
                      </a:lnTo>
                      <a:lnTo>
                        <a:pt x="23477" y="6048"/>
                      </a:lnTo>
                      <a:lnTo>
                        <a:pt x="23309" y="6110"/>
                      </a:lnTo>
                      <a:lnTo>
                        <a:pt x="23142" y="6110"/>
                      </a:lnTo>
                      <a:lnTo>
                        <a:pt x="23037" y="6173"/>
                      </a:lnTo>
                      <a:lnTo>
                        <a:pt x="23037" y="6278"/>
                      </a:lnTo>
                      <a:lnTo>
                        <a:pt x="23100" y="6278"/>
                      </a:lnTo>
                      <a:lnTo>
                        <a:pt x="23163" y="6215"/>
                      </a:lnTo>
                      <a:lnTo>
                        <a:pt x="23414" y="6257"/>
                      </a:lnTo>
                      <a:lnTo>
                        <a:pt x="23372" y="6340"/>
                      </a:lnTo>
                      <a:lnTo>
                        <a:pt x="23246" y="6320"/>
                      </a:lnTo>
                      <a:lnTo>
                        <a:pt x="23204" y="6361"/>
                      </a:lnTo>
                      <a:lnTo>
                        <a:pt x="23288" y="6445"/>
                      </a:lnTo>
                      <a:lnTo>
                        <a:pt x="23267" y="6675"/>
                      </a:lnTo>
                      <a:lnTo>
                        <a:pt x="23163" y="6759"/>
                      </a:lnTo>
                      <a:lnTo>
                        <a:pt x="23184" y="6843"/>
                      </a:lnTo>
                      <a:lnTo>
                        <a:pt x="23163" y="6947"/>
                      </a:lnTo>
                      <a:lnTo>
                        <a:pt x="23037" y="6759"/>
                      </a:lnTo>
                      <a:lnTo>
                        <a:pt x="22932" y="6780"/>
                      </a:lnTo>
                      <a:lnTo>
                        <a:pt x="22786" y="6633"/>
                      </a:lnTo>
                      <a:lnTo>
                        <a:pt x="22723" y="6592"/>
                      </a:lnTo>
                      <a:lnTo>
                        <a:pt x="22681" y="6654"/>
                      </a:lnTo>
                      <a:lnTo>
                        <a:pt x="22765" y="6738"/>
                      </a:lnTo>
                      <a:lnTo>
                        <a:pt x="22765" y="6843"/>
                      </a:lnTo>
                      <a:lnTo>
                        <a:pt x="22723" y="6905"/>
                      </a:lnTo>
                      <a:lnTo>
                        <a:pt x="22786" y="7010"/>
                      </a:lnTo>
                      <a:lnTo>
                        <a:pt x="22891" y="6968"/>
                      </a:lnTo>
                      <a:lnTo>
                        <a:pt x="23079" y="7010"/>
                      </a:lnTo>
                      <a:lnTo>
                        <a:pt x="23204" y="7052"/>
                      </a:lnTo>
                      <a:lnTo>
                        <a:pt x="23246" y="7156"/>
                      </a:lnTo>
                      <a:lnTo>
                        <a:pt x="23351" y="7219"/>
                      </a:lnTo>
                      <a:lnTo>
                        <a:pt x="23456" y="7198"/>
                      </a:lnTo>
                      <a:lnTo>
                        <a:pt x="23497" y="7177"/>
                      </a:lnTo>
                      <a:lnTo>
                        <a:pt x="23560" y="7261"/>
                      </a:lnTo>
                      <a:lnTo>
                        <a:pt x="23414" y="7303"/>
                      </a:lnTo>
                      <a:lnTo>
                        <a:pt x="23288" y="7303"/>
                      </a:lnTo>
                      <a:lnTo>
                        <a:pt x="23184" y="7198"/>
                      </a:lnTo>
                      <a:lnTo>
                        <a:pt x="23142" y="7219"/>
                      </a:lnTo>
                      <a:lnTo>
                        <a:pt x="23100" y="7303"/>
                      </a:lnTo>
                      <a:lnTo>
                        <a:pt x="23058" y="7366"/>
                      </a:lnTo>
                      <a:lnTo>
                        <a:pt x="23184" y="7512"/>
                      </a:lnTo>
                      <a:lnTo>
                        <a:pt x="23267" y="7470"/>
                      </a:lnTo>
                      <a:lnTo>
                        <a:pt x="23456" y="7470"/>
                      </a:lnTo>
                      <a:lnTo>
                        <a:pt x="23497" y="7617"/>
                      </a:lnTo>
                      <a:lnTo>
                        <a:pt x="23581" y="7680"/>
                      </a:lnTo>
                      <a:lnTo>
                        <a:pt x="23623" y="7596"/>
                      </a:lnTo>
                      <a:lnTo>
                        <a:pt x="23811" y="7596"/>
                      </a:lnTo>
                      <a:lnTo>
                        <a:pt x="23790" y="7701"/>
                      </a:lnTo>
                      <a:lnTo>
                        <a:pt x="23937" y="7805"/>
                      </a:lnTo>
                      <a:lnTo>
                        <a:pt x="24083" y="7805"/>
                      </a:lnTo>
                      <a:lnTo>
                        <a:pt x="24146" y="7952"/>
                      </a:lnTo>
                      <a:lnTo>
                        <a:pt x="24083" y="8161"/>
                      </a:lnTo>
                      <a:lnTo>
                        <a:pt x="23832" y="8307"/>
                      </a:lnTo>
                      <a:lnTo>
                        <a:pt x="23769" y="8433"/>
                      </a:lnTo>
                      <a:lnTo>
                        <a:pt x="23769" y="8517"/>
                      </a:lnTo>
                      <a:lnTo>
                        <a:pt x="23979" y="8726"/>
                      </a:lnTo>
                      <a:lnTo>
                        <a:pt x="24104" y="8768"/>
                      </a:lnTo>
                      <a:lnTo>
                        <a:pt x="23895" y="8768"/>
                      </a:lnTo>
                      <a:lnTo>
                        <a:pt x="23665" y="8579"/>
                      </a:lnTo>
                      <a:lnTo>
                        <a:pt x="23665" y="8454"/>
                      </a:lnTo>
                      <a:lnTo>
                        <a:pt x="23769" y="8224"/>
                      </a:lnTo>
                      <a:lnTo>
                        <a:pt x="23832" y="8161"/>
                      </a:lnTo>
                      <a:lnTo>
                        <a:pt x="23832" y="8098"/>
                      </a:lnTo>
                      <a:lnTo>
                        <a:pt x="23895" y="7952"/>
                      </a:lnTo>
                      <a:lnTo>
                        <a:pt x="23832" y="7910"/>
                      </a:lnTo>
                      <a:lnTo>
                        <a:pt x="23456" y="8098"/>
                      </a:lnTo>
                      <a:lnTo>
                        <a:pt x="23246" y="8161"/>
                      </a:lnTo>
                      <a:lnTo>
                        <a:pt x="23184" y="8307"/>
                      </a:lnTo>
                      <a:lnTo>
                        <a:pt x="23058" y="8349"/>
                      </a:lnTo>
                      <a:lnTo>
                        <a:pt x="22953" y="8307"/>
                      </a:lnTo>
                      <a:lnTo>
                        <a:pt x="22828" y="8328"/>
                      </a:lnTo>
                      <a:lnTo>
                        <a:pt x="22660" y="8454"/>
                      </a:lnTo>
                      <a:lnTo>
                        <a:pt x="22221" y="8621"/>
                      </a:lnTo>
                      <a:lnTo>
                        <a:pt x="21907" y="8684"/>
                      </a:lnTo>
                      <a:lnTo>
                        <a:pt x="21782" y="8684"/>
                      </a:lnTo>
                      <a:lnTo>
                        <a:pt x="21614" y="8851"/>
                      </a:lnTo>
                      <a:lnTo>
                        <a:pt x="21468" y="8851"/>
                      </a:lnTo>
                      <a:lnTo>
                        <a:pt x="21384" y="8935"/>
                      </a:lnTo>
                      <a:lnTo>
                        <a:pt x="21510" y="9040"/>
                      </a:lnTo>
                      <a:lnTo>
                        <a:pt x="21510" y="9165"/>
                      </a:lnTo>
                      <a:lnTo>
                        <a:pt x="21489" y="9291"/>
                      </a:lnTo>
                      <a:lnTo>
                        <a:pt x="21572" y="9374"/>
                      </a:lnTo>
                      <a:lnTo>
                        <a:pt x="21677" y="9374"/>
                      </a:lnTo>
                      <a:lnTo>
                        <a:pt x="21698" y="9458"/>
                      </a:lnTo>
                      <a:lnTo>
                        <a:pt x="21635" y="9521"/>
                      </a:lnTo>
                      <a:lnTo>
                        <a:pt x="21844" y="9667"/>
                      </a:lnTo>
                      <a:lnTo>
                        <a:pt x="22012" y="9918"/>
                      </a:lnTo>
                      <a:lnTo>
                        <a:pt x="22012" y="10128"/>
                      </a:lnTo>
                      <a:lnTo>
                        <a:pt x="22054" y="10232"/>
                      </a:lnTo>
                      <a:lnTo>
                        <a:pt x="22116" y="10232"/>
                      </a:lnTo>
                      <a:lnTo>
                        <a:pt x="22137" y="10400"/>
                      </a:lnTo>
                      <a:lnTo>
                        <a:pt x="22305" y="10504"/>
                      </a:lnTo>
                      <a:lnTo>
                        <a:pt x="22430" y="10462"/>
                      </a:lnTo>
                      <a:lnTo>
                        <a:pt x="22828" y="10504"/>
                      </a:lnTo>
                      <a:lnTo>
                        <a:pt x="22953" y="10421"/>
                      </a:lnTo>
                      <a:lnTo>
                        <a:pt x="22953" y="10504"/>
                      </a:lnTo>
                      <a:lnTo>
                        <a:pt x="22995" y="10609"/>
                      </a:lnTo>
                      <a:lnTo>
                        <a:pt x="22995" y="10755"/>
                      </a:lnTo>
                      <a:lnTo>
                        <a:pt x="23184" y="10839"/>
                      </a:lnTo>
                      <a:lnTo>
                        <a:pt x="23288" y="10986"/>
                      </a:lnTo>
                      <a:lnTo>
                        <a:pt x="23581" y="10986"/>
                      </a:lnTo>
                      <a:lnTo>
                        <a:pt x="23790" y="11132"/>
                      </a:lnTo>
                      <a:lnTo>
                        <a:pt x="23874" y="11132"/>
                      </a:lnTo>
                      <a:lnTo>
                        <a:pt x="23979" y="11258"/>
                      </a:lnTo>
                      <a:lnTo>
                        <a:pt x="24000" y="11550"/>
                      </a:lnTo>
                      <a:lnTo>
                        <a:pt x="24041" y="11676"/>
                      </a:lnTo>
                      <a:lnTo>
                        <a:pt x="24000" y="11864"/>
                      </a:lnTo>
                      <a:lnTo>
                        <a:pt x="24125" y="12011"/>
                      </a:lnTo>
                      <a:lnTo>
                        <a:pt x="24230" y="12094"/>
                      </a:lnTo>
                      <a:lnTo>
                        <a:pt x="24418" y="12346"/>
                      </a:lnTo>
                      <a:lnTo>
                        <a:pt x="24502" y="12618"/>
                      </a:lnTo>
                      <a:lnTo>
                        <a:pt x="24648" y="12743"/>
                      </a:lnTo>
                      <a:lnTo>
                        <a:pt x="24711" y="12869"/>
                      </a:lnTo>
                      <a:lnTo>
                        <a:pt x="24585" y="13141"/>
                      </a:lnTo>
                      <a:lnTo>
                        <a:pt x="24502" y="13162"/>
                      </a:lnTo>
                      <a:lnTo>
                        <a:pt x="24418" y="13141"/>
                      </a:lnTo>
                      <a:lnTo>
                        <a:pt x="24418" y="13141"/>
                      </a:lnTo>
                      <a:lnTo>
                        <a:pt x="24523" y="13287"/>
                      </a:lnTo>
                      <a:lnTo>
                        <a:pt x="24732" y="13329"/>
                      </a:lnTo>
                      <a:lnTo>
                        <a:pt x="24837" y="13392"/>
                      </a:lnTo>
                      <a:lnTo>
                        <a:pt x="25046" y="13643"/>
                      </a:lnTo>
                      <a:lnTo>
                        <a:pt x="25255" y="13706"/>
                      </a:lnTo>
                      <a:lnTo>
                        <a:pt x="25276" y="13685"/>
                      </a:lnTo>
                      <a:lnTo>
                        <a:pt x="25360" y="13706"/>
                      </a:lnTo>
                      <a:lnTo>
                        <a:pt x="25548" y="13559"/>
                      </a:lnTo>
                      <a:lnTo>
                        <a:pt x="25736" y="13517"/>
                      </a:lnTo>
                      <a:lnTo>
                        <a:pt x="25945" y="13685"/>
                      </a:lnTo>
                      <a:lnTo>
                        <a:pt x="26092" y="13747"/>
                      </a:lnTo>
                      <a:lnTo>
                        <a:pt x="26197" y="13747"/>
                      </a:lnTo>
                      <a:lnTo>
                        <a:pt x="26280" y="13894"/>
                      </a:lnTo>
                      <a:lnTo>
                        <a:pt x="26301" y="14124"/>
                      </a:lnTo>
                      <a:lnTo>
                        <a:pt x="26238" y="13915"/>
                      </a:lnTo>
                      <a:lnTo>
                        <a:pt x="26176" y="13810"/>
                      </a:lnTo>
                      <a:lnTo>
                        <a:pt x="25987" y="13810"/>
                      </a:lnTo>
                      <a:lnTo>
                        <a:pt x="25757" y="13643"/>
                      </a:lnTo>
                      <a:lnTo>
                        <a:pt x="25611" y="13643"/>
                      </a:lnTo>
                      <a:lnTo>
                        <a:pt x="25443" y="13810"/>
                      </a:lnTo>
                      <a:lnTo>
                        <a:pt x="25443" y="13978"/>
                      </a:lnTo>
                      <a:lnTo>
                        <a:pt x="25464" y="14061"/>
                      </a:lnTo>
                      <a:lnTo>
                        <a:pt x="25234" y="13810"/>
                      </a:lnTo>
                      <a:lnTo>
                        <a:pt x="24983" y="13810"/>
                      </a:lnTo>
                      <a:lnTo>
                        <a:pt x="24857" y="13706"/>
                      </a:lnTo>
                      <a:lnTo>
                        <a:pt x="24857" y="13580"/>
                      </a:lnTo>
                      <a:lnTo>
                        <a:pt x="24753" y="13434"/>
                      </a:lnTo>
                      <a:lnTo>
                        <a:pt x="24565" y="13371"/>
                      </a:lnTo>
                      <a:lnTo>
                        <a:pt x="24397" y="13371"/>
                      </a:lnTo>
                      <a:lnTo>
                        <a:pt x="24188" y="13245"/>
                      </a:lnTo>
                      <a:lnTo>
                        <a:pt x="24230" y="13182"/>
                      </a:lnTo>
                      <a:lnTo>
                        <a:pt x="24230" y="13057"/>
                      </a:lnTo>
                      <a:lnTo>
                        <a:pt x="24313" y="13015"/>
                      </a:lnTo>
                      <a:lnTo>
                        <a:pt x="24272" y="12910"/>
                      </a:lnTo>
                      <a:lnTo>
                        <a:pt x="24230" y="12638"/>
                      </a:lnTo>
                      <a:lnTo>
                        <a:pt x="24167" y="12429"/>
                      </a:lnTo>
                      <a:lnTo>
                        <a:pt x="24083" y="12387"/>
                      </a:lnTo>
                      <a:lnTo>
                        <a:pt x="24021" y="12555"/>
                      </a:lnTo>
                      <a:lnTo>
                        <a:pt x="23958" y="12597"/>
                      </a:lnTo>
                      <a:lnTo>
                        <a:pt x="23979" y="12743"/>
                      </a:lnTo>
                      <a:lnTo>
                        <a:pt x="23895" y="12827"/>
                      </a:lnTo>
                      <a:lnTo>
                        <a:pt x="23916" y="12910"/>
                      </a:lnTo>
                      <a:lnTo>
                        <a:pt x="23895" y="13036"/>
                      </a:lnTo>
                      <a:lnTo>
                        <a:pt x="23811" y="13036"/>
                      </a:lnTo>
                      <a:lnTo>
                        <a:pt x="23769" y="12659"/>
                      </a:lnTo>
                      <a:lnTo>
                        <a:pt x="23853" y="12555"/>
                      </a:lnTo>
                      <a:lnTo>
                        <a:pt x="23811" y="12429"/>
                      </a:lnTo>
                      <a:lnTo>
                        <a:pt x="23644" y="12283"/>
                      </a:lnTo>
                      <a:lnTo>
                        <a:pt x="23644" y="12094"/>
                      </a:lnTo>
                      <a:lnTo>
                        <a:pt x="23560" y="11969"/>
                      </a:lnTo>
                      <a:lnTo>
                        <a:pt x="23560" y="11802"/>
                      </a:lnTo>
                      <a:lnTo>
                        <a:pt x="23707" y="11697"/>
                      </a:lnTo>
                      <a:lnTo>
                        <a:pt x="23707" y="11613"/>
                      </a:lnTo>
                      <a:lnTo>
                        <a:pt x="23686" y="11509"/>
                      </a:lnTo>
                      <a:lnTo>
                        <a:pt x="23707" y="11299"/>
                      </a:lnTo>
                      <a:lnTo>
                        <a:pt x="23581" y="11278"/>
                      </a:lnTo>
                      <a:lnTo>
                        <a:pt x="23539" y="11299"/>
                      </a:lnTo>
                      <a:lnTo>
                        <a:pt x="23456" y="11216"/>
                      </a:lnTo>
                      <a:lnTo>
                        <a:pt x="23225" y="11383"/>
                      </a:lnTo>
                      <a:lnTo>
                        <a:pt x="22912" y="11425"/>
                      </a:lnTo>
                      <a:lnTo>
                        <a:pt x="22744" y="11425"/>
                      </a:lnTo>
                      <a:lnTo>
                        <a:pt x="22514" y="11195"/>
                      </a:lnTo>
                      <a:lnTo>
                        <a:pt x="22388" y="11111"/>
                      </a:lnTo>
                      <a:lnTo>
                        <a:pt x="22347" y="11006"/>
                      </a:lnTo>
                      <a:lnTo>
                        <a:pt x="22012" y="10965"/>
                      </a:lnTo>
                      <a:lnTo>
                        <a:pt x="21886" y="10860"/>
                      </a:lnTo>
                      <a:lnTo>
                        <a:pt x="21761" y="10693"/>
                      </a:lnTo>
                      <a:lnTo>
                        <a:pt x="21363" y="10693"/>
                      </a:lnTo>
                      <a:lnTo>
                        <a:pt x="21259" y="10651"/>
                      </a:lnTo>
                      <a:lnTo>
                        <a:pt x="21133" y="10734"/>
                      </a:lnTo>
                      <a:lnTo>
                        <a:pt x="20987" y="10944"/>
                      </a:lnTo>
                      <a:lnTo>
                        <a:pt x="20966" y="11069"/>
                      </a:lnTo>
                      <a:lnTo>
                        <a:pt x="20924" y="11111"/>
                      </a:lnTo>
                      <a:lnTo>
                        <a:pt x="20861" y="11090"/>
                      </a:lnTo>
                      <a:lnTo>
                        <a:pt x="20840" y="11174"/>
                      </a:lnTo>
                      <a:lnTo>
                        <a:pt x="20924" y="11258"/>
                      </a:lnTo>
                      <a:lnTo>
                        <a:pt x="21091" y="11132"/>
                      </a:lnTo>
                      <a:lnTo>
                        <a:pt x="21300" y="11174"/>
                      </a:lnTo>
                      <a:lnTo>
                        <a:pt x="21405" y="11383"/>
                      </a:lnTo>
                      <a:lnTo>
                        <a:pt x="21280" y="11613"/>
                      </a:lnTo>
                      <a:lnTo>
                        <a:pt x="21133" y="11655"/>
                      </a:lnTo>
                      <a:lnTo>
                        <a:pt x="20861" y="11550"/>
                      </a:lnTo>
                      <a:lnTo>
                        <a:pt x="20715" y="11362"/>
                      </a:lnTo>
                      <a:lnTo>
                        <a:pt x="20610" y="11362"/>
                      </a:lnTo>
                      <a:lnTo>
                        <a:pt x="20443" y="11467"/>
                      </a:lnTo>
                      <a:lnTo>
                        <a:pt x="20401" y="11550"/>
                      </a:lnTo>
                      <a:lnTo>
                        <a:pt x="20317" y="11571"/>
                      </a:lnTo>
                      <a:lnTo>
                        <a:pt x="20505" y="11822"/>
                      </a:lnTo>
                      <a:lnTo>
                        <a:pt x="20568" y="11822"/>
                      </a:lnTo>
                      <a:lnTo>
                        <a:pt x="20631" y="11969"/>
                      </a:lnTo>
                      <a:lnTo>
                        <a:pt x="20840" y="12136"/>
                      </a:lnTo>
                      <a:lnTo>
                        <a:pt x="21028" y="12136"/>
                      </a:lnTo>
                      <a:lnTo>
                        <a:pt x="21112" y="12220"/>
                      </a:lnTo>
                      <a:lnTo>
                        <a:pt x="21405" y="12241"/>
                      </a:lnTo>
                      <a:lnTo>
                        <a:pt x="21489" y="12178"/>
                      </a:lnTo>
                      <a:lnTo>
                        <a:pt x="21531" y="12178"/>
                      </a:lnTo>
                      <a:lnTo>
                        <a:pt x="21572" y="12283"/>
                      </a:lnTo>
                      <a:lnTo>
                        <a:pt x="21782" y="12283"/>
                      </a:lnTo>
                      <a:lnTo>
                        <a:pt x="21824" y="12429"/>
                      </a:lnTo>
                      <a:lnTo>
                        <a:pt x="21907" y="12450"/>
                      </a:lnTo>
                      <a:lnTo>
                        <a:pt x="21928" y="12555"/>
                      </a:lnTo>
                      <a:lnTo>
                        <a:pt x="22158" y="12597"/>
                      </a:lnTo>
                      <a:lnTo>
                        <a:pt x="22263" y="12513"/>
                      </a:lnTo>
                      <a:lnTo>
                        <a:pt x="22200" y="12618"/>
                      </a:lnTo>
                      <a:lnTo>
                        <a:pt x="21949" y="12659"/>
                      </a:lnTo>
                      <a:lnTo>
                        <a:pt x="21803" y="12576"/>
                      </a:lnTo>
                      <a:lnTo>
                        <a:pt x="21698" y="12555"/>
                      </a:lnTo>
                      <a:lnTo>
                        <a:pt x="21531" y="12366"/>
                      </a:lnTo>
                      <a:lnTo>
                        <a:pt x="21426" y="12346"/>
                      </a:lnTo>
                      <a:lnTo>
                        <a:pt x="21321" y="12408"/>
                      </a:lnTo>
                      <a:lnTo>
                        <a:pt x="21196" y="12408"/>
                      </a:lnTo>
                      <a:lnTo>
                        <a:pt x="21091" y="12534"/>
                      </a:lnTo>
                      <a:lnTo>
                        <a:pt x="21049" y="12429"/>
                      </a:lnTo>
                      <a:lnTo>
                        <a:pt x="20945" y="12346"/>
                      </a:lnTo>
                      <a:lnTo>
                        <a:pt x="20840" y="12408"/>
                      </a:lnTo>
                      <a:lnTo>
                        <a:pt x="20631" y="12408"/>
                      </a:lnTo>
                      <a:lnTo>
                        <a:pt x="20464" y="12304"/>
                      </a:lnTo>
                      <a:lnTo>
                        <a:pt x="20338" y="12325"/>
                      </a:lnTo>
                      <a:lnTo>
                        <a:pt x="20296" y="12220"/>
                      </a:lnTo>
                      <a:lnTo>
                        <a:pt x="20401" y="12136"/>
                      </a:lnTo>
                      <a:lnTo>
                        <a:pt x="20401" y="12053"/>
                      </a:lnTo>
                      <a:lnTo>
                        <a:pt x="20296" y="11990"/>
                      </a:lnTo>
                      <a:lnTo>
                        <a:pt x="20296" y="11885"/>
                      </a:lnTo>
                      <a:lnTo>
                        <a:pt x="20108" y="11718"/>
                      </a:lnTo>
                      <a:lnTo>
                        <a:pt x="20024" y="11592"/>
                      </a:lnTo>
                      <a:lnTo>
                        <a:pt x="20087" y="11425"/>
                      </a:lnTo>
                      <a:lnTo>
                        <a:pt x="19982" y="11278"/>
                      </a:lnTo>
                      <a:lnTo>
                        <a:pt x="19982" y="11006"/>
                      </a:lnTo>
                      <a:lnTo>
                        <a:pt x="19836" y="10881"/>
                      </a:lnTo>
                      <a:lnTo>
                        <a:pt x="19836" y="10693"/>
                      </a:lnTo>
                      <a:lnTo>
                        <a:pt x="19794" y="10651"/>
                      </a:lnTo>
                      <a:lnTo>
                        <a:pt x="19710" y="10630"/>
                      </a:lnTo>
                      <a:lnTo>
                        <a:pt x="19689" y="10462"/>
                      </a:lnTo>
                      <a:lnTo>
                        <a:pt x="19522" y="10337"/>
                      </a:lnTo>
                      <a:lnTo>
                        <a:pt x="19459" y="10379"/>
                      </a:lnTo>
                      <a:lnTo>
                        <a:pt x="19689" y="10860"/>
                      </a:lnTo>
                      <a:lnTo>
                        <a:pt x="19752" y="11174"/>
                      </a:lnTo>
                      <a:lnTo>
                        <a:pt x="19710" y="11425"/>
                      </a:lnTo>
                      <a:lnTo>
                        <a:pt x="19522" y="11676"/>
                      </a:lnTo>
                      <a:lnTo>
                        <a:pt x="19396" y="11802"/>
                      </a:lnTo>
                      <a:lnTo>
                        <a:pt x="19396" y="11885"/>
                      </a:lnTo>
                      <a:lnTo>
                        <a:pt x="19480" y="11948"/>
                      </a:lnTo>
                      <a:lnTo>
                        <a:pt x="19501" y="12136"/>
                      </a:lnTo>
                      <a:lnTo>
                        <a:pt x="19417" y="12346"/>
                      </a:lnTo>
                      <a:lnTo>
                        <a:pt x="19417" y="12471"/>
                      </a:lnTo>
                      <a:lnTo>
                        <a:pt x="19627" y="12618"/>
                      </a:lnTo>
                      <a:lnTo>
                        <a:pt x="19899" y="12848"/>
                      </a:lnTo>
                      <a:lnTo>
                        <a:pt x="19940" y="12994"/>
                      </a:lnTo>
                      <a:lnTo>
                        <a:pt x="20108" y="12994"/>
                      </a:lnTo>
                      <a:lnTo>
                        <a:pt x="20233" y="13141"/>
                      </a:lnTo>
                      <a:lnTo>
                        <a:pt x="20338" y="13371"/>
                      </a:lnTo>
                      <a:lnTo>
                        <a:pt x="20317" y="13727"/>
                      </a:lnTo>
                      <a:lnTo>
                        <a:pt x="20275" y="13894"/>
                      </a:lnTo>
                      <a:lnTo>
                        <a:pt x="20422" y="14103"/>
                      </a:lnTo>
                      <a:lnTo>
                        <a:pt x="20380" y="14354"/>
                      </a:lnTo>
                      <a:lnTo>
                        <a:pt x="20464" y="14501"/>
                      </a:lnTo>
                      <a:lnTo>
                        <a:pt x="20673" y="14731"/>
                      </a:lnTo>
                      <a:lnTo>
                        <a:pt x="20715" y="14856"/>
                      </a:lnTo>
                      <a:lnTo>
                        <a:pt x="20673" y="15024"/>
                      </a:lnTo>
                      <a:lnTo>
                        <a:pt x="20736" y="15087"/>
                      </a:lnTo>
                      <a:lnTo>
                        <a:pt x="20882" y="15149"/>
                      </a:lnTo>
                      <a:lnTo>
                        <a:pt x="21070" y="15045"/>
                      </a:lnTo>
                      <a:lnTo>
                        <a:pt x="21280" y="15087"/>
                      </a:lnTo>
                      <a:lnTo>
                        <a:pt x="21363" y="15045"/>
                      </a:lnTo>
                      <a:lnTo>
                        <a:pt x="21384" y="14877"/>
                      </a:lnTo>
                      <a:lnTo>
                        <a:pt x="21510" y="14752"/>
                      </a:lnTo>
                      <a:lnTo>
                        <a:pt x="21677" y="14815"/>
                      </a:lnTo>
                      <a:lnTo>
                        <a:pt x="21782" y="14773"/>
                      </a:lnTo>
                      <a:lnTo>
                        <a:pt x="21991" y="14919"/>
                      </a:lnTo>
                      <a:lnTo>
                        <a:pt x="22116" y="14856"/>
                      </a:lnTo>
                      <a:lnTo>
                        <a:pt x="22200" y="14982"/>
                      </a:lnTo>
                      <a:lnTo>
                        <a:pt x="22451" y="15087"/>
                      </a:lnTo>
                      <a:lnTo>
                        <a:pt x="22640" y="15087"/>
                      </a:lnTo>
                      <a:lnTo>
                        <a:pt x="22765" y="15275"/>
                      </a:lnTo>
                      <a:lnTo>
                        <a:pt x="22765" y="15379"/>
                      </a:lnTo>
                      <a:lnTo>
                        <a:pt x="22953" y="15484"/>
                      </a:lnTo>
                      <a:lnTo>
                        <a:pt x="23016" y="15589"/>
                      </a:lnTo>
                      <a:lnTo>
                        <a:pt x="23037" y="15610"/>
                      </a:lnTo>
                      <a:lnTo>
                        <a:pt x="23058" y="15693"/>
                      </a:lnTo>
                      <a:lnTo>
                        <a:pt x="23142" y="15777"/>
                      </a:lnTo>
                      <a:lnTo>
                        <a:pt x="23058" y="15861"/>
                      </a:lnTo>
                      <a:lnTo>
                        <a:pt x="22953" y="15882"/>
                      </a:lnTo>
                      <a:lnTo>
                        <a:pt x="22953" y="16070"/>
                      </a:lnTo>
                      <a:lnTo>
                        <a:pt x="23037" y="16216"/>
                      </a:lnTo>
                      <a:lnTo>
                        <a:pt x="23121" y="16279"/>
                      </a:lnTo>
                      <a:lnTo>
                        <a:pt x="23079" y="16384"/>
                      </a:lnTo>
                      <a:lnTo>
                        <a:pt x="23163" y="16488"/>
                      </a:lnTo>
                      <a:lnTo>
                        <a:pt x="23288" y="16488"/>
                      </a:lnTo>
                      <a:lnTo>
                        <a:pt x="23372" y="16593"/>
                      </a:lnTo>
                      <a:lnTo>
                        <a:pt x="23518" y="16593"/>
                      </a:lnTo>
                      <a:lnTo>
                        <a:pt x="23602" y="16426"/>
                      </a:lnTo>
                      <a:lnTo>
                        <a:pt x="23665" y="16509"/>
                      </a:lnTo>
                      <a:lnTo>
                        <a:pt x="23769" y="16488"/>
                      </a:lnTo>
                      <a:lnTo>
                        <a:pt x="23832" y="16509"/>
                      </a:lnTo>
                      <a:lnTo>
                        <a:pt x="23790" y="16530"/>
                      </a:lnTo>
                      <a:lnTo>
                        <a:pt x="23728" y="16593"/>
                      </a:lnTo>
                      <a:lnTo>
                        <a:pt x="23560" y="16614"/>
                      </a:lnTo>
                      <a:lnTo>
                        <a:pt x="23456" y="16635"/>
                      </a:lnTo>
                      <a:lnTo>
                        <a:pt x="23288" y="16656"/>
                      </a:lnTo>
                      <a:lnTo>
                        <a:pt x="23142" y="16551"/>
                      </a:lnTo>
                      <a:lnTo>
                        <a:pt x="22995" y="16551"/>
                      </a:lnTo>
                      <a:lnTo>
                        <a:pt x="22932" y="16426"/>
                      </a:lnTo>
                      <a:lnTo>
                        <a:pt x="22974" y="16384"/>
                      </a:lnTo>
                      <a:lnTo>
                        <a:pt x="22953" y="16237"/>
                      </a:lnTo>
                      <a:lnTo>
                        <a:pt x="22849" y="16112"/>
                      </a:lnTo>
                      <a:lnTo>
                        <a:pt x="22828" y="15986"/>
                      </a:lnTo>
                      <a:lnTo>
                        <a:pt x="22723" y="15923"/>
                      </a:lnTo>
                      <a:lnTo>
                        <a:pt x="22744" y="15798"/>
                      </a:lnTo>
                      <a:lnTo>
                        <a:pt x="22619" y="15610"/>
                      </a:lnTo>
                      <a:lnTo>
                        <a:pt x="22556" y="15610"/>
                      </a:lnTo>
                      <a:lnTo>
                        <a:pt x="22430" y="15526"/>
                      </a:lnTo>
                      <a:lnTo>
                        <a:pt x="22242" y="15421"/>
                      </a:lnTo>
                      <a:lnTo>
                        <a:pt x="22242" y="15254"/>
                      </a:lnTo>
                      <a:lnTo>
                        <a:pt x="22054" y="15066"/>
                      </a:lnTo>
                      <a:lnTo>
                        <a:pt x="21907" y="15066"/>
                      </a:lnTo>
                      <a:lnTo>
                        <a:pt x="21677" y="15317"/>
                      </a:lnTo>
                      <a:lnTo>
                        <a:pt x="21510" y="15338"/>
                      </a:lnTo>
                      <a:lnTo>
                        <a:pt x="21405" y="15463"/>
                      </a:lnTo>
                      <a:lnTo>
                        <a:pt x="21217" y="15589"/>
                      </a:lnTo>
                      <a:lnTo>
                        <a:pt x="21259" y="15944"/>
                      </a:lnTo>
                      <a:lnTo>
                        <a:pt x="21321" y="16049"/>
                      </a:lnTo>
                      <a:lnTo>
                        <a:pt x="21572" y="16175"/>
                      </a:lnTo>
                      <a:lnTo>
                        <a:pt x="21761" y="16593"/>
                      </a:lnTo>
                      <a:lnTo>
                        <a:pt x="21719" y="16698"/>
                      </a:lnTo>
                      <a:lnTo>
                        <a:pt x="21531" y="17012"/>
                      </a:lnTo>
                      <a:lnTo>
                        <a:pt x="21510" y="17179"/>
                      </a:lnTo>
                      <a:lnTo>
                        <a:pt x="21614" y="17367"/>
                      </a:lnTo>
                      <a:lnTo>
                        <a:pt x="21510" y="17639"/>
                      </a:lnTo>
                      <a:lnTo>
                        <a:pt x="21510" y="17744"/>
                      </a:lnTo>
                      <a:lnTo>
                        <a:pt x="21363" y="17890"/>
                      </a:lnTo>
                      <a:lnTo>
                        <a:pt x="21363" y="17974"/>
                      </a:lnTo>
                      <a:lnTo>
                        <a:pt x="21259" y="18016"/>
                      </a:lnTo>
                      <a:lnTo>
                        <a:pt x="21175" y="18120"/>
                      </a:lnTo>
                      <a:lnTo>
                        <a:pt x="21175" y="18267"/>
                      </a:lnTo>
                      <a:lnTo>
                        <a:pt x="21259" y="18330"/>
                      </a:lnTo>
                      <a:lnTo>
                        <a:pt x="21259" y="18434"/>
                      </a:lnTo>
                      <a:lnTo>
                        <a:pt x="21070" y="18539"/>
                      </a:lnTo>
                      <a:lnTo>
                        <a:pt x="20840" y="18497"/>
                      </a:lnTo>
                      <a:lnTo>
                        <a:pt x="20798" y="18434"/>
                      </a:lnTo>
                      <a:lnTo>
                        <a:pt x="20589" y="18434"/>
                      </a:lnTo>
                      <a:lnTo>
                        <a:pt x="20380" y="18476"/>
                      </a:lnTo>
                      <a:lnTo>
                        <a:pt x="20212" y="18413"/>
                      </a:lnTo>
                      <a:lnTo>
                        <a:pt x="19794" y="18330"/>
                      </a:lnTo>
                      <a:lnTo>
                        <a:pt x="19627" y="18183"/>
                      </a:lnTo>
                      <a:lnTo>
                        <a:pt x="19585" y="18079"/>
                      </a:lnTo>
                      <a:lnTo>
                        <a:pt x="19396" y="18100"/>
                      </a:lnTo>
                      <a:lnTo>
                        <a:pt x="19334" y="18204"/>
                      </a:lnTo>
                      <a:lnTo>
                        <a:pt x="19313" y="18162"/>
                      </a:lnTo>
                      <a:lnTo>
                        <a:pt x="19229" y="18120"/>
                      </a:lnTo>
                      <a:lnTo>
                        <a:pt x="19313" y="17974"/>
                      </a:lnTo>
                      <a:lnTo>
                        <a:pt x="19480" y="17953"/>
                      </a:lnTo>
                      <a:lnTo>
                        <a:pt x="19794" y="17890"/>
                      </a:lnTo>
                      <a:lnTo>
                        <a:pt x="19836" y="17807"/>
                      </a:lnTo>
                      <a:lnTo>
                        <a:pt x="20108" y="17974"/>
                      </a:lnTo>
                      <a:lnTo>
                        <a:pt x="20171" y="17974"/>
                      </a:lnTo>
                      <a:lnTo>
                        <a:pt x="20212" y="17890"/>
                      </a:lnTo>
                      <a:lnTo>
                        <a:pt x="20338" y="17890"/>
                      </a:lnTo>
                      <a:lnTo>
                        <a:pt x="20338" y="17974"/>
                      </a:lnTo>
                      <a:lnTo>
                        <a:pt x="20150" y="18079"/>
                      </a:lnTo>
                      <a:lnTo>
                        <a:pt x="20254" y="18183"/>
                      </a:lnTo>
                      <a:lnTo>
                        <a:pt x="20464" y="18162"/>
                      </a:lnTo>
                      <a:lnTo>
                        <a:pt x="20547" y="18058"/>
                      </a:lnTo>
                      <a:lnTo>
                        <a:pt x="20673" y="17995"/>
                      </a:lnTo>
                      <a:lnTo>
                        <a:pt x="20673" y="17911"/>
                      </a:lnTo>
                      <a:lnTo>
                        <a:pt x="20568" y="17786"/>
                      </a:lnTo>
                      <a:lnTo>
                        <a:pt x="20568" y="17702"/>
                      </a:lnTo>
                      <a:lnTo>
                        <a:pt x="20694" y="17786"/>
                      </a:lnTo>
                      <a:lnTo>
                        <a:pt x="20756" y="17702"/>
                      </a:lnTo>
                      <a:lnTo>
                        <a:pt x="20756" y="17472"/>
                      </a:lnTo>
                      <a:lnTo>
                        <a:pt x="20882" y="17388"/>
                      </a:lnTo>
                      <a:lnTo>
                        <a:pt x="20861" y="17325"/>
                      </a:lnTo>
                      <a:lnTo>
                        <a:pt x="20777" y="17346"/>
                      </a:lnTo>
                      <a:lnTo>
                        <a:pt x="20756" y="17284"/>
                      </a:lnTo>
                      <a:lnTo>
                        <a:pt x="20882" y="17242"/>
                      </a:lnTo>
                      <a:lnTo>
                        <a:pt x="20882" y="17012"/>
                      </a:lnTo>
                      <a:lnTo>
                        <a:pt x="20840" y="16928"/>
                      </a:lnTo>
                      <a:lnTo>
                        <a:pt x="20903" y="16823"/>
                      </a:lnTo>
                      <a:lnTo>
                        <a:pt x="20903" y="16760"/>
                      </a:lnTo>
                      <a:lnTo>
                        <a:pt x="21008" y="16698"/>
                      </a:lnTo>
                      <a:lnTo>
                        <a:pt x="20987" y="16509"/>
                      </a:lnTo>
                      <a:lnTo>
                        <a:pt x="20861" y="16384"/>
                      </a:lnTo>
                      <a:lnTo>
                        <a:pt x="20777" y="16175"/>
                      </a:lnTo>
                      <a:lnTo>
                        <a:pt x="20798" y="16007"/>
                      </a:lnTo>
                      <a:lnTo>
                        <a:pt x="20798" y="15882"/>
                      </a:lnTo>
                      <a:lnTo>
                        <a:pt x="20861" y="15903"/>
                      </a:lnTo>
                      <a:lnTo>
                        <a:pt x="20861" y="15819"/>
                      </a:lnTo>
                      <a:lnTo>
                        <a:pt x="20673" y="15651"/>
                      </a:lnTo>
                      <a:lnTo>
                        <a:pt x="20589" y="15610"/>
                      </a:lnTo>
                      <a:lnTo>
                        <a:pt x="20526" y="15505"/>
                      </a:lnTo>
                      <a:lnTo>
                        <a:pt x="20338" y="15463"/>
                      </a:lnTo>
                      <a:lnTo>
                        <a:pt x="20108" y="15170"/>
                      </a:lnTo>
                      <a:lnTo>
                        <a:pt x="20045" y="14940"/>
                      </a:lnTo>
                      <a:lnTo>
                        <a:pt x="20003" y="14877"/>
                      </a:lnTo>
                      <a:lnTo>
                        <a:pt x="20045" y="14794"/>
                      </a:lnTo>
                      <a:lnTo>
                        <a:pt x="19919" y="14710"/>
                      </a:lnTo>
                      <a:lnTo>
                        <a:pt x="19836" y="14563"/>
                      </a:lnTo>
                      <a:lnTo>
                        <a:pt x="19899" y="14417"/>
                      </a:lnTo>
                      <a:lnTo>
                        <a:pt x="19710" y="14145"/>
                      </a:lnTo>
                      <a:lnTo>
                        <a:pt x="19710" y="13978"/>
                      </a:lnTo>
                      <a:lnTo>
                        <a:pt x="19585" y="13831"/>
                      </a:lnTo>
                      <a:lnTo>
                        <a:pt x="19606" y="13768"/>
                      </a:lnTo>
                      <a:lnTo>
                        <a:pt x="19606" y="13685"/>
                      </a:lnTo>
                      <a:lnTo>
                        <a:pt x="19501" y="13580"/>
                      </a:lnTo>
                      <a:lnTo>
                        <a:pt x="19438" y="13224"/>
                      </a:lnTo>
                      <a:lnTo>
                        <a:pt x="19375" y="13078"/>
                      </a:lnTo>
                      <a:lnTo>
                        <a:pt x="19229" y="12973"/>
                      </a:lnTo>
                      <a:lnTo>
                        <a:pt x="19292" y="12910"/>
                      </a:lnTo>
                      <a:lnTo>
                        <a:pt x="19250" y="12848"/>
                      </a:lnTo>
                      <a:lnTo>
                        <a:pt x="19166" y="12869"/>
                      </a:lnTo>
                      <a:lnTo>
                        <a:pt x="19166" y="12848"/>
                      </a:lnTo>
                      <a:lnTo>
                        <a:pt x="19041" y="12806"/>
                      </a:lnTo>
                      <a:lnTo>
                        <a:pt x="18957" y="12638"/>
                      </a:lnTo>
                      <a:lnTo>
                        <a:pt x="18831" y="12534"/>
                      </a:lnTo>
                      <a:lnTo>
                        <a:pt x="18769" y="12408"/>
                      </a:lnTo>
                      <a:lnTo>
                        <a:pt x="18852" y="12387"/>
                      </a:lnTo>
                      <a:lnTo>
                        <a:pt x="18873" y="12283"/>
                      </a:lnTo>
                      <a:lnTo>
                        <a:pt x="18831" y="12178"/>
                      </a:lnTo>
                      <a:lnTo>
                        <a:pt x="18852" y="12094"/>
                      </a:lnTo>
                      <a:lnTo>
                        <a:pt x="18790" y="11990"/>
                      </a:lnTo>
                      <a:lnTo>
                        <a:pt x="18852" y="11676"/>
                      </a:lnTo>
                      <a:lnTo>
                        <a:pt x="18769" y="11488"/>
                      </a:lnTo>
                      <a:lnTo>
                        <a:pt x="18769" y="11278"/>
                      </a:lnTo>
                      <a:lnTo>
                        <a:pt x="18727" y="11195"/>
                      </a:lnTo>
                      <a:lnTo>
                        <a:pt x="18727" y="11069"/>
                      </a:lnTo>
                      <a:lnTo>
                        <a:pt x="18643" y="10944"/>
                      </a:lnTo>
                      <a:lnTo>
                        <a:pt x="18748" y="10881"/>
                      </a:lnTo>
                      <a:lnTo>
                        <a:pt x="18685" y="10776"/>
                      </a:lnTo>
                      <a:lnTo>
                        <a:pt x="18559" y="10755"/>
                      </a:lnTo>
                      <a:lnTo>
                        <a:pt x="18413" y="10755"/>
                      </a:lnTo>
                      <a:lnTo>
                        <a:pt x="18057" y="10630"/>
                      </a:lnTo>
                      <a:lnTo>
                        <a:pt x="17932" y="10630"/>
                      </a:lnTo>
                      <a:lnTo>
                        <a:pt x="17890" y="10672"/>
                      </a:lnTo>
                      <a:lnTo>
                        <a:pt x="17785" y="10630"/>
                      </a:lnTo>
                      <a:lnTo>
                        <a:pt x="17681" y="10630"/>
                      </a:lnTo>
                      <a:lnTo>
                        <a:pt x="17534" y="10714"/>
                      </a:lnTo>
                      <a:lnTo>
                        <a:pt x="17388" y="10714"/>
                      </a:lnTo>
                      <a:lnTo>
                        <a:pt x="17262" y="10755"/>
                      </a:lnTo>
                      <a:lnTo>
                        <a:pt x="17220" y="10714"/>
                      </a:lnTo>
                      <a:lnTo>
                        <a:pt x="17262" y="10651"/>
                      </a:lnTo>
                      <a:lnTo>
                        <a:pt x="17158" y="10609"/>
                      </a:lnTo>
                      <a:lnTo>
                        <a:pt x="17053" y="10630"/>
                      </a:lnTo>
                      <a:lnTo>
                        <a:pt x="17074" y="10860"/>
                      </a:lnTo>
                      <a:lnTo>
                        <a:pt x="17053" y="11069"/>
                      </a:lnTo>
                      <a:lnTo>
                        <a:pt x="17158" y="11195"/>
                      </a:lnTo>
                      <a:lnTo>
                        <a:pt x="17116" y="11258"/>
                      </a:lnTo>
                      <a:lnTo>
                        <a:pt x="17074" y="11467"/>
                      </a:lnTo>
                      <a:lnTo>
                        <a:pt x="17158" y="11550"/>
                      </a:lnTo>
                      <a:lnTo>
                        <a:pt x="17158" y="11676"/>
                      </a:lnTo>
                      <a:lnTo>
                        <a:pt x="17199" y="11760"/>
                      </a:lnTo>
                      <a:lnTo>
                        <a:pt x="17158" y="11822"/>
                      </a:lnTo>
                      <a:lnTo>
                        <a:pt x="17158" y="12011"/>
                      </a:lnTo>
                      <a:lnTo>
                        <a:pt x="17220" y="12136"/>
                      </a:lnTo>
                      <a:lnTo>
                        <a:pt x="17158" y="12304"/>
                      </a:lnTo>
                      <a:lnTo>
                        <a:pt x="17158" y="12408"/>
                      </a:lnTo>
                      <a:lnTo>
                        <a:pt x="17199" y="12534"/>
                      </a:lnTo>
                      <a:lnTo>
                        <a:pt x="17178" y="12618"/>
                      </a:lnTo>
                      <a:lnTo>
                        <a:pt x="17053" y="12701"/>
                      </a:lnTo>
                      <a:lnTo>
                        <a:pt x="16844" y="13015"/>
                      </a:lnTo>
                      <a:lnTo>
                        <a:pt x="16760" y="13057"/>
                      </a:lnTo>
                      <a:lnTo>
                        <a:pt x="16781" y="13162"/>
                      </a:lnTo>
                      <a:lnTo>
                        <a:pt x="16865" y="13266"/>
                      </a:lnTo>
                      <a:lnTo>
                        <a:pt x="16802" y="13371"/>
                      </a:lnTo>
                      <a:lnTo>
                        <a:pt x="16781" y="13559"/>
                      </a:lnTo>
                      <a:lnTo>
                        <a:pt x="16906" y="13685"/>
                      </a:lnTo>
                      <a:lnTo>
                        <a:pt x="16990" y="13643"/>
                      </a:lnTo>
                      <a:lnTo>
                        <a:pt x="17074" y="13706"/>
                      </a:lnTo>
                      <a:lnTo>
                        <a:pt x="17158" y="13915"/>
                      </a:lnTo>
                      <a:lnTo>
                        <a:pt x="17283" y="13915"/>
                      </a:lnTo>
                      <a:lnTo>
                        <a:pt x="17388" y="14019"/>
                      </a:lnTo>
                      <a:lnTo>
                        <a:pt x="17304" y="13999"/>
                      </a:lnTo>
                      <a:lnTo>
                        <a:pt x="17220" y="14103"/>
                      </a:lnTo>
                      <a:lnTo>
                        <a:pt x="17220" y="14271"/>
                      </a:lnTo>
                      <a:lnTo>
                        <a:pt x="17409" y="14396"/>
                      </a:lnTo>
                      <a:lnTo>
                        <a:pt x="17409" y="14522"/>
                      </a:lnTo>
                      <a:lnTo>
                        <a:pt x="17325" y="14605"/>
                      </a:lnTo>
                      <a:lnTo>
                        <a:pt x="17262" y="14543"/>
                      </a:lnTo>
                      <a:lnTo>
                        <a:pt x="17262" y="14626"/>
                      </a:lnTo>
                      <a:lnTo>
                        <a:pt x="17367" y="14898"/>
                      </a:lnTo>
                      <a:lnTo>
                        <a:pt x="17430" y="14961"/>
                      </a:lnTo>
                      <a:lnTo>
                        <a:pt x="17492" y="15149"/>
                      </a:lnTo>
                      <a:lnTo>
                        <a:pt x="17534" y="15066"/>
                      </a:lnTo>
                      <a:lnTo>
                        <a:pt x="17639" y="15149"/>
                      </a:lnTo>
                      <a:lnTo>
                        <a:pt x="17764" y="15149"/>
                      </a:lnTo>
                      <a:lnTo>
                        <a:pt x="17911" y="15233"/>
                      </a:lnTo>
                      <a:lnTo>
                        <a:pt x="18015" y="15066"/>
                      </a:lnTo>
                      <a:lnTo>
                        <a:pt x="18057" y="15128"/>
                      </a:lnTo>
                      <a:lnTo>
                        <a:pt x="18057" y="15338"/>
                      </a:lnTo>
                      <a:lnTo>
                        <a:pt x="18141" y="15442"/>
                      </a:lnTo>
                      <a:lnTo>
                        <a:pt x="18183" y="15463"/>
                      </a:lnTo>
                      <a:lnTo>
                        <a:pt x="18434" y="15756"/>
                      </a:lnTo>
                      <a:lnTo>
                        <a:pt x="18559" y="15777"/>
                      </a:lnTo>
                      <a:lnTo>
                        <a:pt x="18643" y="15735"/>
                      </a:lnTo>
                      <a:lnTo>
                        <a:pt x="18748" y="15735"/>
                      </a:lnTo>
                      <a:lnTo>
                        <a:pt x="18769" y="15777"/>
                      </a:lnTo>
                      <a:lnTo>
                        <a:pt x="18873" y="15777"/>
                      </a:lnTo>
                      <a:lnTo>
                        <a:pt x="18769" y="15861"/>
                      </a:lnTo>
                      <a:lnTo>
                        <a:pt x="18769" y="16175"/>
                      </a:lnTo>
                      <a:lnTo>
                        <a:pt x="18748" y="16258"/>
                      </a:lnTo>
                      <a:lnTo>
                        <a:pt x="18811" y="16384"/>
                      </a:lnTo>
                      <a:lnTo>
                        <a:pt x="18790" y="16426"/>
                      </a:lnTo>
                      <a:lnTo>
                        <a:pt x="18706" y="16426"/>
                      </a:lnTo>
                      <a:lnTo>
                        <a:pt x="18748" y="16593"/>
                      </a:lnTo>
                      <a:lnTo>
                        <a:pt x="18748" y="16677"/>
                      </a:lnTo>
                      <a:lnTo>
                        <a:pt x="18601" y="16635"/>
                      </a:lnTo>
                      <a:lnTo>
                        <a:pt x="18476" y="16384"/>
                      </a:lnTo>
                      <a:lnTo>
                        <a:pt x="18329" y="16258"/>
                      </a:lnTo>
                      <a:lnTo>
                        <a:pt x="18141" y="16216"/>
                      </a:lnTo>
                      <a:lnTo>
                        <a:pt x="18057" y="16070"/>
                      </a:lnTo>
                      <a:lnTo>
                        <a:pt x="17932" y="15965"/>
                      </a:lnTo>
                      <a:lnTo>
                        <a:pt x="17618" y="15944"/>
                      </a:lnTo>
                      <a:lnTo>
                        <a:pt x="17304" y="15756"/>
                      </a:lnTo>
                      <a:lnTo>
                        <a:pt x="17116" y="15735"/>
                      </a:lnTo>
                      <a:lnTo>
                        <a:pt x="17095" y="15631"/>
                      </a:lnTo>
                      <a:lnTo>
                        <a:pt x="17011" y="15631"/>
                      </a:lnTo>
                      <a:lnTo>
                        <a:pt x="16906" y="15547"/>
                      </a:lnTo>
                      <a:lnTo>
                        <a:pt x="16760" y="15589"/>
                      </a:lnTo>
                      <a:lnTo>
                        <a:pt x="16655" y="15693"/>
                      </a:lnTo>
                      <a:lnTo>
                        <a:pt x="16593" y="15568"/>
                      </a:lnTo>
                      <a:lnTo>
                        <a:pt x="16614" y="15526"/>
                      </a:lnTo>
                      <a:lnTo>
                        <a:pt x="16593" y="15442"/>
                      </a:lnTo>
                      <a:lnTo>
                        <a:pt x="16237" y="15317"/>
                      </a:lnTo>
                      <a:lnTo>
                        <a:pt x="16070" y="15212"/>
                      </a:lnTo>
                      <a:lnTo>
                        <a:pt x="15526" y="15170"/>
                      </a:lnTo>
                      <a:lnTo>
                        <a:pt x="15086" y="15233"/>
                      </a:lnTo>
                      <a:lnTo>
                        <a:pt x="14982" y="15191"/>
                      </a:lnTo>
                      <a:lnTo>
                        <a:pt x="14877" y="15233"/>
                      </a:lnTo>
                      <a:lnTo>
                        <a:pt x="14772" y="15170"/>
                      </a:lnTo>
                      <a:lnTo>
                        <a:pt x="14710" y="15212"/>
                      </a:lnTo>
                      <a:lnTo>
                        <a:pt x="14605" y="15170"/>
                      </a:lnTo>
                      <a:lnTo>
                        <a:pt x="14521" y="15233"/>
                      </a:lnTo>
                      <a:lnTo>
                        <a:pt x="14584" y="15359"/>
                      </a:lnTo>
                      <a:lnTo>
                        <a:pt x="14584" y="15463"/>
                      </a:lnTo>
                      <a:lnTo>
                        <a:pt x="14458" y="15505"/>
                      </a:lnTo>
                      <a:lnTo>
                        <a:pt x="14458" y="15568"/>
                      </a:lnTo>
                      <a:lnTo>
                        <a:pt x="14521" y="15693"/>
                      </a:lnTo>
                      <a:lnTo>
                        <a:pt x="14605" y="15756"/>
                      </a:lnTo>
                      <a:lnTo>
                        <a:pt x="14668" y="15965"/>
                      </a:lnTo>
                      <a:lnTo>
                        <a:pt x="14710" y="16070"/>
                      </a:lnTo>
                      <a:lnTo>
                        <a:pt x="14751" y="15965"/>
                      </a:lnTo>
                      <a:lnTo>
                        <a:pt x="14814" y="15965"/>
                      </a:lnTo>
                      <a:lnTo>
                        <a:pt x="14919" y="16133"/>
                      </a:lnTo>
                      <a:lnTo>
                        <a:pt x="14919" y="16237"/>
                      </a:lnTo>
                      <a:lnTo>
                        <a:pt x="15044" y="16279"/>
                      </a:lnTo>
                      <a:lnTo>
                        <a:pt x="15212" y="16447"/>
                      </a:lnTo>
                      <a:lnTo>
                        <a:pt x="15044" y="16426"/>
                      </a:lnTo>
                      <a:lnTo>
                        <a:pt x="15002" y="16384"/>
                      </a:lnTo>
                      <a:lnTo>
                        <a:pt x="14919" y="16384"/>
                      </a:lnTo>
                      <a:lnTo>
                        <a:pt x="14877" y="16551"/>
                      </a:lnTo>
                      <a:lnTo>
                        <a:pt x="14772" y="16635"/>
                      </a:lnTo>
                      <a:lnTo>
                        <a:pt x="14605" y="16551"/>
                      </a:lnTo>
                      <a:lnTo>
                        <a:pt x="14521" y="16614"/>
                      </a:lnTo>
                      <a:lnTo>
                        <a:pt x="14521" y="16656"/>
                      </a:lnTo>
                      <a:lnTo>
                        <a:pt x="14668" y="16823"/>
                      </a:lnTo>
                      <a:lnTo>
                        <a:pt x="14710" y="16865"/>
                      </a:lnTo>
                      <a:lnTo>
                        <a:pt x="14710" y="16949"/>
                      </a:lnTo>
                      <a:lnTo>
                        <a:pt x="14668" y="17032"/>
                      </a:lnTo>
                      <a:lnTo>
                        <a:pt x="14375" y="17032"/>
                      </a:lnTo>
                      <a:lnTo>
                        <a:pt x="14291" y="16949"/>
                      </a:lnTo>
                      <a:lnTo>
                        <a:pt x="14312" y="16865"/>
                      </a:lnTo>
                      <a:lnTo>
                        <a:pt x="14270" y="16760"/>
                      </a:lnTo>
                      <a:lnTo>
                        <a:pt x="14375" y="16698"/>
                      </a:lnTo>
                      <a:lnTo>
                        <a:pt x="14375" y="16635"/>
                      </a:lnTo>
                      <a:lnTo>
                        <a:pt x="14270" y="16530"/>
                      </a:lnTo>
                      <a:lnTo>
                        <a:pt x="14186" y="16509"/>
                      </a:lnTo>
                      <a:lnTo>
                        <a:pt x="14270" y="16405"/>
                      </a:lnTo>
                      <a:lnTo>
                        <a:pt x="14249" y="16384"/>
                      </a:lnTo>
                      <a:lnTo>
                        <a:pt x="14165" y="16426"/>
                      </a:lnTo>
                      <a:lnTo>
                        <a:pt x="14103" y="16426"/>
                      </a:lnTo>
                      <a:lnTo>
                        <a:pt x="13956" y="16593"/>
                      </a:lnTo>
                      <a:lnTo>
                        <a:pt x="13873" y="16614"/>
                      </a:lnTo>
                      <a:lnTo>
                        <a:pt x="13768" y="16719"/>
                      </a:lnTo>
                      <a:lnTo>
                        <a:pt x="13768" y="16760"/>
                      </a:lnTo>
                      <a:lnTo>
                        <a:pt x="13642" y="16760"/>
                      </a:lnTo>
                      <a:lnTo>
                        <a:pt x="13580" y="16844"/>
                      </a:lnTo>
                      <a:lnTo>
                        <a:pt x="13580" y="16928"/>
                      </a:lnTo>
                      <a:lnTo>
                        <a:pt x="13517" y="16970"/>
                      </a:lnTo>
                      <a:lnTo>
                        <a:pt x="13245" y="16970"/>
                      </a:lnTo>
                      <a:lnTo>
                        <a:pt x="13161" y="16949"/>
                      </a:lnTo>
                      <a:lnTo>
                        <a:pt x="13119" y="16970"/>
                      </a:lnTo>
                      <a:lnTo>
                        <a:pt x="13036" y="16970"/>
                      </a:lnTo>
                      <a:lnTo>
                        <a:pt x="12952" y="16928"/>
                      </a:lnTo>
                      <a:lnTo>
                        <a:pt x="12805" y="17032"/>
                      </a:lnTo>
                      <a:lnTo>
                        <a:pt x="12785" y="17074"/>
                      </a:lnTo>
                      <a:lnTo>
                        <a:pt x="12680" y="17116"/>
                      </a:lnTo>
                      <a:lnTo>
                        <a:pt x="12575" y="17221"/>
                      </a:lnTo>
                      <a:lnTo>
                        <a:pt x="12575" y="17263"/>
                      </a:lnTo>
                      <a:lnTo>
                        <a:pt x="12638" y="17325"/>
                      </a:lnTo>
                      <a:lnTo>
                        <a:pt x="12617" y="17388"/>
                      </a:lnTo>
                      <a:lnTo>
                        <a:pt x="12638" y="17472"/>
                      </a:lnTo>
                      <a:lnTo>
                        <a:pt x="12617" y="17535"/>
                      </a:lnTo>
                      <a:lnTo>
                        <a:pt x="12513" y="17451"/>
                      </a:lnTo>
                      <a:lnTo>
                        <a:pt x="12471" y="17367"/>
                      </a:lnTo>
                      <a:lnTo>
                        <a:pt x="12408" y="17367"/>
                      </a:lnTo>
                      <a:lnTo>
                        <a:pt x="12282" y="17493"/>
                      </a:lnTo>
                      <a:lnTo>
                        <a:pt x="12220" y="17639"/>
                      </a:lnTo>
                      <a:lnTo>
                        <a:pt x="12220" y="17493"/>
                      </a:lnTo>
                      <a:lnTo>
                        <a:pt x="12094" y="17451"/>
                      </a:lnTo>
                      <a:lnTo>
                        <a:pt x="12010" y="17493"/>
                      </a:lnTo>
                      <a:lnTo>
                        <a:pt x="11948" y="17493"/>
                      </a:lnTo>
                      <a:lnTo>
                        <a:pt x="11864" y="17535"/>
                      </a:lnTo>
                      <a:lnTo>
                        <a:pt x="11759" y="17493"/>
                      </a:lnTo>
                      <a:lnTo>
                        <a:pt x="11738" y="17388"/>
                      </a:lnTo>
                      <a:lnTo>
                        <a:pt x="11864" y="17284"/>
                      </a:lnTo>
                      <a:lnTo>
                        <a:pt x="11969" y="17284"/>
                      </a:lnTo>
                      <a:lnTo>
                        <a:pt x="12010" y="17221"/>
                      </a:lnTo>
                      <a:lnTo>
                        <a:pt x="11948" y="17074"/>
                      </a:lnTo>
                      <a:lnTo>
                        <a:pt x="11969" y="17032"/>
                      </a:lnTo>
                      <a:lnTo>
                        <a:pt x="12052" y="16970"/>
                      </a:lnTo>
                      <a:lnTo>
                        <a:pt x="11906" y="16844"/>
                      </a:lnTo>
                      <a:lnTo>
                        <a:pt x="11864" y="16865"/>
                      </a:lnTo>
                      <a:lnTo>
                        <a:pt x="11780" y="16844"/>
                      </a:lnTo>
                      <a:lnTo>
                        <a:pt x="11759" y="16802"/>
                      </a:lnTo>
                      <a:lnTo>
                        <a:pt x="11969" y="16698"/>
                      </a:lnTo>
                      <a:lnTo>
                        <a:pt x="12052" y="16698"/>
                      </a:lnTo>
                      <a:lnTo>
                        <a:pt x="12157" y="16635"/>
                      </a:lnTo>
                      <a:lnTo>
                        <a:pt x="12115" y="16593"/>
                      </a:lnTo>
                      <a:lnTo>
                        <a:pt x="11906" y="16614"/>
                      </a:lnTo>
                      <a:lnTo>
                        <a:pt x="11592" y="16740"/>
                      </a:lnTo>
                      <a:lnTo>
                        <a:pt x="11529" y="16823"/>
                      </a:lnTo>
                      <a:lnTo>
                        <a:pt x="11571" y="16886"/>
                      </a:lnTo>
                      <a:lnTo>
                        <a:pt x="11592" y="16970"/>
                      </a:lnTo>
                      <a:lnTo>
                        <a:pt x="11655" y="17053"/>
                      </a:lnTo>
                      <a:lnTo>
                        <a:pt x="11592" y="17137"/>
                      </a:lnTo>
                      <a:lnTo>
                        <a:pt x="11529" y="17158"/>
                      </a:lnTo>
                      <a:lnTo>
                        <a:pt x="11425" y="17053"/>
                      </a:lnTo>
                      <a:lnTo>
                        <a:pt x="11445" y="17012"/>
                      </a:lnTo>
                      <a:lnTo>
                        <a:pt x="11487" y="16991"/>
                      </a:lnTo>
                      <a:lnTo>
                        <a:pt x="11466" y="16907"/>
                      </a:lnTo>
                      <a:lnTo>
                        <a:pt x="11445" y="16907"/>
                      </a:lnTo>
                      <a:lnTo>
                        <a:pt x="11236" y="17116"/>
                      </a:lnTo>
                      <a:lnTo>
                        <a:pt x="11236" y="17158"/>
                      </a:lnTo>
                      <a:lnTo>
                        <a:pt x="11320" y="17242"/>
                      </a:lnTo>
                      <a:lnTo>
                        <a:pt x="11383" y="17263"/>
                      </a:lnTo>
                      <a:lnTo>
                        <a:pt x="11383" y="17346"/>
                      </a:lnTo>
                      <a:lnTo>
                        <a:pt x="11257" y="17472"/>
                      </a:lnTo>
                      <a:lnTo>
                        <a:pt x="11215" y="17430"/>
                      </a:lnTo>
                      <a:lnTo>
                        <a:pt x="11257" y="17346"/>
                      </a:lnTo>
                      <a:lnTo>
                        <a:pt x="11236" y="17263"/>
                      </a:lnTo>
                      <a:lnTo>
                        <a:pt x="11173" y="17263"/>
                      </a:lnTo>
                      <a:lnTo>
                        <a:pt x="11173" y="17200"/>
                      </a:lnTo>
                      <a:lnTo>
                        <a:pt x="10943" y="17263"/>
                      </a:lnTo>
                      <a:lnTo>
                        <a:pt x="10922" y="17346"/>
                      </a:lnTo>
                      <a:lnTo>
                        <a:pt x="10755" y="17430"/>
                      </a:lnTo>
                      <a:lnTo>
                        <a:pt x="10629" y="17409"/>
                      </a:lnTo>
                      <a:lnTo>
                        <a:pt x="10546" y="17430"/>
                      </a:lnTo>
                      <a:lnTo>
                        <a:pt x="10546" y="17472"/>
                      </a:lnTo>
                      <a:lnTo>
                        <a:pt x="10316" y="17765"/>
                      </a:lnTo>
                      <a:lnTo>
                        <a:pt x="10274" y="17786"/>
                      </a:lnTo>
                      <a:lnTo>
                        <a:pt x="10064" y="18058"/>
                      </a:lnTo>
                      <a:lnTo>
                        <a:pt x="9960" y="18100"/>
                      </a:lnTo>
                      <a:lnTo>
                        <a:pt x="9876" y="18037"/>
                      </a:lnTo>
                      <a:lnTo>
                        <a:pt x="9813" y="18037"/>
                      </a:lnTo>
                      <a:lnTo>
                        <a:pt x="9876" y="18141"/>
                      </a:lnTo>
                      <a:lnTo>
                        <a:pt x="10023" y="18246"/>
                      </a:lnTo>
                      <a:lnTo>
                        <a:pt x="10064" y="18309"/>
                      </a:lnTo>
                      <a:lnTo>
                        <a:pt x="10064" y="18309"/>
                      </a:lnTo>
                      <a:lnTo>
                        <a:pt x="9876" y="18246"/>
                      </a:lnTo>
                      <a:lnTo>
                        <a:pt x="9813" y="18288"/>
                      </a:lnTo>
                      <a:lnTo>
                        <a:pt x="9500" y="18309"/>
                      </a:lnTo>
                      <a:lnTo>
                        <a:pt x="9458" y="18372"/>
                      </a:lnTo>
                      <a:lnTo>
                        <a:pt x="9541" y="18476"/>
                      </a:lnTo>
                      <a:lnTo>
                        <a:pt x="9541" y="18581"/>
                      </a:lnTo>
                      <a:lnTo>
                        <a:pt x="9458" y="18706"/>
                      </a:lnTo>
                      <a:lnTo>
                        <a:pt x="9500" y="18895"/>
                      </a:lnTo>
                      <a:lnTo>
                        <a:pt x="9458" y="19020"/>
                      </a:lnTo>
                      <a:lnTo>
                        <a:pt x="9248" y="19104"/>
                      </a:lnTo>
                      <a:lnTo>
                        <a:pt x="9228" y="19146"/>
                      </a:lnTo>
                      <a:lnTo>
                        <a:pt x="9081" y="19146"/>
                      </a:lnTo>
                      <a:lnTo>
                        <a:pt x="9039" y="19229"/>
                      </a:lnTo>
                      <a:lnTo>
                        <a:pt x="8956" y="19104"/>
                      </a:lnTo>
                      <a:lnTo>
                        <a:pt x="8809" y="19208"/>
                      </a:lnTo>
                      <a:lnTo>
                        <a:pt x="8579" y="19208"/>
                      </a:lnTo>
                      <a:lnTo>
                        <a:pt x="8328" y="18916"/>
                      </a:lnTo>
                      <a:lnTo>
                        <a:pt x="8098" y="18706"/>
                      </a:lnTo>
                      <a:lnTo>
                        <a:pt x="8014" y="18644"/>
                      </a:lnTo>
                      <a:lnTo>
                        <a:pt x="8014" y="18476"/>
                      </a:lnTo>
                      <a:lnTo>
                        <a:pt x="8056" y="18413"/>
                      </a:lnTo>
                      <a:lnTo>
                        <a:pt x="8098" y="18455"/>
                      </a:lnTo>
                      <a:lnTo>
                        <a:pt x="8160" y="18372"/>
                      </a:lnTo>
                      <a:lnTo>
                        <a:pt x="8119" y="18309"/>
                      </a:lnTo>
                      <a:lnTo>
                        <a:pt x="8181" y="18267"/>
                      </a:lnTo>
                      <a:lnTo>
                        <a:pt x="8370" y="18267"/>
                      </a:lnTo>
                      <a:lnTo>
                        <a:pt x="8412" y="18183"/>
                      </a:lnTo>
                      <a:lnTo>
                        <a:pt x="8621" y="18183"/>
                      </a:lnTo>
                      <a:lnTo>
                        <a:pt x="8642" y="18100"/>
                      </a:lnTo>
                      <a:lnTo>
                        <a:pt x="8495" y="17890"/>
                      </a:lnTo>
                      <a:lnTo>
                        <a:pt x="8474" y="17807"/>
                      </a:lnTo>
                      <a:lnTo>
                        <a:pt x="8328" y="17786"/>
                      </a:lnTo>
                      <a:lnTo>
                        <a:pt x="8202" y="17660"/>
                      </a:lnTo>
                      <a:lnTo>
                        <a:pt x="8202" y="17556"/>
                      </a:lnTo>
                      <a:lnTo>
                        <a:pt x="8077" y="17451"/>
                      </a:lnTo>
                      <a:lnTo>
                        <a:pt x="7763" y="17430"/>
                      </a:lnTo>
                      <a:lnTo>
                        <a:pt x="7554" y="17451"/>
                      </a:lnTo>
                      <a:lnTo>
                        <a:pt x="7449" y="17493"/>
                      </a:lnTo>
                      <a:lnTo>
                        <a:pt x="7323" y="17493"/>
                      </a:lnTo>
                      <a:lnTo>
                        <a:pt x="7072" y="17346"/>
                      </a:lnTo>
                      <a:lnTo>
                        <a:pt x="6947" y="17346"/>
                      </a:lnTo>
                      <a:lnTo>
                        <a:pt x="6947" y="17388"/>
                      </a:lnTo>
                      <a:lnTo>
                        <a:pt x="7240" y="17639"/>
                      </a:lnTo>
                      <a:lnTo>
                        <a:pt x="7386" y="17744"/>
                      </a:lnTo>
                      <a:lnTo>
                        <a:pt x="7470" y="17974"/>
                      </a:lnTo>
                      <a:lnTo>
                        <a:pt x="7470" y="18100"/>
                      </a:lnTo>
                      <a:lnTo>
                        <a:pt x="7533" y="18183"/>
                      </a:lnTo>
                      <a:lnTo>
                        <a:pt x="7470" y="18225"/>
                      </a:lnTo>
                      <a:lnTo>
                        <a:pt x="7470" y="18330"/>
                      </a:lnTo>
                      <a:lnTo>
                        <a:pt x="7491" y="18413"/>
                      </a:lnTo>
                      <a:lnTo>
                        <a:pt x="7449" y="18434"/>
                      </a:lnTo>
                      <a:lnTo>
                        <a:pt x="7449" y="18706"/>
                      </a:lnTo>
                      <a:lnTo>
                        <a:pt x="7386" y="18853"/>
                      </a:lnTo>
                      <a:lnTo>
                        <a:pt x="7449" y="18999"/>
                      </a:lnTo>
                      <a:lnTo>
                        <a:pt x="7595" y="18999"/>
                      </a:lnTo>
                      <a:lnTo>
                        <a:pt x="7742" y="19062"/>
                      </a:lnTo>
                      <a:lnTo>
                        <a:pt x="7805" y="19167"/>
                      </a:lnTo>
                      <a:lnTo>
                        <a:pt x="7784" y="19229"/>
                      </a:lnTo>
                      <a:lnTo>
                        <a:pt x="7805" y="19313"/>
                      </a:lnTo>
                      <a:lnTo>
                        <a:pt x="7784" y="19355"/>
                      </a:lnTo>
                      <a:lnTo>
                        <a:pt x="7784" y="19418"/>
                      </a:lnTo>
                      <a:lnTo>
                        <a:pt x="7847" y="19460"/>
                      </a:lnTo>
                      <a:lnTo>
                        <a:pt x="7784" y="19543"/>
                      </a:lnTo>
                      <a:lnTo>
                        <a:pt x="7784" y="19794"/>
                      </a:lnTo>
                      <a:lnTo>
                        <a:pt x="7742" y="19857"/>
                      </a:lnTo>
                      <a:lnTo>
                        <a:pt x="7805" y="20004"/>
                      </a:lnTo>
                      <a:lnTo>
                        <a:pt x="7847" y="20213"/>
                      </a:lnTo>
                      <a:lnTo>
                        <a:pt x="7763" y="20171"/>
                      </a:lnTo>
                      <a:lnTo>
                        <a:pt x="7700" y="20045"/>
                      </a:lnTo>
                      <a:lnTo>
                        <a:pt x="7575" y="19941"/>
                      </a:lnTo>
                      <a:lnTo>
                        <a:pt x="7449" y="20066"/>
                      </a:lnTo>
                      <a:lnTo>
                        <a:pt x="7470" y="19941"/>
                      </a:lnTo>
                      <a:lnTo>
                        <a:pt x="7428" y="19857"/>
                      </a:lnTo>
                      <a:lnTo>
                        <a:pt x="7240" y="19836"/>
                      </a:lnTo>
                      <a:lnTo>
                        <a:pt x="7072" y="19857"/>
                      </a:lnTo>
                      <a:lnTo>
                        <a:pt x="6968" y="19773"/>
                      </a:lnTo>
                      <a:lnTo>
                        <a:pt x="6821" y="19753"/>
                      </a:lnTo>
                      <a:lnTo>
                        <a:pt x="6738" y="19794"/>
                      </a:lnTo>
                      <a:lnTo>
                        <a:pt x="6612" y="20087"/>
                      </a:lnTo>
                      <a:lnTo>
                        <a:pt x="6424" y="20255"/>
                      </a:lnTo>
                      <a:lnTo>
                        <a:pt x="6298" y="20276"/>
                      </a:lnTo>
                      <a:lnTo>
                        <a:pt x="6194" y="20380"/>
                      </a:lnTo>
                      <a:lnTo>
                        <a:pt x="6173" y="20527"/>
                      </a:lnTo>
                      <a:lnTo>
                        <a:pt x="6026" y="20694"/>
                      </a:lnTo>
                      <a:lnTo>
                        <a:pt x="5963" y="20757"/>
                      </a:lnTo>
                      <a:lnTo>
                        <a:pt x="5963" y="20841"/>
                      </a:lnTo>
                      <a:lnTo>
                        <a:pt x="6005" y="21029"/>
                      </a:lnTo>
                      <a:lnTo>
                        <a:pt x="6277" y="21301"/>
                      </a:lnTo>
                      <a:lnTo>
                        <a:pt x="6424" y="21531"/>
                      </a:lnTo>
                      <a:lnTo>
                        <a:pt x="6340" y="21636"/>
                      </a:lnTo>
                      <a:lnTo>
                        <a:pt x="6277" y="21636"/>
                      </a:lnTo>
                      <a:lnTo>
                        <a:pt x="6277" y="21761"/>
                      </a:lnTo>
                      <a:lnTo>
                        <a:pt x="6173" y="21845"/>
                      </a:lnTo>
                      <a:lnTo>
                        <a:pt x="6110" y="21949"/>
                      </a:lnTo>
                      <a:lnTo>
                        <a:pt x="5963" y="21782"/>
                      </a:lnTo>
                      <a:lnTo>
                        <a:pt x="5587" y="21615"/>
                      </a:lnTo>
                      <a:lnTo>
                        <a:pt x="5461" y="21615"/>
                      </a:lnTo>
                      <a:lnTo>
                        <a:pt x="5398" y="21531"/>
                      </a:lnTo>
                      <a:lnTo>
                        <a:pt x="5189" y="21531"/>
                      </a:lnTo>
                      <a:lnTo>
                        <a:pt x="5085" y="21447"/>
                      </a:lnTo>
                      <a:lnTo>
                        <a:pt x="5022" y="21322"/>
                      </a:lnTo>
                      <a:lnTo>
                        <a:pt x="4854" y="21301"/>
                      </a:lnTo>
                      <a:lnTo>
                        <a:pt x="4729" y="21217"/>
                      </a:lnTo>
                      <a:lnTo>
                        <a:pt x="4603" y="21217"/>
                      </a:lnTo>
                      <a:lnTo>
                        <a:pt x="4562" y="21301"/>
                      </a:lnTo>
                      <a:lnTo>
                        <a:pt x="4603" y="21364"/>
                      </a:lnTo>
                      <a:lnTo>
                        <a:pt x="4562" y="21426"/>
                      </a:lnTo>
                      <a:lnTo>
                        <a:pt x="4603" y="21468"/>
                      </a:lnTo>
                      <a:lnTo>
                        <a:pt x="4520" y="21552"/>
                      </a:lnTo>
                      <a:lnTo>
                        <a:pt x="4415" y="21552"/>
                      </a:lnTo>
                      <a:lnTo>
                        <a:pt x="4499" y="21719"/>
                      </a:lnTo>
                      <a:lnTo>
                        <a:pt x="4520" y="21845"/>
                      </a:lnTo>
                      <a:lnTo>
                        <a:pt x="4666" y="21929"/>
                      </a:lnTo>
                      <a:lnTo>
                        <a:pt x="4771" y="22054"/>
                      </a:lnTo>
                      <a:lnTo>
                        <a:pt x="4917" y="22138"/>
                      </a:lnTo>
                      <a:lnTo>
                        <a:pt x="5022" y="22075"/>
                      </a:lnTo>
                      <a:lnTo>
                        <a:pt x="5085" y="22075"/>
                      </a:lnTo>
                      <a:lnTo>
                        <a:pt x="5168" y="22033"/>
                      </a:lnTo>
                      <a:lnTo>
                        <a:pt x="5189" y="22096"/>
                      </a:lnTo>
                      <a:lnTo>
                        <a:pt x="5336" y="22159"/>
                      </a:lnTo>
                      <a:lnTo>
                        <a:pt x="5336" y="22201"/>
                      </a:lnTo>
                      <a:lnTo>
                        <a:pt x="5273" y="22263"/>
                      </a:lnTo>
                      <a:lnTo>
                        <a:pt x="5357" y="22347"/>
                      </a:lnTo>
                      <a:lnTo>
                        <a:pt x="5357" y="22514"/>
                      </a:lnTo>
                      <a:lnTo>
                        <a:pt x="5273" y="22556"/>
                      </a:lnTo>
                      <a:lnTo>
                        <a:pt x="5168" y="22556"/>
                      </a:lnTo>
                      <a:lnTo>
                        <a:pt x="5043" y="22682"/>
                      </a:lnTo>
                      <a:lnTo>
                        <a:pt x="4980" y="22682"/>
                      </a:lnTo>
                      <a:lnTo>
                        <a:pt x="4875" y="22577"/>
                      </a:lnTo>
                      <a:lnTo>
                        <a:pt x="4729" y="22577"/>
                      </a:lnTo>
                      <a:lnTo>
                        <a:pt x="4645" y="22514"/>
                      </a:lnTo>
                      <a:lnTo>
                        <a:pt x="4457" y="22514"/>
                      </a:lnTo>
                      <a:lnTo>
                        <a:pt x="4415" y="22473"/>
                      </a:lnTo>
                      <a:lnTo>
                        <a:pt x="4415" y="22347"/>
                      </a:lnTo>
                      <a:lnTo>
                        <a:pt x="4310" y="22284"/>
                      </a:lnTo>
                      <a:lnTo>
                        <a:pt x="4227" y="22180"/>
                      </a:lnTo>
                      <a:lnTo>
                        <a:pt x="4185" y="22180"/>
                      </a:lnTo>
                      <a:lnTo>
                        <a:pt x="4080" y="22263"/>
                      </a:lnTo>
                      <a:lnTo>
                        <a:pt x="3829" y="22180"/>
                      </a:lnTo>
                      <a:lnTo>
                        <a:pt x="3787" y="22075"/>
                      </a:lnTo>
                      <a:lnTo>
                        <a:pt x="3725" y="22033"/>
                      </a:lnTo>
                      <a:lnTo>
                        <a:pt x="3787" y="21949"/>
                      </a:lnTo>
                      <a:lnTo>
                        <a:pt x="3766" y="21824"/>
                      </a:lnTo>
                      <a:lnTo>
                        <a:pt x="3766" y="21719"/>
                      </a:lnTo>
                      <a:lnTo>
                        <a:pt x="3662" y="21636"/>
                      </a:lnTo>
                      <a:lnTo>
                        <a:pt x="3662" y="21531"/>
                      </a:lnTo>
                      <a:lnTo>
                        <a:pt x="3494" y="21385"/>
                      </a:lnTo>
                      <a:lnTo>
                        <a:pt x="3494" y="21238"/>
                      </a:lnTo>
                      <a:lnTo>
                        <a:pt x="3411" y="21217"/>
                      </a:lnTo>
                      <a:lnTo>
                        <a:pt x="3453" y="21113"/>
                      </a:lnTo>
                      <a:lnTo>
                        <a:pt x="3515" y="21092"/>
                      </a:lnTo>
                      <a:lnTo>
                        <a:pt x="3557" y="20903"/>
                      </a:lnTo>
                      <a:lnTo>
                        <a:pt x="3557" y="20799"/>
                      </a:lnTo>
                      <a:lnTo>
                        <a:pt x="3515" y="20778"/>
                      </a:lnTo>
                      <a:lnTo>
                        <a:pt x="3515" y="20694"/>
                      </a:lnTo>
                      <a:lnTo>
                        <a:pt x="3578" y="20610"/>
                      </a:lnTo>
                      <a:lnTo>
                        <a:pt x="3515" y="20589"/>
                      </a:lnTo>
                      <a:lnTo>
                        <a:pt x="3390" y="20401"/>
                      </a:lnTo>
                      <a:lnTo>
                        <a:pt x="3139" y="20297"/>
                      </a:lnTo>
                      <a:lnTo>
                        <a:pt x="3055" y="20359"/>
                      </a:lnTo>
                      <a:lnTo>
                        <a:pt x="2992" y="20297"/>
                      </a:lnTo>
                      <a:lnTo>
                        <a:pt x="2930" y="20297"/>
                      </a:lnTo>
                      <a:lnTo>
                        <a:pt x="2867" y="20338"/>
                      </a:lnTo>
                      <a:lnTo>
                        <a:pt x="2741" y="20297"/>
                      </a:lnTo>
                      <a:lnTo>
                        <a:pt x="2783" y="20255"/>
                      </a:lnTo>
                      <a:lnTo>
                        <a:pt x="2888" y="20234"/>
                      </a:lnTo>
                      <a:lnTo>
                        <a:pt x="2930" y="20150"/>
                      </a:lnTo>
                      <a:lnTo>
                        <a:pt x="2783" y="20108"/>
                      </a:lnTo>
                      <a:lnTo>
                        <a:pt x="2783" y="20087"/>
                      </a:lnTo>
                      <a:lnTo>
                        <a:pt x="2867" y="20066"/>
                      </a:lnTo>
                      <a:lnTo>
                        <a:pt x="2783" y="20004"/>
                      </a:lnTo>
                      <a:lnTo>
                        <a:pt x="2720" y="20066"/>
                      </a:lnTo>
                      <a:lnTo>
                        <a:pt x="2532" y="20108"/>
                      </a:lnTo>
                      <a:lnTo>
                        <a:pt x="2511" y="20087"/>
                      </a:lnTo>
                      <a:lnTo>
                        <a:pt x="2553" y="20004"/>
                      </a:lnTo>
                      <a:lnTo>
                        <a:pt x="2658" y="19962"/>
                      </a:lnTo>
                      <a:lnTo>
                        <a:pt x="2637" y="19941"/>
                      </a:lnTo>
                      <a:lnTo>
                        <a:pt x="2448" y="19899"/>
                      </a:lnTo>
                      <a:lnTo>
                        <a:pt x="2427" y="19836"/>
                      </a:lnTo>
                      <a:lnTo>
                        <a:pt x="2302" y="19753"/>
                      </a:lnTo>
                      <a:lnTo>
                        <a:pt x="2260" y="19585"/>
                      </a:lnTo>
                      <a:lnTo>
                        <a:pt x="2134" y="19522"/>
                      </a:lnTo>
                      <a:lnTo>
                        <a:pt x="2155" y="19481"/>
                      </a:lnTo>
                      <a:lnTo>
                        <a:pt x="2260" y="19481"/>
                      </a:lnTo>
                      <a:lnTo>
                        <a:pt x="2302" y="19522"/>
                      </a:lnTo>
                      <a:lnTo>
                        <a:pt x="2448" y="19543"/>
                      </a:lnTo>
                      <a:lnTo>
                        <a:pt x="2469" y="19648"/>
                      </a:lnTo>
                      <a:lnTo>
                        <a:pt x="2720" y="19857"/>
                      </a:lnTo>
                      <a:lnTo>
                        <a:pt x="2783" y="19857"/>
                      </a:lnTo>
                      <a:lnTo>
                        <a:pt x="2825" y="19794"/>
                      </a:lnTo>
                      <a:lnTo>
                        <a:pt x="2950" y="19878"/>
                      </a:lnTo>
                      <a:lnTo>
                        <a:pt x="3139" y="19878"/>
                      </a:lnTo>
                      <a:lnTo>
                        <a:pt x="3160" y="19836"/>
                      </a:lnTo>
                      <a:lnTo>
                        <a:pt x="3243" y="19899"/>
                      </a:lnTo>
                      <a:lnTo>
                        <a:pt x="3160" y="19962"/>
                      </a:lnTo>
                      <a:lnTo>
                        <a:pt x="3202" y="19983"/>
                      </a:lnTo>
                      <a:lnTo>
                        <a:pt x="3202" y="20045"/>
                      </a:lnTo>
                      <a:lnTo>
                        <a:pt x="3306" y="20045"/>
                      </a:lnTo>
                      <a:lnTo>
                        <a:pt x="3369" y="19983"/>
                      </a:lnTo>
                      <a:lnTo>
                        <a:pt x="3557" y="19983"/>
                      </a:lnTo>
                      <a:lnTo>
                        <a:pt x="3494" y="20004"/>
                      </a:lnTo>
                      <a:lnTo>
                        <a:pt x="3599" y="20004"/>
                      </a:lnTo>
                      <a:lnTo>
                        <a:pt x="3704" y="19983"/>
                      </a:lnTo>
                      <a:lnTo>
                        <a:pt x="3704" y="20066"/>
                      </a:lnTo>
                      <a:lnTo>
                        <a:pt x="3871" y="20192"/>
                      </a:lnTo>
                      <a:lnTo>
                        <a:pt x="3934" y="20150"/>
                      </a:lnTo>
                      <a:lnTo>
                        <a:pt x="4038" y="20171"/>
                      </a:lnTo>
                      <a:lnTo>
                        <a:pt x="4080" y="20213"/>
                      </a:lnTo>
                      <a:lnTo>
                        <a:pt x="4227" y="20213"/>
                      </a:lnTo>
                      <a:lnTo>
                        <a:pt x="4331" y="20255"/>
                      </a:lnTo>
                      <a:lnTo>
                        <a:pt x="4415" y="20192"/>
                      </a:lnTo>
                      <a:lnTo>
                        <a:pt x="4541" y="20297"/>
                      </a:lnTo>
                      <a:lnTo>
                        <a:pt x="4729" y="20359"/>
                      </a:lnTo>
                      <a:lnTo>
                        <a:pt x="5064" y="20380"/>
                      </a:lnTo>
                      <a:lnTo>
                        <a:pt x="5336" y="20359"/>
                      </a:lnTo>
                      <a:lnTo>
                        <a:pt x="5357" y="20297"/>
                      </a:lnTo>
                      <a:lnTo>
                        <a:pt x="5545" y="20297"/>
                      </a:lnTo>
                      <a:lnTo>
                        <a:pt x="5608" y="20255"/>
                      </a:lnTo>
                      <a:lnTo>
                        <a:pt x="5796" y="20213"/>
                      </a:lnTo>
                      <a:lnTo>
                        <a:pt x="5963" y="20150"/>
                      </a:lnTo>
                      <a:lnTo>
                        <a:pt x="6173" y="19857"/>
                      </a:lnTo>
                      <a:lnTo>
                        <a:pt x="6194" y="19773"/>
                      </a:lnTo>
                      <a:lnTo>
                        <a:pt x="6319" y="19627"/>
                      </a:lnTo>
                      <a:lnTo>
                        <a:pt x="6319" y="19543"/>
                      </a:lnTo>
                      <a:lnTo>
                        <a:pt x="6340" y="19460"/>
                      </a:lnTo>
                      <a:lnTo>
                        <a:pt x="6382" y="19313"/>
                      </a:lnTo>
                      <a:lnTo>
                        <a:pt x="6382" y="19167"/>
                      </a:lnTo>
                      <a:lnTo>
                        <a:pt x="6382" y="19041"/>
                      </a:lnTo>
                      <a:lnTo>
                        <a:pt x="6319" y="18999"/>
                      </a:lnTo>
                      <a:lnTo>
                        <a:pt x="6277" y="18999"/>
                      </a:lnTo>
                      <a:lnTo>
                        <a:pt x="6173" y="18832"/>
                      </a:lnTo>
                      <a:lnTo>
                        <a:pt x="6089" y="18790"/>
                      </a:lnTo>
                      <a:lnTo>
                        <a:pt x="6068" y="18644"/>
                      </a:lnTo>
                      <a:lnTo>
                        <a:pt x="5963" y="18392"/>
                      </a:lnTo>
                      <a:lnTo>
                        <a:pt x="5859" y="18372"/>
                      </a:lnTo>
                      <a:lnTo>
                        <a:pt x="5817" y="18413"/>
                      </a:lnTo>
                      <a:lnTo>
                        <a:pt x="5691" y="18372"/>
                      </a:lnTo>
                      <a:lnTo>
                        <a:pt x="5691" y="18288"/>
                      </a:lnTo>
                      <a:lnTo>
                        <a:pt x="5461" y="18120"/>
                      </a:lnTo>
                      <a:lnTo>
                        <a:pt x="5461" y="18016"/>
                      </a:lnTo>
                      <a:lnTo>
                        <a:pt x="5336" y="17890"/>
                      </a:lnTo>
                      <a:lnTo>
                        <a:pt x="5273" y="17890"/>
                      </a:lnTo>
                      <a:lnTo>
                        <a:pt x="5294" y="17953"/>
                      </a:lnTo>
                      <a:lnTo>
                        <a:pt x="5378" y="18079"/>
                      </a:lnTo>
                      <a:lnTo>
                        <a:pt x="5294" y="18100"/>
                      </a:lnTo>
                      <a:lnTo>
                        <a:pt x="5168" y="17974"/>
                      </a:lnTo>
                      <a:lnTo>
                        <a:pt x="5085" y="17974"/>
                      </a:lnTo>
                      <a:lnTo>
                        <a:pt x="4938" y="17807"/>
                      </a:lnTo>
                      <a:lnTo>
                        <a:pt x="4875" y="17807"/>
                      </a:lnTo>
                      <a:lnTo>
                        <a:pt x="4875" y="17869"/>
                      </a:lnTo>
                      <a:lnTo>
                        <a:pt x="4917" y="17911"/>
                      </a:lnTo>
                      <a:lnTo>
                        <a:pt x="4834" y="17890"/>
                      </a:lnTo>
                      <a:lnTo>
                        <a:pt x="4708" y="17681"/>
                      </a:lnTo>
                      <a:lnTo>
                        <a:pt x="4603" y="17660"/>
                      </a:lnTo>
                      <a:lnTo>
                        <a:pt x="4520" y="17556"/>
                      </a:lnTo>
                      <a:lnTo>
                        <a:pt x="4122" y="17284"/>
                      </a:lnTo>
                      <a:lnTo>
                        <a:pt x="3515" y="16970"/>
                      </a:lnTo>
                      <a:lnTo>
                        <a:pt x="3390" y="16928"/>
                      </a:lnTo>
                      <a:lnTo>
                        <a:pt x="3369" y="16970"/>
                      </a:lnTo>
                      <a:lnTo>
                        <a:pt x="3243" y="16907"/>
                      </a:lnTo>
                      <a:lnTo>
                        <a:pt x="3097" y="16865"/>
                      </a:lnTo>
                      <a:lnTo>
                        <a:pt x="3097" y="16928"/>
                      </a:lnTo>
                      <a:lnTo>
                        <a:pt x="3034" y="16970"/>
                      </a:lnTo>
                      <a:lnTo>
                        <a:pt x="2930" y="16928"/>
                      </a:lnTo>
                      <a:lnTo>
                        <a:pt x="2762" y="16928"/>
                      </a:lnTo>
                      <a:lnTo>
                        <a:pt x="2678" y="16823"/>
                      </a:lnTo>
                      <a:lnTo>
                        <a:pt x="2574" y="16760"/>
                      </a:lnTo>
                      <a:lnTo>
                        <a:pt x="2574" y="16802"/>
                      </a:lnTo>
                      <a:lnTo>
                        <a:pt x="2637" y="16865"/>
                      </a:lnTo>
                      <a:lnTo>
                        <a:pt x="2616" y="16928"/>
                      </a:lnTo>
                      <a:lnTo>
                        <a:pt x="2532" y="16865"/>
                      </a:lnTo>
                      <a:lnTo>
                        <a:pt x="2406" y="16907"/>
                      </a:lnTo>
                      <a:lnTo>
                        <a:pt x="2344" y="16949"/>
                      </a:lnTo>
                      <a:lnTo>
                        <a:pt x="2365" y="17032"/>
                      </a:lnTo>
                      <a:lnTo>
                        <a:pt x="2302" y="17158"/>
                      </a:lnTo>
                      <a:lnTo>
                        <a:pt x="2155" y="17158"/>
                      </a:lnTo>
                      <a:lnTo>
                        <a:pt x="2239" y="17053"/>
                      </a:lnTo>
                      <a:lnTo>
                        <a:pt x="2323" y="17012"/>
                      </a:lnTo>
                      <a:lnTo>
                        <a:pt x="2260" y="16949"/>
                      </a:lnTo>
                      <a:lnTo>
                        <a:pt x="2197" y="16949"/>
                      </a:lnTo>
                      <a:lnTo>
                        <a:pt x="2218" y="16907"/>
                      </a:lnTo>
                      <a:lnTo>
                        <a:pt x="2239" y="16844"/>
                      </a:lnTo>
                      <a:lnTo>
                        <a:pt x="2197" y="16823"/>
                      </a:lnTo>
                      <a:lnTo>
                        <a:pt x="2134" y="16886"/>
                      </a:lnTo>
                      <a:lnTo>
                        <a:pt x="2030" y="17012"/>
                      </a:lnTo>
                      <a:lnTo>
                        <a:pt x="2030" y="16928"/>
                      </a:lnTo>
                      <a:lnTo>
                        <a:pt x="2030" y="16886"/>
                      </a:lnTo>
                      <a:lnTo>
                        <a:pt x="2009" y="16844"/>
                      </a:lnTo>
                      <a:lnTo>
                        <a:pt x="1946" y="16928"/>
                      </a:lnTo>
                      <a:lnTo>
                        <a:pt x="1925" y="16928"/>
                      </a:lnTo>
                      <a:lnTo>
                        <a:pt x="1925" y="16844"/>
                      </a:lnTo>
                      <a:lnTo>
                        <a:pt x="1821" y="16823"/>
                      </a:lnTo>
                      <a:lnTo>
                        <a:pt x="1716" y="16907"/>
                      </a:lnTo>
                      <a:lnTo>
                        <a:pt x="1695" y="16802"/>
                      </a:lnTo>
                      <a:lnTo>
                        <a:pt x="1632" y="16760"/>
                      </a:lnTo>
                      <a:lnTo>
                        <a:pt x="1569" y="16844"/>
                      </a:lnTo>
                      <a:lnTo>
                        <a:pt x="1528" y="16740"/>
                      </a:lnTo>
                      <a:lnTo>
                        <a:pt x="1528" y="16614"/>
                      </a:lnTo>
                      <a:lnTo>
                        <a:pt x="1590" y="16530"/>
                      </a:lnTo>
                      <a:lnTo>
                        <a:pt x="1590" y="16614"/>
                      </a:lnTo>
                      <a:lnTo>
                        <a:pt x="1674" y="16698"/>
                      </a:lnTo>
                      <a:lnTo>
                        <a:pt x="1800" y="16656"/>
                      </a:lnTo>
                      <a:lnTo>
                        <a:pt x="1883" y="16719"/>
                      </a:lnTo>
                      <a:lnTo>
                        <a:pt x="1988" y="16635"/>
                      </a:lnTo>
                      <a:lnTo>
                        <a:pt x="1988" y="16593"/>
                      </a:lnTo>
                      <a:lnTo>
                        <a:pt x="1904" y="16530"/>
                      </a:lnTo>
                      <a:lnTo>
                        <a:pt x="1883" y="16509"/>
                      </a:lnTo>
                      <a:lnTo>
                        <a:pt x="1800" y="16488"/>
                      </a:lnTo>
                      <a:lnTo>
                        <a:pt x="1737" y="16530"/>
                      </a:lnTo>
                      <a:lnTo>
                        <a:pt x="1695" y="16488"/>
                      </a:lnTo>
                      <a:lnTo>
                        <a:pt x="1632" y="16405"/>
                      </a:lnTo>
                      <a:lnTo>
                        <a:pt x="1528" y="16342"/>
                      </a:lnTo>
                      <a:lnTo>
                        <a:pt x="1423" y="16342"/>
                      </a:lnTo>
                      <a:lnTo>
                        <a:pt x="1402" y="16384"/>
                      </a:lnTo>
                      <a:lnTo>
                        <a:pt x="1465" y="16426"/>
                      </a:lnTo>
                      <a:lnTo>
                        <a:pt x="1486" y="16426"/>
                      </a:lnTo>
                      <a:lnTo>
                        <a:pt x="1486" y="16488"/>
                      </a:lnTo>
                      <a:lnTo>
                        <a:pt x="1402" y="16509"/>
                      </a:lnTo>
                      <a:lnTo>
                        <a:pt x="1360" y="16509"/>
                      </a:lnTo>
                      <a:lnTo>
                        <a:pt x="1360" y="16551"/>
                      </a:lnTo>
                      <a:lnTo>
                        <a:pt x="1465" y="16635"/>
                      </a:lnTo>
                      <a:lnTo>
                        <a:pt x="1402" y="16656"/>
                      </a:lnTo>
                      <a:lnTo>
                        <a:pt x="1318" y="16656"/>
                      </a:lnTo>
                      <a:lnTo>
                        <a:pt x="1277" y="16740"/>
                      </a:lnTo>
                      <a:lnTo>
                        <a:pt x="1256" y="16886"/>
                      </a:lnTo>
                      <a:lnTo>
                        <a:pt x="1193" y="16802"/>
                      </a:lnTo>
                      <a:lnTo>
                        <a:pt x="1193" y="16698"/>
                      </a:lnTo>
                      <a:lnTo>
                        <a:pt x="1151" y="16635"/>
                      </a:lnTo>
                      <a:lnTo>
                        <a:pt x="1005" y="16614"/>
                      </a:lnTo>
                      <a:lnTo>
                        <a:pt x="1005" y="16740"/>
                      </a:lnTo>
                      <a:lnTo>
                        <a:pt x="942" y="16823"/>
                      </a:lnTo>
                      <a:lnTo>
                        <a:pt x="795" y="16781"/>
                      </a:lnTo>
                      <a:lnTo>
                        <a:pt x="691" y="16781"/>
                      </a:lnTo>
                      <a:lnTo>
                        <a:pt x="691" y="16928"/>
                      </a:lnTo>
                      <a:lnTo>
                        <a:pt x="628" y="17053"/>
                      </a:lnTo>
                      <a:lnTo>
                        <a:pt x="481" y="17095"/>
                      </a:lnTo>
                      <a:lnTo>
                        <a:pt x="335" y="17242"/>
                      </a:lnTo>
                      <a:lnTo>
                        <a:pt x="335" y="17451"/>
                      </a:lnTo>
                      <a:lnTo>
                        <a:pt x="251" y="17451"/>
                      </a:lnTo>
                      <a:lnTo>
                        <a:pt x="105" y="17514"/>
                      </a:lnTo>
                      <a:lnTo>
                        <a:pt x="0" y="17556"/>
                      </a:lnTo>
                      <a:lnTo>
                        <a:pt x="105" y="17576"/>
                      </a:lnTo>
                      <a:lnTo>
                        <a:pt x="63" y="17744"/>
                      </a:lnTo>
                      <a:lnTo>
                        <a:pt x="21" y="17932"/>
                      </a:lnTo>
                      <a:lnTo>
                        <a:pt x="105" y="18037"/>
                      </a:lnTo>
                      <a:lnTo>
                        <a:pt x="209" y="18288"/>
                      </a:lnTo>
                      <a:lnTo>
                        <a:pt x="272" y="18288"/>
                      </a:lnTo>
                      <a:lnTo>
                        <a:pt x="440" y="18372"/>
                      </a:lnTo>
                      <a:lnTo>
                        <a:pt x="523" y="18497"/>
                      </a:lnTo>
                      <a:lnTo>
                        <a:pt x="565" y="18602"/>
                      </a:lnTo>
                      <a:lnTo>
                        <a:pt x="837" y="18769"/>
                      </a:lnTo>
                      <a:lnTo>
                        <a:pt x="900" y="18832"/>
                      </a:lnTo>
                      <a:lnTo>
                        <a:pt x="858" y="19020"/>
                      </a:lnTo>
                      <a:lnTo>
                        <a:pt x="753" y="19208"/>
                      </a:lnTo>
                      <a:lnTo>
                        <a:pt x="649" y="19460"/>
                      </a:lnTo>
                      <a:lnTo>
                        <a:pt x="774" y="19627"/>
                      </a:lnTo>
                      <a:lnTo>
                        <a:pt x="837" y="19773"/>
                      </a:lnTo>
                      <a:lnTo>
                        <a:pt x="1067" y="20234"/>
                      </a:lnTo>
                      <a:lnTo>
                        <a:pt x="1318" y="20820"/>
                      </a:lnTo>
                      <a:lnTo>
                        <a:pt x="1214" y="20861"/>
                      </a:lnTo>
                      <a:lnTo>
                        <a:pt x="1193" y="21217"/>
                      </a:lnTo>
                      <a:lnTo>
                        <a:pt x="1193" y="21322"/>
                      </a:lnTo>
                      <a:lnTo>
                        <a:pt x="1297" y="21343"/>
                      </a:lnTo>
                      <a:lnTo>
                        <a:pt x="1214" y="21447"/>
                      </a:lnTo>
                      <a:lnTo>
                        <a:pt x="1214" y="21636"/>
                      </a:lnTo>
                      <a:lnTo>
                        <a:pt x="1297" y="21740"/>
                      </a:lnTo>
                      <a:lnTo>
                        <a:pt x="1423" y="21761"/>
                      </a:lnTo>
                      <a:lnTo>
                        <a:pt x="1486" y="21866"/>
                      </a:lnTo>
                      <a:lnTo>
                        <a:pt x="1423" y="21929"/>
                      </a:lnTo>
                      <a:lnTo>
                        <a:pt x="1423" y="22138"/>
                      </a:lnTo>
                      <a:lnTo>
                        <a:pt x="1486" y="22263"/>
                      </a:lnTo>
                      <a:lnTo>
                        <a:pt x="1674" y="22389"/>
                      </a:lnTo>
                      <a:lnTo>
                        <a:pt x="1674" y="22577"/>
                      </a:lnTo>
                      <a:lnTo>
                        <a:pt x="1569" y="22745"/>
                      </a:lnTo>
                      <a:lnTo>
                        <a:pt x="1507" y="22912"/>
                      </a:lnTo>
                      <a:lnTo>
                        <a:pt x="1779" y="23289"/>
                      </a:lnTo>
                      <a:lnTo>
                        <a:pt x="1925" y="23330"/>
                      </a:lnTo>
                      <a:lnTo>
                        <a:pt x="2197" y="23623"/>
                      </a:lnTo>
                      <a:lnTo>
                        <a:pt x="2218" y="23812"/>
                      </a:lnTo>
                      <a:lnTo>
                        <a:pt x="2051" y="24230"/>
                      </a:lnTo>
                      <a:lnTo>
                        <a:pt x="1821" y="24628"/>
                      </a:lnTo>
                      <a:lnTo>
                        <a:pt x="1695" y="24900"/>
                      </a:lnTo>
                      <a:lnTo>
                        <a:pt x="1528" y="25151"/>
                      </a:lnTo>
                      <a:lnTo>
                        <a:pt x="1381" y="25402"/>
                      </a:lnTo>
                      <a:lnTo>
                        <a:pt x="1256" y="25486"/>
                      </a:lnTo>
                      <a:lnTo>
                        <a:pt x="984" y="25737"/>
                      </a:lnTo>
                      <a:lnTo>
                        <a:pt x="1005" y="25904"/>
                      </a:lnTo>
                      <a:cubicBezTo>
                        <a:pt x="1005" y="25883"/>
                        <a:pt x="1046" y="25883"/>
                        <a:pt x="1046" y="25883"/>
                      </a:cubicBezTo>
                      <a:cubicBezTo>
                        <a:pt x="1067" y="25883"/>
                        <a:pt x="1193" y="25799"/>
                        <a:pt x="1193" y="25799"/>
                      </a:cubicBezTo>
                      <a:lnTo>
                        <a:pt x="1318" y="25779"/>
                      </a:lnTo>
                      <a:lnTo>
                        <a:pt x="1256" y="25841"/>
                      </a:lnTo>
                      <a:lnTo>
                        <a:pt x="1297" y="25925"/>
                      </a:lnTo>
                      <a:lnTo>
                        <a:pt x="1297" y="26030"/>
                      </a:lnTo>
                      <a:lnTo>
                        <a:pt x="1172" y="25925"/>
                      </a:lnTo>
                      <a:lnTo>
                        <a:pt x="1151" y="26009"/>
                      </a:lnTo>
                      <a:lnTo>
                        <a:pt x="1277" y="26155"/>
                      </a:lnTo>
                      <a:lnTo>
                        <a:pt x="1402" y="26155"/>
                      </a:lnTo>
                      <a:lnTo>
                        <a:pt x="1486" y="26260"/>
                      </a:lnTo>
                      <a:lnTo>
                        <a:pt x="1611" y="26260"/>
                      </a:lnTo>
                      <a:lnTo>
                        <a:pt x="1674" y="26239"/>
                      </a:lnTo>
                      <a:lnTo>
                        <a:pt x="1779" y="26239"/>
                      </a:lnTo>
                      <a:lnTo>
                        <a:pt x="1883" y="26364"/>
                      </a:lnTo>
                      <a:lnTo>
                        <a:pt x="1800" y="26448"/>
                      </a:lnTo>
                      <a:lnTo>
                        <a:pt x="1611" y="26406"/>
                      </a:lnTo>
                      <a:lnTo>
                        <a:pt x="1528" y="26427"/>
                      </a:lnTo>
                      <a:lnTo>
                        <a:pt x="1507" y="26532"/>
                      </a:lnTo>
                      <a:lnTo>
                        <a:pt x="1381" y="26636"/>
                      </a:lnTo>
                      <a:lnTo>
                        <a:pt x="1277" y="26553"/>
                      </a:lnTo>
                      <a:lnTo>
                        <a:pt x="1214" y="26615"/>
                      </a:lnTo>
                      <a:lnTo>
                        <a:pt x="1214" y="26720"/>
                      </a:lnTo>
                      <a:lnTo>
                        <a:pt x="1109" y="26741"/>
                      </a:lnTo>
                      <a:lnTo>
                        <a:pt x="1067" y="26636"/>
                      </a:lnTo>
                      <a:lnTo>
                        <a:pt x="1005" y="26657"/>
                      </a:lnTo>
                      <a:lnTo>
                        <a:pt x="1005" y="26720"/>
                      </a:lnTo>
                      <a:lnTo>
                        <a:pt x="1067" y="26783"/>
                      </a:lnTo>
                      <a:lnTo>
                        <a:pt x="1046" y="26929"/>
                      </a:lnTo>
                      <a:lnTo>
                        <a:pt x="1088" y="26992"/>
                      </a:lnTo>
                      <a:lnTo>
                        <a:pt x="1088" y="27034"/>
                      </a:lnTo>
                      <a:lnTo>
                        <a:pt x="1067" y="27055"/>
                      </a:lnTo>
                      <a:lnTo>
                        <a:pt x="984" y="27159"/>
                      </a:lnTo>
                      <a:lnTo>
                        <a:pt x="942" y="27306"/>
                      </a:lnTo>
                      <a:lnTo>
                        <a:pt x="858" y="27369"/>
                      </a:lnTo>
                      <a:lnTo>
                        <a:pt x="795" y="27808"/>
                      </a:lnTo>
                      <a:lnTo>
                        <a:pt x="1067" y="28289"/>
                      </a:lnTo>
                      <a:lnTo>
                        <a:pt x="1067" y="28394"/>
                      </a:lnTo>
                      <a:lnTo>
                        <a:pt x="984" y="28457"/>
                      </a:lnTo>
                      <a:lnTo>
                        <a:pt x="1005" y="28561"/>
                      </a:lnTo>
                      <a:lnTo>
                        <a:pt x="942" y="28708"/>
                      </a:lnTo>
                      <a:lnTo>
                        <a:pt x="1046" y="28729"/>
                      </a:lnTo>
                      <a:lnTo>
                        <a:pt x="1067" y="28833"/>
                      </a:lnTo>
                      <a:lnTo>
                        <a:pt x="1046" y="28875"/>
                      </a:lnTo>
                      <a:lnTo>
                        <a:pt x="1088" y="28938"/>
                      </a:lnTo>
                      <a:lnTo>
                        <a:pt x="1109" y="29043"/>
                      </a:lnTo>
                      <a:lnTo>
                        <a:pt x="1088" y="29126"/>
                      </a:lnTo>
                      <a:lnTo>
                        <a:pt x="1172" y="29252"/>
                      </a:lnTo>
                      <a:lnTo>
                        <a:pt x="1193" y="29294"/>
                      </a:lnTo>
                      <a:lnTo>
                        <a:pt x="1256" y="29461"/>
                      </a:lnTo>
                      <a:lnTo>
                        <a:pt x="1318" y="29566"/>
                      </a:lnTo>
                      <a:lnTo>
                        <a:pt x="1360" y="29712"/>
                      </a:lnTo>
                      <a:lnTo>
                        <a:pt x="1402" y="29712"/>
                      </a:lnTo>
                      <a:lnTo>
                        <a:pt x="1507" y="29796"/>
                      </a:lnTo>
                      <a:lnTo>
                        <a:pt x="1632" y="29712"/>
                      </a:lnTo>
                      <a:lnTo>
                        <a:pt x="1737" y="29900"/>
                      </a:lnTo>
                      <a:lnTo>
                        <a:pt x="1883" y="29817"/>
                      </a:lnTo>
                      <a:lnTo>
                        <a:pt x="2009" y="29859"/>
                      </a:lnTo>
                      <a:lnTo>
                        <a:pt x="2113" y="30026"/>
                      </a:lnTo>
                      <a:lnTo>
                        <a:pt x="2260" y="29921"/>
                      </a:lnTo>
                      <a:lnTo>
                        <a:pt x="2427" y="29880"/>
                      </a:lnTo>
                      <a:lnTo>
                        <a:pt x="2511" y="29963"/>
                      </a:lnTo>
                      <a:lnTo>
                        <a:pt x="2574" y="29963"/>
                      </a:lnTo>
                      <a:lnTo>
                        <a:pt x="2846" y="30026"/>
                      </a:lnTo>
                      <a:lnTo>
                        <a:pt x="2867" y="30172"/>
                      </a:lnTo>
                      <a:lnTo>
                        <a:pt x="2825" y="30319"/>
                      </a:lnTo>
                      <a:lnTo>
                        <a:pt x="2930" y="30424"/>
                      </a:lnTo>
                      <a:lnTo>
                        <a:pt x="2930" y="30612"/>
                      </a:lnTo>
                      <a:lnTo>
                        <a:pt x="3055" y="30737"/>
                      </a:lnTo>
                      <a:lnTo>
                        <a:pt x="3139" y="30905"/>
                      </a:lnTo>
                      <a:lnTo>
                        <a:pt x="3285" y="31114"/>
                      </a:lnTo>
                      <a:lnTo>
                        <a:pt x="3390" y="31177"/>
                      </a:lnTo>
                      <a:lnTo>
                        <a:pt x="3453" y="31365"/>
                      </a:lnTo>
                      <a:lnTo>
                        <a:pt x="3620" y="31428"/>
                      </a:lnTo>
                      <a:lnTo>
                        <a:pt x="3829" y="31595"/>
                      </a:lnTo>
                      <a:lnTo>
                        <a:pt x="3871" y="31700"/>
                      </a:lnTo>
                      <a:lnTo>
                        <a:pt x="4018" y="31805"/>
                      </a:lnTo>
                      <a:lnTo>
                        <a:pt x="3934" y="31867"/>
                      </a:lnTo>
                      <a:lnTo>
                        <a:pt x="3829" y="32056"/>
                      </a:lnTo>
                      <a:lnTo>
                        <a:pt x="3557" y="32097"/>
                      </a:lnTo>
                      <a:lnTo>
                        <a:pt x="3411" y="31993"/>
                      </a:lnTo>
                      <a:lnTo>
                        <a:pt x="3369" y="32097"/>
                      </a:lnTo>
                      <a:lnTo>
                        <a:pt x="3369" y="32223"/>
                      </a:lnTo>
                      <a:lnTo>
                        <a:pt x="3474" y="32411"/>
                      </a:lnTo>
                      <a:lnTo>
                        <a:pt x="3453" y="32579"/>
                      </a:lnTo>
                      <a:lnTo>
                        <a:pt x="3578" y="32725"/>
                      </a:lnTo>
                      <a:lnTo>
                        <a:pt x="3578" y="32893"/>
                      </a:lnTo>
                      <a:lnTo>
                        <a:pt x="3683" y="32913"/>
                      </a:lnTo>
                      <a:lnTo>
                        <a:pt x="3808" y="32893"/>
                      </a:lnTo>
                      <a:lnTo>
                        <a:pt x="3808" y="32746"/>
                      </a:lnTo>
                      <a:lnTo>
                        <a:pt x="3892" y="32683"/>
                      </a:lnTo>
                      <a:lnTo>
                        <a:pt x="4185" y="32788"/>
                      </a:lnTo>
                      <a:lnTo>
                        <a:pt x="4457" y="32788"/>
                      </a:lnTo>
                      <a:lnTo>
                        <a:pt x="4624" y="32704"/>
                      </a:lnTo>
                      <a:lnTo>
                        <a:pt x="4750" y="32704"/>
                      </a:lnTo>
                      <a:lnTo>
                        <a:pt x="4834" y="32955"/>
                      </a:lnTo>
                      <a:lnTo>
                        <a:pt x="4959" y="33060"/>
                      </a:lnTo>
                      <a:lnTo>
                        <a:pt x="4875" y="33206"/>
                      </a:lnTo>
                      <a:lnTo>
                        <a:pt x="5043" y="33416"/>
                      </a:lnTo>
                      <a:lnTo>
                        <a:pt x="5357" y="33353"/>
                      </a:lnTo>
                      <a:lnTo>
                        <a:pt x="5461" y="33457"/>
                      </a:lnTo>
                      <a:lnTo>
                        <a:pt x="5482" y="33583"/>
                      </a:lnTo>
                      <a:lnTo>
                        <a:pt x="5587" y="33625"/>
                      </a:lnTo>
                      <a:lnTo>
                        <a:pt x="5587" y="33771"/>
                      </a:lnTo>
                      <a:lnTo>
                        <a:pt x="5650" y="33960"/>
                      </a:lnTo>
                      <a:lnTo>
                        <a:pt x="5901" y="34211"/>
                      </a:lnTo>
                      <a:lnTo>
                        <a:pt x="6005" y="34106"/>
                      </a:lnTo>
                      <a:lnTo>
                        <a:pt x="6173" y="34190"/>
                      </a:lnTo>
                      <a:lnTo>
                        <a:pt x="6298" y="34169"/>
                      </a:lnTo>
                      <a:lnTo>
                        <a:pt x="6424" y="34190"/>
                      </a:lnTo>
                      <a:lnTo>
                        <a:pt x="6612" y="34043"/>
                      </a:lnTo>
                      <a:lnTo>
                        <a:pt x="6696" y="34043"/>
                      </a:lnTo>
                      <a:lnTo>
                        <a:pt x="6821" y="34315"/>
                      </a:lnTo>
                      <a:lnTo>
                        <a:pt x="7010" y="34420"/>
                      </a:lnTo>
                      <a:lnTo>
                        <a:pt x="7051" y="34525"/>
                      </a:lnTo>
                      <a:lnTo>
                        <a:pt x="7135" y="34462"/>
                      </a:lnTo>
                      <a:lnTo>
                        <a:pt x="7344" y="34504"/>
                      </a:lnTo>
                      <a:lnTo>
                        <a:pt x="7491" y="34504"/>
                      </a:lnTo>
                      <a:lnTo>
                        <a:pt x="7595" y="34587"/>
                      </a:lnTo>
                      <a:lnTo>
                        <a:pt x="7742" y="34566"/>
                      </a:lnTo>
                      <a:lnTo>
                        <a:pt x="7888" y="34671"/>
                      </a:lnTo>
                      <a:lnTo>
                        <a:pt x="8077" y="34692"/>
                      </a:lnTo>
                      <a:lnTo>
                        <a:pt x="8160" y="34608"/>
                      </a:lnTo>
                      <a:lnTo>
                        <a:pt x="8202" y="34734"/>
                      </a:lnTo>
                      <a:lnTo>
                        <a:pt x="8286" y="34797"/>
                      </a:lnTo>
                      <a:lnTo>
                        <a:pt x="8286" y="34943"/>
                      </a:lnTo>
                      <a:lnTo>
                        <a:pt x="8181" y="35090"/>
                      </a:lnTo>
                      <a:lnTo>
                        <a:pt x="8056" y="35110"/>
                      </a:lnTo>
                      <a:lnTo>
                        <a:pt x="8014" y="35362"/>
                      </a:lnTo>
                      <a:lnTo>
                        <a:pt x="8181" y="35466"/>
                      </a:lnTo>
                      <a:lnTo>
                        <a:pt x="8202" y="35634"/>
                      </a:lnTo>
                      <a:lnTo>
                        <a:pt x="8119" y="35843"/>
                      </a:lnTo>
                      <a:lnTo>
                        <a:pt x="8160" y="35989"/>
                      </a:lnTo>
                      <a:lnTo>
                        <a:pt x="8056" y="36073"/>
                      </a:lnTo>
                      <a:lnTo>
                        <a:pt x="7763" y="36094"/>
                      </a:lnTo>
                      <a:lnTo>
                        <a:pt x="7637" y="36303"/>
                      </a:lnTo>
                      <a:lnTo>
                        <a:pt x="7554" y="36345"/>
                      </a:lnTo>
                      <a:lnTo>
                        <a:pt x="7533" y="36596"/>
                      </a:lnTo>
                      <a:lnTo>
                        <a:pt x="7554" y="36596"/>
                      </a:lnTo>
                      <a:lnTo>
                        <a:pt x="7658" y="36617"/>
                      </a:lnTo>
                      <a:lnTo>
                        <a:pt x="7784" y="36554"/>
                      </a:lnTo>
                      <a:lnTo>
                        <a:pt x="7951" y="36512"/>
                      </a:lnTo>
                      <a:lnTo>
                        <a:pt x="7972" y="36575"/>
                      </a:lnTo>
                      <a:lnTo>
                        <a:pt x="7951" y="36659"/>
                      </a:lnTo>
                      <a:lnTo>
                        <a:pt x="7637" y="36805"/>
                      </a:lnTo>
                      <a:lnTo>
                        <a:pt x="7491" y="36889"/>
                      </a:lnTo>
                      <a:lnTo>
                        <a:pt x="7554" y="36931"/>
                      </a:lnTo>
                      <a:lnTo>
                        <a:pt x="7637" y="36931"/>
                      </a:lnTo>
                      <a:lnTo>
                        <a:pt x="7554" y="37014"/>
                      </a:lnTo>
                      <a:lnTo>
                        <a:pt x="7428" y="36994"/>
                      </a:lnTo>
                      <a:lnTo>
                        <a:pt x="7240" y="37014"/>
                      </a:lnTo>
                      <a:lnTo>
                        <a:pt x="7323" y="37203"/>
                      </a:lnTo>
                      <a:lnTo>
                        <a:pt x="7386" y="37286"/>
                      </a:lnTo>
                      <a:lnTo>
                        <a:pt x="7449" y="37224"/>
                      </a:lnTo>
                      <a:lnTo>
                        <a:pt x="7470" y="37286"/>
                      </a:lnTo>
                      <a:lnTo>
                        <a:pt x="7575" y="37307"/>
                      </a:lnTo>
                      <a:lnTo>
                        <a:pt x="7575" y="37349"/>
                      </a:lnTo>
                      <a:lnTo>
                        <a:pt x="7491" y="37391"/>
                      </a:lnTo>
                      <a:lnTo>
                        <a:pt x="7449" y="37454"/>
                      </a:lnTo>
                      <a:lnTo>
                        <a:pt x="7365" y="37454"/>
                      </a:lnTo>
                      <a:lnTo>
                        <a:pt x="7323" y="37517"/>
                      </a:lnTo>
                      <a:lnTo>
                        <a:pt x="7323" y="37559"/>
                      </a:lnTo>
                      <a:lnTo>
                        <a:pt x="7177" y="37705"/>
                      </a:lnTo>
                      <a:lnTo>
                        <a:pt x="7177" y="37831"/>
                      </a:lnTo>
                      <a:lnTo>
                        <a:pt x="7240" y="37851"/>
                      </a:lnTo>
                      <a:lnTo>
                        <a:pt x="7219" y="38019"/>
                      </a:lnTo>
                      <a:lnTo>
                        <a:pt x="7114" y="37977"/>
                      </a:lnTo>
                      <a:lnTo>
                        <a:pt x="7072" y="38019"/>
                      </a:lnTo>
                      <a:lnTo>
                        <a:pt x="6968" y="37935"/>
                      </a:lnTo>
                      <a:lnTo>
                        <a:pt x="6842" y="37914"/>
                      </a:lnTo>
                      <a:lnTo>
                        <a:pt x="6842" y="37956"/>
                      </a:lnTo>
                      <a:lnTo>
                        <a:pt x="6905" y="38040"/>
                      </a:lnTo>
                      <a:lnTo>
                        <a:pt x="6821" y="38061"/>
                      </a:lnTo>
                      <a:lnTo>
                        <a:pt x="6738" y="38144"/>
                      </a:lnTo>
                      <a:lnTo>
                        <a:pt x="6863" y="38165"/>
                      </a:lnTo>
                      <a:lnTo>
                        <a:pt x="6947" y="38165"/>
                      </a:lnTo>
                      <a:lnTo>
                        <a:pt x="7114" y="38291"/>
                      </a:lnTo>
                      <a:lnTo>
                        <a:pt x="7114" y="38375"/>
                      </a:lnTo>
                      <a:lnTo>
                        <a:pt x="7240" y="38500"/>
                      </a:lnTo>
                      <a:lnTo>
                        <a:pt x="7449" y="38479"/>
                      </a:lnTo>
                      <a:lnTo>
                        <a:pt x="7679" y="38605"/>
                      </a:lnTo>
                      <a:lnTo>
                        <a:pt x="7847" y="38647"/>
                      </a:lnTo>
                      <a:lnTo>
                        <a:pt x="8202" y="38898"/>
                      </a:lnTo>
                      <a:lnTo>
                        <a:pt x="8286" y="39023"/>
                      </a:lnTo>
                      <a:lnTo>
                        <a:pt x="8391" y="39065"/>
                      </a:lnTo>
                      <a:lnTo>
                        <a:pt x="8412" y="39128"/>
                      </a:lnTo>
                      <a:lnTo>
                        <a:pt x="8516" y="39211"/>
                      </a:lnTo>
                      <a:lnTo>
                        <a:pt x="8600" y="39211"/>
                      </a:lnTo>
                      <a:lnTo>
                        <a:pt x="8621" y="39295"/>
                      </a:lnTo>
                      <a:lnTo>
                        <a:pt x="8725" y="39337"/>
                      </a:lnTo>
                      <a:lnTo>
                        <a:pt x="8788" y="39337"/>
                      </a:lnTo>
                      <a:lnTo>
                        <a:pt x="8893" y="39483"/>
                      </a:lnTo>
                      <a:lnTo>
                        <a:pt x="8997" y="39504"/>
                      </a:lnTo>
                      <a:lnTo>
                        <a:pt x="9039" y="39525"/>
                      </a:lnTo>
                      <a:lnTo>
                        <a:pt x="9102" y="39504"/>
                      </a:lnTo>
                      <a:lnTo>
                        <a:pt x="9248" y="39630"/>
                      </a:lnTo>
                      <a:lnTo>
                        <a:pt x="9248" y="39714"/>
                      </a:lnTo>
                      <a:lnTo>
                        <a:pt x="9374" y="39735"/>
                      </a:lnTo>
                      <a:lnTo>
                        <a:pt x="9520" y="39923"/>
                      </a:lnTo>
                      <a:lnTo>
                        <a:pt x="9583" y="40007"/>
                      </a:lnTo>
                      <a:lnTo>
                        <a:pt x="9625" y="40237"/>
                      </a:lnTo>
                      <a:lnTo>
                        <a:pt x="9730" y="40425"/>
                      </a:lnTo>
                      <a:lnTo>
                        <a:pt x="9688" y="40488"/>
                      </a:lnTo>
                      <a:lnTo>
                        <a:pt x="9730" y="40572"/>
                      </a:lnTo>
                      <a:cubicBezTo>
                        <a:pt x="9939" y="40572"/>
                        <a:pt x="10483" y="40572"/>
                        <a:pt x="10462" y="40446"/>
                      </a:cubicBezTo>
                      <a:lnTo>
                        <a:pt x="10420" y="40279"/>
                      </a:lnTo>
                      <a:lnTo>
                        <a:pt x="11090" y="40258"/>
                      </a:lnTo>
                      <a:cubicBezTo>
                        <a:pt x="11090" y="40258"/>
                        <a:pt x="11215" y="40383"/>
                        <a:pt x="11320" y="40383"/>
                      </a:cubicBezTo>
                      <a:cubicBezTo>
                        <a:pt x="11425" y="40383"/>
                        <a:pt x="11948" y="40153"/>
                        <a:pt x="11948" y="40153"/>
                      </a:cubicBezTo>
                      <a:cubicBezTo>
                        <a:pt x="11948" y="40153"/>
                        <a:pt x="12073" y="40174"/>
                        <a:pt x="12136" y="40279"/>
                      </a:cubicBezTo>
                      <a:cubicBezTo>
                        <a:pt x="12159" y="40337"/>
                        <a:pt x="12208" y="40350"/>
                        <a:pt x="12254" y="40350"/>
                      </a:cubicBezTo>
                      <a:cubicBezTo>
                        <a:pt x="12291" y="40350"/>
                        <a:pt x="12327" y="40341"/>
                        <a:pt x="12345" y="40341"/>
                      </a:cubicBezTo>
                      <a:lnTo>
                        <a:pt x="12345" y="40320"/>
                      </a:lnTo>
                      <a:lnTo>
                        <a:pt x="12492" y="40341"/>
                      </a:lnTo>
                      <a:lnTo>
                        <a:pt x="12764" y="40551"/>
                      </a:lnTo>
                      <a:lnTo>
                        <a:pt x="12826" y="40676"/>
                      </a:lnTo>
                      <a:lnTo>
                        <a:pt x="13098" y="40697"/>
                      </a:lnTo>
                      <a:lnTo>
                        <a:pt x="13140" y="40592"/>
                      </a:lnTo>
                      <a:lnTo>
                        <a:pt x="13308" y="40488"/>
                      </a:lnTo>
                      <a:lnTo>
                        <a:pt x="13496" y="40258"/>
                      </a:lnTo>
                      <a:lnTo>
                        <a:pt x="13433" y="40237"/>
                      </a:lnTo>
                      <a:lnTo>
                        <a:pt x="13119" y="39965"/>
                      </a:lnTo>
                      <a:lnTo>
                        <a:pt x="12910" y="39714"/>
                      </a:lnTo>
                      <a:lnTo>
                        <a:pt x="12889" y="39546"/>
                      </a:lnTo>
                      <a:lnTo>
                        <a:pt x="12805" y="39442"/>
                      </a:lnTo>
                      <a:lnTo>
                        <a:pt x="12805" y="39295"/>
                      </a:lnTo>
                      <a:lnTo>
                        <a:pt x="12785" y="39211"/>
                      </a:lnTo>
                      <a:lnTo>
                        <a:pt x="12764" y="39170"/>
                      </a:lnTo>
                      <a:lnTo>
                        <a:pt x="12680" y="39170"/>
                      </a:lnTo>
                      <a:lnTo>
                        <a:pt x="12680" y="39065"/>
                      </a:lnTo>
                      <a:lnTo>
                        <a:pt x="12722" y="39086"/>
                      </a:lnTo>
                      <a:lnTo>
                        <a:pt x="12764" y="38981"/>
                      </a:lnTo>
                      <a:lnTo>
                        <a:pt x="12805" y="38877"/>
                      </a:lnTo>
                      <a:lnTo>
                        <a:pt x="12722" y="38877"/>
                      </a:lnTo>
                      <a:lnTo>
                        <a:pt x="12680" y="38919"/>
                      </a:lnTo>
                      <a:lnTo>
                        <a:pt x="12554" y="38856"/>
                      </a:lnTo>
                      <a:lnTo>
                        <a:pt x="12554" y="38667"/>
                      </a:lnTo>
                      <a:lnTo>
                        <a:pt x="12450" y="38647"/>
                      </a:lnTo>
                      <a:lnTo>
                        <a:pt x="12366" y="38563"/>
                      </a:lnTo>
                      <a:lnTo>
                        <a:pt x="12282" y="38584"/>
                      </a:lnTo>
                      <a:lnTo>
                        <a:pt x="12178" y="38584"/>
                      </a:lnTo>
                      <a:lnTo>
                        <a:pt x="12136" y="38375"/>
                      </a:lnTo>
                      <a:lnTo>
                        <a:pt x="12157" y="38270"/>
                      </a:lnTo>
                      <a:lnTo>
                        <a:pt x="12199" y="38228"/>
                      </a:lnTo>
                      <a:lnTo>
                        <a:pt x="12199" y="38019"/>
                      </a:lnTo>
                      <a:lnTo>
                        <a:pt x="12261" y="37914"/>
                      </a:lnTo>
                      <a:lnTo>
                        <a:pt x="12282" y="37768"/>
                      </a:lnTo>
                      <a:lnTo>
                        <a:pt x="12345" y="37726"/>
                      </a:lnTo>
                      <a:lnTo>
                        <a:pt x="12366" y="37600"/>
                      </a:lnTo>
                      <a:lnTo>
                        <a:pt x="12408" y="37517"/>
                      </a:lnTo>
                      <a:lnTo>
                        <a:pt x="12408" y="37433"/>
                      </a:lnTo>
                      <a:lnTo>
                        <a:pt x="12471" y="37454"/>
                      </a:lnTo>
                      <a:lnTo>
                        <a:pt x="12513" y="37517"/>
                      </a:lnTo>
                      <a:lnTo>
                        <a:pt x="12575" y="37496"/>
                      </a:lnTo>
                      <a:lnTo>
                        <a:pt x="12596" y="37412"/>
                      </a:lnTo>
                      <a:lnTo>
                        <a:pt x="12659" y="37454"/>
                      </a:lnTo>
                      <a:lnTo>
                        <a:pt x="12701" y="37412"/>
                      </a:lnTo>
                      <a:lnTo>
                        <a:pt x="12785" y="37412"/>
                      </a:lnTo>
                      <a:lnTo>
                        <a:pt x="12868" y="37349"/>
                      </a:lnTo>
                      <a:lnTo>
                        <a:pt x="12826" y="37307"/>
                      </a:lnTo>
                      <a:lnTo>
                        <a:pt x="12764" y="37286"/>
                      </a:lnTo>
                      <a:lnTo>
                        <a:pt x="12805" y="37286"/>
                      </a:lnTo>
                      <a:cubicBezTo>
                        <a:pt x="12805" y="37286"/>
                        <a:pt x="12826" y="37307"/>
                        <a:pt x="12868" y="37307"/>
                      </a:cubicBezTo>
                      <a:cubicBezTo>
                        <a:pt x="12889" y="37307"/>
                        <a:pt x="12931" y="37286"/>
                        <a:pt x="12931" y="37286"/>
                      </a:cubicBezTo>
                      <a:lnTo>
                        <a:pt x="12994" y="37328"/>
                      </a:lnTo>
                      <a:lnTo>
                        <a:pt x="13036" y="37307"/>
                      </a:lnTo>
                      <a:lnTo>
                        <a:pt x="13015" y="37245"/>
                      </a:lnTo>
                      <a:lnTo>
                        <a:pt x="12847" y="37140"/>
                      </a:lnTo>
                      <a:lnTo>
                        <a:pt x="12931" y="37119"/>
                      </a:lnTo>
                      <a:lnTo>
                        <a:pt x="13036" y="37140"/>
                      </a:lnTo>
                      <a:lnTo>
                        <a:pt x="13098" y="37119"/>
                      </a:lnTo>
                      <a:lnTo>
                        <a:pt x="13161" y="37140"/>
                      </a:lnTo>
                      <a:lnTo>
                        <a:pt x="13161" y="37077"/>
                      </a:lnTo>
                      <a:lnTo>
                        <a:pt x="13119" y="37035"/>
                      </a:lnTo>
                      <a:lnTo>
                        <a:pt x="13161" y="37035"/>
                      </a:lnTo>
                      <a:lnTo>
                        <a:pt x="13161" y="36994"/>
                      </a:lnTo>
                      <a:lnTo>
                        <a:pt x="13119" y="36931"/>
                      </a:lnTo>
                      <a:lnTo>
                        <a:pt x="13203" y="36910"/>
                      </a:lnTo>
                      <a:lnTo>
                        <a:pt x="13203" y="36868"/>
                      </a:lnTo>
                      <a:lnTo>
                        <a:pt x="13203" y="36805"/>
                      </a:lnTo>
                      <a:lnTo>
                        <a:pt x="13057" y="36722"/>
                      </a:lnTo>
                      <a:lnTo>
                        <a:pt x="12910" y="36784"/>
                      </a:lnTo>
                      <a:lnTo>
                        <a:pt x="12701" y="36659"/>
                      </a:lnTo>
                      <a:lnTo>
                        <a:pt x="12701" y="36554"/>
                      </a:lnTo>
                      <a:lnTo>
                        <a:pt x="12910" y="36554"/>
                      </a:lnTo>
                      <a:lnTo>
                        <a:pt x="12680" y="36157"/>
                      </a:lnTo>
                      <a:lnTo>
                        <a:pt x="12408" y="35885"/>
                      </a:lnTo>
                      <a:lnTo>
                        <a:pt x="12052" y="35780"/>
                      </a:lnTo>
                      <a:lnTo>
                        <a:pt x="11989" y="35864"/>
                      </a:lnTo>
                      <a:lnTo>
                        <a:pt x="11822" y="35717"/>
                      </a:lnTo>
                      <a:lnTo>
                        <a:pt x="11843" y="35634"/>
                      </a:lnTo>
                      <a:lnTo>
                        <a:pt x="11738" y="35466"/>
                      </a:lnTo>
                      <a:lnTo>
                        <a:pt x="11508" y="35403"/>
                      </a:lnTo>
                      <a:lnTo>
                        <a:pt x="11571" y="35194"/>
                      </a:lnTo>
                      <a:lnTo>
                        <a:pt x="11634" y="34818"/>
                      </a:lnTo>
                      <a:lnTo>
                        <a:pt x="11550" y="34734"/>
                      </a:lnTo>
                      <a:lnTo>
                        <a:pt x="11529" y="34462"/>
                      </a:lnTo>
                      <a:lnTo>
                        <a:pt x="11634" y="34399"/>
                      </a:lnTo>
                      <a:lnTo>
                        <a:pt x="11780" y="34211"/>
                      </a:lnTo>
                      <a:lnTo>
                        <a:pt x="11780" y="34064"/>
                      </a:lnTo>
                      <a:lnTo>
                        <a:pt x="11864" y="33960"/>
                      </a:lnTo>
                      <a:lnTo>
                        <a:pt x="12178" y="34253"/>
                      </a:lnTo>
                      <a:lnTo>
                        <a:pt x="12199" y="34357"/>
                      </a:lnTo>
                      <a:lnTo>
                        <a:pt x="12387" y="34462"/>
                      </a:lnTo>
                      <a:lnTo>
                        <a:pt x="12575" y="34420"/>
                      </a:lnTo>
                      <a:lnTo>
                        <a:pt x="12554" y="34253"/>
                      </a:lnTo>
                      <a:lnTo>
                        <a:pt x="12617" y="34190"/>
                      </a:lnTo>
                      <a:lnTo>
                        <a:pt x="12492" y="33729"/>
                      </a:lnTo>
                      <a:lnTo>
                        <a:pt x="12680" y="33688"/>
                      </a:lnTo>
                      <a:lnTo>
                        <a:pt x="12868" y="33688"/>
                      </a:lnTo>
                      <a:lnTo>
                        <a:pt x="12868" y="33562"/>
                      </a:lnTo>
                      <a:lnTo>
                        <a:pt x="12785" y="33457"/>
                      </a:lnTo>
                      <a:lnTo>
                        <a:pt x="12805" y="33332"/>
                      </a:lnTo>
                      <a:lnTo>
                        <a:pt x="12994" y="33227"/>
                      </a:lnTo>
                      <a:lnTo>
                        <a:pt x="13077" y="33227"/>
                      </a:lnTo>
                      <a:lnTo>
                        <a:pt x="13119" y="33060"/>
                      </a:lnTo>
                      <a:lnTo>
                        <a:pt x="13203" y="32997"/>
                      </a:lnTo>
                      <a:lnTo>
                        <a:pt x="13329" y="33018"/>
                      </a:lnTo>
                      <a:lnTo>
                        <a:pt x="13349" y="32913"/>
                      </a:lnTo>
                      <a:lnTo>
                        <a:pt x="13329" y="32809"/>
                      </a:lnTo>
                      <a:lnTo>
                        <a:pt x="13349" y="32725"/>
                      </a:lnTo>
                      <a:lnTo>
                        <a:pt x="13538" y="32830"/>
                      </a:lnTo>
                      <a:lnTo>
                        <a:pt x="13663" y="32893"/>
                      </a:lnTo>
                      <a:lnTo>
                        <a:pt x="13642" y="32955"/>
                      </a:lnTo>
                      <a:lnTo>
                        <a:pt x="13559" y="33060"/>
                      </a:lnTo>
                      <a:lnTo>
                        <a:pt x="13621" y="33123"/>
                      </a:lnTo>
                      <a:lnTo>
                        <a:pt x="13726" y="33060"/>
                      </a:lnTo>
                      <a:lnTo>
                        <a:pt x="13747" y="32997"/>
                      </a:lnTo>
                      <a:lnTo>
                        <a:pt x="13831" y="32934"/>
                      </a:lnTo>
                      <a:lnTo>
                        <a:pt x="13831" y="33039"/>
                      </a:lnTo>
                      <a:lnTo>
                        <a:pt x="13914" y="32955"/>
                      </a:lnTo>
                      <a:lnTo>
                        <a:pt x="13935" y="32893"/>
                      </a:lnTo>
                      <a:lnTo>
                        <a:pt x="14040" y="32893"/>
                      </a:lnTo>
                      <a:lnTo>
                        <a:pt x="14165" y="32809"/>
                      </a:lnTo>
                      <a:lnTo>
                        <a:pt x="14270" y="32809"/>
                      </a:lnTo>
                      <a:lnTo>
                        <a:pt x="14312" y="32955"/>
                      </a:lnTo>
                      <a:lnTo>
                        <a:pt x="14458" y="33039"/>
                      </a:lnTo>
                      <a:lnTo>
                        <a:pt x="14668" y="32955"/>
                      </a:lnTo>
                      <a:lnTo>
                        <a:pt x="14772" y="32955"/>
                      </a:lnTo>
                      <a:lnTo>
                        <a:pt x="14814" y="33039"/>
                      </a:lnTo>
                      <a:lnTo>
                        <a:pt x="14898" y="33039"/>
                      </a:lnTo>
                      <a:lnTo>
                        <a:pt x="15002" y="33206"/>
                      </a:lnTo>
                      <a:lnTo>
                        <a:pt x="15128" y="33206"/>
                      </a:lnTo>
                      <a:lnTo>
                        <a:pt x="15233" y="33332"/>
                      </a:lnTo>
                      <a:lnTo>
                        <a:pt x="15400" y="33457"/>
                      </a:lnTo>
                      <a:lnTo>
                        <a:pt x="15463" y="33457"/>
                      </a:lnTo>
                      <a:lnTo>
                        <a:pt x="15526" y="33541"/>
                      </a:lnTo>
                      <a:lnTo>
                        <a:pt x="15526" y="33667"/>
                      </a:lnTo>
                      <a:lnTo>
                        <a:pt x="15609" y="33688"/>
                      </a:lnTo>
                      <a:lnTo>
                        <a:pt x="15672" y="33583"/>
                      </a:lnTo>
                      <a:lnTo>
                        <a:pt x="15672" y="33437"/>
                      </a:lnTo>
                      <a:lnTo>
                        <a:pt x="15777" y="33353"/>
                      </a:lnTo>
                      <a:lnTo>
                        <a:pt x="15860" y="33457"/>
                      </a:lnTo>
                      <a:lnTo>
                        <a:pt x="16070" y="33478"/>
                      </a:lnTo>
                      <a:lnTo>
                        <a:pt x="16153" y="33583"/>
                      </a:lnTo>
                      <a:lnTo>
                        <a:pt x="16258" y="33625"/>
                      </a:lnTo>
                      <a:lnTo>
                        <a:pt x="16383" y="33520"/>
                      </a:lnTo>
                      <a:lnTo>
                        <a:pt x="16383" y="33311"/>
                      </a:lnTo>
                      <a:lnTo>
                        <a:pt x="16509" y="33311"/>
                      </a:lnTo>
                      <a:lnTo>
                        <a:pt x="16509" y="33206"/>
                      </a:lnTo>
                      <a:lnTo>
                        <a:pt x="16614" y="33165"/>
                      </a:lnTo>
                      <a:lnTo>
                        <a:pt x="16697" y="33248"/>
                      </a:lnTo>
                      <a:lnTo>
                        <a:pt x="16760" y="33144"/>
                      </a:lnTo>
                      <a:lnTo>
                        <a:pt x="16886" y="33123"/>
                      </a:lnTo>
                      <a:lnTo>
                        <a:pt x="17032" y="33269"/>
                      </a:lnTo>
                      <a:lnTo>
                        <a:pt x="17074" y="33332"/>
                      </a:lnTo>
                      <a:lnTo>
                        <a:pt x="17220" y="33311"/>
                      </a:lnTo>
                      <a:lnTo>
                        <a:pt x="17199" y="33165"/>
                      </a:lnTo>
                      <a:lnTo>
                        <a:pt x="17283" y="33144"/>
                      </a:lnTo>
                      <a:lnTo>
                        <a:pt x="17409" y="33144"/>
                      </a:lnTo>
                      <a:lnTo>
                        <a:pt x="17451" y="33060"/>
                      </a:lnTo>
                      <a:lnTo>
                        <a:pt x="17597" y="33144"/>
                      </a:lnTo>
                      <a:lnTo>
                        <a:pt x="17660" y="33206"/>
                      </a:lnTo>
                      <a:lnTo>
                        <a:pt x="17639" y="33269"/>
                      </a:lnTo>
                      <a:lnTo>
                        <a:pt x="17555" y="33332"/>
                      </a:lnTo>
                      <a:lnTo>
                        <a:pt x="17660" y="33457"/>
                      </a:lnTo>
                      <a:lnTo>
                        <a:pt x="17764" y="33478"/>
                      </a:lnTo>
                      <a:lnTo>
                        <a:pt x="17827" y="33457"/>
                      </a:lnTo>
                      <a:lnTo>
                        <a:pt x="17911" y="33520"/>
                      </a:lnTo>
                      <a:lnTo>
                        <a:pt x="18078" y="33520"/>
                      </a:lnTo>
                      <a:lnTo>
                        <a:pt x="18287" y="33625"/>
                      </a:lnTo>
                      <a:lnTo>
                        <a:pt x="18434" y="33583"/>
                      </a:lnTo>
                      <a:lnTo>
                        <a:pt x="18476" y="33457"/>
                      </a:lnTo>
                      <a:lnTo>
                        <a:pt x="18476" y="33353"/>
                      </a:lnTo>
                      <a:lnTo>
                        <a:pt x="18539" y="33311"/>
                      </a:lnTo>
                      <a:lnTo>
                        <a:pt x="18706" y="33416"/>
                      </a:lnTo>
                      <a:lnTo>
                        <a:pt x="18873" y="33437"/>
                      </a:lnTo>
                      <a:lnTo>
                        <a:pt x="19062" y="33353"/>
                      </a:lnTo>
                      <a:lnTo>
                        <a:pt x="19103" y="33248"/>
                      </a:lnTo>
                      <a:lnTo>
                        <a:pt x="19083" y="32809"/>
                      </a:lnTo>
                      <a:lnTo>
                        <a:pt x="19020" y="32746"/>
                      </a:lnTo>
                      <a:lnTo>
                        <a:pt x="18852" y="32746"/>
                      </a:lnTo>
                      <a:lnTo>
                        <a:pt x="18748" y="32683"/>
                      </a:lnTo>
                      <a:lnTo>
                        <a:pt x="18706" y="32621"/>
                      </a:lnTo>
                      <a:lnTo>
                        <a:pt x="18580" y="32600"/>
                      </a:lnTo>
                      <a:lnTo>
                        <a:pt x="18497" y="32516"/>
                      </a:lnTo>
                      <a:lnTo>
                        <a:pt x="18371" y="32516"/>
                      </a:lnTo>
                      <a:lnTo>
                        <a:pt x="18371" y="32432"/>
                      </a:lnTo>
                      <a:lnTo>
                        <a:pt x="18350" y="32369"/>
                      </a:lnTo>
                      <a:lnTo>
                        <a:pt x="18371" y="32307"/>
                      </a:lnTo>
                      <a:lnTo>
                        <a:pt x="18476" y="32307"/>
                      </a:lnTo>
                      <a:lnTo>
                        <a:pt x="18497" y="32181"/>
                      </a:lnTo>
                      <a:lnTo>
                        <a:pt x="18580" y="32077"/>
                      </a:lnTo>
                      <a:lnTo>
                        <a:pt x="18559" y="31951"/>
                      </a:lnTo>
                      <a:lnTo>
                        <a:pt x="18476" y="31951"/>
                      </a:lnTo>
                      <a:lnTo>
                        <a:pt x="18476" y="31805"/>
                      </a:lnTo>
                      <a:lnTo>
                        <a:pt x="18601" y="31637"/>
                      </a:lnTo>
                      <a:lnTo>
                        <a:pt x="18748" y="31491"/>
                      </a:lnTo>
                      <a:lnTo>
                        <a:pt x="18978" y="31470"/>
                      </a:lnTo>
                      <a:lnTo>
                        <a:pt x="19083" y="31491"/>
                      </a:lnTo>
                      <a:lnTo>
                        <a:pt x="19166" y="31449"/>
                      </a:lnTo>
                      <a:lnTo>
                        <a:pt x="19166" y="31344"/>
                      </a:lnTo>
                      <a:lnTo>
                        <a:pt x="19062" y="31323"/>
                      </a:lnTo>
                      <a:lnTo>
                        <a:pt x="18978" y="31219"/>
                      </a:lnTo>
                      <a:lnTo>
                        <a:pt x="18873" y="31219"/>
                      </a:lnTo>
                      <a:lnTo>
                        <a:pt x="18790" y="31260"/>
                      </a:lnTo>
                      <a:lnTo>
                        <a:pt x="18685" y="31219"/>
                      </a:lnTo>
                      <a:lnTo>
                        <a:pt x="18539" y="31219"/>
                      </a:lnTo>
                      <a:lnTo>
                        <a:pt x="18539" y="31135"/>
                      </a:lnTo>
                      <a:lnTo>
                        <a:pt x="18580" y="31072"/>
                      </a:lnTo>
                      <a:lnTo>
                        <a:pt x="18748" y="31072"/>
                      </a:lnTo>
                      <a:lnTo>
                        <a:pt x="18685" y="30947"/>
                      </a:lnTo>
                      <a:lnTo>
                        <a:pt x="18539" y="30968"/>
                      </a:lnTo>
                      <a:lnTo>
                        <a:pt x="18434" y="30947"/>
                      </a:lnTo>
                      <a:lnTo>
                        <a:pt x="18476" y="30905"/>
                      </a:lnTo>
                      <a:lnTo>
                        <a:pt x="18434" y="30758"/>
                      </a:lnTo>
                      <a:lnTo>
                        <a:pt x="18476" y="30737"/>
                      </a:lnTo>
                      <a:lnTo>
                        <a:pt x="18601" y="30737"/>
                      </a:lnTo>
                      <a:lnTo>
                        <a:pt x="18664" y="30654"/>
                      </a:lnTo>
                      <a:lnTo>
                        <a:pt x="18748" y="30654"/>
                      </a:lnTo>
                      <a:lnTo>
                        <a:pt x="18769" y="30716"/>
                      </a:lnTo>
                      <a:lnTo>
                        <a:pt x="18894" y="30696"/>
                      </a:lnTo>
                      <a:lnTo>
                        <a:pt x="18999" y="30758"/>
                      </a:lnTo>
                      <a:lnTo>
                        <a:pt x="19062" y="30716"/>
                      </a:lnTo>
                      <a:lnTo>
                        <a:pt x="19062" y="30633"/>
                      </a:lnTo>
                      <a:lnTo>
                        <a:pt x="19166" y="30591"/>
                      </a:lnTo>
                      <a:lnTo>
                        <a:pt x="19271" y="30591"/>
                      </a:lnTo>
                      <a:lnTo>
                        <a:pt x="19334" y="30696"/>
                      </a:lnTo>
                      <a:lnTo>
                        <a:pt x="19396" y="30612"/>
                      </a:lnTo>
                      <a:lnTo>
                        <a:pt x="19396" y="30528"/>
                      </a:lnTo>
                      <a:lnTo>
                        <a:pt x="19606" y="30486"/>
                      </a:lnTo>
                      <a:lnTo>
                        <a:pt x="19731" y="30486"/>
                      </a:lnTo>
                      <a:lnTo>
                        <a:pt x="19899" y="30403"/>
                      </a:lnTo>
                      <a:lnTo>
                        <a:pt x="20045" y="30403"/>
                      </a:lnTo>
                      <a:lnTo>
                        <a:pt x="20066" y="30340"/>
                      </a:lnTo>
                      <a:lnTo>
                        <a:pt x="20233" y="30235"/>
                      </a:lnTo>
                      <a:lnTo>
                        <a:pt x="20359" y="30235"/>
                      </a:lnTo>
                      <a:lnTo>
                        <a:pt x="20443" y="30193"/>
                      </a:lnTo>
                      <a:lnTo>
                        <a:pt x="20526" y="30193"/>
                      </a:lnTo>
                      <a:lnTo>
                        <a:pt x="20589" y="30214"/>
                      </a:lnTo>
                      <a:lnTo>
                        <a:pt x="20652" y="30172"/>
                      </a:lnTo>
                      <a:lnTo>
                        <a:pt x="20652" y="30026"/>
                      </a:lnTo>
                      <a:lnTo>
                        <a:pt x="20736" y="29984"/>
                      </a:lnTo>
                      <a:lnTo>
                        <a:pt x="20861" y="29984"/>
                      </a:lnTo>
                      <a:lnTo>
                        <a:pt x="20882" y="29900"/>
                      </a:lnTo>
                      <a:lnTo>
                        <a:pt x="20966" y="29859"/>
                      </a:lnTo>
                      <a:lnTo>
                        <a:pt x="21008" y="29900"/>
                      </a:lnTo>
                      <a:lnTo>
                        <a:pt x="21091" y="29921"/>
                      </a:lnTo>
                      <a:lnTo>
                        <a:pt x="21196" y="29880"/>
                      </a:lnTo>
                      <a:lnTo>
                        <a:pt x="21321" y="29817"/>
                      </a:lnTo>
                      <a:lnTo>
                        <a:pt x="21572" y="29670"/>
                      </a:lnTo>
                      <a:lnTo>
                        <a:pt x="21614" y="29670"/>
                      </a:lnTo>
                      <a:lnTo>
                        <a:pt x="21677" y="29649"/>
                      </a:lnTo>
                      <a:lnTo>
                        <a:pt x="21803" y="29608"/>
                      </a:lnTo>
                      <a:lnTo>
                        <a:pt x="21886" y="29503"/>
                      </a:lnTo>
                      <a:lnTo>
                        <a:pt x="21949" y="29545"/>
                      </a:lnTo>
                      <a:lnTo>
                        <a:pt x="22116" y="29503"/>
                      </a:lnTo>
                      <a:lnTo>
                        <a:pt x="22116" y="29440"/>
                      </a:lnTo>
                      <a:lnTo>
                        <a:pt x="22054" y="29356"/>
                      </a:lnTo>
                      <a:lnTo>
                        <a:pt x="22116" y="29336"/>
                      </a:lnTo>
                      <a:lnTo>
                        <a:pt x="22284" y="29336"/>
                      </a:lnTo>
                      <a:lnTo>
                        <a:pt x="22305" y="29231"/>
                      </a:lnTo>
                      <a:lnTo>
                        <a:pt x="22409" y="29168"/>
                      </a:lnTo>
                      <a:lnTo>
                        <a:pt x="22472" y="29168"/>
                      </a:lnTo>
                      <a:lnTo>
                        <a:pt x="22556" y="29147"/>
                      </a:lnTo>
                      <a:lnTo>
                        <a:pt x="22681" y="29189"/>
                      </a:lnTo>
                      <a:lnTo>
                        <a:pt x="22849" y="29168"/>
                      </a:lnTo>
                      <a:lnTo>
                        <a:pt x="22974" y="29273"/>
                      </a:lnTo>
                      <a:lnTo>
                        <a:pt x="23100" y="29273"/>
                      </a:lnTo>
                      <a:lnTo>
                        <a:pt x="23246" y="29210"/>
                      </a:lnTo>
                      <a:lnTo>
                        <a:pt x="23372" y="29210"/>
                      </a:lnTo>
                      <a:lnTo>
                        <a:pt x="23414" y="29356"/>
                      </a:lnTo>
                      <a:lnTo>
                        <a:pt x="23477" y="29377"/>
                      </a:lnTo>
                      <a:lnTo>
                        <a:pt x="23539" y="29503"/>
                      </a:lnTo>
                      <a:lnTo>
                        <a:pt x="23602" y="29608"/>
                      </a:lnTo>
                      <a:lnTo>
                        <a:pt x="23686" y="29670"/>
                      </a:lnTo>
                      <a:lnTo>
                        <a:pt x="23686" y="29712"/>
                      </a:lnTo>
                      <a:lnTo>
                        <a:pt x="23665" y="29817"/>
                      </a:lnTo>
                      <a:lnTo>
                        <a:pt x="23686" y="29921"/>
                      </a:lnTo>
                      <a:lnTo>
                        <a:pt x="23686" y="29984"/>
                      </a:lnTo>
                      <a:lnTo>
                        <a:pt x="23602" y="30005"/>
                      </a:lnTo>
                      <a:lnTo>
                        <a:pt x="23665" y="30110"/>
                      </a:lnTo>
                      <a:lnTo>
                        <a:pt x="23749" y="30152"/>
                      </a:lnTo>
                      <a:lnTo>
                        <a:pt x="23874" y="30089"/>
                      </a:lnTo>
                      <a:lnTo>
                        <a:pt x="23937" y="30152"/>
                      </a:lnTo>
                      <a:lnTo>
                        <a:pt x="24000" y="30131"/>
                      </a:lnTo>
                      <a:lnTo>
                        <a:pt x="24021" y="30026"/>
                      </a:lnTo>
                      <a:lnTo>
                        <a:pt x="24104" y="30005"/>
                      </a:lnTo>
                      <a:lnTo>
                        <a:pt x="24125" y="30110"/>
                      </a:lnTo>
                      <a:lnTo>
                        <a:pt x="24209" y="30110"/>
                      </a:lnTo>
                      <a:lnTo>
                        <a:pt x="24230" y="30026"/>
                      </a:lnTo>
                      <a:lnTo>
                        <a:pt x="24188" y="29921"/>
                      </a:lnTo>
                      <a:lnTo>
                        <a:pt x="24209" y="29900"/>
                      </a:lnTo>
                      <a:lnTo>
                        <a:pt x="24418" y="30026"/>
                      </a:lnTo>
                      <a:lnTo>
                        <a:pt x="24439" y="30214"/>
                      </a:lnTo>
                      <a:lnTo>
                        <a:pt x="24523" y="30340"/>
                      </a:lnTo>
                      <a:lnTo>
                        <a:pt x="24606" y="30340"/>
                      </a:lnTo>
                      <a:lnTo>
                        <a:pt x="24669" y="30256"/>
                      </a:lnTo>
                      <a:lnTo>
                        <a:pt x="24627" y="30235"/>
                      </a:lnTo>
                      <a:lnTo>
                        <a:pt x="24606" y="30193"/>
                      </a:lnTo>
                      <a:lnTo>
                        <a:pt x="24732" y="30152"/>
                      </a:lnTo>
                      <a:lnTo>
                        <a:pt x="24941" y="30256"/>
                      </a:lnTo>
                      <a:lnTo>
                        <a:pt x="25025" y="30256"/>
                      </a:lnTo>
                      <a:lnTo>
                        <a:pt x="25088" y="30193"/>
                      </a:lnTo>
                      <a:lnTo>
                        <a:pt x="25150" y="30214"/>
                      </a:lnTo>
                      <a:lnTo>
                        <a:pt x="25088" y="30319"/>
                      </a:lnTo>
                      <a:lnTo>
                        <a:pt x="25025" y="30361"/>
                      </a:lnTo>
                      <a:lnTo>
                        <a:pt x="25025" y="30528"/>
                      </a:lnTo>
                      <a:lnTo>
                        <a:pt x="25088" y="30633"/>
                      </a:lnTo>
                      <a:lnTo>
                        <a:pt x="25171" y="30633"/>
                      </a:lnTo>
                      <a:lnTo>
                        <a:pt x="25255" y="30549"/>
                      </a:lnTo>
                      <a:lnTo>
                        <a:pt x="25381" y="30528"/>
                      </a:lnTo>
                      <a:lnTo>
                        <a:pt x="25611" y="30570"/>
                      </a:lnTo>
                      <a:lnTo>
                        <a:pt x="25673" y="30612"/>
                      </a:lnTo>
                      <a:lnTo>
                        <a:pt x="25757" y="30549"/>
                      </a:lnTo>
                      <a:lnTo>
                        <a:pt x="25715" y="30424"/>
                      </a:lnTo>
                      <a:lnTo>
                        <a:pt x="25820" y="30361"/>
                      </a:lnTo>
                      <a:lnTo>
                        <a:pt x="25987" y="30340"/>
                      </a:lnTo>
                      <a:lnTo>
                        <a:pt x="26092" y="30256"/>
                      </a:lnTo>
                      <a:lnTo>
                        <a:pt x="26134" y="30152"/>
                      </a:lnTo>
                      <a:lnTo>
                        <a:pt x="26217" y="30089"/>
                      </a:lnTo>
                      <a:lnTo>
                        <a:pt x="26217" y="30005"/>
                      </a:lnTo>
                      <a:lnTo>
                        <a:pt x="26343" y="29880"/>
                      </a:lnTo>
                      <a:lnTo>
                        <a:pt x="26448" y="29838"/>
                      </a:lnTo>
                      <a:lnTo>
                        <a:pt x="26531" y="29733"/>
                      </a:lnTo>
                      <a:lnTo>
                        <a:pt x="26657" y="29712"/>
                      </a:lnTo>
                      <a:lnTo>
                        <a:pt x="26824" y="29670"/>
                      </a:lnTo>
                      <a:lnTo>
                        <a:pt x="26866" y="29712"/>
                      </a:lnTo>
                      <a:lnTo>
                        <a:pt x="26866" y="29817"/>
                      </a:lnTo>
                      <a:lnTo>
                        <a:pt x="27138" y="29900"/>
                      </a:lnTo>
                      <a:lnTo>
                        <a:pt x="27054" y="29921"/>
                      </a:lnTo>
                      <a:lnTo>
                        <a:pt x="27117" y="30005"/>
                      </a:lnTo>
                      <a:lnTo>
                        <a:pt x="28163" y="30800"/>
                      </a:lnTo>
                      <a:lnTo>
                        <a:pt x="29565" y="32579"/>
                      </a:lnTo>
                      <a:lnTo>
                        <a:pt x="29712" y="32537"/>
                      </a:lnTo>
                      <a:lnTo>
                        <a:pt x="29816" y="32495"/>
                      </a:lnTo>
                      <a:lnTo>
                        <a:pt x="29837" y="32411"/>
                      </a:lnTo>
                      <a:lnTo>
                        <a:pt x="29816" y="32390"/>
                      </a:lnTo>
                      <a:lnTo>
                        <a:pt x="29816" y="32265"/>
                      </a:lnTo>
                      <a:lnTo>
                        <a:pt x="29879" y="32202"/>
                      </a:lnTo>
                      <a:lnTo>
                        <a:pt x="30047" y="32286"/>
                      </a:lnTo>
                      <a:lnTo>
                        <a:pt x="30026" y="32369"/>
                      </a:lnTo>
                      <a:lnTo>
                        <a:pt x="30026" y="32432"/>
                      </a:lnTo>
                      <a:lnTo>
                        <a:pt x="30151" y="32474"/>
                      </a:lnTo>
                      <a:lnTo>
                        <a:pt x="30214" y="32537"/>
                      </a:lnTo>
                      <a:lnTo>
                        <a:pt x="30319" y="32537"/>
                      </a:lnTo>
                      <a:lnTo>
                        <a:pt x="30402" y="32495"/>
                      </a:lnTo>
                      <a:lnTo>
                        <a:pt x="30507" y="32474"/>
                      </a:lnTo>
                      <a:lnTo>
                        <a:pt x="30674" y="32537"/>
                      </a:lnTo>
                      <a:lnTo>
                        <a:pt x="30800" y="32495"/>
                      </a:lnTo>
                      <a:lnTo>
                        <a:pt x="30904" y="32516"/>
                      </a:lnTo>
                      <a:lnTo>
                        <a:pt x="31009" y="32474"/>
                      </a:lnTo>
                      <a:lnTo>
                        <a:pt x="31030" y="32411"/>
                      </a:lnTo>
                      <a:lnTo>
                        <a:pt x="31009" y="32369"/>
                      </a:lnTo>
                      <a:lnTo>
                        <a:pt x="31030" y="32307"/>
                      </a:lnTo>
                      <a:lnTo>
                        <a:pt x="31218" y="32286"/>
                      </a:lnTo>
                      <a:lnTo>
                        <a:pt x="31427" y="32286"/>
                      </a:lnTo>
                      <a:lnTo>
                        <a:pt x="31616" y="32328"/>
                      </a:lnTo>
                      <a:lnTo>
                        <a:pt x="31783" y="32474"/>
                      </a:lnTo>
                      <a:lnTo>
                        <a:pt x="31888" y="32621"/>
                      </a:lnTo>
                      <a:lnTo>
                        <a:pt x="31951" y="32746"/>
                      </a:lnTo>
                      <a:lnTo>
                        <a:pt x="32013" y="32746"/>
                      </a:lnTo>
                      <a:lnTo>
                        <a:pt x="32139" y="32788"/>
                      </a:lnTo>
                      <a:lnTo>
                        <a:pt x="32264" y="32851"/>
                      </a:lnTo>
                      <a:lnTo>
                        <a:pt x="32327" y="32851"/>
                      </a:lnTo>
                      <a:lnTo>
                        <a:pt x="32390" y="32913"/>
                      </a:lnTo>
                      <a:lnTo>
                        <a:pt x="32390" y="32997"/>
                      </a:lnTo>
                      <a:lnTo>
                        <a:pt x="32369" y="33039"/>
                      </a:lnTo>
                      <a:lnTo>
                        <a:pt x="32369" y="33144"/>
                      </a:lnTo>
                      <a:lnTo>
                        <a:pt x="32390" y="33227"/>
                      </a:lnTo>
                      <a:lnTo>
                        <a:pt x="32453" y="33269"/>
                      </a:lnTo>
                      <a:lnTo>
                        <a:pt x="32474" y="33311"/>
                      </a:lnTo>
                      <a:lnTo>
                        <a:pt x="32536" y="33311"/>
                      </a:lnTo>
                      <a:lnTo>
                        <a:pt x="32641" y="33353"/>
                      </a:lnTo>
                      <a:lnTo>
                        <a:pt x="32704" y="33416"/>
                      </a:lnTo>
                      <a:lnTo>
                        <a:pt x="32746" y="33353"/>
                      </a:lnTo>
                      <a:lnTo>
                        <a:pt x="32850" y="33311"/>
                      </a:lnTo>
                      <a:lnTo>
                        <a:pt x="33101" y="33269"/>
                      </a:lnTo>
                      <a:lnTo>
                        <a:pt x="33227" y="33248"/>
                      </a:lnTo>
                      <a:lnTo>
                        <a:pt x="33290" y="33144"/>
                      </a:lnTo>
                      <a:lnTo>
                        <a:pt x="33394" y="33102"/>
                      </a:lnTo>
                      <a:lnTo>
                        <a:pt x="33436" y="33123"/>
                      </a:lnTo>
                      <a:lnTo>
                        <a:pt x="33394" y="33248"/>
                      </a:lnTo>
                      <a:lnTo>
                        <a:pt x="33415" y="33353"/>
                      </a:lnTo>
                      <a:lnTo>
                        <a:pt x="33499" y="33374"/>
                      </a:lnTo>
                      <a:lnTo>
                        <a:pt x="33624" y="33478"/>
                      </a:lnTo>
                      <a:lnTo>
                        <a:pt x="33792" y="33541"/>
                      </a:lnTo>
                      <a:lnTo>
                        <a:pt x="33813" y="33562"/>
                      </a:lnTo>
                      <a:lnTo>
                        <a:pt x="33896" y="33562"/>
                      </a:lnTo>
                      <a:lnTo>
                        <a:pt x="34001" y="33625"/>
                      </a:lnTo>
                      <a:lnTo>
                        <a:pt x="34043" y="33625"/>
                      </a:lnTo>
                      <a:lnTo>
                        <a:pt x="34043" y="33583"/>
                      </a:lnTo>
                      <a:lnTo>
                        <a:pt x="34127" y="33374"/>
                      </a:lnTo>
                      <a:lnTo>
                        <a:pt x="34231" y="33332"/>
                      </a:lnTo>
                      <a:lnTo>
                        <a:pt x="34482" y="33332"/>
                      </a:lnTo>
                      <a:lnTo>
                        <a:pt x="34524" y="33269"/>
                      </a:lnTo>
                      <a:lnTo>
                        <a:pt x="34629" y="33165"/>
                      </a:lnTo>
                      <a:lnTo>
                        <a:pt x="34796" y="33102"/>
                      </a:lnTo>
                      <a:lnTo>
                        <a:pt x="34796" y="32997"/>
                      </a:lnTo>
                      <a:lnTo>
                        <a:pt x="34859" y="32893"/>
                      </a:lnTo>
                      <a:lnTo>
                        <a:pt x="35005" y="32809"/>
                      </a:lnTo>
                      <a:lnTo>
                        <a:pt x="35005" y="32725"/>
                      </a:lnTo>
                      <a:lnTo>
                        <a:pt x="35110" y="32621"/>
                      </a:lnTo>
                      <a:lnTo>
                        <a:pt x="35215" y="32600"/>
                      </a:lnTo>
                      <a:lnTo>
                        <a:pt x="35298" y="32495"/>
                      </a:lnTo>
                      <a:lnTo>
                        <a:pt x="35361" y="32432"/>
                      </a:lnTo>
                      <a:lnTo>
                        <a:pt x="35298" y="32390"/>
                      </a:lnTo>
                      <a:lnTo>
                        <a:pt x="35298" y="32307"/>
                      </a:lnTo>
                      <a:lnTo>
                        <a:pt x="35319" y="32265"/>
                      </a:lnTo>
                      <a:lnTo>
                        <a:pt x="35508" y="32307"/>
                      </a:lnTo>
                      <a:lnTo>
                        <a:pt x="35591" y="32265"/>
                      </a:lnTo>
                      <a:lnTo>
                        <a:pt x="35633" y="32097"/>
                      </a:lnTo>
                      <a:lnTo>
                        <a:pt x="35717" y="32077"/>
                      </a:lnTo>
                      <a:lnTo>
                        <a:pt x="35926" y="32056"/>
                      </a:lnTo>
                      <a:lnTo>
                        <a:pt x="36031" y="32014"/>
                      </a:lnTo>
                      <a:lnTo>
                        <a:pt x="36261" y="32014"/>
                      </a:lnTo>
                      <a:lnTo>
                        <a:pt x="36345" y="31972"/>
                      </a:lnTo>
                      <a:lnTo>
                        <a:pt x="36365" y="31972"/>
                      </a:lnTo>
                      <a:lnTo>
                        <a:pt x="36449" y="32077"/>
                      </a:lnTo>
                      <a:lnTo>
                        <a:pt x="36449" y="32160"/>
                      </a:lnTo>
                      <a:lnTo>
                        <a:pt x="36533" y="32223"/>
                      </a:lnTo>
                      <a:lnTo>
                        <a:pt x="36658" y="32223"/>
                      </a:lnTo>
                      <a:lnTo>
                        <a:pt x="36700" y="32202"/>
                      </a:lnTo>
                      <a:lnTo>
                        <a:pt x="36805" y="32202"/>
                      </a:lnTo>
                      <a:lnTo>
                        <a:pt x="36889" y="32160"/>
                      </a:lnTo>
                      <a:lnTo>
                        <a:pt x="37077" y="32160"/>
                      </a:lnTo>
                      <a:lnTo>
                        <a:pt x="37098" y="32223"/>
                      </a:lnTo>
                      <a:lnTo>
                        <a:pt x="37119" y="32328"/>
                      </a:lnTo>
                      <a:lnTo>
                        <a:pt x="37161" y="32411"/>
                      </a:lnTo>
                      <a:lnTo>
                        <a:pt x="37453" y="32579"/>
                      </a:lnTo>
                      <a:lnTo>
                        <a:pt x="37537" y="32641"/>
                      </a:lnTo>
                      <a:lnTo>
                        <a:pt x="37746" y="32746"/>
                      </a:lnTo>
                      <a:lnTo>
                        <a:pt x="37830" y="32704"/>
                      </a:lnTo>
                      <a:lnTo>
                        <a:pt x="37935" y="32641"/>
                      </a:lnTo>
                      <a:lnTo>
                        <a:pt x="38060" y="32579"/>
                      </a:lnTo>
                      <a:lnTo>
                        <a:pt x="38165" y="32579"/>
                      </a:lnTo>
                      <a:lnTo>
                        <a:pt x="38269" y="32600"/>
                      </a:lnTo>
                      <a:lnTo>
                        <a:pt x="38353" y="32641"/>
                      </a:lnTo>
                      <a:lnTo>
                        <a:pt x="38437" y="32621"/>
                      </a:lnTo>
                      <a:lnTo>
                        <a:pt x="38688" y="32621"/>
                      </a:lnTo>
                      <a:lnTo>
                        <a:pt x="38793" y="32683"/>
                      </a:lnTo>
                      <a:lnTo>
                        <a:pt x="38897" y="32683"/>
                      </a:lnTo>
                      <a:lnTo>
                        <a:pt x="38939" y="32641"/>
                      </a:lnTo>
                      <a:lnTo>
                        <a:pt x="39044" y="32683"/>
                      </a:lnTo>
                      <a:lnTo>
                        <a:pt x="39211" y="32641"/>
                      </a:lnTo>
                      <a:lnTo>
                        <a:pt x="39316" y="32474"/>
                      </a:lnTo>
                      <a:lnTo>
                        <a:pt x="39274" y="32390"/>
                      </a:lnTo>
                      <a:lnTo>
                        <a:pt x="39169" y="32307"/>
                      </a:lnTo>
                      <a:lnTo>
                        <a:pt x="39169" y="32118"/>
                      </a:lnTo>
                      <a:lnTo>
                        <a:pt x="39190" y="31951"/>
                      </a:lnTo>
                      <a:lnTo>
                        <a:pt x="39169" y="31867"/>
                      </a:lnTo>
                      <a:lnTo>
                        <a:pt x="39065" y="31846"/>
                      </a:lnTo>
                      <a:lnTo>
                        <a:pt x="39002" y="31763"/>
                      </a:lnTo>
                      <a:lnTo>
                        <a:pt x="38834" y="31700"/>
                      </a:lnTo>
                      <a:lnTo>
                        <a:pt x="38772" y="31574"/>
                      </a:lnTo>
                      <a:lnTo>
                        <a:pt x="38772" y="31281"/>
                      </a:lnTo>
                      <a:lnTo>
                        <a:pt x="38876" y="31156"/>
                      </a:lnTo>
                      <a:lnTo>
                        <a:pt x="38876" y="31072"/>
                      </a:lnTo>
                      <a:lnTo>
                        <a:pt x="38939" y="30968"/>
                      </a:lnTo>
                      <a:lnTo>
                        <a:pt x="39044" y="30947"/>
                      </a:lnTo>
                      <a:lnTo>
                        <a:pt x="39086" y="30968"/>
                      </a:lnTo>
                      <a:lnTo>
                        <a:pt x="39148" y="30863"/>
                      </a:lnTo>
                      <a:lnTo>
                        <a:pt x="39106" y="30758"/>
                      </a:lnTo>
                      <a:lnTo>
                        <a:pt x="39148" y="30696"/>
                      </a:lnTo>
                      <a:lnTo>
                        <a:pt x="39211" y="30633"/>
                      </a:lnTo>
                      <a:lnTo>
                        <a:pt x="39316" y="30633"/>
                      </a:lnTo>
                      <a:lnTo>
                        <a:pt x="39399" y="30696"/>
                      </a:lnTo>
                      <a:lnTo>
                        <a:pt x="39567" y="30737"/>
                      </a:lnTo>
                      <a:lnTo>
                        <a:pt x="39713" y="30821"/>
                      </a:lnTo>
                      <a:lnTo>
                        <a:pt x="39734" y="30863"/>
                      </a:lnTo>
                      <a:lnTo>
                        <a:pt x="39881" y="30926"/>
                      </a:lnTo>
                      <a:lnTo>
                        <a:pt x="40236" y="30926"/>
                      </a:lnTo>
                      <a:lnTo>
                        <a:pt x="40320" y="30968"/>
                      </a:lnTo>
                      <a:lnTo>
                        <a:pt x="40362" y="31030"/>
                      </a:lnTo>
                      <a:lnTo>
                        <a:pt x="40529" y="31051"/>
                      </a:lnTo>
                      <a:lnTo>
                        <a:pt x="40613" y="31114"/>
                      </a:lnTo>
                      <a:lnTo>
                        <a:pt x="40718" y="31135"/>
                      </a:lnTo>
                      <a:lnTo>
                        <a:pt x="40948" y="31135"/>
                      </a:lnTo>
                      <a:lnTo>
                        <a:pt x="41031" y="31156"/>
                      </a:lnTo>
                      <a:lnTo>
                        <a:pt x="41073" y="31240"/>
                      </a:lnTo>
                      <a:lnTo>
                        <a:pt x="41073" y="31323"/>
                      </a:lnTo>
                      <a:lnTo>
                        <a:pt x="41136" y="31386"/>
                      </a:lnTo>
                      <a:lnTo>
                        <a:pt x="41136" y="31470"/>
                      </a:lnTo>
                      <a:lnTo>
                        <a:pt x="41178" y="31533"/>
                      </a:lnTo>
                      <a:lnTo>
                        <a:pt x="41241" y="31658"/>
                      </a:lnTo>
                      <a:lnTo>
                        <a:pt x="41241" y="31763"/>
                      </a:lnTo>
                      <a:lnTo>
                        <a:pt x="41303" y="31805"/>
                      </a:lnTo>
                      <a:lnTo>
                        <a:pt x="41387" y="31805"/>
                      </a:lnTo>
                      <a:lnTo>
                        <a:pt x="41492" y="31909"/>
                      </a:lnTo>
                      <a:lnTo>
                        <a:pt x="41513" y="31972"/>
                      </a:lnTo>
                      <a:lnTo>
                        <a:pt x="41680" y="32014"/>
                      </a:lnTo>
                      <a:lnTo>
                        <a:pt x="41868" y="32118"/>
                      </a:lnTo>
                      <a:lnTo>
                        <a:pt x="41931" y="32118"/>
                      </a:lnTo>
                      <a:lnTo>
                        <a:pt x="41994" y="32077"/>
                      </a:lnTo>
                      <a:lnTo>
                        <a:pt x="42182" y="32077"/>
                      </a:lnTo>
                      <a:lnTo>
                        <a:pt x="42245" y="32014"/>
                      </a:lnTo>
                      <a:lnTo>
                        <a:pt x="42329" y="32014"/>
                      </a:lnTo>
                      <a:lnTo>
                        <a:pt x="42412" y="32056"/>
                      </a:lnTo>
                      <a:lnTo>
                        <a:pt x="42496" y="32014"/>
                      </a:lnTo>
                      <a:lnTo>
                        <a:pt x="42601" y="31909"/>
                      </a:lnTo>
                      <a:lnTo>
                        <a:pt x="42747" y="31867"/>
                      </a:lnTo>
                      <a:lnTo>
                        <a:pt x="42977" y="31846"/>
                      </a:lnTo>
                      <a:lnTo>
                        <a:pt x="43124" y="31763"/>
                      </a:lnTo>
                      <a:lnTo>
                        <a:pt x="43270" y="31763"/>
                      </a:lnTo>
                      <a:lnTo>
                        <a:pt x="43396" y="31700"/>
                      </a:lnTo>
                      <a:lnTo>
                        <a:pt x="43542" y="31784"/>
                      </a:lnTo>
                      <a:lnTo>
                        <a:pt x="43710" y="31805"/>
                      </a:lnTo>
                      <a:lnTo>
                        <a:pt x="43961" y="31805"/>
                      </a:lnTo>
                      <a:lnTo>
                        <a:pt x="44065" y="31972"/>
                      </a:lnTo>
                      <a:lnTo>
                        <a:pt x="44275" y="32056"/>
                      </a:lnTo>
                      <a:lnTo>
                        <a:pt x="44421" y="32056"/>
                      </a:lnTo>
                      <a:lnTo>
                        <a:pt x="44547" y="32014"/>
                      </a:lnTo>
                      <a:lnTo>
                        <a:pt x="44609" y="32077"/>
                      </a:lnTo>
                      <a:lnTo>
                        <a:pt x="44651" y="32265"/>
                      </a:lnTo>
                      <a:lnTo>
                        <a:pt x="44756" y="32328"/>
                      </a:lnTo>
                      <a:lnTo>
                        <a:pt x="44840" y="32390"/>
                      </a:lnTo>
                      <a:lnTo>
                        <a:pt x="44923" y="32411"/>
                      </a:lnTo>
                      <a:lnTo>
                        <a:pt x="45028" y="32516"/>
                      </a:lnTo>
                      <a:lnTo>
                        <a:pt x="45112" y="32516"/>
                      </a:lnTo>
                      <a:lnTo>
                        <a:pt x="45363" y="32495"/>
                      </a:lnTo>
                      <a:lnTo>
                        <a:pt x="45593" y="32579"/>
                      </a:lnTo>
                      <a:lnTo>
                        <a:pt x="45948" y="32579"/>
                      </a:lnTo>
                      <a:lnTo>
                        <a:pt x="46095" y="32537"/>
                      </a:lnTo>
                      <a:lnTo>
                        <a:pt x="46158" y="32495"/>
                      </a:lnTo>
                      <a:lnTo>
                        <a:pt x="46283" y="32495"/>
                      </a:lnTo>
                      <a:lnTo>
                        <a:pt x="46388" y="32537"/>
                      </a:lnTo>
                      <a:lnTo>
                        <a:pt x="46472" y="32537"/>
                      </a:lnTo>
                      <a:lnTo>
                        <a:pt x="46534" y="32411"/>
                      </a:lnTo>
                      <a:lnTo>
                        <a:pt x="46744" y="32286"/>
                      </a:lnTo>
                      <a:lnTo>
                        <a:pt x="46890" y="32286"/>
                      </a:lnTo>
                      <a:lnTo>
                        <a:pt x="46953" y="32181"/>
                      </a:lnTo>
                      <a:lnTo>
                        <a:pt x="47329" y="32181"/>
                      </a:lnTo>
                      <a:lnTo>
                        <a:pt x="47434" y="32077"/>
                      </a:lnTo>
                      <a:lnTo>
                        <a:pt x="47455" y="31972"/>
                      </a:lnTo>
                      <a:lnTo>
                        <a:pt x="47455" y="31909"/>
                      </a:lnTo>
                      <a:lnTo>
                        <a:pt x="47539" y="31805"/>
                      </a:lnTo>
                      <a:lnTo>
                        <a:pt x="47664" y="31763"/>
                      </a:lnTo>
                      <a:lnTo>
                        <a:pt x="47748" y="31679"/>
                      </a:lnTo>
                      <a:lnTo>
                        <a:pt x="47790" y="31553"/>
                      </a:lnTo>
                      <a:lnTo>
                        <a:pt x="47873" y="31470"/>
                      </a:lnTo>
                      <a:lnTo>
                        <a:pt x="47978" y="31470"/>
                      </a:lnTo>
                      <a:lnTo>
                        <a:pt x="47999" y="31491"/>
                      </a:lnTo>
                      <a:lnTo>
                        <a:pt x="48187" y="31449"/>
                      </a:lnTo>
                      <a:lnTo>
                        <a:pt x="48292" y="31449"/>
                      </a:lnTo>
                      <a:lnTo>
                        <a:pt x="48417" y="31533"/>
                      </a:lnTo>
                      <a:lnTo>
                        <a:pt x="48501" y="31637"/>
                      </a:lnTo>
                      <a:lnTo>
                        <a:pt x="48585" y="31658"/>
                      </a:lnTo>
                      <a:lnTo>
                        <a:pt x="48689" y="31595"/>
                      </a:lnTo>
                      <a:lnTo>
                        <a:pt x="48731" y="31658"/>
                      </a:lnTo>
                      <a:lnTo>
                        <a:pt x="48836" y="31658"/>
                      </a:lnTo>
                      <a:lnTo>
                        <a:pt x="48982" y="31574"/>
                      </a:lnTo>
                      <a:lnTo>
                        <a:pt x="48982" y="31533"/>
                      </a:lnTo>
                      <a:lnTo>
                        <a:pt x="49150" y="31491"/>
                      </a:lnTo>
                      <a:lnTo>
                        <a:pt x="49359" y="31574"/>
                      </a:lnTo>
                      <a:lnTo>
                        <a:pt x="49422" y="31637"/>
                      </a:lnTo>
                      <a:lnTo>
                        <a:pt x="49464" y="31595"/>
                      </a:lnTo>
                      <a:lnTo>
                        <a:pt x="49547" y="31595"/>
                      </a:lnTo>
                      <a:lnTo>
                        <a:pt x="49568" y="31658"/>
                      </a:lnTo>
                      <a:lnTo>
                        <a:pt x="49673" y="31637"/>
                      </a:lnTo>
                      <a:lnTo>
                        <a:pt x="49840" y="31658"/>
                      </a:lnTo>
                      <a:lnTo>
                        <a:pt x="49924" y="31742"/>
                      </a:lnTo>
                      <a:lnTo>
                        <a:pt x="49966" y="31742"/>
                      </a:lnTo>
                      <a:lnTo>
                        <a:pt x="50259" y="31470"/>
                      </a:lnTo>
                      <a:lnTo>
                        <a:pt x="50384" y="31365"/>
                      </a:lnTo>
                      <a:lnTo>
                        <a:pt x="50594" y="31344"/>
                      </a:lnTo>
                      <a:lnTo>
                        <a:pt x="50677" y="31260"/>
                      </a:lnTo>
                      <a:lnTo>
                        <a:pt x="50698" y="31156"/>
                      </a:lnTo>
                      <a:lnTo>
                        <a:pt x="50677" y="31030"/>
                      </a:lnTo>
                      <a:lnTo>
                        <a:pt x="50614" y="31009"/>
                      </a:lnTo>
                      <a:lnTo>
                        <a:pt x="50573" y="31030"/>
                      </a:lnTo>
                      <a:lnTo>
                        <a:pt x="50510" y="31009"/>
                      </a:lnTo>
                      <a:lnTo>
                        <a:pt x="50468" y="31009"/>
                      </a:lnTo>
                      <a:lnTo>
                        <a:pt x="50468" y="30842"/>
                      </a:lnTo>
                      <a:lnTo>
                        <a:pt x="50489" y="30800"/>
                      </a:lnTo>
                      <a:lnTo>
                        <a:pt x="50489" y="30633"/>
                      </a:lnTo>
                      <a:lnTo>
                        <a:pt x="50447" y="30528"/>
                      </a:lnTo>
                      <a:lnTo>
                        <a:pt x="50468" y="30444"/>
                      </a:lnTo>
                      <a:lnTo>
                        <a:pt x="50552" y="30424"/>
                      </a:lnTo>
                      <a:lnTo>
                        <a:pt x="50552" y="30319"/>
                      </a:lnTo>
                      <a:lnTo>
                        <a:pt x="50468" y="30235"/>
                      </a:lnTo>
                      <a:lnTo>
                        <a:pt x="50447" y="30110"/>
                      </a:lnTo>
                      <a:lnTo>
                        <a:pt x="50468" y="30068"/>
                      </a:lnTo>
                      <a:lnTo>
                        <a:pt x="50405" y="29963"/>
                      </a:lnTo>
                      <a:lnTo>
                        <a:pt x="50405" y="29859"/>
                      </a:lnTo>
                      <a:lnTo>
                        <a:pt x="50489" y="29754"/>
                      </a:lnTo>
                      <a:lnTo>
                        <a:pt x="50573" y="29691"/>
                      </a:lnTo>
                      <a:lnTo>
                        <a:pt x="50594" y="29566"/>
                      </a:lnTo>
                      <a:lnTo>
                        <a:pt x="50677" y="29461"/>
                      </a:lnTo>
                      <a:lnTo>
                        <a:pt x="50761" y="29398"/>
                      </a:lnTo>
                      <a:lnTo>
                        <a:pt x="50761" y="29273"/>
                      </a:lnTo>
                      <a:lnTo>
                        <a:pt x="50719" y="29189"/>
                      </a:lnTo>
                      <a:lnTo>
                        <a:pt x="50719" y="29126"/>
                      </a:lnTo>
                      <a:lnTo>
                        <a:pt x="50656" y="29064"/>
                      </a:lnTo>
                      <a:lnTo>
                        <a:pt x="50594" y="28959"/>
                      </a:lnTo>
                      <a:lnTo>
                        <a:pt x="50510" y="28833"/>
                      </a:lnTo>
                      <a:lnTo>
                        <a:pt x="50447" y="28812"/>
                      </a:lnTo>
                      <a:lnTo>
                        <a:pt x="50363" y="28833"/>
                      </a:lnTo>
                      <a:lnTo>
                        <a:pt x="50238" y="28917"/>
                      </a:lnTo>
                      <a:lnTo>
                        <a:pt x="50175" y="28917"/>
                      </a:lnTo>
                      <a:lnTo>
                        <a:pt x="50154" y="28854"/>
                      </a:lnTo>
                      <a:lnTo>
                        <a:pt x="50154" y="28603"/>
                      </a:lnTo>
                      <a:lnTo>
                        <a:pt x="50175" y="28540"/>
                      </a:lnTo>
                      <a:lnTo>
                        <a:pt x="50175" y="28499"/>
                      </a:lnTo>
                      <a:lnTo>
                        <a:pt x="50238" y="28436"/>
                      </a:lnTo>
                      <a:lnTo>
                        <a:pt x="50259" y="28331"/>
                      </a:lnTo>
                      <a:lnTo>
                        <a:pt x="50342" y="28227"/>
                      </a:lnTo>
                      <a:lnTo>
                        <a:pt x="50342" y="28143"/>
                      </a:lnTo>
                      <a:lnTo>
                        <a:pt x="50384" y="28101"/>
                      </a:lnTo>
                      <a:lnTo>
                        <a:pt x="50552" y="28080"/>
                      </a:lnTo>
                      <a:lnTo>
                        <a:pt x="50614" y="28038"/>
                      </a:lnTo>
                      <a:lnTo>
                        <a:pt x="50698" y="28038"/>
                      </a:lnTo>
                      <a:lnTo>
                        <a:pt x="50719" y="28017"/>
                      </a:lnTo>
                      <a:lnTo>
                        <a:pt x="50803" y="28017"/>
                      </a:lnTo>
                      <a:lnTo>
                        <a:pt x="50886" y="27996"/>
                      </a:lnTo>
                      <a:lnTo>
                        <a:pt x="50928" y="27913"/>
                      </a:lnTo>
                      <a:lnTo>
                        <a:pt x="51033" y="27913"/>
                      </a:lnTo>
                      <a:lnTo>
                        <a:pt x="51117" y="27829"/>
                      </a:lnTo>
                      <a:lnTo>
                        <a:pt x="51242" y="27871"/>
                      </a:lnTo>
                      <a:lnTo>
                        <a:pt x="51451" y="27871"/>
                      </a:lnTo>
                      <a:lnTo>
                        <a:pt x="51514" y="27808"/>
                      </a:lnTo>
                      <a:lnTo>
                        <a:pt x="51556" y="27808"/>
                      </a:lnTo>
                      <a:lnTo>
                        <a:pt x="51598" y="27724"/>
                      </a:lnTo>
                      <a:lnTo>
                        <a:pt x="51744" y="27703"/>
                      </a:lnTo>
                      <a:lnTo>
                        <a:pt x="51765" y="27683"/>
                      </a:lnTo>
                      <a:lnTo>
                        <a:pt x="51849" y="27703"/>
                      </a:lnTo>
                      <a:lnTo>
                        <a:pt x="51933" y="27703"/>
                      </a:lnTo>
                      <a:lnTo>
                        <a:pt x="52016" y="27745"/>
                      </a:lnTo>
                      <a:lnTo>
                        <a:pt x="52184" y="27787"/>
                      </a:lnTo>
                      <a:lnTo>
                        <a:pt x="52267" y="27829"/>
                      </a:lnTo>
                      <a:lnTo>
                        <a:pt x="52288" y="27892"/>
                      </a:lnTo>
                      <a:lnTo>
                        <a:pt x="52435" y="27892"/>
                      </a:lnTo>
                      <a:lnTo>
                        <a:pt x="52498" y="27850"/>
                      </a:lnTo>
                      <a:lnTo>
                        <a:pt x="52539" y="27892"/>
                      </a:lnTo>
                      <a:lnTo>
                        <a:pt x="52644" y="27934"/>
                      </a:lnTo>
                      <a:lnTo>
                        <a:pt x="52686" y="27913"/>
                      </a:lnTo>
                      <a:lnTo>
                        <a:pt x="52686" y="27829"/>
                      </a:lnTo>
                      <a:lnTo>
                        <a:pt x="52749" y="27808"/>
                      </a:lnTo>
                      <a:lnTo>
                        <a:pt x="52790" y="27829"/>
                      </a:lnTo>
                      <a:lnTo>
                        <a:pt x="52874" y="27829"/>
                      </a:lnTo>
                      <a:lnTo>
                        <a:pt x="52916" y="27808"/>
                      </a:lnTo>
                      <a:lnTo>
                        <a:pt x="52979" y="27892"/>
                      </a:lnTo>
                      <a:lnTo>
                        <a:pt x="53021" y="27892"/>
                      </a:lnTo>
                      <a:lnTo>
                        <a:pt x="53104" y="27913"/>
                      </a:lnTo>
                      <a:lnTo>
                        <a:pt x="53125" y="27955"/>
                      </a:lnTo>
                      <a:lnTo>
                        <a:pt x="53104" y="28017"/>
                      </a:lnTo>
                      <a:lnTo>
                        <a:pt x="53125" y="28059"/>
                      </a:lnTo>
                      <a:lnTo>
                        <a:pt x="53188" y="28059"/>
                      </a:lnTo>
                      <a:lnTo>
                        <a:pt x="53209" y="28122"/>
                      </a:lnTo>
                      <a:lnTo>
                        <a:pt x="53272" y="28059"/>
                      </a:lnTo>
                      <a:lnTo>
                        <a:pt x="53335" y="28101"/>
                      </a:lnTo>
                      <a:lnTo>
                        <a:pt x="53376" y="28143"/>
                      </a:lnTo>
                      <a:lnTo>
                        <a:pt x="53335" y="28206"/>
                      </a:lnTo>
                      <a:lnTo>
                        <a:pt x="53376" y="28247"/>
                      </a:lnTo>
                      <a:lnTo>
                        <a:pt x="53481" y="28268"/>
                      </a:lnTo>
                      <a:lnTo>
                        <a:pt x="53523" y="28268"/>
                      </a:lnTo>
                      <a:lnTo>
                        <a:pt x="53586" y="28310"/>
                      </a:lnTo>
                      <a:lnTo>
                        <a:pt x="53586" y="28352"/>
                      </a:lnTo>
                      <a:lnTo>
                        <a:pt x="53627" y="28373"/>
                      </a:lnTo>
                      <a:lnTo>
                        <a:pt x="53690" y="28457"/>
                      </a:lnTo>
                      <a:lnTo>
                        <a:pt x="53690" y="28540"/>
                      </a:lnTo>
                      <a:lnTo>
                        <a:pt x="53711" y="28624"/>
                      </a:lnTo>
                      <a:lnTo>
                        <a:pt x="53711" y="28666"/>
                      </a:lnTo>
                      <a:lnTo>
                        <a:pt x="53732" y="28687"/>
                      </a:lnTo>
                      <a:lnTo>
                        <a:pt x="53899" y="28687"/>
                      </a:lnTo>
                      <a:lnTo>
                        <a:pt x="53920" y="28750"/>
                      </a:lnTo>
                      <a:lnTo>
                        <a:pt x="53899" y="28833"/>
                      </a:lnTo>
                      <a:lnTo>
                        <a:pt x="53899" y="28875"/>
                      </a:lnTo>
                      <a:lnTo>
                        <a:pt x="54025" y="28959"/>
                      </a:lnTo>
                      <a:lnTo>
                        <a:pt x="54067" y="29064"/>
                      </a:lnTo>
                      <a:lnTo>
                        <a:pt x="54151" y="29147"/>
                      </a:lnTo>
                      <a:lnTo>
                        <a:pt x="54171" y="29210"/>
                      </a:lnTo>
                      <a:lnTo>
                        <a:pt x="54234" y="29252"/>
                      </a:lnTo>
                      <a:lnTo>
                        <a:pt x="54255" y="29356"/>
                      </a:lnTo>
                      <a:lnTo>
                        <a:pt x="54339" y="29398"/>
                      </a:lnTo>
                      <a:lnTo>
                        <a:pt x="54339" y="29461"/>
                      </a:lnTo>
                      <a:lnTo>
                        <a:pt x="54318" y="29503"/>
                      </a:lnTo>
                      <a:lnTo>
                        <a:pt x="54339" y="29524"/>
                      </a:lnTo>
                      <a:lnTo>
                        <a:pt x="54381" y="29503"/>
                      </a:lnTo>
                      <a:lnTo>
                        <a:pt x="54443" y="29587"/>
                      </a:lnTo>
                      <a:lnTo>
                        <a:pt x="54464" y="29670"/>
                      </a:lnTo>
                      <a:lnTo>
                        <a:pt x="54569" y="29817"/>
                      </a:lnTo>
                      <a:lnTo>
                        <a:pt x="54778" y="29963"/>
                      </a:lnTo>
                      <a:lnTo>
                        <a:pt x="54799" y="30047"/>
                      </a:lnTo>
                      <a:lnTo>
                        <a:pt x="54841" y="30152"/>
                      </a:lnTo>
                      <a:lnTo>
                        <a:pt x="54883" y="30193"/>
                      </a:lnTo>
                      <a:lnTo>
                        <a:pt x="54883" y="30298"/>
                      </a:lnTo>
                      <a:lnTo>
                        <a:pt x="54967" y="30319"/>
                      </a:lnTo>
                      <a:lnTo>
                        <a:pt x="55008" y="30319"/>
                      </a:lnTo>
                      <a:lnTo>
                        <a:pt x="55050" y="30424"/>
                      </a:lnTo>
                      <a:lnTo>
                        <a:pt x="55050" y="30507"/>
                      </a:lnTo>
                      <a:lnTo>
                        <a:pt x="55092" y="30612"/>
                      </a:lnTo>
                      <a:lnTo>
                        <a:pt x="55218" y="30737"/>
                      </a:lnTo>
                      <a:lnTo>
                        <a:pt x="55322" y="30758"/>
                      </a:lnTo>
                      <a:lnTo>
                        <a:pt x="55385" y="30842"/>
                      </a:lnTo>
                      <a:lnTo>
                        <a:pt x="55469" y="30842"/>
                      </a:lnTo>
                      <a:lnTo>
                        <a:pt x="55511" y="30821"/>
                      </a:lnTo>
                      <a:lnTo>
                        <a:pt x="55573" y="30842"/>
                      </a:lnTo>
                      <a:lnTo>
                        <a:pt x="55615" y="30821"/>
                      </a:lnTo>
                      <a:lnTo>
                        <a:pt x="55741" y="30842"/>
                      </a:lnTo>
                      <a:lnTo>
                        <a:pt x="55803" y="30779"/>
                      </a:lnTo>
                      <a:lnTo>
                        <a:pt x="55887" y="30779"/>
                      </a:lnTo>
                      <a:lnTo>
                        <a:pt x="55887" y="30821"/>
                      </a:lnTo>
                      <a:lnTo>
                        <a:pt x="55824" y="30863"/>
                      </a:lnTo>
                      <a:lnTo>
                        <a:pt x="55845" y="30905"/>
                      </a:lnTo>
                      <a:lnTo>
                        <a:pt x="55992" y="30905"/>
                      </a:lnTo>
                      <a:lnTo>
                        <a:pt x="56034" y="30926"/>
                      </a:lnTo>
                      <a:lnTo>
                        <a:pt x="56055" y="30968"/>
                      </a:lnTo>
                      <a:lnTo>
                        <a:pt x="56138" y="31030"/>
                      </a:lnTo>
                      <a:lnTo>
                        <a:pt x="56159" y="30968"/>
                      </a:lnTo>
                      <a:lnTo>
                        <a:pt x="56222" y="30947"/>
                      </a:lnTo>
                      <a:lnTo>
                        <a:pt x="56264" y="30968"/>
                      </a:lnTo>
                      <a:lnTo>
                        <a:pt x="56306" y="30905"/>
                      </a:lnTo>
                      <a:lnTo>
                        <a:pt x="56348" y="30905"/>
                      </a:lnTo>
                      <a:lnTo>
                        <a:pt x="56410" y="30947"/>
                      </a:lnTo>
                      <a:lnTo>
                        <a:pt x="56431" y="31009"/>
                      </a:lnTo>
                      <a:lnTo>
                        <a:pt x="56473" y="31072"/>
                      </a:lnTo>
                      <a:lnTo>
                        <a:pt x="56536" y="31072"/>
                      </a:lnTo>
                      <a:lnTo>
                        <a:pt x="56557" y="31135"/>
                      </a:lnTo>
                      <a:lnTo>
                        <a:pt x="56620" y="31177"/>
                      </a:lnTo>
                      <a:lnTo>
                        <a:pt x="56640" y="31177"/>
                      </a:lnTo>
                      <a:lnTo>
                        <a:pt x="56682" y="31240"/>
                      </a:lnTo>
                      <a:lnTo>
                        <a:pt x="56724" y="31281"/>
                      </a:lnTo>
                      <a:lnTo>
                        <a:pt x="56850" y="31344"/>
                      </a:lnTo>
                      <a:lnTo>
                        <a:pt x="56871" y="31365"/>
                      </a:lnTo>
                      <a:lnTo>
                        <a:pt x="56933" y="31365"/>
                      </a:lnTo>
                      <a:lnTo>
                        <a:pt x="56975" y="31407"/>
                      </a:lnTo>
                      <a:lnTo>
                        <a:pt x="57059" y="31449"/>
                      </a:lnTo>
                      <a:lnTo>
                        <a:pt x="57122" y="31407"/>
                      </a:lnTo>
                      <a:lnTo>
                        <a:pt x="57184" y="31407"/>
                      </a:lnTo>
                      <a:lnTo>
                        <a:pt x="57247" y="31365"/>
                      </a:lnTo>
                      <a:lnTo>
                        <a:pt x="57289" y="31365"/>
                      </a:lnTo>
                      <a:lnTo>
                        <a:pt x="57352" y="31386"/>
                      </a:lnTo>
                      <a:lnTo>
                        <a:pt x="57352" y="31470"/>
                      </a:lnTo>
                      <a:lnTo>
                        <a:pt x="57289" y="31553"/>
                      </a:lnTo>
                      <a:lnTo>
                        <a:pt x="57289" y="31637"/>
                      </a:lnTo>
                      <a:lnTo>
                        <a:pt x="57289" y="31700"/>
                      </a:lnTo>
                      <a:lnTo>
                        <a:pt x="57394" y="31700"/>
                      </a:lnTo>
                      <a:lnTo>
                        <a:pt x="57436" y="31805"/>
                      </a:lnTo>
                      <a:lnTo>
                        <a:pt x="57456" y="31909"/>
                      </a:lnTo>
                      <a:lnTo>
                        <a:pt x="57436" y="32014"/>
                      </a:lnTo>
                      <a:lnTo>
                        <a:pt x="57394" y="32056"/>
                      </a:lnTo>
                      <a:lnTo>
                        <a:pt x="57394" y="32118"/>
                      </a:lnTo>
                      <a:lnTo>
                        <a:pt x="57498" y="32265"/>
                      </a:lnTo>
                      <a:lnTo>
                        <a:pt x="57561" y="32286"/>
                      </a:lnTo>
                      <a:lnTo>
                        <a:pt x="57645" y="32390"/>
                      </a:lnTo>
                      <a:lnTo>
                        <a:pt x="57666" y="32432"/>
                      </a:lnTo>
                      <a:lnTo>
                        <a:pt x="57749" y="32411"/>
                      </a:lnTo>
                      <a:lnTo>
                        <a:pt x="57812" y="32369"/>
                      </a:lnTo>
                      <a:lnTo>
                        <a:pt x="57896" y="32369"/>
                      </a:lnTo>
                      <a:lnTo>
                        <a:pt x="57938" y="32432"/>
                      </a:lnTo>
                      <a:lnTo>
                        <a:pt x="57980" y="32516"/>
                      </a:lnTo>
                      <a:lnTo>
                        <a:pt x="58042" y="32495"/>
                      </a:lnTo>
                      <a:lnTo>
                        <a:pt x="58105" y="32432"/>
                      </a:lnTo>
                      <a:lnTo>
                        <a:pt x="58189" y="32474"/>
                      </a:lnTo>
                      <a:lnTo>
                        <a:pt x="58231" y="32432"/>
                      </a:lnTo>
                      <a:lnTo>
                        <a:pt x="58398" y="32411"/>
                      </a:lnTo>
                      <a:lnTo>
                        <a:pt x="58461" y="32328"/>
                      </a:lnTo>
                      <a:lnTo>
                        <a:pt x="58524" y="32307"/>
                      </a:lnTo>
                      <a:lnTo>
                        <a:pt x="58524" y="32244"/>
                      </a:lnTo>
                      <a:lnTo>
                        <a:pt x="58544" y="32160"/>
                      </a:lnTo>
                      <a:lnTo>
                        <a:pt x="58628" y="32097"/>
                      </a:lnTo>
                      <a:lnTo>
                        <a:pt x="58628" y="31993"/>
                      </a:lnTo>
                      <a:lnTo>
                        <a:pt x="58649" y="31909"/>
                      </a:lnTo>
                      <a:lnTo>
                        <a:pt x="58837" y="31909"/>
                      </a:lnTo>
                      <a:lnTo>
                        <a:pt x="58858" y="31805"/>
                      </a:lnTo>
                      <a:lnTo>
                        <a:pt x="58921" y="31805"/>
                      </a:lnTo>
                      <a:lnTo>
                        <a:pt x="58963" y="31784"/>
                      </a:lnTo>
                      <a:lnTo>
                        <a:pt x="59005" y="31700"/>
                      </a:lnTo>
                      <a:lnTo>
                        <a:pt x="59047" y="31658"/>
                      </a:lnTo>
                      <a:lnTo>
                        <a:pt x="59151" y="31658"/>
                      </a:lnTo>
                      <a:lnTo>
                        <a:pt x="59214" y="31595"/>
                      </a:lnTo>
                      <a:lnTo>
                        <a:pt x="59319" y="31658"/>
                      </a:lnTo>
                      <a:lnTo>
                        <a:pt x="59361" y="31700"/>
                      </a:lnTo>
                      <a:lnTo>
                        <a:pt x="59465" y="31700"/>
                      </a:lnTo>
                      <a:lnTo>
                        <a:pt x="59486" y="31763"/>
                      </a:lnTo>
                      <a:lnTo>
                        <a:pt x="59549" y="31867"/>
                      </a:lnTo>
                      <a:lnTo>
                        <a:pt x="59486" y="31909"/>
                      </a:lnTo>
                      <a:lnTo>
                        <a:pt x="59528" y="31972"/>
                      </a:lnTo>
                      <a:lnTo>
                        <a:pt x="59633" y="32077"/>
                      </a:lnTo>
                      <a:lnTo>
                        <a:pt x="59633" y="32139"/>
                      </a:lnTo>
                      <a:lnTo>
                        <a:pt x="59674" y="32202"/>
                      </a:lnTo>
                      <a:lnTo>
                        <a:pt x="59758" y="32244"/>
                      </a:lnTo>
                      <a:lnTo>
                        <a:pt x="59737" y="32390"/>
                      </a:lnTo>
                      <a:lnTo>
                        <a:pt x="59737" y="32495"/>
                      </a:lnTo>
                      <a:lnTo>
                        <a:pt x="59695" y="32537"/>
                      </a:lnTo>
                      <a:lnTo>
                        <a:pt x="59633" y="32558"/>
                      </a:lnTo>
                      <a:lnTo>
                        <a:pt x="59549" y="32662"/>
                      </a:lnTo>
                      <a:lnTo>
                        <a:pt x="59549" y="32725"/>
                      </a:lnTo>
                      <a:lnTo>
                        <a:pt x="59591" y="32809"/>
                      </a:lnTo>
                      <a:lnTo>
                        <a:pt x="59633" y="32830"/>
                      </a:lnTo>
                      <a:lnTo>
                        <a:pt x="59633" y="32934"/>
                      </a:lnTo>
                      <a:lnTo>
                        <a:pt x="59591" y="33018"/>
                      </a:lnTo>
                      <a:lnTo>
                        <a:pt x="59633" y="33060"/>
                      </a:lnTo>
                      <a:lnTo>
                        <a:pt x="59674" y="33081"/>
                      </a:lnTo>
                      <a:lnTo>
                        <a:pt x="59674" y="33144"/>
                      </a:lnTo>
                      <a:lnTo>
                        <a:pt x="59695" y="33185"/>
                      </a:lnTo>
                      <a:lnTo>
                        <a:pt x="59695" y="33248"/>
                      </a:lnTo>
                      <a:lnTo>
                        <a:pt x="59674" y="33269"/>
                      </a:lnTo>
                      <a:lnTo>
                        <a:pt x="59653" y="33290"/>
                      </a:lnTo>
                      <a:lnTo>
                        <a:pt x="59653" y="33437"/>
                      </a:lnTo>
                      <a:lnTo>
                        <a:pt x="59695" y="33562"/>
                      </a:lnTo>
                      <a:lnTo>
                        <a:pt x="59737" y="33604"/>
                      </a:lnTo>
                      <a:lnTo>
                        <a:pt x="59737" y="33667"/>
                      </a:lnTo>
                      <a:lnTo>
                        <a:pt x="59674" y="33709"/>
                      </a:lnTo>
                      <a:lnTo>
                        <a:pt x="59653" y="33792"/>
                      </a:lnTo>
                      <a:lnTo>
                        <a:pt x="59674" y="33855"/>
                      </a:lnTo>
                      <a:lnTo>
                        <a:pt x="59674" y="33897"/>
                      </a:lnTo>
                      <a:lnTo>
                        <a:pt x="59695" y="33960"/>
                      </a:lnTo>
                      <a:lnTo>
                        <a:pt x="59633" y="34001"/>
                      </a:lnTo>
                      <a:lnTo>
                        <a:pt x="59591" y="34022"/>
                      </a:lnTo>
                      <a:lnTo>
                        <a:pt x="59633" y="34085"/>
                      </a:lnTo>
                      <a:lnTo>
                        <a:pt x="59653" y="34169"/>
                      </a:lnTo>
                      <a:lnTo>
                        <a:pt x="59633" y="34211"/>
                      </a:lnTo>
                      <a:lnTo>
                        <a:pt x="59570" y="34315"/>
                      </a:lnTo>
                      <a:lnTo>
                        <a:pt x="59591" y="34378"/>
                      </a:lnTo>
                      <a:lnTo>
                        <a:pt x="59633" y="34420"/>
                      </a:lnTo>
                      <a:lnTo>
                        <a:pt x="59591" y="34483"/>
                      </a:lnTo>
                      <a:lnTo>
                        <a:pt x="59591" y="34525"/>
                      </a:lnTo>
                      <a:lnTo>
                        <a:pt x="59633" y="34587"/>
                      </a:lnTo>
                      <a:lnTo>
                        <a:pt x="59653" y="34650"/>
                      </a:lnTo>
                      <a:lnTo>
                        <a:pt x="59591" y="34713"/>
                      </a:lnTo>
                      <a:lnTo>
                        <a:pt x="59549" y="34713"/>
                      </a:lnTo>
                      <a:lnTo>
                        <a:pt x="59486" y="34692"/>
                      </a:lnTo>
                      <a:lnTo>
                        <a:pt x="59130" y="34608"/>
                      </a:lnTo>
                      <a:lnTo>
                        <a:pt x="59047" y="34587"/>
                      </a:lnTo>
                      <a:lnTo>
                        <a:pt x="58942" y="34546"/>
                      </a:lnTo>
                      <a:lnTo>
                        <a:pt x="58900" y="34546"/>
                      </a:lnTo>
                      <a:lnTo>
                        <a:pt x="58796" y="34713"/>
                      </a:lnTo>
                      <a:lnTo>
                        <a:pt x="58754" y="34797"/>
                      </a:lnTo>
                      <a:lnTo>
                        <a:pt x="58712" y="34859"/>
                      </a:lnTo>
                      <a:lnTo>
                        <a:pt x="58628" y="34859"/>
                      </a:lnTo>
                      <a:lnTo>
                        <a:pt x="58544" y="34922"/>
                      </a:lnTo>
                      <a:lnTo>
                        <a:pt x="58524" y="34964"/>
                      </a:lnTo>
                      <a:lnTo>
                        <a:pt x="58586" y="35069"/>
                      </a:lnTo>
                      <a:lnTo>
                        <a:pt x="58712" y="35278"/>
                      </a:lnTo>
                      <a:lnTo>
                        <a:pt x="58733" y="35362"/>
                      </a:lnTo>
                      <a:lnTo>
                        <a:pt x="58754" y="35445"/>
                      </a:lnTo>
                      <a:lnTo>
                        <a:pt x="58837" y="35550"/>
                      </a:lnTo>
                      <a:lnTo>
                        <a:pt x="58837" y="35654"/>
                      </a:lnTo>
                      <a:lnTo>
                        <a:pt x="58837" y="35780"/>
                      </a:lnTo>
                      <a:lnTo>
                        <a:pt x="58837" y="35885"/>
                      </a:lnTo>
                      <a:lnTo>
                        <a:pt x="58837" y="36094"/>
                      </a:lnTo>
                      <a:lnTo>
                        <a:pt x="58921" y="36157"/>
                      </a:lnTo>
                      <a:lnTo>
                        <a:pt x="58921" y="36261"/>
                      </a:lnTo>
                      <a:lnTo>
                        <a:pt x="58921" y="36366"/>
                      </a:lnTo>
                      <a:lnTo>
                        <a:pt x="58900" y="36408"/>
                      </a:lnTo>
                      <a:lnTo>
                        <a:pt x="58900" y="36491"/>
                      </a:lnTo>
                      <a:lnTo>
                        <a:pt x="58921" y="36533"/>
                      </a:lnTo>
                      <a:lnTo>
                        <a:pt x="58921" y="36638"/>
                      </a:lnTo>
                      <a:lnTo>
                        <a:pt x="58858" y="36638"/>
                      </a:lnTo>
                      <a:lnTo>
                        <a:pt x="58733" y="36617"/>
                      </a:lnTo>
                      <a:lnTo>
                        <a:pt x="58649" y="36680"/>
                      </a:lnTo>
                      <a:lnTo>
                        <a:pt x="58649" y="36722"/>
                      </a:lnTo>
                      <a:lnTo>
                        <a:pt x="58691" y="36826"/>
                      </a:lnTo>
                      <a:lnTo>
                        <a:pt x="58733" y="36847"/>
                      </a:lnTo>
                      <a:lnTo>
                        <a:pt x="58733" y="36931"/>
                      </a:lnTo>
                      <a:lnTo>
                        <a:pt x="58733" y="36952"/>
                      </a:lnTo>
                      <a:lnTo>
                        <a:pt x="58837" y="37098"/>
                      </a:lnTo>
                      <a:lnTo>
                        <a:pt x="58858" y="37098"/>
                      </a:lnTo>
                      <a:lnTo>
                        <a:pt x="58921" y="36931"/>
                      </a:lnTo>
                      <a:lnTo>
                        <a:pt x="59068" y="36910"/>
                      </a:lnTo>
                      <a:lnTo>
                        <a:pt x="59130" y="36952"/>
                      </a:lnTo>
                      <a:lnTo>
                        <a:pt x="59172" y="36784"/>
                      </a:lnTo>
                      <a:lnTo>
                        <a:pt x="59256" y="36722"/>
                      </a:lnTo>
                      <a:lnTo>
                        <a:pt x="59256" y="36512"/>
                      </a:lnTo>
                      <a:lnTo>
                        <a:pt x="59361" y="36429"/>
                      </a:lnTo>
                      <a:lnTo>
                        <a:pt x="59361" y="36324"/>
                      </a:lnTo>
                      <a:lnTo>
                        <a:pt x="59381" y="36282"/>
                      </a:lnTo>
                      <a:lnTo>
                        <a:pt x="59528" y="36366"/>
                      </a:lnTo>
                      <a:lnTo>
                        <a:pt x="59653" y="36303"/>
                      </a:lnTo>
                      <a:lnTo>
                        <a:pt x="59695" y="36366"/>
                      </a:lnTo>
                      <a:lnTo>
                        <a:pt x="59695" y="36575"/>
                      </a:lnTo>
                      <a:lnTo>
                        <a:pt x="59884" y="36617"/>
                      </a:lnTo>
                      <a:lnTo>
                        <a:pt x="60072" y="36722"/>
                      </a:lnTo>
                      <a:lnTo>
                        <a:pt x="60114" y="36680"/>
                      </a:lnTo>
                      <a:lnTo>
                        <a:pt x="60197" y="36742"/>
                      </a:lnTo>
                      <a:lnTo>
                        <a:pt x="60323" y="36617"/>
                      </a:lnTo>
                      <a:lnTo>
                        <a:pt x="60490" y="36596"/>
                      </a:lnTo>
                      <a:lnTo>
                        <a:pt x="60511" y="36512"/>
                      </a:lnTo>
                      <a:lnTo>
                        <a:pt x="60595" y="36512"/>
                      </a:lnTo>
                      <a:lnTo>
                        <a:pt x="60679" y="36366"/>
                      </a:lnTo>
                      <a:lnTo>
                        <a:pt x="60846" y="36115"/>
                      </a:lnTo>
                      <a:lnTo>
                        <a:pt x="60825" y="36073"/>
                      </a:lnTo>
                      <a:lnTo>
                        <a:pt x="60951" y="36010"/>
                      </a:lnTo>
                      <a:lnTo>
                        <a:pt x="60951" y="35926"/>
                      </a:lnTo>
                      <a:lnTo>
                        <a:pt x="60909" y="35780"/>
                      </a:lnTo>
                      <a:lnTo>
                        <a:pt x="60993" y="35822"/>
                      </a:lnTo>
                      <a:lnTo>
                        <a:pt x="60993" y="35843"/>
                      </a:lnTo>
                      <a:lnTo>
                        <a:pt x="61118" y="35654"/>
                      </a:lnTo>
                      <a:lnTo>
                        <a:pt x="61055" y="35550"/>
                      </a:lnTo>
                      <a:lnTo>
                        <a:pt x="61118" y="35529"/>
                      </a:lnTo>
                      <a:lnTo>
                        <a:pt x="61118" y="35341"/>
                      </a:lnTo>
                      <a:lnTo>
                        <a:pt x="61223" y="35299"/>
                      </a:lnTo>
                      <a:lnTo>
                        <a:pt x="61223" y="35194"/>
                      </a:lnTo>
                      <a:lnTo>
                        <a:pt x="61369" y="35090"/>
                      </a:lnTo>
                      <a:lnTo>
                        <a:pt x="61411" y="35027"/>
                      </a:lnTo>
                      <a:lnTo>
                        <a:pt x="61348" y="34985"/>
                      </a:lnTo>
                      <a:lnTo>
                        <a:pt x="61369" y="34838"/>
                      </a:lnTo>
                      <a:lnTo>
                        <a:pt x="61453" y="34818"/>
                      </a:lnTo>
                      <a:lnTo>
                        <a:pt x="61557" y="34315"/>
                      </a:lnTo>
                      <a:lnTo>
                        <a:pt x="61683" y="34169"/>
                      </a:lnTo>
                      <a:lnTo>
                        <a:pt x="61683" y="34064"/>
                      </a:lnTo>
                      <a:lnTo>
                        <a:pt x="61829" y="33960"/>
                      </a:lnTo>
                      <a:lnTo>
                        <a:pt x="61850" y="33834"/>
                      </a:lnTo>
                      <a:lnTo>
                        <a:pt x="61976" y="33667"/>
                      </a:lnTo>
                      <a:lnTo>
                        <a:pt x="61976" y="33541"/>
                      </a:lnTo>
                      <a:lnTo>
                        <a:pt x="61934" y="33520"/>
                      </a:lnTo>
                      <a:lnTo>
                        <a:pt x="61892" y="33353"/>
                      </a:lnTo>
                      <a:lnTo>
                        <a:pt x="62039" y="33227"/>
                      </a:lnTo>
                      <a:lnTo>
                        <a:pt x="61976" y="32955"/>
                      </a:lnTo>
                      <a:lnTo>
                        <a:pt x="62081" y="32830"/>
                      </a:lnTo>
                      <a:lnTo>
                        <a:pt x="62081" y="32746"/>
                      </a:lnTo>
                      <a:lnTo>
                        <a:pt x="62039" y="32746"/>
                      </a:lnTo>
                      <a:lnTo>
                        <a:pt x="62101" y="32579"/>
                      </a:lnTo>
                      <a:lnTo>
                        <a:pt x="62101" y="32411"/>
                      </a:lnTo>
                      <a:lnTo>
                        <a:pt x="62206" y="32307"/>
                      </a:lnTo>
                      <a:lnTo>
                        <a:pt x="62206" y="32118"/>
                      </a:lnTo>
                      <a:lnTo>
                        <a:pt x="62185" y="32097"/>
                      </a:lnTo>
                      <a:lnTo>
                        <a:pt x="62164" y="31909"/>
                      </a:lnTo>
                      <a:lnTo>
                        <a:pt x="62248" y="31742"/>
                      </a:lnTo>
                      <a:lnTo>
                        <a:pt x="62248" y="31574"/>
                      </a:lnTo>
                      <a:lnTo>
                        <a:pt x="62394" y="31386"/>
                      </a:lnTo>
                      <a:lnTo>
                        <a:pt x="62394" y="31240"/>
                      </a:lnTo>
                      <a:lnTo>
                        <a:pt x="62353" y="31135"/>
                      </a:lnTo>
                      <a:lnTo>
                        <a:pt x="62353" y="30947"/>
                      </a:lnTo>
                      <a:lnTo>
                        <a:pt x="62394" y="30905"/>
                      </a:lnTo>
                      <a:lnTo>
                        <a:pt x="62394" y="30758"/>
                      </a:lnTo>
                      <a:lnTo>
                        <a:pt x="62311" y="30758"/>
                      </a:lnTo>
                      <a:lnTo>
                        <a:pt x="62269" y="30486"/>
                      </a:lnTo>
                      <a:lnTo>
                        <a:pt x="62269" y="30403"/>
                      </a:lnTo>
                      <a:lnTo>
                        <a:pt x="62248" y="30319"/>
                      </a:lnTo>
                      <a:lnTo>
                        <a:pt x="62248" y="30110"/>
                      </a:lnTo>
                      <a:lnTo>
                        <a:pt x="62081" y="29921"/>
                      </a:lnTo>
                      <a:lnTo>
                        <a:pt x="62039" y="29921"/>
                      </a:lnTo>
                      <a:lnTo>
                        <a:pt x="61976" y="29817"/>
                      </a:lnTo>
                      <a:lnTo>
                        <a:pt x="62039" y="29775"/>
                      </a:lnTo>
                      <a:lnTo>
                        <a:pt x="62101" y="29608"/>
                      </a:lnTo>
                      <a:lnTo>
                        <a:pt x="62101" y="29566"/>
                      </a:lnTo>
                      <a:lnTo>
                        <a:pt x="61997" y="29649"/>
                      </a:lnTo>
                      <a:lnTo>
                        <a:pt x="61892" y="29608"/>
                      </a:lnTo>
                      <a:lnTo>
                        <a:pt x="61788" y="29231"/>
                      </a:lnTo>
                      <a:lnTo>
                        <a:pt x="61788" y="29126"/>
                      </a:lnTo>
                      <a:lnTo>
                        <a:pt x="61767" y="29043"/>
                      </a:lnTo>
                      <a:lnTo>
                        <a:pt x="61746" y="28833"/>
                      </a:lnTo>
                      <a:lnTo>
                        <a:pt x="61788" y="28750"/>
                      </a:lnTo>
                      <a:lnTo>
                        <a:pt x="61683" y="28457"/>
                      </a:lnTo>
                      <a:lnTo>
                        <a:pt x="61767" y="28394"/>
                      </a:lnTo>
                      <a:lnTo>
                        <a:pt x="61725" y="28352"/>
                      </a:lnTo>
                      <a:lnTo>
                        <a:pt x="61746" y="28310"/>
                      </a:lnTo>
                      <a:lnTo>
                        <a:pt x="61746" y="28227"/>
                      </a:lnTo>
                      <a:lnTo>
                        <a:pt x="61683" y="28185"/>
                      </a:lnTo>
                      <a:lnTo>
                        <a:pt x="61746" y="28080"/>
                      </a:lnTo>
                      <a:lnTo>
                        <a:pt x="61683" y="27975"/>
                      </a:lnTo>
                      <a:lnTo>
                        <a:pt x="61683" y="27892"/>
                      </a:lnTo>
                      <a:lnTo>
                        <a:pt x="61767" y="27829"/>
                      </a:lnTo>
                      <a:lnTo>
                        <a:pt x="61662" y="27766"/>
                      </a:lnTo>
                      <a:lnTo>
                        <a:pt x="61641" y="27620"/>
                      </a:lnTo>
                      <a:lnTo>
                        <a:pt x="61683" y="27557"/>
                      </a:lnTo>
                      <a:lnTo>
                        <a:pt x="61662" y="27452"/>
                      </a:lnTo>
                      <a:lnTo>
                        <a:pt x="61578" y="27515"/>
                      </a:lnTo>
                      <a:lnTo>
                        <a:pt x="61474" y="27494"/>
                      </a:lnTo>
                      <a:lnTo>
                        <a:pt x="61348" y="27390"/>
                      </a:lnTo>
                      <a:lnTo>
                        <a:pt x="61348" y="27264"/>
                      </a:lnTo>
                      <a:lnTo>
                        <a:pt x="61411" y="27180"/>
                      </a:lnTo>
                      <a:lnTo>
                        <a:pt x="61411" y="27076"/>
                      </a:lnTo>
                      <a:lnTo>
                        <a:pt x="61244" y="26887"/>
                      </a:lnTo>
                      <a:lnTo>
                        <a:pt x="61160" y="26887"/>
                      </a:lnTo>
                      <a:lnTo>
                        <a:pt x="61055" y="26762"/>
                      </a:lnTo>
                      <a:lnTo>
                        <a:pt x="61139" y="26720"/>
                      </a:lnTo>
                      <a:lnTo>
                        <a:pt x="61139" y="26615"/>
                      </a:lnTo>
                      <a:lnTo>
                        <a:pt x="61202" y="26511"/>
                      </a:lnTo>
                      <a:lnTo>
                        <a:pt x="61097" y="26323"/>
                      </a:lnTo>
                      <a:lnTo>
                        <a:pt x="61013" y="26323"/>
                      </a:lnTo>
                      <a:lnTo>
                        <a:pt x="60930" y="26239"/>
                      </a:lnTo>
                      <a:lnTo>
                        <a:pt x="60825" y="26218"/>
                      </a:lnTo>
                      <a:lnTo>
                        <a:pt x="60804" y="26134"/>
                      </a:lnTo>
                      <a:lnTo>
                        <a:pt x="60532" y="26051"/>
                      </a:lnTo>
                      <a:lnTo>
                        <a:pt x="60490" y="25988"/>
                      </a:lnTo>
                      <a:lnTo>
                        <a:pt x="60323" y="25946"/>
                      </a:lnTo>
                      <a:lnTo>
                        <a:pt x="60260" y="25904"/>
                      </a:lnTo>
                      <a:lnTo>
                        <a:pt x="60197" y="25779"/>
                      </a:lnTo>
                      <a:lnTo>
                        <a:pt x="60114" y="25695"/>
                      </a:lnTo>
                      <a:lnTo>
                        <a:pt x="59988" y="25695"/>
                      </a:lnTo>
                      <a:lnTo>
                        <a:pt x="59863" y="25590"/>
                      </a:lnTo>
                      <a:lnTo>
                        <a:pt x="59737" y="25695"/>
                      </a:lnTo>
                      <a:lnTo>
                        <a:pt x="59633" y="25695"/>
                      </a:lnTo>
                      <a:lnTo>
                        <a:pt x="59570" y="25779"/>
                      </a:lnTo>
                      <a:lnTo>
                        <a:pt x="59486" y="25779"/>
                      </a:lnTo>
                      <a:lnTo>
                        <a:pt x="59444" y="25716"/>
                      </a:lnTo>
                      <a:lnTo>
                        <a:pt x="59444" y="25674"/>
                      </a:lnTo>
                      <a:lnTo>
                        <a:pt x="59340" y="25611"/>
                      </a:lnTo>
                      <a:lnTo>
                        <a:pt x="59235" y="25611"/>
                      </a:lnTo>
                      <a:lnTo>
                        <a:pt x="59277" y="25799"/>
                      </a:lnTo>
                      <a:lnTo>
                        <a:pt x="59381" y="25904"/>
                      </a:lnTo>
                      <a:lnTo>
                        <a:pt x="59340" y="26009"/>
                      </a:lnTo>
                      <a:lnTo>
                        <a:pt x="59381" y="26197"/>
                      </a:lnTo>
                      <a:lnTo>
                        <a:pt x="59340" y="26343"/>
                      </a:lnTo>
                      <a:lnTo>
                        <a:pt x="59256" y="26406"/>
                      </a:lnTo>
                      <a:lnTo>
                        <a:pt x="59256" y="26239"/>
                      </a:lnTo>
                      <a:lnTo>
                        <a:pt x="59277" y="26113"/>
                      </a:lnTo>
                      <a:lnTo>
                        <a:pt x="59214" y="25946"/>
                      </a:lnTo>
                      <a:lnTo>
                        <a:pt x="59151" y="26030"/>
                      </a:lnTo>
                      <a:lnTo>
                        <a:pt x="59172" y="26134"/>
                      </a:lnTo>
                      <a:lnTo>
                        <a:pt x="59130" y="26323"/>
                      </a:lnTo>
                      <a:lnTo>
                        <a:pt x="59005" y="26406"/>
                      </a:lnTo>
                      <a:lnTo>
                        <a:pt x="58733" y="26427"/>
                      </a:lnTo>
                      <a:lnTo>
                        <a:pt x="58712" y="26364"/>
                      </a:lnTo>
                      <a:lnTo>
                        <a:pt x="58816" y="26302"/>
                      </a:lnTo>
                      <a:lnTo>
                        <a:pt x="58858" y="26302"/>
                      </a:lnTo>
                      <a:lnTo>
                        <a:pt x="58858" y="26134"/>
                      </a:lnTo>
                      <a:lnTo>
                        <a:pt x="58921" y="26051"/>
                      </a:lnTo>
                      <a:lnTo>
                        <a:pt x="58963" y="26009"/>
                      </a:lnTo>
                      <a:lnTo>
                        <a:pt x="58837" y="26009"/>
                      </a:lnTo>
                      <a:lnTo>
                        <a:pt x="58796" y="26051"/>
                      </a:lnTo>
                      <a:lnTo>
                        <a:pt x="58733" y="26009"/>
                      </a:lnTo>
                      <a:lnTo>
                        <a:pt x="58649" y="26030"/>
                      </a:lnTo>
                      <a:lnTo>
                        <a:pt x="58607" y="26134"/>
                      </a:lnTo>
                      <a:lnTo>
                        <a:pt x="58524" y="26197"/>
                      </a:lnTo>
                      <a:lnTo>
                        <a:pt x="58503" y="26197"/>
                      </a:lnTo>
                      <a:lnTo>
                        <a:pt x="58419" y="26302"/>
                      </a:lnTo>
                      <a:lnTo>
                        <a:pt x="58272" y="26155"/>
                      </a:lnTo>
                      <a:lnTo>
                        <a:pt x="58293" y="26009"/>
                      </a:lnTo>
                      <a:lnTo>
                        <a:pt x="58231" y="25820"/>
                      </a:lnTo>
                      <a:lnTo>
                        <a:pt x="58105" y="25632"/>
                      </a:lnTo>
                      <a:lnTo>
                        <a:pt x="58105" y="25339"/>
                      </a:lnTo>
                      <a:lnTo>
                        <a:pt x="57980" y="25381"/>
                      </a:lnTo>
                      <a:lnTo>
                        <a:pt x="57917" y="25381"/>
                      </a:lnTo>
                      <a:lnTo>
                        <a:pt x="57812" y="25423"/>
                      </a:lnTo>
                      <a:lnTo>
                        <a:pt x="57749" y="25465"/>
                      </a:lnTo>
                      <a:lnTo>
                        <a:pt x="57603" y="25548"/>
                      </a:lnTo>
                      <a:lnTo>
                        <a:pt x="57498" y="25548"/>
                      </a:lnTo>
                      <a:lnTo>
                        <a:pt x="57394" y="25486"/>
                      </a:lnTo>
                      <a:lnTo>
                        <a:pt x="57289" y="25527"/>
                      </a:lnTo>
                      <a:lnTo>
                        <a:pt x="57184" y="25444"/>
                      </a:lnTo>
                      <a:lnTo>
                        <a:pt x="57143" y="25339"/>
                      </a:lnTo>
                      <a:lnTo>
                        <a:pt x="57184" y="25255"/>
                      </a:lnTo>
                      <a:lnTo>
                        <a:pt x="57226" y="25109"/>
                      </a:lnTo>
                      <a:lnTo>
                        <a:pt x="57331" y="24942"/>
                      </a:lnTo>
                      <a:lnTo>
                        <a:pt x="57477" y="24774"/>
                      </a:lnTo>
                      <a:lnTo>
                        <a:pt x="57477" y="24586"/>
                      </a:lnTo>
                      <a:lnTo>
                        <a:pt x="57666" y="24439"/>
                      </a:lnTo>
                      <a:lnTo>
                        <a:pt x="57666" y="24272"/>
                      </a:lnTo>
                      <a:lnTo>
                        <a:pt x="57708" y="24251"/>
                      </a:lnTo>
                      <a:lnTo>
                        <a:pt x="57708" y="24188"/>
                      </a:lnTo>
                      <a:lnTo>
                        <a:pt x="57812" y="24021"/>
                      </a:lnTo>
                      <a:lnTo>
                        <a:pt x="57854" y="23874"/>
                      </a:lnTo>
                      <a:lnTo>
                        <a:pt x="57917" y="23749"/>
                      </a:lnTo>
                      <a:lnTo>
                        <a:pt x="57875" y="23623"/>
                      </a:lnTo>
                      <a:lnTo>
                        <a:pt x="57917" y="23540"/>
                      </a:lnTo>
                      <a:lnTo>
                        <a:pt x="57917" y="23330"/>
                      </a:lnTo>
                      <a:lnTo>
                        <a:pt x="57980" y="23038"/>
                      </a:lnTo>
                      <a:lnTo>
                        <a:pt x="58021" y="23038"/>
                      </a:lnTo>
                      <a:lnTo>
                        <a:pt x="58063" y="22828"/>
                      </a:lnTo>
                      <a:lnTo>
                        <a:pt x="58168" y="22786"/>
                      </a:lnTo>
                      <a:lnTo>
                        <a:pt x="58126" y="22661"/>
                      </a:lnTo>
                      <a:lnTo>
                        <a:pt x="58293" y="22473"/>
                      </a:lnTo>
                      <a:lnTo>
                        <a:pt x="58314" y="22305"/>
                      </a:lnTo>
                      <a:lnTo>
                        <a:pt x="58419" y="22242"/>
                      </a:lnTo>
                      <a:lnTo>
                        <a:pt x="58377" y="22033"/>
                      </a:lnTo>
                      <a:lnTo>
                        <a:pt x="58419" y="21970"/>
                      </a:lnTo>
                      <a:lnTo>
                        <a:pt x="58419" y="21845"/>
                      </a:lnTo>
                      <a:lnTo>
                        <a:pt x="58503" y="21782"/>
                      </a:lnTo>
                      <a:lnTo>
                        <a:pt x="58544" y="21782"/>
                      </a:lnTo>
                      <a:lnTo>
                        <a:pt x="58544" y="21657"/>
                      </a:lnTo>
                      <a:lnTo>
                        <a:pt x="58503" y="21573"/>
                      </a:lnTo>
                      <a:lnTo>
                        <a:pt x="58503" y="21343"/>
                      </a:lnTo>
                      <a:lnTo>
                        <a:pt x="58482" y="21217"/>
                      </a:lnTo>
                      <a:lnTo>
                        <a:pt x="58544" y="21029"/>
                      </a:lnTo>
                      <a:lnTo>
                        <a:pt x="58712" y="20841"/>
                      </a:lnTo>
                      <a:lnTo>
                        <a:pt x="58754" y="20631"/>
                      </a:lnTo>
                      <a:lnTo>
                        <a:pt x="58607" y="20401"/>
                      </a:lnTo>
                      <a:lnTo>
                        <a:pt x="58628" y="20276"/>
                      </a:lnTo>
                      <a:lnTo>
                        <a:pt x="58733" y="20171"/>
                      </a:lnTo>
                      <a:lnTo>
                        <a:pt x="58754" y="20045"/>
                      </a:lnTo>
                      <a:lnTo>
                        <a:pt x="58963" y="19878"/>
                      </a:lnTo>
                      <a:lnTo>
                        <a:pt x="59005" y="19773"/>
                      </a:lnTo>
                      <a:lnTo>
                        <a:pt x="59068" y="19773"/>
                      </a:lnTo>
                      <a:lnTo>
                        <a:pt x="59151" y="19857"/>
                      </a:lnTo>
                      <a:lnTo>
                        <a:pt x="59277" y="19836"/>
                      </a:lnTo>
                      <a:lnTo>
                        <a:pt x="59486" y="19669"/>
                      </a:lnTo>
                      <a:lnTo>
                        <a:pt x="59674" y="19669"/>
                      </a:lnTo>
                      <a:lnTo>
                        <a:pt x="59842" y="19564"/>
                      </a:lnTo>
                      <a:lnTo>
                        <a:pt x="59967" y="19564"/>
                      </a:lnTo>
                      <a:lnTo>
                        <a:pt x="60072" y="19481"/>
                      </a:lnTo>
                      <a:lnTo>
                        <a:pt x="60177" y="19481"/>
                      </a:lnTo>
                      <a:lnTo>
                        <a:pt x="60281" y="19460"/>
                      </a:lnTo>
                      <a:lnTo>
                        <a:pt x="60323" y="19376"/>
                      </a:lnTo>
                      <a:lnTo>
                        <a:pt x="60428" y="19460"/>
                      </a:lnTo>
                      <a:lnTo>
                        <a:pt x="60386" y="19585"/>
                      </a:lnTo>
                      <a:lnTo>
                        <a:pt x="60469" y="19627"/>
                      </a:lnTo>
                      <a:lnTo>
                        <a:pt x="60574" y="19732"/>
                      </a:lnTo>
                      <a:lnTo>
                        <a:pt x="60616" y="19627"/>
                      </a:lnTo>
                      <a:lnTo>
                        <a:pt x="60721" y="19543"/>
                      </a:lnTo>
                      <a:lnTo>
                        <a:pt x="60574" y="19418"/>
                      </a:lnTo>
                      <a:lnTo>
                        <a:pt x="60574" y="19355"/>
                      </a:lnTo>
                      <a:lnTo>
                        <a:pt x="60700" y="19271"/>
                      </a:lnTo>
                      <a:lnTo>
                        <a:pt x="60909" y="19313"/>
                      </a:lnTo>
                      <a:lnTo>
                        <a:pt x="61013" y="19250"/>
                      </a:lnTo>
                      <a:lnTo>
                        <a:pt x="61244" y="19250"/>
                      </a:lnTo>
                      <a:lnTo>
                        <a:pt x="61306" y="19334"/>
                      </a:lnTo>
                      <a:lnTo>
                        <a:pt x="61348" y="19334"/>
                      </a:lnTo>
                      <a:lnTo>
                        <a:pt x="61432" y="19250"/>
                      </a:lnTo>
                      <a:lnTo>
                        <a:pt x="61516" y="19250"/>
                      </a:lnTo>
                      <a:lnTo>
                        <a:pt x="61474" y="19146"/>
                      </a:lnTo>
                      <a:lnTo>
                        <a:pt x="61557" y="19104"/>
                      </a:lnTo>
                      <a:lnTo>
                        <a:pt x="61746" y="19104"/>
                      </a:lnTo>
                      <a:lnTo>
                        <a:pt x="61829" y="19208"/>
                      </a:lnTo>
                      <a:lnTo>
                        <a:pt x="62039" y="19125"/>
                      </a:lnTo>
                      <a:lnTo>
                        <a:pt x="62039" y="19041"/>
                      </a:lnTo>
                      <a:lnTo>
                        <a:pt x="61955" y="18999"/>
                      </a:lnTo>
                      <a:lnTo>
                        <a:pt x="61892" y="19041"/>
                      </a:lnTo>
                      <a:lnTo>
                        <a:pt x="61767" y="18957"/>
                      </a:lnTo>
                      <a:lnTo>
                        <a:pt x="61850" y="18832"/>
                      </a:lnTo>
                      <a:lnTo>
                        <a:pt x="61871" y="18916"/>
                      </a:lnTo>
                      <a:lnTo>
                        <a:pt x="62039" y="18853"/>
                      </a:lnTo>
                      <a:lnTo>
                        <a:pt x="61871" y="18748"/>
                      </a:lnTo>
                      <a:lnTo>
                        <a:pt x="61871" y="18685"/>
                      </a:lnTo>
                      <a:lnTo>
                        <a:pt x="61955" y="18685"/>
                      </a:lnTo>
                      <a:lnTo>
                        <a:pt x="62101" y="18497"/>
                      </a:lnTo>
                      <a:lnTo>
                        <a:pt x="62269" y="18497"/>
                      </a:lnTo>
                      <a:lnTo>
                        <a:pt x="62353" y="18581"/>
                      </a:lnTo>
                      <a:lnTo>
                        <a:pt x="62457" y="18518"/>
                      </a:lnTo>
                      <a:lnTo>
                        <a:pt x="62666" y="18581"/>
                      </a:lnTo>
                      <a:lnTo>
                        <a:pt x="62813" y="18581"/>
                      </a:lnTo>
                      <a:lnTo>
                        <a:pt x="62813" y="18623"/>
                      </a:lnTo>
                      <a:lnTo>
                        <a:pt x="62897" y="18685"/>
                      </a:lnTo>
                      <a:lnTo>
                        <a:pt x="62959" y="18644"/>
                      </a:lnTo>
                      <a:lnTo>
                        <a:pt x="62918" y="18581"/>
                      </a:lnTo>
                      <a:lnTo>
                        <a:pt x="63106" y="18581"/>
                      </a:lnTo>
                      <a:lnTo>
                        <a:pt x="63252" y="18602"/>
                      </a:lnTo>
                      <a:lnTo>
                        <a:pt x="63357" y="18602"/>
                      </a:lnTo>
                      <a:lnTo>
                        <a:pt x="63462" y="18685"/>
                      </a:lnTo>
                      <a:lnTo>
                        <a:pt x="63462" y="18727"/>
                      </a:lnTo>
                      <a:lnTo>
                        <a:pt x="63629" y="18748"/>
                      </a:lnTo>
                      <a:lnTo>
                        <a:pt x="63734" y="18664"/>
                      </a:lnTo>
                      <a:lnTo>
                        <a:pt x="63796" y="18685"/>
                      </a:lnTo>
                      <a:lnTo>
                        <a:pt x="63838" y="18769"/>
                      </a:lnTo>
                      <a:lnTo>
                        <a:pt x="63629" y="18916"/>
                      </a:lnTo>
                      <a:lnTo>
                        <a:pt x="63441" y="18916"/>
                      </a:lnTo>
                      <a:lnTo>
                        <a:pt x="63378" y="18978"/>
                      </a:lnTo>
                      <a:lnTo>
                        <a:pt x="63378" y="19083"/>
                      </a:lnTo>
                      <a:lnTo>
                        <a:pt x="63273" y="19083"/>
                      </a:lnTo>
                      <a:lnTo>
                        <a:pt x="63252" y="19125"/>
                      </a:lnTo>
                      <a:lnTo>
                        <a:pt x="63315" y="19146"/>
                      </a:lnTo>
                      <a:lnTo>
                        <a:pt x="63378" y="19146"/>
                      </a:lnTo>
                      <a:lnTo>
                        <a:pt x="63545" y="19355"/>
                      </a:lnTo>
                      <a:lnTo>
                        <a:pt x="63587" y="19313"/>
                      </a:lnTo>
                      <a:lnTo>
                        <a:pt x="63775" y="19250"/>
                      </a:lnTo>
                      <a:lnTo>
                        <a:pt x="63859" y="19146"/>
                      </a:lnTo>
                      <a:lnTo>
                        <a:pt x="63838" y="19104"/>
                      </a:lnTo>
                      <a:lnTo>
                        <a:pt x="63964" y="19041"/>
                      </a:lnTo>
                      <a:lnTo>
                        <a:pt x="63880" y="18916"/>
                      </a:lnTo>
                      <a:lnTo>
                        <a:pt x="63964" y="18916"/>
                      </a:lnTo>
                      <a:lnTo>
                        <a:pt x="64089" y="19083"/>
                      </a:lnTo>
                      <a:lnTo>
                        <a:pt x="64173" y="19104"/>
                      </a:lnTo>
                      <a:lnTo>
                        <a:pt x="64215" y="19020"/>
                      </a:lnTo>
                      <a:lnTo>
                        <a:pt x="64173" y="18978"/>
                      </a:lnTo>
                      <a:lnTo>
                        <a:pt x="64257" y="18916"/>
                      </a:lnTo>
                      <a:lnTo>
                        <a:pt x="64298" y="18832"/>
                      </a:lnTo>
                      <a:lnTo>
                        <a:pt x="64319" y="18832"/>
                      </a:lnTo>
                      <a:lnTo>
                        <a:pt x="64319" y="18727"/>
                      </a:lnTo>
                      <a:lnTo>
                        <a:pt x="64298" y="18664"/>
                      </a:lnTo>
                      <a:lnTo>
                        <a:pt x="64382" y="18623"/>
                      </a:lnTo>
                      <a:lnTo>
                        <a:pt x="64466" y="18685"/>
                      </a:lnTo>
                      <a:lnTo>
                        <a:pt x="64529" y="18623"/>
                      </a:lnTo>
                      <a:lnTo>
                        <a:pt x="64591" y="18685"/>
                      </a:lnTo>
                      <a:lnTo>
                        <a:pt x="64612" y="18769"/>
                      </a:lnTo>
                      <a:lnTo>
                        <a:pt x="64696" y="18811"/>
                      </a:lnTo>
                      <a:lnTo>
                        <a:pt x="64842" y="18664"/>
                      </a:lnTo>
                      <a:lnTo>
                        <a:pt x="64780" y="18602"/>
                      </a:lnTo>
                      <a:lnTo>
                        <a:pt x="64780" y="18581"/>
                      </a:lnTo>
                      <a:lnTo>
                        <a:pt x="64842" y="18518"/>
                      </a:lnTo>
                      <a:lnTo>
                        <a:pt x="64926" y="18560"/>
                      </a:lnTo>
                      <a:lnTo>
                        <a:pt x="65010" y="18497"/>
                      </a:lnTo>
                      <a:lnTo>
                        <a:pt x="65094" y="18497"/>
                      </a:lnTo>
                      <a:lnTo>
                        <a:pt x="65114" y="18455"/>
                      </a:lnTo>
                      <a:lnTo>
                        <a:pt x="65010" y="18351"/>
                      </a:lnTo>
                      <a:lnTo>
                        <a:pt x="65031" y="18288"/>
                      </a:lnTo>
                      <a:lnTo>
                        <a:pt x="65031" y="18246"/>
                      </a:lnTo>
                      <a:lnTo>
                        <a:pt x="64926" y="18183"/>
                      </a:lnTo>
                      <a:lnTo>
                        <a:pt x="64884" y="18141"/>
                      </a:lnTo>
                      <a:lnTo>
                        <a:pt x="64884" y="18162"/>
                      </a:lnTo>
                      <a:lnTo>
                        <a:pt x="64884" y="18204"/>
                      </a:lnTo>
                      <a:lnTo>
                        <a:pt x="64822" y="18204"/>
                      </a:lnTo>
                      <a:lnTo>
                        <a:pt x="64717" y="18162"/>
                      </a:lnTo>
                      <a:lnTo>
                        <a:pt x="64696" y="18183"/>
                      </a:lnTo>
                      <a:lnTo>
                        <a:pt x="64696" y="18246"/>
                      </a:lnTo>
                      <a:lnTo>
                        <a:pt x="64591" y="18246"/>
                      </a:lnTo>
                      <a:lnTo>
                        <a:pt x="64529" y="18288"/>
                      </a:lnTo>
                      <a:lnTo>
                        <a:pt x="64466" y="18246"/>
                      </a:lnTo>
                      <a:lnTo>
                        <a:pt x="64487" y="18141"/>
                      </a:lnTo>
                      <a:lnTo>
                        <a:pt x="64529" y="18100"/>
                      </a:lnTo>
                      <a:lnTo>
                        <a:pt x="64382" y="17890"/>
                      </a:lnTo>
                      <a:lnTo>
                        <a:pt x="64487" y="17828"/>
                      </a:lnTo>
                      <a:lnTo>
                        <a:pt x="64382" y="17660"/>
                      </a:lnTo>
                      <a:lnTo>
                        <a:pt x="64424" y="17451"/>
                      </a:lnTo>
                      <a:lnTo>
                        <a:pt x="64424" y="17325"/>
                      </a:lnTo>
                      <a:lnTo>
                        <a:pt x="64508" y="17221"/>
                      </a:lnTo>
                      <a:lnTo>
                        <a:pt x="64508" y="17032"/>
                      </a:lnTo>
                      <a:lnTo>
                        <a:pt x="64612" y="16928"/>
                      </a:lnTo>
                      <a:lnTo>
                        <a:pt x="64612" y="16802"/>
                      </a:lnTo>
                      <a:lnTo>
                        <a:pt x="64591" y="16781"/>
                      </a:lnTo>
                      <a:lnTo>
                        <a:pt x="64717" y="16719"/>
                      </a:lnTo>
                      <a:lnTo>
                        <a:pt x="64591" y="16572"/>
                      </a:lnTo>
                      <a:lnTo>
                        <a:pt x="64633" y="16175"/>
                      </a:lnTo>
                      <a:lnTo>
                        <a:pt x="64738" y="16091"/>
                      </a:lnTo>
                      <a:lnTo>
                        <a:pt x="64633" y="15944"/>
                      </a:lnTo>
                      <a:lnTo>
                        <a:pt x="64612" y="15777"/>
                      </a:lnTo>
                      <a:lnTo>
                        <a:pt x="64529" y="15735"/>
                      </a:lnTo>
                      <a:lnTo>
                        <a:pt x="64529" y="15672"/>
                      </a:lnTo>
                      <a:lnTo>
                        <a:pt x="64633" y="15589"/>
                      </a:lnTo>
                      <a:lnTo>
                        <a:pt x="64612" y="15442"/>
                      </a:lnTo>
                      <a:lnTo>
                        <a:pt x="64696" y="15379"/>
                      </a:lnTo>
                      <a:lnTo>
                        <a:pt x="64822" y="15170"/>
                      </a:lnTo>
                      <a:lnTo>
                        <a:pt x="64947" y="15212"/>
                      </a:lnTo>
                      <a:lnTo>
                        <a:pt x="65031" y="15149"/>
                      </a:lnTo>
                      <a:lnTo>
                        <a:pt x="65114" y="15170"/>
                      </a:lnTo>
                      <a:lnTo>
                        <a:pt x="65156" y="15107"/>
                      </a:lnTo>
                      <a:lnTo>
                        <a:pt x="65366" y="15107"/>
                      </a:lnTo>
                      <a:lnTo>
                        <a:pt x="65407" y="15045"/>
                      </a:lnTo>
                      <a:lnTo>
                        <a:pt x="65470" y="15024"/>
                      </a:lnTo>
                      <a:lnTo>
                        <a:pt x="65512" y="14919"/>
                      </a:lnTo>
                      <a:lnTo>
                        <a:pt x="65554" y="14919"/>
                      </a:lnTo>
                      <a:lnTo>
                        <a:pt x="65617" y="14898"/>
                      </a:lnTo>
                      <a:lnTo>
                        <a:pt x="65742" y="14898"/>
                      </a:lnTo>
                      <a:lnTo>
                        <a:pt x="65763" y="15003"/>
                      </a:lnTo>
                      <a:lnTo>
                        <a:pt x="65826" y="14961"/>
                      </a:lnTo>
                      <a:lnTo>
                        <a:pt x="65868" y="14961"/>
                      </a:lnTo>
                      <a:lnTo>
                        <a:pt x="65951" y="15107"/>
                      </a:lnTo>
                      <a:lnTo>
                        <a:pt x="65993" y="15107"/>
                      </a:lnTo>
                      <a:lnTo>
                        <a:pt x="66098" y="14961"/>
                      </a:lnTo>
                      <a:lnTo>
                        <a:pt x="66098" y="14835"/>
                      </a:lnTo>
                      <a:lnTo>
                        <a:pt x="66182" y="14815"/>
                      </a:lnTo>
                      <a:lnTo>
                        <a:pt x="66203" y="14689"/>
                      </a:lnTo>
                      <a:lnTo>
                        <a:pt x="66265" y="14689"/>
                      </a:lnTo>
                      <a:lnTo>
                        <a:pt x="66286" y="14794"/>
                      </a:lnTo>
                      <a:lnTo>
                        <a:pt x="66412" y="14856"/>
                      </a:lnTo>
                      <a:lnTo>
                        <a:pt x="66412" y="15003"/>
                      </a:lnTo>
                      <a:lnTo>
                        <a:pt x="66391" y="15045"/>
                      </a:lnTo>
                      <a:lnTo>
                        <a:pt x="66454" y="15107"/>
                      </a:lnTo>
                      <a:lnTo>
                        <a:pt x="66475" y="15212"/>
                      </a:lnTo>
                      <a:lnTo>
                        <a:pt x="66391" y="15275"/>
                      </a:lnTo>
                      <a:lnTo>
                        <a:pt x="66454" y="15317"/>
                      </a:lnTo>
                      <a:lnTo>
                        <a:pt x="66475" y="15442"/>
                      </a:lnTo>
                      <a:lnTo>
                        <a:pt x="66454" y="15442"/>
                      </a:lnTo>
                      <a:lnTo>
                        <a:pt x="66454" y="15526"/>
                      </a:lnTo>
                      <a:lnTo>
                        <a:pt x="66475" y="15568"/>
                      </a:lnTo>
                      <a:lnTo>
                        <a:pt x="66412" y="15651"/>
                      </a:lnTo>
                      <a:lnTo>
                        <a:pt x="66391" y="15693"/>
                      </a:lnTo>
                      <a:lnTo>
                        <a:pt x="66412" y="15756"/>
                      </a:lnTo>
                      <a:lnTo>
                        <a:pt x="66516" y="15651"/>
                      </a:lnTo>
                      <a:lnTo>
                        <a:pt x="66558" y="15735"/>
                      </a:lnTo>
                      <a:lnTo>
                        <a:pt x="66663" y="15756"/>
                      </a:lnTo>
                      <a:lnTo>
                        <a:pt x="66684" y="15965"/>
                      </a:lnTo>
                      <a:lnTo>
                        <a:pt x="66726" y="15903"/>
                      </a:lnTo>
                      <a:lnTo>
                        <a:pt x="66726" y="15840"/>
                      </a:lnTo>
                      <a:lnTo>
                        <a:pt x="66830" y="15735"/>
                      </a:lnTo>
                      <a:lnTo>
                        <a:pt x="66914" y="15735"/>
                      </a:lnTo>
                      <a:lnTo>
                        <a:pt x="66977" y="15777"/>
                      </a:lnTo>
                      <a:lnTo>
                        <a:pt x="66872" y="15944"/>
                      </a:lnTo>
                      <a:lnTo>
                        <a:pt x="66977" y="16049"/>
                      </a:lnTo>
                      <a:lnTo>
                        <a:pt x="66998" y="16175"/>
                      </a:lnTo>
                      <a:lnTo>
                        <a:pt x="67081" y="15986"/>
                      </a:lnTo>
                      <a:lnTo>
                        <a:pt x="67144" y="15944"/>
                      </a:lnTo>
                      <a:lnTo>
                        <a:pt x="67144" y="15861"/>
                      </a:lnTo>
                      <a:lnTo>
                        <a:pt x="67207" y="15777"/>
                      </a:lnTo>
                      <a:lnTo>
                        <a:pt x="67207" y="15484"/>
                      </a:lnTo>
                      <a:lnTo>
                        <a:pt x="67291" y="15421"/>
                      </a:lnTo>
                      <a:lnTo>
                        <a:pt x="67207" y="15338"/>
                      </a:lnTo>
                      <a:lnTo>
                        <a:pt x="67311" y="15254"/>
                      </a:lnTo>
                      <a:lnTo>
                        <a:pt x="67311" y="15149"/>
                      </a:lnTo>
                      <a:lnTo>
                        <a:pt x="67249" y="15128"/>
                      </a:lnTo>
                      <a:lnTo>
                        <a:pt x="67249" y="15066"/>
                      </a:lnTo>
                      <a:lnTo>
                        <a:pt x="67311" y="15045"/>
                      </a:lnTo>
                      <a:lnTo>
                        <a:pt x="67332" y="14856"/>
                      </a:lnTo>
                      <a:lnTo>
                        <a:pt x="67249" y="14794"/>
                      </a:lnTo>
                      <a:lnTo>
                        <a:pt x="67311" y="14605"/>
                      </a:lnTo>
                      <a:lnTo>
                        <a:pt x="67395" y="14522"/>
                      </a:lnTo>
                      <a:lnTo>
                        <a:pt x="67542" y="14501"/>
                      </a:lnTo>
                      <a:lnTo>
                        <a:pt x="67604" y="14584"/>
                      </a:lnTo>
                      <a:lnTo>
                        <a:pt x="67667" y="14647"/>
                      </a:lnTo>
                      <a:lnTo>
                        <a:pt x="67730" y="14584"/>
                      </a:lnTo>
                      <a:lnTo>
                        <a:pt x="67646" y="14501"/>
                      </a:lnTo>
                      <a:lnTo>
                        <a:pt x="67688" y="14375"/>
                      </a:lnTo>
                      <a:lnTo>
                        <a:pt x="67521" y="14291"/>
                      </a:lnTo>
                      <a:lnTo>
                        <a:pt x="67479" y="14061"/>
                      </a:lnTo>
                      <a:lnTo>
                        <a:pt x="67395" y="13999"/>
                      </a:lnTo>
                      <a:lnTo>
                        <a:pt x="67395" y="13957"/>
                      </a:lnTo>
                      <a:lnTo>
                        <a:pt x="67291" y="13873"/>
                      </a:lnTo>
                      <a:lnTo>
                        <a:pt x="67270" y="13706"/>
                      </a:lnTo>
                      <a:lnTo>
                        <a:pt x="67311" y="13664"/>
                      </a:lnTo>
                      <a:lnTo>
                        <a:pt x="67291" y="13538"/>
                      </a:lnTo>
                      <a:lnTo>
                        <a:pt x="67165" y="13434"/>
                      </a:lnTo>
                      <a:lnTo>
                        <a:pt x="67186" y="13329"/>
                      </a:lnTo>
                      <a:lnTo>
                        <a:pt x="67123" y="13266"/>
                      </a:lnTo>
                      <a:lnTo>
                        <a:pt x="67291" y="13141"/>
                      </a:lnTo>
                      <a:lnTo>
                        <a:pt x="67416" y="13141"/>
                      </a:lnTo>
                      <a:lnTo>
                        <a:pt x="67521" y="13015"/>
                      </a:lnTo>
                      <a:lnTo>
                        <a:pt x="67688" y="13015"/>
                      </a:lnTo>
                      <a:lnTo>
                        <a:pt x="67730" y="12952"/>
                      </a:lnTo>
                      <a:lnTo>
                        <a:pt x="67897" y="13078"/>
                      </a:lnTo>
                      <a:lnTo>
                        <a:pt x="68044" y="13078"/>
                      </a:lnTo>
                      <a:lnTo>
                        <a:pt x="68107" y="13120"/>
                      </a:lnTo>
                      <a:lnTo>
                        <a:pt x="68211" y="13141"/>
                      </a:lnTo>
                      <a:lnTo>
                        <a:pt x="68274" y="13120"/>
                      </a:lnTo>
                      <a:lnTo>
                        <a:pt x="68127" y="13182"/>
                      </a:lnTo>
                      <a:lnTo>
                        <a:pt x="68211" y="13245"/>
                      </a:lnTo>
                      <a:lnTo>
                        <a:pt x="68065" y="13287"/>
                      </a:lnTo>
                      <a:lnTo>
                        <a:pt x="67939" y="13266"/>
                      </a:lnTo>
                      <a:lnTo>
                        <a:pt x="67793" y="13434"/>
                      </a:lnTo>
                      <a:lnTo>
                        <a:pt x="67793" y="13496"/>
                      </a:lnTo>
                      <a:lnTo>
                        <a:pt x="67835" y="13643"/>
                      </a:lnTo>
                      <a:lnTo>
                        <a:pt x="67835" y="13768"/>
                      </a:lnTo>
                      <a:lnTo>
                        <a:pt x="67918" y="13810"/>
                      </a:lnTo>
                      <a:lnTo>
                        <a:pt x="67939" y="13894"/>
                      </a:lnTo>
                      <a:lnTo>
                        <a:pt x="68065" y="14061"/>
                      </a:lnTo>
                      <a:lnTo>
                        <a:pt x="68065" y="14103"/>
                      </a:lnTo>
                      <a:lnTo>
                        <a:pt x="68107" y="14103"/>
                      </a:lnTo>
                      <a:lnTo>
                        <a:pt x="68065" y="14166"/>
                      </a:lnTo>
                      <a:lnTo>
                        <a:pt x="68211" y="14208"/>
                      </a:lnTo>
                      <a:lnTo>
                        <a:pt x="68232" y="14333"/>
                      </a:lnTo>
                      <a:lnTo>
                        <a:pt x="68232" y="14396"/>
                      </a:lnTo>
                      <a:lnTo>
                        <a:pt x="68169" y="14438"/>
                      </a:lnTo>
                      <a:lnTo>
                        <a:pt x="68211" y="14710"/>
                      </a:lnTo>
                      <a:lnTo>
                        <a:pt x="68253" y="14731"/>
                      </a:lnTo>
                      <a:lnTo>
                        <a:pt x="68316" y="14647"/>
                      </a:lnTo>
                      <a:lnTo>
                        <a:pt x="68358" y="14647"/>
                      </a:lnTo>
                      <a:lnTo>
                        <a:pt x="68441" y="14752"/>
                      </a:lnTo>
                      <a:lnTo>
                        <a:pt x="68483" y="14835"/>
                      </a:lnTo>
                      <a:lnTo>
                        <a:pt x="68420" y="15024"/>
                      </a:lnTo>
                      <a:lnTo>
                        <a:pt x="68420" y="15233"/>
                      </a:lnTo>
                      <a:lnTo>
                        <a:pt x="68483" y="15317"/>
                      </a:lnTo>
                      <a:lnTo>
                        <a:pt x="68567" y="15254"/>
                      </a:lnTo>
                      <a:lnTo>
                        <a:pt x="68672" y="15275"/>
                      </a:lnTo>
                      <a:lnTo>
                        <a:pt x="68692" y="15338"/>
                      </a:lnTo>
                      <a:lnTo>
                        <a:pt x="68672" y="15421"/>
                      </a:lnTo>
                      <a:lnTo>
                        <a:pt x="68588" y="15421"/>
                      </a:lnTo>
                      <a:lnTo>
                        <a:pt x="68483" y="15484"/>
                      </a:lnTo>
                      <a:lnTo>
                        <a:pt x="68462" y="15484"/>
                      </a:lnTo>
                      <a:lnTo>
                        <a:pt x="68337" y="15631"/>
                      </a:lnTo>
                      <a:lnTo>
                        <a:pt x="68316" y="15735"/>
                      </a:lnTo>
                      <a:lnTo>
                        <a:pt x="68169" y="15798"/>
                      </a:lnTo>
                      <a:lnTo>
                        <a:pt x="68148" y="15861"/>
                      </a:lnTo>
                      <a:lnTo>
                        <a:pt x="68065" y="15882"/>
                      </a:lnTo>
                      <a:lnTo>
                        <a:pt x="68065" y="15986"/>
                      </a:lnTo>
                      <a:lnTo>
                        <a:pt x="68023" y="16070"/>
                      </a:lnTo>
                      <a:lnTo>
                        <a:pt x="68065" y="16195"/>
                      </a:lnTo>
                      <a:lnTo>
                        <a:pt x="68148" y="16175"/>
                      </a:lnTo>
                      <a:lnTo>
                        <a:pt x="68148" y="16321"/>
                      </a:lnTo>
                      <a:lnTo>
                        <a:pt x="68044" y="16509"/>
                      </a:lnTo>
                      <a:lnTo>
                        <a:pt x="68065" y="16593"/>
                      </a:lnTo>
                      <a:lnTo>
                        <a:pt x="68127" y="16614"/>
                      </a:lnTo>
                      <a:lnTo>
                        <a:pt x="68107" y="16844"/>
                      </a:lnTo>
                      <a:lnTo>
                        <a:pt x="68127" y="17032"/>
                      </a:lnTo>
                      <a:lnTo>
                        <a:pt x="68065" y="17116"/>
                      </a:lnTo>
                      <a:lnTo>
                        <a:pt x="67939" y="17158"/>
                      </a:lnTo>
                      <a:lnTo>
                        <a:pt x="67918" y="17263"/>
                      </a:lnTo>
                      <a:lnTo>
                        <a:pt x="67960" y="17325"/>
                      </a:lnTo>
                      <a:lnTo>
                        <a:pt x="67939" y="17535"/>
                      </a:lnTo>
                      <a:lnTo>
                        <a:pt x="67918" y="17576"/>
                      </a:lnTo>
                      <a:lnTo>
                        <a:pt x="67939" y="17660"/>
                      </a:lnTo>
                      <a:lnTo>
                        <a:pt x="68044" y="17765"/>
                      </a:lnTo>
                      <a:lnTo>
                        <a:pt x="67960" y="17765"/>
                      </a:lnTo>
                      <a:lnTo>
                        <a:pt x="67939" y="17953"/>
                      </a:lnTo>
                      <a:lnTo>
                        <a:pt x="67960" y="17995"/>
                      </a:lnTo>
                      <a:lnTo>
                        <a:pt x="67960" y="18141"/>
                      </a:lnTo>
                      <a:lnTo>
                        <a:pt x="67855" y="18246"/>
                      </a:lnTo>
                      <a:lnTo>
                        <a:pt x="67939" y="18372"/>
                      </a:lnTo>
                      <a:lnTo>
                        <a:pt x="67939" y="18602"/>
                      </a:lnTo>
                      <a:lnTo>
                        <a:pt x="68023" y="18811"/>
                      </a:lnTo>
                      <a:lnTo>
                        <a:pt x="67835" y="19146"/>
                      </a:lnTo>
                      <a:lnTo>
                        <a:pt x="67939" y="19292"/>
                      </a:lnTo>
                      <a:lnTo>
                        <a:pt x="67835" y="19250"/>
                      </a:lnTo>
                      <a:lnTo>
                        <a:pt x="67625" y="19292"/>
                      </a:lnTo>
                      <a:lnTo>
                        <a:pt x="67625" y="19501"/>
                      </a:lnTo>
                      <a:lnTo>
                        <a:pt x="67646" y="19564"/>
                      </a:lnTo>
                      <a:lnTo>
                        <a:pt x="67521" y="19711"/>
                      </a:lnTo>
                      <a:lnTo>
                        <a:pt x="67291" y="19606"/>
                      </a:lnTo>
                      <a:lnTo>
                        <a:pt x="67186" y="19711"/>
                      </a:lnTo>
                      <a:lnTo>
                        <a:pt x="67186" y="19773"/>
                      </a:lnTo>
                      <a:lnTo>
                        <a:pt x="67332" y="19773"/>
                      </a:lnTo>
                      <a:lnTo>
                        <a:pt x="67542" y="20087"/>
                      </a:lnTo>
                      <a:lnTo>
                        <a:pt x="67542" y="20380"/>
                      </a:lnTo>
                      <a:lnTo>
                        <a:pt x="67500" y="20464"/>
                      </a:lnTo>
                      <a:lnTo>
                        <a:pt x="67542" y="20548"/>
                      </a:lnTo>
                      <a:lnTo>
                        <a:pt x="67437" y="20569"/>
                      </a:lnTo>
                      <a:lnTo>
                        <a:pt x="67416" y="20778"/>
                      </a:lnTo>
                      <a:lnTo>
                        <a:pt x="67291" y="20924"/>
                      </a:lnTo>
                      <a:lnTo>
                        <a:pt x="67270" y="21175"/>
                      </a:lnTo>
                      <a:lnTo>
                        <a:pt x="67374" y="21385"/>
                      </a:lnTo>
                      <a:lnTo>
                        <a:pt x="67416" y="21761"/>
                      </a:lnTo>
                      <a:lnTo>
                        <a:pt x="67583" y="22033"/>
                      </a:lnTo>
                      <a:lnTo>
                        <a:pt x="67583" y="22242"/>
                      </a:lnTo>
                      <a:lnTo>
                        <a:pt x="67835" y="22807"/>
                      </a:lnTo>
                      <a:lnTo>
                        <a:pt x="68148" y="23414"/>
                      </a:lnTo>
                      <a:lnTo>
                        <a:pt x="68462" y="23916"/>
                      </a:lnTo>
                      <a:lnTo>
                        <a:pt x="68630" y="24063"/>
                      </a:lnTo>
                      <a:lnTo>
                        <a:pt x="68630" y="24251"/>
                      </a:lnTo>
                      <a:lnTo>
                        <a:pt x="69048" y="24732"/>
                      </a:lnTo>
                      <a:lnTo>
                        <a:pt x="69488" y="25527"/>
                      </a:lnTo>
                      <a:lnTo>
                        <a:pt x="69697" y="25632"/>
                      </a:lnTo>
                      <a:lnTo>
                        <a:pt x="69843" y="25632"/>
                      </a:lnTo>
                      <a:lnTo>
                        <a:pt x="69927" y="25590"/>
                      </a:lnTo>
                      <a:lnTo>
                        <a:pt x="69927" y="25590"/>
                      </a:lnTo>
                      <a:lnTo>
                        <a:pt x="69885" y="25695"/>
                      </a:lnTo>
                      <a:lnTo>
                        <a:pt x="69780" y="25737"/>
                      </a:lnTo>
                      <a:lnTo>
                        <a:pt x="69697" y="25737"/>
                      </a:lnTo>
                      <a:lnTo>
                        <a:pt x="69843" y="25988"/>
                      </a:lnTo>
                      <a:lnTo>
                        <a:pt x="70052" y="26469"/>
                      </a:lnTo>
                      <a:lnTo>
                        <a:pt x="70094" y="26678"/>
                      </a:lnTo>
                      <a:lnTo>
                        <a:pt x="70220" y="26867"/>
                      </a:lnTo>
                      <a:lnTo>
                        <a:pt x="70450" y="26887"/>
                      </a:lnTo>
                      <a:lnTo>
                        <a:pt x="70471" y="26971"/>
                      </a:lnTo>
                      <a:lnTo>
                        <a:pt x="70471" y="27076"/>
                      </a:lnTo>
                      <a:lnTo>
                        <a:pt x="70513" y="27159"/>
                      </a:lnTo>
                      <a:lnTo>
                        <a:pt x="70471" y="27285"/>
                      </a:lnTo>
                      <a:lnTo>
                        <a:pt x="70617" y="27034"/>
                      </a:lnTo>
                      <a:lnTo>
                        <a:pt x="70659" y="26762"/>
                      </a:lnTo>
                      <a:lnTo>
                        <a:pt x="70680" y="26741"/>
                      </a:lnTo>
                      <a:lnTo>
                        <a:pt x="70680" y="26636"/>
                      </a:lnTo>
                      <a:lnTo>
                        <a:pt x="70827" y="26511"/>
                      </a:lnTo>
                      <a:lnTo>
                        <a:pt x="70848" y="26406"/>
                      </a:lnTo>
                      <a:lnTo>
                        <a:pt x="70827" y="26343"/>
                      </a:lnTo>
                      <a:lnTo>
                        <a:pt x="70868" y="26239"/>
                      </a:lnTo>
                      <a:lnTo>
                        <a:pt x="70931" y="25988"/>
                      </a:lnTo>
                      <a:lnTo>
                        <a:pt x="70868" y="25883"/>
                      </a:lnTo>
                      <a:lnTo>
                        <a:pt x="70889" y="25695"/>
                      </a:lnTo>
                      <a:lnTo>
                        <a:pt x="70994" y="25611"/>
                      </a:lnTo>
                      <a:lnTo>
                        <a:pt x="70889" y="25507"/>
                      </a:lnTo>
                      <a:lnTo>
                        <a:pt x="70848" y="25527"/>
                      </a:lnTo>
                      <a:lnTo>
                        <a:pt x="70764" y="25507"/>
                      </a:lnTo>
                      <a:lnTo>
                        <a:pt x="70827" y="25423"/>
                      </a:lnTo>
                      <a:lnTo>
                        <a:pt x="70743" y="25276"/>
                      </a:lnTo>
                      <a:lnTo>
                        <a:pt x="70785" y="25297"/>
                      </a:lnTo>
                      <a:lnTo>
                        <a:pt x="70848" y="25255"/>
                      </a:lnTo>
                      <a:lnTo>
                        <a:pt x="70743" y="25151"/>
                      </a:lnTo>
                      <a:lnTo>
                        <a:pt x="70764" y="25067"/>
                      </a:lnTo>
                      <a:lnTo>
                        <a:pt x="70785" y="24942"/>
                      </a:lnTo>
                      <a:lnTo>
                        <a:pt x="70659" y="24942"/>
                      </a:lnTo>
                      <a:lnTo>
                        <a:pt x="70576" y="24879"/>
                      </a:lnTo>
                      <a:lnTo>
                        <a:pt x="70638" y="24774"/>
                      </a:lnTo>
                      <a:lnTo>
                        <a:pt x="70743" y="24879"/>
                      </a:lnTo>
                      <a:lnTo>
                        <a:pt x="70889" y="24732"/>
                      </a:lnTo>
                      <a:lnTo>
                        <a:pt x="70973" y="24753"/>
                      </a:lnTo>
                      <a:lnTo>
                        <a:pt x="71078" y="24649"/>
                      </a:lnTo>
                      <a:lnTo>
                        <a:pt x="71182" y="24565"/>
                      </a:lnTo>
                      <a:lnTo>
                        <a:pt x="71203" y="24586"/>
                      </a:lnTo>
                      <a:lnTo>
                        <a:pt x="71350" y="24628"/>
                      </a:lnTo>
                      <a:lnTo>
                        <a:pt x="71266" y="24523"/>
                      </a:lnTo>
                      <a:lnTo>
                        <a:pt x="71099" y="24439"/>
                      </a:lnTo>
                      <a:lnTo>
                        <a:pt x="71099" y="24314"/>
                      </a:lnTo>
                      <a:lnTo>
                        <a:pt x="70952" y="24230"/>
                      </a:lnTo>
                      <a:lnTo>
                        <a:pt x="70848" y="23895"/>
                      </a:lnTo>
                      <a:lnTo>
                        <a:pt x="70931" y="23602"/>
                      </a:lnTo>
                      <a:lnTo>
                        <a:pt x="70827" y="23498"/>
                      </a:lnTo>
                      <a:lnTo>
                        <a:pt x="70889" y="23414"/>
                      </a:lnTo>
                      <a:lnTo>
                        <a:pt x="70931" y="23268"/>
                      </a:lnTo>
                      <a:lnTo>
                        <a:pt x="71036" y="23058"/>
                      </a:lnTo>
                      <a:lnTo>
                        <a:pt x="71078" y="23372"/>
                      </a:lnTo>
                      <a:lnTo>
                        <a:pt x="71161" y="23393"/>
                      </a:lnTo>
                      <a:lnTo>
                        <a:pt x="71350" y="23289"/>
                      </a:lnTo>
                      <a:lnTo>
                        <a:pt x="71371" y="23330"/>
                      </a:lnTo>
                      <a:lnTo>
                        <a:pt x="71705" y="23205"/>
                      </a:lnTo>
                      <a:lnTo>
                        <a:pt x="71705" y="23058"/>
                      </a:lnTo>
                      <a:lnTo>
                        <a:pt x="71789" y="22975"/>
                      </a:lnTo>
                      <a:lnTo>
                        <a:pt x="71664" y="22891"/>
                      </a:lnTo>
                      <a:lnTo>
                        <a:pt x="71454" y="22598"/>
                      </a:lnTo>
                      <a:lnTo>
                        <a:pt x="71371" y="22598"/>
                      </a:lnTo>
                      <a:lnTo>
                        <a:pt x="71078" y="22159"/>
                      </a:lnTo>
                      <a:lnTo>
                        <a:pt x="71078" y="22054"/>
                      </a:lnTo>
                      <a:lnTo>
                        <a:pt x="70994" y="21970"/>
                      </a:lnTo>
                      <a:lnTo>
                        <a:pt x="70973" y="21594"/>
                      </a:lnTo>
                      <a:lnTo>
                        <a:pt x="70994" y="21531"/>
                      </a:lnTo>
                      <a:lnTo>
                        <a:pt x="70952" y="21343"/>
                      </a:lnTo>
                      <a:lnTo>
                        <a:pt x="71036" y="21217"/>
                      </a:lnTo>
                      <a:lnTo>
                        <a:pt x="71036" y="21092"/>
                      </a:lnTo>
                      <a:lnTo>
                        <a:pt x="70889" y="21113"/>
                      </a:lnTo>
                      <a:lnTo>
                        <a:pt x="70868" y="21029"/>
                      </a:lnTo>
                      <a:lnTo>
                        <a:pt x="70973" y="20882"/>
                      </a:lnTo>
                      <a:lnTo>
                        <a:pt x="71078" y="20841"/>
                      </a:lnTo>
                      <a:lnTo>
                        <a:pt x="71078" y="20778"/>
                      </a:lnTo>
                      <a:lnTo>
                        <a:pt x="71078" y="20757"/>
                      </a:lnTo>
                      <a:lnTo>
                        <a:pt x="71161" y="20673"/>
                      </a:lnTo>
                      <a:lnTo>
                        <a:pt x="71182" y="20778"/>
                      </a:lnTo>
                      <a:lnTo>
                        <a:pt x="71182" y="20903"/>
                      </a:lnTo>
                      <a:lnTo>
                        <a:pt x="71140" y="21029"/>
                      </a:lnTo>
                      <a:lnTo>
                        <a:pt x="71140" y="21196"/>
                      </a:lnTo>
                      <a:lnTo>
                        <a:pt x="71308" y="21238"/>
                      </a:lnTo>
                      <a:lnTo>
                        <a:pt x="71475" y="21343"/>
                      </a:lnTo>
                      <a:lnTo>
                        <a:pt x="71559" y="21322"/>
                      </a:lnTo>
                      <a:lnTo>
                        <a:pt x="71559" y="21154"/>
                      </a:lnTo>
                      <a:lnTo>
                        <a:pt x="71601" y="21092"/>
                      </a:lnTo>
                      <a:lnTo>
                        <a:pt x="71496" y="20903"/>
                      </a:lnTo>
                      <a:lnTo>
                        <a:pt x="71245" y="20673"/>
                      </a:lnTo>
                      <a:lnTo>
                        <a:pt x="71245" y="20401"/>
                      </a:lnTo>
                      <a:lnTo>
                        <a:pt x="71099" y="20359"/>
                      </a:lnTo>
                      <a:lnTo>
                        <a:pt x="71078" y="20317"/>
                      </a:lnTo>
                      <a:lnTo>
                        <a:pt x="71057" y="20380"/>
                      </a:lnTo>
                      <a:lnTo>
                        <a:pt x="70973" y="20464"/>
                      </a:lnTo>
                      <a:lnTo>
                        <a:pt x="70973" y="20506"/>
                      </a:lnTo>
                      <a:lnTo>
                        <a:pt x="70931" y="20569"/>
                      </a:lnTo>
                      <a:lnTo>
                        <a:pt x="70785" y="20485"/>
                      </a:lnTo>
                      <a:lnTo>
                        <a:pt x="70785" y="20276"/>
                      </a:lnTo>
                      <a:lnTo>
                        <a:pt x="70722" y="20150"/>
                      </a:lnTo>
                      <a:lnTo>
                        <a:pt x="70617" y="19941"/>
                      </a:lnTo>
                      <a:lnTo>
                        <a:pt x="70680" y="19836"/>
                      </a:lnTo>
                      <a:lnTo>
                        <a:pt x="70743" y="19794"/>
                      </a:lnTo>
                      <a:lnTo>
                        <a:pt x="70722" y="19690"/>
                      </a:lnTo>
                      <a:lnTo>
                        <a:pt x="70785" y="19585"/>
                      </a:lnTo>
                      <a:lnTo>
                        <a:pt x="70722" y="19522"/>
                      </a:lnTo>
                      <a:lnTo>
                        <a:pt x="70743" y="19439"/>
                      </a:lnTo>
                      <a:lnTo>
                        <a:pt x="70743" y="19334"/>
                      </a:lnTo>
                      <a:lnTo>
                        <a:pt x="70659" y="19271"/>
                      </a:lnTo>
                      <a:lnTo>
                        <a:pt x="70555" y="19313"/>
                      </a:lnTo>
                      <a:lnTo>
                        <a:pt x="70366" y="19146"/>
                      </a:lnTo>
                      <a:lnTo>
                        <a:pt x="70241" y="19146"/>
                      </a:lnTo>
                      <a:lnTo>
                        <a:pt x="70157" y="19229"/>
                      </a:lnTo>
                      <a:lnTo>
                        <a:pt x="70157" y="19313"/>
                      </a:lnTo>
                      <a:lnTo>
                        <a:pt x="70304" y="19460"/>
                      </a:lnTo>
                      <a:lnTo>
                        <a:pt x="70262" y="19564"/>
                      </a:lnTo>
                      <a:lnTo>
                        <a:pt x="70220" y="19627"/>
                      </a:lnTo>
                      <a:lnTo>
                        <a:pt x="70094" y="19564"/>
                      </a:lnTo>
                      <a:lnTo>
                        <a:pt x="69927" y="19355"/>
                      </a:lnTo>
                      <a:lnTo>
                        <a:pt x="69822" y="19250"/>
                      </a:lnTo>
                      <a:lnTo>
                        <a:pt x="69739" y="19208"/>
                      </a:lnTo>
                      <a:lnTo>
                        <a:pt x="69801" y="19146"/>
                      </a:lnTo>
                      <a:lnTo>
                        <a:pt x="69697" y="18936"/>
                      </a:lnTo>
                      <a:lnTo>
                        <a:pt x="69697" y="18811"/>
                      </a:lnTo>
                      <a:lnTo>
                        <a:pt x="69697" y="18727"/>
                      </a:lnTo>
                      <a:lnTo>
                        <a:pt x="69634" y="18623"/>
                      </a:lnTo>
                      <a:lnTo>
                        <a:pt x="69697" y="18539"/>
                      </a:lnTo>
                      <a:lnTo>
                        <a:pt x="69634" y="18372"/>
                      </a:lnTo>
                      <a:lnTo>
                        <a:pt x="69718" y="18267"/>
                      </a:lnTo>
                      <a:lnTo>
                        <a:pt x="69718" y="18162"/>
                      </a:lnTo>
                      <a:lnTo>
                        <a:pt x="69739" y="18037"/>
                      </a:lnTo>
                      <a:lnTo>
                        <a:pt x="69739" y="17890"/>
                      </a:lnTo>
                      <a:lnTo>
                        <a:pt x="69697" y="17932"/>
                      </a:lnTo>
                      <a:lnTo>
                        <a:pt x="69592" y="17786"/>
                      </a:lnTo>
                      <a:lnTo>
                        <a:pt x="69613" y="17744"/>
                      </a:lnTo>
                      <a:lnTo>
                        <a:pt x="69697" y="17723"/>
                      </a:lnTo>
                      <a:lnTo>
                        <a:pt x="69801" y="17786"/>
                      </a:lnTo>
                      <a:lnTo>
                        <a:pt x="69801" y="17744"/>
                      </a:lnTo>
                      <a:lnTo>
                        <a:pt x="69718" y="17660"/>
                      </a:lnTo>
                      <a:lnTo>
                        <a:pt x="69634" y="17576"/>
                      </a:lnTo>
                      <a:lnTo>
                        <a:pt x="69676" y="17514"/>
                      </a:lnTo>
                      <a:lnTo>
                        <a:pt x="69718" y="17514"/>
                      </a:lnTo>
                      <a:lnTo>
                        <a:pt x="69697" y="17430"/>
                      </a:lnTo>
                      <a:lnTo>
                        <a:pt x="69613" y="17346"/>
                      </a:lnTo>
                      <a:lnTo>
                        <a:pt x="69488" y="17325"/>
                      </a:lnTo>
                      <a:lnTo>
                        <a:pt x="69467" y="17242"/>
                      </a:lnTo>
                      <a:lnTo>
                        <a:pt x="69508" y="17221"/>
                      </a:lnTo>
                      <a:lnTo>
                        <a:pt x="69488" y="17074"/>
                      </a:lnTo>
                      <a:lnTo>
                        <a:pt x="69383" y="16970"/>
                      </a:lnTo>
                      <a:lnTo>
                        <a:pt x="69404" y="16886"/>
                      </a:lnTo>
                      <a:lnTo>
                        <a:pt x="69425" y="16781"/>
                      </a:lnTo>
                      <a:lnTo>
                        <a:pt x="69488" y="16719"/>
                      </a:lnTo>
                      <a:lnTo>
                        <a:pt x="69404" y="16614"/>
                      </a:lnTo>
                      <a:lnTo>
                        <a:pt x="69425" y="16530"/>
                      </a:lnTo>
                      <a:lnTo>
                        <a:pt x="69508" y="16530"/>
                      </a:lnTo>
                      <a:lnTo>
                        <a:pt x="69613" y="16593"/>
                      </a:lnTo>
                      <a:lnTo>
                        <a:pt x="69697" y="16572"/>
                      </a:lnTo>
                      <a:lnTo>
                        <a:pt x="69739" y="16405"/>
                      </a:lnTo>
                      <a:lnTo>
                        <a:pt x="69822" y="16405"/>
                      </a:lnTo>
                      <a:lnTo>
                        <a:pt x="69885" y="16488"/>
                      </a:lnTo>
                      <a:lnTo>
                        <a:pt x="69927" y="16488"/>
                      </a:lnTo>
                      <a:lnTo>
                        <a:pt x="70011" y="16614"/>
                      </a:lnTo>
                      <a:lnTo>
                        <a:pt x="70136" y="16363"/>
                      </a:lnTo>
                      <a:lnTo>
                        <a:pt x="70011" y="16300"/>
                      </a:lnTo>
                      <a:lnTo>
                        <a:pt x="70032" y="16195"/>
                      </a:lnTo>
                      <a:lnTo>
                        <a:pt x="70115" y="16154"/>
                      </a:lnTo>
                      <a:lnTo>
                        <a:pt x="70241" y="15903"/>
                      </a:lnTo>
                      <a:lnTo>
                        <a:pt x="70241" y="15777"/>
                      </a:lnTo>
                      <a:lnTo>
                        <a:pt x="70324" y="15882"/>
                      </a:lnTo>
                      <a:lnTo>
                        <a:pt x="70429" y="15944"/>
                      </a:lnTo>
                      <a:lnTo>
                        <a:pt x="70429" y="16070"/>
                      </a:lnTo>
                      <a:lnTo>
                        <a:pt x="70555" y="16426"/>
                      </a:lnTo>
                      <a:lnTo>
                        <a:pt x="70638" y="16509"/>
                      </a:lnTo>
                      <a:lnTo>
                        <a:pt x="70680" y="16468"/>
                      </a:lnTo>
                      <a:lnTo>
                        <a:pt x="70722" y="16154"/>
                      </a:lnTo>
                      <a:lnTo>
                        <a:pt x="70743" y="16049"/>
                      </a:lnTo>
                      <a:lnTo>
                        <a:pt x="70722" y="15903"/>
                      </a:lnTo>
                      <a:lnTo>
                        <a:pt x="70785" y="15798"/>
                      </a:lnTo>
                      <a:lnTo>
                        <a:pt x="70722" y="15651"/>
                      </a:lnTo>
                      <a:lnTo>
                        <a:pt x="70827" y="15693"/>
                      </a:lnTo>
                      <a:lnTo>
                        <a:pt x="70889" y="15631"/>
                      </a:lnTo>
                      <a:lnTo>
                        <a:pt x="70952" y="15421"/>
                      </a:lnTo>
                      <a:lnTo>
                        <a:pt x="71057" y="15421"/>
                      </a:lnTo>
                      <a:lnTo>
                        <a:pt x="71182" y="15254"/>
                      </a:lnTo>
                      <a:lnTo>
                        <a:pt x="71308" y="15233"/>
                      </a:lnTo>
                      <a:lnTo>
                        <a:pt x="71371" y="15275"/>
                      </a:lnTo>
                      <a:lnTo>
                        <a:pt x="71559" y="15149"/>
                      </a:lnTo>
                      <a:lnTo>
                        <a:pt x="71705" y="15170"/>
                      </a:lnTo>
                      <a:lnTo>
                        <a:pt x="72019" y="15359"/>
                      </a:lnTo>
                      <a:lnTo>
                        <a:pt x="72040" y="15463"/>
                      </a:lnTo>
                      <a:lnTo>
                        <a:pt x="72124" y="15484"/>
                      </a:lnTo>
                      <a:lnTo>
                        <a:pt x="72229" y="15463"/>
                      </a:lnTo>
                      <a:lnTo>
                        <a:pt x="72291" y="15484"/>
                      </a:lnTo>
                      <a:lnTo>
                        <a:pt x="72229" y="15547"/>
                      </a:lnTo>
                      <a:lnTo>
                        <a:pt x="72396" y="15714"/>
                      </a:lnTo>
                      <a:lnTo>
                        <a:pt x="72438" y="15672"/>
                      </a:lnTo>
                      <a:lnTo>
                        <a:pt x="72542" y="15777"/>
                      </a:lnTo>
                      <a:lnTo>
                        <a:pt x="72668" y="15756"/>
                      </a:lnTo>
                      <a:lnTo>
                        <a:pt x="72752" y="15777"/>
                      </a:lnTo>
                      <a:lnTo>
                        <a:pt x="72752" y="15672"/>
                      </a:lnTo>
                      <a:lnTo>
                        <a:pt x="72647" y="15526"/>
                      </a:lnTo>
                      <a:lnTo>
                        <a:pt x="72710" y="15442"/>
                      </a:lnTo>
                      <a:lnTo>
                        <a:pt x="72668" y="15359"/>
                      </a:lnTo>
                      <a:lnTo>
                        <a:pt x="72605" y="15338"/>
                      </a:lnTo>
                      <a:lnTo>
                        <a:pt x="72605" y="15233"/>
                      </a:lnTo>
                      <a:lnTo>
                        <a:pt x="72668" y="15128"/>
                      </a:lnTo>
                      <a:lnTo>
                        <a:pt x="72731" y="14856"/>
                      </a:lnTo>
                      <a:lnTo>
                        <a:pt x="72814" y="14647"/>
                      </a:lnTo>
                      <a:lnTo>
                        <a:pt x="72773" y="14543"/>
                      </a:lnTo>
                      <a:lnTo>
                        <a:pt x="72919" y="14375"/>
                      </a:lnTo>
                      <a:lnTo>
                        <a:pt x="72856" y="14291"/>
                      </a:lnTo>
                      <a:lnTo>
                        <a:pt x="72940" y="14229"/>
                      </a:lnTo>
                      <a:lnTo>
                        <a:pt x="72856" y="14061"/>
                      </a:lnTo>
                      <a:lnTo>
                        <a:pt x="72773" y="13999"/>
                      </a:lnTo>
                      <a:lnTo>
                        <a:pt x="72773" y="13957"/>
                      </a:lnTo>
                      <a:lnTo>
                        <a:pt x="72940" y="13957"/>
                      </a:lnTo>
                      <a:lnTo>
                        <a:pt x="72982" y="13810"/>
                      </a:lnTo>
                      <a:lnTo>
                        <a:pt x="72814" y="13747"/>
                      </a:lnTo>
                      <a:lnTo>
                        <a:pt x="72752" y="13643"/>
                      </a:lnTo>
                      <a:lnTo>
                        <a:pt x="72835" y="13601"/>
                      </a:lnTo>
                      <a:lnTo>
                        <a:pt x="72877" y="13664"/>
                      </a:lnTo>
                      <a:lnTo>
                        <a:pt x="72961" y="13643"/>
                      </a:lnTo>
                      <a:lnTo>
                        <a:pt x="72982" y="13559"/>
                      </a:lnTo>
                      <a:lnTo>
                        <a:pt x="72940" y="13475"/>
                      </a:lnTo>
                      <a:lnTo>
                        <a:pt x="73065" y="13371"/>
                      </a:lnTo>
                      <a:lnTo>
                        <a:pt x="73065" y="13287"/>
                      </a:lnTo>
                      <a:lnTo>
                        <a:pt x="72982" y="13224"/>
                      </a:lnTo>
                      <a:lnTo>
                        <a:pt x="73065" y="13162"/>
                      </a:lnTo>
                      <a:lnTo>
                        <a:pt x="73149" y="13182"/>
                      </a:lnTo>
                      <a:lnTo>
                        <a:pt x="73191" y="13078"/>
                      </a:lnTo>
                      <a:lnTo>
                        <a:pt x="73233" y="13036"/>
                      </a:lnTo>
                      <a:lnTo>
                        <a:pt x="73170" y="12973"/>
                      </a:lnTo>
                      <a:lnTo>
                        <a:pt x="73275" y="12952"/>
                      </a:lnTo>
                      <a:lnTo>
                        <a:pt x="73400" y="12827"/>
                      </a:lnTo>
                      <a:lnTo>
                        <a:pt x="73358" y="12743"/>
                      </a:lnTo>
                      <a:lnTo>
                        <a:pt x="73379" y="12638"/>
                      </a:lnTo>
                      <a:lnTo>
                        <a:pt x="73421" y="12722"/>
                      </a:lnTo>
                      <a:lnTo>
                        <a:pt x="73526" y="12618"/>
                      </a:lnTo>
                      <a:lnTo>
                        <a:pt x="73463" y="12450"/>
                      </a:lnTo>
                      <a:lnTo>
                        <a:pt x="73463" y="12304"/>
                      </a:lnTo>
                      <a:lnTo>
                        <a:pt x="73568" y="12304"/>
                      </a:lnTo>
                      <a:lnTo>
                        <a:pt x="73589" y="12325"/>
                      </a:lnTo>
                      <a:lnTo>
                        <a:pt x="73651" y="12283"/>
                      </a:lnTo>
                      <a:lnTo>
                        <a:pt x="73819" y="12074"/>
                      </a:lnTo>
                      <a:lnTo>
                        <a:pt x="73756" y="12032"/>
                      </a:lnTo>
                      <a:lnTo>
                        <a:pt x="73756" y="11927"/>
                      </a:lnTo>
                      <a:lnTo>
                        <a:pt x="73861" y="11927"/>
                      </a:lnTo>
                      <a:lnTo>
                        <a:pt x="74070" y="11760"/>
                      </a:lnTo>
                      <a:lnTo>
                        <a:pt x="73986" y="11697"/>
                      </a:lnTo>
                      <a:lnTo>
                        <a:pt x="74028" y="11655"/>
                      </a:lnTo>
                      <a:lnTo>
                        <a:pt x="74174" y="11655"/>
                      </a:lnTo>
                      <a:lnTo>
                        <a:pt x="74342" y="11550"/>
                      </a:lnTo>
                      <a:lnTo>
                        <a:pt x="74300" y="11467"/>
                      </a:lnTo>
                      <a:lnTo>
                        <a:pt x="74321" y="11404"/>
                      </a:lnTo>
                      <a:lnTo>
                        <a:pt x="74405" y="11467"/>
                      </a:lnTo>
                      <a:lnTo>
                        <a:pt x="74426" y="11571"/>
                      </a:lnTo>
                      <a:lnTo>
                        <a:pt x="74530" y="11592"/>
                      </a:lnTo>
                      <a:lnTo>
                        <a:pt x="74614" y="11550"/>
                      </a:lnTo>
                      <a:lnTo>
                        <a:pt x="74739" y="11613"/>
                      </a:lnTo>
                      <a:lnTo>
                        <a:pt x="75158" y="11613"/>
                      </a:lnTo>
                      <a:lnTo>
                        <a:pt x="75242" y="11676"/>
                      </a:lnTo>
                      <a:lnTo>
                        <a:pt x="75283" y="11655"/>
                      </a:lnTo>
                      <a:lnTo>
                        <a:pt x="75242" y="11488"/>
                      </a:lnTo>
                      <a:lnTo>
                        <a:pt x="75137" y="11404"/>
                      </a:lnTo>
                      <a:lnTo>
                        <a:pt x="75137" y="11362"/>
                      </a:lnTo>
                      <a:lnTo>
                        <a:pt x="75221" y="11341"/>
                      </a:lnTo>
                      <a:lnTo>
                        <a:pt x="75221" y="10986"/>
                      </a:lnTo>
                      <a:lnTo>
                        <a:pt x="75053" y="10755"/>
                      </a:lnTo>
                      <a:lnTo>
                        <a:pt x="74928" y="10734"/>
                      </a:lnTo>
                      <a:lnTo>
                        <a:pt x="74760" y="10525"/>
                      </a:lnTo>
                      <a:lnTo>
                        <a:pt x="74844" y="10442"/>
                      </a:lnTo>
                      <a:lnTo>
                        <a:pt x="74677" y="10316"/>
                      </a:lnTo>
                      <a:lnTo>
                        <a:pt x="74426" y="10253"/>
                      </a:lnTo>
                      <a:lnTo>
                        <a:pt x="74153" y="10086"/>
                      </a:lnTo>
                      <a:lnTo>
                        <a:pt x="74049" y="9918"/>
                      </a:lnTo>
                      <a:lnTo>
                        <a:pt x="74028" y="10023"/>
                      </a:lnTo>
                      <a:lnTo>
                        <a:pt x="73944" y="10002"/>
                      </a:lnTo>
                      <a:lnTo>
                        <a:pt x="73902" y="10023"/>
                      </a:lnTo>
                      <a:lnTo>
                        <a:pt x="73881" y="10149"/>
                      </a:lnTo>
                      <a:lnTo>
                        <a:pt x="73735" y="10190"/>
                      </a:lnTo>
                      <a:lnTo>
                        <a:pt x="73693" y="10107"/>
                      </a:lnTo>
                      <a:lnTo>
                        <a:pt x="73693" y="9981"/>
                      </a:lnTo>
                      <a:lnTo>
                        <a:pt x="73819" y="9897"/>
                      </a:lnTo>
                      <a:lnTo>
                        <a:pt x="73735" y="9793"/>
                      </a:lnTo>
                      <a:lnTo>
                        <a:pt x="73777" y="9730"/>
                      </a:lnTo>
                      <a:lnTo>
                        <a:pt x="73840" y="9730"/>
                      </a:lnTo>
                      <a:lnTo>
                        <a:pt x="73923" y="9814"/>
                      </a:lnTo>
                      <a:lnTo>
                        <a:pt x="73693" y="9458"/>
                      </a:lnTo>
                      <a:lnTo>
                        <a:pt x="73526" y="9312"/>
                      </a:lnTo>
                      <a:lnTo>
                        <a:pt x="73526" y="9479"/>
                      </a:lnTo>
                      <a:lnTo>
                        <a:pt x="73526" y="9521"/>
                      </a:lnTo>
                      <a:lnTo>
                        <a:pt x="73463" y="9521"/>
                      </a:lnTo>
                      <a:lnTo>
                        <a:pt x="73254" y="9312"/>
                      </a:lnTo>
                      <a:lnTo>
                        <a:pt x="73254" y="9207"/>
                      </a:lnTo>
                      <a:lnTo>
                        <a:pt x="73358" y="9249"/>
                      </a:lnTo>
                      <a:lnTo>
                        <a:pt x="73296" y="9144"/>
                      </a:lnTo>
                      <a:lnTo>
                        <a:pt x="73003" y="8893"/>
                      </a:lnTo>
                      <a:lnTo>
                        <a:pt x="72961" y="8893"/>
                      </a:lnTo>
                      <a:lnTo>
                        <a:pt x="72982" y="8977"/>
                      </a:lnTo>
                      <a:lnTo>
                        <a:pt x="72940" y="9081"/>
                      </a:lnTo>
                      <a:lnTo>
                        <a:pt x="72773" y="9102"/>
                      </a:lnTo>
                      <a:lnTo>
                        <a:pt x="72647" y="8977"/>
                      </a:lnTo>
                      <a:lnTo>
                        <a:pt x="72521" y="8956"/>
                      </a:lnTo>
                      <a:lnTo>
                        <a:pt x="72375" y="8726"/>
                      </a:lnTo>
                      <a:lnTo>
                        <a:pt x="72375" y="8642"/>
                      </a:lnTo>
                      <a:lnTo>
                        <a:pt x="72312" y="8579"/>
                      </a:lnTo>
                      <a:lnTo>
                        <a:pt x="72208" y="8621"/>
                      </a:lnTo>
                      <a:lnTo>
                        <a:pt x="72019" y="8768"/>
                      </a:lnTo>
                      <a:lnTo>
                        <a:pt x="72019" y="8830"/>
                      </a:lnTo>
                      <a:lnTo>
                        <a:pt x="71915" y="8789"/>
                      </a:lnTo>
                      <a:lnTo>
                        <a:pt x="71831" y="8851"/>
                      </a:lnTo>
                      <a:lnTo>
                        <a:pt x="71831" y="9081"/>
                      </a:lnTo>
                      <a:lnTo>
                        <a:pt x="71894" y="9144"/>
                      </a:lnTo>
                      <a:lnTo>
                        <a:pt x="71894" y="9144"/>
                      </a:lnTo>
                      <a:lnTo>
                        <a:pt x="71789" y="9081"/>
                      </a:lnTo>
                      <a:lnTo>
                        <a:pt x="71705" y="8872"/>
                      </a:lnTo>
                      <a:lnTo>
                        <a:pt x="71747" y="8726"/>
                      </a:lnTo>
                      <a:lnTo>
                        <a:pt x="71580" y="8621"/>
                      </a:lnTo>
                      <a:lnTo>
                        <a:pt x="71517" y="8454"/>
                      </a:lnTo>
                      <a:lnTo>
                        <a:pt x="71475" y="8454"/>
                      </a:lnTo>
                      <a:lnTo>
                        <a:pt x="71580" y="8433"/>
                      </a:lnTo>
                      <a:lnTo>
                        <a:pt x="71685" y="8558"/>
                      </a:lnTo>
                      <a:lnTo>
                        <a:pt x="71685" y="8433"/>
                      </a:lnTo>
                      <a:lnTo>
                        <a:pt x="71810" y="8433"/>
                      </a:lnTo>
                      <a:lnTo>
                        <a:pt x="71915" y="8475"/>
                      </a:lnTo>
                      <a:lnTo>
                        <a:pt x="72061" y="8370"/>
                      </a:lnTo>
                      <a:lnTo>
                        <a:pt x="72019" y="8265"/>
                      </a:lnTo>
                      <a:lnTo>
                        <a:pt x="71705" y="8140"/>
                      </a:lnTo>
                      <a:lnTo>
                        <a:pt x="71622" y="8265"/>
                      </a:lnTo>
                      <a:lnTo>
                        <a:pt x="71475" y="8265"/>
                      </a:lnTo>
                      <a:lnTo>
                        <a:pt x="71329" y="8224"/>
                      </a:lnTo>
                      <a:lnTo>
                        <a:pt x="71475" y="8224"/>
                      </a:lnTo>
                      <a:lnTo>
                        <a:pt x="71580" y="8098"/>
                      </a:lnTo>
                      <a:lnTo>
                        <a:pt x="71685" y="8056"/>
                      </a:lnTo>
                      <a:lnTo>
                        <a:pt x="71789" y="8119"/>
                      </a:lnTo>
                      <a:lnTo>
                        <a:pt x="71936" y="8140"/>
                      </a:lnTo>
                      <a:lnTo>
                        <a:pt x="72061" y="8245"/>
                      </a:lnTo>
                      <a:lnTo>
                        <a:pt x="72229" y="8433"/>
                      </a:lnTo>
                      <a:lnTo>
                        <a:pt x="72354" y="8433"/>
                      </a:lnTo>
                      <a:lnTo>
                        <a:pt x="72417" y="8537"/>
                      </a:lnTo>
                      <a:lnTo>
                        <a:pt x="72480" y="8558"/>
                      </a:lnTo>
                      <a:lnTo>
                        <a:pt x="72626" y="8475"/>
                      </a:lnTo>
                      <a:lnTo>
                        <a:pt x="72668" y="8558"/>
                      </a:lnTo>
                      <a:lnTo>
                        <a:pt x="72940" y="8349"/>
                      </a:lnTo>
                      <a:lnTo>
                        <a:pt x="72961" y="8391"/>
                      </a:lnTo>
                      <a:lnTo>
                        <a:pt x="72940" y="8496"/>
                      </a:lnTo>
                      <a:lnTo>
                        <a:pt x="73045" y="8433"/>
                      </a:lnTo>
                      <a:lnTo>
                        <a:pt x="73045" y="8286"/>
                      </a:lnTo>
                      <a:lnTo>
                        <a:pt x="73170" y="8077"/>
                      </a:lnTo>
                      <a:lnTo>
                        <a:pt x="73149" y="8014"/>
                      </a:lnTo>
                      <a:lnTo>
                        <a:pt x="73149" y="7847"/>
                      </a:lnTo>
                      <a:lnTo>
                        <a:pt x="73086" y="7617"/>
                      </a:lnTo>
                      <a:lnTo>
                        <a:pt x="73191" y="7240"/>
                      </a:lnTo>
                      <a:lnTo>
                        <a:pt x="73191" y="7010"/>
                      </a:lnTo>
                      <a:lnTo>
                        <a:pt x="73086" y="6884"/>
                      </a:lnTo>
                      <a:lnTo>
                        <a:pt x="73045" y="6759"/>
                      </a:lnTo>
                      <a:lnTo>
                        <a:pt x="72877" y="6612"/>
                      </a:lnTo>
                      <a:lnTo>
                        <a:pt x="72793" y="6445"/>
                      </a:lnTo>
                      <a:lnTo>
                        <a:pt x="72856" y="6445"/>
                      </a:lnTo>
                      <a:lnTo>
                        <a:pt x="72961" y="6571"/>
                      </a:lnTo>
                      <a:lnTo>
                        <a:pt x="72982" y="6571"/>
                      </a:lnTo>
                      <a:lnTo>
                        <a:pt x="72940" y="6403"/>
                      </a:lnTo>
                      <a:lnTo>
                        <a:pt x="72773" y="6340"/>
                      </a:lnTo>
                      <a:lnTo>
                        <a:pt x="72647" y="6382"/>
                      </a:lnTo>
                      <a:lnTo>
                        <a:pt x="72417" y="6340"/>
                      </a:lnTo>
                      <a:lnTo>
                        <a:pt x="72103" y="5943"/>
                      </a:lnTo>
                      <a:lnTo>
                        <a:pt x="72019" y="5880"/>
                      </a:lnTo>
                      <a:lnTo>
                        <a:pt x="72040" y="5817"/>
                      </a:lnTo>
                      <a:lnTo>
                        <a:pt x="72208" y="5817"/>
                      </a:lnTo>
                      <a:lnTo>
                        <a:pt x="72249" y="5671"/>
                      </a:lnTo>
                      <a:lnTo>
                        <a:pt x="72166" y="5608"/>
                      </a:lnTo>
                      <a:lnTo>
                        <a:pt x="72040" y="5608"/>
                      </a:lnTo>
                      <a:lnTo>
                        <a:pt x="71998" y="5545"/>
                      </a:lnTo>
                      <a:lnTo>
                        <a:pt x="72061" y="5504"/>
                      </a:lnTo>
                      <a:lnTo>
                        <a:pt x="72019" y="5336"/>
                      </a:lnTo>
                      <a:lnTo>
                        <a:pt x="72040" y="5315"/>
                      </a:lnTo>
                      <a:lnTo>
                        <a:pt x="72166" y="5462"/>
                      </a:lnTo>
                      <a:lnTo>
                        <a:pt x="72354" y="5566"/>
                      </a:lnTo>
                      <a:lnTo>
                        <a:pt x="72375" y="5504"/>
                      </a:lnTo>
                      <a:lnTo>
                        <a:pt x="72312" y="5420"/>
                      </a:lnTo>
                      <a:lnTo>
                        <a:pt x="72312" y="5315"/>
                      </a:lnTo>
                      <a:lnTo>
                        <a:pt x="72270" y="5232"/>
                      </a:lnTo>
                      <a:lnTo>
                        <a:pt x="72333" y="5190"/>
                      </a:lnTo>
                      <a:lnTo>
                        <a:pt x="72375" y="5252"/>
                      </a:lnTo>
                      <a:lnTo>
                        <a:pt x="72417" y="5336"/>
                      </a:lnTo>
                      <a:lnTo>
                        <a:pt x="72521" y="5357"/>
                      </a:lnTo>
                      <a:lnTo>
                        <a:pt x="72563" y="5650"/>
                      </a:lnTo>
                      <a:lnTo>
                        <a:pt x="72542" y="5734"/>
                      </a:lnTo>
                      <a:lnTo>
                        <a:pt x="72835" y="5943"/>
                      </a:lnTo>
                      <a:lnTo>
                        <a:pt x="72940" y="5880"/>
                      </a:lnTo>
                      <a:lnTo>
                        <a:pt x="73065" y="5943"/>
                      </a:lnTo>
                      <a:lnTo>
                        <a:pt x="73065" y="6152"/>
                      </a:lnTo>
                      <a:lnTo>
                        <a:pt x="73170" y="6152"/>
                      </a:lnTo>
                      <a:lnTo>
                        <a:pt x="73379" y="5859"/>
                      </a:lnTo>
                      <a:lnTo>
                        <a:pt x="73421" y="5734"/>
                      </a:lnTo>
                      <a:lnTo>
                        <a:pt x="73379" y="5608"/>
                      </a:lnTo>
                      <a:lnTo>
                        <a:pt x="73400" y="5357"/>
                      </a:lnTo>
                      <a:lnTo>
                        <a:pt x="73379" y="5252"/>
                      </a:lnTo>
                      <a:lnTo>
                        <a:pt x="73421" y="5357"/>
                      </a:lnTo>
                      <a:lnTo>
                        <a:pt x="73421" y="5524"/>
                      </a:lnTo>
                      <a:lnTo>
                        <a:pt x="73505" y="5524"/>
                      </a:lnTo>
                      <a:lnTo>
                        <a:pt x="73609" y="5420"/>
                      </a:lnTo>
                      <a:lnTo>
                        <a:pt x="73798" y="5357"/>
                      </a:lnTo>
                      <a:lnTo>
                        <a:pt x="73819" y="5232"/>
                      </a:lnTo>
                      <a:lnTo>
                        <a:pt x="74007" y="5294"/>
                      </a:lnTo>
                      <a:lnTo>
                        <a:pt x="73986" y="5336"/>
                      </a:lnTo>
                      <a:lnTo>
                        <a:pt x="74007" y="5399"/>
                      </a:lnTo>
                      <a:lnTo>
                        <a:pt x="74300" y="5608"/>
                      </a:lnTo>
                      <a:lnTo>
                        <a:pt x="74342" y="5629"/>
                      </a:lnTo>
                      <a:lnTo>
                        <a:pt x="74405" y="5776"/>
                      </a:lnTo>
                      <a:lnTo>
                        <a:pt x="74405" y="5838"/>
                      </a:lnTo>
                      <a:lnTo>
                        <a:pt x="74446" y="5859"/>
                      </a:lnTo>
                      <a:lnTo>
                        <a:pt x="74698" y="5817"/>
                      </a:lnTo>
                      <a:lnTo>
                        <a:pt x="74739" y="5838"/>
                      </a:lnTo>
                      <a:lnTo>
                        <a:pt x="74739" y="5880"/>
                      </a:lnTo>
                      <a:lnTo>
                        <a:pt x="74760" y="5880"/>
                      </a:lnTo>
                      <a:lnTo>
                        <a:pt x="74865" y="5776"/>
                      </a:lnTo>
                      <a:lnTo>
                        <a:pt x="74823" y="5671"/>
                      </a:lnTo>
                      <a:lnTo>
                        <a:pt x="74844" y="5650"/>
                      </a:lnTo>
                      <a:lnTo>
                        <a:pt x="74928" y="5650"/>
                      </a:lnTo>
                      <a:lnTo>
                        <a:pt x="74886" y="5504"/>
                      </a:lnTo>
                      <a:lnTo>
                        <a:pt x="74970" y="5524"/>
                      </a:lnTo>
                      <a:lnTo>
                        <a:pt x="75032" y="5608"/>
                      </a:lnTo>
                      <a:lnTo>
                        <a:pt x="74990" y="5671"/>
                      </a:lnTo>
                      <a:lnTo>
                        <a:pt x="75095" y="5671"/>
                      </a:lnTo>
                      <a:lnTo>
                        <a:pt x="75200" y="5629"/>
                      </a:lnTo>
                      <a:lnTo>
                        <a:pt x="75472" y="5650"/>
                      </a:lnTo>
                      <a:lnTo>
                        <a:pt x="75555" y="5713"/>
                      </a:lnTo>
                      <a:lnTo>
                        <a:pt x="75618" y="5713"/>
                      </a:lnTo>
                      <a:lnTo>
                        <a:pt x="75660" y="5755"/>
                      </a:lnTo>
                      <a:lnTo>
                        <a:pt x="75702" y="5755"/>
                      </a:lnTo>
                      <a:lnTo>
                        <a:pt x="75786" y="5671"/>
                      </a:lnTo>
                      <a:lnTo>
                        <a:pt x="75723" y="5462"/>
                      </a:lnTo>
                      <a:lnTo>
                        <a:pt x="75786" y="5504"/>
                      </a:lnTo>
                      <a:lnTo>
                        <a:pt x="75911" y="5671"/>
                      </a:lnTo>
                      <a:lnTo>
                        <a:pt x="76078" y="5608"/>
                      </a:lnTo>
                      <a:lnTo>
                        <a:pt x="76078" y="5524"/>
                      </a:lnTo>
                      <a:lnTo>
                        <a:pt x="75995" y="5357"/>
                      </a:lnTo>
                      <a:lnTo>
                        <a:pt x="75869" y="5378"/>
                      </a:lnTo>
                      <a:lnTo>
                        <a:pt x="75744" y="5294"/>
                      </a:lnTo>
                      <a:lnTo>
                        <a:pt x="75806" y="5190"/>
                      </a:lnTo>
                      <a:lnTo>
                        <a:pt x="75911" y="5232"/>
                      </a:lnTo>
                      <a:lnTo>
                        <a:pt x="75995" y="5211"/>
                      </a:lnTo>
                      <a:lnTo>
                        <a:pt x="75995" y="5064"/>
                      </a:lnTo>
                      <a:lnTo>
                        <a:pt x="75890" y="5022"/>
                      </a:lnTo>
                      <a:lnTo>
                        <a:pt x="75806" y="4980"/>
                      </a:lnTo>
                      <a:lnTo>
                        <a:pt x="75744" y="5022"/>
                      </a:lnTo>
                      <a:lnTo>
                        <a:pt x="75744" y="5127"/>
                      </a:lnTo>
                      <a:lnTo>
                        <a:pt x="75681" y="5064"/>
                      </a:lnTo>
                      <a:lnTo>
                        <a:pt x="75555" y="5085"/>
                      </a:lnTo>
                      <a:lnTo>
                        <a:pt x="75576" y="4918"/>
                      </a:lnTo>
                      <a:lnTo>
                        <a:pt x="75493" y="4855"/>
                      </a:lnTo>
                      <a:lnTo>
                        <a:pt x="75388" y="4876"/>
                      </a:lnTo>
                      <a:lnTo>
                        <a:pt x="75388" y="4980"/>
                      </a:lnTo>
                      <a:lnTo>
                        <a:pt x="75346" y="4897"/>
                      </a:lnTo>
                      <a:lnTo>
                        <a:pt x="75346" y="4813"/>
                      </a:lnTo>
                      <a:lnTo>
                        <a:pt x="75472" y="4771"/>
                      </a:lnTo>
                      <a:lnTo>
                        <a:pt x="75451" y="4583"/>
                      </a:lnTo>
                      <a:lnTo>
                        <a:pt x="75367" y="4562"/>
                      </a:lnTo>
                      <a:lnTo>
                        <a:pt x="75493" y="4457"/>
                      </a:lnTo>
                      <a:lnTo>
                        <a:pt x="75430" y="4290"/>
                      </a:lnTo>
                      <a:lnTo>
                        <a:pt x="75451" y="4227"/>
                      </a:lnTo>
                      <a:lnTo>
                        <a:pt x="75283" y="4081"/>
                      </a:lnTo>
                      <a:lnTo>
                        <a:pt x="75158" y="4102"/>
                      </a:lnTo>
                      <a:lnTo>
                        <a:pt x="75032" y="4248"/>
                      </a:lnTo>
                      <a:lnTo>
                        <a:pt x="75053" y="4060"/>
                      </a:lnTo>
                      <a:lnTo>
                        <a:pt x="75158" y="4018"/>
                      </a:lnTo>
                      <a:lnTo>
                        <a:pt x="75053" y="3851"/>
                      </a:lnTo>
                      <a:lnTo>
                        <a:pt x="75053" y="3746"/>
                      </a:lnTo>
                      <a:lnTo>
                        <a:pt x="75011" y="3746"/>
                      </a:lnTo>
                      <a:lnTo>
                        <a:pt x="74928" y="3830"/>
                      </a:lnTo>
                      <a:lnTo>
                        <a:pt x="74865" y="3746"/>
                      </a:lnTo>
                      <a:lnTo>
                        <a:pt x="74739" y="3746"/>
                      </a:lnTo>
                      <a:lnTo>
                        <a:pt x="74593" y="3767"/>
                      </a:lnTo>
                      <a:lnTo>
                        <a:pt x="74718" y="3662"/>
                      </a:lnTo>
                      <a:lnTo>
                        <a:pt x="74865" y="3662"/>
                      </a:lnTo>
                      <a:lnTo>
                        <a:pt x="75011" y="3558"/>
                      </a:lnTo>
                      <a:lnTo>
                        <a:pt x="75053" y="3620"/>
                      </a:lnTo>
                      <a:lnTo>
                        <a:pt x="75158" y="3432"/>
                      </a:lnTo>
                      <a:lnTo>
                        <a:pt x="75283" y="3411"/>
                      </a:lnTo>
                      <a:lnTo>
                        <a:pt x="75325" y="3307"/>
                      </a:lnTo>
                      <a:lnTo>
                        <a:pt x="75242" y="3202"/>
                      </a:lnTo>
                      <a:lnTo>
                        <a:pt x="74970" y="3139"/>
                      </a:lnTo>
                      <a:lnTo>
                        <a:pt x="75158" y="3118"/>
                      </a:lnTo>
                      <a:lnTo>
                        <a:pt x="75346" y="3118"/>
                      </a:lnTo>
                      <a:lnTo>
                        <a:pt x="75388" y="3035"/>
                      </a:lnTo>
                      <a:lnTo>
                        <a:pt x="75346" y="2909"/>
                      </a:lnTo>
                      <a:lnTo>
                        <a:pt x="75221" y="2867"/>
                      </a:lnTo>
                      <a:lnTo>
                        <a:pt x="75137" y="2721"/>
                      </a:lnTo>
                      <a:lnTo>
                        <a:pt x="75032" y="2763"/>
                      </a:lnTo>
                      <a:lnTo>
                        <a:pt x="75011" y="2679"/>
                      </a:lnTo>
                      <a:lnTo>
                        <a:pt x="75053" y="2511"/>
                      </a:lnTo>
                      <a:lnTo>
                        <a:pt x="74949" y="2198"/>
                      </a:lnTo>
                      <a:lnTo>
                        <a:pt x="74970" y="2135"/>
                      </a:lnTo>
                      <a:lnTo>
                        <a:pt x="75032" y="2051"/>
                      </a:lnTo>
                      <a:lnTo>
                        <a:pt x="75032" y="1967"/>
                      </a:lnTo>
                      <a:lnTo>
                        <a:pt x="74928" y="1905"/>
                      </a:lnTo>
                      <a:lnTo>
                        <a:pt x="74823" y="2051"/>
                      </a:lnTo>
                      <a:lnTo>
                        <a:pt x="74718" y="2135"/>
                      </a:lnTo>
                      <a:lnTo>
                        <a:pt x="74718" y="1967"/>
                      </a:lnTo>
                      <a:lnTo>
                        <a:pt x="74614" y="1967"/>
                      </a:lnTo>
                      <a:lnTo>
                        <a:pt x="74614" y="2051"/>
                      </a:lnTo>
                      <a:lnTo>
                        <a:pt x="74530" y="2072"/>
                      </a:lnTo>
                      <a:lnTo>
                        <a:pt x="74509" y="2030"/>
                      </a:lnTo>
                      <a:lnTo>
                        <a:pt x="74530" y="1884"/>
                      </a:lnTo>
                      <a:lnTo>
                        <a:pt x="74174" y="1842"/>
                      </a:lnTo>
                      <a:lnTo>
                        <a:pt x="74091" y="1884"/>
                      </a:lnTo>
                      <a:lnTo>
                        <a:pt x="73923" y="1863"/>
                      </a:lnTo>
                      <a:lnTo>
                        <a:pt x="73819" y="1758"/>
                      </a:lnTo>
                      <a:lnTo>
                        <a:pt x="73798" y="1716"/>
                      </a:lnTo>
                      <a:lnTo>
                        <a:pt x="73693" y="1675"/>
                      </a:lnTo>
                      <a:lnTo>
                        <a:pt x="73651" y="1716"/>
                      </a:lnTo>
                      <a:lnTo>
                        <a:pt x="73589" y="1633"/>
                      </a:lnTo>
                      <a:lnTo>
                        <a:pt x="73484" y="1633"/>
                      </a:lnTo>
                      <a:lnTo>
                        <a:pt x="73379" y="1779"/>
                      </a:lnTo>
                      <a:lnTo>
                        <a:pt x="73275" y="1821"/>
                      </a:lnTo>
                      <a:lnTo>
                        <a:pt x="73233" y="1842"/>
                      </a:lnTo>
                      <a:lnTo>
                        <a:pt x="73170" y="1884"/>
                      </a:lnTo>
                      <a:lnTo>
                        <a:pt x="73296" y="1884"/>
                      </a:lnTo>
                      <a:lnTo>
                        <a:pt x="73254" y="1967"/>
                      </a:lnTo>
                      <a:lnTo>
                        <a:pt x="73128" y="2051"/>
                      </a:lnTo>
                      <a:lnTo>
                        <a:pt x="73065" y="2051"/>
                      </a:lnTo>
                      <a:lnTo>
                        <a:pt x="73086" y="2156"/>
                      </a:lnTo>
                      <a:lnTo>
                        <a:pt x="73191" y="2239"/>
                      </a:lnTo>
                      <a:lnTo>
                        <a:pt x="73170" y="2281"/>
                      </a:lnTo>
                      <a:lnTo>
                        <a:pt x="73065" y="2260"/>
                      </a:lnTo>
                      <a:lnTo>
                        <a:pt x="72982" y="2051"/>
                      </a:lnTo>
                      <a:lnTo>
                        <a:pt x="73024" y="1988"/>
                      </a:lnTo>
                      <a:lnTo>
                        <a:pt x="73024" y="1988"/>
                      </a:lnTo>
                      <a:lnTo>
                        <a:pt x="72940" y="2030"/>
                      </a:lnTo>
                      <a:lnTo>
                        <a:pt x="72773" y="2239"/>
                      </a:lnTo>
                      <a:lnTo>
                        <a:pt x="72710" y="2386"/>
                      </a:lnTo>
                      <a:lnTo>
                        <a:pt x="72605" y="2491"/>
                      </a:lnTo>
                      <a:lnTo>
                        <a:pt x="72626" y="2553"/>
                      </a:lnTo>
                      <a:lnTo>
                        <a:pt x="72773" y="2407"/>
                      </a:lnTo>
                      <a:lnTo>
                        <a:pt x="72856" y="2407"/>
                      </a:lnTo>
                      <a:lnTo>
                        <a:pt x="72919" y="2511"/>
                      </a:lnTo>
                      <a:lnTo>
                        <a:pt x="73024" y="2616"/>
                      </a:lnTo>
                      <a:lnTo>
                        <a:pt x="73233" y="2783"/>
                      </a:lnTo>
                      <a:lnTo>
                        <a:pt x="73254" y="2909"/>
                      </a:lnTo>
                      <a:lnTo>
                        <a:pt x="73170" y="2993"/>
                      </a:lnTo>
                      <a:lnTo>
                        <a:pt x="73191" y="3097"/>
                      </a:lnTo>
                      <a:lnTo>
                        <a:pt x="73358" y="3076"/>
                      </a:lnTo>
                      <a:lnTo>
                        <a:pt x="73505" y="2993"/>
                      </a:lnTo>
                      <a:lnTo>
                        <a:pt x="73589" y="3097"/>
                      </a:lnTo>
                      <a:lnTo>
                        <a:pt x="73589" y="3202"/>
                      </a:lnTo>
                      <a:lnTo>
                        <a:pt x="73672" y="3390"/>
                      </a:lnTo>
                      <a:lnTo>
                        <a:pt x="73672" y="3432"/>
                      </a:lnTo>
                      <a:lnTo>
                        <a:pt x="73568" y="3327"/>
                      </a:lnTo>
                      <a:lnTo>
                        <a:pt x="73484" y="3181"/>
                      </a:lnTo>
                      <a:lnTo>
                        <a:pt x="73400" y="3139"/>
                      </a:lnTo>
                      <a:lnTo>
                        <a:pt x="73358" y="3244"/>
                      </a:lnTo>
                      <a:lnTo>
                        <a:pt x="73379" y="3348"/>
                      </a:lnTo>
                      <a:lnTo>
                        <a:pt x="73442" y="3390"/>
                      </a:lnTo>
                      <a:lnTo>
                        <a:pt x="73400" y="3411"/>
                      </a:lnTo>
                      <a:lnTo>
                        <a:pt x="73296" y="3390"/>
                      </a:lnTo>
                      <a:lnTo>
                        <a:pt x="73191" y="3223"/>
                      </a:lnTo>
                      <a:lnTo>
                        <a:pt x="73045" y="3202"/>
                      </a:lnTo>
                      <a:lnTo>
                        <a:pt x="72940" y="3307"/>
                      </a:lnTo>
                      <a:lnTo>
                        <a:pt x="72856" y="3286"/>
                      </a:lnTo>
                      <a:lnTo>
                        <a:pt x="72835" y="3139"/>
                      </a:lnTo>
                      <a:lnTo>
                        <a:pt x="72877" y="3097"/>
                      </a:lnTo>
                      <a:lnTo>
                        <a:pt x="72814" y="2972"/>
                      </a:lnTo>
                      <a:lnTo>
                        <a:pt x="72710" y="2888"/>
                      </a:lnTo>
                      <a:lnTo>
                        <a:pt x="72668" y="2763"/>
                      </a:lnTo>
                      <a:lnTo>
                        <a:pt x="72459" y="2700"/>
                      </a:lnTo>
                      <a:lnTo>
                        <a:pt x="72291" y="2365"/>
                      </a:lnTo>
                      <a:lnTo>
                        <a:pt x="72187" y="2239"/>
                      </a:lnTo>
                      <a:lnTo>
                        <a:pt x="72208" y="2177"/>
                      </a:lnTo>
                      <a:lnTo>
                        <a:pt x="72124" y="2093"/>
                      </a:lnTo>
                      <a:lnTo>
                        <a:pt x="72019" y="2072"/>
                      </a:lnTo>
                      <a:lnTo>
                        <a:pt x="72019" y="2072"/>
                      </a:lnTo>
                      <a:lnTo>
                        <a:pt x="72040" y="2135"/>
                      </a:lnTo>
                      <a:lnTo>
                        <a:pt x="72019" y="2239"/>
                      </a:lnTo>
                      <a:lnTo>
                        <a:pt x="71977" y="2198"/>
                      </a:lnTo>
                      <a:lnTo>
                        <a:pt x="71915" y="2072"/>
                      </a:lnTo>
                      <a:lnTo>
                        <a:pt x="71685" y="1947"/>
                      </a:lnTo>
                      <a:lnTo>
                        <a:pt x="71559" y="1926"/>
                      </a:lnTo>
                      <a:lnTo>
                        <a:pt x="71454" y="1947"/>
                      </a:lnTo>
                      <a:lnTo>
                        <a:pt x="71475" y="2030"/>
                      </a:lnTo>
                      <a:lnTo>
                        <a:pt x="71580" y="2072"/>
                      </a:lnTo>
                      <a:lnTo>
                        <a:pt x="71789" y="2156"/>
                      </a:lnTo>
                      <a:lnTo>
                        <a:pt x="71622" y="2198"/>
                      </a:lnTo>
                      <a:lnTo>
                        <a:pt x="71413" y="2135"/>
                      </a:lnTo>
                      <a:lnTo>
                        <a:pt x="71308" y="2030"/>
                      </a:lnTo>
                      <a:lnTo>
                        <a:pt x="71350" y="1947"/>
                      </a:lnTo>
                      <a:lnTo>
                        <a:pt x="71287" y="1926"/>
                      </a:lnTo>
                      <a:lnTo>
                        <a:pt x="71099" y="1926"/>
                      </a:lnTo>
                      <a:lnTo>
                        <a:pt x="71161" y="1947"/>
                      </a:lnTo>
                      <a:lnTo>
                        <a:pt x="71161" y="1988"/>
                      </a:lnTo>
                      <a:lnTo>
                        <a:pt x="70994" y="2051"/>
                      </a:lnTo>
                      <a:lnTo>
                        <a:pt x="70931" y="1947"/>
                      </a:lnTo>
                      <a:lnTo>
                        <a:pt x="70952" y="1884"/>
                      </a:lnTo>
                      <a:lnTo>
                        <a:pt x="70764" y="1863"/>
                      </a:lnTo>
                      <a:lnTo>
                        <a:pt x="70722" y="1884"/>
                      </a:lnTo>
                      <a:lnTo>
                        <a:pt x="70743" y="1988"/>
                      </a:lnTo>
                      <a:lnTo>
                        <a:pt x="70638" y="1967"/>
                      </a:lnTo>
                      <a:lnTo>
                        <a:pt x="70576" y="1863"/>
                      </a:lnTo>
                      <a:lnTo>
                        <a:pt x="70429" y="1863"/>
                      </a:lnTo>
                      <a:lnTo>
                        <a:pt x="70471" y="1967"/>
                      </a:lnTo>
                      <a:lnTo>
                        <a:pt x="70471" y="1967"/>
                      </a:lnTo>
                      <a:lnTo>
                        <a:pt x="69990" y="1863"/>
                      </a:lnTo>
                      <a:lnTo>
                        <a:pt x="69843" y="1926"/>
                      </a:lnTo>
                      <a:lnTo>
                        <a:pt x="69676" y="1842"/>
                      </a:lnTo>
                      <a:lnTo>
                        <a:pt x="69676" y="1758"/>
                      </a:lnTo>
                      <a:lnTo>
                        <a:pt x="69508" y="1716"/>
                      </a:lnTo>
                      <a:lnTo>
                        <a:pt x="69488" y="1737"/>
                      </a:lnTo>
                      <a:lnTo>
                        <a:pt x="69488" y="1779"/>
                      </a:lnTo>
                      <a:lnTo>
                        <a:pt x="69425" y="1737"/>
                      </a:lnTo>
                      <a:lnTo>
                        <a:pt x="69320" y="1716"/>
                      </a:lnTo>
                      <a:lnTo>
                        <a:pt x="69216" y="1633"/>
                      </a:lnTo>
                      <a:lnTo>
                        <a:pt x="69153" y="1654"/>
                      </a:lnTo>
                      <a:lnTo>
                        <a:pt x="69174" y="1758"/>
                      </a:lnTo>
                      <a:lnTo>
                        <a:pt x="69006" y="1758"/>
                      </a:lnTo>
                      <a:lnTo>
                        <a:pt x="68860" y="1779"/>
                      </a:lnTo>
                      <a:lnTo>
                        <a:pt x="68839" y="1884"/>
                      </a:lnTo>
                      <a:lnTo>
                        <a:pt x="68651" y="1884"/>
                      </a:lnTo>
                      <a:lnTo>
                        <a:pt x="68316" y="1758"/>
                      </a:lnTo>
                      <a:lnTo>
                        <a:pt x="68337" y="1716"/>
                      </a:lnTo>
                      <a:lnTo>
                        <a:pt x="68546" y="1779"/>
                      </a:lnTo>
                      <a:lnTo>
                        <a:pt x="68651" y="1842"/>
                      </a:lnTo>
                      <a:lnTo>
                        <a:pt x="68672" y="1779"/>
                      </a:lnTo>
                      <a:lnTo>
                        <a:pt x="68337" y="1549"/>
                      </a:lnTo>
                      <a:lnTo>
                        <a:pt x="67939" y="1507"/>
                      </a:lnTo>
                      <a:lnTo>
                        <a:pt x="67793" y="1549"/>
                      </a:lnTo>
                      <a:lnTo>
                        <a:pt x="67730" y="1507"/>
                      </a:lnTo>
                      <a:lnTo>
                        <a:pt x="67793" y="1444"/>
                      </a:lnTo>
                      <a:lnTo>
                        <a:pt x="67688" y="1402"/>
                      </a:lnTo>
                      <a:lnTo>
                        <a:pt x="67542" y="1423"/>
                      </a:lnTo>
                      <a:lnTo>
                        <a:pt x="67604" y="1444"/>
                      </a:lnTo>
                      <a:lnTo>
                        <a:pt x="67521" y="1465"/>
                      </a:lnTo>
                      <a:lnTo>
                        <a:pt x="67395" y="1423"/>
                      </a:lnTo>
                      <a:lnTo>
                        <a:pt x="67019" y="1319"/>
                      </a:lnTo>
                      <a:lnTo>
                        <a:pt x="66851" y="1340"/>
                      </a:lnTo>
                      <a:lnTo>
                        <a:pt x="66788" y="1423"/>
                      </a:lnTo>
                      <a:lnTo>
                        <a:pt x="66705" y="1402"/>
                      </a:lnTo>
                      <a:lnTo>
                        <a:pt x="66663" y="1319"/>
                      </a:lnTo>
                      <a:lnTo>
                        <a:pt x="66558" y="1361"/>
                      </a:lnTo>
                      <a:lnTo>
                        <a:pt x="66349" y="1361"/>
                      </a:lnTo>
                      <a:lnTo>
                        <a:pt x="66244" y="1298"/>
                      </a:lnTo>
                      <a:lnTo>
                        <a:pt x="66161" y="1319"/>
                      </a:lnTo>
                      <a:lnTo>
                        <a:pt x="66014" y="1340"/>
                      </a:lnTo>
                      <a:lnTo>
                        <a:pt x="65951" y="1319"/>
                      </a:lnTo>
                      <a:lnTo>
                        <a:pt x="65847" y="1402"/>
                      </a:lnTo>
                      <a:lnTo>
                        <a:pt x="65826" y="1507"/>
                      </a:lnTo>
                      <a:lnTo>
                        <a:pt x="65763" y="1402"/>
                      </a:lnTo>
                      <a:lnTo>
                        <a:pt x="65303" y="1528"/>
                      </a:lnTo>
                      <a:lnTo>
                        <a:pt x="65303" y="1633"/>
                      </a:lnTo>
                      <a:lnTo>
                        <a:pt x="65198" y="1612"/>
                      </a:lnTo>
                      <a:lnTo>
                        <a:pt x="65135" y="1737"/>
                      </a:lnTo>
                      <a:lnTo>
                        <a:pt x="65094" y="1737"/>
                      </a:lnTo>
                      <a:lnTo>
                        <a:pt x="65031" y="1654"/>
                      </a:lnTo>
                      <a:lnTo>
                        <a:pt x="64884" y="1675"/>
                      </a:lnTo>
                      <a:lnTo>
                        <a:pt x="64884" y="1779"/>
                      </a:lnTo>
                      <a:lnTo>
                        <a:pt x="64801" y="1779"/>
                      </a:lnTo>
                      <a:lnTo>
                        <a:pt x="64696" y="1842"/>
                      </a:lnTo>
                      <a:lnTo>
                        <a:pt x="64529" y="1737"/>
                      </a:lnTo>
                      <a:lnTo>
                        <a:pt x="64403" y="1779"/>
                      </a:lnTo>
                      <a:lnTo>
                        <a:pt x="64403" y="1863"/>
                      </a:lnTo>
                      <a:lnTo>
                        <a:pt x="64152" y="1863"/>
                      </a:lnTo>
                      <a:lnTo>
                        <a:pt x="63838" y="1884"/>
                      </a:lnTo>
                      <a:lnTo>
                        <a:pt x="63754" y="1842"/>
                      </a:lnTo>
                      <a:lnTo>
                        <a:pt x="63482" y="1884"/>
                      </a:lnTo>
                      <a:lnTo>
                        <a:pt x="63462" y="1905"/>
                      </a:lnTo>
                      <a:lnTo>
                        <a:pt x="63629" y="2009"/>
                      </a:lnTo>
                      <a:lnTo>
                        <a:pt x="63692" y="2198"/>
                      </a:lnTo>
                      <a:lnTo>
                        <a:pt x="63775" y="2260"/>
                      </a:lnTo>
                      <a:lnTo>
                        <a:pt x="63796" y="2386"/>
                      </a:lnTo>
                      <a:lnTo>
                        <a:pt x="63880" y="2574"/>
                      </a:lnTo>
                      <a:lnTo>
                        <a:pt x="63838" y="2637"/>
                      </a:lnTo>
                      <a:lnTo>
                        <a:pt x="63838" y="2804"/>
                      </a:lnTo>
                      <a:lnTo>
                        <a:pt x="63880" y="2804"/>
                      </a:lnTo>
                      <a:lnTo>
                        <a:pt x="63985" y="2700"/>
                      </a:lnTo>
                      <a:lnTo>
                        <a:pt x="64194" y="2804"/>
                      </a:lnTo>
                      <a:lnTo>
                        <a:pt x="64257" y="2888"/>
                      </a:lnTo>
                      <a:lnTo>
                        <a:pt x="64319" y="2909"/>
                      </a:lnTo>
                      <a:lnTo>
                        <a:pt x="64529" y="3118"/>
                      </a:lnTo>
                      <a:lnTo>
                        <a:pt x="64570" y="3307"/>
                      </a:lnTo>
                      <a:lnTo>
                        <a:pt x="64717" y="3348"/>
                      </a:lnTo>
                      <a:lnTo>
                        <a:pt x="64822" y="3516"/>
                      </a:lnTo>
                      <a:lnTo>
                        <a:pt x="64822" y="3579"/>
                      </a:lnTo>
                      <a:lnTo>
                        <a:pt x="64842" y="3662"/>
                      </a:lnTo>
                      <a:lnTo>
                        <a:pt x="64801" y="3725"/>
                      </a:lnTo>
                      <a:lnTo>
                        <a:pt x="64884" y="3830"/>
                      </a:lnTo>
                      <a:lnTo>
                        <a:pt x="64822" y="3871"/>
                      </a:lnTo>
                      <a:lnTo>
                        <a:pt x="64738" y="3851"/>
                      </a:lnTo>
                      <a:lnTo>
                        <a:pt x="64612" y="3934"/>
                      </a:lnTo>
                      <a:lnTo>
                        <a:pt x="64633" y="4039"/>
                      </a:lnTo>
                      <a:lnTo>
                        <a:pt x="64508" y="4060"/>
                      </a:lnTo>
                      <a:lnTo>
                        <a:pt x="64403" y="4143"/>
                      </a:lnTo>
                      <a:lnTo>
                        <a:pt x="64215" y="4102"/>
                      </a:lnTo>
                      <a:lnTo>
                        <a:pt x="64152" y="4039"/>
                      </a:lnTo>
                      <a:lnTo>
                        <a:pt x="64152" y="3892"/>
                      </a:lnTo>
                      <a:lnTo>
                        <a:pt x="63964" y="3641"/>
                      </a:lnTo>
                      <a:lnTo>
                        <a:pt x="63880" y="3641"/>
                      </a:lnTo>
                      <a:lnTo>
                        <a:pt x="63838" y="3662"/>
                      </a:lnTo>
                      <a:lnTo>
                        <a:pt x="63566" y="3620"/>
                      </a:lnTo>
                      <a:lnTo>
                        <a:pt x="63378" y="3641"/>
                      </a:lnTo>
                      <a:lnTo>
                        <a:pt x="63315" y="3579"/>
                      </a:lnTo>
                      <a:lnTo>
                        <a:pt x="63148" y="3411"/>
                      </a:lnTo>
                      <a:lnTo>
                        <a:pt x="63148" y="3286"/>
                      </a:lnTo>
                      <a:lnTo>
                        <a:pt x="63043" y="3202"/>
                      </a:lnTo>
                      <a:lnTo>
                        <a:pt x="62897" y="3181"/>
                      </a:lnTo>
                      <a:lnTo>
                        <a:pt x="62855" y="3097"/>
                      </a:lnTo>
                      <a:lnTo>
                        <a:pt x="62813" y="2951"/>
                      </a:lnTo>
                      <a:lnTo>
                        <a:pt x="62625" y="2909"/>
                      </a:lnTo>
                      <a:lnTo>
                        <a:pt x="62583" y="2951"/>
                      </a:lnTo>
                      <a:lnTo>
                        <a:pt x="62583" y="3097"/>
                      </a:lnTo>
                      <a:lnTo>
                        <a:pt x="62583" y="3244"/>
                      </a:lnTo>
                      <a:lnTo>
                        <a:pt x="62604" y="3327"/>
                      </a:lnTo>
                      <a:lnTo>
                        <a:pt x="62478" y="3516"/>
                      </a:lnTo>
                      <a:lnTo>
                        <a:pt x="62415" y="3641"/>
                      </a:lnTo>
                      <a:lnTo>
                        <a:pt x="62332" y="3558"/>
                      </a:lnTo>
                      <a:lnTo>
                        <a:pt x="62311" y="3474"/>
                      </a:lnTo>
                      <a:lnTo>
                        <a:pt x="62269" y="3474"/>
                      </a:lnTo>
                      <a:lnTo>
                        <a:pt x="62164" y="3558"/>
                      </a:lnTo>
                      <a:lnTo>
                        <a:pt x="61913" y="3537"/>
                      </a:lnTo>
                      <a:lnTo>
                        <a:pt x="61704" y="3620"/>
                      </a:lnTo>
                      <a:lnTo>
                        <a:pt x="61641" y="3579"/>
                      </a:lnTo>
                      <a:lnTo>
                        <a:pt x="61474" y="3725"/>
                      </a:lnTo>
                      <a:lnTo>
                        <a:pt x="61327" y="3746"/>
                      </a:lnTo>
                      <a:lnTo>
                        <a:pt x="61223" y="3725"/>
                      </a:lnTo>
                      <a:lnTo>
                        <a:pt x="61118" y="3620"/>
                      </a:lnTo>
                      <a:lnTo>
                        <a:pt x="61034" y="3620"/>
                      </a:lnTo>
                      <a:lnTo>
                        <a:pt x="60972" y="3662"/>
                      </a:lnTo>
                      <a:lnTo>
                        <a:pt x="61013" y="3746"/>
                      </a:lnTo>
                      <a:lnTo>
                        <a:pt x="60804" y="3830"/>
                      </a:lnTo>
                      <a:lnTo>
                        <a:pt x="60700" y="3913"/>
                      </a:lnTo>
                      <a:lnTo>
                        <a:pt x="60449" y="3934"/>
                      </a:lnTo>
                      <a:lnTo>
                        <a:pt x="60323" y="4081"/>
                      </a:lnTo>
                      <a:lnTo>
                        <a:pt x="60323" y="4290"/>
                      </a:lnTo>
                      <a:lnTo>
                        <a:pt x="60323" y="4562"/>
                      </a:lnTo>
                      <a:lnTo>
                        <a:pt x="60532" y="4855"/>
                      </a:lnTo>
                      <a:lnTo>
                        <a:pt x="60553" y="5022"/>
                      </a:lnTo>
                      <a:lnTo>
                        <a:pt x="60407" y="4813"/>
                      </a:lnTo>
                      <a:lnTo>
                        <a:pt x="60281" y="4688"/>
                      </a:lnTo>
                      <a:lnTo>
                        <a:pt x="60177" y="4708"/>
                      </a:lnTo>
                      <a:lnTo>
                        <a:pt x="60030" y="4625"/>
                      </a:lnTo>
                      <a:lnTo>
                        <a:pt x="60072" y="4729"/>
                      </a:lnTo>
                      <a:lnTo>
                        <a:pt x="60177" y="4792"/>
                      </a:lnTo>
                      <a:lnTo>
                        <a:pt x="60218" y="4980"/>
                      </a:lnTo>
                      <a:lnTo>
                        <a:pt x="60218" y="5022"/>
                      </a:lnTo>
                      <a:lnTo>
                        <a:pt x="60072" y="4813"/>
                      </a:lnTo>
                      <a:lnTo>
                        <a:pt x="59967" y="4813"/>
                      </a:lnTo>
                      <a:lnTo>
                        <a:pt x="59925" y="4604"/>
                      </a:lnTo>
                      <a:lnTo>
                        <a:pt x="59758" y="4415"/>
                      </a:lnTo>
                      <a:lnTo>
                        <a:pt x="59674" y="4269"/>
                      </a:lnTo>
                      <a:lnTo>
                        <a:pt x="59570" y="4269"/>
                      </a:lnTo>
                      <a:lnTo>
                        <a:pt x="59612" y="4457"/>
                      </a:lnTo>
                      <a:lnTo>
                        <a:pt x="59591" y="4562"/>
                      </a:lnTo>
                      <a:lnTo>
                        <a:pt x="59549" y="4415"/>
                      </a:lnTo>
                      <a:lnTo>
                        <a:pt x="59402" y="4353"/>
                      </a:lnTo>
                      <a:lnTo>
                        <a:pt x="59256" y="4374"/>
                      </a:lnTo>
                      <a:lnTo>
                        <a:pt x="59256" y="4457"/>
                      </a:lnTo>
                      <a:lnTo>
                        <a:pt x="59172" y="4374"/>
                      </a:lnTo>
                      <a:lnTo>
                        <a:pt x="59026" y="4374"/>
                      </a:lnTo>
                      <a:lnTo>
                        <a:pt x="58879" y="4520"/>
                      </a:lnTo>
                      <a:lnTo>
                        <a:pt x="58754" y="4562"/>
                      </a:lnTo>
                      <a:lnTo>
                        <a:pt x="58837" y="4415"/>
                      </a:lnTo>
                      <a:lnTo>
                        <a:pt x="58837" y="4311"/>
                      </a:lnTo>
                      <a:lnTo>
                        <a:pt x="58712" y="4081"/>
                      </a:lnTo>
                      <a:lnTo>
                        <a:pt x="58712" y="3934"/>
                      </a:lnTo>
                      <a:lnTo>
                        <a:pt x="58649" y="3871"/>
                      </a:lnTo>
                      <a:lnTo>
                        <a:pt x="58649" y="3767"/>
                      </a:lnTo>
                      <a:lnTo>
                        <a:pt x="58544" y="3558"/>
                      </a:lnTo>
                      <a:lnTo>
                        <a:pt x="58335" y="3327"/>
                      </a:lnTo>
                      <a:lnTo>
                        <a:pt x="58105" y="3202"/>
                      </a:lnTo>
                      <a:lnTo>
                        <a:pt x="57875" y="2930"/>
                      </a:lnTo>
                      <a:lnTo>
                        <a:pt x="57310" y="2742"/>
                      </a:lnTo>
                      <a:lnTo>
                        <a:pt x="57038" y="2742"/>
                      </a:lnTo>
                      <a:lnTo>
                        <a:pt x="56892" y="2783"/>
                      </a:lnTo>
                      <a:lnTo>
                        <a:pt x="56661" y="2930"/>
                      </a:lnTo>
                      <a:lnTo>
                        <a:pt x="56661" y="2993"/>
                      </a:lnTo>
                      <a:lnTo>
                        <a:pt x="56536" y="2951"/>
                      </a:lnTo>
                      <a:lnTo>
                        <a:pt x="56327" y="3035"/>
                      </a:lnTo>
                      <a:lnTo>
                        <a:pt x="55887" y="3244"/>
                      </a:lnTo>
                      <a:lnTo>
                        <a:pt x="55720" y="3265"/>
                      </a:lnTo>
                      <a:lnTo>
                        <a:pt x="55531" y="3453"/>
                      </a:lnTo>
                      <a:lnTo>
                        <a:pt x="55427" y="3516"/>
                      </a:lnTo>
                      <a:lnTo>
                        <a:pt x="55197" y="3683"/>
                      </a:lnTo>
                      <a:lnTo>
                        <a:pt x="55071" y="3746"/>
                      </a:lnTo>
                      <a:lnTo>
                        <a:pt x="54946" y="3871"/>
                      </a:lnTo>
                      <a:lnTo>
                        <a:pt x="54757" y="3934"/>
                      </a:lnTo>
                      <a:lnTo>
                        <a:pt x="54590" y="3871"/>
                      </a:lnTo>
                      <a:lnTo>
                        <a:pt x="54360" y="3934"/>
                      </a:lnTo>
                      <a:lnTo>
                        <a:pt x="54213" y="3997"/>
                      </a:lnTo>
                      <a:lnTo>
                        <a:pt x="54339" y="3871"/>
                      </a:lnTo>
                      <a:lnTo>
                        <a:pt x="54527" y="3767"/>
                      </a:lnTo>
                      <a:lnTo>
                        <a:pt x="54548" y="3662"/>
                      </a:lnTo>
                      <a:lnTo>
                        <a:pt x="54381" y="3474"/>
                      </a:lnTo>
                      <a:lnTo>
                        <a:pt x="54109" y="3411"/>
                      </a:lnTo>
                      <a:lnTo>
                        <a:pt x="53837" y="3223"/>
                      </a:lnTo>
                      <a:lnTo>
                        <a:pt x="53753" y="3160"/>
                      </a:lnTo>
                      <a:lnTo>
                        <a:pt x="53711" y="3223"/>
                      </a:lnTo>
                      <a:lnTo>
                        <a:pt x="53607" y="3453"/>
                      </a:lnTo>
                      <a:lnTo>
                        <a:pt x="53607" y="3579"/>
                      </a:lnTo>
                      <a:lnTo>
                        <a:pt x="53544" y="3516"/>
                      </a:lnTo>
                      <a:lnTo>
                        <a:pt x="53502" y="3537"/>
                      </a:lnTo>
                      <a:lnTo>
                        <a:pt x="53439" y="3662"/>
                      </a:lnTo>
                      <a:lnTo>
                        <a:pt x="53376" y="3725"/>
                      </a:lnTo>
                      <a:lnTo>
                        <a:pt x="53335" y="3662"/>
                      </a:lnTo>
                      <a:lnTo>
                        <a:pt x="53397" y="3516"/>
                      </a:lnTo>
                      <a:lnTo>
                        <a:pt x="53439" y="3432"/>
                      </a:lnTo>
                      <a:lnTo>
                        <a:pt x="53397" y="3265"/>
                      </a:lnTo>
                      <a:lnTo>
                        <a:pt x="53272" y="3202"/>
                      </a:lnTo>
                      <a:lnTo>
                        <a:pt x="53125" y="3327"/>
                      </a:lnTo>
                      <a:lnTo>
                        <a:pt x="53167" y="3411"/>
                      </a:lnTo>
                      <a:lnTo>
                        <a:pt x="53083" y="3537"/>
                      </a:lnTo>
                      <a:lnTo>
                        <a:pt x="53000" y="3453"/>
                      </a:lnTo>
                      <a:lnTo>
                        <a:pt x="52979" y="3307"/>
                      </a:lnTo>
                      <a:lnTo>
                        <a:pt x="52916" y="3160"/>
                      </a:lnTo>
                      <a:lnTo>
                        <a:pt x="52874" y="3014"/>
                      </a:lnTo>
                      <a:lnTo>
                        <a:pt x="52770" y="3118"/>
                      </a:lnTo>
                      <a:lnTo>
                        <a:pt x="52560" y="3139"/>
                      </a:lnTo>
                      <a:lnTo>
                        <a:pt x="52246" y="3223"/>
                      </a:lnTo>
                      <a:lnTo>
                        <a:pt x="52163" y="3202"/>
                      </a:lnTo>
                      <a:lnTo>
                        <a:pt x="52267" y="3118"/>
                      </a:lnTo>
                      <a:lnTo>
                        <a:pt x="52246" y="3014"/>
                      </a:lnTo>
                      <a:lnTo>
                        <a:pt x="52246" y="2909"/>
                      </a:lnTo>
                      <a:lnTo>
                        <a:pt x="52226" y="2783"/>
                      </a:lnTo>
                      <a:lnTo>
                        <a:pt x="52246" y="2763"/>
                      </a:lnTo>
                      <a:lnTo>
                        <a:pt x="52456" y="2909"/>
                      </a:lnTo>
                      <a:lnTo>
                        <a:pt x="52560" y="2825"/>
                      </a:lnTo>
                      <a:lnTo>
                        <a:pt x="52581" y="2700"/>
                      </a:lnTo>
                      <a:lnTo>
                        <a:pt x="52393" y="2428"/>
                      </a:lnTo>
                      <a:lnTo>
                        <a:pt x="52016" y="2302"/>
                      </a:lnTo>
                      <a:lnTo>
                        <a:pt x="51702" y="2281"/>
                      </a:lnTo>
                      <a:lnTo>
                        <a:pt x="51347" y="2365"/>
                      </a:lnTo>
                      <a:lnTo>
                        <a:pt x="51033" y="2407"/>
                      </a:lnTo>
                      <a:lnTo>
                        <a:pt x="50824" y="2574"/>
                      </a:lnTo>
                      <a:lnTo>
                        <a:pt x="50886" y="3139"/>
                      </a:lnTo>
                      <a:lnTo>
                        <a:pt x="50866" y="3307"/>
                      </a:lnTo>
                      <a:lnTo>
                        <a:pt x="50907" y="3411"/>
                      </a:lnTo>
                      <a:lnTo>
                        <a:pt x="50803" y="3579"/>
                      </a:lnTo>
                      <a:lnTo>
                        <a:pt x="50803" y="3746"/>
                      </a:lnTo>
                      <a:lnTo>
                        <a:pt x="50656" y="3851"/>
                      </a:lnTo>
                      <a:lnTo>
                        <a:pt x="50552" y="3851"/>
                      </a:lnTo>
                      <a:lnTo>
                        <a:pt x="50489" y="3788"/>
                      </a:lnTo>
                      <a:lnTo>
                        <a:pt x="50489" y="3725"/>
                      </a:lnTo>
                      <a:lnTo>
                        <a:pt x="50363" y="3620"/>
                      </a:lnTo>
                      <a:lnTo>
                        <a:pt x="50447" y="3537"/>
                      </a:lnTo>
                      <a:lnTo>
                        <a:pt x="50510" y="3558"/>
                      </a:lnTo>
                      <a:lnTo>
                        <a:pt x="50594" y="3369"/>
                      </a:lnTo>
                      <a:lnTo>
                        <a:pt x="50552" y="3139"/>
                      </a:lnTo>
                      <a:lnTo>
                        <a:pt x="50405" y="3097"/>
                      </a:lnTo>
                      <a:lnTo>
                        <a:pt x="50342" y="2888"/>
                      </a:lnTo>
                      <a:lnTo>
                        <a:pt x="50405" y="2909"/>
                      </a:lnTo>
                      <a:lnTo>
                        <a:pt x="50510" y="2804"/>
                      </a:lnTo>
                      <a:lnTo>
                        <a:pt x="50510" y="2930"/>
                      </a:lnTo>
                      <a:lnTo>
                        <a:pt x="50614" y="3035"/>
                      </a:lnTo>
                      <a:lnTo>
                        <a:pt x="50698" y="3223"/>
                      </a:lnTo>
                      <a:lnTo>
                        <a:pt x="50719" y="3160"/>
                      </a:lnTo>
                      <a:lnTo>
                        <a:pt x="50698" y="2888"/>
                      </a:lnTo>
                      <a:lnTo>
                        <a:pt x="50656" y="2679"/>
                      </a:lnTo>
                      <a:lnTo>
                        <a:pt x="50259" y="2825"/>
                      </a:lnTo>
                      <a:lnTo>
                        <a:pt x="49945" y="3035"/>
                      </a:lnTo>
                      <a:lnTo>
                        <a:pt x="49945" y="3160"/>
                      </a:lnTo>
                      <a:lnTo>
                        <a:pt x="49757" y="3307"/>
                      </a:lnTo>
                      <a:lnTo>
                        <a:pt x="49652" y="3223"/>
                      </a:lnTo>
                      <a:lnTo>
                        <a:pt x="49673" y="3139"/>
                      </a:lnTo>
                      <a:lnTo>
                        <a:pt x="49777" y="3118"/>
                      </a:lnTo>
                      <a:lnTo>
                        <a:pt x="49673" y="2993"/>
                      </a:lnTo>
                      <a:lnTo>
                        <a:pt x="49757" y="2742"/>
                      </a:lnTo>
                      <a:lnTo>
                        <a:pt x="49882" y="2804"/>
                      </a:lnTo>
                      <a:lnTo>
                        <a:pt x="49945" y="2783"/>
                      </a:lnTo>
                      <a:lnTo>
                        <a:pt x="50070" y="2825"/>
                      </a:lnTo>
                      <a:lnTo>
                        <a:pt x="50468" y="2637"/>
                      </a:lnTo>
                      <a:lnTo>
                        <a:pt x="50614" y="2595"/>
                      </a:lnTo>
                      <a:lnTo>
                        <a:pt x="50342" y="2595"/>
                      </a:lnTo>
                      <a:lnTo>
                        <a:pt x="50175" y="2616"/>
                      </a:lnTo>
                      <a:lnTo>
                        <a:pt x="49945" y="2595"/>
                      </a:lnTo>
                      <a:lnTo>
                        <a:pt x="49443" y="2595"/>
                      </a:lnTo>
                      <a:lnTo>
                        <a:pt x="49338" y="2637"/>
                      </a:lnTo>
                      <a:lnTo>
                        <a:pt x="48669" y="2700"/>
                      </a:lnTo>
                      <a:lnTo>
                        <a:pt x="48271" y="2700"/>
                      </a:lnTo>
                      <a:lnTo>
                        <a:pt x="48041" y="2742"/>
                      </a:lnTo>
                      <a:lnTo>
                        <a:pt x="47769" y="2637"/>
                      </a:lnTo>
                      <a:lnTo>
                        <a:pt x="47539" y="2679"/>
                      </a:lnTo>
                      <a:lnTo>
                        <a:pt x="47371" y="2742"/>
                      </a:lnTo>
                      <a:lnTo>
                        <a:pt x="47518" y="2909"/>
                      </a:lnTo>
                      <a:lnTo>
                        <a:pt x="47685" y="2909"/>
                      </a:lnTo>
                      <a:lnTo>
                        <a:pt x="47790" y="2951"/>
                      </a:lnTo>
                      <a:lnTo>
                        <a:pt x="47894" y="2930"/>
                      </a:lnTo>
                      <a:lnTo>
                        <a:pt x="48041" y="3055"/>
                      </a:lnTo>
                      <a:lnTo>
                        <a:pt x="48041" y="3139"/>
                      </a:lnTo>
                      <a:lnTo>
                        <a:pt x="47832" y="3327"/>
                      </a:lnTo>
                      <a:lnTo>
                        <a:pt x="47685" y="3307"/>
                      </a:lnTo>
                      <a:lnTo>
                        <a:pt x="47518" y="3369"/>
                      </a:lnTo>
                      <a:lnTo>
                        <a:pt x="47476" y="3537"/>
                      </a:lnTo>
                      <a:lnTo>
                        <a:pt x="47434" y="3641"/>
                      </a:lnTo>
                      <a:lnTo>
                        <a:pt x="47560" y="3871"/>
                      </a:lnTo>
                      <a:lnTo>
                        <a:pt x="47769" y="3934"/>
                      </a:lnTo>
                      <a:lnTo>
                        <a:pt x="47790" y="3788"/>
                      </a:lnTo>
                      <a:lnTo>
                        <a:pt x="47936" y="3662"/>
                      </a:lnTo>
                      <a:lnTo>
                        <a:pt x="48145" y="3579"/>
                      </a:lnTo>
                      <a:lnTo>
                        <a:pt x="48104" y="3788"/>
                      </a:lnTo>
                      <a:lnTo>
                        <a:pt x="47894" y="3788"/>
                      </a:lnTo>
                      <a:lnTo>
                        <a:pt x="47999" y="3934"/>
                      </a:lnTo>
                      <a:lnTo>
                        <a:pt x="47978" y="3955"/>
                      </a:lnTo>
                      <a:lnTo>
                        <a:pt x="48041" y="4060"/>
                      </a:lnTo>
                      <a:lnTo>
                        <a:pt x="47894" y="4143"/>
                      </a:lnTo>
                      <a:lnTo>
                        <a:pt x="48041" y="4164"/>
                      </a:lnTo>
                      <a:lnTo>
                        <a:pt x="48166" y="4102"/>
                      </a:lnTo>
                      <a:lnTo>
                        <a:pt x="48208" y="4206"/>
                      </a:lnTo>
                      <a:lnTo>
                        <a:pt x="48187" y="4353"/>
                      </a:lnTo>
                      <a:lnTo>
                        <a:pt x="48313" y="4478"/>
                      </a:lnTo>
                      <a:lnTo>
                        <a:pt x="48459" y="4499"/>
                      </a:lnTo>
                      <a:lnTo>
                        <a:pt x="48627" y="4708"/>
                      </a:lnTo>
                      <a:lnTo>
                        <a:pt x="48606" y="4813"/>
                      </a:lnTo>
                      <a:lnTo>
                        <a:pt x="48522" y="4771"/>
                      </a:lnTo>
                      <a:lnTo>
                        <a:pt x="48397" y="4813"/>
                      </a:lnTo>
                      <a:lnTo>
                        <a:pt x="48459" y="4939"/>
                      </a:lnTo>
                      <a:lnTo>
                        <a:pt x="48376" y="5001"/>
                      </a:lnTo>
                      <a:lnTo>
                        <a:pt x="48313" y="4939"/>
                      </a:lnTo>
                      <a:lnTo>
                        <a:pt x="48250" y="4980"/>
                      </a:lnTo>
                      <a:lnTo>
                        <a:pt x="48187" y="4834"/>
                      </a:lnTo>
                      <a:lnTo>
                        <a:pt x="47999" y="4708"/>
                      </a:lnTo>
                      <a:lnTo>
                        <a:pt x="47936" y="4729"/>
                      </a:lnTo>
                      <a:lnTo>
                        <a:pt x="47978" y="4813"/>
                      </a:lnTo>
                      <a:lnTo>
                        <a:pt x="47873" y="4897"/>
                      </a:lnTo>
                      <a:lnTo>
                        <a:pt x="47790" y="4834"/>
                      </a:lnTo>
                      <a:lnTo>
                        <a:pt x="47727" y="4897"/>
                      </a:lnTo>
                      <a:lnTo>
                        <a:pt x="47769" y="5022"/>
                      </a:lnTo>
                      <a:lnTo>
                        <a:pt x="47790" y="5211"/>
                      </a:lnTo>
                      <a:lnTo>
                        <a:pt x="47936" y="5232"/>
                      </a:lnTo>
                      <a:lnTo>
                        <a:pt x="48083" y="5148"/>
                      </a:lnTo>
                      <a:lnTo>
                        <a:pt x="48187" y="5252"/>
                      </a:lnTo>
                      <a:lnTo>
                        <a:pt x="48104" y="5336"/>
                      </a:lnTo>
                      <a:lnTo>
                        <a:pt x="48250" y="5399"/>
                      </a:lnTo>
                      <a:lnTo>
                        <a:pt x="48145" y="5462"/>
                      </a:lnTo>
                      <a:lnTo>
                        <a:pt x="47978" y="5420"/>
                      </a:lnTo>
                      <a:lnTo>
                        <a:pt x="47978" y="5462"/>
                      </a:lnTo>
                      <a:lnTo>
                        <a:pt x="48145" y="5566"/>
                      </a:lnTo>
                      <a:lnTo>
                        <a:pt x="47873" y="5566"/>
                      </a:lnTo>
                      <a:lnTo>
                        <a:pt x="47832" y="5462"/>
                      </a:lnTo>
                      <a:lnTo>
                        <a:pt x="47643" y="5462"/>
                      </a:lnTo>
                      <a:lnTo>
                        <a:pt x="47560" y="5336"/>
                      </a:lnTo>
                      <a:lnTo>
                        <a:pt x="47434" y="5315"/>
                      </a:lnTo>
                      <a:lnTo>
                        <a:pt x="47308" y="5190"/>
                      </a:lnTo>
                      <a:lnTo>
                        <a:pt x="47120" y="5190"/>
                      </a:lnTo>
                      <a:lnTo>
                        <a:pt x="46995" y="5106"/>
                      </a:lnTo>
                      <a:lnTo>
                        <a:pt x="46890" y="5127"/>
                      </a:lnTo>
                      <a:lnTo>
                        <a:pt x="46827" y="5106"/>
                      </a:lnTo>
                      <a:lnTo>
                        <a:pt x="46430" y="5252"/>
                      </a:lnTo>
                      <a:lnTo>
                        <a:pt x="46409" y="5357"/>
                      </a:lnTo>
                      <a:lnTo>
                        <a:pt x="46367" y="5420"/>
                      </a:lnTo>
                      <a:lnTo>
                        <a:pt x="46430" y="5504"/>
                      </a:lnTo>
                      <a:lnTo>
                        <a:pt x="46409" y="5566"/>
                      </a:lnTo>
                      <a:lnTo>
                        <a:pt x="46492" y="5713"/>
                      </a:lnTo>
                      <a:lnTo>
                        <a:pt x="46472" y="5734"/>
                      </a:lnTo>
                      <a:lnTo>
                        <a:pt x="46367" y="5629"/>
                      </a:lnTo>
                      <a:lnTo>
                        <a:pt x="46283" y="5671"/>
                      </a:lnTo>
                      <a:lnTo>
                        <a:pt x="46179" y="5629"/>
                      </a:lnTo>
                      <a:lnTo>
                        <a:pt x="45739" y="5671"/>
                      </a:lnTo>
                      <a:lnTo>
                        <a:pt x="45530" y="5650"/>
                      </a:lnTo>
                      <a:lnTo>
                        <a:pt x="45384" y="5524"/>
                      </a:lnTo>
                      <a:lnTo>
                        <a:pt x="45258" y="5504"/>
                      </a:lnTo>
                      <a:lnTo>
                        <a:pt x="45132" y="5357"/>
                      </a:lnTo>
                      <a:lnTo>
                        <a:pt x="45049" y="5211"/>
                      </a:lnTo>
                      <a:lnTo>
                        <a:pt x="44944" y="5148"/>
                      </a:lnTo>
                      <a:lnTo>
                        <a:pt x="44944" y="5232"/>
                      </a:lnTo>
                      <a:lnTo>
                        <a:pt x="45028" y="5420"/>
                      </a:lnTo>
                      <a:lnTo>
                        <a:pt x="45049" y="5734"/>
                      </a:lnTo>
                      <a:lnTo>
                        <a:pt x="45216" y="6068"/>
                      </a:lnTo>
                      <a:lnTo>
                        <a:pt x="45342" y="6340"/>
                      </a:lnTo>
                      <a:lnTo>
                        <a:pt x="45446" y="6926"/>
                      </a:lnTo>
                      <a:lnTo>
                        <a:pt x="45425" y="7073"/>
                      </a:lnTo>
                      <a:lnTo>
                        <a:pt x="45342" y="7073"/>
                      </a:lnTo>
                      <a:lnTo>
                        <a:pt x="45258" y="6968"/>
                      </a:lnTo>
                      <a:lnTo>
                        <a:pt x="45237" y="6864"/>
                      </a:lnTo>
                      <a:lnTo>
                        <a:pt x="45132" y="6759"/>
                      </a:lnTo>
                      <a:lnTo>
                        <a:pt x="45070" y="6801"/>
                      </a:lnTo>
                      <a:lnTo>
                        <a:pt x="45132" y="6884"/>
                      </a:lnTo>
                      <a:lnTo>
                        <a:pt x="45112" y="6968"/>
                      </a:lnTo>
                      <a:lnTo>
                        <a:pt x="44923" y="6905"/>
                      </a:lnTo>
                      <a:lnTo>
                        <a:pt x="44756" y="6717"/>
                      </a:lnTo>
                      <a:lnTo>
                        <a:pt x="44505" y="6696"/>
                      </a:lnTo>
                      <a:lnTo>
                        <a:pt x="44379" y="6550"/>
                      </a:lnTo>
                      <a:lnTo>
                        <a:pt x="44275" y="6508"/>
                      </a:lnTo>
                      <a:lnTo>
                        <a:pt x="43898" y="6173"/>
                      </a:lnTo>
                      <a:lnTo>
                        <a:pt x="43877" y="6173"/>
                      </a:lnTo>
                      <a:lnTo>
                        <a:pt x="43793" y="6236"/>
                      </a:lnTo>
                      <a:lnTo>
                        <a:pt x="43689" y="6236"/>
                      </a:lnTo>
                      <a:lnTo>
                        <a:pt x="43647" y="6152"/>
                      </a:lnTo>
                      <a:lnTo>
                        <a:pt x="43877" y="5943"/>
                      </a:lnTo>
                      <a:lnTo>
                        <a:pt x="43982" y="5943"/>
                      </a:lnTo>
                      <a:lnTo>
                        <a:pt x="43898" y="5880"/>
                      </a:lnTo>
                      <a:lnTo>
                        <a:pt x="43772" y="5817"/>
                      </a:lnTo>
                      <a:lnTo>
                        <a:pt x="43647" y="5671"/>
                      </a:lnTo>
                      <a:lnTo>
                        <a:pt x="43626" y="5671"/>
                      </a:lnTo>
                      <a:lnTo>
                        <a:pt x="43647" y="5755"/>
                      </a:lnTo>
                      <a:lnTo>
                        <a:pt x="43751" y="5859"/>
                      </a:lnTo>
                      <a:lnTo>
                        <a:pt x="43751" y="5964"/>
                      </a:lnTo>
                      <a:lnTo>
                        <a:pt x="43626" y="6048"/>
                      </a:lnTo>
                      <a:lnTo>
                        <a:pt x="43417" y="5985"/>
                      </a:lnTo>
                      <a:lnTo>
                        <a:pt x="43207" y="5838"/>
                      </a:lnTo>
                      <a:lnTo>
                        <a:pt x="43145" y="5755"/>
                      </a:lnTo>
                      <a:lnTo>
                        <a:pt x="42935" y="5734"/>
                      </a:lnTo>
                      <a:lnTo>
                        <a:pt x="42894" y="5608"/>
                      </a:lnTo>
                      <a:lnTo>
                        <a:pt x="42789" y="5545"/>
                      </a:lnTo>
                      <a:lnTo>
                        <a:pt x="43040" y="5545"/>
                      </a:lnTo>
                      <a:lnTo>
                        <a:pt x="43270" y="5608"/>
                      </a:lnTo>
                      <a:lnTo>
                        <a:pt x="43375" y="5671"/>
                      </a:lnTo>
                      <a:lnTo>
                        <a:pt x="43521" y="5629"/>
                      </a:lnTo>
                      <a:lnTo>
                        <a:pt x="43626" y="5441"/>
                      </a:lnTo>
                      <a:lnTo>
                        <a:pt x="43626" y="5378"/>
                      </a:lnTo>
                      <a:lnTo>
                        <a:pt x="43542" y="5420"/>
                      </a:lnTo>
                      <a:lnTo>
                        <a:pt x="43521" y="5336"/>
                      </a:lnTo>
                      <a:lnTo>
                        <a:pt x="43417" y="5357"/>
                      </a:lnTo>
                      <a:lnTo>
                        <a:pt x="43459" y="5190"/>
                      </a:lnTo>
                      <a:lnTo>
                        <a:pt x="43333" y="5043"/>
                      </a:lnTo>
                      <a:lnTo>
                        <a:pt x="43249" y="5106"/>
                      </a:lnTo>
                      <a:lnTo>
                        <a:pt x="43228" y="5001"/>
                      </a:lnTo>
                      <a:lnTo>
                        <a:pt x="43145" y="4980"/>
                      </a:lnTo>
                      <a:lnTo>
                        <a:pt x="43061" y="5022"/>
                      </a:lnTo>
                      <a:lnTo>
                        <a:pt x="43019" y="5085"/>
                      </a:lnTo>
                      <a:lnTo>
                        <a:pt x="42831" y="5043"/>
                      </a:lnTo>
                      <a:lnTo>
                        <a:pt x="42810" y="4897"/>
                      </a:lnTo>
                      <a:lnTo>
                        <a:pt x="43019" y="4708"/>
                      </a:lnTo>
                      <a:lnTo>
                        <a:pt x="42998" y="4625"/>
                      </a:lnTo>
                      <a:lnTo>
                        <a:pt x="42894" y="4625"/>
                      </a:lnTo>
                      <a:lnTo>
                        <a:pt x="42726" y="4792"/>
                      </a:lnTo>
                      <a:lnTo>
                        <a:pt x="42705" y="4667"/>
                      </a:lnTo>
                      <a:lnTo>
                        <a:pt x="42768" y="4562"/>
                      </a:lnTo>
                      <a:lnTo>
                        <a:pt x="42726" y="4415"/>
                      </a:lnTo>
                      <a:lnTo>
                        <a:pt x="42663" y="4457"/>
                      </a:lnTo>
                      <a:lnTo>
                        <a:pt x="42622" y="4499"/>
                      </a:lnTo>
                      <a:lnTo>
                        <a:pt x="42601" y="4395"/>
                      </a:lnTo>
                      <a:lnTo>
                        <a:pt x="42496" y="4395"/>
                      </a:lnTo>
                      <a:lnTo>
                        <a:pt x="42454" y="4353"/>
                      </a:lnTo>
                      <a:lnTo>
                        <a:pt x="42391" y="4269"/>
                      </a:lnTo>
                      <a:lnTo>
                        <a:pt x="42433" y="4102"/>
                      </a:lnTo>
                      <a:lnTo>
                        <a:pt x="42391" y="4060"/>
                      </a:lnTo>
                      <a:lnTo>
                        <a:pt x="42308" y="4102"/>
                      </a:lnTo>
                      <a:lnTo>
                        <a:pt x="42224" y="4248"/>
                      </a:lnTo>
                      <a:lnTo>
                        <a:pt x="42203" y="4039"/>
                      </a:lnTo>
                      <a:lnTo>
                        <a:pt x="42099" y="3955"/>
                      </a:lnTo>
                      <a:lnTo>
                        <a:pt x="41994" y="4039"/>
                      </a:lnTo>
                      <a:lnTo>
                        <a:pt x="41910" y="4039"/>
                      </a:lnTo>
                      <a:lnTo>
                        <a:pt x="41868" y="3871"/>
                      </a:lnTo>
                      <a:lnTo>
                        <a:pt x="41764" y="3976"/>
                      </a:lnTo>
                      <a:lnTo>
                        <a:pt x="41701" y="3976"/>
                      </a:lnTo>
                      <a:lnTo>
                        <a:pt x="41680" y="4060"/>
                      </a:lnTo>
                      <a:lnTo>
                        <a:pt x="41659" y="3892"/>
                      </a:lnTo>
                      <a:lnTo>
                        <a:pt x="41659" y="3830"/>
                      </a:lnTo>
                      <a:lnTo>
                        <a:pt x="41492" y="3830"/>
                      </a:lnTo>
                      <a:lnTo>
                        <a:pt x="41408" y="3851"/>
                      </a:lnTo>
                      <a:lnTo>
                        <a:pt x="41366" y="3788"/>
                      </a:lnTo>
                      <a:lnTo>
                        <a:pt x="41199" y="3851"/>
                      </a:lnTo>
                      <a:lnTo>
                        <a:pt x="41094" y="3851"/>
                      </a:lnTo>
                      <a:lnTo>
                        <a:pt x="41073" y="3892"/>
                      </a:lnTo>
                      <a:lnTo>
                        <a:pt x="41136" y="3955"/>
                      </a:lnTo>
                      <a:lnTo>
                        <a:pt x="41178" y="4081"/>
                      </a:lnTo>
                      <a:lnTo>
                        <a:pt x="41115" y="4060"/>
                      </a:lnTo>
                      <a:lnTo>
                        <a:pt x="41052" y="4081"/>
                      </a:lnTo>
                      <a:lnTo>
                        <a:pt x="41052" y="4164"/>
                      </a:lnTo>
                      <a:lnTo>
                        <a:pt x="41031" y="4143"/>
                      </a:lnTo>
                      <a:lnTo>
                        <a:pt x="40885" y="4164"/>
                      </a:lnTo>
                      <a:lnTo>
                        <a:pt x="40843" y="4143"/>
                      </a:lnTo>
                      <a:lnTo>
                        <a:pt x="40885" y="4039"/>
                      </a:lnTo>
                      <a:lnTo>
                        <a:pt x="40969" y="3976"/>
                      </a:lnTo>
                      <a:lnTo>
                        <a:pt x="40927" y="3871"/>
                      </a:lnTo>
                      <a:lnTo>
                        <a:pt x="40822" y="3851"/>
                      </a:lnTo>
                      <a:lnTo>
                        <a:pt x="40822" y="3955"/>
                      </a:lnTo>
                      <a:lnTo>
                        <a:pt x="40738" y="3997"/>
                      </a:lnTo>
                      <a:lnTo>
                        <a:pt x="40655" y="3892"/>
                      </a:lnTo>
                      <a:lnTo>
                        <a:pt x="40550" y="3871"/>
                      </a:lnTo>
                      <a:lnTo>
                        <a:pt x="40446" y="3767"/>
                      </a:lnTo>
                      <a:lnTo>
                        <a:pt x="40425" y="3851"/>
                      </a:lnTo>
                      <a:lnTo>
                        <a:pt x="40341" y="3871"/>
                      </a:lnTo>
                      <a:lnTo>
                        <a:pt x="40194" y="3871"/>
                      </a:lnTo>
                      <a:lnTo>
                        <a:pt x="40132" y="3788"/>
                      </a:lnTo>
                      <a:lnTo>
                        <a:pt x="40111" y="3892"/>
                      </a:lnTo>
                      <a:lnTo>
                        <a:pt x="40027" y="3955"/>
                      </a:lnTo>
                      <a:lnTo>
                        <a:pt x="39902" y="3851"/>
                      </a:lnTo>
                      <a:lnTo>
                        <a:pt x="39818" y="3851"/>
                      </a:lnTo>
                      <a:lnTo>
                        <a:pt x="39860" y="3955"/>
                      </a:lnTo>
                      <a:lnTo>
                        <a:pt x="39881" y="3997"/>
                      </a:lnTo>
                      <a:lnTo>
                        <a:pt x="39755" y="4102"/>
                      </a:lnTo>
                      <a:lnTo>
                        <a:pt x="39692" y="4081"/>
                      </a:lnTo>
                      <a:lnTo>
                        <a:pt x="39671" y="3997"/>
                      </a:lnTo>
                      <a:lnTo>
                        <a:pt x="39609" y="4102"/>
                      </a:lnTo>
                      <a:lnTo>
                        <a:pt x="39630" y="4269"/>
                      </a:lnTo>
                      <a:lnTo>
                        <a:pt x="39713" y="4353"/>
                      </a:lnTo>
                      <a:lnTo>
                        <a:pt x="39734" y="4457"/>
                      </a:lnTo>
                      <a:lnTo>
                        <a:pt x="39797" y="4478"/>
                      </a:lnTo>
                      <a:lnTo>
                        <a:pt x="39818" y="4625"/>
                      </a:lnTo>
                      <a:lnTo>
                        <a:pt x="39964" y="4667"/>
                      </a:lnTo>
                      <a:lnTo>
                        <a:pt x="40006" y="4729"/>
                      </a:lnTo>
                      <a:lnTo>
                        <a:pt x="40006" y="4834"/>
                      </a:lnTo>
                      <a:lnTo>
                        <a:pt x="40111" y="4918"/>
                      </a:lnTo>
                      <a:lnTo>
                        <a:pt x="40132" y="5001"/>
                      </a:lnTo>
                      <a:lnTo>
                        <a:pt x="40069" y="5106"/>
                      </a:lnTo>
                      <a:lnTo>
                        <a:pt x="40006" y="5085"/>
                      </a:lnTo>
                      <a:lnTo>
                        <a:pt x="39985" y="5001"/>
                      </a:lnTo>
                      <a:lnTo>
                        <a:pt x="39818" y="5043"/>
                      </a:lnTo>
                      <a:lnTo>
                        <a:pt x="39713" y="5022"/>
                      </a:lnTo>
                      <a:lnTo>
                        <a:pt x="39609" y="5043"/>
                      </a:lnTo>
                      <a:lnTo>
                        <a:pt x="39671" y="5127"/>
                      </a:lnTo>
                      <a:lnTo>
                        <a:pt x="39588" y="5232"/>
                      </a:lnTo>
                      <a:lnTo>
                        <a:pt x="39462" y="5232"/>
                      </a:lnTo>
                      <a:lnTo>
                        <a:pt x="39378" y="5211"/>
                      </a:lnTo>
                      <a:lnTo>
                        <a:pt x="39127" y="5336"/>
                      </a:lnTo>
                      <a:lnTo>
                        <a:pt x="38751" y="5399"/>
                      </a:lnTo>
                      <a:lnTo>
                        <a:pt x="38625" y="5336"/>
                      </a:lnTo>
                      <a:lnTo>
                        <a:pt x="38437" y="5336"/>
                      </a:lnTo>
                      <a:lnTo>
                        <a:pt x="38416" y="5357"/>
                      </a:lnTo>
                      <a:lnTo>
                        <a:pt x="38311" y="5336"/>
                      </a:lnTo>
                      <a:lnTo>
                        <a:pt x="37788" y="5315"/>
                      </a:lnTo>
                      <a:lnTo>
                        <a:pt x="37621" y="5190"/>
                      </a:lnTo>
                      <a:lnTo>
                        <a:pt x="37579" y="4980"/>
                      </a:lnTo>
                      <a:lnTo>
                        <a:pt x="37663" y="4834"/>
                      </a:lnTo>
                      <a:lnTo>
                        <a:pt x="37705" y="4813"/>
                      </a:lnTo>
                      <a:lnTo>
                        <a:pt x="37705" y="4729"/>
                      </a:lnTo>
                      <a:lnTo>
                        <a:pt x="37558" y="4688"/>
                      </a:lnTo>
                      <a:lnTo>
                        <a:pt x="37370" y="4688"/>
                      </a:lnTo>
                      <a:lnTo>
                        <a:pt x="37035" y="4834"/>
                      </a:lnTo>
                      <a:lnTo>
                        <a:pt x="36554" y="4876"/>
                      </a:lnTo>
                      <a:lnTo>
                        <a:pt x="36156" y="4980"/>
                      </a:lnTo>
                      <a:lnTo>
                        <a:pt x="35926" y="5022"/>
                      </a:lnTo>
                      <a:lnTo>
                        <a:pt x="35884" y="5106"/>
                      </a:lnTo>
                      <a:lnTo>
                        <a:pt x="35801" y="5106"/>
                      </a:lnTo>
                      <a:lnTo>
                        <a:pt x="35738" y="5190"/>
                      </a:lnTo>
                      <a:lnTo>
                        <a:pt x="35612" y="5252"/>
                      </a:lnTo>
                      <a:lnTo>
                        <a:pt x="35466" y="5399"/>
                      </a:lnTo>
                      <a:lnTo>
                        <a:pt x="35529" y="5545"/>
                      </a:lnTo>
                      <a:lnTo>
                        <a:pt x="35612" y="5566"/>
                      </a:lnTo>
                      <a:lnTo>
                        <a:pt x="35717" y="5524"/>
                      </a:lnTo>
                      <a:lnTo>
                        <a:pt x="35780" y="5545"/>
                      </a:lnTo>
                      <a:lnTo>
                        <a:pt x="35717" y="5629"/>
                      </a:lnTo>
                      <a:lnTo>
                        <a:pt x="35654" y="5650"/>
                      </a:lnTo>
                      <a:lnTo>
                        <a:pt x="35549" y="5755"/>
                      </a:lnTo>
                      <a:lnTo>
                        <a:pt x="35549" y="5817"/>
                      </a:lnTo>
                      <a:lnTo>
                        <a:pt x="35508" y="5755"/>
                      </a:lnTo>
                      <a:lnTo>
                        <a:pt x="35487" y="5545"/>
                      </a:lnTo>
                      <a:lnTo>
                        <a:pt x="35319" y="5420"/>
                      </a:lnTo>
                      <a:lnTo>
                        <a:pt x="35298" y="5336"/>
                      </a:lnTo>
                      <a:lnTo>
                        <a:pt x="35319" y="5252"/>
                      </a:lnTo>
                      <a:lnTo>
                        <a:pt x="35194" y="5148"/>
                      </a:lnTo>
                      <a:lnTo>
                        <a:pt x="35110" y="5148"/>
                      </a:lnTo>
                      <a:lnTo>
                        <a:pt x="34880" y="4939"/>
                      </a:lnTo>
                      <a:lnTo>
                        <a:pt x="34817" y="4939"/>
                      </a:lnTo>
                      <a:lnTo>
                        <a:pt x="34817" y="5022"/>
                      </a:lnTo>
                      <a:lnTo>
                        <a:pt x="35005" y="5232"/>
                      </a:lnTo>
                      <a:lnTo>
                        <a:pt x="35026" y="5357"/>
                      </a:lnTo>
                      <a:lnTo>
                        <a:pt x="34922" y="5462"/>
                      </a:lnTo>
                      <a:lnTo>
                        <a:pt x="34733" y="5504"/>
                      </a:lnTo>
                      <a:lnTo>
                        <a:pt x="34650" y="5545"/>
                      </a:lnTo>
                      <a:lnTo>
                        <a:pt x="34482" y="5545"/>
                      </a:lnTo>
                      <a:lnTo>
                        <a:pt x="34168" y="5294"/>
                      </a:lnTo>
                      <a:lnTo>
                        <a:pt x="34168" y="5190"/>
                      </a:lnTo>
                      <a:lnTo>
                        <a:pt x="34231" y="5106"/>
                      </a:lnTo>
                      <a:lnTo>
                        <a:pt x="34210" y="5022"/>
                      </a:lnTo>
                      <a:lnTo>
                        <a:pt x="34043" y="5085"/>
                      </a:lnTo>
                      <a:lnTo>
                        <a:pt x="34043" y="5211"/>
                      </a:lnTo>
                      <a:lnTo>
                        <a:pt x="33959" y="5294"/>
                      </a:lnTo>
                      <a:lnTo>
                        <a:pt x="33750" y="5148"/>
                      </a:lnTo>
                      <a:lnTo>
                        <a:pt x="33604" y="5148"/>
                      </a:lnTo>
                      <a:lnTo>
                        <a:pt x="33499" y="5252"/>
                      </a:lnTo>
                      <a:lnTo>
                        <a:pt x="33520" y="5441"/>
                      </a:lnTo>
                      <a:lnTo>
                        <a:pt x="33436" y="5566"/>
                      </a:lnTo>
                      <a:lnTo>
                        <a:pt x="33520" y="5734"/>
                      </a:lnTo>
                      <a:lnTo>
                        <a:pt x="33645" y="5776"/>
                      </a:lnTo>
                      <a:lnTo>
                        <a:pt x="33813" y="5650"/>
                      </a:lnTo>
                      <a:lnTo>
                        <a:pt x="33834" y="5566"/>
                      </a:lnTo>
                      <a:lnTo>
                        <a:pt x="34043" y="5441"/>
                      </a:lnTo>
                      <a:lnTo>
                        <a:pt x="34106" y="5524"/>
                      </a:lnTo>
                      <a:lnTo>
                        <a:pt x="34064" y="5650"/>
                      </a:lnTo>
                      <a:lnTo>
                        <a:pt x="33855" y="5817"/>
                      </a:lnTo>
                      <a:lnTo>
                        <a:pt x="33938" y="5880"/>
                      </a:lnTo>
                      <a:lnTo>
                        <a:pt x="33855" y="6027"/>
                      </a:lnTo>
                      <a:lnTo>
                        <a:pt x="33729" y="6068"/>
                      </a:lnTo>
                      <a:lnTo>
                        <a:pt x="33604" y="5985"/>
                      </a:lnTo>
                      <a:lnTo>
                        <a:pt x="33604" y="6048"/>
                      </a:lnTo>
                      <a:lnTo>
                        <a:pt x="33645" y="6173"/>
                      </a:lnTo>
                      <a:lnTo>
                        <a:pt x="33583" y="6299"/>
                      </a:lnTo>
                      <a:lnTo>
                        <a:pt x="33394" y="6445"/>
                      </a:lnTo>
                      <a:lnTo>
                        <a:pt x="33436" y="6550"/>
                      </a:lnTo>
                      <a:lnTo>
                        <a:pt x="33394" y="6592"/>
                      </a:lnTo>
                      <a:lnTo>
                        <a:pt x="33311" y="6592"/>
                      </a:lnTo>
                      <a:lnTo>
                        <a:pt x="33164" y="6759"/>
                      </a:lnTo>
                      <a:lnTo>
                        <a:pt x="32955" y="6780"/>
                      </a:lnTo>
                      <a:lnTo>
                        <a:pt x="32746" y="6801"/>
                      </a:lnTo>
                      <a:lnTo>
                        <a:pt x="32683" y="6926"/>
                      </a:lnTo>
                      <a:lnTo>
                        <a:pt x="32746" y="7094"/>
                      </a:lnTo>
                      <a:lnTo>
                        <a:pt x="32913" y="7303"/>
                      </a:lnTo>
                      <a:lnTo>
                        <a:pt x="32997" y="7324"/>
                      </a:lnTo>
                      <a:lnTo>
                        <a:pt x="32913" y="7345"/>
                      </a:lnTo>
                      <a:lnTo>
                        <a:pt x="32767" y="7345"/>
                      </a:lnTo>
                      <a:lnTo>
                        <a:pt x="32746" y="7429"/>
                      </a:lnTo>
                      <a:lnTo>
                        <a:pt x="32767" y="7491"/>
                      </a:lnTo>
                      <a:lnTo>
                        <a:pt x="32704" y="7596"/>
                      </a:lnTo>
                      <a:lnTo>
                        <a:pt x="32599" y="7701"/>
                      </a:lnTo>
                      <a:lnTo>
                        <a:pt x="32495" y="7701"/>
                      </a:lnTo>
                      <a:lnTo>
                        <a:pt x="32474" y="7763"/>
                      </a:lnTo>
                      <a:lnTo>
                        <a:pt x="32495" y="7659"/>
                      </a:lnTo>
                      <a:lnTo>
                        <a:pt x="32599" y="7596"/>
                      </a:lnTo>
                      <a:lnTo>
                        <a:pt x="32683" y="7282"/>
                      </a:lnTo>
                      <a:lnTo>
                        <a:pt x="32599" y="7219"/>
                      </a:lnTo>
                      <a:lnTo>
                        <a:pt x="32599" y="7115"/>
                      </a:lnTo>
                      <a:lnTo>
                        <a:pt x="32662" y="7073"/>
                      </a:lnTo>
                      <a:lnTo>
                        <a:pt x="32662" y="6926"/>
                      </a:lnTo>
                      <a:lnTo>
                        <a:pt x="32599" y="6780"/>
                      </a:lnTo>
                      <a:lnTo>
                        <a:pt x="32662" y="6612"/>
                      </a:lnTo>
                      <a:lnTo>
                        <a:pt x="32767" y="6550"/>
                      </a:lnTo>
                      <a:lnTo>
                        <a:pt x="32808" y="6445"/>
                      </a:lnTo>
                      <a:lnTo>
                        <a:pt x="32767" y="6194"/>
                      </a:lnTo>
                      <a:lnTo>
                        <a:pt x="32746" y="6152"/>
                      </a:lnTo>
                      <a:lnTo>
                        <a:pt x="32788" y="6068"/>
                      </a:lnTo>
                      <a:lnTo>
                        <a:pt x="32871" y="6068"/>
                      </a:lnTo>
                      <a:lnTo>
                        <a:pt x="32913" y="6089"/>
                      </a:lnTo>
                      <a:lnTo>
                        <a:pt x="33080" y="6048"/>
                      </a:lnTo>
                      <a:lnTo>
                        <a:pt x="33185" y="5776"/>
                      </a:lnTo>
                      <a:lnTo>
                        <a:pt x="33164" y="5671"/>
                      </a:lnTo>
                      <a:lnTo>
                        <a:pt x="33101" y="5545"/>
                      </a:lnTo>
                      <a:lnTo>
                        <a:pt x="33185" y="5252"/>
                      </a:lnTo>
                      <a:lnTo>
                        <a:pt x="33269" y="5127"/>
                      </a:lnTo>
                      <a:lnTo>
                        <a:pt x="33373" y="4939"/>
                      </a:lnTo>
                      <a:lnTo>
                        <a:pt x="33311" y="4792"/>
                      </a:lnTo>
                      <a:lnTo>
                        <a:pt x="33290" y="4792"/>
                      </a:lnTo>
                      <a:lnTo>
                        <a:pt x="33206" y="4876"/>
                      </a:lnTo>
                      <a:lnTo>
                        <a:pt x="33122" y="4876"/>
                      </a:lnTo>
                      <a:lnTo>
                        <a:pt x="32997" y="4813"/>
                      </a:lnTo>
                      <a:lnTo>
                        <a:pt x="33122" y="4813"/>
                      </a:lnTo>
                      <a:lnTo>
                        <a:pt x="33269" y="4708"/>
                      </a:lnTo>
                      <a:lnTo>
                        <a:pt x="33373" y="4667"/>
                      </a:lnTo>
                      <a:lnTo>
                        <a:pt x="33415" y="4562"/>
                      </a:lnTo>
                      <a:lnTo>
                        <a:pt x="33394" y="4499"/>
                      </a:lnTo>
                      <a:lnTo>
                        <a:pt x="33436" y="4415"/>
                      </a:lnTo>
                      <a:lnTo>
                        <a:pt x="33520" y="4248"/>
                      </a:lnTo>
                      <a:lnTo>
                        <a:pt x="33499" y="4185"/>
                      </a:lnTo>
                      <a:lnTo>
                        <a:pt x="33541" y="4081"/>
                      </a:lnTo>
                      <a:lnTo>
                        <a:pt x="33708" y="3997"/>
                      </a:lnTo>
                      <a:lnTo>
                        <a:pt x="33708" y="3892"/>
                      </a:lnTo>
                      <a:lnTo>
                        <a:pt x="33624" y="3830"/>
                      </a:lnTo>
                      <a:lnTo>
                        <a:pt x="33624" y="3767"/>
                      </a:lnTo>
                      <a:lnTo>
                        <a:pt x="33708" y="3641"/>
                      </a:lnTo>
                      <a:lnTo>
                        <a:pt x="33687" y="3537"/>
                      </a:lnTo>
                      <a:lnTo>
                        <a:pt x="33729" y="3432"/>
                      </a:lnTo>
                      <a:lnTo>
                        <a:pt x="33792" y="3411"/>
                      </a:lnTo>
                      <a:lnTo>
                        <a:pt x="33855" y="3223"/>
                      </a:lnTo>
                      <a:lnTo>
                        <a:pt x="33855" y="3014"/>
                      </a:lnTo>
                      <a:lnTo>
                        <a:pt x="33813" y="2804"/>
                      </a:lnTo>
                      <a:lnTo>
                        <a:pt x="33708" y="2616"/>
                      </a:lnTo>
                      <a:lnTo>
                        <a:pt x="33729" y="2574"/>
                      </a:lnTo>
                      <a:lnTo>
                        <a:pt x="33708" y="2491"/>
                      </a:lnTo>
                      <a:lnTo>
                        <a:pt x="33645" y="2470"/>
                      </a:lnTo>
                      <a:lnTo>
                        <a:pt x="33604" y="2491"/>
                      </a:lnTo>
                      <a:lnTo>
                        <a:pt x="33520" y="2428"/>
                      </a:lnTo>
                      <a:lnTo>
                        <a:pt x="33478" y="2365"/>
                      </a:lnTo>
                      <a:lnTo>
                        <a:pt x="33436" y="2365"/>
                      </a:lnTo>
                      <a:lnTo>
                        <a:pt x="33394" y="2491"/>
                      </a:lnTo>
                      <a:lnTo>
                        <a:pt x="33332" y="2532"/>
                      </a:lnTo>
                      <a:lnTo>
                        <a:pt x="33290" y="2491"/>
                      </a:lnTo>
                      <a:lnTo>
                        <a:pt x="33206" y="2365"/>
                      </a:lnTo>
                      <a:lnTo>
                        <a:pt x="33227" y="2323"/>
                      </a:lnTo>
                      <a:lnTo>
                        <a:pt x="33185" y="2302"/>
                      </a:lnTo>
                      <a:lnTo>
                        <a:pt x="33018" y="2281"/>
                      </a:lnTo>
                      <a:lnTo>
                        <a:pt x="32955" y="2177"/>
                      </a:lnTo>
                      <a:lnTo>
                        <a:pt x="32976" y="2156"/>
                      </a:lnTo>
                      <a:lnTo>
                        <a:pt x="33122" y="2156"/>
                      </a:lnTo>
                      <a:lnTo>
                        <a:pt x="33332" y="2219"/>
                      </a:lnTo>
                      <a:lnTo>
                        <a:pt x="33415" y="2302"/>
                      </a:lnTo>
                      <a:lnTo>
                        <a:pt x="33478" y="2260"/>
                      </a:lnTo>
                      <a:lnTo>
                        <a:pt x="33520" y="2260"/>
                      </a:lnTo>
                      <a:lnTo>
                        <a:pt x="33583" y="2323"/>
                      </a:lnTo>
                      <a:lnTo>
                        <a:pt x="33604" y="2386"/>
                      </a:lnTo>
                      <a:lnTo>
                        <a:pt x="33645" y="2386"/>
                      </a:lnTo>
                      <a:lnTo>
                        <a:pt x="33645" y="2302"/>
                      </a:lnTo>
                      <a:lnTo>
                        <a:pt x="33541" y="2177"/>
                      </a:lnTo>
                      <a:lnTo>
                        <a:pt x="33541" y="2072"/>
                      </a:lnTo>
                      <a:lnTo>
                        <a:pt x="33478" y="1967"/>
                      </a:lnTo>
                      <a:lnTo>
                        <a:pt x="33394" y="1905"/>
                      </a:lnTo>
                      <a:lnTo>
                        <a:pt x="33332" y="1905"/>
                      </a:lnTo>
                      <a:lnTo>
                        <a:pt x="33290" y="1967"/>
                      </a:lnTo>
                      <a:lnTo>
                        <a:pt x="33206" y="1947"/>
                      </a:lnTo>
                      <a:lnTo>
                        <a:pt x="33185" y="1800"/>
                      </a:lnTo>
                      <a:lnTo>
                        <a:pt x="33018" y="1654"/>
                      </a:lnTo>
                      <a:lnTo>
                        <a:pt x="33018" y="1549"/>
                      </a:lnTo>
                      <a:lnTo>
                        <a:pt x="32955" y="1465"/>
                      </a:lnTo>
                      <a:lnTo>
                        <a:pt x="32892" y="1382"/>
                      </a:lnTo>
                      <a:lnTo>
                        <a:pt x="32808" y="1382"/>
                      </a:lnTo>
                      <a:lnTo>
                        <a:pt x="32704" y="1444"/>
                      </a:lnTo>
                      <a:lnTo>
                        <a:pt x="32704" y="1549"/>
                      </a:lnTo>
                      <a:lnTo>
                        <a:pt x="32808" y="1549"/>
                      </a:lnTo>
                      <a:lnTo>
                        <a:pt x="32892" y="1591"/>
                      </a:lnTo>
                      <a:lnTo>
                        <a:pt x="32871" y="1654"/>
                      </a:lnTo>
                      <a:lnTo>
                        <a:pt x="32788" y="1695"/>
                      </a:lnTo>
                      <a:lnTo>
                        <a:pt x="32788" y="1779"/>
                      </a:lnTo>
                      <a:lnTo>
                        <a:pt x="32746" y="1800"/>
                      </a:lnTo>
                      <a:lnTo>
                        <a:pt x="32536" y="1570"/>
                      </a:lnTo>
                      <a:lnTo>
                        <a:pt x="32536" y="1486"/>
                      </a:lnTo>
                      <a:lnTo>
                        <a:pt x="32474" y="1361"/>
                      </a:lnTo>
                      <a:lnTo>
                        <a:pt x="32369" y="1340"/>
                      </a:lnTo>
                      <a:lnTo>
                        <a:pt x="31930" y="1068"/>
                      </a:lnTo>
                      <a:lnTo>
                        <a:pt x="31825" y="1026"/>
                      </a:lnTo>
                      <a:lnTo>
                        <a:pt x="31804" y="1005"/>
                      </a:lnTo>
                      <a:lnTo>
                        <a:pt x="31532" y="1026"/>
                      </a:lnTo>
                      <a:lnTo>
                        <a:pt x="31511" y="921"/>
                      </a:lnTo>
                      <a:lnTo>
                        <a:pt x="31553" y="858"/>
                      </a:lnTo>
                      <a:lnTo>
                        <a:pt x="31532" y="796"/>
                      </a:lnTo>
                      <a:lnTo>
                        <a:pt x="31407" y="817"/>
                      </a:lnTo>
                      <a:lnTo>
                        <a:pt x="31344" y="754"/>
                      </a:lnTo>
                      <a:lnTo>
                        <a:pt x="31218" y="796"/>
                      </a:lnTo>
                      <a:lnTo>
                        <a:pt x="31135" y="858"/>
                      </a:lnTo>
                      <a:lnTo>
                        <a:pt x="31093" y="838"/>
                      </a:lnTo>
                      <a:lnTo>
                        <a:pt x="30988" y="942"/>
                      </a:lnTo>
                      <a:lnTo>
                        <a:pt x="30925" y="1047"/>
                      </a:lnTo>
                      <a:lnTo>
                        <a:pt x="30779" y="1047"/>
                      </a:lnTo>
                      <a:lnTo>
                        <a:pt x="30695" y="1026"/>
                      </a:lnTo>
                      <a:lnTo>
                        <a:pt x="30570" y="1172"/>
                      </a:lnTo>
                      <a:lnTo>
                        <a:pt x="30381" y="1235"/>
                      </a:lnTo>
                      <a:lnTo>
                        <a:pt x="30298" y="1256"/>
                      </a:lnTo>
                      <a:lnTo>
                        <a:pt x="30256" y="1214"/>
                      </a:lnTo>
                      <a:lnTo>
                        <a:pt x="30172" y="1214"/>
                      </a:lnTo>
                      <a:lnTo>
                        <a:pt x="30130" y="1256"/>
                      </a:lnTo>
                      <a:lnTo>
                        <a:pt x="30130" y="1361"/>
                      </a:lnTo>
                      <a:lnTo>
                        <a:pt x="30193" y="1382"/>
                      </a:lnTo>
                      <a:lnTo>
                        <a:pt x="30256" y="1382"/>
                      </a:lnTo>
                      <a:lnTo>
                        <a:pt x="30298" y="1549"/>
                      </a:lnTo>
                      <a:lnTo>
                        <a:pt x="30339" y="1758"/>
                      </a:lnTo>
                      <a:lnTo>
                        <a:pt x="30256" y="1905"/>
                      </a:lnTo>
                      <a:lnTo>
                        <a:pt x="30067" y="1905"/>
                      </a:lnTo>
                      <a:lnTo>
                        <a:pt x="29942" y="2051"/>
                      </a:lnTo>
                      <a:lnTo>
                        <a:pt x="29733" y="2093"/>
                      </a:lnTo>
                      <a:lnTo>
                        <a:pt x="29649" y="2072"/>
                      </a:lnTo>
                      <a:lnTo>
                        <a:pt x="29754" y="1988"/>
                      </a:lnTo>
                      <a:lnTo>
                        <a:pt x="29837" y="1967"/>
                      </a:lnTo>
                      <a:lnTo>
                        <a:pt x="29858" y="1842"/>
                      </a:lnTo>
                      <a:lnTo>
                        <a:pt x="29733" y="1591"/>
                      </a:lnTo>
                      <a:lnTo>
                        <a:pt x="29816" y="1444"/>
                      </a:lnTo>
                      <a:lnTo>
                        <a:pt x="29816" y="1340"/>
                      </a:lnTo>
                      <a:lnTo>
                        <a:pt x="29858" y="1256"/>
                      </a:lnTo>
                      <a:lnTo>
                        <a:pt x="29775" y="1068"/>
                      </a:lnTo>
                      <a:lnTo>
                        <a:pt x="29775" y="963"/>
                      </a:lnTo>
                      <a:lnTo>
                        <a:pt x="29628" y="817"/>
                      </a:lnTo>
                      <a:lnTo>
                        <a:pt x="29523" y="858"/>
                      </a:lnTo>
                      <a:lnTo>
                        <a:pt x="29440" y="817"/>
                      </a:lnTo>
                      <a:lnTo>
                        <a:pt x="29398" y="817"/>
                      </a:lnTo>
                      <a:lnTo>
                        <a:pt x="29356" y="942"/>
                      </a:lnTo>
                      <a:lnTo>
                        <a:pt x="29210" y="963"/>
                      </a:lnTo>
                      <a:lnTo>
                        <a:pt x="29147" y="921"/>
                      </a:lnTo>
                      <a:lnTo>
                        <a:pt x="29042" y="963"/>
                      </a:lnTo>
                      <a:lnTo>
                        <a:pt x="28938" y="1130"/>
                      </a:lnTo>
                      <a:lnTo>
                        <a:pt x="28707" y="1130"/>
                      </a:lnTo>
                      <a:lnTo>
                        <a:pt x="28707" y="1047"/>
                      </a:lnTo>
                      <a:lnTo>
                        <a:pt x="28791" y="921"/>
                      </a:lnTo>
                      <a:lnTo>
                        <a:pt x="28791" y="838"/>
                      </a:lnTo>
                      <a:lnTo>
                        <a:pt x="28707" y="817"/>
                      </a:lnTo>
                      <a:lnTo>
                        <a:pt x="28519" y="1110"/>
                      </a:lnTo>
                      <a:lnTo>
                        <a:pt x="28268" y="1214"/>
                      </a:lnTo>
                      <a:lnTo>
                        <a:pt x="28163" y="1172"/>
                      </a:lnTo>
                      <a:lnTo>
                        <a:pt x="28268" y="1026"/>
                      </a:lnTo>
                      <a:lnTo>
                        <a:pt x="28394" y="1005"/>
                      </a:lnTo>
                      <a:lnTo>
                        <a:pt x="28519" y="817"/>
                      </a:lnTo>
                      <a:lnTo>
                        <a:pt x="28498" y="691"/>
                      </a:lnTo>
                      <a:lnTo>
                        <a:pt x="28561" y="586"/>
                      </a:lnTo>
                      <a:lnTo>
                        <a:pt x="28561" y="524"/>
                      </a:lnTo>
                      <a:lnTo>
                        <a:pt x="28645" y="440"/>
                      </a:lnTo>
                      <a:lnTo>
                        <a:pt x="28645" y="398"/>
                      </a:lnTo>
                      <a:lnTo>
                        <a:pt x="28477" y="335"/>
                      </a:lnTo>
                      <a:lnTo>
                        <a:pt x="28414" y="294"/>
                      </a:lnTo>
                      <a:lnTo>
                        <a:pt x="28414" y="126"/>
                      </a:lnTo>
                      <a:lnTo>
                        <a:pt x="28373" y="105"/>
                      </a:lnTo>
                      <a:lnTo>
                        <a:pt x="28205" y="231"/>
                      </a:lnTo>
                      <a:lnTo>
                        <a:pt x="28059" y="210"/>
                      </a:lnTo>
                      <a:lnTo>
                        <a:pt x="27996" y="63"/>
                      </a:lnTo>
                      <a:lnTo>
                        <a:pt x="27891" y="63"/>
                      </a:lnTo>
                      <a:lnTo>
                        <a:pt x="27787" y="168"/>
                      </a:lnTo>
                      <a:lnTo>
                        <a:pt x="2766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sp>
              <p:nvSpPr>
                <p:cNvPr id="1915" name="Google Shape;1915;p66"/>
                <p:cNvSpPr/>
                <p:nvPr/>
              </p:nvSpPr>
              <p:spPr>
                <a:xfrm>
                  <a:off x="5538025" y="2213300"/>
                  <a:ext cx="94175" cy="208750"/>
                </a:xfrm>
                <a:custGeom>
                  <a:avLst/>
                  <a:gdLst/>
                  <a:ahLst/>
                  <a:cxnLst/>
                  <a:rect l="l" t="t" r="r" b="b"/>
                  <a:pathLst>
                    <a:path w="3767" h="8350" extrusionOk="0">
                      <a:moveTo>
                        <a:pt x="251" y="1"/>
                      </a:moveTo>
                      <a:lnTo>
                        <a:pt x="209" y="63"/>
                      </a:lnTo>
                      <a:lnTo>
                        <a:pt x="251" y="105"/>
                      </a:lnTo>
                      <a:lnTo>
                        <a:pt x="251" y="189"/>
                      </a:lnTo>
                      <a:lnTo>
                        <a:pt x="188" y="210"/>
                      </a:lnTo>
                      <a:lnTo>
                        <a:pt x="105" y="168"/>
                      </a:lnTo>
                      <a:lnTo>
                        <a:pt x="0" y="168"/>
                      </a:lnTo>
                      <a:lnTo>
                        <a:pt x="168" y="314"/>
                      </a:lnTo>
                      <a:lnTo>
                        <a:pt x="356" y="461"/>
                      </a:lnTo>
                      <a:lnTo>
                        <a:pt x="419" y="524"/>
                      </a:lnTo>
                      <a:lnTo>
                        <a:pt x="398" y="670"/>
                      </a:lnTo>
                      <a:lnTo>
                        <a:pt x="460" y="607"/>
                      </a:lnTo>
                      <a:lnTo>
                        <a:pt x="502" y="607"/>
                      </a:lnTo>
                      <a:lnTo>
                        <a:pt x="565" y="691"/>
                      </a:lnTo>
                      <a:lnTo>
                        <a:pt x="502" y="733"/>
                      </a:lnTo>
                      <a:lnTo>
                        <a:pt x="419" y="775"/>
                      </a:lnTo>
                      <a:lnTo>
                        <a:pt x="460" y="838"/>
                      </a:lnTo>
                      <a:lnTo>
                        <a:pt x="523" y="838"/>
                      </a:lnTo>
                      <a:lnTo>
                        <a:pt x="565" y="984"/>
                      </a:lnTo>
                      <a:lnTo>
                        <a:pt x="481" y="1026"/>
                      </a:lnTo>
                      <a:lnTo>
                        <a:pt x="377" y="1005"/>
                      </a:lnTo>
                      <a:lnTo>
                        <a:pt x="314" y="900"/>
                      </a:lnTo>
                      <a:lnTo>
                        <a:pt x="251" y="984"/>
                      </a:lnTo>
                      <a:lnTo>
                        <a:pt x="168" y="1130"/>
                      </a:lnTo>
                      <a:lnTo>
                        <a:pt x="272" y="1235"/>
                      </a:lnTo>
                      <a:lnTo>
                        <a:pt x="314" y="1382"/>
                      </a:lnTo>
                      <a:lnTo>
                        <a:pt x="419" y="1528"/>
                      </a:lnTo>
                      <a:lnTo>
                        <a:pt x="523" y="1716"/>
                      </a:lnTo>
                      <a:lnTo>
                        <a:pt x="523" y="1946"/>
                      </a:lnTo>
                      <a:lnTo>
                        <a:pt x="586" y="1988"/>
                      </a:lnTo>
                      <a:lnTo>
                        <a:pt x="607" y="2177"/>
                      </a:lnTo>
                      <a:lnTo>
                        <a:pt x="691" y="2470"/>
                      </a:lnTo>
                      <a:lnTo>
                        <a:pt x="774" y="2658"/>
                      </a:lnTo>
                      <a:lnTo>
                        <a:pt x="900" y="2700"/>
                      </a:lnTo>
                      <a:lnTo>
                        <a:pt x="900" y="2762"/>
                      </a:lnTo>
                      <a:lnTo>
                        <a:pt x="837" y="2804"/>
                      </a:lnTo>
                      <a:lnTo>
                        <a:pt x="1130" y="3097"/>
                      </a:lnTo>
                      <a:lnTo>
                        <a:pt x="1235" y="3118"/>
                      </a:lnTo>
                      <a:lnTo>
                        <a:pt x="1360" y="3307"/>
                      </a:lnTo>
                      <a:lnTo>
                        <a:pt x="1402" y="3516"/>
                      </a:lnTo>
                      <a:lnTo>
                        <a:pt x="1402" y="3641"/>
                      </a:lnTo>
                      <a:lnTo>
                        <a:pt x="1465" y="3809"/>
                      </a:lnTo>
                      <a:lnTo>
                        <a:pt x="1465" y="3934"/>
                      </a:lnTo>
                      <a:lnTo>
                        <a:pt x="1569" y="3976"/>
                      </a:lnTo>
                      <a:lnTo>
                        <a:pt x="1674" y="4123"/>
                      </a:lnTo>
                      <a:lnTo>
                        <a:pt x="1653" y="4143"/>
                      </a:lnTo>
                      <a:lnTo>
                        <a:pt x="1653" y="4227"/>
                      </a:lnTo>
                      <a:lnTo>
                        <a:pt x="1779" y="4436"/>
                      </a:lnTo>
                      <a:lnTo>
                        <a:pt x="1821" y="4562"/>
                      </a:lnTo>
                      <a:lnTo>
                        <a:pt x="1883" y="4708"/>
                      </a:lnTo>
                      <a:lnTo>
                        <a:pt x="1883" y="4918"/>
                      </a:lnTo>
                      <a:lnTo>
                        <a:pt x="1946" y="5001"/>
                      </a:lnTo>
                      <a:lnTo>
                        <a:pt x="1925" y="5106"/>
                      </a:lnTo>
                      <a:lnTo>
                        <a:pt x="1946" y="5315"/>
                      </a:lnTo>
                      <a:lnTo>
                        <a:pt x="2051" y="5524"/>
                      </a:lnTo>
                      <a:lnTo>
                        <a:pt x="2030" y="5608"/>
                      </a:lnTo>
                      <a:lnTo>
                        <a:pt x="2030" y="5755"/>
                      </a:lnTo>
                      <a:lnTo>
                        <a:pt x="2155" y="5859"/>
                      </a:lnTo>
                      <a:lnTo>
                        <a:pt x="2365" y="6131"/>
                      </a:lnTo>
                      <a:lnTo>
                        <a:pt x="2365" y="6257"/>
                      </a:lnTo>
                      <a:lnTo>
                        <a:pt x="2448" y="6424"/>
                      </a:lnTo>
                      <a:lnTo>
                        <a:pt x="2406" y="6654"/>
                      </a:lnTo>
                      <a:lnTo>
                        <a:pt x="2448" y="6843"/>
                      </a:lnTo>
                      <a:lnTo>
                        <a:pt x="2553" y="7010"/>
                      </a:lnTo>
                      <a:lnTo>
                        <a:pt x="2574" y="7156"/>
                      </a:lnTo>
                      <a:lnTo>
                        <a:pt x="2720" y="7324"/>
                      </a:lnTo>
                      <a:lnTo>
                        <a:pt x="2762" y="7408"/>
                      </a:lnTo>
                      <a:lnTo>
                        <a:pt x="2699" y="7596"/>
                      </a:lnTo>
                      <a:lnTo>
                        <a:pt x="2699" y="7847"/>
                      </a:lnTo>
                      <a:lnTo>
                        <a:pt x="2762" y="7993"/>
                      </a:lnTo>
                      <a:lnTo>
                        <a:pt x="2867" y="8098"/>
                      </a:lnTo>
                      <a:lnTo>
                        <a:pt x="2929" y="8244"/>
                      </a:lnTo>
                      <a:lnTo>
                        <a:pt x="3097" y="8349"/>
                      </a:lnTo>
                      <a:lnTo>
                        <a:pt x="3097" y="8349"/>
                      </a:lnTo>
                      <a:lnTo>
                        <a:pt x="3076" y="8224"/>
                      </a:lnTo>
                      <a:lnTo>
                        <a:pt x="3097" y="8098"/>
                      </a:lnTo>
                      <a:lnTo>
                        <a:pt x="3034" y="7993"/>
                      </a:lnTo>
                      <a:lnTo>
                        <a:pt x="3013" y="7847"/>
                      </a:lnTo>
                      <a:lnTo>
                        <a:pt x="3034" y="7680"/>
                      </a:lnTo>
                      <a:lnTo>
                        <a:pt x="3139" y="7575"/>
                      </a:lnTo>
                      <a:lnTo>
                        <a:pt x="3201" y="7596"/>
                      </a:lnTo>
                      <a:lnTo>
                        <a:pt x="3201" y="7680"/>
                      </a:lnTo>
                      <a:lnTo>
                        <a:pt x="3243" y="7721"/>
                      </a:lnTo>
                      <a:lnTo>
                        <a:pt x="3494" y="7700"/>
                      </a:lnTo>
                      <a:lnTo>
                        <a:pt x="3515" y="7638"/>
                      </a:lnTo>
                      <a:lnTo>
                        <a:pt x="3557" y="7638"/>
                      </a:lnTo>
                      <a:lnTo>
                        <a:pt x="3599" y="7700"/>
                      </a:lnTo>
                      <a:lnTo>
                        <a:pt x="3557" y="7721"/>
                      </a:lnTo>
                      <a:lnTo>
                        <a:pt x="3557" y="7826"/>
                      </a:lnTo>
                      <a:lnTo>
                        <a:pt x="3704" y="7952"/>
                      </a:lnTo>
                      <a:lnTo>
                        <a:pt x="3725" y="8056"/>
                      </a:lnTo>
                      <a:lnTo>
                        <a:pt x="3766" y="8119"/>
                      </a:lnTo>
                      <a:lnTo>
                        <a:pt x="3766" y="8035"/>
                      </a:lnTo>
                      <a:lnTo>
                        <a:pt x="3745" y="7993"/>
                      </a:lnTo>
                      <a:lnTo>
                        <a:pt x="3766" y="7847"/>
                      </a:lnTo>
                      <a:lnTo>
                        <a:pt x="3766" y="7721"/>
                      </a:lnTo>
                      <a:lnTo>
                        <a:pt x="3662" y="7638"/>
                      </a:lnTo>
                      <a:lnTo>
                        <a:pt x="3641" y="7491"/>
                      </a:lnTo>
                      <a:lnTo>
                        <a:pt x="3599" y="7387"/>
                      </a:lnTo>
                      <a:lnTo>
                        <a:pt x="3515" y="7428"/>
                      </a:lnTo>
                      <a:lnTo>
                        <a:pt x="3432" y="7428"/>
                      </a:lnTo>
                      <a:lnTo>
                        <a:pt x="3285" y="7324"/>
                      </a:lnTo>
                      <a:lnTo>
                        <a:pt x="3243" y="7156"/>
                      </a:lnTo>
                      <a:lnTo>
                        <a:pt x="3181" y="7010"/>
                      </a:lnTo>
                      <a:lnTo>
                        <a:pt x="3034" y="6905"/>
                      </a:lnTo>
                      <a:lnTo>
                        <a:pt x="2929" y="6884"/>
                      </a:lnTo>
                      <a:lnTo>
                        <a:pt x="2867" y="6780"/>
                      </a:lnTo>
                      <a:lnTo>
                        <a:pt x="2804" y="6571"/>
                      </a:lnTo>
                      <a:lnTo>
                        <a:pt x="2720" y="6424"/>
                      </a:lnTo>
                      <a:lnTo>
                        <a:pt x="2678" y="6278"/>
                      </a:lnTo>
                      <a:lnTo>
                        <a:pt x="2678" y="6089"/>
                      </a:lnTo>
                      <a:lnTo>
                        <a:pt x="2657" y="5859"/>
                      </a:lnTo>
                      <a:lnTo>
                        <a:pt x="2595" y="5755"/>
                      </a:lnTo>
                      <a:lnTo>
                        <a:pt x="2616" y="5545"/>
                      </a:lnTo>
                      <a:lnTo>
                        <a:pt x="2595" y="5441"/>
                      </a:lnTo>
                      <a:lnTo>
                        <a:pt x="2511" y="5294"/>
                      </a:lnTo>
                      <a:lnTo>
                        <a:pt x="2574" y="5211"/>
                      </a:lnTo>
                      <a:lnTo>
                        <a:pt x="2595" y="5127"/>
                      </a:lnTo>
                      <a:lnTo>
                        <a:pt x="2595" y="5085"/>
                      </a:lnTo>
                      <a:lnTo>
                        <a:pt x="2657" y="5043"/>
                      </a:lnTo>
                      <a:lnTo>
                        <a:pt x="2720" y="5085"/>
                      </a:lnTo>
                      <a:lnTo>
                        <a:pt x="2867" y="5043"/>
                      </a:lnTo>
                      <a:lnTo>
                        <a:pt x="2992" y="5043"/>
                      </a:lnTo>
                      <a:lnTo>
                        <a:pt x="3118" y="5127"/>
                      </a:lnTo>
                      <a:lnTo>
                        <a:pt x="3201" y="5315"/>
                      </a:lnTo>
                      <a:lnTo>
                        <a:pt x="3306" y="5336"/>
                      </a:lnTo>
                      <a:lnTo>
                        <a:pt x="3411" y="5420"/>
                      </a:lnTo>
                      <a:lnTo>
                        <a:pt x="3515" y="5566"/>
                      </a:lnTo>
                      <a:lnTo>
                        <a:pt x="3599" y="5608"/>
                      </a:lnTo>
                      <a:lnTo>
                        <a:pt x="3536" y="5483"/>
                      </a:lnTo>
                      <a:lnTo>
                        <a:pt x="3411" y="5315"/>
                      </a:lnTo>
                      <a:lnTo>
                        <a:pt x="3243" y="5211"/>
                      </a:lnTo>
                      <a:lnTo>
                        <a:pt x="3139" y="5022"/>
                      </a:lnTo>
                      <a:lnTo>
                        <a:pt x="3034" y="4897"/>
                      </a:lnTo>
                      <a:lnTo>
                        <a:pt x="3034" y="4813"/>
                      </a:lnTo>
                      <a:lnTo>
                        <a:pt x="2992" y="4771"/>
                      </a:lnTo>
                      <a:lnTo>
                        <a:pt x="2888" y="4562"/>
                      </a:lnTo>
                      <a:lnTo>
                        <a:pt x="2825" y="4436"/>
                      </a:lnTo>
                      <a:lnTo>
                        <a:pt x="2762" y="4395"/>
                      </a:lnTo>
                      <a:lnTo>
                        <a:pt x="2720" y="4269"/>
                      </a:lnTo>
                      <a:lnTo>
                        <a:pt x="2574" y="4060"/>
                      </a:lnTo>
                      <a:lnTo>
                        <a:pt x="2406" y="3809"/>
                      </a:lnTo>
                      <a:lnTo>
                        <a:pt x="2365" y="3641"/>
                      </a:lnTo>
                      <a:lnTo>
                        <a:pt x="2155" y="3390"/>
                      </a:lnTo>
                      <a:lnTo>
                        <a:pt x="2072" y="3181"/>
                      </a:lnTo>
                      <a:lnTo>
                        <a:pt x="1967" y="3118"/>
                      </a:lnTo>
                      <a:lnTo>
                        <a:pt x="1967" y="3014"/>
                      </a:lnTo>
                      <a:lnTo>
                        <a:pt x="1925" y="2888"/>
                      </a:lnTo>
                      <a:lnTo>
                        <a:pt x="1841" y="2867"/>
                      </a:lnTo>
                      <a:lnTo>
                        <a:pt x="1841" y="2909"/>
                      </a:lnTo>
                      <a:lnTo>
                        <a:pt x="1758" y="2909"/>
                      </a:lnTo>
                      <a:lnTo>
                        <a:pt x="1737" y="2867"/>
                      </a:lnTo>
                      <a:lnTo>
                        <a:pt x="1758" y="2762"/>
                      </a:lnTo>
                      <a:lnTo>
                        <a:pt x="1737" y="2679"/>
                      </a:lnTo>
                      <a:lnTo>
                        <a:pt x="1632" y="2616"/>
                      </a:lnTo>
                      <a:lnTo>
                        <a:pt x="1528" y="2490"/>
                      </a:lnTo>
                      <a:lnTo>
                        <a:pt x="1465" y="2344"/>
                      </a:lnTo>
                      <a:lnTo>
                        <a:pt x="1402" y="2260"/>
                      </a:lnTo>
                      <a:lnTo>
                        <a:pt x="1402" y="2135"/>
                      </a:lnTo>
                      <a:lnTo>
                        <a:pt x="1423" y="2030"/>
                      </a:lnTo>
                      <a:lnTo>
                        <a:pt x="1444" y="2051"/>
                      </a:lnTo>
                      <a:lnTo>
                        <a:pt x="1423" y="1884"/>
                      </a:lnTo>
                      <a:lnTo>
                        <a:pt x="1402" y="1716"/>
                      </a:lnTo>
                      <a:lnTo>
                        <a:pt x="1360" y="1570"/>
                      </a:lnTo>
                      <a:lnTo>
                        <a:pt x="1235" y="1528"/>
                      </a:lnTo>
                      <a:lnTo>
                        <a:pt x="1109" y="1382"/>
                      </a:lnTo>
                      <a:lnTo>
                        <a:pt x="1109" y="1319"/>
                      </a:lnTo>
                      <a:lnTo>
                        <a:pt x="1046" y="1256"/>
                      </a:lnTo>
                      <a:lnTo>
                        <a:pt x="1046" y="1193"/>
                      </a:lnTo>
                      <a:lnTo>
                        <a:pt x="1109" y="1193"/>
                      </a:lnTo>
                      <a:lnTo>
                        <a:pt x="1214" y="1298"/>
                      </a:lnTo>
                      <a:lnTo>
                        <a:pt x="1318" y="1444"/>
                      </a:lnTo>
                      <a:lnTo>
                        <a:pt x="1318" y="1444"/>
                      </a:lnTo>
                      <a:lnTo>
                        <a:pt x="1256" y="1298"/>
                      </a:lnTo>
                      <a:lnTo>
                        <a:pt x="1130" y="1110"/>
                      </a:lnTo>
                      <a:lnTo>
                        <a:pt x="1005" y="942"/>
                      </a:lnTo>
                      <a:lnTo>
                        <a:pt x="942" y="942"/>
                      </a:lnTo>
                      <a:lnTo>
                        <a:pt x="921" y="858"/>
                      </a:lnTo>
                      <a:lnTo>
                        <a:pt x="691" y="670"/>
                      </a:lnTo>
                      <a:lnTo>
                        <a:pt x="607" y="566"/>
                      </a:lnTo>
                      <a:lnTo>
                        <a:pt x="607" y="335"/>
                      </a:lnTo>
                      <a:lnTo>
                        <a:pt x="523" y="273"/>
                      </a:lnTo>
                      <a:lnTo>
                        <a:pt x="377" y="210"/>
                      </a:lnTo>
                      <a:lnTo>
                        <a:pt x="293" y="63"/>
                      </a:lnTo>
                      <a:lnTo>
                        <a:pt x="25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1916" name="Google Shape;1916;p66"/>
            <p:cNvGrpSpPr/>
            <p:nvPr/>
          </p:nvGrpSpPr>
          <p:grpSpPr>
            <a:xfrm>
              <a:off x="3875768" y="2846704"/>
              <a:ext cx="44796" cy="47366"/>
              <a:chOff x="3960625" y="2587825"/>
              <a:chExt cx="94050" cy="104125"/>
            </a:xfrm>
          </p:grpSpPr>
          <p:sp>
            <p:nvSpPr>
              <p:cNvPr id="1917" name="Google Shape;1917;p66"/>
              <p:cNvSpPr/>
              <p:nvPr/>
            </p:nvSpPr>
            <p:spPr>
              <a:xfrm>
                <a:off x="3960625" y="2587825"/>
                <a:ext cx="94050" cy="51200"/>
              </a:xfrm>
              <a:custGeom>
                <a:avLst/>
                <a:gdLst/>
                <a:ahLst/>
                <a:cxnLst/>
                <a:rect l="l" t="t" r="r" b="b"/>
                <a:pathLst>
                  <a:path w="3762" h="2048" extrusionOk="0">
                    <a:moveTo>
                      <a:pt x="190" y="2048"/>
                    </a:moveTo>
                    <a:lnTo>
                      <a:pt x="0" y="1762"/>
                    </a:lnTo>
                    <a:lnTo>
                      <a:pt x="309" y="1048"/>
                    </a:lnTo>
                    <a:lnTo>
                      <a:pt x="3762" y="0"/>
                    </a:lnTo>
                    <a:lnTo>
                      <a:pt x="3714" y="1072"/>
                    </a:lnTo>
                    <a:lnTo>
                      <a:pt x="2929" y="1143"/>
                    </a:lnTo>
                    <a:lnTo>
                      <a:pt x="2167" y="1000"/>
                    </a:lnTo>
                    <a:close/>
                  </a:path>
                </a:pathLst>
              </a:custGeom>
              <a:solidFill>
                <a:srgbClr val="5F7D95"/>
              </a:solidFill>
              <a:ln>
                <a:noFill/>
              </a:ln>
            </p:spPr>
          </p:sp>
          <p:sp>
            <p:nvSpPr>
              <p:cNvPr id="1918" name="Google Shape;1918;p66"/>
              <p:cNvSpPr/>
              <p:nvPr/>
            </p:nvSpPr>
            <p:spPr>
              <a:xfrm>
                <a:off x="3963000" y="2596725"/>
                <a:ext cx="86850" cy="95225"/>
              </a:xfrm>
              <a:custGeom>
                <a:avLst/>
                <a:gdLst/>
                <a:ahLst/>
                <a:cxnLst/>
                <a:rect l="l" t="t" r="r" b="b"/>
                <a:pathLst>
                  <a:path w="3474" h="3809" extrusionOk="0">
                    <a:moveTo>
                      <a:pt x="1549" y="2009"/>
                    </a:moveTo>
                    <a:lnTo>
                      <a:pt x="1632" y="2030"/>
                    </a:lnTo>
                    <a:lnTo>
                      <a:pt x="1695" y="2093"/>
                    </a:lnTo>
                    <a:lnTo>
                      <a:pt x="1674" y="2135"/>
                    </a:lnTo>
                    <a:lnTo>
                      <a:pt x="1674" y="2189"/>
                    </a:lnTo>
                    <a:lnTo>
                      <a:pt x="1674" y="2189"/>
                    </a:lnTo>
                    <a:cubicBezTo>
                      <a:pt x="1645" y="2167"/>
                      <a:pt x="1613" y="2146"/>
                      <a:pt x="1569" y="2135"/>
                    </a:cubicBezTo>
                    <a:cubicBezTo>
                      <a:pt x="1549" y="2114"/>
                      <a:pt x="1528" y="2114"/>
                      <a:pt x="1486" y="2114"/>
                    </a:cubicBezTo>
                    <a:lnTo>
                      <a:pt x="1549" y="2072"/>
                    </a:lnTo>
                    <a:lnTo>
                      <a:pt x="1549" y="2009"/>
                    </a:lnTo>
                    <a:close/>
                    <a:moveTo>
                      <a:pt x="3327" y="1"/>
                    </a:moveTo>
                    <a:lnTo>
                      <a:pt x="3201" y="105"/>
                    </a:lnTo>
                    <a:lnTo>
                      <a:pt x="3201" y="231"/>
                    </a:lnTo>
                    <a:lnTo>
                      <a:pt x="3243" y="335"/>
                    </a:lnTo>
                    <a:lnTo>
                      <a:pt x="3160" y="377"/>
                    </a:lnTo>
                    <a:lnTo>
                      <a:pt x="2929" y="356"/>
                    </a:lnTo>
                    <a:lnTo>
                      <a:pt x="2825" y="419"/>
                    </a:lnTo>
                    <a:lnTo>
                      <a:pt x="2720" y="356"/>
                    </a:lnTo>
                    <a:lnTo>
                      <a:pt x="2616" y="356"/>
                    </a:lnTo>
                    <a:lnTo>
                      <a:pt x="2532" y="419"/>
                    </a:lnTo>
                    <a:lnTo>
                      <a:pt x="2427" y="419"/>
                    </a:lnTo>
                    <a:lnTo>
                      <a:pt x="2406" y="314"/>
                    </a:lnTo>
                    <a:lnTo>
                      <a:pt x="2260" y="314"/>
                    </a:lnTo>
                    <a:lnTo>
                      <a:pt x="2113" y="273"/>
                    </a:lnTo>
                    <a:lnTo>
                      <a:pt x="2009" y="377"/>
                    </a:lnTo>
                    <a:lnTo>
                      <a:pt x="1862" y="419"/>
                    </a:lnTo>
                    <a:lnTo>
                      <a:pt x="1674" y="419"/>
                    </a:lnTo>
                    <a:lnTo>
                      <a:pt x="1632" y="377"/>
                    </a:lnTo>
                    <a:lnTo>
                      <a:pt x="1549" y="440"/>
                    </a:lnTo>
                    <a:lnTo>
                      <a:pt x="1444" y="440"/>
                    </a:lnTo>
                    <a:lnTo>
                      <a:pt x="1318" y="524"/>
                    </a:lnTo>
                    <a:lnTo>
                      <a:pt x="1025" y="524"/>
                    </a:lnTo>
                    <a:lnTo>
                      <a:pt x="900" y="586"/>
                    </a:lnTo>
                    <a:lnTo>
                      <a:pt x="900" y="649"/>
                    </a:lnTo>
                    <a:lnTo>
                      <a:pt x="732" y="691"/>
                    </a:lnTo>
                    <a:lnTo>
                      <a:pt x="502" y="838"/>
                    </a:lnTo>
                    <a:lnTo>
                      <a:pt x="481" y="984"/>
                    </a:lnTo>
                    <a:lnTo>
                      <a:pt x="398" y="1151"/>
                    </a:lnTo>
                    <a:lnTo>
                      <a:pt x="168" y="1214"/>
                    </a:lnTo>
                    <a:lnTo>
                      <a:pt x="168" y="1361"/>
                    </a:lnTo>
                    <a:lnTo>
                      <a:pt x="84" y="1507"/>
                    </a:lnTo>
                    <a:lnTo>
                      <a:pt x="0" y="1570"/>
                    </a:lnTo>
                    <a:lnTo>
                      <a:pt x="0" y="1716"/>
                    </a:lnTo>
                    <a:lnTo>
                      <a:pt x="209" y="1884"/>
                    </a:lnTo>
                    <a:lnTo>
                      <a:pt x="335" y="2072"/>
                    </a:lnTo>
                    <a:lnTo>
                      <a:pt x="398" y="2093"/>
                    </a:lnTo>
                    <a:lnTo>
                      <a:pt x="398" y="2135"/>
                    </a:lnTo>
                    <a:lnTo>
                      <a:pt x="544" y="2365"/>
                    </a:lnTo>
                    <a:lnTo>
                      <a:pt x="586" y="2532"/>
                    </a:lnTo>
                    <a:lnTo>
                      <a:pt x="649" y="2553"/>
                    </a:lnTo>
                    <a:lnTo>
                      <a:pt x="753" y="2449"/>
                    </a:lnTo>
                    <a:lnTo>
                      <a:pt x="837" y="2553"/>
                    </a:lnTo>
                    <a:lnTo>
                      <a:pt x="963" y="2595"/>
                    </a:lnTo>
                    <a:lnTo>
                      <a:pt x="1025" y="2511"/>
                    </a:lnTo>
                    <a:lnTo>
                      <a:pt x="1130" y="2511"/>
                    </a:lnTo>
                    <a:lnTo>
                      <a:pt x="1277" y="2595"/>
                    </a:lnTo>
                    <a:lnTo>
                      <a:pt x="1360" y="2532"/>
                    </a:lnTo>
                    <a:lnTo>
                      <a:pt x="1381" y="2616"/>
                    </a:lnTo>
                    <a:lnTo>
                      <a:pt x="1465" y="2616"/>
                    </a:lnTo>
                    <a:lnTo>
                      <a:pt x="1528" y="2658"/>
                    </a:lnTo>
                    <a:lnTo>
                      <a:pt x="1653" y="2700"/>
                    </a:lnTo>
                    <a:lnTo>
                      <a:pt x="1569" y="2742"/>
                    </a:lnTo>
                    <a:lnTo>
                      <a:pt x="1486" y="2825"/>
                    </a:lnTo>
                    <a:lnTo>
                      <a:pt x="1423" y="2762"/>
                    </a:lnTo>
                    <a:lnTo>
                      <a:pt x="1318" y="2742"/>
                    </a:lnTo>
                    <a:lnTo>
                      <a:pt x="1067" y="2595"/>
                    </a:lnTo>
                    <a:lnTo>
                      <a:pt x="963" y="2616"/>
                    </a:lnTo>
                    <a:lnTo>
                      <a:pt x="858" y="2658"/>
                    </a:lnTo>
                    <a:lnTo>
                      <a:pt x="753" y="2616"/>
                    </a:lnTo>
                    <a:lnTo>
                      <a:pt x="691" y="2721"/>
                    </a:lnTo>
                    <a:lnTo>
                      <a:pt x="628" y="2742"/>
                    </a:lnTo>
                    <a:lnTo>
                      <a:pt x="607" y="2846"/>
                    </a:lnTo>
                    <a:lnTo>
                      <a:pt x="732" y="2972"/>
                    </a:lnTo>
                    <a:lnTo>
                      <a:pt x="858" y="3035"/>
                    </a:lnTo>
                    <a:lnTo>
                      <a:pt x="1004" y="3139"/>
                    </a:lnTo>
                    <a:lnTo>
                      <a:pt x="1004" y="3223"/>
                    </a:lnTo>
                    <a:lnTo>
                      <a:pt x="942" y="3265"/>
                    </a:lnTo>
                    <a:lnTo>
                      <a:pt x="942" y="3369"/>
                    </a:lnTo>
                    <a:lnTo>
                      <a:pt x="1046" y="3495"/>
                    </a:lnTo>
                    <a:lnTo>
                      <a:pt x="1130" y="3579"/>
                    </a:lnTo>
                    <a:lnTo>
                      <a:pt x="1151" y="3495"/>
                    </a:lnTo>
                    <a:lnTo>
                      <a:pt x="1130" y="3453"/>
                    </a:lnTo>
                    <a:lnTo>
                      <a:pt x="1172" y="3348"/>
                    </a:lnTo>
                    <a:lnTo>
                      <a:pt x="1214" y="3474"/>
                    </a:lnTo>
                    <a:lnTo>
                      <a:pt x="1360" y="3537"/>
                    </a:lnTo>
                    <a:lnTo>
                      <a:pt x="1381" y="3599"/>
                    </a:lnTo>
                    <a:lnTo>
                      <a:pt x="1360" y="3704"/>
                    </a:lnTo>
                    <a:lnTo>
                      <a:pt x="1423" y="3788"/>
                    </a:lnTo>
                    <a:lnTo>
                      <a:pt x="1423" y="3746"/>
                    </a:lnTo>
                    <a:lnTo>
                      <a:pt x="1465" y="3599"/>
                    </a:lnTo>
                    <a:lnTo>
                      <a:pt x="1569" y="3599"/>
                    </a:lnTo>
                    <a:lnTo>
                      <a:pt x="1632" y="3704"/>
                    </a:lnTo>
                    <a:lnTo>
                      <a:pt x="1800" y="3809"/>
                    </a:lnTo>
                    <a:lnTo>
                      <a:pt x="1800" y="3809"/>
                    </a:lnTo>
                    <a:lnTo>
                      <a:pt x="1737" y="3704"/>
                    </a:lnTo>
                    <a:lnTo>
                      <a:pt x="1758" y="3641"/>
                    </a:lnTo>
                    <a:lnTo>
                      <a:pt x="1695" y="3537"/>
                    </a:lnTo>
                    <a:lnTo>
                      <a:pt x="1632" y="3348"/>
                    </a:lnTo>
                    <a:lnTo>
                      <a:pt x="1549" y="3244"/>
                    </a:lnTo>
                    <a:lnTo>
                      <a:pt x="1549" y="3181"/>
                    </a:lnTo>
                    <a:lnTo>
                      <a:pt x="1632" y="3181"/>
                    </a:lnTo>
                    <a:lnTo>
                      <a:pt x="1758" y="3265"/>
                    </a:lnTo>
                    <a:lnTo>
                      <a:pt x="1737" y="3327"/>
                    </a:lnTo>
                    <a:lnTo>
                      <a:pt x="1758" y="3369"/>
                    </a:lnTo>
                    <a:lnTo>
                      <a:pt x="1841" y="3286"/>
                    </a:lnTo>
                    <a:lnTo>
                      <a:pt x="1967" y="3348"/>
                    </a:lnTo>
                    <a:lnTo>
                      <a:pt x="1967" y="3286"/>
                    </a:lnTo>
                    <a:lnTo>
                      <a:pt x="1904" y="3244"/>
                    </a:lnTo>
                    <a:lnTo>
                      <a:pt x="1904" y="3181"/>
                    </a:lnTo>
                    <a:lnTo>
                      <a:pt x="1862" y="3181"/>
                    </a:lnTo>
                    <a:lnTo>
                      <a:pt x="1758" y="3139"/>
                    </a:lnTo>
                    <a:lnTo>
                      <a:pt x="1758" y="3076"/>
                    </a:lnTo>
                    <a:lnTo>
                      <a:pt x="1653" y="3014"/>
                    </a:lnTo>
                    <a:lnTo>
                      <a:pt x="1758" y="2951"/>
                    </a:lnTo>
                    <a:lnTo>
                      <a:pt x="1862" y="2951"/>
                    </a:lnTo>
                    <a:lnTo>
                      <a:pt x="1904" y="2909"/>
                    </a:lnTo>
                    <a:lnTo>
                      <a:pt x="2072" y="3014"/>
                    </a:lnTo>
                    <a:lnTo>
                      <a:pt x="2093" y="3055"/>
                    </a:lnTo>
                    <a:lnTo>
                      <a:pt x="2197" y="3076"/>
                    </a:lnTo>
                    <a:lnTo>
                      <a:pt x="2218" y="3035"/>
                    </a:lnTo>
                    <a:lnTo>
                      <a:pt x="2113" y="2909"/>
                    </a:lnTo>
                    <a:lnTo>
                      <a:pt x="2155" y="2762"/>
                    </a:lnTo>
                    <a:lnTo>
                      <a:pt x="2093" y="2700"/>
                    </a:lnTo>
                    <a:lnTo>
                      <a:pt x="1841" y="2532"/>
                    </a:lnTo>
                    <a:lnTo>
                      <a:pt x="1758" y="2511"/>
                    </a:lnTo>
                    <a:lnTo>
                      <a:pt x="1737" y="2490"/>
                    </a:lnTo>
                    <a:cubicBezTo>
                      <a:pt x="1758" y="2490"/>
                      <a:pt x="1779" y="2449"/>
                      <a:pt x="1800" y="2407"/>
                    </a:cubicBezTo>
                    <a:lnTo>
                      <a:pt x="1862" y="2449"/>
                    </a:lnTo>
                    <a:lnTo>
                      <a:pt x="1946" y="2490"/>
                    </a:lnTo>
                    <a:lnTo>
                      <a:pt x="1988" y="2553"/>
                    </a:lnTo>
                    <a:lnTo>
                      <a:pt x="2093" y="2616"/>
                    </a:lnTo>
                    <a:lnTo>
                      <a:pt x="2176" y="2616"/>
                    </a:lnTo>
                    <a:lnTo>
                      <a:pt x="2197" y="2658"/>
                    </a:lnTo>
                    <a:lnTo>
                      <a:pt x="2281" y="2762"/>
                    </a:lnTo>
                    <a:lnTo>
                      <a:pt x="2323" y="2825"/>
                    </a:lnTo>
                    <a:lnTo>
                      <a:pt x="2323" y="2867"/>
                    </a:lnTo>
                    <a:lnTo>
                      <a:pt x="2365" y="2930"/>
                    </a:lnTo>
                    <a:lnTo>
                      <a:pt x="2427" y="2972"/>
                    </a:lnTo>
                    <a:lnTo>
                      <a:pt x="2490" y="2951"/>
                    </a:lnTo>
                    <a:lnTo>
                      <a:pt x="2532" y="2972"/>
                    </a:lnTo>
                    <a:lnTo>
                      <a:pt x="2595" y="2867"/>
                    </a:lnTo>
                    <a:lnTo>
                      <a:pt x="2490" y="2867"/>
                    </a:lnTo>
                    <a:lnTo>
                      <a:pt x="2469" y="2888"/>
                    </a:lnTo>
                    <a:lnTo>
                      <a:pt x="2385" y="2825"/>
                    </a:lnTo>
                    <a:lnTo>
                      <a:pt x="2385" y="2742"/>
                    </a:lnTo>
                    <a:lnTo>
                      <a:pt x="2365" y="2679"/>
                    </a:lnTo>
                    <a:lnTo>
                      <a:pt x="2365" y="2637"/>
                    </a:lnTo>
                    <a:lnTo>
                      <a:pt x="2302" y="2553"/>
                    </a:lnTo>
                    <a:lnTo>
                      <a:pt x="2176" y="2428"/>
                    </a:lnTo>
                    <a:lnTo>
                      <a:pt x="2176" y="2449"/>
                    </a:lnTo>
                    <a:lnTo>
                      <a:pt x="2093" y="2449"/>
                    </a:lnTo>
                    <a:lnTo>
                      <a:pt x="2093" y="2428"/>
                    </a:lnTo>
                    <a:lnTo>
                      <a:pt x="1988" y="2365"/>
                    </a:lnTo>
                    <a:lnTo>
                      <a:pt x="1883" y="2344"/>
                    </a:lnTo>
                    <a:lnTo>
                      <a:pt x="1800" y="2239"/>
                    </a:lnTo>
                    <a:lnTo>
                      <a:pt x="1758" y="2239"/>
                    </a:lnTo>
                    <a:cubicBezTo>
                      <a:pt x="1730" y="2230"/>
                      <a:pt x="1706" y="2212"/>
                      <a:pt x="1680" y="2193"/>
                    </a:cubicBezTo>
                    <a:lnTo>
                      <a:pt x="1680" y="2193"/>
                    </a:lnTo>
                    <a:lnTo>
                      <a:pt x="1737" y="2156"/>
                    </a:lnTo>
                    <a:lnTo>
                      <a:pt x="1758" y="2030"/>
                    </a:lnTo>
                    <a:lnTo>
                      <a:pt x="1674" y="1946"/>
                    </a:lnTo>
                    <a:lnTo>
                      <a:pt x="1486" y="1737"/>
                    </a:lnTo>
                    <a:lnTo>
                      <a:pt x="1423" y="1695"/>
                    </a:lnTo>
                    <a:lnTo>
                      <a:pt x="1381" y="1612"/>
                    </a:lnTo>
                    <a:lnTo>
                      <a:pt x="1256" y="1507"/>
                    </a:lnTo>
                    <a:lnTo>
                      <a:pt x="1318" y="1465"/>
                    </a:lnTo>
                    <a:lnTo>
                      <a:pt x="1277" y="1235"/>
                    </a:lnTo>
                    <a:lnTo>
                      <a:pt x="1360" y="1130"/>
                    </a:lnTo>
                    <a:lnTo>
                      <a:pt x="1486" y="1089"/>
                    </a:lnTo>
                    <a:lnTo>
                      <a:pt x="1528" y="1193"/>
                    </a:lnTo>
                    <a:lnTo>
                      <a:pt x="1465" y="1193"/>
                    </a:lnTo>
                    <a:lnTo>
                      <a:pt x="1465" y="1256"/>
                    </a:lnTo>
                    <a:lnTo>
                      <a:pt x="1653" y="1319"/>
                    </a:lnTo>
                    <a:lnTo>
                      <a:pt x="1674" y="1465"/>
                    </a:lnTo>
                    <a:lnTo>
                      <a:pt x="1779" y="1570"/>
                    </a:lnTo>
                    <a:lnTo>
                      <a:pt x="1904" y="1570"/>
                    </a:lnTo>
                    <a:lnTo>
                      <a:pt x="1841" y="1507"/>
                    </a:lnTo>
                    <a:lnTo>
                      <a:pt x="1779" y="1423"/>
                    </a:lnTo>
                    <a:lnTo>
                      <a:pt x="1800" y="1361"/>
                    </a:lnTo>
                    <a:lnTo>
                      <a:pt x="1946" y="1402"/>
                    </a:lnTo>
                    <a:lnTo>
                      <a:pt x="2009" y="1528"/>
                    </a:lnTo>
                    <a:lnTo>
                      <a:pt x="2093" y="1570"/>
                    </a:lnTo>
                    <a:lnTo>
                      <a:pt x="2155" y="1486"/>
                    </a:lnTo>
                    <a:lnTo>
                      <a:pt x="2072" y="1423"/>
                    </a:lnTo>
                    <a:lnTo>
                      <a:pt x="1988" y="1402"/>
                    </a:lnTo>
                    <a:lnTo>
                      <a:pt x="1988" y="1361"/>
                    </a:lnTo>
                    <a:lnTo>
                      <a:pt x="2197" y="1361"/>
                    </a:lnTo>
                    <a:lnTo>
                      <a:pt x="2281" y="1423"/>
                    </a:lnTo>
                    <a:lnTo>
                      <a:pt x="2302" y="1402"/>
                    </a:lnTo>
                    <a:lnTo>
                      <a:pt x="2176" y="1298"/>
                    </a:lnTo>
                    <a:lnTo>
                      <a:pt x="2051" y="1277"/>
                    </a:lnTo>
                    <a:lnTo>
                      <a:pt x="1946" y="1151"/>
                    </a:lnTo>
                    <a:lnTo>
                      <a:pt x="1988" y="1068"/>
                    </a:lnTo>
                    <a:lnTo>
                      <a:pt x="2093" y="1089"/>
                    </a:lnTo>
                    <a:lnTo>
                      <a:pt x="2176" y="1047"/>
                    </a:lnTo>
                    <a:lnTo>
                      <a:pt x="2218" y="879"/>
                    </a:lnTo>
                    <a:lnTo>
                      <a:pt x="2302" y="858"/>
                    </a:lnTo>
                    <a:lnTo>
                      <a:pt x="2427" y="963"/>
                    </a:lnTo>
                    <a:lnTo>
                      <a:pt x="2532" y="963"/>
                    </a:lnTo>
                    <a:lnTo>
                      <a:pt x="2637" y="858"/>
                    </a:lnTo>
                    <a:lnTo>
                      <a:pt x="2637" y="796"/>
                    </a:lnTo>
                    <a:lnTo>
                      <a:pt x="2699" y="796"/>
                    </a:lnTo>
                    <a:lnTo>
                      <a:pt x="2783" y="879"/>
                    </a:lnTo>
                    <a:lnTo>
                      <a:pt x="3013" y="879"/>
                    </a:lnTo>
                    <a:lnTo>
                      <a:pt x="3201" y="942"/>
                    </a:lnTo>
                    <a:lnTo>
                      <a:pt x="3327" y="900"/>
                    </a:lnTo>
                    <a:lnTo>
                      <a:pt x="3348" y="566"/>
                    </a:lnTo>
                    <a:lnTo>
                      <a:pt x="3327" y="440"/>
                    </a:lnTo>
                    <a:lnTo>
                      <a:pt x="3473" y="335"/>
                    </a:lnTo>
                    <a:lnTo>
                      <a:pt x="3473" y="210"/>
                    </a:lnTo>
                    <a:lnTo>
                      <a:pt x="3369" y="147"/>
                    </a:lnTo>
                    <a:lnTo>
                      <a:pt x="341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919" name="Google Shape;1919;p66"/>
            <p:cNvGrpSpPr/>
            <p:nvPr/>
          </p:nvGrpSpPr>
          <p:grpSpPr>
            <a:xfrm>
              <a:off x="3782759" y="2807162"/>
              <a:ext cx="82686" cy="85487"/>
              <a:chOff x="3765350" y="2500900"/>
              <a:chExt cx="173600" cy="187925"/>
            </a:xfrm>
          </p:grpSpPr>
          <p:sp>
            <p:nvSpPr>
              <p:cNvPr id="1920" name="Google Shape;1920;p66"/>
              <p:cNvSpPr/>
              <p:nvPr/>
            </p:nvSpPr>
            <p:spPr>
              <a:xfrm>
                <a:off x="3765350" y="2500900"/>
                <a:ext cx="108950" cy="64300"/>
              </a:xfrm>
              <a:custGeom>
                <a:avLst/>
                <a:gdLst/>
                <a:ahLst/>
                <a:cxnLst/>
                <a:rect l="l" t="t" r="r" b="b"/>
                <a:pathLst>
                  <a:path w="4358" h="2572" extrusionOk="0">
                    <a:moveTo>
                      <a:pt x="1286" y="596"/>
                    </a:moveTo>
                    <a:lnTo>
                      <a:pt x="0" y="1072"/>
                    </a:lnTo>
                    <a:lnTo>
                      <a:pt x="429" y="2239"/>
                    </a:lnTo>
                    <a:lnTo>
                      <a:pt x="857" y="2572"/>
                    </a:lnTo>
                    <a:lnTo>
                      <a:pt x="2191" y="1215"/>
                    </a:lnTo>
                    <a:lnTo>
                      <a:pt x="4024" y="1072"/>
                    </a:lnTo>
                    <a:lnTo>
                      <a:pt x="4358" y="429"/>
                    </a:lnTo>
                    <a:lnTo>
                      <a:pt x="3120" y="0"/>
                    </a:lnTo>
                    <a:lnTo>
                      <a:pt x="2477" y="358"/>
                    </a:lnTo>
                    <a:close/>
                  </a:path>
                </a:pathLst>
              </a:custGeom>
              <a:solidFill>
                <a:srgbClr val="5F7D95"/>
              </a:solidFill>
              <a:ln>
                <a:noFill/>
              </a:ln>
            </p:spPr>
          </p:sp>
          <p:sp>
            <p:nvSpPr>
              <p:cNvPr id="1921" name="Google Shape;1921;p66"/>
              <p:cNvSpPr/>
              <p:nvPr/>
            </p:nvSpPr>
            <p:spPr>
              <a:xfrm>
                <a:off x="3797175" y="2609800"/>
                <a:ext cx="2625" cy="3700"/>
              </a:xfrm>
              <a:custGeom>
                <a:avLst/>
                <a:gdLst/>
                <a:ahLst/>
                <a:cxnLst/>
                <a:rect l="l" t="t" r="r" b="b"/>
                <a:pathLst>
                  <a:path w="105" h="148" extrusionOk="0">
                    <a:moveTo>
                      <a:pt x="42" y="1"/>
                    </a:moveTo>
                    <a:lnTo>
                      <a:pt x="21" y="43"/>
                    </a:lnTo>
                    <a:lnTo>
                      <a:pt x="0" y="84"/>
                    </a:lnTo>
                    <a:lnTo>
                      <a:pt x="0" y="147"/>
                    </a:lnTo>
                    <a:lnTo>
                      <a:pt x="21" y="147"/>
                    </a:lnTo>
                    <a:lnTo>
                      <a:pt x="42" y="105"/>
                    </a:lnTo>
                    <a:lnTo>
                      <a:pt x="105" y="22"/>
                    </a:lnTo>
                    <a:lnTo>
                      <a:pt x="4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2" name="Google Shape;1922;p66"/>
              <p:cNvSpPr/>
              <p:nvPr/>
            </p:nvSpPr>
            <p:spPr>
              <a:xfrm>
                <a:off x="3796125" y="2610325"/>
                <a:ext cx="22525" cy="41875"/>
              </a:xfrm>
              <a:custGeom>
                <a:avLst/>
                <a:gdLst/>
                <a:ahLst/>
                <a:cxnLst/>
                <a:rect l="l" t="t" r="r" b="b"/>
                <a:pathLst>
                  <a:path w="901" h="1675" extrusionOk="0">
                    <a:moveTo>
                      <a:pt x="565" y="1"/>
                    </a:moveTo>
                    <a:lnTo>
                      <a:pt x="461" y="22"/>
                    </a:lnTo>
                    <a:lnTo>
                      <a:pt x="252" y="273"/>
                    </a:lnTo>
                    <a:lnTo>
                      <a:pt x="168" y="273"/>
                    </a:lnTo>
                    <a:lnTo>
                      <a:pt x="42" y="189"/>
                    </a:lnTo>
                    <a:lnTo>
                      <a:pt x="42" y="314"/>
                    </a:lnTo>
                    <a:lnTo>
                      <a:pt x="1" y="398"/>
                    </a:lnTo>
                    <a:lnTo>
                      <a:pt x="105" y="503"/>
                    </a:lnTo>
                    <a:lnTo>
                      <a:pt x="105" y="586"/>
                    </a:lnTo>
                    <a:lnTo>
                      <a:pt x="189" y="649"/>
                    </a:lnTo>
                    <a:lnTo>
                      <a:pt x="189" y="796"/>
                    </a:lnTo>
                    <a:lnTo>
                      <a:pt x="105" y="858"/>
                    </a:lnTo>
                    <a:lnTo>
                      <a:pt x="147" y="942"/>
                    </a:lnTo>
                    <a:lnTo>
                      <a:pt x="273" y="942"/>
                    </a:lnTo>
                    <a:lnTo>
                      <a:pt x="273" y="1005"/>
                    </a:lnTo>
                    <a:lnTo>
                      <a:pt x="189" y="1068"/>
                    </a:lnTo>
                    <a:lnTo>
                      <a:pt x="147" y="1277"/>
                    </a:lnTo>
                    <a:lnTo>
                      <a:pt x="189" y="1361"/>
                    </a:lnTo>
                    <a:lnTo>
                      <a:pt x="252" y="1591"/>
                    </a:lnTo>
                    <a:lnTo>
                      <a:pt x="314" y="1674"/>
                    </a:lnTo>
                    <a:lnTo>
                      <a:pt x="377" y="1654"/>
                    </a:lnTo>
                    <a:lnTo>
                      <a:pt x="419" y="1674"/>
                    </a:lnTo>
                    <a:lnTo>
                      <a:pt x="503" y="1654"/>
                    </a:lnTo>
                    <a:lnTo>
                      <a:pt x="524" y="1528"/>
                    </a:lnTo>
                    <a:lnTo>
                      <a:pt x="565" y="1444"/>
                    </a:lnTo>
                    <a:lnTo>
                      <a:pt x="670" y="1444"/>
                    </a:lnTo>
                    <a:lnTo>
                      <a:pt x="733" y="1528"/>
                    </a:lnTo>
                    <a:lnTo>
                      <a:pt x="796" y="1528"/>
                    </a:lnTo>
                    <a:lnTo>
                      <a:pt x="837" y="1444"/>
                    </a:lnTo>
                    <a:lnTo>
                      <a:pt x="837" y="1214"/>
                    </a:lnTo>
                    <a:lnTo>
                      <a:pt x="879" y="1151"/>
                    </a:lnTo>
                    <a:lnTo>
                      <a:pt x="837" y="921"/>
                    </a:lnTo>
                    <a:lnTo>
                      <a:pt x="900" y="712"/>
                    </a:lnTo>
                    <a:lnTo>
                      <a:pt x="733" y="586"/>
                    </a:lnTo>
                    <a:lnTo>
                      <a:pt x="879" y="503"/>
                    </a:lnTo>
                    <a:lnTo>
                      <a:pt x="879" y="419"/>
                    </a:lnTo>
                    <a:lnTo>
                      <a:pt x="837" y="294"/>
                    </a:lnTo>
                    <a:lnTo>
                      <a:pt x="775" y="189"/>
                    </a:lnTo>
                    <a:lnTo>
                      <a:pt x="691" y="63"/>
                    </a:lnTo>
                    <a:lnTo>
                      <a:pt x="670" y="84"/>
                    </a:lnTo>
                    <a:lnTo>
                      <a:pt x="56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3" name="Google Shape;1923;p66"/>
              <p:cNvSpPr/>
              <p:nvPr/>
            </p:nvSpPr>
            <p:spPr>
              <a:xfrm>
                <a:off x="3821225" y="2579475"/>
                <a:ext cx="6300" cy="4200"/>
              </a:xfrm>
              <a:custGeom>
                <a:avLst/>
                <a:gdLst/>
                <a:ahLst/>
                <a:cxnLst/>
                <a:rect l="l" t="t" r="r" b="b"/>
                <a:pathLst>
                  <a:path w="252" h="168" extrusionOk="0">
                    <a:moveTo>
                      <a:pt x="189" y="0"/>
                    </a:moveTo>
                    <a:lnTo>
                      <a:pt x="147" y="42"/>
                    </a:lnTo>
                    <a:lnTo>
                      <a:pt x="43" y="84"/>
                    </a:lnTo>
                    <a:lnTo>
                      <a:pt x="1" y="147"/>
                    </a:lnTo>
                    <a:lnTo>
                      <a:pt x="43" y="167"/>
                    </a:lnTo>
                    <a:lnTo>
                      <a:pt x="189" y="147"/>
                    </a:lnTo>
                    <a:lnTo>
                      <a:pt x="252" y="147"/>
                    </a:lnTo>
                    <a:lnTo>
                      <a:pt x="252" y="63"/>
                    </a:lnTo>
                    <a:lnTo>
                      <a:pt x="18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4" name="Google Shape;1924;p66"/>
              <p:cNvSpPr/>
              <p:nvPr/>
            </p:nvSpPr>
            <p:spPr>
              <a:xfrm>
                <a:off x="3833800" y="2589400"/>
                <a:ext cx="1575" cy="1600"/>
              </a:xfrm>
              <a:custGeom>
                <a:avLst/>
                <a:gdLst/>
                <a:ahLst/>
                <a:cxnLst/>
                <a:rect l="l" t="t" r="r" b="b"/>
                <a:pathLst>
                  <a:path w="63" h="64" extrusionOk="0">
                    <a:moveTo>
                      <a:pt x="42" y="1"/>
                    </a:moveTo>
                    <a:lnTo>
                      <a:pt x="0" y="22"/>
                    </a:lnTo>
                    <a:lnTo>
                      <a:pt x="63" y="63"/>
                    </a:lnTo>
                    <a:lnTo>
                      <a:pt x="4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5" name="Google Shape;1925;p66"/>
              <p:cNvSpPr/>
              <p:nvPr/>
            </p:nvSpPr>
            <p:spPr>
              <a:xfrm>
                <a:off x="3774675" y="2506225"/>
                <a:ext cx="164275" cy="182600"/>
              </a:xfrm>
              <a:custGeom>
                <a:avLst/>
                <a:gdLst/>
                <a:ahLst/>
                <a:cxnLst/>
                <a:rect l="l" t="t" r="r" b="b"/>
                <a:pathLst>
                  <a:path w="6571" h="7304" extrusionOk="0">
                    <a:moveTo>
                      <a:pt x="2595" y="1"/>
                    </a:moveTo>
                    <a:lnTo>
                      <a:pt x="2302" y="189"/>
                    </a:lnTo>
                    <a:lnTo>
                      <a:pt x="2114" y="105"/>
                    </a:lnTo>
                    <a:lnTo>
                      <a:pt x="2009" y="252"/>
                    </a:lnTo>
                    <a:lnTo>
                      <a:pt x="2072" y="419"/>
                    </a:lnTo>
                    <a:lnTo>
                      <a:pt x="1842" y="482"/>
                    </a:lnTo>
                    <a:lnTo>
                      <a:pt x="1800" y="691"/>
                    </a:lnTo>
                    <a:lnTo>
                      <a:pt x="1695" y="608"/>
                    </a:lnTo>
                    <a:lnTo>
                      <a:pt x="1591" y="608"/>
                    </a:lnTo>
                    <a:lnTo>
                      <a:pt x="1340" y="524"/>
                    </a:lnTo>
                    <a:lnTo>
                      <a:pt x="1340" y="691"/>
                    </a:lnTo>
                    <a:lnTo>
                      <a:pt x="1235" y="901"/>
                    </a:lnTo>
                    <a:lnTo>
                      <a:pt x="1172" y="796"/>
                    </a:lnTo>
                    <a:lnTo>
                      <a:pt x="1005" y="712"/>
                    </a:lnTo>
                    <a:lnTo>
                      <a:pt x="1026" y="587"/>
                    </a:lnTo>
                    <a:lnTo>
                      <a:pt x="900" y="503"/>
                    </a:lnTo>
                    <a:lnTo>
                      <a:pt x="691" y="880"/>
                    </a:lnTo>
                    <a:lnTo>
                      <a:pt x="524" y="796"/>
                    </a:lnTo>
                    <a:lnTo>
                      <a:pt x="294" y="942"/>
                    </a:lnTo>
                    <a:lnTo>
                      <a:pt x="168" y="901"/>
                    </a:lnTo>
                    <a:lnTo>
                      <a:pt x="105" y="942"/>
                    </a:lnTo>
                    <a:lnTo>
                      <a:pt x="126" y="1089"/>
                    </a:lnTo>
                    <a:lnTo>
                      <a:pt x="231" y="1193"/>
                    </a:lnTo>
                    <a:lnTo>
                      <a:pt x="210" y="1361"/>
                    </a:lnTo>
                    <a:lnTo>
                      <a:pt x="84" y="1403"/>
                    </a:lnTo>
                    <a:lnTo>
                      <a:pt x="1" y="1465"/>
                    </a:lnTo>
                    <a:lnTo>
                      <a:pt x="126" y="1633"/>
                    </a:lnTo>
                    <a:lnTo>
                      <a:pt x="168" y="1926"/>
                    </a:lnTo>
                    <a:lnTo>
                      <a:pt x="335" y="2051"/>
                    </a:lnTo>
                    <a:lnTo>
                      <a:pt x="524" y="2051"/>
                    </a:lnTo>
                    <a:lnTo>
                      <a:pt x="440" y="2240"/>
                    </a:lnTo>
                    <a:lnTo>
                      <a:pt x="503" y="2365"/>
                    </a:lnTo>
                    <a:lnTo>
                      <a:pt x="796" y="2302"/>
                    </a:lnTo>
                    <a:lnTo>
                      <a:pt x="900" y="2177"/>
                    </a:lnTo>
                    <a:lnTo>
                      <a:pt x="900" y="2072"/>
                    </a:lnTo>
                    <a:lnTo>
                      <a:pt x="1172" y="1926"/>
                    </a:lnTo>
                    <a:lnTo>
                      <a:pt x="1570" y="2030"/>
                    </a:lnTo>
                    <a:lnTo>
                      <a:pt x="1675" y="2093"/>
                    </a:lnTo>
                    <a:lnTo>
                      <a:pt x="1842" y="2156"/>
                    </a:lnTo>
                    <a:lnTo>
                      <a:pt x="1884" y="2261"/>
                    </a:lnTo>
                    <a:lnTo>
                      <a:pt x="1905" y="2302"/>
                    </a:lnTo>
                    <a:lnTo>
                      <a:pt x="1967" y="2386"/>
                    </a:lnTo>
                    <a:lnTo>
                      <a:pt x="2072" y="2574"/>
                    </a:lnTo>
                    <a:lnTo>
                      <a:pt x="2072" y="2679"/>
                    </a:lnTo>
                    <a:lnTo>
                      <a:pt x="2156" y="2721"/>
                    </a:lnTo>
                    <a:lnTo>
                      <a:pt x="2156" y="2888"/>
                    </a:lnTo>
                    <a:lnTo>
                      <a:pt x="2281" y="2930"/>
                    </a:lnTo>
                    <a:lnTo>
                      <a:pt x="2365" y="3035"/>
                    </a:lnTo>
                    <a:lnTo>
                      <a:pt x="2511" y="3202"/>
                    </a:lnTo>
                    <a:lnTo>
                      <a:pt x="2532" y="3307"/>
                    </a:lnTo>
                    <a:lnTo>
                      <a:pt x="2700" y="3307"/>
                    </a:lnTo>
                    <a:lnTo>
                      <a:pt x="2804" y="3432"/>
                    </a:lnTo>
                    <a:lnTo>
                      <a:pt x="2825" y="3537"/>
                    </a:lnTo>
                    <a:lnTo>
                      <a:pt x="2909" y="3558"/>
                    </a:lnTo>
                    <a:lnTo>
                      <a:pt x="3139" y="3851"/>
                    </a:lnTo>
                    <a:lnTo>
                      <a:pt x="3369" y="4018"/>
                    </a:lnTo>
                    <a:lnTo>
                      <a:pt x="3474" y="4039"/>
                    </a:lnTo>
                    <a:lnTo>
                      <a:pt x="3579" y="4081"/>
                    </a:lnTo>
                    <a:lnTo>
                      <a:pt x="3620" y="4186"/>
                    </a:lnTo>
                    <a:lnTo>
                      <a:pt x="3725" y="4186"/>
                    </a:lnTo>
                    <a:lnTo>
                      <a:pt x="3788" y="4123"/>
                    </a:lnTo>
                    <a:lnTo>
                      <a:pt x="3934" y="4165"/>
                    </a:lnTo>
                    <a:lnTo>
                      <a:pt x="4039" y="4165"/>
                    </a:lnTo>
                    <a:lnTo>
                      <a:pt x="4164" y="4395"/>
                    </a:lnTo>
                    <a:lnTo>
                      <a:pt x="4248" y="4458"/>
                    </a:lnTo>
                    <a:lnTo>
                      <a:pt x="4290" y="4416"/>
                    </a:lnTo>
                    <a:lnTo>
                      <a:pt x="4395" y="4458"/>
                    </a:lnTo>
                    <a:lnTo>
                      <a:pt x="4395" y="4520"/>
                    </a:lnTo>
                    <a:lnTo>
                      <a:pt x="4604" y="4520"/>
                    </a:lnTo>
                    <a:lnTo>
                      <a:pt x="4688" y="4625"/>
                    </a:lnTo>
                    <a:lnTo>
                      <a:pt x="4688" y="4730"/>
                    </a:lnTo>
                    <a:lnTo>
                      <a:pt x="4646" y="4792"/>
                    </a:lnTo>
                    <a:lnTo>
                      <a:pt x="4708" y="4834"/>
                    </a:lnTo>
                    <a:lnTo>
                      <a:pt x="4834" y="4834"/>
                    </a:lnTo>
                    <a:lnTo>
                      <a:pt x="4897" y="4939"/>
                    </a:lnTo>
                    <a:lnTo>
                      <a:pt x="5043" y="4981"/>
                    </a:lnTo>
                    <a:lnTo>
                      <a:pt x="5106" y="4939"/>
                    </a:lnTo>
                    <a:lnTo>
                      <a:pt x="5169" y="5002"/>
                    </a:lnTo>
                    <a:lnTo>
                      <a:pt x="5232" y="5190"/>
                    </a:lnTo>
                    <a:lnTo>
                      <a:pt x="5252" y="5357"/>
                    </a:lnTo>
                    <a:lnTo>
                      <a:pt x="5315" y="5441"/>
                    </a:lnTo>
                    <a:lnTo>
                      <a:pt x="5357" y="5650"/>
                    </a:lnTo>
                    <a:lnTo>
                      <a:pt x="5420" y="5755"/>
                    </a:lnTo>
                    <a:lnTo>
                      <a:pt x="5420" y="5859"/>
                    </a:lnTo>
                    <a:lnTo>
                      <a:pt x="5357" y="5943"/>
                    </a:lnTo>
                    <a:lnTo>
                      <a:pt x="5315" y="5943"/>
                    </a:lnTo>
                    <a:lnTo>
                      <a:pt x="5273" y="5964"/>
                    </a:lnTo>
                    <a:lnTo>
                      <a:pt x="5315" y="6069"/>
                    </a:lnTo>
                    <a:lnTo>
                      <a:pt x="5273" y="6173"/>
                    </a:lnTo>
                    <a:lnTo>
                      <a:pt x="5211" y="6257"/>
                    </a:lnTo>
                    <a:lnTo>
                      <a:pt x="5127" y="6278"/>
                    </a:lnTo>
                    <a:lnTo>
                      <a:pt x="5106" y="6341"/>
                    </a:lnTo>
                    <a:lnTo>
                      <a:pt x="5106" y="6362"/>
                    </a:lnTo>
                    <a:lnTo>
                      <a:pt x="5211" y="6466"/>
                    </a:lnTo>
                    <a:lnTo>
                      <a:pt x="5357" y="6445"/>
                    </a:lnTo>
                    <a:lnTo>
                      <a:pt x="5441" y="6341"/>
                    </a:lnTo>
                    <a:lnTo>
                      <a:pt x="5462" y="6194"/>
                    </a:lnTo>
                    <a:lnTo>
                      <a:pt x="5629" y="6069"/>
                    </a:lnTo>
                    <a:lnTo>
                      <a:pt x="5650" y="5818"/>
                    </a:lnTo>
                    <a:lnTo>
                      <a:pt x="5755" y="5713"/>
                    </a:lnTo>
                    <a:lnTo>
                      <a:pt x="5859" y="5671"/>
                    </a:lnTo>
                    <a:lnTo>
                      <a:pt x="5880" y="5608"/>
                    </a:lnTo>
                    <a:lnTo>
                      <a:pt x="5859" y="5546"/>
                    </a:lnTo>
                    <a:lnTo>
                      <a:pt x="5880" y="5399"/>
                    </a:lnTo>
                    <a:lnTo>
                      <a:pt x="5859" y="5336"/>
                    </a:lnTo>
                    <a:lnTo>
                      <a:pt x="5692" y="5190"/>
                    </a:lnTo>
                    <a:lnTo>
                      <a:pt x="5587" y="5190"/>
                    </a:lnTo>
                    <a:lnTo>
                      <a:pt x="5566" y="5127"/>
                    </a:lnTo>
                    <a:lnTo>
                      <a:pt x="5566" y="5043"/>
                    </a:lnTo>
                    <a:lnTo>
                      <a:pt x="5650" y="5002"/>
                    </a:lnTo>
                    <a:lnTo>
                      <a:pt x="5671" y="4918"/>
                    </a:lnTo>
                    <a:lnTo>
                      <a:pt x="5671" y="4834"/>
                    </a:lnTo>
                    <a:lnTo>
                      <a:pt x="5734" y="4771"/>
                    </a:lnTo>
                    <a:lnTo>
                      <a:pt x="5776" y="4625"/>
                    </a:lnTo>
                    <a:lnTo>
                      <a:pt x="5838" y="4604"/>
                    </a:lnTo>
                    <a:lnTo>
                      <a:pt x="5901" y="4604"/>
                    </a:lnTo>
                    <a:lnTo>
                      <a:pt x="6006" y="4667"/>
                    </a:lnTo>
                    <a:lnTo>
                      <a:pt x="6048" y="4709"/>
                    </a:lnTo>
                    <a:lnTo>
                      <a:pt x="6215" y="4709"/>
                    </a:lnTo>
                    <a:lnTo>
                      <a:pt x="6278" y="4730"/>
                    </a:lnTo>
                    <a:lnTo>
                      <a:pt x="6257" y="4813"/>
                    </a:lnTo>
                    <a:lnTo>
                      <a:pt x="6299" y="4918"/>
                    </a:lnTo>
                    <a:lnTo>
                      <a:pt x="6382" y="5022"/>
                    </a:lnTo>
                    <a:lnTo>
                      <a:pt x="6487" y="5085"/>
                    </a:lnTo>
                    <a:lnTo>
                      <a:pt x="6487" y="5043"/>
                    </a:lnTo>
                    <a:lnTo>
                      <a:pt x="6508" y="5022"/>
                    </a:lnTo>
                    <a:lnTo>
                      <a:pt x="6487" y="5002"/>
                    </a:lnTo>
                    <a:lnTo>
                      <a:pt x="6550" y="4918"/>
                    </a:lnTo>
                    <a:lnTo>
                      <a:pt x="6571" y="4771"/>
                    </a:lnTo>
                    <a:lnTo>
                      <a:pt x="6508" y="4688"/>
                    </a:lnTo>
                    <a:lnTo>
                      <a:pt x="6403" y="4604"/>
                    </a:lnTo>
                    <a:lnTo>
                      <a:pt x="6236" y="4562"/>
                    </a:lnTo>
                    <a:lnTo>
                      <a:pt x="6131" y="4416"/>
                    </a:lnTo>
                    <a:lnTo>
                      <a:pt x="5943" y="4290"/>
                    </a:lnTo>
                    <a:lnTo>
                      <a:pt x="5504" y="4060"/>
                    </a:lnTo>
                    <a:lnTo>
                      <a:pt x="5294" y="4018"/>
                    </a:lnTo>
                    <a:lnTo>
                      <a:pt x="5148" y="4018"/>
                    </a:lnTo>
                    <a:lnTo>
                      <a:pt x="5106" y="3914"/>
                    </a:lnTo>
                    <a:lnTo>
                      <a:pt x="5106" y="3851"/>
                    </a:lnTo>
                    <a:lnTo>
                      <a:pt x="5232" y="3746"/>
                    </a:lnTo>
                    <a:lnTo>
                      <a:pt x="5252" y="3662"/>
                    </a:lnTo>
                    <a:lnTo>
                      <a:pt x="5148" y="3621"/>
                    </a:lnTo>
                    <a:lnTo>
                      <a:pt x="5022" y="3642"/>
                    </a:lnTo>
                    <a:lnTo>
                      <a:pt x="4918" y="3621"/>
                    </a:lnTo>
                    <a:lnTo>
                      <a:pt x="4708" y="3621"/>
                    </a:lnTo>
                    <a:lnTo>
                      <a:pt x="4625" y="3558"/>
                    </a:lnTo>
                    <a:lnTo>
                      <a:pt x="4520" y="3537"/>
                    </a:lnTo>
                    <a:lnTo>
                      <a:pt x="4457" y="3453"/>
                    </a:lnTo>
                    <a:lnTo>
                      <a:pt x="4290" y="3328"/>
                    </a:lnTo>
                    <a:lnTo>
                      <a:pt x="4206" y="3202"/>
                    </a:lnTo>
                    <a:lnTo>
                      <a:pt x="4102" y="3097"/>
                    </a:lnTo>
                    <a:lnTo>
                      <a:pt x="4039" y="2993"/>
                    </a:lnTo>
                    <a:lnTo>
                      <a:pt x="4039" y="2867"/>
                    </a:lnTo>
                    <a:lnTo>
                      <a:pt x="3976" y="2825"/>
                    </a:lnTo>
                    <a:lnTo>
                      <a:pt x="3976" y="2721"/>
                    </a:lnTo>
                    <a:lnTo>
                      <a:pt x="3620" y="2365"/>
                    </a:lnTo>
                    <a:lnTo>
                      <a:pt x="3537" y="2261"/>
                    </a:lnTo>
                    <a:lnTo>
                      <a:pt x="3411" y="2177"/>
                    </a:lnTo>
                    <a:lnTo>
                      <a:pt x="3139" y="2051"/>
                    </a:lnTo>
                    <a:lnTo>
                      <a:pt x="3097" y="1968"/>
                    </a:lnTo>
                    <a:lnTo>
                      <a:pt x="3056" y="1821"/>
                    </a:lnTo>
                    <a:lnTo>
                      <a:pt x="3014" y="1654"/>
                    </a:lnTo>
                    <a:lnTo>
                      <a:pt x="3056" y="1612"/>
                    </a:lnTo>
                    <a:lnTo>
                      <a:pt x="3139" y="1465"/>
                    </a:lnTo>
                    <a:lnTo>
                      <a:pt x="3056" y="1361"/>
                    </a:lnTo>
                    <a:lnTo>
                      <a:pt x="3014" y="1235"/>
                    </a:lnTo>
                    <a:lnTo>
                      <a:pt x="3056" y="1152"/>
                    </a:lnTo>
                    <a:lnTo>
                      <a:pt x="3202" y="1131"/>
                    </a:lnTo>
                    <a:lnTo>
                      <a:pt x="3307" y="1026"/>
                    </a:lnTo>
                    <a:lnTo>
                      <a:pt x="3432" y="1026"/>
                    </a:lnTo>
                    <a:lnTo>
                      <a:pt x="3516" y="942"/>
                    </a:lnTo>
                    <a:lnTo>
                      <a:pt x="3579" y="901"/>
                    </a:lnTo>
                    <a:lnTo>
                      <a:pt x="3725" y="921"/>
                    </a:lnTo>
                    <a:lnTo>
                      <a:pt x="3683" y="712"/>
                    </a:lnTo>
                    <a:lnTo>
                      <a:pt x="3725" y="691"/>
                    </a:lnTo>
                    <a:lnTo>
                      <a:pt x="3662" y="587"/>
                    </a:lnTo>
                    <a:lnTo>
                      <a:pt x="3788" y="398"/>
                    </a:lnTo>
                    <a:lnTo>
                      <a:pt x="3725" y="315"/>
                    </a:lnTo>
                    <a:lnTo>
                      <a:pt x="3537" y="356"/>
                    </a:lnTo>
                    <a:lnTo>
                      <a:pt x="3202" y="273"/>
                    </a:lnTo>
                    <a:lnTo>
                      <a:pt x="2909" y="105"/>
                    </a:lnTo>
                    <a:lnTo>
                      <a:pt x="2930" y="1"/>
                    </a:lnTo>
                    <a:lnTo>
                      <a:pt x="2721" y="43"/>
                    </a:lnTo>
                    <a:lnTo>
                      <a:pt x="2595" y="1"/>
                    </a:lnTo>
                    <a:close/>
                    <a:moveTo>
                      <a:pt x="4960" y="6236"/>
                    </a:moveTo>
                    <a:lnTo>
                      <a:pt x="4813" y="6362"/>
                    </a:lnTo>
                    <a:lnTo>
                      <a:pt x="4750" y="6362"/>
                    </a:lnTo>
                    <a:lnTo>
                      <a:pt x="4625" y="6278"/>
                    </a:lnTo>
                    <a:lnTo>
                      <a:pt x="4499" y="6403"/>
                    </a:lnTo>
                    <a:lnTo>
                      <a:pt x="4227" y="6382"/>
                    </a:lnTo>
                    <a:lnTo>
                      <a:pt x="4018" y="6445"/>
                    </a:lnTo>
                    <a:lnTo>
                      <a:pt x="3872" y="6403"/>
                    </a:lnTo>
                    <a:lnTo>
                      <a:pt x="3767" y="6341"/>
                    </a:lnTo>
                    <a:lnTo>
                      <a:pt x="3641" y="6341"/>
                    </a:lnTo>
                    <a:lnTo>
                      <a:pt x="3558" y="6382"/>
                    </a:lnTo>
                    <a:lnTo>
                      <a:pt x="3495" y="6341"/>
                    </a:lnTo>
                    <a:lnTo>
                      <a:pt x="3369" y="6382"/>
                    </a:lnTo>
                    <a:lnTo>
                      <a:pt x="3348" y="6571"/>
                    </a:lnTo>
                    <a:lnTo>
                      <a:pt x="3474" y="6675"/>
                    </a:lnTo>
                    <a:lnTo>
                      <a:pt x="3600" y="6655"/>
                    </a:lnTo>
                    <a:lnTo>
                      <a:pt x="3809" y="6801"/>
                    </a:lnTo>
                    <a:lnTo>
                      <a:pt x="3955" y="6822"/>
                    </a:lnTo>
                    <a:lnTo>
                      <a:pt x="4060" y="6927"/>
                    </a:lnTo>
                    <a:lnTo>
                      <a:pt x="4311" y="7031"/>
                    </a:lnTo>
                    <a:lnTo>
                      <a:pt x="4374" y="7010"/>
                    </a:lnTo>
                    <a:lnTo>
                      <a:pt x="4478" y="7094"/>
                    </a:lnTo>
                    <a:lnTo>
                      <a:pt x="4499" y="7199"/>
                    </a:lnTo>
                    <a:lnTo>
                      <a:pt x="4750" y="7303"/>
                    </a:lnTo>
                    <a:lnTo>
                      <a:pt x="4855" y="7282"/>
                    </a:lnTo>
                    <a:lnTo>
                      <a:pt x="4855" y="7136"/>
                    </a:lnTo>
                    <a:lnTo>
                      <a:pt x="4918" y="7073"/>
                    </a:lnTo>
                    <a:lnTo>
                      <a:pt x="4918" y="6927"/>
                    </a:lnTo>
                    <a:lnTo>
                      <a:pt x="4813" y="6801"/>
                    </a:lnTo>
                    <a:lnTo>
                      <a:pt x="4918" y="6508"/>
                    </a:lnTo>
                    <a:lnTo>
                      <a:pt x="5022" y="6403"/>
                    </a:lnTo>
                    <a:lnTo>
                      <a:pt x="5022" y="6362"/>
                    </a:lnTo>
                    <a:lnTo>
                      <a:pt x="5043" y="6362"/>
                    </a:lnTo>
                    <a:lnTo>
                      <a:pt x="5043" y="6341"/>
                    </a:lnTo>
                    <a:lnTo>
                      <a:pt x="4960" y="6236"/>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926" name="Google Shape;1926;p66"/>
            <p:cNvGrpSpPr/>
            <p:nvPr/>
          </p:nvGrpSpPr>
          <p:grpSpPr>
            <a:xfrm>
              <a:off x="3775674" y="2798496"/>
              <a:ext cx="40545" cy="23564"/>
              <a:chOff x="3750475" y="2481850"/>
              <a:chExt cx="85125" cy="51800"/>
            </a:xfrm>
          </p:grpSpPr>
          <p:sp>
            <p:nvSpPr>
              <p:cNvPr id="1927" name="Google Shape;1927;p66"/>
              <p:cNvSpPr/>
              <p:nvPr/>
            </p:nvSpPr>
            <p:spPr>
              <a:xfrm>
                <a:off x="3762125" y="2492625"/>
                <a:ext cx="64900" cy="36650"/>
              </a:xfrm>
              <a:custGeom>
                <a:avLst/>
                <a:gdLst/>
                <a:ahLst/>
                <a:cxnLst/>
                <a:rect l="l" t="t" r="r" b="b"/>
                <a:pathLst>
                  <a:path w="2596" h="1466" extrusionOk="0">
                    <a:moveTo>
                      <a:pt x="1507" y="1"/>
                    </a:moveTo>
                    <a:lnTo>
                      <a:pt x="1361" y="64"/>
                    </a:lnTo>
                    <a:lnTo>
                      <a:pt x="1402" y="105"/>
                    </a:lnTo>
                    <a:lnTo>
                      <a:pt x="1340" y="189"/>
                    </a:lnTo>
                    <a:lnTo>
                      <a:pt x="1214" y="126"/>
                    </a:lnTo>
                    <a:lnTo>
                      <a:pt x="1109" y="189"/>
                    </a:lnTo>
                    <a:lnTo>
                      <a:pt x="1005" y="168"/>
                    </a:lnTo>
                    <a:lnTo>
                      <a:pt x="817" y="210"/>
                    </a:lnTo>
                    <a:lnTo>
                      <a:pt x="712" y="210"/>
                    </a:lnTo>
                    <a:lnTo>
                      <a:pt x="691" y="126"/>
                    </a:lnTo>
                    <a:lnTo>
                      <a:pt x="565" y="126"/>
                    </a:lnTo>
                    <a:lnTo>
                      <a:pt x="482" y="231"/>
                    </a:lnTo>
                    <a:lnTo>
                      <a:pt x="607" y="294"/>
                    </a:lnTo>
                    <a:lnTo>
                      <a:pt x="607" y="398"/>
                    </a:lnTo>
                    <a:lnTo>
                      <a:pt x="503" y="440"/>
                    </a:lnTo>
                    <a:lnTo>
                      <a:pt x="398" y="608"/>
                    </a:lnTo>
                    <a:lnTo>
                      <a:pt x="314" y="628"/>
                    </a:lnTo>
                    <a:lnTo>
                      <a:pt x="168" y="859"/>
                    </a:lnTo>
                    <a:lnTo>
                      <a:pt x="147" y="1047"/>
                    </a:lnTo>
                    <a:lnTo>
                      <a:pt x="147" y="1152"/>
                    </a:lnTo>
                    <a:lnTo>
                      <a:pt x="84" y="1152"/>
                    </a:lnTo>
                    <a:lnTo>
                      <a:pt x="0" y="1173"/>
                    </a:lnTo>
                    <a:lnTo>
                      <a:pt x="42" y="1277"/>
                    </a:lnTo>
                    <a:lnTo>
                      <a:pt x="147" y="1277"/>
                    </a:lnTo>
                    <a:lnTo>
                      <a:pt x="293" y="1235"/>
                    </a:lnTo>
                    <a:lnTo>
                      <a:pt x="252" y="1068"/>
                    </a:lnTo>
                    <a:lnTo>
                      <a:pt x="314" y="1026"/>
                    </a:lnTo>
                    <a:lnTo>
                      <a:pt x="482" y="1026"/>
                    </a:lnTo>
                    <a:lnTo>
                      <a:pt x="524" y="1131"/>
                    </a:lnTo>
                    <a:lnTo>
                      <a:pt x="586" y="1277"/>
                    </a:lnTo>
                    <a:lnTo>
                      <a:pt x="670" y="1340"/>
                    </a:lnTo>
                    <a:lnTo>
                      <a:pt x="670" y="1424"/>
                    </a:lnTo>
                    <a:lnTo>
                      <a:pt x="796" y="1465"/>
                    </a:lnTo>
                    <a:lnTo>
                      <a:pt x="1026" y="1319"/>
                    </a:lnTo>
                    <a:lnTo>
                      <a:pt x="1151" y="1361"/>
                    </a:lnTo>
                    <a:lnTo>
                      <a:pt x="1361" y="1026"/>
                    </a:lnTo>
                    <a:lnTo>
                      <a:pt x="1507" y="1110"/>
                    </a:lnTo>
                    <a:lnTo>
                      <a:pt x="1507" y="1235"/>
                    </a:lnTo>
                    <a:lnTo>
                      <a:pt x="1674" y="1319"/>
                    </a:lnTo>
                    <a:lnTo>
                      <a:pt x="1737" y="1445"/>
                    </a:lnTo>
                    <a:lnTo>
                      <a:pt x="1842" y="1235"/>
                    </a:lnTo>
                    <a:lnTo>
                      <a:pt x="1842" y="1068"/>
                    </a:lnTo>
                    <a:lnTo>
                      <a:pt x="2093" y="1131"/>
                    </a:lnTo>
                    <a:lnTo>
                      <a:pt x="2197" y="1131"/>
                    </a:lnTo>
                    <a:lnTo>
                      <a:pt x="2302" y="1214"/>
                    </a:lnTo>
                    <a:lnTo>
                      <a:pt x="2302" y="1005"/>
                    </a:lnTo>
                    <a:lnTo>
                      <a:pt x="2553" y="942"/>
                    </a:lnTo>
                    <a:lnTo>
                      <a:pt x="2490" y="754"/>
                    </a:lnTo>
                    <a:lnTo>
                      <a:pt x="2595" y="628"/>
                    </a:lnTo>
                    <a:lnTo>
                      <a:pt x="2553" y="524"/>
                    </a:lnTo>
                    <a:lnTo>
                      <a:pt x="2469" y="524"/>
                    </a:lnTo>
                    <a:lnTo>
                      <a:pt x="2365" y="628"/>
                    </a:lnTo>
                    <a:lnTo>
                      <a:pt x="2260" y="503"/>
                    </a:lnTo>
                    <a:lnTo>
                      <a:pt x="2177" y="524"/>
                    </a:lnTo>
                    <a:lnTo>
                      <a:pt x="2030" y="524"/>
                    </a:lnTo>
                    <a:lnTo>
                      <a:pt x="1988" y="440"/>
                    </a:lnTo>
                    <a:lnTo>
                      <a:pt x="2030" y="398"/>
                    </a:lnTo>
                    <a:lnTo>
                      <a:pt x="2030" y="294"/>
                    </a:lnTo>
                    <a:lnTo>
                      <a:pt x="1884" y="210"/>
                    </a:lnTo>
                    <a:lnTo>
                      <a:pt x="1737" y="84"/>
                    </a:lnTo>
                    <a:lnTo>
                      <a:pt x="1653" y="84"/>
                    </a:lnTo>
                    <a:lnTo>
                      <a:pt x="1612" y="126"/>
                    </a:lnTo>
                    <a:lnTo>
                      <a:pt x="1528" y="105"/>
                    </a:lnTo>
                    <a:lnTo>
                      <a:pt x="150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28" name="Google Shape;1928;p66"/>
              <p:cNvSpPr/>
              <p:nvPr/>
            </p:nvSpPr>
            <p:spPr>
              <a:xfrm>
                <a:off x="3750475" y="2481850"/>
                <a:ext cx="85125" cy="51800"/>
              </a:xfrm>
              <a:custGeom>
                <a:avLst/>
                <a:gdLst/>
                <a:ahLst/>
                <a:cxnLst/>
                <a:rect l="l" t="t" r="r" b="b"/>
                <a:pathLst>
                  <a:path w="3405" h="2072" extrusionOk="0">
                    <a:moveTo>
                      <a:pt x="1095" y="286"/>
                    </a:moveTo>
                    <a:lnTo>
                      <a:pt x="0" y="1667"/>
                    </a:lnTo>
                    <a:lnTo>
                      <a:pt x="547" y="2072"/>
                    </a:lnTo>
                    <a:lnTo>
                      <a:pt x="1214" y="1858"/>
                    </a:lnTo>
                    <a:lnTo>
                      <a:pt x="1881" y="1262"/>
                    </a:lnTo>
                    <a:lnTo>
                      <a:pt x="2976" y="1286"/>
                    </a:lnTo>
                    <a:lnTo>
                      <a:pt x="3405" y="786"/>
                    </a:lnTo>
                    <a:lnTo>
                      <a:pt x="2167" y="0"/>
                    </a:lnTo>
                    <a:close/>
                  </a:path>
                </a:pathLst>
              </a:custGeom>
              <a:solidFill>
                <a:srgbClr val="5F7D95"/>
              </a:solidFill>
              <a:ln>
                <a:noFill/>
              </a:ln>
            </p:spPr>
          </p:sp>
        </p:grpSp>
        <p:grpSp>
          <p:nvGrpSpPr>
            <p:cNvPr id="1929" name="Google Shape;1929;p66"/>
            <p:cNvGrpSpPr/>
            <p:nvPr/>
          </p:nvGrpSpPr>
          <p:grpSpPr>
            <a:xfrm>
              <a:off x="3716946" y="2776024"/>
              <a:ext cx="81971" cy="76912"/>
              <a:chOff x="3627175" y="2432450"/>
              <a:chExt cx="172100" cy="169075"/>
            </a:xfrm>
          </p:grpSpPr>
          <p:sp>
            <p:nvSpPr>
              <p:cNvPr id="1930" name="Google Shape;1930;p66"/>
              <p:cNvSpPr/>
              <p:nvPr/>
            </p:nvSpPr>
            <p:spPr>
              <a:xfrm>
                <a:off x="3627175" y="2433000"/>
                <a:ext cx="164800" cy="156950"/>
              </a:xfrm>
              <a:custGeom>
                <a:avLst/>
                <a:gdLst/>
                <a:ahLst/>
                <a:cxnLst/>
                <a:rect l="l" t="t" r="r" b="b"/>
                <a:pathLst>
                  <a:path w="6592" h="6278" extrusionOk="0">
                    <a:moveTo>
                      <a:pt x="3829" y="0"/>
                    </a:moveTo>
                    <a:lnTo>
                      <a:pt x="3808" y="42"/>
                    </a:lnTo>
                    <a:lnTo>
                      <a:pt x="3599" y="105"/>
                    </a:lnTo>
                    <a:lnTo>
                      <a:pt x="3578" y="63"/>
                    </a:lnTo>
                    <a:lnTo>
                      <a:pt x="3390" y="168"/>
                    </a:lnTo>
                    <a:lnTo>
                      <a:pt x="3369" y="272"/>
                    </a:lnTo>
                    <a:lnTo>
                      <a:pt x="3390" y="398"/>
                    </a:lnTo>
                    <a:lnTo>
                      <a:pt x="3348" y="607"/>
                    </a:lnTo>
                    <a:lnTo>
                      <a:pt x="3181" y="796"/>
                    </a:lnTo>
                    <a:lnTo>
                      <a:pt x="3181" y="837"/>
                    </a:lnTo>
                    <a:lnTo>
                      <a:pt x="2992" y="900"/>
                    </a:lnTo>
                    <a:lnTo>
                      <a:pt x="2888" y="900"/>
                    </a:lnTo>
                    <a:lnTo>
                      <a:pt x="2783" y="879"/>
                    </a:lnTo>
                    <a:lnTo>
                      <a:pt x="2574" y="1005"/>
                    </a:lnTo>
                    <a:lnTo>
                      <a:pt x="2532" y="1089"/>
                    </a:lnTo>
                    <a:lnTo>
                      <a:pt x="2574" y="1151"/>
                    </a:lnTo>
                    <a:lnTo>
                      <a:pt x="2658" y="1193"/>
                    </a:lnTo>
                    <a:lnTo>
                      <a:pt x="2532" y="1298"/>
                    </a:lnTo>
                    <a:lnTo>
                      <a:pt x="2365" y="1319"/>
                    </a:lnTo>
                    <a:lnTo>
                      <a:pt x="2134" y="1298"/>
                    </a:lnTo>
                    <a:lnTo>
                      <a:pt x="2030" y="1235"/>
                    </a:lnTo>
                    <a:lnTo>
                      <a:pt x="1946" y="1298"/>
                    </a:lnTo>
                    <a:lnTo>
                      <a:pt x="1925" y="1214"/>
                    </a:lnTo>
                    <a:lnTo>
                      <a:pt x="1841" y="1151"/>
                    </a:lnTo>
                    <a:lnTo>
                      <a:pt x="1883" y="1047"/>
                    </a:lnTo>
                    <a:lnTo>
                      <a:pt x="1800" y="1026"/>
                    </a:lnTo>
                    <a:lnTo>
                      <a:pt x="1695" y="1047"/>
                    </a:lnTo>
                    <a:lnTo>
                      <a:pt x="1569" y="1047"/>
                    </a:lnTo>
                    <a:lnTo>
                      <a:pt x="1507" y="1026"/>
                    </a:lnTo>
                    <a:lnTo>
                      <a:pt x="1528" y="1151"/>
                    </a:lnTo>
                    <a:lnTo>
                      <a:pt x="1507" y="1214"/>
                    </a:lnTo>
                    <a:lnTo>
                      <a:pt x="1716" y="1402"/>
                    </a:lnTo>
                    <a:lnTo>
                      <a:pt x="1674" y="1444"/>
                    </a:lnTo>
                    <a:lnTo>
                      <a:pt x="1695" y="1528"/>
                    </a:lnTo>
                    <a:lnTo>
                      <a:pt x="1695" y="1633"/>
                    </a:lnTo>
                    <a:lnTo>
                      <a:pt x="1737" y="1716"/>
                    </a:lnTo>
                    <a:lnTo>
                      <a:pt x="1737" y="1821"/>
                    </a:lnTo>
                    <a:lnTo>
                      <a:pt x="1569" y="1779"/>
                    </a:lnTo>
                    <a:lnTo>
                      <a:pt x="1465" y="1821"/>
                    </a:lnTo>
                    <a:lnTo>
                      <a:pt x="1381" y="1779"/>
                    </a:lnTo>
                    <a:lnTo>
                      <a:pt x="1277" y="1821"/>
                    </a:lnTo>
                    <a:lnTo>
                      <a:pt x="1256" y="1758"/>
                    </a:lnTo>
                    <a:lnTo>
                      <a:pt x="1109" y="1863"/>
                    </a:lnTo>
                    <a:lnTo>
                      <a:pt x="963" y="1653"/>
                    </a:lnTo>
                    <a:lnTo>
                      <a:pt x="858" y="1633"/>
                    </a:lnTo>
                    <a:lnTo>
                      <a:pt x="733" y="1653"/>
                    </a:lnTo>
                    <a:lnTo>
                      <a:pt x="628" y="1758"/>
                    </a:lnTo>
                    <a:lnTo>
                      <a:pt x="565" y="1737"/>
                    </a:lnTo>
                    <a:lnTo>
                      <a:pt x="481" y="1779"/>
                    </a:lnTo>
                    <a:lnTo>
                      <a:pt x="440" y="1758"/>
                    </a:lnTo>
                    <a:lnTo>
                      <a:pt x="335" y="1758"/>
                    </a:lnTo>
                    <a:lnTo>
                      <a:pt x="251" y="1842"/>
                    </a:lnTo>
                    <a:lnTo>
                      <a:pt x="63" y="1863"/>
                    </a:lnTo>
                    <a:lnTo>
                      <a:pt x="0" y="1946"/>
                    </a:lnTo>
                    <a:lnTo>
                      <a:pt x="42" y="2030"/>
                    </a:lnTo>
                    <a:lnTo>
                      <a:pt x="147" y="1988"/>
                    </a:lnTo>
                    <a:lnTo>
                      <a:pt x="251" y="2030"/>
                    </a:lnTo>
                    <a:lnTo>
                      <a:pt x="272" y="2051"/>
                    </a:lnTo>
                    <a:lnTo>
                      <a:pt x="272" y="2051"/>
                    </a:lnTo>
                    <a:lnTo>
                      <a:pt x="147" y="2030"/>
                    </a:lnTo>
                    <a:lnTo>
                      <a:pt x="105" y="2051"/>
                    </a:lnTo>
                    <a:lnTo>
                      <a:pt x="126" y="2156"/>
                    </a:lnTo>
                    <a:lnTo>
                      <a:pt x="168" y="2072"/>
                    </a:lnTo>
                    <a:lnTo>
                      <a:pt x="230" y="2093"/>
                    </a:lnTo>
                    <a:lnTo>
                      <a:pt x="251" y="2177"/>
                    </a:lnTo>
                    <a:lnTo>
                      <a:pt x="209" y="2197"/>
                    </a:lnTo>
                    <a:lnTo>
                      <a:pt x="105" y="2239"/>
                    </a:lnTo>
                    <a:lnTo>
                      <a:pt x="105" y="2260"/>
                    </a:lnTo>
                    <a:lnTo>
                      <a:pt x="209" y="2260"/>
                    </a:lnTo>
                    <a:lnTo>
                      <a:pt x="230" y="2386"/>
                    </a:lnTo>
                    <a:lnTo>
                      <a:pt x="230" y="2469"/>
                    </a:lnTo>
                    <a:lnTo>
                      <a:pt x="335" y="2386"/>
                    </a:lnTo>
                    <a:lnTo>
                      <a:pt x="481" y="2386"/>
                    </a:lnTo>
                    <a:lnTo>
                      <a:pt x="670" y="2469"/>
                    </a:lnTo>
                    <a:lnTo>
                      <a:pt x="733" y="2511"/>
                    </a:lnTo>
                    <a:lnTo>
                      <a:pt x="774" y="2511"/>
                    </a:lnTo>
                    <a:lnTo>
                      <a:pt x="900" y="2595"/>
                    </a:lnTo>
                    <a:lnTo>
                      <a:pt x="1005" y="2511"/>
                    </a:lnTo>
                    <a:lnTo>
                      <a:pt x="1067" y="2553"/>
                    </a:lnTo>
                    <a:lnTo>
                      <a:pt x="1046" y="2595"/>
                    </a:lnTo>
                    <a:lnTo>
                      <a:pt x="1067" y="2658"/>
                    </a:lnTo>
                    <a:lnTo>
                      <a:pt x="1172" y="2595"/>
                    </a:lnTo>
                    <a:lnTo>
                      <a:pt x="1214" y="2658"/>
                    </a:lnTo>
                    <a:lnTo>
                      <a:pt x="1172" y="2762"/>
                    </a:lnTo>
                    <a:lnTo>
                      <a:pt x="1214" y="2825"/>
                    </a:lnTo>
                    <a:lnTo>
                      <a:pt x="1297" y="2825"/>
                    </a:lnTo>
                    <a:lnTo>
                      <a:pt x="1402" y="2783"/>
                    </a:lnTo>
                    <a:lnTo>
                      <a:pt x="1528" y="2783"/>
                    </a:lnTo>
                    <a:lnTo>
                      <a:pt x="1611" y="2888"/>
                    </a:lnTo>
                    <a:lnTo>
                      <a:pt x="1507" y="2825"/>
                    </a:lnTo>
                    <a:lnTo>
                      <a:pt x="1402" y="2825"/>
                    </a:lnTo>
                    <a:lnTo>
                      <a:pt x="1360" y="2930"/>
                    </a:lnTo>
                    <a:lnTo>
                      <a:pt x="1402" y="2972"/>
                    </a:lnTo>
                    <a:lnTo>
                      <a:pt x="1423" y="3076"/>
                    </a:lnTo>
                    <a:lnTo>
                      <a:pt x="1381" y="3181"/>
                    </a:lnTo>
                    <a:lnTo>
                      <a:pt x="1402" y="3244"/>
                    </a:lnTo>
                    <a:lnTo>
                      <a:pt x="1486" y="3244"/>
                    </a:lnTo>
                    <a:lnTo>
                      <a:pt x="1632" y="3432"/>
                    </a:lnTo>
                    <a:lnTo>
                      <a:pt x="1779" y="3453"/>
                    </a:lnTo>
                    <a:lnTo>
                      <a:pt x="1904" y="3537"/>
                    </a:lnTo>
                    <a:lnTo>
                      <a:pt x="1904" y="3641"/>
                    </a:lnTo>
                    <a:lnTo>
                      <a:pt x="1946" y="3725"/>
                    </a:lnTo>
                    <a:lnTo>
                      <a:pt x="1904" y="3830"/>
                    </a:lnTo>
                    <a:lnTo>
                      <a:pt x="1883" y="3850"/>
                    </a:lnTo>
                    <a:lnTo>
                      <a:pt x="1841" y="3934"/>
                    </a:lnTo>
                    <a:lnTo>
                      <a:pt x="1946" y="3955"/>
                    </a:lnTo>
                    <a:lnTo>
                      <a:pt x="2134" y="4081"/>
                    </a:lnTo>
                    <a:lnTo>
                      <a:pt x="2260" y="4436"/>
                    </a:lnTo>
                    <a:lnTo>
                      <a:pt x="2260" y="4436"/>
                    </a:lnTo>
                    <a:lnTo>
                      <a:pt x="2113" y="4269"/>
                    </a:lnTo>
                    <a:lnTo>
                      <a:pt x="2093" y="4143"/>
                    </a:lnTo>
                    <a:lnTo>
                      <a:pt x="1946" y="4081"/>
                    </a:lnTo>
                    <a:lnTo>
                      <a:pt x="1904" y="4122"/>
                    </a:lnTo>
                    <a:lnTo>
                      <a:pt x="1841" y="4394"/>
                    </a:lnTo>
                    <a:lnTo>
                      <a:pt x="1841" y="4604"/>
                    </a:lnTo>
                    <a:lnTo>
                      <a:pt x="1946" y="4687"/>
                    </a:lnTo>
                    <a:lnTo>
                      <a:pt x="1883" y="4750"/>
                    </a:lnTo>
                    <a:lnTo>
                      <a:pt x="1841" y="5127"/>
                    </a:lnTo>
                    <a:lnTo>
                      <a:pt x="1737" y="5482"/>
                    </a:lnTo>
                    <a:lnTo>
                      <a:pt x="1590" y="5545"/>
                    </a:lnTo>
                    <a:lnTo>
                      <a:pt x="1695" y="5608"/>
                    </a:lnTo>
                    <a:lnTo>
                      <a:pt x="1716" y="5629"/>
                    </a:lnTo>
                    <a:lnTo>
                      <a:pt x="1779" y="5629"/>
                    </a:lnTo>
                    <a:lnTo>
                      <a:pt x="1800" y="5754"/>
                    </a:lnTo>
                    <a:lnTo>
                      <a:pt x="1800" y="5859"/>
                    </a:lnTo>
                    <a:lnTo>
                      <a:pt x="1946" y="5838"/>
                    </a:lnTo>
                    <a:lnTo>
                      <a:pt x="2197" y="5922"/>
                    </a:lnTo>
                    <a:lnTo>
                      <a:pt x="2302" y="6047"/>
                    </a:lnTo>
                    <a:lnTo>
                      <a:pt x="2406" y="6006"/>
                    </a:lnTo>
                    <a:lnTo>
                      <a:pt x="2532" y="6131"/>
                    </a:lnTo>
                    <a:lnTo>
                      <a:pt x="2678" y="6131"/>
                    </a:lnTo>
                    <a:lnTo>
                      <a:pt x="2762" y="6152"/>
                    </a:lnTo>
                    <a:lnTo>
                      <a:pt x="2867" y="6047"/>
                    </a:lnTo>
                    <a:lnTo>
                      <a:pt x="3139" y="6047"/>
                    </a:lnTo>
                    <a:lnTo>
                      <a:pt x="3243" y="6110"/>
                    </a:lnTo>
                    <a:lnTo>
                      <a:pt x="3390" y="6068"/>
                    </a:lnTo>
                    <a:lnTo>
                      <a:pt x="3557" y="6173"/>
                    </a:lnTo>
                    <a:lnTo>
                      <a:pt x="3829" y="6152"/>
                    </a:lnTo>
                    <a:lnTo>
                      <a:pt x="4018" y="6257"/>
                    </a:lnTo>
                    <a:lnTo>
                      <a:pt x="4101" y="6278"/>
                    </a:lnTo>
                    <a:lnTo>
                      <a:pt x="4101" y="6236"/>
                    </a:lnTo>
                    <a:lnTo>
                      <a:pt x="4038" y="6068"/>
                    </a:lnTo>
                    <a:lnTo>
                      <a:pt x="4101" y="5859"/>
                    </a:lnTo>
                    <a:lnTo>
                      <a:pt x="4101" y="5796"/>
                    </a:lnTo>
                    <a:lnTo>
                      <a:pt x="4227" y="5650"/>
                    </a:lnTo>
                    <a:lnTo>
                      <a:pt x="4436" y="5441"/>
                    </a:lnTo>
                    <a:lnTo>
                      <a:pt x="4499" y="5441"/>
                    </a:lnTo>
                    <a:lnTo>
                      <a:pt x="4562" y="5503"/>
                    </a:lnTo>
                    <a:lnTo>
                      <a:pt x="4708" y="5503"/>
                    </a:lnTo>
                    <a:lnTo>
                      <a:pt x="4834" y="5587"/>
                    </a:lnTo>
                    <a:lnTo>
                      <a:pt x="4938" y="5587"/>
                    </a:lnTo>
                    <a:lnTo>
                      <a:pt x="5022" y="5524"/>
                    </a:lnTo>
                    <a:lnTo>
                      <a:pt x="5085" y="5503"/>
                    </a:lnTo>
                    <a:lnTo>
                      <a:pt x="5461" y="5734"/>
                    </a:lnTo>
                    <a:lnTo>
                      <a:pt x="5545" y="5817"/>
                    </a:lnTo>
                    <a:lnTo>
                      <a:pt x="5796" y="5817"/>
                    </a:lnTo>
                    <a:lnTo>
                      <a:pt x="5901" y="5734"/>
                    </a:lnTo>
                    <a:lnTo>
                      <a:pt x="5880" y="5692"/>
                    </a:lnTo>
                    <a:lnTo>
                      <a:pt x="5984" y="5545"/>
                    </a:lnTo>
                    <a:lnTo>
                      <a:pt x="6340" y="5294"/>
                    </a:lnTo>
                    <a:lnTo>
                      <a:pt x="6382" y="5273"/>
                    </a:lnTo>
                    <a:lnTo>
                      <a:pt x="6319" y="5169"/>
                    </a:lnTo>
                    <a:lnTo>
                      <a:pt x="6403" y="4980"/>
                    </a:lnTo>
                    <a:lnTo>
                      <a:pt x="6235" y="4980"/>
                    </a:lnTo>
                    <a:lnTo>
                      <a:pt x="6068" y="4855"/>
                    </a:lnTo>
                    <a:lnTo>
                      <a:pt x="6026" y="4562"/>
                    </a:lnTo>
                    <a:lnTo>
                      <a:pt x="5880" y="4394"/>
                    </a:lnTo>
                    <a:lnTo>
                      <a:pt x="5963" y="4332"/>
                    </a:lnTo>
                    <a:lnTo>
                      <a:pt x="6089" y="4290"/>
                    </a:lnTo>
                    <a:lnTo>
                      <a:pt x="6131" y="4122"/>
                    </a:lnTo>
                    <a:lnTo>
                      <a:pt x="6026" y="4018"/>
                    </a:lnTo>
                    <a:lnTo>
                      <a:pt x="6005" y="3850"/>
                    </a:lnTo>
                    <a:lnTo>
                      <a:pt x="6068" y="3809"/>
                    </a:lnTo>
                    <a:lnTo>
                      <a:pt x="6068" y="3725"/>
                    </a:lnTo>
                    <a:lnTo>
                      <a:pt x="5984" y="3662"/>
                    </a:lnTo>
                    <a:lnTo>
                      <a:pt x="5922" y="3516"/>
                    </a:lnTo>
                    <a:lnTo>
                      <a:pt x="5880" y="3411"/>
                    </a:lnTo>
                    <a:lnTo>
                      <a:pt x="5712" y="3411"/>
                    </a:lnTo>
                    <a:lnTo>
                      <a:pt x="5650" y="3453"/>
                    </a:lnTo>
                    <a:lnTo>
                      <a:pt x="5691" y="3620"/>
                    </a:lnTo>
                    <a:lnTo>
                      <a:pt x="5545" y="3662"/>
                    </a:lnTo>
                    <a:lnTo>
                      <a:pt x="5440" y="3662"/>
                    </a:lnTo>
                    <a:lnTo>
                      <a:pt x="5398" y="3558"/>
                    </a:lnTo>
                    <a:lnTo>
                      <a:pt x="5482" y="3537"/>
                    </a:lnTo>
                    <a:lnTo>
                      <a:pt x="5545" y="3537"/>
                    </a:lnTo>
                    <a:lnTo>
                      <a:pt x="5545" y="3432"/>
                    </a:lnTo>
                    <a:lnTo>
                      <a:pt x="5566" y="3244"/>
                    </a:lnTo>
                    <a:lnTo>
                      <a:pt x="5712" y="3013"/>
                    </a:lnTo>
                    <a:lnTo>
                      <a:pt x="5796" y="2993"/>
                    </a:lnTo>
                    <a:lnTo>
                      <a:pt x="5901" y="2825"/>
                    </a:lnTo>
                    <a:lnTo>
                      <a:pt x="6005" y="2783"/>
                    </a:lnTo>
                    <a:lnTo>
                      <a:pt x="6005" y="2679"/>
                    </a:lnTo>
                    <a:lnTo>
                      <a:pt x="5880" y="2616"/>
                    </a:lnTo>
                    <a:lnTo>
                      <a:pt x="5963" y="2511"/>
                    </a:lnTo>
                    <a:lnTo>
                      <a:pt x="6089" y="2511"/>
                    </a:lnTo>
                    <a:lnTo>
                      <a:pt x="6110" y="2595"/>
                    </a:lnTo>
                    <a:lnTo>
                      <a:pt x="6215" y="2595"/>
                    </a:lnTo>
                    <a:lnTo>
                      <a:pt x="6403" y="2553"/>
                    </a:lnTo>
                    <a:lnTo>
                      <a:pt x="6340" y="2449"/>
                    </a:lnTo>
                    <a:lnTo>
                      <a:pt x="6235" y="2365"/>
                    </a:lnTo>
                    <a:lnTo>
                      <a:pt x="6235" y="2197"/>
                    </a:lnTo>
                    <a:lnTo>
                      <a:pt x="6298" y="2030"/>
                    </a:lnTo>
                    <a:lnTo>
                      <a:pt x="6382" y="1946"/>
                    </a:lnTo>
                    <a:lnTo>
                      <a:pt x="6382" y="1842"/>
                    </a:lnTo>
                    <a:lnTo>
                      <a:pt x="6445" y="1674"/>
                    </a:lnTo>
                    <a:lnTo>
                      <a:pt x="6591" y="1549"/>
                    </a:lnTo>
                    <a:lnTo>
                      <a:pt x="6445" y="1465"/>
                    </a:lnTo>
                    <a:lnTo>
                      <a:pt x="6340" y="1465"/>
                    </a:lnTo>
                    <a:lnTo>
                      <a:pt x="6215" y="1402"/>
                    </a:lnTo>
                    <a:lnTo>
                      <a:pt x="6110" y="1444"/>
                    </a:lnTo>
                    <a:lnTo>
                      <a:pt x="6026" y="1402"/>
                    </a:lnTo>
                    <a:lnTo>
                      <a:pt x="5922" y="1402"/>
                    </a:lnTo>
                    <a:lnTo>
                      <a:pt x="5859" y="1444"/>
                    </a:lnTo>
                    <a:lnTo>
                      <a:pt x="5754" y="1361"/>
                    </a:lnTo>
                    <a:lnTo>
                      <a:pt x="5754" y="1298"/>
                    </a:lnTo>
                    <a:lnTo>
                      <a:pt x="5650" y="1214"/>
                    </a:lnTo>
                    <a:lnTo>
                      <a:pt x="5566" y="1235"/>
                    </a:lnTo>
                    <a:lnTo>
                      <a:pt x="5398" y="1193"/>
                    </a:lnTo>
                    <a:lnTo>
                      <a:pt x="5357" y="1089"/>
                    </a:lnTo>
                    <a:lnTo>
                      <a:pt x="5252" y="1089"/>
                    </a:lnTo>
                    <a:lnTo>
                      <a:pt x="5189" y="1130"/>
                    </a:lnTo>
                    <a:lnTo>
                      <a:pt x="5085" y="1047"/>
                    </a:lnTo>
                    <a:lnTo>
                      <a:pt x="4980" y="1026"/>
                    </a:lnTo>
                    <a:lnTo>
                      <a:pt x="4854" y="879"/>
                    </a:lnTo>
                    <a:lnTo>
                      <a:pt x="4771" y="837"/>
                    </a:lnTo>
                    <a:lnTo>
                      <a:pt x="4729" y="796"/>
                    </a:lnTo>
                    <a:lnTo>
                      <a:pt x="4645" y="796"/>
                    </a:lnTo>
                    <a:lnTo>
                      <a:pt x="4603" y="837"/>
                    </a:lnTo>
                    <a:lnTo>
                      <a:pt x="4457" y="775"/>
                    </a:lnTo>
                    <a:lnTo>
                      <a:pt x="4457" y="607"/>
                    </a:lnTo>
                    <a:lnTo>
                      <a:pt x="4394" y="586"/>
                    </a:lnTo>
                    <a:lnTo>
                      <a:pt x="4310" y="524"/>
                    </a:lnTo>
                    <a:lnTo>
                      <a:pt x="4227" y="524"/>
                    </a:lnTo>
                    <a:lnTo>
                      <a:pt x="4080" y="398"/>
                    </a:lnTo>
                    <a:lnTo>
                      <a:pt x="4038" y="293"/>
                    </a:lnTo>
                    <a:lnTo>
                      <a:pt x="3913" y="252"/>
                    </a:lnTo>
                    <a:lnTo>
                      <a:pt x="3892" y="63"/>
                    </a:lnTo>
                    <a:lnTo>
                      <a:pt x="382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1" name="Google Shape;1931;p66"/>
              <p:cNvSpPr/>
              <p:nvPr/>
            </p:nvSpPr>
            <p:spPr>
              <a:xfrm>
                <a:off x="3658200" y="2557475"/>
                <a:ext cx="70850" cy="44050"/>
              </a:xfrm>
              <a:custGeom>
                <a:avLst/>
                <a:gdLst/>
                <a:ahLst/>
                <a:cxnLst/>
                <a:rect l="l" t="t" r="r" b="b"/>
                <a:pathLst>
                  <a:path w="2834" h="1762" extrusionOk="0">
                    <a:moveTo>
                      <a:pt x="571" y="595"/>
                    </a:moveTo>
                    <a:lnTo>
                      <a:pt x="0" y="1119"/>
                    </a:lnTo>
                    <a:lnTo>
                      <a:pt x="1833" y="1762"/>
                    </a:lnTo>
                    <a:lnTo>
                      <a:pt x="2714" y="1476"/>
                    </a:lnTo>
                    <a:lnTo>
                      <a:pt x="2834" y="1071"/>
                    </a:lnTo>
                    <a:lnTo>
                      <a:pt x="1833" y="0"/>
                    </a:lnTo>
                    <a:close/>
                  </a:path>
                </a:pathLst>
              </a:custGeom>
              <a:solidFill>
                <a:srgbClr val="5F7D95"/>
              </a:solidFill>
              <a:ln>
                <a:noFill/>
              </a:ln>
            </p:spPr>
          </p:sp>
          <p:sp>
            <p:nvSpPr>
              <p:cNvPr id="1932" name="Google Shape;1932;p66"/>
              <p:cNvSpPr/>
              <p:nvPr/>
            </p:nvSpPr>
            <p:spPr>
              <a:xfrm>
                <a:off x="3719525" y="2432450"/>
                <a:ext cx="79750" cy="89900"/>
              </a:xfrm>
              <a:custGeom>
                <a:avLst/>
                <a:gdLst/>
                <a:ahLst/>
                <a:cxnLst/>
                <a:rect l="l" t="t" r="r" b="b"/>
                <a:pathLst>
                  <a:path w="3190" h="3596" extrusionOk="0">
                    <a:moveTo>
                      <a:pt x="0" y="167"/>
                    </a:moveTo>
                    <a:lnTo>
                      <a:pt x="261" y="0"/>
                    </a:lnTo>
                    <a:lnTo>
                      <a:pt x="1619" y="1095"/>
                    </a:lnTo>
                    <a:lnTo>
                      <a:pt x="2381" y="1286"/>
                    </a:lnTo>
                    <a:lnTo>
                      <a:pt x="3190" y="1429"/>
                    </a:lnTo>
                    <a:lnTo>
                      <a:pt x="2809" y="2595"/>
                    </a:lnTo>
                    <a:lnTo>
                      <a:pt x="2071" y="2429"/>
                    </a:lnTo>
                    <a:lnTo>
                      <a:pt x="1524" y="3596"/>
                    </a:lnTo>
                    <a:close/>
                  </a:path>
                </a:pathLst>
              </a:custGeom>
              <a:solidFill>
                <a:srgbClr val="5F7D95"/>
              </a:solidFill>
              <a:ln>
                <a:noFill/>
              </a:ln>
            </p:spPr>
          </p:sp>
        </p:grpSp>
        <p:grpSp>
          <p:nvGrpSpPr>
            <p:cNvPr id="1933" name="Google Shape;1933;p66"/>
            <p:cNvGrpSpPr/>
            <p:nvPr/>
          </p:nvGrpSpPr>
          <p:grpSpPr>
            <a:xfrm>
              <a:off x="3685682" y="2845624"/>
              <a:ext cx="29311" cy="45055"/>
              <a:chOff x="3561536" y="2585450"/>
              <a:chExt cx="61539" cy="99045"/>
            </a:xfrm>
          </p:grpSpPr>
          <p:sp>
            <p:nvSpPr>
              <p:cNvPr id="1934" name="Google Shape;1934;p66"/>
              <p:cNvSpPr/>
              <p:nvPr/>
            </p:nvSpPr>
            <p:spPr>
              <a:xfrm rot="192277">
                <a:off x="3564002" y="2593849"/>
                <a:ext cx="44498" cy="89472"/>
              </a:xfrm>
              <a:custGeom>
                <a:avLst/>
                <a:gdLst/>
                <a:ahLst/>
                <a:cxnLst/>
                <a:rect l="l" t="t" r="r" b="b"/>
                <a:pathLst>
                  <a:path w="1780" h="3579" extrusionOk="0">
                    <a:moveTo>
                      <a:pt x="628" y="1"/>
                    </a:moveTo>
                    <a:lnTo>
                      <a:pt x="356" y="22"/>
                    </a:lnTo>
                    <a:lnTo>
                      <a:pt x="377" y="147"/>
                    </a:lnTo>
                    <a:lnTo>
                      <a:pt x="461" y="357"/>
                    </a:lnTo>
                    <a:lnTo>
                      <a:pt x="440" y="712"/>
                    </a:lnTo>
                    <a:lnTo>
                      <a:pt x="440" y="775"/>
                    </a:lnTo>
                    <a:lnTo>
                      <a:pt x="419" y="943"/>
                    </a:lnTo>
                    <a:lnTo>
                      <a:pt x="482" y="1026"/>
                    </a:lnTo>
                    <a:lnTo>
                      <a:pt x="440" y="1131"/>
                    </a:lnTo>
                    <a:lnTo>
                      <a:pt x="356" y="1256"/>
                    </a:lnTo>
                    <a:lnTo>
                      <a:pt x="356" y="1445"/>
                    </a:lnTo>
                    <a:lnTo>
                      <a:pt x="231" y="1654"/>
                    </a:lnTo>
                    <a:lnTo>
                      <a:pt x="231" y="1759"/>
                    </a:lnTo>
                    <a:lnTo>
                      <a:pt x="64" y="1968"/>
                    </a:lnTo>
                    <a:lnTo>
                      <a:pt x="1" y="2303"/>
                    </a:lnTo>
                    <a:lnTo>
                      <a:pt x="1" y="2386"/>
                    </a:lnTo>
                    <a:lnTo>
                      <a:pt x="105" y="2386"/>
                    </a:lnTo>
                    <a:lnTo>
                      <a:pt x="168" y="2303"/>
                    </a:lnTo>
                    <a:lnTo>
                      <a:pt x="273" y="2219"/>
                    </a:lnTo>
                    <a:lnTo>
                      <a:pt x="252" y="2303"/>
                    </a:lnTo>
                    <a:lnTo>
                      <a:pt x="315" y="2344"/>
                    </a:lnTo>
                    <a:lnTo>
                      <a:pt x="126" y="2428"/>
                    </a:lnTo>
                    <a:lnTo>
                      <a:pt x="126" y="2554"/>
                    </a:lnTo>
                    <a:lnTo>
                      <a:pt x="168" y="2616"/>
                    </a:lnTo>
                    <a:lnTo>
                      <a:pt x="252" y="2533"/>
                    </a:lnTo>
                    <a:lnTo>
                      <a:pt x="419" y="2533"/>
                    </a:lnTo>
                    <a:lnTo>
                      <a:pt x="336" y="2616"/>
                    </a:lnTo>
                    <a:lnTo>
                      <a:pt x="377" y="2763"/>
                    </a:lnTo>
                    <a:lnTo>
                      <a:pt x="336" y="2909"/>
                    </a:lnTo>
                    <a:lnTo>
                      <a:pt x="336" y="3223"/>
                    </a:lnTo>
                    <a:lnTo>
                      <a:pt x="273" y="3432"/>
                    </a:lnTo>
                    <a:lnTo>
                      <a:pt x="231" y="3495"/>
                    </a:lnTo>
                    <a:lnTo>
                      <a:pt x="273" y="3537"/>
                    </a:lnTo>
                    <a:lnTo>
                      <a:pt x="440" y="3432"/>
                    </a:lnTo>
                    <a:lnTo>
                      <a:pt x="691" y="3495"/>
                    </a:lnTo>
                    <a:lnTo>
                      <a:pt x="796" y="3579"/>
                    </a:lnTo>
                    <a:lnTo>
                      <a:pt x="963" y="3474"/>
                    </a:lnTo>
                    <a:lnTo>
                      <a:pt x="1110" y="3474"/>
                    </a:lnTo>
                    <a:lnTo>
                      <a:pt x="1152" y="3432"/>
                    </a:lnTo>
                    <a:lnTo>
                      <a:pt x="1152" y="3286"/>
                    </a:lnTo>
                    <a:lnTo>
                      <a:pt x="1068" y="3160"/>
                    </a:lnTo>
                    <a:lnTo>
                      <a:pt x="1193" y="2909"/>
                    </a:lnTo>
                    <a:lnTo>
                      <a:pt x="1319" y="2805"/>
                    </a:lnTo>
                    <a:lnTo>
                      <a:pt x="1361" y="2658"/>
                    </a:lnTo>
                    <a:lnTo>
                      <a:pt x="1214" y="2658"/>
                    </a:lnTo>
                    <a:lnTo>
                      <a:pt x="1152" y="2512"/>
                    </a:lnTo>
                    <a:lnTo>
                      <a:pt x="1319" y="2323"/>
                    </a:lnTo>
                    <a:lnTo>
                      <a:pt x="1319" y="2093"/>
                    </a:lnTo>
                    <a:lnTo>
                      <a:pt x="1193" y="2010"/>
                    </a:lnTo>
                    <a:lnTo>
                      <a:pt x="1047" y="1717"/>
                    </a:lnTo>
                    <a:lnTo>
                      <a:pt x="1172" y="1696"/>
                    </a:lnTo>
                    <a:lnTo>
                      <a:pt x="1277" y="1696"/>
                    </a:lnTo>
                    <a:lnTo>
                      <a:pt x="1424" y="1487"/>
                    </a:lnTo>
                    <a:lnTo>
                      <a:pt x="1319" y="1382"/>
                    </a:lnTo>
                    <a:lnTo>
                      <a:pt x="1465" y="1277"/>
                    </a:lnTo>
                    <a:lnTo>
                      <a:pt x="1465" y="922"/>
                    </a:lnTo>
                    <a:lnTo>
                      <a:pt x="1424" y="754"/>
                    </a:lnTo>
                    <a:lnTo>
                      <a:pt x="1675" y="545"/>
                    </a:lnTo>
                    <a:lnTo>
                      <a:pt x="1737" y="545"/>
                    </a:lnTo>
                    <a:lnTo>
                      <a:pt x="1779" y="440"/>
                    </a:lnTo>
                    <a:lnTo>
                      <a:pt x="1675" y="252"/>
                    </a:lnTo>
                    <a:lnTo>
                      <a:pt x="1633" y="127"/>
                    </a:lnTo>
                    <a:lnTo>
                      <a:pt x="1382" y="85"/>
                    </a:lnTo>
                    <a:lnTo>
                      <a:pt x="1277" y="210"/>
                    </a:lnTo>
                    <a:lnTo>
                      <a:pt x="942" y="127"/>
                    </a:lnTo>
                    <a:lnTo>
                      <a:pt x="754" y="231"/>
                    </a:lnTo>
                    <a:lnTo>
                      <a:pt x="691" y="147"/>
                    </a:lnTo>
                    <a:lnTo>
                      <a:pt x="733" y="22"/>
                    </a:lnTo>
                    <a:lnTo>
                      <a:pt x="62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35" name="Google Shape;1935;p66"/>
              <p:cNvSpPr/>
              <p:nvPr/>
            </p:nvSpPr>
            <p:spPr>
              <a:xfrm>
                <a:off x="3580800" y="2585450"/>
                <a:ext cx="42275" cy="93450"/>
              </a:xfrm>
              <a:custGeom>
                <a:avLst/>
                <a:gdLst/>
                <a:ahLst/>
                <a:cxnLst/>
                <a:rect l="l" t="t" r="r" b="b"/>
                <a:pathLst>
                  <a:path w="1691" h="3738" extrusionOk="0">
                    <a:moveTo>
                      <a:pt x="453" y="0"/>
                    </a:moveTo>
                    <a:lnTo>
                      <a:pt x="0" y="547"/>
                    </a:lnTo>
                    <a:lnTo>
                      <a:pt x="0" y="3429"/>
                    </a:lnTo>
                    <a:lnTo>
                      <a:pt x="429" y="3738"/>
                    </a:lnTo>
                    <a:lnTo>
                      <a:pt x="1691" y="2714"/>
                    </a:lnTo>
                    <a:lnTo>
                      <a:pt x="1691" y="500"/>
                    </a:lnTo>
                    <a:close/>
                  </a:path>
                </a:pathLst>
              </a:custGeom>
              <a:solidFill>
                <a:srgbClr val="5F7D95"/>
              </a:solidFill>
              <a:ln>
                <a:noFill/>
              </a:ln>
            </p:spPr>
          </p:sp>
        </p:grpSp>
        <p:grpSp>
          <p:nvGrpSpPr>
            <p:cNvPr id="1936" name="Google Shape;1936;p66"/>
            <p:cNvGrpSpPr/>
            <p:nvPr/>
          </p:nvGrpSpPr>
          <p:grpSpPr>
            <a:xfrm>
              <a:off x="3849905" y="2572252"/>
              <a:ext cx="74339" cy="119559"/>
              <a:chOff x="3906325" y="1984500"/>
              <a:chExt cx="156075" cy="262825"/>
            </a:xfrm>
          </p:grpSpPr>
          <p:sp>
            <p:nvSpPr>
              <p:cNvPr id="1937" name="Google Shape;1937;p66"/>
              <p:cNvSpPr/>
              <p:nvPr/>
            </p:nvSpPr>
            <p:spPr>
              <a:xfrm>
                <a:off x="3906325" y="1984500"/>
                <a:ext cx="100825" cy="124200"/>
              </a:xfrm>
              <a:custGeom>
                <a:avLst/>
                <a:gdLst/>
                <a:ahLst/>
                <a:cxnLst/>
                <a:rect l="l" t="t" r="r" b="b"/>
                <a:pathLst>
                  <a:path w="4033" h="4968" extrusionOk="0">
                    <a:moveTo>
                      <a:pt x="2901" y="4968"/>
                    </a:moveTo>
                    <a:lnTo>
                      <a:pt x="1524" y="4673"/>
                    </a:lnTo>
                    <a:lnTo>
                      <a:pt x="0" y="1771"/>
                    </a:lnTo>
                    <a:lnTo>
                      <a:pt x="737" y="886"/>
                    </a:lnTo>
                    <a:lnTo>
                      <a:pt x="2508" y="1181"/>
                    </a:lnTo>
                    <a:lnTo>
                      <a:pt x="2655" y="345"/>
                    </a:lnTo>
                    <a:lnTo>
                      <a:pt x="3442" y="0"/>
                    </a:lnTo>
                    <a:lnTo>
                      <a:pt x="4033" y="443"/>
                    </a:lnTo>
                    <a:close/>
                  </a:path>
                </a:pathLst>
              </a:custGeom>
              <a:solidFill>
                <a:srgbClr val="5F7D95"/>
              </a:solidFill>
              <a:ln>
                <a:noFill/>
              </a:ln>
            </p:spPr>
          </p:sp>
          <p:sp>
            <p:nvSpPr>
              <p:cNvPr id="1938" name="Google Shape;1938;p66"/>
              <p:cNvSpPr/>
              <p:nvPr/>
            </p:nvSpPr>
            <p:spPr>
              <a:xfrm>
                <a:off x="3919575" y="1989950"/>
                <a:ext cx="142825" cy="257375"/>
              </a:xfrm>
              <a:custGeom>
                <a:avLst/>
                <a:gdLst/>
                <a:ahLst/>
                <a:cxnLst/>
                <a:rect l="l" t="t" r="r" b="b"/>
                <a:pathLst>
                  <a:path w="5713" h="10295" extrusionOk="0">
                    <a:moveTo>
                      <a:pt x="2867" y="0"/>
                    </a:moveTo>
                    <a:lnTo>
                      <a:pt x="2762" y="105"/>
                    </a:lnTo>
                    <a:lnTo>
                      <a:pt x="2762" y="147"/>
                    </a:lnTo>
                    <a:lnTo>
                      <a:pt x="2679" y="189"/>
                    </a:lnTo>
                    <a:lnTo>
                      <a:pt x="2532" y="147"/>
                    </a:lnTo>
                    <a:lnTo>
                      <a:pt x="2386" y="209"/>
                    </a:lnTo>
                    <a:lnTo>
                      <a:pt x="2386" y="293"/>
                    </a:lnTo>
                    <a:lnTo>
                      <a:pt x="2323" y="419"/>
                    </a:lnTo>
                    <a:lnTo>
                      <a:pt x="2239" y="461"/>
                    </a:lnTo>
                    <a:lnTo>
                      <a:pt x="2281" y="544"/>
                    </a:lnTo>
                    <a:lnTo>
                      <a:pt x="2260" y="628"/>
                    </a:lnTo>
                    <a:lnTo>
                      <a:pt x="2239" y="921"/>
                    </a:lnTo>
                    <a:lnTo>
                      <a:pt x="2281" y="1088"/>
                    </a:lnTo>
                    <a:lnTo>
                      <a:pt x="2344" y="1193"/>
                    </a:lnTo>
                    <a:lnTo>
                      <a:pt x="2281" y="1277"/>
                    </a:lnTo>
                    <a:lnTo>
                      <a:pt x="2177" y="1360"/>
                    </a:lnTo>
                    <a:lnTo>
                      <a:pt x="2072" y="1360"/>
                    </a:lnTo>
                    <a:lnTo>
                      <a:pt x="1967" y="1444"/>
                    </a:lnTo>
                    <a:lnTo>
                      <a:pt x="1905" y="1486"/>
                    </a:lnTo>
                    <a:lnTo>
                      <a:pt x="1821" y="1611"/>
                    </a:lnTo>
                    <a:lnTo>
                      <a:pt x="1674" y="1590"/>
                    </a:lnTo>
                    <a:lnTo>
                      <a:pt x="1507" y="1465"/>
                    </a:lnTo>
                    <a:lnTo>
                      <a:pt x="1381" y="1465"/>
                    </a:lnTo>
                    <a:lnTo>
                      <a:pt x="1298" y="1549"/>
                    </a:lnTo>
                    <a:lnTo>
                      <a:pt x="1151" y="1674"/>
                    </a:lnTo>
                    <a:lnTo>
                      <a:pt x="900" y="1674"/>
                    </a:lnTo>
                    <a:lnTo>
                      <a:pt x="733" y="1590"/>
                    </a:lnTo>
                    <a:lnTo>
                      <a:pt x="670" y="1465"/>
                    </a:lnTo>
                    <a:lnTo>
                      <a:pt x="607" y="1339"/>
                    </a:lnTo>
                    <a:lnTo>
                      <a:pt x="377" y="1130"/>
                    </a:lnTo>
                    <a:lnTo>
                      <a:pt x="293" y="984"/>
                    </a:lnTo>
                    <a:lnTo>
                      <a:pt x="189" y="963"/>
                    </a:lnTo>
                    <a:lnTo>
                      <a:pt x="105" y="1046"/>
                    </a:lnTo>
                    <a:lnTo>
                      <a:pt x="84" y="1151"/>
                    </a:lnTo>
                    <a:lnTo>
                      <a:pt x="105" y="1214"/>
                    </a:lnTo>
                    <a:lnTo>
                      <a:pt x="84" y="1256"/>
                    </a:lnTo>
                    <a:lnTo>
                      <a:pt x="42" y="1214"/>
                    </a:lnTo>
                    <a:lnTo>
                      <a:pt x="1" y="1256"/>
                    </a:lnTo>
                    <a:lnTo>
                      <a:pt x="105" y="1360"/>
                    </a:lnTo>
                    <a:lnTo>
                      <a:pt x="273" y="1423"/>
                    </a:lnTo>
                    <a:lnTo>
                      <a:pt x="482" y="1674"/>
                    </a:lnTo>
                    <a:lnTo>
                      <a:pt x="628" y="1779"/>
                    </a:lnTo>
                    <a:lnTo>
                      <a:pt x="879" y="1800"/>
                    </a:lnTo>
                    <a:lnTo>
                      <a:pt x="942" y="1841"/>
                    </a:lnTo>
                    <a:lnTo>
                      <a:pt x="1026" y="1883"/>
                    </a:lnTo>
                    <a:lnTo>
                      <a:pt x="1130" y="2009"/>
                    </a:lnTo>
                    <a:lnTo>
                      <a:pt x="1193" y="2113"/>
                    </a:lnTo>
                    <a:lnTo>
                      <a:pt x="1298" y="2113"/>
                    </a:lnTo>
                    <a:lnTo>
                      <a:pt x="1402" y="2239"/>
                    </a:lnTo>
                    <a:lnTo>
                      <a:pt x="1465" y="2239"/>
                    </a:lnTo>
                    <a:lnTo>
                      <a:pt x="1528" y="2323"/>
                    </a:lnTo>
                    <a:lnTo>
                      <a:pt x="1465" y="2427"/>
                    </a:lnTo>
                    <a:lnTo>
                      <a:pt x="1507" y="2574"/>
                    </a:lnTo>
                    <a:lnTo>
                      <a:pt x="1444" y="2720"/>
                    </a:lnTo>
                    <a:lnTo>
                      <a:pt x="1444" y="2825"/>
                    </a:lnTo>
                    <a:lnTo>
                      <a:pt x="1612" y="2825"/>
                    </a:lnTo>
                    <a:lnTo>
                      <a:pt x="1633" y="2950"/>
                    </a:lnTo>
                    <a:lnTo>
                      <a:pt x="1591" y="3034"/>
                    </a:lnTo>
                    <a:lnTo>
                      <a:pt x="1612" y="3181"/>
                    </a:lnTo>
                    <a:lnTo>
                      <a:pt x="1653" y="3285"/>
                    </a:lnTo>
                    <a:lnTo>
                      <a:pt x="1695" y="3494"/>
                    </a:lnTo>
                    <a:lnTo>
                      <a:pt x="1653" y="3599"/>
                    </a:lnTo>
                    <a:lnTo>
                      <a:pt x="1695" y="3683"/>
                    </a:lnTo>
                    <a:lnTo>
                      <a:pt x="1695" y="3913"/>
                    </a:lnTo>
                    <a:lnTo>
                      <a:pt x="1653" y="3997"/>
                    </a:lnTo>
                    <a:lnTo>
                      <a:pt x="1716" y="4143"/>
                    </a:lnTo>
                    <a:lnTo>
                      <a:pt x="1821" y="4185"/>
                    </a:lnTo>
                    <a:lnTo>
                      <a:pt x="1925" y="4394"/>
                    </a:lnTo>
                    <a:lnTo>
                      <a:pt x="1967" y="4478"/>
                    </a:lnTo>
                    <a:lnTo>
                      <a:pt x="1967" y="4603"/>
                    </a:lnTo>
                    <a:lnTo>
                      <a:pt x="1988" y="4645"/>
                    </a:lnTo>
                    <a:lnTo>
                      <a:pt x="2093" y="4645"/>
                    </a:lnTo>
                    <a:lnTo>
                      <a:pt x="2197" y="4750"/>
                    </a:lnTo>
                    <a:lnTo>
                      <a:pt x="2407" y="4750"/>
                    </a:lnTo>
                    <a:lnTo>
                      <a:pt x="2574" y="4875"/>
                    </a:lnTo>
                    <a:lnTo>
                      <a:pt x="2490" y="4938"/>
                    </a:lnTo>
                    <a:lnTo>
                      <a:pt x="2553" y="5022"/>
                    </a:lnTo>
                    <a:lnTo>
                      <a:pt x="2553" y="5189"/>
                    </a:lnTo>
                    <a:lnTo>
                      <a:pt x="2490" y="5231"/>
                    </a:lnTo>
                    <a:lnTo>
                      <a:pt x="2679" y="5378"/>
                    </a:lnTo>
                    <a:lnTo>
                      <a:pt x="2553" y="5357"/>
                    </a:lnTo>
                    <a:lnTo>
                      <a:pt x="2490" y="5378"/>
                    </a:lnTo>
                    <a:lnTo>
                      <a:pt x="2658" y="5524"/>
                    </a:lnTo>
                    <a:lnTo>
                      <a:pt x="2658" y="5587"/>
                    </a:lnTo>
                    <a:lnTo>
                      <a:pt x="2469" y="5482"/>
                    </a:lnTo>
                    <a:lnTo>
                      <a:pt x="2302" y="5482"/>
                    </a:lnTo>
                    <a:lnTo>
                      <a:pt x="2156" y="5587"/>
                    </a:lnTo>
                    <a:lnTo>
                      <a:pt x="2156" y="5691"/>
                    </a:lnTo>
                    <a:lnTo>
                      <a:pt x="2051" y="5796"/>
                    </a:lnTo>
                    <a:lnTo>
                      <a:pt x="2051" y="5880"/>
                    </a:lnTo>
                    <a:lnTo>
                      <a:pt x="1988" y="5901"/>
                    </a:lnTo>
                    <a:lnTo>
                      <a:pt x="1821" y="6089"/>
                    </a:lnTo>
                    <a:lnTo>
                      <a:pt x="1779" y="6277"/>
                    </a:lnTo>
                    <a:lnTo>
                      <a:pt x="1737" y="6298"/>
                    </a:lnTo>
                    <a:lnTo>
                      <a:pt x="1716" y="6256"/>
                    </a:lnTo>
                    <a:lnTo>
                      <a:pt x="1653" y="6256"/>
                    </a:lnTo>
                    <a:lnTo>
                      <a:pt x="1716" y="6361"/>
                    </a:lnTo>
                    <a:lnTo>
                      <a:pt x="1674" y="6445"/>
                    </a:lnTo>
                    <a:lnTo>
                      <a:pt x="1549" y="6445"/>
                    </a:lnTo>
                    <a:lnTo>
                      <a:pt x="1465" y="6549"/>
                    </a:lnTo>
                    <a:lnTo>
                      <a:pt x="1507" y="6717"/>
                    </a:lnTo>
                    <a:lnTo>
                      <a:pt x="1570" y="6759"/>
                    </a:lnTo>
                    <a:lnTo>
                      <a:pt x="1444" y="6717"/>
                    </a:lnTo>
                    <a:lnTo>
                      <a:pt x="1402" y="6654"/>
                    </a:lnTo>
                    <a:lnTo>
                      <a:pt x="1319" y="6696"/>
                    </a:lnTo>
                    <a:lnTo>
                      <a:pt x="1256" y="6821"/>
                    </a:lnTo>
                    <a:lnTo>
                      <a:pt x="1298" y="6884"/>
                    </a:lnTo>
                    <a:lnTo>
                      <a:pt x="1214" y="6842"/>
                    </a:lnTo>
                    <a:lnTo>
                      <a:pt x="1193" y="6905"/>
                    </a:lnTo>
                    <a:lnTo>
                      <a:pt x="1256" y="6968"/>
                    </a:lnTo>
                    <a:lnTo>
                      <a:pt x="1256" y="7031"/>
                    </a:lnTo>
                    <a:lnTo>
                      <a:pt x="1193" y="7114"/>
                    </a:lnTo>
                    <a:lnTo>
                      <a:pt x="1151" y="7156"/>
                    </a:lnTo>
                    <a:lnTo>
                      <a:pt x="1047" y="7219"/>
                    </a:lnTo>
                    <a:lnTo>
                      <a:pt x="1005" y="7177"/>
                    </a:lnTo>
                    <a:lnTo>
                      <a:pt x="984" y="7135"/>
                    </a:lnTo>
                    <a:lnTo>
                      <a:pt x="900" y="7114"/>
                    </a:lnTo>
                    <a:lnTo>
                      <a:pt x="817" y="7135"/>
                    </a:lnTo>
                    <a:lnTo>
                      <a:pt x="837" y="7240"/>
                    </a:lnTo>
                    <a:lnTo>
                      <a:pt x="796" y="7282"/>
                    </a:lnTo>
                    <a:lnTo>
                      <a:pt x="837" y="7386"/>
                    </a:lnTo>
                    <a:lnTo>
                      <a:pt x="796" y="7491"/>
                    </a:lnTo>
                    <a:lnTo>
                      <a:pt x="733" y="7533"/>
                    </a:lnTo>
                    <a:lnTo>
                      <a:pt x="691" y="7637"/>
                    </a:lnTo>
                    <a:lnTo>
                      <a:pt x="733" y="7742"/>
                    </a:lnTo>
                    <a:lnTo>
                      <a:pt x="775" y="7763"/>
                    </a:lnTo>
                    <a:lnTo>
                      <a:pt x="733" y="7867"/>
                    </a:lnTo>
                    <a:lnTo>
                      <a:pt x="775" y="7951"/>
                    </a:lnTo>
                    <a:lnTo>
                      <a:pt x="858" y="7909"/>
                    </a:lnTo>
                    <a:lnTo>
                      <a:pt x="900" y="7972"/>
                    </a:lnTo>
                    <a:lnTo>
                      <a:pt x="879" y="8098"/>
                    </a:lnTo>
                    <a:lnTo>
                      <a:pt x="837" y="8160"/>
                    </a:lnTo>
                    <a:lnTo>
                      <a:pt x="879" y="8265"/>
                    </a:lnTo>
                    <a:lnTo>
                      <a:pt x="837" y="8307"/>
                    </a:lnTo>
                    <a:lnTo>
                      <a:pt x="942" y="8495"/>
                    </a:lnTo>
                    <a:lnTo>
                      <a:pt x="1005" y="8537"/>
                    </a:lnTo>
                    <a:lnTo>
                      <a:pt x="942" y="8621"/>
                    </a:lnTo>
                    <a:lnTo>
                      <a:pt x="1026" y="8746"/>
                    </a:lnTo>
                    <a:lnTo>
                      <a:pt x="942" y="8788"/>
                    </a:lnTo>
                    <a:lnTo>
                      <a:pt x="984" y="8955"/>
                    </a:lnTo>
                    <a:lnTo>
                      <a:pt x="942" y="9039"/>
                    </a:lnTo>
                    <a:lnTo>
                      <a:pt x="942" y="9269"/>
                    </a:lnTo>
                    <a:lnTo>
                      <a:pt x="1005" y="9353"/>
                    </a:lnTo>
                    <a:lnTo>
                      <a:pt x="942" y="9479"/>
                    </a:lnTo>
                    <a:lnTo>
                      <a:pt x="942" y="9562"/>
                    </a:lnTo>
                    <a:lnTo>
                      <a:pt x="1005" y="9625"/>
                    </a:lnTo>
                    <a:lnTo>
                      <a:pt x="1151" y="9541"/>
                    </a:lnTo>
                    <a:lnTo>
                      <a:pt x="1214" y="9583"/>
                    </a:lnTo>
                    <a:lnTo>
                      <a:pt x="1235" y="9520"/>
                    </a:lnTo>
                    <a:lnTo>
                      <a:pt x="1361" y="9646"/>
                    </a:lnTo>
                    <a:lnTo>
                      <a:pt x="1444" y="9625"/>
                    </a:lnTo>
                    <a:lnTo>
                      <a:pt x="1528" y="9688"/>
                    </a:lnTo>
                    <a:lnTo>
                      <a:pt x="1674" y="9667"/>
                    </a:lnTo>
                    <a:lnTo>
                      <a:pt x="1737" y="9688"/>
                    </a:lnTo>
                    <a:lnTo>
                      <a:pt x="1674" y="9772"/>
                    </a:lnTo>
                    <a:lnTo>
                      <a:pt x="1737" y="9772"/>
                    </a:lnTo>
                    <a:lnTo>
                      <a:pt x="1863" y="9667"/>
                    </a:lnTo>
                    <a:lnTo>
                      <a:pt x="1863" y="9751"/>
                    </a:lnTo>
                    <a:lnTo>
                      <a:pt x="1779" y="9855"/>
                    </a:lnTo>
                    <a:lnTo>
                      <a:pt x="1946" y="10064"/>
                    </a:lnTo>
                    <a:lnTo>
                      <a:pt x="1967" y="10148"/>
                    </a:lnTo>
                    <a:lnTo>
                      <a:pt x="1946" y="10274"/>
                    </a:lnTo>
                    <a:lnTo>
                      <a:pt x="1967" y="10295"/>
                    </a:lnTo>
                    <a:lnTo>
                      <a:pt x="2030" y="10148"/>
                    </a:lnTo>
                    <a:lnTo>
                      <a:pt x="2114" y="10106"/>
                    </a:lnTo>
                    <a:lnTo>
                      <a:pt x="2135" y="10190"/>
                    </a:lnTo>
                    <a:lnTo>
                      <a:pt x="2239" y="10148"/>
                    </a:lnTo>
                    <a:lnTo>
                      <a:pt x="2323" y="10148"/>
                    </a:lnTo>
                    <a:lnTo>
                      <a:pt x="2490" y="10002"/>
                    </a:lnTo>
                    <a:lnTo>
                      <a:pt x="2595" y="10002"/>
                    </a:lnTo>
                    <a:lnTo>
                      <a:pt x="2825" y="9855"/>
                    </a:lnTo>
                    <a:lnTo>
                      <a:pt x="2867" y="9792"/>
                    </a:lnTo>
                    <a:lnTo>
                      <a:pt x="3014" y="9855"/>
                    </a:lnTo>
                    <a:lnTo>
                      <a:pt x="3118" y="9834"/>
                    </a:lnTo>
                    <a:lnTo>
                      <a:pt x="3223" y="9688"/>
                    </a:lnTo>
                    <a:lnTo>
                      <a:pt x="3244" y="9751"/>
                    </a:lnTo>
                    <a:lnTo>
                      <a:pt x="3202" y="9855"/>
                    </a:lnTo>
                    <a:lnTo>
                      <a:pt x="3244" y="9876"/>
                    </a:lnTo>
                    <a:lnTo>
                      <a:pt x="3306" y="9751"/>
                    </a:lnTo>
                    <a:lnTo>
                      <a:pt x="3348" y="9772"/>
                    </a:lnTo>
                    <a:lnTo>
                      <a:pt x="3306" y="9646"/>
                    </a:lnTo>
                    <a:lnTo>
                      <a:pt x="3348" y="9583"/>
                    </a:lnTo>
                    <a:lnTo>
                      <a:pt x="3411" y="9688"/>
                    </a:lnTo>
                    <a:lnTo>
                      <a:pt x="3453" y="9688"/>
                    </a:lnTo>
                    <a:lnTo>
                      <a:pt x="3495" y="9625"/>
                    </a:lnTo>
                    <a:lnTo>
                      <a:pt x="3537" y="9751"/>
                    </a:lnTo>
                    <a:lnTo>
                      <a:pt x="3620" y="9730"/>
                    </a:lnTo>
                    <a:lnTo>
                      <a:pt x="3620" y="9646"/>
                    </a:lnTo>
                    <a:lnTo>
                      <a:pt x="3662" y="9667"/>
                    </a:lnTo>
                    <a:lnTo>
                      <a:pt x="3704" y="9730"/>
                    </a:lnTo>
                    <a:lnTo>
                      <a:pt x="3767" y="9646"/>
                    </a:lnTo>
                    <a:lnTo>
                      <a:pt x="3934" y="9625"/>
                    </a:lnTo>
                    <a:lnTo>
                      <a:pt x="4018" y="9688"/>
                    </a:lnTo>
                    <a:lnTo>
                      <a:pt x="4206" y="9667"/>
                    </a:lnTo>
                    <a:lnTo>
                      <a:pt x="4206" y="9625"/>
                    </a:lnTo>
                    <a:lnTo>
                      <a:pt x="4143" y="9562"/>
                    </a:lnTo>
                    <a:lnTo>
                      <a:pt x="4206" y="9541"/>
                    </a:lnTo>
                    <a:lnTo>
                      <a:pt x="4269" y="9562"/>
                    </a:lnTo>
                    <a:lnTo>
                      <a:pt x="4311" y="9646"/>
                    </a:lnTo>
                    <a:lnTo>
                      <a:pt x="4415" y="9667"/>
                    </a:lnTo>
                    <a:lnTo>
                      <a:pt x="4457" y="9562"/>
                    </a:lnTo>
                    <a:lnTo>
                      <a:pt x="4436" y="9416"/>
                    </a:lnTo>
                    <a:lnTo>
                      <a:pt x="4687" y="9144"/>
                    </a:lnTo>
                    <a:lnTo>
                      <a:pt x="4876" y="9123"/>
                    </a:lnTo>
                    <a:lnTo>
                      <a:pt x="5043" y="8872"/>
                    </a:lnTo>
                    <a:lnTo>
                      <a:pt x="5190" y="8621"/>
                    </a:lnTo>
                    <a:lnTo>
                      <a:pt x="5315" y="8349"/>
                    </a:lnTo>
                    <a:lnTo>
                      <a:pt x="5566" y="7951"/>
                    </a:lnTo>
                    <a:lnTo>
                      <a:pt x="5713" y="7533"/>
                    </a:lnTo>
                    <a:lnTo>
                      <a:pt x="5692" y="7344"/>
                    </a:lnTo>
                    <a:lnTo>
                      <a:pt x="5420" y="7051"/>
                    </a:lnTo>
                    <a:lnTo>
                      <a:pt x="5273" y="7010"/>
                    </a:lnTo>
                    <a:lnTo>
                      <a:pt x="5001" y="6633"/>
                    </a:lnTo>
                    <a:lnTo>
                      <a:pt x="5064" y="6466"/>
                    </a:lnTo>
                    <a:lnTo>
                      <a:pt x="5169" y="6298"/>
                    </a:lnTo>
                    <a:lnTo>
                      <a:pt x="5169" y="6110"/>
                    </a:lnTo>
                    <a:lnTo>
                      <a:pt x="4980" y="5984"/>
                    </a:lnTo>
                    <a:lnTo>
                      <a:pt x="4938" y="5859"/>
                    </a:lnTo>
                    <a:lnTo>
                      <a:pt x="4938" y="5650"/>
                    </a:lnTo>
                    <a:lnTo>
                      <a:pt x="4980" y="5587"/>
                    </a:lnTo>
                    <a:lnTo>
                      <a:pt x="4938" y="5482"/>
                    </a:lnTo>
                    <a:lnTo>
                      <a:pt x="4792" y="5461"/>
                    </a:lnTo>
                    <a:lnTo>
                      <a:pt x="4729" y="5357"/>
                    </a:lnTo>
                    <a:lnTo>
                      <a:pt x="4729" y="5168"/>
                    </a:lnTo>
                    <a:lnTo>
                      <a:pt x="4792" y="5064"/>
                    </a:lnTo>
                    <a:lnTo>
                      <a:pt x="4687" y="5043"/>
                    </a:lnTo>
                    <a:lnTo>
                      <a:pt x="4687" y="4938"/>
                    </a:lnTo>
                    <a:lnTo>
                      <a:pt x="4729" y="4582"/>
                    </a:lnTo>
                    <a:lnTo>
                      <a:pt x="4834" y="4541"/>
                    </a:lnTo>
                    <a:lnTo>
                      <a:pt x="4562" y="3955"/>
                    </a:lnTo>
                    <a:lnTo>
                      <a:pt x="4332" y="3494"/>
                    </a:lnTo>
                    <a:lnTo>
                      <a:pt x="4269" y="3348"/>
                    </a:lnTo>
                    <a:lnTo>
                      <a:pt x="4143" y="3181"/>
                    </a:lnTo>
                    <a:lnTo>
                      <a:pt x="4248" y="2929"/>
                    </a:lnTo>
                    <a:lnTo>
                      <a:pt x="4353" y="2741"/>
                    </a:lnTo>
                    <a:lnTo>
                      <a:pt x="4415" y="2553"/>
                    </a:lnTo>
                    <a:lnTo>
                      <a:pt x="4332" y="2490"/>
                    </a:lnTo>
                    <a:lnTo>
                      <a:pt x="4060" y="2323"/>
                    </a:lnTo>
                    <a:lnTo>
                      <a:pt x="4018" y="2218"/>
                    </a:lnTo>
                    <a:lnTo>
                      <a:pt x="3934" y="2093"/>
                    </a:lnTo>
                    <a:lnTo>
                      <a:pt x="3767" y="2009"/>
                    </a:lnTo>
                    <a:lnTo>
                      <a:pt x="3704" y="2009"/>
                    </a:lnTo>
                    <a:lnTo>
                      <a:pt x="3599" y="1758"/>
                    </a:lnTo>
                    <a:lnTo>
                      <a:pt x="3516" y="1653"/>
                    </a:lnTo>
                    <a:lnTo>
                      <a:pt x="3558" y="1465"/>
                    </a:lnTo>
                    <a:lnTo>
                      <a:pt x="3599" y="1297"/>
                    </a:lnTo>
                    <a:lnTo>
                      <a:pt x="3495" y="1277"/>
                    </a:lnTo>
                    <a:lnTo>
                      <a:pt x="3599" y="1235"/>
                    </a:lnTo>
                    <a:lnTo>
                      <a:pt x="3746" y="1172"/>
                    </a:lnTo>
                    <a:lnTo>
                      <a:pt x="3725" y="942"/>
                    </a:lnTo>
                    <a:lnTo>
                      <a:pt x="3830" y="774"/>
                    </a:lnTo>
                    <a:lnTo>
                      <a:pt x="3850" y="649"/>
                    </a:lnTo>
                    <a:lnTo>
                      <a:pt x="3746" y="523"/>
                    </a:lnTo>
                    <a:lnTo>
                      <a:pt x="3725" y="419"/>
                    </a:lnTo>
                    <a:lnTo>
                      <a:pt x="3537" y="398"/>
                    </a:lnTo>
                    <a:lnTo>
                      <a:pt x="3411" y="335"/>
                    </a:lnTo>
                    <a:lnTo>
                      <a:pt x="3327" y="251"/>
                    </a:lnTo>
                    <a:lnTo>
                      <a:pt x="3202" y="84"/>
                    </a:lnTo>
                    <a:lnTo>
                      <a:pt x="309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939" name="Google Shape;1939;p66"/>
            <p:cNvGrpSpPr/>
            <p:nvPr/>
          </p:nvGrpSpPr>
          <p:grpSpPr>
            <a:xfrm>
              <a:off x="2654821" y="2414345"/>
              <a:ext cx="667570" cy="558731"/>
              <a:chOff x="1397225" y="1637375"/>
              <a:chExt cx="1401575" cy="1228250"/>
            </a:xfrm>
          </p:grpSpPr>
          <p:sp>
            <p:nvSpPr>
              <p:cNvPr id="1940" name="Google Shape;1940;p66"/>
              <p:cNvSpPr/>
              <p:nvPr/>
            </p:nvSpPr>
            <p:spPr>
              <a:xfrm>
                <a:off x="2050925" y="2362200"/>
                <a:ext cx="747875" cy="497225"/>
              </a:xfrm>
              <a:custGeom>
                <a:avLst/>
                <a:gdLst/>
                <a:ahLst/>
                <a:cxnLst/>
                <a:rect l="l" t="t" r="r" b="b"/>
                <a:pathLst>
                  <a:path w="29915" h="19889" extrusionOk="0">
                    <a:moveTo>
                      <a:pt x="107" y="1186"/>
                    </a:moveTo>
                    <a:lnTo>
                      <a:pt x="0" y="0"/>
                    </a:lnTo>
                    <a:lnTo>
                      <a:pt x="15577" y="1563"/>
                    </a:lnTo>
                    <a:lnTo>
                      <a:pt x="26519" y="5336"/>
                    </a:lnTo>
                    <a:lnTo>
                      <a:pt x="27435" y="5444"/>
                    </a:lnTo>
                    <a:lnTo>
                      <a:pt x="28783" y="4420"/>
                    </a:lnTo>
                    <a:lnTo>
                      <a:pt x="29753" y="4527"/>
                    </a:lnTo>
                    <a:lnTo>
                      <a:pt x="29915" y="6198"/>
                    </a:lnTo>
                    <a:lnTo>
                      <a:pt x="26465" y="6899"/>
                    </a:lnTo>
                    <a:lnTo>
                      <a:pt x="11157" y="16062"/>
                    </a:lnTo>
                    <a:lnTo>
                      <a:pt x="10295" y="18649"/>
                    </a:lnTo>
                    <a:lnTo>
                      <a:pt x="10295" y="19889"/>
                    </a:lnTo>
                    <a:lnTo>
                      <a:pt x="2803" y="15846"/>
                    </a:lnTo>
                    <a:lnTo>
                      <a:pt x="1347" y="14876"/>
                    </a:lnTo>
                    <a:lnTo>
                      <a:pt x="0" y="14607"/>
                    </a:lnTo>
                    <a:lnTo>
                      <a:pt x="916" y="11642"/>
                    </a:lnTo>
                    <a:lnTo>
                      <a:pt x="1725" y="3881"/>
                    </a:lnTo>
                    <a:close/>
                  </a:path>
                </a:pathLst>
              </a:custGeom>
              <a:solidFill>
                <a:srgbClr val="5F7D95"/>
              </a:solidFill>
              <a:ln>
                <a:noFill/>
              </a:ln>
            </p:spPr>
          </p:sp>
          <p:grpSp>
            <p:nvGrpSpPr>
              <p:cNvPr id="1941" name="Google Shape;1941;p66"/>
              <p:cNvGrpSpPr/>
              <p:nvPr/>
            </p:nvGrpSpPr>
            <p:grpSpPr>
              <a:xfrm>
                <a:off x="1397225" y="1637375"/>
                <a:ext cx="1398775" cy="1228250"/>
                <a:chOff x="1397225" y="1637375"/>
                <a:chExt cx="1398775" cy="1228250"/>
              </a:xfrm>
            </p:grpSpPr>
            <p:sp>
              <p:nvSpPr>
                <p:cNvPr id="1942" name="Google Shape;1942;p66"/>
                <p:cNvSpPr/>
                <p:nvPr/>
              </p:nvSpPr>
              <p:spPr>
                <a:xfrm>
                  <a:off x="1397225" y="1637375"/>
                  <a:ext cx="692600" cy="594250"/>
                </a:xfrm>
                <a:custGeom>
                  <a:avLst/>
                  <a:gdLst/>
                  <a:ahLst/>
                  <a:cxnLst/>
                  <a:rect l="l" t="t" r="r" b="b"/>
                  <a:pathLst>
                    <a:path w="27704" h="23770" extrusionOk="0">
                      <a:moveTo>
                        <a:pt x="14864" y="15547"/>
                      </a:moveTo>
                      <a:lnTo>
                        <a:pt x="14836" y="15589"/>
                      </a:lnTo>
                      <a:lnTo>
                        <a:pt x="14836" y="15568"/>
                      </a:lnTo>
                      <a:lnTo>
                        <a:pt x="14864" y="15547"/>
                      </a:lnTo>
                      <a:close/>
                      <a:moveTo>
                        <a:pt x="19460" y="16760"/>
                      </a:moveTo>
                      <a:lnTo>
                        <a:pt x="19523" y="16823"/>
                      </a:lnTo>
                      <a:lnTo>
                        <a:pt x="19460" y="16844"/>
                      </a:lnTo>
                      <a:lnTo>
                        <a:pt x="19460" y="16760"/>
                      </a:lnTo>
                      <a:close/>
                      <a:moveTo>
                        <a:pt x="23686" y="18497"/>
                      </a:moveTo>
                      <a:lnTo>
                        <a:pt x="23624" y="18644"/>
                      </a:lnTo>
                      <a:lnTo>
                        <a:pt x="23561" y="18853"/>
                      </a:lnTo>
                      <a:lnTo>
                        <a:pt x="23582" y="19020"/>
                      </a:lnTo>
                      <a:lnTo>
                        <a:pt x="23477" y="19229"/>
                      </a:lnTo>
                      <a:lnTo>
                        <a:pt x="23477" y="19355"/>
                      </a:lnTo>
                      <a:lnTo>
                        <a:pt x="23519" y="19439"/>
                      </a:lnTo>
                      <a:lnTo>
                        <a:pt x="23393" y="19355"/>
                      </a:lnTo>
                      <a:lnTo>
                        <a:pt x="23393" y="19543"/>
                      </a:lnTo>
                      <a:lnTo>
                        <a:pt x="23393" y="19564"/>
                      </a:lnTo>
                      <a:cubicBezTo>
                        <a:pt x="23352" y="19648"/>
                        <a:pt x="23310" y="19753"/>
                        <a:pt x="23310" y="19836"/>
                      </a:cubicBezTo>
                      <a:lnTo>
                        <a:pt x="23310" y="19962"/>
                      </a:lnTo>
                      <a:lnTo>
                        <a:pt x="23289" y="19941"/>
                      </a:lnTo>
                      <a:lnTo>
                        <a:pt x="23289" y="19836"/>
                      </a:lnTo>
                      <a:lnTo>
                        <a:pt x="23258" y="19791"/>
                      </a:lnTo>
                      <a:lnTo>
                        <a:pt x="23268" y="19773"/>
                      </a:lnTo>
                      <a:lnTo>
                        <a:pt x="23268" y="19627"/>
                      </a:lnTo>
                      <a:lnTo>
                        <a:pt x="23331" y="19543"/>
                      </a:lnTo>
                      <a:lnTo>
                        <a:pt x="23352" y="19250"/>
                      </a:lnTo>
                      <a:lnTo>
                        <a:pt x="23435" y="19020"/>
                      </a:lnTo>
                      <a:lnTo>
                        <a:pt x="23435" y="18790"/>
                      </a:lnTo>
                      <a:lnTo>
                        <a:pt x="23414" y="18623"/>
                      </a:lnTo>
                      <a:lnTo>
                        <a:pt x="23352" y="18539"/>
                      </a:lnTo>
                      <a:lnTo>
                        <a:pt x="23352" y="18518"/>
                      </a:lnTo>
                      <a:lnTo>
                        <a:pt x="23414" y="18539"/>
                      </a:lnTo>
                      <a:lnTo>
                        <a:pt x="23456" y="18685"/>
                      </a:lnTo>
                      <a:lnTo>
                        <a:pt x="23519" y="18706"/>
                      </a:lnTo>
                      <a:lnTo>
                        <a:pt x="23561" y="18581"/>
                      </a:lnTo>
                      <a:lnTo>
                        <a:pt x="23686" y="18497"/>
                      </a:lnTo>
                      <a:close/>
                      <a:moveTo>
                        <a:pt x="23204" y="19889"/>
                      </a:moveTo>
                      <a:lnTo>
                        <a:pt x="23184" y="19941"/>
                      </a:lnTo>
                      <a:lnTo>
                        <a:pt x="23142" y="20297"/>
                      </a:lnTo>
                      <a:lnTo>
                        <a:pt x="23038" y="20464"/>
                      </a:lnTo>
                      <a:lnTo>
                        <a:pt x="23017" y="20631"/>
                      </a:lnTo>
                      <a:lnTo>
                        <a:pt x="23121" y="20694"/>
                      </a:lnTo>
                      <a:lnTo>
                        <a:pt x="23080" y="20778"/>
                      </a:lnTo>
                      <a:lnTo>
                        <a:pt x="23121" y="20841"/>
                      </a:lnTo>
                      <a:lnTo>
                        <a:pt x="22996" y="20841"/>
                      </a:lnTo>
                      <a:lnTo>
                        <a:pt x="22912" y="20924"/>
                      </a:lnTo>
                      <a:lnTo>
                        <a:pt x="22912" y="21050"/>
                      </a:lnTo>
                      <a:cubicBezTo>
                        <a:pt x="22891" y="21050"/>
                        <a:pt x="22870" y="21092"/>
                        <a:pt x="22870" y="21134"/>
                      </a:cubicBezTo>
                      <a:lnTo>
                        <a:pt x="22870" y="21154"/>
                      </a:lnTo>
                      <a:lnTo>
                        <a:pt x="22847" y="21178"/>
                      </a:lnTo>
                      <a:lnTo>
                        <a:pt x="22847" y="21178"/>
                      </a:lnTo>
                      <a:lnTo>
                        <a:pt x="22849" y="21154"/>
                      </a:lnTo>
                      <a:lnTo>
                        <a:pt x="22849" y="20945"/>
                      </a:lnTo>
                      <a:lnTo>
                        <a:pt x="22828" y="20882"/>
                      </a:lnTo>
                      <a:cubicBezTo>
                        <a:pt x="22828" y="20820"/>
                        <a:pt x="22849" y="20778"/>
                        <a:pt x="22849" y="20736"/>
                      </a:cubicBezTo>
                      <a:lnTo>
                        <a:pt x="22891" y="20778"/>
                      </a:lnTo>
                      <a:lnTo>
                        <a:pt x="22954" y="20778"/>
                      </a:lnTo>
                      <a:lnTo>
                        <a:pt x="22954" y="20610"/>
                      </a:lnTo>
                      <a:lnTo>
                        <a:pt x="23017" y="20569"/>
                      </a:lnTo>
                      <a:lnTo>
                        <a:pt x="22954" y="20485"/>
                      </a:lnTo>
                      <a:lnTo>
                        <a:pt x="22828" y="20464"/>
                      </a:lnTo>
                      <a:lnTo>
                        <a:pt x="22828" y="20380"/>
                      </a:lnTo>
                      <a:lnTo>
                        <a:pt x="22703" y="20150"/>
                      </a:lnTo>
                      <a:lnTo>
                        <a:pt x="22703" y="20108"/>
                      </a:lnTo>
                      <a:lnTo>
                        <a:pt x="22828" y="20255"/>
                      </a:lnTo>
                      <a:lnTo>
                        <a:pt x="22912" y="20380"/>
                      </a:lnTo>
                      <a:lnTo>
                        <a:pt x="22996" y="20401"/>
                      </a:lnTo>
                      <a:lnTo>
                        <a:pt x="23038" y="20359"/>
                      </a:lnTo>
                      <a:lnTo>
                        <a:pt x="23017" y="20276"/>
                      </a:lnTo>
                      <a:lnTo>
                        <a:pt x="23121" y="20255"/>
                      </a:lnTo>
                      <a:lnTo>
                        <a:pt x="23121" y="20171"/>
                      </a:lnTo>
                      <a:lnTo>
                        <a:pt x="23059" y="20108"/>
                      </a:lnTo>
                      <a:cubicBezTo>
                        <a:pt x="23101" y="20066"/>
                        <a:pt x="23121" y="19983"/>
                        <a:pt x="23142" y="19941"/>
                      </a:cubicBezTo>
                      <a:lnTo>
                        <a:pt x="23163" y="19962"/>
                      </a:lnTo>
                      <a:lnTo>
                        <a:pt x="23204" y="19889"/>
                      </a:lnTo>
                      <a:close/>
                      <a:moveTo>
                        <a:pt x="23519" y="19836"/>
                      </a:moveTo>
                      <a:lnTo>
                        <a:pt x="23540" y="19962"/>
                      </a:lnTo>
                      <a:lnTo>
                        <a:pt x="23582" y="19962"/>
                      </a:lnTo>
                      <a:lnTo>
                        <a:pt x="23582" y="20087"/>
                      </a:lnTo>
                      <a:lnTo>
                        <a:pt x="23665" y="20171"/>
                      </a:lnTo>
                      <a:lnTo>
                        <a:pt x="23728" y="20108"/>
                      </a:lnTo>
                      <a:lnTo>
                        <a:pt x="23770" y="20150"/>
                      </a:lnTo>
                      <a:lnTo>
                        <a:pt x="23875" y="20087"/>
                      </a:lnTo>
                      <a:lnTo>
                        <a:pt x="24021" y="20087"/>
                      </a:lnTo>
                      <a:lnTo>
                        <a:pt x="24021" y="20108"/>
                      </a:lnTo>
                      <a:lnTo>
                        <a:pt x="23854" y="20213"/>
                      </a:lnTo>
                      <a:lnTo>
                        <a:pt x="23812" y="20255"/>
                      </a:lnTo>
                      <a:lnTo>
                        <a:pt x="23812" y="20297"/>
                      </a:lnTo>
                      <a:lnTo>
                        <a:pt x="23875" y="20359"/>
                      </a:lnTo>
                      <a:lnTo>
                        <a:pt x="23854" y="20401"/>
                      </a:lnTo>
                      <a:lnTo>
                        <a:pt x="23770" y="20401"/>
                      </a:lnTo>
                      <a:lnTo>
                        <a:pt x="23770" y="20464"/>
                      </a:lnTo>
                      <a:lnTo>
                        <a:pt x="23854" y="20590"/>
                      </a:lnTo>
                      <a:lnTo>
                        <a:pt x="23854" y="20694"/>
                      </a:lnTo>
                      <a:lnTo>
                        <a:pt x="23812" y="20715"/>
                      </a:lnTo>
                      <a:lnTo>
                        <a:pt x="23728" y="20631"/>
                      </a:lnTo>
                      <a:lnTo>
                        <a:pt x="23665" y="20548"/>
                      </a:lnTo>
                      <a:lnTo>
                        <a:pt x="23645" y="20610"/>
                      </a:lnTo>
                      <a:lnTo>
                        <a:pt x="23665" y="20694"/>
                      </a:lnTo>
                      <a:lnTo>
                        <a:pt x="23624" y="20757"/>
                      </a:lnTo>
                      <a:lnTo>
                        <a:pt x="23624" y="20903"/>
                      </a:lnTo>
                      <a:lnTo>
                        <a:pt x="23645" y="20924"/>
                      </a:lnTo>
                      <a:cubicBezTo>
                        <a:pt x="23629" y="20919"/>
                        <a:pt x="23614" y="20916"/>
                        <a:pt x="23601" y="20916"/>
                      </a:cubicBezTo>
                      <a:cubicBezTo>
                        <a:pt x="23562" y="20916"/>
                        <a:pt x="23535" y="20940"/>
                        <a:pt x="23519" y="20987"/>
                      </a:cubicBezTo>
                      <a:cubicBezTo>
                        <a:pt x="23456" y="21071"/>
                        <a:pt x="23414" y="21154"/>
                        <a:pt x="23373" y="21259"/>
                      </a:cubicBezTo>
                      <a:lnTo>
                        <a:pt x="23268" y="21154"/>
                      </a:lnTo>
                      <a:lnTo>
                        <a:pt x="23121" y="21154"/>
                      </a:lnTo>
                      <a:lnTo>
                        <a:pt x="23121" y="21238"/>
                      </a:lnTo>
                      <a:lnTo>
                        <a:pt x="23163" y="21322"/>
                      </a:lnTo>
                      <a:lnTo>
                        <a:pt x="23142" y="21426"/>
                      </a:lnTo>
                      <a:lnTo>
                        <a:pt x="23247" y="21468"/>
                      </a:lnTo>
                      <a:lnTo>
                        <a:pt x="23205" y="21552"/>
                      </a:lnTo>
                      <a:lnTo>
                        <a:pt x="23121" y="21552"/>
                      </a:lnTo>
                      <a:lnTo>
                        <a:pt x="23101" y="21531"/>
                      </a:lnTo>
                      <a:lnTo>
                        <a:pt x="23038" y="21615"/>
                      </a:lnTo>
                      <a:lnTo>
                        <a:pt x="23038" y="21531"/>
                      </a:lnTo>
                      <a:lnTo>
                        <a:pt x="23101" y="21447"/>
                      </a:lnTo>
                      <a:lnTo>
                        <a:pt x="22996" y="21322"/>
                      </a:lnTo>
                      <a:cubicBezTo>
                        <a:pt x="22996" y="21259"/>
                        <a:pt x="22996" y="21196"/>
                        <a:pt x="23017" y="21134"/>
                      </a:cubicBezTo>
                      <a:lnTo>
                        <a:pt x="23163" y="21050"/>
                      </a:lnTo>
                      <a:lnTo>
                        <a:pt x="23205" y="20882"/>
                      </a:lnTo>
                      <a:lnTo>
                        <a:pt x="23268" y="20903"/>
                      </a:lnTo>
                      <a:lnTo>
                        <a:pt x="23331" y="20841"/>
                      </a:lnTo>
                      <a:lnTo>
                        <a:pt x="23331" y="20736"/>
                      </a:lnTo>
                      <a:lnTo>
                        <a:pt x="23352" y="20673"/>
                      </a:lnTo>
                      <a:lnTo>
                        <a:pt x="23352" y="20276"/>
                      </a:lnTo>
                      <a:lnTo>
                        <a:pt x="23373" y="20171"/>
                      </a:lnTo>
                      <a:lnTo>
                        <a:pt x="23435" y="20401"/>
                      </a:lnTo>
                      <a:lnTo>
                        <a:pt x="23414" y="20673"/>
                      </a:lnTo>
                      <a:lnTo>
                        <a:pt x="23456" y="20694"/>
                      </a:lnTo>
                      <a:lnTo>
                        <a:pt x="23540" y="20527"/>
                      </a:lnTo>
                      <a:lnTo>
                        <a:pt x="23519" y="20108"/>
                      </a:lnTo>
                      <a:lnTo>
                        <a:pt x="23435" y="20004"/>
                      </a:lnTo>
                      <a:cubicBezTo>
                        <a:pt x="23456" y="19983"/>
                        <a:pt x="23456" y="19941"/>
                        <a:pt x="23498" y="19899"/>
                      </a:cubicBezTo>
                      <a:cubicBezTo>
                        <a:pt x="23519" y="19878"/>
                        <a:pt x="23519" y="19857"/>
                        <a:pt x="23519" y="19836"/>
                      </a:cubicBezTo>
                      <a:close/>
                      <a:moveTo>
                        <a:pt x="22808" y="1"/>
                      </a:moveTo>
                      <a:lnTo>
                        <a:pt x="22598" y="105"/>
                      </a:lnTo>
                      <a:lnTo>
                        <a:pt x="22556" y="168"/>
                      </a:lnTo>
                      <a:lnTo>
                        <a:pt x="22389" y="168"/>
                      </a:lnTo>
                      <a:lnTo>
                        <a:pt x="22264" y="231"/>
                      </a:lnTo>
                      <a:lnTo>
                        <a:pt x="22033" y="440"/>
                      </a:lnTo>
                      <a:lnTo>
                        <a:pt x="21866" y="503"/>
                      </a:lnTo>
                      <a:lnTo>
                        <a:pt x="21615" y="503"/>
                      </a:lnTo>
                      <a:lnTo>
                        <a:pt x="21448" y="398"/>
                      </a:lnTo>
                      <a:lnTo>
                        <a:pt x="21406" y="335"/>
                      </a:lnTo>
                      <a:lnTo>
                        <a:pt x="21406" y="398"/>
                      </a:lnTo>
                      <a:lnTo>
                        <a:pt x="21322" y="398"/>
                      </a:lnTo>
                      <a:lnTo>
                        <a:pt x="21217" y="294"/>
                      </a:lnTo>
                      <a:lnTo>
                        <a:pt x="21113" y="335"/>
                      </a:lnTo>
                      <a:lnTo>
                        <a:pt x="21092" y="419"/>
                      </a:lnTo>
                      <a:lnTo>
                        <a:pt x="21029" y="419"/>
                      </a:lnTo>
                      <a:lnTo>
                        <a:pt x="21008" y="335"/>
                      </a:lnTo>
                      <a:lnTo>
                        <a:pt x="21029" y="273"/>
                      </a:lnTo>
                      <a:lnTo>
                        <a:pt x="21134" y="210"/>
                      </a:lnTo>
                      <a:lnTo>
                        <a:pt x="21092" y="168"/>
                      </a:lnTo>
                      <a:lnTo>
                        <a:pt x="20945" y="210"/>
                      </a:lnTo>
                      <a:lnTo>
                        <a:pt x="20736" y="315"/>
                      </a:lnTo>
                      <a:lnTo>
                        <a:pt x="20590" y="398"/>
                      </a:lnTo>
                      <a:lnTo>
                        <a:pt x="20527" y="524"/>
                      </a:lnTo>
                      <a:lnTo>
                        <a:pt x="20569" y="628"/>
                      </a:lnTo>
                      <a:lnTo>
                        <a:pt x="20694" y="649"/>
                      </a:lnTo>
                      <a:lnTo>
                        <a:pt x="20611" y="733"/>
                      </a:lnTo>
                      <a:lnTo>
                        <a:pt x="20255" y="733"/>
                      </a:lnTo>
                      <a:lnTo>
                        <a:pt x="20088" y="859"/>
                      </a:lnTo>
                      <a:lnTo>
                        <a:pt x="19983" y="1131"/>
                      </a:lnTo>
                      <a:lnTo>
                        <a:pt x="19941" y="1319"/>
                      </a:lnTo>
                      <a:lnTo>
                        <a:pt x="19878" y="1319"/>
                      </a:lnTo>
                      <a:lnTo>
                        <a:pt x="19857" y="1256"/>
                      </a:lnTo>
                      <a:lnTo>
                        <a:pt x="19878" y="1068"/>
                      </a:lnTo>
                      <a:lnTo>
                        <a:pt x="20025" y="817"/>
                      </a:lnTo>
                      <a:lnTo>
                        <a:pt x="20025" y="733"/>
                      </a:lnTo>
                      <a:lnTo>
                        <a:pt x="19983" y="733"/>
                      </a:lnTo>
                      <a:lnTo>
                        <a:pt x="19732" y="1047"/>
                      </a:lnTo>
                      <a:lnTo>
                        <a:pt x="19585" y="1047"/>
                      </a:lnTo>
                      <a:lnTo>
                        <a:pt x="19523" y="1026"/>
                      </a:lnTo>
                      <a:lnTo>
                        <a:pt x="19439" y="921"/>
                      </a:lnTo>
                      <a:lnTo>
                        <a:pt x="19313" y="900"/>
                      </a:lnTo>
                      <a:lnTo>
                        <a:pt x="19230" y="900"/>
                      </a:lnTo>
                      <a:lnTo>
                        <a:pt x="19230" y="942"/>
                      </a:lnTo>
                      <a:lnTo>
                        <a:pt x="19418" y="1026"/>
                      </a:lnTo>
                      <a:lnTo>
                        <a:pt x="19460" y="1110"/>
                      </a:lnTo>
                      <a:lnTo>
                        <a:pt x="19418" y="1131"/>
                      </a:lnTo>
                      <a:lnTo>
                        <a:pt x="19251" y="1068"/>
                      </a:lnTo>
                      <a:lnTo>
                        <a:pt x="19062" y="1047"/>
                      </a:lnTo>
                      <a:lnTo>
                        <a:pt x="18832" y="1151"/>
                      </a:lnTo>
                      <a:lnTo>
                        <a:pt x="18539" y="1423"/>
                      </a:lnTo>
                      <a:lnTo>
                        <a:pt x="18204" y="1570"/>
                      </a:lnTo>
                      <a:lnTo>
                        <a:pt x="17974" y="1758"/>
                      </a:lnTo>
                      <a:lnTo>
                        <a:pt x="17744" y="1967"/>
                      </a:lnTo>
                      <a:lnTo>
                        <a:pt x="17451" y="2219"/>
                      </a:lnTo>
                      <a:lnTo>
                        <a:pt x="17263" y="2302"/>
                      </a:lnTo>
                      <a:lnTo>
                        <a:pt x="17158" y="2323"/>
                      </a:lnTo>
                      <a:lnTo>
                        <a:pt x="17012" y="2428"/>
                      </a:lnTo>
                      <a:lnTo>
                        <a:pt x="16865" y="2428"/>
                      </a:lnTo>
                      <a:lnTo>
                        <a:pt x="16698" y="2574"/>
                      </a:lnTo>
                      <a:lnTo>
                        <a:pt x="16510" y="2574"/>
                      </a:lnTo>
                      <a:lnTo>
                        <a:pt x="16426" y="2491"/>
                      </a:lnTo>
                      <a:lnTo>
                        <a:pt x="16238" y="2470"/>
                      </a:lnTo>
                      <a:lnTo>
                        <a:pt x="16091" y="2365"/>
                      </a:lnTo>
                      <a:lnTo>
                        <a:pt x="15986" y="2302"/>
                      </a:lnTo>
                      <a:lnTo>
                        <a:pt x="15798" y="2219"/>
                      </a:lnTo>
                      <a:lnTo>
                        <a:pt x="15714" y="2260"/>
                      </a:lnTo>
                      <a:lnTo>
                        <a:pt x="15589" y="2386"/>
                      </a:lnTo>
                      <a:lnTo>
                        <a:pt x="15380" y="2595"/>
                      </a:lnTo>
                      <a:lnTo>
                        <a:pt x="15338" y="2721"/>
                      </a:lnTo>
                      <a:lnTo>
                        <a:pt x="15233" y="2825"/>
                      </a:lnTo>
                      <a:lnTo>
                        <a:pt x="15170" y="2951"/>
                      </a:lnTo>
                      <a:lnTo>
                        <a:pt x="15087" y="2951"/>
                      </a:lnTo>
                      <a:lnTo>
                        <a:pt x="15024" y="2909"/>
                      </a:lnTo>
                      <a:lnTo>
                        <a:pt x="14940" y="2951"/>
                      </a:lnTo>
                      <a:lnTo>
                        <a:pt x="15045" y="3202"/>
                      </a:lnTo>
                      <a:lnTo>
                        <a:pt x="15170" y="3683"/>
                      </a:lnTo>
                      <a:lnTo>
                        <a:pt x="15296" y="4081"/>
                      </a:lnTo>
                      <a:lnTo>
                        <a:pt x="15359" y="4416"/>
                      </a:lnTo>
                      <a:lnTo>
                        <a:pt x="15338" y="4729"/>
                      </a:lnTo>
                      <a:lnTo>
                        <a:pt x="15191" y="4980"/>
                      </a:lnTo>
                      <a:lnTo>
                        <a:pt x="15087" y="5127"/>
                      </a:lnTo>
                      <a:lnTo>
                        <a:pt x="15087" y="5190"/>
                      </a:lnTo>
                      <a:lnTo>
                        <a:pt x="15296" y="5441"/>
                      </a:lnTo>
                      <a:lnTo>
                        <a:pt x="15442" y="5504"/>
                      </a:lnTo>
                      <a:lnTo>
                        <a:pt x="15442" y="5357"/>
                      </a:lnTo>
                      <a:lnTo>
                        <a:pt x="15484" y="5420"/>
                      </a:lnTo>
                      <a:lnTo>
                        <a:pt x="15589" y="5357"/>
                      </a:lnTo>
                      <a:lnTo>
                        <a:pt x="15673" y="5357"/>
                      </a:lnTo>
                      <a:lnTo>
                        <a:pt x="15589" y="5441"/>
                      </a:lnTo>
                      <a:lnTo>
                        <a:pt x="15589" y="5525"/>
                      </a:lnTo>
                      <a:lnTo>
                        <a:pt x="15882" y="5755"/>
                      </a:lnTo>
                      <a:lnTo>
                        <a:pt x="15798" y="5817"/>
                      </a:lnTo>
                      <a:lnTo>
                        <a:pt x="15673" y="5776"/>
                      </a:lnTo>
                      <a:lnTo>
                        <a:pt x="15652" y="5859"/>
                      </a:lnTo>
                      <a:lnTo>
                        <a:pt x="15610" y="6152"/>
                      </a:lnTo>
                      <a:lnTo>
                        <a:pt x="15610" y="6278"/>
                      </a:lnTo>
                      <a:lnTo>
                        <a:pt x="15673" y="6341"/>
                      </a:lnTo>
                      <a:lnTo>
                        <a:pt x="15756" y="6257"/>
                      </a:lnTo>
                      <a:lnTo>
                        <a:pt x="15882" y="6236"/>
                      </a:lnTo>
                      <a:lnTo>
                        <a:pt x="15986" y="6278"/>
                      </a:lnTo>
                      <a:lnTo>
                        <a:pt x="16028" y="6361"/>
                      </a:lnTo>
                      <a:lnTo>
                        <a:pt x="16196" y="6299"/>
                      </a:lnTo>
                      <a:lnTo>
                        <a:pt x="16384" y="6361"/>
                      </a:lnTo>
                      <a:lnTo>
                        <a:pt x="16530" y="6445"/>
                      </a:lnTo>
                      <a:lnTo>
                        <a:pt x="16384" y="6508"/>
                      </a:lnTo>
                      <a:lnTo>
                        <a:pt x="16405" y="6654"/>
                      </a:lnTo>
                      <a:lnTo>
                        <a:pt x="16384" y="6759"/>
                      </a:lnTo>
                      <a:lnTo>
                        <a:pt x="16196" y="6780"/>
                      </a:lnTo>
                      <a:lnTo>
                        <a:pt x="16217" y="6696"/>
                      </a:lnTo>
                      <a:lnTo>
                        <a:pt x="16112" y="6613"/>
                      </a:lnTo>
                      <a:lnTo>
                        <a:pt x="16028" y="6675"/>
                      </a:lnTo>
                      <a:lnTo>
                        <a:pt x="15882" y="6654"/>
                      </a:lnTo>
                      <a:lnTo>
                        <a:pt x="15819" y="6592"/>
                      </a:lnTo>
                      <a:lnTo>
                        <a:pt x="15777" y="6445"/>
                      </a:lnTo>
                      <a:lnTo>
                        <a:pt x="15673" y="6403"/>
                      </a:lnTo>
                      <a:lnTo>
                        <a:pt x="15610" y="6403"/>
                      </a:lnTo>
                      <a:lnTo>
                        <a:pt x="15484" y="6299"/>
                      </a:lnTo>
                      <a:lnTo>
                        <a:pt x="15505" y="6131"/>
                      </a:lnTo>
                      <a:lnTo>
                        <a:pt x="15652" y="5776"/>
                      </a:lnTo>
                      <a:lnTo>
                        <a:pt x="15610" y="5671"/>
                      </a:lnTo>
                      <a:lnTo>
                        <a:pt x="15568" y="5671"/>
                      </a:lnTo>
                      <a:lnTo>
                        <a:pt x="15463" y="5776"/>
                      </a:lnTo>
                      <a:lnTo>
                        <a:pt x="15463" y="6131"/>
                      </a:lnTo>
                      <a:lnTo>
                        <a:pt x="15401" y="6341"/>
                      </a:lnTo>
                      <a:lnTo>
                        <a:pt x="15296" y="6445"/>
                      </a:lnTo>
                      <a:lnTo>
                        <a:pt x="15296" y="6508"/>
                      </a:lnTo>
                      <a:lnTo>
                        <a:pt x="15380" y="6382"/>
                      </a:lnTo>
                      <a:lnTo>
                        <a:pt x="15463" y="6382"/>
                      </a:lnTo>
                      <a:lnTo>
                        <a:pt x="15505" y="6445"/>
                      </a:lnTo>
                      <a:lnTo>
                        <a:pt x="15652" y="6445"/>
                      </a:lnTo>
                      <a:lnTo>
                        <a:pt x="15694" y="6571"/>
                      </a:lnTo>
                      <a:lnTo>
                        <a:pt x="15694" y="6780"/>
                      </a:lnTo>
                      <a:lnTo>
                        <a:pt x="15589" y="6905"/>
                      </a:lnTo>
                      <a:lnTo>
                        <a:pt x="15442" y="6968"/>
                      </a:lnTo>
                      <a:lnTo>
                        <a:pt x="15442" y="6968"/>
                      </a:lnTo>
                      <a:lnTo>
                        <a:pt x="15589" y="6780"/>
                      </a:lnTo>
                      <a:lnTo>
                        <a:pt x="15589" y="6696"/>
                      </a:lnTo>
                      <a:lnTo>
                        <a:pt x="15505" y="6675"/>
                      </a:lnTo>
                      <a:lnTo>
                        <a:pt x="15463" y="6613"/>
                      </a:lnTo>
                      <a:lnTo>
                        <a:pt x="15380" y="6675"/>
                      </a:lnTo>
                      <a:lnTo>
                        <a:pt x="15191" y="6801"/>
                      </a:lnTo>
                      <a:lnTo>
                        <a:pt x="15191" y="6905"/>
                      </a:lnTo>
                      <a:lnTo>
                        <a:pt x="15087" y="6926"/>
                      </a:lnTo>
                      <a:lnTo>
                        <a:pt x="14982" y="6989"/>
                      </a:lnTo>
                      <a:lnTo>
                        <a:pt x="14961" y="6885"/>
                      </a:lnTo>
                      <a:lnTo>
                        <a:pt x="14898" y="6864"/>
                      </a:lnTo>
                      <a:lnTo>
                        <a:pt x="14752" y="6864"/>
                      </a:lnTo>
                      <a:lnTo>
                        <a:pt x="14668" y="6822"/>
                      </a:lnTo>
                      <a:lnTo>
                        <a:pt x="14647" y="6696"/>
                      </a:lnTo>
                      <a:lnTo>
                        <a:pt x="14564" y="6675"/>
                      </a:lnTo>
                      <a:lnTo>
                        <a:pt x="14522" y="6696"/>
                      </a:lnTo>
                      <a:lnTo>
                        <a:pt x="14417" y="6696"/>
                      </a:lnTo>
                      <a:lnTo>
                        <a:pt x="14417" y="6613"/>
                      </a:lnTo>
                      <a:lnTo>
                        <a:pt x="14334" y="6571"/>
                      </a:lnTo>
                      <a:lnTo>
                        <a:pt x="14250" y="6613"/>
                      </a:lnTo>
                      <a:lnTo>
                        <a:pt x="14208" y="6613"/>
                      </a:lnTo>
                      <a:lnTo>
                        <a:pt x="14208" y="6487"/>
                      </a:lnTo>
                      <a:lnTo>
                        <a:pt x="14145" y="6403"/>
                      </a:lnTo>
                      <a:lnTo>
                        <a:pt x="14145" y="6341"/>
                      </a:lnTo>
                      <a:lnTo>
                        <a:pt x="14250" y="6299"/>
                      </a:lnTo>
                      <a:lnTo>
                        <a:pt x="14396" y="6131"/>
                      </a:lnTo>
                      <a:lnTo>
                        <a:pt x="14459" y="6131"/>
                      </a:lnTo>
                      <a:lnTo>
                        <a:pt x="14543" y="6048"/>
                      </a:lnTo>
                      <a:lnTo>
                        <a:pt x="14543" y="5964"/>
                      </a:lnTo>
                      <a:lnTo>
                        <a:pt x="14396" y="5817"/>
                      </a:lnTo>
                      <a:lnTo>
                        <a:pt x="14313" y="5755"/>
                      </a:lnTo>
                      <a:lnTo>
                        <a:pt x="14208" y="5755"/>
                      </a:lnTo>
                      <a:lnTo>
                        <a:pt x="14020" y="5859"/>
                      </a:lnTo>
                      <a:lnTo>
                        <a:pt x="13915" y="5859"/>
                      </a:lnTo>
                      <a:lnTo>
                        <a:pt x="13810" y="5776"/>
                      </a:lnTo>
                      <a:lnTo>
                        <a:pt x="13706" y="5776"/>
                      </a:lnTo>
                      <a:lnTo>
                        <a:pt x="13371" y="5922"/>
                      </a:lnTo>
                      <a:lnTo>
                        <a:pt x="13329" y="5964"/>
                      </a:lnTo>
                      <a:lnTo>
                        <a:pt x="13392" y="6027"/>
                      </a:lnTo>
                      <a:lnTo>
                        <a:pt x="13517" y="6131"/>
                      </a:lnTo>
                      <a:lnTo>
                        <a:pt x="13497" y="6152"/>
                      </a:lnTo>
                      <a:lnTo>
                        <a:pt x="13392" y="6131"/>
                      </a:lnTo>
                      <a:lnTo>
                        <a:pt x="13287" y="6131"/>
                      </a:lnTo>
                      <a:lnTo>
                        <a:pt x="13225" y="6069"/>
                      </a:lnTo>
                      <a:lnTo>
                        <a:pt x="13120" y="6048"/>
                      </a:lnTo>
                      <a:lnTo>
                        <a:pt x="12911" y="6027"/>
                      </a:lnTo>
                      <a:lnTo>
                        <a:pt x="12701" y="6048"/>
                      </a:lnTo>
                      <a:lnTo>
                        <a:pt x="12639" y="6089"/>
                      </a:lnTo>
                      <a:lnTo>
                        <a:pt x="12639" y="6152"/>
                      </a:lnTo>
                      <a:lnTo>
                        <a:pt x="12534" y="6152"/>
                      </a:lnTo>
                      <a:lnTo>
                        <a:pt x="12492" y="6131"/>
                      </a:lnTo>
                      <a:lnTo>
                        <a:pt x="12429" y="6131"/>
                      </a:lnTo>
                      <a:lnTo>
                        <a:pt x="12262" y="6236"/>
                      </a:lnTo>
                      <a:lnTo>
                        <a:pt x="12262" y="6278"/>
                      </a:lnTo>
                      <a:lnTo>
                        <a:pt x="12178" y="6299"/>
                      </a:lnTo>
                      <a:lnTo>
                        <a:pt x="12011" y="6382"/>
                      </a:lnTo>
                      <a:lnTo>
                        <a:pt x="11865" y="6466"/>
                      </a:lnTo>
                      <a:lnTo>
                        <a:pt x="11802" y="6466"/>
                      </a:lnTo>
                      <a:lnTo>
                        <a:pt x="11823" y="6403"/>
                      </a:lnTo>
                      <a:lnTo>
                        <a:pt x="11844" y="6341"/>
                      </a:lnTo>
                      <a:lnTo>
                        <a:pt x="11739" y="6382"/>
                      </a:lnTo>
                      <a:lnTo>
                        <a:pt x="11634" y="6508"/>
                      </a:lnTo>
                      <a:lnTo>
                        <a:pt x="11634" y="6571"/>
                      </a:lnTo>
                      <a:lnTo>
                        <a:pt x="11802" y="6759"/>
                      </a:lnTo>
                      <a:lnTo>
                        <a:pt x="11948" y="6989"/>
                      </a:lnTo>
                      <a:lnTo>
                        <a:pt x="12116" y="7031"/>
                      </a:lnTo>
                      <a:lnTo>
                        <a:pt x="12241" y="7198"/>
                      </a:lnTo>
                      <a:lnTo>
                        <a:pt x="12367" y="7282"/>
                      </a:lnTo>
                      <a:lnTo>
                        <a:pt x="12429" y="7408"/>
                      </a:lnTo>
                      <a:lnTo>
                        <a:pt x="12534" y="7429"/>
                      </a:lnTo>
                      <a:lnTo>
                        <a:pt x="12660" y="7512"/>
                      </a:lnTo>
                      <a:lnTo>
                        <a:pt x="12597" y="7533"/>
                      </a:lnTo>
                      <a:lnTo>
                        <a:pt x="12429" y="7533"/>
                      </a:lnTo>
                      <a:lnTo>
                        <a:pt x="12388" y="7429"/>
                      </a:lnTo>
                      <a:lnTo>
                        <a:pt x="12262" y="7324"/>
                      </a:lnTo>
                      <a:lnTo>
                        <a:pt x="12178" y="7282"/>
                      </a:lnTo>
                      <a:lnTo>
                        <a:pt x="12137" y="7282"/>
                      </a:lnTo>
                      <a:lnTo>
                        <a:pt x="12011" y="7408"/>
                      </a:lnTo>
                      <a:lnTo>
                        <a:pt x="11885" y="7408"/>
                      </a:lnTo>
                      <a:lnTo>
                        <a:pt x="11802" y="7303"/>
                      </a:lnTo>
                      <a:lnTo>
                        <a:pt x="11906" y="7198"/>
                      </a:lnTo>
                      <a:lnTo>
                        <a:pt x="11906" y="7136"/>
                      </a:lnTo>
                      <a:lnTo>
                        <a:pt x="11823" y="7136"/>
                      </a:lnTo>
                      <a:lnTo>
                        <a:pt x="11739" y="7282"/>
                      </a:lnTo>
                      <a:lnTo>
                        <a:pt x="11781" y="7512"/>
                      </a:lnTo>
                      <a:lnTo>
                        <a:pt x="11802" y="7554"/>
                      </a:lnTo>
                      <a:lnTo>
                        <a:pt x="11802" y="7638"/>
                      </a:lnTo>
                      <a:lnTo>
                        <a:pt x="11676" y="7742"/>
                      </a:lnTo>
                      <a:lnTo>
                        <a:pt x="11593" y="7910"/>
                      </a:lnTo>
                      <a:lnTo>
                        <a:pt x="11572" y="8056"/>
                      </a:lnTo>
                      <a:lnTo>
                        <a:pt x="11593" y="8224"/>
                      </a:lnTo>
                      <a:lnTo>
                        <a:pt x="11802" y="8454"/>
                      </a:lnTo>
                      <a:lnTo>
                        <a:pt x="11990" y="8538"/>
                      </a:lnTo>
                      <a:lnTo>
                        <a:pt x="12116" y="8663"/>
                      </a:lnTo>
                      <a:lnTo>
                        <a:pt x="12199" y="8663"/>
                      </a:lnTo>
                      <a:lnTo>
                        <a:pt x="12346" y="8558"/>
                      </a:lnTo>
                      <a:lnTo>
                        <a:pt x="12492" y="8496"/>
                      </a:lnTo>
                      <a:lnTo>
                        <a:pt x="12639" y="8579"/>
                      </a:lnTo>
                      <a:lnTo>
                        <a:pt x="12890" y="8600"/>
                      </a:lnTo>
                      <a:lnTo>
                        <a:pt x="12994" y="8684"/>
                      </a:lnTo>
                      <a:lnTo>
                        <a:pt x="13015" y="8810"/>
                      </a:lnTo>
                      <a:lnTo>
                        <a:pt x="13078" y="8851"/>
                      </a:lnTo>
                      <a:lnTo>
                        <a:pt x="13141" y="8789"/>
                      </a:lnTo>
                      <a:lnTo>
                        <a:pt x="13141" y="8642"/>
                      </a:lnTo>
                      <a:lnTo>
                        <a:pt x="13162" y="8579"/>
                      </a:lnTo>
                      <a:lnTo>
                        <a:pt x="13266" y="8642"/>
                      </a:lnTo>
                      <a:lnTo>
                        <a:pt x="13266" y="8705"/>
                      </a:lnTo>
                      <a:lnTo>
                        <a:pt x="13162" y="8851"/>
                      </a:lnTo>
                      <a:lnTo>
                        <a:pt x="13162" y="8956"/>
                      </a:lnTo>
                      <a:lnTo>
                        <a:pt x="13204" y="8956"/>
                      </a:lnTo>
                      <a:lnTo>
                        <a:pt x="13371" y="8810"/>
                      </a:lnTo>
                      <a:lnTo>
                        <a:pt x="13413" y="8747"/>
                      </a:lnTo>
                      <a:lnTo>
                        <a:pt x="13601" y="8684"/>
                      </a:lnTo>
                      <a:lnTo>
                        <a:pt x="13831" y="8538"/>
                      </a:lnTo>
                      <a:lnTo>
                        <a:pt x="13999" y="8496"/>
                      </a:lnTo>
                      <a:lnTo>
                        <a:pt x="14082" y="8391"/>
                      </a:lnTo>
                      <a:lnTo>
                        <a:pt x="14124" y="8391"/>
                      </a:lnTo>
                      <a:lnTo>
                        <a:pt x="14145" y="8475"/>
                      </a:lnTo>
                      <a:lnTo>
                        <a:pt x="14208" y="8496"/>
                      </a:lnTo>
                      <a:lnTo>
                        <a:pt x="14396" y="8370"/>
                      </a:lnTo>
                      <a:lnTo>
                        <a:pt x="14543" y="8370"/>
                      </a:lnTo>
                      <a:lnTo>
                        <a:pt x="14606" y="8328"/>
                      </a:lnTo>
                      <a:lnTo>
                        <a:pt x="14543" y="8391"/>
                      </a:lnTo>
                      <a:lnTo>
                        <a:pt x="14417" y="8475"/>
                      </a:lnTo>
                      <a:lnTo>
                        <a:pt x="14417" y="8538"/>
                      </a:lnTo>
                      <a:lnTo>
                        <a:pt x="14459" y="8558"/>
                      </a:lnTo>
                      <a:lnTo>
                        <a:pt x="14354" y="8747"/>
                      </a:lnTo>
                      <a:lnTo>
                        <a:pt x="14208" y="8768"/>
                      </a:lnTo>
                      <a:lnTo>
                        <a:pt x="14145" y="8705"/>
                      </a:lnTo>
                      <a:lnTo>
                        <a:pt x="14082" y="8705"/>
                      </a:lnTo>
                      <a:lnTo>
                        <a:pt x="13915" y="8851"/>
                      </a:lnTo>
                      <a:lnTo>
                        <a:pt x="13915" y="8872"/>
                      </a:lnTo>
                      <a:lnTo>
                        <a:pt x="14041" y="8893"/>
                      </a:lnTo>
                      <a:lnTo>
                        <a:pt x="14124" y="8977"/>
                      </a:lnTo>
                      <a:lnTo>
                        <a:pt x="14124" y="9123"/>
                      </a:lnTo>
                      <a:lnTo>
                        <a:pt x="13936" y="9333"/>
                      </a:lnTo>
                      <a:lnTo>
                        <a:pt x="13915" y="9479"/>
                      </a:lnTo>
                      <a:lnTo>
                        <a:pt x="13873" y="9542"/>
                      </a:lnTo>
                      <a:lnTo>
                        <a:pt x="13831" y="9626"/>
                      </a:lnTo>
                      <a:lnTo>
                        <a:pt x="13873" y="9688"/>
                      </a:lnTo>
                      <a:lnTo>
                        <a:pt x="13894" y="9751"/>
                      </a:lnTo>
                      <a:lnTo>
                        <a:pt x="13873" y="9856"/>
                      </a:lnTo>
                      <a:lnTo>
                        <a:pt x="13748" y="10002"/>
                      </a:lnTo>
                      <a:lnTo>
                        <a:pt x="13643" y="10065"/>
                      </a:lnTo>
                      <a:lnTo>
                        <a:pt x="13538" y="10065"/>
                      </a:lnTo>
                      <a:lnTo>
                        <a:pt x="13476" y="10128"/>
                      </a:lnTo>
                      <a:lnTo>
                        <a:pt x="13371" y="10232"/>
                      </a:lnTo>
                      <a:lnTo>
                        <a:pt x="13287" y="10253"/>
                      </a:lnTo>
                      <a:lnTo>
                        <a:pt x="13162" y="10232"/>
                      </a:lnTo>
                      <a:lnTo>
                        <a:pt x="12994" y="10128"/>
                      </a:lnTo>
                      <a:lnTo>
                        <a:pt x="12953" y="10149"/>
                      </a:lnTo>
                      <a:lnTo>
                        <a:pt x="12890" y="10107"/>
                      </a:lnTo>
                      <a:lnTo>
                        <a:pt x="12806" y="10002"/>
                      </a:lnTo>
                      <a:lnTo>
                        <a:pt x="12785" y="10023"/>
                      </a:lnTo>
                      <a:lnTo>
                        <a:pt x="12681" y="10170"/>
                      </a:lnTo>
                      <a:lnTo>
                        <a:pt x="12555" y="10253"/>
                      </a:lnTo>
                      <a:lnTo>
                        <a:pt x="12471" y="10358"/>
                      </a:lnTo>
                      <a:lnTo>
                        <a:pt x="12241" y="10442"/>
                      </a:lnTo>
                      <a:lnTo>
                        <a:pt x="12157" y="10483"/>
                      </a:lnTo>
                      <a:lnTo>
                        <a:pt x="12053" y="10483"/>
                      </a:lnTo>
                      <a:lnTo>
                        <a:pt x="11948" y="10462"/>
                      </a:lnTo>
                      <a:lnTo>
                        <a:pt x="11760" y="10462"/>
                      </a:lnTo>
                      <a:lnTo>
                        <a:pt x="11634" y="10567"/>
                      </a:lnTo>
                      <a:lnTo>
                        <a:pt x="11509" y="10567"/>
                      </a:lnTo>
                      <a:lnTo>
                        <a:pt x="11425" y="10630"/>
                      </a:lnTo>
                      <a:lnTo>
                        <a:pt x="11425" y="10755"/>
                      </a:lnTo>
                      <a:lnTo>
                        <a:pt x="11341" y="10965"/>
                      </a:lnTo>
                      <a:lnTo>
                        <a:pt x="11279" y="11048"/>
                      </a:lnTo>
                      <a:lnTo>
                        <a:pt x="11279" y="10965"/>
                      </a:lnTo>
                      <a:lnTo>
                        <a:pt x="11132" y="10839"/>
                      </a:lnTo>
                      <a:lnTo>
                        <a:pt x="10986" y="10839"/>
                      </a:lnTo>
                      <a:lnTo>
                        <a:pt x="10902" y="10860"/>
                      </a:lnTo>
                      <a:lnTo>
                        <a:pt x="10923" y="10944"/>
                      </a:lnTo>
                      <a:lnTo>
                        <a:pt x="11007" y="10986"/>
                      </a:lnTo>
                      <a:lnTo>
                        <a:pt x="10965" y="11090"/>
                      </a:lnTo>
                      <a:lnTo>
                        <a:pt x="10902" y="11090"/>
                      </a:lnTo>
                      <a:lnTo>
                        <a:pt x="10860" y="10986"/>
                      </a:lnTo>
                      <a:lnTo>
                        <a:pt x="10756" y="10881"/>
                      </a:lnTo>
                      <a:lnTo>
                        <a:pt x="10693" y="10881"/>
                      </a:lnTo>
                      <a:lnTo>
                        <a:pt x="10546" y="11048"/>
                      </a:lnTo>
                      <a:lnTo>
                        <a:pt x="10484" y="11174"/>
                      </a:lnTo>
                      <a:lnTo>
                        <a:pt x="10400" y="11195"/>
                      </a:lnTo>
                      <a:lnTo>
                        <a:pt x="10337" y="11195"/>
                      </a:lnTo>
                      <a:lnTo>
                        <a:pt x="10065" y="11425"/>
                      </a:lnTo>
                      <a:lnTo>
                        <a:pt x="10023" y="11613"/>
                      </a:lnTo>
                      <a:lnTo>
                        <a:pt x="9960" y="11634"/>
                      </a:lnTo>
                      <a:lnTo>
                        <a:pt x="9835" y="11676"/>
                      </a:lnTo>
                      <a:lnTo>
                        <a:pt x="9730" y="11613"/>
                      </a:lnTo>
                      <a:lnTo>
                        <a:pt x="9709" y="11634"/>
                      </a:lnTo>
                      <a:lnTo>
                        <a:pt x="9814" y="11781"/>
                      </a:lnTo>
                      <a:lnTo>
                        <a:pt x="9772" y="11843"/>
                      </a:lnTo>
                      <a:lnTo>
                        <a:pt x="9709" y="11843"/>
                      </a:lnTo>
                      <a:lnTo>
                        <a:pt x="9647" y="11739"/>
                      </a:lnTo>
                      <a:lnTo>
                        <a:pt x="9605" y="11739"/>
                      </a:lnTo>
                      <a:lnTo>
                        <a:pt x="9542" y="11843"/>
                      </a:lnTo>
                      <a:lnTo>
                        <a:pt x="9416" y="12011"/>
                      </a:lnTo>
                      <a:lnTo>
                        <a:pt x="9416" y="12095"/>
                      </a:lnTo>
                      <a:lnTo>
                        <a:pt x="9521" y="12241"/>
                      </a:lnTo>
                      <a:lnTo>
                        <a:pt x="9542" y="12367"/>
                      </a:lnTo>
                      <a:lnTo>
                        <a:pt x="9521" y="12471"/>
                      </a:lnTo>
                      <a:lnTo>
                        <a:pt x="9458" y="12576"/>
                      </a:lnTo>
                      <a:lnTo>
                        <a:pt x="9500" y="12680"/>
                      </a:lnTo>
                      <a:lnTo>
                        <a:pt x="9563" y="12659"/>
                      </a:lnTo>
                      <a:lnTo>
                        <a:pt x="9647" y="12576"/>
                      </a:lnTo>
                      <a:lnTo>
                        <a:pt x="9668" y="12639"/>
                      </a:lnTo>
                      <a:lnTo>
                        <a:pt x="9709" y="12785"/>
                      </a:lnTo>
                      <a:lnTo>
                        <a:pt x="9647" y="12827"/>
                      </a:lnTo>
                      <a:lnTo>
                        <a:pt x="9605" y="12869"/>
                      </a:lnTo>
                      <a:lnTo>
                        <a:pt x="9626" y="12931"/>
                      </a:lnTo>
                      <a:lnTo>
                        <a:pt x="9709" y="12931"/>
                      </a:lnTo>
                      <a:lnTo>
                        <a:pt x="9751" y="12869"/>
                      </a:lnTo>
                      <a:lnTo>
                        <a:pt x="9835" y="12869"/>
                      </a:lnTo>
                      <a:lnTo>
                        <a:pt x="9856" y="12931"/>
                      </a:lnTo>
                      <a:lnTo>
                        <a:pt x="9856" y="12973"/>
                      </a:lnTo>
                      <a:lnTo>
                        <a:pt x="9981" y="12994"/>
                      </a:lnTo>
                      <a:lnTo>
                        <a:pt x="10086" y="13057"/>
                      </a:lnTo>
                      <a:lnTo>
                        <a:pt x="10232" y="13057"/>
                      </a:lnTo>
                      <a:lnTo>
                        <a:pt x="10337" y="12973"/>
                      </a:lnTo>
                      <a:lnTo>
                        <a:pt x="10379" y="12764"/>
                      </a:lnTo>
                      <a:lnTo>
                        <a:pt x="10463" y="12680"/>
                      </a:lnTo>
                      <a:lnTo>
                        <a:pt x="10672" y="12680"/>
                      </a:lnTo>
                      <a:lnTo>
                        <a:pt x="10756" y="12639"/>
                      </a:lnTo>
                      <a:lnTo>
                        <a:pt x="10651" y="12764"/>
                      </a:lnTo>
                      <a:lnTo>
                        <a:pt x="10546" y="12764"/>
                      </a:lnTo>
                      <a:lnTo>
                        <a:pt x="10358" y="12952"/>
                      </a:lnTo>
                      <a:lnTo>
                        <a:pt x="10337" y="13057"/>
                      </a:lnTo>
                      <a:lnTo>
                        <a:pt x="10253" y="13141"/>
                      </a:lnTo>
                      <a:lnTo>
                        <a:pt x="10358" y="13266"/>
                      </a:lnTo>
                      <a:lnTo>
                        <a:pt x="10358" y="13350"/>
                      </a:lnTo>
                      <a:lnTo>
                        <a:pt x="10191" y="13392"/>
                      </a:lnTo>
                      <a:lnTo>
                        <a:pt x="10149" y="13350"/>
                      </a:lnTo>
                      <a:lnTo>
                        <a:pt x="10149" y="13266"/>
                      </a:lnTo>
                      <a:lnTo>
                        <a:pt x="10086" y="13203"/>
                      </a:lnTo>
                      <a:lnTo>
                        <a:pt x="9981" y="13203"/>
                      </a:lnTo>
                      <a:lnTo>
                        <a:pt x="9940" y="13099"/>
                      </a:lnTo>
                      <a:lnTo>
                        <a:pt x="9772" y="13078"/>
                      </a:lnTo>
                      <a:lnTo>
                        <a:pt x="9730" y="12994"/>
                      </a:lnTo>
                      <a:lnTo>
                        <a:pt x="9647" y="13078"/>
                      </a:lnTo>
                      <a:lnTo>
                        <a:pt x="9542" y="13099"/>
                      </a:lnTo>
                      <a:lnTo>
                        <a:pt x="9521" y="13203"/>
                      </a:lnTo>
                      <a:lnTo>
                        <a:pt x="9437" y="13266"/>
                      </a:lnTo>
                      <a:lnTo>
                        <a:pt x="9312" y="13245"/>
                      </a:lnTo>
                      <a:lnTo>
                        <a:pt x="9291" y="13308"/>
                      </a:lnTo>
                      <a:lnTo>
                        <a:pt x="9333" y="13413"/>
                      </a:lnTo>
                      <a:lnTo>
                        <a:pt x="9396" y="13413"/>
                      </a:lnTo>
                      <a:lnTo>
                        <a:pt x="9312" y="13496"/>
                      </a:lnTo>
                      <a:lnTo>
                        <a:pt x="9291" y="13664"/>
                      </a:lnTo>
                      <a:lnTo>
                        <a:pt x="9312" y="13768"/>
                      </a:lnTo>
                      <a:lnTo>
                        <a:pt x="9396" y="13768"/>
                      </a:lnTo>
                      <a:lnTo>
                        <a:pt x="9396" y="13936"/>
                      </a:lnTo>
                      <a:lnTo>
                        <a:pt x="9416" y="13999"/>
                      </a:lnTo>
                      <a:lnTo>
                        <a:pt x="9416" y="14082"/>
                      </a:lnTo>
                      <a:lnTo>
                        <a:pt x="9521" y="14187"/>
                      </a:lnTo>
                      <a:lnTo>
                        <a:pt x="9521" y="14229"/>
                      </a:lnTo>
                      <a:lnTo>
                        <a:pt x="9396" y="14250"/>
                      </a:lnTo>
                      <a:lnTo>
                        <a:pt x="9354" y="14312"/>
                      </a:lnTo>
                      <a:lnTo>
                        <a:pt x="9730" y="14501"/>
                      </a:lnTo>
                      <a:lnTo>
                        <a:pt x="9877" y="14501"/>
                      </a:lnTo>
                      <a:lnTo>
                        <a:pt x="10065" y="14417"/>
                      </a:lnTo>
                      <a:lnTo>
                        <a:pt x="10170" y="14396"/>
                      </a:lnTo>
                      <a:lnTo>
                        <a:pt x="10232" y="14438"/>
                      </a:lnTo>
                      <a:lnTo>
                        <a:pt x="10295" y="14438"/>
                      </a:lnTo>
                      <a:lnTo>
                        <a:pt x="10463" y="14229"/>
                      </a:lnTo>
                      <a:lnTo>
                        <a:pt x="10463" y="14124"/>
                      </a:lnTo>
                      <a:lnTo>
                        <a:pt x="10400" y="14040"/>
                      </a:lnTo>
                      <a:lnTo>
                        <a:pt x="10400" y="13999"/>
                      </a:lnTo>
                      <a:lnTo>
                        <a:pt x="10567" y="13915"/>
                      </a:lnTo>
                      <a:lnTo>
                        <a:pt x="10714" y="13789"/>
                      </a:lnTo>
                      <a:lnTo>
                        <a:pt x="10986" y="13622"/>
                      </a:lnTo>
                      <a:lnTo>
                        <a:pt x="11090" y="13664"/>
                      </a:lnTo>
                      <a:lnTo>
                        <a:pt x="10986" y="13664"/>
                      </a:lnTo>
                      <a:lnTo>
                        <a:pt x="10756" y="13894"/>
                      </a:lnTo>
                      <a:lnTo>
                        <a:pt x="10588" y="13978"/>
                      </a:lnTo>
                      <a:lnTo>
                        <a:pt x="10588" y="14019"/>
                      </a:lnTo>
                      <a:lnTo>
                        <a:pt x="10693" y="14103"/>
                      </a:lnTo>
                      <a:lnTo>
                        <a:pt x="10693" y="14187"/>
                      </a:lnTo>
                      <a:lnTo>
                        <a:pt x="10588" y="14333"/>
                      </a:lnTo>
                      <a:lnTo>
                        <a:pt x="10463" y="14417"/>
                      </a:lnTo>
                      <a:lnTo>
                        <a:pt x="10442" y="14543"/>
                      </a:lnTo>
                      <a:lnTo>
                        <a:pt x="10463" y="14710"/>
                      </a:lnTo>
                      <a:lnTo>
                        <a:pt x="10442" y="14815"/>
                      </a:lnTo>
                      <a:lnTo>
                        <a:pt x="10442" y="14856"/>
                      </a:lnTo>
                      <a:lnTo>
                        <a:pt x="10442" y="14961"/>
                      </a:lnTo>
                      <a:lnTo>
                        <a:pt x="10463" y="15087"/>
                      </a:lnTo>
                      <a:lnTo>
                        <a:pt x="10295" y="15149"/>
                      </a:lnTo>
                      <a:lnTo>
                        <a:pt x="10232" y="15191"/>
                      </a:lnTo>
                      <a:lnTo>
                        <a:pt x="10191" y="15275"/>
                      </a:lnTo>
                      <a:lnTo>
                        <a:pt x="10044" y="15442"/>
                      </a:lnTo>
                      <a:lnTo>
                        <a:pt x="10002" y="15463"/>
                      </a:lnTo>
                      <a:lnTo>
                        <a:pt x="10044" y="15568"/>
                      </a:lnTo>
                      <a:lnTo>
                        <a:pt x="10044" y="15672"/>
                      </a:lnTo>
                      <a:lnTo>
                        <a:pt x="10107" y="15693"/>
                      </a:lnTo>
                      <a:lnTo>
                        <a:pt x="10212" y="15672"/>
                      </a:lnTo>
                      <a:lnTo>
                        <a:pt x="10274" y="15672"/>
                      </a:lnTo>
                      <a:lnTo>
                        <a:pt x="10316" y="15714"/>
                      </a:lnTo>
                      <a:lnTo>
                        <a:pt x="10253" y="15798"/>
                      </a:lnTo>
                      <a:lnTo>
                        <a:pt x="10128" y="15798"/>
                      </a:lnTo>
                      <a:lnTo>
                        <a:pt x="10065" y="15840"/>
                      </a:lnTo>
                      <a:lnTo>
                        <a:pt x="10086" y="15903"/>
                      </a:lnTo>
                      <a:lnTo>
                        <a:pt x="10065" y="15944"/>
                      </a:lnTo>
                      <a:lnTo>
                        <a:pt x="10086" y="16028"/>
                      </a:lnTo>
                      <a:lnTo>
                        <a:pt x="10023" y="16091"/>
                      </a:lnTo>
                      <a:lnTo>
                        <a:pt x="9940" y="16112"/>
                      </a:lnTo>
                      <a:lnTo>
                        <a:pt x="9835" y="16154"/>
                      </a:lnTo>
                      <a:lnTo>
                        <a:pt x="9751" y="16133"/>
                      </a:lnTo>
                      <a:lnTo>
                        <a:pt x="9709" y="16154"/>
                      </a:lnTo>
                      <a:lnTo>
                        <a:pt x="9772" y="16216"/>
                      </a:lnTo>
                      <a:lnTo>
                        <a:pt x="9877" y="16237"/>
                      </a:lnTo>
                      <a:lnTo>
                        <a:pt x="9960" y="16300"/>
                      </a:lnTo>
                      <a:lnTo>
                        <a:pt x="10086" y="16154"/>
                      </a:lnTo>
                      <a:lnTo>
                        <a:pt x="10337" y="16007"/>
                      </a:lnTo>
                      <a:lnTo>
                        <a:pt x="10379" y="16007"/>
                      </a:lnTo>
                      <a:lnTo>
                        <a:pt x="10463" y="16028"/>
                      </a:lnTo>
                      <a:lnTo>
                        <a:pt x="10546" y="15944"/>
                      </a:lnTo>
                      <a:lnTo>
                        <a:pt x="10714" y="15882"/>
                      </a:lnTo>
                      <a:lnTo>
                        <a:pt x="10693" y="15944"/>
                      </a:lnTo>
                      <a:lnTo>
                        <a:pt x="10630" y="16007"/>
                      </a:lnTo>
                      <a:lnTo>
                        <a:pt x="10630" y="16049"/>
                      </a:lnTo>
                      <a:lnTo>
                        <a:pt x="10693" y="16091"/>
                      </a:lnTo>
                      <a:lnTo>
                        <a:pt x="10714" y="16196"/>
                      </a:lnTo>
                      <a:lnTo>
                        <a:pt x="10693" y="16237"/>
                      </a:lnTo>
                      <a:lnTo>
                        <a:pt x="10776" y="16300"/>
                      </a:lnTo>
                      <a:lnTo>
                        <a:pt x="10881" y="16216"/>
                      </a:lnTo>
                      <a:lnTo>
                        <a:pt x="10944" y="16133"/>
                      </a:lnTo>
                      <a:lnTo>
                        <a:pt x="10986" y="16196"/>
                      </a:lnTo>
                      <a:lnTo>
                        <a:pt x="10965" y="16237"/>
                      </a:lnTo>
                      <a:lnTo>
                        <a:pt x="11049" y="16363"/>
                      </a:lnTo>
                      <a:lnTo>
                        <a:pt x="11069" y="16551"/>
                      </a:lnTo>
                      <a:lnTo>
                        <a:pt x="11049" y="16656"/>
                      </a:lnTo>
                      <a:lnTo>
                        <a:pt x="11090" y="16823"/>
                      </a:lnTo>
                      <a:lnTo>
                        <a:pt x="11153" y="16823"/>
                      </a:lnTo>
                      <a:lnTo>
                        <a:pt x="11195" y="16677"/>
                      </a:lnTo>
                      <a:lnTo>
                        <a:pt x="11195" y="16572"/>
                      </a:lnTo>
                      <a:lnTo>
                        <a:pt x="11300" y="16426"/>
                      </a:lnTo>
                      <a:lnTo>
                        <a:pt x="11321" y="16321"/>
                      </a:lnTo>
                      <a:lnTo>
                        <a:pt x="11467" y="16216"/>
                      </a:lnTo>
                      <a:lnTo>
                        <a:pt x="11488" y="16216"/>
                      </a:lnTo>
                      <a:lnTo>
                        <a:pt x="11593" y="16133"/>
                      </a:lnTo>
                      <a:lnTo>
                        <a:pt x="11739" y="16133"/>
                      </a:lnTo>
                      <a:lnTo>
                        <a:pt x="11593" y="16216"/>
                      </a:lnTo>
                      <a:lnTo>
                        <a:pt x="11425" y="16405"/>
                      </a:lnTo>
                      <a:lnTo>
                        <a:pt x="11425" y="16447"/>
                      </a:lnTo>
                      <a:lnTo>
                        <a:pt x="11572" y="16614"/>
                      </a:lnTo>
                      <a:lnTo>
                        <a:pt x="11634" y="16635"/>
                      </a:lnTo>
                      <a:lnTo>
                        <a:pt x="11802" y="16551"/>
                      </a:lnTo>
                      <a:lnTo>
                        <a:pt x="12032" y="16530"/>
                      </a:lnTo>
                      <a:lnTo>
                        <a:pt x="12137" y="16447"/>
                      </a:lnTo>
                      <a:lnTo>
                        <a:pt x="12220" y="16447"/>
                      </a:lnTo>
                      <a:lnTo>
                        <a:pt x="12429" y="16342"/>
                      </a:lnTo>
                      <a:lnTo>
                        <a:pt x="12513" y="16342"/>
                      </a:lnTo>
                      <a:lnTo>
                        <a:pt x="12429" y="16363"/>
                      </a:lnTo>
                      <a:lnTo>
                        <a:pt x="12304" y="16530"/>
                      </a:lnTo>
                      <a:lnTo>
                        <a:pt x="12304" y="16572"/>
                      </a:lnTo>
                      <a:lnTo>
                        <a:pt x="12220" y="16656"/>
                      </a:lnTo>
                      <a:lnTo>
                        <a:pt x="11906" y="16844"/>
                      </a:lnTo>
                      <a:lnTo>
                        <a:pt x="11781" y="16970"/>
                      </a:lnTo>
                      <a:lnTo>
                        <a:pt x="11676" y="17158"/>
                      </a:lnTo>
                      <a:lnTo>
                        <a:pt x="11634" y="17263"/>
                      </a:lnTo>
                      <a:lnTo>
                        <a:pt x="11697" y="17367"/>
                      </a:lnTo>
                      <a:lnTo>
                        <a:pt x="11802" y="17451"/>
                      </a:lnTo>
                      <a:lnTo>
                        <a:pt x="11613" y="17409"/>
                      </a:lnTo>
                      <a:lnTo>
                        <a:pt x="11530" y="17451"/>
                      </a:lnTo>
                      <a:lnTo>
                        <a:pt x="11425" y="17577"/>
                      </a:lnTo>
                      <a:lnTo>
                        <a:pt x="11383" y="17702"/>
                      </a:lnTo>
                      <a:lnTo>
                        <a:pt x="11216" y="17869"/>
                      </a:lnTo>
                      <a:lnTo>
                        <a:pt x="11153" y="17974"/>
                      </a:lnTo>
                      <a:lnTo>
                        <a:pt x="11174" y="18016"/>
                      </a:lnTo>
                      <a:lnTo>
                        <a:pt x="11216" y="18079"/>
                      </a:lnTo>
                      <a:lnTo>
                        <a:pt x="11195" y="18141"/>
                      </a:lnTo>
                      <a:lnTo>
                        <a:pt x="11111" y="18121"/>
                      </a:lnTo>
                      <a:lnTo>
                        <a:pt x="11090" y="18037"/>
                      </a:lnTo>
                      <a:lnTo>
                        <a:pt x="11007" y="18016"/>
                      </a:lnTo>
                      <a:lnTo>
                        <a:pt x="10944" y="18121"/>
                      </a:lnTo>
                      <a:lnTo>
                        <a:pt x="10776" y="18204"/>
                      </a:lnTo>
                      <a:lnTo>
                        <a:pt x="10839" y="18288"/>
                      </a:lnTo>
                      <a:lnTo>
                        <a:pt x="10776" y="18351"/>
                      </a:lnTo>
                      <a:lnTo>
                        <a:pt x="10693" y="18330"/>
                      </a:lnTo>
                      <a:lnTo>
                        <a:pt x="10672" y="18288"/>
                      </a:lnTo>
                      <a:lnTo>
                        <a:pt x="10630" y="18330"/>
                      </a:lnTo>
                      <a:lnTo>
                        <a:pt x="10358" y="18539"/>
                      </a:lnTo>
                      <a:lnTo>
                        <a:pt x="10274" y="18644"/>
                      </a:lnTo>
                      <a:lnTo>
                        <a:pt x="10316" y="18727"/>
                      </a:lnTo>
                      <a:lnTo>
                        <a:pt x="10253" y="18769"/>
                      </a:lnTo>
                      <a:lnTo>
                        <a:pt x="10170" y="18748"/>
                      </a:lnTo>
                      <a:lnTo>
                        <a:pt x="10170" y="18644"/>
                      </a:lnTo>
                      <a:lnTo>
                        <a:pt x="10023" y="18727"/>
                      </a:lnTo>
                      <a:lnTo>
                        <a:pt x="9898" y="18811"/>
                      </a:lnTo>
                      <a:lnTo>
                        <a:pt x="9793" y="18853"/>
                      </a:lnTo>
                      <a:lnTo>
                        <a:pt x="9751" y="18937"/>
                      </a:lnTo>
                      <a:lnTo>
                        <a:pt x="9647" y="18978"/>
                      </a:lnTo>
                      <a:lnTo>
                        <a:pt x="9500" y="18978"/>
                      </a:lnTo>
                      <a:lnTo>
                        <a:pt x="9333" y="19146"/>
                      </a:lnTo>
                      <a:lnTo>
                        <a:pt x="9082" y="19250"/>
                      </a:lnTo>
                      <a:lnTo>
                        <a:pt x="8893" y="19397"/>
                      </a:lnTo>
                      <a:lnTo>
                        <a:pt x="8810" y="19564"/>
                      </a:lnTo>
                      <a:lnTo>
                        <a:pt x="8810" y="19606"/>
                      </a:lnTo>
                      <a:lnTo>
                        <a:pt x="8872" y="19711"/>
                      </a:lnTo>
                      <a:lnTo>
                        <a:pt x="8872" y="19794"/>
                      </a:lnTo>
                      <a:lnTo>
                        <a:pt x="8852" y="19815"/>
                      </a:lnTo>
                      <a:lnTo>
                        <a:pt x="8768" y="19711"/>
                      </a:lnTo>
                      <a:lnTo>
                        <a:pt x="8747" y="19711"/>
                      </a:lnTo>
                      <a:lnTo>
                        <a:pt x="8705" y="19773"/>
                      </a:lnTo>
                      <a:lnTo>
                        <a:pt x="8747" y="19857"/>
                      </a:lnTo>
                      <a:lnTo>
                        <a:pt x="8684" y="19878"/>
                      </a:lnTo>
                      <a:lnTo>
                        <a:pt x="8621" y="19794"/>
                      </a:lnTo>
                      <a:lnTo>
                        <a:pt x="8705" y="19711"/>
                      </a:lnTo>
                      <a:cubicBezTo>
                        <a:pt x="8761" y="19673"/>
                        <a:pt x="8717" y="19603"/>
                        <a:pt x="8677" y="19603"/>
                      </a:cubicBezTo>
                      <a:cubicBezTo>
                        <a:pt x="8673" y="19603"/>
                        <a:pt x="8668" y="19604"/>
                        <a:pt x="8663" y="19606"/>
                      </a:cubicBezTo>
                      <a:lnTo>
                        <a:pt x="8600" y="19585"/>
                      </a:lnTo>
                      <a:lnTo>
                        <a:pt x="8496" y="19585"/>
                      </a:lnTo>
                      <a:lnTo>
                        <a:pt x="8454" y="19564"/>
                      </a:lnTo>
                      <a:lnTo>
                        <a:pt x="8349" y="19585"/>
                      </a:lnTo>
                      <a:lnTo>
                        <a:pt x="8161" y="19606"/>
                      </a:lnTo>
                      <a:lnTo>
                        <a:pt x="8056" y="19669"/>
                      </a:lnTo>
                      <a:lnTo>
                        <a:pt x="7973" y="19773"/>
                      </a:lnTo>
                      <a:lnTo>
                        <a:pt x="7826" y="19815"/>
                      </a:lnTo>
                      <a:lnTo>
                        <a:pt x="7680" y="19899"/>
                      </a:lnTo>
                      <a:lnTo>
                        <a:pt x="7554" y="20066"/>
                      </a:lnTo>
                      <a:lnTo>
                        <a:pt x="7575" y="20108"/>
                      </a:lnTo>
                      <a:lnTo>
                        <a:pt x="7533" y="20171"/>
                      </a:lnTo>
                      <a:lnTo>
                        <a:pt x="7471" y="20171"/>
                      </a:lnTo>
                      <a:lnTo>
                        <a:pt x="7345" y="20213"/>
                      </a:lnTo>
                      <a:lnTo>
                        <a:pt x="7261" y="20276"/>
                      </a:lnTo>
                      <a:lnTo>
                        <a:pt x="7261" y="20338"/>
                      </a:lnTo>
                      <a:lnTo>
                        <a:pt x="7219" y="20338"/>
                      </a:lnTo>
                      <a:lnTo>
                        <a:pt x="7115" y="20318"/>
                      </a:lnTo>
                      <a:lnTo>
                        <a:pt x="7010" y="20338"/>
                      </a:lnTo>
                      <a:lnTo>
                        <a:pt x="6989" y="20422"/>
                      </a:lnTo>
                      <a:lnTo>
                        <a:pt x="6947" y="20548"/>
                      </a:lnTo>
                      <a:lnTo>
                        <a:pt x="6947" y="20590"/>
                      </a:lnTo>
                      <a:cubicBezTo>
                        <a:pt x="6927" y="20590"/>
                        <a:pt x="6906" y="20610"/>
                        <a:pt x="6885" y="20610"/>
                      </a:cubicBezTo>
                      <a:lnTo>
                        <a:pt x="6843" y="20590"/>
                      </a:lnTo>
                      <a:lnTo>
                        <a:pt x="6906" y="20485"/>
                      </a:lnTo>
                      <a:lnTo>
                        <a:pt x="6822" y="20380"/>
                      </a:lnTo>
                      <a:lnTo>
                        <a:pt x="6675" y="20380"/>
                      </a:lnTo>
                      <a:lnTo>
                        <a:pt x="6634" y="20422"/>
                      </a:lnTo>
                      <a:lnTo>
                        <a:pt x="6571" y="20485"/>
                      </a:lnTo>
                      <a:lnTo>
                        <a:pt x="6466" y="20485"/>
                      </a:lnTo>
                      <a:lnTo>
                        <a:pt x="6403" y="20527"/>
                      </a:lnTo>
                      <a:lnTo>
                        <a:pt x="6299" y="20422"/>
                      </a:lnTo>
                      <a:lnTo>
                        <a:pt x="6257" y="20422"/>
                      </a:lnTo>
                      <a:lnTo>
                        <a:pt x="6152" y="20610"/>
                      </a:lnTo>
                      <a:lnTo>
                        <a:pt x="6090" y="20631"/>
                      </a:lnTo>
                      <a:lnTo>
                        <a:pt x="5985" y="20715"/>
                      </a:lnTo>
                      <a:lnTo>
                        <a:pt x="5943" y="20694"/>
                      </a:lnTo>
                      <a:lnTo>
                        <a:pt x="5880" y="20736"/>
                      </a:lnTo>
                      <a:lnTo>
                        <a:pt x="5859" y="20841"/>
                      </a:lnTo>
                      <a:lnTo>
                        <a:pt x="5880" y="20945"/>
                      </a:lnTo>
                      <a:lnTo>
                        <a:pt x="5943" y="20966"/>
                      </a:lnTo>
                      <a:cubicBezTo>
                        <a:pt x="5776" y="21029"/>
                        <a:pt x="5629" y="21071"/>
                        <a:pt x="5462" y="21154"/>
                      </a:cubicBezTo>
                      <a:lnTo>
                        <a:pt x="5441" y="21071"/>
                      </a:lnTo>
                      <a:lnTo>
                        <a:pt x="5378" y="21050"/>
                      </a:lnTo>
                      <a:lnTo>
                        <a:pt x="5378" y="21154"/>
                      </a:lnTo>
                      <a:lnTo>
                        <a:pt x="5378" y="21217"/>
                      </a:lnTo>
                      <a:cubicBezTo>
                        <a:pt x="5357" y="21217"/>
                        <a:pt x="5336" y="21238"/>
                        <a:pt x="5274" y="21238"/>
                      </a:cubicBezTo>
                      <a:lnTo>
                        <a:pt x="5232" y="21217"/>
                      </a:lnTo>
                      <a:lnTo>
                        <a:pt x="5169" y="21134"/>
                      </a:lnTo>
                      <a:lnTo>
                        <a:pt x="5064" y="21154"/>
                      </a:lnTo>
                      <a:lnTo>
                        <a:pt x="5064" y="21238"/>
                      </a:lnTo>
                      <a:lnTo>
                        <a:pt x="5127" y="21280"/>
                      </a:lnTo>
                      <a:cubicBezTo>
                        <a:pt x="5106" y="21322"/>
                        <a:pt x="5043" y="21322"/>
                        <a:pt x="5022" y="21343"/>
                      </a:cubicBezTo>
                      <a:lnTo>
                        <a:pt x="4960" y="21280"/>
                      </a:lnTo>
                      <a:lnTo>
                        <a:pt x="4960" y="21364"/>
                      </a:lnTo>
                      <a:cubicBezTo>
                        <a:pt x="4939" y="21385"/>
                        <a:pt x="4918" y="21385"/>
                        <a:pt x="4897" y="21385"/>
                      </a:cubicBezTo>
                      <a:lnTo>
                        <a:pt x="4855" y="21343"/>
                      </a:lnTo>
                      <a:lnTo>
                        <a:pt x="4730" y="21322"/>
                      </a:lnTo>
                      <a:lnTo>
                        <a:pt x="4688" y="21238"/>
                      </a:lnTo>
                      <a:lnTo>
                        <a:pt x="4583" y="21238"/>
                      </a:lnTo>
                      <a:lnTo>
                        <a:pt x="4478" y="21343"/>
                      </a:lnTo>
                      <a:lnTo>
                        <a:pt x="4478" y="21426"/>
                      </a:lnTo>
                      <a:lnTo>
                        <a:pt x="4541" y="21489"/>
                      </a:lnTo>
                      <a:cubicBezTo>
                        <a:pt x="4520" y="21489"/>
                        <a:pt x="4499" y="21531"/>
                        <a:pt x="4499" y="21531"/>
                      </a:cubicBezTo>
                      <a:lnTo>
                        <a:pt x="4395" y="21468"/>
                      </a:lnTo>
                      <a:lnTo>
                        <a:pt x="4290" y="21552"/>
                      </a:lnTo>
                      <a:lnTo>
                        <a:pt x="4290" y="21594"/>
                      </a:lnTo>
                      <a:cubicBezTo>
                        <a:pt x="4081" y="21678"/>
                        <a:pt x="3893" y="21761"/>
                        <a:pt x="3683" y="21845"/>
                      </a:cubicBezTo>
                      <a:lnTo>
                        <a:pt x="3704" y="21782"/>
                      </a:lnTo>
                      <a:lnTo>
                        <a:pt x="3809" y="21740"/>
                      </a:lnTo>
                      <a:lnTo>
                        <a:pt x="3746" y="21698"/>
                      </a:lnTo>
                      <a:lnTo>
                        <a:pt x="3704" y="21573"/>
                      </a:lnTo>
                      <a:lnTo>
                        <a:pt x="3600" y="21636"/>
                      </a:lnTo>
                      <a:lnTo>
                        <a:pt x="3432" y="21636"/>
                      </a:lnTo>
                      <a:lnTo>
                        <a:pt x="3453" y="21698"/>
                      </a:lnTo>
                      <a:lnTo>
                        <a:pt x="3390" y="21803"/>
                      </a:lnTo>
                      <a:lnTo>
                        <a:pt x="3286" y="21845"/>
                      </a:lnTo>
                      <a:lnTo>
                        <a:pt x="3160" y="21970"/>
                      </a:lnTo>
                      <a:lnTo>
                        <a:pt x="3160" y="22012"/>
                      </a:lnTo>
                      <a:cubicBezTo>
                        <a:pt x="2951" y="22096"/>
                        <a:pt x="2742" y="22159"/>
                        <a:pt x="2533" y="22201"/>
                      </a:cubicBezTo>
                      <a:lnTo>
                        <a:pt x="2512" y="22180"/>
                      </a:lnTo>
                      <a:lnTo>
                        <a:pt x="2386" y="22222"/>
                      </a:lnTo>
                      <a:lnTo>
                        <a:pt x="2407" y="22263"/>
                      </a:lnTo>
                      <a:cubicBezTo>
                        <a:pt x="2344" y="22263"/>
                        <a:pt x="2302" y="22284"/>
                        <a:pt x="2240" y="22284"/>
                      </a:cubicBezTo>
                      <a:cubicBezTo>
                        <a:pt x="2177" y="22305"/>
                        <a:pt x="2093" y="22305"/>
                        <a:pt x="2009" y="22326"/>
                      </a:cubicBezTo>
                      <a:lnTo>
                        <a:pt x="1926" y="22263"/>
                      </a:lnTo>
                      <a:lnTo>
                        <a:pt x="1821" y="22368"/>
                      </a:lnTo>
                      <a:lnTo>
                        <a:pt x="1821" y="22389"/>
                      </a:lnTo>
                      <a:cubicBezTo>
                        <a:pt x="1758" y="22410"/>
                        <a:pt x="1654" y="22410"/>
                        <a:pt x="1570" y="22431"/>
                      </a:cubicBezTo>
                      <a:cubicBezTo>
                        <a:pt x="1264" y="22480"/>
                        <a:pt x="957" y="22500"/>
                        <a:pt x="651" y="22500"/>
                      </a:cubicBezTo>
                      <a:cubicBezTo>
                        <a:pt x="434" y="22500"/>
                        <a:pt x="218" y="22490"/>
                        <a:pt x="1" y="22473"/>
                      </a:cubicBezTo>
                      <a:lnTo>
                        <a:pt x="1" y="22473"/>
                      </a:lnTo>
                      <a:cubicBezTo>
                        <a:pt x="332" y="22512"/>
                        <a:pt x="664" y="22527"/>
                        <a:pt x="990" y="22527"/>
                      </a:cubicBezTo>
                      <a:cubicBezTo>
                        <a:pt x="1179" y="22527"/>
                        <a:pt x="1365" y="22522"/>
                        <a:pt x="1549" y="22514"/>
                      </a:cubicBezTo>
                      <a:lnTo>
                        <a:pt x="1549" y="22535"/>
                      </a:lnTo>
                      <a:lnTo>
                        <a:pt x="1654" y="22577"/>
                      </a:lnTo>
                      <a:lnTo>
                        <a:pt x="1612" y="22514"/>
                      </a:lnTo>
                      <a:cubicBezTo>
                        <a:pt x="2093" y="22473"/>
                        <a:pt x="2533" y="22389"/>
                        <a:pt x="2972" y="22263"/>
                      </a:cubicBezTo>
                      <a:lnTo>
                        <a:pt x="2972" y="22263"/>
                      </a:lnTo>
                      <a:lnTo>
                        <a:pt x="2867" y="22368"/>
                      </a:lnTo>
                      <a:lnTo>
                        <a:pt x="3077" y="22368"/>
                      </a:lnTo>
                      <a:lnTo>
                        <a:pt x="3223" y="22222"/>
                      </a:lnTo>
                      <a:lnTo>
                        <a:pt x="3370" y="22222"/>
                      </a:lnTo>
                      <a:lnTo>
                        <a:pt x="3453" y="22159"/>
                      </a:lnTo>
                      <a:cubicBezTo>
                        <a:pt x="3579" y="22096"/>
                        <a:pt x="3746" y="22075"/>
                        <a:pt x="3872" y="22012"/>
                      </a:cubicBezTo>
                      <a:lnTo>
                        <a:pt x="3893" y="22054"/>
                      </a:lnTo>
                      <a:lnTo>
                        <a:pt x="4081" y="22054"/>
                      </a:lnTo>
                      <a:lnTo>
                        <a:pt x="4227" y="21991"/>
                      </a:lnTo>
                      <a:lnTo>
                        <a:pt x="4290" y="21719"/>
                      </a:lnTo>
                      <a:lnTo>
                        <a:pt x="4311" y="21803"/>
                      </a:lnTo>
                      <a:lnTo>
                        <a:pt x="4374" y="21845"/>
                      </a:lnTo>
                      <a:lnTo>
                        <a:pt x="4416" y="21740"/>
                      </a:lnTo>
                      <a:lnTo>
                        <a:pt x="4458" y="21657"/>
                      </a:lnTo>
                      <a:lnTo>
                        <a:pt x="4520" y="21678"/>
                      </a:lnTo>
                      <a:lnTo>
                        <a:pt x="4562" y="21740"/>
                      </a:lnTo>
                      <a:lnTo>
                        <a:pt x="4604" y="21719"/>
                      </a:lnTo>
                      <a:lnTo>
                        <a:pt x="4688" y="21615"/>
                      </a:lnTo>
                      <a:lnTo>
                        <a:pt x="4834" y="21531"/>
                      </a:lnTo>
                      <a:lnTo>
                        <a:pt x="4834" y="21468"/>
                      </a:lnTo>
                      <a:cubicBezTo>
                        <a:pt x="5043" y="21406"/>
                        <a:pt x="5253" y="21301"/>
                        <a:pt x="5462" y="21217"/>
                      </a:cubicBezTo>
                      <a:lnTo>
                        <a:pt x="5462" y="21217"/>
                      </a:lnTo>
                      <a:lnTo>
                        <a:pt x="5420" y="21238"/>
                      </a:lnTo>
                      <a:lnTo>
                        <a:pt x="5546" y="21238"/>
                      </a:lnTo>
                      <a:lnTo>
                        <a:pt x="5504" y="21196"/>
                      </a:lnTo>
                      <a:cubicBezTo>
                        <a:pt x="5839" y="21050"/>
                        <a:pt x="6173" y="20903"/>
                        <a:pt x="6508" y="20778"/>
                      </a:cubicBezTo>
                      <a:lnTo>
                        <a:pt x="6571" y="20799"/>
                      </a:lnTo>
                      <a:lnTo>
                        <a:pt x="6759" y="20778"/>
                      </a:lnTo>
                      <a:lnTo>
                        <a:pt x="6822" y="20694"/>
                      </a:lnTo>
                      <a:lnTo>
                        <a:pt x="6989" y="20715"/>
                      </a:lnTo>
                      <a:lnTo>
                        <a:pt x="6989" y="20673"/>
                      </a:lnTo>
                      <a:lnTo>
                        <a:pt x="6927" y="20610"/>
                      </a:lnTo>
                      <a:cubicBezTo>
                        <a:pt x="7031" y="20569"/>
                        <a:pt x="7136" y="20527"/>
                        <a:pt x="7240" y="20485"/>
                      </a:cubicBezTo>
                      <a:lnTo>
                        <a:pt x="7282" y="20485"/>
                      </a:lnTo>
                      <a:cubicBezTo>
                        <a:pt x="7324" y="20464"/>
                        <a:pt x="7387" y="20422"/>
                        <a:pt x="7429" y="20422"/>
                      </a:cubicBezTo>
                      <a:lnTo>
                        <a:pt x="7450" y="20485"/>
                      </a:lnTo>
                      <a:lnTo>
                        <a:pt x="7554" y="20485"/>
                      </a:lnTo>
                      <a:lnTo>
                        <a:pt x="7617" y="20380"/>
                      </a:lnTo>
                      <a:lnTo>
                        <a:pt x="7638" y="20464"/>
                      </a:lnTo>
                      <a:lnTo>
                        <a:pt x="7659" y="20464"/>
                      </a:lnTo>
                      <a:lnTo>
                        <a:pt x="7701" y="20380"/>
                      </a:lnTo>
                      <a:lnTo>
                        <a:pt x="7763" y="20318"/>
                      </a:lnTo>
                      <a:lnTo>
                        <a:pt x="7868" y="20318"/>
                      </a:lnTo>
                      <a:lnTo>
                        <a:pt x="7973" y="20255"/>
                      </a:lnTo>
                      <a:lnTo>
                        <a:pt x="8015" y="20171"/>
                      </a:lnTo>
                      <a:cubicBezTo>
                        <a:pt x="8077" y="20150"/>
                        <a:pt x="8161" y="20087"/>
                        <a:pt x="8224" y="20066"/>
                      </a:cubicBezTo>
                      <a:lnTo>
                        <a:pt x="8224" y="20066"/>
                      </a:lnTo>
                      <a:lnTo>
                        <a:pt x="8182" y="20108"/>
                      </a:lnTo>
                      <a:lnTo>
                        <a:pt x="8182" y="20213"/>
                      </a:lnTo>
                      <a:lnTo>
                        <a:pt x="8224" y="20255"/>
                      </a:lnTo>
                      <a:lnTo>
                        <a:pt x="8370" y="20150"/>
                      </a:lnTo>
                      <a:lnTo>
                        <a:pt x="8391" y="20066"/>
                      </a:lnTo>
                      <a:lnTo>
                        <a:pt x="8475" y="20045"/>
                      </a:lnTo>
                      <a:lnTo>
                        <a:pt x="8496" y="20087"/>
                      </a:lnTo>
                      <a:lnTo>
                        <a:pt x="8538" y="20045"/>
                      </a:lnTo>
                      <a:lnTo>
                        <a:pt x="8580" y="20045"/>
                      </a:lnTo>
                      <a:lnTo>
                        <a:pt x="8600" y="20108"/>
                      </a:lnTo>
                      <a:lnTo>
                        <a:pt x="8580" y="20192"/>
                      </a:lnTo>
                      <a:lnTo>
                        <a:pt x="8642" y="20192"/>
                      </a:lnTo>
                      <a:lnTo>
                        <a:pt x="8705" y="20087"/>
                      </a:lnTo>
                      <a:lnTo>
                        <a:pt x="8789" y="20087"/>
                      </a:lnTo>
                      <a:lnTo>
                        <a:pt x="8872" y="20004"/>
                      </a:lnTo>
                      <a:lnTo>
                        <a:pt x="8977" y="20004"/>
                      </a:lnTo>
                      <a:lnTo>
                        <a:pt x="9082" y="19857"/>
                      </a:lnTo>
                      <a:lnTo>
                        <a:pt x="9186" y="19794"/>
                      </a:lnTo>
                      <a:lnTo>
                        <a:pt x="9270" y="19836"/>
                      </a:lnTo>
                      <a:lnTo>
                        <a:pt x="9270" y="19899"/>
                      </a:lnTo>
                      <a:lnTo>
                        <a:pt x="9186" y="20004"/>
                      </a:lnTo>
                      <a:lnTo>
                        <a:pt x="9103" y="20150"/>
                      </a:lnTo>
                      <a:lnTo>
                        <a:pt x="9103" y="20192"/>
                      </a:lnTo>
                      <a:lnTo>
                        <a:pt x="9165" y="20192"/>
                      </a:lnTo>
                      <a:lnTo>
                        <a:pt x="9312" y="20045"/>
                      </a:lnTo>
                      <a:lnTo>
                        <a:pt x="9312" y="19857"/>
                      </a:lnTo>
                      <a:lnTo>
                        <a:pt x="9333" y="19836"/>
                      </a:lnTo>
                      <a:lnTo>
                        <a:pt x="9396" y="19899"/>
                      </a:lnTo>
                      <a:lnTo>
                        <a:pt x="9479" y="19857"/>
                      </a:lnTo>
                      <a:lnTo>
                        <a:pt x="9542" y="19878"/>
                      </a:lnTo>
                      <a:lnTo>
                        <a:pt x="9647" y="19878"/>
                      </a:lnTo>
                      <a:lnTo>
                        <a:pt x="9751" y="19753"/>
                      </a:lnTo>
                      <a:lnTo>
                        <a:pt x="9793" y="19753"/>
                      </a:lnTo>
                      <a:lnTo>
                        <a:pt x="9814" y="19773"/>
                      </a:lnTo>
                      <a:lnTo>
                        <a:pt x="9856" y="19648"/>
                      </a:lnTo>
                      <a:lnTo>
                        <a:pt x="9919" y="19585"/>
                      </a:lnTo>
                      <a:lnTo>
                        <a:pt x="9940" y="19627"/>
                      </a:lnTo>
                      <a:lnTo>
                        <a:pt x="9919" y="19690"/>
                      </a:lnTo>
                      <a:lnTo>
                        <a:pt x="9919" y="19794"/>
                      </a:lnTo>
                      <a:lnTo>
                        <a:pt x="9960" y="19773"/>
                      </a:lnTo>
                      <a:lnTo>
                        <a:pt x="10044" y="19669"/>
                      </a:lnTo>
                      <a:lnTo>
                        <a:pt x="10002" y="19648"/>
                      </a:lnTo>
                      <a:lnTo>
                        <a:pt x="10065" y="19564"/>
                      </a:lnTo>
                      <a:lnTo>
                        <a:pt x="10065" y="19522"/>
                      </a:lnTo>
                      <a:lnTo>
                        <a:pt x="9898" y="19522"/>
                      </a:lnTo>
                      <a:lnTo>
                        <a:pt x="9856" y="19481"/>
                      </a:lnTo>
                      <a:lnTo>
                        <a:pt x="10023" y="19439"/>
                      </a:lnTo>
                      <a:lnTo>
                        <a:pt x="10212" y="19334"/>
                      </a:lnTo>
                      <a:lnTo>
                        <a:pt x="10442" y="19334"/>
                      </a:lnTo>
                      <a:lnTo>
                        <a:pt x="10484" y="19271"/>
                      </a:lnTo>
                      <a:lnTo>
                        <a:pt x="10484" y="19209"/>
                      </a:lnTo>
                      <a:lnTo>
                        <a:pt x="10442" y="19209"/>
                      </a:lnTo>
                      <a:lnTo>
                        <a:pt x="10484" y="19167"/>
                      </a:lnTo>
                      <a:lnTo>
                        <a:pt x="10567" y="19146"/>
                      </a:lnTo>
                      <a:lnTo>
                        <a:pt x="10651" y="19104"/>
                      </a:lnTo>
                      <a:lnTo>
                        <a:pt x="10693" y="19104"/>
                      </a:lnTo>
                      <a:lnTo>
                        <a:pt x="10735" y="19209"/>
                      </a:lnTo>
                      <a:lnTo>
                        <a:pt x="10839" y="19209"/>
                      </a:lnTo>
                      <a:lnTo>
                        <a:pt x="10881" y="19125"/>
                      </a:lnTo>
                      <a:lnTo>
                        <a:pt x="10860" y="19104"/>
                      </a:lnTo>
                      <a:lnTo>
                        <a:pt x="10944" y="19020"/>
                      </a:lnTo>
                      <a:lnTo>
                        <a:pt x="10944" y="18916"/>
                      </a:lnTo>
                      <a:lnTo>
                        <a:pt x="10986" y="18853"/>
                      </a:lnTo>
                      <a:lnTo>
                        <a:pt x="11049" y="18916"/>
                      </a:lnTo>
                      <a:lnTo>
                        <a:pt x="11049" y="18999"/>
                      </a:lnTo>
                      <a:lnTo>
                        <a:pt x="11090" y="19041"/>
                      </a:lnTo>
                      <a:lnTo>
                        <a:pt x="11216" y="18957"/>
                      </a:lnTo>
                      <a:lnTo>
                        <a:pt x="11279" y="18895"/>
                      </a:lnTo>
                      <a:lnTo>
                        <a:pt x="11362" y="18895"/>
                      </a:lnTo>
                      <a:lnTo>
                        <a:pt x="11404" y="18790"/>
                      </a:lnTo>
                      <a:lnTo>
                        <a:pt x="11425" y="18748"/>
                      </a:lnTo>
                      <a:lnTo>
                        <a:pt x="11488" y="18811"/>
                      </a:lnTo>
                      <a:lnTo>
                        <a:pt x="11593" y="18790"/>
                      </a:lnTo>
                      <a:lnTo>
                        <a:pt x="11718" y="18623"/>
                      </a:lnTo>
                      <a:lnTo>
                        <a:pt x="11718" y="18539"/>
                      </a:lnTo>
                      <a:lnTo>
                        <a:pt x="11613" y="18539"/>
                      </a:lnTo>
                      <a:lnTo>
                        <a:pt x="11593" y="18518"/>
                      </a:lnTo>
                      <a:lnTo>
                        <a:pt x="11739" y="18413"/>
                      </a:lnTo>
                      <a:lnTo>
                        <a:pt x="11844" y="18393"/>
                      </a:lnTo>
                      <a:lnTo>
                        <a:pt x="11927" y="18288"/>
                      </a:lnTo>
                      <a:lnTo>
                        <a:pt x="11990" y="18288"/>
                      </a:lnTo>
                      <a:lnTo>
                        <a:pt x="12011" y="18330"/>
                      </a:lnTo>
                      <a:lnTo>
                        <a:pt x="12137" y="18204"/>
                      </a:lnTo>
                      <a:lnTo>
                        <a:pt x="12241" y="18141"/>
                      </a:lnTo>
                      <a:lnTo>
                        <a:pt x="12262" y="18079"/>
                      </a:lnTo>
                      <a:lnTo>
                        <a:pt x="12346" y="18037"/>
                      </a:lnTo>
                      <a:lnTo>
                        <a:pt x="12367" y="17995"/>
                      </a:lnTo>
                      <a:lnTo>
                        <a:pt x="12450" y="17995"/>
                      </a:lnTo>
                      <a:lnTo>
                        <a:pt x="12471" y="18079"/>
                      </a:lnTo>
                      <a:lnTo>
                        <a:pt x="12534" y="18100"/>
                      </a:lnTo>
                      <a:lnTo>
                        <a:pt x="12555" y="18016"/>
                      </a:lnTo>
                      <a:lnTo>
                        <a:pt x="12660" y="18016"/>
                      </a:lnTo>
                      <a:lnTo>
                        <a:pt x="12722" y="17995"/>
                      </a:lnTo>
                      <a:lnTo>
                        <a:pt x="12722" y="17911"/>
                      </a:lnTo>
                      <a:lnTo>
                        <a:pt x="12827" y="17890"/>
                      </a:lnTo>
                      <a:lnTo>
                        <a:pt x="12848" y="17828"/>
                      </a:lnTo>
                      <a:lnTo>
                        <a:pt x="12869" y="17869"/>
                      </a:lnTo>
                      <a:lnTo>
                        <a:pt x="13036" y="17890"/>
                      </a:lnTo>
                      <a:lnTo>
                        <a:pt x="13057" y="17786"/>
                      </a:lnTo>
                      <a:lnTo>
                        <a:pt x="13099" y="17786"/>
                      </a:lnTo>
                      <a:lnTo>
                        <a:pt x="13099" y="17849"/>
                      </a:lnTo>
                      <a:lnTo>
                        <a:pt x="13162" y="17849"/>
                      </a:lnTo>
                      <a:lnTo>
                        <a:pt x="13204" y="17786"/>
                      </a:lnTo>
                      <a:lnTo>
                        <a:pt x="13266" y="17849"/>
                      </a:lnTo>
                      <a:lnTo>
                        <a:pt x="13308" y="17807"/>
                      </a:lnTo>
                      <a:lnTo>
                        <a:pt x="13371" y="17660"/>
                      </a:lnTo>
                      <a:lnTo>
                        <a:pt x="13308" y="17660"/>
                      </a:lnTo>
                      <a:lnTo>
                        <a:pt x="13266" y="17681"/>
                      </a:lnTo>
                      <a:lnTo>
                        <a:pt x="13287" y="17597"/>
                      </a:lnTo>
                      <a:lnTo>
                        <a:pt x="13350" y="17556"/>
                      </a:lnTo>
                      <a:cubicBezTo>
                        <a:pt x="13371" y="17618"/>
                        <a:pt x="13392" y="17702"/>
                        <a:pt x="13455" y="17765"/>
                      </a:cubicBezTo>
                      <a:cubicBezTo>
                        <a:pt x="13517" y="17849"/>
                        <a:pt x="13392" y="17995"/>
                        <a:pt x="13308" y="18079"/>
                      </a:cubicBezTo>
                      <a:lnTo>
                        <a:pt x="13245" y="18183"/>
                      </a:lnTo>
                      <a:lnTo>
                        <a:pt x="13266" y="18225"/>
                      </a:lnTo>
                      <a:lnTo>
                        <a:pt x="13371" y="18309"/>
                      </a:lnTo>
                      <a:lnTo>
                        <a:pt x="13350" y="18413"/>
                      </a:lnTo>
                      <a:lnTo>
                        <a:pt x="13266" y="18351"/>
                      </a:lnTo>
                      <a:lnTo>
                        <a:pt x="13245" y="18393"/>
                      </a:lnTo>
                      <a:lnTo>
                        <a:pt x="13266" y="18497"/>
                      </a:lnTo>
                      <a:lnTo>
                        <a:pt x="13162" y="18623"/>
                      </a:lnTo>
                      <a:lnTo>
                        <a:pt x="13099" y="18602"/>
                      </a:lnTo>
                      <a:lnTo>
                        <a:pt x="13099" y="18351"/>
                      </a:lnTo>
                      <a:lnTo>
                        <a:pt x="13057" y="18330"/>
                      </a:lnTo>
                      <a:lnTo>
                        <a:pt x="12890" y="18351"/>
                      </a:lnTo>
                      <a:lnTo>
                        <a:pt x="12639" y="18497"/>
                      </a:lnTo>
                      <a:lnTo>
                        <a:pt x="12471" y="18602"/>
                      </a:lnTo>
                      <a:lnTo>
                        <a:pt x="12450" y="18665"/>
                      </a:lnTo>
                      <a:lnTo>
                        <a:pt x="12471" y="18727"/>
                      </a:lnTo>
                      <a:lnTo>
                        <a:pt x="12471" y="18853"/>
                      </a:lnTo>
                      <a:lnTo>
                        <a:pt x="12450" y="18957"/>
                      </a:lnTo>
                      <a:lnTo>
                        <a:pt x="12409" y="19041"/>
                      </a:lnTo>
                      <a:lnTo>
                        <a:pt x="12409" y="19146"/>
                      </a:lnTo>
                      <a:lnTo>
                        <a:pt x="12471" y="19188"/>
                      </a:lnTo>
                      <a:lnTo>
                        <a:pt x="12555" y="19167"/>
                      </a:lnTo>
                      <a:lnTo>
                        <a:pt x="12576" y="19125"/>
                      </a:lnTo>
                      <a:lnTo>
                        <a:pt x="12555" y="19083"/>
                      </a:lnTo>
                      <a:lnTo>
                        <a:pt x="12513" y="19062"/>
                      </a:lnTo>
                      <a:lnTo>
                        <a:pt x="12555" y="19020"/>
                      </a:lnTo>
                      <a:lnTo>
                        <a:pt x="12681" y="19020"/>
                      </a:lnTo>
                      <a:lnTo>
                        <a:pt x="12660" y="19062"/>
                      </a:lnTo>
                      <a:lnTo>
                        <a:pt x="12722" y="19125"/>
                      </a:lnTo>
                      <a:lnTo>
                        <a:pt x="12785" y="19041"/>
                      </a:lnTo>
                      <a:lnTo>
                        <a:pt x="12848" y="19041"/>
                      </a:lnTo>
                      <a:lnTo>
                        <a:pt x="12764" y="19146"/>
                      </a:lnTo>
                      <a:lnTo>
                        <a:pt x="12764" y="19188"/>
                      </a:lnTo>
                      <a:lnTo>
                        <a:pt x="12555" y="19355"/>
                      </a:lnTo>
                      <a:lnTo>
                        <a:pt x="12534" y="19397"/>
                      </a:lnTo>
                      <a:lnTo>
                        <a:pt x="12639" y="19439"/>
                      </a:lnTo>
                      <a:lnTo>
                        <a:pt x="12681" y="19355"/>
                      </a:lnTo>
                      <a:lnTo>
                        <a:pt x="12764" y="19292"/>
                      </a:lnTo>
                      <a:lnTo>
                        <a:pt x="12764" y="19229"/>
                      </a:lnTo>
                      <a:lnTo>
                        <a:pt x="12890" y="19146"/>
                      </a:lnTo>
                      <a:lnTo>
                        <a:pt x="12869" y="19083"/>
                      </a:lnTo>
                      <a:lnTo>
                        <a:pt x="12932" y="19041"/>
                      </a:lnTo>
                      <a:lnTo>
                        <a:pt x="12973" y="19041"/>
                      </a:lnTo>
                      <a:lnTo>
                        <a:pt x="13036" y="18916"/>
                      </a:lnTo>
                      <a:lnTo>
                        <a:pt x="13078" y="18937"/>
                      </a:lnTo>
                      <a:lnTo>
                        <a:pt x="13183" y="18916"/>
                      </a:lnTo>
                      <a:lnTo>
                        <a:pt x="13287" y="18937"/>
                      </a:lnTo>
                      <a:lnTo>
                        <a:pt x="13455" y="18832"/>
                      </a:lnTo>
                      <a:lnTo>
                        <a:pt x="13413" y="18748"/>
                      </a:lnTo>
                      <a:lnTo>
                        <a:pt x="13287" y="18706"/>
                      </a:lnTo>
                      <a:lnTo>
                        <a:pt x="13371" y="18665"/>
                      </a:lnTo>
                      <a:lnTo>
                        <a:pt x="13497" y="18665"/>
                      </a:lnTo>
                      <a:lnTo>
                        <a:pt x="13580" y="18769"/>
                      </a:lnTo>
                      <a:lnTo>
                        <a:pt x="13664" y="18769"/>
                      </a:lnTo>
                      <a:lnTo>
                        <a:pt x="13727" y="18665"/>
                      </a:lnTo>
                      <a:lnTo>
                        <a:pt x="13685" y="18539"/>
                      </a:lnTo>
                      <a:lnTo>
                        <a:pt x="13580" y="18518"/>
                      </a:lnTo>
                      <a:lnTo>
                        <a:pt x="13622" y="18455"/>
                      </a:lnTo>
                      <a:lnTo>
                        <a:pt x="13706" y="18455"/>
                      </a:lnTo>
                      <a:lnTo>
                        <a:pt x="13789" y="18497"/>
                      </a:lnTo>
                      <a:lnTo>
                        <a:pt x="13852" y="18455"/>
                      </a:lnTo>
                      <a:lnTo>
                        <a:pt x="13894" y="18518"/>
                      </a:lnTo>
                      <a:lnTo>
                        <a:pt x="13957" y="18539"/>
                      </a:lnTo>
                      <a:lnTo>
                        <a:pt x="14041" y="18413"/>
                      </a:lnTo>
                      <a:lnTo>
                        <a:pt x="14020" y="18330"/>
                      </a:lnTo>
                      <a:lnTo>
                        <a:pt x="13957" y="18309"/>
                      </a:lnTo>
                      <a:lnTo>
                        <a:pt x="13957" y="18225"/>
                      </a:lnTo>
                      <a:lnTo>
                        <a:pt x="14062" y="18225"/>
                      </a:lnTo>
                      <a:lnTo>
                        <a:pt x="14166" y="18204"/>
                      </a:lnTo>
                      <a:lnTo>
                        <a:pt x="14124" y="18079"/>
                      </a:lnTo>
                      <a:lnTo>
                        <a:pt x="14041" y="18037"/>
                      </a:lnTo>
                      <a:lnTo>
                        <a:pt x="13957" y="18079"/>
                      </a:lnTo>
                      <a:lnTo>
                        <a:pt x="14041" y="17995"/>
                      </a:lnTo>
                      <a:cubicBezTo>
                        <a:pt x="14062" y="17974"/>
                        <a:pt x="14041" y="17932"/>
                        <a:pt x="14041" y="17932"/>
                      </a:cubicBezTo>
                      <a:lnTo>
                        <a:pt x="14145" y="17828"/>
                      </a:lnTo>
                      <a:lnTo>
                        <a:pt x="14166" y="17911"/>
                      </a:lnTo>
                      <a:lnTo>
                        <a:pt x="14229" y="17911"/>
                      </a:lnTo>
                      <a:lnTo>
                        <a:pt x="14313" y="17807"/>
                      </a:lnTo>
                      <a:lnTo>
                        <a:pt x="14354" y="17869"/>
                      </a:lnTo>
                      <a:lnTo>
                        <a:pt x="14438" y="17828"/>
                      </a:lnTo>
                      <a:lnTo>
                        <a:pt x="14417" y="17765"/>
                      </a:lnTo>
                      <a:lnTo>
                        <a:pt x="14334" y="17723"/>
                      </a:lnTo>
                      <a:lnTo>
                        <a:pt x="14396" y="17660"/>
                      </a:lnTo>
                      <a:lnTo>
                        <a:pt x="14438" y="17597"/>
                      </a:lnTo>
                      <a:lnTo>
                        <a:pt x="14396" y="17514"/>
                      </a:lnTo>
                      <a:lnTo>
                        <a:pt x="14313" y="17556"/>
                      </a:lnTo>
                      <a:lnTo>
                        <a:pt x="14292" y="17597"/>
                      </a:lnTo>
                      <a:lnTo>
                        <a:pt x="14229" y="17597"/>
                      </a:lnTo>
                      <a:lnTo>
                        <a:pt x="14250" y="17493"/>
                      </a:lnTo>
                      <a:lnTo>
                        <a:pt x="14208" y="17472"/>
                      </a:lnTo>
                      <a:lnTo>
                        <a:pt x="14103" y="17493"/>
                      </a:lnTo>
                      <a:lnTo>
                        <a:pt x="14041" y="17577"/>
                      </a:lnTo>
                      <a:lnTo>
                        <a:pt x="14103" y="17618"/>
                      </a:lnTo>
                      <a:lnTo>
                        <a:pt x="14041" y="17723"/>
                      </a:lnTo>
                      <a:lnTo>
                        <a:pt x="13999" y="17702"/>
                      </a:lnTo>
                      <a:lnTo>
                        <a:pt x="13978" y="17786"/>
                      </a:lnTo>
                      <a:lnTo>
                        <a:pt x="13894" y="17765"/>
                      </a:lnTo>
                      <a:lnTo>
                        <a:pt x="13831" y="17807"/>
                      </a:lnTo>
                      <a:lnTo>
                        <a:pt x="13873" y="17869"/>
                      </a:lnTo>
                      <a:lnTo>
                        <a:pt x="13999" y="17995"/>
                      </a:lnTo>
                      <a:lnTo>
                        <a:pt x="13831" y="18141"/>
                      </a:lnTo>
                      <a:lnTo>
                        <a:pt x="13831" y="18079"/>
                      </a:lnTo>
                      <a:lnTo>
                        <a:pt x="13727" y="17995"/>
                      </a:lnTo>
                      <a:lnTo>
                        <a:pt x="13685" y="18037"/>
                      </a:lnTo>
                      <a:lnTo>
                        <a:pt x="13706" y="18121"/>
                      </a:lnTo>
                      <a:lnTo>
                        <a:pt x="13685" y="18225"/>
                      </a:lnTo>
                      <a:lnTo>
                        <a:pt x="13622" y="18204"/>
                      </a:lnTo>
                      <a:lnTo>
                        <a:pt x="13580" y="18225"/>
                      </a:lnTo>
                      <a:lnTo>
                        <a:pt x="13517" y="18330"/>
                      </a:lnTo>
                      <a:lnTo>
                        <a:pt x="13434" y="18351"/>
                      </a:lnTo>
                      <a:lnTo>
                        <a:pt x="13434" y="18288"/>
                      </a:lnTo>
                      <a:lnTo>
                        <a:pt x="13497" y="18225"/>
                      </a:lnTo>
                      <a:lnTo>
                        <a:pt x="13497" y="18121"/>
                      </a:lnTo>
                      <a:lnTo>
                        <a:pt x="13413" y="18079"/>
                      </a:lnTo>
                      <a:lnTo>
                        <a:pt x="13371" y="18079"/>
                      </a:lnTo>
                      <a:cubicBezTo>
                        <a:pt x="13413" y="17995"/>
                        <a:pt x="13476" y="17911"/>
                        <a:pt x="13559" y="17849"/>
                      </a:cubicBezTo>
                      <a:lnTo>
                        <a:pt x="13559" y="17807"/>
                      </a:lnTo>
                      <a:cubicBezTo>
                        <a:pt x="13497" y="17702"/>
                        <a:pt x="13476" y="17597"/>
                        <a:pt x="13434" y="17493"/>
                      </a:cubicBezTo>
                      <a:lnTo>
                        <a:pt x="13476" y="17493"/>
                      </a:lnTo>
                      <a:lnTo>
                        <a:pt x="13517" y="17535"/>
                      </a:lnTo>
                      <a:lnTo>
                        <a:pt x="13538" y="17493"/>
                      </a:lnTo>
                      <a:lnTo>
                        <a:pt x="13497" y="17409"/>
                      </a:lnTo>
                      <a:lnTo>
                        <a:pt x="13413" y="17388"/>
                      </a:lnTo>
                      <a:lnTo>
                        <a:pt x="13476" y="17367"/>
                      </a:lnTo>
                      <a:lnTo>
                        <a:pt x="13580" y="17388"/>
                      </a:lnTo>
                      <a:lnTo>
                        <a:pt x="13706" y="17263"/>
                      </a:lnTo>
                      <a:lnTo>
                        <a:pt x="13831" y="17263"/>
                      </a:lnTo>
                      <a:lnTo>
                        <a:pt x="13936" y="17158"/>
                      </a:lnTo>
                      <a:lnTo>
                        <a:pt x="14020" y="17137"/>
                      </a:lnTo>
                      <a:lnTo>
                        <a:pt x="14145" y="16991"/>
                      </a:lnTo>
                      <a:lnTo>
                        <a:pt x="14145" y="16844"/>
                      </a:lnTo>
                      <a:lnTo>
                        <a:pt x="14103" y="16781"/>
                      </a:lnTo>
                      <a:lnTo>
                        <a:pt x="14082" y="16781"/>
                      </a:lnTo>
                      <a:lnTo>
                        <a:pt x="14020" y="16656"/>
                      </a:lnTo>
                      <a:lnTo>
                        <a:pt x="13957" y="16635"/>
                      </a:lnTo>
                      <a:lnTo>
                        <a:pt x="13810" y="16635"/>
                      </a:lnTo>
                      <a:lnTo>
                        <a:pt x="13831" y="16530"/>
                      </a:lnTo>
                      <a:lnTo>
                        <a:pt x="13831" y="16426"/>
                      </a:lnTo>
                      <a:lnTo>
                        <a:pt x="13999" y="16363"/>
                      </a:lnTo>
                      <a:lnTo>
                        <a:pt x="14020" y="16321"/>
                      </a:lnTo>
                      <a:lnTo>
                        <a:pt x="14103" y="16300"/>
                      </a:lnTo>
                      <a:lnTo>
                        <a:pt x="14124" y="16216"/>
                      </a:lnTo>
                      <a:lnTo>
                        <a:pt x="14103" y="16216"/>
                      </a:lnTo>
                      <a:lnTo>
                        <a:pt x="14145" y="16154"/>
                      </a:lnTo>
                      <a:lnTo>
                        <a:pt x="14250" y="16196"/>
                      </a:lnTo>
                      <a:lnTo>
                        <a:pt x="14417" y="16091"/>
                      </a:lnTo>
                      <a:lnTo>
                        <a:pt x="14522" y="16175"/>
                      </a:lnTo>
                      <a:lnTo>
                        <a:pt x="14647" y="16091"/>
                      </a:lnTo>
                      <a:lnTo>
                        <a:pt x="14626" y="16175"/>
                      </a:lnTo>
                      <a:lnTo>
                        <a:pt x="14647" y="16216"/>
                      </a:lnTo>
                      <a:lnTo>
                        <a:pt x="14731" y="16216"/>
                      </a:lnTo>
                      <a:lnTo>
                        <a:pt x="14857" y="16091"/>
                      </a:lnTo>
                      <a:lnTo>
                        <a:pt x="14836" y="16028"/>
                      </a:lnTo>
                      <a:lnTo>
                        <a:pt x="14773" y="16007"/>
                      </a:lnTo>
                      <a:lnTo>
                        <a:pt x="14752" y="15965"/>
                      </a:lnTo>
                      <a:lnTo>
                        <a:pt x="14794" y="15924"/>
                      </a:lnTo>
                      <a:lnTo>
                        <a:pt x="14919" y="15986"/>
                      </a:lnTo>
                      <a:lnTo>
                        <a:pt x="15129" y="15924"/>
                      </a:lnTo>
                      <a:lnTo>
                        <a:pt x="15170" y="15777"/>
                      </a:lnTo>
                      <a:lnTo>
                        <a:pt x="15129" y="15631"/>
                      </a:lnTo>
                      <a:lnTo>
                        <a:pt x="14961" y="15526"/>
                      </a:lnTo>
                      <a:lnTo>
                        <a:pt x="14891" y="15526"/>
                      </a:lnTo>
                      <a:lnTo>
                        <a:pt x="14919" y="15505"/>
                      </a:lnTo>
                      <a:lnTo>
                        <a:pt x="15066" y="15505"/>
                      </a:lnTo>
                      <a:lnTo>
                        <a:pt x="15150" y="15589"/>
                      </a:lnTo>
                      <a:lnTo>
                        <a:pt x="15296" y="15589"/>
                      </a:lnTo>
                      <a:lnTo>
                        <a:pt x="15401" y="15484"/>
                      </a:lnTo>
                      <a:lnTo>
                        <a:pt x="15401" y="15400"/>
                      </a:lnTo>
                      <a:lnTo>
                        <a:pt x="15673" y="15275"/>
                      </a:lnTo>
                      <a:lnTo>
                        <a:pt x="15798" y="15149"/>
                      </a:lnTo>
                      <a:lnTo>
                        <a:pt x="15924" y="15149"/>
                      </a:lnTo>
                      <a:lnTo>
                        <a:pt x="15986" y="15087"/>
                      </a:lnTo>
                      <a:lnTo>
                        <a:pt x="15986" y="15003"/>
                      </a:lnTo>
                      <a:lnTo>
                        <a:pt x="16217" y="14836"/>
                      </a:lnTo>
                      <a:lnTo>
                        <a:pt x="16426" y="14794"/>
                      </a:lnTo>
                      <a:lnTo>
                        <a:pt x="16656" y="14584"/>
                      </a:lnTo>
                      <a:lnTo>
                        <a:pt x="16844" y="14564"/>
                      </a:lnTo>
                      <a:lnTo>
                        <a:pt x="17033" y="14333"/>
                      </a:lnTo>
                      <a:lnTo>
                        <a:pt x="16949" y="14480"/>
                      </a:lnTo>
                      <a:lnTo>
                        <a:pt x="16949" y="14626"/>
                      </a:lnTo>
                      <a:lnTo>
                        <a:pt x="17012" y="14647"/>
                      </a:lnTo>
                      <a:lnTo>
                        <a:pt x="17075" y="14668"/>
                      </a:lnTo>
                      <a:lnTo>
                        <a:pt x="17116" y="14731"/>
                      </a:lnTo>
                      <a:lnTo>
                        <a:pt x="17263" y="14564"/>
                      </a:lnTo>
                      <a:lnTo>
                        <a:pt x="17367" y="14522"/>
                      </a:lnTo>
                      <a:lnTo>
                        <a:pt x="17598" y="14438"/>
                      </a:lnTo>
                      <a:lnTo>
                        <a:pt x="17681" y="14354"/>
                      </a:lnTo>
                      <a:lnTo>
                        <a:pt x="17681" y="14354"/>
                      </a:lnTo>
                      <a:lnTo>
                        <a:pt x="17639" y="14480"/>
                      </a:lnTo>
                      <a:lnTo>
                        <a:pt x="17451" y="14584"/>
                      </a:lnTo>
                      <a:lnTo>
                        <a:pt x="17326" y="14584"/>
                      </a:lnTo>
                      <a:lnTo>
                        <a:pt x="17054" y="14856"/>
                      </a:lnTo>
                      <a:lnTo>
                        <a:pt x="17033" y="14961"/>
                      </a:lnTo>
                      <a:lnTo>
                        <a:pt x="17158" y="15149"/>
                      </a:lnTo>
                      <a:lnTo>
                        <a:pt x="17179" y="15275"/>
                      </a:lnTo>
                      <a:lnTo>
                        <a:pt x="17054" y="15191"/>
                      </a:lnTo>
                      <a:lnTo>
                        <a:pt x="16949" y="15191"/>
                      </a:lnTo>
                      <a:lnTo>
                        <a:pt x="16886" y="15212"/>
                      </a:lnTo>
                      <a:lnTo>
                        <a:pt x="16823" y="15212"/>
                      </a:lnTo>
                      <a:lnTo>
                        <a:pt x="16719" y="15149"/>
                      </a:lnTo>
                      <a:lnTo>
                        <a:pt x="16698" y="14982"/>
                      </a:lnTo>
                      <a:lnTo>
                        <a:pt x="16510" y="15066"/>
                      </a:lnTo>
                      <a:lnTo>
                        <a:pt x="16405" y="15066"/>
                      </a:lnTo>
                      <a:lnTo>
                        <a:pt x="16238" y="15170"/>
                      </a:lnTo>
                      <a:lnTo>
                        <a:pt x="16091" y="15170"/>
                      </a:lnTo>
                      <a:lnTo>
                        <a:pt x="15986" y="15275"/>
                      </a:lnTo>
                      <a:lnTo>
                        <a:pt x="15986" y="15380"/>
                      </a:lnTo>
                      <a:lnTo>
                        <a:pt x="16007" y="15421"/>
                      </a:lnTo>
                      <a:lnTo>
                        <a:pt x="15903" y="15610"/>
                      </a:lnTo>
                      <a:lnTo>
                        <a:pt x="15777" y="15693"/>
                      </a:lnTo>
                      <a:lnTo>
                        <a:pt x="15714" y="15840"/>
                      </a:lnTo>
                      <a:lnTo>
                        <a:pt x="15380" y="16133"/>
                      </a:lnTo>
                      <a:lnTo>
                        <a:pt x="15296" y="16237"/>
                      </a:lnTo>
                      <a:lnTo>
                        <a:pt x="15296" y="16321"/>
                      </a:lnTo>
                      <a:lnTo>
                        <a:pt x="15401" y="16468"/>
                      </a:lnTo>
                      <a:lnTo>
                        <a:pt x="15463" y="16405"/>
                      </a:lnTo>
                      <a:lnTo>
                        <a:pt x="15505" y="16405"/>
                      </a:lnTo>
                      <a:lnTo>
                        <a:pt x="15610" y="16321"/>
                      </a:lnTo>
                      <a:lnTo>
                        <a:pt x="15694" y="16342"/>
                      </a:lnTo>
                      <a:lnTo>
                        <a:pt x="15694" y="16405"/>
                      </a:lnTo>
                      <a:lnTo>
                        <a:pt x="15484" y="16551"/>
                      </a:lnTo>
                      <a:lnTo>
                        <a:pt x="15401" y="16551"/>
                      </a:lnTo>
                      <a:lnTo>
                        <a:pt x="15359" y="16656"/>
                      </a:lnTo>
                      <a:lnTo>
                        <a:pt x="15254" y="16614"/>
                      </a:lnTo>
                      <a:lnTo>
                        <a:pt x="15170" y="16614"/>
                      </a:lnTo>
                      <a:lnTo>
                        <a:pt x="15087" y="16635"/>
                      </a:lnTo>
                      <a:lnTo>
                        <a:pt x="15087" y="16740"/>
                      </a:lnTo>
                      <a:lnTo>
                        <a:pt x="15024" y="16719"/>
                      </a:lnTo>
                      <a:lnTo>
                        <a:pt x="14919" y="16740"/>
                      </a:lnTo>
                      <a:lnTo>
                        <a:pt x="14919" y="16865"/>
                      </a:lnTo>
                      <a:lnTo>
                        <a:pt x="15066" y="17053"/>
                      </a:lnTo>
                      <a:lnTo>
                        <a:pt x="15129" y="17032"/>
                      </a:lnTo>
                      <a:lnTo>
                        <a:pt x="15170" y="16949"/>
                      </a:lnTo>
                      <a:lnTo>
                        <a:pt x="15233" y="17032"/>
                      </a:lnTo>
                      <a:lnTo>
                        <a:pt x="15275" y="16886"/>
                      </a:lnTo>
                      <a:lnTo>
                        <a:pt x="15359" y="16886"/>
                      </a:lnTo>
                      <a:lnTo>
                        <a:pt x="15359" y="16991"/>
                      </a:lnTo>
                      <a:lnTo>
                        <a:pt x="15442" y="16949"/>
                      </a:lnTo>
                      <a:lnTo>
                        <a:pt x="15463" y="16865"/>
                      </a:lnTo>
                      <a:lnTo>
                        <a:pt x="15526" y="16823"/>
                      </a:lnTo>
                      <a:lnTo>
                        <a:pt x="15652" y="16740"/>
                      </a:lnTo>
                      <a:lnTo>
                        <a:pt x="15652" y="16614"/>
                      </a:lnTo>
                      <a:lnTo>
                        <a:pt x="15714" y="16530"/>
                      </a:lnTo>
                      <a:lnTo>
                        <a:pt x="15714" y="16572"/>
                      </a:lnTo>
                      <a:lnTo>
                        <a:pt x="15673" y="16635"/>
                      </a:lnTo>
                      <a:lnTo>
                        <a:pt x="15714" y="16719"/>
                      </a:lnTo>
                      <a:lnTo>
                        <a:pt x="15840" y="16719"/>
                      </a:lnTo>
                      <a:lnTo>
                        <a:pt x="16028" y="16572"/>
                      </a:lnTo>
                      <a:lnTo>
                        <a:pt x="16175" y="16572"/>
                      </a:lnTo>
                      <a:lnTo>
                        <a:pt x="16196" y="16656"/>
                      </a:lnTo>
                      <a:lnTo>
                        <a:pt x="16258" y="16614"/>
                      </a:lnTo>
                      <a:lnTo>
                        <a:pt x="16321" y="16405"/>
                      </a:lnTo>
                      <a:lnTo>
                        <a:pt x="16447" y="16321"/>
                      </a:lnTo>
                      <a:lnTo>
                        <a:pt x="16510" y="16321"/>
                      </a:lnTo>
                      <a:lnTo>
                        <a:pt x="16363" y="16468"/>
                      </a:lnTo>
                      <a:lnTo>
                        <a:pt x="16363" y="16551"/>
                      </a:lnTo>
                      <a:lnTo>
                        <a:pt x="16447" y="16509"/>
                      </a:lnTo>
                      <a:lnTo>
                        <a:pt x="16572" y="16342"/>
                      </a:lnTo>
                      <a:lnTo>
                        <a:pt x="16656" y="16154"/>
                      </a:lnTo>
                      <a:lnTo>
                        <a:pt x="16740" y="16112"/>
                      </a:lnTo>
                      <a:lnTo>
                        <a:pt x="16740" y="16196"/>
                      </a:lnTo>
                      <a:lnTo>
                        <a:pt x="16656" y="16321"/>
                      </a:lnTo>
                      <a:lnTo>
                        <a:pt x="16656" y="16363"/>
                      </a:lnTo>
                      <a:lnTo>
                        <a:pt x="16782" y="16237"/>
                      </a:lnTo>
                      <a:lnTo>
                        <a:pt x="16844" y="16321"/>
                      </a:lnTo>
                      <a:lnTo>
                        <a:pt x="16844" y="16405"/>
                      </a:lnTo>
                      <a:lnTo>
                        <a:pt x="16970" y="16426"/>
                      </a:lnTo>
                      <a:lnTo>
                        <a:pt x="17033" y="16468"/>
                      </a:lnTo>
                      <a:lnTo>
                        <a:pt x="17095" y="16405"/>
                      </a:lnTo>
                      <a:lnTo>
                        <a:pt x="17158" y="16258"/>
                      </a:lnTo>
                      <a:lnTo>
                        <a:pt x="17305" y="16237"/>
                      </a:lnTo>
                      <a:lnTo>
                        <a:pt x="17409" y="16154"/>
                      </a:lnTo>
                      <a:lnTo>
                        <a:pt x="17347" y="16133"/>
                      </a:lnTo>
                      <a:lnTo>
                        <a:pt x="17367" y="16007"/>
                      </a:lnTo>
                      <a:lnTo>
                        <a:pt x="17577" y="15924"/>
                      </a:lnTo>
                      <a:lnTo>
                        <a:pt x="17598" y="15840"/>
                      </a:lnTo>
                      <a:lnTo>
                        <a:pt x="17598" y="15735"/>
                      </a:lnTo>
                      <a:lnTo>
                        <a:pt x="17493" y="15777"/>
                      </a:lnTo>
                      <a:lnTo>
                        <a:pt x="17409" y="15714"/>
                      </a:lnTo>
                      <a:lnTo>
                        <a:pt x="17284" y="15693"/>
                      </a:lnTo>
                      <a:lnTo>
                        <a:pt x="17347" y="15610"/>
                      </a:lnTo>
                      <a:lnTo>
                        <a:pt x="17451" y="15610"/>
                      </a:lnTo>
                      <a:lnTo>
                        <a:pt x="17514" y="15631"/>
                      </a:lnTo>
                      <a:lnTo>
                        <a:pt x="17577" y="15568"/>
                      </a:lnTo>
                      <a:lnTo>
                        <a:pt x="17577" y="15463"/>
                      </a:lnTo>
                      <a:lnTo>
                        <a:pt x="17472" y="15505"/>
                      </a:lnTo>
                      <a:lnTo>
                        <a:pt x="17367" y="15400"/>
                      </a:lnTo>
                      <a:lnTo>
                        <a:pt x="17367" y="15317"/>
                      </a:lnTo>
                      <a:lnTo>
                        <a:pt x="17514" y="15296"/>
                      </a:lnTo>
                      <a:lnTo>
                        <a:pt x="17598" y="15275"/>
                      </a:lnTo>
                      <a:lnTo>
                        <a:pt x="17660" y="15296"/>
                      </a:lnTo>
                      <a:lnTo>
                        <a:pt x="17681" y="15254"/>
                      </a:lnTo>
                      <a:lnTo>
                        <a:pt x="17619" y="15108"/>
                      </a:lnTo>
                      <a:lnTo>
                        <a:pt x="17807" y="15045"/>
                      </a:lnTo>
                      <a:lnTo>
                        <a:pt x="17911" y="15108"/>
                      </a:lnTo>
                      <a:lnTo>
                        <a:pt x="17995" y="15087"/>
                      </a:lnTo>
                      <a:lnTo>
                        <a:pt x="18121" y="15087"/>
                      </a:lnTo>
                      <a:lnTo>
                        <a:pt x="17911" y="15254"/>
                      </a:lnTo>
                      <a:lnTo>
                        <a:pt x="17911" y="15359"/>
                      </a:lnTo>
                      <a:lnTo>
                        <a:pt x="17932" y="15526"/>
                      </a:lnTo>
                      <a:lnTo>
                        <a:pt x="17995" y="15526"/>
                      </a:lnTo>
                      <a:lnTo>
                        <a:pt x="18079" y="15317"/>
                      </a:lnTo>
                      <a:lnTo>
                        <a:pt x="18142" y="15275"/>
                      </a:lnTo>
                      <a:lnTo>
                        <a:pt x="18204" y="15275"/>
                      </a:lnTo>
                      <a:lnTo>
                        <a:pt x="18183" y="15359"/>
                      </a:lnTo>
                      <a:lnTo>
                        <a:pt x="18121" y="15421"/>
                      </a:lnTo>
                      <a:lnTo>
                        <a:pt x="18142" y="15505"/>
                      </a:lnTo>
                      <a:lnTo>
                        <a:pt x="18288" y="15400"/>
                      </a:lnTo>
                      <a:lnTo>
                        <a:pt x="18309" y="15317"/>
                      </a:lnTo>
                      <a:lnTo>
                        <a:pt x="18393" y="15400"/>
                      </a:lnTo>
                      <a:lnTo>
                        <a:pt x="18497" y="15317"/>
                      </a:lnTo>
                      <a:lnTo>
                        <a:pt x="18539" y="15317"/>
                      </a:lnTo>
                      <a:lnTo>
                        <a:pt x="18644" y="15254"/>
                      </a:lnTo>
                      <a:lnTo>
                        <a:pt x="18769" y="15212"/>
                      </a:lnTo>
                      <a:lnTo>
                        <a:pt x="18874" y="15254"/>
                      </a:lnTo>
                      <a:lnTo>
                        <a:pt x="18853" y="15296"/>
                      </a:lnTo>
                      <a:lnTo>
                        <a:pt x="18727" y="15296"/>
                      </a:lnTo>
                      <a:lnTo>
                        <a:pt x="18602" y="15421"/>
                      </a:lnTo>
                      <a:lnTo>
                        <a:pt x="18686" y="15421"/>
                      </a:lnTo>
                      <a:lnTo>
                        <a:pt x="18623" y="15505"/>
                      </a:lnTo>
                      <a:lnTo>
                        <a:pt x="18686" y="15568"/>
                      </a:lnTo>
                      <a:lnTo>
                        <a:pt x="18895" y="15610"/>
                      </a:lnTo>
                      <a:lnTo>
                        <a:pt x="18958" y="15693"/>
                      </a:lnTo>
                      <a:lnTo>
                        <a:pt x="18958" y="15735"/>
                      </a:lnTo>
                      <a:lnTo>
                        <a:pt x="18832" y="15631"/>
                      </a:lnTo>
                      <a:lnTo>
                        <a:pt x="18686" y="15610"/>
                      </a:lnTo>
                      <a:lnTo>
                        <a:pt x="18581" y="15672"/>
                      </a:lnTo>
                      <a:lnTo>
                        <a:pt x="18581" y="15777"/>
                      </a:lnTo>
                      <a:lnTo>
                        <a:pt x="18644" y="15798"/>
                      </a:lnTo>
                      <a:lnTo>
                        <a:pt x="18748" y="15735"/>
                      </a:lnTo>
                      <a:lnTo>
                        <a:pt x="18832" y="15819"/>
                      </a:lnTo>
                      <a:lnTo>
                        <a:pt x="18790" y="15840"/>
                      </a:lnTo>
                      <a:lnTo>
                        <a:pt x="18644" y="15840"/>
                      </a:lnTo>
                      <a:lnTo>
                        <a:pt x="18644" y="15924"/>
                      </a:lnTo>
                      <a:lnTo>
                        <a:pt x="18811" y="15986"/>
                      </a:lnTo>
                      <a:lnTo>
                        <a:pt x="18853" y="16049"/>
                      </a:lnTo>
                      <a:lnTo>
                        <a:pt x="18790" y="16091"/>
                      </a:lnTo>
                      <a:lnTo>
                        <a:pt x="18707" y="16112"/>
                      </a:lnTo>
                      <a:lnTo>
                        <a:pt x="18707" y="16154"/>
                      </a:lnTo>
                      <a:lnTo>
                        <a:pt x="18811" y="16154"/>
                      </a:lnTo>
                      <a:lnTo>
                        <a:pt x="18916" y="16112"/>
                      </a:lnTo>
                      <a:lnTo>
                        <a:pt x="19020" y="16196"/>
                      </a:lnTo>
                      <a:lnTo>
                        <a:pt x="19125" y="16237"/>
                      </a:lnTo>
                      <a:lnTo>
                        <a:pt x="19271" y="16196"/>
                      </a:lnTo>
                      <a:lnTo>
                        <a:pt x="19334" y="16258"/>
                      </a:lnTo>
                      <a:lnTo>
                        <a:pt x="19334" y="16321"/>
                      </a:lnTo>
                      <a:lnTo>
                        <a:pt x="19251" y="16363"/>
                      </a:lnTo>
                      <a:lnTo>
                        <a:pt x="19271" y="16447"/>
                      </a:lnTo>
                      <a:lnTo>
                        <a:pt x="19334" y="16468"/>
                      </a:lnTo>
                      <a:lnTo>
                        <a:pt x="19355" y="16551"/>
                      </a:lnTo>
                      <a:lnTo>
                        <a:pt x="19439" y="16572"/>
                      </a:lnTo>
                      <a:lnTo>
                        <a:pt x="19523" y="16488"/>
                      </a:lnTo>
                      <a:lnTo>
                        <a:pt x="19481" y="16426"/>
                      </a:lnTo>
                      <a:lnTo>
                        <a:pt x="19523" y="16384"/>
                      </a:lnTo>
                      <a:lnTo>
                        <a:pt x="19648" y="16384"/>
                      </a:lnTo>
                      <a:lnTo>
                        <a:pt x="19564" y="16488"/>
                      </a:lnTo>
                      <a:lnTo>
                        <a:pt x="19564" y="16551"/>
                      </a:lnTo>
                      <a:lnTo>
                        <a:pt x="19418" y="16719"/>
                      </a:lnTo>
                      <a:lnTo>
                        <a:pt x="19443" y="16744"/>
                      </a:lnTo>
                      <a:lnTo>
                        <a:pt x="19376" y="16760"/>
                      </a:lnTo>
                      <a:lnTo>
                        <a:pt x="19418" y="16844"/>
                      </a:lnTo>
                      <a:lnTo>
                        <a:pt x="19690" y="16907"/>
                      </a:lnTo>
                      <a:lnTo>
                        <a:pt x="19774" y="16865"/>
                      </a:lnTo>
                      <a:lnTo>
                        <a:pt x="19857" y="16907"/>
                      </a:lnTo>
                      <a:lnTo>
                        <a:pt x="20108" y="16907"/>
                      </a:lnTo>
                      <a:lnTo>
                        <a:pt x="20234" y="16865"/>
                      </a:lnTo>
                      <a:lnTo>
                        <a:pt x="20297" y="16907"/>
                      </a:lnTo>
                      <a:lnTo>
                        <a:pt x="20297" y="16970"/>
                      </a:lnTo>
                      <a:lnTo>
                        <a:pt x="20380" y="16970"/>
                      </a:lnTo>
                      <a:lnTo>
                        <a:pt x="20443" y="17053"/>
                      </a:lnTo>
                      <a:lnTo>
                        <a:pt x="20527" y="17116"/>
                      </a:lnTo>
                      <a:lnTo>
                        <a:pt x="20548" y="17179"/>
                      </a:lnTo>
                      <a:lnTo>
                        <a:pt x="20652" y="17179"/>
                      </a:lnTo>
                      <a:lnTo>
                        <a:pt x="20820" y="17116"/>
                      </a:lnTo>
                      <a:lnTo>
                        <a:pt x="20841" y="17074"/>
                      </a:lnTo>
                      <a:lnTo>
                        <a:pt x="20904" y="17116"/>
                      </a:lnTo>
                      <a:lnTo>
                        <a:pt x="20904" y="17179"/>
                      </a:lnTo>
                      <a:lnTo>
                        <a:pt x="20820" y="17263"/>
                      </a:lnTo>
                      <a:lnTo>
                        <a:pt x="20715" y="17284"/>
                      </a:lnTo>
                      <a:lnTo>
                        <a:pt x="20736" y="17346"/>
                      </a:lnTo>
                      <a:lnTo>
                        <a:pt x="20904" y="17388"/>
                      </a:lnTo>
                      <a:lnTo>
                        <a:pt x="20924" y="17493"/>
                      </a:lnTo>
                      <a:lnTo>
                        <a:pt x="21008" y="17577"/>
                      </a:lnTo>
                      <a:lnTo>
                        <a:pt x="21176" y="17639"/>
                      </a:lnTo>
                      <a:lnTo>
                        <a:pt x="21385" y="17577"/>
                      </a:lnTo>
                      <a:lnTo>
                        <a:pt x="21468" y="17556"/>
                      </a:lnTo>
                      <a:lnTo>
                        <a:pt x="21489" y="17597"/>
                      </a:lnTo>
                      <a:lnTo>
                        <a:pt x="21573" y="17535"/>
                      </a:lnTo>
                      <a:lnTo>
                        <a:pt x="21740" y="17430"/>
                      </a:lnTo>
                      <a:lnTo>
                        <a:pt x="21782" y="17430"/>
                      </a:lnTo>
                      <a:lnTo>
                        <a:pt x="21740" y="17493"/>
                      </a:lnTo>
                      <a:lnTo>
                        <a:pt x="21636" y="17577"/>
                      </a:lnTo>
                      <a:lnTo>
                        <a:pt x="21594" y="17786"/>
                      </a:lnTo>
                      <a:lnTo>
                        <a:pt x="21552" y="17911"/>
                      </a:lnTo>
                      <a:lnTo>
                        <a:pt x="21468" y="17911"/>
                      </a:lnTo>
                      <a:lnTo>
                        <a:pt x="21343" y="17849"/>
                      </a:lnTo>
                      <a:lnTo>
                        <a:pt x="21280" y="17869"/>
                      </a:lnTo>
                      <a:lnTo>
                        <a:pt x="21364" y="17995"/>
                      </a:lnTo>
                      <a:lnTo>
                        <a:pt x="21385" y="18100"/>
                      </a:lnTo>
                      <a:lnTo>
                        <a:pt x="21468" y="18162"/>
                      </a:lnTo>
                      <a:lnTo>
                        <a:pt x="21573" y="18121"/>
                      </a:lnTo>
                      <a:lnTo>
                        <a:pt x="21657" y="18162"/>
                      </a:lnTo>
                      <a:lnTo>
                        <a:pt x="21636" y="18225"/>
                      </a:lnTo>
                      <a:lnTo>
                        <a:pt x="21552" y="18225"/>
                      </a:lnTo>
                      <a:lnTo>
                        <a:pt x="21552" y="18288"/>
                      </a:lnTo>
                      <a:lnTo>
                        <a:pt x="21720" y="18434"/>
                      </a:lnTo>
                      <a:lnTo>
                        <a:pt x="21761" y="18413"/>
                      </a:lnTo>
                      <a:lnTo>
                        <a:pt x="21887" y="18434"/>
                      </a:lnTo>
                      <a:lnTo>
                        <a:pt x="21950" y="18330"/>
                      </a:lnTo>
                      <a:lnTo>
                        <a:pt x="22075" y="18100"/>
                      </a:lnTo>
                      <a:lnTo>
                        <a:pt x="22033" y="18288"/>
                      </a:lnTo>
                      <a:lnTo>
                        <a:pt x="22033" y="18413"/>
                      </a:lnTo>
                      <a:lnTo>
                        <a:pt x="21992" y="18497"/>
                      </a:lnTo>
                      <a:lnTo>
                        <a:pt x="21950" y="18518"/>
                      </a:lnTo>
                      <a:lnTo>
                        <a:pt x="21866" y="18623"/>
                      </a:lnTo>
                      <a:lnTo>
                        <a:pt x="21887" y="18706"/>
                      </a:lnTo>
                      <a:lnTo>
                        <a:pt x="21971" y="18748"/>
                      </a:lnTo>
                      <a:lnTo>
                        <a:pt x="21929" y="18811"/>
                      </a:lnTo>
                      <a:lnTo>
                        <a:pt x="21929" y="19062"/>
                      </a:lnTo>
                      <a:lnTo>
                        <a:pt x="21971" y="19125"/>
                      </a:lnTo>
                      <a:lnTo>
                        <a:pt x="22054" y="19125"/>
                      </a:lnTo>
                      <a:lnTo>
                        <a:pt x="22033" y="19229"/>
                      </a:lnTo>
                      <a:lnTo>
                        <a:pt x="22054" y="19334"/>
                      </a:lnTo>
                      <a:lnTo>
                        <a:pt x="22243" y="19522"/>
                      </a:lnTo>
                      <a:lnTo>
                        <a:pt x="22284" y="19543"/>
                      </a:lnTo>
                      <a:lnTo>
                        <a:pt x="22284" y="19585"/>
                      </a:lnTo>
                      <a:lnTo>
                        <a:pt x="22347" y="19543"/>
                      </a:lnTo>
                      <a:lnTo>
                        <a:pt x="22389" y="19627"/>
                      </a:lnTo>
                      <a:lnTo>
                        <a:pt x="22473" y="19585"/>
                      </a:lnTo>
                      <a:lnTo>
                        <a:pt x="22452" y="19543"/>
                      </a:lnTo>
                      <a:lnTo>
                        <a:pt x="22473" y="19481"/>
                      </a:lnTo>
                      <a:lnTo>
                        <a:pt x="22515" y="19543"/>
                      </a:lnTo>
                      <a:lnTo>
                        <a:pt x="22598" y="19564"/>
                      </a:lnTo>
                      <a:lnTo>
                        <a:pt x="22661" y="19481"/>
                      </a:lnTo>
                      <a:lnTo>
                        <a:pt x="22577" y="19334"/>
                      </a:lnTo>
                      <a:lnTo>
                        <a:pt x="22515" y="19334"/>
                      </a:lnTo>
                      <a:lnTo>
                        <a:pt x="22473" y="19355"/>
                      </a:lnTo>
                      <a:lnTo>
                        <a:pt x="22452" y="19334"/>
                      </a:lnTo>
                      <a:lnTo>
                        <a:pt x="22515" y="19229"/>
                      </a:lnTo>
                      <a:lnTo>
                        <a:pt x="22515" y="19146"/>
                      </a:lnTo>
                      <a:lnTo>
                        <a:pt x="22494" y="19062"/>
                      </a:lnTo>
                      <a:lnTo>
                        <a:pt x="22410" y="19041"/>
                      </a:lnTo>
                      <a:lnTo>
                        <a:pt x="22410" y="18999"/>
                      </a:lnTo>
                      <a:lnTo>
                        <a:pt x="22473" y="18937"/>
                      </a:lnTo>
                      <a:lnTo>
                        <a:pt x="22494" y="18811"/>
                      </a:lnTo>
                      <a:lnTo>
                        <a:pt x="22577" y="18811"/>
                      </a:lnTo>
                      <a:lnTo>
                        <a:pt x="22577" y="18916"/>
                      </a:lnTo>
                      <a:lnTo>
                        <a:pt x="22598" y="18999"/>
                      </a:lnTo>
                      <a:lnTo>
                        <a:pt x="22682" y="18895"/>
                      </a:lnTo>
                      <a:lnTo>
                        <a:pt x="22703" y="18957"/>
                      </a:lnTo>
                      <a:lnTo>
                        <a:pt x="22766" y="19041"/>
                      </a:lnTo>
                      <a:lnTo>
                        <a:pt x="22703" y="19146"/>
                      </a:lnTo>
                      <a:lnTo>
                        <a:pt x="22724" y="19229"/>
                      </a:lnTo>
                      <a:lnTo>
                        <a:pt x="22787" y="19250"/>
                      </a:lnTo>
                      <a:lnTo>
                        <a:pt x="22891" y="19146"/>
                      </a:lnTo>
                      <a:lnTo>
                        <a:pt x="22933" y="19146"/>
                      </a:lnTo>
                      <a:lnTo>
                        <a:pt x="22912" y="19229"/>
                      </a:lnTo>
                      <a:lnTo>
                        <a:pt x="22828" y="19313"/>
                      </a:lnTo>
                      <a:lnTo>
                        <a:pt x="22828" y="19376"/>
                      </a:lnTo>
                      <a:lnTo>
                        <a:pt x="22870" y="19481"/>
                      </a:lnTo>
                      <a:lnTo>
                        <a:pt x="22808" y="19627"/>
                      </a:lnTo>
                      <a:lnTo>
                        <a:pt x="22828" y="19669"/>
                      </a:lnTo>
                      <a:lnTo>
                        <a:pt x="22891" y="19669"/>
                      </a:lnTo>
                      <a:lnTo>
                        <a:pt x="22891" y="19857"/>
                      </a:lnTo>
                      <a:cubicBezTo>
                        <a:pt x="22891" y="19899"/>
                        <a:pt x="22870" y="19983"/>
                        <a:pt x="22870" y="20045"/>
                      </a:cubicBezTo>
                      <a:lnTo>
                        <a:pt x="22828" y="20087"/>
                      </a:lnTo>
                      <a:lnTo>
                        <a:pt x="22808" y="20004"/>
                      </a:lnTo>
                      <a:lnTo>
                        <a:pt x="22870" y="19941"/>
                      </a:lnTo>
                      <a:lnTo>
                        <a:pt x="22870" y="19857"/>
                      </a:lnTo>
                      <a:lnTo>
                        <a:pt x="22766" y="19794"/>
                      </a:lnTo>
                      <a:lnTo>
                        <a:pt x="22598" y="19836"/>
                      </a:lnTo>
                      <a:lnTo>
                        <a:pt x="22577" y="19878"/>
                      </a:lnTo>
                      <a:lnTo>
                        <a:pt x="22515" y="19899"/>
                      </a:lnTo>
                      <a:lnTo>
                        <a:pt x="22473" y="19794"/>
                      </a:lnTo>
                      <a:lnTo>
                        <a:pt x="22410" y="19941"/>
                      </a:lnTo>
                      <a:lnTo>
                        <a:pt x="22452" y="20066"/>
                      </a:lnTo>
                      <a:lnTo>
                        <a:pt x="22515" y="20108"/>
                      </a:lnTo>
                      <a:lnTo>
                        <a:pt x="22473" y="20192"/>
                      </a:lnTo>
                      <a:lnTo>
                        <a:pt x="22410" y="20150"/>
                      </a:lnTo>
                      <a:lnTo>
                        <a:pt x="22368" y="20255"/>
                      </a:lnTo>
                      <a:lnTo>
                        <a:pt x="22452" y="20401"/>
                      </a:lnTo>
                      <a:lnTo>
                        <a:pt x="22410" y="20506"/>
                      </a:lnTo>
                      <a:lnTo>
                        <a:pt x="22494" y="20569"/>
                      </a:lnTo>
                      <a:lnTo>
                        <a:pt x="22410" y="20631"/>
                      </a:lnTo>
                      <a:lnTo>
                        <a:pt x="22515" y="20778"/>
                      </a:lnTo>
                      <a:lnTo>
                        <a:pt x="22619" y="20778"/>
                      </a:lnTo>
                      <a:lnTo>
                        <a:pt x="22703" y="20694"/>
                      </a:lnTo>
                      <a:lnTo>
                        <a:pt x="22703" y="20569"/>
                      </a:lnTo>
                      <a:lnTo>
                        <a:pt x="22619" y="20401"/>
                      </a:lnTo>
                      <a:lnTo>
                        <a:pt x="22661" y="20297"/>
                      </a:lnTo>
                      <a:lnTo>
                        <a:pt x="22787" y="20527"/>
                      </a:lnTo>
                      <a:lnTo>
                        <a:pt x="22787" y="20631"/>
                      </a:lnTo>
                      <a:lnTo>
                        <a:pt x="22787" y="20694"/>
                      </a:lnTo>
                      <a:cubicBezTo>
                        <a:pt x="22766" y="20694"/>
                        <a:pt x="22724" y="20694"/>
                        <a:pt x="22724" y="20715"/>
                      </a:cubicBezTo>
                      <a:lnTo>
                        <a:pt x="22724" y="20736"/>
                      </a:lnTo>
                      <a:lnTo>
                        <a:pt x="22682" y="20799"/>
                      </a:lnTo>
                      <a:lnTo>
                        <a:pt x="22577" y="20841"/>
                      </a:lnTo>
                      <a:lnTo>
                        <a:pt x="22598" y="20924"/>
                      </a:lnTo>
                      <a:lnTo>
                        <a:pt x="22682" y="21008"/>
                      </a:lnTo>
                      <a:lnTo>
                        <a:pt x="22598" y="21092"/>
                      </a:lnTo>
                      <a:lnTo>
                        <a:pt x="22598" y="21196"/>
                      </a:lnTo>
                      <a:lnTo>
                        <a:pt x="22536" y="21259"/>
                      </a:lnTo>
                      <a:lnTo>
                        <a:pt x="22431" y="21301"/>
                      </a:lnTo>
                      <a:lnTo>
                        <a:pt x="22431" y="21343"/>
                      </a:lnTo>
                      <a:lnTo>
                        <a:pt x="22577" y="21364"/>
                      </a:lnTo>
                      <a:lnTo>
                        <a:pt x="22536" y="21426"/>
                      </a:lnTo>
                      <a:lnTo>
                        <a:pt x="22494" y="21447"/>
                      </a:lnTo>
                      <a:lnTo>
                        <a:pt x="22494" y="21531"/>
                      </a:lnTo>
                      <a:lnTo>
                        <a:pt x="22536" y="21531"/>
                      </a:lnTo>
                      <a:lnTo>
                        <a:pt x="22619" y="21510"/>
                      </a:lnTo>
                      <a:lnTo>
                        <a:pt x="22640" y="21552"/>
                      </a:lnTo>
                      <a:lnTo>
                        <a:pt x="22598" y="21615"/>
                      </a:lnTo>
                      <a:lnTo>
                        <a:pt x="22515" y="21636"/>
                      </a:lnTo>
                      <a:lnTo>
                        <a:pt x="22473" y="21719"/>
                      </a:lnTo>
                      <a:lnTo>
                        <a:pt x="22494" y="21866"/>
                      </a:lnTo>
                      <a:lnTo>
                        <a:pt x="22536" y="21929"/>
                      </a:lnTo>
                      <a:lnTo>
                        <a:pt x="22515" y="21991"/>
                      </a:lnTo>
                      <a:lnTo>
                        <a:pt x="22536" y="22075"/>
                      </a:lnTo>
                      <a:lnTo>
                        <a:pt x="22598" y="22054"/>
                      </a:lnTo>
                      <a:lnTo>
                        <a:pt x="22619" y="21970"/>
                      </a:lnTo>
                      <a:lnTo>
                        <a:pt x="22640" y="21845"/>
                      </a:lnTo>
                      <a:lnTo>
                        <a:pt x="22703" y="21678"/>
                      </a:lnTo>
                      <a:lnTo>
                        <a:pt x="22745" y="21615"/>
                      </a:lnTo>
                      <a:lnTo>
                        <a:pt x="22787" y="21406"/>
                      </a:lnTo>
                      <a:lnTo>
                        <a:pt x="22828" y="21343"/>
                      </a:lnTo>
                      <a:lnTo>
                        <a:pt x="22844" y="21204"/>
                      </a:lnTo>
                      <a:lnTo>
                        <a:pt x="22870" y="21217"/>
                      </a:lnTo>
                      <a:cubicBezTo>
                        <a:pt x="22870" y="21301"/>
                        <a:pt x="22870" y="21364"/>
                        <a:pt x="22891" y="21447"/>
                      </a:cubicBezTo>
                      <a:lnTo>
                        <a:pt x="22870" y="21426"/>
                      </a:lnTo>
                      <a:lnTo>
                        <a:pt x="22808" y="21510"/>
                      </a:lnTo>
                      <a:lnTo>
                        <a:pt x="22808" y="21636"/>
                      </a:lnTo>
                      <a:lnTo>
                        <a:pt x="22870" y="21678"/>
                      </a:lnTo>
                      <a:lnTo>
                        <a:pt x="22787" y="21782"/>
                      </a:lnTo>
                      <a:lnTo>
                        <a:pt x="22891" y="21845"/>
                      </a:lnTo>
                      <a:lnTo>
                        <a:pt x="22891" y="21929"/>
                      </a:lnTo>
                      <a:lnTo>
                        <a:pt x="22828" y="21970"/>
                      </a:lnTo>
                      <a:lnTo>
                        <a:pt x="22766" y="21929"/>
                      </a:lnTo>
                      <a:lnTo>
                        <a:pt x="22703" y="21991"/>
                      </a:lnTo>
                      <a:lnTo>
                        <a:pt x="22703" y="22054"/>
                      </a:lnTo>
                      <a:lnTo>
                        <a:pt x="22661" y="22138"/>
                      </a:lnTo>
                      <a:lnTo>
                        <a:pt x="22619" y="22201"/>
                      </a:lnTo>
                      <a:lnTo>
                        <a:pt x="22682" y="22263"/>
                      </a:lnTo>
                      <a:lnTo>
                        <a:pt x="22766" y="22054"/>
                      </a:lnTo>
                      <a:lnTo>
                        <a:pt x="22787" y="22096"/>
                      </a:lnTo>
                      <a:lnTo>
                        <a:pt x="22724" y="22201"/>
                      </a:lnTo>
                      <a:lnTo>
                        <a:pt x="22828" y="22180"/>
                      </a:lnTo>
                      <a:lnTo>
                        <a:pt x="22891" y="22096"/>
                      </a:lnTo>
                      <a:lnTo>
                        <a:pt x="22891" y="21991"/>
                      </a:lnTo>
                      <a:lnTo>
                        <a:pt x="23017" y="21845"/>
                      </a:lnTo>
                      <a:cubicBezTo>
                        <a:pt x="23017" y="21929"/>
                        <a:pt x="23017" y="21991"/>
                        <a:pt x="23038" y="22075"/>
                      </a:cubicBezTo>
                      <a:lnTo>
                        <a:pt x="23017" y="22096"/>
                      </a:lnTo>
                      <a:lnTo>
                        <a:pt x="23080" y="22159"/>
                      </a:lnTo>
                      <a:cubicBezTo>
                        <a:pt x="23101" y="22201"/>
                        <a:pt x="23101" y="22284"/>
                        <a:pt x="23121" y="22326"/>
                      </a:cubicBezTo>
                      <a:lnTo>
                        <a:pt x="23080" y="22473"/>
                      </a:lnTo>
                      <a:lnTo>
                        <a:pt x="23080" y="22556"/>
                      </a:lnTo>
                      <a:lnTo>
                        <a:pt x="23038" y="22640"/>
                      </a:lnTo>
                      <a:lnTo>
                        <a:pt x="22933" y="22682"/>
                      </a:lnTo>
                      <a:lnTo>
                        <a:pt x="22912" y="22724"/>
                      </a:lnTo>
                      <a:lnTo>
                        <a:pt x="22933" y="22786"/>
                      </a:lnTo>
                      <a:lnTo>
                        <a:pt x="23017" y="22745"/>
                      </a:lnTo>
                      <a:lnTo>
                        <a:pt x="23101" y="22786"/>
                      </a:lnTo>
                      <a:lnTo>
                        <a:pt x="23101" y="22828"/>
                      </a:lnTo>
                      <a:lnTo>
                        <a:pt x="22996" y="22912"/>
                      </a:lnTo>
                      <a:lnTo>
                        <a:pt x="22996" y="22954"/>
                      </a:lnTo>
                      <a:lnTo>
                        <a:pt x="22975" y="23038"/>
                      </a:lnTo>
                      <a:lnTo>
                        <a:pt x="22912" y="23038"/>
                      </a:lnTo>
                      <a:lnTo>
                        <a:pt x="22870" y="23100"/>
                      </a:lnTo>
                      <a:lnTo>
                        <a:pt x="22891" y="23142"/>
                      </a:lnTo>
                      <a:lnTo>
                        <a:pt x="22975" y="23142"/>
                      </a:lnTo>
                      <a:lnTo>
                        <a:pt x="23017" y="23205"/>
                      </a:lnTo>
                      <a:lnTo>
                        <a:pt x="23038" y="23142"/>
                      </a:lnTo>
                      <a:lnTo>
                        <a:pt x="23121" y="23121"/>
                      </a:lnTo>
                      <a:lnTo>
                        <a:pt x="23184" y="23163"/>
                      </a:lnTo>
                      <a:lnTo>
                        <a:pt x="23101" y="23226"/>
                      </a:lnTo>
                      <a:lnTo>
                        <a:pt x="23080" y="23268"/>
                      </a:lnTo>
                      <a:lnTo>
                        <a:pt x="23121" y="23351"/>
                      </a:lnTo>
                      <a:lnTo>
                        <a:pt x="23038" y="23435"/>
                      </a:lnTo>
                      <a:lnTo>
                        <a:pt x="23017" y="23519"/>
                      </a:lnTo>
                      <a:lnTo>
                        <a:pt x="23121" y="23582"/>
                      </a:lnTo>
                      <a:lnTo>
                        <a:pt x="23101" y="23686"/>
                      </a:lnTo>
                      <a:lnTo>
                        <a:pt x="23142" y="23749"/>
                      </a:lnTo>
                      <a:lnTo>
                        <a:pt x="23247" y="23749"/>
                      </a:lnTo>
                      <a:lnTo>
                        <a:pt x="23310" y="23686"/>
                      </a:lnTo>
                      <a:lnTo>
                        <a:pt x="23247" y="23623"/>
                      </a:lnTo>
                      <a:lnTo>
                        <a:pt x="23310" y="23561"/>
                      </a:lnTo>
                      <a:lnTo>
                        <a:pt x="23247" y="23519"/>
                      </a:lnTo>
                      <a:lnTo>
                        <a:pt x="23205" y="23519"/>
                      </a:lnTo>
                      <a:lnTo>
                        <a:pt x="23247" y="23435"/>
                      </a:lnTo>
                      <a:lnTo>
                        <a:pt x="23331" y="23414"/>
                      </a:lnTo>
                      <a:lnTo>
                        <a:pt x="23435" y="23331"/>
                      </a:lnTo>
                      <a:lnTo>
                        <a:pt x="23435" y="23247"/>
                      </a:lnTo>
                      <a:lnTo>
                        <a:pt x="23393" y="23226"/>
                      </a:lnTo>
                      <a:lnTo>
                        <a:pt x="23310" y="23226"/>
                      </a:lnTo>
                      <a:lnTo>
                        <a:pt x="23310" y="23205"/>
                      </a:lnTo>
                      <a:lnTo>
                        <a:pt x="23414" y="23121"/>
                      </a:lnTo>
                      <a:lnTo>
                        <a:pt x="23393" y="23017"/>
                      </a:lnTo>
                      <a:lnTo>
                        <a:pt x="23247" y="22912"/>
                      </a:lnTo>
                      <a:lnTo>
                        <a:pt x="23310" y="22807"/>
                      </a:lnTo>
                      <a:lnTo>
                        <a:pt x="23331" y="22828"/>
                      </a:lnTo>
                      <a:lnTo>
                        <a:pt x="23414" y="22828"/>
                      </a:lnTo>
                      <a:lnTo>
                        <a:pt x="23414" y="22766"/>
                      </a:lnTo>
                      <a:lnTo>
                        <a:pt x="23310" y="22661"/>
                      </a:lnTo>
                      <a:lnTo>
                        <a:pt x="23373" y="22661"/>
                      </a:lnTo>
                      <a:lnTo>
                        <a:pt x="23373" y="22473"/>
                      </a:lnTo>
                      <a:lnTo>
                        <a:pt x="23247" y="22389"/>
                      </a:lnTo>
                      <a:lnTo>
                        <a:pt x="23226" y="22410"/>
                      </a:lnTo>
                      <a:lnTo>
                        <a:pt x="23142" y="22347"/>
                      </a:lnTo>
                      <a:lnTo>
                        <a:pt x="23163" y="22305"/>
                      </a:lnTo>
                      <a:lnTo>
                        <a:pt x="23163" y="22284"/>
                      </a:lnTo>
                      <a:lnTo>
                        <a:pt x="23247" y="22180"/>
                      </a:lnTo>
                      <a:lnTo>
                        <a:pt x="23205" y="22096"/>
                      </a:lnTo>
                      <a:cubicBezTo>
                        <a:pt x="23205" y="22054"/>
                        <a:pt x="23226" y="21991"/>
                        <a:pt x="23226" y="21950"/>
                      </a:cubicBezTo>
                      <a:lnTo>
                        <a:pt x="23226" y="21887"/>
                      </a:lnTo>
                      <a:lnTo>
                        <a:pt x="23268" y="21929"/>
                      </a:lnTo>
                      <a:lnTo>
                        <a:pt x="23352" y="21866"/>
                      </a:lnTo>
                      <a:lnTo>
                        <a:pt x="23310" y="21761"/>
                      </a:lnTo>
                      <a:lnTo>
                        <a:pt x="23352" y="21719"/>
                      </a:lnTo>
                      <a:lnTo>
                        <a:pt x="23352" y="21573"/>
                      </a:lnTo>
                      <a:lnTo>
                        <a:pt x="23414" y="21552"/>
                      </a:lnTo>
                      <a:lnTo>
                        <a:pt x="23435" y="21719"/>
                      </a:lnTo>
                      <a:lnTo>
                        <a:pt x="23477" y="21678"/>
                      </a:lnTo>
                      <a:lnTo>
                        <a:pt x="23519" y="21657"/>
                      </a:lnTo>
                      <a:lnTo>
                        <a:pt x="23519" y="21678"/>
                      </a:lnTo>
                      <a:lnTo>
                        <a:pt x="23519" y="21719"/>
                      </a:lnTo>
                      <a:lnTo>
                        <a:pt x="23477" y="21761"/>
                      </a:lnTo>
                      <a:lnTo>
                        <a:pt x="23477" y="21845"/>
                      </a:lnTo>
                      <a:lnTo>
                        <a:pt x="23540" y="21887"/>
                      </a:lnTo>
                      <a:lnTo>
                        <a:pt x="23665" y="21866"/>
                      </a:lnTo>
                      <a:lnTo>
                        <a:pt x="23749" y="21761"/>
                      </a:lnTo>
                      <a:lnTo>
                        <a:pt x="23728" y="21719"/>
                      </a:lnTo>
                      <a:cubicBezTo>
                        <a:pt x="23749" y="21657"/>
                        <a:pt x="23770" y="21573"/>
                        <a:pt x="23791" y="21510"/>
                      </a:cubicBezTo>
                      <a:lnTo>
                        <a:pt x="23833" y="21531"/>
                      </a:lnTo>
                      <a:lnTo>
                        <a:pt x="23854" y="21636"/>
                      </a:lnTo>
                      <a:lnTo>
                        <a:pt x="23958" y="21719"/>
                      </a:lnTo>
                      <a:lnTo>
                        <a:pt x="24000" y="21719"/>
                      </a:lnTo>
                      <a:lnTo>
                        <a:pt x="23937" y="21740"/>
                      </a:lnTo>
                      <a:lnTo>
                        <a:pt x="23854" y="21740"/>
                      </a:lnTo>
                      <a:lnTo>
                        <a:pt x="23833" y="21782"/>
                      </a:lnTo>
                      <a:cubicBezTo>
                        <a:pt x="23749" y="21824"/>
                        <a:pt x="23665" y="21866"/>
                        <a:pt x="23665" y="21970"/>
                      </a:cubicBezTo>
                      <a:cubicBezTo>
                        <a:pt x="23665" y="22054"/>
                        <a:pt x="23665" y="22096"/>
                        <a:pt x="23686" y="22180"/>
                      </a:cubicBezTo>
                      <a:lnTo>
                        <a:pt x="23665" y="22159"/>
                      </a:lnTo>
                      <a:lnTo>
                        <a:pt x="23665" y="22138"/>
                      </a:lnTo>
                      <a:lnTo>
                        <a:pt x="23645" y="22159"/>
                      </a:lnTo>
                      <a:cubicBezTo>
                        <a:pt x="23624" y="22159"/>
                        <a:pt x="23603" y="22138"/>
                        <a:pt x="23561" y="22138"/>
                      </a:cubicBezTo>
                      <a:lnTo>
                        <a:pt x="23624" y="22075"/>
                      </a:lnTo>
                      <a:lnTo>
                        <a:pt x="23645" y="21991"/>
                      </a:lnTo>
                      <a:lnTo>
                        <a:pt x="23456" y="21970"/>
                      </a:lnTo>
                      <a:lnTo>
                        <a:pt x="23352" y="22075"/>
                      </a:lnTo>
                      <a:lnTo>
                        <a:pt x="23414" y="22180"/>
                      </a:lnTo>
                      <a:lnTo>
                        <a:pt x="23435" y="22180"/>
                      </a:lnTo>
                      <a:cubicBezTo>
                        <a:pt x="23414" y="22201"/>
                        <a:pt x="23414" y="22222"/>
                        <a:pt x="23414" y="22263"/>
                      </a:cubicBezTo>
                      <a:cubicBezTo>
                        <a:pt x="23435" y="22284"/>
                        <a:pt x="23435" y="22326"/>
                        <a:pt x="23456" y="22368"/>
                      </a:cubicBezTo>
                      <a:cubicBezTo>
                        <a:pt x="23498" y="22389"/>
                        <a:pt x="23519" y="22431"/>
                        <a:pt x="23540" y="22494"/>
                      </a:cubicBezTo>
                      <a:lnTo>
                        <a:pt x="23561" y="22494"/>
                      </a:lnTo>
                      <a:cubicBezTo>
                        <a:pt x="23561" y="22494"/>
                        <a:pt x="23561" y="22514"/>
                        <a:pt x="23582" y="22514"/>
                      </a:cubicBezTo>
                      <a:cubicBezTo>
                        <a:pt x="23624" y="22577"/>
                        <a:pt x="23665" y="22577"/>
                        <a:pt x="23686" y="22598"/>
                      </a:cubicBezTo>
                      <a:lnTo>
                        <a:pt x="23665" y="22619"/>
                      </a:lnTo>
                      <a:lnTo>
                        <a:pt x="23540" y="22724"/>
                      </a:lnTo>
                      <a:lnTo>
                        <a:pt x="23540" y="22828"/>
                      </a:lnTo>
                      <a:lnTo>
                        <a:pt x="23603" y="22933"/>
                      </a:lnTo>
                      <a:lnTo>
                        <a:pt x="23728" y="22828"/>
                      </a:lnTo>
                      <a:lnTo>
                        <a:pt x="23812" y="22682"/>
                      </a:lnTo>
                      <a:lnTo>
                        <a:pt x="23812" y="22619"/>
                      </a:lnTo>
                      <a:lnTo>
                        <a:pt x="23875" y="22598"/>
                      </a:lnTo>
                      <a:lnTo>
                        <a:pt x="24021" y="22473"/>
                      </a:lnTo>
                      <a:lnTo>
                        <a:pt x="24042" y="22514"/>
                      </a:lnTo>
                      <a:lnTo>
                        <a:pt x="24251" y="22514"/>
                      </a:lnTo>
                      <a:lnTo>
                        <a:pt x="24168" y="22619"/>
                      </a:lnTo>
                      <a:lnTo>
                        <a:pt x="24189" y="22640"/>
                      </a:lnTo>
                      <a:lnTo>
                        <a:pt x="24314" y="22640"/>
                      </a:lnTo>
                      <a:lnTo>
                        <a:pt x="24314" y="22703"/>
                      </a:lnTo>
                      <a:lnTo>
                        <a:pt x="24209" y="22807"/>
                      </a:lnTo>
                      <a:cubicBezTo>
                        <a:pt x="24189" y="22807"/>
                        <a:pt x="24168" y="22828"/>
                        <a:pt x="24147" y="22828"/>
                      </a:cubicBezTo>
                      <a:lnTo>
                        <a:pt x="24168" y="22724"/>
                      </a:lnTo>
                      <a:lnTo>
                        <a:pt x="24105" y="22598"/>
                      </a:lnTo>
                      <a:lnTo>
                        <a:pt x="23979" y="22598"/>
                      </a:lnTo>
                      <a:lnTo>
                        <a:pt x="23979" y="22640"/>
                      </a:lnTo>
                      <a:lnTo>
                        <a:pt x="23875" y="22703"/>
                      </a:lnTo>
                      <a:lnTo>
                        <a:pt x="23833" y="22849"/>
                      </a:lnTo>
                      <a:lnTo>
                        <a:pt x="23833" y="22912"/>
                      </a:lnTo>
                      <a:lnTo>
                        <a:pt x="23728" y="23017"/>
                      </a:lnTo>
                      <a:lnTo>
                        <a:pt x="23749" y="23100"/>
                      </a:lnTo>
                      <a:lnTo>
                        <a:pt x="23937" y="23017"/>
                      </a:lnTo>
                      <a:cubicBezTo>
                        <a:pt x="23937" y="23038"/>
                        <a:pt x="23958" y="23038"/>
                        <a:pt x="23958" y="23038"/>
                      </a:cubicBezTo>
                      <a:lnTo>
                        <a:pt x="23854" y="23121"/>
                      </a:lnTo>
                      <a:lnTo>
                        <a:pt x="23770" y="23247"/>
                      </a:lnTo>
                      <a:lnTo>
                        <a:pt x="23833" y="23310"/>
                      </a:lnTo>
                      <a:lnTo>
                        <a:pt x="24000" y="23163"/>
                      </a:lnTo>
                      <a:lnTo>
                        <a:pt x="24063" y="23100"/>
                      </a:lnTo>
                      <a:cubicBezTo>
                        <a:pt x="24084" y="23121"/>
                        <a:pt x="24105" y="23121"/>
                        <a:pt x="24147" y="23142"/>
                      </a:cubicBezTo>
                      <a:lnTo>
                        <a:pt x="24147" y="23163"/>
                      </a:lnTo>
                      <a:lnTo>
                        <a:pt x="24168" y="23226"/>
                      </a:lnTo>
                      <a:lnTo>
                        <a:pt x="24189" y="23268"/>
                      </a:lnTo>
                      <a:lnTo>
                        <a:pt x="24000" y="23268"/>
                      </a:lnTo>
                      <a:lnTo>
                        <a:pt x="23937" y="23351"/>
                      </a:lnTo>
                      <a:lnTo>
                        <a:pt x="23937" y="23414"/>
                      </a:lnTo>
                      <a:lnTo>
                        <a:pt x="24000" y="23414"/>
                      </a:lnTo>
                      <a:lnTo>
                        <a:pt x="24063" y="23372"/>
                      </a:lnTo>
                      <a:lnTo>
                        <a:pt x="24168" y="23372"/>
                      </a:lnTo>
                      <a:lnTo>
                        <a:pt x="24168" y="23414"/>
                      </a:lnTo>
                      <a:lnTo>
                        <a:pt x="24063" y="23477"/>
                      </a:lnTo>
                      <a:lnTo>
                        <a:pt x="23937" y="23477"/>
                      </a:lnTo>
                      <a:lnTo>
                        <a:pt x="23875" y="23540"/>
                      </a:lnTo>
                      <a:lnTo>
                        <a:pt x="23854" y="23665"/>
                      </a:lnTo>
                      <a:lnTo>
                        <a:pt x="23896" y="23770"/>
                      </a:lnTo>
                      <a:lnTo>
                        <a:pt x="23979" y="23728"/>
                      </a:lnTo>
                      <a:lnTo>
                        <a:pt x="24000" y="23644"/>
                      </a:lnTo>
                      <a:lnTo>
                        <a:pt x="24084" y="23644"/>
                      </a:lnTo>
                      <a:lnTo>
                        <a:pt x="24189" y="23582"/>
                      </a:lnTo>
                      <a:lnTo>
                        <a:pt x="24314" y="23435"/>
                      </a:lnTo>
                      <a:lnTo>
                        <a:pt x="24461" y="23247"/>
                      </a:lnTo>
                      <a:lnTo>
                        <a:pt x="24502" y="23017"/>
                      </a:lnTo>
                      <a:lnTo>
                        <a:pt x="24628" y="22745"/>
                      </a:lnTo>
                      <a:lnTo>
                        <a:pt x="24691" y="22724"/>
                      </a:lnTo>
                      <a:lnTo>
                        <a:pt x="24691" y="22703"/>
                      </a:lnTo>
                      <a:lnTo>
                        <a:pt x="24691" y="22661"/>
                      </a:lnTo>
                      <a:lnTo>
                        <a:pt x="24670" y="22661"/>
                      </a:lnTo>
                      <a:lnTo>
                        <a:pt x="24712" y="22619"/>
                      </a:lnTo>
                      <a:lnTo>
                        <a:pt x="24712" y="22577"/>
                      </a:lnTo>
                      <a:lnTo>
                        <a:pt x="24753" y="22514"/>
                      </a:lnTo>
                      <a:lnTo>
                        <a:pt x="24712" y="22473"/>
                      </a:lnTo>
                      <a:lnTo>
                        <a:pt x="24670" y="22452"/>
                      </a:lnTo>
                      <a:lnTo>
                        <a:pt x="24670" y="22347"/>
                      </a:lnTo>
                      <a:lnTo>
                        <a:pt x="24607" y="22242"/>
                      </a:lnTo>
                      <a:lnTo>
                        <a:pt x="24481" y="22159"/>
                      </a:lnTo>
                      <a:lnTo>
                        <a:pt x="24398" y="22096"/>
                      </a:lnTo>
                      <a:lnTo>
                        <a:pt x="24377" y="22033"/>
                      </a:lnTo>
                      <a:lnTo>
                        <a:pt x="24272" y="21866"/>
                      </a:lnTo>
                      <a:lnTo>
                        <a:pt x="24189" y="21845"/>
                      </a:lnTo>
                      <a:lnTo>
                        <a:pt x="24084" y="21845"/>
                      </a:lnTo>
                      <a:lnTo>
                        <a:pt x="24084" y="21782"/>
                      </a:lnTo>
                      <a:lnTo>
                        <a:pt x="24126" y="21740"/>
                      </a:lnTo>
                      <a:lnTo>
                        <a:pt x="24084" y="21657"/>
                      </a:lnTo>
                      <a:lnTo>
                        <a:pt x="24042" y="21615"/>
                      </a:lnTo>
                      <a:lnTo>
                        <a:pt x="24021" y="21531"/>
                      </a:lnTo>
                      <a:lnTo>
                        <a:pt x="24063" y="21468"/>
                      </a:lnTo>
                      <a:lnTo>
                        <a:pt x="24126" y="21447"/>
                      </a:lnTo>
                      <a:lnTo>
                        <a:pt x="24084" y="21406"/>
                      </a:lnTo>
                      <a:lnTo>
                        <a:pt x="24021" y="21343"/>
                      </a:lnTo>
                      <a:lnTo>
                        <a:pt x="23958" y="21343"/>
                      </a:lnTo>
                      <a:lnTo>
                        <a:pt x="23958" y="21259"/>
                      </a:lnTo>
                      <a:lnTo>
                        <a:pt x="24063" y="21217"/>
                      </a:lnTo>
                      <a:lnTo>
                        <a:pt x="24042" y="20799"/>
                      </a:lnTo>
                      <a:lnTo>
                        <a:pt x="24042" y="20380"/>
                      </a:lnTo>
                      <a:lnTo>
                        <a:pt x="24084" y="20025"/>
                      </a:lnTo>
                      <a:lnTo>
                        <a:pt x="24063" y="19941"/>
                      </a:lnTo>
                      <a:lnTo>
                        <a:pt x="24063" y="19836"/>
                      </a:lnTo>
                      <a:lnTo>
                        <a:pt x="24126" y="19732"/>
                      </a:lnTo>
                      <a:lnTo>
                        <a:pt x="24084" y="19627"/>
                      </a:lnTo>
                      <a:lnTo>
                        <a:pt x="24042" y="19543"/>
                      </a:lnTo>
                      <a:lnTo>
                        <a:pt x="24021" y="19334"/>
                      </a:lnTo>
                      <a:lnTo>
                        <a:pt x="23875" y="19167"/>
                      </a:lnTo>
                      <a:lnTo>
                        <a:pt x="23833" y="18957"/>
                      </a:lnTo>
                      <a:lnTo>
                        <a:pt x="23854" y="18853"/>
                      </a:lnTo>
                      <a:lnTo>
                        <a:pt x="23728" y="18518"/>
                      </a:lnTo>
                      <a:lnTo>
                        <a:pt x="23749" y="18434"/>
                      </a:lnTo>
                      <a:lnTo>
                        <a:pt x="23833" y="18288"/>
                      </a:lnTo>
                      <a:lnTo>
                        <a:pt x="23812" y="18204"/>
                      </a:lnTo>
                      <a:lnTo>
                        <a:pt x="23812" y="18100"/>
                      </a:lnTo>
                      <a:lnTo>
                        <a:pt x="23665" y="17995"/>
                      </a:lnTo>
                      <a:lnTo>
                        <a:pt x="23498" y="17995"/>
                      </a:lnTo>
                      <a:lnTo>
                        <a:pt x="23289" y="18058"/>
                      </a:lnTo>
                      <a:lnTo>
                        <a:pt x="23226" y="18079"/>
                      </a:lnTo>
                      <a:lnTo>
                        <a:pt x="23017" y="18162"/>
                      </a:lnTo>
                      <a:lnTo>
                        <a:pt x="22891" y="18288"/>
                      </a:lnTo>
                      <a:lnTo>
                        <a:pt x="22724" y="18518"/>
                      </a:lnTo>
                      <a:lnTo>
                        <a:pt x="22598" y="18602"/>
                      </a:lnTo>
                      <a:lnTo>
                        <a:pt x="22410" y="18623"/>
                      </a:lnTo>
                      <a:lnTo>
                        <a:pt x="22201" y="18644"/>
                      </a:lnTo>
                      <a:lnTo>
                        <a:pt x="22159" y="18644"/>
                      </a:lnTo>
                      <a:lnTo>
                        <a:pt x="22159" y="18581"/>
                      </a:lnTo>
                      <a:lnTo>
                        <a:pt x="22264" y="18413"/>
                      </a:lnTo>
                      <a:lnTo>
                        <a:pt x="22201" y="18267"/>
                      </a:lnTo>
                      <a:lnTo>
                        <a:pt x="22054" y="17597"/>
                      </a:lnTo>
                      <a:lnTo>
                        <a:pt x="21950" y="17325"/>
                      </a:lnTo>
                      <a:lnTo>
                        <a:pt x="21887" y="17179"/>
                      </a:lnTo>
                      <a:lnTo>
                        <a:pt x="22033" y="16928"/>
                      </a:lnTo>
                      <a:lnTo>
                        <a:pt x="21740" y="16886"/>
                      </a:lnTo>
                      <a:lnTo>
                        <a:pt x="21531" y="17032"/>
                      </a:lnTo>
                      <a:lnTo>
                        <a:pt x="21406" y="16970"/>
                      </a:lnTo>
                      <a:lnTo>
                        <a:pt x="21029" y="16970"/>
                      </a:lnTo>
                      <a:lnTo>
                        <a:pt x="27704" y="4792"/>
                      </a:lnTo>
                      <a:lnTo>
                        <a:pt x="27683" y="4729"/>
                      </a:lnTo>
                      <a:lnTo>
                        <a:pt x="27536" y="4708"/>
                      </a:lnTo>
                      <a:lnTo>
                        <a:pt x="27474" y="4729"/>
                      </a:lnTo>
                      <a:lnTo>
                        <a:pt x="27411" y="4667"/>
                      </a:lnTo>
                      <a:lnTo>
                        <a:pt x="27369" y="4416"/>
                      </a:lnTo>
                      <a:lnTo>
                        <a:pt x="27306" y="4290"/>
                      </a:lnTo>
                      <a:lnTo>
                        <a:pt x="27222" y="4248"/>
                      </a:lnTo>
                      <a:lnTo>
                        <a:pt x="27202" y="4102"/>
                      </a:lnTo>
                      <a:lnTo>
                        <a:pt x="27118" y="3955"/>
                      </a:lnTo>
                      <a:lnTo>
                        <a:pt x="27076" y="3892"/>
                      </a:lnTo>
                      <a:lnTo>
                        <a:pt x="26867" y="3892"/>
                      </a:lnTo>
                      <a:lnTo>
                        <a:pt x="26846" y="3934"/>
                      </a:lnTo>
                      <a:lnTo>
                        <a:pt x="26678" y="3892"/>
                      </a:lnTo>
                      <a:lnTo>
                        <a:pt x="26532" y="3934"/>
                      </a:lnTo>
                      <a:lnTo>
                        <a:pt x="26448" y="3872"/>
                      </a:lnTo>
                      <a:lnTo>
                        <a:pt x="26386" y="3892"/>
                      </a:lnTo>
                      <a:lnTo>
                        <a:pt x="26344" y="3872"/>
                      </a:lnTo>
                      <a:lnTo>
                        <a:pt x="26323" y="3892"/>
                      </a:lnTo>
                      <a:lnTo>
                        <a:pt x="26239" y="3892"/>
                      </a:lnTo>
                      <a:lnTo>
                        <a:pt x="26239" y="3872"/>
                      </a:lnTo>
                      <a:lnTo>
                        <a:pt x="26281" y="3872"/>
                      </a:lnTo>
                      <a:lnTo>
                        <a:pt x="26281" y="3830"/>
                      </a:lnTo>
                      <a:lnTo>
                        <a:pt x="26176" y="3746"/>
                      </a:lnTo>
                      <a:lnTo>
                        <a:pt x="26114" y="3767"/>
                      </a:lnTo>
                      <a:lnTo>
                        <a:pt x="26030" y="3746"/>
                      </a:lnTo>
                      <a:lnTo>
                        <a:pt x="26051" y="3725"/>
                      </a:lnTo>
                      <a:lnTo>
                        <a:pt x="26114" y="3683"/>
                      </a:lnTo>
                      <a:lnTo>
                        <a:pt x="26051" y="3641"/>
                      </a:lnTo>
                      <a:lnTo>
                        <a:pt x="25967" y="3641"/>
                      </a:lnTo>
                      <a:lnTo>
                        <a:pt x="25904" y="3620"/>
                      </a:lnTo>
                      <a:lnTo>
                        <a:pt x="25904" y="3558"/>
                      </a:lnTo>
                      <a:lnTo>
                        <a:pt x="25821" y="3474"/>
                      </a:lnTo>
                      <a:lnTo>
                        <a:pt x="25737" y="3411"/>
                      </a:lnTo>
                      <a:lnTo>
                        <a:pt x="25716" y="3411"/>
                      </a:lnTo>
                      <a:lnTo>
                        <a:pt x="25653" y="3369"/>
                      </a:lnTo>
                      <a:lnTo>
                        <a:pt x="25611" y="3369"/>
                      </a:lnTo>
                      <a:lnTo>
                        <a:pt x="25549" y="3432"/>
                      </a:lnTo>
                      <a:lnTo>
                        <a:pt x="25549" y="3369"/>
                      </a:lnTo>
                      <a:lnTo>
                        <a:pt x="25528" y="3328"/>
                      </a:lnTo>
                      <a:lnTo>
                        <a:pt x="25444" y="3265"/>
                      </a:lnTo>
                      <a:lnTo>
                        <a:pt x="25381" y="3369"/>
                      </a:lnTo>
                      <a:lnTo>
                        <a:pt x="25318" y="3328"/>
                      </a:lnTo>
                      <a:lnTo>
                        <a:pt x="25318" y="3244"/>
                      </a:lnTo>
                      <a:lnTo>
                        <a:pt x="25381" y="3223"/>
                      </a:lnTo>
                      <a:lnTo>
                        <a:pt x="25339" y="3160"/>
                      </a:lnTo>
                      <a:lnTo>
                        <a:pt x="25277" y="3139"/>
                      </a:lnTo>
                      <a:lnTo>
                        <a:pt x="25193" y="3160"/>
                      </a:lnTo>
                      <a:lnTo>
                        <a:pt x="25193" y="3160"/>
                      </a:lnTo>
                      <a:lnTo>
                        <a:pt x="25214" y="3118"/>
                      </a:lnTo>
                      <a:lnTo>
                        <a:pt x="25214" y="3056"/>
                      </a:lnTo>
                      <a:lnTo>
                        <a:pt x="25109" y="3014"/>
                      </a:lnTo>
                      <a:lnTo>
                        <a:pt x="25025" y="2909"/>
                      </a:lnTo>
                      <a:lnTo>
                        <a:pt x="25067" y="2888"/>
                      </a:lnTo>
                      <a:lnTo>
                        <a:pt x="25025" y="2825"/>
                      </a:lnTo>
                      <a:lnTo>
                        <a:pt x="24963" y="2804"/>
                      </a:lnTo>
                      <a:lnTo>
                        <a:pt x="24900" y="2846"/>
                      </a:lnTo>
                      <a:lnTo>
                        <a:pt x="24691" y="3056"/>
                      </a:lnTo>
                      <a:lnTo>
                        <a:pt x="24461" y="3202"/>
                      </a:lnTo>
                      <a:lnTo>
                        <a:pt x="24670" y="3035"/>
                      </a:lnTo>
                      <a:lnTo>
                        <a:pt x="24795" y="2846"/>
                      </a:lnTo>
                      <a:lnTo>
                        <a:pt x="24921" y="2721"/>
                      </a:lnTo>
                      <a:lnTo>
                        <a:pt x="24963" y="2595"/>
                      </a:lnTo>
                      <a:lnTo>
                        <a:pt x="24879" y="2532"/>
                      </a:lnTo>
                      <a:lnTo>
                        <a:pt x="24712" y="2428"/>
                      </a:lnTo>
                      <a:lnTo>
                        <a:pt x="24586" y="2428"/>
                      </a:lnTo>
                      <a:lnTo>
                        <a:pt x="24440" y="2491"/>
                      </a:lnTo>
                      <a:lnTo>
                        <a:pt x="24356" y="2491"/>
                      </a:lnTo>
                      <a:lnTo>
                        <a:pt x="24293" y="2512"/>
                      </a:lnTo>
                      <a:lnTo>
                        <a:pt x="24147" y="2532"/>
                      </a:lnTo>
                      <a:lnTo>
                        <a:pt x="23979" y="2721"/>
                      </a:lnTo>
                      <a:lnTo>
                        <a:pt x="23854" y="2825"/>
                      </a:lnTo>
                      <a:lnTo>
                        <a:pt x="23854" y="2825"/>
                      </a:lnTo>
                      <a:lnTo>
                        <a:pt x="23958" y="2700"/>
                      </a:lnTo>
                      <a:lnTo>
                        <a:pt x="23937" y="2532"/>
                      </a:lnTo>
                      <a:lnTo>
                        <a:pt x="23958" y="2407"/>
                      </a:lnTo>
                      <a:lnTo>
                        <a:pt x="23958" y="2302"/>
                      </a:lnTo>
                      <a:lnTo>
                        <a:pt x="23770" y="2198"/>
                      </a:lnTo>
                      <a:lnTo>
                        <a:pt x="23770" y="2156"/>
                      </a:lnTo>
                      <a:lnTo>
                        <a:pt x="23875" y="2093"/>
                      </a:lnTo>
                      <a:lnTo>
                        <a:pt x="23979" y="2093"/>
                      </a:lnTo>
                      <a:lnTo>
                        <a:pt x="23979" y="2051"/>
                      </a:lnTo>
                      <a:lnTo>
                        <a:pt x="23707" y="1884"/>
                      </a:lnTo>
                      <a:lnTo>
                        <a:pt x="23665" y="1800"/>
                      </a:lnTo>
                      <a:lnTo>
                        <a:pt x="23728" y="1737"/>
                      </a:lnTo>
                      <a:lnTo>
                        <a:pt x="23875" y="1654"/>
                      </a:lnTo>
                      <a:lnTo>
                        <a:pt x="23958" y="1570"/>
                      </a:lnTo>
                      <a:lnTo>
                        <a:pt x="23917" y="1486"/>
                      </a:lnTo>
                      <a:lnTo>
                        <a:pt x="23854" y="1361"/>
                      </a:lnTo>
                      <a:lnTo>
                        <a:pt x="23812" y="1361"/>
                      </a:lnTo>
                      <a:lnTo>
                        <a:pt x="23749" y="1382"/>
                      </a:lnTo>
                      <a:lnTo>
                        <a:pt x="23707" y="1319"/>
                      </a:lnTo>
                      <a:lnTo>
                        <a:pt x="23624" y="1256"/>
                      </a:lnTo>
                      <a:lnTo>
                        <a:pt x="23519" y="1256"/>
                      </a:lnTo>
                      <a:lnTo>
                        <a:pt x="23393" y="1214"/>
                      </a:lnTo>
                      <a:lnTo>
                        <a:pt x="23331" y="1172"/>
                      </a:lnTo>
                      <a:lnTo>
                        <a:pt x="23247" y="1214"/>
                      </a:lnTo>
                      <a:lnTo>
                        <a:pt x="23121" y="1214"/>
                      </a:lnTo>
                      <a:lnTo>
                        <a:pt x="23080" y="1319"/>
                      </a:lnTo>
                      <a:lnTo>
                        <a:pt x="23080" y="1361"/>
                      </a:lnTo>
                      <a:lnTo>
                        <a:pt x="22996" y="1256"/>
                      </a:lnTo>
                      <a:lnTo>
                        <a:pt x="23038" y="1151"/>
                      </a:lnTo>
                      <a:lnTo>
                        <a:pt x="23101" y="1131"/>
                      </a:lnTo>
                      <a:lnTo>
                        <a:pt x="23101" y="1026"/>
                      </a:lnTo>
                      <a:lnTo>
                        <a:pt x="23142" y="942"/>
                      </a:lnTo>
                      <a:lnTo>
                        <a:pt x="23205" y="921"/>
                      </a:lnTo>
                      <a:lnTo>
                        <a:pt x="23205" y="817"/>
                      </a:lnTo>
                      <a:lnTo>
                        <a:pt x="23226" y="712"/>
                      </a:lnTo>
                      <a:lnTo>
                        <a:pt x="23205" y="649"/>
                      </a:lnTo>
                      <a:lnTo>
                        <a:pt x="23184" y="649"/>
                      </a:lnTo>
                      <a:lnTo>
                        <a:pt x="23038" y="796"/>
                      </a:lnTo>
                      <a:lnTo>
                        <a:pt x="23017" y="900"/>
                      </a:lnTo>
                      <a:lnTo>
                        <a:pt x="22996" y="900"/>
                      </a:lnTo>
                      <a:lnTo>
                        <a:pt x="22912" y="838"/>
                      </a:lnTo>
                      <a:lnTo>
                        <a:pt x="22808" y="900"/>
                      </a:lnTo>
                      <a:lnTo>
                        <a:pt x="22787" y="942"/>
                      </a:lnTo>
                      <a:lnTo>
                        <a:pt x="22808" y="1047"/>
                      </a:lnTo>
                      <a:lnTo>
                        <a:pt x="22724" y="1131"/>
                      </a:lnTo>
                      <a:lnTo>
                        <a:pt x="22682" y="1131"/>
                      </a:lnTo>
                      <a:lnTo>
                        <a:pt x="22661" y="1068"/>
                      </a:lnTo>
                      <a:lnTo>
                        <a:pt x="22598" y="1214"/>
                      </a:lnTo>
                      <a:lnTo>
                        <a:pt x="22598" y="1319"/>
                      </a:lnTo>
                      <a:lnTo>
                        <a:pt x="22556" y="1172"/>
                      </a:lnTo>
                      <a:lnTo>
                        <a:pt x="22556" y="1047"/>
                      </a:lnTo>
                      <a:lnTo>
                        <a:pt x="22598" y="942"/>
                      </a:lnTo>
                      <a:lnTo>
                        <a:pt x="22556" y="921"/>
                      </a:lnTo>
                      <a:lnTo>
                        <a:pt x="22473" y="1005"/>
                      </a:lnTo>
                      <a:lnTo>
                        <a:pt x="22452" y="1068"/>
                      </a:lnTo>
                      <a:lnTo>
                        <a:pt x="22368" y="1110"/>
                      </a:lnTo>
                      <a:lnTo>
                        <a:pt x="22410" y="921"/>
                      </a:lnTo>
                      <a:lnTo>
                        <a:pt x="22368" y="817"/>
                      </a:lnTo>
                      <a:lnTo>
                        <a:pt x="22264" y="817"/>
                      </a:lnTo>
                      <a:lnTo>
                        <a:pt x="22284" y="733"/>
                      </a:lnTo>
                      <a:lnTo>
                        <a:pt x="22410" y="628"/>
                      </a:lnTo>
                      <a:lnTo>
                        <a:pt x="22515" y="607"/>
                      </a:lnTo>
                      <a:lnTo>
                        <a:pt x="22661" y="712"/>
                      </a:lnTo>
                      <a:lnTo>
                        <a:pt x="22808" y="628"/>
                      </a:lnTo>
                      <a:lnTo>
                        <a:pt x="22912" y="607"/>
                      </a:lnTo>
                      <a:lnTo>
                        <a:pt x="23017" y="503"/>
                      </a:lnTo>
                      <a:lnTo>
                        <a:pt x="23017" y="440"/>
                      </a:lnTo>
                      <a:lnTo>
                        <a:pt x="23038" y="398"/>
                      </a:lnTo>
                      <a:lnTo>
                        <a:pt x="23017" y="335"/>
                      </a:lnTo>
                      <a:lnTo>
                        <a:pt x="22891" y="294"/>
                      </a:lnTo>
                      <a:lnTo>
                        <a:pt x="22828" y="294"/>
                      </a:lnTo>
                      <a:lnTo>
                        <a:pt x="22828" y="189"/>
                      </a:lnTo>
                      <a:lnTo>
                        <a:pt x="22787" y="126"/>
                      </a:lnTo>
                      <a:lnTo>
                        <a:pt x="22766" y="105"/>
                      </a:lnTo>
                      <a:lnTo>
                        <a:pt x="22787" y="84"/>
                      </a:lnTo>
                      <a:lnTo>
                        <a:pt x="22828" y="63"/>
                      </a:lnTo>
                      <a:lnTo>
                        <a:pt x="2287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43" name="Google Shape;1943;p66"/>
                <p:cNvSpPr/>
                <p:nvPr/>
              </p:nvSpPr>
              <p:spPr>
                <a:xfrm>
                  <a:off x="1979950" y="2384350"/>
                  <a:ext cx="816050" cy="481275"/>
                </a:xfrm>
                <a:custGeom>
                  <a:avLst/>
                  <a:gdLst/>
                  <a:ahLst/>
                  <a:cxnLst/>
                  <a:rect l="l" t="t" r="r" b="b"/>
                  <a:pathLst>
                    <a:path w="32642" h="19251" extrusionOk="0">
                      <a:moveTo>
                        <a:pt x="2846" y="1"/>
                      </a:moveTo>
                      <a:lnTo>
                        <a:pt x="2909" y="210"/>
                      </a:lnTo>
                      <a:lnTo>
                        <a:pt x="3035" y="273"/>
                      </a:lnTo>
                      <a:lnTo>
                        <a:pt x="2993" y="356"/>
                      </a:lnTo>
                      <a:lnTo>
                        <a:pt x="2909" y="440"/>
                      </a:lnTo>
                      <a:lnTo>
                        <a:pt x="2930" y="545"/>
                      </a:lnTo>
                      <a:lnTo>
                        <a:pt x="2993" y="586"/>
                      </a:lnTo>
                      <a:lnTo>
                        <a:pt x="2972" y="649"/>
                      </a:lnTo>
                      <a:lnTo>
                        <a:pt x="2909" y="733"/>
                      </a:lnTo>
                      <a:lnTo>
                        <a:pt x="2951" y="775"/>
                      </a:lnTo>
                      <a:lnTo>
                        <a:pt x="2951" y="858"/>
                      </a:lnTo>
                      <a:lnTo>
                        <a:pt x="2993" y="900"/>
                      </a:lnTo>
                      <a:lnTo>
                        <a:pt x="2909" y="1047"/>
                      </a:lnTo>
                      <a:lnTo>
                        <a:pt x="2825" y="1089"/>
                      </a:lnTo>
                      <a:lnTo>
                        <a:pt x="2763" y="1256"/>
                      </a:lnTo>
                      <a:lnTo>
                        <a:pt x="2721" y="1298"/>
                      </a:lnTo>
                      <a:lnTo>
                        <a:pt x="2721" y="1423"/>
                      </a:lnTo>
                      <a:lnTo>
                        <a:pt x="2637" y="1486"/>
                      </a:lnTo>
                      <a:lnTo>
                        <a:pt x="2616" y="1591"/>
                      </a:lnTo>
                      <a:lnTo>
                        <a:pt x="2470" y="1674"/>
                      </a:lnTo>
                      <a:lnTo>
                        <a:pt x="2386" y="1633"/>
                      </a:lnTo>
                      <a:lnTo>
                        <a:pt x="2344" y="1570"/>
                      </a:lnTo>
                      <a:lnTo>
                        <a:pt x="2428" y="1465"/>
                      </a:lnTo>
                      <a:lnTo>
                        <a:pt x="2449" y="1507"/>
                      </a:lnTo>
                      <a:lnTo>
                        <a:pt x="2532" y="1465"/>
                      </a:lnTo>
                      <a:lnTo>
                        <a:pt x="2553" y="1528"/>
                      </a:lnTo>
                      <a:lnTo>
                        <a:pt x="2595" y="1486"/>
                      </a:lnTo>
                      <a:lnTo>
                        <a:pt x="2595" y="1361"/>
                      </a:lnTo>
                      <a:lnTo>
                        <a:pt x="2658" y="1214"/>
                      </a:lnTo>
                      <a:lnTo>
                        <a:pt x="2742" y="1151"/>
                      </a:lnTo>
                      <a:lnTo>
                        <a:pt x="2742" y="1047"/>
                      </a:lnTo>
                      <a:lnTo>
                        <a:pt x="2700" y="1068"/>
                      </a:lnTo>
                      <a:lnTo>
                        <a:pt x="2553" y="1172"/>
                      </a:lnTo>
                      <a:lnTo>
                        <a:pt x="2512" y="1214"/>
                      </a:lnTo>
                      <a:lnTo>
                        <a:pt x="2428" y="1214"/>
                      </a:lnTo>
                      <a:lnTo>
                        <a:pt x="2428" y="1172"/>
                      </a:lnTo>
                      <a:lnTo>
                        <a:pt x="2532" y="1068"/>
                      </a:lnTo>
                      <a:lnTo>
                        <a:pt x="2658" y="1005"/>
                      </a:lnTo>
                      <a:lnTo>
                        <a:pt x="2700" y="963"/>
                      </a:lnTo>
                      <a:lnTo>
                        <a:pt x="2658" y="879"/>
                      </a:lnTo>
                      <a:lnTo>
                        <a:pt x="2616" y="879"/>
                      </a:lnTo>
                      <a:lnTo>
                        <a:pt x="2532" y="900"/>
                      </a:lnTo>
                      <a:lnTo>
                        <a:pt x="2470" y="796"/>
                      </a:lnTo>
                      <a:lnTo>
                        <a:pt x="2407" y="754"/>
                      </a:lnTo>
                      <a:lnTo>
                        <a:pt x="2135" y="754"/>
                      </a:lnTo>
                      <a:lnTo>
                        <a:pt x="2009" y="649"/>
                      </a:lnTo>
                      <a:lnTo>
                        <a:pt x="1716" y="419"/>
                      </a:lnTo>
                      <a:lnTo>
                        <a:pt x="1696" y="440"/>
                      </a:lnTo>
                      <a:lnTo>
                        <a:pt x="1675" y="545"/>
                      </a:lnTo>
                      <a:lnTo>
                        <a:pt x="1591" y="754"/>
                      </a:lnTo>
                      <a:lnTo>
                        <a:pt x="1591" y="858"/>
                      </a:lnTo>
                      <a:lnTo>
                        <a:pt x="1654" y="1068"/>
                      </a:lnTo>
                      <a:lnTo>
                        <a:pt x="1591" y="1382"/>
                      </a:lnTo>
                      <a:lnTo>
                        <a:pt x="1612" y="1507"/>
                      </a:lnTo>
                      <a:lnTo>
                        <a:pt x="1591" y="1674"/>
                      </a:lnTo>
                      <a:lnTo>
                        <a:pt x="1612" y="1737"/>
                      </a:lnTo>
                      <a:lnTo>
                        <a:pt x="1675" y="1737"/>
                      </a:lnTo>
                      <a:lnTo>
                        <a:pt x="1696" y="1800"/>
                      </a:lnTo>
                      <a:lnTo>
                        <a:pt x="1654" y="1884"/>
                      </a:lnTo>
                      <a:lnTo>
                        <a:pt x="1591" y="1884"/>
                      </a:lnTo>
                      <a:lnTo>
                        <a:pt x="1570" y="1946"/>
                      </a:lnTo>
                      <a:lnTo>
                        <a:pt x="1591" y="2009"/>
                      </a:lnTo>
                      <a:lnTo>
                        <a:pt x="1696" y="2030"/>
                      </a:lnTo>
                      <a:lnTo>
                        <a:pt x="1654" y="2135"/>
                      </a:lnTo>
                      <a:lnTo>
                        <a:pt x="1654" y="2239"/>
                      </a:lnTo>
                      <a:lnTo>
                        <a:pt x="1591" y="2323"/>
                      </a:lnTo>
                      <a:lnTo>
                        <a:pt x="1549" y="2302"/>
                      </a:lnTo>
                      <a:lnTo>
                        <a:pt x="1507" y="2344"/>
                      </a:lnTo>
                      <a:lnTo>
                        <a:pt x="1507" y="2428"/>
                      </a:lnTo>
                      <a:lnTo>
                        <a:pt x="1675" y="2449"/>
                      </a:lnTo>
                      <a:lnTo>
                        <a:pt x="1821" y="2470"/>
                      </a:lnTo>
                      <a:lnTo>
                        <a:pt x="1926" y="2553"/>
                      </a:lnTo>
                      <a:lnTo>
                        <a:pt x="2072" y="2553"/>
                      </a:lnTo>
                      <a:lnTo>
                        <a:pt x="2114" y="2637"/>
                      </a:lnTo>
                      <a:lnTo>
                        <a:pt x="2135" y="2783"/>
                      </a:lnTo>
                      <a:lnTo>
                        <a:pt x="2093" y="2658"/>
                      </a:lnTo>
                      <a:lnTo>
                        <a:pt x="1988" y="2574"/>
                      </a:lnTo>
                      <a:lnTo>
                        <a:pt x="1905" y="2616"/>
                      </a:lnTo>
                      <a:lnTo>
                        <a:pt x="1821" y="2553"/>
                      </a:lnTo>
                      <a:lnTo>
                        <a:pt x="1612" y="2532"/>
                      </a:lnTo>
                      <a:lnTo>
                        <a:pt x="1570" y="2470"/>
                      </a:lnTo>
                      <a:lnTo>
                        <a:pt x="1507" y="2511"/>
                      </a:lnTo>
                      <a:lnTo>
                        <a:pt x="1507" y="2616"/>
                      </a:lnTo>
                      <a:lnTo>
                        <a:pt x="1403" y="2763"/>
                      </a:lnTo>
                      <a:lnTo>
                        <a:pt x="1403" y="2846"/>
                      </a:lnTo>
                      <a:lnTo>
                        <a:pt x="1403" y="2930"/>
                      </a:lnTo>
                      <a:lnTo>
                        <a:pt x="1340" y="3076"/>
                      </a:lnTo>
                      <a:lnTo>
                        <a:pt x="1277" y="3202"/>
                      </a:lnTo>
                      <a:lnTo>
                        <a:pt x="1131" y="3558"/>
                      </a:lnTo>
                      <a:lnTo>
                        <a:pt x="1089" y="3809"/>
                      </a:lnTo>
                      <a:lnTo>
                        <a:pt x="942" y="4102"/>
                      </a:lnTo>
                      <a:lnTo>
                        <a:pt x="921" y="4415"/>
                      </a:lnTo>
                      <a:lnTo>
                        <a:pt x="838" y="4541"/>
                      </a:lnTo>
                      <a:lnTo>
                        <a:pt x="733" y="4667"/>
                      </a:lnTo>
                      <a:lnTo>
                        <a:pt x="649" y="4855"/>
                      </a:lnTo>
                      <a:lnTo>
                        <a:pt x="608" y="4939"/>
                      </a:lnTo>
                      <a:lnTo>
                        <a:pt x="566" y="5043"/>
                      </a:lnTo>
                      <a:lnTo>
                        <a:pt x="419" y="5231"/>
                      </a:lnTo>
                      <a:lnTo>
                        <a:pt x="356" y="5336"/>
                      </a:lnTo>
                      <a:lnTo>
                        <a:pt x="398" y="5566"/>
                      </a:lnTo>
                      <a:lnTo>
                        <a:pt x="336" y="5776"/>
                      </a:lnTo>
                      <a:lnTo>
                        <a:pt x="336" y="5922"/>
                      </a:lnTo>
                      <a:lnTo>
                        <a:pt x="419" y="6027"/>
                      </a:lnTo>
                      <a:lnTo>
                        <a:pt x="356" y="6110"/>
                      </a:lnTo>
                      <a:lnTo>
                        <a:pt x="336" y="6194"/>
                      </a:lnTo>
                      <a:lnTo>
                        <a:pt x="398" y="6340"/>
                      </a:lnTo>
                      <a:lnTo>
                        <a:pt x="356" y="6592"/>
                      </a:lnTo>
                      <a:lnTo>
                        <a:pt x="315" y="6717"/>
                      </a:lnTo>
                      <a:lnTo>
                        <a:pt x="231" y="6759"/>
                      </a:lnTo>
                      <a:lnTo>
                        <a:pt x="252" y="6843"/>
                      </a:lnTo>
                      <a:lnTo>
                        <a:pt x="294" y="6864"/>
                      </a:lnTo>
                      <a:lnTo>
                        <a:pt x="231" y="7031"/>
                      </a:lnTo>
                      <a:lnTo>
                        <a:pt x="84" y="7136"/>
                      </a:lnTo>
                      <a:lnTo>
                        <a:pt x="1" y="7261"/>
                      </a:lnTo>
                      <a:lnTo>
                        <a:pt x="1" y="7387"/>
                      </a:lnTo>
                      <a:lnTo>
                        <a:pt x="105" y="7554"/>
                      </a:lnTo>
                      <a:lnTo>
                        <a:pt x="210" y="7763"/>
                      </a:lnTo>
                      <a:lnTo>
                        <a:pt x="210" y="7993"/>
                      </a:lnTo>
                      <a:lnTo>
                        <a:pt x="189" y="8119"/>
                      </a:lnTo>
                      <a:lnTo>
                        <a:pt x="126" y="8203"/>
                      </a:lnTo>
                      <a:lnTo>
                        <a:pt x="126" y="8286"/>
                      </a:lnTo>
                      <a:lnTo>
                        <a:pt x="147" y="8370"/>
                      </a:lnTo>
                      <a:lnTo>
                        <a:pt x="189" y="8496"/>
                      </a:lnTo>
                      <a:lnTo>
                        <a:pt x="126" y="8579"/>
                      </a:lnTo>
                      <a:lnTo>
                        <a:pt x="105" y="8642"/>
                      </a:lnTo>
                      <a:lnTo>
                        <a:pt x="126" y="8726"/>
                      </a:lnTo>
                      <a:lnTo>
                        <a:pt x="356" y="9102"/>
                      </a:lnTo>
                      <a:lnTo>
                        <a:pt x="398" y="9207"/>
                      </a:lnTo>
                      <a:lnTo>
                        <a:pt x="356" y="9270"/>
                      </a:lnTo>
                      <a:lnTo>
                        <a:pt x="398" y="9353"/>
                      </a:lnTo>
                      <a:lnTo>
                        <a:pt x="524" y="9479"/>
                      </a:lnTo>
                      <a:lnTo>
                        <a:pt x="545" y="9542"/>
                      </a:lnTo>
                      <a:lnTo>
                        <a:pt x="628" y="9542"/>
                      </a:lnTo>
                      <a:lnTo>
                        <a:pt x="628" y="9437"/>
                      </a:lnTo>
                      <a:lnTo>
                        <a:pt x="628" y="9312"/>
                      </a:lnTo>
                      <a:lnTo>
                        <a:pt x="712" y="9333"/>
                      </a:lnTo>
                      <a:lnTo>
                        <a:pt x="733" y="9312"/>
                      </a:lnTo>
                      <a:lnTo>
                        <a:pt x="733" y="9353"/>
                      </a:lnTo>
                      <a:lnTo>
                        <a:pt x="838" y="9353"/>
                      </a:lnTo>
                      <a:lnTo>
                        <a:pt x="859" y="9416"/>
                      </a:lnTo>
                      <a:lnTo>
                        <a:pt x="984" y="9437"/>
                      </a:lnTo>
                      <a:lnTo>
                        <a:pt x="880" y="9437"/>
                      </a:lnTo>
                      <a:lnTo>
                        <a:pt x="817" y="9479"/>
                      </a:lnTo>
                      <a:lnTo>
                        <a:pt x="754" y="9437"/>
                      </a:lnTo>
                      <a:lnTo>
                        <a:pt x="712" y="9437"/>
                      </a:lnTo>
                      <a:lnTo>
                        <a:pt x="712" y="9521"/>
                      </a:lnTo>
                      <a:lnTo>
                        <a:pt x="754" y="9542"/>
                      </a:lnTo>
                      <a:lnTo>
                        <a:pt x="754" y="9688"/>
                      </a:lnTo>
                      <a:lnTo>
                        <a:pt x="817" y="9793"/>
                      </a:lnTo>
                      <a:lnTo>
                        <a:pt x="838" y="9835"/>
                      </a:lnTo>
                      <a:lnTo>
                        <a:pt x="733" y="9793"/>
                      </a:lnTo>
                      <a:lnTo>
                        <a:pt x="670" y="9688"/>
                      </a:lnTo>
                      <a:lnTo>
                        <a:pt x="649" y="9646"/>
                      </a:lnTo>
                      <a:lnTo>
                        <a:pt x="608" y="9688"/>
                      </a:lnTo>
                      <a:lnTo>
                        <a:pt x="608" y="9772"/>
                      </a:lnTo>
                      <a:lnTo>
                        <a:pt x="545" y="9835"/>
                      </a:lnTo>
                      <a:lnTo>
                        <a:pt x="566" y="9877"/>
                      </a:lnTo>
                      <a:lnTo>
                        <a:pt x="545" y="9981"/>
                      </a:lnTo>
                      <a:lnTo>
                        <a:pt x="545" y="10086"/>
                      </a:lnTo>
                      <a:lnTo>
                        <a:pt x="608" y="10107"/>
                      </a:lnTo>
                      <a:lnTo>
                        <a:pt x="628" y="10211"/>
                      </a:lnTo>
                      <a:lnTo>
                        <a:pt x="733" y="10274"/>
                      </a:lnTo>
                      <a:lnTo>
                        <a:pt x="775" y="10358"/>
                      </a:lnTo>
                      <a:lnTo>
                        <a:pt x="775" y="10421"/>
                      </a:lnTo>
                      <a:lnTo>
                        <a:pt x="712" y="10504"/>
                      </a:lnTo>
                      <a:lnTo>
                        <a:pt x="649" y="10504"/>
                      </a:lnTo>
                      <a:lnTo>
                        <a:pt x="649" y="10567"/>
                      </a:lnTo>
                      <a:lnTo>
                        <a:pt x="670" y="10672"/>
                      </a:lnTo>
                      <a:lnTo>
                        <a:pt x="670" y="10797"/>
                      </a:lnTo>
                      <a:lnTo>
                        <a:pt x="712" y="10839"/>
                      </a:lnTo>
                      <a:lnTo>
                        <a:pt x="775" y="10923"/>
                      </a:lnTo>
                      <a:lnTo>
                        <a:pt x="817" y="11111"/>
                      </a:lnTo>
                      <a:lnTo>
                        <a:pt x="942" y="11362"/>
                      </a:lnTo>
                      <a:lnTo>
                        <a:pt x="1026" y="11509"/>
                      </a:lnTo>
                      <a:lnTo>
                        <a:pt x="1068" y="11530"/>
                      </a:lnTo>
                      <a:lnTo>
                        <a:pt x="1047" y="11571"/>
                      </a:lnTo>
                      <a:lnTo>
                        <a:pt x="1047" y="11613"/>
                      </a:lnTo>
                      <a:lnTo>
                        <a:pt x="1152" y="11718"/>
                      </a:lnTo>
                      <a:lnTo>
                        <a:pt x="1172" y="11843"/>
                      </a:lnTo>
                      <a:lnTo>
                        <a:pt x="1152" y="11990"/>
                      </a:lnTo>
                      <a:lnTo>
                        <a:pt x="1131" y="12094"/>
                      </a:lnTo>
                      <a:lnTo>
                        <a:pt x="1089" y="12136"/>
                      </a:lnTo>
                      <a:lnTo>
                        <a:pt x="1131" y="12199"/>
                      </a:lnTo>
                      <a:lnTo>
                        <a:pt x="1172" y="12262"/>
                      </a:lnTo>
                      <a:lnTo>
                        <a:pt x="1382" y="12262"/>
                      </a:lnTo>
                      <a:lnTo>
                        <a:pt x="1486" y="12283"/>
                      </a:lnTo>
                      <a:lnTo>
                        <a:pt x="1591" y="12346"/>
                      </a:lnTo>
                      <a:lnTo>
                        <a:pt x="1675" y="12366"/>
                      </a:lnTo>
                      <a:lnTo>
                        <a:pt x="1821" y="12366"/>
                      </a:lnTo>
                      <a:lnTo>
                        <a:pt x="1884" y="12450"/>
                      </a:lnTo>
                      <a:lnTo>
                        <a:pt x="1884" y="12555"/>
                      </a:lnTo>
                      <a:lnTo>
                        <a:pt x="2030" y="12618"/>
                      </a:lnTo>
                      <a:lnTo>
                        <a:pt x="2135" y="12618"/>
                      </a:lnTo>
                      <a:lnTo>
                        <a:pt x="2281" y="12680"/>
                      </a:lnTo>
                      <a:lnTo>
                        <a:pt x="2302" y="12722"/>
                      </a:lnTo>
                      <a:lnTo>
                        <a:pt x="2302" y="12827"/>
                      </a:lnTo>
                      <a:lnTo>
                        <a:pt x="2344" y="12869"/>
                      </a:lnTo>
                      <a:lnTo>
                        <a:pt x="2407" y="12827"/>
                      </a:lnTo>
                      <a:lnTo>
                        <a:pt x="2470" y="12827"/>
                      </a:lnTo>
                      <a:lnTo>
                        <a:pt x="2616" y="12973"/>
                      </a:lnTo>
                      <a:lnTo>
                        <a:pt x="2805" y="13245"/>
                      </a:lnTo>
                      <a:lnTo>
                        <a:pt x="2825" y="13434"/>
                      </a:lnTo>
                      <a:lnTo>
                        <a:pt x="2805" y="13559"/>
                      </a:lnTo>
                      <a:lnTo>
                        <a:pt x="2805" y="13664"/>
                      </a:lnTo>
                      <a:lnTo>
                        <a:pt x="4185" y="13643"/>
                      </a:lnTo>
                      <a:lnTo>
                        <a:pt x="4206" y="13706"/>
                      </a:lnTo>
                      <a:lnTo>
                        <a:pt x="4206" y="13747"/>
                      </a:lnTo>
                      <a:lnTo>
                        <a:pt x="6131" y="14647"/>
                      </a:lnTo>
                      <a:lnTo>
                        <a:pt x="7784" y="14689"/>
                      </a:lnTo>
                      <a:lnTo>
                        <a:pt x="7826" y="14480"/>
                      </a:lnTo>
                      <a:lnTo>
                        <a:pt x="8747" y="14501"/>
                      </a:lnTo>
                      <a:lnTo>
                        <a:pt x="8872" y="14584"/>
                      </a:lnTo>
                      <a:lnTo>
                        <a:pt x="8935" y="14710"/>
                      </a:lnTo>
                      <a:lnTo>
                        <a:pt x="8998" y="14773"/>
                      </a:lnTo>
                      <a:lnTo>
                        <a:pt x="9019" y="14815"/>
                      </a:lnTo>
                      <a:lnTo>
                        <a:pt x="9082" y="14815"/>
                      </a:lnTo>
                      <a:lnTo>
                        <a:pt x="9123" y="14898"/>
                      </a:lnTo>
                      <a:lnTo>
                        <a:pt x="9103" y="14961"/>
                      </a:lnTo>
                      <a:lnTo>
                        <a:pt x="9207" y="14982"/>
                      </a:lnTo>
                      <a:lnTo>
                        <a:pt x="9270" y="15066"/>
                      </a:lnTo>
                      <a:lnTo>
                        <a:pt x="9270" y="15107"/>
                      </a:lnTo>
                      <a:lnTo>
                        <a:pt x="9228" y="15170"/>
                      </a:lnTo>
                      <a:lnTo>
                        <a:pt x="9312" y="15191"/>
                      </a:lnTo>
                      <a:lnTo>
                        <a:pt x="9395" y="15233"/>
                      </a:lnTo>
                      <a:lnTo>
                        <a:pt x="9437" y="15317"/>
                      </a:lnTo>
                      <a:lnTo>
                        <a:pt x="9458" y="15442"/>
                      </a:lnTo>
                      <a:lnTo>
                        <a:pt x="9500" y="15484"/>
                      </a:lnTo>
                      <a:lnTo>
                        <a:pt x="9521" y="15505"/>
                      </a:lnTo>
                      <a:lnTo>
                        <a:pt x="9542" y="15526"/>
                      </a:lnTo>
                      <a:lnTo>
                        <a:pt x="9626" y="15610"/>
                      </a:lnTo>
                      <a:lnTo>
                        <a:pt x="9626" y="15693"/>
                      </a:lnTo>
                      <a:lnTo>
                        <a:pt x="9605" y="15714"/>
                      </a:lnTo>
                      <a:lnTo>
                        <a:pt x="9521" y="15735"/>
                      </a:lnTo>
                      <a:lnTo>
                        <a:pt x="9521" y="15756"/>
                      </a:lnTo>
                      <a:lnTo>
                        <a:pt x="9626" y="15903"/>
                      </a:lnTo>
                      <a:lnTo>
                        <a:pt x="9709" y="15965"/>
                      </a:lnTo>
                      <a:lnTo>
                        <a:pt x="9730" y="16070"/>
                      </a:lnTo>
                      <a:lnTo>
                        <a:pt x="9730" y="16112"/>
                      </a:lnTo>
                      <a:lnTo>
                        <a:pt x="9751" y="16112"/>
                      </a:lnTo>
                      <a:lnTo>
                        <a:pt x="9793" y="16133"/>
                      </a:lnTo>
                      <a:lnTo>
                        <a:pt x="9835" y="16133"/>
                      </a:lnTo>
                      <a:lnTo>
                        <a:pt x="9877" y="16154"/>
                      </a:lnTo>
                      <a:lnTo>
                        <a:pt x="9919" y="16216"/>
                      </a:lnTo>
                      <a:lnTo>
                        <a:pt x="9919" y="16237"/>
                      </a:lnTo>
                      <a:lnTo>
                        <a:pt x="9960" y="16279"/>
                      </a:lnTo>
                      <a:lnTo>
                        <a:pt x="10023" y="16279"/>
                      </a:lnTo>
                      <a:lnTo>
                        <a:pt x="10149" y="16342"/>
                      </a:lnTo>
                      <a:lnTo>
                        <a:pt x="10170" y="16384"/>
                      </a:lnTo>
                      <a:lnTo>
                        <a:pt x="10253" y="16426"/>
                      </a:lnTo>
                      <a:lnTo>
                        <a:pt x="10379" y="16467"/>
                      </a:lnTo>
                      <a:lnTo>
                        <a:pt x="10400" y="16530"/>
                      </a:lnTo>
                      <a:lnTo>
                        <a:pt x="10463" y="16530"/>
                      </a:lnTo>
                      <a:lnTo>
                        <a:pt x="10504" y="16488"/>
                      </a:lnTo>
                      <a:lnTo>
                        <a:pt x="10504" y="16467"/>
                      </a:lnTo>
                      <a:lnTo>
                        <a:pt x="10609" y="16384"/>
                      </a:lnTo>
                      <a:lnTo>
                        <a:pt x="10672" y="16384"/>
                      </a:lnTo>
                      <a:lnTo>
                        <a:pt x="10672" y="16342"/>
                      </a:lnTo>
                      <a:lnTo>
                        <a:pt x="10672" y="16321"/>
                      </a:lnTo>
                      <a:lnTo>
                        <a:pt x="10714" y="16237"/>
                      </a:lnTo>
                      <a:lnTo>
                        <a:pt x="10797" y="16070"/>
                      </a:lnTo>
                      <a:lnTo>
                        <a:pt x="10839" y="16028"/>
                      </a:lnTo>
                      <a:lnTo>
                        <a:pt x="10923" y="16007"/>
                      </a:lnTo>
                      <a:lnTo>
                        <a:pt x="10965" y="16007"/>
                      </a:lnTo>
                      <a:lnTo>
                        <a:pt x="10986" y="16028"/>
                      </a:lnTo>
                      <a:lnTo>
                        <a:pt x="11027" y="16028"/>
                      </a:lnTo>
                      <a:lnTo>
                        <a:pt x="11069" y="15944"/>
                      </a:lnTo>
                      <a:lnTo>
                        <a:pt x="11174" y="15944"/>
                      </a:lnTo>
                      <a:lnTo>
                        <a:pt x="11279" y="15965"/>
                      </a:lnTo>
                      <a:lnTo>
                        <a:pt x="11383" y="15944"/>
                      </a:lnTo>
                      <a:lnTo>
                        <a:pt x="11404" y="15965"/>
                      </a:lnTo>
                      <a:lnTo>
                        <a:pt x="11425" y="16007"/>
                      </a:lnTo>
                      <a:lnTo>
                        <a:pt x="11509" y="16007"/>
                      </a:lnTo>
                      <a:lnTo>
                        <a:pt x="11592" y="16028"/>
                      </a:lnTo>
                      <a:lnTo>
                        <a:pt x="11634" y="16133"/>
                      </a:lnTo>
                      <a:lnTo>
                        <a:pt x="11739" y="16216"/>
                      </a:lnTo>
                      <a:lnTo>
                        <a:pt x="11844" y="16363"/>
                      </a:lnTo>
                      <a:lnTo>
                        <a:pt x="11864" y="16467"/>
                      </a:lnTo>
                      <a:lnTo>
                        <a:pt x="11927" y="16530"/>
                      </a:lnTo>
                      <a:lnTo>
                        <a:pt x="11927" y="16593"/>
                      </a:lnTo>
                      <a:lnTo>
                        <a:pt x="11927" y="16760"/>
                      </a:lnTo>
                      <a:lnTo>
                        <a:pt x="12011" y="16781"/>
                      </a:lnTo>
                      <a:lnTo>
                        <a:pt x="12032" y="16865"/>
                      </a:lnTo>
                      <a:lnTo>
                        <a:pt x="12116" y="17074"/>
                      </a:lnTo>
                      <a:lnTo>
                        <a:pt x="12157" y="17095"/>
                      </a:lnTo>
                      <a:lnTo>
                        <a:pt x="12178" y="17179"/>
                      </a:lnTo>
                      <a:lnTo>
                        <a:pt x="12262" y="17221"/>
                      </a:lnTo>
                      <a:lnTo>
                        <a:pt x="12283" y="17325"/>
                      </a:lnTo>
                      <a:lnTo>
                        <a:pt x="12346" y="17430"/>
                      </a:lnTo>
                      <a:lnTo>
                        <a:pt x="12450" y="17514"/>
                      </a:lnTo>
                      <a:lnTo>
                        <a:pt x="12429" y="17618"/>
                      </a:lnTo>
                      <a:lnTo>
                        <a:pt x="12429" y="17723"/>
                      </a:lnTo>
                      <a:lnTo>
                        <a:pt x="12429" y="17786"/>
                      </a:lnTo>
                      <a:lnTo>
                        <a:pt x="12429" y="17807"/>
                      </a:lnTo>
                      <a:lnTo>
                        <a:pt x="12555" y="18141"/>
                      </a:lnTo>
                      <a:lnTo>
                        <a:pt x="12534" y="18309"/>
                      </a:lnTo>
                      <a:lnTo>
                        <a:pt x="12576" y="18351"/>
                      </a:lnTo>
                      <a:lnTo>
                        <a:pt x="12597" y="18351"/>
                      </a:lnTo>
                      <a:lnTo>
                        <a:pt x="12660" y="18372"/>
                      </a:lnTo>
                      <a:lnTo>
                        <a:pt x="12743" y="18372"/>
                      </a:lnTo>
                      <a:lnTo>
                        <a:pt x="12806" y="18413"/>
                      </a:lnTo>
                      <a:lnTo>
                        <a:pt x="12911" y="18518"/>
                      </a:lnTo>
                      <a:lnTo>
                        <a:pt x="13099" y="18560"/>
                      </a:lnTo>
                      <a:lnTo>
                        <a:pt x="13204" y="18644"/>
                      </a:lnTo>
                      <a:lnTo>
                        <a:pt x="13308" y="18644"/>
                      </a:lnTo>
                      <a:lnTo>
                        <a:pt x="13329" y="18727"/>
                      </a:lnTo>
                      <a:lnTo>
                        <a:pt x="13392" y="18748"/>
                      </a:lnTo>
                      <a:lnTo>
                        <a:pt x="13476" y="18581"/>
                      </a:lnTo>
                      <a:lnTo>
                        <a:pt x="13496" y="18455"/>
                      </a:lnTo>
                      <a:lnTo>
                        <a:pt x="13476" y="18372"/>
                      </a:lnTo>
                      <a:lnTo>
                        <a:pt x="13476" y="18120"/>
                      </a:lnTo>
                      <a:lnTo>
                        <a:pt x="13413" y="18037"/>
                      </a:lnTo>
                      <a:lnTo>
                        <a:pt x="13496" y="17911"/>
                      </a:lnTo>
                      <a:lnTo>
                        <a:pt x="13538" y="17723"/>
                      </a:lnTo>
                      <a:lnTo>
                        <a:pt x="13622" y="17618"/>
                      </a:lnTo>
                      <a:lnTo>
                        <a:pt x="13580" y="17409"/>
                      </a:lnTo>
                      <a:lnTo>
                        <a:pt x="13685" y="17367"/>
                      </a:lnTo>
                      <a:lnTo>
                        <a:pt x="13789" y="17284"/>
                      </a:lnTo>
                      <a:lnTo>
                        <a:pt x="13727" y="17200"/>
                      </a:lnTo>
                      <a:lnTo>
                        <a:pt x="13831" y="17074"/>
                      </a:lnTo>
                      <a:lnTo>
                        <a:pt x="13894" y="17095"/>
                      </a:lnTo>
                      <a:lnTo>
                        <a:pt x="13999" y="17053"/>
                      </a:lnTo>
                      <a:lnTo>
                        <a:pt x="13957" y="16907"/>
                      </a:lnTo>
                      <a:lnTo>
                        <a:pt x="13957" y="16907"/>
                      </a:lnTo>
                      <a:lnTo>
                        <a:pt x="14040" y="16970"/>
                      </a:lnTo>
                      <a:lnTo>
                        <a:pt x="14145" y="16907"/>
                      </a:lnTo>
                      <a:lnTo>
                        <a:pt x="14103" y="16865"/>
                      </a:lnTo>
                      <a:lnTo>
                        <a:pt x="14208" y="16781"/>
                      </a:lnTo>
                      <a:lnTo>
                        <a:pt x="14250" y="16802"/>
                      </a:lnTo>
                      <a:lnTo>
                        <a:pt x="14312" y="16781"/>
                      </a:lnTo>
                      <a:lnTo>
                        <a:pt x="14375" y="16865"/>
                      </a:lnTo>
                      <a:lnTo>
                        <a:pt x="14271" y="16949"/>
                      </a:lnTo>
                      <a:lnTo>
                        <a:pt x="14354" y="16949"/>
                      </a:lnTo>
                      <a:lnTo>
                        <a:pt x="14459" y="16844"/>
                      </a:lnTo>
                      <a:lnTo>
                        <a:pt x="14543" y="16844"/>
                      </a:lnTo>
                      <a:lnTo>
                        <a:pt x="14794" y="16739"/>
                      </a:lnTo>
                      <a:lnTo>
                        <a:pt x="14982" y="16551"/>
                      </a:lnTo>
                      <a:lnTo>
                        <a:pt x="15066" y="16551"/>
                      </a:lnTo>
                      <a:lnTo>
                        <a:pt x="15108" y="16488"/>
                      </a:lnTo>
                      <a:lnTo>
                        <a:pt x="15087" y="16384"/>
                      </a:lnTo>
                      <a:lnTo>
                        <a:pt x="15108" y="16258"/>
                      </a:lnTo>
                      <a:lnTo>
                        <a:pt x="15045" y="16112"/>
                      </a:lnTo>
                      <a:lnTo>
                        <a:pt x="15087" y="16175"/>
                      </a:lnTo>
                      <a:lnTo>
                        <a:pt x="15170" y="16175"/>
                      </a:lnTo>
                      <a:lnTo>
                        <a:pt x="15275" y="16070"/>
                      </a:lnTo>
                      <a:lnTo>
                        <a:pt x="15275" y="16028"/>
                      </a:lnTo>
                      <a:lnTo>
                        <a:pt x="15317" y="16133"/>
                      </a:lnTo>
                      <a:lnTo>
                        <a:pt x="15254" y="16237"/>
                      </a:lnTo>
                      <a:lnTo>
                        <a:pt x="15275" y="16321"/>
                      </a:lnTo>
                      <a:lnTo>
                        <a:pt x="15275" y="16426"/>
                      </a:lnTo>
                      <a:lnTo>
                        <a:pt x="15401" y="16384"/>
                      </a:lnTo>
                      <a:lnTo>
                        <a:pt x="15484" y="16258"/>
                      </a:lnTo>
                      <a:lnTo>
                        <a:pt x="15568" y="16258"/>
                      </a:lnTo>
                      <a:lnTo>
                        <a:pt x="15631" y="16216"/>
                      </a:lnTo>
                      <a:lnTo>
                        <a:pt x="15840" y="16154"/>
                      </a:lnTo>
                      <a:lnTo>
                        <a:pt x="16007" y="16154"/>
                      </a:lnTo>
                      <a:lnTo>
                        <a:pt x="16258" y="16237"/>
                      </a:lnTo>
                      <a:lnTo>
                        <a:pt x="16321" y="16279"/>
                      </a:lnTo>
                      <a:lnTo>
                        <a:pt x="16635" y="16321"/>
                      </a:lnTo>
                      <a:lnTo>
                        <a:pt x="16740" y="16279"/>
                      </a:lnTo>
                      <a:lnTo>
                        <a:pt x="16740" y="16237"/>
                      </a:lnTo>
                      <a:lnTo>
                        <a:pt x="16740" y="16154"/>
                      </a:lnTo>
                      <a:lnTo>
                        <a:pt x="16844" y="16133"/>
                      </a:lnTo>
                      <a:lnTo>
                        <a:pt x="16928" y="16154"/>
                      </a:lnTo>
                      <a:lnTo>
                        <a:pt x="16865" y="16216"/>
                      </a:lnTo>
                      <a:lnTo>
                        <a:pt x="16928" y="16237"/>
                      </a:lnTo>
                      <a:lnTo>
                        <a:pt x="16991" y="16216"/>
                      </a:lnTo>
                      <a:lnTo>
                        <a:pt x="17053" y="16258"/>
                      </a:lnTo>
                      <a:lnTo>
                        <a:pt x="17053" y="16342"/>
                      </a:lnTo>
                      <a:lnTo>
                        <a:pt x="17074" y="16384"/>
                      </a:lnTo>
                      <a:lnTo>
                        <a:pt x="17200" y="16363"/>
                      </a:lnTo>
                      <a:lnTo>
                        <a:pt x="17242" y="16426"/>
                      </a:lnTo>
                      <a:lnTo>
                        <a:pt x="17158" y="16488"/>
                      </a:lnTo>
                      <a:lnTo>
                        <a:pt x="17095" y="16551"/>
                      </a:lnTo>
                      <a:lnTo>
                        <a:pt x="17179" y="16572"/>
                      </a:lnTo>
                      <a:lnTo>
                        <a:pt x="17263" y="16551"/>
                      </a:lnTo>
                      <a:lnTo>
                        <a:pt x="17346" y="16593"/>
                      </a:lnTo>
                      <a:lnTo>
                        <a:pt x="17493" y="16656"/>
                      </a:lnTo>
                      <a:lnTo>
                        <a:pt x="17556" y="16572"/>
                      </a:lnTo>
                      <a:lnTo>
                        <a:pt x="17618" y="16530"/>
                      </a:lnTo>
                      <a:lnTo>
                        <a:pt x="17723" y="16593"/>
                      </a:lnTo>
                      <a:lnTo>
                        <a:pt x="17786" y="16656"/>
                      </a:lnTo>
                      <a:lnTo>
                        <a:pt x="17870" y="16635"/>
                      </a:lnTo>
                      <a:lnTo>
                        <a:pt x="17870" y="16467"/>
                      </a:lnTo>
                      <a:lnTo>
                        <a:pt x="17807" y="16363"/>
                      </a:lnTo>
                      <a:lnTo>
                        <a:pt x="17911" y="16363"/>
                      </a:lnTo>
                      <a:lnTo>
                        <a:pt x="18016" y="16488"/>
                      </a:lnTo>
                      <a:lnTo>
                        <a:pt x="18100" y="16530"/>
                      </a:lnTo>
                      <a:lnTo>
                        <a:pt x="18142" y="16593"/>
                      </a:lnTo>
                      <a:lnTo>
                        <a:pt x="18204" y="16593"/>
                      </a:lnTo>
                      <a:lnTo>
                        <a:pt x="18288" y="16635"/>
                      </a:lnTo>
                      <a:lnTo>
                        <a:pt x="18288" y="16760"/>
                      </a:lnTo>
                      <a:lnTo>
                        <a:pt x="18309" y="16677"/>
                      </a:lnTo>
                      <a:lnTo>
                        <a:pt x="18414" y="16656"/>
                      </a:lnTo>
                      <a:lnTo>
                        <a:pt x="18414" y="16635"/>
                      </a:lnTo>
                      <a:lnTo>
                        <a:pt x="18288" y="16530"/>
                      </a:lnTo>
                      <a:lnTo>
                        <a:pt x="18100" y="16447"/>
                      </a:lnTo>
                      <a:lnTo>
                        <a:pt x="18037" y="16363"/>
                      </a:lnTo>
                      <a:lnTo>
                        <a:pt x="18037" y="16258"/>
                      </a:lnTo>
                      <a:lnTo>
                        <a:pt x="18225" y="16175"/>
                      </a:lnTo>
                      <a:lnTo>
                        <a:pt x="18288" y="16154"/>
                      </a:lnTo>
                      <a:lnTo>
                        <a:pt x="18183" y="16112"/>
                      </a:lnTo>
                      <a:lnTo>
                        <a:pt x="18121" y="16049"/>
                      </a:lnTo>
                      <a:lnTo>
                        <a:pt x="18100" y="16049"/>
                      </a:lnTo>
                      <a:lnTo>
                        <a:pt x="18016" y="16112"/>
                      </a:lnTo>
                      <a:lnTo>
                        <a:pt x="17932" y="16154"/>
                      </a:lnTo>
                      <a:lnTo>
                        <a:pt x="17932" y="16070"/>
                      </a:lnTo>
                      <a:lnTo>
                        <a:pt x="18037" y="15944"/>
                      </a:lnTo>
                      <a:lnTo>
                        <a:pt x="18246" y="15861"/>
                      </a:lnTo>
                      <a:lnTo>
                        <a:pt x="18330" y="15798"/>
                      </a:lnTo>
                      <a:lnTo>
                        <a:pt x="18665" y="15735"/>
                      </a:lnTo>
                      <a:lnTo>
                        <a:pt x="18811" y="15756"/>
                      </a:lnTo>
                      <a:lnTo>
                        <a:pt x="18874" y="15735"/>
                      </a:lnTo>
                      <a:lnTo>
                        <a:pt x="18958" y="15735"/>
                      </a:lnTo>
                      <a:lnTo>
                        <a:pt x="19020" y="15651"/>
                      </a:lnTo>
                      <a:lnTo>
                        <a:pt x="19062" y="15547"/>
                      </a:lnTo>
                      <a:lnTo>
                        <a:pt x="19146" y="15547"/>
                      </a:lnTo>
                      <a:lnTo>
                        <a:pt x="19125" y="15631"/>
                      </a:lnTo>
                      <a:lnTo>
                        <a:pt x="19125" y="15714"/>
                      </a:lnTo>
                      <a:lnTo>
                        <a:pt x="19250" y="15819"/>
                      </a:lnTo>
                      <a:lnTo>
                        <a:pt x="19334" y="15756"/>
                      </a:lnTo>
                      <a:lnTo>
                        <a:pt x="19481" y="15756"/>
                      </a:lnTo>
                      <a:lnTo>
                        <a:pt x="19585" y="15735"/>
                      </a:lnTo>
                      <a:lnTo>
                        <a:pt x="19648" y="15798"/>
                      </a:lnTo>
                      <a:lnTo>
                        <a:pt x="19815" y="15756"/>
                      </a:lnTo>
                      <a:lnTo>
                        <a:pt x="19878" y="15798"/>
                      </a:lnTo>
                      <a:lnTo>
                        <a:pt x="20004" y="15714"/>
                      </a:lnTo>
                      <a:lnTo>
                        <a:pt x="20108" y="15714"/>
                      </a:lnTo>
                      <a:lnTo>
                        <a:pt x="20129" y="15735"/>
                      </a:lnTo>
                      <a:lnTo>
                        <a:pt x="20087" y="15756"/>
                      </a:lnTo>
                      <a:lnTo>
                        <a:pt x="19962" y="15756"/>
                      </a:lnTo>
                      <a:lnTo>
                        <a:pt x="19920" y="15798"/>
                      </a:lnTo>
                      <a:lnTo>
                        <a:pt x="20087" y="15819"/>
                      </a:lnTo>
                      <a:lnTo>
                        <a:pt x="20213" y="15819"/>
                      </a:lnTo>
                      <a:lnTo>
                        <a:pt x="20318" y="15903"/>
                      </a:lnTo>
                      <a:lnTo>
                        <a:pt x="20401" y="15944"/>
                      </a:lnTo>
                      <a:lnTo>
                        <a:pt x="20338" y="15861"/>
                      </a:lnTo>
                      <a:lnTo>
                        <a:pt x="20338" y="15819"/>
                      </a:lnTo>
                      <a:lnTo>
                        <a:pt x="20401" y="15819"/>
                      </a:lnTo>
                      <a:lnTo>
                        <a:pt x="20422" y="15861"/>
                      </a:lnTo>
                      <a:lnTo>
                        <a:pt x="20527" y="15944"/>
                      </a:lnTo>
                      <a:lnTo>
                        <a:pt x="20506" y="16007"/>
                      </a:lnTo>
                      <a:lnTo>
                        <a:pt x="20443" y="15944"/>
                      </a:lnTo>
                      <a:lnTo>
                        <a:pt x="20422" y="15965"/>
                      </a:lnTo>
                      <a:lnTo>
                        <a:pt x="20548" y="16049"/>
                      </a:lnTo>
                      <a:lnTo>
                        <a:pt x="20610" y="16133"/>
                      </a:lnTo>
                      <a:lnTo>
                        <a:pt x="20652" y="16175"/>
                      </a:lnTo>
                      <a:lnTo>
                        <a:pt x="20631" y="16216"/>
                      </a:lnTo>
                      <a:lnTo>
                        <a:pt x="20610" y="16154"/>
                      </a:lnTo>
                      <a:lnTo>
                        <a:pt x="20590" y="16216"/>
                      </a:lnTo>
                      <a:lnTo>
                        <a:pt x="20610" y="16258"/>
                      </a:lnTo>
                      <a:lnTo>
                        <a:pt x="20799" y="16237"/>
                      </a:lnTo>
                      <a:lnTo>
                        <a:pt x="20903" y="16216"/>
                      </a:lnTo>
                      <a:lnTo>
                        <a:pt x="21029" y="16070"/>
                      </a:lnTo>
                      <a:lnTo>
                        <a:pt x="21113" y="16070"/>
                      </a:lnTo>
                      <a:lnTo>
                        <a:pt x="21113" y="16049"/>
                      </a:lnTo>
                      <a:lnTo>
                        <a:pt x="21175" y="15965"/>
                      </a:lnTo>
                      <a:lnTo>
                        <a:pt x="21280" y="15965"/>
                      </a:lnTo>
                      <a:lnTo>
                        <a:pt x="21364" y="16007"/>
                      </a:lnTo>
                      <a:lnTo>
                        <a:pt x="21489" y="16049"/>
                      </a:lnTo>
                      <a:lnTo>
                        <a:pt x="21552" y="16258"/>
                      </a:lnTo>
                      <a:lnTo>
                        <a:pt x="21636" y="16321"/>
                      </a:lnTo>
                      <a:lnTo>
                        <a:pt x="21657" y="16321"/>
                      </a:lnTo>
                      <a:lnTo>
                        <a:pt x="21678" y="16447"/>
                      </a:lnTo>
                      <a:lnTo>
                        <a:pt x="21761" y="16488"/>
                      </a:lnTo>
                      <a:lnTo>
                        <a:pt x="21803" y="16488"/>
                      </a:lnTo>
                      <a:lnTo>
                        <a:pt x="21803" y="16551"/>
                      </a:lnTo>
                      <a:lnTo>
                        <a:pt x="21866" y="16635"/>
                      </a:lnTo>
                      <a:lnTo>
                        <a:pt x="21950" y="16656"/>
                      </a:lnTo>
                      <a:lnTo>
                        <a:pt x="22012" y="16781"/>
                      </a:lnTo>
                      <a:lnTo>
                        <a:pt x="21991" y="16907"/>
                      </a:lnTo>
                      <a:lnTo>
                        <a:pt x="21908" y="17179"/>
                      </a:lnTo>
                      <a:lnTo>
                        <a:pt x="21803" y="17409"/>
                      </a:lnTo>
                      <a:lnTo>
                        <a:pt x="21803" y="17493"/>
                      </a:lnTo>
                      <a:lnTo>
                        <a:pt x="21887" y="17597"/>
                      </a:lnTo>
                      <a:lnTo>
                        <a:pt x="21908" y="17576"/>
                      </a:lnTo>
                      <a:lnTo>
                        <a:pt x="21971" y="17493"/>
                      </a:lnTo>
                      <a:lnTo>
                        <a:pt x="21971" y="17430"/>
                      </a:lnTo>
                      <a:lnTo>
                        <a:pt x="21991" y="17388"/>
                      </a:lnTo>
                      <a:lnTo>
                        <a:pt x="22075" y="17430"/>
                      </a:lnTo>
                      <a:lnTo>
                        <a:pt x="22096" y="17535"/>
                      </a:lnTo>
                      <a:lnTo>
                        <a:pt x="21950" y="17744"/>
                      </a:lnTo>
                      <a:lnTo>
                        <a:pt x="21971" y="17807"/>
                      </a:lnTo>
                      <a:lnTo>
                        <a:pt x="21991" y="17911"/>
                      </a:lnTo>
                      <a:lnTo>
                        <a:pt x="22054" y="18016"/>
                      </a:lnTo>
                      <a:lnTo>
                        <a:pt x="22075" y="18058"/>
                      </a:lnTo>
                      <a:lnTo>
                        <a:pt x="22117" y="18037"/>
                      </a:lnTo>
                      <a:lnTo>
                        <a:pt x="22159" y="18141"/>
                      </a:lnTo>
                      <a:lnTo>
                        <a:pt x="22201" y="18100"/>
                      </a:lnTo>
                      <a:lnTo>
                        <a:pt x="22201" y="18058"/>
                      </a:lnTo>
                      <a:lnTo>
                        <a:pt x="22222" y="18100"/>
                      </a:lnTo>
                      <a:lnTo>
                        <a:pt x="22368" y="18058"/>
                      </a:lnTo>
                      <a:lnTo>
                        <a:pt x="22368" y="18058"/>
                      </a:lnTo>
                      <a:lnTo>
                        <a:pt x="22263" y="18141"/>
                      </a:lnTo>
                      <a:lnTo>
                        <a:pt x="22222" y="18246"/>
                      </a:lnTo>
                      <a:lnTo>
                        <a:pt x="22201" y="18309"/>
                      </a:lnTo>
                      <a:lnTo>
                        <a:pt x="22201" y="18351"/>
                      </a:lnTo>
                      <a:lnTo>
                        <a:pt x="22368" y="18455"/>
                      </a:lnTo>
                      <a:lnTo>
                        <a:pt x="22368" y="18581"/>
                      </a:lnTo>
                      <a:lnTo>
                        <a:pt x="22368" y="18748"/>
                      </a:lnTo>
                      <a:lnTo>
                        <a:pt x="22410" y="18769"/>
                      </a:lnTo>
                      <a:lnTo>
                        <a:pt x="22494" y="18769"/>
                      </a:lnTo>
                      <a:lnTo>
                        <a:pt x="22535" y="18853"/>
                      </a:lnTo>
                      <a:lnTo>
                        <a:pt x="22515" y="18957"/>
                      </a:lnTo>
                      <a:lnTo>
                        <a:pt x="22682" y="19062"/>
                      </a:lnTo>
                      <a:lnTo>
                        <a:pt x="22598" y="19083"/>
                      </a:lnTo>
                      <a:lnTo>
                        <a:pt x="22724" y="19146"/>
                      </a:lnTo>
                      <a:lnTo>
                        <a:pt x="22787" y="19188"/>
                      </a:lnTo>
                      <a:lnTo>
                        <a:pt x="22891" y="19250"/>
                      </a:lnTo>
                      <a:lnTo>
                        <a:pt x="22996" y="19188"/>
                      </a:lnTo>
                      <a:lnTo>
                        <a:pt x="23100" y="19167"/>
                      </a:lnTo>
                      <a:lnTo>
                        <a:pt x="23100" y="18999"/>
                      </a:lnTo>
                      <a:lnTo>
                        <a:pt x="23163" y="18895"/>
                      </a:lnTo>
                      <a:lnTo>
                        <a:pt x="23226" y="18769"/>
                      </a:lnTo>
                      <a:lnTo>
                        <a:pt x="23331" y="18560"/>
                      </a:lnTo>
                      <a:lnTo>
                        <a:pt x="23310" y="18455"/>
                      </a:lnTo>
                      <a:lnTo>
                        <a:pt x="23351" y="18413"/>
                      </a:lnTo>
                      <a:lnTo>
                        <a:pt x="23351" y="18225"/>
                      </a:lnTo>
                      <a:lnTo>
                        <a:pt x="23331" y="18162"/>
                      </a:lnTo>
                      <a:lnTo>
                        <a:pt x="23414" y="18120"/>
                      </a:lnTo>
                      <a:lnTo>
                        <a:pt x="23351" y="17932"/>
                      </a:lnTo>
                      <a:lnTo>
                        <a:pt x="23247" y="17848"/>
                      </a:lnTo>
                      <a:lnTo>
                        <a:pt x="23205" y="17493"/>
                      </a:lnTo>
                      <a:lnTo>
                        <a:pt x="23142" y="17430"/>
                      </a:lnTo>
                      <a:lnTo>
                        <a:pt x="23163" y="17263"/>
                      </a:lnTo>
                      <a:lnTo>
                        <a:pt x="23205" y="17116"/>
                      </a:lnTo>
                      <a:lnTo>
                        <a:pt x="23163" y="17011"/>
                      </a:lnTo>
                      <a:lnTo>
                        <a:pt x="23100" y="16907"/>
                      </a:lnTo>
                      <a:lnTo>
                        <a:pt x="23038" y="16656"/>
                      </a:lnTo>
                      <a:lnTo>
                        <a:pt x="22996" y="16551"/>
                      </a:lnTo>
                      <a:lnTo>
                        <a:pt x="22954" y="16279"/>
                      </a:lnTo>
                      <a:lnTo>
                        <a:pt x="22912" y="16133"/>
                      </a:lnTo>
                      <a:lnTo>
                        <a:pt x="22933" y="15903"/>
                      </a:lnTo>
                      <a:lnTo>
                        <a:pt x="22912" y="15714"/>
                      </a:lnTo>
                      <a:lnTo>
                        <a:pt x="22933" y="15379"/>
                      </a:lnTo>
                      <a:lnTo>
                        <a:pt x="22933" y="15170"/>
                      </a:lnTo>
                      <a:lnTo>
                        <a:pt x="23038" y="15003"/>
                      </a:lnTo>
                      <a:lnTo>
                        <a:pt x="23121" y="14856"/>
                      </a:lnTo>
                      <a:lnTo>
                        <a:pt x="23226" y="14815"/>
                      </a:lnTo>
                      <a:lnTo>
                        <a:pt x="23268" y="14752"/>
                      </a:lnTo>
                      <a:lnTo>
                        <a:pt x="23331" y="14752"/>
                      </a:lnTo>
                      <a:lnTo>
                        <a:pt x="23414" y="14605"/>
                      </a:lnTo>
                      <a:lnTo>
                        <a:pt x="23414" y="14543"/>
                      </a:lnTo>
                      <a:lnTo>
                        <a:pt x="23372" y="14501"/>
                      </a:lnTo>
                      <a:lnTo>
                        <a:pt x="23414" y="14480"/>
                      </a:lnTo>
                      <a:lnTo>
                        <a:pt x="23540" y="14480"/>
                      </a:lnTo>
                      <a:lnTo>
                        <a:pt x="23561" y="14396"/>
                      </a:lnTo>
                      <a:lnTo>
                        <a:pt x="23665" y="14396"/>
                      </a:lnTo>
                      <a:lnTo>
                        <a:pt x="23686" y="14354"/>
                      </a:lnTo>
                      <a:lnTo>
                        <a:pt x="23875" y="14333"/>
                      </a:lnTo>
                      <a:lnTo>
                        <a:pt x="23937" y="14250"/>
                      </a:lnTo>
                      <a:lnTo>
                        <a:pt x="24063" y="14250"/>
                      </a:lnTo>
                      <a:lnTo>
                        <a:pt x="24084" y="14187"/>
                      </a:lnTo>
                      <a:lnTo>
                        <a:pt x="24168" y="14187"/>
                      </a:lnTo>
                      <a:lnTo>
                        <a:pt x="24209" y="14229"/>
                      </a:lnTo>
                      <a:lnTo>
                        <a:pt x="24314" y="14082"/>
                      </a:lnTo>
                      <a:lnTo>
                        <a:pt x="24314" y="14040"/>
                      </a:lnTo>
                      <a:lnTo>
                        <a:pt x="24377" y="14040"/>
                      </a:lnTo>
                      <a:lnTo>
                        <a:pt x="24481" y="13957"/>
                      </a:lnTo>
                      <a:lnTo>
                        <a:pt x="24481" y="13873"/>
                      </a:lnTo>
                      <a:lnTo>
                        <a:pt x="24691" y="13601"/>
                      </a:lnTo>
                      <a:lnTo>
                        <a:pt x="24795" y="13496"/>
                      </a:lnTo>
                      <a:lnTo>
                        <a:pt x="24984" y="13496"/>
                      </a:lnTo>
                      <a:lnTo>
                        <a:pt x="25025" y="13517"/>
                      </a:lnTo>
                      <a:lnTo>
                        <a:pt x="25088" y="13517"/>
                      </a:lnTo>
                      <a:lnTo>
                        <a:pt x="25193" y="13329"/>
                      </a:lnTo>
                      <a:lnTo>
                        <a:pt x="25465" y="13099"/>
                      </a:lnTo>
                      <a:lnTo>
                        <a:pt x="25737" y="12931"/>
                      </a:lnTo>
                      <a:lnTo>
                        <a:pt x="25862" y="12910"/>
                      </a:lnTo>
                      <a:lnTo>
                        <a:pt x="25925" y="12890"/>
                      </a:lnTo>
                      <a:lnTo>
                        <a:pt x="25988" y="12890"/>
                      </a:lnTo>
                      <a:lnTo>
                        <a:pt x="25988" y="12910"/>
                      </a:lnTo>
                      <a:lnTo>
                        <a:pt x="26092" y="12910"/>
                      </a:lnTo>
                      <a:lnTo>
                        <a:pt x="26197" y="12785"/>
                      </a:lnTo>
                      <a:lnTo>
                        <a:pt x="26155" y="12785"/>
                      </a:lnTo>
                      <a:lnTo>
                        <a:pt x="26134" y="12722"/>
                      </a:lnTo>
                      <a:lnTo>
                        <a:pt x="26030" y="12827"/>
                      </a:lnTo>
                      <a:lnTo>
                        <a:pt x="25883" y="12806"/>
                      </a:lnTo>
                      <a:lnTo>
                        <a:pt x="25820" y="12722"/>
                      </a:lnTo>
                      <a:lnTo>
                        <a:pt x="25925" y="12785"/>
                      </a:lnTo>
                      <a:lnTo>
                        <a:pt x="26051" y="12701"/>
                      </a:lnTo>
                      <a:lnTo>
                        <a:pt x="26030" y="12680"/>
                      </a:lnTo>
                      <a:lnTo>
                        <a:pt x="26092" y="12618"/>
                      </a:lnTo>
                      <a:lnTo>
                        <a:pt x="26051" y="12555"/>
                      </a:lnTo>
                      <a:lnTo>
                        <a:pt x="25925" y="12513"/>
                      </a:lnTo>
                      <a:lnTo>
                        <a:pt x="25862" y="12471"/>
                      </a:lnTo>
                      <a:lnTo>
                        <a:pt x="25946" y="12471"/>
                      </a:lnTo>
                      <a:lnTo>
                        <a:pt x="26030" y="12492"/>
                      </a:lnTo>
                      <a:lnTo>
                        <a:pt x="26092" y="12471"/>
                      </a:lnTo>
                      <a:lnTo>
                        <a:pt x="26092" y="12387"/>
                      </a:lnTo>
                      <a:lnTo>
                        <a:pt x="26155" y="12513"/>
                      </a:lnTo>
                      <a:lnTo>
                        <a:pt x="26239" y="12492"/>
                      </a:lnTo>
                      <a:lnTo>
                        <a:pt x="26302" y="12555"/>
                      </a:lnTo>
                      <a:lnTo>
                        <a:pt x="26364" y="12513"/>
                      </a:lnTo>
                      <a:lnTo>
                        <a:pt x="26385" y="12408"/>
                      </a:lnTo>
                      <a:lnTo>
                        <a:pt x="26511" y="12304"/>
                      </a:lnTo>
                      <a:lnTo>
                        <a:pt x="26553" y="12304"/>
                      </a:lnTo>
                      <a:lnTo>
                        <a:pt x="26574" y="12199"/>
                      </a:lnTo>
                      <a:lnTo>
                        <a:pt x="26553" y="12094"/>
                      </a:lnTo>
                      <a:lnTo>
                        <a:pt x="26511" y="12094"/>
                      </a:lnTo>
                      <a:lnTo>
                        <a:pt x="26448" y="12241"/>
                      </a:lnTo>
                      <a:lnTo>
                        <a:pt x="26448" y="12283"/>
                      </a:lnTo>
                      <a:lnTo>
                        <a:pt x="26385" y="12262"/>
                      </a:lnTo>
                      <a:lnTo>
                        <a:pt x="26364" y="12094"/>
                      </a:lnTo>
                      <a:lnTo>
                        <a:pt x="26344" y="12074"/>
                      </a:lnTo>
                      <a:lnTo>
                        <a:pt x="26092" y="12094"/>
                      </a:lnTo>
                      <a:lnTo>
                        <a:pt x="25967" y="12157"/>
                      </a:lnTo>
                      <a:lnTo>
                        <a:pt x="25988" y="12074"/>
                      </a:lnTo>
                      <a:lnTo>
                        <a:pt x="25988" y="11927"/>
                      </a:lnTo>
                      <a:lnTo>
                        <a:pt x="26051" y="11885"/>
                      </a:lnTo>
                      <a:lnTo>
                        <a:pt x="26092" y="11990"/>
                      </a:lnTo>
                      <a:lnTo>
                        <a:pt x="26176" y="12032"/>
                      </a:lnTo>
                      <a:lnTo>
                        <a:pt x="26239" y="11969"/>
                      </a:lnTo>
                      <a:lnTo>
                        <a:pt x="26385" y="11948"/>
                      </a:lnTo>
                      <a:lnTo>
                        <a:pt x="26406" y="11885"/>
                      </a:lnTo>
                      <a:lnTo>
                        <a:pt x="26490" y="11885"/>
                      </a:lnTo>
                      <a:lnTo>
                        <a:pt x="26511" y="11843"/>
                      </a:lnTo>
                      <a:lnTo>
                        <a:pt x="26490" y="11718"/>
                      </a:lnTo>
                      <a:lnTo>
                        <a:pt x="26448" y="11655"/>
                      </a:lnTo>
                      <a:lnTo>
                        <a:pt x="26469" y="11613"/>
                      </a:lnTo>
                      <a:lnTo>
                        <a:pt x="26511" y="11634"/>
                      </a:lnTo>
                      <a:lnTo>
                        <a:pt x="26574" y="11530"/>
                      </a:lnTo>
                      <a:lnTo>
                        <a:pt x="26511" y="11425"/>
                      </a:lnTo>
                      <a:lnTo>
                        <a:pt x="26469" y="11362"/>
                      </a:lnTo>
                      <a:lnTo>
                        <a:pt x="26385" y="11404"/>
                      </a:lnTo>
                      <a:lnTo>
                        <a:pt x="26302" y="11362"/>
                      </a:lnTo>
                      <a:lnTo>
                        <a:pt x="26260" y="11237"/>
                      </a:lnTo>
                      <a:lnTo>
                        <a:pt x="26176" y="11237"/>
                      </a:lnTo>
                      <a:lnTo>
                        <a:pt x="26092" y="11195"/>
                      </a:lnTo>
                      <a:lnTo>
                        <a:pt x="26030" y="11111"/>
                      </a:lnTo>
                      <a:lnTo>
                        <a:pt x="26030" y="11111"/>
                      </a:lnTo>
                      <a:lnTo>
                        <a:pt x="26092" y="11153"/>
                      </a:lnTo>
                      <a:lnTo>
                        <a:pt x="26260" y="11153"/>
                      </a:lnTo>
                      <a:lnTo>
                        <a:pt x="26302" y="11257"/>
                      </a:lnTo>
                      <a:lnTo>
                        <a:pt x="26385" y="11299"/>
                      </a:lnTo>
                      <a:lnTo>
                        <a:pt x="26406" y="11216"/>
                      </a:lnTo>
                      <a:lnTo>
                        <a:pt x="26281" y="11090"/>
                      </a:lnTo>
                      <a:lnTo>
                        <a:pt x="26385" y="11111"/>
                      </a:lnTo>
                      <a:lnTo>
                        <a:pt x="26406" y="11048"/>
                      </a:lnTo>
                      <a:lnTo>
                        <a:pt x="26448" y="11027"/>
                      </a:lnTo>
                      <a:lnTo>
                        <a:pt x="26406" y="10944"/>
                      </a:lnTo>
                      <a:lnTo>
                        <a:pt x="26281" y="10881"/>
                      </a:lnTo>
                      <a:lnTo>
                        <a:pt x="26239" y="10713"/>
                      </a:lnTo>
                      <a:lnTo>
                        <a:pt x="26281" y="10734"/>
                      </a:lnTo>
                      <a:lnTo>
                        <a:pt x="26344" y="10839"/>
                      </a:lnTo>
                      <a:lnTo>
                        <a:pt x="26406" y="10839"/>
                      </a:lnTo>
                      <a:lnTo>
                        <a:pt x="26448" y="10734"/>
                      </a:lnTo>
                      <a:lnTo>
                        <a:pt x="26448" y="10630"/>
                      </a:lnTo>
                      <a:lnTo>
                        <a:pt x="26344" y="10588"/>
                      </a:lnTo>
                      <a:lnTo>
                        <a:pt x="26197" y="10421"/>
                      </a:lnTo>
                      <a:lnTo>
                        <a:pt x="26092" y="10379"/>
                      </a:lnTo>
                      <a:lnTo>
                        <a:pt x="26030" y="10274"/>
                      </a:lnTo>
                      <a:lnTo>
                        <a:pt x="25946" y="10253"/>
                      </a:lnTo>
                      <a:lnTo>
                        <a:pt x="25946" y="10149"/>
                      </a:lnTo>
                      <a:lnTo>
                        <a:pt x="26030" y="10044"/>
                      </a:lnTo>
                      <a:lnTo>
                        <a:pt x="25967" y="10149"/>
                      </a:lnTo>
                      <a:lnTo>
                        <a:pt x="25988" y="10190"/>
                      </a:lnTo>
                      <a:lnTo>
                        <a:pt x="26051" y="10211"/>
                      </a:lnTo>
                      <a:lnTo>
                        <a:pt x="26134" y="10316"/>
                      </a:lnTo>
                      <a:lnTo>
                        <a:pt x="26239" y="10358"/>
                      </a:lnTo>
                      <a:lnTo>
                        <a:pt x="26364" y="10504"/>
                      </a:lnTo>
                      <a:lnTo>
                        <a:pt x="26385" y="10504"/>
                      </a:lnTo>
                      <a:lnTo>
                        <a:pt x="26406" y="10274"/>
                      </a:lnTo>
                      <a:lnTo>
                        <a:pt x="26406" y="10169"/>
                      </a:lnTo>
                      <a:lnTo>
                        <a:pt x="26406" y="10086"/>
                      </a:lnTo>
                      <a:lnTo>
                        <a:pt x="26385" y="10044"/>
                      </a:lnTo>
                      <a:lnTo>
                        <a:pt x="26406" y="9856"/>
                      </a:lnTo>
                      <a:lnTo>
                        <a:pt x="26448" y="9793"/>
                      </a:lnTo>
                      <a:lnTo>
                        <a:pt x="26409" y="9728"/>
                      </a:lnTo>
                      <a:lnTo>
                        <a:pt x="26409" y="9728"/>
                      </a:lnTo>
                      <a:lnTo>
                        <a:pt x="26490" y="9667"/>
                      </a:lnTo>
                      <a:lnTo>
                        <a:pt x="26616" y="9563"/>
                      </a:lnTo>
                      <a:lnTo>
                        <a:pt x="26657" y="9458"/>
                      </a:lnTo>
                      <a:lnTo>
                        <a:pt x="26657" y="9437"/>
                      </a:lnTo>
                      <a:lnTo>
                        <a:pt x="26678" y="9458"/>
                      </a:lnTo>
                      <a:lnTo>
                        <a:pt x="26657" y="9584"/>
                      </a:lnTo>
                      <a:lnTo>
                        <a:pt x="26678" y="9625"/>
                      </a:lnTo>
                      <a:lnTo>
                        <a:pt x="26574" y="9667"/>
                      </a:lnTo>
                      <a:lnTo>
                        <a:pt x="26511" y="9793"/>
                      </a:lnTo>
                      <a:lnTo>
                        <a:pt x="26595" y="9960"/>
                      </a:lnTo>
                      <a:lnTo>
                        <a:pt x="26574" y="10107"/>
                      </a:lnTo>
                      <a:lnTo>
                        <a:pt x="26490" y="10253"/>
                      </a:lnTo>
                      <a:lnTo>
                        <a:pt x="26490" y="10358"/>
                      </a:lnTo>
                      <a:lnTo>
                        <a:pt x="26595" y="10462"/>
                      </a:lnTo>
                      <a:lnTo>
                        <a:pt x="26616" y="10400"/>
                      </a:lnTo>
                      <a:lnTo>
                        <a:pt x="26657" y="10462"/>
                      </a:lnTo>
                      <a:lnTo>
                        <a:pt x="26699" y="10462"/>
                      </a:lnTo>
                      <a:lnTo>
                        <a:pt x="26699" y="10483"/>
                      </a:lnTo>
                      <a:lnTo>
                        <a:pt x="26678" y="10525"/>
                      </a:lnTo>
                      <a:lnTo>
                        <a:pt x="26699" y="10609"/>
                      </a:lnTo>
                      <a:lnTo>
                        <a:pt x="26825" y="10609"/>
                      </a:lnTo>
                      <a:lnTo>
                        <a:pt x="26762" y="10672"/>
                      </a:lnTo>
                      <a:lnTo>
                        <a:pt x="26762" y="10693"/>
                      </a:lnTo>
                      <a:lnTo>
                        <a:pt x="26699" y="10797"/>
                      </a:lnTo>
                      <a:lnTo>
                        <a:pt x="26699" y="10881"/>
                      </a:lnTo>
                      <a:lnTo>
                        <a:pt x="26657" y="10985"/>
                      </a:lnTo>
                      <a:lnTo>
                        <a:pt x="26616" y="11111"/>
                      </a:lnTo>
                      <a:lnTo>
                        <a:pt x="26616" y="11216"/>
                      </a:lnTo>
                      <a:lnTo>
                        <a:pt x="26657" y="11153"/>
                      </a:lnTo>
                      <a:lnTo>
                        <a:pt x="26678" y="11111"/>
                      </a:lnTo>
                      <a:lnTo>
                        <a:pt x="26783" y="10902"/>
                      </a:lnTo>
                      <a:lnTo>
                        <a:pt x="26804" y="10944"/>
                      </a:lnTo>
                      <a:lnTo>
                        <a:pt x="26804" y="11006"/>
                      </a:lnTo>
                      <a:lnTo>
                        <a:pt x="26825" y="10944"/>
                      </a:lnTo>
                      <a:lnTo>
                        <a:pt x="26825" y="10881"/>
                      </a:lnTo>
                      <a:lnTo>
                        <a:pt x="26909" y="10776"/>
                      </a:lnTo>
                      <a:lnTo>
                        <a:pt x="26992" y="10525"/>
                      </a:lnTo>
                      <a:lnTo>
                        <a:pt x="27118" y="10462"/>
                      </a:lnTo>
                      <a:lnTo>
                        <a:pt x="27222" y="10253"/>
                      </a:lnTo>
                      <a:lnTo>
                        <a:pt x="27222" y="10086"/>
                      </a:lnTo>
                      <a:lnTo>
                        <a:pt x="27139" y="9897"/>
                      </a:lnTo>
                      <a:lnTo>
                        <a:pt x="27097" y="9856"/>
                      </a:lnTo>
                      <a:lnTo>
                        <a:pt x="27076" y="9688"/>
                      </a:lnTo>
                      <a:lnTo>
                        <a:pt x="27013" y="9625"/>
                      </a:lnTo>
                      <a:lnTo>
                        <a:pt x="27013" y="9521"/>
                      </a:lnTo>
                      <a:lnTo>
                        <a:pt x="27076" y="9416"/>
                      </a:lnTo>
                      <a:lnTo>
                        <a:pt x="27181" y="9312"/>
                      </a:lnTo>
                      <a:lnTo>
                        <a:pt x="27306" y="9249"/>
                      </a:lnTo>
                      <a:lnTo>
                        <a:pt x="27118" y="9458"/>
                      </a:lnTo>
                      <a:lnTo>
                        <a:pt x="27076" y="9542"/>
                      </a:lnTo>
                      <a:lnTo>
                        <a:pt x="27118" y="9625"/>
                      </a:lnTo>
                      <a:lnTo>
                        <a:pt x="27243" y="9751"/>
                      </a:lnTo>
                      <a:lnTo>
                        <a:pt x="27327" y="9730"/>
                      </a:lnTo>
                      <a:lnTo>
                        <a:pt x="27390" y="9772"/>
                      </a:lnTo>
                      <a:lnTo>
                        <a:pt x="27327" y="9939"/>
                      </a:lnTo>
                      <a:lnTo>
                        <a:pt x="27327" y="9939"/>
                      </a:lnTo>
                      <a:lnTo>
                        <a:pt x="27411" y="9877"/>
                      </a:lnTo>
                      <a:lnTo>
                        <a:pt x="27432" y="9897"/>
                      </a:lnTo>
                      <a:lnTo>
                        <a:pt x="27515" y="9793"/>
                      </a:lnTo>
                      <a:lnTo>
                        <a:pt x="27515" y="9730"/>
                      </a:lnTo>
                      <a:lnTo>
                        <a:pt x="27557" y="9730"/>
                      </a:lnTo>
                      <a:lnTo>
                        <a:pt x="27620" y="9646"/>
                      </a:lnTo>
                      <a:lnTo>
                        <a:pt x="27704" y="9625"/>
                      </a:lnTo>
                      <a:lnTo>
                        <a:pt x="27745" y="9458"/>
                      </a:lnTo>
                      <a:lnTo>
                        <a:pt x="27808" y="9374"/>
                      </a:lnTo>
                      <a:lnTo>
                        <a:pt x="27850" y="9374"/>
                      </a:lnTo>
                      <a:lnTo>
                        <a:pt x="27913" y="9270"/>
                      </a:lnTo>
                      <a:lnTo>
                        <a:pt x="27934" y="9207"/>
                      </a:lnTo>
                      <a:lnTo>
                        <a:pt x="27934" y="9144"/>
                      </a:lnTo>
                      <a:lnTo>
                        <a:pt x="27976" y="9040"/>
                      </a:lnTo>
                      <a:lnTo>
                        <a:pt x="27976" y="8998"/>
                      </a:lnTo>
                      <a:lnTo>
                        <a:pt x="28038" y="8914"/>
                      </a:lnTo>
                      <a:lnTo>
                        <a:pt x="28017" y="8830"/>
                      </a:lnTo>
                      <a:lnTo>
                        <a:pt x="27955" y="8789"/>
                      </a:lnTo>
                      <a:lnTo>
                        <a:pt x="27913" y="8705"/>
                      </a:lnTo>
                      <a:lnTo>
                        <a:pt x="28059" y="8621"/>
                      </a:lnTo>
                      <a:lnTo>
                        <a:pt x="28059" y="8537"/>
                      </a:lnTo>
                      <a:lnTo>
                        <a:pt x="28164" y="8475"/>
                      </a:lnTo>
                      <a:lnTo>
                        <a:pt x="28248" y="8433"/>
                      </a:lnTo>
                      <a:lnTo>
                        <a:pt x="28436" y="8328"/>
                      </a:lnTo>
                      <a:lnTo>
                        <a:pt x="28561" y="8328"/>
                      </a:lnTo>
                      <a:lnTo>
                        <a:pt x="28750" y="8203"/>
                      </a:lnTo>
                      <a:lnTo>
                        <a:pt x="28813" y="8203"/>
                      </a:lnTo>
                      <a:lnTo>
                        <a:pt x="28854" y="8224"/>
                      </a:lnTo>
                      <a:lnTo>
                        <a:pt x="29085" y="8203"/>
                      </a:lnTo>
                      <a:lnTo>
                        <a:pt x="29189" y="8265"/>
                      </a:lnTo>
                      <a:lnTo>
                        <a:pt x="29336" y="8203"/>
                      </a:lnTo>
                      <a:lnTo>
                        <a:pt x="29587" y="8203"/>
                      </a:lnTo>
                      <a:lnTo>
                        <a:pt x="29629" y="8182"/>
                      </a:lnTo>
                      <a:lnTo>
                        <a:pt x="29608" y="8119"/>
                      </a:lnTo>
                      <a:lnTo>
                        <a:pt x="29608" y="7972"/>
                      </a:lnTo>
                      <a:lnTo>
                        <a:pt x="29608" y="7847"/>
                      </a:lnTo>
                      <a:lnTo>
                        <a:pt x="29733" y="7952"/>
                      </a:lnTo>
                      <a:lnTo>
                        <a:pt x="29733" y="8077"/>
                      </a:lnTo>
                      <a:lnTo>
                        <a:pt x="29712" y="8161"/>
                      </a:lnTo>
                      <a:lnTo>
                        <a:pt x="29796" y="8161"/>
                      </a:lnTo>
                      <a:lnTo>
                        <a:pt x="29901" y="8056"/>
                      </a:lnTo>
                      <a:lnTo>
                        <a:pt x="30005" y="7868"/>
                      </a:lnTo>
                      <a:lnTo>
                        <a:pt x="30047" y="7972"/>
                      </a:lnTo>
                      <a:lnTo>
                        <a:pt x="30047" y="8056"/>
                      </a:lnTo>
                      <a:lnTo>
                        <a:pt x="30131" y="8077"/>
                      </a:lnTo>
                      <a:lnTo>
                        <a:pt x="30382" y="7952"/>
                      </a:lnTo>
                      <a:lnTo>
                        <a:pt x="30466" y="7805"/>
                      </a:lnTo>
                      <a:lnTo>
                        <a:pt x="30424" y="7596"/>
                      </a:lnTo>
                      <a:lnTo>
                        <a:pt x="30361" y="7638"/>
                      </a:lnTo>
                      <a:lnTo>
                        <a:pt x="30361" y="7742"/>
                      </a:lnTo>
                      <a:lnTo>
                        <a:pt x="30319" y="7868"/>
                      </a:lnTo>
                      <a:lnTo>
                        <a:pt x="30152" y="7868"/>
                      </a:lnTo>
                      <a:lnTo>
                        <a:pt x="30131" y="7763"/>
                      </a:lnTo>
                      <a:lnTo>
                        <a:pt x="30068" y="7575"/>
                      </a:lnTo>
                      <a:lnTo>
                        <a:pt x="29922" y="7491"/>
                      </a:lnTo>
                      <a:lnTo>
                        <a:pt x="29922" y="7449"/>
                      </a:lnTo>
                      <a:lnTo>
                        <a:pt x="30131" y="7261"/>
                      </a:lnTo>
                      <a:lnTo>
                        <a:pt x="30131" y="7177"/>
                      </a:lnTo>
                      <a:lnTo>
                        <a:pt x="30047" y="7177"/>
                      </a:lnTo>
                      <a:lnTo>
                        <a:pt x="30047" y="7115"/>
                      </a:lnTo>
                      <a:lnTo>
                        <a:pt x="30131" y="7052"/>
                      </a:lnTo>
                      <a:lnTo>
                        <a:pt x="30152" y="6968"/>
                      </a:lnTo>
                      <a:lnTo>
                        <a:pt x="30214" y="6905"/>
                      </a:lnTo>
                      <a:lnTo>
                        <a:pt x="30277" y="6696"/>
                      </a:lnTo>
                      <a:lnTo>
                        <a:pt x="30486" y="6529"/>
                      </a:lnTo>
                      <a:lnTo>
                        <a:pt x="30570" y="6382"/>
                      </a:lnTo>
                      <a:lnTo>
                        <a:pt x="30633" y="6382"/>
                      </a:lnTo>
                      <a:lnTo>
                        <a:pt x="30696" y="6278"/>
                      </a:lnTo>
                      <a:lnTo>
                        <a:pt x="30696" y="6340"/>
                      </a:lnTo>
                      <a:lnTo>
                        <a:pt x="30779" y="6382"/>
                      </a:lnTo>
                      <a:lnTo>
                        <a:pt x="30842" y="6299"/>
                      </a:lnTo>
                      <a:lnTo>
                        <a:pt x="30905" y="6173"/>
                      </a:lnTo>
                      <a:lnTo>
                        <a:pt x="30905" y="6299"/>
                      </a:lnTo>
                      <a:lnTo>
                        <a:pt x="30989" y="6299"/>
                      </a:lnTo>
                      <a:lnTo>
                        <a:pt x="31051" y="6173"/>
                      </a:lnTo>
                      <a:lnTo>
                        <a:pt x="31093" y="6215"/>
                      </a:lnTo>
                      <a:lnTo>
                        <a:pt x="31156" y="6173"/>
                      </a:lnTo>
                      <a:lnTo>
                        <a:pt x="31261" y="6006"/>
                      </a:lnTo>
                      <a:lnTo>
                        <a:pt x="31407" y="5796"/>
                      </a:lnTo>
                      <a:lnTo>
                        <a:pt x="31386" y="5922"/>
                      </a:lnTo>
                      <a:lnTo>
                        <a:pt x="31407" y="6006"/>
                      </a:lnTo>
                      <a:lnTo>
                        <a:pt x="31512" y="6006"/>
                      </a:lnTo>
                      <a:lnTo>
                        <a:pt x="31616" y="5880"/>
                      </a:lnTo>
                      <a:lnTo>
                        <a:pt x="31742" y="5880"/>
                      </a:lnTo>
                      <a:lnTo>
                        <a:pt x="31784" y="6006"/>
                      </a:lnTo>
                      <a:lnTo>
                        <a:pt x="31846" y="6006"/>
                      </a:lnTo>
                      <a:lnTo>
                        <a:pt x="31951" y="5880"/>
                      </a:lnTo>
                      <a:lnTo>
                        <a:pt x="32035" y="5922"/>
                      </a:lnTo>
                      <a:lnTo>
                        <a:pt x="32098" y="5901"/>
                      </a:lnTo>
                      <a:lnTo>
                        <a:pt x="32202" y="5817"/>
                      </a:lnTo>
                      <a:lnTo>
                        <a:pt x="32307" y="5817"/>
                      </a:lnTo>
                      <a:lnTo>
                        <a:pt x="32432" y="5755"/>
                      </a:lnTo>
                      <a:lnTo>
                        <a:pt x="32474" y="5817"/>
                      </a:lnTo>
                      <a:lnTo>
                        <a:pt x="32558" y="5796"/>
                      </a:lnTo>
                      <a:lnTo>
                        <a:pt x="32642" y="5713"/>
                      </a:lnTo>
                      <a:lnTo>
                        <a:pt x="32537" y="5650"/>
                      </a:lnTo>
                      <a:lnTo>
                        <a:pt x="32474" y="5713"/>
                      </a:lnTo>
                      <a:lnTo>
                        <a:pt x="32411" y="5650"/>
                      </a:lnTo>
                      <a:lnTo>
                        <a:pt x="32453" y="5504"/>
                      </a:lnTo>
                      <a:lnTo>
                        <a:pt x="32223" y="5378"/>
                      </a:lnTo>
                      <a:lnTo>
                        <a:pt x="32202" y="5357"/>
                      </a:lnTo>
                      <a:lnTo>
                        <a:pt x="32223" y="5294"/>
                      </a:lnTo>
                      <a:lnTo>
                        <a:pt x="32223" y="5252"/>
                      </a:lnTo>
                      <a:lnTo>
                        <a:pt x="32223" y="5169"/>
                      </a:lnTo>
                      <a:lnTo>
                        <a:pt x="32244" y="5085"/>
                      </a:lnTo>
                      <a:lnTo>
                        <a:pt x="32202" y="5022"/>
                      </a:lnTo>
                      <a:lnTo>
                        <a:pt x="32139" y="4959"/>
                      </a:lnTo>
                      <a:lnTo>
                        <a:pt x="32098" y="4939"/>
                      </a:lnTo>
                      <a:lnTo>
                        <a:pt x="32118" y="4855"/>
                      </a:lnTo>
                      <a:lnTo>
                        <a:pt x="32244" y="4123"/>
                      </a:lnTo>
                      <a:lnTo>
                        <a:pt x="32244" y="3934"/>
                      </a:lnTo>
                      <a:lnTo>
                        <a:pt x="32014" y="3725"/>
                      </a:lnTo>
                      <a:lnTo>
                        <a:pt x="31951" y="3788"/>
                      </a:lnTo>
                      <a:lnTo>
                        <a:pt x="31805" y="3725"/>
                      </a:lnTo>
                      <a:lnTo>
                        <a:pt x="31700" y="3767"/>
                      </a:lnTo>
                      <a:lnTo>
                        <a:pt x="31616" y="3683"/>
                      </a:lnTo>
                      <a:lnTo>
                        <a:pt x="31533" y="3662"/>
                      </a:lnTo>
                      <a:lnTo>
                        <a:pt x="31512" y="3662"/>
                      </a:lnTo>
                      <a:lnTo>
                        <a:pt x="31407" y="3767"/>
                      </a:lnTo>
                      <a:lnTo>
                        <a:pt x="31365" y="3830"/>
                      </a:lnTo>
                      <a:lnTo>
                        <a:pt x="31156" y="4081"/>
                      </a:lnTo>
                      <a:lnTo>
                        <a:pt x="31072" y="4206"/>
                      </a:lnTo>
                      <a:lnTo>
                        <a:pt x="31072" y="4311"/>
                      </a:lnTo>
                      <a:lnTo>
                        <a:pt x="30905" y="4395"/>
                      </a:lnTo>
                      <a:lnTo>
                        <a:pt x="30905" y="4520"/>
                      </a:lnTo>
                      <a:lnTo>
                        <a:pt x="30863" y="4625"/>
                      </a:lnTo>
                      <a:lnTo>
                        <a:pt x="30696" y="4813"/>
                      </a:lnTo>
                      <a:lnTo>
                        <a:pt x="30633" y="4834"/>
                      </a:lnTo>
                      <a:lnTo>
                        <a:pt x="30445" y="5043"/>
                      </a:lnTo>
                      <a:lnTo>
                        <a:pt x="30424" y="5127"/>
                      </a:lnTo>
                      <a:lnTo>
                        <a:pt x="30340" y="5169"/>
                      </a:lnTo>
                      <a:lnTo>
                        <a:pt x="30235" y="5148"/>
                      </a:lnTo>
                      <a:lnTo>
                        <a:pt x="30173" y="5148"/>
                      </a:lnTo>
                      <a:lnTo>
                        <a:pt x="30131" y="5190"/>
                      </a:lnTo>
                      <a:lnTo>
                        <a:pt x="30068" y="5190"/>
                      </a:lnTo>
                      <a:lnTo>
                        <a:pt x="29942" y="5336"/>
                      </a:lnTo>
                      <a:lnTo>
                        <a:pt x="28269" y="5294"/>
                      </a:lnTo>
                      <a:lnTo>
                        <a:pt x="28059" y="5336"/>
                      </a:lnTo>
                      <a:lnTo>
                        <a:pt x="27955" y="5441"/>
                      </a:lnTo>
                      <a:lnTo>
                        <a:pt x="27829" y="5483"/>
                      </a:lnTo>
                      <a:lnTo>
                        <a:pt x="27704" y="5566"/>
                      </a:lnTo>
                      <a:lnTo>
                        <a:pt x="27453" y="5817"/>
                      </a:lnTo>
                      <a:lnTo>
                        <a:pt x="27285" y="5859"/>
                      </a:lnTo>
                      <a:lnTo>
                        <a:pt x="27181" y="5922"/>
                      </a:lnTo>
                      <a:lnTo>
                        <a:pt x="26699" y="6299"/>
                      </a:lnTo>
                      <a:lnTo>
                        <a:pt x="25611" y="6612"/>
                      </a:lnTo>
                      <a:lnTo>
                        <a:pt x="25569" y="6864"/>
                      </a:lnTo>
                      <a:lnTo>
                        <a:pt x="25318" y="6968"/>
                      </a:lnTo>
                      <a:lnTo>
                        <a:pt x="23331" y="7491"/>
                      </a:lnTo>
                      <a:lnTo>
                        <a:pt x="23247" y="7324"/>
                      </a:lnTo>
                      <a:lnTo>
                        <a:pt x="23351" y="7177"/>
                      </a:lnTo>
                      <a:lnTo>
                        <a:pt x="23561" y="7073"/>
                      </a:lnTo>
                      <a:lnTo>
                        <a:pt x="23665" y="6947"/>
                      </a:lnTo>
                      <a:lnTo>
                        <a:pt x="23728" y="6822"/>
                      </a:lnTo>
                      <a:lnTo>
                        <a:pt x="23770" y="6696"/>
                      </a:lnTo>
                      <a:lnTo>
                        <a:pt x="23833" y="5922"/>
                      </a:lnTo>
                      <a:lnTo>
                        <a:pt x="23456" y="4143"/>
                      </a:lnTo>
                      <a:lnTo>
                        <a:pt x="23100" y="3871"/>
                      </a:lnTo>
                      <a:lnTo>
                        <a:pt x="22954" y="3683"/>
                      </a:lnTo>
                      <a:lnTo>
                        <a:pt x="20652" y="2616"/>
                      </a:lnTo>
                      <a:lnTo>
                        <a:pt x="20548" y="2553"/>
                      </a:lnTo>
                      <a:lnTo>
                        <a:pt x="20422" y="2511"/>
                      </a:lnTo>
                      <a:lnTo>
                        <a:pt x="20380" y="2449"/>
                      </a:lnTo>
                      <a:lnTo>
                        <a:pt x="20087" y="2449"/>
                      </a:lnTo>
                      <a:lnTo>
                        <a:pt x="20066" y="2344"/>
                      </a:lnTo>
                      <a:lnTo>
                        <a:pt x="19983" y="2302"/>
                      </a:lnTo>
                      <a:lnTo>
                        <a:pt x="19899" y="2344"/>
                      </a:lnTo>
                      <a:lnTo>
                        <a:pt x="19711" y="2344"/>
                      </a:lnTo>
                      <a:lnTo>
                        <a:pt x="19606" y="2323"/>
                      </a:lnTo>
                      <a:lnTo>
                        <a:pt x="19543" y="2239"/>
                      </a:lnTo>
                      <a:lnTo>
                        <a:pt x="19439" y="2198"/>
                      </a:lnTo>
                      <a:lnTo>
                        <a:pt x="19230" y="2135"/>
                      </a:lnTo>
                      <a:lnTo>
                        <a:pt x="19167" y="2009"/>
                      </a:lnTo>
                      <a:lnTo>
                        <a:pt x="19083" y="2009"/>
                      </a:lnTo>
                      <a:lnTo>
                        <a:pt x="18958" y="1905"/>
                      </a:lnTo>
                      <a:lnTo>
                        <a:pt x="18853" y="1905"/>
                      </a:lnTo>
                      <a:lnTo>
                        <a:pt x="18769" y="1884"/>
                      </a:lnTo>
                      <a:lnTo>
                        <a:pt x="18644" y="1905"/>
                      </a:lnTo>
                      <a:lnTo>
                        <a:pt x="18623" y="1926"/>
                      </a:lnTo>
                      <a:lnTo>
                        <a:pt x="18560" y="1842"/>
                      </a:lnTo>
                      <a:lnTo>
                        <a:pt x="18434" y="1821"/>
                      </a:lnTo>
                      <a:lnTo>
                        <a:pt x="18414" y="1800"/>
                      </a:lnTo>
                      <a:lnTo>
                        <a:pt x="18309" y="1737"/>
                      </a:lnTo>
                      <a:lnTo>
                        <a:pt x="18288" y="1716"/>
                      </a:lnTo>
                      <a:lnTo>
                        <a:pt x="18204" y="1633"/>
                      </a:lnTo>
                      <a:lnTo>
                        <a:pt x="18204" y="1612"/>
                      </a:lnTo>
                      <a:lnTo>
                        <a:pt x="18079" y="1507"/>
                      </a:lnTo>
                      <a:lnTo>
                        <a:pt x="17932" y="1507"/>
                      </a:lnTo>
                      <a:lnTo>
                        <a:pt x="17807" y="1486"/>
                      </a:lnTo>
                      <a:lnTo>
                        <a:pt x="284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1944" name="Google Shape;1944;p66"/>
            <p:cNvGrpSpPr/>
            <p:nvPr/>
          </p:nvGrpSpPr>
          <p:grpSpPr>
            <a:xfrm>
              <a:off x="3230417" y="3103734"/>
              <a:ext cx="282982" cy="280332"/>
              <a:chOff x="2605700" y="3152850"/>
              <a:chExt cx="594125" cy="616250"/>
            </a:xfrm>
          </p:grpSpPr>
          <p:sp>
            <p:nvSpPr>
              <p:cNvPr id="1945" name="Google Shape;1945;p66"/>
              <p:cNvSpPr/>
              <p:nvPr/>
            </p:nvSpPr>
            <p:spPr>
              <a:xfrm>
                <a:off x="2605700" y="3152850"/>
                <a:ext cx="379825" cy="616250"/>
              </a:xfrm>
              <a:custGeom>
                <a:avLst/>
                <a:gdLst/>
                <a:ahLst/>
                <a:cxnLst/>
                <a:rect l="l" t="t" r="r" b="b"/>
                <a:pathLst>
                  <a:path w="15193" h="24650" extrusionOk="0">
                    <a:moveTo>
                      <a:pt x="14024" y="2338"/>
                    </a:moveTo>
                    <a:lnTo>
                      <a:pt x="8818" y="0"/>
                    </a:lnTo>
                    <a:lnTo>
                      <a:pt x="4037" y="1594"/>
                    </a:lnTo>
                    <a:lnTo>
                      <a:pt x="0" y="7225"/>
                    </a:lnTo>
                    <a:lnTo>
                      <a:pt x="2018" y="11156"/>
                    </a:lnTo>
                    <a:lnTo>
                      <a:pt x="7331" y="12325"/>
                    </a:lnTo>
                    <a:lnTo>
                      <a:pt x="10518" y="17531"/>
                    </a:lnTo>
                    <a:lnTo>
                      <a:pt x="11049" y="22843"/>
                    </a:lnTo>
                    <a:lnTo>
                      <a:pt x="13705" y="24650"/>
                    </a:lnTo>
                    <a:lnTo>
                      <a:pt x="15193" y="18700"/>
                    </a:lnTo>
                    <a:lnTo>
                      <a:pt x="12218" y="5844"/>
                    </a:lnTo>
                    <a:close/>
                  </a:path>
                </a:pathLst>
              </a:custGeom>
              <a:solidFill>
                <a:srgbClr val="5F7D95"/>
              </a:solidFill>
              <a:ln>
                <a:noFill/>
              </a:ln>
            </p:spPr>
          </p:sp>
          <p:sp>
            <p:nvSpPr>
              <p:cNvPr id="1946" name="Google Shape;1946;p66"/>
              <p:cNvSpPr/>
              <p:nvPr/>
            </p:nvSpPr>
            <p:spPr>
              <a:xfrm>
                <a:off x="2632775" y="3168475"/>
                <a:ext cx="567050" cy="590050"/>
              </a:xfrm>
              <a:custGeom>
                <a:avLst/>
                <a:gdLst/>
                <a:ahLst/>
                <a:cxnLst/>
                <a:rect l="l" t="t" r="r" b="b"/>
                <a:pathLst>
                  <a:path w="22682" h="23602" extrusionOk="0">
                    <a:moveTo>
                      <a:pt x="13852" y="21070"/>
                    </a:moveTo>
                    <a:lnTo>
                      <a:pt x="13894" y="21091"/>
                    </a:lnTo>
                    <a:lnTo>
                      <a:pt x="13977" y="21217"/>
                    </a:lnTo>
                    <a:lnTo>
                      <a:pt x="14103" y="21384"/>
                    </a:lnTo>
                    <a:lnTo>
                      <a:pt x="14166" y="21384"/>
                    </a:lnTo>
                    <a:lnTo>
                      <a:pt x="14208" y="21342"/>
                    </a:lnTo>
                    <a:lnTo>
                      <a:pt x="14228" y="21384"/>
                    </a:lnTo>
                    <a:lnTo>
                      <a:pt x="14228" y="21489"/>
                    </a:lnTo>
                    <a:lnTo>
                      <a:pt x="14187" y="21489"/>
                    </a:lnTo>
                    <a:lnTo>
                      <a:pt x="14124" y="21698"/>
                    </a:lnTo>
                    <a:lnTo>
                      <a:pt x="13998" y="21928"/>
                    </a:lnTo>
                    <a:lnTo>
                      <a:pt x="13873" y="21928"/>
                    </a:lnTo>
                    <a:lnTo>
                      <a:pt x="13852" y="22075"/>
                    </a:lnTo>
                    <a:lnTo>
                      <a:pt x="13789" y="22158"/>
                    </a:lnTo>
                    <a:lnTo>
                      <a:pt x="13768" y="22158"/>
                    </a:lnTo>
                    <a:lnTo>
                      <a:pt x="13643" y="22242"/>
                    </a:lnTo>
                    <a:lnTo>
                      <a:pt x="13559" y="22326"/>
                    </a:lnTo>
                    <a:lnTo>
                      <a:pt x="13559" y="22367"/>
                    </a:lnTo>
                    <a:lnTo>
                      <a:pt x="13454" y="22388"/>
                    </a:lnTo>
                    <a:lnTo>
                      <a:pt x="13392" y="22451"/>
                    </a:lnTo>
                    <a:lnTo>
                      <a:pt x="13392" y="22472"/>
                    </a:lnTo>
                    <a:lnTo>
                      <a:pt x="13329" y="22347"/>
                    </a:lnTo>
                    <a:lnTo>
                      <a:pt x="13371" y="22242"/>
                    </a:lnTo>
                    <a:lnTo>
                      <a:pt x="13454" y="22179"/>
                    </a:lnTo>
                    <a:lnTo>
                      <a:pt x="13454" y="22116"/>
                    </a:lnTo>
                    <a:lnTo>
                      <a:pt x="13559" y="22012"/>
                    </a:lnTo>
                    <a:lnTo>
                      <a:pt x="13559" y="21928"/>
                    </a:lnTo>
                    <a:lnTo>
                      <a:pt x="13601" y="21970"/>
                    </a:lnTo>
                    <a:lnTo>
                      <a:pt x="13684" y="21970"/>
                    </a:lnTo>
                    <a:lnTo>
                      <a:pt x="13789" y="21865"/>
                    </a:lnTo>
                    <a:lnTo>
                      <a:pt x="13789" y="21761"/>
                    </a:lnTo>
                    <a:lnTo>
                      <a:pt x="13810" y="21740"/>
                    </a:lnTo>
                    <a:lnTo>
                      <a:pt x="13810" y="21614"/>
                    </a:lnTo>
                    <a:lnTo>
                      <a:pt x="13873" y="21551"/>
                    </a:lnTo>
                    <a:lnTo>
                      <a:pt x="13915" y="21551"/>
                    </a:lnTo>
                    <a:lnTo>
                      <a:pt x="13977" y="21447"/>
                    </a:lnTo>
                    <a:lnTo>
                      <a:pt x="13956" y="21384"/>
                    </a:lnTo>
                    <a:lnTo>
                      <a:pt x="13894" y="21300"/>
                    </a:lnTo>
                    <a:lnTo>
                      <a:pt x="13894" y="21112"/>
                    </a:lnTo>
                    <a:lnTo>
                      <a:pt x="13852" y="21070"/>
                    </a:lnTo>
                    <a:close/>
                    <a:moveTo>
                      <a:pt x="7617" y="0"/>
                    </a:moveTo>
                    <a:lnTo>
                      <a:pt x="7617" y="147"/>
                    </a:lnTo>
                    <a:lnTo>
                      <a:pt x="7575" y="272"/>
                    </a:lnTo>
                    <a:lnTo>
                      <a:pt x="7282" y="481"/>
                    </a:lnTo>
                    <a:lnTo>
                      <a:pt x="7094" y="502"/>
                    </a:lnTo>
                    <a:lnTo>
                      <a:pt x="6842" y="607"/>
                    </a:lnTo>
                    <a:lnTo>
                      <a:pt x="6738" y="565"/>
                    </a:lnTo>
                    <a:lnTo>
                      <a:pt x="6570" y="586"/>
                    </a:lnTo>
                    <a:lnTo>
                      <a:pt x="6382" y="732"/>
                    </a:lnTo>
                    <a:lnTo>
                      <a:pt x="6215" y="795"/>
                    </a:lnTo>
                    <a:lnTo>
                      <a:pt x="6152" y="732"/>
                    </a:lnTo>
                    <a:lnTo>
                      <a:pt x="5901" y="774"/>
                    </a:lnTo>
                    <a:lnTo>
                      <a:pt x="5692" y="774"/>
                    </a:lnTo>
                    <a:lnTo>
                      <a:pt x="5503" y="670"/>
                    </a:lnTo>
                    <a:lnTo>
                      <a:pt x="5315" y="628"/>
                    </a:lnTo>
                    <a:lnTo>
                      <a:pt x="5169" y="586"/>
                    </a:lnTo>
                    <a:lnTo>
                      <a:pt x="5169" y="586"/>
                    </a:lnTo>
                    <a:lnTo>
                      <a:pt x="5231" y="711"/>
                    </a:lnTo>
                    <a:lnTo>
                      <a:pt x="5378" y="774"/>
                    </a:lnTo>
                    <a:lnTo>
                      <a:pt x="5503" y="879"/>
                    </a:lnTo>
                    <a:lnTo>
                      <a:pt x="5545" y="984"/>
                    </a:lnTo>
                    <a:lnTo>
                      <a:pt x="5399" y="1235"/>
                    </a:lnTo>
                    <a:lnTo>
                      <a:pt x="5420" y="1297"/>
                    </a:lnTo>
                    <a:lnTo>
                      <a:pt x="5441" y="1339"/>
                    </a:lnTo>
                    <a:lnTo>
                      <a:pt x="5420" y="1528"/>
                    </a:lnTo>
                    <a:lnTo>
                      <a:pt x="5692" y="1611"/>
                    </a:lnTo>
                    <a:lnTo>
                      <a:pt x="5859" y="1569"/>
                    </a:lnTo>
                    <a:lnTo>
                      <a:pt x="6047" y="1611"/>
                    </a:lnTo>
                    <a:lnTo>
                      <a:pt x="6047" y="1716"/>
                    </a:lnTo>
                    <a:lnTo>
                      <a:pt x="5922" y="1758"/>
                    </a:lnTo>
                    <a:lnTo>
                      <a:pt x="5650" y="1820"/>
                    </a:lnTo>
                    <a:lnTo>
                      <a:pt x="5608" y="1862"/>
                    </a:lnTo>
                    <a:lnTo>
                      <a:pt x="5545" y="1925"/>
                    </a:lnTo>
                    <a:lnTo>
                      <a:pt x="5503" y="2072"/>
                    </a:lnTo>
                    <a:lnTo>
                      <a:pt x="5210" y="2239"/>
                    </a:lnTo>
                    <a:lnTo>
                      <a:pt x="5106" y="2344"/>
                    </a:lnTo>
                    <a:lnTo>
                      <a:pt x="4897" y="2469"/>
                    </a:lnTo>
                    <a:lnTo>
                      <a:pt x="4771" y="2616"/>
                    </a:lnTo>
                    <a:lnTo>
                      <a:pt x="4541" y="2616"/>
                    </a:lnTo>
                    <a:lnTo>
                      <a:pt x="4394" y="2595"/>
                    </a:lnTo>
                    <a:lnTo>
                      <a:pt x="4164" y="2406"/>
                    </a:lnTo>
                    <a:lnTo>
                      <a:pt x="3955" y="2260"/>
                    </a:lnTo>
                    <a:lnTo>
                      <a:pt x="3809" y="2281"/>
                    </a:lnTo>
                    <a:lnTo>
                      <a:pt x="3809" y="2134"/>
                    </a:lnTo>
                    <a:lnTo>
                      <a:pt x="3767" y="1988"/>
                    </a:lnTo>
                    <a:lnTo>
                      <a:pt x="3662" y="1883"/>
                    </a:lnTo>
                    <a:lnTo>
                      <a:pt x="3641" y="1820"/>
                    </a:lnTo>
                    <a:lnTo>
                      <a:pt x="3495" y="1862"/>
                    </a:lnTo>
                    <a:lnTo>
                      <a:pt x="3390" y="1988"/>
                    </a:lnTo>
                    <a:lnTo>
                      <a:pt x="3306" y="1988"/>
                    </a:lnTo>
                    <a:lnTo>
                      <a:pt x="3244" y="1946"/>
                    </a:lnTo>
                    <a:lnTo>
                      <a:pt x="3139" y="1946"/>
                    </a:lnTo>
                    <a:lnTo>
                      <a:pt x="3076" y="2030"/>
                    </a:lnTo>
                    <a:lnTo>
                      <a:pt x="2407" y="2030"/>
                    </a:lnTo>
                    <a:lnTo>
                      <a:pt x="2386" y="2197"/>
                    </a:lnTo>
                    <a:lnTo>
                      <a:pt x="2448" y="2344"/>
                    </a:lnTo>
                    <a:lnTo>
                      <a:pt x="2658" y="2385"/>
                    </a:lnTo>
                    <a:lnTo>
                      <a:pt x="2720" y="2553"/>
                    </a:lnTo>
                    <a:lnTo>
                      <a:pt x="2679" y="2616"/>
                    </a:lnTo>
                    <a:lnTo>
                      <a:pt x="2762" y="2699"/>
                    </a:lnTo>
                    <a:lnTo>
                      <a:pt x="2720" y="2804"/>
                    </a:lnTo>
                    <a:lnTo>
                      <a:pt x="2595" y="2720"/>
                    </a:lnTo>
                    <a:lnTo>
                      <a:pt x="2197" y="2867"/>
                    </a:lnTo>
                    <a:lnTo>
                      <a:pt x="2239" y="3180"/>
                    </a:lnTo>
                    <a:lnTo>
                      <a:pt x="2344" y="3306"/>
                    </a:lnTo>
                    <a:lnTo>
                      <a:pt x="2553" y="3452"/>
                    </a:lnTo>
                    <a:lnTo>
                      <a:pt x="2679" y="3724"/>
                    </a:lnTo>
                    <a:lnTo>
                      <a:pt x="2679" y="3913"/>
                    </a:lnTo>
                    <a:lnTo>
                      <a:pt x="2679" y="3976"/>
                    </a:lnTo>
                    <a:lnTo>
                      <a:pt x="2365" y="5189"/>
                    </a:lnTo>
                    <a:lnTo>
                      <a:pt x="2260" y="5503"/>
                    </a:lnTo>
                    <a:lnTo>
                      <a:pt x="2281" y="5545"/>
                    </a:lnTo>
                    <a:lnTo>
                      <a:pt x="2239" y="5629"/>
                    </a:lnTo>
                    <a:lnTo>
                      <a:pt x="2093" y="5608"/>
                    </a:lnTo>
                    <a:lnTo>
                      <a:pt x="2093" y="5587"/>
                    </a:lnTo>
                    <a:lnTo>
                      <a:pt x="1967" y="5503"/>
                    </a:lnTo>
                    <a:lnTo>
                      <a:pt x="1821" y="5503"/>
                    </a:lnTo>
                    <a:lnTo>
                      <a:pt x="1758" y="5482"/>
                    </a:lnTo>
                    <a:lnTo>
                      <a:pt x="1716" y="5545"/>
                    </a:lnTo>
                    <a:lnTo>
                      <a:pt x="1319" y="5691"/>
                    </a:lnTo>
                    <a:lnTo>
                      <a:pt x="1026" y="5733"/>
                    </a:lnTo>
                    <a:lnTo>
                      <a:pt x="942" y="5817"/>
                    </a:lnTo>
                    <a:lnTo>
                      <a:pt x="879" y="5838"/>
                    </a:lnTo>
                    <a:lnTo>
                      <a:pt x="733" y="5963"/>
                    </a:lnTo>
                    <a:lnTo>
                      <a:pt x="607" y="6026"/>
                    </a:lnTo>
                    <a:lnTo>
                      <a:pt x="503" y="6110"/>
                    </a:lnTo>
                    <a:lnTo>
                      <a:pt x="523" y="6256"/>
                    </a:lnTo>
                    <a:lnTo>
                      <a:pt x="482" y="6340"/>
                    </a:lnTo>
                    <a:lnTo>
                      <a:pt x="503" y="6424"/>
                    </a:lnTo>
                    <a:lnTo>
                      <a:pt x="356" y="6570"/>
                    </a:lnTo>
                    <a:lnTo>
                      <a:pt x="398" y="6779"/>
                    </a:lnTo>
                    <a:lnTo>
                      <a:pt x="461" y="6884"/>
                    </a:lnTo>
                    <a:lnTo>
                      <a:pt x="356" y="6968"/>
                    </a:lnTo>
                    <a:lnTo>
                      <a:pt x="272" y="6947"/>
                    </a:lnTo>
                    <a:lnTo>
                      <a:pt x="105" y="7051"/>
                    </a:lnTo>
                    <a:lnTo>
                      <a:pt x="105" y="7156"/>
                    </a:lnTo>
                    <a:lnTo>
                      <a:pt x="63" y="7198"/>
                    </a:lnTo>
                    <a:lnTo>
                      <a:pt x="84" y="7282"/>
                    </a:lnTo>
                    <a:lnTo>
                      <a:pt x="63" y="7407"/>
                    </a:lnTo>
                    <a:lnTo>
                      <a:pt x="0" y="7512"/>
                    </a:lnTo>
                    <a:lnTo>
                      <a:pt x="63" y="7616"/>
                    </a:lnTo>
                    <a:lnTo>
                      <a:pt x="42" y="7700"/>
                    </a:lnTo>
                    <a:lnTo>
                      <a:pt x="189" y="7846"/>
                    </a:lnTo>
                    <a:lnTo>
                      <a:pt x="482" y="8307"/>
                    </a:lnTo>
                    <a:lnTo>
                      <a:pt x="314" y="8474"/>
                    </a:lnTo>
                    <a:lnTo>
                      <a:pt x="691" y="8453"/>
                    </a:lnTo>
                    <a:lnTo>
                      <a:pt x="879" y="8474"/>
                    </a:lnTo>
                    <a:lnTo>
                      <a:pt x="1005" y="8662"/>
                    </a:lnTo>
                    <a:lnTo>
                      <a:pt x="1026" y="8830"/>
                    </a:lnTo>
                    <a:lnTo>
                      <a:pt x="1256" y="8830"/>
                    </a:lnTo>
                    <a:lnTo>
                      <a:pt x="1549" y="8851"/>
                    </a:lnTo>
                    <a:lnTo>
                      <a:pt x="1779" y="8621"/>
                    </a:lnTo>
                    <a:lnTo>
                      <a:pt x="1988" y="8474"/>
                    </a:lnTo>
                    <a:lnTo>
                      <a:pt x="2051" y="8537"/>
                    </a:lnTo>
                    <a:lnTo>
                      <a:pt x="2030" y="8662"/>
                    </a:lnTo>
                    <a:lnTo>
                      <a:pt x="1967" y="8725"/>
                    </a:lnTo>
                    <a:lnTo>
                      <a:pt x="1967" y="8934"/>
                    </a:lnTo>
                    <a:lnTo>
                      <a:pt x="1988" y="9269"/>
                    </a:lnTo>
                    <a:lnTo>
                      <a:pt x="1988" y="9395"/>
                    </a:lnTo>
                    <a:lnTo>
                      <a:pt x="2072" y="9478"/>
                    </a:lnTo>
                    <a:lnTo>
                      <a:pt x="2176" y="9458"/>
                    </a:lnTo>
                    <a:lnTo>
                      <a:pt x="2281" y="9416"/>
                    </a:lnTo>
                    <a:lnTo>
                      <a:pt x="2469" y="9416"/>
                    </a:lnTo>
                    <a:lnTo>
                      <a:pt x="2511" y="9458"/>
                    </a:lnTo>
                    <a:lnTo>
                      <a:pt x="3076" y="9458"/>
                    </a:lnTo>
                    <a:lnTo>
                      <a:pt x="3223" y="9353"/>
                    </a:lnTo>
                    <a:lnTo>
                      <a:pt x="3306" y="9353"/>
                    </a:lnTo>
                    <a:lnTo>
                      <a:pt x="3432" y="9248"/>
                    </a:lnTo>
                    <a:lnTo>
                      <a:pt x="3557" y="9248"/>
                    </a:lnTo>
                    <a:lnTo>
                      <a:pt x="3725" y="9186"/>
                    </a:lnTo>
                    <a:lnTo>
                      <a:pt x="3829" y="8934"/>
                    </a:lnTo>
                    <a:lnTo>
                      <a:pt x="4081" y="8746"/>
                    </a:lnTo>
                    <a:lnTo>
                      <a:pt x="4269" y="8725"/>
                    </a:lnTo>
                    <a:lnTo>
                      <a:pt x="4457" y="8621"/>
                    </a:lnTo>
                    <a:lnTo>
                      <a:pt x="4583" y="8621"/>
                    </a:lnTo>
                    <a:lnTo>
                      <a:pt x="4687" y="8683"/>
                    </a:lnTo>
                    <a:lnTo>
                      <a:pt x="4813" y="8621"/>
                    </a:lnTo>
                    <a:lnTo>
                      <a:pt x="4897" y="8662"/>
                    </a:lnTo>
                    <a:lnTo>
                      <a:pt x="4876" y="8788"/>
                    </a:lnTo>
                    <a:lnTo>
                      <a:pt x="4959" y="8997"/>
                    </a:lnTo>
                    <a:lnTo>
                      <a:pt x="5085" y="9374"/>
                    </a:lnTo>
                    <a:lnTo>
                      <a:pt x="5169" y="9646"/>
                    </a:lnTo>
                    <a:lnTo>
                      <a:pt x="5106" y="9751"/>
                    </a:lnTo>
                    <a:lnTo>
                      <a:pt x="5210" y="9960"/>
                    </a:lnTo>
                    <a:lnTo>
                      <a:pt x="5357" y="10002"/>
                    </a:lnTo>
                    <a:lnTo>
                      <a:pt x="5399" y="10190"/>
                    </a:lnTo>
                    <a:lnTo>
                      <a:pt x="5524" y="10274"/>
                    </a:lnTo>
                    <a:lnTo>
                      <a:pt x="5713" y="10357"/>
                    </a:lnTo>
                    <a:lnTo>
                      <a:pt x="5838" y="10462"/>
                    </a:lnTo>
                    <a:lnTo>
                      <a:pt x="5901" y="10420"/>
                    </a:lnTo>
                    <a:lnTo>
                      <a:pt x="6131" y="10357"/>
                    </a:lnTo>
                    <a:lnTo>
                      <a:pt x="6340" y="10587"/>
                    </a:lnTo>
                    <a:lnTo>
                      <a:pt x="6508" y="10525"/>
                    </a:lnTo>
                    <a:lnTo>
                      <a:pt x="6717" y="10755"/>
                    </a:lnTo>
                    <a:lnTo>
                      <a:pt x="6822" y="10755"/>
                    </a:lnTo>
                    <a:lnTo>
                      <a:pt x="7073" y="10839"/>
                    </a:lnTo>
                    <a:lnTo>
                      <a:pt x="7240" y="10880"/>
                    </a:lnTo>
                    <a:lnTo>
                      <a:pt x="7261" y="11048"/>
                    </a:lnTo>
                    <a:lnTo>
                      <a:pt x="7366" y="11069"/>
                    </a:lnTo>
                    <a:lnTo>
                      <a:pt x="7512" y="11152"/>
                    </a:lnTo>
                    <a:lnTo>
                      <a:pt x="7868" y="11131"/>
                    </a:lnTo>
                    <a:lnTo>
                      <a:pt x="8098" y="11257"/>
                    </a:lnTo>
                    <a:lnTo>
                      <a:pt x="8140" y="11362"/>
                    </a:lnTo>
                    <a:lnTo>
                      <a:pt x="8119" y="11634"/>
                    </a:lnTo>
                    <a:lnTo>
                      <a:pt x="8182" y="11843"/>
                    </a:lnTo>
                    <a:lnTo>
                      <a:pt x="8098" y="11968"/>
                    </a:lnTo>
                    <a:lnTo>
                      <a:pt x="8307" y="12324"/>
                    </a:lnTo>
                    <a:lnTo>
                      <a:pt x="8286" y="12596"/>
                    </a:lnTo>
                    <a:lnTo>
                      <a:pt x="9290" y="12617"/>
                    </a:lnTo>
                    <a:lnTo>
                      <a:pt x="9353" y="12973"/>
                    </a:lnTo>
                    <a:lnTo>
                      <a:pt x="9332" y="13224"/>
                    </a:lnTo>
                    <a:lnTo>
                      <a:pt x="9604" y="13287"/>
                    </a:lnTo>
                    <a:lnTo>
                      <a:pt x="9897" y="13810"/>
                    </a:lnTo>
                    <a:lnTo>
                      <a:pt x="9918" y="14103"/>
                    </a:lnTo>
                    <a:lnTo>
                      <a:pt x="9646" y="14688"/>
                    </a:lnTo>
                    <a:lnTo>
                      <a:pt x="9667" y="14772"/>
                    </a:lnTo>
                    <a:lnTo>
                      <a:pt x="9583" y="14856"/>
                    </a:lnTo>
                    <a:lnTo>
                      <a:pt x="9646" y="14919"/>
                    </a:lnTo>
                    <a:lnTo>
                      <a:pt x="9604" y="15044"/>
                    </a:lnTo>
                    <a:lnTo>
                      <a:pt x="9751" y="15149"/>
                    </a:lnTo>
                    <a:lnTo>
                      <a:pt x="9751" y="15337"/>
                    </a:lnTo>
                    <a:lnTo>
                      <a:pt x="9855" y="15525"/>
                    </a:lnTo>
                    <a:lnTo>
                      <a:pt x="9793" y="15860"/>
                    </a:lnTo>
                    <a:lnTo>
                      <a:pt x="9814" y="15986"/>
                    </a:lnTo>
                    <a:lnTo>
                      <a:pt x="9772" y="16111"/>
                    </a:lnTo>
                    <a:lnTo>
                      <a:pt x="9814" y="16258"/>
                    </a:lnTo>
                    <a:lnTo>
                      <a:pt x="10023" y="16216"/>
                    </a:lnTo>
                    <a:lnTo>
                      <a:pt x="10107" y="16279"/>
                    </a:lnTo>
                    <a:lnTo>
                      <a:pt x="10379" y="16258"/>
                    </a:lnTo>
                    <a:lnTo>
                      <a:pt x="10525" y="16300"/>
                    </a:lnTo>
                    <a:lnTo>
                      <a:pt x="10797" y="16195"/>
                    </a:lnTo>
                    <a:lnTo>
                      <a:pt x="10923" y="16300"/>
                    </a:lnTo>
                    <a:lnTo>
                      <a:pt x="11027" y="16321"/>
                    </a:lnTo>
                    <a:lnTo>
                      <a:pt x="11069" y="16467"/>
                    </a:lnTo>
                    <a:lnTo>
                      <a:pt x="11236" y="17095"/>
                    </a:lnTo>
                    <a:lnTo>
                      <a:pt x="11341" y="17304"/>
                    </a:lnTo>
                    <a:lnTo>
                      <a:pt x="11446" y="17325"/>
                    </a:lnTo>
                    <a:lnTo>
                      <a:pt x="11676" y="17199"/>
                    </a:lnTo>
                    <a:lnTo>
                      <a:pt x="11801" y="17241"/>
                    </a:lnTo>
                    <a:lnTo>
                      <a:pt x="11885" y="17325"/>
                    </a:lnTo>
                    <a:lnTo>
                      <a:pt x="11969" y="17346"/>
                    </a:lnTo>
                    <a:lnTo>
                      <a:pt x="11906" y="17450"/>
                    </a:lnTo>
                    <a:lnTo>
                      <a:pt x="11885" y="17994"/>
                    </a:lnTo>
                    <a:lnTo>
                      <a:pt x="11864" y="18057"/>
                    </a:lnTo>
                    <a:lnTo>
                      <a:pt x="11822" y="18078"/>
                    </a:lnTo>
                    <a:lnTo>
                      <a:pt x="11822" y="18162"/>
                    </a:lnTo>
                    <a:lnTo>
                      <a:pt x="11801" y="18204"/>
                    </a:lnTo>
                    <a:lnTo>
                      <a:pt x="11801" y="18287"/>
                    </a:lnTo>
                    <a:lnTo>
                      <a:pt x="11906" y="18204"/>
                    </a:lnTo>
                    <a:lnTo>
                      <a:pt x="12178" y="18245"/>
                    </a:lnTo>
                    <a:lnTo>
                      <a:pt x="12178" y="18350"/>
                    </a:lnTo>
                    <a:lnTo>
                      <a:pt x="12283" y="18580"/>
                    </a:lnTo>
                    <a:lnTo>
                      <a:pt x="12283" y="18769"/>
                    </a:lnTo>
                    <a:lnTo>
                      <a:pt x="12303" y="18999"/>
                    </a:lnTo>
                    <a:lnTo>
                      <a:pt x="12324" y="19208"/>
                    </a:lnTo>
                    <a:lnTo>
                      <a:pt x="12303" y="19292"/>
                    </a:lnTo>
                    <a:lnTo>
                      <a:pt x="12199" y="19292"/>
                    </a:lnTo>
                    <a:lnTo>
                      <a:pt x="12073" y="19354"/>
                    </a:lnTo>
                    <a:lnTo>
                      <a:pt x="12031" y="19417"/>
                    </a:lnTo>
                    <a:lnTo>
                      <a:pt x="11969" y="19501"/>
                    </a:lnTo>
                    <a:lnTo>
                      <a:pt x="11927" y="19459"/>
                    </a:lnTo>
                    <a:lnTo>
                      <a:pt x="11697" y="19626"/>
                    </a:lnTo>
                    <a:lnTo>
                      <a:pt x="11655" y="19710"/>
                    </a:lnTo>
                    <a:lnTo>
                      <a:pt x="11571" y="19731"/>
                    </a:lnTo>
                    <a:lnTo>
                      <a:pt x="11362" y="19919"/>
                    </a:lnTo>
                    <a:lnTo>
                      <a:pt x="11278" y="19940"/>
                    </a:lnTo>
                    <a:lnTo>
                      <a:pt x="11278" y="20066"/>
                    </a:lnTo>
                    <a:lnTo>
                      <a:pt x="11195" y="20087"/>
                    </a:lnTo>
                    <a:lnTo>
                      <a:pt x="11132" y="20087"/>
                    </a:lnTo>
                    <a:lnTo>
                      <a:pt x="10943" y="20338"/>
                    </a:lnTo>
                    <a:lnTo>
                      <a:pt x="10923" y="20401"/>
                    </a:lnTo>
                    <a:lnTo>
                      <a:pt x="10923" y="20547"/>
                    </a:lnTo>
                    <a:lnTo>
                      <a:pt x="10839" y="20568"/>
                    </a:lnTo>
                    <a:lnTo>
                      <a:pt x="10776" y="20652"/>
                    </a:lnTo>
                    <a:lnTo>
                      <a:pt x="10671" y="20861"/>
                    </a:lnTo>
                    <a:lnTo>
                      <a:pt x="10609" y="20924"/>
                    </a:lnTo>
                    <a:lnTo>
                      <a:pt x="10504" y="21091"/>
                    </a:lnTo>
                    <a:lnTo>
                      <a:pt x="10504" y="21133"/>
                    </a:lnTo>
                    <a:lnTo>
                      <a:pt x="10399" y="21217"/>
                    </a:lnTo>
                    <a:lnTo>
                      <a:pt x="10358" y="21279"/>
                    </a:lnTo>
                    <a:lnTo>
                      <a:pt x="10441" y="21279"/>
                    </a:lnTo>
                    <a:lnTo>
                      <a:pt x="10504" y="21300"/>
                    </a:lnTo>
                    <a:lnTo>
                      <a:pt x="10776" y="21217"/>
                    </a:lnTo>
                    <a:lnTo>
                      <a:pt x="10923" y="21300"/>
                    </a:lnTo>
                    <a:lnTo>
                      <a:pt x="11048" y="21489"/>
                    </a:lnTo>
                    <a:lnTo>
                      <a:pt x="11153" y="21530"/>
                    </a:lnTo>
                    <a:lnTo>
                      <a:pt x="11236" y="21698"/>
                    </a:lnTo>
                    <a:lnTo>
                      <a:pt x="11362" y="21928"/>
                    </a:lnTo>
                    <a:lnTo>
                      <a:pt x="11446" y="21928"/>
                    </a:lnTo>
                    <a:lnTo>
                      <a:pt x="11550" y="21803"/>
                    </a:lnTo>
                    <a:lnTo>
                      <a:pt x="11592" y="21803"/>
                    </a:lnTo>
                    <a:lnTo>
                      <a:pt x="11718" y="22012"/>
                    </a:lnTo>
                    <a:lnTo>
                      <a:pt x="11885" y="22075"/>
                    </a:lnTo>
                    <a:lnTo>
                      <a:pt x="12011" y="22116"/>
                    </a:lnTo>
                    <a:lnTo>
                      <a:pt x="12136" y="22242"/>
                    </a:lnTo>
                    <a:lnTo>
                      <a:pt x="12136" y="22388"/>
                    </a:lnTo>
                    <a:lnTo>
                      <a:pt x="12241" y="22367"/>
                    </a:lnTo>
                    <a:lnTo>
                      <a:pt x="12492" y="22472"/>
                    </a:lnTo>
                    <a:lnTo>
                      <a:pt x="12617" y="22639"/>
                    </a:lnTo>
                    <a:lnTo>
                      <a:pt x="12743" y="22849"/>
                    </a:lnTo>
                    <a:lnTo>
                      <a:pt x="12868" y="22911"/>
                    </a:lnTo>
                    <a:lnTo>
                      <a:pt x="12848" y="23079"/>
                    </a:lnTo>
                    <a:lnTo>
                      <a:pt x="12743" y="23225"/>
                    </a:lnTo>
                    <a:lnTo>
                      <a:pt x="12806" y="23414"/>
                    </a:lnTo>
                    <a:lnTo>
                      <a:pt x="12827" y="23476"/>
                    </a:lnTo>
                    <a:lnTo>
                      <a:pt x="12848" y="23497"/>
                    </a:lnTo>
                    <a:lnTo>
                      <a:pt x="12931" y="23581"/>
                    </a:lnTo>
                    <a:lnTo>
                      <a:pt x="12952" y="23602"/>
                    </a:lnTo>
                    <a:lnTo>
                      <a:pt x="13161" y="23414"/>
                    </a:lnTo>
                    <a:lnTo>
                      <a:pt x="13245" y="23225"/>
                    </a:lnTo>
                    <a:lnTo>
                      <a:pt x="13350" y="22849"/>
                    </a:lnTo>
                    <a:lnTo>
                      <a:pt x="13433" y="22577"/>
                    </a:lnTo>
                    <a:lnTo>
                      <a:pt x="13454" y="22535"/>
                    </a:lnTo>
                    <a:lnTo>
                      <a:pt x="13426" y="22507"/>
                    </a:lnTo>
                    <a:lnTo>
                      <a:pt x="13426" y="22507"/>
                    </a:lnTo>
                    <a:lnTo>
                      <a:pt x="13496" y="22535"/>
                    </a:lnTo>
                    <a:lnTo>
                      <a:pt x="13873" y="22242"/>
                    </a:lnTo>
                    <a:lnTo>
                      <a:pt x="14061" y="22033"/>
                    </a:lnTo>
                    <a:lnTo>
                      <a:pt x="14312" y="21551"/>
                    </a:lnTo>
                    <a:lnTo>
                      <a:pt x="14417" y="21321"/>
                    </a:lnTo>
                    <a:lnTo>
                      <a:pt x="14521" y="21028"/>
                    </a:lnTo>
                    <a:lnTo>
                      <a:pt x="14793" y="20547"/>
                    </a:lnTo>
                    <a:lnTo>
                      <a:pt x="15044" y="20233"/>
                    </a:lnTo>
                    <a:lnTo>
                      <a:pt x="15107" y="20129"/>
                    </a:lnTo>
                    <a:lnTo>
                      <a:pt x="15065" y="20087"/>
                    </a:lnTo>
                    <a:lnTo>
                      <a:pt x="15065" y="20024"/>
                    </a:lnTo>
                    <a:lnTo>
                      <a:pt x="15128" y="19982"/>
                    </a:lnTo>
                    <a:lnTo>
                      <a:pt x="15170" y="19857"/>
                    </a:lnTo>
                    <a:lnTo>
                      <a:pt x="15254" y="19815"/>
                    </a:lnTo>
                    <a:lnTo>
                      <a:pt x="15233" y="19710"/>
                    </a:lnTo>
                    <a:lnTo>
                      <a:pt x="15254" y="19626"/>
                    </a:lnTo>
                    <a:lnTo>
                      <a:pt x="15233" y="19606"/>
                    </a:lnTo>
                    <a:lnTo>
                      <a:pt x="15296" y="19585"/>
                    </a:lnTo>
                    <a:lnTo>
                      <a:pt x="15296" y="19480"/>
                    </a:lnTo>
                    <a:lnTo>
                      <a:pt x="15191" y="19313"/>
                    </a:lnTo>
                    <a:lnTo>
                      <a:pt x="15191" y="19229"/>
                    </a:lnTo>
                    <a:lnTo>
                      <a:pt x="15212" y="19166"/>
                    </a:lnTo>
                    <a:lnTo>
                      <a:pt x="15191" y="19082"/>
                    </a:lnTo>
                    <a:lnTo>
                      <a:pt x="15149" y="18915"/>
                    </a:lnTo>
                    <a:lnTo>
                      <a:pt x="15107" y="18748"/>
                    </a:lnTo>
                    <a:lnTo>
                      <a:pt x="15149" y="18685"/>
                    </a:lnTo>
                    <a:lnTo>
                      <a:pt x="15316" y="18664"/>
                    </a:lnTo>
                    <a:lnTo>
                      <a:pt x="15296" y="18559"/>
                    </a:lnTo>
                    <a:lnTo>
                      <a:pt x="15212" y="18497"/>
                    </a:lnTo>
                    <a:lnTo>
                      <a:pt x="15337" y="18476"/>
                    </a:lnTo>
                    <a:lnTo>
                      <a:pt x="15337" y="18371"/>
                    </a:lnTo>
                    <a:lnTo>
                      <a:pt x="15212" y="18308"/>
                    </a:lnTo>
                    <a:lnTo>
                      <a:pt x="15316" y="18287"/>
                    </a:lnTo>
                    <a:lnTo>
                      <a:pt x="15379" y="18183"/>
                    </a:lnTo>
                    <a:lnTo>
                      <a:pt x="15442" y="18245"/>
                    </a:lnTo>
                    <a:lnTo>
                      <a:pt x="15630" y="18057"/>
                    </a:lnTo>
                    <a:lnTo>
                      <a:pt x="15735" y="17973"/>
                    </a:lnTo>
                    <a:lnTo>
                      <a:pt x="15735" y="17932"/>
                    </a:lnTo>
                    <a:lnTo>
                      <a:pt x="15881" y="17785"/>
                    </a:lnTo>
                    <a:lnTo>
                      <a:pt x="16070" y="17681"/>
                    </a:lnTo>
                    <a:lnTo>
                      <a:pt x="16300" y="17429"/>
                    </a:lnTo>
                    <a:lnTo>
                      <a:pt x="16509" y="17409"/>
                    </a:lnTo>
                    <a:lnTo>
                      <a:pt x="16614" y="17304"/>
                    </a:lnTo>
                    <a:lnTo>
                      <a:pt x="16739" y="17199"/>
                    </a:lnTo>
                    <a:lnTo>
                      <a:pt x="16844" y="17199"/>
                    </a:lnTo>
                    <a:lnTo>
                      <a:pt x="16928" y="17241"/>
                    </a:lnTo>
                    <a:lnTo>
                      <a:pt x="17011" y="17283"/>
                    </a:lnTo>
                    <a:lnTo>
                      <a:pt x="17011" y="17199"/>
                    </a:lnTo>
                    <a:lnTo>
                      <a:pt x="17095" y="17032"/>
                    </a:lnTo>
                    <a:lnTo>
                      <a:pt x="17325" y="16885"/>
                    </a:lnTo>
                    <a:lnTo>
                      <a:pt x="17430" y="16865"/>
                    </a:lnTo>
                    <a:lnTo>
                      <a:pt x="17430" y="16802"/>
                    </a:lnTo>
                    <a:lnTo>
                      <a:pt x="17367" y="16781"/>
                    </a:lnTo>
                    <a:lnTo>
                      <a:pt x="17304" y="16739"/>
                    </a:lnTo>
                    <a:lnTo>
                      <a:pt x="17262" y="16676"/>
                    </a:lnTo>
                    <a:lnTo>
                      <a:pt x="17346" y="16634"/>
                    </a:lnTo>
                    <a:lnTo>
                      <a:pt x="17513" y="16572"/>
                    </a:lnTo>
                    <a:lnTo>
                      <a:pt x="17576" y="16593"/>
                    </a:lnTo>
                    <a:lnTo>
                      <a:pt x="17681" y="16593"/>
                    </a:lnTo>
                    <a:lnTo>
                      <a:pt x="17765" y="16530"/>
                    </a:lnTo>
                    <a:lnTo>
                      <a:pt x="17869" y="16530"/>
                    </a:lnTo>
                    <a:lnTo>
                      <a:pt x="17869" y="16593"/>
                    </a:lnTo>
                    <a:lnTo>
                      <a:pt x="17744" y="16676"/>
                    </a:lnTo>
                    <a:lnTo>
                      <a:pt x="17576" y="16697"/>
                    </a:lnTo>
                    <a:lnTo>
                      <a:pt x="17555" y="16718"/>
                    </a:lnTo>
                    <a:lnTo>
                      <a:pt x="17618" y="16739"/>
                    </a:lnTo>
                    <a:lnTo>
                      <a:pt x="17848" y="16676"/>
                    </a:lnTo>
                    <a:lnTo>
                      <a:pt x="18099" y="16572"/>
                    </a:lnTo>
                    <a:lnTo>
                      <a:pt x="18078" y="16509"/>
                    </a:lnTo>
                    <a:lnTo>
                      <a:pt x="18162" y="16467"/>
                    </a:lnTo>
                    <a:lnTo>
                      <a:pt x="18246" y="16467"/>
                    </a:lnTo>
                    <a:lnTo>
                      <a:pt x="18204" y="16509"/>
                    </a:lnTo>
                    <a:cubicBezTo>
                      <a:pt x="18204" y="16509"/>
                      <a:pt x="18204" y="16613"/>
                      <a:pt x="18246" y="16613"/>
                    </a:cubicBezTo>
                    <a:lnTo>
                      <a:pt x="18392" y="16634"/>
                    </a:lnTo>
                    <a:lnTo>
                      <a:pt x="18497" y="16593"/>
                    </a:lnTo>
                    <a:lnTo>
                      <a:pt x="18664" y="16593"/>
                    </a:lnTo>
                    <a:lnTo>
                      <a:pt x="18832" y="16613"/>
                    </a:lnTo>
                    <a:lnTo>
                      <a:pt x="18936" y="16551"/>
                    </a:lnTo>
                    <a:lnTo>
                      <a:pt x="18936" y="16488"/>
                    </a:lnTo>
                    <a:lnTo>
                      <a:pt x="18915" y="16467"/>
                    </a:lnTo>
                    <a:lnTo>
                      <a:pt x="18936" y="16404"/>
                    </a:lnTo>
                    <a:lnTo>
                      <a:pt x="19208" y="16237"/>
                    </a:lnTo>
                    <a:lnTo>
                      <a:pt x="19418" y="16153"/>
                    </a:lnTo>
                    <a:lnTo>
                      <a:pt x="19522" y="16069"/>
                    </a:lnTo>
                    <a:lnTo>
                      <a:pt x="19543" y="15986"/>
                    </a:lnTo>
                    <a:lnTo>
                      <a:pt x="19522" y="15944"/>
                    </a:lnTo>
                    <a:lnTo>
                      <a:pt x="19418" y="15735"/>
                    </a:lnTo>
                    <a:lnTo>
                      <a:pt x="19501" y="15567"/>
                    </a:lnTo>
                    <a:lnTo>
                      <a:pt x="19564" y="15463"/>
                    </a:lnTo>
                    <a:lnTo>
                      <a:pt x="19564" y="15358"/>
                    </a:lnTo>
                    <a:lnTo>
                      <a:pt x="19627" y="15316"/>
                    </a:lnTo>
                    <a:lnTo>
                      <a:pt x="19731" y="15232"/>
                    </a:lnTo>
                    <a:lnTo>
                      <a:pt x="19752" y="15128"/>
                    </a:lnTo>
                    <a:lnTo>
                      <a:pt x="19731" y="15107"/>
                    </a:lnTo>
                    <a:lnTo>
                      <a:pt x="19878" y="14835"/>
                    </a:lnTo>
                    <a:lnTo>
                      <a:pt x="20087" y="14584"/>
                    </a:lnTo>
                    <a:lnTo>
                      <a:pt x="20087" y="14479"/>
                    </a:lnTo>
                    <a:lnTo>
                      <a:pt x="20045" y="14103"/>
                    </a:lnTo>
                    <a:lnTo>
                      <a:pt x="20003" y="14082"/>
                    </a:lnTo>
                    <a:lnTo>
                      <a:pt x="20066" y="13872"/>
                    </a:lnTo>
                    <a:lnTo>
                      <a:pt x="20129" y="13789"/>
                    </a:lnTo>
                    <a:lnTo>
                      <a:pt x="20129" y="13726"/>
                    </a:lnTo>
                    <a:lnTo>
                      <a:pt x="20317" y="13580"/>
                    </a:lnTo>
                    <a:lnTo>
                      <a:pt x="20338" y="13496"/>
                    </a:lnTo>
                    <a:lnTo>
                      <a:pt x="20275" y="13287"/>
                    </a:lnTo>
                    <a:lnTo>
                      <a:pt x="20359" y="13036"/>
                    </a:lnTo>
                    <a:lnTo>
                      <a:pt x="20338" y="12826"/>
                    </a:lnTo>
                    <a:lnTo>
                      <a:pt x="20359" y="12659"/>
                    </a:lnTo>
                    <a:lnTo>
                      <a:pt x="20359" y="12596"/>
                    </a:lnTo>
                    <a:lnTo>
                      <a:pt x="20422" y="12387"/>
                    </a:lnTo>
                    <a:lnTo>
                      <a:pt x="20359" y="11592"/>
                    </a:lnTo>
                    <a:lnTo>
                      <a:pt x="20359" y="11445"/>
                    </a:lnTo>
                    <a:lnTo>
                      <a:pt x="20422" y="11341"/>
                    </a:lnTo>
                    <a:lnTo>
                      <a:pt x="20422" y="11236"/>
                    </a:lnTo>
                    <a:lnTo>
                      <a:pt x="20359" y="11278"/>
                    </a:lnTo>
                    <a:lnTo>
                      <a:pt x="20275" y="11194"/>
                    </a:lnTo>
                    <a:lnTo>
                      <a:pt x="20275" y="11131"/>
                    </a:lnTo>
                    <a:lnTo>
                      <a:pt x="20359" y="10985"/>
                    </a:lnTo>
                    <a:lnTo>
                      <a:pt x="20338" y="10859"/>
                    </a:lnTo>
                    <a:lnTo>
                      <a:pt x="20359" y="10776"/>
                    </a:lnTo>
                    <a:lnTo>
                      <a:pt x="20443" y="10755"/>
                    </a:lnTo>
                    <a:lnTo>
                      <a:pt x="20464" y="10629"/>
                    </a:lnTo>
                    <a:lnTo>
                      <a:pt x="20380" y="10504"/>
                    </a:lnTo>
                    <a:lnTo>
                      <a:pt x="20234" y="10420"/>
                    </a:lnTo>
                    <a:lnTo>
                      <a:pt x="20275" y="10399"/>
                    </a:lnTo>
                    <a:lnTo>
                      <a:pt x="20317" y="10336"/>
                    </a:lnTo>
                    <a:lnTo>
                      <a:pt x="20338" y="10399"/>
                    </a:lnTo>
                    <a:lnTo>
                      <a:pt x="20422" y="10441"/>
                    </a:lnTo>
                    <a:lnTo>
                      <a:pt x="20485" y="10462"/>
                    </a:lnTo>
                    <a:lnTo>
                      <a:pt x="20526" y="10336"/>
                    </a:lnTo>
                    <a:lnTo>
                      <a:pt x="20589" y="10336"/>
                    </a:lnTo>
                    <a:lnTo>
                      <a:pt x="20631" y="10420"/>
                    </a:lnTo>
                    <a:lnTo>
                      <a:pt x="20673" y="10441"/>
                    </a:lnTo>
                    <a:lnTo>
                      <a:pt x="20631" y="10525"/>
                    </a:lnTo>
                    <a:lnTo>
                      <a:pt x="20547" y="10567"/>
                    </a:lnTo>
                    <a:lnTo>
                      <a:pt x="20526" y="10650"/>
                    </a:lnTo>
                    <a:lnTo>
                      <a:pt x="20568" y="10650"/>
                    </a:lnTo>
                    <a:lnTo>
                      <a:pt x="20673" y="10546"/>
                    </a:lnTo>
                    <a:lnTo>
                      <a:pt x="20840" y="10462"/>
                    </a:lnTo>
                    <a:lnTo>
                      <a:pt x="21008" y="10190"/>
                    </a:lnTo>
                    <a:lnTo>
                      <a:pt x="21091" y="9981"/>
                    </a:lnTo>
                    <a:lnTo>
                      <a:pt x="21112" y="9834"/>
                    </a:lnTo>
                    <a:lnTo>
                      <a:pt x="21196" y="9771"/>
                    </a:lnTo>
                    <a:lnTo>
                      <a:pt x="21280" y="9562"/>
                    </a:lnTo>
                    <a:lnTo>
                      <a:pt x="21363" y="9374"/>
                    </a:lnTo>
                    <a:lnTo>
                      <a:pt x="21677" y="9165"/>
                    </a:lnTo>
                    <a:lnTo>
                      <a:pt x="21698" y="9060"/>
                    </a:lnTo>
                    <a:lnTo>
                      <a:pt x="21803" y="9039"/>
                    </a:lnTo>
                    <a:lnTo>
                      <a:pt x="21887" y="8934"/>
                    </a:lnTo>
                    <a:lnTo>
                      <a:pt x="22138" y="8683"/>
                    </a:lnTo>
                    <a:lnTo>
                      <a:pt x="22368" y="8370"/>
                    </a:lnTo>
                    <a:lnTo>
                      <a:pt x="22431" y="8307"/>
                    </a:lnTo>
                    <a:lnTo>
                      <a:pt x="22556" y="7993"/>
                    </a:lnTo>
                    <a:lnTo>
                      <a:pt x="22577" y="7846"/>
                    </a:lnTo>
                    <a:lnTo>
                      <a:pt x="22661" y="7742"/>
                    </a:lnTo>
                    <a:lnTo>
                      <a:pt x="22661" y="7637"/>
                    </a:lnTo>
                    <a:lnTo>
                      <a:pt x="22577" y="7533"/>
                    </a:lnTo>
                    <a:lnTo>
                      <a:pt x="22619" y="7449"/>
                    </a:lnTo>
                    <a:lnTo>
                      <a:pt x="22682" y="7449"/>
                    </a:lnTo>
                    <a:lnTo>
                      <a:pt x="22661" y="7156"/>
                    </a:lnTo>
                    <a:lnTo>
                      <a:pt x="22577" y="7093"/>
                    </a:lnTo>
                    <a:lnTo>
                      <a:pt x="22556" y="6968"/>
                    </a:lnTo>
                    <a:lnTo>
                      <a:pt x="22347" y="6528"/>
                    </a:lnTo>
                    <a:lnTo>
                      <a:pt x="22347" y="6361"/>
                    </a:lnTo>
                    <a:lnTo>
                      <a:pt x="22326" y="6193"/>
                    </a:lnTo>
                    <a:lnTo>
                      <a:pt x="21949" y="6026"/>
                    </a:lnTo>
                    <a:lnTo>
                      <a:pt x="21740" y="6026"/>
                    </a:lnTo>
                    <a:lnTo>
                      <a:pt x="21594" y="6110"/>
                    </a:lnTo>
                    <a:lnTo>
                      <a:pt x="21489" y="5942"/>
                    </a:lnTo>
                    <a:lnTo>
                      <a:pt x="21342" y="5921"/>
                    </a:lnTo>
                    <a:lnTo>
                      <a:pt x="21217" y="5796"/>
                    </a:lnTo>
                    <a:lnTo>
                      <a:pt x="21070" y="5712"/>
                    </a:lnTo>
                    <a:lnTo>
                      <a:pt x="20966" y="5691"/>
                    </a:lnTo>
                    <a:lnTo>
                      <a:pt x="20694" y="5398"/>
                    </a:lnTo>
                    <a:lnTo>
                      <a:pt x="20485" y="5105"/>
                    </a:lnTo>
                    <a:lnTo>
                      <a:pt x="20380" y="5085"/>
                    </a:lnTo>
                    <a:lnTo>
                      <a:pt x="20254" y="4959"/>
                    </a:lnTo>
                    <a:lnTo>
                      <a:pt x="20129" y="4959"/>
                    </a:lnTo>
                    <a:lnTo>
                      <a:pt x="19773" y="4687"/>
                    </a:lnTo>
                    <a:lnTo>
                      <a:pt x="19627" y="4687"/>
                    </a:lnTo>
                    <a:lnTo>
                      <a:pt x="19438" y="4603"/>
                    </a:lnTo>
                    <a:lnTo>
                      <a:pt x="19334" y="4666"/>
                    </a:lnTo>
                    <a:lnTo>
                      <a:pt x="19187" y="4666"/>
                    </a:lnTo>
                    <a:lnTo>
                      <a:pt x="19083" y="4603"/>
                    </a:lnTo>
                    <a:lnTo>
                      <a:pt x="18978" y="4666"/>
                    </a:lnTo>
                    <a:lnTo>
                      <a:pt x="18915" y="4750"/>
                    </a:lnTo>
                    <a:lnTo>
                      <a:pt x="18832" y="4666"/>
                    </a:lnTo>
                    <a:lnTo>
                      <a:pt x="18685" y="4561"/>
                    </a:lnTo>
                    <a:lnTo>
                      <a:pt x="18685" y="4666"/>
                    </a:lnTo>
                    <a:lnTo>
                      <a:pt x="18602" y="4624"/>
                    </a:lnTo>
                    <a:lnTo>
                      <a:pt x="18581" y="4687"/>
                    </a:lnTo>
                    <a:lnTo>
                      <a:pt x="18581" y="4750"/>
                    </a:lnTo>
                    <a:lnTo>
                      <a:pt x="18476" y="4666"/>
                    </a:lnTo>
                    <a:lnTo>
                      <a:pt x="18455" y="4624"/>
                    </a:lnTo>
                    <a:lnTo>
                      <a:pt x="18371" y="4582"/>
                    </a:lnTo>
                    <a:lnTo>
                      <a:pt x="18371" y="4582"/>
                    </a:lnTo>
                    <a:lnTo>
                      <a:pt x="18392" y="4645"/>
                    </a:lnTo>
                    <a:lnTo>
                      <a:pt x="18371" y="4666"/>
                    </a:lnTo>
                    <a:lnTo>
                      <a:pt x="18183" y="4582"/>
                    </a:lnTo>
                    <a:lnTo>
                      <a:pt x="18141" y="4582"/>
                    </a:lnTo>
                    <a:lnTo>
                      <a:pt x="17995" y="4561"/>
                    </a:lnTo>
                    <a:lnTo>
                      <a:pt x="17702" y="4394"/>
                    </a:lnTo>
                    <a:lnTo>
                      <a:pt x="17555" y="4394"/>
                    </a:lnTo>
                    <a:lnTo>
                      <a:pt x="17555" y="4436"/>
                    </a:lnTo>
                    <a:lnTo>
                      <a:pt x="17597" y="4478"/>
                    </a:lnTo>
                    <a:lnTo>
                      <a:pt x="17555" y="4520"/>
                    </a:lnTo>
                    <a:lnTo>
                      <a:pt x="17472" y="4478"/>
                    </a:lnTo>
                    <a:lnTo>
                      <a:pt x="17451" y="4520"/>
                    </a:lnTo>
                    <a:lnTo>
                      <a:pt x="17430" y="4561"/>
                    </a:lnTo>
                    <a:lnTo>
                      <a:pt x="17325" y="4603"/>
                    </a:lnTo>
                    <a:lnTo>
                      <a:pt x="17262" y="4666"/>
                    </a:lnTo>
                    <a:lnTo>
                      <a:pt x="17241" y="4792"/>
                    </a:lnTo>
                    <a:lnTo>
                      <a:pt x="17200" y="4687"/>
                    </a:lnTo>
                    <a:lnTo>
                      <a:pt x="17158" y="4603"/>
                    </a:lnTo>
                    <a:lnTo>
                      <a:pt x="17116" y="4645"/>
                    </a:lnTo>
                    <a:lnTo>
                      <a:pt x="17116" y="4750"/>
                    </a:lnTo>
                    <a:lnTo>
                      <a:pt x="17011" y="4917"/>
                    </a:lnTo>
                    <a:lnTo>
                      <a:pt x="17011" y="5085"/>
                    </a:lnTo>
                    <a:lnTo>
                      <a:pt x="16990" y="4917"/>
                    </a:lnTo>
                    <a:lnTo>
                      <a:pt x="17011" y="4771"/>
                    </a:lnTo>
                    <a:lnTo>
                      <a:pt x="16990" y="4645"/>
                    </a:lnTo>
                    <a:lnTo>
                      <a:pt x="17032" y="4457"/>
                    </a:lnTo>
                    <a:lnTo>
                      <a:pt x="17095" y="4394"/>
                    </a:lnTo>
                    <a:lnTo>
                      <a:pt x="17032" y="4373"/>
                    </a:lnTo>
                    <a:lnTo>
                      <a:pt x="16928" y="4373"/>
                    </a:lnTo>
                    <a:lnTo>
                      <a:pt x="17053" y="4248"/>
                    </a:lnTo>
                    <a:lnTo>
                      <a:pt x="16907" y="4059"/>
                    </a:lnTo>
                    <a:lnTo>
                      <a:pt x="16823" y="3913"/>
                    </a:lnTo>
                    <a:lnTo>
                      <a:pt x="16739" y="3913"/>
                    </a:lnTo>
                    <a:lnTo>
                      <a:pt x="16614" y="3871"/>
                    </a:lnTo>
                    <a:lnTo>
                      <a:pt x="16530" y="3976"/>
                    </a:lnTo>
                    <a:lnTo>
                      <a:pt x="16467" y="4017"/>
                    </a:lnTo>
                    <a:lnTo>
                      <a:pt x="16425" y="3934"/>
                    </a:lnTo>
                    <a:lnTo>
                      <a:pt x="16384" y="3913"/>
                    </a:lnTo>
                    <a:lnTo>
                      <a:pt x="16363" y="3829"/>
                    </a:lnTo>
                    <a:lnTo>
                      <a:pt x="16279" y="3766"/>
                    </a:lnTo>
                    <a:lnTo>
                      <a:pt x="16195" y="3766"/>
                    </a:lnTo>
                    <a:lnTo>
                      <a:pt x="16153" y="3724"/>
                    </a:lnTo>
                    <a:lnTo>
                      <a:pt x="16070" y="3704"/>
                    </a:lnTo>
                    <a:lnTo>
                      <a:pt x="16007" y="3745"/>
                    </a:lnTo>
                    <a:lnTo>
                      <a:pt x="16007" y="3704"/>
                    </a:lnTo>
                    <a:lnTo>
                      <a:pt x="15965" y="3662"/>
                    </a:lnTo>
                    <a:lnTo>
                      <a:pt x="15902" y="3599"/>
                    </a:lnTo>
                    <a:lnTo>
                      <a:pt x="15840" y="3620"/>
                    </a:lnTo>
                    <a:lnTo>
                      <a:pt x="15693" y="3599"/>
                    </a:lnTo>
                    <a:lnTo>
                      <a:pt x="15526" y="3494"/>
                    </a:lnTo>
                    <a:lnTo>
                      <a:pt x="15463" y="3494"/>
                    </a:lnTo>
                    <a:lnTo>
                      <a:pt x="15442" y="3536"/>
                    </a:lnTo>
                    <a:lnTo>
                      <a:pt x="15337" y="3452"/>
                    </a:lnTo>
                    <a:lnTo>
                      <a:pt x="15254" y="3452"/>
                    </a:lnTo>
                    <a:lnTo>
                      <a:pt x="15233" y="3536"/>
                    </a:lnTo>
                    <a:lnTo>
                      <a:pt x="15170" y="3536"/>
                    </a:lnTo>
                    <a:lnTo>
                      <a:pt x="15149" y="3452"/>
                    </a:lnTo>
                    <a:lnTo>
                      <a:pt x="15024" y="3452"/>
                    </a:lnTo>
                    <a:lnTo>
                      <a:pt x="14919" y="3515"/>
                    </a:lnTo>
                    <a:lnTo>
                      <a:pt x="14856" y="3620"/>
                    </a:lnTo>
                    <a:lnTo>
                      <a:pt x="14856" y="3704"/>
                    </a:lnTo>
                    <a:lnTo>
                      <a:pt x="14731" y="3829"/>
                    </a:lnTo>
                    <a:lnTo>
                      <a:pt x="14584" y="3934"/>
                    </a:lnTo>
                    <a:lnTo>
                      <a:pt x="14375" y="4059"/>
                    </a:lnTo>
                    <a:lnTo>
                      <a:pt x="14270" y="4185"/>
                    </a:lnTo>
                    <a:lnTo>
                      <a:pt x="14208" y="4352"/>
                    </a:lnTo>
                    <a:lnTo>
                      <a:pt x="14187" y="4499"/>
                    </a:lnTo>
                    <a:lnTo>
                      <a:pt x="14124" y="4582"/>
                    </a:lnTo>
                    <a:lnTo>
                      <a:pt x="14019" y="4687"/>
                    </a:lnTo>
                    <a:lnTo>
                      <a:pt x="14019" y="4771"/>
                    </a:lnTo>
                    <a:lnTo>
                      <a:pt x="14061" y="4896"/>
                    </a:lnTo>
                    <a:lnTo>
                      <a:pt x="14019" y="5105"/>
                    </a:lnTo>
                    <a:lnTo>
                      <a:pt x="13998" y="4980"/>
                    </a:lnTo>
                    <a:lnTo>
                      <a:pt x="13915" y="4854"/>
                    </a:lnTo>
                    <a:lnTo>
                      <a:pt x="13915" y="4750"/>
                    </a:lnTo>
                    <a:lnTo>
                      <a:pt x="13998" y="4645"/>
                    </a:lnTo>
                    <a:lnTo>
                      <a:pt x="14103" y="4561"/>
                    </a:lnTo>
                    <a:lnTo>
                      <a:pt x="14082" y="4394"/>
                    </a:lnTo>
                    <a:lnTo>
                      <a:pt x="14124" y="4269"/>
                    </a:lnTo>
                    <a:lnTo>
                      <a:pt x="14124" y="4185"/>
                    </a:lnTo>
                    <a:lnTo>
                      <a:pt x="14061" y="4185"/>
                    </a:lnTo>
                    <a:lnTo>
                      <a:pt x="13915" y="4248"/>
                    </a:lnTo>
                    <a:lnTo>
                      <a:pt x="13768" y="4185"/>
                    </a:lnTo>
                    <a:lnTo>
                      <a:pt x="13643" y="4185"/>
                    </a:lnTo>
                    <a:lnTo>
                      <a:pt x="13538" y="4227"/>
                    </a:lnTo>
                    <a:lnTo>
                      <a:pt x="13454" y="4164"/>
                    </a:lnTo>
                    <a:lnTo>
                      <a:pt x="13538" y="4164"/>
                    </a:lnTo>
                    <a:lnTo>
                      <a:pt x="13643" y="4080"/>
                    </a:lnTo>
                    <a:lnTo>
                      <a:pt x="13747" y="4059"/>
                    </a:lnTo>
                    <a:lnTo>
                      <a:pt x="13915" y="4080"/>
                    </a:lnTo>
                    <a:lnTo>
                      <a:pt x="14019" y="4059"/>
                    </a:lnTo>
                    <a:lnTo>
                      <a:pt x="14103" y="3955"/>
                    </a:lnTo>
                    <a:lnTo>
                      <a:pt x="14166" y="3955"/>
                    </a:lnTo>
                    <a:lnTo>
                      <a:pt x="14208" y="4017"/>
                    </a:lnTo>
                    <a:lnTo>
                      <a:pt x="14270" y="3976"/>
                    </a:lnTo>
                    <a:lnTo>
                      <a:pt x="14375" y="3934"/>
                    </a:lnTo>
                    <a:lnTo>
                      <a:pt x="14521" y="3871"/>
                    </a:lnTo>
                    <a:lnTo>
                      <a:pt x="14521" y="3745"/>
                    </a:lnTo>
                    <a:lnTo>
                      <a:pt x="14689" y="3557"/>
                    </a:lnTo>
                    <a:lnTo>
                      <a:pt x="14689" y="3432"/>
                    </a:lnTo>
                    <a:lnTo>
                      <a:pt x="14731" y="3348"/>
                    </a:lnTo>
                    <a:lnTo>
                      <a:pt x="14731" y="3243"/>
                    </a:lnTo>
                    <a:lnTo>
                      <a:pt x="14584" y="3222"/>
                    </a:lnTo>
                    <a:lnTo>
                      <a:pt x="14438" y="3118"/>
                    </a:lnTo>
                    <a:lnTo>
                      <a:pt x="14333" y="3118"/>
                    </a:lnTo>
                    <a:lnTo>
                      <a:pt x="14187" y="3222"/>
                    </a:lnTo>
                    <a:lnTo>
                      <a:pt x="14061" y="3222"/>
                    </a:lnTo>
                    <a:lnTo>
                      <a:pt x="13852" y="3139"/>
                    </a:lnTo>
                    <a:lnTo>
                      <a:pt x="13643" y="3118"/>
                    </a:lnTo>
                    <a:lnTo>
                      <a:pt x="13475" y="3285"/>
                    </a:lnTo>
                    <a:lnTo>
                      <a:pt x="13475" y="3348"/>
                    </a:lnTo>
                    <a:lnTo>
                      <a:pt x="13538" y="3390"/>
                    </a:lnTo>
                    <a:lnTo>
                      <a:pt x="13559" y="3432"/>
                    </a:lnTo>
                    <a:lnTo>
                      <a:pt x="13475" y="3432"/>
                    </a:lnTo>
                    <a:lnTo>
                      <a:pt x="13433" y="3452"/>
                    </a:lnTo>
                    <a:lnTo>
                      <a:pt x="13371" y="3557"/>
                    </a:lnTo>
                    <a:lnTo>
                      <a:pt x="13350" y="3494"/>
                    </a:lnTo>
                    <a:lnTo>
                      <a:pt x="13287" y="3452"/>
                    </a:lnTo>
                    <a:lnTo>
                      <a:pt x="13161" y="3515"/>
                    </a:lnTo>
                    <a:lnTo>
                      <a:pt x="13036" y="3704"/>
                    </a:lnTo>
                    <a:lnTo>
                      <a:pt x="12848" y="3913"/>
                    </a:lnTo>
                    <a:lnTo>
                      <a:pt x="12973" y="3724"/>
                    </a:lnTo>
                    <a:lnTo>
                      <a:pt x="12973" y="3599"/>
                    </a:lnTo>
                    <a:lnTo>
                      <a:pt x="13015" y="3515"/>
                    </a:lnTo>
                    <a:lnTo>
                      <a:pt x="13015" y="3432"/>
                    </a:lnTo>
                    <a:lnTo>
                      <a:pt x="12952" y="3432"/>
                    </a:lnTo>
                    <a:lnTo>
                      <a:pt x="12848" y="3536"/>
                    </a:lnTo>
                    <a:lnTo>
                      <a:pt x="12806" y="3662"/>
                    </a:lnTo>
                    <a:lnTo>
                      <a:pt x="12743" y="3829"/>
                    </a:lnTo>
                    <a:lnTo>
                      <a:pt x="12638" y="3871"/>
                    </a:lnTo>
                    <a:lnTo>
                      <a:pt x="12722" y="3704"/>
                    </a:lnTo>
                    <a:lnTo>
                      <a:pt x="12743" y="3557"/>
                    </a:lnTo>
                    <a:lnTo>
                      <a:pt x="12952" y="3306"/>
                    </a:lnTo>
                    <a:lnTo>
                      <a:pt x="13015" y="3118"/>
                    </a:lnTo>
                    <a:lnTo>
                      <a:pt x="13078" y="3013"/>
                    </a:lnTo>
                    <a:lnTo>
                      <a:pt x="13182" y="2971"/>
                    </a:lnTo>
                    <a:lnTo>
                      <a:pt x="13329" y="2888"/>
                    </a:lnTo>
                    <a:lnTo>
                      <a:pt x="13392" y="2867"/>
                    </a:lnTo>
                    <a:lnTo>
                      <a:pt x="13496" y="2699"/>
                    </a:lnTo>
                    <a:lnTo>
                      <a:pt x="13768" y="2448"/>
                    </a:lnTo>
                    <a:lnTo>
                      <a:pt x="13789" y="2364"/>
                    </a:lnTo>
                    <a:lnTo>
                      <a:pt x="13852" y="2302"/>
                    </a:lnTo>
                    <a:lnTo>
                      <a:pt x="13789" y="2239"/>
                    </a:lnTo>
                    <a:lnTo>
                      <a:pt x="13810" y="2155"/>
                    </a:lnTo>
                    <a:lnTo>
                      <a:pt x="13852" y="2134"/>
                    </a:lnTo>
                    <a:lnTo>
                      <a:pt x="13852" y="2030"/>
                    </a:lnTo>
                    <a:lnTo>
                      <a:pt x="13747" y="1946"/>
                    </a:lnTo>
                    <a:lnTo>
                      <a:pt x="13601" y="1946"/>
                    </a:lnTo>
                    <a:lnTo>
                      <a:pt x="13580" y="1988"/>
                    </a:lnTo>
                    <a:lnTo>
                      <a:pt x="13538" y="1883"/>
                    </a:lnTo>
                    <a:lnTo>
                      <a:pt x="13454" y="1674"/>
                    </a:lnTo>
                    <a:lnTo>
                      <a:pt x="13329" y="1360"/>
                    </a:lnTo>
                    <a:lnTo>
                      <a:pt x="13224" y="1214"/>
                    </a:lnTo>
                    <a:lnTo>
                      <a:pt x="13140" y="1004"/>
                    </a:lnTo>
                    <a:lnTo>
                      <a:pt x="13140" y="879"/>
                    </a:lnTo>
                    <a:lnTo>
                      <a:pt x="13120" y="732"/>
                    </a:lnTo>
                    <a:lnTo>
                      <a:pt x="13057" y="691"/>
                    </a:lnTo>
                    <a:lnTo>
                      <a:pt x="13036" y="586"/>
                    </a:lnTo>
                    <a:lnTo>
                      <a:pt x="12952" y="460"/>
                    </a:lnTo>
                    <a:lnTo>
                      <a:pt x="12931" y="481"/>
                    </a:lnTo>
                    <a:lnTo>
                      <a:pt x="12931" y="565"/>
                    </a:lnTo>
                    <a:lnTo>
                      <a:pt x="12868" y="628"/>
                    </a:lnTo>
                    <a:lnTo>
                      <a:pt x="12743" y="711"/>
                    </a:lnTo>
                    <a:lnTo>
                      <a:pt x="12701" y="795"/>
                    </a:lnTo>
                    <a:lnTo>
                      <a:pt x="12555" y="984"/>
                    </a:lnTo>
                    <a:lnTo>
                      <a:pt x="12408" y="1151"/>
                    </a:lnTo>
                    <a:lnTo>
                      <a:pt x="12408" y="1256"/>
                    </a:lnTo>
                    <a:lnTo>
                      <a:pt x="12303" y="1507"/>
                    </a:lnTo>
                    <a:lnTo>
                      <a:pt x="12199" y="1653"/>
                    </a:lnTo>
                    <a:lnTo>
                      <a:pt x="12115" y="1779"/>
                    </a:lnTo>
                    <a:lnTo>
                      <a:pt x="12011" y="1820"/>
                    </a:lnTo>
                    <a:lnTo>
                      <a:pt x="11969" y="1862"/>
                    </a:lnTo>
                    <a:lnTo>
                      <a:pt x="11927" y="1967"/>
                    </a:lnTo>
                    <a:lnTo>
                      <a:pt x="11822" y="2051"/>
                    </a:lnTo>
                    <a:lnTo>
                      <a:pt x="11759" y="2030"/>
                    </a:lnTo>
                    <a:lnTo>
                      <a:pt x="11759" y="1862"/>
                    </a:lnTo>
                    <a:lnTo>
                      <a:pt x="11697" y="1841"/>
                    </a:lnTo>
                    <a:lnTo>
                      <a:pt x="11676" y="1779"/>
                    </a:lnTo>
                    <a:lnTo>
                      <a:pt x="11613" y="1779"/>
                    </a:lnTo>
                    <a:lnTo>
                      <a:pt x="11550" y="1820"/>
                    </a:lnTo>
                    <a:lnTo>
                      <a:pt x="11487" y="1883"/>
                    </a:lnTo>
                    <a:lnTo>
                      <a:pt x="11383" y="1862"/>
                    </a:lnTo>
                    <a:lnTo>
                      <a:pt x="11299" y="1779"/>
                    </a:lnTo>
                    <a:lnTo>
                      <a:pt x="11299" y="1737"/>
                    </a:lnTo>
                    <a:lnTo>
                      <a:pt x="11278" y="1716"/>
                    </a:lnTo>
                    <a:lnTo>
                      <a:pt x="11257" y="1611"/>
                    </a:lnTo>
                    <a:lnTo>
                      <a:pt x="11236" y="1548"/>
                    </a:lnTo>
                    <a:lnTo>
                      <a:pt x="11153" y="1528"/>
                    </a:lnTo>
                    <a:lnTo>
                      <a:pt x="11048" y="1423"/>
                    </a:lnTo>
                    <a:lnTo>
                      <a:pt x="10881" y="1423"/>
                    </a:lnTo>
                    <a:lnTo>
                      <a:pt x="10776" y="1465"/>
                    </a:lnTo>
                    <a:lnTo>
                      <a:pt x="10546" y="1465"/>
                    </a:lnTo>
                    <a:lnTo>
                      <a:pt x="10420" y="1444"/>
                    </a:lnTo>
                    <a:lnTo>
                      <a:pt x="10316" y="1528"/>
                    </a:lnTo>
                    <a:lnTo>
                      <a:pt x="10295" y="1632"/>
                    </a:lnTo>
                    <a:lnTo>
                      <a:pt x="10399" y="1737"/>
                    </a:lnTo>
                    <a:lnTo>
                      <a:pt x="10420" y="1820"/>
                    </a:lnTo>
                    <a:lnTo>
                      <a:pt x="10462" y="1946"/>
                    </a:lnTo>
                    <a:lnTo>
                      <a:pt x="10441" y="1988"/>
                    </a:lnTo>
                    <a:lnTo>
                      <a:pt x="10337" y="1988"/>
                    </a:lnTo>
                    <a:lnTo>
                      <a:pt x="10190" y="1946"/>
                    </a:lnTo>
                    <a:lnTo>
                      <a:pt x="10148" y="1925"/>
                    </a:lnTo>
                    <a:lnTo>
                      <a:pt x="9918" y="1925"/>
                    </a:lnTo>
                    <a:lnTo>
                      <a:pt x="9814" y="1946"/>
                    </a:lnTo>
                    <a:lnTo>
                      <a:pt x="9772" y="1883"/>
                    </a:lnTo>
                    <a:lnTo>
                      <a:pt x="9604" y="1883"/>
                    </a:lnTo>
                    <a:lnTo>
                      <a:pt x="9479" y="1946"/>
                    </a:lnTo>
                    <a:lnTo>
                      <a:pt x="9395" y="2134"/>
                    </a:lnTo>
                    <a:lnTo>
                      <a:pt x="9165" y="2134"/>
                    </a:lnTo>
                    <a:lnTo>
                      <a:pt x="9039" y="2155"/>
                    </a:lnTo>
                    <a:lnTo>
                      <a:pt x="8998" y="2197"/>
                    </a:lnTo>
                    <a:lnTo>
                      <a:pt x="8935" y="2302"/>
                    </a:lnTo>
                    <a:lnTo>
                      <a:pt x="8788" y="2302"/>
                    </a:lnTo>
                    <a:lnTo>
                      <a:pt x="8767" y="2281"/>
                    </a:lnTo>
                    <a:lnTo>
                      <a:pt x="8684" y="2302"/>
                    </a:lnTo>
                    <a:lnTo>
                      <a:pt x="8621" y="2385"/>
                    </a:lnTo>
                    <a:lnTo>
                      <a:pt x="8537" y="2364"/>
                    </a:lnTo>
                    <a:lnTo>
                      <a:pt x="8307" y="2176"/>
                    </a:lnTo>
                    <a:lnTo>
                      <a:pt x="8223" y="2072"/>
                    </a:lnTo>
                    <a:lnTo>
                      <a:pt x="8223" y="1988"/>
                    </a:lnTo>
                    <a:lnTo>
                      <a:pt x="8098" y="1862"/>
                    </a:lnTo>
                    <a:lnTo>
                      <a:pt x="7993" y="1758"/>
                    </a:lnTo>
                    <a:lnTo>
                      <a:pt x="7993" y="1653"/>
                    </a:lnTo>
                    <a:lnTo>
                      <a:pt x="8014" y="1569"/>
                    </a:lnTo>
                    <a:lnTo>
                      <a:pt x="7993" y="1528"/>
                    </a:lnTo>
                    <a:lnTo>
                      <a:pt x="8014" y="1423"/>
                    </a:lnTo>
                    <a:lnTo>
                      <a:pt x="8056" y="1339"/>
                    </a:lnTo>
                    <a:lnTo>
                      <a:pt x="8056" y="1214"/>
                    </a:lnTo>
                    <a:lnTo>
                      <a:pt x="8161" y="1025"/>
                    </a:lnTo>
                    <a:lnTo>
                      <a:pt x="8202" y="879"/>
                    </a:lnTo>
                    <a:lnTo>
                      <a:pt x="8307" y="732"/>
                    </a:lnTo>
                    <a:lnTo>
                      <a:pt x="8307" y="691"/>
                    </a:lnTo>
                    <a:lnTo>
                      <a:pt x="8202" y="691"/>
                    </a:lnTo>
                    <a:lnTo>
                      <a:pt x="8140" y="607"/>
                    </a:lnTo>
                    <a:lnTo>
                      <a:pt x="8119" y="523"/>
                    </a:lnTo>
                    <a:lnTo>
                      <a:pt x="7993" y="523"/>
                    </a:lnTo>
                    <a:lnTo>
                      <a:pt x="7889" y="481"/>
                    </a:lnTo>
                    <a:lnTo>
                      <a:pt x="7930" y="398"/>
                    </a:lnTo>
                    <a:lnTo>
                      <a:pt x="8014" y="293"/>
                    </a:lnTo>
                    <a:lnTo>
                      <a:pt x="8014" y="147"/>
                    </a:lnTo>
                    <a:lnTo>
                      <a:pt x="7910" y="0"/>
                    </a:lnTo>
                    <a:lnTo>
                      <a:pt x="7784" y="0"/>
                    </a:lnTo>
                    <a:lnTo>
                      <a:pt x="7721" y="63"/>
                    </a:lnTo>
                    <a:lnTo>
                      <a:pt x="767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grpSp>
        <p:grpSp>
          <p:nvGrpSpPr>
            <p:cNvPr id="1947" name="Google Shape;1947;p66"/>
            <p:cNvGrpSpPr/>
            <p:nvPr/>
          </p:nvGrpSpPr>
          <p:grpSpPr>
            <a:xfrm>
              <a:off x="3265985" y="3226989"/>
              <a:ext cx="87151" cy="346202"/>
              <a:chOff x="2680375" y="3423800"/>
              <a:chExt cx="182975" cy="761050"/>
            </a:xfrm>
          </p:grpSpPr>
          <p:sp>
            <p:nvSpPr>
              <p:cNvPr id="1948" name="Google Shape;1948;p66"/>
              <p:cNvSpPr/>
              <p:nvPr/>
            </p:nvSpPr>
            <p:spPr>
              <a:xfrm>
                <a:off x="2698650" y="3423800"/>
                <a:ext cx="164700" cy="703875"/>
              </a:xfrm>
              <a:custGeom>
                <a:avLst/>
                <a:gdLst/>
                <a:ahLst/>
                <a:cxnLst/>
                <a:rect l="l" t="t" r="r" b="b"/>
                <a:pathLst>
                  <a:path w="6588" h="28155" extrusionOk="0">
                    <a:moveTo>
                      <a:pt x="319" y="4568"/>
                    </a:moveTo>
                    <a:lnTo>
                      <a:pt x="107" y="1274"/>
                    </a:lnTo>
                    <a:lnTo>
                      <a:pt x="319" y="0"/>
                    </a:lnTo>
                    <a:lnTo>
                      <a:pt x="6588" y="4356"/>
                    </a:lnTo>
                    <a:lnTo>
                      <a:pt x="4994" y="7331"/>
                    </a:lnTo>
                    <a:lnTo>
                      <a:pt x="1913" y="16149"/>
                    </a:lnTo>
                    <a:lnTo>
                      <a:pt x="2656" y="24330"/>
                    </a:lnTo>
                    <a:lnTo>
                      <a:pt x="4144" y="28155"/>
                    </a:lnTo>
                    <a:lnTo>
                      <a:pt x="1700" y="27836"/>
                    </a:lnTo>
                    <a:lnTo>
                      <a:pt x="532" y="25605"/>
                    </a:lnTo>
                    <a:lnTo>
                      <a:pt x="1063" y="22736"/>
                    </a:lnTo>
                    <a:lnTo>
                      <a:pt x="0" y="17530"/>
                    </a:lnTo>
                    <a:lnTo>
                      <a:pt x="638" y="14024"/>
                    </a:lnTo>
                    <a:lnTo>
                      <a:pt x="213" y="11793"/>
                    </a:lnTo>
                    <a:lnTo>
                      <a:pt x="744" y="7756"/>
                    </a:lnTo>
                    <a:close/>
                  </a:path>
                </a:pathLst>
              </a:custGeom>
              <a:solidFill>
                <a:srgbClr val="5F7D95"/>
              </a:solidFill>
              <a:ln>
                <a:noFill/>
              </a:ln>
            </p:spPr>
          </p:sp>
          <p:sp>
            <p:nvSpPr>
              <p:cNvPr id="1949" name="Google Shape;1949;p66"/>
              <p:cNvSpPr/>
              <p:nvPr/>
            </p:nvSpPr>
            <p:spPr>
              <a:xfrm>
                <a:off x="2680375" y="3510050"/>
                <a:ext cx="137075" cy="674800"/>
              </a:xfrm>
              <a:custGeom>
                <a:avLst/>
                <a:gdLst/>
                <a:ahLst/>
                <a:cxnLst/>
                <a:rect l="l" t="t" r="r" b="b"/>
                <a:pathLst>
                  <a:path w="5483" h="26992" extrusionOk="0">
                    <a:moveTo>
                      <a:pt x="984" y="23016"/>
                    </a:moveTo>
                    <a:lnTo>
                      <a:pt x="984" y="23121"/>
                    </a:lnTo>
                    <a:lnTo>
                      <a:pt x="1026" y="23058"/>
                    </a:lnTo>
                    <a:lnTo>
                      <a:pt x="1088" y="23016"/>
                    </a:lnTo>
                    <a:close/>
                    <a:moveTo>
                      <a:pt x="1047" y="0"/>
                    </a:moveTo>
                    <a:lnTo>
                      <a:pt x="984" y="105"/>
                    </a:lnTo>
                    <a:lnTo>
                      <a:pt x="963" y="209"/>
                    </a:lnTo>
                    <a:lnTo>
                      <a:pt x="1068" y="314"/>
                    </a:lnTo>
                    <a:lnTo>
                      <a:pt x="1005" y="419"/>
                    </a:lnTo>
                    <a:lnTo>
                      <a:pt x="900" y="502"/>
                    </a:lnTo>
                    <a:lnTo>
                      <a:pt x="837" y="461"/>
                    </a:lnTo>
                    <a:lnTo>
                      <a:pt x="691" y="544"/>
                    </a:lnTo>
                    <a:lnTo>
                      <a:pt x="565" y="628"/>
                    </a:lnTo>
                    <a:lnTo>
                      <a:pt x="628" y="670"/>
                    </a:lnTo>
                    <a:lnTo>
                      <a:pt x="628" y="837"/>
                    </a:lnTo>
                    <a:lnTo>
                      <a:pt x="586" y="963"/>
                    </a:lnTo>
                    <a:lnTo>
                      <a:pt x="628" y="1130"/>
                    </a:lnTo>
                    <a:lnTo>
                      <a:pt x="733" y="1549"/>
                    </a:lnTo>
                    <a:lnTo>
                      <a:pt x="733" y="1695"/>
                    </a:lnTo>
                    <a:lnTo>
                      <a:pt x="691" y="1800"/>
                    </a:lnTo>
                    <a:lnTo>
                      <a:pt x="649" y="1883"/>
                    </a:lnTo>
                    <a:lnTo>
                      <a:pt x="691" y="2093"/>
                    </a:lnTo>
                    <a:lnTo>
                      <a:pt x="775" y="2302"/>
                    </a:lnTo>
                    <a:lnTo>
                      <a:pt x="858" y="2490"/>
                    </a:lnTo>
                    <a:lnTo>
                      <a:pt x="858" y="2762"/>
                    </a:lnTo>
                    <a:lnTo>
                      <a:pt x="837" y="2846"/>
                    </a:lnTo>
                    <a:lnTo>
                      <a:pt x="796" y="2909"/>
                    </a:lnTo>
                    <a:lnTo>
                      <a:pt x="837" y="3327"/>
                    </a:lnTo>
                    <a:lnTo>
                      <a:pt x="837" y="3432"/>
                    </a:lnTo>
                    <a:lnTo>
                      <a:pt x="754" y="3474"/>
                    </a:lnTo>
                    <a:lnTo>
                      <a:pt x="670" y="3536"/>
                    </a:lnTo>
                    <a:lnTo>
                      <a:pt x="670" y="3766"/>
                    </a:lnTo>
                    <a:lnTo>
                      <a:pt x="691" y="3829"/>
                    </a:lnTo>
                    <a:lnTo>
                      <a:pt x="775" y="3766"/>
                    </a:lnTo>
                    <a:lnTo>
                      <a:pt x="837" y="3829"/>
                    </a:lnTo>
                    <a:lnTo>
                      <a:pt x="754" y="3892"/>
                    </a:lnTo>
                    <a:lnTo>
                      <a:pt x="754" y="4499"/>
                    </a:lnTo>
                    <a:lnTo>
                      <a:pt x="837" y="4729"/>
                    </a:lnTo>
                    <a:lnTo>
                      <a:pt x="858" y="4917"/>
                    </a:lnTo>
                    <a:lnTo>
                      <a:pt x="837" y="5064"/>
                    </a:lnTo>
                    <a:lnTo>
                      <a:pt x="733" y="5231"/>
                    </a:lnTo>
                    <a:lnTo>
                      <a:pt x="733" y="5399"/>
                    </a:lnTo>
                    <a:lnTo>
                      <a:pt x="837" y="5566"/>
                    </a:lnTo>
                    <a:lnTo>
                      <a:pt x="796" y="5712"/>
                    </a:lnTo>
                    <a:lnTo>
                      <a:pt x="796" y="5984"/>
                    </a:lnTo>
                    <a:lnTo>
                      <a:pt x="754" y="6089"/>
                    </a:lnTo>
                    <a:lnTo>
                      <a:pt x="754" y="6256"/>
                    </a:lnTo>
                    <a:lnTo>
                      <a:pt x="775" y="6340"/>
                    </a:lnTo>
                    <a:lnTo>
                      <a:pt x="775" y="6403"/>
                    </a:lnTo>
                    <a:lnTo>
                      <a:pt x="670" y="6570"/>
                    </a:lnTo>
                    <a:lnTo>
                      <a:pt x="670" y="6717"/>
                    </a:lnTo>
                    <a:lnTo>
                      <a:pt x="628" y="6821"/>
                    </a:lnTo>
                    <a:lnTo>
                      <a:pt x="649" y="7010"/>
                    </a:lnTo>
                    <a:lnTo>
                      <a:pt x="628" y="7093"/>
                    </a:lnTo>
                    <a:lnTo>
                      <a:pt x="524" y="7303"/>
                    </a:lnTo>
                    <a:lnTo>
                      <a:pt x="524" y="7407"/>
                    </a:lnTo>
                    <a:lnTo>
                      <a:pt x="628" y="7554"/>
                    </a:lnTo>
                    <a:lnTo>
                      <a:pt x="649" y="7721"/>
                    </a:lnTo>
                    <a:lnTo>
                      <a:pt x="733" y="7826"/>
                    </a:lnTo>
                    <a:lnTo>
                      <a:pt x="649" y="7867"/>
                    </a:lnTo>
                    <a:lnTo>
                      <a:pt x="586" y="8014"/>
                    </a:lnTo>
                    <a:lnTo>
                      <a:pt x="670" y="8119"/>
                    </a:lnTo>
                    <a:lnTo>
                      <a:pt x="586" y="8202"/>
                    </a:lnTo>
                    <a:lnTo>
                      <a:pt x="524" y="8244"/>
                    </a:lnTo>
                    <a:lnTo>
                      <a:pt x="524" y="8391"/>
                    </a:lnTo>
                    <a:lnTo>
                      <a:pt x="544" y="8537"/>
                    </a:lnTo>
                    <a:lnTo>
                      <a:pt x="544" y="8663"/>
                    </a:lnTo>
                    <a:lnTo>
                      <a:pt x="670" y="8997"/>
                    </a:lnTo>
                    <a:lnTo>
                      <a:pt x="670" y="9186"/>
                    </a:lnTo>
                    <a:lnTo>
                      <a:pt x="628" y="9228"/>
                    </a:lnTo>
                    <a:lnTo>
                      <a:pt x="628" y="9332"/>
                    </a:lnTo>
                    <a:lnTo>
                      <a:pt x="754" y="9520"/>
                    </a:lnTo>
                    <a:lnTo>
                      <a:pt x="754" y="9730"/>
                    </a:lnTo>
                    <a:lnTo>
                      <a:pt x="733" y="9855"/>
                    </a:lnTo>
                    <a:lnTo>
                      <a:pt x="733" y="9918"/>
                    </a:lnTo>
                    <a:lnTo>
                      <a:pt x="754" y="10023"/>
                    </a:lnTo>
                    <a:lnTo>
                      <a:pt x="733" y="10106"/>
                    </a:lnTo>
                    <a:lnTo>
                      <a:pt x="691" y="10211"/>
                    </a:lnTo>
                    <a:lnTo>
                      <a:pt x="733" y="10253"/>
                    </a:lnTo>
                    <a:lnTo>
                      <a:pt x="858" y="10441"/>
                    </a:lnTo>
                    <a:lnTo>
                      <a:pt x="879" y="10546"/>
                    </a:lnTo>
                    <a:lnTo>
                      <a:pt x="837" y="10650"/>
                    </a:lnTo>
                    <a:lnTo>
                      <a:pt x="754" y="10692"/>
                    </a:lnTo>
                    <a:lnTo>
                      <a:pt x="670" y="10860"/>
                    </a:lnTo>
                    <a:lnTo>
                      <a:pt x="670" y="10901"/>
                    </a:lnTo>
                    <a:lnTo>
                      <a:pt x="733" y="10964"/>
                    </a:lnTo>
                    <a:lnTo>
                      <a:pt x="670" y="11090"/>
                    </a:lnTo>
                    <a:lnTo>
                      <a:pt x="586" y="11173"/>
                    </a:lnTo>
                    <a:lnTo>
                      <a:pt x="586" y="11278"/>
                    </a:lnTo>
                    <a:lnTo>
                      <a:pt x="565" y="11466"/>
                    </a:lnTo>
                    <a:lnTo>
                      <a:pt x="524" y="11571"/>
                    </a:lnTo>
                    <a:lnTo>
                      <a:pt x="524" y="11676"/>
                    </a:lnTo>
                    <a:lnTo>
                      <a:pt x="482" y="11717"/>
                    </a:lnTo>
                    <a:lnTo>
                      <a:pt x="482" y="11843"/>
                    </a:lnTo>
                    <a:lnTo>
                      <a:pt x="419" y="11927"/>
                    </a:lnTo>
                    <a:lnTo>
                      <a:pt x="419" y="11989"/>
                    </a:lnTo>
                    <a:lnTo>
                      <a:pt x="461" y="12052"/>
                    </a:lnTo>
                    <a:lnTo>
                      <a:pt x="377" y="12157"/>
                    </a:lnTo>
                    <a:lnTo>
                      <a:pt x="377" y="12324"/>
                    </a:lnTo>
                    <a:lnTo>
                      <a:pt x="377" y="12429"/>
                    </a:lnTo>
                    <a:lnTo>
                      <a:pt x="314" y="12471"/>
                    </a:lnTo>
                    <a:lnTo>
                      <a:pt x="314" y="12575"/>
                    </a:lnTo>
                    <a:lnTo>
                      <a:pt x="272" y="12659"/>
                    </a:lnTo>
                    <a:lnTo>
                      <a:pt x="272" y="12743"/>
                    </a:lnTo>
                    <a:lnTo>
                      <a:pt x="314" y="12847"/>
                    </a:lnTo>
                    <a:lnTo>
                      <a:pt x="314" y="12952"/>
                    </a:lnTo>
                    <a:lnTo>
                      <a:pt x="231" y="13057"/>
                    </a:lnTo>
                    <a:lnTo>
                      <a:pt x="147" y="13057"/>
                    </a:lnTo>
                    <a:lnTo>
                      <a:pt x="63" y="12994"/>
                    </a:lnTo>
                    <a:lnTo>
                      <a:pt x="0" y="13015"/>
                    </a:lnTo>
                    <a:lnTo>
                      <a:pt x="0" y="13098"/>
                    </a:lnTo>
                    <a:lnTo>
                      <a:pt x="21" y="13224"/>
                    </a:lnTo>
                    <a:lnTo>
                      <a:pt x="21" y="13412"/>
                    </a:lnTo>
                    <a:lnTo>
                      <a:pt x="105" y="13517"/>
                    </a:lnTo>
                    <a:lnTo>
                      <a:pt x="231" y="13621"/>
                    </a:lnTo>
                    <a:lnTo>
                      <a:pt x="252" y="13747"/>
                    </a:lnTo>
                    <a:lnTo>
                      <a:pt x="231" y="13914"/>
                    </a:lnTo>
                    <a:lnTo>
                      <a:pt x="398" y="14228"/>
                    </a:lnTo>
                    <a:lnTo>
                      <a:pt x="440" y="14312"/>
                    </a:lnTo>
                    <a:lnTo>
                      <a:pt x="524" y="14375"/>
                    </a:lnTo>
                    <a:lnTo>
                      <a:pt x="524" y="14563"/>
                    </a:lnTo>
                    <a:lnTo>
                      <a:pt x="461" y="14835"/>
                    </a:lnTo>
                    <a:lnTo>
                      <a:pt x="419" y="14856"/>
                    </a:lnTo>
                    <a:lnTo>
                      <a:pt x="440" y="14940"/>
                    </a:lnTo>
                    <a:lnTo>
                      <a:pt x="419" y="15002"/>
                    </a:lnTo>
                    <a:lnTo>
                      <a:pt x="356" y="14982"/>
                    </a:lnTo>
                    <a:lnTo>
                      <a:pt x="314" y="14982"/>
                    </a:lnTo>
                    <a:lnTo>
                      <a:pt x="272" y="15086"/>
                    </a:lnTo>
                    <a:lnTo>
                      <a:pt x="314" y="15191"/>
                    </a:lnTo>
                    <a:lnTo>
                      <a:pt x="377" y="15254"/>
                    </a:lnTo>
                    <a:lnTo>
                      <a:pt x="335" y="15484"/>
                    </a:lnTo>
                    <a:lnTo>
                      <a:pt x="356" y="15588"/>
                    </a:lnTo>
                    <a:lnTo>
                      <a:pt x="314" y="15672"/>
                    </a:lnTo>
                    <a:lnTo>
                      <a:pt x="356" y="15714"/>
                    </a:lnTo>
                    <a:lnTo>
                      <a:pt x="335" y="15798"/>
                    </a:lnTo>
                    <a:lnTo>
                      <a:pt x="314" y="15818"/>
                    </a:lnTo>
                    <a:lnTo>
                      <a:pt x="335" y="15881"/>
                    </a:lnTo>
                    <a:lnTo>
                      <a:pt x="524" y="16153"/>
                    </a:lnTo>
                    <a:lnTo>
                      <a:pt x="565" y="16216"/>
                    </a:lnTo>
                    <a:lnTo>
                      <a:pt x="565" y="16362"/>
                    </a:lnTo>
                    <a:lnTo>
                      <a:pt x="524" y="16342"/>
                    </a:lnTo>
                    <a:lnTo>
                      <a:pt x="377" y="16342"/>
                    </a:lnTo>
                    <a:lnTo>
                      <a:pt x="314" y="16425"/>
                    </a:lnTo>
                    <a:lnTo>
                      <a:pt x="314" y="16467"/>
                    </a:lnTo>
                    <a:lnTo>
                      <a:pt x="356" y="16530"/>
                    </a:lnTo>
                    <a:lnTo>
                      <a:pt x="356" y="16614"/>
                    </a:lnTo>
                    <a:lnTo>
                      <a:pt x="314" y="16655"/>
                    </a:lnTo>
                    <a:lnTo>
                      <a:pt x="272" y="16739"/>
                    </a:lnTo>
                    <a:lnTo>
                      <a:pt x="314" y="16823"/>
                    </a:lnTo>
                    <a:lnTo>
                      <a:pt x="335" y="16844"/>
                    </a:lnTo>
                    <a:lnTo>
                      <a:pt x="377" y="16969"/>
                    </a:lnTo>
                    <a:lnTo>
                      <a:pt x="419" y="17304"/>
                    </a:lnTo>
                    <a:lnTo>
                      <a:pt x="356" y="17451"/>
                    </a:lnTo>
                    <a:lnTo>
                      <a:pt x="482" y="17492"/>
                    </a:lnTo>
                    <a:lnTo>
                      <a:pt x="670" y="17471"/>
                    </a:lnTo>
                    <a:lnTo>
                      <a:pt x="670" y="17409"/>
                    </a:lnTo>
                    <a:lnTo>
                      <a:pt x="670" y="17283"/>
                    </a:lnTo>
                    <a:lnTo>
                      <a:pt x="733" y="17199"/>
                    </a:lnTo>
                    <a:lnTo>
                      <a:pt x="837" y="17241"/>
                    </a:lnTo>
                    <a:lnTo>
                      <a:pt x="858" y="17199"/>
                    </a:lnTo>
                    <a:lnTo>
                      <a:pt x="733" y="17095"/>
                    </a:lnTo>
                    <a:lnTo>
                      <a:pt x="775" y="17053"/>
                    </a:lnTo>
                    <a:lnTo>
                      <a:pt x="649" y="16927"/>
                    </a:lnTo>
                    <a:lnTo>
                      <a:pt x="649" y="16844"/>
                    </a:lnTo>
                    <a:lnTo>
                      <a:pt x="733" y="16844"/>
                    </a:lnTo>
                    <a:lnTo>
                      <a:pt x="837" y="16886"/>
                    </a:lnTo>
                    <a:lnTo>
                      <a:pt x="837" y="16865"/>
                    </a:lnTo>
                    <a:lnTo>
                      <a:pt x="775" y="16823"/>
                    </a:lnTo>
                    <a:lnTo>
                      <a:pt x="649" y="16718"/>
                    </a:lnTo>
                    <a:lnTo>
                      <a:pt x="775" y="16739"/>
                    </a:lnTo>
                    <a:lnTo>
                      <a:pt x="775" y="16634"/>
                    </a:lnTo>
                    <a:lnTo>
                      <a:pt x="754" y="16572"/>
                    </a:lnTo>
                    <a:lnTo>
                      <a:pt x="754" y="16425"/>
                    </a:lnTo>
                    <a:lnTo>
                      <a:pt x="733" y="16362"/>
                    </a:lnTo>
                    <a:cubicBezTo>
                      <a:pt x="733" y="16321"/>
                      <a:pt x="754" y="16258"/>
                      <a:pt x="775" y="16237"/>
                    </a:cubicBezTo>
                    <a:lnTo>
                      <a:pt x="837" y="16258"/>
                    </a:lnTo>
                    <a:lnTo>
                      <a:pt x="879" y="16237"/>
                    </a:lnTo>
                    <a:cubicBezTo>
                      <a:pt x="879" y="16342"/>
                      <a:pt x="900" y="16467"/>
                      <a:pt x="900" y="16572"/>
                    </a:cubicBezTo>
                    <a:lnTo>
                      <a:pt x="1068" y="17764"/>
                    </a:lnTo>
                    <a:lnTo>
                      <a:pt x="1047" y="17785"/>
                    </a:lnTo>
                    <a:lnTo>
                      <a:pt x="1068" y="17869"/>
                    </a:lnTo>
                    <a:lnTo>
                      <a:pt x="1068" y="18036"/>
                    </a:lnTo>
                    <a:lnTo>
                      <a:pt x="1005" y="18078"/>
                    </a:lnTo>
                    <a:lnTo>
                      <a:pt x="1047" y="18120"/>
                    </a:lnTo>
                    <a:lnTo>
                      <a:pt x="1047" y="18287"/>
                    </a:lnTo>
                    <a:lnTo>
                      <a:pt x="1005" y="18350"/>
                    </a:lnTo>
                    <a:lnTo>
                      <a:pt x="1047" y="18434"/>
                    </a:lnTo>
                    <a:lnTo>
                      <a:pt x="1047" y="18455"/>
                    </a:lnTo>
                    <a:cubicBezTo>
                      <a:pt x="1047" y="18643"/>
                      <a:pt x="1005" y="18852"/>
                      <a:pt x="963" y="19041"/>
                    </a:cubicBezTo>
                    <a:cubicBezTo>
                      <a:pt x="921" y="19187"/>
                      <a:pt x="900" y="19334"/>
                      <a:pt x="858" y="19459"/>
                    </a:cubicBezTo>
                    <a:lnTo>
                      <a:pt x="796" y="19480"/>
                    </a:lnTo>
                    <a:lnTo>
                      <a:pt x="691" y="19564"/>
                    </a:lnTo>
                    <a:lnTo>
                      <a:pt x="649" y="19564"/>
                    </a:lnTo>
                    <a:lnTo>
                      <a:pt x="649" y="19501"/>
                    </a:lnTo>
                    <a:lnTo>
                      <a:pt x="754" y="19480"/>
                    </a:lnTo>
                    <a:lnTo>
                      <a:pt x="837" y="19438"/>
                    </a:lnTo>
                    <a:lnTo>
                      <a:pt x="837" y="19271"/>
                    </a:lnTo>
                    <a:lnTo>
                      <a:pt x="775" y="19250"/>
                    </a:lnTo>
                    <a:lnTo>
                      <a:pt x="670" y="19292"/>
                    </a:lnTo>
                    <a:lnTo>
                      <a:pt x="461" y="19292"/>
                    </a:lnTo>
                    <a:lnTo>
                      <a:pt x="377" y="19271"/>
                    </a:lnTo>
                    <a:lnTo>
                      <a:pt x="293" y="19292"/>
                    </a:lnTo>
                    <a:lnTo>
                      <a:pt x="293" y="19375"/>
                    </a:lnTo>
                    <a:lnTo>
                      <a:pt x="356" y="19501"/>
                    </a:lnTo>
                    <a:lnTo>
                      <a:pt x="398" y="19501"/>
                    </a:lnTo>
                    <a:lnTo>
                      <a:pt x="440" y="19585"/>
                    </a:lnTo>
                    <a:lnTo>
                      <a:pt x="356" y="19585"/>
                    </a:lnTo>
                    <a:lnTo>
                      <a:pt x="335" y="19689"/>
                    </a:lnTo>
                    <a:lnTo>
                      <a:pt x="252" y="19752"/>
                    </a:lnTo>
                    <a:lnTo>
                      <a:pt x="189" y="19857"/>
                    </a:lnTo>
                    <a:lnTo>
                      <a:pt x="42" y="19919"/>
                    </a:lnTo>
                    <a:lnTo>
                      <a:pt x="42" y="20003"/>
                    </a:lnTo>
                    <a:lnTo>
                      <a:pt x="189" y="20192"/>
                    </a:lnTo>
                    <a:lnTo>
                      <a:pt x="272" y="20192"/>
                    </a:lnTo>
                    <a:lnTo>
                      <a:pt x="335" y="20129"/>
                    </a:lnTo>
                    <a:lnTo>
                      <a:pt x="335" y="20066"/>
                    </a:lnTo>
                    <a:lnTo>
                      <a:pt x="231" y="20024"/>
                    </a:lnTo>
                    <a:lnTo>
                      <a:pt x="231" y="19982"/>
                    </a:lnTo>
                    <a:lnTo>
                      <a:pt x="272" y="19878"/>
                    </a:lnTo>
                    <a:lnTo>
                      <a:pt x="440" y="19878"/>
                    </a:lnTo>
                    <a:lnTo>
                      <a:pt x="461" y="19857"/>
                    </a:lnTo>
                    <a:lnTo>
                      <a:pt x="482" y="19982"/>
                    </a:lnTo>
                    <a:lnTo>
                      <a:pt x="586" y="20066"/>
                    </a:lnTo>
                    <a:lnTo>
                      <a:pt x="712" y="20066"/>
                    </a:lnTo>
                    <a:lnTo>
                      <a:pt x="754" y="20003"/>
                    </a:lnTo>
                    <a:lnTo>
                      <a:pt x="754" y="20003"/>
                    </a:lnTo>
                    <a:cubicBezTo>
                      <a:pt x="670" y="20317"/>
                      <a:pt x="649" y="20631"/>
                      <a:pt x="649" y="20924"/>
                    </a:cubicBezTo>
                    <a:lnTo>
                      <a:pt x="586" y="20966"/>
                    </a:lnTo>
                    <a:lnTo>
                      <a:pt x="649" y="21008"/>
                    </a:lnTo>
                    <a:lnTo>
                      <a:pt x="649" y="21154"/>
                    </a:lnTo>
                    <a:lnTo>
                      <a:pt x="565" y="21028"/>
                    </a:lnTo>
                    <a:lnTo>
                      <a:pt x="461" y="21008"/>
                    </a:lnTo>
                    <a:lnTo>
                      <a:pt x="440" y="21049"/>
                    </a:lnTo>
                    <a:lnTo>
                      <a:pt x="440" y="21133"/>
                    </a:lnTo>
                    <a:lnTo>
                      <a:pt x="461" y="21259"/>
                    </a:lnTo>
                    <a:lnTo>
                      <a:pt x="565" y="21280"/>
                    </a:lnTo>
                    <a:lnTo>
                      <a:pt x="649" y="21342"/>
                    </a:lnTo>
                    <a:lnTo>
                      <a:pt x="649" y="21384"/>
                    </a:lnTo>
                    <a:lnTo>
                      <a:pt x="691" y="21552"/>
                    </a:lnTo>
                    <a:lnTo>
                      <a:pt x="754" y="21572"/>
                    </a:lnTo>
                    <a:cubicBezTo>
                      <a:pt x="754" y="21635"/>
                      <a:pt x="775" y="21656"/>
                      <a:pt x="796" y="21698"/>
                    </a:cubicBezTo>
                    <a:lnTo>
                      <a:pt x="670" y="21656"/>
                    </a:lnTo>
                    <a:lnTo>
                      <a:pt x="649" y="21635"/>
                    </a:lnTo>
                    <a:lnTo>
                      <a:pt x="586" y="21677"/>
                    </a:lnTo>
                    <a:lnTo>
                      <a:pt x="649" y="21865"/>
                    </a:lnTo>
                    <a:lnTo>
                      <a:pt x="649" y="21949"/>
                    </a:lnTo>
                    <a:lnTo>
                      <a:pt x="691" y="21970"/>
                    </a:lnTo>
                    <a:lnTo>
                      <a:pt x="796" y="21803"/>
                    </a:lnTo>
                    <a:lnTo>
                      <a:pt x="858" y="21782"/>
                    </a:lnTo>
                    <a:cubicBezTo>
                      <a:pt x="879" y="21844"/>
                      <a:pt x="900" y="21886"/>
                      <a:pt x="921" y="21970"/>
                    </a:cubicBezTo>
                    <a:lnTo>
                      <a:pt x="921" y="22012"/>
                    </a:lnTo>
                    <a:lnTo>
                      <a:pt x="816" y="22054"/>
                    </a:lnTo>
                    <a:lnTo>
                      <a:pt x="921" y="22284"/>
                    </a:lnTo>
                    <a:lnTo>
                      <a:pt x="963" y="22409"/>
                    </a:lnTo>
                    <a:cubicBezTo>
                      <a:pt x="963" y="22493"/>
                      <a:pt x="984" y="22577"/>
                      <a:pt x="1005" y="22640"/>
                    </a:cubicBezTo>
                    <a:lnTo>
                      <a:pt x="984" y="22681"/>
                    </a:lnTo>
                    <a:lnTo>
                      <a:pt x="984" y="22744"/>
                    </a:lnTo>
                    <a:lnTo>
                      <a:pt x="921" y="22807"/>
                    </a:lnTo>
                    <a:lnTo>
                      <a:pt x="1005" y="22849"/>
                    </a:lnTo>
                    <a:lnTo>
                      <a:pt x="1026" y="22932"/>
                    </a:lnTo>
                    <a:lnTo>
                      <a:pt x="1068" y="22932"/>
                    </a:lnTo>
                    <a:cubicBezTo>
                      <a:pt x="1068" y="22953"/>
                      <a:pt x="1068" y="22995"/>
                      <a:pt x="1088" y="23016"/>
                    </a:cubicBezTo>
                    <a:cubicBezTo>
                      <a:pt x="1130" y="23163"/>
                      <a:pt x="1193" y="23330"/>
                      <a:pt x="1235" y="23456"/>
                    </a:cubicBezTo>
                    <a:lnTo>
                      <a:pt x="1277" y="23518"/>
                    </a:lnTo>
                    <a:cubicBezTo>
                      <a:pt x="1277" y="23539"/>
                      <a:pt x="1277" y="23539"/>
                      <a:pt x="1298" y="23560"/>
                    </a:cubicBezTo>
                    <a:lnTo>
                      <a:pt x="1235" y="23665"/>
                    </a:lnTo>
                    <a:lnTo>
                      <a:pt x="1193" y="23728"/>
                    </a:lnTo>
                    <a:lnTo>
                      <a:pt x="1235" y="23749"/>
                    </a:lnTo>
                    <a:lnTo>
                      <a:pt x="1381" y="23728"/>
                    </a:lnTo>
                    <a:lnTo>
                      <a:pt x="1444" y="23874"/>
                    </a:lnTo>
                    <a:lnTo>
                      <a:pt x="1423" y="23874"/>
                    </a:lnTo>
                    <a:lnTo>
                      <a:pt x="1444" y="23937"/>
                    </a:lnTo>
                    <a:lnTo>
                      <a:pt x="1486" y="23958"/>
                    </a:lnTo>
                    <a:lnTo>
                      <a:pt x="1423" y="24000"/>
                    </a:lnTo>
                    <a:lnTo>
                      <a:pt x="1402" y="24062"/>
                    </a:lnTo>
                    <a:lnTo>
                      <a:pt x="1423" y="24146"/>
                    </a:lnTo>
                    <a:lnTo>
                      <a:pt x="1486" y="24167"/>
                    </a:lnTo>
                    <a:lnTo>
                      <a:pt x="1549" y="24188"/>
                    </a:lnTo>
                    <a:lnTo>
                      <a:pt x="1507" y="24104"/>
                    </a:lnTo>
                    <a:lnTo>
                      <a:pt x="1549" y="24083"/>
                    </a:lnTo>
                    <a:cubicBezTo>
                      <a:pt x="1612" y="24167"/>
                      <a:pt x="1653" y="24272"/>
                      <a:pt x="1716" y="24355"/>
                    </a:cubicBezTo>
                    <a:lnTo>
                      <a:pt x="1716" y="24397"/>
                    </a:lnTo>
                    <a:lnTo>
                      <a:pt x="1653" y="24460"/>
                    </a:lnTo>
                    <a:lnTo>
                      <a:pt x="1695" y="24481"/>
                    </a:lnTo>
                    <a:lnTo>
                      <a:pt x="1737" y="24460"/>
                    </a:lnTo>
                    <a:lnTo>
                      <a:pt x="1758" y="24418"/>
                    </a:lnTo>
                    <a:cubicBezTo>
                      <a:pt x="1967" y="24753"/>
                      <a:pt x="2218" y="25004"/>
                      <a:pt x="2469" y="25234"/>
                    </a:cubicBezTo>
                    <a:lnTo>
                      <a:pt x="2449" y="25234"/>
                    </a:lnTo>
                    <a:lnTo>
                      <a:pt x="2365" y="25192"/>
                    </a:lnTo>
                    <a:lnTo>
                      <a:pt x="2260" y="25150"/>
                    </a:lnTo>
                    <a:lnTo>
                      <a:pt x="2156" y="25150"/>
                    </a:lnTo>
                    <a:lnTo>
                      <a:pt x="2072" y="25109"/>
                    </a:lnTo>
                    <a:lnTo>
                      <a:pt x="1946" y="24983"/>
                    </a:lnTo>
                    <a:lnTo>
                      <a:pt x="1863" y="24920"/>
                    </a:lnTo>
                    <a:lnTo>
                      <a:pt x="1842" y="24983"/>
                    </a:lnTo>
                    <a:lnTo>
                      <a:pt x="1863" y="25088"/>
                    </a:lnTo>
                    <a:lnTo>
                      <a:pt x="1946" y="25213"/>
                    </a:lnTo>
                    <a:lnTo>
                      <a:pt x="2072" y="25234"/>
                    </a:lnTo>
                    <a:lnTo>
                      <a:pt x="2239" y="25318"/>
                    </a:lnTo>
                    <a:lnTo>
                      <a:pt x="2281" y="25401"/>
                    </a:lnTo>
                    <a:lnTo>
                      <a:pt x="2365" y="25401"/>
                    </a:lnTo>
                    <a:lnTo>
                      <a:pt x="2428" y="25360"/>
                    </a:lnTo>
                    <a:lnTo>
                      <a:pt x="2574" y="25422"/>
                    </a:lnTo>
                    <a:lnTo>
                      <a:pt x="2679" y="25464"/>
                    </a:lnTo>
                    <a:lnTo>
                      <a:pt x="2783" y="25464"/>
                    </a:lnTo>
                    <a:cubicBezTo>
                      <a:pt x="2804" y="25464"/>
                      <a:pt x="2846" y="25506"/>
                      <a:pt x="2846" y="25527"/>
                    </a:cubicBezTo>
                    <a:lnTo>
                      <a:pt x="2804" y="25527"/>
                    </a:lnTo>
                    <a:lnTo>
                      <a:pt x="2700" y="25569"/>
                    </a:lnTo>
                    <a:lnTo>
                      <a:pt x="2658" y="25548"/>
                    </a:lnTo>
                    <a:lnTo>
                      <a:pt x="2595" y="25506"/>
                    </a:lnTo>
                    <a:lnTo>
                      <a:pt x="2532" y="25506"/>
                    </a:lnTo>
                    <a:lnTo>
                      <a:pt x="2490" y="25548"/>
                    </a:lnTo>
                    <a:lnTo>
                      <a:pt x="2490" y="25611"/>
                    </a:lnTo>
                    <a:lnTo>
                      <a:pt x="2595" y="25653"/>
                    </a:lnTo>
                    <a:lnTo>
                      <a:pt x="2658" y="25757"/>
                    </a:lnTo>
                    <a:lnTo>
                      <a:pt x="2762" y="25799"/>
                    </a:lnTo>
                    <a:lnTo>
                      <a:pt x="2867" y="25925"/>
                    </a:lnTo>
                    <a:lnTo>
                      <a:pt x="2951" y="25945"/>
                    </a:lnTo>
                    <a:lnTo>
                      <a:pt x="3076" y="25925"/>
                    </a:lnTo>
                    <a:lnTo>
                      <a:pt x="3118" y="25945"/>
                    </a:lnTo>
                    <a:lnTo>
                      <a:pt x="3118" y="26029"/>
                    </a:lnTo>
                    <a:lnTo>
                      <a:pt x="3202" y="26092"/>
                    </a:lnTo>
                    <a:lnTo>
                      <a:pt x="3285" y="26071"/>
                    </a:lnTo>
                    <a:lnTo>
                      <a:pt x="3265" y="26029"/>
                    </a:lnTo>
                    <a:lnTo>
                      <a:pt x="3327" y="25945"/>
                    </a:lnTo>
                    <a:lnTo>
                      <a:pt x="3327" y="25883"/>
                    </a:lnTo>
                    <a:lnTo>
                      <a:pt x="3285" y="25862"/>
                    </a:lnTo>
                    <a:lnTo>
                      <a:pt x="3327" y="25841"/>
                    </a:lnTo>
                    <a:lnTo>
                      <a:pt x="3411" y="25841"/>
                    </a:lnTo>
                    <a:lnTo>
                      <a:pt x="3369" y="25757"/>
                    </a:lnTo>
                    <a:lnTo>
                      <a:pt x="3285" y="25736"/>
                    </a:lnTo>
                    <a:lnTo>
                      <a:pt x="3160" y="25757"/>
                    </a:lnTo>
                    <a:lnTo>
                      <a:pt x="3118" y="25715"/>
                    </a:lnTo>
                    <a:lnTo>
                      <a:pt x="3118" y="25715"/>
                    </a:lnTo>
                    <a:cubicBezTo>
                      <a:pt x="3141" y="25721"/>
                      <a:pt x="3164" y="25724"/>
                      <a:pt x="3189" y="25724"/>
                    </a:cubicBezTo>
                    <a:cubicBezTo>
                      <a:pt x="3256" y="25724"/>
                      <a:pt x="3329" y="25704"/>
                      <a:pt x="3390" y="25673"/>
                    </a:cubicBezTo>
                    <a:lnTo>
                      <a:pt x="3411" y="25715"/>
                    </a:lnTo>
                    <a:lnTo>
                      <a:pt x="3578" y="25736"/>
                    </a:lnTo>
                    <a:lnTo>
                      <a:pt x="3683" y="25778"/>
                    </a:lnTo>
                    <a:lnTo>
                      <a:pt x="3746" y="25778"/>
                    </a:lnTo>
                    <a:lnTo>
                      <a:pt x="3829" y="25841"/>
                    </a:lnTo>
                    <a:lnTo>
                      <a:pt x="3892" y="25778"/>
                    </a:lnTo>
                    <a:lnTo>
                      <a:pt x="3955" y="25653"/>
                    </a:lnTo>
                    <a:lnTo>
                      <a:pt x="3913" y="25464"/>
                    </a:lnTo>
                    <a:lnTo>
                      <a:pt x="3934" y="25401"/>
                    </a:lnTo>
                    <a:lnTo>
                      <a:pt x="3934" y="25318"/>
                    </a:lnTo>
                    <a:lnTo>
                      <a:pt x="3955" y="25150"/>
                    </a:lnTo>
                    <a:lnTo>
                      <a:pt x="3955" y="25109"/>
                    </a:lnTo>
                    <a:cubicBezTo>
                      <a:pt x="4018" y="25213"/>
                      <a:pt x="4060" y="25318"/>
                      <a:pt x="4143" y="25422"/>
                    </a:cubicBezTo>
                    <a:lnTo>
                      <a:pt x="4122" y="25527"/>
                    </a:lnTo>
                    <a:lnTo>
                      <a:pt x="4060" y="25632"/>
                    </a:lnTo>
                    <a:lnTo>
                      <a:pt x="4122" y="25736"/>
                    </a:lnTo>
                    <a:lnTo>
                      <a:pt x="4060" y="25820"/>
                    </a:lnTo>
                    <a:lnTo>
                      <a:pt x="4060" y="25883"/>
                    </a:lnTo>
                    <a:lnTo>
                      <a:pt x="4164" y="25945"/>
                    </a:lnTo>
                    <a:lnTo>
                      <a:pt x="4269" y="25966"/>
                    </a:lnTo>
                    <a:lnTo>
                      <a:pt x="4332" y="25987"/>
                    </a:lnTo>
                    <a:lnTo>
                      <a:pt x="4373" y="25945"/>
                    </a:lnTo>
                    <a:lnTo>
                      <a:pt x="4248" y="25841"/>
                    </a:lnTo>
                    <a:lnTo>
                      <a:pt x="4332" y="25757"/>
                    </a:lnTo>
                    <a:lnTo>
                      <a:pt x="4562" y="26155"/>
                    </a:lnTo>
                    <a:lnTo>
                      <a:pt x="4562" y="26155"/>
                    </a:lnTo>
                    <a:lnTo>
                      <a:pt x="4520" y="26134"/>
                    </a:lnTo>
                    <a:lnTo>
                      <a:pt x="4332" y="26050"/>
                    </a:lnTo>
                    <a:lnTo>
                      <a:pt x="4227" y="25987"/>
                    </a:lnTo>
                    <a:lnTo>
                      <a:pt x="4206" y="26029"/>
                    </a:lnTo>
                    <a:lnTo>
                      <a:pt x="4248" y="26071"/>
                    </a:lnTo>
                    <a:lnTo>
                      <a:pt x="4520" y="26197"/>
                    </a:lnTo>
                    <a:lnTo>
                      <a:pt x="4541" y="26259"/>
                    </a:lnTo>
                    <a:lnTo>
                      <a:pt x="4436" y="26259"/>
                    </a:lnTo>
                    <a:lnTo>
                      <a:pt x="4436" y="26322"/>
                    </a:lnTo>
                    <a:lnTo>
                      <a:pt x="4373" y="26322"/>
                    </a:lnTo>
                    <a:lnTo>
                      <a:pt x="4353" y="26238"/>
                    </a:lnTo>
                    <a:lnTo>
                      <a:pt x="4227" y="26155"/>
                    </a:lnTo>
                    <a:lnTo>
                      <a:pt x="4206" y="26176"/>
                    </a:lnTo>
                    <a:lnTo>
                      <a:pt x="4206" y="26259"/>
                    </a:lnTo>
                    <a:lnTo>
                      <a:pt x="4122" y="26259"/>
                    </a:lnTo>
                    <a:lnTo>
                      <a:pt x="3934" y="26280"/>
                    </a:lnTo>
                    <a:lnTo>
                      <a:pt x="3892" y="26322"/>
                    </a:lnTo>
                    <a:lnTo>
                      <a:pt x="3934" y="26364"/>
                    </a:lnTo>
                    <a:lnTo>
                      <a:pt x="3913" y="26385"/>
                    </a:lnTo>
                    <a:lnTo>
                      <a:pt x="3809" y="26364"/>
                    </a:lnTo>
                    <a:lnTo>
                      <a:pt x="3704" y="26385"/>
                    </a:lnTo>
                    <a:lnTo>
                      <a:pt x="3725" y="26448"/>
                    </a:lnTo>
                    <a:lnTo>
                      <a:pt x="3850" y="26469"/>
                    </a:lnTo>
                    <a:lnTo>
                      <a:pt x="3955" y="26469"/>
                    </a:lnTo>
                    <a:lnTo>
                      <a:pt x="3997" y="26427"/>
                    </a:lnTo>
                    <a:lnTo>
                      <a:pt x="4018" y="26385"/>
                    </a:lnTo>
                    <a:lnTo>
                      <a:pt x="4101" y="26427"/>
                    </a:lnTo>
                    <a:lnTo>
                      <a:pt x="4206" y="26490"/>
                    </a:lnTo>
                    <a:lnTo>
                      <a:pt x="4248" y="26469"/>
                    </a:lnTo>
                    <a:lnTo>
                      <a:pt x="4269" y="26531"/>
                    </a:lnTo>
                    <a:lnTo>
                      <a:pt x="4269" y="26573"/>
                    </a:lnTo>
                    <a:lnTo>
                      <a:pt x="4353" y="26636"/>
                    </a:lnTo>
                    <a:lnTo>
                      <a:pt x="4269" y="26678"/>
                    </a:lnTo>
                    <a:lnTo>
                      <a:pt x="4227" y="26782"/>
                    </a:lnTo>
                    <a:lnTo>
                      <a:pt x="4269" y="26866"/>
                    </a:lnTo>
                    <a:lnTo>
                      <a:pt x="4353" y="26866"/>
                    </a:lnTo>
                    <a:lnTo>
                      <a:pt x="4436" y="26887"/>
                    </a:lnTo>
                    <a:lnTo>
                      <a:pt x="4541" y="26992"/>
                    </a:lnTo>
                    <a:lnTo>
                      <a:pt x="4625" y="26992"/>
                    </a:lnTo>
                    <a:lnTo>
                      <a:pt x="4646" y="26971"/>
                    </a:lnTo>
                    <a:lnTo>
                      <a:pt x="4562" y="26908"/>
                    </a:lnTo>
                    <a:lnTo>
                      <a:pt x="4457" y="26845"/>
                    </a:lnTo>
                    <a:lnTo>
                      <a:pt x="4436" y="26782"/>
                    </a:lnTo>
                    <a:lnTo>
                      <a:pt x="4457" y="26782"/>
                    </a:lnTo>
                    <a:lnTo>
                      <a:pt x="4541" y="26803"/>
                    </a:lnTo>
                    <a:lnTo>
                      <a:pt x="4625" y="26762"/>
                    </a:lnTo>
                    <a:lnTo>
                      <a:pt x="4646" y="26699"/>
                    </a:lnTo>
                    <a:lnTo>
                      <a:pt x="4562" y="26678"/>
                    </a:lnTo>
                    <a:lnTo>
                      <a:pt x="4520" y="26636"/>
                    </a:lnTo>
                    <a:lnTo>
                      <a:pt x="4750" y="26531"/>
                    </a:lnTo>
                    <a:lnTo>
                      <a:pt x="4855" y="26469"/>
                    </a:lnTo>
                    <a:lnTo>
                      <a:pt x="4938" y="26490"/>
                    </a:lnTo>
                    <a:cubicBezTo>
                      <a:pt x="4959" y="26531"/>
                      <a:pt x="4959" y="26552"/>
                      <a:pt x="4980" y="26552"/>
                    </a:cubicBezTo>
                    <a:lnTo>
                      <a:pt x="5001" y="26552"/>
                    </a:lnTo>
                    <a:lnTo>
                      <a:pt x="5001" y="26531"/>
                    </a:lnTo>
                    <a:lnTo>
                      <a:pt x="5294" y="26594"/>
                    </a:lnTo>
                    <a:lnTo>
                      <a:pt x="5357" y="26573"/>
                    </a:lnTo>
                    <a:lnTo>
                      <a:pt x="5357" y="26510"/>
                    </a:lnTo>
                    <a:lnTo>
                      <a:pt x="5482" y="26510"/>
                    </a:lnTo>
                    <a:lnTo>
                      <a:pt x="5420" y="26322"/>
                    </a:lnTo>
                    <a:lnTo>
                      <a:pt x="5357" y="26322"/>
                    </a:lnTo>
                    <a:lnTo>
                      <a:pt x="5252" y="26238"/>
                    </a:lnTo>
                    <a:lnTo>
                      <a:pt x="5106" y="26176"/>
                    </a:lnTo>
                    <a:lnTo>
                      <a:pt x="5106" y="26113"/>
                    </a:lnTo>
                    <a:lnTo>
                      <a:pt x="5273" y="26218"/>
                    </a:lnTo>
                    <a:lnTo>
                      <a:pt x="5399" y="26238"/>
                    </a:lnTo>
                    <a:lnTo>
                      <a:pt x="5148" y="25171"/>
                    </a:lnTo>
                    <a:lnTo>
                      <a:pt x="5106" y="25171"/>
                    </a:lnTo>
                    <a:lnTo>
                      <a:pt x="5106" y="25129"/>
                    </a:lnTo>
                    <a:lnTo>
                      <a:pt x="4959" y="24481"/>
                    </a:lnTo>
                    <a:lnTo>
                      <a:pt x="4792" y="24544"/>
                    </a:lnTo>
                    <a:lnTo>
                      <a:pt x="4750" y="24585"/>
                    </a:lnTo>
                    <a:lnTo>
                      <a:pt x="4666" y="24502"/>
                    </a:lnTo>
                    <a:lnTo>
                      <a:pt x="4583" y="24481"/>
                    </a:lnTo>
                    <a:lnTo>
                      <a:pt x="4562" y="24544"/>
                    </a:lnTo>
                    <a:cubicBezTo>
                      <a:pt x="4562" y="24502"/>
                      <a:pt x="4541" y="24502"/>
                      <a:pt x="4541" y="24481"/>
                    </a:cubicBezTo>
                    <a:lnTo>
                      <a:pt x="4541" y="24334"/>
                    </a:lnTo>
                    <a:lnTo>
                      <a:pt x="4625" y="24272"/>
                    </a:lnTo>
                    <a:lnTo>
                      <a:pt x="4750" y="24251"/>
                    </a:lnTo>
                    <a:lnTo>
                      <a:pt x="4897" y="24334"/>
                    </a:lnTo>
                    <a:lnTo>
                      <a:pt x="4980" y="24272"/>
                    </a:lnTo>
                    <a:lnTo>
                      <a:pt x="5001" y="24272"/>
                    </a:lnTo>
                    <a:lnTo>
                      <a:pt x="4855" y="24146"/>
                    </a:lnTo>
                    <a:lnTo>
                      <a:pt x="4520" y="23937"/>
                    </a:lnTo>
                    <a:lnTo>
                      <a:pt x="4457" y="23874"/>
                    </a:lnTo>
                    <a:lnTo>
                      <a:pt x="3725" y="23874"/>
                    </a:lnTo>
                    <a:lnTo>
                      <a:pt x="3306" y="23958"/>
                    </a:lnTo>
                    <a:lnTo>
                      <a:pt x="3202" y="23895"/>
                    </a:lnTo>
                    <a:lnTo>
                      <a:pt x="2930" y="23874"/>
                    </a:lnTo>
                    <a:lnTo>
                      <a:pt x="2846" y="23644"/>
                    </a:lnTo>
                    <a:lnTo>
                      <a:pt x="2783" y="23435"/>
                    </a:lnTo>
                    <a:lnTo>
                      <a:pt x="2658" y="23330"/>
                    </a:lnTo>
                    <a:lnTo>
                      <a:pt x="2637" y="22995"/>
                    </a:lnTo>
                    <a:lnTo>
                      <a:pt x="2637" y="22828"/>
                    </a:lnTo>
                    <a:lnTo>
                      <a:pt x="2511" y="22828"/>
                    </a:lnTo>
                    <a:lnTo>
                      <a:pt x="2323" y="22912"/>
                    </a:lnTo>
                    <a:lnTo>
                      <a:pt x="2218" y="23016"/>
                    </a:lnTo>
                    <a:lnTo>
                      <a:pt x="2093" y="23016"/>
                    </a:lnTo>
                    <a:lnTo>
                      <a:pt x="1842" y="22577"/>
                    </a:lnTo>
                    <a:cubicBezTo>
                      <a:pt x="1821" y="22493"/>
                      <a:pt x="1800" y="22409"/>
                      <a:pt x="1800" y="22326"/>
                    </a:cubicBezTo>
                    <a:lnTo>
                      <a:pt x="1884" y="21844"/>
                    </a:lnTo>
                    <a:lnTo>
                      <a:pt x="2009" y="21656"/>
                    </a:lnTo>
                    <a:lnTo>
                      <a:pt x="2218" y="21447"/>
                    </a:lnTo>
                    <a:lnTo>
                      <a:pt x="2260" y="21154"/>
                    </a:lnTo>
                    <a:lnTo>
                      <a:pt x="2218" y="20840"/>
                    </a:lnTo>
                    <a:lnTo>
                      <a:pt x="2135" y="20610"/>
                    </a:lnTo>
                    <a:lnTo>
                      <a:pt x="2197" y="20338"/>
                    </a:lnTo>
                    <a:lnTo>
                      <a:pt x="2302" y="20212"/>
                    </a:lnTo>
                    <a:lnTo>
                      <a:pt x="2197" y="19961"/>
                    </a:lnTo>
                    <a:lnTo>
                      <a:pt x="2218" y="19815"/>
                    </a:lnTo>
                    <a:lnTo>
                      <a:pt x="2323" y="19710"/>
                    </a:lnTo>
                    <a:lnTo>
                      <a:pt x="2239" y="19480"/>
                    </a:lnTo>
                    <a:lnTo>
                      <a:pt x="2197" y="19166"/>
                    </a:lnTo>
                    <a:lnTo>
                      <a:pt x="2114" y="19020"/>
                    </a:lnTo>
                    <a:lnTo>
                      <a:pt x="2114" y="18915"/>
                    </a:lnTo>
                    <a:lnTo>
                      <a:pt x="2260" y="18769"/>
                    </a:lnTo>
                    <a:lnTo>
                      <a:pt x="2260" y="18643"/>
                    </a:lnTo>
                    <a:lnTo>
                      <a:pt x="2135" y="18434"/>
                    </a:lnTo>
                    <a:lnTo>
                      <a:pt x="1946" y="18308"/>
                    </a:lnTo>
                    <a:lnTo>
                      <a:pt x="1821" y="18308"/>
                    </a:lnTo>
                    <a:lnTo>
                      <a:pt x="1800" y="18329"/>
                    </a:lnTo>
                    <a:lnTo>
                      <a:pt x="1716" y="18246"/>
                    </a:lnTo>
                    <a:lnTo>
                      <a:pt x="1779" y="18141"/>
                    </a:lnTo>
                    <a:lnTo>
                      <a:pt x="2030" y="18141"/>
                    </a:lnTo>
                    <a:lnTo>
                      <a:pt x="2156" y="17995"/>
                    </a:lnTo>
                    <a:lnTo>
                      <a:pt x="2156" y="17869"/>
                    </a:lnTo>
                    <a:lnTo>
                      <a:pt x="2093" y="17827"/>
                    </a:lnTo>
                    <a:lnTo>
                      <a:pt x="2009" y="17890"/>
                    </a:lnTo>
                    <a:lnTo>
                      <a:pt x="1905" y="17869"/>
                    </a:lnTo>
                    <a:lnTo>
                      <a:pt x="1842" y="17597"/>
                    </a:lnTo>
                    <a:lnTo>
                      <a:pt x="1737" y="17367"/>
                    </a:lnTo>
                    <a:lnTo>
                      <a:pt x="1737" y="17199"/>
                    </a:lnTo>
                    <a:lnTo>
                      <a:pt x="1737" y="17032"/>
                    </a:lnTo>
                    <a:lnTo>
                      <a:pt x="1570" y="16969"/>
                    </a:lnTo>
                    <a:lnTo>
                      <a:pt x="1570" y="16948"/>
                    </a:lnTo>
                    <a:cubicBezTo>
                      <a:pt x="1528" y="16865"/>
                      <a:pt x="1528" y="16760"/>
                      <a:pt x="1507" y="16676"/>
                    </a:cubicBezTo>
                    <a:lnTo>
                      <a:pt x="1486" y="16362"/>
                    </a:lnTo>
                    <a:lnTo>
                      <a:pt x="1612" y="16300"/>
                    </a:lnTo>
                    <a:lnTo>
                      <a:pt x="1633" y="16132"/>
                    </a:lnTo>
                    <a:lnTo>
                      <a:pt x="1591" y="16028"/>
                    </a:lnTo>
                    <a:lnTo>
                      <a:pt x="1486" y="15986"/>
                    </a:lnTo>
                    <a:lnTo>
                      <a:pt x="1423" y="15714"/>
                    </a:lnTo>
                    <a:lnTo>
                      <a:pt x="1402" y="15358"/>
                    </a:lnTo>
                    <a:lnTo>
                      <a:pt x="1423" y="14940"/>
                    </a:lnTo>
                    <a:lnTo>
                      <a:pt x="1319" y="14751"/>
                    </a:lnTo>
                    <a:lnTo>
                      <a:pt x="1298" y="14542"/>
                    </a:lnTo>
                    <a:lnTo>
                      <a:pt x="1507" y="14249"/>
                    </a:lnTo>
                    <a:lnTo>
                      <a:pt x="1528" y="13935"/>
                    </a:lnTo>
                    <a:lnTo>
                      <a:pt x="1695" y="13852"/>
                    </a:lnTo>
                    <a:lnTo>
                      <a:pt x="1779" y="13747"/>
                    </a:lnTo>
                    <a:lnTo>
                      <a:pt x="1423" y="13077"/>
                    </a:lnTo>
                    <a:lnTo>
                      <a:pt x="1486" y="12847"/>
                    </a:lnTo>
                    <a:lnTo>
                      <a:pt x="1486" y="12680"/>
                    </a:lnTo>
                    <a:lnTo>
                      <a:pt x="1486" y="12282"/>
                    </a:lnTo>
                    <a:lnTo>
                      <a:pt x="1612" y="12052"/>
                    </a:lnTo>
                    <a:lnTo>
                      <a:pt x="1737" y="11927"/>
                    </a:lnTo>
                    <a:lnTo>
                      <a:pt x="1716" y="11717"/>
                    </a:lnTo>
                    <a:lnTo>
                      <a:pt x="1612" y="11529"/>
                    </a:lnTo>
                    <a:lnTo>
                      <a:pt x="1528" y="11445"/>
                    </a:lnTo>
                    <a:lnTo>
                      <a:pt x="1674" y="11278"/>
                    </a:lnTo>
                    <a:lnTo>
                      <a:pt x="1633" y="11027"/>
                    </a:lnTo>
                    <a:lnTo>
                      <a:pt x="1737" y="10797"/>
                    </a:lnTo>
                    <a:lnTo>
                      <a:pt x="1842" y="10776"/>
                    </a:lnTo>
                    <a:lnTo>
                      <a:pt x="1884" y="10504"/>
                    </a:lnTo>
                    <a:lnTo>
                      <a:pt x="1821" y="10064"/>
                    </a:lnTo>
                    <a:lnTo>
                      <a:pt x="1737" y="9981"/>
                    </a:lnTo>
                    <a:lnTo>
                      <a:pt x="1674" y="9646"/>
                    </a:lnTo>
                    <a:lnTo>
                      <a:pt x="1591" y="9458"/>
                    </a:lnTo>
                    <a:lnTo>
                      <a:pt x="1444" y="9248"/>
                    </a:lnTo>
                    <a:lnTo>
                      <a:pt x="1423" y="9144"/>
                    </a:lnTo>
                    <a:lnTo>
                      <a:pt x="1319" y="9018"/>
                    </a:lnTo>
                    <a:lnTo>
                      <a:pt x="1277" y="8725"/>
                    </a:lnTo>
                    <a:lnTo>
                      <a:pt x="1298" y="8516"/>
                    </a:lnTo>
                    <a:lnTo>
                      <a:pt x="1444" y="8453"/>
                    </a:lnTo>
                    <a:lnTo>
                      <a:pt x="1444" y="8160"/>
                    </a:lnTo>
                    <a:lnTo>
                      <a:pt x="1528" y="8056"/>
                    </a:lnTo>
                    <a:lnTo>
                      <a:pt x="1528" y="7784"/>
                    </a:lnTo>
                    <a:lnTo>
                      <a:pt x="1423" y="7616"/>
                    </a:lnTo>
                    <a:lnTo>
                      <a:pt x="1402" y="7240"/>
                    </a:lnTo>
                    <a:lnTo>
                      <a:pt x="1486" y="7156"/>
                    </a:lnTo>
                    <a:lnTo>
                      <a:pt x="1528" y="6738"/>
                    </a:lnTo>
                    <a:lnTo>
                      <a:pt x="1633" y="6591"/>
                    </a:lnTo>
                    <a:lnTo>
                      <a:pt x="1800" y="6194"/>
                    </a:lnTo>
                    <a:lnTo>
                      <a:pt x="1946" y="6047"/>
                    </a:lnTo>
                    <a:lnTo>
                      <a:pt x="2051" y="5984"/>
                    </a:lnTo>
                    <a:lnTo>
                      <a:pt x="2135" y="5880"/>
                    </a:lnTo>
                    <a:lnTo>
                      <a:pt x="2093" y="5838"/>
                    </a:lnTo>
                    <a:lnTo>
                      <a:pt x="2093" y="5671"/>
                    </a:lnTo>
                    <a:lnTo>
                      <a:pt x="2030" y="5587"/>
                    </a:lnTo>
                    <a:lnTo>
                      <a:pt x="1946" y="5545"/>
                    </a:lnTo>
                    <a:lnTo>
                      <a:pt x="1988" y="5440"/>
                    </a:lnTo>
                    <a:lnTo>
                      <a:pt x="2093" y="5357"/>
                    </a:lnTo>
                    <a:lnTo>
                      <a:pt x="2093" y="5210"/>
                    </a:lnTo>
                    <a:lnTo>
                      <a:pt x="1946" y="5043"/>
                    </a:lnTo>
                    <a:lnTo>
                      <a:pt x="1925" y="4854"/>
                    </a:lnTo>
                    <a:lnTo>
                      <a:pt x="2009" y="4729"/>
                    </a:lnTo>
                    <a:lnTo>
                      <a:pt x="1988" y="4624"/>
                    </a:lnTo>
                    <a:lnTo>
                      <a:pt x="1842" y="4520"/>
                    </a:lnTo>
                    <a:lnTo>
                      <a:pt x="1905" y="4373"/>
                    </a:lnTo>
                    <a:lnTo>
                      <a:pt x="2574" y="3997"/>
                    </a:lnTo>
                    <a:lnTo>
                      <a:pt x="2741" y="3348"/>
                    </a:lnTo>
                    <a:lnTo>
                      <a:pt x="2658" y="3181"/>
                    </a:lnTo>
                    <a:lnTo>
                      <a:pt x="2553" y="3222"/>
                    </a:lnTo>
                    <a:lnTo>
                      <a:pt x="2511" y="3285"/>
                    </a:lnTo>
                    <a:lnTo>
                      <a:pt x="2344" y="3285"/>
                    </a:lnTo>
                    <a:lnTo>
                      <a:pt x="1925" y="2134"/>
                    </a:lnTo>
                    <a:lnTo>
                      <a:pt x="1633" y="1883"/>
                    </a:lnTo>
                    <a:lnTo>
                      <a:pt x="1570" y="1779"/>
                    </a:lnTo>
                    <a:lnTo>
                      <a:pt x="1695" y="1465"/>
                    </a:lnTo>
                    <a:lnTo>
                      <a:pt x="1633" y="1360"/>
                    </a:lnTo>
                    <a:lnTo>
                      <a:pt x="1716" y="1193"/>
                    </a:lnTo>
                    <a:lnTo>
                      <a:pt x="1695" y="1130"/>
                    </a:lnTo>
                    <a:lnTo>
                      <a:pt x="1423" y="921"/>
                    </a:lnTo>
                    <a:lnTo>
                      <a:pt x="1360" y="774"/>
                    </a:lnTo>
                    <a:lnTo>
                      <a:pt x="1319" y="607"/>
                    </a:lnTo>
                    <a:lnTo>
                      <a:pt x="1298" y="544"/>
                    </a:lnTo>
                    <a:lnTo>
                      <a:pt x="1319" y="440"/>
                    </a:lnTo>
                    <a:lnTo>
                      <a:pt x="1298" y="335"/>
                    </a:lnTo>
                    <a:lnTo>
                      <a:pt x="1256" y="293"/>
                    </a:lnTo>
                    <a:lnTo>
                      <a:pt x="1151" y="189"/>
                    </a:lnTo>
                    <a:lnTo>
                      <a:pt x="1151" y="21"/>
                    </a:lnTo>
                    <a:lnTo>
                      <a:pt x="1109" y="21"/>
                    </a:lnTo>
                    <a:lnTo>
                      <a:pt x="104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1950" name="Google Shape;1950;p66"/>
            <p:cNvGrpSpPr/>
            <p:nvPr/>
          </p:nvGrpSpPr>
          <p:grpSpPr>
            <a:xfrm>
              <a:off x="3855466" y="3289811"/>
              <a:ext cx="112514" cy="94210"/>
              <a:chOff x="3918000" y="3561900"/>
              <a:chExt cx="236225" cy="207100"/>
            </a:xfrm>
          </p:grpSpPr>
          <p:sp>
            <p:nvSpPr>
              <p:cNvPr id="1951" name="Google Shape;1951;p66"/>
              <p:cNvSpPr/>
              <p:nvPr/>
            </p:nvSpPr>
            <p:spPr>
              <a:xfrm>
                <a:off x="3925800" y="3561900"/>
                <a:ext cx="228425" cy="170000"/>
              </a:xfrm>
              <a:custGeom>
                <a:avLst/>
                <a:gdLst/>
                <a:ahLst/>
                <a:cxnLst/>
                <a:rect l="l" t="t" r="r" b="b"/>
                <a:pathLst>
                  <a:path w="9137" h="6800" extrusionOk="0">
                    <a:moveTo>
                      <a:pt x="0" y="4356"/>
                    </a:moveTo>
                    <a:lnTo>
                      <a:pt x="1381" y="1594"/>
                    </a:lnTo>
                    <a:lnTo>
                      <a:pt x="7012" y="0"/>
                    </a:lnTo>
                    <a:lnTo>
                      <a:pt x="9137" y="532"/>
                    </a:lnTo>
                    <a:lnTo>
                      <a:pt x="8500" y="2444"/>
                    </a:lnTo>
                    <a:lnTo>
                      <a:pt x="6906" y="5206"/>
                    </a:lnTo>
                    <a:lnTo>
                      <a:pt x="3719" y="6800"/>
                    </a:lnTo>
                    <a:close/>
                  </a:path>
                </a:pathLst>
              </a:custGeom>
              <a:solidFill>
                <a:srgbClr val="5F7D95"/>
              </a:solidFill>
              <a:ln>
                <a:noFill/>
              </a:ln>
            </p:spPr>
          </p:sp>
          <p:sp>
            <p:nvSpPr>
              <p:cNvPr id="1952" name="Google Shape;1952;p66"/>
              <p:cNvSpPr/>
              <p:nvPr/>
            </p:nvSpPr>
            <p:spPr>
              <a:xfrm>
                <a:off x="3918000" y="3569675"/>
                <a:ext cx="229150" cy="199325"/>
              </a:xfrm>
              <a:custGeom>
                <a:avLst/>
                <a:gdLst/>
                <a:ahLst/>
                <a:cxnLst/>
                <a:rect l="l" t="t" r="r" b="b"/>
                <a:pathLst>
                  <a:path w="9166" h="7973" extrusionOk="0">
                    <a:moveTo>
                      <a:pt x="6696" y="3976"/>
                    </a:moveTo>
                    <a:lnTo>
                      <a:pt x="6738" y="4018"/>
                    </a:lnTo>
                    <a:lnTo>
                      <a:pt x="6780" y="3997"/>
                    </a:lnTo>
                    <a:lnTo>
                      <a:pt x="6843" y="4039"/>
                    </a:lnTo>
                    <a:lnTo>
                      <a:pt x="6926" y="4018"/>
                    </a:lnTo>
                    <a:lnTo>
                      <a:pt x="7052" y="4122"/>
                    </a:lnTo>
                    <a:lnTo>
                      <a:pt x="7136" y="4353"/>
                    </a:lnTo>
                    <a:lnTo>
                      <a:pt x="7136" y="4499"/>
                    </a:lnTo>
                    <a:lnTo>
                      <a:pt x="7094" y="4583"/>
                    </a:lnTo>
                    <a:lnTo>
                      <a:pt x="6989" y="4625"/>
                    </a:lnTo>
                    <a:lnTo>
                      <a:pt x="6989" y="4708"/>
                    </a:lnTo>
                    <a:lnTo>
                      <a:pt x="7031" y="4750"/>
                    </a:lnTo>
                    <a:lnTo>
                      <a:pt x="7031" y="4834"/>
                    </a:lnTo>
                    <a:lnTo>
                      <a:pt x="6926" y="4918"/>
                    </a:lnTo>
                    <a:lnTo>
                      <a:pt x="6843" y="4876"/>
                    </a:lnTo>
                    <a:lnTo>
                      <a:pt x="6738" y="4918"/>
                    </a:lnTo>
                    <a:lnTo>
                      <a:pt x="6675" y="4959"/>
                    </a:lnTo>
                    <a:lnTo>
                      <a:pt x="6571" y="5001"/>
                    </a:lnTo>
                    <a:lnTo>
                      <a:pt x="6508" y="5127"/>
                    </a:lnTo>
                    <a:lnTo>
                      <a:pt x="6466" y="5169"/>
                    </a:lnTo>
                    <a:lnTo>
                      <a:pt x="6424" y="5231"/>
                    </a:lnTo>
                    <a:lnTo>
                      <a:pt x="6320" y="5231"/>
                    </a:lnTo>
                    <a:lnTo>
                      <a:pt x="6194" y="5169"/>
                    </a:lnTo>
                    <a:lnTo>
                      <a:pt x="6152" y="5106"/>
                    </a:lnTo>
                    <a:lnTo>
                      <a:pt x="6069" y="5022"/>
                    </a:lnTo>
                    <a:lnTo>
                      <a:pt x="6069" y="4918"/>
                    </a:lnTo>
                    <a:lnTo>
                      <a:pt x="5985" y="4834"/>
                    </a:lnTo>
                    <a:lnTo>
                      <a:pt x="5964" y="4771"/>
                    </a:lnTo>
                    <a:lnTo>
                      <a:pt x="5880" y="4708"/>
                    </a:lnTo>
                    <a:lnTo>
                      <a:pt x="5838" y="4604"/>
                    </a:lnTo>
                    <a:lnTo>
                      <a:pt x="5901" y="4541"/>
                    </a:lnTo>
                    <a:lnTo>
                      <a:pt x="6069" y="4415"/>
                    </a:lnTo>
                    <a:lnTo>
                      <a:pt x="6110" y="4248"/>
                    </a:lnTo>
                    <a:lnTo>
                      <a:pt x="6257" y="4164"/>
                    </a:lnTo>
                    <a:lnTo>
                      <a:pt x="6466" y="4122"/>
                    </a:lnTo>
                    <a:lnTo>
                      <a:pt x="6508" y="4081"/>
                    </a:lnTo>
                    <a:lnTo>
                      <a:pt x="6592" y="4018"/>
                    </a:lnTo>
                    <a:lnTo>
                      <a:pt x="6613" y="3976"/>
                    </a:lnTo>
                    <a:close/>
                    <a:moveTo>
                      <a:pt x="7659" y="1"/>
                    </a:moveTo>
                    <a:lnTo>
                      <a:pt x="7470" y="21"/>
                    </a:lnTo>
                    <a:lnTo>
                      <a:pt x="7387" y="21"/>
                    </a:lnTo>
                    <a:lnTo>
                      <a:pt x="7345" y="63"/>
                    </a:lnTo>
                    <a:lnTo>
                      <a:pt x="7240" y="63"/>
                    </a:lnTo>
                    <a:lnTo>
                      <a:pt x="7178" y="126"/>
                    </a:lnTo>
                    <a:lnTo>
                      <a:pt x="7178" y="168"/>
                    </a:lnTo>
                    <a:lnTo>
                      <a:pt x="7157" y="252"/>
                    </a:lnTo>
                    <a:lnTo>
                      <a:pt x="7073" y="273"/>
                    </a:lnTo>
                    <a:lnTo>
                      <a:pt x="7010" y="356"/>
                    </a:lnTo>
                    <a:lnTo>
                      <a:pt x="6843" y="356"/>
                    </a:lnTo>
                    <a:lnTo>
                      <a:pt x="6822" y="335"/>
                    </a:lnTo>
                    <a:lnTo>
                      <a:pt x="6717" y="356"/>
                    </a:lnTo>
                    <a:lnTo>
                      <a:pt x="6592" y="461"/>
                    </a:lnTo>
                    <a:lnTo>
                      <a:pt x="6529" y="524"/>
                    </a:lnTo>
                    <a:lnTo>
                      <a:pt x="6445" y="565"/>
                    </a:lnTo>
                    <a:lnTo>
                      <a:pt x="6424" y="628"/>
                    </a:lnTo>
                    <a:lnTo>
                      <a:pt x="6341" y="649"/>
                    </a:lnTo>
                    <a:lnTo>
                      <a:pt x="6299" y="691"/>
                    </a:lnTo>
                    <a:lnTo>
                      <a:pt x="6236" y="733"/>
                    </a:lnTo>
                    <a:lnTo>
                      <a:pt x="6173" y="754"/>
                    </a:lnTo>
                    <a:lnTo>
                      <a:pt x="6006" y="963"/>
                    </a:lnTo>
                    <a:lnTo>
                      <a:pt x="5985" y="1089"/>
                    </a:lnTo>
                    <a:lnTo>
                      <a:pt x="6006" y="1151"/>
                    </a:lnTo>
                    <a:lnTo>
                      <a:pt x="6006" y="1214"/>
                    </a:lnTo>
                    <a:lnTo>
                      <a:pt x="5922" y="1256"/>
                    </a:lnTo>
                    <a:lnTo>
                      <a:pt x="5901" y="1298"/>
                    </a:lnTo>
                    <a:lnTo>
                      <a:pt x="5859" y="1319"/>
                    </a:lnTo>
                    <a:lnTo>
                      <a:pt x="5776" y="1402"/>
                    </a:lnTo>
                    <a:lnTo>
                      <a:pt x="5755" y="1486"/>
                    </a:lnTo>
                    <a:lnTo>
                      <a:pt x="5713" y="1507"/>
                    </a:lnTo>
                    <a:lnTo>
                      <a:pt x="5692" y="1570"/>
                    </a:lnTo>
                    <a:lnTo>
                      <a:pt x="5608" y="1570"/>
                    </a:lnTo>
                    <a:lnTo>
                      <a:pt x="5545" y="1612"/>
                    </a:lnTo>
                    <a:lnTo>
                      <a:pt x="5399" y="1633"/>
                    </a:lnTo>
                    <a:lnTo>
                      <a:pt x="5357" y="1737"/>
                    </a:lnTo>
                    <a:lnTo>
                      <a:pt x="5357" y="1905"/>
                    </a:lnTo>
                    <a:lnTo>
                      <a:pt x="5294" y="1967"/>
                    </a:lnTo>
                    <a:lnTo>
                      <a:pt x="5294" y="2030"/>
                    </a:lnTo>
                    <a:lnTo>
                      <a:pt x="5273" y="2135"/>
                    </a:lnTo>
                    <a:lnTo>
                      <a:pt x="5294" y="2197"/>
                    </a:lnTo>
                    <a:lnTo>
                      <a:pt x="5169" y="2260"/>
                    </a:lnTo>
                    <a:lnTo>
                      <a:pt x="5085" y="2239"/>
                    </a:lnTo>
                    <a:lnTo>
                      <a:pt x="5043" y="2197"/>
                    </a:lnTo>
                    <a:lnTo>
                      <a:pt x="4834" y="2197"/>
                    </a:lnTo>
                    <a:lnTo>
                      <a:pt x="4709" y="2218"/>
                    </a:lnTo>
                    <a:lnTo>
                      <a:pt x="4604" y="2197"/>
                    </a:lnTo>
                    <a:lnTo>
                      <a:pt x="4520" y="2218"/>
                    </a:lnTo>
                    <a:lnTo>
                      <a:pt x="4311" y="2093"/>
                    </a:lnTo>
                    <a:lnTo>
                      <a:pt x="4227" y="2093"/>
                    </a:lnTo>
                    <a:lnTo>
                      <a:pt x="4185" y="2009"/>
                    </a:lnTo>
                    <a:lnTo>
                      <a:pt x="3997" y="1988"/>
                    </a:lnTo>
                    <a:lnTo>
                      <a:pt x="3872" y="2009"/>
                    </a:lnTo>
                    <a:lnTo>
                      <a:pt x="3704" y="2135"/>
                    </a:lnTo>
                    <a:lnTo>
                      <a:pt x="3621" y="2365"/>
                    </a:lnTo>
                    <a:lnTo>
                      <a:pt x="3516" y="2469"/>
                    </a:lnTo>
                    <a:lnTo>
                      <a:pt x="3349" y="2553"/>
                    </a:lnTo>
                    <a:lnTo>
                      <a:pt x="3286" y="2637"/>
                    </a:lnTo>
                    <a:lnTo>
                      <a:pt x="3181" y="2721"/>
                    </a:lnTo>
                    <a:lnTo>
                      <a:pt x="3056" y="2742"/>
                    </a:lnTo>
                    <a:lnTo>
                      <a:pt x="2972" y="2783"/>
                    </a:lnTo>
                    <a:lnTo>
                      <a:pt x="2846" y="2762"/>
                    </a:lnTo>
                    <a:lnTo>
                      <a:pt x="2763" y="2825"/>
                    </a:lnTo>
                    <a:lnTo>
                      <a:pt x="2616" y="2783"/>
                    </a:lnTo>
                    <a:lnTo>
                      <a:pt x="2449" y="2825"/>
                    </a:lnTo>
                    <a:lnTo>
                      <a:pt x="2449" y="2721"/>
                    </a:lnTo>
                    <a:lnTo>
                      <a:pt x="2532" y="2532"/>
                    </a:lnTo>
                    <a:lnTo>
                      <a:pt x="2532" y="2365"/>
                    </a:lnTo>
                    <a:lnTo>
                      <a:pt x="2365" y="2051"/>
                    </a:lnTo>
                    <a:lnTo>
                      <a:pt x="2323" y="1905"/>
                    </a:lnTo>
                    <a:lnTo>
                      <a:pt x="2135" y="1779"/>
                    </a:lnTo>
                    <a:lnTo>
                      <a:pt x="2051" y="3871"/>
                    </a:lnTo>
                    <a:lnTo>
                      <a:pt x="1821" y="3871"/>
                    </a:lnTo>
                    <a:lnTo>
                      <a:pt x="1675" y="3934"/>
                    </a:lnTo>
                    <a:lnTo>
                      <a:pt x="1612" y="4039"/>
                    </a:lnTo>
                    <a:lnTo>
                      <a:pt x="1528" y="4081"/>
                    </a:lnTo>
                    <a:lnTo>
                      <a:pt x="1486" y="4122"/>
                    </a:lnTo>
                    <a:lnTo>
                      <a:pt x="1486" y="4248"/>
                    </a:lnTo>
                    <a:lnTo>
                      <a:pt x="1403" y="4227"/>
                    </a:lnTo>
                    <a:lnTo>
                      <a:pt x="1319" y="4227"/>
                    </a:lnTo>
                    <a:lnTo>
                      <a:pt x="1277" y="4143"/>
                    </a:lnTo>
                    <a:lnTo>
                      <a:pt x="1193" y="4143"/>
                    </a:lnTo>
                    <a:lnTo>
                      <a:pt x="1152" y="4206"/>
                    </a:lnTo>
                    <a:lnTo>
                      <a:pt x="1047" y="4185"/>
                    </a:lnTo>
                    <a:lnTo>
                      <a:pt x="984" y="4143"/>
                    </a:lnTo>
                    <a:lnTo>
                      <a:pt x="880" y="4185"/>
                    </a:lnTo>
                    <a:lnTo>
                      <a:pt x="754" y="4102"/>
                    </a:lnTo>
                    <a:lnTo>
                      <a:pt x="566" y="4039"/>
                    </a:lnTo>
                    <a:lnTo>
                      <a:pt x="482" y="3871"/>
                    </a:lnTo>
                    <a:lnTo>
                      <a:pt x="545" y="3725"/>
                    </a:lnTo>
                    <a:lnTo>
                      <a:pt x="440" y="3725"/>
                    </a:lnTo>
                    <a:lnTo>
                      <a:pt x="356" y="3599"/>
                    </a:lnTo>
                    <a:lnTo>
                      <a:pt x="231" y="3662"/>
                    </a:lnTo>
                    <a:lnTo>
                      <a:pt x="168" y="3767"/>
                    </a:lnTo>
                    <a:lnTo>
                      <a:pt x="210" y="3788"/>
                    </a:lnTo>
                    <a:lnTo>
                      <a:pt x="210" y="3871"/>
                    </a:lnTo>
                    <a:lnTo>
                      <a:pt x="64" y="3892"/>
                    </a:lnTo>
                    <a:lnTo>
                      <a:pt x="1" y="3934"/>
                    </a:lnTo>
                    <a:lnTo>
                      <a:pt x="22" y="4122"/>
                    </a:lnTo>
                    <a:lnTo>
                      <a:pt x="210" y="4248"/>
                    </a:lnTo>
                    <a:lnTo>
                      <a:pt x="336" y="4625"/>
                    </a:lnTo>
                    <a:lnTo>
                      <a:pt x="336" y="4771"/>
                    </a:lnTo>
                    <a:lnTo>
                      <a:pt x="461" y="5085"/>
                    </a:lnTo>
                    <a:lnTo>
                      <a:pt x="545" y="5441"/>
                    </a:lnTo>
                    <a:lnTo>
                      <a:pt x="691" y="5650"/>
                    </a:lnTo>
                    <a:lnTo>
                      <a:pt x="691" y="5775"/>
                    </a:lnTo>
                    <a:lnTo>
                      <a:pt x="859" y="6027"/>
                    </a:lnTo>
                    <a:lnTo>
                      <a:pt x="859" y="6110"/>
                    </a:lnTo>
                    <a:lnTo>
                      <a:pt x="900" y="6299"/>
                    </a:lnTo>
                    <a:lnTo>
                      <a:pt x="880" y="6487"/>
                    </a:lnTo>
                    <a:lnTo>
                      <a:pt x="796" y="6550"/>
                    </a:lnTo>
                    <a:lnTo>
                      <a:pt x="754" y="6550"/>
                    </a:lnTo>
                    <a:lnTo>
                      <a:pt x="691" y="6508"/>
                    </a:lnTo>
                    <a:lnTo>
                      <a:pt x="649" y="6550"/>
                    </a:lnTo>
                    <a:lnTo>
                      <a:pt x="649" y="6717"/>
                    </a:lnTo>
                    <a:lnTo>
                      <a:pt x="733" y="6863"/>
                    </a:lnTo>
                    <a:lnTo>
                      <a:pt x="838" y="6968"/>
                    </a:lnTo>
                    <a:lnTo>
                      <a:pt x="942" y="7156"/>
                    </a:lnTo>
                    <a:lnTo>
                      <a:pt x="859" y="7282"/>
                    </a:lnTo>
                    <a:lnTo>
                      <a:pt x="880" y="7449"/>
                    </a:lnTo>
                    <a:lnTo>
                      <a:pt x="838" y="7554"/>
                    </a:lnTo>
                    <a:lnTo>
                      <a:pt x="838" y="7659"/>
                    </a:lnTo>
                    <a:lnTo>
                      <a:pt x="900" y="7700"/>
                    </a:lnTo>
                    <a:lnTo>
                      <a:pt x="900" y="7596"/>
                    </a:lnTo>
                    <a:lnTo>
                      <a:pt x="1005" y="7533"/>
                    </a:lnTo>
                    <a:lnTo>
                      <a:pt x="1152" y="7554"/>
                    </a:lnTo>
                    <a:lnTo>
                      <a:pt x="1172" y="7679"/>
                    </a:lnTo>
                    <a:lnTo>
                      <a:pt x="1110" y="7721"/>
                    </a:lnTo>
                    <a:lnTo>
                      <a:pt x="1172" y="7742"/>
                    </a:lnTo>
                    <a:lnTo>
                      <a:pt x="1256" y="7679"/>
                    </a:lnTo>
                    <a:lnTo>
                      <a:pt x="1361" y="7742"/>
                    </a:lnTo>
                    <a:lnTo>
                      <a:pt x="1361" y="7868"/>
                    </a:lnTo>
                    <a:lnTo>
                      <a:pt x="1403" y="7847"/>
                    </a:lnTo>
                    <a:lnTo>
                      <a:pt x="1696" y="7972"/>
                    </a:lnTo>
                    <a:lnTo>
                      <a:pt x="1737" y="7951"/>
                    </a:lnTo>
                    <a:lnTo>
                      <a:pt x="1800" y="7972"/>
                    </a:lnTo>
                    <a:lnTo>
                      <a:pt x="1821" y="7889"/>
                    </a:lnTo>
                    <a:lnTo>
                      <a:pt x="1926" y="7868"/>
                    </a:lnTo>
                    <a:lnTo>
                      <a:pt x="2051" y="7742"/>
                    </a:lnTo>
                    <a:lnTo>
                      <a:pt x="2198" y="7763"/>
                    </a:lnTo>
                    <a:lnTo>
                      <a:pt x="2219" y="7721"/>
                    </a:lnTo>
                    <a:lnTo>
                      <a:pt x="2344" y="7721"/>
                    </a:lnTo>
                    <a:lnTo>
                      <a:pt x="2512" y="7763"/>
                    </a:lnTo>
                    <a:lnTo>
                      <a:pt x="2574" y="7742"/>
                    </a:lnTo>
                    <a:lnTo>
                      <a:pt x="2721" y="7742"/>
                    </a:lnTo>
                    <a:lnTo>
                      <a:pt x="2742" y="7679"/>
                    </a:lnTo>
                    <a:lnTo>
                      <a:pt x="2784" y="7638"/>
                    </a:lnTo>
                    <a:lnTo>
                      <a:pt x="2867" y="7596"/>
                    </a:lnTo>
                    <a:lnTo>
                      <a:pt x="2930" y="7638"/>
                    </a:lnTo>
                    <a:lnTo>
                      <a:pt x="2951" y="7533"/>
                    </a:lnTo>
                    <a:lnTo>
                      <a:pt x="3035" y="7470"/>
                    </a:lnTo>
                    <a:lnTo>
                      <a:pt x="3349" y="7470"/>
                    </a:lnTo>
                    <a:lnTo>
                      <a:pt x="3474" y="7554"/>
                    </a:lnTo>
                    <a:lnTo>
                      <a:pt x="3558" y="7533"/>
                    </a:lnTo>
                    <a:lnTo>
                      <a:pt x="3558" y="7470"/>
                    </a:lnTo>
                    <a:lnTo>
                      <a:pt x="3725" y="7449"/>
                    </a:lnTo>
                    <a:lnTo>
                      <a:pt x="3997" y="7533"/>
                    </a:lnTo>
                    <a:lnTo>
                      <a:pt x="4081" y="7575"/>
                    </a:lnTo>
                    <a:lnTo>
                      <a:pt x="4353" y="7638"/>
                    </a:lnTo>
                    <a:lnTo>
                      <a:pt x="4395" y="7596"/>
                    </a:lnTo>
                    <a:lnTo>
                      <a:pt x="4353" y="7533"/>
                    </a:lnTo>
                    <a:lnTo>
                      <a:pt x="4437" y="7449"/>
                    </a:lnTo>
                    <a:lnTo>
                      <a:pt x="4541" y="7449"/>
                    </a:lnTo>
                    <a:lnTo>
                      <a:pt x="4667" y="7491"/>
                    </a:lnTo>
                    <a:lnTo>
                      <a:pt x="4876" y="7491"/>
                    </a:lnTo>
                    <a:lnTo>
                      <a:pt x="4876" y="7470"/>
                    </a:lnTo>
                    <a:lnTo>
                      <a:pt x="4813" y="7387"/>
                    </a:lnTo>
                    <a:lnTo>
                      <a:pt x="4855" y="7303"/>
                    </a:lnTo>
                    <a:lnTo>
                      <a:pt x="5022" y="7240"/>
                    </a:lnTo>
                    <a:lnTo>
                      <a:pt x="5190" y="7240"/>
                    </a:lnTo>
                    <a:lnTo>
                      <a:pt x="5253" y="7303"/>
                    </a:lnTo>
                    <a:lnTo>
                      <a:pt x="5378" y="7303"/>
                    </a:lnTo>
                    <a:lnTo>
                      <a:pt x="5504" y="7219"/>
                    </a:lnTo>
                    <a:lnTo>
                      <a:pt x="5713" y="7156"/>
                    </a:lnTo>
                    <a:lnTo>
                      <a:pt x="5713" y="7135"/>
                    </a:lnTo>
                    <a:lnTo>
                      <a:pt x="5859" y="7073"/>
                    </a:lnTo>
                    <a:lnTo>
                      <a:pt x="5922" y="6968"/>
                    </a:lnTo>
                    <a:lnTo>
                      <a:pt x="6320" y="6717"/>
                    </a:lnTo>
                    <a:lnTo>
                      <a:pt x="6424" y="6612"/>
                    </a:lnTo>
                    <a:lnTo>
                      <a:pt x="6424" y="6591"/>
                    </a:lnTo>
                    <a:lnTo>
                      <a:pt x="6508" y="6591"/>
                    </a:lnTo>
                    <a:lnTo>
                      <a:pt x="7115" y="5985"/>
                    </a:lnTo>
                    <a:lnTo>
                      <a:pt x="7136" y="5922"/>
                    </a:lnTo>
                    <a:lnTo>
                      <a:pt x="7198" y="5922"/>
                    </a:lnTo>
                    <a:lnTo>
                      <a:pt x="7282" y="5796"/>
                    </a:lnTo>
                    <a:lnTo>
                      <a:pt x="7387" y="5755"/>
                    </a:lnTo>
                    <a:lnTo>
                      <a:pt x="7429" y="5587"/>
                    </a:lnTo>
                    <a:lnTo>
                      <a:pt x="7596" y="5399"/>
                    </a:lnTo>
                    <a:lnTo>
                      <a:pt x="7847" y="5022"/>
                    </a:lnTo>
                    <a:lnTo>
                      <a:pt x="7910" y="4834"/>
                    </a:lnTo>
                    <a:lnTo>
                      <a:pt x="8014" y="4834"/>
                    </a:lnTo>
                    <a:lnTo>
                      <a:pt x="8077" y="4708"/>
                    </a:lnTo>
                    <a:lnTo>
                      <a:pt x="8077" y="4646"/>
                    </a:lnTo>
                    <a:lnTo>
                      <a:pt x="8182" y="4520"/>
                    </a:lnTo>
                    <a:lnTo>
                      <a:pt x="8266" y="4394"/>
                    </a:lnTo>
                    <a:lnTo>
                      <a:pt x="8391" y="4311"/>
                    </a:lnTo>
                    <a:lnTo>
                      <a:pt x="8433" y="4227"/>
                    </a:lnTo>
                    <a:lnTo>
                      <a:pt x="8538" y="4185"/>
                    </a:lnTo>
                    <a:lnTo>
                      <a:pt x="8579" y="4122"/>
                    </a:lnTo>
                    <a:lnTo>
                      <a:pt x="8621" y="4122"/>
                    </a:lnTo>
                    <a:lnTo>
                      <a:pt x="8789" y="3934"/>
                    </a:lnTo>
                    <a:lnTo>
                      <a:pt x="8810" y="3830"/>
                    </a:lnTo>
                    <a:lnTo>
                      <a:pt x="8893" y="3725"/>
                    </a:lnTo>
                    <a:lnTo>
                      <a:pt x="8935" y="3516"/>
                    </a:lnTo>
                    <a:lnTo>
                      <a:pt x="9019" y="3348"/>
                    </a:lnTo>
                    <a:lnTo>
                      <a:pt x="9040" y="3160"/>
                    </a:lnTo>
                    <a:lnTo>
                      <a:pt x="9123" y="2951"/>
                    </a:lnTo>
                    <a:lnTo>
                      <a:pt x="9103" y="2951"/>
                    </a:lnTo>
                    <a:lnTo>
                      <a:pt x="9165" y="2846"/>
                    </a:lnTo>
                    <a:lnTo>
                      <a:pt x="9165" y="2825"/>
                    </a:lnTo>
                    <a:lnTo>
                      <a:pt x="9061" y="2825"/>
                    </a:lnTo>
                    <a:lnTo>
                      <a:pt x="8935" y="2762"/>
                    </a:lnTo>
                    <a:lnTo>
                      <a:pt x="8830" y="2762"/>
                    </a:lnTo>
                    <a:lnTo>
                      <a:pt x="8768" y="2825"/>
                    </a:lnTo>
                    <a:lnTo>
                      <a:pt x="8768" y="2909"/>
                    </a:lnTo>
                    <a:lnTo>
                      <a:pt x="8726" y="3014"/>
                    </a:lnTo>
                    <a:lnTo>
                      <a:pt x="8663" y="3034"/>
                    </a:lnTo>
                    <a:lnTo>
                      <a:pt x="8454" y="3034"/>
                    </a:lnTo>
                    <a:lnTo>
                      <a:pt x="8266" y="2930"/>
                    </a:lnTo>
                    <a:lnTo>
                      <a:pt x="8182" y="2804"/>
                    </a:lnTo>
                    <a:lnTo>
                      <a:pt x="8140" y="2742"/>
                    </a:lnTo>
                    <a:lnTo>
                      <a:pt x="8098" y="2658"/>
                    </a:lnTo>
                    <a:lnTo>
                      <a:pt x="8161" y="2532"/>
                    </a:lnTo>
                    <a:lnTo>
                      <a:pt x="8286" y="2281"/>
                    </a:lnTo>
                    <a:lnTo>
                      <a:pt x="8307" y="2177"/>
                    </a:lnTo>
                    <a:lnTo>
                      <a:pt x="8412" y="2114"/>
                    </a:lnTo>
                    <a:lnTo>
                      <a:pt x="8579" y="2197"/>
                    </a:lnTo>
                    <a:lnTo>
                      <a:pt x="8663" y="2260"/>
                    </a:lnTo>
                    <a:lnTo>
                      <a:pt x="8768" y="2323"/>
                    </a:lnTo>
                    <a:lnTo>
                      <a:pt x="8768" y="2135"/>
                    </a:lnTo>
                    <a:lnTo>
                      <a:pt x="8768" y="1988"/>
                    </a:lnTo>
                    <a:lnTo>
                      <a:pt x="8810" y="1800"/>
                    </a:lnTo>
                    <a:lnTo>
                      <a:pt x="8810" y="1361"/>
                    </a:lnTo>
                    <a:lnTo>
                      <a:pt x="8789" y="1214"/>
                    </a:lnTo>
                    <a:lnTo>
                      <a:pt x="8747" y="1109"/>
                    </a:lnTo>
                    <a:lnTo>
                      <a:pt x="8747" y="1005"/>
                    </a:lnTo>
                    <a:lnTo>
                      <a:pt x="8747" y="984"/>
                    </a:lnTo>
                    <a:lnTo>
                      <a:pt x="8747" y="733"/>
                    </a:lnTo>
                    <a:lnTo>
                      <a:pt x="8684" y="586"/>
                    </a:lnTo>
                    <a:lnTo>
                      <a:pt x="8642" y="440"/>
                    </a:lnTo>
                    <a:lnTo>
                      <a:pt x="8621" y="273"/>
                    </a:lnTo>
                    <a:lnTo>
                      <a:pt x="8517" y="168"/>
                    </a:lnTo>
                    <a:lnTo>
                      <a:pt x="8328" y="126"/>
                    </a:lnTo>
                    <a:lnTo>
                      <a:pt x="8182" y="147"/>
                    </a:lnTo>
                    <a:lnTo>
                      <a:pt x="8098" y="168"/>
                    </a:lnTo>
                    <a:lnTo>
                      <a:pt x="8056" y="147"/>
                    </a:lnTo>
                    <a:lnTo>
                      <a:pt x="7910" y="105"/>
                    </a:lnTo>
                    <a:lnTo>
                      <a:pt x="7847" y="105"/>
                    </a:lnTo>
                    <a:lnTo>
                      <a:pt x="7784" y="21"/>
                    </a:lnTo>
                    <a:lnTo>
                      <a:pt x="765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953" name="Google Shape;1953;p66"/>
            <p:cNvSpPr/>
            <p:nvPr/>
          </p:nvSpPr>
          <p:spPr>
            <a:xfrm>
              <a:off x="3292646" y="3020419"/>
              <a:ext cx="18695" cy="5482"/>
            </a:xfrm>
            <a:custGeom>
              <a:avLst/>
              <a:gdLst/>
              <a:ahLst/>
              <a:cxnLst/>
              <a:rect l="l" t="t" r="r" b="b"/>
              <a:pathLst>
                <a:path w="1570" h="482" extrusionOk="0">
                  <a:moveTo>
                    <a:pt x="189" y="0"/>
                  </a:moveTo>
                  <a:lnTo>
                    <a:pt x="126" y="84"/>
                  </a:lnTo>
                  <a:lnTo>
                    <a:pt x="21" y="147"/>
                  </a:lnTo>
                  <a:lnTo>
                    <a:pt x="21" y="209"/>
                  </a:lnTo>
                  <a:lnTo>
                    <a:pt x="0" y="272"/>
                  </a:lnTo>
                  <a:lnTo>
                    <a:pt x="42" y="377"/>
                  </a:lnTo>
                  <a:lnTo>
                    <a:pt x="314" y="377"/>
                  </a:lnTo>
                  <a:lnTo>
                    <a:pt x="398" y="398"/>
                  </a:lnTo>
                  <a:lnTo>
                    <a:pt x="607" y="356"/>
                  </a:lnTo>
                  <a:lnTo>
                    <a:pt x="691" y="377"/>
                  </a:lnTo>
                  <a:lnTo>
                    <a:pt x="837" y="293"/>
                  </a:lnTo>
                  <a:cubicBezTo>
                    <a:pt x="1026" y="398"/>
                    <a:pt x="1235" y="356"/>
                    <a:pt x="1423" y="481"/>
                  </a:cubicBezTo>
                  <a:lnTo>
                    <a:pt x="1570" y="460"/>
                  </a:lnTo>
                  <a:lnTo>
                    <a:pt x="1528" y="398"/>
                  </a:lnTo>
                  <a:lnTo>
                    <a:pt x="1444" y="460"/>
                  </a:lnTo>
                  <a:lnTo>
                    <a:pt x="1444" y="440"/>
                  </a:lnTo>
                  <a:cubicBezTo>
                    <a:pt x="1360" y="377"/>
                    <a:pt x="1318" y="356"/>
                    <a:pt x="1235" y="335"/>
                  </a:cubicBezTo>
                  <a:lnTo>
                    <a:pt x="1277" y="293"/>
                  </a:lnTo>
                  <a:lnTo>
                    <a:pt x="1130" y="251"/>
                  </a:lnTo>
                  <a:lnTo>
                    <a:pt x="1046" y="335"/>
                  </a:lnTo>
                  <a:cubicBezTo>
                    <a:pt x="1005" y="335"/>
                    <a:pt x="942" y="335"/>
                    <a:pt x="921" y="293"/>
                  </a:cubicBezTo>
                  <a:lnTo>
                    <a:pt x="921" y="272"/>
                  </a:lnTo>
                  <a:lnTo>
                    <a:pt x="1046" y="147"/>
                  </a:lnTo>
                  <a:lnTo>
                    <a:pt x="942" y="105"/>
                  </a:lnTo>
                  <a:lnTo>
                    <a:pt x="921" y="42"/>
                  </a:lnTo>
                  <a:lnTo>
                    <a:pt x="837" y="0"/>
                  </a:lnTo>
                  <a:lnTo>
                    <a:pt x="607" y="42"/>
                  </a:lnTo>
                  <a:lnTo>
                    <a:pt x="18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4" name="Google Shape;1954;p66"/>
            <p:cNvSpPr/>
            <p:nvPr/>
          </p:nvSpPr>
          <p:spPr>
            <a:xfrm>
              <a:off x="3260258" y="3010662"/>
              <a:ext cx="26423" cy="16661"/>
            </a:xfrm>
            <a:custGeom>
              <a:avLst/>
              <a:gdLst/>
              <a:ahLst/>
              <a:cxnLst/>
              <a:rect l="l" t="t" r="r" b="b"/>
              <a:pathLst>
                <a:path w="2219" h="1465" extrusionOk="0">
                  <a:moveTo>
                    <a:pt x="481" y="0"/>
                  </a:moveTo>
                  <a:lnTo>
                    <a:pt x="293" y="42"/>
                  </a:lnTo>
                  <a:lnTo>
                    <a:pt x="230" y="147"/>
                  </a:lnTo>
                  <a:lnTo>
                    <a:pt x="230" y="209"/>
                  </a:lnTo>
                  <a:lnTo>
                    <a:pt x="189" y="314"/>
                  </a:lnTo>
                  <a:lnTo>
                    <a:pt x="230" y="398"/>
                  </a:lnTo>
                  <a:lnTo>
                    <a:pt x="189" y="523"/>
                  </a:lnTo>
                  <a:lnTo>
                    <a:pt x="105" y="586"/>
                  </a:lnTo>
                  <a:lnTo>
                    <a:pt x="84" y="607"/>
                  </a:lnTo>
                  <a:lnTo>
                    <a:pt x="126" y="733"/>
                  </a:lnTo>
                  <a:lnTo>
                    <a:pt x="126" y="837"/>
                  </a:lnTo>
                  <a:lnTo>
                    <a:pt x="126" y="900"/>
                  </a:lnTo>
                  <a:lnTo>
                    <a:pt x="0" y="1046"/>
                  </a:lnTo>
                  <a:lnTo>
                    <a:pt x="0" y="1109"/>
                  </a:lnTo>
                  <a:lnTo>
                    <a:pt x="63" y="1130"/>
                  </a:lnTo>
                  <a:lnTo>
                    <a:pt x="126" y="1256"/>
                  </a:lnTo>
                  <a:lnTo>
                    <a:pt x="84" y="1339"/>
                  </a:lnTo>
                  <a:lnTo>
                    <a:pt x="189" y="1402"/>
                  </a:lnTo>
                  <a:lnTo>
                    <a:pt x="230" y="1444"/>
                  </a:lnTo>
                  <a:lnTo>
                    <a:pt x="293" y="1465"/>
                  </a:lnTo>
                  <a:lnTo>
                    <a:pt x="377" y="1318"/>
                  </a:lnTo>
                  <a:lnTo>
                    <a:pt x="502" y="1130"/>
                  </a:lnTo>
                  <a:lnTo>
                    <a:pt x="502" y="1088"/>
                  </a:lnTo>
                  <a:lnTo>
                    <a:pt x="544" y="984"/>
                  </a:lnTo>
                  <a:lnTo>
                    <a:pt x="607" y="1046"/>
                  </a:lnTo>
                  <a:lnTo>
                    <a:pt x="691" y="1046"/>
                  </a:lnTo>
                  <a:lnTo>
                    <a:pt x="753" y="921"/>
                  </a:lnTo>
                  <a:lnTo>
                    <a:pt x="837" y="984"/>
                  </a:lnTo>
                  <a:lnTo>
                    <a:pt x="837" y="1088"/>
                  </a:lnTo>
                  <a:lnTo>
                    <a:pt x="921" y="1130"/>
                  </a:lnTo>
                  <a:lnTo>
                    <a:pt x="1067" y="1088"/>
                  </a:lnTo>
                  <a:lnTo>
                    <a:pt x="1235" y="942"/>
                  </a:lnTo>
                  <a:lnTo>
                    <a:pt x="1381" y="900"/>
                  </a:lnTo>
                  <a:lnTo>
                    <a:pt x="1569" y="921"/>
                  </a:lnTo>
                  <a:lnTo>
                    <a:pt x="1674" y="900"/>
                  </a:lnTo>
                  <a:lnTo>
                    <a:pt x="1758" y="942"/>
                  </a:lnTo>
                  <a:lnTo>
                    <a:pt x="1883" y="984"/>
                  </a:lnTo>
                  <a:lnTo>
                    <a:pt x="2072" y="1005"/>
                  </a:lnTo>
                  <a:lnTo>
                    <a:pt x="2093" y="921"/>
                  </a:lnTo>
                  <a:lnTo>
                    <a:pt x="2176" y="921"/>
                  </a:lnTo>
                  <a:lnTo>
                    <a:pt x="2218" y="816"/>
                  </a:lnTo>
                  <a:lnTo>
                    <a:pt x="2176" y="733"/>
                  </a:lnTo>
                  <a:lnTo>
                    <a:pt x="1946" y="607"/>
                  </a:lnTo>
                  <a:lnTo>
                    <a:pt x="1862" y="607"/>
                  </a:lnTo>
                  <a:lnTo>
                    <a:pt x="1695" y="565"/>
                  </a:lnTo>
                  <a:lnTo>
                    <a:pt x="1632" y="565"/>
                  </a:lnTo>
                  <a:lnTo>
                    <a:pt x="1465" y="502"/>
                  </a:lnTo>
                  <a:lnTo>
                    <a:pt x="1277" y="398"/>
                  </a:lnTo>
                  <a:lnTo>
                    <a:pt x="1172" y="398"/>
                  </a:lnTo>
                  <a:lnTo>
                    <a:pt x="1256" y="377"/>
                  </a:lnTo>
                  <a:lnTo>
                    <a:pt x="1423" y="419"/>
                  </a:lnTo>
                  <a:lnTo>
                    <a:pt x="1674" y="419"/>
                  </a:lnTo>
                  <a:lnTo>
                    <a:pt x="1779" y="398"/>
                  </a:lnTo>
                  <a:lnTo>
                    <a:pt x="1695" y="356"/>
                  </a:lnTo>
                  <a:lnTo>
                    <a:pt x="1632" y="356"/>
                  </a:lnTo>
                  <a:lnTo>
                    <a:pt x="1444" y="314"/>
                  </a:lnTo>
                  <a:lnTo>
                    <a:pt x="1360" y="147"/>
                  </a:lnTo>
                  <a:lnTo>
                    <a:pt x="1256" y="147"/>
                  </a:lnTo>
                  <a:lnTo>
                    <a:pt x="1214" y="168"/>
                  </a:lnTo>
                  <a:lnTo>
                    <a:pt x="1130" y="105"/>
                  </a:lnTo>
                  <a:lnTo>
                    <a:pt x="649" y="0"/>
                  </a:lnTo>
                  <a:lnTo>
                    <a:pt x="586" y="42"/>
                  </a:lnTo>
                  <a:lnTo>
                    <a:pt x="48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5" name="Google Shape;1955;p66"/>
            <p:cNvSpPr/>
            <p:nvPr/>
          </p:nvSpPr>
          <p:spPr>
            <a:xfrm>
              <a:off x="3408744" y="2329870"/>
              <a:ext cx="289769" cy="354333"/>
            </a:xfrm>
            <a:custGeom>
              <a:avLst/>
              <a:gdLst/>
              <a:ahLst/>
              <a:cxnLst/>
              <a:rect l="l" t="t" r="r" b="b"/>
              <a:pathLst>
                <a:path w="24335" h="31157" extrusionOk="0">
                  <a:moveTo>
                    <a:pt x="19167" y="16300"/>
                  </a:moveTo>
                  <a:lnTo>
                    <a:pt x="19161" y="16311"/>
                  </a:lnTo>
                  <a:lnTo>
                    <a:pt x="19167" y="16321"/>
                  </a:lnTo>
                  <a:lnTo>
                    <a:pt x="19167" y="16300"/>
                  </a:lnTo>
                  <a:close/>
                  <a:moveTo>
                    <a:pt x="16572" y="17849"/>
                  </a:moveTo>
                  <a:lnTo>
                    <a:pt x="16593" y="17870"/>
                  </a:lnTo>
                  <a:lnTo>
                    <a:pt x="16509" y="17870"/>
                  </a:lnTo>
                  <a:lnTo>
                    <a:pt x="16509" y="17849"/>
                  </a:lnTo>
                  <a:close/>
                  <a:moveTo>
                    <a:pt x="4771" y="22933"/>
                  </a:moveTo>
                  <a:lnTo>
                    <a:pt x="4813" y="22996"/>
                  </a:lnTo>
                  <a:lnTo>
                    <a:pt x="4792" y="23038"/>
                  </a:lnTo>
                  <a:lnTo>
                    <a:pt x="4750" y="23038"/>
                  </a:lnTo>
                  <a:lnTo>
                    <a:pt x="4688" y="23059"/>
                  </a:lnTo>
                  <a:lnTo>
                    <a:pt x="4709" y="23142"/>
                  </a:lnTo>
                  <a:lnTo>
                    <a:pt x="4792" y="23205"/>
                  </a:lnTo>
                  <a:lnTo>
                    <a:pt x="4960" y="23205"/>
                  </a:lnTo>
                  <a:lnTo>
                    <a:pt x="4981" y="23163"/>
                  </a:lnTo>
                  <a:lnTo>
                    <a:pt x="4960" y="23121"/>
                  </a:lnTo>
                  <a:lnTo>
                    <a:pt x="4960" y="23059"/>
                  </a:lnTo>
                  <a:lnTo>
                    <a:pt x="5001" y="23038"/>
                  </a:lnTo>
                  <a:lnTo>
                    <a:pt x="5127" y="23059"/>
                  </a:lnTo>
                  <a:lnTo>
                    <a:pt x="5169" y="23121"/>
                  </a:lnTo>
                  <a:lnTo>
                    <a:pt x="5106" y="23163"/>
                  </a:lnTo>
                  <a:lnTo>
                    <a:pt x="4960" y="23226"/>
                  </a:lnTo>
                  <a:lnTo>
                    <a:pt x="4750" y="23226"/>
                  </a:lnTo>
                  <a:lnTo>
                    <a:pt x="4750" y="23268"/>
                  </a:lnTo>
                  <a:lnTo>
                    <a:pt x="4855" y="23435"/>
                  </a:lnTo>
                  <a:lnTo>
                    <a:pt x="4981" y="23519"/>
                  </a:lnTo>
                  <a:lnTo>
                    <a:pt x="5064" y="23540"/>
                  </a:lnTo>
                  <a:lnTo>
                    <a:pt x="5085" y="23519"/>
                  </a:lnTo>
                  <a:lnTo>
                    <a:pt x="5190" y="23477"/>
                  </a:lnTo>
                  <a:lnTo>
                    <a:pt x="5211" y="23540"/>
                  </a:lnTo>
                  <a:lnTo>
                    <a:pt x="5190" y="23561"/>
                  </a:lnTo>
                  <a:lnTo>
                    <a:pt x="5127" y="23561"/>
                  </a:lnTo>
                  <a:lnTo>
                    <a:pt x="5064" y="23582"/>
                  </a:lnTo>
                  <a:lnTo>
                    <a:pt x="4897" y="23540"/>
                  </a:lnTo>
                  <a:lnTo>
                    <a:pt x="4771" y="23477"/>
                  </a:lnTo>
                  <a:lnTo>
                    <a:pt x="4646" y="23352"/>
                  </a:lnTo>
                  <a:lnTo>
                    <a:pt x="4541" y="23310"/>
                  </a:lnTo>
                  <a:lnTo>
                    <a:pt x="4436" y="23310"/>
                  </a:lnTo>
                  <a:lnTo>
                    <a:pt x="4332" y="23205"/>
                  </a:lnTo>
                  <a:lnTo>
                    <a:pt x="4185" y="23142"/>
                  </a:lnTo>
                  <a:lnTo>
                    <a:pt x="4164" y="23121"/>
                  </a:lnTo>
                  <a:lnTo>
                    <a:pt x="4081" y="23121"/>
                  </a:lnTo>
                  <a:lnTo>
                    <a:pt x="4018" y="23142"/>
                  </a:lnTo>
                  <a:lnTo>
                    <a:pt x="3913" y="23142"/>
                  </a:lnTo>
                  <a:lnTo>
                    <a:pt x="3892" y="23132"/>
                  </a:lnTo>
                  <a:lnTo>
                    <a:pt x="3892" y="23132"/>
                  </a:lnTo>
                  <a:lnTo>
                    <a:pt x="3913" y="23121"/>
                  </a:lnTo>
                  <a:lnTo>
                    <a:pt x="3976" y="23121"/>
                  </a:lnTo>
                  <a:lnTo>
                    <a:pt x="4123" y="23100"/>
                  </a:lnTo>
                  <a:lnTo>
                    <a:pt x="4164" y="23038"/>
                  </a:lnTo>
                  <a:lnTo>
                    <a:pt x="4185" y="23038"/>
                  </a:lnTo>
                  <a:lnTo>
                    <a:pt x="4185" y="23100"/>
                  </a:lnTo>
                  <a:lnTo>
                    <a:pt x="4248" y="23121"/>
                  </a:lnTo>
                  <a:lnTo>
                    <a:pt x="4332" y="23121"/>
                  </a:lnTo>
                  <a:lnTo>
                    <a:pt x="4436" y="23247"/>
                  </a:lnTo>
                  <a:lnTo>
                    <a:pt x="4478" y="23268"/>
                  </a:lnTo>
                  <a:lnTo>
                    <a:pt x="4562" y="23226"/>
                  </a:lnTo>
                  <a:lnTo>
                    <a:pt x="4604" y="23142"/>
                  </a:lnTo>
                  <a:lnTo>
                    <a:pt x="4604" y="23059"/>
                  </a:lnTo>
                  <a:lnTo>
                    <a:pt x="4583" y="23017"/>
                  </a:lnTo>
                  <a:lnTo>
                    <a:pt x="4583" y="22954"/>
                  </a:lnTo>
                  <a:lnTo>
                    <a:pt x="4688" y="22954"/>
                  </a:lnTo>
                  <a:lnTo>
                    <a:pt x="4709" y="22933"/>
                  </a:lnTo>
                  <a:close/>
                  <a:moveTo>
                    <a:pt x="4269" y="25193"/>
                  </a:moveTo>
                  <a:lnTo>
                    <a:pt x="4290" y="25277"/>
                  </a:lnTo>
                  <a:lnTo>
                    <a:pt x="4395" y="25297"/>
                  </a:lnTo>
                  <a:lnTo>
                    <a:pt x="4436" y="25339"/>
                  </a:lnTo>
                  <a:lnTo>
                    <a:pt x="4353" y="25339"/>
                  </a:lnTo>
                  <a:lnTo>
                    <a:pt x="4290" y="25318"/>
                  </a:lnTo>
                  <a:lnTo>
                    <a:pt x="4123" y="25318"/>
                  </a:lnTo>
                  <a:lnTo>
                    <a:pt x="4060" y="25381"/>
                  </a:lnTo>
                  <a:lnTo>
                    <a:pt x="4039" y="25318"/>
                  </a:lnTo>
                  <a:lnTo>
                    <a:pt x="3976" y="25339"/>
                  </a:lnTo>
                  <a:lnTo>
                    <a:pt x="3955" y="25444"/>
                  </a:lnTo>
                  <a:lnTo>
                    <a:pt x="3913" y="25486"/>
                  </a:lnTo>
                  <a:lnTo>
                    <a:pt x="3851" y="25528"/>
                  </a:lnTo>
                  <a:lnTo>
                    <a:pt x="3725" y="25549"/>
                  </a:lnTo>
                  <a:lnTo>
                    <a:pt x="3641" y="25611"/>
                  </a:lnTo>
                  <a:lnTo>
                    <a:pt x="3725" y="25528"/>
                  </a:lnTo>
                  <a:lnTo>
                    <a:pt x="3830" y="25507"/>
                  </a:lnTo>
                  <a:lnTo>
                    <a:pt x="3872" y="25444"/>
                  </a:lnTo>
                  <a:lnTo>
                    <a:pt x="3913" y="25381"/>
                  </a:lnTo>
                  <a:lnTo>
                    <a:pt x="3955" y="25318"/>
                  </a:lnTo>
                  <a:lnTo>
                    <a:pt x="4018" y="25318"/>
                  </a:lnTo>
                  <a:lnTo>
                    <a:pt x="4227" y="25193"/>
                  </a:lnTo>
                  <a:close/>
                  <a:moveTo>
                    <a:pt x="16614" y="1"/>
                  </a:moveTo>
                  <a:lnTo>
                    <a:pt x="16530" y="22"/>
                  </a:lnTo>
                  <a:lnTo>
                    <a:pt x="16489" y="84"/>
                  </a:lnTo>
                  <a:lnTo>
                    <a:pt x="16489" y="168"/>
                  </a:lnTo>
                  <a:lnTo>
                    <a:pt x="16509" y="273"/>
                  </a:lnTo>
                  <a:lnTo>
                    <a:pt x="16509" y="336"/>
                  </a:lnTo>
                  <a:lnTo>
                    <a:pt x="16468" y="398"/>
                  </a:lnTo>
                  <a:lnTo>
                    <a:pt x="16405" y="336"/>
                  </a:lnTo>
                  <a:lnTo>
                    <a:pt x="16384" y="210"/>
                  </a:lnTo>
                  <a:lnTo>
                    <a:pt x="16321" y="126"/>
                  </a:lnTo>
                  <a:lnTo>
                    <a:pt x="16279" y="126"/>
                  </a:lnTo>
                  <a:lnTo>
                    <a:pt x="16216" y="84"/>
                  </a:lnTo>
                  <a:lnTo>
                    <a:pt x="16175" y="64"/>
                  </a:lnTo>
                  <a:lnTo>
                    <a:pt x="16154" y="105"/>
                  </a:lnTo>
                  <a:lnTo>
                    <a:pt x="16112" y="210"/>
                  </a:lnTo>
                  <a:lnTo>
                    <a:pt x="16070" y="273"/>
                  </a:lnTo>
                  <a:lnTo>
                    <a:pt x="15986" y="231"/>
                  </a:lnTo>
                  <a:lnTo>
                    <a:pt x="15903" y="273"/>
                  </a:lnTo>
                  <a:lnTo>
                    <a:pt x="15882" y="377"/>
                  </a:lnTo>
                  <a:lnTo>
                    <a:pt x="15924" y="440"/>
                  </a:lnTo>
                  <a:lnTo>
                    <a:pt x="15965" y="503"/>
                  </a:lnTo>
                  <a:lnTo>
                    <a:pt x="15882" y="587"/>
                  </a:lnTo>
                  <a:lnTo>
                    <a:pt x="15777" y="712"/>
                  </a:lnTo>
                  <a:lnTo>
                    <a:pt x="15777" y="754"/>
                  </a:lnTo>
                  <a:lnTo>
                    <a:pt x="15861" y="796"/>
                  </a:lnTo>
                  <a:lnTo>
                    <a:pt x="15882" y="838"/>
                  </a:lnTo>
                  <a:lnTo>
                    <a:pt x="15840" y="901"/>
                  </a:lnTo>
                  <a:lnTo>
                    <a:pt x="15777" y="901"/>
                  </a:lnTo>
                  <a:lnTo>
                    <a:pt x="15631" y="817"/>
                  </a:lnTo>
                  <a:lnTo>
                    <a:pt x="15421" y="817"/>
                  </a:lnTo>
                  <a:lnTo>
                    <a:pt x="15380" y="963"/>
                  </a:lnTo>
                  <a:lnTo>
                    <a:pt x="15421" y="1131"/>
                  </a:lnTo>
                  <a:lnTo>
                    <a:pt x="15484" y="1277"/>
                  </a:lnTo>
                  <a:lnTo>
                    <a:pt x="15631" y="1340"/>
                  </a:lnTo>
                  <a:lnTo>
                    <a:pt x="15672" y="1382"/>
                  </a:lnTo>
                  <a:lnTo>
                    <a:pt x="15672" y="1445"/>
                  </a:lnTo>
                  <a:lnTo>
                    <a:pt x="15547" y="1403"/>
                  </a:lnTo>
                  <a:lnTo>
                    <a:pt x="15421" y="1340"/>
                  </a:lnTo>
                  <a:lnTo>
                    <a:pt x="15317" y="1152"/>
                  </a:lnTo>
                  <a:lnTo>
                    <a:pt x="15128" y="1026"/>
                  </a:lnTo>
                  <a:lnTo>
                    <a:pt x="15045" y="963"/>
                  </a:lnTo>
                  <a:lnTo>
                    <a:pt x="15024" y="1026"/>
                  </a:lnTo>
                  <a:lnTo>
                    <a:pt x="15045" y="1068"/>
                  </a:lnTo>
                  <a:lnTo>
                    <a:pt x="15045" y="1173"/>
                  </a:lnTo>
                  <a:lnTo>
                    <a:pt x="15066" y="1256"/>
                  </a:lnTo>
                  <a:lnTo>
                    <a:pt x="15128" y="1340"/>
                  </a:lnTo>
                  <a:lnTo>
                    <a:pt x="15128" y="1465"/>
                  </a:lnTo>
                  <a:lnTo>
                    <a:pt x="15045" y="1549"/>
                  </a:lnTo>
                  <a:lnTo>
                    <a:pt x="15045" y="1382"/>
                  </a:lnTo>
                  <a:lnTo>
                    <a:pt x="15003" y="1256"/>
                  </a:lnTo>
                  <a:lnTo>
                    <a:pt x="14919" y="1110"/>
                  </a:lnTo>
                  <a:lnTo>
                    <a:pt x="14919" y="1026"/>
                  </a:lnTo>
                  <a:lnTo>
                    <a:pt x="14836" y="921"/>
                  </a:lnTo>
                  <a:lnTo>
                    <a:pt x="14731" y="859"/>
                  </a:lnTo>
                  <a:lnTo>
                    <a:pt x="14647" y="984"/>
                  </a:lnTo>
                  <a:lnTo>
                    <a:pt x="14605" y="1068"/>
                  </a:lnTo>
                  <a:lnTo>
                    <a:pt x="14543" y="984"/>
                  </a:lnTo>
                  <a:lnTo>
                    <a:pt x="14605" y="921"/>
                  </a:lnTo>
                  <a:lnTo>
                    <a:pt x="14605" y="859"/>
                  </a:lnTo>
                  <a:lnTo>
                    <a:pt x="14522" y="817"/>
                  </a:lnTo>
                  <a:lnTo>
                    <a:pt x="14501" y="733"/>
                  </a:lnTo>
                  <a:lnTo>
                    <a:pt x="14480" y="691"/>
                  </a:lnTo>
                  <a:lnTo>
                    <a:pt x="14375" y="691"/>
                  </a:lnTo>
                  <a:lnTo>
                    <a:pt x="14292" y="733"/>
                  </a:lnTo>
                  <a:lnTo>
                    <a:pt x="14271" y="712"/>
                  </a:lnTo>
                  <a:lnTo>
                    <a:pt x="14292" y="628"/>
                  </a:lnTo>
                  <a:lnTo>
                    <a:pt x="14375" y="545"/>
                  </a:lnTo>
                  <a:lnTo>
                    <a:pt x="14271" y="566"/>
                  </a:lnTo>
                  <a:lnTo>
                    <a:pt x="14166" y="670"/>
                  </a:lnTo>
                  <a:lnTo>
                    <a:pt x="14124" y="754"/>
                  </a:lnTo>
                  <a:lnTo>
                    <a:pt x="14020" y="817"/>
                  </a:lnTo>
                  <a:lnTo>
                    <a:pt x="13957" y="838"/>
                  </a:lnTo>
                  <a:lnTo>
                    <a:pt x="13852" y="984"/>
                  </a:lnTo>
                  <a:lnTo>
                    <a:pt x="13810" y="984"/>
                  </a:lnTo>
                  <a:lnTo>
                    <a:pt x="13768" y="880"/>
                  </a:lnTo>
                  <a:lnTo>
                    <a:pt x="13685" y="817"/>
                  </a:lnTo>
                  <a:lnTo>
                    <a:pt x="13643" y="817"/>
                  </a:lnTo>
                  <a:lnTo>
                    <a:pt x="13601" y="880"/>
                  </a:lnTo>
                  <a:lnTo>
                    <a:pt x="13580" y="963"/>
                  </a:lnTo>
                  <a:lnTo>
                    <a:pt x="13601" y="1089"/>
                  </a:lnTo>
                  <a:lnTo>
                    <a:pt x="13768" y="1193"/>
                  </a:lnTo>
                  <a:lnTo>
                    <a:pt x="13768" y="1256"/>
                  </a:lnTo>
                  <a:lnTo>
                    <a:pt x="13685" y="1256"/>
                  </a:lnTo>
                  <a:lnTo>
                    <a:pt x="13643" y="1382"/>
                  </a:lnTo>
                  <a:lnTo>
                    <a:pt x="13643" y="1507"/>
                  </a:lnTo>
                  <a:lnTo>
                    <a:pt x="13768" y="1591"/>
                  </a:lnTo>
                  <a:lnTo>
                    <a:pt x="13852" y="1570"/>
                  </a:lnTo>
                  <a:lnTo>
                    <a:pt x="13915" y="1507"/>
                  </a:lnTo>
                  <a:lnTo>
                    <a:pt x="14103" y="1507"/>
                  </a:lnTo>
                  <a:lnTo>
                    <a:pt x="14229" y="1675"/>
                  </a:lnTo>
                  <a:lnTo>
                    <a:pt x="14333" y="1717"/>
                  </a:lnTo>
                  <a:lnTo>
                    <a:pt x="14396" y="1800"/>
                  </a:lnTo>
                  <a:lnTo>
                    <a:pt x="14375" y="1863"/>
                  </a:lnTo>
                  <a:lnTo>
                    <a:pt x="14375" y="1926"/>
                  </a:lnTo>
                  <a:lnTo>
                    <a:pt x="14396" y="2072"/>
                  </a:lnTo>
                  <a:lnTo>
                    <a:pt x="14333" y="2219"/>
                  </a:lnTo>
                  <a:lnTo>
                    <a:pt x="14333" y="2302"/>
                  </a:lnTo>
                  <a:lnTo>
                    <a:pt x="14417" y="2407"/>
                  </a:lnTo>
                  <a:lnTo>
                    <a:pt x="14417" y="2533"/>
                  </a:lnTo>
                  <a:lnTo>
                    <a:pt x="14438" y="2616"/>
                  </a:lnTo>
                  <a:lnTo>
                    <a:pt x="14543" y="2700"/>
                  </a:lnTo>
                  <a:lnTo>
                    <a:pt x="14626" y="2700"/>
                  </a:lnTo>
                  <a:lnTo>
                    <a:pt x="14710" y="2784"/>
                  </a:lnTo>
                  <a:lnTo>
                    <a:pt x="14836" y="2846"/>
                  </a:lnTo>
                  <a:lnTo>
                    <a:pt x="14836" y="2909"/>
                  </a:lnTo>
                  <a:lnTo>
                    <a:pt x="14856" y="2993"/>
                  </a:lnTo>
                  <a:lnTo>
                    <a:pt x="14731" y="2888"/>
                  </a:lnTo>
                  <a:lnTo>
                    <a:pt x="14584" y="2805"/>
                  </a:lnTo>
                  <a:lnTo>
                    <a:pt x="14417" y="2805"/>
                  </a:lnTo>
                  <a:lnTo>
                    <a:pt x="14333" y="2742"/>
                  </a:lnTo>
                  <a:lnTo>
                    <a:pt x="14312" y="2679"/>
                  </a:lnTo>
                  <a:lnTo>
                    <a:pt x="14312" y="2533"/>
                  </a:lnTo>
                  <a:lnTo>
                    <a:pt x="14271" y="2323"/>
                  </a:lnTo>
                  <a:lnTo>
                    <a:pt x="14312" y="2219"/>
                  </a:lnTo>
                  <a:lnTo>
                    <a:pt x="14312" y="2114"/>
                  </a:lnTo>
                  <a:lnTo>
                    <a:pt x="14208" y="2009"/>
                  </a:lnTo>
                  <a:lnTo>
                    <a:pt x="14208" y="1926"/>
                  </a:lnTo>
                  <a:lnTo>
                    <a:pt x="14166" y="1779"/>
                  </a:lnTo>
                  <a:lnTo>
                    <a:pt x="14103" y="1737"/>
                  </a:lnTo>
                  <a:lnTo>
                    <a:pt x="14020" y="1696"/>
                  </a:lnTo>
                  <a:lnTo>
                    <a:pt x="13957" y="1654"/>
                  </a:lnTo>
                  <a:lnTo>
                    <a:pt x="13852" y="1633"/>
                  </a:lnTo>
                  <a:lnTo>
                    <a:pt x="13748" y="1675"/>
                  </a:lnTo>
                  <a:lnTo>
                    <a:pt x="13601" y="1696"/>
                  </a:lnTo>
                  <a:lnTo>
                    <a:pt x="13538" y="1675"/>
                  </a:lnTo>
                  <a:lnTo>
                    <a:pt x="13476" y="1675"/>
                  </a:lnTo>
                  <a:lnTo>
                    <a:pt x="13434" y="1863"/>
                  </a:lnTo>
                  <a:lnTo>
                    <a:pt x="13476" y="1905"/>
                  </a:lnTo>
                  <a:lnTo>
                    <a:pt x="13476" y="2009"/>
                  </a:lnTo>
                  <a:lnTo>
                    <a:pt x="13434" y="2072"/>
                  </a:lnTo>
                  <a:lnTo>
                    <a:pt x="13266" y="1989"/>
                  </a:lnTo>
                  <a:lnTo>
                    <a:pt x="13078" y="1779"/>
                  </a:lnTo>
                  <a:lnTo>
                    <a:pt x="13036" y="1779"/>
                  </a:lnTo>
                  <a:lnTo>
                    <a:pt x="12973" y="1821"/>
                  </a:lnTo>
                  <a:lnTo>
                    <a:pt x="12931" y="1821"/>
                  </a:lnTo>
                  <a:lnTo>
                    <a:pt x="12869" y="1758"/>
                  </a:lnTo>
                  <a:lnTo>
                    <a:pt x="12701" y="1717"/>
                  </a:lnTo>
                  <a:lnTo>
                    <a:pt x="12639" y="1779"/>
                  </a:lnTo>
                  <a:lnTo>
                    <a:pt x="12639" y="1884"/>
                  </a:lnTo>
                  <a:lnTo>
                    <a:pt x="12701" y="2009"/>
                  </a:lnTo>
                  <a:lnTo>
                    <a:pt x="12639" y="2093"/>
                  </a:lnTo>
                  <a:lnTo>
                    <a:pt x="12701" y="2198"/>
                  </a:lnTo>
                  <a:lnTo>
                    <a:pt x="12743" y="2344"/>
                  </a:lnTo>
                  <a:lnTo>
                    <a:pt x="12722" y="2491"/>
                  </a:lnTo>
                  <a:lnTo>
                    <a:pt x="12743" y="2533"/>
                  </a:lnTo>
                  <a:lnTo>
                    <a:pt x="12764" y="2700"/>
                  </a:lnTo>
                  <a:lnTo>
                    <a:pt x="12743" y="2742"/>
                  </a:lnTo>
                  <a:lnTo>
                    <a:pt x="12743" y="2846"/>
                  </a:lnTo>
                  <a:lnTo>
                    <a:pt x="12827" y="3014"/>
                  </a:lnTo>
                  <a:lnTo>
                    <a:pt x="12848" y="3118"/>
                  </a:lnTo>
                  <a:lnTo>
                    <a:pt x="12827" y="3265"/>
                  </a:lnTo>
                  <a:lnTo>
                    <a:pt x="12827" y="3349"/>
                  </a:lnTo>
                  <a:lnTo>
                    <a:pt x="12911" y="3453"/>
                  </a:lnTo>
                  <a:lnTo>
                    <a:pt x="12931" y="3579"/>
                  </a:lnTo>
                  <a:lnTo>
                    <a:pt x="12931" y="3662"/>
                  </a:lnTo>
                  <a:lnTo>
                    <a:pt x="13057" y="3767"/>
                  </a:lnTo>
                  <a:lnTo>
                    <a:pt x="13120" y="3851"/>
                  </a:lnTo>
                  <a:lnTo>
                    <a:pt x="13120" y="3955"/>
                  </a:lnTo>
                  <a:lnTo>
                    <a:pt x="13162" y="3997"/>
                  </a:lnTo>
                  <a:lnTo>
                    <a:pt x="13245" y="3997"/>
                  </a:lnTo>
                  <a:lnTo>
                    <a:pt x="13245" y="4060"/>
                  </a:lnTo>
                  <a:lnTo>
                    <a:pt x="13266" y="4123"/>
                  </a:lnTo>
                  <a:lnTo>
                    <a:pt x="13371" y="4186"/>
                  </a:lnTo>
                  <a:lnTo>
                    <a:pt x="13392" y="4206"/>
                  </a:lnTo>
                  <a:lnTo>
                    <a:pt x="13371" y="4227"/>
                  </a:lnTo>
                  <a:lnTo>
                    <a:pt x="13266" y="4227"/>
                  </a:lnTo>
                  <a:lnTo>
                    <a:pt x="13224" y="4206"/>
                  </a:lnTo>
                  <a:lnTo>
                    <a:pt x="13141" y="4206"/>
                  </a:lnTo>
                  <a:lnTo>
                    <a:pt x="13078" y="4165"/>
                  </a:lnTo>
                  <a:lnTo>
                    <a:pt x="13078" y="4081"/>
                  </a:lnTo>
                  <a:lnTo>
                    <a:pt x="13057" y="4018"/>
                  </a:lnTo>
                  <a:lnTo>
                    <a:pt x="12973" y="3997"/>
                  </a:lnTo>
                  <a:lnTo>
                    <a:pt x="12911" y="4018"/>
                  </a:lnTo>
                  <a:lnTo>
                    <a:pt x="12848" y="4018"/>
                  </a:lnTo>
                  <a:lnTo>
                    <a:pt x="12827" y="3976"/>
                  </a:lnTo>
                  <a:lnTo>
                    <a:pt x="12827" y="3872"/>
                  </a:lnTo>
                  <a:lnTo>
                    <a:pt x="12806" y="3851"/>
                  </a:lnTo>
                  <a:lnTo>
                    <a:pt x="12743" y="3893"/>
                  </a:lnTo>
                  <a:lnTo>
                    <a:pt x="12659" y="4060"/>
                  </a:lnTo>
                  <a:lnTo>
                    <a:pt x="12534" y="4102"/>
                  </a:lnTo>
                  <a:lnTo>
                    <a:pt x="12450" y="4102"/>
                  </a:lnTo>
                  <a:lnTo>
                    <a:pt x="12325" y="3997"/>
                  </a:lnTo>
                  <a:lnTo>
                    <a:pt x="12220" y="3997"/>
                  </a:lnTo>
                  <a:lnTo>
                    <a:pt x="12178" y="3914"/>
                  </a:lnTo>
                  <a:lnTo>
                    <a:pt x="12178" y="3809"/>
                  </a:lnTo>
                  <a:lnTo>
                    <a:pt x="12199" y="3683"/>
                  </a:lnTo>
                  <a:lnTo>
                    <a:pt x="12115" y="3495"/>
                  </a:lnTo>
                  <a:lnTo>
                    <a:pt x="12074" y="3453"/>
                  </a:lnTo>
                  <a:lnTo>
                    <a:pt x="12032" y="3328"/>
                  </a:lnTo>
                  <a:lnTo>
                    <a:pt x="12032" y="3244"/>
                  </a:lnTo>
                  <a:lnTo>
                    <a:pt x="12095" y="3181"/>
                  </a:lnTo>
                  <a:lnTo>
                    <a:pt x="12115" y="3139"/>
                  </a:lnTo>
                  <a:lnTo>
                    <a:pt x="12095" y="2867"/>
                  </a:lnTo>
                  <a:lnTo>
                    <a:pt x="12011" y="2742"/>
                  </a:lnTo>
                  <a:lnTo>
                    <a:pt x="11906" y="2595"/>
                  </a:lnTo>
                  <a:lnTo>
                    <a:pt x="11906" y="2491"/>
                  </a:lnTo>
                  <a:lnTo>
                    <a:pt x="11802" y="2240"/>
                  </a:lnTo>
                  <a:lnTo>
                    <a:pt x="11760" y="2135"/>
                  </a:lnTo>
                  <a:lnTo>
                    <a:pt x="11676" y="2093"/>
                  </a:lnTo>
                  <a:lnTo>
                    <a:pt x="11655" y="2009"/>
                  </a:lnTo>
                  <a:lnTo>
                    <a:pt x="11571" y="1989"/>
                  </a:lnTo>
                  <a:lnTo>
                    <a:pt x="11467" y="1968"/>
                  </a:lnTo>
                  <a:lnTo>
                    <a:pt x="11383" y="1905"/>
                  </a:lnTo>
                  <a:lnTo>
                    <a:pt x="11279" y="1926"/>
                  </a:lnTo>
                  <a:lnTo>
                    <a:pt x="11237" y="1989"/>
                  </a:lnTo>
                  <a:lnTo>
                    <a:pt x="11237" y="2114"/>
                  </a:lnTo>
                  <a:lnTo>
                    <a:pt x="11195" y="2177"/>
                  </a:lnTo>
                  <a:lnTo>
                    <a:pt x="11237" y="2240"/>
                  </a:lnTo>
                  <a:lnTo>
                    <a:pt x="11195" y="2323"/>
                  </a:lnTo>
                  <a:lnTo>
                    <a:pt x="11132" y="2533"/>
                  </a:lnTo>
                  <a:lnTo>
                    <a:pt x="11132" y="2658"/>
                  </a:lnTo>
                  <a:lnTo>
                    <a:pt x="11153" y="2825"/>
                  </a:lnTo>
                  <a:lnTo>
                    <a:pt x="11195" y="2867"/>
                  </a:lnTo>
                  <a:lnTo>
                    <a:pt x="11174" y="3035"/>
                  </a:lnTo>
                  <a:lnTo>
                    <a:pt x="11132" y="3181"/>
                  </a:lnTo>
                  <a:lnTo>
                    <a:pt x="11153" y="3286"/>
                  </a:lnTo>
                  <a:lnTo>
                    <a:pt x="11153" y="3495"/>
                  </a:lnTo>
                  <a:lnTo>
                    <a:pt x="11090" y="3537"/>
                  </a:lnTo>
                  <a:lnTo>
                    <a:pt x="11048" y="3474"/>
                  </a:lnTo>
                  <a:lnTo>
                    <a:pt x="10986" y="3453"/>
                  </a:lnTo>
                  <a:lnTo>
                    <a:pt x="10944" y="3495"/>
                  </a:lnTo>
                  <a:lnTo>
                    <a:pt x="10860" y="3474"/>
                  </a:lnTo>
                  <a:lnTo>
                    <a:pt x="10839" y="3453"/>
                  </a:lnTo>
                  <a:lnTo>
                    <a:pt x="10755" y="3432"/>
                  </a:lnTo>
                  <a:lnTo>
                    <a:pt x="10630" y="3390"/>
                  </a:lnTo>
                  <a:lnTo>
                    <a:pt x="10546" y="3328"/>
                  </a:lnTo>
                  <a:lnTo>
                    <a:pt x="10504" y="3328"/>
                  </a:lnTo>
                  <a:lnTo>
                    <a:pt x="10462" y="3349"/>
                  </a:lnTo>
                  <a:lnTo>
                    <a:pt x="10504" y="3432"/>
                  </a:lnTo>
                  <a:lnTo>
                    <a:pt x="10567" y="3495"/>
                  </a:lnTo>
                  <a:lnTo>
                    <a:pt x="10567" y="3558"/>
                  </a:lnTo>
                  <a:lnTo>
                    <a:pt x="10546" y="3600"/>
                  </a:lnTo>
                  <a:lnTo>
                    <a:pt x="10525" y="3662"/>
                  </a:lnTo>
                  <a:lnTo>
                    <a:pt x="10462" y="3662"/>
                  </a:lnTo>
                  <a:lnTo>
                    <a:pt x="10442" y="3641"/>
                  </a:lnTo>
                  <a:lnTo>
                    <a:pt x="10358" y="3641"/>
                  </a:lnTo>
                  <a:lnTo>
                    <a:pt x="10316" y="3579"/>
                  </a:lnTo>
                  <a:lnTo>
                    <a:pt x="10316" y="3432"/>
                  </a:lnTo>
                  <a:lnTo>
                    <a:pt x="10232" y="3286"/>
                  </a:lnTo>
                  <a:lnTo>
                    <a:pt x="10211" y="3160"/>
                  </a:lnTo>
                  <a:lnTo>
                    <a:pt x="10190" y="3056"/>
                  </a:lnTo>
                  <a:lnTo>
                    <a:pt x="10107" y="2972"/>
                  </a:lnTo>
                  <a:lnTo>
                    <a:pt x="10107" y="2909"/>
                  </a:lnTo>
                  <a:lnTo>
                    <a:pt x="10044" y="2825"/>
                  </a:lnTo>
                  <a:lnTo>
                    <a:pt x="9981" y="2909"/>
                  </a:lnTo>
                  <a:lnTo>
                    <a:pt x="10023" y="2993"/>
                  </a:lnTo>
                  <a:lnTo>
                    <a:pt x="9981" y="3035"/>
                  </a:lnTo>
                  <a:lnTo>
                    <a:pt x="9981" y="3118"/>
                  </a:lnTo>
                  <a:lnTo>
                    <a:pt x="9939" y="3202"/>
                  </a:lnTo>
                  <a:lnTo>
                    <a:pt x="9898" y="3244"/>
                  </a:lnTo>
                  <a:lnTo>
                    <a:pt x="9814" y="3265"/>
                  </a:lnTo>
                  <a:lnTo>
                    <a:pt x="9772" y="3369"/>
                  </a:lnTo>
                  <a:lnTo>
                    <a:pt x="9667" y="3537"/>
                  </a:lnTo>
                  <a:lnTo>
                    <a:pt x="9584" y="3621"/>
                  </a:lnTo>
                  <a:lnTo>
                    <a:pt x="9584" y="3662"/>
                  </a:lnTo>
                  <a:lnTo>
                    <a:pt x="9521" y="3725"/>
                  </a:lnTo>
                  <a:lnTo>
                    <a:pt x="9458" y="3851"/>
                  </a:lnTo>
                  <a:lnTo>
                    <a:pt x="9395" y="3851"/>
                  </a:lnTo>
                  <a:lnTo>
                    <a:pt x="9374" y="3788"/>
                  </a:lnTo>
                  <a:lnTo>
                    <a:pt x="9395" y="3683"/>
                  </a:lnTo>
                  <a:lnTo>
                    <a:pt x="9479" y="3579"/>
                  </a:lnTo>
                  <a:lnTo>
                    <a:pt x="9500" y="3474"/>
                  </a:lnTo>
                  <a:lnTo>
                    <a:pt x="9563" y="3432"/>
                  </a:lnTo>
                  <a:lnTo>
                    <a:pt x="9667" y="3369"/>
                  </a:lnTo>
                  <a:lnTo>
                    <a:pt x="9709" y="3244"/>
                  </a:lnTo>
                  <a:lnTo>
                    <a:pt x="9793" y="3160"/>
                  </a:lnTo>
                  <a:lnTo>
                    <a:pt x="9814" y="3077"/>
                  </a:lnTo>
                  <a:lnTo>
                    <a:pt x="9814" y="3035"/>
                  </a:lnTo>
                  <a:lnTo>
                    <a:pt x="9772" y="2993"/>
                  </a:lnTo>
                  <a:lnTo>
                    <a:pt x="9793" y="2930"/>
                  </a:lnTo>
                  <a:lnTo>
                    <a:pt x="9877" y="2909"/>
                  </a:lnTo>
                  <a:lnTo>
                    <a:pt x="9898" y="2825"/>
                  </a:lnTo>
                  <a:lnTo>
                    <a:pt x="9898" y="2742"/>
                  </a:lnTo>
                  <a:lnTo>
                    <a:pt x="9939" y="2637"/>
                  </a:lnTo>
                  <a:lnTo>
                    <a:pt x="10023" y="2470"/>
                  </a:lnTo>
                  <a:lnTo>
                    <a:pt x="10023" y="2365"/>
                  </a:lnTo>
                  <a:lnTo>
                    <a:pt x="10086" y="2198"/>
                  </a:lnTo>
                  <a:lnTo>
                    <a:pt x="10107" y="1947"/>
                  </a:lnTo>
                  <a:lnTo>
                    <a:pt x="10086" y="1863"/>
                  </a:lnTo>
                  <a:lnTo>
                    <a:pt x="9918" y="1842"/>
                  </a:lnTo>
                  <a:lnTo>
                    <a:pt x="9814" y="1863"/>
                  </a:lnTo>
                  <a:lnTo>
                    <a:pt x="9709" y="1947"/>
                  </a:lnTo>
                  <a:lnTo>
                    <a:pt x="9605" y="1884"/>
                  </a:lnTo>
                  <a:lnTo>
                    <a:pt x="9521" y="1863"/>
                  </a:lnTo>
                  <a:lnTo>
                    <a:pt x="9479" y="1884"/>
                  </a:lnTo>
                  <a:lnTo>
                    <a:pt x="9500" y="1968"/>
                  </a:lnTo>
                  <a:lnTo>
                    <a:pt x="9584" y="2051"/>
                  </a:lnTo>
                  <a:lnTo>
                    <a:pt x="9584" y="2198"/>
                  </a:lnTo>
                  <a:lnTo>
                    <a:pt x="9563" y="2281"/>
                  </a:lnTo>
                  <a:lnTo>
                    <a:pt x="9500" y="2219"/>
                  </a:lnTo>
                  <a:lnTo>
                    <a:pt x="9479" y="2093"/>
                  </a:lnTo>
                  <a:lnTo>
                    <a:pt x="9395" y="2009"/>
                  </a:lnTo>
                  <a:lnTo>
                    <a:pt x="9312" y="1989"/>
                  </a:lnTo>
                  <a:lnTo>
                    <a:pt x="9165" y="2114"/>
                  </a:lnTo>
                  <a:lnTo>
                    <a:pt x="9165" y="2219"/>
                  </a:lnTo>
                  <a:lnTo>
                    <a:pt x="9207" y="2302"/>
                  </a:lnTo>
                  <a:lnTo>
                    <a:pt x="9165" y="2386"/>
                  </a:lnTo>
                  <a:lnTo>
                    <a:pt x="9061" y="2386"/>
                  </a:lnTo>
                  <a:lnTo>
                    <a:pt x="9061" y="2323"/>
                  </a:lnTo>
                  <a:lnTo>
                    <a:pt x="9061" y="2219"/>
                  </a:lnTo>
                  <a:lnTo>
                    <a:pt x="9040" y="2114"/>
                  </a:lnTo>
                  <a:lnTo>
                    <a:pt x="8956" y="2072"/>
                  </a:lnTo>
                  <a:lnTo>
                    <a:pt x="8747" y="2072"/>
                  </a:lnTo>
                  <a:lnTo>
                    <a:pt x="8538" y="2156"/>
                  </a:lnTo>
                  <a:lnTo>
                    <a:pt x="8307" y="2156"/>
                  </a:lnTo>
                  <a:lnTo>
                    <a:pt x="8140" y="2093"/>
                  </a:lnTo>
                  <a:lnTo>
                    <a:pt x="8056" y="2093"/>
                  </a:lnTo>
                  <a:lnTo>
                    <a:pt x="7994" y="2114"/>
                  </a:lnTo>
                  <a:lnTo>
                    <a:pt x="7910" y="2093"/>
                  </a:lnTo>
                  <a:lnTo>
                    <a:pt x="7805" y="2093"/>
                  </a:lnTo>
                  <a:lnTo>
                    <a:pt x="7701" y="2177"/>
                  </a:lnTo>
                  <a:lnTo>
                    <a:pt x="7680" y="2219"/>
                  </a:lnTo>
                  <a:lnTo>
                    <a:pt x="7722" y="2302"/>
                  </a:lnTo>
                  <a:lnTo>
                    <a:pt x="7722" y="2386"/>
                  </a:lnTo>
                  <a:lnTo>
                    <a:pt x="7784" y="2491"/>
                  </a:lnTo>
                  <a:lnTo>
                    <a:pt x="7805" y="2533"/>
                  </a:lnTo>
                  <a:lnTo>
                    <a:pt x="7784" y="2616"/>
                  </a:lnTo>
                  <a:lnTo>
                    <a:pt x="7722" y="2784"/>
                  </a:lnTo>
                  <a:lnTo>
                    <a:pt x="7742" y="2930"/>
                  </a:lnTo>
                  <a:lnTo>
                    <a:pt x="7889" y="3118"/>
                  </a:lnTo>
                  <a:lnTo>
                    <a:pt x="7889" y="3223"/>
                  </a:lnTo>
                  <a:lnTo>
                    <a:pt x="7910" y="3432"/>
                  </a:lnTo>
                  <a:lnTo>
                    <a:pt x="7889" y="3453"/>
                  </a:lnTo>
                  <a:lnTo>
                    <a:pt x="7826" y="3411"/>
                  </a:lnTo>
                  <a:lnTo>
                    <a:pt x="7784" y="3307"/>
                  </a:lnTo>
                  <a:lnTo>
                    <a:pt x="7638" y="3160"/>
                  </a:lnTo>
                  <a:lnTo>
                    <a:pt x="7596" y="3118"/>
                  </a:lnTo>
                  <a:lnTo>
                    <a:pt x="7596" y="2909"/>
                  </a:lnTo>
                  <a:lnTo>
                    <a:pt x="7617" y="2700"/>
                  </a:lnTo>
                  <a:lnTo>
                    <a:pt x="7617" y="2595"/>
                  </a:lnTo>
                  <a:lnTo>
                    <a:pt x="7512" y="2428"/>
                  </a:lnTo>
                  <a:lnTo>
                    <a:pt x="7512" y="2323"/>
                  </a:lnTo>
                  <a:lnTo>
                    <a:pt x="7491" y="2281"/>
                  </a:lnTo>
                  <a:lnTo>
                    <a:pt x="7429" y="2261"/>
                  </a:lnTo>
                  <a:lnTo>
                    <a:pt x="7303" y="2302"/>
                  </a:lnTo>
                  <a:lnTo>
                    <a:pt x="7177" y="2386"/>
                  </a:lnTo>
                  <a:lnTo>
                    <a:pt x="7010" y="2407"/>
                  </a:lnTo>
                  <a:lnTo>
                    <a:pt x="6947" y="2470"/>
                  </a:lnTo>
                  <a:lnTo>
                    <a:pt x="6905" y="2595"/>
                  </a:lnTo>
                  <a:lnTo>
                    <a:pt x="6947" y="2700"/>
                  </a:lnTo>
                  <a:lnTo>
                    <a:pt x="6905" y="2825"/>
                  </a:lnTo>
                  <a:lnTo>
                    <a:pt x="6843" y="2930"/>
                  </a:lnTo>
                  <a:lnTo>
                    <a:pt x="6801" y="2993"/>
                  </a:lnTo>
                  <a:lnTo>
                    <a:pt x="6843" y="3035"/>
                  </a:lnTo>
                  <a:lnTo>
                    <a:pt x="6885" y="3035"/>
                  </a:lnTo>
                  <a:lnTo>
                    <a:pt x="6947" y="3056"/>
                  </a:lnTo>
                  <a:lnTo>
                    <a:pt x="6947" y="3202"/>
                  </a:lnTo>
                  <a:lnTo>
                    <a:pt x="6885" y="3307"/>
                  </a:lnTo>
                  <a:lnTo>
                    <a:pt x="6738" y="3411"/>
                  </a:lnTo>
                  <a:lnTo>
                    <a:pt x="6633" y="3411"/>
                  </a:lnTo>
                  <a:lnTo>
                    <a:pt x="6592" y="3453"/>
                  </a:lnTo>
                  <a:lnTo>
                    <a:pt x="6571" y="3558"/>
                  </a:lnTo>
                  <a:lnTo>
                    <a:pt x="6529" y="3621"/>
                  </a:lnTo>
                  <a:lnTo>
                    <a:pt x="6487" y="3683"/>
                  </a:lnTo>
                  <a:lnTo>
                    <a:pt x="6529" y="3767"/>
                  </a:lnTo>
                  <a:lnTo>
                    <a:pt x="6487" y="3830"/>
                  </a:lnTo>
                  <a:lnTo>
                    <a:pt x="6424" y="3830"/>
                  </a:lnTo>
                  <a:lnTo>
                    <a:pt x="6382" y="3851"/>
                  </a:lnTo>
                  <a:lnTo>
                    <a:pt x="6236" y="3872"/>
                  </a:lnTo>
                  <a:lnTo>
                    <a:pt x="6131" y="3830"/>
                  </a:lnTo>
                  <a:lnTo>
                    <a:pt x="6089" y="3767"/>
                  </a:lnTo>
                  <a:lnTo>
                    <a:pt x="6089" y="3683"/>
                  </a:lnTo>
                  <a:lnTo>
                    <a:pt x="6048" y="3662"/>
                  </a:lnTo>
                  <a:lnTo>
                    <a:pt x="5985" y="3662"/>
                  </a:lnTo>
                  <a:lnTo>
                    <a:pt x="5964" y="3621"/>
                  </a:lnTo>
                  <a:lnTo>
                    <a:pt x="5943" y="3537"/>
                  </a:lnTo>
                  <a:lnTo>
                    <a:pt x="5838" y="3537"/>
                  </a:lnTo>
                  <a:lnTo>
                    <a:pt x="5797" y="3579"/>
                  </a:lnTo>
                  <a:lnTo>
                    <a:pt x="5755" y="3641"/>
                  </a:lnTo>
                  <a:lnTo>
                    <a:pt x="5671" y="3641"/>
                  </a:lnTo>
                  <a:lnTo>
                    <a:pt x="5629" y="3662"/>
                  </a:lnTo>
                  <a:lnTo>
                    <a:pt x="5629" y="3830"/>
                  </a:lnTo>
                  <a:lnTo>
                    <a:pt x="5608" y="3893"/>
                  </a:lnTo>
                  <a:lnTo>
                    <a:pt x="5608" y="3997"/>
                  </a:lnTo>
                  <a:lnTo>
                    <a:pt x="5650" y="4165"/>
                  </a:lnTo>
                  <a:lnTo>
                    <a:pt x="5629" y="4353"/>
                  </a:lnTo>
                  <a:lnTo>
                    <a:pt x="5566" y="4416"/>
                  </a:lnTo>
                  <a:lnTo>
                    <a:pt x="5525" y="4416"/>
                  </a:lnTo>
                  <a:lnTo>
                    <a:pt x="5545" y="4206"/>
                  </a:lnTo>
                  <a:lnTo>
                    <a:pt x="5545" y="4060"/>
                  </a:lnTo>
                  <a:lnTo>
                    <a:pt x="5525" y="3976"/>
                  </a:lnTo>
                  <a:lnTo>
                    <a:pt x="5525" y="3767"/>
                  </a:lnTo>
                  <a:lnTo>
                    <a:pt x="5504" y="3662"/>
                  </a:lnTo>
                  <a:lnTo>
                    <a:pt x="5462" y="3641"/>
                  </a:lnTo>
                  <a:lnTo>
                    <a:pt x="5420" y="3662"/>
                  </a:lnTo>
                  <a:lnTo>
                    <a:pt x="5336" y="3662"/>
                  </a:lnTo>
                  <a:lnTo>
                    <a:pt x="5253" y="3767"/>
                  </a:lnTo>
                  <a:lnTo>
                    <a:pt x="5190" y="3788"/>
                  </a:lnTo>
                  <a:lnTo>
                    <a:pt x="5085" y="3872"/>
                  </a:lnTo>
                  <a:lnTo>
                    <a:pt x="5043" y="3955"/>
                  </a:lnTo>
                  <a:lnTo>
                    <a:pt x="5043" y="4039"/>
                  </a:lnTo>
                  <a:lnTo>
                    <a:pt x="4918" y="4186"/>
                  </a:lnTo>
                  <a:lnTo>
                    <a:pt x="4876" y="4206"/>
                  </a:lnTo>
                  <a:lnTo>
                    <a:pt x="4834" y="4165"/>
                  </a:lnTo>
                  <a:lnTo>
                    <a:pt x="4729" y="4165"/>
                  </a:lnTo>
                  <a:lnTo>
                    <a:pt x="4688" y="4186"/>
                  </a:lnTo>
                  <a:lnTo>
                    <a:pt x="4688" y="4248"/>
                  </a:lnTo>
                  <a:lnTo>
                    <a:pt x="4771" y="4269"/>
                  </a:lnTo>
                  <a:lnTo>
                    <a:pt x="4792" y="4290"/>
                  </a:lnTo>
                  <a:lnTo>
                    <a:pt x="4709" y="4311"/>
                  </a:lnTo>
                  <a:lnTo>
                    <a:pt x="4562" y="4311"/>
                  </a:lnTo>
                  <a:lnTo>
                    <a:pt x="4478" y="4353"/>
                  </a:lnTo>
                  <a:lnTo>
                    <a:pt x="4416" y="4416"/>
                  </a:lnTo>
                  <a:lnTo>
                    <a:pt x="4248" y="4478"/>
                  </a:lnTo>
                  <a:lnTo>
                    <a:pt x="4248" y="4520"/>
                  </a:lnTo>
                  <a:lnTo>
                    <a:pt x="4185" y="4583"/>
                  </a:lnTo>
                  <a:lnTo>
                    <a:pt x="4081" y="4625"/>
                  </a:lnTo>
                  <a:lnTo>
                    <a:pt x="3997" y="4625"/>
                  </a:lnTo>
                  <a:lnTo>
                    <a:pt x="3976" y="4688"/>
                  </a:lnTo>
                  <a:lnTo>
                    <a:pt x="3976" y="4771"/>
                  </a:lnTo>
                  <a:lnTo>
                    <a:pt x="4039" y="4813"/>
                  </a:lnTo>
                  <a:lnTo>
                    <a:pt x="3997" y="4876"/>
                  </a:lnTo>
                  <a:lnTo>
                    <a:pt x="3955" y="4897"/>
                  </a:lnTo>
                  <a:lnTo>
                    <a:pt x="3892" y="4939"/>
                  </a:lnTo>
                  <a:lnTo>
                    <a:pt x="3851" y="5022"/>
                  </a:lnTo>
                  <a:lnTo>
                    <a:pt x="3767" y="5043"/>
                  </a:lnTo>
                  <a:lnTo>
                    <a:pt x="3746" y="5127"/>
                  </a:lnTo>
                  <a:lnTo>
                    <a:pt x="3746" y="5169"/>
                  </a:lnTo>
                  <a:lnTo>
                    <a:pt x="3767" y="5211"/>
                  </a:lnTo>
                  <a:lnTo>
                    <a:pt x="3767" y="5294"/>
                  </a:lnTo>
                  <a:lnTo>
                    <a:pt x="3767" y="5336"/>
                  </a:lnTo>
                  <a:lnTo>
                    <a:pt x="3830" y="5357"/>
                  </a:lnTo>
                  <a:lnTo>
                    <a:pt x="3892" y="5357"/>
                  </a:lnTo>
                  <a:lnTo>
                    <a:pt x="3976" y="5420"/>
                  </a:lnTo>
                  <a:lnTo>
                    <a:pt x="4039" y="5420"/>
                  </a:lnTo>
                  <a:lnTo>
                    <a:pt x="4081" y="5357"/>
                  </a:lnTo>
                  <a:lnTo>
                    <a:pt x="4144" y="5357"/>
                  </a:lnTo>
                  <a:lnTo>
                    <a:pt x="4248" y="5441"/>
                  </a:lnTo>
                  <a:lnTo>
                    <a:pt x="4269" y="5525"/>
                  </a:lnTo>
                  <a:lnTo>
                    <a:pt x="4353" y="5525"/>
                  </a:lnTo>
                  <a:lnTo>
                    <a:pt x="4457" y="5441"/>
                  </a:lnTo>
                  <a:lnTo>
                    <a:pt x="4499" y="5441"/>
                  </a:lnTo>
                  <a:lnTo>
                    <a:pt x="4604" y="5462"/>
                  </a:lnTo>
                  <a:lnTo>
                    <a:pt x="4792" y="5462"/>
                  </a:lnTo>
                  <a:lnTo>
                    <a:pt x="4834" y="5441"/>
                  </a:lnTo>
                  <a:lnTo>
                    <a:pt x="4834" y="5336"/>
                  </a:lnTo>
                  <a:lnTo>
                    <a:pt x="4918" y="5253"/>
                  </a:lnTo>
                  <a:lnTo>
                    <a:pt x="4939" y="5253"/>
                  </a:lnTo>
                  <a:lnTo>
                    <a:pt x="4939" y="5357"/>
                  </a:lnTo>
                  <a:lnTo>
                    <a:pt x="4981" y="5378"/>
                  </a:lnTo>
                  <a:lnTo>
                    <a:pt x="4939" y="5441"/>
                  </a:lnTo>
                  <a:lnTo>
                    <a:pt x="4813" y="5483"/>
                  </a:lnTo>
                  <a:lnTo>
                    <a:pt x="4709" y="5566"/>
                  </a:lnTo>
                  <a:lnTo>
                    <a:pt x="4562" y="5546"/>
                  </a:lnTo>
                  <a:lnTo>
                    <a:pt x="4457" y="5566"/>
                  </a:lnTo>
                  <a:lnTo>
                    <a:pt x="4416" y="5629"/>
                  </a:lnTo>
                  <a:lnTo>
                    <a:pt x="4416" y="5671"/>
                  </a:lnTo>
                  <a:lnTo>
                    <a:pt x="4520" y="5755"/>
                  </a:lnTo>
                  <a:lnTo>
                    <a:pt x="4667" y="5755"/>
                  </a:lnTo>
                  <a:lnTo>
                    <a:pt x="4688" y="5776"/>
                  </a:lnTo>
                  <a:lnTo>
                    <a:pt x="4667" y="5859"/>
                  </a:lnTo>
                  <a:lnTo>
                    <a:pt x="4520" y="5943"/>
                  </a:lnTo>
                  <a:lnTo>
                    <a:pt x="4290" y="5943"/>
                  </a:lnTo>
                  <a:lnTo>
                    <a:pt x="4206" y="6048"/>
                  </a:lnTo>
                  <a:lnTo>
                    <a:pt x="4206" y="6152"/>
                  </a:lnTo>
                  <a:lnTo>
                    <a:pt x="4290" y="6194"/>
                  </a:lnTo>
                  <a:lnTo>
                    <a:pt x="4269" y="6299"/>
                  </a:lnTo>
                  <a:lnTo>
                    <a:pt x="4185" y="6320"/>
                  </a:lnTo>
                  <a:lnTo>
                    <a:pt x="4081" y="6487"/>
                  </a:lnTo>
                  <a:lnTo>
                    <a:pt x="4039" y="6571"/>
                  </a:lnTo>
                  <a:lnTo>
                    <a:pt x="3892" y="6613"/>
                  </a:lnTo>
                  <a:lnTo>
                    <a:pt x="3788" y="6738"/>
                  </a:lnTo>
                  <a:lnTo>
                    <a:pt x="3725" y="6843"/>
                  </a:lnTo>
                  <a:lnTo>
                    <a:pt x="3620" y="6947"/>
                  </a:lnTo>
                  <a:lnTo>
                    <a:pt x="3620" y="7010"/>
                  </a:lnTo>
                  <a:lnTo>
                    <a:pt x="3537" y="7031"/>
                  </a:lnTo>
                  <a:lnTo>
                    <a:pt x="3453" y="7031"/>
                  </a:lnTo>
                  <a:lnTo>
                    <a:pt x="3348" y="6947"/>
                  </a:lnTo>
                  <a:lnTo>
                    <a:pt x="3307" y="6906"/>
                  </a:lnTo>
                  <a:lnTo>
                    <a:pt x="3202" y="6885"/>
                  </a:lnTo>
                  <a:lnTo>
                    <a:pt x="3139" y="6822"/>
                  </a:lnTo>
                  <a:lnTo>
                    <a:pt x="3014" y="6801"/>
                  </a:lnTo>
                  <a:lnTo>
                    <a:pt x="2888" y="6822"/>
                  </a:lnTo>
                  <a:lnTo>
                    <a:pt x="2784" y="6885"/>
                  </a:lnTo>
                  <a:lnTo>
                    <a:pt x="2679" y="6843"/>
                  </a:lnTo>
                  <a:lnTo>
                    <a:pt x="2616" y="6822"/>
                  </a:lnTo>
                  <a:lnTo>
                    <a:pt x="2512" y="6843"/>
                  </a:lnTo>
                  <a:lnTo>
                    <a:pt x="2344" y="6843"/>
                  </a:lnTo>
                  <a:lnTo>
                    <a:pt x="2177" y="6927"/>
                  </a:lnTo>
                  <a:lnTo>
                    <a:pt x="2156" y="7010"/>
                  </a:lnTo>
                  <a:lnTo>
                    <a:pt x="2198" y="7052"/>
                  </a:lnTo>
                  <a:lnTo>
                    <a:pt x="2177" y="7115"/>
                  </a:lnTo>
                  <a:lnTo>
                    <a:pt x="2156" y="7052"/>
                  </a:lnTo>
                  <a:lnTo>
                    <a:pt x="2072" y="7052"/>
                  </a:lnTo>
                  <a:lnTo>
                    <a:pt x="1654" y="7157"/>
                  </a:lnTo>
                  <a:lnTo>
                    <a:pt x="1549" y="7157"/>
                  </a:lnTo>
                  <a:lnTo>
                    <a:pt x="1486" y="7199"/>
                  </a:lnTo>
                  <a:lnTo>
                    <a:pt x="1465" y="7199"/>
                  </a:lnTo>
                  <a:lnTo>
                    <a:pt x="1382" y="7157"/>
                  </a:lnTo>
                  <a:lnTo>
                    <a:pt x="1319" y="7219"/>
                  </a:lnTo>
                  <a:lnTo>
                    <a:pt x="1277" y="7261"/>
                  </a:lnTo>
                  <a:lnTo>
                    <a:pt x="1214" y="7303"/>
                  </a:lnTo>
                  <a:lnTo>
                    <a:pt x="1172" y="7261"/>
                  </a:lnTo>
                  <a:lnTo>
                    <a:pt x="1172" y="7240"/>
                  </a:lnTo>
                  <a:lnTo>
                    <a:pt x="1110" y="7219"/>
                  </a:lnTo>
                  <a:lnTo>
                    <a:pt x="1026" y="7219"/>
                  </a:lnTo>
                  <a:lnTo>
                    <a:pt x="942" y="7261"/>
                  </a:lnTo>
                  <a:lnTo>
                    <a:pt x="859" y="7261"/>
                  </a:lnTo>
                  <a:lnTo>
                    <a:pt x="817" y="7240"/>
                  </a:lnTo>
                  <a:lnTo>
                    <a:pt x="733" y="7240"/>
                  </a:lnTo>
                  <a:lnTo>
                    <a:pt x="691" y="7303"/>
                  </a:lnTo>
                  <a:lnTo>
                    <a:pt x="607" y="7324"/>
                  </a:lnTo>
                  <a:lnTo>
                    <a:pt x="607" y="7366"/>
                  </a:lnTo>
                  <a:lnTo>
                    <a:pt x="607" y="7429"/>
                  </a:lnTo>
                  <a:lnTo>
                    <a:pt x="419" y="7512"/>
                  </a:lnTo>
                  <a:lnTo>
                    <a:pt x="315" y="7512"/>
                  </a:lnTo>
                  <a:lnTo>
                    <a:pt x="294" y="7554"/>
                  </a:lnTo>
                  <a:lnTo>
                    <a:pt x="335" y="7638"/>
                  </a:lnTo>
                  <a:lnTo>
                    <a:pt x="419" y="7638"/>
                  </a:lnTo>
                  <a:lnTo>
                    <a:pt x="482" y="7659"/>
                  </a:lnTo>
                  <a:lnTo>
                    <a:pt x="482" y="7722"/>
                  </a:lnTo>
                  <a:lnTo>
                    <a:pt x="398" y="7722"/>
                  </a:lnTo>
                  <a:lnTo>
                    <a:pt x="377" y="7680"/>
                  </a:lnTo>
                  <a:lnTo>
                    <a:pt x="335" y="7722"/>
                  </a:lnTo>
                  <a:lnTo>
                    <a:pt x="294" y="7784"/>
                  </a:lnTo>
                  <a:lnTo>
                    <a:pt x="189" y="7847"/>
                  </a:lnTo>
                  <a:lnTo>
                    <a:pt x="105" y="7868"/>
                  </a:lnTo>
                  <a:lnTo>
                    <a:pt x="168" y="7931"/>
                  </a:lnTo>
                  <a:lnTo>
                    <a:pt x="273" y="7973"/>
                  </a:lnTo>
                  <a:lnTo>
                    <a:pt x="315" y="8035"/>
                  </a:lnTo>
                  <a:lnTo>
                    <a:pt x="419" y="8266"/>
                  </a:lnTo>
                  <a:lnTo>
                    <a:pt x="482" y="8307"/>
                  </a:lnTo>
                  <a:lnTo>
                    <a:pt x="587" y="8307"/>
                  </a:lnTo>
                  <a:lnTo>
                    <a:pt x="628" y="8349"/>
                  </a:lnTo>
                  <a:lnTo>
                    <a:pt x="649" y="8391"/>
                  </a:lnTo>
                  <a:lnTo>
                    <a:pt x="607" y="8454"/>
                  </a:lnTo>
                  <a:lnTo>
                    <a:pt x="545" y="8496"/>
                  </a:lnTo>
                  <a:lnTo>
                    <a:pt x="524" y="8559"/>
                  </a:lnTo>
                  <a:lnTo>
                    <a:pt x="587" y="8621"/>
                  </a:lnTo>
                  <a:lnTo>
                    <a:pt x="691" y="8663"/>
                  </a:lnTo>
                  <a:lnTo>
                    <a:pt x="817" y="8621"/>
                  </a:lnTo>
                  <a:lnTo>
                    <a:pt x="921" y="8559"/>
                  </a:lnTo>
                  <a:lnTo>
                    <a:pt x="963" y="8496"/>
                  </a:lnTo>
                  <a:lnTo>
                    <a:pt x="1005" y="8475"/>
                  </a:lnTo>
                  <a:lnTo>
                    <a:pt x="1047" y="8496"/>
                  </a:lnTo>
                  <a:lnTo>
                    <a:pt x="1068" y="8559"/>
                  </a:lnTo>
                  <a:lnTo>
                    <a:pt x="1005" y="8684"/>
                  </a:lnTo>
                  <a:lnTo>
                    <a:pt x="900" y="8726"/>
                  </a:lnTo>
                  <a:lnTo>
                    <a:pt x="796" y="8768"/>
                  </a:lnTo>
                  <a:lnTo>
                    <a:pt x="754" y="8810"/>
                  </a:lnTo>
                  <a:lnTo>
                    <a:pt x="796" y="8893"/>
                  </a:lnTo>
                  <a:lnTo>
                    <a:pt x="900" y="8914"/>
                  </a:lnTo>
                  <a:lnTo>
                    <a:pt x="963" y="8872"/>
                  </a:lnTo>
                  <a:lnTo>
                    <a:pt x="1110" y="8810"/>
                  </a:lnTo>
                  <a:lnTo>
                    <a:pt x="1151" y="8831"/>
                  </a:lnTo>
                  <a:lnTo>
                    <a:pt x="1151" y="8872"/>
                  </a:lnTo>
                  <a:lnTo>
                    <a:pt x="963" y="8935"/>
                  </a:lnTo>
                  <a:lnTo>
                    <a:pt x="838" y="8998"/>
                  </a:lnTo>
                  <a:lnTo>
                    <a:pt x="817" y="9040"/>
                  </a:lnTo>
                  <a:lnTo>
                    <a:pt x="1005" y="9228"/>
                  </a:lnTo>
                  <a:lnTo>
                    <a:pt x="1131" y="9291"/>
                  </a:lnTo>
                  <a:lnTo>
                    <a:pt x="1277" y="9291"/>
                  </a:lnTo>
                  <a:lnTo>
                    <a:pt x="1340" y="9228"/>
                  </a:lnTo>
                  <a:lnTo>
                    <a:pt x="1361" y="9103"/>
                  </a:lnTo>
                  <a:lnTo>
                    <a:pt x="1319" y="9040"/>
                  </a:lnTo>
                  <a:lnTo>
                    <a:pt x="1277" y="8998"/>
                  </a:lnTo>
                  <a:lnTo>
                    <a:pt x="1319" y="8977"/>
                  </a:lnTo>
                  <a:lnTo>
                    <a:pt x="1361" y="8977"/>
                  </a:lnTo>
                  <a:lnTo>
                    <a:pt x="1444" y="9082"/>
                  </a:lnTo>
                  <a:lnTo>
                    <a:pt x="1465" y="9103"/>
                  </a:lnTo>
                  <a:lnTo>
                    <a:pt x="1465" y="9144"/>
                  </a:lnTo>
                  <a:lnTo>
                    <a:pt x="1570" y="9207"/>
                  </a:lnTo>
                  <a:lnTo>
                    <a:pt x="1758" y="9228"/>
                  </a:lnTo>
                  <a:lnTo>
                    <a:pt x="1884" y="9228"/>
                  </a:lnTo>
                  <a:lnTo>
                    <a:pt x="1988" y="9144"/>
                  </a:lnTo>
                  <a:lnTo>
                    <a:pt x="2051" y="9123"/>
                  </a:lnTo>
                  <a:lnTo>
                    <a:pt x="2114" y="9144"/>
                  </a:lnTo>
                  <a:lnTo>
                    <a:pt x="2114" y="9228"/>
                  </a:lnTo>
                  <a:lnTo>
                    <a:pt x="2177" y="9291"/>
                  </a:lnTo>
                  <a:lnTo>
                    <a:pt x="2219" y="9291"/>
                  </a:lnTo>
                  <a:lnTo>
                    <a:pt x="2281" y="9312"/>
                  </a:lnTo>
                  <a:lnTo>
                    <a:pt x="2302" y="9458"/>
                  </a:lnTo>
                  <a:lnTo>
                    <a:pt x="2260" y="9458"/>
                  </a:lnTo>
                  <a:lnTo>
                    <a:pt x="2114" y="9542"/>
                  </a:lnTo>
                  <a:lnTo>
                    <a:pt x="2114" y="9626"/>
                  </a:lnTo>
                  <a:lnTo>
                    <a:pt x="2156" y="9667"/>
                  </a:lnTo>
                  <a:lnTo>
                    <a:pt x="2156" y="9730"/>
                  </a:lnTo>
                  <a:lnTo>
                    <a:pt x="2072" y="9667"/>
                  </a:lnTo>
                  <a:lnTo>
                    <a:pt x="2051" y="9647"/>
                  </a:lnTo>
                  <a:lnTo>
                    <a:pt x="1968" y="9626"/>
                  </a:lnTo>
                  <a:lnTo>
                    <a:pt x="1884" y="9542"/>
                  </a:lnTo>
                  <a:lnTo>
                    <a:pt x="1696" y="9458"/>
                  </a:lnTo>
                  <a:lnTo>
                    <a:pt x="1465" y="9458"/>
                  </a:lnTo>
                  <a:lnTo>
                    <a:pt x="1319" y="9437"/>
                  </a:lnTo>
                  <a:lnTo>
                    <a:pt x="1110" y="9500"/>
                  </a:lnTo>
                  <a:lnTo>
                    <a:pt x="1110" y="9542"/>
                  </a:lnTo>
                  <a:lnTo>
                    <a:pt x="1214" y="9626"/>
                  </a:lnTo>
                  <a:lnTo>
                    <a:pt x="1361" y="9647"/>
                  </a:lnTo>
                  <a:lnTo>
                    <a:pt x="1486" y="9667"/>
                  </a:lnTo>
                  <a:lnTo>
                    <a:pt x="1654" y="9772"/>
                  </a:lnTo>
                  <a:lnTo>
                    <a:pt x="1842" y="9856"/>
                  </a:lnTo>
                  <a:lnTo>
                    <a:pt x="1947" y="9856"/>
                  </a:lnTo>
                  <a:lnTo>
                    <a:pt x="2009" y="9877"/>
                  </a:lnTo>
                  <a:lnTo>
                    <a:pt x="1884" y="9940"/>
                  </a:lnTo>
                  <a:lnTo>
                    <a:pt x="1654" y="9940"/>
                  </a:lnTo>
                  <a:lnTo>
                    <a:pt x="1444" y="9814"/>
                  </a:lnTo>
                  <a:lnTo>
                    <a:pt x="1361" y="9751"/>
                  </a:lnTo>
                  <a:lnTo>
                    <a:pt x="1214" y="9751"/>
                  </a:lnTo>
                  <a:lnTo>
                    <a:pt x="1005" y="9647"/>
                  </a:lnTo>
                  <a:lnTo>
                    <a:pt x="796" y="9647"/>
                  </a:lnTo>
                  <a:lnTo>
                    <a:pt x="649" y="9563"/>
                  </a:lnTo>
                  <a:lnTo>
                    <a:pt x="482" y="9521"/>
                  </a:lnTo>
                  <a:lnTo>
                    <a:pt x="294" y="9605"/>
                  </a:lnTo>
                  <a:lnTo>
                    <a:pt x="294" y="9730"/>
                  </a:lnTo>
                  <a:lnTo>
                    <a:pt x="231" y="9667"/>
                  </a:lnTo>
                  <a:lnTo>
                    <a:pt x="168" y="9667"/>
                  </a:lnTo>
                  <a:lnTo>
                    <a:pt x="105" y="9730"/>
                  </a:lnTo>
                  <a:lnTo>
                    <a:pt x="63" y="9730"/>
                  </a:lnTo>
                  <a:lnTo>
                    <a:pt x="1" y="9814"/>
                  </a:lnTo>
                  <a:lnTo>
                    <a:pt x="1" y="9877"/>
                  </a:lnTo>
                  <a:lnTo>
                    <a:pt x="1" y="9960"/>
                  </a:lnTo>
                  <a:lnTo>
                    <a:pt x="63" y="9940"/>
                  </a:lnTo>
                  <a:lnTo>
                    <a:pt x="105" y="9940"/>
                  </a:lnTo>
                  <a:lnTo>
                    <a:pt x="147" y="9960"/>
                  </a:lnTo>
                  <a:lnTo>
                    <a:pt x="63" y="10023"/>
                  </a:lnTo>
                  <a:lnTo>
                    <a:pt x="22" y="10086"/>
                  </a:lnTo>
                  <a:lnTo>
                    <a:pt x="63" y="10191"/>
                  </a:lnTo>
                  <a:lnTo>
                    <a:pt x="189" y="10253"/>
                  </a:lnTo>
                  <a:lnTo>
                    <a:pt x="273" y="10170"/>
                  </a:lnTo>
                  <a:lnTo>
                    <a:pt x="315" y="10149"/>
                  </a:lnTo>
                  <a:lnTo>
                    <a:pt x="377" y="10149"/>
                  </a:lnTo>
                  <a:lnTo>
                    <a:pt x="440" y="10023"/>
                  </a:lnTo>
                  <a:lnTo>
                    <a:pt x="503" y="9981"/>
                  </a:lnTo>
                  <a:lnTo>
                    <a:pt x="587" y="9981"/>
                  </a:lnTo>
                  <a:lnTo>
                    <a:pt x="524" y="10044"/>
                  </a:lnTo>
                  <a:lnTo>
                    <a:pt x="482" y="10170"/>
                  </a:lnTo>
                  <a:lnTo>
                    <a:pt x="398" y="10232"/>
                  </a:lnTo>
                  <a:lnTo>
                    <a:pt x="315" y="10274"/>
                  </a:lnTo>
                  <a:lnTo>
                    <a:pt x="356" y="10442"/>
                  </a:lnTo>
                  <a:lnTo>
                    <a:pt x="503" y="10588"/>
                  </a:lnTo>
                  <a:lnTo>
                    <a:pt x="566" y="10546"/>
                  </a:lnTo>
                  <a:lnTo>
                    <a:pt x="607" y="10546"/>
                  </a:lnTo>
                  <a:lnTo>
                    <a:pt x="775" y="10609"/>
                  </a:lnTo>
                  <a:lnTo>
                    <a:pt x="879" y="10609"/>
                  </a:lnTo>
                  <a:lnTo>
                    <a:pt x="879" y="10672"/>
                  </a:lnTo>
                  <a:lnTo>
                    <a:pt x="817" y="10756"/>
                  </a:lnTo>
                  <a:lnTo>
                    <a:pt x="733" y="10797"/>
                  </a:lnTo>
                  <a:lnTo>
                    <a:pt x="712" y="10776"/>
                  </a:lnTo>
                  <a:lnTo>
                    <a:pt x="545" y="10776"/>
                  </a:lnTo>
                  <a:lnTo>
                    <a:pt x="482" y="10797"/>
                  </a:lnTo>
                  <a:lnTo>
                    <a:pt x="419" y="10881"/>
                  </a:lnTo>
                  <a:lnTo>
                    <a:pt x="273" y="10881"/>
                  </a:lnTo>
                  <a:lnTo>
                    <a:pt x="210" y="10923"/>
                  </a:lnTo>
                  <a:lnTo>
                    <a:pt x="210" y="11069"/>
                  </a:lnTo>
                  <a:lnTo>
                    <a:pt x="294" y="11174"/>
                  </a:lnTo>
                  <a:lnTo>
                    <a:pt x="335" y="11237"/>
                  </a:lnTo>
                  <a:lnTo>
                    <a:pt x="419" y="11425"/>
                  </a:lnTo>
                  <a:lnTo>
                    <a:pt x="545" y="11488"/>
                  </a:lnTo>
                  <a:lnTo>
                    <a:pt x="503" y="11509"/>
                  </a:lnTo>
                  <a:lnTo>
                    <a:pt x="503" y="11530"/>
                  </a:lnTo>
                  <a:lnTo>
                    <a:pt x="587" y="11592"/>
                  </a:lnTo>
                  <a:lnTo>
                    <a:pt x="670" y="11697"/>
                  </a:lnTo>
                  <a:lnTo>
                    <a:pt x="754" y="11760"/>
                  </a:lnTo>
                  <a:lnTo>
                    <a:pt x="859" y="11823"/>
                  </a:lnTo>
                  <a:lnTo>
                    <a:pt x="963" y="11927"/>
                  </a:lnTo>
                  <a:lnTo>
                    <a:pt x="1047" y="11969"/>
                  </a:lnTo>
                  <a:lnTo>
                    <a:pt x="1068" y="11948"/>
                  </a:lnTo>
                  <a:lnTo>
                    <a:pt x="1068" y="11864"/>
                  </a:lnTo>
                  <a:lnTo>
                    <a:pt x="1047" y="11718"/>
                  </a:lnTo>
                  <a:lnTo>
                    <a:pt x="1047" y="11634"/>
                  </a:lnTo>
                  <a:lnTo>
                    <a:pt x="1110" y="11592"/>
                  </a:lnTo>
                  <a:lnTo>
                    <a:pt x="1131" y="11488"/>
                  </a:lnTo>
                  <a:lnTo>
                    <a:pt x="1131" y="11404"/>
                  </a:lnTo>
                  <a:lnTo>
                    <a:pt x="1172" y="11383"/>
                  </a:lnTo>
                  <a:lnTo>
                    <a:pt x="1214" y="11383"/>
                  </a:lnTo>
                  <a:lnTo>
                    <a:pt x="1235" y="11488"/>
                  </a:lnTo>
                  <a:lnTo>
                    <a:pt x="1277" y="11592"/>
                  </a:lnTo>
                  <a:lnTo>
                    <a:pt x="1277" y="11655"/>
                  </a:lnTo>
                  <a:lnTo>
                    <a:pt x="1319" y="11718"/>
                  </a:lnTo>
                  <a:lnTo>
                    <a:pt x="1340" y="11697"/>
                  </a:lnTo>
                  <a:lnTo>
                    <a:pt x="1361" y="11634"/>
                  </a:lnTo>
                  <a:lnTo>
                    <a:pt x="1444" y="11634"/>
                  </a:lnTo>
                  <a:lnTo>
                    <a:pt x="1549" y="11551"/>
                  </a:lnTo>
                  <a:lnTo>
                    <a:pt x="1570" y="11592"/>
                  </a:lnTo>
                  <a:lnTo>
                    <a:pt x="1654" y="11592"/>
                  </a:lnTo>
                  <a:lnTo>
                    <a:pt x="1675" y="11634"/>
                  </a:lnTo>
                  <a:lnTo>
                    <a:pt x="1612" y="11718"/>
                  </a:lnTo>
                  <a:lnTo>
                    <a:pt x="1549" y="11823"/>
                  </a:lnTo>
                  <a:lnTo>
                    <a:pt x="1549" y="11927"/>
                  </a:lnTo>
                  <a:lnTo>
                    <a:pt x="1633" y="11948"/>
                  </a:lnTo>
                  <a:lnTo>
                    <a:pt x="1675" y="11927"/>
                  </a:lnTo>
                  <a:lnTo>
                    <a:pt x="1737" y="11739"/>
                  </a:lnTo>
                  <a:lnTo>
                    <a:pt x="1758" y="11655"/>
                  </a:lnTo>
                  <a:lnTo>
                    <a:pt x="1842" y="11697"/>
                  </a:lnTo>
                  <a:lnTo>
                    <a:pt x="1926" y="11823"/>
                  </a:lnTo>
                  <a:lnTo>
                    <a:pt x="1968" y="11844"/>
                  </a:lnTo>
                  <a:lnTo>
                    <a:pt x="2051" y="11802"/>
                  </a:lnTo>
                  <a:lnTo>
                    <a:pt x="2051" y="11718"/>
                  </a:lnTo>
                  <a:lnTo>
                    <a:pt x="2093" y="11634"/>
                  </a:lnTo>
                  <a:lnTo>
                    <a:pt x="2198" y="11634"/>
                  </a:lnTo>
                  <a:lnTo>
                    <a:pt x="2240" y="11655"/>
                  </a:lnTo>
                  <a:lnTo>
                    <a:pt x="2240" y="11760"/>
                  </a:lnTo>
                  <a:lnTo>
                    <a:pt x="2177" y="11864"/>
                  </a:lnTo>
                  <a:lnTo>
                    <a:pt x="2177" y="11969"/>
                  </a:lnTo>
                  <a:lnTo>
                    <a:pt x="2240" y="11927"/>
                  </a:lnTo>
                  <a:lnTo>
                    <a:pt x="2344" y="11844"/>
                  </a:lnTo>
                  <a:lnTo>
                    <a:pt x="2386" y="11739"/>
                  </a:lnTo>
                  <a:lnTo>
                    <a:pt x="2470" y="11655"/>
                  </a:lnTo>
                  <a:lnTo>
                    <a:pt x="2595" y="11634"/>
                  </a:lnTo>
                  <a:lnTo>
                    <a:pt x="2700" y="11655"/>
                  </a:lnTo>
                  <a:lnTo>
                    <a:pt x="2784" y="11739"/>
                  </a:lnTo>
                  <a:lnTo>
                    <a:pt x="2909" y="11802"/>
                  </a:lnTo>
                  <a:lnTo>
                    <a:pt x="3076" y="11927"/>
                  </a:lnTo>
                  <a:lnTo>
                    <a:pt x="3181" y="11948"/>
                  </a:lnTo>
                  <a:lnTo>
                    <a:pt x="3223" y="11906"/>
                  </a:lnTo>
                  <a:lnTo>
                    <a:pt x="3286" y="11906"/>
                  </a:lnTo>
                  <a:lnTo>
                    <a:pt x="3390" y="12011"/>
                  </a:lnTo>
                  <a:lnTo>
                    <a:pt x="3516" y="12116"/>
                  </a:lnTo>
                  <a:lnTo>
                    <a:pt x="3495" y="12220"/>
                  </a:lnTo>
                  <a:lnTo>
                    <a:pt x="3495" y="12241"/>
                  </a:lnTo>
                  <a:lnTo>
                    <a:pt x="3537" y="12241"/>
                  </a:lnTo>
                  <a:lnTo>
                    <a:pt x="3558" y="12220"/>
                  </a:lnTo>
                  <a:lnTo>
                    <a:pt x="3620" y="12241"/>
                  </a:lnTo>
                  <a:lnTo>
                    <a:pt x="3662" y="12325"/>
                  </a:lnTo>
                  <a:lnTo>
                    <a:pt x="3746" y="12367"/>
                  </a:lnTo>
                  <a:lnTo>
                    <a:pt x="3809" y="12429"/>
                  </a:lnTo>
                  <a:lnTo>
                    <a:pt x="3830" y="12492"/>
                  </a:lnTo>
                  <a:lnTo>
                    <a:pt x="3851" y="12534"/>
                  </a:lnTo>
                  <a:lnTo>
                    <a:pt x="3913" y="12534"/>
                  </a:lnTo>
                  <a:lnTo>
                    <a:pt x="3913" y="12471"/>
                  </a:lnTo>
                  <a:lnTo>
                    <a:pt x="3955" y="12471"/>
                  </a:lnTo>
                  <a:lnTo>
                    <a:pt x="4018" y="12492"/>
                  </a:lnTo>
                  <a:lnTo>
                    <a:pt x="4039" y="12576"/>
                  </a:lnTo>
                  <a:lnTo>
                    <a:pt x="4164" y="12681"/>
                  </a:lnTo>
                  <a:lnTo>
                    <a:pt x="4248" y="12785"/>
                  </a:lnTo>
                  <a:lnTo>
                    <a:pt x="4290" y="12806"/>
                  </a:lnTo>
                  <a:lnTo>
                    <a:pt x="4353" y="12869"/>
                  </a:lnTo>
                  <a:lnTo>
                    <a:pt x="4332" y="12953"/>
                  </a:lnTo>
                  <a:lnTo>
                    <a:pt x="4353" y="12973"/>
                  </a:lnTo>
                  <a:lnTo>
                    <a:pt x="4353" y="13015"/>
                  </a:lnTo>
                  <a:lnTo>
                    <a:pt x="4290" y="13078"/>
                  </a:lnTo>
                  <a:lnTo>
                    <a:pt x="4248" y="13183"/>
                  </a:lnTo>
                  <a:lnTo>
                    <a:pt x="4164" y="13225"/>
                  </a:lnTo>
                  <a:lnTo>
                    <a:pt x="4164" y="13266"/>
                  </a:lnTo>
                  <a:lnTo>
                    <a:pt x="4269" y="13266"/>
                  </a:lnTo>
                  <a:lnTo>
                    <a:pt x="4290" y="13287"/>
                  </a:lnTo>
                  <a:lnTo>
                    <a:pt x="4269" y="13329"/>
                  </a:lnTo>
                  <a:lnTo>
                    <a:pt x="4227" y="13371"/>
                  </a:lnTo>
                  <a:lnTo>
                    <a:pt x="4123" y="13476"/>
                  </a:lnTo>
                  <a:lnTo>
                    <a:pt x="4081" y="13497"/>
                  </a:lnTo>
                  <a:lnTo>
                    <a:pt x="4081" y="13538"/>
                  </a:lnTo>
                  <a:lnTo>
                    <a:pt x="4144" y="13601"/>
                  </a:lnTo>
                  <a:lnTo>
                    <a:pt x="4185" y="13685"/>
                  </a:lnTo>
                  <a:lnTo>
                    <a:pt x="4185" y="13727"/>
                  </a:lnTo>
                  <a:lnTo>
                    <a:pt x="4374" y="13894"/>
                  </a:lnTo>
                  <a:lnTo>
                    <a:pt x="4416" y="13957"/>
                  </a:lnTo>
                  <a:lnTo>
                    <a:pt x="4416" y="14061"/>
                  </a:lnTo>
                  <a:lnTo>
                    <a:pt x="4457" y="14124"/>
                  </a:lnTo>
                  <a:lnTo>
                    <a:pt x="4416" y="14166"/>
                  </a:lnTo>
                  <a:lnTo>
                    <a:pt x="4416" y="14250"/>
                  </a:lnTo>
                  <a:lnTo>
                    <a:pt x="4478" y="14333"/>
                  </a:lnTo>
                  <a:lnTo>
                    <a:pt x="4520" y="14333"/>
                  </a:lnTo>
                  <a:lnTo>
                    <a:pt x="4562" y="14354"/>
                  </a:lnTo>
                  <a:lnTo>
                    <a:pt x="4583" y="14438"/>
                  </a:lnTo>
                  <a:lnTo>
                    <a:pt x="4667" y="14543"/>
                  </a:lnTo>
                  <a:lnTo>
                    <a:pt x="4709" y="14585"/>
                  </a:lnTo>
                  <a:lnTo>
                    <a:pt x="4709" y="14668"/>
                  </a:lnTo>
                  <a:lnTo>
                    <a:pt x="4688" y="14752"/>
                  </a:lnTo>
                  <a:lnTo>
                    <a:pt x="4604" y="14773"/>
                  </a:lnTo>
                  <a:lnTo>
                    <a:pt x="4520" y="14857"/>
                  </a:lnTo>
                  <a:lnTo>
                    <a:pt x="4499" y="14940"/>
                  </a:lnTo>
                  <a:lnTo>
                    <a:pt x="4457" y="15003"/>
                  </a:lnTo>
                  <a:lnTo>
                    <a:pt x="4395" y="15003"/>
                  </a:lnTo>
                  <a:lnTo>
                    <a:pt x="4290" y="15087"/>
                  </a:lnTo>
                  <a:lnTo>
                    <a:pt x="4269" y="15149"/>
                  </a:lnTo>
                  <a:lnTo>
                    <a:pt x="4311" y="15170"/>
                  </a:lnTo>
                  <a:lnTo>
                    <a:pt x="4374" y="15149"/>
                  </a:lnTo>
                  <a:lnTo>
                    <a:pt x="4416" y="15087"/>
                  </a:lnTo>
                  <a:lnTo>
                    <a:pt x="4478" y="15087"/>
                  </a:lnTo>
                  <a:lnTo>
                    <a:pt x="4583" y="14982"/>
                  </a:lnTo>
                  <a:lnTo>
                    <a:pt x="4688" y="14982"/>
                  </a:lnTo>
                  <a:lnTo>
                    <a:pt x="4667" y="15108"/>
                  </a:lnTo>
                  <a:lnTo>
                    <a:pt x="4625" y="15170"/>
                  </a:lnTo>
                  <a:lnTo>
                    <a:pt x="4667" y="15254"/>
                  </a:lnTo>
                  <a:lnTo>
                    <a:pt x="4667" y="15317"/>
                  </a:lnTo>
                  <a:lnTo>
                    <a:pt x="4709" y="15421"/>
                  </a:lnTo>
                  <a:lnTo>
                    <a:pt x="4729" y="15526"/>
                  </a:lnTo>
                  <a:lnTo>
                    <a:pt x="4688" y="15631"/>
                  </a:lnTo>
                  <a:lnTo>
                    <a:pt x="4688" y="15694"/>
                  </a:lnTo>
                  <a:lnTo>
                    <a:pt x="4709" y="15777"/>
                  </a:lnTo>
                  <a:lnTo>
                    <a:pt x="4709" y="15798"/>
                  </a:lnTo>
                  <a:lnTo>
                    <a:pt x="4667" y="15735"/>
                  </a:lnTo>
                  <a:lnTo>
                    <a:pt x="4604" y="15777"/>
                  </a:lnTo>
                  <a:lnTo>
                    <a:pt x="4625" y="15903"/>
                  </a:lnTo>
                  <a:lnTo>
                    <a:pt x="4688" y="16007"/>
                  </a:lnTo>
                  <a:lnTo>
                    <a:pt x="4688" y="16049"/>
                  </a:lnTo>
                  <a:lnTo>
                    <a:pt x="4667" y="16049"/>
                  </a:lnTo>
                  <a:lnTo>
                    <a:pt x="4604" y="16112"/>
                  </a:lnTo>
                  <a:lnTo>
                    <a:pt x="4625" y="16196"/>
                  </a:lnTo>
                  <a:lnTo>
                    <a:pt x="4667" y="16238"/>
                  </a:lnTo>
                  <a:lnTo>
                    <a:pt x="4729" y="16238"/>
                  </a:lnTo>
                  <a:lnTo>
                    <a:pt x="4792" y="16300"/>
                  </a:lnTo>
                  <a:lnTo>
                    <a:pt x="4792" y="16342"/>
                  </a:lnTo>
                  <a:lnTo>
                    <a:pt x="4729" y="16405"/>
                  </a:lnTo>
                  <a:lnTo>
                    <a:pt x="4729" y="16468"/>
                  </a:lnTo>
                  <a:lnTo>
                    <a:pt x="4667" y="16551"/>
                  </a:lnTo>
                  <a:lnTo>
                    <a:pt x="4604" y="16572"/>
                  </a:lnTo>
                  <a:lnTo>
                    <a:pt x="4520" y="16551"/>
                  </a:lnTo>
                  <a:lnTo>
                    <a:pt x="4478" y="16572"/>
                  </a:lnTo>
                  <a:lnTo>
                    <a:pt x="4478" y="16635"/>
                  </a:lnTo>
                  <a:lnTo>
                    <a:pt x="4562" y="16656"/>
                  </a:lnTo>
                  <a:lnTo>
                    <a:pt x="4625" y="16656"/>
                  </a:lnTo>
                  <a:lnTo>
                    <a:pt x="4688" y="16719"/>
                  </a:lnTo>
                  <a:lnTo>
                    <a:pt x="4729" y="16719"/>
                  </a:lnTo>
                  <a:lnTo>
                    <a:pt x="4813" y="16740"/>
                  </a:lnTo>
                  <a:lnTo>
                    <a:pt x="4855" y="16782"/>
                  </a:lnTo>
                  <a:lnTo>
                    <a:pt x="4855" y="16886"/>
                  </a:lnTo>
                  <a:lnTo>
                    <a:pt x="4876" y="17033"/>
                  </a:lnTo>
                  <a:lnTo>
                    <a:pt x="4771" y="17137"/>
                  </a:lnTo>
                  <a:lnTo>
                    <a:pt x="4750" y="17200"/>
                  </a:lnTo>
                  <a:lnTo>
                    <a:pt x="4792" y="17263"/>
                  </a:lnTo>
                  <a:lnTo>
                    <a:pt x="4709" y="17409"/>
                  </a:lnTo>
                  <a:lnTo>
                    <a:pt x="4604" y="17472"/>
                  </a:lnTo>
                  <a:lnTo>
                    <a:pt x="4541" y="17472"/>
                  </a:lnTo>
                  <a:lnTo>
                    <a:pt x="4478" y="17409"/>
                  </a:lnTo>
                  <a:lnTo>
                    <a:pt x="4436" y="17409"/>
                  </a:lnTo>
                  <a:lnTo>
                    <a:pt x="4332" y="17493"/>
                  </a:lnTo>
                  <a:lnTo>
                    <a:pt x="4290" y="17577"/>
                  </a:lnTo>
                  <a:lnTo>
                    <a:pt x="4332" y="17598"/>
                  </a:lnTo>
                  <a:lnTo>
                    <a:pt x="4374" y="17598"/>
                  </a:lnTo>
                  <a:lnTo>
                    <a:pt x="4541" y="17618"/>
                  </a:lnTo>
                  <a:lnTo>
                    <a:pt x="4583" y="17577"/>
                  </a:lnTo>
                  <a:lnTo>
                    <a:pt x="4604" y="17556"/>
                  </a:lnTo>
                  <a:lnTo>
                    <a:pt x="4646" y="17577"/>
                  </a:lnTo>
                  <a:lnTo>
                    <a:pt x="4646" y="17618"/>
                  </a:lnTo>
                  <a:lnTo>
                    <a:pt x="4667" y="17660"/>
                  </a:lnTo>
                  <a:lnTo>
                    <a:pt x="4604" y="17702"/>
                  </a:lnTo>
                  <a:lnTo>
                    <a:pt x="4562" y="17702"/>
                  </a:lnTo>
                  <a:lnTo>
                    <a:pt x="4541" y="17723"/>
                  </a:lnTo>
                  <a:lnTo>
                    <a:pt x="4541" y="17807"/>
                  </a:lnTo>
                  <a:lnTo>
                    <a:pt x="4499" y="17828"/>
                  </a:lnTo>
                  <a:lnTo>
                    <a:pt x="4436" y="17828"/>
                  </a:lnTo>
                  <a:lnTo>
                    <a:pt x="4290" y="17932"/>
                  </a:lnTo>
                  <a:lnTo>
                    <a:pt x="4185" y="17995"/>
                  </a:lnTo>
                  <a:lnTo>
                    <a:pt x="4185" y="18037"/>
                  </a:lnTo>
                  <a:lnTo>
                    <a:pt x="4269" y="18121"/>
                  </a:lnTo>
                  <a:lnTo>
                    <a:pt x="4395" y="18142"/>
                  </a:lnTo>
                  <a:lnTo>
                    <a:pt x="4499" y="18121"/>
                  </a:lnTo>
                  <a:lnTo>
                    <a:pt x="4583" y="18016"/>
                  </a:lnTo>
                  <a:lnTo>
                    <a:pt x="4646" y="17911"/>
                  </a:lnTo>
                  <a:lnTo>
                    <a:pt x="4688" y="17870"/>
                  </a:lnTo>
                  <a:lnTo>
                    <a:pt x="4709" y="17870"/>
                  </a:lnTo>
                  <a:lnTo>
                    <a:pt x="4709" y="17911"/>
                  </a:lnTo>
                  <a:lnTo>
                    <a:pt x="4604" y="18079"/>
                  </a:lnTo>
                  <a:lnTo>
                    <a:pt x="4478" y="18204"/>
                  </a:lnTo>
                  <a:lnTo>
                    <a:pt x="4436" y="18183"/>
                  </a:lnTo>
                  <a:lnTo>
                    <a:pt x="4269" y="18204"/>
                  </a:lnTo>
                  <a:lnTo>
                    <a:pt x="4227" y="18225"/>
                  </a:lnTo>
                  <a:lnTo>
                    <a:pt x="4164" y="18309"/>
                  </a:lnTo>
                  <a:lnTo>
                    <a:pt x="4144" y="18288"/>
                  </a:lnTo>
                  <a:lnTo>
                    <a:pt x="4039" y="18288"/>
                  </a:lnTo>
                  <a:lnTo>
                    <a:pt x="3934" y="18330"/>
                  </a:lnTo>
                  <a:lnTo>
                    <a:pt x="3934" y="18393"/>
                  </a:lnTo>
                  <a:lnTo>
                    <a:pt x="3955" y="18414"/>
                  </a:lnTo>
                  <a:lnTo>
                    <a:pt x="3976" y="18455"/>
                  </a:lnTo>
                  <a:lnTo>
                    <a:pt x="3955" y="18539"/>
                  </a:lnTo>
                  <a:lnTo>
                    <a:pt x="4018" y="18665"/>
                  </a:lnTo>
                  <a:lnTo>
                    <a:pt x="4039" y="18665"/>
                  </a:lnTo>
                  <a:lnTo>
                    <a:pt x="4060" y="18602"/>
                  </a:lnTo>
                  <a:lnTo>
                    <a:pt x="4123" y="18602"/>
                  </a:lnTo>
                  <a:lnTo>
                    <a:pt x="4164" y="18644"/>
                  </a:lnTo>
                  <a:lnTo>
                    <a:pt x="4185" y="18707"/>
                  </a:lnTo>
                  <a:lnTo>
                    <a:pt x="4185" y="18769"/>
                  </a:lnTo>
                  <a:lnTo>
                    <a:pt x="4248" y="18832"/>
                  </a:lnTo>
                  <a:lnTo>
                    <a:pt x="4374" y="18832"/>
                  </a:lnTo>
                  <a:lnTo>
                    <a:pt x="4457" y="18769"/>
                  </a:lnTo>
                  <a:lnTo>
                    <a:pt x="4478" y="18748"/>
                  </a:lnTo>
                  <a:lnTo>
                    <a:pt x="4541" y="18748"/>
                  </a:lnTo>
                  <a:lnTo>
                    <a:pt x="4646" y="18727"/>
                  </a:lnTo>
                  <a:lnTo>
                    <a:pt x="4688" y="18665"/>
                  </a:lnTo>
                  <a:lnTo>
                    <a:pt x="4709" y="18560"/>
                  </a:lnTo>
                  <a:lnTo>
                    <a:pt x="4688" y="18497"/>
                  </a:lnTo>
                  <a:lnTo>
                    <a:pt x="4646" y="18434"/>
                  </a:lnTo>
                  <a:lnTo>
                    <a:pt x="4750" y="18434"/>
                  </a:lnTo>
                  <a:lnTo>
                    <a:pt x="4750" y="18393"/>
                  </a:lnTo>
                  <a:lnTo>
                    <a:pt x="4771" y="18225"/>
                  </a:lnTo>
                  <a:lnTo>
                    <a:pt x="4813" y="18309"/>
                  </a:lnTo>
                  <a:lnTo>
                    <a:pt x="4876" y="18351"/>
                  </a:lnTo>
                  <a:lnTo>
                    <a:pt x="4918" y="18351"/>
                  </a:lnTo>
                  <a:lnTo>
                    <a:pt x="4981" y="18288"/>
                  </a:lnTo>
                  <a:lnTo>
                    <a:pt x="4981" y="18121"/>
                  </a:lnTo>
                  <a:lnTo>
                    <a:pt x="4981" y="18016"/>
                  </a:lnTo>
                  <a:lnTo>
                    <a:pt x="4918" y="17911"/>
                  </a:lnTo>
                  <a:lnTo>
                    <a:pt x="4897" y="17828"/>
                  </a:lnTo>
                  <a:lnTo>
                    <a:pt x="4918" y="17618"/>
                  </a:lnTo>
                  <a:lnTo>
                    <a:pt x="4960" y="17577"/>
                  </a:lnTo>
                  <a:lnTo>
                    <a:pt x="4981" y="17577"/>
                  </a:lnTo>
                  <a:lnTo>
                    <a:pt x="4981" y="17660"/>
                  </a:lnTo>
                  <a:lnTo>
                    <a:pt x="4960" y="17723"/>
                  </a:lnTo>
                  <a:lnTo>
                    <a:pt x="4981" y="17828"/>
                  </a:lnTo>
                  <a:lnTo>
                    <a:pt x="5022" y="17932"/>
                  </a:lnTo>
                  <a:lnTo>
                    <a:pt x="5022" y="18079"/>
                  </a:lnTo>
                  <a:lnTo>
                    <a:pt x="5001" y="18204"/>
                  </a:lnTo>
                  <a:lnTo>
                    <a:pt x="5001" y="18309"/>
                  </a:lnTo>
                  <a:lnTo>
                    <a:pt x="5064" y="18309"/>
                  </a:lnTo>
                  <a:lnTo>
                    <a:pt x="5085" y="18288"/>
                  </a:lnTo>
                  <a:lnTo>
                    <a:pt x="5169" y="18225"/>
                  </a:lnTo>
                  <a:lnTo>
                    <a:pt x="5169" y="18183"/>
                  </a:lnTo>
                  <a:lnTo>
                    <a:pt x="5273" y="18037"/>
                  </a:lnTo>
                  <a:lnTo>
                    <a:pt x="5378" y="17995"/>
                  </a:lnTo>
                  <a:lnTo>
                    <a:pt x="5420" y="17995"/>
                  </a:lnTo>
                  <a:lnTo>
                    <a:pt x="5420" y="18016"/>
                  </a:lnTo>
                  <a:lnTo>
                    <a:pt x="5336" y="18079"/>
                  </a:lnTo>
                  <a:lnTo>
                    <a:pt x="5294" y="18121"/>
                  </a:lnTo>
                  <a:lnTo>
                    <a:pt x="5232" y="18246"/>
                  </a:lnTo>
                  <a:lnTo>
                    <a:pt x="5169" y="18330"/>
                  </a:lnTo>
                  <a:lnTo>
                    <a:pt x="5169" y="18393"/>
                  </a:lnTo>
                  <a:lnTo>
                    <a:pt x="5211" y="18414"/>
                  </a:lnTo>
                  <a:lnTo>
                    <a:pt x="5294" y="18414"/>
                  </a:lnTo>
                  <a:lnTo>
                    <a:pt x="5336" y="18434"/>
                  </a:lnTo>
                  <a:lnTo>
                    <a:pt x="5399" y="18518"/>
                  </a:lnTo>
                  <a:lnTo>
                    <a:pt x="5483" y="18539"/>
                  </a:lnTo>
                  <a:lnTo>
                    <a:pt x="5587" y="18518"/>
                  </a:lnTo>
                  <a:lnTo>
                    <a:pt x="5650" y="18455"/>
                  </a:lnTo>
                  <a:lnTo>
                    <a:pt x="5713" y="18455"/>
                  </a:lnTo>
                  <a:lnTo>
                    <a:pt x="5734" y="18497"/>
                  </a:lnTo>
                  <a:lnTo>
                    <a:pt x="5734" y="18539"/>
                  </a:lnTo>
                  <a:lnTo>
                    <a:pt x="5608" y="18623"/>
                  </a:lnTo>
                  <a:lnTo>
                    <a:pt x="5420" y="18665"/>
                  </a:lnTo>
                  <a:lnTo>
                    <a:pt x="5294" y="18665"/>
                  </a:lnTo>
                  <a:lnTo>
                    <a:pt x="5211" y="18727"/>
                  </a:lnTo>
                  <a:lnTo>
                    <a:pt x="5169" y="18769"/>
                  </a:lnTo>
                  <a:lnTo>
                    <a:pt x="5169" y="18832"/>
                  </a:lnTo>
                  <a:lnTo>
                    <a:pt x="5190" y="18853"/>
                  </a:lnTo>
                  <a:lnTo>
                    <a:pt x="5315" y="18832"/>
                  </a:lnTo>
                  <a:lnTo>
                    <a:pt x="5378" y="18853"/>
                  </a:lnTo>
                  <a:lnTo>
                    <a:pt x="5420" y="18832"/>
                  </a:lnTo>
                  <a:lnTo>
                    <a:pt x="5504" y="18769"/>
                  </a:lnTo>
                  <a:lnTo>
                    <a:pt x="5629" y="18769"/>
                  </a:lnTo>
                  <a:lnTo>
                    <a:pt x="5650" y="18811"/>
                  </a:lnTo>
                  <a:lnTo>
                    <a:pt x="5629" y="18853"/>
                  </a:lnTo>
                  <a:lnTo>
                    <a:pt x="5545" y="18874"/>
                  </a:lnTo>
                  <a:lnTo>
                    <a:pt x="5483" y="18937"/>
                  </a:lnTo>
                  <a:lnTo>
                    <a:pt x="5336" y="18937"/>
                  </a:lnTo>
                  <a:lnTo>
                    <a:pt x="5294" y="19020"/>
                  </a:lnTo>
                  <a:lnTo>
                    <a:pt x="5273" y="19083"/>
                  </a:lnTo>
                  <a:lnTo>
                    <a:pt x="5211" y="19146"/>
                  </a:lnTo>
                  <a:lnTo>
                    <a:pt x="5211" y="19188"/>
                  </a:lnTo>
                  <a:lnTo>
                    <a:pt x="5273" y="19188"/>
                  </a:lnTo>
                  <a:lnTo>
                    <a:pt x="5420" y="19062"/>
                  </a:lnTo>
                  <a:lnTo>
                    <a:pt x="5483" y="19041"/>
                  </a:lnTo>
                  <a:lnTo>
                    <a:pt x="5545" y="19041"/>
                  </a:lnTo>
                  <a:lnTo>
                    <a:pt x="5587" y="19020"/>
                  </a:lnTo>
                  <a:lnTo>
                    <a:pt x="5629" y="19020"/>
                  </a:lnTo>
                  <a:lnTo>
                    <a:pt x="5692" y="19083"/>
                  </a:lnTo>
                  <a:lnTo>
                    <a:pt x="5692" y="19146"/>
                  </a:lnTo>
                  <a:lnTo>
                    <a:pt x="5650" y="19188"/>
                  </a:lnTo>
                  <a:lnTo>
                    <a:pt x="5587" y="19146"/>
                  </a:lnTo>
                  <a:lnTo>
                    <a:pt x="5525" y="19125"/>
                  </a:lnTo>
                  <a:lnTo>
                    <a:pt x="5399" y="19167"/>
                  </a:lnTo>
                  <a:lnTo>
                    <a:pt x="5378" y="19230"/>
                  </a:lnTo>
                  <a:lnTo>
                    <a:pt x="5399" y="19271"/>
                  </a:lnTo>
                  <a:lnTo>
                    <a:pt x="5587" y="19271"/>
                  </a:lnTo>
                  <a:lnTo>
                    <a:pt x="5650" y="19230"/>
                  </a:lnTo>
                  <a:lnTo>
                    <a:pt x="5713" y="19230"/>
                  </a:lnTo>
                  <a:lnTo>
                    <a:pt x="5797" y="19334"/>
                  </a:lnTo>
                  <a:lnTo>
                    <a:pt x="5797" y="19397"/>
                  </a:lnTo>
                  <a:lnTo>
                    <a:pt x="5734" y="19439"/>
                  </a:lnTo>
                  <a:lnTo>
                    <a:pt x="5525" y="19355"/>
                  </a:lnTo>
                  <a:lnTo>
                    <a:pt x="5420" y="19292"/>
                  </a:lnTo>
                  <a:lnTo>
                    <a:pt x="5399" y="19355"/>
                  </a:lnTo>
                  <a:lnTo>
                    <a:pt x="5420" y="19439"/>
                  </a:lnTo>
                  <a:lnTo>
                    <a:pt x="5525" y="19502"/>
                  </a:lnTo>
                  <a:lnTo>
                    <a:pt x="5629" y="19648"/>
                  </a:lnTo>
                  <a:lnTo>
                    <a:pt x="5692" y="19753"/>
                  </a:lnTo>
                  <a:lnTo>
                    <a:pt x="5629" y="19753"/>
                  </a:lnTo>
                  <a:lnTo>
                    <a:pt x="5545" y="19648"/>
                  </a:lnTo>
                  <a:lnTo>
                    <a:pt x="5525" y="19648"/>
                  </a:lnTo>
                  <a:lnTo>
                    <a:pt x="5504" y="19690"/>
                  </a:lnTo>
                  <a:lnTo>
                    <a:pt x="5525" y="19774"/>
                  </a:lnTo>
                  <a:lnTo>
                    <a:pt x="5650" y="19878"/>
                  </a:lnTo>
                  <a:lnTo>
                    <a:pt x="5797" y="19983"/>
                  </a:lnTo>
                  <a:lnTo>
                    <a:pt x="5797" y="20025"/>
                  </a:lnTo>
                  <a:lnTo>
                    <a:pt x="5734" y="20025"/>
                  </a:lnTo>
                  <a:lnTo>
                    <a:pt x="5734" y="20087"/>
                  </a:lnTo>
                  <a:lnTo>
                    <a:pt x="5692" y="20087"/>
                  </a:lnTo>
                  <a:lnTo>
                    <a:pt x="5587" y="19983"/>
                  </a:lnTo>
                  <a:lnTo>
                    <a:pt x="5545" y="19983"/>
                  </a:lnTo>
                  <a:lnTo>
                    <a:pt x="5545" y="20025"/>
                  </a:lnTo>
                  <a:lnTo>
                    <a:pt x="5650" y="20171"/>
                  </a:lnTo>
                  <a:lnTo>
                    <a:pt x="5713" y="20213"/>
                  </a:lnTo>
                  <a:lnTo>
                    <a:pt x="5755" y="20213"/>
                  </a:lnTo>
                  <a:lnTo>
                    <a:pt x="5817" y="20192"/>
                  </a:lnTo>
                  <a:lnTo>
                    <a:pt x="5838" y="20213"/>
                  </a:lnTo>
                  <a:lnTo>
                    <a:pt x="5797" y="20297"/>
                  </a:lnTo>
                  <a:lnTo>
                    <a:pt x="5734" y="20318"/>
                  </a:lnTo>
                  <a:lnTo>
                    <a:pt x="5629" y="20276"/>
                  </a:lnTo>
                  <a:lnTo>
                    <a:pt x="5545" y="20192"/>
                  </a:lnTo>
                  <a:lnTo>
                    <a:pt x="5441" y="20108"/>
                  </a:lnTo>
                  <a:lnTo>
                    <a:pt x="5378" y="20004"/>
                  </a:lnTo>
                  <a:lnTo>
                    <a:pt x="5294" y="19795"/>
                  </a:lnTo>
                  <a:lnTo>
                    <a:pt x="5232" y="19711"/>
                  </a:lnTo>
                  <a:lnTo>
                    <a:pt x="5169" y="19690"/>
                  </a:lnTo>
                  <a:lnTo>
                    <a:pt x="5085" y="19648"/>
                  </a:lnTo>
                  <a:lnTo>
                    <a:pt x="4981" y="19606"/>
                  </a:lnTo>
                  <a:lnTo>
                    <a:pt x="4876" y="19606"/>
                  </a:lnTo>
                  <a:lnTo>
                    <a:pt x="4813" y="19585"/>
                  </a:lnTo>
                  <a:lnTo>
                    <a:pt x="4750" y="19585"/>
                  </a:lnTo>
                  <a:lnTo>
                    <a:pt x="4646" y="19564"/>
                  </a:lnTo>
                  <a:lnTo>
                    <a:pt x="4541" y="19460"/>
                  </a:lnTo>
                  <a:lnTo>
                    <a:pt x="4436" y="19460"/>
                  </a:lnTo>
                  <a:lnTo>
                    <a:pt x="4353" y="19439"/>
                  </a:lnTo>
                  <a:lnTo>
                    <a:pt x="4290" y="19460"/>
                  </a:lnTo>
                  <a:lnTo>
                    <a:pt x="4185" y="19460"/>
                  </a:lnTo>
                  <a:lnTo>
                    <a:pt x="4060" y="19564"/>
                  </a:lnTo>
                  <a:lnTo>
                    <a:pt x="4060" y="19606"/>
                  </a:lnTo>
                  <a:lnTo>
                    <a:pt x="4123" y="19669"/>
                  </a:lnTo>
                  <a:lnTo>
                    <a:pt x="4185" y="19753"/>
                  </a:lnTo>
                  <a:lnTo>
                    <a:pt x="4248" y="19878"/>
                  </a:lnTo>
                  <a:lnTo>
                    <a:pt x="4248" y="19962"/>
                  </a:lnTo>
                  <a:lnTo>
                    <a:pt x="4353" y="20067"/>
                  </a:lnTo>
                  <a:lnTo>
                    <a:pt x="4499" y="20108"/>
                  </a:lnTo>
                  <a:lnTo>
                    <a:pt x="4709" y="20192"/>
                  </a:lnTo>
                  <a:lnTo>
                    <a:pt x="4855" y="20276"/>
                  </a:lnTo>
                  <a:lnTo>
                    <a:pt x="4897" y="20380"/>
                  </a:lnTo>
                  <a:lnTo>
                    <a:pt x="4897" y="20422"/>
                  </a:lnTo>
                  <a:lnTo>
                    <a:pt x="4981" y="20443"/>
                  </a:lnTo>
                  <a:lnTo>
                    <a:pt x="5064" y="20443"/>
                  </a:lnTo>
                  <a:lnTo>
                    <a:pt x="5127" y="20527"/>
                  </a:lnTo>
                  <a:lnTo>
                    <a:pt x="5211" y="20548"/>
                  </a:lnTo>
                  <a:lnTo>
                    <a:pt x="5273" y="20527"/>
                  </a:lnTo>
                  <a:lnTo>
                    <a:pt x="5315" y="20590"/>
                  </a:lnTo>
                  <a:lnTo>
                    <a:pt x="5399" y="20590"/>
                  </a:lnTo>
                  <a:lnTo>
                    <a:pt x="5441" y="20548"/>
                  </a:lnTo>
                  <a:lnTo>
                    <a:pt x="5504" y="20631"/>
                  </a:lnTo>
                  <a:lnTo>
                    <a:pt x="5608" y="20631"/>
                  </a:lnTo>
                  <a:lnTo>
                    <a:pt x="5692" y="20548"/>
                  </a:lnTo>
                  <a:lnTo>
                    <a:pt x="5797" y="20548"/>
                  </a:lnTo>
                  <a:lnTo>
                    <a:pt x="5838" y="20590"/>
                  </a:lnTo>
                  <a:lnTo>
                    <a:pt x="5838" y="20652"/>
                  </a:lnTo>
                  <a:lnTo>
                    <a:pt x="5755" y="20652"/>
                  </a:lnTo>
                  <a:lnTo>
                    <a:pt x="5692" y="20694"/>
                  </a:lnTo>
                  <a:lnTo>
                    <a:pt x="5692" y="20736"/>
                  </a:lnTo>
                  <a:lnTo>
                    <a:pt x="5755" y="20736"/>
                  </a:lnTo>
                  <a:lnTo>
                    <a:pt x="5817" y="20820"/>
                  </a:lnTo>
                  <a:lnTo>
                    <a:pt x="5734" y="20862"/>
                  </a:lnTo>
                  <a:lnTo>
                    <a:pt x="5734" y="20903"/>
                  </a:lnTo>
                  <a:lnTo>
                    <a:pt x="5650" y="20924"/>
                  </a:lnTo>
                  <a:lnTo>
                    <a:pt x="5608" y="20966"/>
                  </a:lnTo>
                  <a:lnTo>
                    <a:pt x="5504" y="21029"/>
                  </a:lnTo>
                  <a:lnTo>
                    <a:pt x="5483" y="21071"/>
                  </a:lnTo>
                  <a:lnTo>
                    <a:pt x="5504" y="21113"/>
                  </a:lnTo>
                  <a:lnTo>
                    <a:pt x="5608" y="21113"/>
                  </a:lnTo>
                  <a:lnTo>
                    <a:pt x="5692" y="21134"/>
                  </a:lnTo>
                  <a:lnTo>
                    <a:pt x="5713" y="21175"/>
                  </a:lnTo>
                  <a:lnTo>
                    <a:pt x="5629" y="21175"/>
                  </a:lnTo>
                  <a:lnTo>
                    <a:pt x="5587" y="21217"/>
                  </a:lnTo>
                  <a:lnTo>
                    <a:pt x="5545" y="21175"/>
                  </a:lnTo>
                  <a:lnTo>
                    <a:pt x="5504" y="21238"/>
                  </a:lnTo>
                  <a:lnTo>
                    <a:pt x="5420" y="21364"/>
                  </a:lnTo>
                  <a:lnTo>
                    <a:pt x="5378" y="21364"/>
                  </a:lnTo>
                  <a:lnTo>
                    <a:pt x="5315" y="21427"/>
                  </a:lnTo>
                  <a:lnTo>
                    <a:pt x="5315" y="21468"/>
                  </a:lnTo>
                  <a:lnTo>
                    <a:pt x="5399" y="21489"/>
                  </a:lnTo>
                  <a:lnTo>
                    <a:pt x="5441" y="21489"/>
                  </a:lnTo>
                  <a:lnTo>
                    <a:pt x="5504" y="21468"/>
                  </a:lnTo>
                  <a:lnTo>
                    <a:pt x="5525" y="21489"/>
                  </a:lnTo>
                  <a:lnTo>
                    <a:pt x="5545" y="21552"/>
                  </a:lnTo>
                  <a:lnTo>
                    <a:pt x="5608" y="21552"/>
                  </a:lnTo>
                  <a:lnTo>
                    <a:pt x="5650" y="21573"/>
                  </a:lnTo>
                  <a:lnTo>
                    <a:pt x="5650" y="21636"/>
                  </a:lnTo>
                  <a:lnTo>
                    <a:pt x="5545" y="21657"/>
                  </a:lnTo>
                  <a:lnTo>
                    <a:pt x="5483" y="21678"/>
                  </a:lnTo>
                  <a:lnTo>
                    <a:pt x="5483" y="21699"/>
                  </a:lnTo>
                  <a:lnTo>
                    <a:pt x="5608" y="21699"/>
                  </a:lnTo>
                  <a:lnTo>
                    <a:pt x="5650" y="21761"/>
                  </a:lnTo>
                  <a:lnTo>
                    <a:pt x="5650" y="21803"/>
                  </a:lnTo>
                  <a:lnTo>
                    <a:pt x="5608" y="21803"/>
                  </a:lnTo>
                  <a:lnTo>
                    <a:pt x="5545" y="21782"/>
                  </a:lnTo>
                  <a:lnTo>
                    <a:pt x="5525" y="21803"/>
                  </a:lnTo>
                  <a:lnTo>
                    <a:pt x="5483" y="21803"/>
                  </a:lnTo>
                  <a:lnTo>
                    <a:pt x="5420" y="21761"/>
                  </a:lnTo>
                  <a:lnTo>
                    <a:pt x="5336" y="21761"/>
                  </a:lnTo>
                  <a:lnTo>
                    <a:pt x="5232" y="21740"/>
                  </a:lnTo>
                  <a:lnTo>
                    <a:pt x="5232" y="21678"/>
                  </a:lnTo>
                  <a:lnTo>
                    <a:pt x="5273" y="21657"/>
                  </a:lnTo>
                  <a:lnTo>
                    <a:pt x="5211" y="21552"/>
                  </a:lnTo>
                  <a:lnTo>
                    <a:pt x="5190" y="21531"/>
                  </a:lnTo>
                  <a:lnTo>
                    <a:pt x="5127" y="21552"/>
                  </a:lnTo>
                  <a:lnTo>
                    <a:pt x="5127" y="21657"/>
                  </a:lnTo>
                  <a:lnTo>
                    <a:pt x="5064" y="21866"/>
                  </a:lnTo>
                  <a:lnTo>
                    <a:pt x="5001" y="21950"/>
                  </a:lnTo>
                  <a:lnTo>
                    <a:pt x="5022" y="21992"/>
                  </a:lnTo>
                  <a:lnTo>
                    <a:pt x="5085" y="21992"/>
                  </a:lnTo>
                  <a:lnTo>
                    <a:pt x="5169" y="21950"/>
                  </a:lnTo>
                  <a:lnTo>
                    <a:pt x="5190" y="21950"/>
                  </a:lnTo>
                  <a:lnTo>
                    <a:pt x="5169" y="21992"/>
                  </a:lnTo>
                  <a:lnTo>
                    <a:pt x="5085" y="22054"/>
                  </a:lnTo>
                  <a:lnTo>
                    <a:pt x="5022" y="22096"/>
                  </a:lnTo>
                  <a:lnTo>
                    <a:pt x="4981" y="22117"/>
                  </a:lnTo>
                  <a:lnTo>
                    <a:pt x="4981" y="22180"/>
                  </a:lnTo>
                  <a:lnTo>
                    <a:pt x="4855" y="22159"/>
                  </a:lnTo>
                  <a:lnTo>
                    <a:pt x="4750" y="22159"/>
                  </a:lnTo>
                  <a:lnTo>
                    <a:pt x="4646" y="22180"/>
                  </a:lnTo>
                  <a:lnTo>
                    <a:pt x="4604" y="22159"/>
                  </a:lnTo>
                  <a:lnTo>
                    <a:pt x="4478" y="22159"/>
                  </a:lnTo>
                  <a:lnTo>
                    <a:pt x="4395" y="22180"/>
                  </a:lnTo>
                  <a:lnTo>
                    <a:pt x="4248" y="22264"/>
                  </a:lnTo>
                  <a:lnTo>
                    <a:pt x="4123" y="22284"/>
                  </a:lnTo>
                  <a:lnTo>
                    <a:pt x="4144" y="22305"/>
                  </a:lnTo>
                  <a:lnTo>
                    <a:pt x="4248" y="22284"/>
                  </a:lnTo>
                  <a:lnTo>
                    <a:pt x="4290" y="22284"/>
                  </a:lnTo>
                  <a:lnTo>
                    <a:pt x="4248" y="22326"/>
                  </a:lnTo>
                  <a:lnTo>
                    <a:pt x="4185" y="22368"/>
                  </a:lnTo>
                  <a:lnTo>
                    <a:pt x="4227" y="22410"/>
                  </a:lnTo>
                  <a:lnTo>
                    <a:pt x="4290" y="22431"/>
                  </a:lnTo>
                  <a:lnTo>
                    <a:pt x="4353" y="22515"/>
                  </a:lnTo>
                  <a:lnTo>
                    <a:pt x="4457" y="22494"/>
                  </a:lnTo>
                  <a:lnTo>
                    <a:pt x="4541" y="22515"/>
                  </a:lnTo>
                  <a:lnTo>
                    <a:pt x="4583" y="22494"/>
                  </a:lnTo>
                  <a:lnTo>
                    <a:pt x="4709" y="22494"/>
                  </a:lnTo>
                  <a:lnTo>
                    <a:pt x="4750" y="22473"/>
                  </a:lnTo>
                  <a:lnTo>
                    <a:pt x="4667" y="22410"/>
                  </a:lnTo>
                  <a:lnTo>
                    <a:pt x="4646" y="22389"/>
                  </a:lnTo>
                  <a:lnTo>
                    <a:pt x="4688" y="22326"/>
                  </a:lnTo>
                  <a:lnTo>
                    <a:pt x="4855" y="22326"/>
                  </a:lnTo>
                  <a:lnTo>
                    <a:pt x="4918" y="22305"/>
                  </a:lnTo>
                  <a:lnTo>
                    <a:pt x="5001" y="22305"/>
                  </a:lnTo>
                  <a:lnTo>
                    <a:pt x="5001" y="22326"/>
                  </a:lnTo>
                  <a:lnTo>
                    <a:pt x="4960" y="22368"/>
                  </a:lnTo>
                  <a:lnTo>
                    <a:pt x="4918" y="22431"/>
                  </a:lnTo>
                  <a:lnTo>
                    <a:pt x="4918" y="22515"/>
                  </a:lnTo>
                  <a:lnTo>
                    <a:pt x="4792" y="22577"/>
                  </a:lnTo>
                  <a:lnTo>
                    <a:pt x="4792" y="22619"/>
                  </a:lnTo>
                  <a:lnTo>
                    <a:pt x="4813" y="22682"/>
                  </a:lnTo>
                  <a:lnTo>
                    <a:pt x="5064" y="22849"/>
                  </a:lnTo>
                  <a:lnTo>
                    <a:pt x="5169" y="22933"/>
                  </a:lnTo>
                  <a:lnTo>
                    <a:pt x="5169" y="22954"/>
                  </a:lnTo>
                  <a:lnTo>
                    <a:pt x="5085" y="22954"/>
                  </a:lnTo>
                  <a:lnTo>
                    <a:pt x="5064" y="22933"/>
                  </a:lnTo>
                  <a:lnTo>
                    <a:pt x="4960" y="22891"/>
                  </a:lnTo>
                  <a:lnTo>
                    <a:pt x="4813" y="22808"/>
                  </a:lnTo>
                  <a:lnTo>
                    <a:pt x="4771" y="22745"/>
                  </a:lnTo>
                  <a:lnTo>
                    <a:pt x="4667" y="22745"/>
                  </a:lnTo>
                  <a:lnTo>
                    <a:pt x="4604" y="22787"/>
                  </a:lnTo>
                  <a:lnTo>
                    <a:pt x="4541" y="22808"/>
                  </a:lnTo>
                  <a:lnTo>
                    <a:pt x="4332" y="22682"/>
                  </a:lnTo>
                  <a:lnTo>
                    <a:pt x="4290" y="22598"/>
                  </a:lnTo>
                  <a:lnTo>
                    <a:pt x="4248" y="22515"/>
                  </a:lnTo>
                  <a:lnTo>
                    <a:pt x="4227" y="22515"/>
                  </a:lnTo>
                  <a:lnTo>
                    <a:pt x="4248" y="22619"/>
                  </a:lnTo>
                  <a:lnTo>
                    <a:pt x="4269" y="22703"/>
                  </a:lnTo>
                  <a:lnTo>
                    <a:pt x="4248" y="22724"/>
                  </a:lnTo>
                  <a:lnTo>
                    <a:pt x="4144" y="22619"/>
                  </a:lnTo>
                  <a:lnTo>
                    <a:pt x="4039" y="22494"/>
                  </a:lnTo>
                  <a:lnTo>
                    <a:pt x="3913" y="22431"/>
                  </a:lnTo>
                  <a:lnTo>
                    <a:pt x="3851" y="22473"/>
                  </a:lnTo>
                  <a:lnTo>
                    <a:pt x="3872" y="22515"/>
                  </a:lnTo>
                  <a:lnTo>
                    <a:pt x="3955" y="22536"/>
                  </a:lnTo>
                  <a:lnTo>
                    <a:pt x="3976" y="22619"/>
                  </a:lnTo>
                  <a:lnTo>
                    <a:pt x="4123" y="22745"/>
                  </a:lnTo>
                  <a:lnTo>
                    <a:pt x="4164" y="22808"/>
                  </a:lnTo>
                  <a:lnTo>
                    <a:pt x="4227" y="22808"/>
                  </a:lnTo>
                  <a:lnTo>
                    <a:pt x="4290" y="22828"/>
                  </a:lnTo>
                  <a:lnTo>
                    <a:pt x="4332" y="22891"/>
                  </a:lnTo>
                  <a:lnTo>
                    <a:pt x="4164" y="22891"/>
                  </a:lnTo>
                  <a:lnTo>
                    <a:pt x="4060" y="22828"/>
                  </a:lnTo>
                  <a:lnTo>
                    <a:pt x="3976" y="22787"/>
                  </a:lnTo>
                  <a:lnTo>
                    <a:pt x="3934" y="22787"/>
                  </a:lnTo>
                  <a:lnTo>
                    <a:pt x="3913" y="22849"/>
                  </a:lnTo>
                  <a:lnTo>
                    <a:pt x="3913" y="22912"/>
                  </a:lnTo>
                  <a:lnTo>
                    <a:pt x="3851" y="22954"/>
                  </a:lnTo>
                  <a:lnTo>
                    <a:pt x="3830" y="22954"/>
                  </a:lnTo>
                  <a:lnTo>
                    <a:pt x="3830" y="23017"/>
                  </a:lnTo>
                  <a:lnTo>
                    <a:pt x="3767" y="23059"/>
                  </a:lnTo>
                  <a:lnTo>
                    <a:pt x="3725" y="23100"/>
                  </a:lnTo>
                  <a:lnTo>
                    <a:pt x="3600" y="23247"/>
                  </a:lnTo>
                  <a:lnTo>
                    <a:pt x="3600" y="23310"/>
                  </a:lnTo>
                  <a:lnTo>
                    <a:pt x="3627" y="23324"/>
                  </a:lnTo>
                  <a:lnTo>
                    <a:pt x="3627" y="23324"/>
                  </a:lnTo>
                  <a:lnTo>
                    <a:pt x="3558" y="23352"/>
                  </a:lnTo>
                  <a:lnTo>
                    <a:pt x="3495" y="23414"/>
                  </a:lnTo>
                  <a:lnTo>
                    <a:pt x="3390" y="23456"/>
                  </a:lnTo>
                  <a:lnTo>
                    <a:pt x="3328" y="23561"/>
                  </a:lnTo>
                  <a:lnTo>
                    <a:pt x="3328" y="23644"/>
                  </a:lnTo>
                  <a:lnTo>
                    <a:pt x="3348" y="23665"/>
                  </a:lnTo>
                  <a:lnTo>
                    <a:pt x="3432" y="23624"/>
                  </a:lnTo>
                  <a:lnTo>
                    <a:pt x="3537" y="23582"/>
                  </a:lnTo>
                  <a:lnTo>
                    <a:pt x="3600" y="23624"/>
                  </a:lnTo>
                  <a:lnTo>
                    <a:pt x="3620" y="23644"/>
                  </a:lnTo>
                  <a:lnTo>
                    <a:pt x="3725" y="23644"/>
                  </a:lnTo>
                  <a:lnTo>
                    <a:pt x="3913" y="23582"/>
                  </a:lnTo>
                  <a:lnTo>
                    <a:pt x="4060" y="23582"/>
                  </a:lnTo>
                  <a:lnTo>
                    <a:pt x="4185" y="23644"/>
                  </a:lnTo>
                  <a:lnTo>
                    <a:pt x="4185" y="23686"/>
                  </a:lnTo>
                  <a:lnTo>
                    <a:pt x="4144" y="23728"/>
                  </a:lnTo>
                  <a:lnTo>
                    <a:pt x="4018" y="23686"/>
                  </a:lnTo>
                  <a:lnTo>
                    <a:pt x="3934" y="23728"/>
                  </a:lnTo>
                  <a:lnTo>
                    <a:pt x="3558" y="23686"/>
                  </a:lnTo>
                  <a:lnTo>
                    <a:pt x="3453" y="23686"/>
                  </a:lnTo>
                  <a:lnTo>
                    <a:pt x="3432" y="23728"/>
                  </a:lnTo>
                  <a:lnTo>
                    <a:pt x="3286" y="23728"/>
                  </a:lnTo>
                  <a:lnTo>
                    <a:pt x="3286" y="23770"/>
                  </a:lnTo>
                  <a:lnTo>
                    <a:pt x="3307" y="23791"/>
                  </a:lnTo>
                  <a:lnTo>
                    <a:pt x="3411" y="23791"/>
                  </a:lnTo>
                  <a:lnTo>
                    <a:pt x="3432" y="23833"/>
                  </a:lnTo>
                  <a:lnTo>
                    <a:pt x="3390" y="23854"/>
                  </a:lnTo>
                  <a:lnTo>
                    <a:pt x="3307" y="23833"/>
                  </a:lnTo>
                  <a:lnTo>
                    <a:pt x="3202" y="23833"/>
                  </a:lnTo>
                  <a:lnTo>
                    <a:pt x="3202" y="23854"/>
                  </a:lnTo>
                  <a:lnTo>
                    <a:pt x="3244" y="23896"/>
                  </a:lnTo>
                  <a:lnTo>
                    <a:pt x="3348" y="23896"/>
                  </a:lnTo>
                  <a:lnTo>
                    <a:pt x="3620" y="23979"/>
                  </a:lnTo>
                  <a:lnTo>
                    <a:pt x="3704" y="23979"/>
                  </a:lnTo>
                  <a:lnTo>
                    <a:pt x="3746" y="23958"/>
                  </a:lnTo>
                  <a:lnTo>
                    <a:pt x="3830" y="23958"/>
                  </a:lnTo>
                  <a:lnTo>
                    <a:pt x="3851" y="23979"/>
                  </a:lnTo>
                  <a:lnTo>
                    <a:pt x="3851" y="24063"/>
                  </a:lnTo>
                  <a:lnTo>
                    <a:pt x="3872" y="24147"/>
                  </a:lnTo>
                  <a:lnTo>
                    <a:pt x="3830" y="24168"/>
                  </a:lnTo>
                  <a:lnTo>
                    <a:pt x="3746" y="24147"/>
                  </a:lnTo>
                  <a:lnTo>
                    <a:pt x="3725" y="24168"/>
                  </a:lnTo>
                  <a:lnTo>
                    <a:pt x="3704" y="24147"/>
                  </a:lnTo>
                  <a:lnTo>
                    <a:pt x="3600" y="24168"/>
                  </a:lnTo>
                  <a:lnTo>
                    <a:pt x="3600" y="24209"/>
                  </a:lnTo>
                  <a:lnTo>
                    <a:pt x="3620" y="24251"/>
                  </a:lnTo>
                  <a:lnTo>
                    <a:pt x="3662" y="24251"/>
                  </a:lnTo>
                  <a:lnTo>
                    <a:pt x="3746" y="24272"/>
                  </a:lnTo>
                  <a:lnTo>
                    <a:pt x="3767" y="24293"/>
                  </a:lnTo>
                  <a:lnTo>
                    <a:pt x="3662" y="24356"/>
                  </a:lnTo>
                  <a:lnTo>
                    <a:pt x="3600" y="24356"/>
                  </a:lnTo>
                  <a:lnTo>
                    <a:pt x="3495" y="24293"/>
                  </a:lnTo>
                  <a:lnTo>
                    <a:pt x="3390" y="24335"/>
                  </a:lnTo>
                  <a:lnTo>
                    <a:pt x="3390" y="24377"/>
                  </a:lnTo>
                  <a:lnTo>
                    <a:pt x="3411" y="24460"/>
                  </a:lnTo>
                  <a:lnTo>
                    <a:pt x="3453" y="24481"/>
                  </a:lnTo>
                  <a:lnTo>
                    <a:pt x="3516" y="24460"/>
                  </a:lnTo>
                  <a:lnTo>
                    <a:pt x="3620" y="24460"/>
                  </a:lnTo>
                  <a:lnTo>
                    <a:pt x="3704" y="24502"/>
                  </a:lnTo>
                  <a:lnTo>
                    <a:pt x="3725" y="24565"/>
                  </a:lnTo>
                  <a:lnTo>
                    <a:pt x="3495" y="24565"/>
                  </a:lnTo>
                  <a:lnTo>
                    <a:pt x="3432" y="24586"/>
                  </a:lnTo>
                  <a:lnTo>
                    <a:pt x="3348" y="24544"/>
                  </a:lnTo>
                  <a:lnTo>
                    <a:pt x="3307" y="24544"/>
                  </a:lnTo>
                  <a:lnTo>
                    <a:pt x="3244" y="24607"/>
                  </a:lnTo>
                  <a:lnTo>
                    <a:pt x="3244" y="24816"/>
                  </a:lnTo>
                  <a:lnTo>
                    <a:pt x="3223" y="24879"/>
                  </a:lnTo>
                  <a:lnTo>
                    <a:pt x="3244" y="24921"/>
                  </a:lnTo>
                  <a:lnTo>
                    <a:pt x="3328" y="24921"/>
                  </a:lnTo>
                  <a:lnTo>
                    <a:pt x="3558" y="24816"/>
                  </a:lnTo>
                  <a:lnTo>
                    <a:pt x="3620" y="24774"/>
                  </a:lnTo>
                  <a:lnTo>
                    <a:pt x="3809" y="24712"/>
                  </a:lnTo>
                  <a:lnTo>
                    <a:pt x="3913" y="24670"/>
                  </a:lnTo>
                  <a:lnTo>
                    <a:pt x="3976" y="24544"/>
                  </a:lnTo>
                  <a:lnTo>
                    <a:pt x="4123" y="24398"/>
                  </a:lnTo>
                  <a:lnTo>
                    <a:pt x="4395" y="24272"/>
                  </a:lnTo>
                  <a:lnTo>
                    <a:pt x="4541" y="24230"/>
                  </a:lnTo>
                  <a:lnTo>
                    <a:pt x="4604" y="24251"/>
                  </a:lnTo>
                  <a:lnTo>
                    <a:pt x="4604" y="24293"/>
                  </a:lnTo>
                  <a:lnTo>
                    <a:pt x="4562" y="24335"/>
                  </a:lnTo>
                  <a:lnTo>
                    <a:pt x="4478" y="24335"/>
                  </a:lnTo>
                  <a:lnTo>
                    <a:pt x="4332" y="24377"/>
                  </a:lnTo>
                  <a:lnTo>
                    <a:pt x="4144" y="24460"/>
                  </a:lnTo>
                  <a:lnTo>
                    <a:pt x="3955" y="24670"/>
                  </a:lnTo>
                  <a:lnTo>
                    <a:pt x="3872" y="24774"/>
                  </a:lnTo>
                  <a:lnTo>
                    <a:pt x="3725" y="24795"/>
                  </a:lnTo>
                  <a:lnTo>
                    <a:pt x="3641" y="24816"/>
                  </a:lnTo>
                  <a:lnTo>
                    <a:pt x="3495" y="24921"/>
                  </a:lnTo>
                  <a:lnTo>
                    <a:pt x="3328" y="24984"/>
                  </a:lnTo>
                  <a:lnTo>
                    <a:pt x="3244" y="25005"/>
                  </a:lnTo>
                  <a:lnTo>
                    <a:pt x="3223" y="25067"/>
                  </a:lnTo>
                  <a:lnTo>
                    <a:pt x="3307" y="25067"/>
                  </a:lnTo>
                  <a:lnTo>
                    <a:pt x="3348" y="25025"/>
                  </a:lnTo>
                  <a:lnTo>
                    <a:pt x="3411" y="25067"/>
                  </a:lnTo>
                  <a:lnTo>
                    <a:pt x="3411" y="25109"/>
                  </a:lnTo>
                  <a:lnTo>
                    <a:pt x="3516" y="25067"/>
                  </a:lnTo>
                  <a:lnTo>
                    <a:pt x="3558" y="25005"/>
                  </a:lnTo>
                  <a:lnTo>
                    <a:pt x="3620" y="25005"/>
                  </a:lnTo>
                  <a:lnTo>
                    <a:pt x="3704" y="25088"/>
                  </a:lnTo>
                  <a:lnTo>
                    <a:pt x="3746" y="25088"/>
                  </a:lnTo>
                  <a:lnTo>
                    <a:pt x="3830" y="25025"/>
                  </a:lnTo>
                  <a:lnTo>
                    <a:pt x="3934" y="24963"/>
                  </a:lnTo>
                  <a:lnTo>
                    <a:pt x="4018" y="24963"/>
                  </a:lnTo>
                  <a:lnTo>
                    <a:pt x="4039" y="24984"/>
                  </a:lnTo>
                  <a:lnTo>
                    <a:pt x="4018" y="25025"/>
                  </a:lnTo>
                  <a:lnTo>
                    <a:pt x="3934" y="25025"/>
                  </a:lnTo>
                  <a:lnTo>
                    <a:pt x="3851" y="25109"/>
                  </a:lnTo>
                  <a:lnTo>
                    <a:pt x="3767" y="25130"/>
                  </a:lnTo>
                  <a:lnTo>
                    <a:pt x="3662" y="25130"/>
                  </a:lnTo>
                  <a:lnTo>
                    <a:pt x="3620" y="25088"/>
                  </a:lnTo>
                  <a:lnTo>
                    <a:pt x="3558" y="25109"/>
                  </a:lnTo>
                  <a:lnTo>
                    <a:pt x="3516" y="25172"/>
                  </a:lnTo>
                  <a:lnTo>
                    <a:pt x="3390" y="25214"/>
                  </a:lnTo>
                  <a:lnTo>
                    <a:pt x="3348" y="25235"/>
                  </a:lnTo>
                  <a:lnTo>
                    <a:pt x="3432" y="25297"/>
                  </a:lnTo>
                  <a:lnTo>
                    <a:pt x="3495" y="25297"/>
                  </a:lnTo>
                  <a:lnTo>
                    <a:pt x="3600" y="25339"/>
                  </a:lnTo>
                  <a:lnTo>
                    <a:pt x="3516" y="25423"/>
                  </a:lnTo>
                  <a:lnTo>
                    <a:pt x="3516" y="25486"/>
                  </a:lnTo>
                  <a:lnTo>
                    <a:pt x="3600" y="25507"/>
                  </a:lnTo>
                  <a:lnTo>
                    <a:pt x="3558" y="25549"/>
                  </a:lnTo>
                  <a:lnTo>
                    <a:pt x="3600" y="25611"/>
                  </a:lnTo>
                  <a:lnTo>
                    <a:pt x="3537" y="25611"/>
                  </a:lnTo>
                  <a:lnTo>
                    <a:pt x="3453" y="25695"/>
                  </a:lnTo>
                  <a:lnTo>
                    <a:pt x="3495" y="25758"/>
                  </a:lnTo>
                  <a:lnTo>
                    <a:pt x="3537" y="25758"/>
                  </a:lnTo>
                  <a:lnTo>
                    <a:pt x="3600" y="25716"/>
                  </a:lnTo>
                  <a:lnTo>
                    <a:pt x="3620" y="25716"/>
                  </a:lnTo>
                  <a:lnTo>
                    <a:pt x="3641" y="25821"/>
                  </a:lnTo>
                  <a:lnTo>
                    <a:pt x="3641" y="25904"/>
                  </a:lnTo>
                  <a:lnTo>
                    <a:pt x="3558" y="25946"/>
                  </a:lnTo>
                  <a:lnTo>
                    <a:pt x="3558" y="26113"/>
                  </a:lnTo>
                  <a:lnTo>
                    <a:pt x="3620" y="26176"/>
                  </a:lnTo>
                  <a:lnTo>
                    <a:pt x="3704" y="26176"/>
                  </a:lnTo>
                  <a:lnTo>
                    <a:pt x="3767" y="26134"/>
                  </a:lnTo>
                  <a:lnTo>
                    <a:pt x="3809" y="26051"/>
                  </a:lnTo>
                  <a:lnTo>
                    <a:pt x="3851" y="26072"/>
                  </a:lnTo>
                  <a:lnTo>
                    <a:pt x="3913" y="26030"/>
                  </a:lnTo>
                  <a:lnTo>
                    <a:pt x="3955" y="26030"/>
                  </a:lnTo>
                  <a:lnTo>
                    <a:pt x="4018" y="26072"/>
                  </a:lnTo>
                  <a:lnTo>
                    <a:pt x="3976" y="26113"/>
                  </a:lnTo>
                  <a:lnTo>
                    <a:pt x="3872" y="26176"/>
                  </a:lnTo>
                  <a:lnTo>
                    <a:pt x="3809" y="26176"/>
                  </a:lnTo>
                  <a:lnTo>
                    <a:pt x="3641" y="26239"/>
                  </a:lnTo>
                  <a:lnTo>
                    <a:pt x="3558" y="26281"/>
                  </a:lnTo>
                  <a:lnTo>
                    <a:pt x="3558" y="26365"/>
                  </a:lnTo>
                  <a:lnTo>
                    <a:pt x="3537" y="26448"/>
                  </a:lnTo>
                  <a:lnTo>
                    <a:pt x="3620" y="26490"/>
                  </a:lnTo>
                  <a:lnTo>
                    <a:pt x="3558" y="26553"/>
                  </a:lnTo>
                  <a:lnTo>
                    <a:pt x="3537" y="26657"/>
                  </a:lnTo>
                  <a:lnTo>
                    <a:pt x="3558" y="26783"/>
                  </a:lnTo>
                  <a:lnTo>
                    <a:pt x="3620" y="26783"/>
                  </a:lnTo>
                  <a:lnTo>
                    <a:pt x="3704" y="26637"/>
                  </a:lnTo>
                  <a:lnTo>
                    <a:pt x="3746" y="26595"/>
                  </a:lnTo>
                  <a:lnTo>
                    <a:pt x="3872" y="26469"/>
                  </a:lnTo>
                  <a:lnTo>
                    <a:pt x="3934" y="26469"/>
                  </a:lnTo>
                  <a:lnTo>
                    <a:pt x="3976" y="26385"/>
                  </a:lnTo>
                  <a:lnTo>
                    <a:pt x="4060" y="26365"/>
                  </a:lnTo>
                  <a:lnTo>
                    <a:pt x="4060" y="26385"/>
                  </a:lnTo>
                  <a:lnTo>
                    <a:pt x="4018" y="26448"/>
                  </a:lnTo>
                  <a:lnTo>
                    <a:pt x="4018" y="26490"/>
                  </a:lnTo>
                  <a:lnTo>
                    <a:pt x="4039" y="26532"/>
                  </a:lnTo>
                  <a:lnTo>
                    <a:pt x="4123" y="26490"/>
                  </a:lnTo>
                  <a:lnTo>
                    <a:pt x="4248" y="26365"/>
                  </a:lnTo>
                  <a:lnTo>
                    <a:pt x="4269" y="26323"/>
                  </a:lnTo>
                  <a:lnTo>
                    <a:pt x="4332" y="26385"/>
                  </a:lnTo>
                  <a:lnTo>
                    <a:pt x="4374" y="26385"/>
                  </a:lnTo>
                  <a:lnTo>
                    <a:pt x="4436" y="26344"/>
                  </a:lnTo>
                  <a:lnTo>
                    <a:pt x="4499" y="26344"/>
                  </a:lnTo>
                  <a:lnTo>
                    <a:pt x="4499" y="26365"/>
                  </a:lnTo>
                  <a:lnTo>
                    <a:pt x="4436" y="26448"/>
                  </a:lnTo>
                  <a:lnTo>
                    <a:pt x="4436" y="26637"/>
                  </a:lnTo>
                  <a:lnTo>
                    <a:pt x="4478" y="26657"/>
                  </a:lnTo>
                  <a:lnTo>
                    <a:pt x="4541" y="26741"/>
                  </a:lnTo>
                  <a:lnTo>
                    <a:pt x="4499" y="26762"/>
                  </a:lnTo>
                  <a:lnTo>
                    <a:pt x="4436" y="26741"/>
                  </a:lnTo>
                  <a:lnTo>
                    <a:pt x="4332" y="26637"/>
                  </a:lnTo>
                  <a:lnTo>
                    <a:pt x="4269" y="26553"/>
                  </a:lnTo>
                  <a:lnTo>
                    <a:pt x="4227" y="26553"/>
                  </a:lnTo>
                  <a:lnTo>
                    <a:pt x="4164" y="26574"/>
                  </a:lnTo>
                  <a:lnTo>
                    <a:pt x="4081" y="26574"/>
                  </a:lnTo>
                  <a:lnTo>
                    <a:pt x="4060" y="26637"/>
                  </a:lnTo>
                  <a:lnTo>
                    <a:pt x="4123" y="26678"/>
                  </a:lnTo>
                  <a:lnTo>
                    <a:pt x="4164" y="26678"/>
                  </a:lnTo>
                  <a:lnTo>
                    <a:pt x="4248" y="26783"/>
                  </a:lnTo>
                  <a:lnTo>
                    <a:pt x="4290" y="26804"/>
                  </a:lnTo>
                  <a:lnTo>
                    <a:pt x="4269" y="26867"/>
                  </a:lnTo>
                  <a:lnTo>
                    <a:pt x="4185" y="26783"/>
                  </a:lnTo>
                  <a:lnTo>
                    <a:pt x="4144" y="26762"/>
                  </a:lnTo>
                  <a:lnTo>
                    <a:pt x="4060" y="26762"/>
                  </a:lnTo>
                  <a:lnTo>
                    <a:pt x="3955" y="26888"/>
                  </a:lnTo>
                  <a:lnTo>
                    <a:pt x="3872" y="26950"/>
                  </a:lnTo>
                  <a:lnTo>
                    <a:pt x="3704" y="26950"/>
                  </a:lnTo>
                  <a:lnTo>
                    <a:pt x="3662" y="26971"/>
                  </a:lnTo>
                  <a:lnTo>
                    <a:pt x="3725" y="26992"/>
                  </a:lnTo>
                  <a:lnTo>
                    <a:pt x="3830" y="26992"/>
                  </a:lnTo>
                  <a:lnTo>
                    <a:pt x="3892" y="26971"/>
                  </a:lnTo>
                  <a:lnTo>
                    <a:pt x="4060" y="26950"/>
                  </a:lnTo>
                  <a:lnTo>
                    <a:pt x="4164" y="26888"/>
                  </a:lnTo>
                  <a:lnTo>
                    <a:pt x="4248" y="26909"/>
                  </a:lnTo>
                  <a:lnTo>
                    <a:pt x="4353" y="26909"/>
                  </a:lnTo>
                  <a:lnTo>
                    <a:pt x="4311" y="26950"/>
                  </a:lnTo>
                  <a:lnTo>
                    <a:pt x="4248" y="27013"/>
                  </a:lnTo>
                  <a:lnTo>
                    <a:pt x="4102" y="27013"/>
                  </a:lnTo>
                  <a:lnTo>
                    <a:pt x="3976" y="27055"/>
                  </a:lnTo>
                  <a:lnTo>
                    <a:pt x="3767" y="27055"/>
                  </a:lnTo>
                  <a:lnTo>
                    <a:pt x="3662" y="27076"/>
                  </a:lnTo>
                  <a:lnTo>
                    <a:pt x="3641" y="27160"/>
                  </a:lnTo>
                  <a:lnTo>
                    <a:pt x="3662" y="27222"/>
                  </a:lnTo>
                  <a:lnTo>
                    <a:pt x="3767" y="27264"/>
                  </a:lnTo>
                  <a:lnTo>
                    <a:pt x="3872" y="27222"/>
                  </a:lnTo>
                  <a:lnTo>
                    <a:pt x="3892" y="27264"/>
                  </a:lnTo>
                  <a:lnTo>
                    <a:pt x="3830" y="27306"/>
                  </a:lnTo>
                  <a:lnTo>
                    <a:pt x="3725" y="27306"/>
                  </a:lnTo>
                  <a:lnTo>
                    <a:pt x="3662" y="27390"/>
                  </a:lnTo>
                  <a:lnTo>
                    <a:pt x="3683" y="27473"/>
                  </a:lnTo>
                  <a:lnTo>
                    <a:pt x="3767" y="27515"/>
                  </a:lnTo>
                  <a:lnTo>
                    <a:pt x="3830" y="27473"/>
                  </a:lnTo>
                  <a:lnTo>
                    <a:pt x="3851" y="27411"/>
                  </a:lnTo>
                  <a:lnTo>
                    <a:pt x="3934" y="27411"/>
                  </a:lnTo>
                  <a:lnTo>
                    <a:pt x="3976" y="27432"/>
                  </a:lnTo>
                  <a:lnTo>
                    <a:pt x="4060" y="27432"/>
                  </a:lnTo>
                  <a:lnTo>
                    <a:pt x="4144" y="27411"/>
                  </a:lnTo>
                  <a:lnTo>
                    <a:pt x="4185" y="27390"/>
                  </a:lnTo>
                  <a:lnTo>
                    <a:pt x="4227" y="27411"/>
                  </a:lnTo>
                  <a:lnTo>
                    <a:pt x="4164" y="27473"/>
                  </a:lnTo>
                  <a:lnTo>
                    <a:pt x="4039" y="27515"/>
                  </a:lnTo>
                  <a:lnTo>
                    <a:pt x="3976" y="27494"/>
                  </a:lnTo>
                  <a:lnTo>
                    <a:pt x="3913" y="27473"/>
                  </a:lnTo>
                  <a:lnTo>
                    <a:pt x="3851" y="27473"/>
                  </a:lnTo>
                  <a:lnTo>
                    <a:pt x="3913" y="27515"/>
                  </a:lnTo>
                  <a:lnTo>
                    <a:pt x="3976" y="27515"/>
                  </a:lnTo>
                  <a:lnTo>
                    <a:pt x="4039" y="27536"/>
                  </a:lnTo>
                  <a:lnTo>
                    <a:pt x="3976" y="27578"/>
                  </a:lnTo>
                  <a:lnTo>
                    <a:pt x="3851" y="27578"/>
                  </a:lnTo>
                  <a:lnTo>
                    <a:pt x="3746" y="27641"/>
                  </a:lnTo>
                  <a:lnTo>
                    <a:pt x="3809" y="27704"/>
                  </a:lnTo>
                  <a:lnTo>
                    <a:pt x="3851" y="27704"/>
                  </a:lnTo>
                  <a:lnTo>
                    <a:pt x="3913" y="27683"/>
                  </a:lnTo>
                  <a:lnTo>
                    <a:pt x="4039" y="27683"/>
                  </a:lnTo>
                  <a:lnTo>
                    <a:pt x="4081" y="27704"/>
                  </a:lnTo>
                  <a:lnTo>
                    <a:pt x="4144" y="27704"/>
                  </a:lnTo>
                  <a:lnTo>
                    <a:pt x="4081" y="27746"/>
                  </a:lnTo>
                  <a:lnTo>
                    <a:pt x="3955" y="27787"/>
                  </a:lnTo>
                  <a:lnTo>
                    <a:pt x="3872" y="27746"/>
                  </a:lnTo>
                  <a:lnTo>
                    <a:pt x="3809" y="27787"/>
                  </a:lnTo>
                  <a:lnTo>
                    <a:pt x="3767" y="27829"/>
                  </a:lnTo>
                  <a:lnTo>
                    <a:pt x="3809" y="27892"/>
                  </a:lnTo>
                  <a:lnTo>
                    <a:pt x="3851" y="27892"/>
                  </a:lnTo>
                  <a:lnTo>
                    <a:pt x="3934" y="27829"/>
                  </a:lnTo>
                  <a:lnTo>
                    <a:pt x="4018" y="27829"/>
                  </a:lnTo>
                  <a:lnTo>
                    <a:pt x="4081" y="27892"/>
                  </a:lnTo>
                  <a:lnTo>
                    <a:pt x="4081" y="27934"/>
                  </a:lnTo>
                  <a:lnTo>
                    <a:pt x="3934" y="27997"/>
                  </a:lnTo>
                  <a:lnTo>
                    <a:pt x="3892" y="28038"/>
                  </a:lnTo>
                  <a:lnTo>
                    <a:pt x="3955" y="28143"/>
                  </a:lnTo>
                  <a:lnTo>
                    <a:pt x="3997" y="28143"/>
                  </a:lnTo>
                  <a:lnTo>
                    <a:pt x="4039" y="28122"/>
                  </a:lnTo>
                  <a:lnTo>
                    <a:pt x="4102" y="28122"/>
                  </a:lnTo>
                  <a:lnTo>
                    <a:pt x="4164" y="28206"/>
                  </a:lnTo>
                  <a:lnTo>
                    <a:pt x="4185" y="28143"/>
                  </a:lnTo>
                  <a:lnTo>
                    <a:pt x="4227" y="28122"/>
                  </a:lnTo>
                  <a:lnTo>
                    <a:pt x="4269" y="28143"/>
                  </a:lnTo>
                  <a:lnTo>
                    <a:pt x="4248" y="28206"/>
                  </a:lnTo>
                  <a:lnTo>
                    <a:pt x="4206" y="28248"/>
                  </a:lnTo>
                  <a:lnTo>
                    <a:pt x="4269" y="28310"/>
                  </a:lnTo>
                  <a:lnTo>
                    <a:pt x="4164" y="28436"/>
                  </a:lnTo>
                  <a:lnTo>
                    <a:pt x="4144" y="28436"/>
                  </a:lnTo>
                  <a:lnTo>
                    <a:pt x="4081" y="28520"/>
                  </a:lnTo>
                  <a:lnTo>
                    <a:pt x="4039" y="28582"/>
                  </a:lnTo>
                  <a:lnTo>
                    <a:pt x="4039" y="28624"/>
                  </a:lnTo>
                  <a:lnTo>
                    <a:pt x="4102" y="28624"/>
                  </a:lnTo>
                  <a:lnTo>
                    <a:pt x="4164" y="28582"/>
                  </a:lnTo>
                  <a:lnTo>
                    <a:pt x="4248" y="28624"/>
                  </a:lnTo>
                  <a:lnTo>
                    <a:pt x="4269" y="28687"/>
                  </a:lnTo>
                  <a:lnTo>
                    <a:pt x="4227" y="28750"/>
                  </a:lnTo>
                  <a:lnTo>
                    <a:pt x="4227" y="28771"/>
                  </a:lnTo>
                  <a:lnTo>
                    <a:pt x="4290" y="28771"/>
                  </a:lnTo>
                  <a:lnTo>
                    <a:pt x="4353" y="28792"/>
                  </a:lnTo>
                  <a:lnTo>
                    <a:pt x="4353" y="28854"/>
                  </a:lnTo>
                  <a:lnTo>
                    <a:pt x="4290" y="28896"/>
                  </a:lnTo>
                  <a:lnTo>
                    <a:pt x="4353" y="28959"/>
                  </a:lnTo>
                  <a:lnTo>
                    <a:pt x="4332" y="29043"/>
                  </a:lnTo>
                  <a:lnTo>
                    <a:pt x="4248" y="29085"/>
                  </a:lnTo>
                  <a:lnTo>
                    <a:pt x="4206" y="29147"/>
                  </a:lnTo>
                  <a:lnTo>
                    <a:pt x="4311" y="29147"/>
                  </a:lnTo>
                  <a:lnTo>
                    <a:pt x="4374" y="29085"/>
                  </a:lnTo>
                  <a:lnTo>
                    <a:pt x="4395" y="29043"/>
                  </a:lnTo>
                  <a:lnTo>
                    <a:pt x="4520" y="28980"/>
                  </a:lnTo>
                  <a:lnTo>
                    <a:pt x="4562" y="29001"/>
                  </a:lnTo>
                  <a:lnTo>
                    <a:pt x="4499" y="29064"/>
                  </a:lnTo>
                  <a:lnTo>
                    <a:pt x="4541" y="29106"/>
                  </a:lnTo>
                  <a:lnTo>
                    <a:pt x="4457" y="29168"/>
                  </a:lnTo>
                  <a:lnTo>
                    <a:pt x="4395" y="29210"/>
                  </a:lnTo>
                  <a:lnTo>
                    <a:pt x="4332" y="29210"/>
                  </a:lnTo>
                  <a:lnTo>
                    <a:pt x="4248" y="29252"/>
                  </a:lnTo>
                  <a:lnTo>
                    <a:pt x="4185" y="29294"/>
                  </a:lnTo>
                  <a:lnTo>
                    <a:pt x="4248" y="29357"/>
                  </a:lnTo>
                  <a:lnTo>
                    <a:pt x="4332" y="29294"/>
                  </a:lnTo>
                  <a:lnTo>
                    <a:pt x="4374" y="29252"/>
                  </a:lnTo>
                  <a:lnTo>
                    <a:pt x="4478" y="29273"/>
                  </a:lnTo>
                  <a:lnTo>
                    <a:pt x="4499" y="29294"/>
                  </a:lnTo>
                  <a:lnTo>
                    <a:pt x="4457" y="29357"/>
                  </a:lnTo>
                  <a:lnTo>
                    <a:pt x="4332" y="29398"/>
                  </a:lnTo>
                  <a:lnTo>
                    <a:pt x="4332" y="29503"/>
                  </a:lnTo>
                  <a:lnTo>
                    <a:pt x="4269" y="29566"/>
                  </a:lnTo>
                  <a:lnTo>
                    <a:pt x="4185" y="29587"/>
                  </a:lnTo>
                  <a:lnTo>
                    <a:pt x="4164" y="29629"/>
                  </a:lnTo>
                  <a:lnTo>
                    <a:pt x="4248" y="29691"/>
                  </a:lnTo>
                  <a:lnTo>
                    <a:pt x="4374" y="29670"/>
                  </a:lnTo>
                  <a:lnTo>
                    <a:pt x="4457" y="29608"/>
                  </a:lnTo>
                  <a:lnTo>
                    <a:pt x="4562" y="29587"/>
                  </a:lnTo>
                  <a:lnTo>
                    <a:pt x="4625" y="29587"/>
                  </a:lnTo>
                  <a:lnTo>
                    <a:pt x="4667" y="29629"/>
                  </a:lnTo>
                  <a:lnTo>
                    <a:pt x="4625" y="29691"/>
                  </a:lnTo>
                  <a:lnTo>
                    <a:pt x="4562" y="29691"/>
                  </a:lnTo>
                  <a:lnTo>
                    <a:pt x="4416" y="29733"/>
                  </a:lnTo>
                  <a:lnTo>
                    <a:pt x="4416" y="29775"/>
                  </a:lnTo>
                  <a:lnTo>
                    <a:pt x="4499" y="29775"/>
                  </a:lnTo>
                  <a:lnTo>
                    <a:pt x="4541" y="29817"/>
                  </a:lnTo>
                  <a:lnTo>
                    <a:pt x="4457" y="29901"/>
                  </a:lnTo>
                  <a:lnTo>
                    <a:pt x="4478" y="29984"/>
                  </a:lnTo>
                  <a:lnTo>
                    <a:pt x="4562" y="30005"/>
                  </a:lnTo>
                  <a:lnTo>
                    <a:pt x="4688" y="29901"/>
                  </a:lnTo>
                  <a:lnTo>
                    <a:pt x="4750" y="29880"/>
                  </a:lnTo>
                  <a:lnTo>
                    <a:pt x="4771" y="29901"/>
                  </a:lnTo>
                  <a:lnTo>
                    <a:pt x="4855" y="29984"/>
                  </a:lnTo>
                  <a:lnTo>
                    <a:pt x="4855" y="30089"/>
                  </a:lnTo>
                  <a:lnTo>
                    <a:pt x="4918" y="30131"/>
                  </a:lnTo>
                  <a:lnTo>
                    <a:pt x="4918" y="30152"/>
                  </a:lnTo>
                  <a:lnTo>
                    <a:pt x="4876" y="30214"/>
                  </a:lnTo>
                  <a:lnTo>
                    <a:pt x="4792" y="30214"/>
                  </a:lnTo>
                  <a:lnTo>
                    <a:pt x="4750" y="30298"/>
                  </a:lnTo>
                  <a:lnTo>
                    <a:pt x="4771" y="30340"/>
                  </a:lnTo>
                  <a:lnTo>
                    <a:pt x="4918" y="30361"/>
                  </a:lnTo>
                  <a:lnTo>
                    <a:pt x="4981" y="30340"/>
                  </a:lnTo>
                  <a:lnTo>
                    <a:pt x="4960" y="30298"/>
                  </a:lnTo>
                  <a:lnTo>
                    <a:pt x="4960" y="30235"/>
                  </a:lnTo>
                  <a:lnTo>
                    <a:pt x="5001" y="30214"/>
                  </a:lnTo>
                  <a:lnTo>
                    <a:pt x="5064" y="30235"/>
                  </a:lnTo>
                  <a:lnTo>
                    <a:pt x="5127" y="30194"/>
                  </a:lnTo>
                  <a:lnTo>
                    <a:pt x="5211" y="30152"/>
                  </a:lnTo>
                  <a:lnTo>
                    <a:pt x="5273" y="30214"/>
                  </a:lnTo>
                  <a:lnTo>
                    <a:pt x="5315" y="30235"/>
                  </a:lnTo>
                  <a:lnTo>
                    <a:pt x="5378" y="30214"/>
                  </a:lnTo>
                  <a:lnTo>
                    <a:pt x="5420" y="30131"/>
                  </a:lnTo>
                  <a:lnTo>
                    <a:pt x="5483" y="30089"/>
                  </a:lnTo>
                  <a:lnTo>
                    <a:pt x="5545" y="30089"/>
                  </a:lnTo>
                  <a:lnTo>
                    <a:pt x="5629" y="30047"/>
                  </a:lnTo>
                  <a:lnTo>
                    <a:pt x="5713" y="30089"/>
                  </a:lnTo>
                  <a:lnTo>
                    <a:pt x="5755" y="30026"/>
                  </a:lnTo>
                  <a:lnTo>
                    <a:pt x="5755" y="29984"/>
                  </a:lnTo>
                  <a:lnTo>
                    <a:pt x="5713" y="29922"/>
                  </a:lnTo>
                  <a:lnTo>
                    <a:pt x="5713" y="29880"/>
                  </a:lnTo>
                  <a:lnTo>
                    <a:pt x="5755" y="29838"/>
                  </a:lnTo>
                  <a:lnTo>
                    <a:pt x="5817" y="29880"/>
                  </a:lnTo>
                  <a:lnTo>
                    <a:pt x="5859" y="29942"/>
                  </a:lnTo>
                  <a:lnTo>
                    <a:pt x="5859" y="30047"/>
                  </a:lnTo>
                  <a:lnTo>
                    <a:pt x="5797" y="30131"/>
                  </a:lnTo>
                  <a:lnTo>
                    <a:pt x="5734" y="30152"/>
                  </a:lnTo>
                  <a:lnTo>
                    <a:pt x="5692" y="30214"/>
                  </a:lnTo>
                  <a:lnTo>
                    <a:pt x="5713" y="30235"/>
                  </a:lnTo>
                  <a:lnTo>
                    <a:pt x="5838" y="30194"/>
                  </a:lnTo>
                  <a:lnTo>
                    <a:pt x="6027" y="30089"/>
                  </a:lnTo>
                  <a:lnTo>
                    <a:pt x="6131" y="29922"/>
                  </a:lnTo>
                  <a:lnTo>
                    <a:pt x="6173" y="29922"/>
                  </a:lnTo>
                  <a:lnTo>
                    <a:pt x="6215" y="30005"/>
                  </a:lnTo>
                  <a:lnTo>
                    <a:pt x="6215" y="30110"/>
                  </a:lnTo>
                  <a:lnTo>
                    <a:pt x="6131" y="30131"/>
                  </a:lnTo>
                  <a:lnTo>
                    <a:pt x="6048" y="30194"/>
                  </a:lnTo>
                  <a:lnTo>
                    <a:pt x="5964" y="30256"/>
                  </a:lnTo>
                  <a:lnTo>
                    <a:pt x="5859" y="30298"/>
                  </a:lnTo>
                  <a:lnTo>
                    <a:pt x="5838" y="30319"/>
                  </a:lnTo>
                  <a:lnTo>
                    <a:pt x="5859" y="30340"/>
                  </a:lnTo>
                  <a:lnTo>
                    <a:pt x="5964" y="30319"/>
                  </a:lnTo>
                  <a:lnTo>
                    <a:pt x="6110" y="30235"/>
                  </a:lnTo>
                  <a:lnTo>
                    <a:pt x="6131" y="30256"/>
                  </a:lnTo>
                  <a:lnTo>
                    <a:pt x="6027" y="30361"/>
                  </a:lnTo>
                  <a:lnTo>
                    <a:pt x="5943" y="30403"/>
                  </a:lnTo>
                  <a:lnTo>
                    <a:pt x="5943" y="30507"/>
                  </a:lnTo>
                  <a:lnTo>
                    <a:pt x="5797" y="30612"/>
                  </a:lnTo>
                  <a:lnTo>
                    <a:pt x="5755" y="30654"/>
                  </a:lnTo>
                  <a:lnTo>
                    <a:pt x="5817" y="30654"/>
                  </a:lnTo>
                  <a:lnTo>
                    <a:pt x="5859" y="30612"/>
                  </a:lnTo>
                  <a:lnTo>
                    <a:pt x="5901" y="30612"/>
                  </a:lnTo>
                  <a:lnTo>
                    <a:pt x="5901" y="30633"/>
                  </a:lnTo>
                  <a:lnTo>
                    <a:pt x="5922" y="30738"/>
                  </a:lnTo>
                  <a:lnTo>
                    <a:pt x="5943" y="30654"/>
                  </a:lnTo>
                  <a:lnTo>
                    <a:pt x="6027" y="30612"/>
                  </a:lnTo>
                  <a:lnTo>
                    <a:pt x="6048" y="30549"/>
                  </a:lnTo>
                  <a:lnTo>
                    <a:pt x="6110" y="30549"/>
                  </a:lnTo>
                  <a:lnTo>
                    <a:pt x="6131" y="30570"/>
                  </a:lnTo>
                  <a:lnTo>
                    <a:pt x="6048" y="30654"/>
                  </a:lnTo>
                  <a:lnTo>
                    <a:pt x="6027" y="30738"/>
                  </a:lnTo>
                  <a:lnTo>
                    <a:pt x="6048" y="30759"/>
                  </a:lnTo>
                  <a:lnTo>
                    <a:pt x="6131" y="30738"/>
                  </a:lnTo>
                  <a:lnTo>
                    <a:pt x="6173" y="30654"/>
                  </a:lnTo>
                  <a:lnTo>
                    <a:pt x="6236" y="30654"/>
                  </a:lnTo>
                  <a:lnTo>
                    <a:pt x="6320" y="30633"/>
                  </a:lnTo>
                  <a:lnTo>
                    <a:pt x="6236" y="30738"/>
                  </a:lnTo>
                  <a:lnTo>
                    <a:pt x="6215" y="30842"/>
                  </a:lnTo>
                  <a:lnTo>
                    <a:pt x="6110" y="30926"/>
                  </a:lnTo>
                  <a:lnTo>
                    <a:pt x="6110" y="30989"/>
                  </a:lnTo>
                  <a:lnTo>
                    <a:pt x="6131" y="31031"/>
                  </a:lnTo>
                  <a:lnTo>
                    <a:pt x="6236" y="30947"/>
                  </a:lnTo>
                  <a:lnTo>
                    <a:pt x="6320" y="30738"/>
                  </a:lnTo>
                  <a:lnTo>
                    <a:pt x="6382" y="30675"/>
                  </a:lnTo>
                  <a:lnTo>
                    <a:pt x="6424" y="30717"/>
                  </a:lnTo>
                  <a:lnTo>
                    <a:pt x="6320" y="30863"/>
                  </a:lnTo>
                  <a:lnTo>
                    <a:pt x="6320" y="30947"/>
                  </a:lnTo>
                  <a:lnTo>
                    <a:pt x="6257" y="31031"/>
                  </a:lnTo>
                  <a:lnTo>
                    <a:pt x="6236" y="31135"/>
                  </a:lnTo>
                  <a:lnTo>
                    <a:pt x="6278" y="31156"/>
                  </a:lnTo>
                  <a:lnTo>
                    <a:pt x="6341" y="31093"/>
                  </a:lnTo>
                  <a:lnTo>
                    <a:pt x="6341" y="31031"/>
                  </a:lnTo>
                  <a:lnTo>
                    <a:pt x="6361" y="30968"/>
                  </a:lnTo>
                  <a:lnTo>
                    <a:pt x="6424" y="30968"/>
                  </a:lnTo>
                  <a:lnTo>
                    <a:pt x="6487" y="30989"/>
                  </a:lnTo>
                  <a:lnTo>
                    <a:pt x="6487" y="30842"/>
                  </a:lnTo>
                  <a:lnTo>
                    <a:pt x="6550" y="30842"/>
                  </a:lnTo>
                  <a:lnTo>
                    <a:pt x="6592" y="30759"/>
                  </a:lnTo>
                  <a:lnTo>
                    <a:pt x="6654" y="30759"/>
                  </a:lnTo>
                  <a:lnTo>
                    <a:pt x="6654" y="30821"/>
                  </a:lnTo>
                  <a:lnTo>
                    <a:pt x="6633" y="30821"/>
                  </a:lnTo>
                  <a:lnTo>
                    <a:pt x="6592" y="30926"/>
                  </a:lnTo>
                  <a:lnTo>
                    <a:pt x="6592" y="30968"/>
                  </a:lnTo>
                  <a:lnTo>
                    <a:pt x="6759" y="30968"/>
                  </a:lnTo>
                  <a:lnTo>
                    <a:pt x="7010" y="31093"/>
                  </a:lnTo>
                  <a:lnTo>
                    <a:pt x="7052" y="31093"/>
                  </a:lnTo>
                  <a:lnTo>
                    <a:pt x="7052" y="31051"/>
                  </a:lnTo>
                  <a:lnTo>
                    <a:pt x="7094" y="30989"/>
                  </a:lnTo>
                  <a:lnTo>
                    <a:pt x="7157" y="30968"/>
                  </a:lnTo>
                  <a:lnTo>
                    <a:pt x="7157" y="30926"/>
                  </a:lnTo>
                  <a:lnTo>
                    <a:pt x="7094" y="30884"/>
                  </a:lnTo>
                  <a:lnTo>
                    <a:pt x="7073" y="30863"/>
                  </a:lnTo>
                  <a:lnTo>
                    <a:pt x="6989" y="30863"/>
                  </a:lnTo>
                  <a:lnTo>
                    <a:pt x="6968" y="30884"/>
                  </a:lnTo>
                  <a:lnTo>
                    <a:pt x="6968" y="30842"/>
                  </a:lnTo>
                  <a:lnTo>
                    <a:pt x="6989" y="30821"/>
                  </a:lnTo>
                  <a:lnTo>
                    <a:pt x="6989" y="30759"/>
                  </a:lnTo>
                  <a:lnTo>
                    <a:pt x="6885" y="30717"/>
                  </a:lnTo>
                  <a:lnTo>
                    <a:pt x="6696" y="30633"/>
                  </a:lnTo>
                  <a:lnTo>
                    <a:pt x="6675" y="30570"/>
                  </a:lnTo>
                  <a:lnTo>
                    <a:pt x="6696" y="30549"/>
                  </a:lnTo>
                  <a:lnTo>
                    <a:pt x="6780" y="30570"/>
                  </a:lnTo>
                  <a:lnTo>
                    <a:pt x="6843" y="30549"/>
                  </a:lnTo>
                  <a:lnTo>
                    <a:pt x="6864" y="30549"/>
                  </a:lnTo>
                  <a:lnTo>
                    <a:pt x="6885" y="30612"/>
                  </a:lnTo>
                  <a:lnTo>
                    <a:pt x="6968" y="30675"/>
                  </a:lnTo>
                  <a:lnTo>
                    <a:pt x="7052" y="30738"/>
                  </a:lnTo>
                  <a:lnTo>
                    <a:pt x="7115" y="30738"/>
                  </a:lnTo>
                  <a:lnTo>
                    <a:pt x="7219" y="30675"/>
                  </a:lnTo>
                  <a:lnTo>
                    <a:pt x="7303" y="30633"/>
                  </a:lnTo>
                  <a:lnTo>
                    <a:pt x="7324" y="30570"/>
                  </a:lnTo>
                  <a:lnTo>
                    <a:pt x="7261" y="30549"/>
                  </a:lnTo>
                  <a:lnTo>
                    <a:pt x="7157" y="30549"/>
                  </a:lnTo>
                  <a:lnTo>
                    <a:pt x="7094" y="30528"/>
                  </a:lnTo>
                  <a:lnTo>
                    <a:pt x="7094" y="30466"/>
                  </a:lnTo>
                  <a:lnTo>
                    <a:pt x="7219" y="30466"/>
                  </a:lnTo>
                  <a:lnTo>
                    <a:pt x="7303" y="30424"/>
                  </a:lnTo>
                  <a:lnTo>
                    <a:pt x="7303" y="30403"/>
                  </a:lnTo>
                  <a:lnTo>
                    <a:pt x="7219" y="30340"/>
                  </a:lnTo>
                  <a:lnTo>
                    <a:pt x="7157" y="30319"/>
                  </a:lnTo>
                  <a:lnTo>
                    <a:pt x="7157" y="30298"/>
                  </a:lnTo>
                  <a:lnTo>
                    <a:pt x="7198" y="30298"/>
                  </a:lnTo>
                  <a:lnTo>
                    <a:pt x="7219" y="30256"/>
                  </a:lnTo>
                  <a:lnTo>
                    <a:pt x="7198" y="30235"/>
                  </a:lnTo>
                  <a:lnTo>
                    <a:pt x="7094" y="30214"/>
                  </a:lnTo>
                  <a:lnTo>
                    <a:pt x="7052" y="30152"/>
                  </a:lnTo>
                  <a:lnTo>
                    <a:pt x="7073" y="30131"/>
                  </a:lnTo>
                  <a:lnTo>
                    <a:pt x="7157" y="30152"/>
                  </a:lnTo>
                  <a:lnTo>
                    <a:pt x="7261" y="30194"/>
                  </a:lnTo>
                  <a:lnTo>
                    <a:pt x="7408" y="30152"/>
                  </a:lnTo>
                  <a:lnTo>
                    <a:pt x="7491" y="30110"/>
                  </a:lnTo>
                  <a:lnTo>
                    <a:pt x="7512" y="30047"/>
                  </a:lnTo>
                  <a:lnTo>
                    <a:pt x="7491" y="30005"/>
                  </a:lnTo>
                  <a:lnTo>
                    <a:pt x="7387" y="29984"/>
                  </a:lnTo>
                  <a:lnTo>
                    <a:pt x="7198" y="29942"/>
                  </a:lnTo>
                  <a:lnTo>
                    <a:pt x="7115" y="29901"/>
                  </a:lnTo>
                  <a:lnTo>
                    <a:pt x="7115" y="29880"/>
                  </a:lnTo>
                  <a:lnTo>
                    <a:pt x="7177" y="29880"/>
                  </a:lnTo>
                  <a:lnTo>
                    <a:pt x="7261" y="29901"/>
                  </a:lnTo>
                  <a:lnTo>
                    <a:pt x="7408" y="29901"/>
                  </a:lnTo>
                  <a:lnTo>
                    <a:pt x="7491" y="29838"/>
                  </a:lnTo>
                  <a:lnTo>
                    <a:pt x="7491" y="29775"/>
                  </a:lnTo>
                  <a:lnTo>
                    <a:pt x="7408" y="29712"/>
                  </a:lnTo>
                  <a:lnTo>
                    <a:pt x="7324" y="29691"/>
                  </a:lnTo>
                  <a:lnTo>
                    <a:pt x="7303" y="29629"/>
                  </a:lnTo>
                  <a:lnTo>
                    <a:pt x="7366" y="29629"/>
                  </a:lnTo>
                  <a:lnTo>
                    <a:pt x="7408" y="29670"/>
                  </a:lnTo>
                  <a:lnTo>
                    <a:pt x="7429" y="29712"/>
                  </a:lnTo>
                  <a:lnTo>
                    <a:pt x="7512" y="29691"/>
                  </a:lnTo>
                  <a:lnTo>
                    <a:pt x="7575" y="29629"/>
                  </a:lnTo>
                  <a:lnTo>
                    <a:pt x="7575" y="29587"/>
                  </a:lnTo>
                  <a:lnTo>
                    <a:pt x="7512" y="29566"/>
                  </a:lnTo>
                  <a:lnTo>
                    <a:pt x="7429" y="29503"/>
                  </a:lnTo>
                  <a:lnTo>
                    <a:pt x="7429" y="29482"/>
                  </a:lnTo>
                  <a:lnTo>
                    <a:pt x="7491" y="29461"/>
                  </a:lnTo>
                  <a:lnTo>
                    <a:pt x="7512" y="29503"/>
                  </a:lnTo>
                  <a:lnTo>
                    <a:pt x="7575" y="29524"/>
                  </a:lnTo>
                  <a:lnTo>
                    <a:pt x="7638" y="29461"/>
                  </a:lnTo>
                  <a:lnTo>
                    <a:pt x="7638" y="29419"/>
                  </a:lnTo>
                  <a:lnTo>
                    <a:pt x="7533" y="29398"/>
                  </a:lnTo>
                  <a:lnTo>
                    <a:pt x="7470" y="29357"/>
                  </a:lnTo>
                  <a:lnTo>
                    <a:pt x="7429" y="29294"/>
                  </a:lnTo>
                  <a:lnTo>
                    <a:pt x="7491" y="29294"/>
                  </a:lnTo>
                  <a:lnTo>
                    <a:pt x="7575" y="29357"/>
                  </a:lnTo>
                  <a:lnTo>
                    <a:pt x="7638" y="29357"/>
                  </a:lnTo>
                  <a:lnTo>
                    <a:pt x="7701" y="29398"/>
                  </a:lnTo>
                  <a:lnTo>
                    <a:pt x="7742" y="29398"/>
                  </a:lnTo>
                  <a:lnTo>
                    <a:pt x="7784" y="29315"/>
                  </a:lnTo>
                  <a:lnTo>
                    <a:pt x="7784" y="29273"/>
                  </a:lnTo>
                  <a:lnTo>
                    <a:pt x="7826" y="29210"/>
                  </a:lnTo>
                  <a:lnTo>
                    <a:pt x="7826" y="29168"/>
                  </a:lnTo>
                  <a:lnTo>
                    <a:pt x="7805" y="29106"/>
                  </a:lnTo>
                  <a:lnTo>
                    <a:pt x="7826" y="29001"/>
                  </a:lnTo>
                  <a:lnTo>
                    <a:pt x="7826" y="28959"/>
                  </a:lnTo>
                  <a:lnTo>
                    <a:pt x="7742" y="28854"/>
                  </a:lnTo>
                  <a:lnTo>
                    <a:pt x="7617" y="28750"/>
                  </a:lnTo>
                  <a:lnTo>
                    <a:pt x="7512" y="28729"/>
                  </a:lnTo>
                  <a:lnTo>
                    <a:pt x="7470" y="28666"/>
                  </a:lnTo>
                  <a:lnTo>
                    <a:pt x="7470" y="28645"/>
                  </a:lnTo>
                  <a:lnTo>
                    <a:pt x="7533" y="28645"/>
                  </a:lnTo>
                  <a:lnTo>
                    <a:pt x="7596" y="28666"/>
                  </a:lnTo>
                  <a:lnTo>
                    <a:pt x="7722" y="28771"/>
                  </a:lnTo>
                  <a:lnTo>
                    <a:pt x="7805" y="28854"/>
                  </a:lnTo>
                  <a:lnTo>
                    <a:pt x="7889" y="28854"/>
                  </a:lnTo>
                  <a:lnTo>
                    <a:pt x="7910" y="28834"/>
                  </a:lnTo>
                  <a:lnTo>
                    <a:pt x="7889" y="28687"/>
                  </a:lnTo>
                  <a:lnTo>
                    <a:pt x="7826" y="28582"/>
                  </a:lnTo>
                  <a:lnTo>
                    <a:pt x="7701" y="28562"/>
                  </a:lnTo>
                  <a:lnTo>
                    <a:pt x="7533" y="28478"/>
                  </a:lnTo>
                  <a:lnTo>
                    <a:pt x="7491" y="28457"/>
                  </a:lnTo>
                  <a:lnTo>
                    <a:pt x="7491" y="28415"/>
                  </a:lnTo>
                  <a:lnTo>
                    <a:pt x="7533" y="28415"/>
                  </a:lnTo>
                  <a:lnTo>
                    <a:pt x="7596" y="28436"/>
                  </a:lnTo>
                  <a:lnTo>
                    <a:pt x="7638" y="28478"/>
                  </a:lnTo>
                  <a:lnTo>
                    <a:pt x="7742" y="28478"/>
                  </a:lnTo>
                  <a:lnTo>
                    <a:pt x="7805" y="28415"/>
                  </a:lnTo>
                  <a:lnTo>
                    <a:pt x="7826" y="28352"/>
                  </a:lnTo>
                  <a:lnTo>
                    <a:pt x="7826" y="28269"/>
                  </a:lnTo>
                  <a:lnTo>
                    <a:pt x="7847" y="28269"/>
                  </a:lnTo>
                  <a:lnTo>
                    <a:pt x="7910" y="28310"/>
                  </a:lnTo>
                  <a:lnTo>
                    <a:pt x="7910" y="28331"/>
                  </a:lnTo>
                  <a:lnTo>
                    <a:pt x="7910" y="28373"/>
                  </a:lnTo>
                  <a:lnTo>
                    <a:pt x="8014" y="28436"/>
                  </a:lnTo>
                  <a:lnTo>
                    <a:pt x="8056" y="28436"/>
                  </a:lnTo>
                  <a:lnTo>
                    <a:pt x="8119" y="28478"/>
                  </a:lnTo>
                  <a:lnTo>
                    <a:pt x="8161" y="28478"/>
                  </a:lnTo>
                  <a:lnTo>
                    <a:pt x="8203" y="28436"/>
                  </a:lnTo>
                  <a:lnTo>
                    <a:pt x="8245" y="28373"/>
                  </a:lnTo>
                  <a:lnTo>
                    <a:pt x="8266" y="28352"/>
                  </a:lnTo>
                  <a:lnTo>
                    <a:pt x="8245" y="28310"/>
                  </a:lnTo>
                  <a:lnTo>
                    <a:pt x="8161" y="28269"/>
                  </a:lnTo>
                  <a:lnTo>
                    <a:pt x="8014" y="28269"/>
                  </a:lnTo>
                  <a:lnTo>
                    <a:pt x="7994" y="28248"/>
                  </a:lnTo>
                  <a:lnTo>
                    <a:pt x="7994" y="28227"/>
                  </a:lnTo>
                  <a:lnTo>
                    <a:pt x="7994" y="28164"/>
                  </a:lnTo>
                  <a:lnTo>
                    <a:pt x="7931" y="28122"/>
                  </a:lnTo>
                  <a:lnTo>
                    <a:pt x="7931" y="28059"/>
                  </a:lnTo>
                  <a:lnTo>
                    <a:pt x="7994" y="28018"/>
                  </a:lnTo>
                  <a:lnTo>
                    <a:pt x="8014" y="28018"/>
                  </a:lnTo>
                  <a:lnTo>
                    <a:pt x="8056" y="28059"/>
                  </a:lnTo>
                  <a:lnTo>
                    <a:pt x="8056" y="28143"/>
                  </a:lnTo>
                  <a:lnTo>
                    <a:pt x="8119" y="28206"/>
                  </a:lnTo>
                  <a:lnTo>
                    <a:pt x="8245" y="28206"/>
                  </a:lnTo>
                  <a:lnTo>
                    <a:pt x="8307" y="28164"/>
                  </a:lnTo>
                  <a:lnTo>
                    <a:pt x="8307" y="28122"/>
                  </a:lnTo>
                  <a:lnTo>
                    <a:pt x="8266" y="28059"/>
                  </a:lnTo>
                  <a:lnTo>
                    <a:pt x="8161" y="28018"/>
                  </a:lnTo>
                  <a:lnTo>
                    <a:pt x="8098" y="27955"/>
                  </a:lnTo>
                  <a:lnTo>
                    <a:pt x="8056" y="27850"/>
                  </a:lnTo>
                  <a:lnTo>
                    <a:pt x="8098" y="27850"/>
                  </a:lnTo>
                  <a:lnTo>
                    <a:pt x="8140" y="27913"/>
                  </a:lnTo>
                  <a:lnTo>
                    <a:pt x="8245" y="27955"/>
                  </a:lnTo>
                  <a:lnTo>
                    <a:pt x="8307" y="27997"/>
                  </a:lnTo>
                  <a:lnTo>
                    <a:pt x="8370" y="28059"/>
                  </a:lnTo>
                  <a:lnTo>
                    <a:pt x="8412" y="28038"/>
                  </a:lnTo>
                  <a:lnTo>
                    <a:pt x="8412" y="27997"/>
                  </a:lnTo>
                  <a:lnTo>
                    <a:pt x="8370" y="27934"/>
                  </a:lnTo>
                  <a:lnTo>
                    <a:pt x="8266" y="27892"/>
                  </a:lnTo>
                  <a:lnTo>
                    <a:pt x="8203" y="27829"/>
                  </a:lnTo>
                  <a:lnTo>
                    <a:pt x="8203" y="27746"/>
                  </a:lnTo>
                  <a:lnTo>
                    <a:pt x="8245" y="27704"/>
                  </a:lnTo>
                  <a:lnTo>
                    <a:pt x="8266" y="27641"/>
                  </a:lnTo>
                  <a:lnTo>
                    <a:pt x="8328" y="27641"/>
                  </a:lnTo>
                  <a:lnTo>
                    <a:pt x="8349" y="27704"/>
                  </a:lnTo>
                  <a:lnTo>
                    <a:pt x="8475" y="27808"/>
                  </a:lnTo>
                  <a:lnTo>
                    <a:pt x="8558" y="27808"/>
                  </a:lnTo>
                  <a:lnTo>
                    <a:pt x="8621" y="27787"/>
                  </a:lnTo>
                  <a:lnTo>
                    <a:pt x="8684" y="27787"/>
                  </a:lnTo>
                  <a:lnTo>
                    <a:pt x="8768" y="27746"/>
                  </a:lnTo>
                  <a:lnTo>
                    <a:pt x="8789" y="27683"/>
                  </a:lnTo>
                  <a:lnTo>
                    <a:pt x="8768" y="27641"/>
                  </a:lnTo>
                  <a:lnTo>
                    <a:pt x="8684" y="27620"/>
                  </a:lnTo>
                  <a:lnTo>
                    <a:pt x="8621" y="27578"/>
                  </a:lnTo>
                  <a:lnTo>
                    <a:pt x="8517" y="27515"/>
                  </a:lnTo>
                  <a:lnTo>
                    <a:pt x="8454" y="27515"/>
                  </a:lnTo>
                  <a:lnTo>
                    <a:pt x="8370" y="27494"/>
                  </a:lnTo>
                  <a:lnTo>
                    <a:pt x="8412" y="27432"/>
                  </a:lnTo>
                  <a:lnTo>
                    <a:pt x="8433" y="27411"/>
                  </a:lnTo>
                  <a:lnTo>
                    <a:pt x="8517" y="27411"/>
                  </a:lnTo>
                  <a:lnTo>
                    <a:pt x="8579" y="27494"/>
                  </a:lnTo>
                  <a:lnTo>
                    <a:pt x="8642" y="27515"/>
                  </a:lnTo>
                  <a:lnTo>
                    <a:pt x="8684" y="27515"/>
                  </a:lnTo>
                  <a:lnTo>
                    <a:pt x="8768" y="27620"/>
                  </a:lnTo>
                  <a:lnTo>
                    <a:pt x="8851" y="27641"/>
                  </a:lnTo>
                  <a:lnTo>
                    <a:pt x="8893" y="27620"/>
                  </a:lnTo>
                  <a:lnTo>
                    <a:pt x="8935" y="27578"/>
                  </a:lnTo>
                  <a:lnTo>
                    <a:pt x="8935" y="27515"/>
                  </a:lnTo>
                  <a:lnTo>
                    <a:pt x="8935" y="27411"/>
                  </a:lnTo>
                  <a:lnTo>
                    <a:pt x="8893" y="27369"/>
                  </a:lnTo>
                  <a:lnTo>
                    <a:pt x="8851" y="27327"/>
                  </a:lnTo>
                  <a:lnTo>
                    <a:pt x="8851" y="27306"/>
                  </a:lnTo>
                  <a:lnTo>
                    <a:pt x="8956" y="27306"/>
                  </a:lnTo>
                  <a:lnTo>
                    <a:pt x="8977" y="27222"/>
                  </a:lnTo>
                  <a:lnTo>
                    <a:pt x="8977" y="27181"/>
                  </a:lnTo>
                  <a:lnTo>
                    <a:pt x="8935" y="27181"/>
                  </a:lnTo>
                  <a:lnTo>
                    <a:pt x="8872" y="27201"/>
                  </a:lnTo>
                  <a:lnTo>
                    <a:pt x="8830" y="27160"/>
                  </a:lnTo>
                  <a:lnTo>
                    <a:pt x="8768" y="27097"/>
                  </a:lnTo>
                  <a:lnTo>
                    <a:pt x="8684" y="27097"/>
                  </a:lnTo>
                  <a:lnTo>
                    <a:pt x="8558" y="27013"/>
                  </a:lnTo>
                  <a:lnTo>
                    <a:pt x="8538" y="26992"/>
                  </a:lnTo>
                  <a:lnTo>
                    <a:pt x="8579" y="26950"/>
                  </a:lnTo>
                  <a:lnTo>
                    <a:pt x="8684" y="26950"/>
                  </a:lnTo>
                  <a:lnTo>
                    <a:pt x="8789" y="26971"/>
                  </a:lnTo>
                  <a:lnTo>
                    <a:pt x="8872" y="26971"/>
                  </a:lnTo>
                  <a:lnTo>
                    <a:pt x="8893" y="26909"/>
                  </a:lnTo>
                  <a:lnTo>
                    <a:pt x="8956" y="26909"/>
                  </a:lnTo>
                  <a:lnTo>
                    <a:pt x="9040" y="26971"/>
                  </a:lnTo>
                  <a:lnTo>
                    <a:pt x="9061" y="26867"/>
                  </a:lnTo>
                  <a:lnTo>
                    <a:pt x="9040" y="26699"/>
                  </a:lnTo>
                  <a:lnTo>
                    <a:pt x="8998" y="26595"/>
                  </a:lnTo>
                  <a:lnTo>
                    <a:pt x="8956" y="26553"/>
                  </a:lnTo>
                  <a:lnTo>
                    <a:pt x="8935" y="26469"/>
                  </a:lnTo>
                  <a:lnTo>
                    <a:pt x="8935" y="26427"/>
                  </a:lnTo>
                  <a:lnTo>
                    <a:pt x="8977" y="26365"/>
                  </a:lnTo>
                  <a:lnTo>
                    <a:pt x="8956" y="26260"/>
                  </a:lnTo>
                  <a:lnTo>
                    <a:pt x="8956" y="26218"/>
                  </a:lnTo>
                  <a:lnTo>
                    <a:pt x="8977" y="26155"/>
                  </a:lnTo>
                  <a:lnTo>
                    <a:pt x="8998" y="26176"/>
                  </a:lnTo>
                  <a:lnTo>
                    <a:pt x="9040" y="26239"/>
                  </a:lnTo>
                  <a:lnTo>
                    <a:pt x="9102" y="26260"/>
                  </a:lnTo>
                  <a:lnTo>
                    <a:pt x="9102" y="26218"/>
                  </a:lnTo>
                  <a:lnTo>
                    <a:pt x="9165" y="26176"/>
                  </a:lnTo>
                  <a:lnTo>
                    <a:pt x="9207" y="26218"/>
                  </a:lnTo>
                  <a:lnTo>
                    <a:pt x="9249" y="26344"/>
                  </a:lnTo>
                  <a:lnTo>
                    <a:pt x="9291" y="26365"/>
                  </a:lnTo>
                  <a:lnTo>
                    <a:pt x="9374" y="26365"/>
                  </a:lnTo>
                  <a:lnTo>
                    <a:pt x="9479" y="26239"/>
                  </a:lnTo>
                  <a:lnTo>
                    <a:pt x="9521" y="26113"/>
                  </a:lnTo>
                  <a:lnTo>
                    <a:pt x="9521" y="26009"/>
                  </a:lnTo>
                  <a:lnTo>
                    <a:pt x="9500" y="25925"/>
                  </a:lnTo>
                  <a:lnTo>
                    <a:pt x="9500" y="25862"/>
                  </a:lnTo>
                  <a:lnTo>
                    <a:pt x="9563" y="25841"/>
                  </a:lnTo>
                  <a:lnTo>
                    <a:pt x="9605" y="25841"/>
                  </a:lnTo>
                  <a:lnTo>
                    <a:pt x="9626" y="25800"/>
                  </a:lnTo>
                  <a:lnTo>
                    <a:pt x="9667" y="25758"/>
                  </a:lnTo>
                  <a:lnTo>
                    <a:pt x="9688" y="25821"/>
                  </a:lnTo>
                  <a:lnTo>
                    <a:pt x="9730" y="25883"/>
                  </a:lnTo>
                  <a:lnTo>
                    <a:pt x="9814" y="25883"/>
                  </a:lnTo>
                  <a:lnTo>
                    <a:pt x="9877" y="25841"/>
                  </a:lnTo>
                  <a:lnTo>
                    <a:pt x="9877" y="25800"/>
                  </a:lnTo>
                  <a:lnTo>
                    <a:pt x="9877" y="25737"/>
                  </a:lnTo>
                  <a:lnTo>
                    <a:pt x="9898" y="25737"/>
                  </a:lnTo>
                  <a:lnTo>
                    <a:pt x="9918" y="25800"/>
                  </a:lnTo>
                  <a:lnTo>
                    <a:pt x="9939" y="25883"/>
                  </a:lnTo>
                  <a:lnTo>
                    <a:pt x="9981" y="25925"/>
                  </a:lnTo>
                  <a:lnTo>
                    <a:pt x="10044" y="25862"/>
                  </a:lnTo>
                  <a:lnTo>
                    <a:pt x="10107" y="25821"/>
                  </a:lnTo>
                  <a:lnTo>
                    <a:pt x="10149" y="25800"/>
                  </a:lnTo>
                  <a:lnTo>
                    <a:pt x="10211" y="25841"/>
                  </a:lnTo>
                  <a:lnTo>
                    <a:pt x="10295" y="25841"/>
                  </a:lnTo>
                  <a:lnTo>
                    <a:pt x="10358" y="25800"/>
                  </a:lnTo>
                  <a:lnTo>
                    <a:pt x="10400" y="25716"/>
                  </a:lnTo>
                  <a:lnTo>
                    <a:pt x="10421" y="25674"/>
                  </a:lnTo>
                  <a:lnTo>
                    <a:pt x="10421" y="25632"/>
                  </a:lnTo>
                  <a:lnTo>
                    <a:pt x="10358" y="25549"/>
                  </a:lnTo>
                  <a:lnTo>
                    <a:pt x="10316" y="25423"/>
                  </a:lnTo>
                  <a:lnTo>
                    <a:pt x="10295" y="25339"/>
                  </a:lnTo>
                  <a:lnTo>
                    <a:pt x="10337" y="25297"/>
                  </a:lnTo>
                  <a:lnTo>
                    <a:pt x="10358" y="25318"/>
                  </a:lnTo>
                  <a:lnTo>
                    <a:pt x="10400" y="25423"/>
                  </a:lnTo>
                  <a:lnTo>
                    <a:pt x="10442" y="25423"/>
                  </a:lnTo>
                  <a:lnTo>
                    <a:pt x="10525" y="25339"/>
                  </a:lnTo>
                  <a:lnTo>
                    <a:pt x="10546" y="25256"/>
                  </a:lnTo>
                  <a:lnTo>
                    <a:pt x="10609" y="25193"/>
                  </a:lnTo>
                  <a:lnTo>
                    <a:pt x="10630" y="25130"/>
                  </a:lnTo>
                  <a:lnTo>
                    <a:pt x="10546" y="25046"/>
                  </a:lnTo>
                  <a:lnTo>
                    <a:pt x="10546" y="25005"/>
                  </a:lnTo>
                  <a:lnTo>
                    <a:pt x="10609" y="24942"/>
                  </a:lnTo>
                  <a:lnTo>
                    <a:pt x="10651" y="24921"/>
                  </a:lnTo>
                  <a:lnTo>
                    <a:pt x="10672" y="24942"/>
                  </a:lnTo>
                  <a:lnTo>
                    <a:pt x="10672" y="24984"/>
                  </a:lnTo>
                  <a:lnTo>
                    <a:pt x="10735" y="25046"/>
                  </a:lnTo>
                  <a:lnTo>
                    <a:pt x="10839" y="25088"/>
                  </a:lnTo>
                  <a:lnTo>
                    <a:pt x="10881" y="25109"/>
                  </a:lnTo>
                  <a:lnTo>
                    <a:pt x="10839" y="25172"/>
                  </a:lnTo>
                  <a:lnTo>
                    <a:pt x="10755" y="25214"/>
                  </a:lnTo>
                  <a:lnTo>
                    <a:pt x="10714" y="25318"/>
                  </a:lnTo>
                  <a:lnTo>
                    <a:pt x="10714" y="25402"/>
                  </a:lnTo>
                  <a:lnTo>
                    <a:pt x="10839" y="25549"/>
                  </a:lnTo>
                  <a:lnTo>
                    <a:pt x="10881" y="25590"/>
                  </a:lnTo>
                  <a:lnTo>
                    <a:pt x="10923" y="25507"/>
                  </a:lnTo>
                  <a:lnTo>
                    <a:pt x="10923" y="25444"/>
                  </a:lnTo>
                  <a:lnTo>
                    <a:pt x="10944" y="25381"/>
                  </a:lnTo>
                  <a:lnTo>
                    <a:pt x="10965" y="25277"/>
                  </a:lnTo>
                  <a:lnTo>
                    <a:pt x="10986" y="25277"/>
                  </a:lnTo>
                  <a:lnTo>
                    <a:pt x="11027" y="25318"/>
                  </a:lnTo>
                  <a:lnTo>
                    <a:pt x="10986" y="25402"/>
                  </a:lnTo>
                  <a:lnTo>
                    <a:pt x="10986" y="25444"/>
                  </a:lnTo>
                  <a:lnTo>
                    <a:pt x="11048" y="25549"/>
                  </a:lnTo>
                  <a:lnTo>
                    <a:pt x="11132" y="25590"/>
                  </a:lnTo>
                  <a:lnTo>
                    <a:pt x="11195" y="25528"/>
                  </a:lnTo>
                  <a:lnTo>
                    <a:pt x="11279" y="25528"/>
                  </a:lnTo>
                  <a:lnTo>
                    <a:pt x="11299" y="25486"/>
                  </a:lnTo>
                  <a:lnTo>
                    <a:pt x="11299" y="25423"/>
                  </a:lnTo>
                  <a:lnTo>
                    <a:pt x="11341" y="25381"/>
                  </a:lnTo>
                  <a:lnTo>
                    <a:pt x="11362" y="25381"/>
                  </a:lnTo>
                  <a:lnTo>
                    <a:pt x="11383" y="25402"/>
                  </a:lnTo>
                  <a:lnTo>
                    <a:pt x="11362" y="25444"/>
                  </a:lnTo>
                  <a:lnTo>
                    <a:pt x="11362" y="25507"/>
                  </a:lnTo>
                  <a:lnTo>
                    <a:pt x="11404" y="25549"/>
                  </a:lnTo>
                  <a:lnTo>
                    <a:pt x="11488" y="25549"/>
                  </a:lnTo>
                  <a:lnTo>
                    <a:pt x="11571" y="25444"/>
                  </a:lnTo>
                  <a:lnTo>
                    <a:pt x="11718" y="25339"/>
                  </a:lnTo>
                  <a:lnTo>
                    <a:pt x="11781" y="25339"/>
                  </a:lnTo>
                  <a:lnTo>
                    <a:pt x="11823" y="25318"/>
                  </a:lnTo>
                  <a:lnTo>
                    <a:pt x="11823" y="25235"/>
                  </a:lnTo>
                  <a:lnTo>
                    <a:pt x="11781" y="25172"/>
                  </a:lnTo>
                  <a:lnTo>
                    <a:pt x="11718" y="25130"/>
                  </a:lnTo>
                  <a:lnTo>
                    <a:pt x="11676" y="25088"/>
                  </a:lnTo>
                  <a:lnTo>
                    <a:pt x="11697" y="25067"/>
                  </a:lnTo>
                  <a:lnTo>
                    <a:pt x="11760" y="25067"/>
                  </a:lnTo>
                  <a:lnTo>
                    <a:pt x="11781" y="25109"/>
                  </a:lnTo>
                  <a:lnTo>
                    <a:pt x="11885" y="25172"/>
                  </a:lnTo>
                  <a:lnTo>
                    <a:pt x="11927" y="25172"/>
                  </a:lnTo>
                  <a:lnTo>
                    <a:pt x="11927" y="25088"/>
                  </a:lnTo>
                  <a:lnTo>
                    <a:pt x="11990" y="25088"/>
                  </a:lnTo>
                  <a:lnTo>
                    <a:pt x="12011" y="25130"/>
                  </a:lnTo>
                  <a:lnTo>
                    <a:pt x="12011" y="25193"/>
                  </a:lnTo>
                  <a:lnTo>
                    <a:pt x="12032" y="25214"/>
                  </a:lnTo>
                  <a:lnTo>
                    <a:pt x="12095" y="25193"/>
                  </a:lnTo>
                  <a:lnTo>
                    <a:pt x="12220" y="25046"/>
                  </a:lnTo>
                  <a:lnTo>
                    <a:pt x="12241" y="25025"/>
                  </a:lnTo>
                  <a:lnTo>
                    <a:pt x="12241" y="25005"/>
                  </a:lnTo>
                  <a:lnTo>
                    <a:pt x="12283" y="24921"/>
                  </a:lnTo>
                  <a:lnTo>
                    <a:pt x="12304" y="24879"/>
                  </a:lnTo>
                  <a:lnTo>
                    <a:pt x="12346" y="24837"/>
                  </a:lnTo>
                  <a:lnTo>
                    <a:pt x="12346" y="24837"/>
                  </a:lnTo>
                  <a:lnTo>
                    <a:pt x="12325" y="24900"/>
                  </a:lnTo>
                  <a:lnTo>
                    <a:pt x="12346" y="24942"/>
                  </a:lnTo>
                  <a:lnTo>
                    <a:pt x="12387" y="24984"/>
                  </a:lnTo>
                  <a:lnTo>
                    <a:pt x="12429" y="24942"/>
                  </a:lnTo>
                  <a:lnTo>
                    <a:pt x="12513" y="24837"/>
                  </a:lnTo>
                  <a:lnTo>
                    <a:pt x="12534" y="24774"/>
                  </a:lnTo>
                  <a:lnTo>
                    <a:pt x="12513" y="24691"/>
                  </a:lnTo>
                  <a:lnTo>
                    <a:pt x="12513" y="24607"/>
                  </a:lnTo>
                  <a:lnTo>
                    <a:pt x="12639" y="24481"/>
                  </a:lnTo>
                  <a:lnTo>
                    <a:pt x="12722" y="24460"/>
                  </a:lnTo>
                  <a:lnTo>
                    <a:pt x="12764" y="24398"/>
                  </a:lnTo>
                  <a:lnTo>
                    <a:pt x="12743" y="24356"/>
                  </a:lnTo>
                  <a:lnTo>
                    <a:pt x="12722" y="24293"/>
                  </a:lnTo>
                  <a:lnTo>
                    <a:pt x="12722" y="24272"/>
                  </a:lnTo>
                  <a:lnTo>
                    <a:pt x="12764" y="24293"/>
                  </a:lnTo>
                  <a:lnTo>
                    <a:pt x="12827" y="24314"/>
                  </a:lnTo>
                  <a:lnTo>
                    <a:pt x="12869" y="24314"/>
                  </a:lnTo>
                  <a:lnTo>
                    <a:pt x="12911" y="24251"/>
                  </a:lnTo>
                  <a:lnTo>
                    <a:pt x="12869" y="24188"/>
                  </a:lnTo>
                  <a:lnTo>
                    <a:pt x="12827" y="24147"/>
                  </a:lnTo>
                  <a:lnTo>
                    <a:pt x="12869" y="24168"/>
                  </a:lnTo>
                  <a:lnTo>
                    <a:pt x="12931" y="24209"/>
                  </a:lnTo>
                  <a:lnTo>
                    <a:pt x="12931" y="24168"/>
                  </a:lnTo>
                  <a:lnTo>
                    <a:pt x="12952" y="24084"/>
                  </a:lnTo>
                  <a:lnTo>
                    <a:pt x="13036" y="24084"/>
                  </a:lnTo>
                  <a:lnTo>
                    <a:pt x="13120" y="24042"/>
                  </a:lnTo>
                  <a:lnTo>
                    <a:pt x="13120" y="23958"/>
                  </a:lnTo>
                  <a:lnTo>
                    <a:pt x="13120" y="23937"/>
                  </a:lnTo>
                  <a:lnTo>
                    <a:pt x="13141" y="23875"/>
                  </a:lnTo>
                  <a:lnTo>
                    <a:pt x="13224" y="23875"/>
                  </a:lnTo>
                  <a:lnTo>
                    <a:pt x="13266" y="23854"/>
                  </a:lnTo>
                  <a:lnTo>
                    <a:pt x="13350" y="23749"/>
                  </a:lnTo>
                  <a:lnTo>
                    <a:pt x="13434" y="23707"/>
                  </a:lnTo>
                  <a:lnTo>
                    <a:pt x="13476" y="23707"/>
                  </a:lnTo>
                  <a:lnTo>
                    <a:pt x="13496" y="23728"/>
                  </a:lnTo>
                  <a:lnTo>
                    <a:pt x="13580" y="23707"/>
                  </a:lnTo>
                  <a:lnTo>
                    <a:pt x="13643" y="23624"/>
                  </a:lnTo>
                  <a:lnTo>
                    <a:pt x="13664" y="23477"/>
                  </a:lnTo>
                  <a:lnTo>
                    <a:pt x="13643" y="23352"/>
                  </a:lnTo>
                  <a:lnTo>
                    <a:pt x="13580" y="23352"/>
                  </a:lnTo>
                  <a:lnTo>
                    <a:pt x="13559" y="23331"/>
                  </a:lnTo>
                  <a:lnTo>
                    <a:pt x="13580" y="23247"/>
                  </a:lnTo>
                  <a:lnTo>
                    <a:pt x="13580" y="23142"/>
                  </a:lnTo>
                  <a:lnTo>
                    <a:pt x="13559" y="23059"/>
                  </a:lnTo>
                  <a:lnTo>
                    <a:pt x="13496" y="23017"/>
                  </a:lnTo>
                  <a:lnTo>
                    <a:pt x="13476" y="22912"/>
                  </a:lnTo>
                  <a:lnTo>
                    <a:pt x="13455" y="22870"/>
                  </a:lnTo>
                  <a:lnTo>
                    <a:pt x="13455" y="22787"/>
                  </a:lnTo>
                  <a:lnTo>
                    <a:pt x="13496" y="22787"/>
                  </a:lnTo>
                  <a:lnTo>
                    <a:pt x="13559" y="22808"/>
                  </a:lnTo>
                  <a:lnTo>
                    <a:pt x="13580" y="22912"/>
                  </a:lnTo>
                  <a:lnTo>
                    <a:pt x="13643" y="22996"/>
                  </a:lnTo>
                  <a:lnTo>
                    <a:pt x="13643" y="23080"/>
                  </a:lnTo>
                  <a:lnTo>
                    <a:pt x="13685" y="23184"/>
                  </a:lnTo>
                  <a:lnTo>
                    <a:pt x="13748" y="23205"/>
                  </a:lnTo>
                  <a:lnTo>
                    <a:pt x="13789" y="23247"/>
                  </a:lnTo>
                  <a:lnTo>
                    <a:pt x="13768" y="23331"/>
                  </a:lnTo>
                  <a:lnTo>
                    <a:pt x="13789" y="23414"/>
                  </a:lnTo>
                  <a:lnTo>
                    <a:pt x="13873" y="23456"/>
                  </a:lnTo>
                  <a:lnTo>
                    <a:pt x="13915" y="23456"/>
                  </a:lnTo>
                  <a:lnTo>
                    <a:pt x="13915" y="23414"/>
                  </a:lnTo>
                  <a:lnTo>
                    <a:pt x="13957" y="23352"/>
                  </a:lnTo>
                  <a:lnTo>
                    <a:pt x="13999" y="23352"/>
                  </a:lnTo>
                  <a:lnTo>
                    <a:pt x="14061" y="23435"/>
                  </a:lnTo>
                  <a:lnTo>
                    <a:pt x="14229" y="23435"/>
                  </a:lnTo>
                  <a:lnTo>
                    <a:pt x="14292" y="23393"/>
                  </a:lnTo>
                  <a:lnTo>
                    <a:pt x="14312" y="23414"/>
                  </a:lnTo>
                  <a:lnTo>
                    <a:pt x="14375" y="23414"/>
                  </a:lnTo>
                  <a:lnTo>
                    <a:pt x="14438" y="23352"/>
                  </a:lnTo>
                  <a:lnTo>
                    <a:pt x="14480" y="23289"/>
                  </a:lnTo>
                  <a:lnTo>
                    <a:pt x="14522" y="23289"/>
                  </a:lnTo>
                  <a:lnTo>
                    <a:pt x="14522" y="23226"/>
                  </a:lnTo>
                  <a:lnTo>
                    <a:pt x="14584" y="23205"/>
                  </a:lnTo>
                  <a:lnTo>
                    <a:pt x="14626" y="23226"/>
                  </a:lnTo>
                  <a:lnTo>
                    <a:pt x="14731" y="23352"/>
                  </a:lnTo>
                  <a:lnTo>
                    <a:pt x="14752" y="23414"/>
                  </a:lnTo>
                  <a:lnTo>
                    <a:pt x="14815" y="23414"/>
                  </a:lnTo>
                  <a:lnTo>
                    <a:pt x="14856" y="23352"/>
                  </a:lnTo>
                  <a:lnTo>
                    <a:pt x="14919" y="23331"/>
                  </a:lnTo>
                  <a:lnTo>
                    <a:pt x="14919" y="23226"/>
                  </a:lnTo>
                  <a:lnTo>
                    <a:pt x="14940" y="23226"/>
                  </a:lnTo>
                  <a:lnTo>
                    <a:pt x="14961" y="23247"/>
                  </a:lnTo>
                  <a:lnTo>
                    <a:pt x="15024" y="23247"/>
                  </a:lnTo>
                  <a:lnTo>
                    <a:pt x="15024" y="23205"/>
                  </a:lnTo>
                  <a:lnTo>
                    <a:pt x="15066" y="23205"/>
                  </a:lnTo>
                  <a:lnTo>
                    <a:pt x="15108" y="23226"/>
                  </a:lnTo>
                  <a:lnTo>
                    <a:pt x="15170" y="23226"/>
                  </a:lnTo>
                  <a:lnTo>
                    <a:pt x="15212" y="23184"/>
                  </a:lnTo>
                  <a:lnTo>
                    <a:pt x="15212" y="23121"/>
                  </a:lnTo>
                  <a:lnTo>
                    <a:pt x="15254" y="23100"/>
                  </a:lnTo>
                  <a:lnTo>
                    <a:pt x="15338" y="23100"/>
                  </a:lnTo>
                  <a:lnTo>
                    <a:pt x="15359" y="23080"/>
                  </a:lnTo>
                  <a:lnTo>
                    <a:pt x="15359" y="23017"/>
                  </a:lnTo>
                  <a:lnTo>
                    <a:pt x="15380" y="23017"/>
                  </a:lnTo>
                  <a:lnTo>
                    <a:pt x="15380" y="23080"/>
                  </a:lnTo>
                  <a:lnTo>
                    <a:pt x="15442" y="23100"/>
                  </a:lnTo>
                  <a:lnTo>
                    <a:pt x="15484" y="23038"/>
                  </a:lnTo>
                  <a:lnTo>
                    <a:pt x="15526" y="22975"/>
                  </a:lnTo>
                  <a:lnTo>
                    <a:pt x="15547" y="22975"/>
                  </a:lnTo>
                  <a:lnTo>
                    <a:pt x="15589" y="23038"/>
                  </a:lnTo>
                  <a:lnTo>
                    <a:pt x="15652" y="23080"/>
                  </a:lnTo>
                  <a:lnTo>
                    <a:pt x="15693" y="22975"/>
                  </a:lnTo>
                  <a:lnTo>
                    <a:pt x="15735" y="22975"/>
                  </a:lnTo>
                  <a:lnTo>
                    <a:pt x="15756" y="23017"/>
                  </a:lnTo>
                  <a:lnTo>
                    <a:pt x="15798" y="23038"/>
                  </a:lnTo>
                  <a:lnTo>
                    <a:pt x="15861" y="23038"/>
                  </a:lnTo>
                  <a:lnTo>
                    <a:pt x="15882" y="22975"/>
                  </a:lnTo>
                  <a:lnTo>
                    <a:pt x="15944" y="22933"/>
                  </a:lnTo>
                  <a:lnTo>
                    <a:pt x="16007" y="22933"/>
                  </a:lnTo>
                  <a:lnTo>
                    <a:pt x="16112" y="22891"/>
                  </a:lnTo>
                  <a:lnTo>
                    <a:pt x="16175" y="22891"/>
                  </a:lnTo>
                  <a:lnTo>
                    <a:pt x="16196" y="22933"/>
                  </a:lnTo>
                  <a:lnTo>
                    <a:pt x="16258" y="22933"/>
                  </a:lnTo>
                  <a:lnTo>
                    <a:pt x="16279" y="22870"/>
                  </a:lnTo>
                  <a:lnTo>
                    <a:pt x="16321" y="22808"/>
                  </a:lnTo>
                  <a:lnTo>
                    <a:pt x="16426" y="22808"/>
                  </a:lnTo>
                  <a:lnTo>
                    <a:pt x="16468" y="22766"/>
                  </a:lnTo>
                  <a:lnTo>
                    <a:pt x="16572" y="22724"/>
                  </a:lnTo>
                  <a:lnTo>
                    <a:pt x="16614" y="22703"/>
                  </a:lnTo>
                  <a:lnTo>
                    <a:pt x="16614" y="22661"/>
                  </a:lnTo>
                  <a:lnTo>
                    <a:pt x="16572" y="22577"/>
                  </a:lnTo>
                  <a:lnTo>
                    <a:pt x="16572" y="22515"/>
                  </a:lnTo>
                  <a:lnTo>
                    <a:pt x="16719" y="22577"/>
                  </a:lnTo>
                  <a:lnTo>
                    <a:pt x="16802" y="22619"/>
                  </a:lnTo>
                  <a:lnTo>
                    <a:pt x="16823" y="22682"/>
                  </a:lnTo>
                  <a:lnTo>
                    <a:pt x="16886" y="22703"/>
                  </a:lnTo>
                  <a:lnTo>
                    <a:pt x="16991" y="22619"/>
                  </a:lnTo>
                  <a:lnTo>
                    <a:pt x="16991" y="22536"/>
                  </a:lnTo>
                  <a:lnTo>
                    <a:pt x="16928" y="22515"/>
                  </a:lnTo>
                  <a:lnTo>
                    <a:pt x="16928" y="22473"/>
                  </a:lnTo>
                  <a:lnTo>
                    <a:pt x="17012" y="22431"/>
                  </a:lnTo>
                  <a:lnTo>
                    <a:pt x="17033" y="22494"/>
                  </a:lnTo>
                  <a:lnTo>
                    <a:pt x="17116" y="22515"/>
                  </a:lnTo>
                  <a:lnTo>
                    <a:pt x="17158" y="22410"/>
                  </a:lnTo>
                  <a:lnTo>
                    <a:pt x="17137" y="22326"/>
                  </a:lnTo>
                  <a:lnTo>
                    <a:pt x="17137" y="22264"/>
                  </a:lnTo>
                  <a:lnTo>
                    <a:pt x="17200" y="22264"/>
                  </a:lnTo>
                  <a:lnTo>
                    <a:pt x="17221" y="22305"/>
                  </a:lnTo>
                  <a:lnTo>
                    <a:pt x="17305" y="22326"/>
                  </a:lnTo>
                  <a:lnTo>
                    <a:pt x="17346" y="22284"/>
                  </a:lnTo>
                  <a:lnTo>
                    <a:pt x="17409" y="22264"/>
                  </a:lnTo>
                  <a:lnTo>
                    <a:pt x="17451" y="22264"/>
                  </a:lnTo>
                  <a:lnTo>
                    <a:pt x="17451" y="22180"/>
                  </a:lnTo>
                  <a:lnTo>
                    <a:pt x="17430" y="22117"/>
                  </a:lnTo>
                  <a:lnTo>
                    <a:pt x="17451" y="22096"/>
                  </a:lnTo>
                  <a:lnTo>
                    <a:pt x="17514" y="22117"/>
                  </a:lnTo>
                  <a:lnTo>
                    <a:pt x="17556" y="22180"/>
                  </a:lnTo>
                  <a:lnTo>
                    <a:pt x="17639" y="22159"/>
                  </a:lnTo>
                  <a:lnTo>
                    <a:pt x="17681" y="22096"/>
                  </a:lnTo>
                  <a:lnTo>
                    <a:pt x="17681" y="22012"/>
                  </a:lnTo>
                  <a:lnTo>
                    <a:pt x="17660" y="21992"/>
                  </a:lnTo>
                  <a:lnTo>
                    <a:pt x="17660" y="21950"/>
                  </a:lnTo>
                  <a:lnTo>
                    <a:pt x="17681" y="21908"/>
                  </a:lnTo>
                  <a:lnTo>
                    <a:pt x="17786" y="21908"/>
                  </a:lnTo>
                  <a:lnTo>
                    <a:pt x="17849" y="21950"/>
                  </a:lnTo>
                  <a:lnTo>
                    <a:pt x="17869" y="21887"/>
                  </a:lnTo>
                  <a:lnTo>
                    <a:pt x="17890" y="21845"/>
                  </a:lnTo>
                  <a:lnTo>
                    <a:pt x="17953" y="21866"/>
                  </a:lnTo>
                  <a:lnTo>
                    <a:pt x="17995" y="21908"/>
                  </a:lnTo>
                  <a:lnTo>
                    <a:pt x="18058" y="21950"/>
                  </a:lnTo>
                  <a:lnTo>
                    <a:pt x="18079" y="21908"/>
                  </a:lnTo>
                  <a:lnTo>
                    <a:pt x="18079" y="21866"/>
                  </a:lnTo>
                  <a:lnTo>
                    <a:pt x="18037" y="21803"/>
                  </a:lnTo>
                  <a:lnTo>
                    <a:pt x="18037" y="21761"/>
                  </a:lnTo>
                  <a:lnTo>
                    <a:pt x="18100" y="21699"/>
                  </a:lnTo>
                  <a:lnTo>
                    <a:pt x="18162" y="21740"/>
                  </a:lnTo>
                  <a:lnTo>
                    <a:pt x="18288" y="21699"/>
                  </a:lnTo>
                  <a:lnTo>
                    <a:pt x="18393" y="21636"/>
                  </a:lnTo>
                  <a:lnTo>
                    <a:pt x="18455" y="21531"/>
                  </a:lnTo>
                  <a:lnTo>
                    <a:pt x="18455" y="21489"/>
                  </a:lnTo>
                  <a:lnTo>
                    <a:pt x="18309" y="21552"/>
                  </a:lnTo>
                  <a:lnTo>
                    <a:pt x="18183" y="21552"/>
                  </a:lnTo>
                  <a:lnTo>
                    <a:pt x="18141" y="21531"/>
                  </a:lnTo>
                  <a:lnTo>
                    <a:pt x="17890" y="21531"/>
                  </a:lnTo>
                  <a:lnTo>
                    <a:pt x="17765" y="21489"/>
                  </a:lnTo>
                  <a:lnTo>
                    <a:pt x="17639" y="21447"/>
                  </a:lnTo>
                  <a:lnTo>
                    <a:pt x="17472" y="21427"/>
                  </a:lnTo>
                  <a:lnTo>
                    <a:pt x="17325" y="21280"/>
                  </a:lnTo>
                  <a:lnTo>
                    <a:pt x="17263" y="21238"/>
                  </a:lnTo>
                  <a:lnTo>
                    <a:pt x="17221" y="21238"/>
                  </a:lnTo>
                  <a:lnTo>
                    <a:pt x="17095" y="21301"/>
                  </a:lnTo>
                  <a:lnTo>
                    <a:pt x="17053" y="21259"/>
                  </a:lnTo>
                  <a:lnTo>
                    <a:pt x="17095" y="21217"/>
                  </a:lnTo>
                  <a:lnTo>
                    <a:pt x="17095" y="21175"/>
                  </a:lnTo>
                  <a:lnTo>
                    <a:pt x="17033" y="21238"/>
                  </a:lnTo>
                  <a:lnTo>
                    <a:pt x="16886" y="21343"/>
                  </a:lnTo>
                  <a:lnTo>
                    <a:pt x="16802" y="21385"/>
                  </a:lnTo>
                  <a:lnTo>
                    <a:pt x="16635" y="21385"/>
                  </a:lnTo>
                  <a:lnTo>
                    <a:pt x="16593" y="21427"/>
                  </a:lnTo>
                  <a:lnTo>
                    <a:pt x="16530" y="21385"/>
                  </a:lnTo>
                  <a:lnTo>
                    <a:pt x="16489" y="21364"/>
                  </a:lnTo>
                  <a:cubicBezTo>
                    <a:pt x="16489" y="21364"/>
                    <a:pt x="16426" y="21385"/>
                    <a:pt x="16405" y="21385"/>
                  </a:cubicBezTo>
                  <a:lnTo>
                    <a:pt x="16321" y="21385"/>
                  </a:lnTo>
                  <a:lnTo>
                    <a:pt x="16196" y="21531"/>
                  </a:lnTo>
                  <a:lnTo>
                    <a:pt x="16154" y="21594"/>
                  </a:lnTo>
                  <a:lnTo>
                    <a:pt x="16091" y="21531"/>
                  </a:lnTo>
                  <a:lnTo>
                    <a:pt x="16049" y="21489"/>
                  </a:lnTo>
                  <a:lnTo>
                    <a:pt x="15861" y="21489"/>
                  </a:lnTo>
                  <a:lnTo>
                    <a:pt x="15777" y="21468"/>
                  </a:lnTo>
                  <a:lnTo>
                    <a:pt x="15735" y="21489"/>
                  </a:lnTo>
                  <a:lnTo>
                    <a:pt x="15672" y="21447"/>
                  </a:lnTo>
                  <a:lnTo>
                    <a:pt x="15735" y="21364"/>
                  </a:lnTo>
                  <a:lnTo>
                    <a:pt x="15840" y="21364"/>
                  </a:lnTo>
                  <a:lnTo>
                    <a:pt x="15882" y="21427"/>
                  </a:lnTo>
                  <a:lnTo>
                    <a:pt x="15965" y="21447"/>
                  </a:lnTo>
                  <a:lnTo>
                    <a:pt x="16049" y="21385"/>
                  </a:lnTo>
                  <a:lnTo>
                    <a:pt x="16175" y="21364"/>
                  </a:lnTo>
                  <a:lnTo>
                    <a:pt x="16258" y="21280"/>
                  </a:lnTo>
                  <a:lnTo>
                    <a:pt x="16321" y="21280"/>
                  </a:lnTo>
                  <a:lnTo>
                    <a:pt x="16426" y="21322"/>
                  </a:lnTo>
                  <a:lnTo>
                    <a:pt x="16530" y="21280"/>
                  </a:lnTo>
                  <a:lnTo>
                    <a:pt x="16572" y="21238"/>
                  </a:lnTo>
                  <a:lnTo>
                    <a:pt x="16530" y="21175"/>
                  </a:lnTo>
                  <a:lnTo>
                    <a:pt x="16489" y="21175"/>
                  </a:lnTo>
                  <a:lnTo>
                    <a:pt x="16468" y="21134"/>
                  </a:lnTo>
                  <a:lnTo>
                    <a:pt x="16405" y="21134"/>
                  </a:lnTo>
                  <a:lnTo>
                    <a:pt x="16300" y="21155"/>
                  </a:lnTo>
                  <a:lnTo>
                    <a:pt x="16216" y="21134"/>
                  </a:lnTo>
                  <a:lnTo>
                    <a:pt x="16049" y="21134"/>
                  </a:lnTo>
                  <a:lnTo>
                    <a:pt x="15944" y="21155"/>
                  </a:lnTo>
                  <a:lnTo>
                    <a:pt x="15840" y="21155"/>
                  </a:lnTo>
                  <a:lnTo>
                    <a:pt x="15693" y="21134"/>
                  </a:lnTo>
                  <a:lnTo>
                    <a:pt x="15672" y="21071"/>
                  </a:lnTo>
                  <a:lnTo>
                    <a:pt x="15631" y="21050"/>
                  </a:lnTo>
                  <a:lnTo>
                    <a:pt x="15526" y="21071"/>
                  </a:lnTo>
                  <a:lnTo>
                    <a:pt x="15380" y="21071"/>
                  </a:lnTo>
                  <a:lnTo>
                    <a:pt x="15212" y="21175"/>
                  </a:lnTo>
                  <a:lnTo>
                    <a:pt x="15170" y="21155"/>
                  </a:lnTo>
                  <a:lnTo>
                    <a:pt x="15212" y="21071"/>
                  </a:lnTo>
                  <a:lnTo>
                    <a:pt x="15275" y="21008"/>
                  </a:lnTo>
                  <a:lnTo>
                    <a:pt x="15463" y="21008"/>
                  </a:lnTo>
                  <a:lnTo>
                    <a:pt x="15672" y="20903"/>
                  </a:lnTo>
                  <a:lnTo>
                    <a:pt x="15756" y="20841"/>
                  </a:lnTo>
                  <a:lnTo>
                    <a:pt x="15756" y="20757"/>
                  </a:lnTo>
                  <a:lnTo>
                    <a:pt x="15777" y="20715"/>
                  </a:lnTo>
                  <a:lnTo>
                    <a:pt x="15861" y="20715"/>
                  </a:lnTo>
                  <a:lnTo>
                    <a:pt x="15903" y="20694"/>
                  </a:lnTo>
                  <a:lnTo>
                    <a:pt x="15965" y="20611"/>
                  </a:lnTo>
                  <a:lnTo>
                    <a:pt x="15944" y="20548"/>
                  </a:lnTo>
                  <a:lnTo>
                    <a:pt x="15882" y="20506"/>
                  </a:lnTo>
                  <a:lnTo>
                    <a:pt x="15798" y="20485"/>
                  </a:lnTo>
                  <a:lnTo>
                    <a:pt x="15777" y="20443"/>
                  </a:lnTo>
                  <a:lnTo>
                    <a:pt x="15861" y="20401"/>
                  </a:lnTo>
                  <a:lnTo>
                    <a:pt x="15903" y="20401"/>
                  </a:lnTo>
                  <a:lnTo>
                    <a:pt x="15903" y="20422"/>
                  </a:lnTo>
                  <a:lnTo>
                    <a:pt x="15986" y="20443"/>
                  </a:lnTo>
                  <a:lnTo>
                    <a:pt x="16007" y="20422"/>
                  </a:lnTo>
                  <a:lnTo>
                    <a:pt x="15986" y="20380"/>
                  </a:lnTo>
                  <a:lnTo>
                    <a:pt x="15965" y="20339"/>
                  </a:lnTo>
                  <a:lnTo>
                    <a:pt x="15965" y="20234"/>
                  </a:lnTo>
                  <a:lnTo>
                    <a:pt x="16007" y="20276"/>
                  </a:lnTo>
                  <a:lnTo>
                    <a:pt x="16049" y="20318"/>
                  </a:lnTo>
                  <a:lnTo>
                    <a:pt x="16049" y="20401"/>
                  </a:lnTo>
                  <a:lnTo>
                    <a:pt x="16091" y="20506"/>
                  </a:lnTo>
                  <a:lnTo>
                    <a:pt x="16175" y="20548"/>
                  </a:lnTo>
                  <a:lnTo>
                    <a:pt x="16279" y="20527"/>
                  </a:lnTo>
                  <a:lnTo>
                    <a:pt x="16405" y="20527"/>
                  </a:lnTo>
                  <a:lnTo>
                    <a:pt x="16698" y="20401"/>
                  </a:lnTo>
                  <a:lnTo>
                    <a:pt x="16781" y="20401"/>
                  </a:lnTo>
                  <a:lnTo>
                    <a:pt x="16844" y="20380"/>
                  </a:lnTo>
                  <a:lnTo>
                    <a:pt x="16907" y="20297"/>
                  </a:lnTo>
                  <a:lnTo>
                    <a:pt x="16991" y="20276"/>
                  </a:lnTo>
                  <a:lnTo>
                    <a:pt x="17033" y="20171"/>
                  </a:lnTo>
                  <a:lnTo>
                    <a:pt x="16991" y="20067"/>
                  </a:lnTo>
                  <a:lnTo>
                    <a:pt x="16949" y="19983"/>
                  </a:lnTo>
                  <a:lnTo>
                    <a:pt x="16907" y="19983"/>
                  </a:lnTo>
                  <a:lnTo>
                    <a:pt x="16802" y="19920"/>
                  </a:lnTo>
                  <a:lnTo>
                    <a:pt x="16530" y="19857"/>
                  </a:lnTo>
                  <a:lnTo>
                    <a:pt x="16489" y="19857"/>
                  </a:lnTo>
                  <a:lnTo>
                    <a:pt x="16384" y="19899"/>
                  </a:lnTo>
                  <a:lnTo>
                    <a:pt x="16321" y="19857"/>
                  </a:lnTo>
                  <a:lnTo>
                    <a:pt x="16321" y="19732"/>
                  </a:lnTo>
                  <a:lnTo>
                    <a:pt x="16300" y="19690"/>
                  </a:lnTo>
                  <a:lnTo>
                    <a:pt x="16196" y="19753"/>
                  </a:lnTo>
                  <a:lnTo>
                    <a:pt x="16112" y="19753"/>
                  </a:lnTo>
                  <a:lnTo>
                    <a:pt x="16007" y="19815"/>
                  </a:lnTo>
                  <a:lnTo>
                    <a:pt x="15944" y="19815"/>
                  </a:lnTo>
                  <a:lnTo>
                    <a:pt x="15861" y="19774"/>
                  </a:lnTo>
                  <a:lnTo>
                    <a:pt x="15861" y="19690"/>
                  </a:lnTo>
                  <a:lnTo>
                    <a:pt x="15944" y="19753"/>
                  </a:lnTo>
                  <a:lnTo>
                    <a:pt x="16007" y="19690"/>
                  </a:lnTo>
                  <a:lnTo>
                    <a:pt x="16070" y="19648"/>
                  </a:lnTo>
                  <a:lnTo>
                    <a:pt x="16196" y="19648"/>
                  </a:lnTo>
                  <a:lnTo>
                    <a:pt x="16216" y="19585"/>
                  </a:lnTo>
                  <a:lnTo>
                    <a:pt x="16175" y="19523"/>
                  </a:lnTo>
                  <a:lnTo>
                    <a:pt x="16091" y="19418"/>
                  </a:lnTo>
                  <a:lnTo>
                    <a:pt x="16049" y="19376"/>
                  </a:lnTo>
                  <a:lnTo>
                    <a:pt x="15944" y="19376"/>
                  </a:lnTo>
                  <a:lnTo>
                    <a:pt x="15965" y="19355"/>
                  </a:lnTo>
                  <a:lnTo>
                    <a:pt x="16070" y="19292"/>
                  </a:lnTo>
                  <a:lnTo>
                    <a:pt x="16070" y="19251"/>
                  </a:lnTo>
                  <a:lnTo>
                    <a:pt x="16070" y="19146"/>
                  </a:lnTo>
                  <a:lnTo>
                    <a:pt x="16091" y="19104"/>
                  </a:lnTo>
                  <a:lnTo>
                    <a:pt x="16154" y="19167"/>
                  </a:lnTo>
                  <a:lnTo>
                    <a:pt x="16175" y="19313"/>
                  </a:lnTo>
                  <a:lnTo>
                    <a:pt x="16216" y="19355"/>
                  </a:lnTo>
                  <a:lnTo>
                    <a:pt x="16216" y="19418"/>
                  </a:lnTo>
                  <a:lnTo>
                    <a:pt x="16363" y="19543"/>
                  </a:lnTo>
                  <a:lnTo>
                    <a:pt x="16363" y="19585"/>
                  </a:lnTo>
                  <a:lnTo>
                    <a:pt x="16426" y="19669"/>
                  </a:lnTo>
                  <a:lnTo>
                    <a:pt x="16489" y="19690"/>
                  </a:lnTo>
                  <a:lnTo>
                    <a:pt x="16572" y="19669"/>
                  </a:lnTo>
                  <a:lnTo>
                    <a:pt x="16614" y="19648"/>
                  </a:lnTo>
                  <a:lnTo>
                    <a:pt x="16698" y="19690"/>
                  </a:lnTo>
                  <a:lnTo>
                    <a:pt x="16802" y="19669"/>
                  </a:lnTo>
                  <a:lnTo>
                    <a:pt x="16886" y="19648"/>
                  </a:lnTo>
                  <a:lnTo>
                    <a:pt x="16928" y="19690"/>
                  </a:lnTo>
                  <a:lnTo>
                    <a:pt x="16928" y="19774"/>
                  </a:lnTo>
                  <a:lnTo>
                    <a:pt x="17116" y="20004"/>
                  </a:lnTo>
                  <a:lnTo>
                    <a:pt x="17200" y="20067"/>
                  </a:lnTo>
                  <a:lnTo>
                    <a:pt x="17221" y="20004"/>
                  </a:lnTo>
                  <a:lnTo>
                    <a:pt x="17325" y="19983"/>
                  </a:lnTo>
                  <a:lnTo>
                    <a:pt x="17346" y="19983"/>
                  </a:lnTo>
                  <a:lnTo>
                    <a:pt x="17367" y="20025"/>
                  </a:lnTo>
                  <a:lnTo>
                    <a:pt x="17346" y="20108"/>
                  </a:lnTo>
                  <a:lnTo>
                    <a:pt x="17325" y="20213"/>
                  </a:lnTo>
                  <a:lnTo>
                    <a:pt x="17346" y="20339"/>
                  </a:lnTo>
                  <a:lnTo>
                    <a:pt x="17409" y="20422"/>
                  </a:lnTo>
                  <a:lnTo>
                    <a:pt x="17451" y="20527"/>
                  </a:lnTo>
                  <a:lnTo>
                    <a:pt x="17472" y="20715"/>
                  </a:lnTo>
                  <a:lnTo>
                    <a:pt x="17535" y="20757"/>
                  </a:lnTo>
                  <a:lnTo>
                    <a:pt x="17618" y="20841"/>
                  </a:lnTo>
                  <a:lnTo>
                    <a:pt x="17681" y="21029"/>
                  </a:lnTo>
                  <a:lnTo>
                    <a:pt x="17828" y="21134"/>
                  </a:lnTo>
                  <a:lnTo>
                    <a:pt x="17869" y="21175"/>
                  </a:lnTo>
                  <a:lnTo>
                    <a:pt x="17953" y="21155"/>
                  </a:lnTo>
                  <a:lnTo>
                    <a:pt x="18037" y="21134"/>
                  </a:lnTo>
                  <a:lnTo>
                    <a:pt x="18100" y="21134"/>
                  </a:lnTo>
                  <a:lnTo>
                    <a:pt x="18141" y="21113"/>
                  </a:lnTo>
                  <a:lnTo>
                    <a:pt x="18141" y="21029"/>
                  </a:lnTo>
                  <a:lnTo>
                    <a:pt x="18141" y="20903"/>
                  </a:lnTo>
                  <a:lnTo>
                    <a:pt x="18141" y="20757"/>
                  </a:lnTo>
                  <a:lnTo>
                    <a:pt x="18162" y="20652"/>
                  </a:lnTo>
                  <a:lnTo>
                    <a:pt x="18183" y="20611"/>
                  </a:lnTo>
                  <a:lnTo>
                    <a:pt x="18204" y="20611"/>
                  </a:lnTo>
                  <a:lnTo>
                    <a:pt x="18246" y="20652"/>
                  </a:lnTo>
                  <a:lnTo>
                    <a:pt x="18204" y="20736"/>
                  </a:lnTo>
                  <a:lnTo>
                    <a:pt x="18204" y="20820"/>
                  </a:lnTo>
                  <a:lnTo>
                    <a:pt x="18267" y="20924"/>
                  </a:lnTo>
                  <a:lnTo>
                    <a:pt x="18204" y="21008"/>
                  </a:lnTo>
                  <a:lnTo>
                    <a:pt x="18204" y="21071"/>
                  </a:lnTo>
                  <a:lnTo>
                    <a:pt x="18267" y="21113"/>
                  </a:lnTo>
                  <a:lnTo>
                    <a:pt x="18309" y="21071"/>
                  </a:lnTo>
                  <a:lnTo>
                    <a:pt x="18393" y="21050"/>
                  </a:lnTo>
                  <a:lnTo>
                    <a:pt x="18455" y="21071"/>
                  </a:lnTo>
                  <a:lnTo>
                    <a:pt x="18476" y="21134"/>
                  </a:lnTo>
                  <a:lnTo>
                    <a:pt x="18455" y="21175"/>
                  </a:lnTo>
                  <a:lnTo>
                    <a:pt x="18476" y="21217"/>
                  </a:lnTo>
                  <a:lnTo>
                    <a:pt x="18581" y="21217"/>
                  </a:lnTo>
                  <a:lnTo>
                    <a:pt x="18623" y="21155"/>
                  </a:lnTo>
                  <a:lnTo>
                    <a:pt x="18623" y="21071"/>
                  </a:lnTo>
                  <a:lnTo>
                    <a:pt x="18602" y="21008"/>
                  </a:lnTo>
                  <a:lnTo>
                    <a:pt x="18602" y="20820"/>
                  </a:lnTo>
                  <a:lnTo>
                    <a:pt x="18623" y="20736"/>
                  </a:lnTo>
                  <a:lnTo>
                    <a:pt x="18623" y="20631"/>
                  </a:lnTo>
                  <a:lnTo>
                    <a:pt x="18665" y="20590"/>
                  </a:lnTo>
                  <a:lnTo>
                    <a:pt x="18623" y="20527"/>
                  </a:lnTo>
                  <a:lnTo>
                    <a:pt x="18581" y="20527"/>
                  </a:lnTo>
                  <a:lnTo>
                    <a:pt x="18602" y="20485"/>
                  </a:lnTo>
                  <a:lnTo>
                    <a:pt x="18623" y="20422"/>
                  </a:lnTo>
                  <a:lnTo>
                    <a:pt x="18602" y="20401"/>
                  </a:lnTo>
                  <a:lnTo>
                    <a:pt x="18497" y="20443"/>
                  </a:lnTo>
                  <a:lnTo>
                    <a:pt x="18497" y="20401"/>
                  </a:lnTo>
                  <a:lnTo>
                    <a:pt x="18518" y="20339"/>
                  </a:lnTo>
                  <a:lnTo>
                    <a:pt x="18623" y="20318"/>
                  </a:lnTo>
                  <a:lnTo>
                    <a:pt x="18685" y="20276"/>
                  </a:lnTo>
                  <a:lnTo>
                    <a:pt x="18685" y="20171"/>
                  </a:lnTo>
                  <a:lnTo>
                    <a:pt x="18665" y="20108"/>
                  </a:lnTo>
                  <a:lnTo>
                    <a:pt x="18602" y="20129"/>
                  </a:lnTo>
                  <a:lnTo>
                    <a:pt x="18581" y="20087"/>
                  </a:lnTo>
                  <a:lnTo>
                    <a:pt x="18623" y="20004"/>
                  </a:lnTo>
                  <a:lnTo>
                    <a:pt x="18685" y="19899"/>
                  </a:lnTo>
                  <a:lnTo>
                    <a:pt x="18685" y="19857"/>
                  </a:lnTo>
                  <a:lnTo>
                    <a:pt x="18623" y="19857"/>
                  </a:lnTo>
                  <a:lnTo>
                    <a:pt x="18560" y="19899"/>
                  </a:lnTo>
                  <a:lnTo>
                    <a:pt x="18476" y="20025"/>
                  </a:lnTo>
                  <a:lnTo>
                    <a:pt x="18455" y="20171"/>
                  </a:lnTo>
                  <a:lnTo>
                    <a:pt x="18393" y="20192"/>
                  </a:lnTo>
                  <a:lnTo>
                    <a:pt x="18393" y="20129"/>
                  </a:lnTo>
                  <a:lnTo>
                    <a:pt x="18413" y="20004"/>
                  </a:lnTo>
                  <a:lnTo>
                    <a:pt x="18413" y="19962"/>
                  </a:lnTo>
                  <a:lnTo>
                    <a:pt x="18393" y="19899"/>
                  </a:lnTo>
                  <a:lnTo>
                    <a:pt x="18393" y="19857"/>
                  </a:lnTo>
                  <a:lnTo>
                    <a:pt x="18413" y="19774"/>
                  </a:lnTo>
                  <a:lnTo>
                    <a:pt x="18497" y="19690"/>
                  </a:lnTo>
                  <a:lnTo>
                    <a:pt x="18581" y="19648"/>
                  </a:lnTo>
                  <a:lnTo>
                    <a:pt x="18602" y="19564"/>
                  </a:lnTo>
                  <a:lnTo>
                    <a:pt x="18560" y="19502"/>
                  </a:lnTo>
                  <a:lnTo>
                    <a:pt x="18476" y="19502"/>
                  </a:lnTo>
                  <a:lnTo>
                    <a:pt x="18413" y="19564"/>
                  </a:lnTo>
                  <a:lnTo>
                    <a:pt x="18393" y="19606"/>
                  </a:lnTo>
                  <a:lnTo>
                    <a:pt x="18372" y="19648"/>
                  </a:lnTo>
                  <a:lnTo>
                    <a:pt x="18393" y="19543"/>
                  </a:lnTo>
                  <a:lnTo>
                    <a:pt x="18413" y="19481"/>
                  </a:lnTo>
                  <a:lnTo>
                    <a:pt x="18393" y="19460"/>
                  </a:lnTo>
                  <a:lnTo>
                    <a:pt x="18351" y="19481"/>
                  </a:lnTo>
                  <a:lnTo>
                    <a:pt x="18246" y="19564"/>
                  </a:lnTo>
                  <a:lnTo>
                    <a:pt x="18162" y="19648"/>
                  </a:lnTo>
                  <a:lnTo>
                    <a:pt x="18162" y="19606"/>
                  </a:lnTo>
                  <a:lnTo>
                    <a:pt x="18183" y="19543"/>
                  </a:lnTo>
                  <a:lnTo>
                    <a:pt x="18246" y="19460"/>
                  </a:lnTo>
                  <a:lnTo>
                    <a:pt x="18288" y="19397"/>
                  </a:lnTo>
                  <a:lnTo>
                    <a:pt x="18351" y="19292"/>
                  </a:lnTo>
                  <a:lnTo>
                    <a:pt x="18351" y="19271"/>
                  </a:lnTo>
                  <a:lnTo>
                    <a:pt x="18288" y="19230"/>
                  </a:lnTo>
                  <a:lnTo>
                    <a:pt x="18267" y="19167"/>
                  </a:lnTo>
                  <a:lnTo>
                    <a:pt x="18204" y="19167"/>
                  </a:lnTo>
                  <a:lnTo>
                    <a:pt x="18162" y="19125"/>
                  </a:lnTo>
                  <a:lnTo>
                    <a:pt x="18141" y="19041"/>
                  </a:lnTo>
                  <a:lnTo>
                    <a:pt x="18079" y="19020"/>
                  </a:lnTo>
                  <a:lnTo>
                    <a:pt x="17995" y="18937"/>
                  </a:lnTo>
                  <a:lnTo>
                    <a:pt x="17953" y="18937"/>
                  </a:lnTo>
                  <a:lnTo>
                    <a:pt x="17932" y="18916"/>
                  </a:lnTo>
                  <a:lnTo>
                    <a:pt x="17869" y="18916"/>
                  </a:lnTo>
                  <a:lnTo>
                    <a:pt x="17869" y="18853"/>
                  </a:lnTo>
                  <a:lnTo>
                    <a:pt x="17849" y="18811"/>
                  </a:lnTo>
                  <a:lnTo>
                    <a:pt x="17660" y="18665"/>
                  </a:lnTo>
                  <a:lnTo>
                    <a:pt x="17639" y="18623"/>
                  </a:lnTo>
                  <a:lnTo>
                    <a:pt x="17535" y="18560"/>
                  </a:lnTo>
                  <a:lnTo>
                    <a:pt x="17430" y="18560"/>
                  </a:lnTo>
                  <a:lnTo>
                    <a:pt x="17325" y="18602"/>
                  </a:lnTo>
                  <a:lnTo>
                    <a:pt x="17242" y="18707"/>
                  </a:lnTo>
                  <a:lnTo>
                    <a:pt x="17242" y="18644"/>
                  </a:lnTo>
                  <a:lnTo>
                    <a:pt x="17221" y="18560"/>
                  </a:lnTo>
                  <a:lnTo>
                    <a:pt x="17053" y="18518"/>
                  </a:lnTo>
                  <a:lnTo>
                    <a:pt x="16949" y="18518"/>
                  </a:lnTo>
                  <a:lnTo>
                    <a:pt x="16844" y="18539"/>
                  </a:lnTo>
                  <a:lnTo>
                    <a:pt x="16823" y="18518"/>
                  </a:lnTo>
                  <a:lnTo>
                    <a:pt x="16907" y="18434"/>
                  </a:lnTo>
                  <a:lnTo>
                    <a:pt x="16949" y="18476"/>
                  </a:lnTo>
                  <a:lnTo>
                    <a:pt x="17137" y="18476"/>
                  </a:lnTo>
                  <a:lnTo>
                    <a:pt x="17221" y="18497"/>
                  </a:lnTo>
                  <a:lnTo>
                    <a:pt x="17325" y="18497"/>
                  </a:lnTo>
                  <a:lnTo>
                    <a:pt x="17430" y="18476"/>
                  </a:lnTo>
                  <a:lnTo>
                    <a:pt x="17472" y="18393"/>
                  </a:lnTo>
                  <a:lnTo>
                    <a:pt x="17514" y="18204"/>
                  </a:lnTo>
                  <a:lnTo>
                    <a:pt x="17472" y="18121"/>
                  </a:lnTo>
                  <a:lnTo>
                    <a:pt x="17451" y="18100"/>
                  </a:lnTo>
                  <a:lnTo>
                    <a:pt x="17409" y="18100"/>
                  </a:lnTo>
                  <a:lnTo>
                    <a:pt x="17263" y="17995"/>
                  </a:lnTo>
                  <a:lnTo>
                    <a:pt x="17221" y="17974"/>
                  </a:lnTo>
                  <a:lnTo>
                    <a:pt x="17158" y="17974"/>
                  </a:lnTo>
                  <a:lnTo>
                    <a:pt x="17053" y="18058"/>
                  </a:lnTo>
                  <a:lnTo>
                    <a:pt x="17012" y="18058"/>
                  </a:lnTo>
                  <a:lnTo>
                    <a:pt x="16928" y="18079"/>
                  </a:lnTo>
                  <a:lnTo>
                    <a:pt x="16886" y="18162"/>
                  </a:lnTo>
                  <a:lnTo>
                    <a:pt x="16844" y="18162"/>
                  </a:lnTo>
                  <a:lnTo>
                    <a:pt x="16844" y="18079"/>
                  </a:lnTo>
                  <a:lnTo>
                    <a:pt x="16823" y="18016"/>
                  </a:lnTo>
                  <a:lnTo>
                    <a:pt x="16781" y="18016"/>
                  </a:lnTo>
                  <a:lnTo>
                    <a:pt x="16635" y="18058"/>
                  </a:lnTo>
                  <a:lnTo>
                    <a:pt x="16593" y="18079"/>
                  </a:lnTo>
                  <a:lnTo>
                    <a:pt x="16530" y="18079"/>
                  </a:lnTo>
                  <a:lnTo>
                    <a:pt x="16572" y="18058"/>
                  </a:lnTo>
                  <a:lnTo>
                    <a:pt x="16677" y="17995"/>
                  </a:lnTo>
                  <a:lnTo>
                    <a:pt x="16781" y="17974"/>
                  </a:lnTo>
                  <a:lnTo>
                    <a:pt x="16802" y="17911"/>
                  </a:lnTo>
                  <a:lnTo>
                    <a:pt x="16781" y="17870"/>
                  </a:lnTo>
                  <a:lnTo>
                    <a:pt x="16719" y="17849"/>
                  </a:lnTo>
                  <a:lnTo>
                    <a:pt x="16677" y="17870"/>
                  </a:lnTo>
                  <a:lnTo>
                    <a:pt x="16719" y="17807"/>
                  </a:lnTo>
                  <a:lnTo>
                    <a:pt x="16781" y="17807"/>
                  </a:lnTo>
                  <a:lnTo>
                    <a:pt x="16823" y="17849"/>
                  </a:lnTo>
                  <a:lnTo>
                    <a:pt x="16928" y="17953"/>
                  </a:lnTo>
                  <a:lnTo>
                    <a:pt x="17012" y="17974"/>
                  </a:lnTo>
                  <a:lnTo>
                    <a:pt x="17095" y="17953"/>
                  </a:lnTo>
                  <a:lnTo>
                    <a:pt x="17200" y="17870"/>
                  </a:lnTo>
                  <a:lnTo>
                    <a:pt x="17367" y="17870"/>
                  </a:lnTo>
                  <a:lnTo>
                    <a:pt x="17430" y="17786"/>
                  </a:lnTo>
                  <a:lnTo>
                    <a:pt x="17472" y="17765"/>
                  </a:lnTo>
                  <a:lnTo>
                    <a:pt x="17514" y="17702"/>
                  </a:lnTo>
                  <a:lnTo>
                    <a:pt x="17472" y="17639"/>
                  </a:lnTo>
                  <a:lnTo>
                    <a:pt x="17409" y="17577"/>
                  </a:lnTo>
                  <a:lnTo>
                    <a:pt x="17263" y="17556"/>
                  </a:lnTo>
                  <a:lnTo>
                    <a:pt x="17200" y="17493"/>
                  </a:lnTo>
                  <a:lnTo>
                    <a:pt x="17137" y="17451"/>
                  </a:lnTo>
                  <a:lnTo>
                    <a:pt x="17033" y="17451"/>
                  </a:lnTo>
                  <a:lnTo>
                    <a:pt x="16928" y="17430"/>
                  </a:lnTo>
                  <a:lnTo>
                    <a:pt x="16844" y="17451"/>
                  </a:lnTo>
                  <a:lnTo>
                    <a:pt x="16823" y="17493"/>
                  </a:lnTo>
                  <a:lnTo>
                    <a:pt x="16740" y="17556"/>
                  </a:lnTo>
                  <a:lnTo>
                    <a:pt x="16677" y="17535"/>
                  </a:lnTo>
                  <a:lnTo>
                    <a:pt x="16593" y="17493"/>
                  </a:lnTo>
                  <a:lnTo>
                    <a:pt x="16489" y="17493"/>
                  </a:lnTo>
                  <a:lnTo>
                    <a:pt x="16468" y="17556"/>
                  </a:lnTo>
                  <a:lnTo>
                    <a:pt x="16426" y="17598"/>
                  </a:lnTo>
                  <a:lnTo>
                    <a:pt x="16384" y="17577"/>
                  </a:lnTo>
                  <a:lnTo>
                    <a:pt x="16321" y="17535"/>
                  </a:lnTo>
                  <a:lnTo>
                    <a:pt x="16300" y="17535"/>
                  </a:lnTo>
                  <a:lnTo>
                    <a:pt x="16279" y="17472"/>
                  </a:lnTo>
                  <a:lnTo>
                    <a:pt x="16321" y="17430"/>
                  </a:lnTo>
                  <a:lnTo>
                    <a:pt x="16426" y="17388"/>
                  </a:lnTo>
                  <a:lnTo>
                    <a:pt x="16572" y="17430"/>
                  </a:lnTo>
                  <a:lnTo>
                    <a:pt x="16740" y="17430"/>
                  </a:lnTo>
                  <a:lnTo>
                    <a:pt x="16802" y="17367"/>
                  </a:lnTo>
                  <a:lnTo>
                    <a:pt x="16802" y="17326"/>
                  </a:lnTo>
                  <a:lnTo>
                    <a:pt x="16740" y="17221"/>
                  </a:lnTo>
                  <a:lnTo>
                    <a:pt x="16635" y="17137"/>
                  </a:lnTo>
                  <a:lnTo>
                    <a:pt x="16530" y="17074"/>
                  </a:lnTo>
                  <a:lnTo>
                    <a:pt x="16489" y="17012"/>
                  </a:lnTo>
                  <a:lnTo>
                    <a:pt x="16489" y="16907"/>
                  </a:lnTo>
                  <a:lnTo>
                    <a:pt x="16509" y="16865"/>
                  </a:lnTo>
                  <a:lnTo>
                    <a:pt x="16572" y="16907"/>
                  </a:lnTo>
                  <a:lnTo>
                    <a:pt x="16593" y="16949"/>
                  </a:lnTo>
                  <a:lnTo>
                    <a:pt x="16593" y="17012"/>
                  </a:lnTo>
                  <a:lnTo>
                    <a:pt x="16677" y="17054"/>
                  </a:lnTo>
                  <a:lnTo>
                    <a:pt x="16802" y="17158"/>
                  </a:lnTo>
                  <a:lnTo>
                    <a:pt x="16823" y="17221"/>
                  </a:lnTo>
                  <a:lnTo>
                    <a:pt x="16886" y="17242"/>
                  </a:lnTo>
                  <a:lnTo>
                    <a:pt x="16928" y="17242"/>
                  </a:lnTo>
                  <a:lnTo>
                    <a:pt x="17012" y="17326"/>
                  </a:lnTo>
                  <a:lnTo>
                    <a:pt x="17095" y="17326"/>
                  </a:lnTo>
                  <a:lnTo>
                    <a:pt x="17200" y="17284"/>
                  </a:lnTo>
                  <a:lnTo>
                    <a:pt x="17263" y="17242"/>
                  </a:lnTo>
                  <a:lnTo>
                    <a:pt x="17346" y="17221"/>
                  </a:lnTo>
                  <a:lnTo>
                    <a:pt x="17409" y="17158"/>
                  </a:lnTo>
                  <a:lnTo>
                    <a:pt x="17472" y="17116"/>
                  </a:lnTo>
                  <a:lnTo>
                    <a:pt x="17556" y="17074"/>
                  </a:lnTo>
                  <a:lnTo>
                    <a:pt x="17606" y="17074"/>
                  </a:lnTo>
                  <a:lnTo>
                    <a:pt x="17618" y="17116"/>
                  </a:lnTo>
                  <a:lnTo>
                    <a:pt x="17618" y="17074"/>
                  </a:lnTo>
                  <a:lnTo>
                    <a:pt x="17618" y="17033"/>
                  </a:lnTo>
                  <a:lnTo>
                    <a:pt x="17577" y="16970"/>
                  </a:lnTo>
                  <a:lnTo>
                    <a:pt x="17588" y="17010"/>
                  </a:lnTo>
                  <a:lnTo>
                    <a:pt x="17472" y="16844"/>
                  </a:lnTo>
                  <a:lnTo>
                    <a:pt x="17409" y="16802"/>
                  </a:lnTo>
                  <a:lnTo>
                    <a:pt x="17409" y="16740"/>
                  </a:lnTo>
                  <a:lnTo>
                    <a:pt x="17430" y="16719"/>
                  </a:lnTo>
                  <a:lnTo>
                    <a:pt x="17472" y="16719"/>
                  </a:lnTo>
                  <a:lnTo>
                    <a:pt x="17535" y="16761"/>
                  </a:lnTo>
                  <a:lnTo>
                    <a:pt x="17535" y="16823"/>
                  </a:lnTo>
                  <a:lnTo>
                    <a:pt x="17577" y="16865"/>
                  </a:lnTo>
                  <a:lnTo>
                    <a:pt x="17681" y="17074"/>
                  </a:lnTo>
                  <a:lnTo>
                    <a:pt x="17869" y="17284"/>
                  </a:lnTo>
                  <a:lnTo>
                    <a:pt x="17890" y="17326"/>
                  </a:lnTo>
                  <a:lnTo>
                    <a:pt x="17932" y="17263"/>
                  </a:lnTo>
                  <a:lnTo>
                    <a:pt x="17932" y="17179"/>
                  </a:lnTo>
                  <a:lnTo>
                    <a:pt x="17953" y="17012"/>
                  </a:lnTo>
                  <a:lnTo>
                    <a:pt x="17953" y="16907"/>
                  </a:lnTo>
                  <a:lnTo>
                    <a:pt x="17995" y="16844"/>
                  </a:lnTo>
                  <a:lnTo>
                    <a:pt x="18058" y="16844"/>
                  </a:lnTo>
                  <a:lnTo>
                    <a:pt x="18100" y="16865"/>
                  </a:lnTo>
                  <a:lnTo>
                    <a:pt x="18100" y="16949"/>
                  </a:lnTo>
                  <a:lnTo>
                    <a:pt x="18141" y="17012"/>
                  </a:lnTo>
                  <a:lnTo>
                    <a:pt x="18183" y="17012"/>
                  </a:lnTo>
                  <a:lnTo>
                    <a:pt x="18372" y="17074"/>
                  </a:lnTo>
                  <a:lnTo>
                    <a:pt x="18518" y="17179"/>
                  </a:lnTo>
                  <a:lnTo>
                    <a:pt x="18602" y="17221"/>
                  </a:lnTo>
                  <a:lnTo>
                    <a:pt x="18665" y="17179"/>
                  </a:lnTo>
                  <a:lnTo>
                    <a:pt x="18706" y="17179"/>
                  </a:lnTo>
                  <a:lnTo>
                    <a:pt x="18769" y="17221"/>
                  </a:lnTo>
                  <a:lnTo>
                    <a:pt x="18769" y="17263"/>
                  </a:lnTo>
                  <a:lnTo>
                    <a:pt x="18602" y="17284"/>
                  </a:lnTo>
                  <a:lnTo>
                    <a:pt x="18581" y="17326"/>
                  </a:lnTo>
                  <a:lnTo>
                    <a:pt x="18476" y="17221"/>
                  </a:lnTo>
                  <a:lnTo>
                    <a:pt x="18288" y="17116"/>
                  </a:lnTo>
                  <a:lnTo>
                    <a:pt x="18246" y="17074"/>
                  </a:lnTo>
                  <a:lnTo>
                    <a:pt x="18204" y="17054"/>
                  </a:lnTo>
                  <a:lnTo>
                    <a:pt x="18162" y="17054"/>
                  </a:lnTo>
                  <a:lnTo>
                    <a:pt x="18121" y="17074"/>
                  </a:lnTo>
                  <a:lnTo>
                    <a:pt x="18121" y="17137"/>
                  </a:lnTo>
                  <a:lnTo>
                    <a:pt x="18183" y="17221"/>
                  </a:lnTo>
                  <a:lnTo>
                    <a:pt x="18413" y="17430"/>
                  </a:lnTo>
                  <a:lnTo>
                    <a:pt x="18518" y="17535"/>
                  </a:lnTo>
                  <a:lnTo>
                    <a:pt x="18685" y="17598"/>
                  </a:lnTo>
                  <a:lnTo>
                    <a:pt x="18790" y="17681"/>
                  </a:lnTo>
                  <a:lnTo>
                    <a:pt x="18832" y="17702"/>
                  </a:lnTo>
                  <a:lnTo>
                    <a:pt x="18916" y="17681"/>
                  </a:lnTo>
                  <a:lnTo>
                    <a:pt x="18937" y="17639"/>
                  </a:lnTo>
                  <a:lnTo>
                    <a:pt x="18999" y="17556"/>
                  </a:lnTo>
                  <a:lnTo>
                    <a:pt x="19125" y="17556"/>
                  </a:lnTo>
                  <a:lnTo>
                    <a:pt x="19167" y="17493"/>
                  </a:lnTo>
                  <a:lnTo>
                    <a:pt x="19167" y="17430"/>
                  </a:lnTo>
                  <a:lnTo>
                    <a:pt x="19250" y="17367"/>
                  </a:lnTo>
                  <a:lnTo>
                    <a:pt x="19313" y="17367"/>
                  </a:lnTo>
                  <a:lnTo>
                    <a:pt x="19376" y="17388"/>
                  </a:lnTo>
                  <a:lnTo>
                    <a:pt x="19460" y="17430"/>
                  </a:lnTo>
                  <a:lnTo>
                    <a:pt x="19564" y="17388"/>
                  </a:lnTo>
                  <a:lnTo>
                    <a:pt x="19669" y="17388"/>
                  </a:lnTo>
                  <a:lnTo>
                    <a:pt x="19690" y="17346"/>
                  </a:lnTo>
                  <a:lnTo>
                    <a:pt x="19732" y="17221"/>
                  </a:lnTo>
                  <a:lnTo>
                    <a:pt x="19732" y="17116"/>
                  </a:lnTo>
                  <a:lnTo>
                    <a:pt x="19774" y="17033"/>
                  </a:lnTo>
                  <a:lnTo>
                    <a:pt x="19857" y="16907"/>
                  </a:lnTo>
                  <a:lnTo>
                    <a:pt x="19857" y="16823"/>
                  </a:lnTo>
                  <a:lnTo>
                    <a:pt x="19836" y="16761"/>
                  </a:lnTo>
                  <a:lnTo>
                    <a:pt x="19753" y="16740"/>
                  </a:lnTo>
                  <a:lnTo>
                    <a:pt x="19648" y="16761"/>
                  </a:lnTo>
                  <a:lnTo>
                    <a:pt x="19627" y="16802"/>
                  </a:lnTo>
                  <a:lnTo>
                    <a:pt x="19585" y="16761"/>
                  </a:lnTo>
                  <a:lnTo>
                    <a:pt x="19543" y="16761"/>
                  </a:lnTo>
                  <a:lnTo>
                    <a:pt x="19522" y="16802"/>
                  </a:lnTo>
                  <a:lnTo>
                    <a:pt x="19439" y="16740"/>
                  </a:lnTo>
                  <a:lnTo>
                    <a:pt x="19376" y="16656"/>
                  </a:lnTo>
                  <a:lnTo>
                    <a:pt x="19334" y="16614"/>
                  </a:lnTo>
                  <a:lnTo>
                    <a:pt x="19313" y="16530"/>
                  </a:lnTo>
                  <a:lnTo>
                    <a:pt x="19271" y="16530"/>
                  </a:lnTo>
                  <a:lnTo>
                    <a:pt x="19250" y="16614"/>
                  </a:lnTo>
                  <a:lnTo>
                    <a:pt x="19250" y="16719"/>
                  </a:lnTo>
                  <a:lnTo>
                    <a:pt x="19313" y="16740"/>
                  </a:lnTo>
                  <a:lnTo>
                    <a:pt x="19313" y="16823"/>
                  </a:lnTo>
                  <a:lnTo>
                    <a:pt x="19250" y="16907"/>
                  </a:lnTo>
                  <a:lnTo>
                    <a:pt x="19229" y="17012"/>
                  </a:lnTo>
                  <a:lnTo>
                    <a:pt x="19209" y="16949"/>
                  </a:lnTo>
                  <a:lnTo>
                    <a:pt x="19229" y="16823"/>
                  </a:lnTo>
                  <a:lnTo>
                    <a:pt x="19209" y="16719"/>
                  </a:lnTo>
                  <a:lnTo>
                    <a:pt x="19146" y="16698"/>
                  </a:lnTo>
                  <a:lnTo>
                    <a:pt x="19125" y="16551"/>
                  </a:lnTo>
                  <a:lnTo>
                    <a:pt x="19062" y="16530"/>
                  </a:lnTo>
                  <a:lnTo>
                    <a:pt x="19041" y="16489"/>
                  </a:lnTo>
                  <a:lnTo>
                    <a:pt x="19041" y="16447"/>
                  </a:lnTo>
                  <a:lnTo>
                    <a:pt x="19104" y="16426"/>
                  </a:lnTo>
                  <a:lnTo>
                    <a:pt x="19161" y="16311"/>
                  </a:lnTo>
                  <a:lnTo>
                    <a:pt x="19146" y="16279"/>
                  </a:lnTo>
                  <a:lnTo>
                    <a:pt x="19104" y="16238"/>
                  </a:lnTo>
                  <a:lnTo>
                    <a:pt x="19146" y="16217"/>
                  </a:lnTo>
                  <a:lnTo>
                    <a:pt x="19229" y="16217"/>
                  </a:lnTo>
                  <a:lnTo>
                    <a:pt x="19271" y="16175"/>
                  </a:lnTo>
                  <a:lnTo>
                    <a:pt x="19313" y="16091"/>
                  </a:lnTo>
                  <a:lnTo>
                    <a:pt x="19313" y="15966"/>
                  </a:lnTo>
                  <a:lnTo>
                    <a:pt x="19271" y="15903"/>
                  </a:lnTo>
                  <a:lnTo>
                    <a:pt x="19271" y="15861"/>
                  </a:lnTo>
                  <a:lnTo>
                    <a:pt x="19334" y="15861"/>
                  </a:lnTo>
                  <a:lnTo>
                    <a:pt x="19376" y="15903"/>
                  </a:lnTo>
                  <a:lnTo>
                    <a:pt x="19439" y="15986"/>
                  </a:lnTo>
                  <a:lnTo>
                    <a:pt x="19481" y="16007"/>
                  </a:lnTo>
                  <a:lnTo>
                    <a:pt x="19564" y="16007"/>
                  </a:lnTo>
                  <a:lnTo>
                    <a:pt x="19648" y="15966"/>
                  </a:lnTo>
                  <a:lnTo>
                    <a:pt x="19732" y="15986"/>
                  </a:lnTo>
                  <a:lnTo>
                    <a:pt x="19794" y="16028"/>
                  </a:lnTo>
                  <a:lnTo>
                    <a:pt x="19899" y="16070"/>
                  </a:lnTo>
                  <a:lnTo>
                    <a:pt x="20046" y="16175"/>
                  </a:lnTo>
                  <a:lnTo>
                    <a:pt x="20046" y="16238"/>
                  </a:lnTo>
                  <a:lnTo>
                    <a:pt x="20066" y="16321"/>
                  </a:lnTo>
                  <a:lnTo>
                    <a:pt x="20108" y="16384"/>
                  </a:lnTo>
                  <a:lnTo>
                    <a:pt x="20150" y="16447"/>
                  </a:lnTo>
                  <a:lnTo>
                    <a:pt x="20192" y="16489"/>
                  </a:lnTo>
                  <a:lnTo>
                    <a:pt x="20318" y="16405"/>
                  </a:lnTo>
                  <a:lnTo>
                    <a:pt x="20422" y="16238"/>
                  </a:lnTo>
                  <a:lnTo>
                    <a:pt x="20485" y="16133"/>
                  </a:lnTo>
                  <a:lnTo>
                    <a:pt x="20422" y="16091"/>
                  </a:lnTo>
                  <a:lnTo>
                    <a:pt x="20401" y="15986"/>
                  </a:lnTo>
                  <a:lnTo>
                    <a:pt x="20464" y="15924"/>
                  </a:lnTo>
                  <a:lnTo>
                    <a:pt x="20464" y="15882"/>
                  </a:lnTo>
                  <a:lnTo>
                    <a:pt x="20359" y="15861"/>
                  </a:lnTo>
                  <a:lnTo>
                    <a:pt x="20276" y="15903"/>
                  </a:lnTo>
                  <a:lnTo>
                    <a:pt x="20255" y="15966"/>
                  </a:lnTo>
                  <a:lnTo>
                    <a:pt x="20108" y="15882"/>
                  </a:lnTo>
                  <a:lnTo>
                    <a:pt x="20046" y="15777"/>
                  </a:lnTo>
                  <a:lnTo>
                    <a:pt x="19899" y="15756"/>
                  </a:lnTo>
                  <a:lnTo>
                    <a:pt x="19857" y="15777"/>
                  </a:lnTo>
                  <a:lnTo>
                    <a:pt x="19794" y="15714"/>
                  </a:lnTo>
                  <a:lnTo>
                    <a:pt x="19794" y="15673"/>
                  </a:lnTo>
                  <a:lnTo>
                    <a:pt x="19857" y="15673"/>
                  </a:lnTo>
                  <a:lnTo>
                    <a:pt x="19899" y="15589"/>
                  </a:lnTo>
                  <a:lnTo>
                    <a:pt x="19941" y="15401"/>
                  </a:lnTo>
                  <a:lnTo>
                    <a:pt x="19962" y="15380"/>
                  </a:lnTo>
                  <a:lnTo>
                    <a:pt x="19962" y="15296"/>
                  </a:lnTo>
                  <a:lnTo>
                    <a:pt x="19836" y="15254"/>
                  </a:lnTo>
                  <a:lnTo>
                    <a:pt x="19774" y="15254"/>
                  </a:lnTo>
                  <a:lnTo>
                    <a:pt x="19669" y="15359"/>
                  </a:lnTo>
                  <a:lnTo>
                    <a:pt x="19564" y="15380"/>
                  </a:lnTo>
                  <a:lnTo>
                    <a:pt x="19460" y="15359"/>
                  </a:lnTo>
                  <a:lnTo>
                    <a:pt x="19439" y="15296"/>
                  </a:lnTo>
                  <a:lnTo>
                    <a:pt x="19418" y="15191"/>
                  </a:lnTo>
                  <a:lnTo>
                    <a:pt x="19376" y="15149"/>
                  </a:lnTo>
                  <a:lnTo>
                    <a:pt x="19376" y="15066"/>
                  </a:lnTo>
                  <a:lnTo>
                    <a:pt x="19460" y="15129"/>
                  </a:lnTo>
                  <a:lnTo>
                    <a:pt x="19481" y="15170"/>
                  </a:lnTo>
                  <a:lnTo>
                    <a:pt x="19460" y="15233"/>
                  </a:lnTo>
                  <a:lnTo>
                    <a:pt x="19481" y="15296"/>
                  </a:lnTo>
                  <a:lnTo>
                    <a:pt x="19564" y="15359"/>
                  </a:lnTo>
                  <a:lnTo>
                    <a:pt x="19648" y="15359"/>
                  </a:lnTo>
                  <a:lnTo>
                    <a:pt x="19753" y="15254"/>
                  </a:lnTo>
                  <a:lnTo>
                    <a:pt x="19836" y="15233"/>
                  </a:lnTo>
                  <a:lnTo>
                    <a:pt x="19941" y="15233"/>
                  </a:lnTo>
                  <a:lnTo>
                    <a:pt x="19983" y="15275"/>
                  </a:lnTo>
                  <a:lnTo>
                    <a:pt x="20046" y="15275"/>
                  </a:lnTo>
                  <a:lnTo>
                    <a:pt x="20066" y="15233"/>
                  </a:lnTo>
                  <a:lnTo>
                    <a:pt x="20046" y="15170"/>
                  </a:lnTo>
                  <a:lnTo>
                    <a:pt x="19836" y="14961"/>
                  </a:lnTo>
                  <a:lnTo>
                    <a:pt x="19669" y="14836"/>
                  </a:lnTo>
                  <a:lnTo>
                    <a:pt x="19522" y="14836"/>
                  </a:lnTo>
                  <a:lnTo>
                    <a:pt x="19355" y="14752"/>
                  </a:lnTo>
                  <a:lnTo>
                    <a:pt x="19271" y="14647"/>
                  </a:lnTo>
                  <a:lnTo>
                    <a:pt x="19271" y="14564"/>
                  </a:lnTo>
                  <a:lnTo>
                    <a:pt x="19271" y="14522"/>
                  </a:lnTo>
                  <a:lnTo>
                    <a:pt x="19334" y="14564"/>
                  </a:lnTo>
                  <a:lnTo>
                    <a:pt x="19376" y="14668"/>
                  </a:lnTo>
                  <a:lnTo>
                    <a:pt x="19460" y="14731"/>
                  </a:lnTo>
                  <a:lnTo>
                    <a:pt x="19585" y="14731"/>
                  </a:lnTo>
                  <a:lnTo>
                    <a:pt x="19627" y="14668"/>
                  </a:lnTo>
                  <a:lnTo>
                    <a:pt x="19627" y="14626"/>
                  </a:lnTo>
                  <a:lnTo>
                    <a:pt x="19522" y="14522"/>
                  </a:lnTo>
                  <a:lnTo>
                    <a:pt x="19481" y="14459"/>
                  </a:lnTo>
                  <a:lnTo>
                    <a:pt x="19481" y="14438"/>
                  </a:lnTo>
                  <a:lnTo>
                    <a:pt x="19522" y="14438"/>
                  </a:lnTo>
                  <a:lnTo>
                    <a:pt x="19564" y="14459"/>
                  </a:lnTo>
                  <a:lnTo>
                    <a:pt x="19690" y="14626"/>
                  </a:lnTo>
                  <a:lnTo>
                    <a:pt x="19753" y="14731"/>
                  </a:lnTo>
                  <a:lnTo>
                    <a:pt x="19753" y="14773"/>
                  </a:lnTo>
                  <a:lnTo>
                    <a:pt x="19857" y="14857"/>
                  </a:lnTo>
                  <a:lnTo>
                    <a:pt x="19962" y="14940"/>
                  </a:lnTo>
                  <a:lnTo>
                    <a:pt x="20087" y="15087"/>
                  </a:lnTo>
                  <a:lnTo>
                    <a:pt x="20171" y="15129"/>
                  </a:lnTo>
                  <a:lnTo>
                    <a:pt x="20213" y="15087"/>
                  </a:lnTo>
                  <a:lnTo>
                    <a:pt x="20276" y="15129"/>
                  </a:lnTo>
                  <a:lnTo>
                    <a:pt x="20297" y="15170"/>
                  </a:lnTo>
                  <a:lnTo>
                    <a:pt x="20213" y="15233"/>
                  </a:lnTo>
                  <a:lnTo>
                    <a:pt x="20276" y="15296"/>
                  </a:lnTo>
                  <a:lnTo>
                    <a:pt x="20318" y="15359"/>
                  </a:lnTo>
                  <a:lnTo>
                    <a:pt x="20380" y="15359"/>
                  </a:lnTo>
                  <a:lnTo>
                    <a:pt x="20422" y="15275"/>
                  </a:lnTo>
                  <a:lnTo>
                    <a:pt x="20485" y="15087"/>
                  </a:lnTo>
                  <a:lnTo>
                    <a:pt x="20506" y="15045"/>
                  </a:lnTo>
                  <a:lnTo>
                    <a:pt x="20527" y="14982"/>
                  </a:lnTo>
                  <a:lnTo>
                    <a:pt x="20506" y="14877"/>
                  </a:lnTo>
                  <a:lnTo>
                    <a:pt x="20506" y="14836"/>
                  </a:lnTo>
                  <a:lnTo>
                    <a:pt x="20506" y="14710"/>
                  </a:lnTo>
                  <a:lnTo>
                    <a:pt x="20464" y="14626"/>
                  </a:lnTo>
                  <a:lnTo>
                    <a:pt x="20464" y="14564"/>
                  </a:lnTo>
                  <a:lnTo>
                    <a:pt x="20464" y="14543"/>
                  </a:lnTo>
                  <a:lnTo>
                    <a:pt x="20506" y="14564"/>
                  </a:lnTo>
                  <a:lnTo>
                    <a:pt x="20590" y="14605"/>
                  </a:lnTo>
                  <a:lnTo>
                    <a:pt x="20610" y="14605"/>
                  </a:lnTo>
                  <a:lnTo>
                    <a:pt x="20590" y="14543"/>
                  </a:lnTo>
                  <a:lnTo>
                    <a:pt x="20506" y="14459"/>
                  </a:lnTo>
                  <a:lnTo>
                    <a:pt x="20464" y="14354"/>
                  </a:lnTo>
                  <a:lnTo>
                    <a:pt x="20401" y="14313"/>
                  </a:lnTo>
                  <a:lnTo>
                    <a:pt x="20318" y="14292"/>
                  </a:lnTo>
                  <a:lnTo>
                    <a:pt x="19962" y="14292"/>
                  </a:lnTo>
                  <a:lnTo>
                    <a:pt x="19920" y="14208"/>
                  </a:lnTo>
                  <a:lnTo>
                    <a:pt x="19836" y="14145"/>
                  </a:lnTo>
                  <a:lnTo>
                    <a:pt x="19648" y="14145"/>
                  </a:lnTo>
                  <a:lnTo>
                    <a:pt x="19564" y="14187"/>
                  </a:lnTo>
                  <a:lnTo>
                    <a:pt x="19502" y="14187"/>
                  </a:lnTo>
                  <a:lnTo>
                    <a:pt x="19460" y="14124"/>
                  </a:lnTo>
                  <a:lnTo>
                    <a:pt x="19439" y="14103"/>
                  </a:lnTo>
                  <a:lnTo>
                    <a:pt x="19460" y="14041"/>
                  </a:lnTo>
                  <a:lnTo>
                    <a:pt x="19502" y="14103"/>
                  </a:lnTo>
                  <a:lnTo>
                    <a:pt x="19543" y="14124"/>
                  </a:lnTo>
                  <a:lnTo>
                    <a:pt x="19669" y="14103"/>
                  </a:lnTo>
                  <a:lnTo>
                    <a:pt x="19836" y="14082"/>
                  </a:lnTo>
                  <a:lnTo>
                    <a:pt x="19878" y="14124"/>
                  </a:lnTo>
                  <a:lnTo>
                    <a:pt x="19941" y="14103"/>
                  </a:lnTo>
                  <a:lnTo>
                    <a:pt x="20025" y="14082"/>
                  </a:lnTo>
                  <a:lnTo>
                    <a:pt x="20087" y="14103"/>
                  </a:lnTo>
                  <a:lnTo>
                    <a:pt x="20150" y="14124"/>
                  </a:lnTo>
                  <a:lnTo>
                    <a:pt x="20192" y="14103"/>
                  </a:lnTo>
                  <a:lnTo>
                    <a:pt x="20234" y="14082"/>
                  </a:lnTo>
                  <a:lnTo>
                    <a:pt x="20234" y="14020"/>
                  </a:lnTo>
                  <a:lnTo>
                    <a:pt x="20234" y="13915"/>
                  </a:lnTo>
                  <a:lnTo>
                    <a:pt x="20234" y="13873"/>
                  </a:lnTo>
                  <a:lnTo>
                    <a:pt x="20171" y="13831"/>
                  </a:lnTo>
                  <a:lnTo>
                    <a:pt x="20129" y="13873"/>
                  </a:lnTo>
                  <a:lnTo>
                    <a:pt x="20066" y="13894"/>
                  </a:lnTo>
                  <a:lnTo>
                    <a:pt x="19983" y="13873"/>
                  </a:lnTo>
                  <a:lnTo>
                    <a:pt x="19857" y="13873"/>
                  </a:lnTo>
                  <a:lnTo>
                    <a:pt x="19815" y="13810"/>
                  </a:lnTo>
                  <a:lnTo>
                    <a:pt x="19711" y="13706"/>
                  </a:lnTo>
                  <a:lnTo>
                    <a:pt x="19606" y="13727"/>
                  </a:lnTo>
                  <a:lnTo>
                    <a:pt x="19564" y="13789"/>
                  </a:lnTo>
                  <a:lnTo>
                    <a:pt x="19543" y="13789"/>
                  </a:lnTo>
                  <a:lnTo>
                    <a:pt x="19543" y="13685"/>
                  </a:lnTo>
                  <a:lnTo>
                    <a:pt x="19543" y="13601"/>
                  </a:lnTo>
                  <a:lnTo>
                    <a:pt x="19522" y="13538"/>
                  </a:lnTo>
                  <a:lnTo>
                    <a:pt x="19313" y="13538"/>
                  </a:lnTo>
                  <a:lnTo>
                    <a:pt x="19229" y="13497"/>
                  </a:lnTo>
                  <a:lnTo>
                    <a:pt x="19250" y="13455"/>
                  </a:lnTo>
                  <a:lnTo>
                    <a:pt x="19313" y="13455"/>
                  </a:lnTo>
                  <a:lnTo>
                    <a:pt x="19418" y="13476"/>
                  </a:lnTo>
                  <a:lnTo>
                    <a:pt x="19460" y="13455"/>
                  </a:lnTo>
                  <a:lnTo>
                    <a:pt x="19460" y="13392"/>
                  </a:lnTo>
                  <a:lnTo>
                    <a:pt x="19439" y="13371"/>
                  </a:lnTo>
                  <a:lnTo>
                    <a:pt x="19481" y="13308"/>
                  </a:lnTo>
                  <a:lnTo>
                    <a:pt x="19460" y="13266"/>
                  </a:lnTo>
                  <a:lnTo>
                    <a:pt x="19439" y="13204"/>
                  </a:lnTo>
                  <a:lnTo>
                    <a:pt x="19481" y="13162"/>
                  </a:lnTo>
                  <a:lnTo>
                    <a:pt x="19460" y="13078"/>
                  </a:lnTo>
                  <a:lnTo>
                    <a:pt x="19460" y="12994"/>
                  </a:lnTo>
                  <a:lnTo>
                    <a:pt x="19522" y="12973"/>
                  </a:lnTo>
                  <a:lnTo>
                    <a:pt x="19543" y="12994"/>
                  </a:lnTo>
                  <a:lnTo>
                    <a:pt x="19543" y="13078"/>
                  </a:lnTo>
                  <a:lnTo>
                    <a:pt x="19585" y="13141"/>
                  </a:lnTo>
                  <a:lnTo>
                    <a:pt x="19648" y="13162"/>
                  </a:lnTo>
                  <a:lnTo>
                    <a:pt x="19732" y="13078"/>
                  </a:lnTo>
                  <a:lnTo>
                    <a:pt x="19857" y="12953"/>
                  </a:lnTo>
                  <a:lnTo>
                    <a:pt x="19941" y="12932"/>
                  </a:lnTo>
                  <a:lnTo>
                    <a:pt x="19941" y="12890"/>
                  </a:lnTo>
                  <a:lnTo>
                    <a:pt x="19899" y="12869"/>
                  </a:lnTo>
                  <a:lnTo>
                    <a:pt x="19794" y="12848"/>
                  </a:lnTo>
                  <a:lnTo>
                    <a:pt x="19732" y="12848"/>
                  </a:lnTo>
                  <a:lnTo>
                    <a:pt x="19690" y="12827"/>
                  </a:lnTo>
                  <a:lnTo>
                    <a:pt x="19774" y="12785"/>
                  </a:lnTo>
                  <a:lnTo>
                    <a:pt x="19878" y="12785"/>
                  </a:lnTo>
                  <a:lnTo>
                    <a:pt x="19941" y="12827"/>
                  </a:lnTo>
                  <a:lnTo>
                    <a:pt x="19983" y="12827"/>
                  </a:lnTo>
                  <a:lnTo>
                    <a:pt x="19983" y="12764"/>
                  </a:lnTo>
                  <a:lnTo>
                    <a:pt x="19962" y="12743"/>
                  </a:lnTo>
                  <a:lnTo>
                    <a:pt x="20046" y="12722"/>
                  </a:lnTo>
                  <a:lnTo>
                    <a:pt x="20150" y="12722"/>
                  </a:lnTo>
                  <a:lnTo>
                    <a:pt x="20213" y="12785"/>
                  </a:lnTo>
                  <a:lnTo>
                    <a:pt x="20276" y="12827"/>
                  </a:lnTo>
                  <a:lnTo>
                    <a:pt x="20318" y="12785"/>
                  </a:lnTo>
                  <a:lnTo>
                    <a:pt x="20380" y="12827"/>
                  </a:lnTo>
                  <a:lnTo>
                    <a:pt x="20422" y="12890"/>
                  </a:lnTo>
                  <a:lnTo>
                    <a:pt x="20401" y="12973"/>
                  </a:lnTo>
                  <a:lnTo>
                    <a:pt x="20422" y="13036"/>
                  </a:lnTo>
                  <a:lnTo>
                    <a:pt x="20506" y="13057"/>
                  </a:lnTo>
                  <a:lnTo>
                    <a:pt x="20527" y="13036"/>
                  </a:lnTo>
                  <a:lnTo>
                    <a:pt x="20590" y="13057"/>
                  </a:lnTo>
                  <a:lnTo>
                    <a:pt x="20631" y="13141"/>
                  </a:lnTo>
                  <a:lnTo>
                    <a:pt x="20778" y="13183"/>
                  </a:lnTo>
                  <a:lnTo>
                    <a:pt x="20820" y="13266"/>
                  </a:lnTo>
                  <a:lnTo>
                    <a:pt x="20841" y="13287"/>
                  </a:lnTo>
                  <a:lnTo>
                    <a:pt x="20882" y="13245"/>
                  </a:lnTo>
                  <a:lnTo>
                    <a:pt x="20903" y="13141"/>
                  </a:lnTo>
                  <a:lnTo>
                    <a:pt x="20945" y="13057"/>
                  </a:lnTo>
                  <a:lnTo>
                    <a:pt x="21008" y="12890"/>
                  </a:lnTo>
                  <a:lnTo>
                    <a:pt x="21008" y="12848"/>
                  </a:lnTo>
                  <a:lnTo>
                    <a:pt x="21029" y="12722"/>
                  </a:lnTo>
                  <a:lnTo>
                    <a:pt x="21050" y="12555"/>
                  </a:lnTo>
                  <a:lnTo>
                    <a:pt x="21092" y="12513"/>
                  </a:lnTo>
                  <a:lnTo>
                    <a:pt x="21092" y="12429"/>
                  </a:lnTo>
                  <a:lnTo>
                    <a:pt x="21050" y="12346"/>
                  </a:lnTo>
                  <a:lnTo>
                    <a:pt x="20987" y="12304"/>
                  </a:lnTo>
                  <a:lnTo>
                    <a:pt x="20924" y="12241"/>
                  </a:lnTo>
                  <a:lnTo>
                    <a:pt x="20882" y="12241"/>
                  </a:lnTo>
                  <a:lnTo>
                    <a:pt x="20841" y="12199"/>
                  </a:lnTo>
                  <a:lnTo>
                    <a:pt x="20841" y="12136"/>
                  </a:lnTo>
                  <a:lnTo>
                    <a:pt x="20757" y="12136"/>
                  </a:lnTo>
                  <a:lnTo>
                    <a:pt x="20694" y="12220"/>
                  </a:lnTo>
                  <a:lnTo>
                    <a:pt x="20590" y="12325"/>
                  </a:lnTo>
                  <a:lnTo>
                    <a:pt x="20506" y="12346"/>
                  </a:lnTo>
                  <a:lnTo>
                    <a:pt x="20464" y="12304"/>
                  </a:lnTo>
                  <a:lnTo>
                    <a:pt x="20485" y="12241"/>
                  </a:lnTo>
                  <a:lnTo>
                    <a:pt x="20485" y="12157"/>
                  </a:lnTo>
                  <a:lnTo>
                    <a:pt x="20485" y="12136"/>
                  </a:lnTo>
                  <a:lnTo>
                    <a:pt x="20380" y="12116"/>
                  </a:lnTo>
                  <a:lnTo>
                    <a:pt x="20297" y="12116"/>
                  </a:lnTo>
                  <a:lnTo>
                    <a:pt x="20276" y="12053"/>
                  </a:lnTo>
                  <a:lnTo>
                    <a:pt x="20338" y="12032"/>
                  </a:lnTo>
                  <a:lnTo>
                    <a:pt x="20338" y="12011"/>
                  </a:lnTo>
                  <a:lnTo>
                    <a:pt x="20255" y="11948"/>
                  </a:lnTo>
                  <a:lnTo>
                    <a:pt x="20213" y="11906"/>
                  </a:lnTo>
                  <a:lnTo>
                    <a:pt x="20255" y="11885"/>
                  </a:lnTo>
                  <a:lnTo>
                    <a:pt x="20276" y="11906"/>
                  </a:lnTo>
                  <a:lnTo>
                    <a:pt x="20359" y="11927"/>
                  </a:lnTo>
                  <a:lnTo>
                    <a:pt x="20359" y="11885"/>
                  </a:lnTo>
                  <a:lnTo>
                    <a:pt x="20297" y="11802"/>
                  </a:lnTo>
                  <a:lnTo>
                    <a:pt x="20276" y="11718"/>
                  </a:lnTo>
                  <a:lnTo>
                    <a:pt x="20297" y="11676"/>
                  </a:lnTo>
                  <a:lnTo>
                    <a:pt x="20359" y="11634"/>
                  </a:lnTo>
                  <a:lnTo>
                    <a:pt x="20380" y="11676"/>
                  </a:lnTo>
                  <a:lnTo>
                    <a:pt x="20443" y="11697"/>
                  </a:lnTo>
                  <a:lnTo>
                    <a:pt x="20464" y="11739"/>
                  </a:lnTo>
                  <a:lnTo>
                    <a:pt x="20590" y="11885"/>
                  </a:lnTo>
                  <a:lnTo>
                    <a:pt x="20673" y="11927"/>
                  </a:lnTo>
                  <a:lnTo>
                    <a:pt x="20757" y="11906"/>
                  </a:lnTo>
                  <a:lnTo>
                    <a:pt x="20799" y="11844"/>
                  </a:lnTo>
                  <a:lnTo>
                    <a:pt x="20757" y="11718"/>
                  </a:lnTo>
                  <a:lnTo>
                    <a:pt x="20652" y="11613"/>
                  </a:lnTo>
                  <a:lnTo>
                    <a:pt x="20569" y="11572"/>
                  </a:lnTo>
                  <a:lnTo>
                    <a:pt x="20464" y="11530"/>
                  </a:lnTo>
                  <a:lnTo>
                    <a:pt x="20443" y="11404"/>
                  </a:lnTo>
                  <a:lnTo>
                    <a:pt x="20380" y="11320"/>
                  </a:lnTo>
                  <a:lnTo>
                    <a:pt x="20338" y="11258"/>
                  </a:lnTo>
                  <a:lnTo>
                    <a:pt x="20255" y="11216"/>
                  </a:lnTo>
                  <a:lnTo>
                    <a:pt x="20171" y="11174"/>
                  </a:lnTo>
                  <a:lnTo>
                    <a:pt x="20171" y="11111"/>
                  </a:lnTo>
                  <a:lnTo>
                    <a:pt x="20234" y="11069"/>
                  </a:lnTo>
                  <a:lnTo>
                    <a:pt x="20234" y="11007"/>
                  </a:lnTo>
                  <a:lnTo>
                    <a:pt x="20192" y="10986"/>
                  </a:lnTo>
                  <a:lnTo>
                    <a:pt x="20192" y="10944"/>
                  </a:lnTo>
                  <a:lnTo>
                    <a:pt x="20255" y="10881"/>
                  </a:lnTo>
                  <a:lnTo>
                    <a:pt x="20297" y="10881"/>
                  </a:lnTo>
                  <a:lnTo>
                    <a:pt x="20359" y="10860"/>
                  </a:lnTo>
                  <a:lnTo>
                    <a:pt x="20443" y="10881"/>
                  </a:lnTo>
                  <a:lnTo>
                    <a:pt x="20485" y="10944"/>
                  </a:lnTo>
                  <a:lnTo>
                    <a:pt x="20401" y="10986"/>
                  </a:lnTo>
                  <a:lnTo>
                    <a:pt x="20464" y="10986"/>
                  </a:lnTo>
                  <a:lnTo>
                    <a:pt x="20548" y="11048"/>
                  </a:lnTo>
                  <a:lnTo>
                    <a:pt x="20548" y="11090"/>
                  </a:lnTo>
                  <a:lnTo>
                    <a:pt x="20569" y="11174"/>
                  </a:lnTo>
                  <a:lnTo>
                    <a:pt x="20652" y="11195"/>
                  </a:lnTo>
                  <a:lnTo>
                    <a:pt x="20757" y="11111"/>
                  </a:lnTo>
                  <a:lnTo>
                    <a:pt x="20799" y="10986"/>
                  </a:lnTo>
                  <a:lnTo>
                    <a:pt x="20820" y="10860"/>
                  </a:lnTo>
                  <a:lnTo>
                    <a:pt x="20882" y="10776"/>
                  </a:lnTo>
                  <a:lnTo>
                    <a:pt x="20903" y="10735"/>
                  </a:lnTo>
                  <a:lnTo>
                    <a:pt x="20882" y="10588"/>
                  </a:lnTo>
                  <a:lnTo>
                    <a:pt x="20966" y="10525"/>
                  </a:lnTo>
                  <a:lnTo>
                    <a:pt x="21029" y="10463"/>
                  </a:lnTo>
                  <a:lnTo>
                    <a:pt x="21071" y="10316"/>
                  </a:lnTo>
                  <a:lnTo>
                    <a:pt x="21029" y="10212"/>
                  </a:lnTo>
                  <a:lnTo>
                    <a:pt x="20987" y="10128"/>
                  </a:lnTo>
                  <a:lnTo>
                    <a:pt x="21029" y="9919"/>
                  </a:lnTo>
                  <a:lnTo>
                    <a:pt x="21092" y="9751"/>
                  </a:lnTo>
                  <a:lnTo>
                    <a:pt x="21092" y="9605"/>
                  </a:lnTo>
                  <a:lnTo>
                    <a:pt x="21175" y="9521"/>
                  </a:lnTo>
                  <a:lnTo>
                    <a:pt x="21175" y="9437"/>
                  </a:lnTo>
                  <a:lnTo>
                    <a:pt x="21196" y="9312"/>
                  </a:lnTo>
                  <a:lnTo>
                    <a:pt x="21196" y="9165"/>
                  </a:lnTo>
                  <a:lnTo>
                    <a:pt x="21280" y="9082"/>
                  </a:lnTo>
                  <a:lnTo>
                    <a:pt x="21343" y="8956"/>
                  </a:lnTo>
                  <a:lnTo>
                    <a:pt x="21531" y="8684"/>
                  </a:lnTo>
                  <a:lnTo>
                    <a:pt x="21615" y="8538"/>
                  </a:lnTo>
                  <a:lnTo>
                    <a:pt x="21761" y="8391"/>
                  </a:lnTo>
                  <a:lnTo>
                    <a:pt x="21824" y="8287"/>
                  </a:lnTo>
                  <a:lnTo>
                    <a:pt x="21908" y="8224"/>
                  </a:lnTo>
                  <a:lnTo>
                    <a:pt x="21950" y="8077"/>
                  </a:lnTo>
                  <a:lnTo>
                    <a:pt x="22075" y="7973"/>
                  </a:lnTo>
                  <a:lnTo>
                    <a:pt x="22117" y="7952"/>
                  </a:lnTo>
                  <a:lnTo>
                    <a:pt x="22075" y="7910"/>
                  </a:lnTo>
                  <a:lnTo>
                    <a:pt x="22012" y="7847"/>
                  </a:lnTo>
                  <a:lnTo>
                    <a:pt x="21908" y="7826"/>
                  </a:lnTo>
                  <a:lnTo>
                    <a:pt x="21845" y="7763"/>
                  </a:lnTo>
                  <a:lnTo>
                    <a:pt x="21803" y="7722"/>
                  </a:lnTo>
                  <a:lnTo>
                    <a:pt x="21719" y="7743"/>
                  </a:lnTo>
                  <a:lnTo>
                    <a:pt x="21552" y="7805"/>
                  </a:lnTo>
                  <a:lnTo>
                    <a:pt x="21406" y="7847"/>
                  </a:lnTo>
                  <a:lnTo>
                    <a:pt x="21280" y="7910"/>
                  </a:lnTo>
                  <a:lnTo>
                    <a:pt x="21196" y="8015"/>
                  </a:lnTo>
                  <a:lnTo>
                    <a:pt x="21092" y="8056"/>
                  </a:lnTo>
                  <a:lnTo>
                    <a:pt x="21071" y="8119"/>
                  </a:lnTo>
                  <a:lnTo>
                    <a:pt x="21008" y="8140"/>
                  </a:lnTo>
                  <a:lnTo>
                    <a:pt x="20903" y="8077"/>
                  </a:lnTo>
                  <a:lnTo>
                    <a:pt x="20862" y="8035"/>
                  </a:lnTo>
                  <a:lnTo>
                    <a:pt x="20862" y="7973"/>
                  </a:lnTo>
                  <a:lnTo>
                    <a:pt x="20924" y="7973"/>
                  </a:lnTo>
                  <a:lnTo>
                    <a:pt x="20987" y="7952"/>
                  </a:lnTo>
                  <a:lnTo>
                    <a:pt x="20987" y="7847"/>
                  </a:lnTo>
                  <a:lnTo>
                    <a:pt x="20966" y="7805"/>
                  </a:lnTo>
                  <a:lnTo>
                    <a:pt x="20882" y="7805"/>
                  </a:lnTo>
                  <a:lnTo>
                    <a:pt x="20820" y="7763"/>
                  </a:lnTo>
                  <a:lnTo>
                    <a:pt x="20903" y="7743"/>
                  </a:lnTo>
                  <a:lnTo>
                    <a:pt x="20966" y="7701"/>
                  </a:lnTo>
                  <a:lnTo>
                    <a:pt x="21071" y="7617"/>
                  </a:lnTo>
                  <a:lnTo>
                    <a:pt x="21134" y="7491"/>
                  </a:lnTo>
                  <a:lnTo>
                    <a:pt x="21238" y="7408"/>
                  </a:lnTo>
                  <a:lnTo>
                    <a:pt x="21322" y="7408"/>
                  </a:lnTo>
                  <a:lnTo>
                    <a:pt x="21447" y="7429"/>
                  </a:lnTo>
                  <a:lnTo>
                    <a:pt x="21698" y="7617"/>
                  </a:lnTo>
                  <a:lnTo>
                    <a:pt x="21761" y="7659"/>
                  </a:lnTo>
                  <a:lnTo>
                    <a:pt x="21970" y="7659"/>
                  </a:lnTo>
                  <a:lnTo>
                    <a:pt x="22075" y="7638"/>
                  </a:lnTo>
                  <a:lnTo>
                    <a:pt x="22180" y="7659"/>
                  </a:lnTo>
                  <a:lnTo>
                    <a:pt x="22389" y="7617"/>
                  </a:lnTo>
                  <a:lnTo>
                    <a:pt x="22494" y="7554"/>
                  </a:lnTo>
                  <a:lnTo>
                    <a:pt x="22494" y="7491"/>
                  </a:lnTo>
                  <a:lnTo>
                    <a:pt x="22473" y="7429"/>
                  </a:lnTo>
                  <a:lnTo>
                    <a:pt x="22515" y="7429"/>
                  </a:lnTo>
                  <a:lnTo>
                    <a:pt x="22598" y="7408"/>
                  </a:lnTo>
                  <a:lnTo>
                    <a:pt x="22682" y="7324"/>
                  </a:lnTo>
                  <a:lnTo>
                    <a:pt x="22682" y="7240"/>
                  </a:lnTo>
                  <a:lnTo>
                    <a:pt x="22640" y="7178"/>
                  </a:lnTo>
                  <a:lnTo>
                    <a:pt x="22535" y="7136"/>
                  </a:lnTo>
                  <a:lnTo>
                    <a:pt x="22473" y="7094"/>
                  </a:lnTo>
                  <a:lnTo>
                    <a:pt x="22431" y="7073"/>
                  </a:lnTo>
                  <a:lnTo>
                    <a:pt x="22347" y="7073"/>
                  </a:lnTo>
                  <a:lnTo>
                    <a:pt x="22263" y="7136"/>
                  </a:lnTo>
                  <a:lnTo>
                    <a:pt x="22222" y="7136"/>
                  </a:lnTo>
                  <a:lnTo>
                    <a:pt x="22138" y="7073"/>
                  </a:lnTo>
                  <a:lnTo>
                    <a:pt x="21908" y="7073"/>
                  </a:lnTo>
                  <a:lnTo>
                    <a:pt x="21761" y="7031"/>
                  </a:lnTo>
                  <a:lnTo>
                    <a:pt x="21657" y="6989"/>
                  </a:lnTo>
                  <a:lnTo>
                    <a:pt x="21594" y="6989"/>
                  </a:lnTo>
                  <a:lnTo>
                    <a:pt x="21510" y="7010"/>
                  </a:lnTo>
                  <a:lnTo>
                    <a:pt x="21196" y="7010"/>
                  </a:lnTo>
                  <a:lnTo>
                    <a:pt x="21092" y="6968"/>
                  </a:lnTo>
                  <a:lnTo>
                    <a:pt x="21196" y="6968"/>
                  </a:lnTo>
                  <a:lnTo>
                    <a:pt x="21301" y="6989"/>
                  </a:lnTo>
                  <a:lnTo>
                    <a:pt x="21406" y="6927"/>
                  </a:lnTo>
                  <a:lnTo>
                    <a:pt x="21531" y="6906"/>
                  </a:lnTo>
                  <a:lnTo>
                    <a:pt x="21636" y="6927"/>
                  </a:lnTo>
                  <a:lnTo>
                    <a:pt x="21740" y="6968"/>
                  </a:lnTo>
                  <a:lnTo>
                    <a:pt x="21782" y="6927"/>
                  </a:lnTo>
                  <a:lnTo>
                    <a:pt x="21845" y="6885"/>
                  </a:lnTo>
                  <a:lnTo>
                    <a:pt x="21950" y="6885"/>
                  </a:lnTo>
                  <a:lnTo>
                    <a:pt x="21991" y="6822"/>
                  </a:lnTo>
                  <a:lnTo>
                    <a:pt x="22054" y="6801"/>
                  </a:lnTo>
                  <a:lnTo>
                    <a:pt x="22138" y="6822"/>
                  </a:lnTo>
                  <a:lnTo>
                    <a:pt x="22180" y="6822"/>
                  </a:lnTo>
                  <a:lnTo>
                    <a:pt x="22201" y="6780"/>
                  </a:lnTo>
                  <a:lnTo>
                    <a:pt x="22242" y="6759"/>
                  </a:lnTo>
                  <a:lnTo>
                    <a:pt x="22284" y="6759"/>
                  </a:lnTo>
                  <a:lnTo>
                    <a:pt x="22305" y="6780"/>
                  </a:lnTo>
                  <a:lnTo>
                    <a:pt x="22368" y="6801"/>
                  </a:lnTo>
                  <a:lnTo>
                    <a:pt x="22410" y="6822"/>
                  </a:lnTo>
                  <a:lnTo>
                    <a:pt x="22515" y="6822"/>
                  </a:lnTo>
                  <a:lnTo>
                    <a:pt x="22619" y="6864"/>
                  </a:lnTo>
                  <a:lnTo>
                    <a:pt x="22703" y="6906"/>
                  </a:lnTo>
                  <a:lnTo>
                    <a:pt x="22891" y="6906"/>
                  </a:lnTo>
                  <a:lnTo>
                    <a:pt x="22996" y="6822"/>
                  </a:lnTo>
                  <a:lnTo>
                    <a:pt x="23184" y="6759"/>
                  </a:lnTo>
                  <a:lnTo>
                    <a:pt x="23331" y="6759"/>
                  </a:lnTo>
                  <a:lnTo>
                    <a:pt x="23351" y="6675"/>
                  </a:lnTo>
                  <a:lnTo>
                    <a:pt x="23351" y="6592"/>
                  </a:lnTo>
                  <a:lnTo>
                    <a:pt x="23310" y="6571"/>
                  </a:lnTo>
                  <a:lnTo>
                    <a:pt x="23247" y="6487"/>
                  </a:lnTo>
                  <a:lnTo>
                    <a:pt x="23247" y="6445"/>
                  </a:lnTo>
                  <a:lnTo>
                    <a:pt x="23226" y="6403"/>
                  </a:lnTo>
                  <a:lnTo>
                    <a:pt x="23226" y="6362"/>
                  </a:lnTo>
                  <a:lnTo>
                    <a:pt x="23289" y="6257"/>
                  </a:lnTo>
                  <a:lnTo>
                    <a:pt x="23351" y="6194"/>
                  </a:lnTo>
                  <a:lnTo>
                    <a:pt x="23414" y="6194"/>
                  </a:lnTo>
                  <a:lnTo>
                    <a:pt x="23561" y="6299"/>
                  </a:lnTo>
                  <a:lnTo>
                    <a:pt x="23644" y="6341"/>
                  </a:lnTo>
                  <a:lnTo>
                    <a:pt x="23707" y="6299"/>
                  </a:lnTo>
                  <a:lnTo>
                    <a:pt x="23749" y="6236"/>
                  </a:lnTo>
                  <a:lnTo>
                    <a:pt x="23854" y="6069"/>
                  </a:lnTo>
                  <a:lnTo>
                    <a:pt x="23958" y="5985"/>
                  </a:lnTo>
                  <a:lnTo>
                    <a:pt x="24042" y="5964"/>
                  </a:lnTo>
                  <a:lnTo>
                    <a:pt x="24063" y="5922"/>
                  </a:lnTo>
                  <a:lnTo>
                    <a:pt x="24167" y="5838"/>
                  </a:lnTo>
                  <a:lnTo>
                    <a:pt x="24272" y="5776"/>
                  </a:lnTo>
                  <a:lnTo>
                    <a:pt x="24335" y="5713"/>
                  </a:lnTo>
                  <a:lnTo>
                    <a:pt x="24335" y="5566"/>
                  </a:lnTo>
                  <a:lnTo>
                    <a:pt x="24272" y="5420"/>
                  </a:lnTo>
                  <a:lnTo>
                    <a:pt x="24188" y="5336"/>
                  </a:lnTo>
                  <a:lnTo>
                    <a:pt x="24167" y="5253"/>
                  </a:lnTo>
                  <a:lnTo>
                    <a:pt x="24021" y="5127"/>
                  </a:lnTo>
                  <a:lnTo>
                    <a:pt x="24021" y="5085"/>
                  </a:lnTo>
                  <a:lnTo>
                    <a:pt x="23958" y="5002"/>
                  </a:lnTo>
                  <a:lnTo>
                    <a:pt x="23854" y="4939"/>
                  </a:lnTo>
                  <a:lnTo>
                    <a:pt x="23812" y="4939"/>
                  </a:lnTo>
                  <a:lnTo>
                    <a:pt x="23728" y="4876"/>
                  </a:lnTo>
                  <a:lnTo>
                    <a:pt x="23623" y="4813"/>
                  </a:lnTo>
                  <a:lnTo>
                    <a:pt x="23498" y="4813"/>
                  </a:lnTo>
                  <a:lnTo>
                    <a:pt x="23331" y="4771"/>
                  </a:lnTo>
                  <a:lnTo>
                    <a:pt x="23184" y="4688"/>
                  </a:lnTo>
                  <a:lnTo>
                    <a:pt x="23038" y="4667"/>
                  </a:lnTo>
                  <a:lnTo>
                    <a:pt x="22975" y="4688"/>
                  </a:lnTo>
                  <a:lnTo>
                    <a:pt x="22828" y="4688"/>
                  </a:lnTo>
                  <a:lnTo>
                    <a:pt x="22682" y="4730"/>
                  </a:lnTo>
                  <a:lnTo>
                    <a:pt x="22619" y="4792"/>
                  </a:lnTo>
                  <a:lnTo>
                    <a:pt x="22515" y="4834"/>
                  </a:lnTo>
                  <a:lnTo>
                    <a:pt x="22410" y="4792"/>
                  </a:lnTo>
                  <a:lnTo>
                    <a:pt x="22389" y="4730"/>
                  </a:lnTo>
                  <a:lnTo>
                    <a:pt x="22347" y="4771"/>
                  </a:lnTo>
                  <a:lnTo>
                    <a:pt x="22305" y="4834"/>
                  </a:lnTo>
                  <a:lnTo>
                    <a:pt x="22347" y="4918"/>
                  </a:lnTo>
                  <a:lnTo>
                    <a:pt x="22347" y="5022"/>
                  </a:lnTo>
                  <a:lnTo>
                    <a:pt x="22284" y="5106"/>
                  </a:lnTo>
                  <a:lnTo>
                    <a:pt x="22242" y="5106"/>
                  </a:lnTo>
                  <a:lnTo>
                    <a:pt x="22242" y="5148"/>
                  </a:lnTo>
                  <a:lnTo>
                    <a:pt x="22263" y="5211"/>
                  </a:lnTo>
                  <a:lnTo>
                    <a:pt x="22242" y="5294"/>
                  </a:lnTo>
                  <a:lnTo>
                    <a:pt x="22138" y="5336"/>
                  </a:lnTo>
                  <a:lnTo>
                    <a:pt x="22033" y="5336"/>
                  </a:lnTo>
                  <a:lnTo>
                    <a:pt x="21970" y="5253"/>
                  </a:lnTo>
                  <a:lnTo>
                    <a:pt x="21970" y="5190"/>
                  </a:lnTo>
                  <a:lnTo>
                    <a:pt x="21929" y="5148"/>
                  </a:lnTo>
                  <a:lnTo>
                    <a:pt x="21866" y="5211"/>
                  </a:lnTo>
                  <a:lnTo>
                    <a:pt x="21866" y="5315"/>
                  </a:lnTo>
                  <a:lnTo>
                    <a:pt x="21887" y="5336"/>
                  </a:lnTo>
                  <a:lnTo>
                    <a:pt x="21845" y="5420"/>
                  </a:lnTo>
                  <a:lnTo>
                    <a:pt x="21824" y="5525"/>
                  </a:lnTo>
                  <a:lnTo>
                    <a:pt x="21782" y="5566"/>
                  </a:lnTo>
                  <a:lnTo>
                    <a:pt x="21782" y="5504"/>
                  </a:lnTo>
                  <a:lnTo>
                    <a:pt x="21824" y="5441"/>
                  </a:lnTo>
                  <a:lnTo>
                    <a:pt x="21782" y="5315"/>
                  </a:lnTo>
                  <a:lnTo>
                    <a:pt x="21740" y="5232"/>
                  </a:lnTo>
                  <a:lnTo>
                    <a:pt x="21761" y="5148"/>
                  </a:lnTo>
                  <a:lnTo>
                    <a:pt x="21761" y="5064"/>
                  </a:lnTo>
                  <a:lnTo>
                    <a:pt x="21719" y="5002"/>
                  </a:lnTo>
                  <a:lnTo>
                    <a:pt x="21719" y="4918"/>
                  </a:lnTo>
                  <a:lnTo>
                    <a:pt x="21657" y="4939"/>
                  </a:lnTo>
                  <a:lnTo>
                    <a:pt x="21636" y="5002"/>
                  </a:lnTo>
                  <a:lnTo>
                    <a:pt x="21552" y="5064"/>
                  </a:lnTo>
                  <a:lnTo>
                    <a:pt x="21552" y="5148"/>
                  </a:lnTo>
                  <a:lnTo>
                    <a:pt x="21531" y="5253"/>
                  </a:lnTo>
                  <a:lnTo>
                    <a:pt x="21364" y="5420"/>
                  </a:lnTo>
                  <a:lnTo>
                    <a:pt x="21301" y="5483"/>
                  </a:lnTo>
                  <a:lnTo>
                    <a:pt x="21217" y="5483"/>
                  </a:lnTo>
                  <a:lnTo>
                    <a:pt x="21154" y="5546"/>
                  </a:lnTo>
                  <a:lnTo>
                    <a:pt x="21050" y="5629"/>
                  </a:lnTo>
                  <a:lnTo>
                    <a:pt x="20945" y="5629"/>
                  </a:lnTo>
                  <a:lnTo>
                    <a:pt x="20841" y="5734"/>
                  </a:lnTo>
                  <a:lnTo>
                    <a:pt x="20694" y="5818"/>
                  </a:lnTo>
                  <a:lnTo>
                    <a:pt x="20422" y="5818"/>
                  </a:lnTo>
                  <a:lnTo>
                    <a:pt x="20422" y="5859"/>
                  </a:lnTo>
                  <a:lnTo>
                    <a:pt x="20359" y="5901"/>
                  </a:lnTo>
                  <a:lnTo>
                    <a:pt x="20255" y="5901"/>
                  </a:lnTo>
                  <a:lnTo>
                    <a:pt x="20171" y="5880"/>
                  </a:lnTo>
                  <a:lnTo>
                    <a:pt x="20087" y="5943"/>
                  </a:lnTo>
                  <a:lnTo>
                    <a:pt x="19711" y="6131"/>
                  </a:lnTo>
                  <a:lnTo>
                    <a:pt x="19522" y="6278"/>
                  </a:lnTo>
                  <a:lnTo>
                    <a:pt x="19502" y="6382"/>
                  </a:lnTo>
                  <a:lnTo>
                    <a:pt x="19439" y="6403"/>
                  </a:lnTo>
                  <a:lnTo>
                    <a:pt x="19229" y="6571"/>
                  </a:lnTo>
                  <a:lnTo>
                    <a:pt x="19125" y="6675"/>
                  </a:lnTo>
                  <a:lnTo>
                    <a:pt x="19104" y="6613"/>
                  </a:lnTo>
                  <a:lnTo>
                    <a:pt x="19083" y="6613"/>
                  </a:lnTo>
                  <a:lnTo>
                    <a:pt x="18978" y="6696"/>
                  </a:lnTo>
                  <a:lnTo>
                    <a:pt x="18895" y="6822"/>
                  </a:lnTo>
                  <a:lnTo>
                    <a:pt x="18790" y="6968"/>
                  </a:lnTo>
                  <a:lnTo>
                    <a:pt x="18769" y="7031"/>
                  </a:lnTo>
                  <a:lnTo>
                    <a:pt x="18727" y="7094"/>
                  </a:lnTo>
                  <a:lnTo>
                    <a:pt x="18706" y="7031"/>
                  </a:lnTo>
                  <a:lnTo>
                    <a:pt x="18748" y="6906"/>
                  </a:lnTo>
                  <a:lnTo>
                    <a:pt x="18748" y="6801"/>
                  </a:lnTo>
                  <a:lnTo>
                    <a:pt x="18748" y="6696"/>
                  </a:lnTo>
                  <a:lnTo>
                    <a:pt x="18853" y="6696"/>
                  </a:lnTo>
                  <a:lnTo>
                    <a:pt x="18895" y="6654"/>
                  </a:lnTo>
                  <a:lnTo>
                    <a:pt x="19020" y="6550"/>
                  </a:lnTo>
                  <a:lnTo>
                    <a:pt x="19104" y="6508"/>
                  </a:lnTo>
                  <a:lnTo>
                    <a:pt x="19209" y="6403"/>
                  </a:lnTo>
                  <a:lnTo>
                    <a:pt x="19355" y="6278"/>
                  </a:lnTo>
                  <a:lnTo>
                    <a:pt x="19418" y="6194"/>
                  </a:lnTo>
                  <a:lnTo>
                    <a:pt x="19522" y="6152"/>
                  </a:lnTo>
                  <a:lnTo>
                    <a:pt x="19627" y="5985"/>
                  </a:lnTo>
                  <a:lnTo>
                    <a:pt x="19669" y="5922"/>
                  </a:lnTo>
                  <a:lnTo>
                    <a:pt x="19648" y="5838"/>
                  </a:lnTo>
                  <a:lnTo>
                    <a:pt x="19669" y="5776"/>
                  </a:lnTo>
                  <a:lnTo>
                    <a:pt x="19690" y="5818"/>
                  </a:lnTo>
                  <a:lnTo>
                    <a:pt x="19753" y="5838"/>
                  </a:lnTo>
                  <a:lnTo>
                    <a:pt x="19836" y="5755"/>
                  </a:lnTo>
                  <a:lnTo>
                    <a:pt x="19941" y="5713"/>
                  </a:lnTo>
                  <a:lnTo>
                    <a:pt x="19941" y="5629"/>
                  </a:lnTo>
                  <a:lnTo>
                    <a:pt x="20004" y="5504"/>
                  </a:lnTo>
                  <a:lnTo>
                    <a:pt x="20066" y="5462"/>
                  </a:lnTo>
                  <a:lnTo>
                    <a:pt x="20150" y="5504"/>
                  </a:lnTo>
                  <a:lnTo>
                    <a:pt x="20213" y="5420"/>
                  </a:lnTo>
                  <a:lnTo>
                    <a:pt x="20297" y="5399"/>
                  </a:lnTo>
                  <a:lnTo>
                    <a:pt x="20318" y="5420"/>
                  </a:lnTo>
                  <a:lnTo>
                    <a:pt x="20401" y="5420"/>
                  </a:lnTo>
                  <a:lnTo>
                    <a:pt x="20715" y="5127"/>
                  </a:lnTo>
                  <a:lnTo>
                    <a:pt x="20778" y="5022"/>
                  </a:lnTo>
                  <a:lnTo>
                    <a:pt x="20799" y="4897"/>
                  </a:lnTo>
                  <a:lnTo>
                    <a:pt x="20882" y="4709"/>
                  </a:lnTo>
                  <a:lnTo>
                    <a:pt x="20987" y="4583"/>
                  </a:lnTo>
                  <a:lnTo>
                    <a:pt x="20987" y="4458"/>
                  </a:lnTo>
                  <a:lnTo>
                    <a:pt x="20987" y="4269"/>
                  </a:lnTo>
                  <a:lnTo>
                    <a:pt x="20945" y="4165"/>
                  </a:lnTo>
                  <a:lnTo>
                    <a:pt x="20882" y="4144"/>
                  </a:lnTo>
                  <a:lnTo>
                    <a:pt x="20736" y="4165"/>
                  </a:lnTo>
                  <a:lnTo>
                    <a:pt x="20590" y="4165"/>
                  </a:lnTo>
                  <a:lnTo>
                    <a:pt x="20464" y="4102"/>
                  </a:lnTo>
                  <a:lnTo>
                    <a:pt x="20318" y="4102"/>
                  </a:lnTo>
                  <a:lnTo>
                    <a:pt x="20255" y="4165"/>
                  </a:lnTo>
                  <a:lnTo>
                    <a:pt x="20213" y="4248"/>
                  </a:lnTo>
                  <a:lnTo>
                    <a:pt x="20255" y="4290"/>
                  </a:lnTo>
                  <a:lnTo>
                    <a:pt x="20213" y="4353"/>
                  </a:lnTo>
                  <a:lnTo>
                    <a:pt x="20213" y="4499"/>
                  </a:lnTo>
                  <a:lnTo>
                    <a:pt x="20171" y="4646"/>
                  </a:lnTo>
                  <a:lnTo>
                    <a:pt x="20066" y="4792"/>
                  </a:lnTo>
                  <a:lnTo>
                    <a:pt x="20004" y="4730"/>
                  </a:lnTo>
                  <a:lnTo>
                    <a:pt x="19941" y="4709"/>
                  </a:lnTo>
                  <a:lnTo>
                    <a:pt x="19899" y="4709"/>
                  </a:lnTo>
                  <a:lnTo>
                    <a:pt x="19857" y="4771"/>
                  </a:lnTo>
                  <a:lnTo>
                    <a:pt x="19794" y="4792"/>
                  </a:lnTo>
                  <a:lnTo>
                    <a:pt x="19732" y="4730"/>
                  </a:lnTo>
                  <a:lnTo>
                    <a:pt x="19669" y="4730"/>
                  </a:lnTo>
                  <a:cubicBezTo>
                    <a:pt x="19669" y="4730"/>
                    <a:pt x="19481" y="4688"/>
                    <a:pt x="19481" y="4646"/>
                  </a:cubicBezTo>
                  <a:lnTo>
                    <a:pt x="19271" y="4646"/>
                  </a:lnTo>
                  <a:lnTo>
                    <a:pt x="19167" y="4709"/>
                  </a:lnTo>
                  <a:lnTo>
                    <a:pt x="19020" y="4730"/>
                  </a:lnTo>
                  <a:lnTo>
                    <a:pt x="18895" y="4792"/>
                  </a:lnTo>
                  <a:lnTo>
                    <a:pt x="18832" y="4750"/>
                  </a:lnTo>
                  <a:lnTo>
                    <a:pt x="18832" y="4709"/>
                  </a:lnTo>
                  <a:lnTo>
                    <a:pt x="18853" y="4625"/>
                  </a:lnTo>
                  <a:lnTo>
                    <a:pt x="18853" y="4541"/>
                  </a:lnTo>
                  <a:lnTo>
                    <a:pt x="18895" y="4478"/>
                  </a:lnTo>
                  <a:lnTo>
                    <a:pt x="18916" y="4478"/>
                  </a:lnTo>
                  <a:lnTo>
                    <a:pt x="18957" y="4499"/>
                  </a:lnTo>
                  <a:lnTo>
                    <a:pt x="19020" y="4499"/>
                  </a:lnTo>
                  <a:lnTo>
                    <a:pt x="19146" y="4437"/>
                  </a:lnTo>
                  <a:lnTo>
                    <a:pt x="19439" y="4416"/>
                  </a:lnTo>
                  <a:lnTo>
                    <a:pt x="19481" y="4395"/>
                  </a:lnTo>
                  <a:lnTo>
                    <a:pt x="19543" y="4290"/>
                  </a:lnTo>
                  <a:lnTo>
                    <a:pt x="19564" y="4206"/>
                  </a:lnTo>
                  <a:lnTo>
                    <a:pt x="19648" y="4165"/>
                  </a:lnTo>
                  <a:lnTo>
                    <a:pt x="19669" y="4102"/>
                  </a:lnTo>
                  <a:lnTo>
                    <a:pt x="19627" y="4060"/>
                  </a:lnTo>
                  <a:lnTo>
                    <a:pt x="19627" y="3997"/>
                  </a:lnTo>
                  <a:lnTo>
                    <a:pt x="19313" y="3997"/>
                  </a:lnTo>
                  <a:lnTo>
                    <a:pt x="19125" y="3955"/>
                  </a:lnTo>
                  <a:lnTo>
                    <a:pt x="19020" y="3893"/>
                  </a:lnTo>
                  <a:lnTo>
                    <a:pt x="18937" y="3872"/>
                  </a:lnTo>
                  <a:lnTo>
                    <a:pt x="18685" y="3893"/>
                  </a:lnTo>
                  <a:lnTo>
                    <a:pt x="18560" y="3872"/>
                  </a:lnTo>
                  <a:lnTo>
                    <a:pt x="18455" y="3830"/>
                  </a:lnTo>
                  <a:lnTo>
                    <a:pt x="18288" y="3830"/>
                  </a:lnTo>
                  <a:lnTo>
                    <a:pt x="18162" y="3851"/>
                  </a:lnTo>
                  <a:lnTo>
                    <a:pt x="18100" y="3830"/>
                  </a:lnTo>
                  <a:lnTo>
                    <a:pt x="17995" y="3788"/>
                  </a:lnTo>
                  <a:lnTo>
                    <a:pt x="17932" y="3788"/>
                  </a:lnTo>
                  <a:lnTo>
                    <a:pt x="17849" y="3893"/>
                  </a:lnTo>
                  <a:lnTo>
                    <a:pt x="17849" y="3976"/>
                  </a:lnTo>
                  <a:lnTo>
                    <a:pt x="17765" y="4039"/>
                  </a:lnTo>
                  <a:lnTo>
                    <a:pt x="17744" y="4039"/>
                  </a:lnTo>
                  <a:lnTo>
                    <a:pt x="17765" y="3955"/>
                  </a:lnTo>
                  <a:lnTo>
                    <a:pt x="17765" y="3934"/>
                  </a:lnTo>
                  <a:lnTo>
                    <a:pt x="17681" y="3934"/>
                  </a:lnTo>
                  <a:lnTo>
                    <a:pt x="17451" y="3997"/>
                  </a:lnTo>
                  <a:lnTo>
                    <a:pt x="17305" y="4060"/>
                  </a:lnTo>
                  <a:lnTo>
                    <a:pt x="17221" y="4144"/>
                  </a:lnTo>
                  <a:lnTo>
                    <a:pt x="17158" y="4186"/>
                  </a:lnTo>
                  <a:lnTo>
                    <a:pt x="17053" y="4186"/>
                  </a:lnTo>
                  <a:lnTo>
                    <a:pt x="16949" y="4206"/>
                  </a:lnTo>
                  <a:lnTo>
                    <a:pt x="16886" y="4269"/>
                  </a:lnTo>
                  <a:lnTo>
                    <a:pt x="16781" y="4290"/>
                  </a:lnTo>
                  <a:lnTo>
                    <a:pt x="16698" y="4374"/>
                  </a:lnTo>
                  <a:lnTo>
                    <a:pt x="16698" y="4458"/>
                  </a:lnTo>
                  <a:lnTo>
                    <a:pt x="16635" y="4520"/>
                  </a:lnTo>
                  <a:lnTo>
                    <a:pt x="16593" y="4520"/>
                  </a:lnTo>
                  <a:lnTo>
                    <a:pt x="16530" y="4458"/>
                  </a:lnTo>
                  <a:lnTo>
                    <a:pt x="16530" y="4374"/>
                  </a:lnTo>
                  <a:lnTo>
                    <a:pt x="16509" y="4290"/>
                  </a:lnTo>
                  <a:lnTo>
                    <a:pt x="16468" y="4248"/>
                  </a:lnTo>
                  <a:lnTo>
                    <a:pt x="16468" y="4165"/>
                  </a:lnTo>
                  <a:lnTo>
                    <a:pt x="16509" y="4081"/>
                  </a:lnTo>
                  <a:lnTo>
                    <a:pt x="16593" y="4081"/>
                  </a:lnTo>
                  <a:lnTo>
                    <a:pt x="16698" y="4039"/>
                  </a:lnTo>
                  <a:lnTo>
                    <a:pt x="16802" y="4039"/>
                  </a:lnTo>
                  <a:lnTo>
                    <a:pt x="16886" y="3997"/>
                  </a:lnTo>
                  <a:lnTo>
                    <a:pt x="16928" y="3955"/>
                  </a:lnTo>
                  <a:lnTo>
                    <a:pt x="17012" y="3934"/>
                  </a:lnTo>
                  <a:lnTo>
                    <a:pt x="17158" y="3893"/>
                  </a:lnTo>
                  <a:lnTo>
                    <a:pt x="17263" y="3851"/>
                  </a:lnTo>
                  <a:lnTo>
                    <a:pt x="17346" y="3788"/>
                  </a:lnTo>
                  <a:lnTo>
                    <a:pt x="17472" y="3788"/>
                  </a:lnTo>
                  <a:lnTo>
                    <a:pt x="17556" y="3746"/>
                  </a:lnTo>
                  <a:lnTo>
                    <a:pt x="17577" y="3662"/>
                  </a:lnTo>
                  <a:lnTo>
                    <a:pt x="17556" y="3621"/>
                  </a:lnTo>
                  <a:lnTo>
                    <a:pt x="17514" y="3558"/>
                  </a:lnTo>
                  <a:lnTo>
                    <a:pt x="17346" y="3558"/>
                  </a:lnTo>
                  <a:lnTo>
                    <a:pt x="17346" y="3516"/>
                  </a:lnTo>
                  <a:lnTo>
                    <a:pt x="17430" y="3516"/>
                  </a:lnTo>
                  <a:lnTo>
                    <a:pt x="17451" y="3537"/>
                  </a:lnTo>
                  <a:lnTo>
                    <a:pt x="17535" y="3537"/>
                  </a:lnTo>
                  <a:lnTo>
                    <a:pt x="17577" y="3558"/>
                  </a:lnTo>
                  <a:lnTo>
                    <a:pt x="17618" y="3662"/>
                  </a:lnTo>
                  <a:lnTo>
                    <a:pt x="17639" y="3662"/>
                  </a:lnTo>
                  <a:lnTo>
                    <a:pt x="17660" y="3641"/>
                  </a:lnTo>
                  <a:lnTo>
                    <a:pt x="17765" y="3579"/>
                  </a:lnTo>
                  <a:lnTo>
                    <a:pt x="17890" y="3621"/>
                  </a:lnTo>
                  <a:lnTo>
                    <a:pt x="17974" y="3579"/>
                  </a:lnTo>
                  <a:lnTo>
                    <a:pt x="18058" y="3537"/>
                  </a:lnTo>
                  <a:lnTo>
                    <a:pt x="18141" y="3516"/>
                  </a:lnTo>
                  <a:lnTo>
                    <a:pt x="18246" y="3537"/>
                  </a:lnTo>
                  <a:lnTo>
                    <a:pt x="18351" y="3537"/>
                  </a:lnTo>
                  <a:lnTo>
                    <a:pt x="18455" y="3516"/>
                  </a:lnTo>
                  <a:lnTo>
                    <a:pt x="18518" y="3537"/>
                  </a:lnTo>
                  <a:lnTo>
                    <a:pt x="18602" y="3579"/>
                  </a:lnTo>
                  <a:lnTo>
                    <a:pt x="18769" y="3579"/>
                  </a:lnTo>
                  <a:lnTo>
                    <a:pt x="18790" y="3621"/>
                  </a:lnTo>
                  <a:lnTo>
                    <a:pt x="18832" y="3621"/>
                  </a:lnTo>
                  <a:lnTo>
                    <a:pt x="18978" y="3725"/>
                  </a:lnTo>
                  <a:lnTo>
                    <a:pt x="19041" y="3746"/>
                  </a:lnTo>
                  <a:lnTo>
                    <a:pt x="19146" y="3725"/>
                  </a:lnTo>
                  <a:lnTo>
                    <a:pt x="19209" y="3662"/>
                  </a:lnTo>
                  <a:lnTo>
                    <a:pt x="19292" y="3662"/>
                  </a:lnTo>
                  <a:lnTo>
                    <a:pt x="19355" y="3683"/>
                  </a:lnTo>
                  <a:lnTo>
                    <a:pt x="19439" y="3683"/>
                  </a:lnTo>
                  <a:lnTo>
                    <a:pt x="19502" y="3725"/>
                  </a:lnTo>
                  <a:lnTo>
                    <a:pt x="19564" y="3725"/>
                  </a:lnTo>
                  <a:lnTo>
                    <a:pt x="19732" y="3662"/>
                  </a:lnTo>
                  <a:lnTo>
                    <a:pt x="19815" y="3621"/>
                  </a:lnTo>
                  <a:lnTo>
                    <a:pt x="19920" y="3621"/>
                  </a:lnTo>
                  <a:lnTo>
                    <a:pt x="19983" y="3662"/>
                  </a:lnTo>
                  <a:lnTo>
                    <a:pt x="20046" y="3662"/>
                  </a:lnTo>
                  <a:lnTo>
                    <a:pt x="20129" y="3621"/>
                  </a:lnTo>
                  <a:lnTo>
                    <a:pt x="20234" y="3641"/>
                  </a:lnTo>
                  <a:lnTo>
                    <a:pt x="20338" y="3641"/>
                  </a:lnTo>
                  <a:lnTo>
                    <a:pt x="20338" y="3579"/>
                  </a:lnTo>
                  <a:lnTo>
                    <a:pt x="20276" y="3558"/>
                  </a:lnTo>
                  <a:lnTo>
                    <a:pt x="20276" y="3516"/>
                  </a:lnTo>
                  <a:lnTo>
                    <a:pt x="20297" y="3474"/>
                  </a:lnTo>
                  <a:lnTo>
                    <a:pt x="20359" y="3537"/>
                  </a:lnTo>
                  <a:lnTo>
                    <a:pt x="20401" y="3579"/>
                  </a:lnTo>
                  <a:lnTo>
                    <a:pt x="20485" y="3579"/>
                  </a:lnTo>
                  <a:lnTo>
                    <a:pt x="20548" y="3558"/>
                  </a:lnTo>
                  <a:lnTo>
                    <a:pt x="20694" y="3558"/>
                  </a:lnTo>
                  <a:lnTo>
                    <a:pt x="20903" y="3474"/>
                  </a:lnTo>
                  <a:lnTo>
                    <a:pt x="21008" y="3432"/>
                  </a:lnTo>
                  <a:lnTo>
                    <a:pt x="21029" y="3369"/>
                  </a:lnTo>
                  <a:lnTo>
                    <a:pt x="21029" y="3328"/>
                  </a:lnTo>
                  <a:lnTo>
                    <a:pt x="21092" y="3307"/>
                  </a:lnTo>
                  <a:lnTo>
                    <a:pt x="21134" y="3328"/>
                  </a:lnTo>
                  <a:lnTo>
                    <a:pt x="21217" y="3307"/>
                  </a:lnTo>
                  <a:lnTo>
                    <a:pt x="21322" y="3223"/>
                  </a:lnTo>
                  <a:lnTo>
                    <a:pt x="21406" y="3202"/>
                  </a:lnTo>
                  <a:lnTo>
                    <a:pt x="21406" y="3118"/>
                  </a:lnTo>
                  <a:lnTo>
                    <a:pt x="21426" y="3056"/>
                  </a:lnTo>
                  <a:lnTo>
                    <a:pt x="21489" y="3035"/>
                  </a:lnTo>
                  <a:lnTo>
                    <a:pt x="21489" y="2930"/>
                  </a:lnTo>
                  <a:lnTo>
                    <a:pt x="21447" y="2888"/>
                  </a:lnTo>
                  <a:lnTo>
                    <a:pt x="21343" y="2805"/>
                  </a:lnTo>
                  <a:lnTo>
                    <a:pt x="21217" y="2742"/>
                  </a:lnTo>
                  <a:lnTo>
                    <a:pt x="21113" y="2637"/>
                  </a:lnTo>
                  <a:lnTo>
                    <a:pt x="21092" y="2574"/>
                  </a:lnTo>
                  <a:lnTo>
                    <a:pt x="21029" y="2512"/>
                  </a:lnTo>
                  <a:lnTo>
                    <a:pt x="20882" y="2491"/>
                  </a:lnTo>
                  <a:lnTo>
                    <a:pt x="20799" y="2407"/>
                  </a:lnTo>
                  <a:lnTo>
                    <a:pt x="20778" y="2323"/>
                  </a:lnTo>
                  <a:lnTo>
                    <a:pt x="20715" y="2302"/>
                  </a:lnTo>
                  <a:lnTo>
                    <a:pt x="20694" y="2323"/>
                  </a:lnTo>
                  <a:lnTo>
                    <a:pt x="20610" y="2365"/>
                  </a:lnTo>
                  <a:lnTo>
                    <a:pt x="20569" y="2323"/>
                  </a:lnTo>
                  <a:lnTo>
                    <a:pt x="20548" y="2261"/>
                  </a:lnTo>
                  <a:lnTo>
                    <a:pt x="20485" y="2198"/>
                  </a:lnTo>
                  <a:lnTo>
                    <a:pt x="20255" y="2198"/>
                  </a:lnTo>
                  <a:lnTo>
                    <a:pt x="20171" y="2219"/>
                  </a:lnTo>
                  <a:lnTo>
                    <a:pt x="20171" y="2302"/>
                  </a:lnTo>
                  <a:lnTo>
                    <a:pt x="20171" y="2365"/>
                  </a:lnTo>
                  <a:lnTo>
                    <a:pt x="20129" y="2302"/>
                  </a:lnTo>
                  <a:lnTo>
                    <a:pt x="20066" y="2302"/>
                  </a:lnTo>
                  <a:lnTo>
                    <a:pt x="19920" y="2386"/>
                  </a:lnTo>
                  <a:lnTo>
                    <a:pt x="19836" y="2407"/>
                  </a:lnTo>
                  <a:lnTo>
                    <a:pt x="19711" y="2365"/>
                  </a:lnTo>
                  <a:lnTo>
                    <a:pt x="19606" y="2365"/>
                  </a:lnTo>
                  <a:lnTo>
                    <a:pt x="19522" y="2323"/>
                  </a:lnTo>
                  <a:lnTo>
                    <a:pt x="19460" y="2261"/>
                  </a:lnTo>
                  <a:lnTo>
                    <a:pt x="19460" y="2177"/>
                  </a:lnTo>
                  <a:lnTo>
                    <a:pt x="19522" y="2177"/>
                  </a:lnTo>
                  <a:lnTo>
                    <a:pt x="19564" y="2219"/>
                  </a:lnTo>
                  <a:lnTo>
                    <a:pt x="19669" y="2261"/>
                  </a:lnTo>
                  <a:lnTo>
                    <a:pt x="19711" y="2219"/>
                  </a:lnTo>
                  <a:lnTo>
                    <a:pt x="19711" y="2177"/>
                  </a:lnTo>
                  <a:lnTo>
                    <a:pt x="19606" y="2093"/>
                  </a:lnTo>
                  <a:lnTo>
                    <a:pt x="19606" y="2009"/>
                  </a:lnTo>
                  <a:lnTo>
                    <a:pt x="19627" y="1989"/>
                  </a:lnTo>
                  <a:lnTo>
                    <a:pt x="19669" y="2072"/>
                  </a:lnTo>
                  <a:lnTo>
                    <a:pt x="19774" y="2114"/>
                  </a:lnTo>
                  <a:lnTo>
                    <a:pt x="19857" y="2156"/>
                  </a:lnTo>
                  <a:lnTo>
                    <a:pt x="20025" y="2093"/>
                  </a:lnTo>
                  <a:lnTo>
                    <a:pt x="20171" y="1968"/>
                  </a:lnTo>
                  <a:lnTo>
                    <a:pt x="20171" y="1884"/>
                  </a:lnTo>
                  <a:lnTo>
                    <a:pt x="20150" y="1842"/>
                  </a:lnTo>
                  <a:lnTo>
                    <a:pt x="20087" y="1800"/>
                  </a:lnTo>
                  <a:lnTo>
                    <a:pt x="20087" y="1758"/>
                  </a:lnTo>
                  <a:lnTo>
                    <a:pt x="20150" y="1696"/>
                  </a:lnTo>
                  <a:lnTo>
                    <a:pt x="20150" y="1675"/>
                  </a:lnTo>
                  <a:lnTo>
                    <a:pt x="20046" y="1591"/>
                  </a:lnTo>
                  <a:lnTo>
                    <a:pt x="19962" y="1486"/>
                  </a:lnTo>
                  <a:lnTo>
                    <a:pt x="19920" y="1465"/>
                  </a:lnTo>
                  <a:lnTo>
                    <a:pt x="19857" y="1486"/>
                  </a:lnTo>
                  <a:lnTo>
                    <a:pt x="19774" y="1570"/>
                  </a:lnTo>
                  <a:lnTo>
                    <a:pt x="19627" y="1654"/>
                  </a:lnTo>
                  <a:lnTo>
                    <a:pt x="19439" y="1654"/>
                  </a:lnTo>
                  <a:lnTo>
                    <a:pt x="19334" y="1737"/>
                  </a:lnTo>
                  <a:lnTo>
                    <a:pt x="19292" y="1737"/>
                  </a:lnTo>
                  <a:lnTo>
                    <a:pt x="19229" y="1675"/>
                  </a:lnTo>
                  <a:lnTo>
                    <a:pt x="19188" y="1654"/>
                  </a:lnTo>
                  <a:lnTo>
                    <a:pt x="19104" y="1675"/>
                  </a:lnTo>
                  <a:lnTo>
                    <a:pt x="19020" y="1696"/>
                  </a:lnTo>
                  <a:lnTo>
                    <a:pt x="18937" y="1675"/>
                  </a:lnTo>
                  <a:lnTo>
                    <a:pt x="18874" y="1633"/>
                  </a:lnTo>
                  <a:lnTo>
                    <a:pt x="18769" y="1591"/>
                  </a:lnTo>
                  <a:lnTo>
                    <a:pt x="18685" y="1549"/>
                  </a:lnTo>
                  <a:lnTo>
                    <a:pt x="18581" y="1528"/>
                  </a:lnTo>
                  <a:lnTo>
                    <a:pt x="18476" y="1445"/>
                  </a:lnTo>
                  <a:lnTo>
                    <a:pt x="18309" y="1424"/>
                  </a:lnTo>
                  <a:lnTo>
                    <a:pt x="18100" y="1445"/>
                  </a:lnTo>
                  <a:lnTo>
                    <a:pt x="17995" y="1465"/>
                  </a:lnTo>
                  <a:lnTo>
                    <a:pt x="17849" y="1528"/>
                  </a:lnTo>
                  <a:lnTo>
                    <a:pt x="17723" y="1549"/>
                  </a:lnTo>
                  <a:lnTo>
                    <a:pt x="17577" y="1570"/>
                  </a:lnTo>
                  <a:lnTo>
                    <a:pt x="17472" y="1549"/>
                  </a:lnTo>
                  <a:lnTo>
                    <a:pt x="17346" y="1570"/>
                  </a:lnTo>
                  <a:lnTo>
                    <a:pt x="17325" y="1591"/>
                  </a:lnTo>
                  <a:lnTo>
                    <a:pt x="17346" y="1737"/>
                  </a:lnTo>
                  <a:lnTo>
                    <a:pt x="17346" y="1800"/>
                  </a:lnTo>
                  <a:lnTo>
                    <a:pt x="17305" y="1800"/>
                  </a:lnTo>
                  <a:lnTo>
                    <a:pt x="17242" y="1779"/>
                  </a:lnTo>
                  <a:lnTo>
                    <a:pt x="17158" y="1654"/>
                  </a:lnTo>
                  <a:lnTo>
                    <a:pt x="17137" y="1570"/>
                  </a:lnTo>
                  <a:lnTo>
                    <a:pt x="17095" y="1549"/>
                  </a:lnTo>
                  <a:lnTo>
                    <a:pt x="17012" y="1570"/>
                  </a:lnTo>
                  <a:lnTo>
                    <a:pt x="16698" y="1570"/>
                  </a:lnTo>
                  <a:cubicBezTo>
                    <a:pt x="16698" y="1570"/>
                    <a:pt x="16593" y="1633"/>
                    <a:pt x="16572" y="1633"/>
                  </a:cubicBezTo>
                  <a:lnTo>
                    <a:pt x="16489" y="1737"/>
                  </a:lnTo>
                  <a:lnTo>
                    <a:pt x="16426" y="1884"/>
                  </a:lnTo>
                  <a:lnTo>
                    <a:pt x="16384" y="1968"/>
                  </a:lnTo>
                  <a:lnTo>
                    <a:pt x="16363" y="1968"/>
                  </a:lnTo>
                  <a:lnTo>
                    <a:pt x="16363" y="1905"/>
                  </a:lnTo>
                  <a:lnTo>
                    <a:pt x="16405" y="1800"/>
                  </a:lnTo>
                  <a:lnTo>
                    <a:pt x="16426" y="1737"/>
                  </a:lnTo>
                  <a:lnTo>
                    <a:pt x="16405" y="1696"/>
                  </a:lnTo>
                  <a:lnTo>
                    <a:pt x="16321" y="1737"/>
                  </a:lnTo>
                  <a:lnTo>
                    <a:pt x="16196" y="1737"/>
                  </a:lnTo>
                  <a:lnTo>
                    <a:pt x="16154" y="1779"/>
                  </a:lnTo>
                  <a:lnTo>
                    <a:pt x="16154" y="1842"/>
                  </a:lnTo>
                  <a:lnTo>
                    <a:pt x="16112" y="1884"/>
                  </a:lnTo>
                  <a:lnTo>
                    <a:pt x="16112" y="1989"/>
                  </a:lnTo>
                  <a:lnTo>
                    <a:pt x="16049" y="2009"/>
                  </a:lnTo>
                  <a:lnTo>
                    <a:pt x="16007" y="1968"/>
                  </a:lnTo>
                  <a:lnTo>
                    <a:pt x="16007" y="1905"/>
                  </a:lnTo>
                  <a:lnTo>
                    <a:pt x="16070" y="1842"/>
                  </a:lnTo>
                  <a:lnTo>
                    <a:pt x="16070" y="1675"/>
                  </a:lnTo>
                  <a:lnTo>
                    <a:pt x="16091" y="1591"/>
                  </a:lnTo>
                  <a:lnTo>
                    <a:pt x="16300" y="1465"/>
                  </a:lnTo>
                  <a:lnTo>
                    <a:pt x="16426" y="1382"/>
                  </a:lnTo>
                  <a:lnTo>
                    <a:pt x="16593" y="1382"/>
                  </a:lnTo>
                  <a:lnTo>
                    <a:pt x="16719" y="1424"/>
                  </a:lnTo>
                  <a:lnTo>
                    <a:pt x="16823" y="1424"/>
                  </a:lnTo>
                  <a:lnTo>
                    <a:pt x="16844" y="1382"/>
                  </a:lnTo>
                  <a:lnTo>
                    <a:pt x="17116" y="1382"/>
                  </a:lnTo>
                  <a:lnTo>
                    <a:pt x="17200" y="1340"/>
                  </a:lnTo>
                  <a:lnTo>
                    <a:pt x="17221" y="1256"/>
                  </a:lnTo>
                  <a:lnTo>
                    <a:pt x="17158" y="1256"/>
                  </a:lnTo>
                  <a:lnTo>
                    <a:pt x="17095" y="1173"/>
                  </a:lnTo>
                  <a:lnTo>
                    <a:pt x="17095" y="1068"/>
                  </a:lnTo>
                  <a:lnTo>
                    <a:pt x="17200" y="1005"/>
                  </a:lnTo>
                  <a:lnTo>
                    <a:pt x="17263" y="963"/>
                  </a:lnTo>
                  <a:lnTo>
                    <a:pt x="17346" y="963"/>
                  </a:lnTo>
                  <a:lnTo>
                    <a:pt x="17367" y="1026"/>
                  </a:lnTo>
                  <a:lnTo>
                    <a:pt x="17346" y="1068"/>
                  </a:lnTo>
                  <a:lnTo>
                    <a:pt x="17305" y="1068"/>
                  </a:lnTo>
                  <a:lnTo>
                    <a:pt x="17346" y="1152"/>
                  </a:lnTo>
                  <a:lnTo>
                    <a:pt x="17346" y="1256"/>
                  </a:lnTo>
                  <a:lnTo>
                    <a:pt x="17409" y="1340"/>
                  </a:lnTo>
                  <a:lnTo>
                    <a:pt x="17556" y="1340"/>
                  </a:lnTo>
                  <a:lnTo>
                    <a:pt x="17681" y="1277"/>
                  </a:lnTo>
                  <a:lnTo>
                    <a:pt x="17765" y="1277"/>
                  </a:lnTo>
                  <a:lnTo>
                    <a:pt x="17869" y="1319"/>
                  </a:lnTo>
                  <a:lnTo>
                    <a:pt x="17953" y="1277"/>
                  </a:lnTo>
                  <a:lnTo>
                    <a:pt x="18141" y="1214"/>
                  </a:lnTo>
                  <a:lnTo>
                    <a:pt x="18267" y="1214"/>
                  </a:lnTo>
                  <a:lnTo>
                    <a:pt x="18309" y="1256"/>
                  </a:lnTo>
                  <a:lnTo>
                    <a:pt x="18393" y="1256"/>
                  </a:lnTo>
                  <a:lnTo>
                    <a:pt x="18455" y="1214"/>
                  </a:lnTo>
                  <a:lnTo>
                    <a:pt x="18581" y="1214"/>
                  </a:lnTo>
                  <a:lnTo>
                    <a:pt x="18685" y="1256"/>
                  </a:lnTo>
                  <a:lnTo>
                    <a:pt x="18769" y="1256"/>
                  </a:lnTo>
                  <a:lnTo>
                    <a:pt x="18853" y="1277"/>
                  </a:lnTo>
                  <a:lnTo>
                    <a:pt x="19083" y="1382"/>
                  </a:lnTo>
                  <a:lnTo>
                    <a:pt x="19209" y="1382"/>
                  </a:lnTo>
                  <a:lnTo>
                    <a:pt x="19313" y="1361"/>
                  </a:lnTo>
                  <a:lnTo>
                    <a:pt x="19439" y="1361"/>
                  </a:lnTo>
                  <a:lnTo>
                    <a:pt x="19481" y="1277"/>
                  </a:lnTo>
                  <a:lnTo>
                    <a:pt x="19564" y="1235"/>
                  </a:lnTo>
                  <a:lnTo>
                    <a:pt x="19669" y="1256"/>
                  </a:lnTo>
                  <a:lnTo>
                    <a:pt x="19774" y="1256"/>
                  </a:lnTo>
                  <a:lnTo>
                    <a:pt x="19836" y="1173"/>
                  </a:lnTo>
                  <a:lnTo>
                    <a:pt x="19836" y="1131"/>
                  </a:lnTo>
                  <a:lnTo>
                    <a:pt x="19669" y="1026"/>
                  </a:lnTo>
                  <a:lnTo>
                    <a:pt x="19585" y="963"/>
                  </a:lnTo>
                  <a:lnTo>
                    <a:pt x="19543" y="859"/>
                  </a:lnTo>
                  <a:lnTo>
                    <a:pt x="19439" y="796"/>
                  </a:lnTo>
                  <a:lnTo>
                    <a:pt x="19250" y="733"/>
                  </a:lnTo>
                  <a:lnTo>
                    <a:pt x="19167" y="649"/>
                  </a:lnTo>
                  <a:lnTo>
                    <a:pt x="19062" y="628"/>
                  </a:lnTo>
                  <a:lnTo>
                    <a:pt x="18957" y="649"/>
                  </a:lnTo>
                  <a:lnTo>
                    <a:pt x="18916" y="608"/>
                  </a:lnTo>
                  <a:lnTo>
                    <a:pt x="18853" y="545"/>
                  </a:lnTo>
                  <a:lnTo>
                    <a:pt x="18727" y="587"/>
                  </a:lnTo>
                  <a:lnTo>
                    <a:pt x="18685" y="524"/>
                  </a:lnTo>
                  <a:lnTo>
                    <a:pt x="18455" y="503"/>
                  </a:lnTo>
                  <a:lnTo>
                    <a:pt x="18309" y="398"/>
                  </a:lnTo>
                  <a:lnTo>
                    <a:pt x="18246" y="398"/>
                  </a:lnTo>
                  <a:lnTo>
                    <a:pt x="18058" y="294"/>
                  </a:lnTo>
                  <a:lnTo>
                    <a:pt x="17995" y="294"/>
                  </a:lnTo>
                  <a:lnTo>
                    <a:pt x="17995" y="315"/>
                  </a:lnTo>
                  <a:lnTo>
                    <a:pt x="17932" y="336"/>
                  </a:lnTo>
                  <a:lnTo>
                    <a:pt x="17765" y="231"/>
                  </a:lnTo>
                  <a:lnTo>
                    <a:pt x="17744" y="168"/>
                  </a:lnTo>
                  <a:lnTo>
                    <a:pt x="17681" y="105"/>
                  </a:lnTo>
                  <a:lnTo>
                    <a:pt x="17597" y="126"/>
                  </a:lnTo>
                  <a:lnTo>
                    <a:pt x="17535" y="126"/>
                  </a:lnTo>
                  <a:lnTo>
                    <a:pt x="17472" y="84"/>
                  </a:lnTo>
                  <a:lnTo>
                    <a:pt x="17263" y="84"/>
                  </a:lnTo>
                  <a:lnTo>
                    <a:pt x="17158" y="22"/>
                  </a:lnTo>
                  <a:lnTo>
                    <a:pt x="17074" y="84"/>
                  </a:lnTo>
                  <a:lnTo>
                    <a:pt x="17033" y="84"/>
                  </a:lnTo>
                  <a:lnTo>
                    <a:pt x="17012" y="64"/>
                  </a:lnTo>
                  <a:lnTo>
                    <a:pt x="16928" y="1"/>
                  </a:lnTo>
                  <a:lnTo>
                    <a:pt x="16740" y="22"/>
                  </a:lnTo>
                  <a:lnTo>
                    <a:pt x="1661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grpSp>
          <p:nvGrpSpPr>
            <p:cNvPr id="1956" name="Google Shape;1956;p66"/>
            <p:cNvGrpSpPr/>
            <p:nvPr/>
          </p:nvGrpSpPr>
          <p:grpSpPr>
            <a:xfrm>
              <a:off x="2905224" y="2311071"/>
              <a:ext cx="596721" cy="528992"/>
              <a:chOff x="1922950" y="1410350"/>
              <a:chExt cx="1252825" cy="1162875"/>
            </a:xfrm>
          </p:grpSpPr>
          <p:sp>
            <p:nvSpPr>
              <p:cNvPr id="1957" name="Google Shape;1957;p66"/>
              <p:cNvSpPr/>
              <p:nvPr/>
            </p:nvSpPr>
            <p:spPr>
              <a:xfrm>
                <a:off x="1988325" y="2333100"/>
                <a:ext cx="52325" cy="65925"/>
              </a:xfrm>
              <a:custGeom>
                <a:avLst/>
                <a:gdLst/>
                <a:ahLst/>
                <a:cxnLst/>
                <a:rect l="l" t="t" r="r" b="b"/>
                <a:pathLst>
                  <a:path w="2093" h="2637" extrusionOk="0">
                    <a:moveTo>
                      <a:pt x="210" y="0"/>
                    </a:moveTo>
                    <a:lnTo>
                      <a:pt x="189" y="63"/>
                    </a:lnTo>
                    <a:lnTo>
                      <a:pt x="1" y="21"/>
                    </a:lnTo>
                    <a:lnTo>
                      <a:pt x="63" y="188"/>
                    </a:lnTo>
                    <a:lnTo>
                      <a:pt x="105" y="209"/>
                    </a:lnTo>
                    <a:lnTo>
                      <a:pt x="168" y="335"/>
                    </a:lnTo>
                    <a:lnTo>
                      <a:pt x="440" y="377"/>
                    </a:lnTo>
                    <a:lnTo>
                      <a:pt x="314" y="439"/>
                    </a:lnTo>
                    <a:lnTo>
                      <a:pt x="189" y="439"/>
                    </a:lnTo>
                    <a:lnTo>
                      <a:pt x="105" y="544"/>
                    </a:lnTo>
                    <a:lnTo>
                      <a:pt x="168" y="607"/>
                    </a:lnTo>
                    <a:lnTo>
                      <a:pt x="105" y="732"/>
                    </a:lnTo>
                    <a:lnTo>
                      <a:pt x="126" y="774"/>
                    </a:lnTo>
                    <a:lnTo>
                      <a:pt x="273" y="732"/>
                    </a:lnTo>
                    <a:lnTo>
                      <a:pt x="293" y="837"/>
                    </a:lnTo>
                    <a:lnTo>
                      <a:pt x="419" y="837"/>
                    </a:lnTo>
                    <a:lnTo>
                      <a:pt x="419" y="942"/>
                    </a:lnTo>
                    <a:lnTo>
                      <a:pt x="524" y="1025"/>
                    </a:lnTo>
                    <a:lnTo>
                      <a:pt x="649" y="963"/>
                    </a:lnTo>
                    <a:lnTo>
                      <a:pt x="503" y="1130"/>
                    </a:lnTo>
                    <a:lnTo>
                      <a:pt x="545" y="1276"/>
                    </a:lnTo>
                    <a:lnTo>
                      <a:pt x="649" y="1255"/>
                    </a:lnTo>
                    <a:lnTo>
                      <a:pt x="649" y="1151"/>
                    </a:lnTo>
                    <a:lnTo>
                      <a:pt x="817" y="1109"/>
                    </a:lnTo>
                    <a:lnTo>
                      <a:pt x="817" y="1109"/>
                    </a:lnTo>
                    <a:lnTo>
                      <a:pt x="754" y="1235"/>
                    </a:lnTo>
                    <a:lnTo>
                      <a:pt x="691" y="1339"/>
                    </a:lnTo>
                    <a:lnTo>
                      <a:pt x="691" y="1423"/>
                    </a:lnTo>
                    <a:lnTo>
                      <a:pt x="733" y="1423"/>
                    </a:lnTo>
                    <a:lnTo>
                      <a:pt x="796" y="1548"/>
                    </a:lnTo>
                    <a:lnTo>
                      <a:pt x="963" y="1528"/>
                    </a:lnTo>
                    <a:lnTo>
                      <a:pt x="963" y="1632"/>
                    </a:lnTo>
                    <a:lnTo>
                      <a:pt x="1047" y="1632"/>
                    </a:lnTo>
                    <a:lnTo>
                      <a:pt x="1068" y="1737"/>
                    </a:lnTo>
                    <a:lnTo>
                      <a:pt x="1047" y="1820"/>
                    </a:lnTo>
                    <a:lnTo>
                      <a:pt x="1172" y="1967"/>
                    </a:lnTo>
                    <a:lnTo>
                      <a:pt x="1256" y="1883"/>
                    </a:lnTo>
                    <a:lnTo>
                      <a:pt x="1319" y="1946"/>
                    </a:lnTo>
                    <a:lnTo>
                      <a:pt x="1423" y="1946"/>
                    </a:lnTo>
                    <a:lnTo>
                      <a:pt x="1256" y="2113"/>
                    </a:lnTo>
                    <a:lnTo>
                      <a:pt x="1465" y="2323"/>
                    </a:lnTo>
                    <a:lnTo>
                      <a:pt x="1549" y="2364"/>
                    </a:lnTo>
                    <a:lnTo>
                      <a:pt x="1591" y="2427"/>
                    </a:lnTo>
                    <a:lnTo>
                      <a:pt x="1946" y="2636"/>
                    </a:lnTo>
                    <a:lnTo>
                      <a:pt x="1988" y="2595"/>
                    </a:lnTo>
                    <a:lnTo>
                      <a:pt x="2093" y="2616"/>
                    </a:lnTo>
                    <a:lnTo>
                      <a:pt x="2009" y="2302"/>
                    </a:lnTo>
                    <a:lnTo>
                      <a:pt x="2051" y="2176"/>
                    </a:lnTo>
                    <a:lnTo>
                      <a:pt x="2009" y="2072"/>
                    </a:lnTo>
                    <a:lnTo>
                      <a:pt x="2009" y="1820"/>
                    </a:lnTo>
                    <a:lnTo>
                      <a:pt x="1946" y="1695"/>
                    </a:lnTo>
                    <a:lnTo>
                      <a:pt x="1674" y="1548"/>
                    </a:lnTo>
                    <a:lnTo>
                      <a:pt x="1653" y="1214"/>
                    </a:lnTo>
                    <a:lnTo>
                      <a:pt x="1528" y="1004"/>
                    </a:lnTo>
                    <a:lnTo>
                      <a:pt x="1486" y="774"/>
                    </a:lnTo>
                    <a:lnTo>
                      <a:pt x="1444" y="732"/>
                    </a:lnTo>
                    <a:lnTo>
                      <a:pt x="1319" y="711"/>
                    </a:lnTo>
                    <a:lnTo>
                      <a:pt x="1130" y="607"/>
                    </a:lnTo>
                    <a:lnTo>
                      <a:pt x="1005" y="607"/>
                    </a:lnTo>
                    <a:lnTo>
                      <a:pt x="858" y="544"/>
                    </a:lnTo>
                    <a:lnTo>
                      <a:pt x="817" y="439"/>
                    </a:lnTo>
                    <a:lnTo>
                      <a:pt x="628" y="377"/>
                    </a:lnTo>
                    <a:lnTo>
                      <a:pt x="545" y="251"/>
                    </a:lnTo>
                    <a:lnTo>
                      <a:pt x="524" y="167"/>
                    </a:lnTo>
                    <a:lnTo>
                      <a:pt x="398" y="167"/>
                    </a:lnTo>
                    <a:lnTo>
                      <a:pt x="314" y="21"/>
                    </a:lnTo>
                    <a:lnTo>
                      <a:pt x="21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8" name="Google Shape;1958;p66"/>
              <p:cNvSpPr/>
              <p:nvPr/>
            </p:nvSpPr>
            <p:spPr>
              <a:xfrm>
                <a:off x="1953800" y="2242075"/>
                <a:ext cx="23050" cy="54425"/>
              </a:xfrm>
              <a:custGeom>
                <a:avLst/>
                <a:gdLst/>
                <a:ahLst/>
                <a:cxnLst/>
                <a:rect l="l" t="t" r="r" b="b"/>
                <a:pathLst>
                  <a:path w="922" h="2177" extrusionOk="0">
                    <a:moveTo>
                      <a:pt x="210" y="0"/>
                    </a:moveTo>
                    <a:lnTo>
                      <a:pt x="21" y="314"/>
                    </a:lnTo>
                    <a:lnTo>
                      <a:pt x="42" y="523"/>
                    </a:lnTo>
                    <a:lnTo>
                      <a:pt x="1" y="628"/>
                    </a:lnTo>
                    <a:lnTo>
                      <a:pt x="1" y="733"/>
                    </a:lnTo>
                    <a:lnTo>
                      <a:pt x="105" y="754"/>
                    </a:lnTo>
                    <a:lnTo>
                      <a:pt x="189" y="837"/>
                    </a:lnTo>
                    <a:lnTo>
                      <a:pt x="189" y="942"/>
                    </a:lnTo>
                    <a:lnTo>
                      <a:pt x="126" y="921"/>
                    </a:lnTo>
                    <a:lnTo>
                      <a:pt x="21" y="900"/>
                    </a:lnTo>
                    <a:lnTo>
                      <a:pt x="21" y="984"/>
                    </a:lnTo>
                    <a:lnTo>
                      <a:pt x="105" y="1047"/>
                    </a:lnTo>
                    <a:lnTo>
                      <a:pt x="21" y="1193"/>
                    </a:lnTo>
                    <a:lnTo>
                      <a:pt x="105" y="1214"/>
                    </a:lnTo>
                    <a:lnTo>
                      <a:pt x="210" y="1339"/>
                    </a:lnTo>
                    <a:lnTo>
                      <a:pt x="84" y="1319"/>
                    </a:lnTo>
                    <a:lnTo>
                      <a:pt x="21" y="1402"/>
                    </a:lnTo>
                    <a:lnTo>
                      <a:pt x="42" y="1507"/>
                    </a:lnTo>
                    <a:lnTo>
                      <a:pt x="210" y="1528"/>
                    </a:lnTo>
                    <a:lnTo>
                      <a:pt x="147" y="1611"/>
                    </a:lnTo>
                    <a:lnTo>
                      <a:pt x="189" y="1758"/>
                    </a:lnTo>
                    <a:lnTo>
                      <a:pt x="356" y="2135"/>
                    </a:lnTo>
                    <a:lnTo>
                      <a:pt x="503" y="2176"/>
                    </a:lnTo>
                    <a:lnTo>
                      <a:pt x="565" y="2072"/>
                    </a:lnTo>
                    <a:lnTo>
                      <a:pt x="524" y="1988"/>
                    </a:lnTo>
                    <a:lnTo>
                      <a:pt x="440" y="1988"/>
                    </a:lnTo>
                    <a:lnTo>
                      <a:pt x="398" y="1863"/>
                    </a:lnTo>
                    <a:lnTo>
                      <a:pt x="335" y="1653"/>
                    </a:lnTo>
                    <a:lnTo>
                      <a:pt x="356" y="1507"/>
                    </a:lnTo>
                    <a:lnTo>
                      <a:pt x="314" y="1402"/>
                    </a:lnTo>
                    <a:lnTo>
                      <a:pt x="398" y="1235"/>
                    </a:lnTo>
                    <a:lnTo>
                      <a:pt x="545" y="1235"/>
                    </a:lnTo>
                    <a:lnTo>
                      <a:pt x="524" y="1109"/>
                    </a:lnTo>
                    <a:lnTo>
                      <a:pt x="419" y="1109"/>
                    </a:lnTo>
                    <a:lnTo>
                      <a:pt x="335" y="1130"/>
                    </a:lnTo>
                    <a:lnTo>
                      <a:pt x="231" y="1130"/>
                    </a:lnTo>
                    <a:lnTo>
                      <a:pt x="314" y="1026"/>
                    </a:lnTo>
                    <a:lnTo>
                      <a:pt x="419" y="1026"/>
                    </a:lnTo>
                    <a:lnTo>
                      <a:pt x="545" y="921"/>
                    </a:lnTo>
                    <a:lnTo>
                      <a:pt x="565" y="733"/>
                    </a:lnTo>
                    <a:lnTo>
                      <a:pt x="670" y="607"/>
                    </a:lnTo>
                    <a:lnTo>
                      <a:pt x="712" y="419"/>
                    </a:lnTo>
                    <a:lnTo>
                      <a:pt x="921" y="210"/>
                    </a:lnTo>
                    <a:lnTo>
                      <a:pt x="858" y="189"/>
                    </a:lnTo>
                    <a:lnTo>
                      <a:pt x="670" y="272"/>
                    </a:lnTo>
                    <a:lnTo>
                      <a:pt x="545" y="461"/>
                    </a:lnTo>
                    <a:lnTo>
                      <a:pt x="461" y="628"/>
                    </a:lnTo>
                    <a:lnTo>
                      <a:pt x="335" y="670"/>
                    </a:lnTo>
                    <a:lnTo>
                      <a:pt x="335" y="586"/>
                    </a:lnTo>
                    <a:lnTo>
                      <a:pt x="252" y="523"/>
                    </a:lnTo>
                    <a:lnTo>
                      <a:pt x="461" y="461"/>
                    </a:lnTo>
                    <a:lnTo>
                      <a:pt x="565" y="377"/>
                    </a:lnTo>
                    <a:lnTo>
                      <a:pt x="607" y="231"/>
                    </a:lnTo>
                    <a:lnTo>
                      <a:pt x="607" y="168"/>
                    </a:lnTo>
                    <a:lnTo>
                      <a:pt x="503" y="105"/>
                    </a:lnTo>
                    <a:lnTo>
                      <a:pt x="440" y="189"/>
                    </a:lnTo>
                    <a:lnTo>
                      <a:pt x="356" y="210"/>
                    </a:lnTo>
                    <a:lnTo>
                      <a:pt x="398" y="63"/>
                    </a:lnTo>
                    <a:lnTo>
                      <a:pt x="21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59" name="Google Shape;1959;p66"/>
              <p:cNvSpPr/>
              <p:nvPr/>
            </p:nvSpPr>
            <p:spPr>
              <a:xfrm>
                <a:off x="2552225" y="1885325"/>
                <a:ext cx="48150" cy="48675"/>
              </a:xfrm>
              <a:custGeom>
                <a:avLst/>
                <a:gdLst/>
                <a:ahLst/>
                <a:cxnLst/>
                <a:rect l="l" t="t" r="r" b="b"/>
                <a:pathLst>
                  <a:path w="1926" h="1947" extrusionOk="0">
                    <a:moveTo>
                      <a:pt x="1402" y="0"/>
                    </a:moveTo>
                    <a:lnTo>
                      <a:pt x="1256" y="21"/>
                    </a:lnTo>
                    <a:lnTo>
                      <a:pt x="1067" y="189"/>
                    </a:lnTo>
                    <a:lnTo>
                      <a:pt x="984" y="356"/>
                    </a:lnTo>
                    <a:lnTo>
                      <a:pt x="1046" y="544"/>
                    </a:lnTo>
                    <a:lnTo>
                      <a:pt x="942" y="524"/>
                    </a:lnTo>
                    <a:lnTo>
                      <a:pt x="900" y="356"/>
                    </a:lnTo>
                    <a:lnTo>
                      <a:pt x="858" y="356"/>
                    </a:lnTo>
                    <a:lnTo>
                      <a:pt x="837" y="503"/>
                    </a:lnTo>
                    <a:lnTo>
                      <a:pt x="753" y="503"/>
                    </a:lnTo>
                    <a:lnTo>
                      <a:pt x="795" y="607"/>
                    </a:lnTo>
                    <a:lnTo>
                      <a:pt x="753" y="712"/>
                    </a:lnTo>
                    <a:lnTo>
                      <a:pt x="649" y="712"/>
                    </a:lnTo>
                    <a:lnTo>
                      <a:pt x="586" y="816"/>
                    </a:lnTo>
                    <a:lnTo>
                      <a:pt x="419" y="775"/>
                    </a:lnTo>
                    <a:lnTo>
                      <a:pt x="335" y="837"/>
                    </a:lnTo>
                    <a:lnTo>
                      <a:pt x="251" y="816"/>
                    </a:lnTo>
                    <a:lnTo>
                      <a:pt x="0" y="963"/>
                    </a:lnTo>
                    <a:lnTo>
                      <a:pt x="21" y="1088"/>
                    </a:lnTo>
                    <a:lnTo>
                      <a:pt x="147" y="1235"/>
                    </a:lnTo>
                    <a:lnTo>
                      <a:pt x="230" y="1172"/>
                    </a:lnTo>
                    <a:lnTo>
                      <a:pt x="209" y="1088"/>
                    </a:lnTo>
                    <a:lnTo>
                      <a:pt x="251" y="1026"/>
                    </a:lnTo>
                    <a:lnTo>
                      <a:pt x="356" y="1130"/>
                    </a:lnTo>
                    <a:lnTo>
                      <a:pt x="314" y="1277"/>
                    </a:lnTo>
                    <a:lnTo>
                      <a:pt x="440" y="1381"/>
                    </a:lnTo>
                    <a:lnTo>
                      <a:pt x="523" y="1256"/>
                    </a:lnTo>
                    <a:lnTo>
                      <a:pt x="544" y="1340"/>
                    </a:lnTo>
                    <a:lnTo>
                      <a:pt x="523" y="1423"/>
                    </a:lnTo>
                    <a:lnTo>
                      <a:pt x="649" y="1591"/>
                    </a:lnTo>
                    <a:lnTo>
                      <a:pt x="753" y="1612"/>
                    </a:lnTo>
                    <a:lnTo>
                      <a:pt x="795" y="1779"/>
                    </a:lnTo>
                    <a:lnTo>
                      <a:pt x="879" y="1863"/>
                    </a:lnTo>
                    <a:lnTo>
                      <a:pt x="963" y="1716"/>
                    </a:lnTo>
                    <a:lnTo>
                      <a:pt x="984" y="1821"/>
                    </a:lnTo>
                    <a:lnTo>
                      <a:pt x="1109" y="1946"/>
                    </a:lnTo>
                    <a:lnTo>
                      <a:pt x="1214" y="1925"/>
                    </a:lnTo>
                    <a:lnTo>
                      <a:pt x="1318" y="1925"/>
                    </a:lnTo>
                    <a:lnTo>
                      <a:pt x="1423" y="1821"/>
                    </a:lnTo>
                    <a:lnTo>
                      <a:pt x="1507" y="1800"/>
                    </a:lnTo>
                    <a:lnTo>
                      <a:pt x="1632" y="1695"/>
                    </a:lnTo>
                    <a:lnTo>
                      <a:pt x="1695" y="1800"/>
                    </a:lnTo>
                    <a:lnTo>
                      <a:pt x="1737" y="1758"/>
                    </a:lnTo>
                    <a:lnTo>
                      <a:pt x="1925" y="1653"/>
                    </a:lnTo>
                    <a:lnTo>
                      <a:pt x="1925" y="1549"/>
                    </a:lnTo>
                    <a:lnTo>
                      <a:pt x="1800" y="1591"/>
                    </a:lnTo>
                    <a:lnTo>
                      <a:pt x="1716" y="1507"/>
                    </a:lnTo>
                    <a:lnTo>
                      <a:pt x="1841" y="1277"/>
                    </a:lnTo>
                    <a:lnTo>
                      <a:pt x="1883" y="1151"/>
                    </a:lnTo>
                    <a:lnTo>
                      <a:pt x="1737" y="1235"/>
                    </a:lnTo>
                    <a:lnTo>
                      <a:pt x="1674" y="1402"/>
                    </a:lnTo>
                    <a:lnTo>
                      <a:pt x="1674" y="1277"/>
                    </a:lnTo>
                    <a:lnTo>
                      <a:pt x="1737" y="1026"/>
                    </a:lnTo>
                    <a:lnTo>
                      <a:pt x="1695" y="649"/>
                    </a:lnTo>
                    <a:lnTo>
                      <a:pt x="1528" y="544"/>
                    </a:lnTo>
                    <a:lnTo>
                      <a:pt x="1528" y="419"/>
                    </a:lnTo>
                    <a:lnTo>
                      <a:pt x="1423" y="419"/>
                    </a:lnTo>
                    <a:lnTo>
                      <a:pt x="1360" y="524"/>
                    </a:lnTo>
                    <a:lnTo>
                      <a:pt x="1360" y="398"/>
                    </a:lnTo>
                    <a:lnTo>
                      <a:pt x="1423" y="314"/>
                    </a:lnTo>
                    <a:lnTo>
                      <a:pt x="1381" y="210"/>
                    </a:lnTo>
                    <a:lnTo>
                      <a:pt x="1402" y="105"/>
                    </a:lnTo>
                    <a:lnTo>
                      <a:pt x="140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0" name="Google Shape;1960;p66"/>
              <p:cNvSpPr/>
              <p:nvPr/>
            </p:nvSpPr>
            <p:spPr>
              <a:xfrm>
                <a:off x="2722750" y="1634775"/>
                <a:ext cx="145950" cy="133925"/>
              </a:xfrm>
              <a:custGeom>
                <a:avLst/>
                <a:gdLst/>
                <a:ahLst/>
                <a:cxnLst/>
                <a:rect l="l" t="t" r="r" b="b"/>
                <a:pathLst>
                  <a:path w="5838" h="5357" extrusionOk="0">
                    <a:moveTo>
                      <a:pt x="502" y="0"/>
                    </a:moveTo>
                    <a:lnTo>
                      <a:pt x="440" y="84"/>
                    </a:lnTo>
                    <a:lnTo>
                      <a:pt x="230" y="105"/>
                    </a:lnTo>
                    <a:lnTo>
                      <a:pt x="210" y="126"/>
                    </a:lnTo>
                    <a:lnTo>
                      <a:pt x="147" y="126"/>
                    </a:lnTo>
                    <a:lnTo>
                      <a:pt x="105" y="230"/>
                    </a:lnTo>
                    <a:lnTo>
                      <a:pt x="189" y="335"/>
                    </a:lnTo>
                    <a:lnTo>
                      <a:pt x="230" y="439"/>
                    </a:lnTo>
                    <a:lnTo>
                      <a:pt x="147" y="439"/>
                    </a:lnTo>
                    <a:lnTo>
                      <a:pt x="21" y="272"/>
                    </a:lnTo>
                    <a:lnTo>
                      <a:pt x="0" y="398"/>
                    </a:lnTo>
                    <a:lnTo>
                      <a:pt x="21" y="502"/>
                    </a:lnTo>
                    <a:lnTo>
                      <a:pt x="147" y="544"/>
                    </a:lnTo>
                    <a:lnTo>
                      <a:pt x="251" y="732"/>
                    </a:lnTo>
                    <a:lnTo>
                      <a:pt x="356" y="732"/>
                    </a:lnTo>
                    <a:lnTo>
                      <a:pt x="293" y="816"/>
                    </a:lnTo>
                    <a:lnTo>
                      <a:pt x="210" y="816"/>
                    </a:lnTo>
                    <a:lnTo>
                      <a:pt x="189" y="921"/>
                    </a:lnTo>
                    <a:lnTo>
                      <a:pt x="314" y="1109"/>
                    </a:lnTo>
                    <a:lnTo>
                      <a:pt x="440" y="1151"/>
                    </a:lnTo>
                    <a:lnTo>
                      <a:pt x="419" y="1235"/>
                    </a:lnTo>
                    <a:lnTo>
                      <a:pt x="398" y="1172"/>
                    </a:lnTo>
                    <a:lnTo>
                      <a:pt x="210" y="1151"/>
                    </a:lnTo>
                    <a:lnTo>
                      <a:pt x="210" y="1235"/>
                    </a:lnTo>
                    <a:lnTo>
                      <a:pt x="147" y="1255"/>
                    </a:lnTo>
                    <a:lnTo>
                      <a:pt x="105" y="1360"/>
                    </a:lnTo>
                    <a:lnTo>
                      <a:pt x="251" y="1276"/>
                    </a:lnTo>
                    <a:lnTo>
                      <a:pt x="335" y="1360"/>
                    </a:lnTo>
                    <a:lnTo>
                      <a:pt x="523" y="1276"/>
                    </a:lnTo>
                    <a:lnTo>
                      <a:pt x="544" y="1360"/>
                    </a:lnTo>
                    <a:lnTo>
                      <a:pt x="649" y="1381"/>
                    </a:lnTo>
                    <a:lnTo>
                      <a:pt x="670" y="1465"/>
                    </a:lnTo>
                    <a:lnTo>
                      <a:pt x="837" y="1590"/>
                    </a:lnTo>
                    <a:lnTo>
                      <a:pt x="879" y="1590"/>
                    </a:lnTo>
                    <a:lnTo>
                      <a:pt x="879" y="1527"/>
                    </a:lnTo>
                    <a:lnTo>
                      <a:pt x="942" y="1548"/>
                    </a:lnTo>
                    <a:lnTo>
                      <a:pt x="1046" y="1486"/>
                    </a:lnTo>
                    <a:lnTo>
                      <a:pt x="1130" y="1527"/>
                    </a:lnTo>
                    <a:lnTo>
                      <a:pt x="1151" y="1590"/>
                    </a:lnTo>
                    <a:lnTo>
                      <a:pt x="1130" y="1674"/>
                    </a:lnTo>
                    <a:lnTo>
                      <a:pt x="1130" y="1883"/>
                    </a:lnTo>
                    <a:lnTo>
                      <a:pt x="1067" y="2051"/>
                    </a:lnTo>
                    <a:lnTo>
                      <a:pt x="1067" y="2113"/>
                    </a:lnTo>
                    <a:lnTo>
                      <a:pt x="1151" y="2260"/>
                    </a:lnTo>
                    <a:lnTo>
                      <a:pt x="1088" y="2385"/>
                    </a:lnTo>
                    <a:lnTo>
                      <a:pt x="1088" y="2469"/>
                    </a:lnTo>
                    <a:lnTo>
                      <a:pt x="1067" y="2595"/>
                    </a:lnTo>
                    <a:lnTo>
                      <a:pt x="879" y="2699"/>
                    </a:lnTo>
                    <a:lnTo>
                      <a:pt x="754" y="2741"/>
                    </a:lnTo>
                    <a:lnTo>
                      <a:pt x="733" y="2825"/>
                    </a:lnTo>
                    <a:lnTo>
                      <a:pt x="628" y="2992"/>
                    </a:lnTo>
                    <a:lnTo>
                      <a:pt x="628" y="3055"/>
                    </a:lnTo>
                    <a:lnTo>
                      <a:pt x="523" y="3118"/>
                    </a:lnTo>
                    <a:lnTo>
                      <a:pt x="461" y="3222"/>
                    </a:lnTo>
                    <a:lnTo>
                      <a:pt x="461" y="3348"/>
                    </a:lnTo>
                    <a:lnTo>
                      <a:pt x="544" y="3369"/>
                    </a:lnTo>
                    <a:lnTo>
                      <a:pt x="544" y="3452"/>
                    </a:lnTo>
                    <a:lnTo>
                      <a:pt x="440" y="3473"/>
                    </a:lnTo>
                    <a:lnTo>
                      <a:pt x="419" y="3578"/>
                    </a:lnTo>
                    <a:lnTo>
                      <a:pt x="461" y="3641"/>
                    </a:lnTo>
                    <a:lnTo>
                      <a:pt x="398" y="3745"/>
                    </a:lnTo>
                    <a:lnTo>
                      <a:pt x="356" y="3850"/>
                    </a:lnTo>
                    <a:lnTo>
                      <a:pt x="419" y="3955"/>
                    </a:lnTo>
                    <a:lnTo>
                      <a:pt x="502" y="3976"/>
                    </a:lnTo>
                    <a:lnTo>
                      <a:pt x="502" y="4059"/>
                    </a:lnTo>
                    <a:lnTo>
                      <a:pt x="565" y="4143"/>
                    </a:lnTo>
                    <a:lnTo>
                      <a:pt x="628" y="4143"/>
                    </a:lnTo>
                    <a:lnTo>
                      <a:pt x="649" y="4038"/>
                    </a:lnTo>
                    <a:lnTo>
                      <a:pt x="670" y="3955"/>
                    </a:lnTo>
                    <a:lnTo>
                      <a:pt x="733" y="3996"/>
                    </a:lnTo>
                    <a:lnTo>
                      <a:pt x="774" y="3996"/>
                    </a:lnTo>
                    <a:lnTo>
                      <a:pt x="879" y="3871"/>
                    </a:lnTo>
                    <a:lnTo>
                      <a:pt x="942" y="3892"/>
                    </a:lnTo>
                    <a:lnTo>
                      <a:pt x="879" y="4059"/>
                    </a:lnTo>
                    <a:lnTo>
                      <a:pt x="774" y="4080"/>
                    </a:lnTo>
                    <a:lnTo>
                      <a:pt x="754" y="4143"/>
                    </a:lnTo>
                    <a:lnTo>
                      <a:pt x="816" y="4185"/>
                    </a:lnTo>
                    <a:lnTo>
                      <a:pt x="816" y="4268"/>
                    </a:lnTo>
                    <a:lnTo>
                      <a:pt x="921" y="4394"/>
                    </a:lnTo>
                    <a:lnTo>
                      <a:pt x="1026" y="4352"/>
                    </a:lnTo>
                    <a:lnTo>
                      <a:pt x="1067" y="4394"/>
                    </a:lnTo>
                    <a:lnTo>
                      <a:pt x="1193" y="4415"/>
                    </a:lnTo>
                    <a:lnTo>
                      <a:pt x="1256" y="4352"/>
                    </a:lnTo>
                    <a:lnTo>
                      <a:pt x="1402" y="4310"/>
                    </a:lnTo>
                    <a:lnTo>
                      <a:pt x="1381" y="4164"/>
                    </a:lnTo>
                    <a:lnTo>
                      <a:pt x="1465" y="4164"/>
                    </a:lnTo>
                    <a:lnTo>
                      <a:pt x="1507" y="4101"/>
                    </a:lnTo>
                    <a:lnTo>
                      <a:pt x="1507" y="4185"/>
                    </a:lnTo>
                    <a:lnTo>
                      <a:pt x="1486" y="4206"/>
                    </a:lnTo>
                    <a:lnTo>
                      <a:pt x="1507" y="4310"/>
                    </a:lnTo>
                    <a:lnTo>
                      <a:pt x="1570" y="4289"/>
                    </a:lnTo>
                    <a:lnTo>
                      <a:pt x="1653" y="4143"/>
                    </a:lnTo>
                    <a:lnTo>
                      <a:pt x="1695" y="4080"/>
                    </a:lnTo>
                    <a:lnTo>
                      <a:pt x="1716" y="4143"/>
                    </a:lnTo>
                    <a:lnTo>
                      <a:pt x="1695" y="4268"/>
                    </a:lnTo>
                    <a:lnTo>
                      <a:pt x="1570" y="4478"/>
                    </a:lnTo>
                    <a:lnTo>
                      <a:pt x="1486" y="4520"/>
                    </a:lnTo>
                    <a:lnTo>
                      <a:pt x="1486" y="4624"/>
                    </a:lnTo>
                    <a:lnTo>
                      <a:pt x="1611" y="4666"/>
                    </a:lnTo>
                    <a:lnTo>
                      <a:pt x="1695" y="4729"/>
                    </a:lnTo>
                    <a:lnTo>
                      <a:pt x="1800" y="4729"/>
                    </a:lnTo>
                    <a:lnTo>
                      <a:pt x="1821" y="4771"/>
                    </a:lnTo>
                    <a:lnTo>
                      <a:pt x="1967" y="4792"/>
                    </a:lnTo>
                    <a:lnTo>
                      <a:pt x="1988" y="4708"/>
                    </a:lnTo>
                    <a:lnTo>
                      <a:pt x="2114" y="4708"/>
                    </a:lnTo>
                    <a:lnTo>
                      <a:pt x="2072" y="4771"/>
                    </a:lnTo>
                    <a:lnTo>
                      <a:pt x="2093" y="4833"/>
                    </a:lnTo>
                    <a:lnTo>
                      <a:pt x="2176" y="4833"/>
                    </a:lnTo>
                    <a:lnTo>
                      <a:pt x="2239" y="4917"/>
                    </a:lnTo>
                    <a:lnTo>
                      <a:pt x="2323" y="4875"/>
                    </a:lnTo>
                    <a:lnTo>
                      <a:pt x="2302" y="4792"/>
                    </a:lnTo>
                    <a:lnTo>
                      <a:pt x="2281" y="4708"/>
                    </a:lnTo>
                    <a:lnTo>
                      <a:pt x="2344" y="4603"/>
                    </a:lnTo>
                    <a:lnTo>
                      <a:pt x="2386" y="4687"/>
                    </a:lnTo>
                    <a:lnTo>
                      <a:pt x="2344" y="4792"/>
                    </a:lnTo>
                    <a:lnTo>
                      <a:pt x="2386" y="4917"/>
                    </a:lnTo>
                    <a:lnTo>
                      <a:pt x="2448" y="4917"/>
                    </a:lnTo>
                    <a:lnTo>
                      <a:pt x="2490" y="4792"/>
                    </a:lnTo>
                    <a:lnTo>
                      <a:pt x="2532" y="4729"/>
                    </a:lnTo>
                    <a:lnTo>
                      <a:pt x="2616" y="4708"/>
                    </a:lnTo>
                    <a:lnTo>
                      <a:pt x="2616" y="4792"/>
                    </a:lnTo>
                    <a:lnTo>
                      <a:pt x="2553" y="4833"/>
                    </a:lnTo>
                    <a:lnTo>
                      <a:pt x="2553" y="4917"/>
                    </a:lnTo>
                    <a:lnTo>
                      <a:pt x="2720" y="4917"/>
                    </a:lnTo>
                    <a:lnTo>
                      <a:pt x="2804" y="4875"/>
                    </a:lnTo>
                    <a:lnTo>
                      <a:pt x="2867" y="4687"/>
                    </a:lnTo>
                    <a:lnTo>
                      <a:pt x="2909" y="4792"/>
                    </a:lnTo>
                    <a:lnTo>
                      <a:pt x="2846" y="4833"/>
                    </a:lnTo>
                    <a:lnTo>
                      <a:pt x="2846" y="4938"/>
                    </a:lnTo>
                    <a:lnTo>
                      <a:pt x="2971" y="4917"/>
                    </a:lnTo>
                    <a:lnTo>
                      <a:pt x="3013" y="4771"/>
                    </a:lnTo>
                    <a:lnTo>
                      <a:pt x="3055" y="4687"/>
                    </a:lnTo>
                    <a:lnTo>
                      <a:pt x="3055" y="4687"/>
                    </a:lnTo>
                    <a:lnTo>
                      <a:pt x="3034" y="4917"/>
                    </a:lnTo>
                    <a:lnTo>
                      <a:pt x="3055" y="5001"/>
                    </a:lnTo>
                    <a:lnTo>
                      <a:pt x="3160" y="5001"/>
                    </a:lnTo>
                    <a:lnTo>
                      <a:pt x="3327" y="5105"/>
                    </a:lnTo>
                    <a:lnTo>
                      <a:pt x="3432" y="5043"/>
                    </a:lnTo>
                    <a:lnTo>
                      <a:pt x="3495" y="5022"/>
                    </a:lnTo>
                    <a:lnTo>
                      <a:pt x="3536" y="5105"/>
                    </a:lnTo>
                    <a:lnTo>
                      <a:pt x="3662" y="5084"/>
                    </a:lnTo>
                    <a:lnTo>
                      <a:pt x="3746" y="5022"/>
                    </a:lnTo>
                    <a:lnTo>
                      <a:pt x="3746" y="4896"/>
                    </a:lnTo>
                    <a:lnTo>
                      <a:pt x="3850" y="4792"/>
                    </a:lnTo>
                    <a:lnTo>
                      <a:pt x="3892" y="4729"/>
                    </a:lnTo>
                    <a:lnTo>
                      <a:pt x="3850" y="4603"/>
                    </a:lnTo>
                    <a:lnTo>
                      <a:pt x="3871" y="4520"/>
                    </a:lnTo>
                    <a:lnTo>
                      <a:pt x="3913" y="4520"/>
                    </a:lnTo>
                    <a:lnTo>
                      <a:pt x="3955" y="4666"/>
                    </a:lnTo>
                    <a:lnTo>
                      <a:pt x="3997" y="4687"/>
                    </a:lnTo>
                    <a:lnTo>
                      <a:pt x="3997" y="4729"/>
                    </a:lnTo>
                    <a:lnTo>
                      <a:pt x="3913" y="4812"/>
                    </a:lnTo>
                    <a:lnTo>
                      <a:pt x="3871" y="4980"/>
                    </a:lnTo>
                    <a:lnTo>
                      <a:pt x="3892" y="5210"/>
                    </a:lnTo>
                    <a:lnTo>
                      <a:pt x="3997" y="5252"/>
                    </a:lnTo>
                    <a:lnTo>
                      <a:pt x="4101" y="5210"/>
                    </a:lnTo>
                    <a:lnTo>
                      <a:pt x="4122" y="5315"/>
                    </a:lnTo>
                    <a:lnTo>
                      <a:pt x="4227" y="5315"/>
                    </a:lnTo>
                    <a:lnTo>
                      <a:pt x="4269" y="5357"/>
                    </a:lnTo>
                    <a:lnTo>
                      <a:pt x="4373" y="5357"/>
                    </a:lnTo>
                    <a:lnTo>
                      <a:pt x="4583" y="5231"/>
                    </a:lnTo>
                    <a:lnTo>
                      <a:pt x="4687" y="5210"/>
                    </a:lnTo>
                    <a:lnTo>
                      <a:pt x="4855" y="5315"/>
                    </a:lnTo>
                    <a:lnTo>
                      <a:pt x="4938" y="5294"/>
                    </a:lnTo>
                    <a:lnTo>
                      <a:pt x="5022" y="5336"/>
                    </a:lnTo>
                    <a:lnTo>
                      <a:pt x="5064" y="5252"/>
                    </a:lnTo>
                    <a:lnTo>
                      <a:pt x="5064" y="5210"/>
                    </a:lnTo>
                    <a:lnTo>
                      <a:pt x="5147" y="5084"/>
                    </a:lnTo>
                    <a:lnTo>
                      <a:pt x="5231" y="5043"/>
                    </a:lnTo>
                    <a:lnTo>
                      <a:pt x="5231" y="5001"/>
                    </a:lnTo>
                    <a:lnTo>
                      <a:pt x="5168" y="4875"/>
                    </a:lnTo>
                    <a:lnTo>
                      <a:pt x="5168" y="4729"/>
                    </a:lnTo>
                    <a:lnTo>
                      <a:pt x="5231" y="4812"/>
                    </a:lnTo>
                    <a:lnTo>
                      <a:pt x="5231" y="4896"/>
                    </a:lnTo>
                    <a:lnTo>
                      <a:pt x="5336" y="5022"/>
                    </a:lnTo>
                    <a:lnTo>
                      <a:pt x="5378" y="4938"/>
                    </a:lnTo>
                    <a:lnTo>
                      <a:pt x="5524" y="4938"/>
                    </a:lnTo>
                    <a:lnTo>
                      <a:pt x="5566" y="4980"/>
                    </a:lnTo>
                    <a:lnTo>
                      <a:pt x="5587" y="4896"/>
                    </a:lnTo>
                    <a:lnTo>
                      <a:pt x="5566" y="4792"/>
                    </a:lnTo>
                    <a:lnTo>
                      <a:pt x="5566" y="4708"/>
                    </a:lnTo>
                    <a:lnTo>
                      <a:pt x="5524" y="4666"/>
                    </a:lnTo>
                    <a:lnTo>
                      <a:pt x="5378" y="4687"/>
                    </a:lnTo>
                    <a:lnTo>
                      <a:pt x="5252" y="4708"/>
                    </a:lnTo>
                    <a:lnTo>
                      <a:pt x="5231" y="4603"/>
                    </a:lnTo>
                    <a:lnTo>
                      <a:pt x="5273" y="4582"/>
                    </a:lnTo>
                    <a:lnTo>
                      <a:pt x="5336" y="4603"/>
                    </a:lnTo>
                    <a:lnTo>
                      <a:pt x="5461" y="4561"/>
                    </a:lnTo>
                    <a:lnTo>
                      <a:pt x="5545" y="4457"/>
                    </a:lnTo>
                    <a:lnTo>
                      <a:pt x="5587" y="4520"/>
                    </a:lnTo>
                    <a:lnTo>
                      <a:pt x="5671" y="4499"/>
                    </a:lnTo>
                    <a:lnTo>
                      <a:pt x="5733" y="4394"/>
                    </a:lnTo>
                    <a:lnTo>
                      <a:pt x="5691" y="4310"/>
                    </a:lnTo>
                    <a:lnTo>
                      <a:pt x="5775" y="4206"/>
                    </a:lnTo>
                    <a:lnTo>
                      <a:pt x="5754" y="4143"/>
                    </a:lnTo>
                    <a:lnTo>
                      <a:pt x="5796" y="4143"/>
                    </a:lnTo>
                    <a:lnTo>
                      <a:pt x="5838" y="4080"/>
                    </a:lnTo>
                    <a:lnTo>
                      <a:pt x="5691" y="4038"/>
                    </a:lnTo>
                    <a:lnTo>
                      <a:pt x="5566" y="4059"/>
                    </a:lnTo>
                    <a:lnTo>
                      <a:pt x="5629" y="3976"/>
                    </a:lnTo>
                    <a:lnTo>
                      <a:pt x="5691" y="3955"/>
                    </a:lnTo>
                    <a:lnTo>
                      <a:pt x="5691" y="3850"/>
                    </a:lnTo>
                    <a:lnTo>
                      <a:pt x="5587" y="3766"/>
                    </a:lnTo>
                    <a:lnTo>
                      <a:pt x="5357" y="3766"/>
                    </a:lnTo>
                    <a:lnTo>
                      <a:pt x="5336" y="3724"/>
                    </a:lnTo>
                    <a:lnTo>
                      <a:pt x="5336" y="3641"/>
                    </a:lnTo>
                    <a:lnTo>
                      <a:pt x="5378" y="3620"/>
                    </a:lnTo>
                    <a:lnTo>
                      <a:pt x="5357" y="3515"/>
                    </a:lnTo>
                    <a:lnTo>
                      <a:pt x="5168" y="3348"/>
                    </a:lnTo>
                    <a:lnTo>
                      <a:pt x="5106" y="3348"/>
                    </a:lnTo>
                    <a:lnTo>
                      <a:pt x="5001" y="3432"/>
                    </a:lnTo>
                    <a:lnTo>
                      <a:pt x="4834" y="3432"/>
                    </a:lnTo>
                    <a:lnTo>
                      <a:pt x="4687" y="3452"/>
                    </a:lnTo>
                    <a:lnTo>
                      <a:pt x="4478" y="3327"/>
                    </a:lnTo>
                    <a:lnTo>
                      <a:pt x="4436" y="3243"/>
                    </a:lnTo>
                    <a:lnTo>
                      <a:pt x="4394" y="3222"/>
                    </a:lnTo>
                    <a:lnTo>
                      <a:pt x="4290" y="3264"/>
                    </a:lnTo>
                    <a:lnTo>
                      <a:pt x="4206" y="3264"/>
                    </a:lnTo>
                    <a:lnTo>
                      <a:pt x="4122" y="3306"/>
                    </a:lnTo>
                    <a:lnTo>
                      <a:pt x="4018" y="3306"/>
                    </a:lnTo>
                    <a:lnTo>
                      <a:pt x="3976" y="3411"/>
                    </a:lnTo>
                    <a:lnTo>
                      <a:pt x="3913" y="3348"/>
                    </a:lnTo>
                    <a:lnTo>
                      <a:pt x="3808" y="3264"/>
                    </a:lnTo>
                    <a:lnTo>
                      <a:pt x="3704" y="3327"/>
                    </a:lnTo>
                    <a:lnTo>
                      <a:pt x="3578" y="3348"/>
                    </a:lnTo>
                    <a:lnTo>
                      <a:pt x="3578" y="3411"/>
                    </a:lnTo>
                    <a:lnTo>
                      <a:pt x="3536" y="3452"/>
                    </a:lnTo>
                    <a:lnTo>
                      <a:pt x="3536" y="3369"/>
                    </a:lnTo>
                    <a:lnTo>
                      <a:pt x="3474" y="3327"/>
                    </a:lnTo>
                    <a:lnTo>
                      <a:pt x="3369" y="3348"/>
                    </a:lnTo>
                    <a:lnTo>
                      <a:pt x="3139" y="3327"/>
                    </a:lnTo>
                    <a:lnTo>
                      <a:pt x="3076" y="3348"/>
                    </a:lnTo>
                    <a:lnTo>
                      <a:pt x="3160" y="3432"/>
                    </a:lnTo>
                    <a:lnTo>
                      <a:pt x="3160" y="3536"/>
                    </a:lnTo>
                    <a:lnTo>
                      <a:pt x="3264" y="3620"/>
                    </a:lnTo>
                    <a:lnTo>
                      <a:pt x="3139" y="3578"/>
                    </a:lnTo>
                    <a:lnTo>
                      <a:pt x="3076" y="3515"/>
                    </a:lnTo>
                    <a:lnTo>
                      <a:pt x="3013" y="3473"/>
                    </a:lnTo>
                    <a:lnTo>
                      <a:pt x="2867" y="3536"/>
                    </a:lnTo>
                    <a:lnTo>
                      <a:pt x="2804" y="3473"/>
                    </a:lnTo>
                    <a:lnTo>
                      <a:pt x="2930" y="3432"/>
                    </a:lnTo>
                    <a:lnTo>
                      <a:pt x="2930" y="3348"/>
                    </a:lnTo>
                    <a:lnTo>
                      <a:pt x="2804" y="3222"/>
                    </a:lnTo>
                    <a:lnTo>
                      <a:pt x="2825" y="3139"/>
                    </a:lnTo>
                    <a:lnTo>
                      <a:pt x="2762" y="3097"/>
                    </a:lnTo>
                    <a:lnTo>
                      <a:pt x="2637" y="3160"/>
                    </a:lnTo>
                    <a:lnTo>
                      <a:pt x="2658" y="3243"/>
                    </a:lnTo>
                    <a:lnTo>
                      <a:pt x="2637" y="3306"/>
                    </a:lnTo>
                    <a:lnTo>
                      <a:pt x="2532" y="3264"/>
                    </a:lnTo>
                    <a:lnTo>
                      <a:pt x="2595" y="3201"/>
                    </a:lnTo>
                    <a:lnTo>
                      <a:pt x="2553" y="3139"/>
                    </a:lnTo>
                    <a:lnTo>
                      <a:pt x="2448" y="3097"/>
                    </a:lnTo>
                    <a:lnTo>
                      <a:pt x="2406" y="3139"/>
                    </a:lnTo>
                    <a:lnTo>
                      <a:pt x="2323" y="3139"/>
                    </a:lnTo>
                    <a:lnTo>
                      <a:pt x="2344" y="3034"/>
                    </a:lnTo>
                    <a:lnTo>
                      <a:pt x="2344" y="2992"/>
                    </a:lnTo>
                    <a:lnTo>
                      <a:pt x="2323" y="2888"/>
                    </a:lnTo>
                    <a:lnTo>
                      <a:pt x="2218" y="2908"/>
                    </a:lnTo>
                    <a:lnTo>
                      <a:pt x="2093" y="3034"/>
                    </a:lnTo>
                    <a:lnTo>
                      <a:pt x="2114" y="3160"/>
                    </a:lnTo>
                    <a:lnTo>
                      <a:pt x="2030" y="3160"/>
                    </a:lnTo>
                    <a:lnTo>
                      <a:pt x="1988" y="3055"/>
                    </a:lnTo>
                    <a:lnTo>
                      <a:pt x="2030" y="2992"/>
                    </a:lnTo>
                    <a:lnTo>
                      <a:pt x="2030" y="2908"/>
                    </a:lnTo>
                    <a:lnTo>
                      <a:pt x="2093" y="2720"/>
                    </a:lnTo>
                    <a:lnTo>
                      <a:pt x="2009" y="2636"/>
                    </a:lnTo>
                    <a:lnTo>
                      <a:pt x="1883" y="2699"/>
                    </a:lnTo>
                    <a:lnTo>
                      <a:pt x="1883" y="2636"/>
                    </a:lnTo>
                    <a:lnTo>
                      <a:pt x="1988" y="2616"/>
                    </a:lnTo>
                    <a:lnTo>
                      <a:pt x="2030" y="2490"/>
                    </a:lnTo>
                    <a:lnTo>
                      <a:pt x="2009" y="2385"/>
                    </a:lnTo>
                    <a:lnTo>
                      <a:pt x="1925" y="2427"/>
                    </a:lnTo>
                    <a:lnTo>
                      <a:pt x="1862" y="2385"/>
                    </a:lnTo>
                    <a:lnTo>
                      <a:pt x="1800" y="2427"/>
                    </a:lnTo>
                    <a:lnTo>
                      <a:pt x="1695" y="2427"/>
                    </a:lnTo>
                    <a:lnTo>
                      <a:pt x="1758" y="2385"/>
                    </a:lnTo>
                    <a:lnTo>
                      <a:pt x="1758" y="2323"/>
                    </a:lnTo>
                    <a:lnTo>
                      <a:pt x="1653" y="2323"/>
                    </a:lnTo>
                    <a:lnTo>
                      <a:pt x="1590" y="2406"/>
                    </a:lnTo>
                    <a:lnTo>
                      <a:pt x="1444" y="2427"/>
                    </a:lnTo>
                    <a:lnTo>
                      <a:pt x="1444" y="2364"/>
                    </a:lnTo>
                    <a:lnTo>
                      <a:pt x="1507" y="2323"/>
                    </a:lnTo>
                    <a:lnTo>
                      <a:pt x="1570" y="2218"/>
                    </a:lnTo>
                    <a:lnTo>
                      <a:pt x="1590" y="2155"/>
                    </a:lnTo>
                    <a:lnTo>
                      <a:pt x="1674" y="2155"/>
                    </a:lnTo>
                    <a:lnTo>
                      <a:pt x="1779" y="2260"/>
                    </a:lnTo>
                    <a:lnTo>
                      <a:pt x="1925" y="2260"/>
                    </a:lnTo>
                    <a:lnTo>
                      <a:pt x="1904" y="2197"/>
                    </a:lnTo>
                    <a:lnTo>
                      <a:pt x="1800" y="2071"/>
                    </a:lnTo>
                    <a:lnTo>
                      <a:pt x="1695" y="2071"/>
                    </a:lnTo>
                    <a:lnTo>
                      <a:pt x="1758" y="2009"/>
                    </a:lnTo>
                    <a:lnTo>
                      <a:pt x="1611" y="1883"/>
                    </a:lnTo>
                    <a:lnTo>
                      <a:pt x="1507" y="1841"/>
                    </a:lnTo>
                    <a:lnTo>
                      <a:pt x="1570" y="1799"/>
                    </a:lnTo>
                    <a:lnTo>
                      <a:pt x="1590" y="1737"/>
                    </a:lnTo>
                    <a:lnTo>
                      <a:pt x="1653" y="1737"/>
                    </a:lnTo>
                    <a:lnTo>
                      <a:pt x="1695" y="1841"/>
                    </a:lnTo>
                    <a:lnTo>
                      <a:pt x="1800" y="1967"/>
                    </a:lnTo>
                    <a:lnTo>
                      <a:pt x="1967" y="1988"/>
                    </a:lnTo>
                    <a:lnTo>
                      <a:pt x="2030" y="2092"/>
                    </a:lnTo>
                    <a:lnTo>
                      <a:pt x="2114" y="2009"/>
                    </a:lnTo>
                    <a:lnTo>
                      <a:pt x="2176" y="2092"/>
                    </a:lnTo>
                    <a:lnTo>
                      <a:pt x="2344" y="2155"/>
                    </a:lnTo>
                    <a:lnTo>
                      <a:pt x="2448" y="2155"/>
                    </a:lnTo>
                    <a:lnTo>
                      <a:pt x="2511" y="2051"/>
                    </a:lnTo>
                    <a:lnTo>
                      <a:pt x="2490" y="1904"/>
                    </a:lnTo>
                    <a:lnTo>
                      <a:pt x="2239" y="1758"/>
                    </a:lnTo>
                    <a:lnTo>
                      <a:pt x="2134" y="1653"/>
                    </a:lnTo>
                    <a:lnTo>
                      <a:pt x="2072" y="1653"/>
                    </a:lnTo>
                    <a:lnTo>
                      <a:pt x="2030" y="1548"/>
                    </a:lnTo>
                    <a:lnTo>
                      <a:pt x="1925" y="1444"/>
                    </a:lnTo>
                    <a:lnTo>
                      <a:pt x="1883" y="1444"/>
                    </a:lnTo>
                    <a:lnTo>
                      <a:pt x="1821" y="1381"/>
                    </a:lnTo>
                    <a:lnTo>
                      <a:pt x="1883" y="1318"/>
                    </a:lnTo>
                    <a:lnTo>
                      <a:pt x="1967" y="1339"/>
                    </a:lnTo>
                    <a:lnTo>
                      <a:pt x="2030" y="1444"/>
                    </a:lnTo>
                    <a:lnTo>
                      <a:pt x="2114" y="1444"/>
                    </a:lnTo>
                    <a:lnTo>
                      <a:pt x="2134" y="1548"/>
                    </a:lnTo>
                    <a:lnTo>
                      <a:pt x="2197" y="1548"/>
                    </a:lnTo>
                    <a:lnTo>
                      <a:pt x="2239" y="1465"/>
                    </a:lnTo>
                    <a:lnTo>
                      <a:pt x="2197" y="1276"/>
                    </a:lnTo>
                    <a:lnTo>
                      <a:pt x="2072" y="1130"/>
                    </a:lnTo>
                    <a:lnTo>
                      <a:pt x="1988" y="1130"/>
                    </a:lnTo>
                    <a:lnTo>
                      <a:pt x="1967" y="1109"/>
                    </a:lnTo>
                    <a:lnTo>
                      <a:pt x="1821" y="1109"/>
                    </a:lnTo>
                    <a:lnTo>
                      <a:pt x="1695" y="1172"/>
                    </a:lnTo>
                    <a:lnTo>
                      <a:pt x="1590" y="1172"/>
                    </a:lnTo>
                    <a:lnTo>
                      <a:pt x="1486" y="1109"/>
                    </a:lnTo>
                    <a:lnTo>
                      <a:pt x="1402" y="1130"/>
                    </a:lnTo>
                    <a:lnTo>
                      <a:pt x="1360" y="1025"/>
                    </a:lnTo>
                    <a:lnTo>
                      <a:pt x="1235" y="1214"/>
                    </a:lnTo>
                    <a:lnTo>
                      <a:pt x="1067" y="1276"/>
                    </a:lnTo>
                    <a:lnTo>
                      <a:pt x="1046" y="1381"/>
                    </a:lnTo>
                    <a:lnTo>
                      <a:pt x="963" y="1423"/>
                    </a:lnTo>
                    <a:lnTo>
                      <a:pt x="963" y="1339"/>
                    </a:lnTo>
                    <a:lnTo>
                      <a:pt x="1046" y="1235"/>
                    </a:lnTo>
                    <a:lnTo>
                      <a:pt x="1088" y="1235"/>
                    </a:lnTo>
                    <a:lnTo>
                      <a:pt x="1339" y="1004"/>
                    </a:lnTo>
                    <a:lnTo>
                      <a:pt x="1360" y="921"/>
                    </a:lnTo>
                    <a:lnTo>
                      <a:pt x="1298" y="816"/>
                    </a:lnTo>
                    <a:lnTo>
                      <a:pt x="1298" y="544"/>
                    </a:lnTo>
                    <a:lnTo>
                      <a:pt x="1339" y="523"/>
                    </a:lnTo>
                    <a:lnTo>
                      <a:pt x="1256" y="419"/>
                    </a:lnTo>
                    <a:lnTo>
                      <a:pt x="1193" y="481"/>
                    </a:lnTo>
                    <a:lnTo>
                      <a:pt x="1088" y="481"/>
                    </a:lnTo>
                    <a:lnTo>
                      <a:pt x="1026" y="419"/>
                    </a:lnTo>
                    <a:lnTo>
                      <a:pt x="1026" y="314"/>
                    </a:lnTo>
                    <a:lnTo>
                      <a:pt x="1026" y="230"/>
                    </a:lnTo>
                    <a:lnTo>
                      <a:pt x="816" y="188"/>
                    </a:lnTo>
                    <a:lnTo>
                      <a:pt x="733" y="84"/>
                    </a:lnTo>
                    <a:lnTo>
                      <a:pt x="628" y="84"/>
                    </a:lnTo>
                    <a:lnTo>
                      <a:pt x="50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1" name="Google Shape;1961;p66"/>
              <p:cNvSpPr/>
              <p:nvPr/>
            </p:nvSpPr>
            <p:spPr>
              <a:xfrm>
                <a:off x="2687175" y="1694400"/>
                <a:ext cx="33500" cy="37675"/>
              </a:xfrm>
              <a:custGeom>
                <a:avLst/>
                <a:gdLst/>
                <a:ahLst/>
                <a:cxnLst/>
                <a:rect l="l" t="t" r="r" b="b"/>
                <a:pathLst>
                  <a:path w="1340" h="1507" extrusionOk="0">
                    <a:moveTo>
                      <a:pt x="796" y="0"/>
                    </a:moveTo>
                    <a:lnTo>
                      <a:pt x="670" y="21"/>
                    </a:lnTo>
                    <a:lnTo>
                      <a:pt x="607" y="84"/>
                    </a:lnTo>
                    <a:lnTo>
                      <a:pt x="691" y="147"/>
                    </a:lnTo>
                    <a:lnTo>
                      <a:pt x="691" y="231"/>
                    </a:lnTo>
                    <a:lnTo>
                      <a:pt x="628" y="210"/>
                    </a:lnTo>
                    <a:lnTo>
                      <a:pt x="565" y="147"/>
                    </a:lnTo>
                    <a:lnTo>
                      <a:pt x="461" y="126"/>
                    </a:lnTo>
                    <a:lnTo>
                      <a:pt x="419" y="210"/>
                    </a:lnTo>
                    <a:lnTo>
                      <a:pt x="524" y="210"/>
                    </a:lnTo>
                    <a:lnTo>
                      <a:pt x="565" y="251"/>
                    </a:lnTo>
                    <a:lnTo>
                      <a:pt x="524" y="293"/>
                    </a:lnTo>
                    <a:lnTo>
                      <a:pt x="398" y="314"/>
                    </a:lnTo>
                    <a:lnTo>
                      <a:pt x="356" y="335"/>
                    </a:lnTo>
                    <a:lnTo>
                      <a:pt x="398" y="440"/>
                    </a:lnTo>
                    <a:lnTo>
                      <a:pt x="419" y="461"/>
                    </a:lnTo>
                    <a:lnTo>
                      <a:pt x="419" y="523"/>
                    </a:lnTo>
                    <a:lnTo>
                      <a:pt x="293" y="461"/>
                    </a:lnTo>
                    <a:lnTo>
                      <a:pt x="168" y="503"/>
                    </a:lnTo>
                    <a:lnTo>
                      <a:pt x="84" y="565"/>
                    </a:lnTo>
                    <a:lnTo>
                      <a:pt x="42" y="712"/>
                    </a:lnTo>
                    <a:lnTo>
                      <a:pt x="0" y="733"/>
                    </a:lnTo>
                    <a:lnTo>
                      <a:pt x="0" y="754"/>
                    </a:lnTo>
                    <a:lnTo>
                      <a:pt x="63" y="754"/>
                    </a:lnTo>
                    <a:lnTo>
                      <a:pt x="42" y="837"/>
                    </a:lnTo>
                    <a:lnTo>
                      <a:pt x="42" y="879"/>
                    </a:lnTo>
                    <a:lnTo>
                      <a:pt x="63" y="921"/>
                    </a:lnTo>
                    <a:lnTo>
                      <a:pt x="147" y="816"/>
                    </a:lnTo>
                    <a:lnTo>
                      <a:pt x="168" y="837"/>
                    </a:lnTo>
                    <a:lnTo>
                      <a:pt x="105" y="963"/>
                    </a:lnTo>
                    <a:lnTo>
                      <a:pt x="147" y="1026"/>
                    </a:lnTo>
                    <a:lnTo>
                      <a:pt x="210" y="1067"/>
                    </a:lnTo>
                    <a:lnTo>
                      <a:pt x="272" y="1047"/>
                    </a:lnTo>
                    <a:lnTo>
                      <a:pt x="293" y="1067"/>
                    </a:lnTo>
                    <a:lnTo>
                      <a:pt x="314" y="1151"/>
                    </a:lnTo>
                    <a:lnTo>
                      <a:pt x="356" y="1151"/>
                    </a:lnTo>
                    <a:lnTo>
                      <a:pt x="398" y="1088"/>
                    </a:lnTo>
                    <a:lnTo>
                      <a:pt x="461" y="1130"/>
                    </a:lnTo>
                    <a:lnTo>
                      <a:pt x="461" y="1256"/>
                    </a:lnTo>
                    <a:lnTo>
                      <a:pt x="482" y="1298"/>
                    </a:lnTo>
                    <a:lnTo>
                      <a:pt x="586" y="1277"/>
                    </a:lnTo>
                    <a:lnTo>
                      <a:pt x="607" y="1402"/>
                    </a:lnTo>
                    <a:lnTo>
                      <a:pt x="712" y="1402"/>
                    </a:lnTo>
                    <a:lnTo>
                      <a:pt x="837" y="1486"/>
                    </a:lnTo>
                    <a:lnTo>
                      <a:pt x="942" y="1486"/>
                    </a:lnTo>
                    <a:lnTo>
                      <a:pt x="1005" y="1507"/>
                    </a:lnTo>
                    <a:lnTo>
                      <a:pt x="1026" y="1486"/>
                    </a:lnTo>
                    <a:lnTo>
                      <a:pt x="1005" y="1402"/>
                    </a:lnTo>
                    <a:lnTo>
                      <a:pt x="1088" y="1381"/>
                    </a:lnTo>
                    <a:lnTo>
                      <a:pt x="1151" y="1235"/>
                    </a:lnTo>
                    <a:lnTo>
                      <a:pt x="1130" y="1088"/>
                    </a:lnTo>
                    <a:lnTo>
                      <a:pt x="1214" y="942"/>
                    </a:lnTo>
                    <a:lnTo>
                      <a:pt x="1235" y="921"/>
                    </a:lnTo>
                    <a:lnTo>
                      <a:pt x="1319" y="712"/>
                    </a:lnTo>
                    <a:lnTo>
                      <a:pt x="1319" y="565"/>
                    </a:lnTo>
                    <a:lnTo>
                      <a:pt x="1340" y="523"/>
                    </a:lnTo>
                    <a:lnTo>
                      <a:pt x="1319" y="419"/>
                    </a:lnTo>
                    <a:lnTo>
                      <a:pt x="1235" y="335"/>
                    </a:lnTo>
                    <a:lnTo>
                      <a:pt x="1235" y="210"/>
                    </a:lnTo>
                    <a:lnTo>
                      <a:pt x="1193" y="147"/>
                    </a:lnTo>
                    <a:lnTo>
                      <a:pt x="1151" y="42"/>
                    </a:lnTo>
                    <a:lnTo>
                      <a:pt x="1005" y="0"/>
                    </a:lnTo>
                    <a:lnTo>
                      <a:pt x="900" y="42"/>
                    </a:lnTo>
                    <a:lnTo>
                      <a:pt x="79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2" name="Google Shape;1962;p66"/>
              <p:cNvSpPr/>
              <p:nvPr/>
            </p:nvSpPr>
            <p:spPr>
              <a:xfrm>
                <a:off x="2605050" y="1520200"/>
                <a:ext cx="42400" cy="26175"/>
              </a:xfrm>
              <a:custGeom>
                <a:avLst/>
                <a:gdLst/>
                <a:ahLst/>
                <a:cxnLst/>
                <a:rect l="l" t="t" r="r" b="b"/>
                <a:pathLst>
                  <a:path w="1696" h="1047" extrusionOk="0">
                    <a:moveTo>
                      <a:pt x="1570" y="1"/>
                    </a:moveTo>
                    <a:lnTo>
                      <a:pt x="1486" y="64"/>
                    </a:lnTo>
                    <a:lnTo>
                      <a:pt x="1256" y="64"/>
                    </a:lnTo>
                    <a:lnTo>
                      <a:pt x="1130" y="168"/>
                    </a:lnTo>
                    <a:lnTo>
                      <a:pt x="963" y="168"/>
                    </a:lnTo>
                    <a:lnTo>
                      <a:pt x="921" y="189"/>
                    </a:lnTo>
                    <a:lnTo>
                      <a:pt x="816" y="105"/>
                    </a:lnTo>
                    <a:lnTo>
                      <a:pt x="712" y="84"/>
                    </a:lnTo>
                    <a:lnTo>
                      <a:pt x="356" y="189"/>
                    </a:lnTo>
                    <a:lnTo>
                      <a:pt x="126" y="189"/>
                    </a:lnTo>
                    <a:lnTo>
                      <a:pt x="105" y="273"/>
                    </a:lnTo>
                    <a:lnTo>
                      <a:pt x="0" y="377"/>
                    </a:lnTo>
                    <a:lnTo>
                      <a:pt x="0" y="482"/>
                    </a:lnTo>
                    <a:lnTo>
                      <a:pt x="105" y="461"/>
                    </a:lnTo>
                    <a:lnTo>
                      <a:pt x="231" y="461"/>
                    </a:lnTo>
                    <a:lnTo>
                      <a:pt x="314" y="419"/>
                    </a:lnTo>
                    <a:lnTo>
                      <a:pt x="398" y="461"/>
                    </a:lnTo>
                    <a:lnTo>
                      <a:pt x="503" y="461"/>
                    </a:lnTo>
                    <a:lnTo>
                      <a:pt x="565" y="503"/>
                    </a:lnTo>
                    <a:lnTo>
                      <a:pt x="503" y="587"/>
                    </a:lnTo>
                    <a:lnTo>
                      <a:pt x="544" y="712"/>
                    </a:lnTo>
                    <a:lnTo>
                      <a:pt x="628" y="817"/>
                    </a:lnTo>
                    <a:lnTo>
                      <a:pt x="712" y="712"/>
                    </a:lnTo>
                    <a:lnTo>
                      <a:pt x="712" y="628"/>
                    </a:lnTo>
                    <a:lnTo>
                      <a:pt x="754" y="587"/>
                    </a:lnTo>
                    <a:lnTo>
                      <a:pt x="858" y="712"/>
                    </a:lnTo>
                    <a:lnTo>
                      <a:pt x="837" y="838"/>
                    </a:lnTo>
                    <a:lnTo>
                      <a:pt x="984" y="1005"/>
                    </a:lnTo>
                    <a:lnTo>
                      <a:pt x="1088" y="984"/>
                    </a:lnTo>
                    <a:lnTo>
                      <a:pt x="1151" y="1047"/>
                    </a:lnTo>
                    <a:lnTo>
                      <a:pt x="1360" y="1047"/>
                    </a:lnTo>
                    <a:lnTo>
                      <a:pt x="1465" y="942"/>
                    </a:lnTo>
                    <a:lnTo>
                      <a:pt x="1591" y="900"/>
                    </a:lnTo>
                    <a:lnTo>
                      <a:pt x="1674" y="670"/>
                    </a:lnTo>
                    <a:lnTo>
                      <a:pt x="1591" y="503"/>
                    </a:lnTo>
                    <a:lnTo>
                      <a:pt x="1695" y="356"/>
                    </a:lnTo>
                    <a:lnTo>
                      <a:pt x="1695" y="273"/>
                    </a:lnTo>
                    <a:lnTo>
                      <a:pt x="1612" y="147"/>
                    </a:lnTo>
                    <a:lnTo>
                      <a:pt x="1653" y="64"/>
                    </a:lnTo>
                    <a:lnTo>
                      <a:pt x="157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3" name="Google Shape;1963;p66"/>
              <p:cNvSpPr/>
              <p:nvPr/>
            </p:nvSpPr>
            <p:spPr>
              <a:xfrm>
                <a:off x="2443425" y="1547400"/>
                <a:ext cx="109875" cy="60700"/>
              </a:xfrm>
              <a:custGeom>
                <a:avLst/>
                <a:gdLst/>
                <a:ahLst/>
                <a:cxnLst/>
                <a:rect l="l" t="t" r="r" b="b"/>
                <a:pathLst>
                  <a:path w="4395" h="2428" extrusionOk="0">
                    <a:moveTo>
                      <a:pt x="4268" y="1"/>
                    </a:moveTo>
                    <a:lnTo>
                      <a:pt x="4185" y="43"/>
                    </a:lnTo>
                    <a:lnTo>
                      <a:pt x="4059" y="105"/>
                    </a:lnTo>
                    <a:lnTo>
                      <a:pt x="4059" y="252"/>
                    </a:lnTo>
                    <a:lnTo>
                      <a:pt x="4038" y="336"/>
                    </a:lnTo>
                    <a:lnTo>
                      <a:pt x="4059" y="377"/>
                    </a:lnTo>
                    <a:lnTo>
                      <a:pt x="3955" y="419"/>
                    </a:lnTo>
                    <a:lnTo>
                      <a:pt x="3934" y="315"/>
                    </a:lnTo>
                    <a:lnTo>
                      <a:pt x="3892" y="315"/>
                    </a:lnTo>
                    <a:lnTo>
                      <a:pt x="3871" y="377"/>
                    </a:lnTo>
                    <a:lnTo>
                      <a:pt x="3829" y="440"/>
                    </a:lnTo>
                    <a:lnTo>
                      <a:pt x="3766" y="357"/>
                    </a:lnTo>
                    <a:lnTo>
                      <a:pt x="3745" y="168"/>
                    </a:lnTo>
                    <a:lnTo>
                      <a:pt x="3641" y="64"/>
                    </a:lnTo>
                    <a:lnTo>
                      <a:pt x="3578" y="64"/>
                    </a:lnTo>
                    <a:lnTo>
                      <a:pt x="3557" y="126"/>
                    </a:lnTo>
                    <a:lnTo>
                      <a:pt x="3432" y="126"/>
                    </a:lnTo>
                    <a:lnTo>
                      <a:pt x="3306" y="64"/>
                    </a:lnTo>
                    <a:lnTo>
                      <a:pt x="3222" y="64"/>
                    </a:lnTo>
                    <a:lnTo>
                      <a:pt x="2992" y="43"/>
                    </a:lnTo>
                    <a:lnTo>
                      <a:pt x="2846" y="126"/>
                    </a:lnTo>
                    <a:lnTo>
                      <a:pt x="2804" y="231"/>
                    </a:lnTo>
                    <a:lnTo>
                      <a:pt x="2741" y="315"/>
                    </a:lnTo>
                    <a:lnTo>
                      <a:pt x="2699" y="273"/>
                    </a:lnTo>
                    <a:lnTo>
                      <a:pt x="2636" y="273"/>
                    </a:lnTo>
                    <a:lnTo>
                      <a:pt x="2364" y="482"/>
                    </a:lnTo>
                    <a:lnTo>
                      <a:pt x="2281" y="566"/>
                    </a:lnTo>
                    <a:lnTo>
                      <a:pt x="2197" y="566"/>
                    </a:lnTo>
                    <a:lnTo>
                      <a:pt x="2051" y="670"/>
                    </a:lnTo>
                    <a:lnTo>
                      <a:pt x="1946" y="691"/>
                    </a:lnTo>
                    <a:lnTo>
                      <a:pt x="1862" y="775"/>
                    </a:lnTo>
                    <a:lnTo>
                      <a:pt x="1841" y="859"/>
                    </a:lnTo>
                    <a:lnTo>
                      <a:pt x="1653" y="859"/>
                    </a:lnTo>
                    <a:lnTo>
                      <a:pt x="1590" y="880"/>
                    </a:lnTo>
                    <a:lnTo>
                      <a:pt x="1465" y="859"/>
                    </a:lnTo>
                    <a:lnTo>
                      <a:pt x="1423" y="901"/>
                    </a:lnTo>
                    <a:lnTo>
                      <a:pt x="1339" y="901"/>
                    </a:lnTo>
                    <a:lnTo>
                      <a:pt x="1151" y="1068"/>
                    </a:lnTo>
                    <a:lnTo>
                      <a:pt x="1025" y="1152"/>
                    </a:lnTo>
                    <a:lnTo>
                      <a:pt x="900" y="1089"/>
                    </a:lnTo>
                    <a:lnTo>
                      <a:pt x="795" y="1152"/>
                    </a:lnTo>
                    <a:lnTo>
                      <a:pt x="523" y="1193"/>
                    </a:lnTo>
                    <a:lnTo>
                      <a:pt x="398" y="1382"/>
                    </a:lnTo>
                    <a:lnTo>
                      <a:pt x="314" y="1382"/>
                    </a:lnTo>
                    <a:lnTo>
                      <a:pt x="167" y="1403"/>
                    </a:lnTo>
                    <a:lnTo>
                      <a:pt x="105" y="1528"/>
                    </a:lnTo>
                    <a:lnTo>
                      <a:pt x="209" y="1528"/>
                    </a:lnTo>
                    <a:lnTo>
                      <a:pt x="272" y="1591"/>
                    </a:lnTo>
                    <a:lnTo>
                      <a:pt x="167" y="1591"/>
                    </a:lnTo>
                    <a:lnTo>
                      <a:pt x="126" y="1633"/>
                    </a:lnTo>
                    <a:lnTo>
                      <a:pt x="209" y="1717"/>
                    </a:lnTo>
                    <a:lnTo>
                      <a:pt x="188" y="1779"/>
                    </a:lnTo>
                    <a:lnTo>
                      <a:pt x="0" y="1842"/>
                    </a:lnTo>
                    <a:lnTo>
                      <a:pt x="0" y="1905"/>
                    </a:lnTo>
                    <a:lnTo>
                      <a:pt x="126" y="1926"/>
                    </a:lnTo>
                    <a:lnTo>
                      <a:pt x="230" y="1905"/>
                    </a:lnTo>
                    <a:lnTo>
                      <a:pt x="293" y="1821"/>
                    </a:lnTo>
                    <a:lnTo>
                      <a:pt x="377" y="1800"/>
                    </a:lnTo>
                    <a:lnTo>
                      <a:pt x="481" y="1842"/>
                    </a:lnTo>
                    <a:lnTo>
                      <a:pt x="586" y="1989"/>
                    </a:lnTo>
                    <a:lnTo>
                      <a:pt x="586" y="2114"/>
                    </a:lnTo>
                    <a:lnTo>
                      <a:pt x="691" y="2156"/>
                    </a:lnTo>
                    <a:lnTo>
                      <a:pt x="732" y="2114"/>
                    </a:lnTo>
                    <a:lnTo>
                      <a:pt x="732" y="2009"/>
                    </a:lnTo>
                    <a:lnTo>
                      <a:pt x="753" y="1989"/>
                    </a:lnTo>
                    <a:lnTo>
                      <a:pt x="816" y="1821"/>
                    </a:lnTo>
                    <a:lnTo>
                      <a:pt x="858" y="1821"/>
                    </a:lnTo>
                    <a:lnTo>
                      <a:pt x="1004" y="1779"/>
                    </a:lnTo>
                    <a:lnTo>
                      <a:pt x="1067" y="1800"/>
                    </a:lnTo>
                    <a:lnTo>
                      <a:pt x="1046" y="1884"/>
                    </a:lnTo>
                    <a:lnTo>
                      <a:pt x="942" y="1926"/>
                    </a:lnTo>
                    <a:lnTo>
                      <a:pt x="900" y="2093"/>
                    </a:lnTo>
                    <a:lnTo>
                      <a:pt x="942" y="2156"/>
                    </a:lnTo>
                    <a:lnTo>
                      <a:pt x="858" y="2240"/>
                    </a:lnTo>
                    <a:lnTo>
                      <a:pt x="816" y="2323"/>
                    </a:lnTo>
                    <a:lnTo>
                      <a:pt x="858" y="2407"/>
                    </a:lnTo>
                    <a:lnTo>
                      <a:pt x="921" y="2323"/>
                    </a:lnTo>
                    <a:lnTo>
                      <a:pt x="1004" y="2344"/>
                    </a:lnTo>
                    <a:lnTo>
                      <a:pt x="1004" y="2428"/>
                    </a:lnTo>
                    <a:lnTo>
                      <a:pt x="1046" y="2428"/>
                    </a:lnTo>
                    <a:lnTo>
                      <a:pt x="1235" y="2323"/>
                    </a:lnTo>
                    <a:lnTo>
                      <a:pt x="1318" y="2219"/>
                    </a:lnTo>
                    <a:lnTo>
                      <a:pt x="1381" y="2240"/>
                    </a:lnTo>
                    <a:lnTo>
                      <a:pt x="1444" y="2135"/>
                    </a:lnTo>
                    <a:lnTo>
                      <a:pt x="1444" y="2009"/>
                    </a:lnTo>
                    <a:lnTo>
                      <a:pt x="1527" y="2009"/>
                    </a:lnTo>
                    <a:lnTo>
                      <a:pt x="1590" y="1905"/>
                    </a:lnTo>
                    <a:lnTo>
                      <a:pt x="1590" y="1779"/>
                    </a:lnTo>
                    <a:lnTo>
                      <a:pt x="1653" y="1717"/>
                    </a:lnTo>
                    <a:lnTo>
                      <a:pt x="1674" y="1779"/>
                    </a:lnTo>
                    <a:lnTo>
                      <a:pt x="1653" y="1842"/>
                    </a:lnTo>
                    <a:lnTo>
                      <a:pt x="1674" y="1926"/>
                    </a:lnTo>
                    <a:lnTo>
                      <a:pt x="1653" y="2051"/>
                    </a:lnTo>
                    <a:lnTo>
                      <a:pt x="1674" y="2198"/>
                    </a:lnTo>
                    <a:lnTo>
                      <a:pt x="1737" y="2198"/>
                    </a:lnTo>
                    <a:lnTo>
                      <a:pt x="1841" y="2051"/>
                    </a:lnTo>
                    <a:lnTo>
                      <a:pt x="1862" y="1926"/>
                    </a:lnTo>
                    <a:lnTo>
                      <a:pt x="1883" y="1884"/>
                    </a:lnTo>
                    <a:lnTo>
                      <a:pt x="1967" y="1842"/>
                    </a:lnTo>
                    <a:lnTo>
                      <a:pt x="2092" y="1696"/>
                    </a:lnTo>
                    <a:lnTo>
                      <a:pt x="2113" y="1570"/>
                    </a:lnTo>
                    <a:lnTo>
                      <a:pt x="2092" y="1465"/>
                    </a:lnTo>
                    <a:lnTo>
                      <a:pt x="2155" y="1361"/>
                    </a:lnTo>
                    <a:lnTo>
                      <a:pt x="2197" y="1486"/>
                    </a:lnTo>
                    <a:lnTo>
                      <a:pt x="2406" y="1361"/>
                    </a:lnTo>
                    <a:lnTo>
                      <a:pt x="2469" y="1193"/>
                    </a:lnTo>
                    <a:lnTo>
                      <a:pt x="2490" y="1089"/>
                    </a:lnTo>
                    <a:lnTo>
                      <a:pt x="2595" y="1068"/>
                    </a:lnTo>
                    <a:lnTo>
                      <a:pt x="2636" y="1047"/>
                    </a:lnTo>
                    <a:lnTo>
                      <a:pt x="2720" y="1089"/>
                    </a:lnTo>
                    <a:lnTo>
                      <a:pt x="2825" y="984"/>
                    </a:lnTo>
                    <a:lnTo>
                      <a:pt x="2888" y="1047"/>
                    </a:lnTo>
                    <a:lnTo>
                      <a:pt x="2825" y="1256"/>
                    </a:lnTo>
                    <a:lnTo>
                      <a:pt x="2678" y="1403"/>
                    </a:lnTo>
                    <a:lnTo>
                      <a:pt x="2636" y="1507"/>
                    </a:lnTo>
                    <a:lnTo>
                      <a:pt x="2574" y="1591"/>
                    </a:lnTo>
                    <a:lnTo>
                      <a:pt x="2574" y="1633"/>
                    </a:lnTo>
                    <a:lnTo>
                      <a:pt x="2469" y="1696"/>
                    </a:lnTo>
                    <a:lnTo>
                      <a:pt x="2323" y="1926"/>
                    </a:lnTo>
                    <a:lnTo>
                      <a:pt x="2323" y="1989"/>
                    </a:lnTo>
                    <a:lnTo>
                      <a:pt x="2385" y="2093"/>
                    </a:lnTo>
                    <a:lnTo>
                      <a:pt x="2364" y="2198"/>
                    </a:lnTo>
                    <a:lnTo>
                      <a:pt x="2427" y="2219"/>
                    </a:lnTo>
                    <a:lnTo>
                      <a:pt x="2532" y="2261"/>
                    </a:lnTo>
                    <a:lnTo>
                      <a:pt x="2616" y="2198"/>
                    </a:lnTo>
                    <a:lnTo>
                      <a:pt x="2720" y="2135"/>
                    </a:lnTo>
                    <a:lnTo>
                      <a:pt x="2741" y="2030"/>
                    </a:lnTo>
                    <a:lnTo>
                      <a:pt x="2741" y="1926"/>
                    </a:lnTo>
                    <a:lnTo>
                      <a:pt x="2825" y="1842"/>
                    </a:lnTo>
                    <a:lnTo>
                      <a:pt x="2888" y="1737"/>
                    </a:lnTo>
                    <a:lnTo>
                      <a:pt x="2950" y="1737"/>
                    </a:lnTo>
                    <a:lnTo>
                      <a:pt x="3013" y="1717"/>
                    </a:lnTo>
                    <a:lnTo>
                      <a:pt x="3097" y="1779"/>
                    </a:lnTo>
                    <a:lnTo>
                      <a:pt x="3201" y="1779"/>
                    </a:lnTo>
                    <a:lnTo>
                      <a:pt x="3243" y="1717"/>
                    </a:lnTo>
                    <a:lnTo>
                      <a:pt x="3432" y="1717"/>
                    </a:lnTo>
                    <a:lnTo>
                      <a:pt x="3515" y="1612"/>
                    </a:lnTo>
                    <a:lnTo>
                      <a:pt x="3557" y="1403"/>
                    </a:lnTo>
                    <a:lnTo>
                      <a:pt x="3662" y="1256"/>
                    </a:lnTo>
                    <a:lnTo>
                      <a:pt x="3662" y="1152"/>
                    </a:lnTo>
                    <a:lnTo>
                      <a:pt x="3683" y="1089"/>
                    </a:lnTo>
                    <a:lnTo>
                      <a:pt x="3766" y="1214"/>
                    </a:lnTo>
                    <a:lnTo>
                      <a:pt x="3871" y="1256"/>
                    </a:lnTo>
                    <a:lnTo>
                      <a:pt x="3892" y="1193"/>
                    </a:lnTo>
                    <a:lnTo>
                      <a:pt x="3892" y="1110"/>
                    </a:lnTo>
                    <a:lnTo>
                      <a:pt x="3787" y="963"/>
                    </a:lnTo>
                    <a:lnTo>
                      <a:pt x="3787" y="880"/>
                    </a:lnTo>
                    <a:lnTo>
                      <a:pt x="3934" y="775"/>
                    </a:lnTo>
                    <a:lnTo>
                      <a:pt x="4038" y="754"/>
                    </a:lnTo>
                    <a:lnTo>
                      <a:pt x="4143" y="691"/>
                    </a:lnTo>
                    <a:lnTo>
                      <a:pt x="4206" y="733"/>
                    </a:lnTo>
                    <a:lnTo>
                      <a:pt x="4289" y="733"/>
                    </a:lnTo>
                    <a:lnTo>
                      <a:pt x="4394" y="587"/>
                    </a:lnTo>
                    <a:lnTo>
                      <a:pt x="4373" y="524"/>
                    </a:lnTo>
                    <a:lnTo>
                      <a:pt x="4352" y="273"/>
                    </a:lnTo>
                    <a:lnTo>
                      <a:pt x="4373" y="231"/>
                    </a:lnTo>
                    <a:lnTo>
                      <a:pt x="4352" y="168"/>
                    </a:lnTo>
                    <a:lnTo>
                      <a:pt x="4352" y="22"/>
                    </a:lnTo>
                    <a:lnTo>
                      <a:pt x="426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4" name="Google Shape;1964;p66"/>
              <p:cNvSpPr/>
              <p:nvPr/>
            </p:nvSpPr>
            <p:spPr>
              <a:xfrm>
                <a:off x="2580975" y="1547400"/>
                <a:ext cx="48150" cy="32475"/>
              </a:xfrm>
              <a:custGeom>
                <a:avLst/>
                <a:gdLst/>
                <a:ahLst/>
                <a:cxnLst/>
                <a:rect l="l" t="t" r="r" b="b"/>
                <a:pathLst>
                  <a:path w="1926" h="1299" extrusionOk="0">
                    <a:moveTo>
                      <a:pt x="796" y="1"/>
                    </a:moveTo>
                    <a:lnTo>
                      <a:pt x="524" y="43"/>
                    </a:lnTo>
                    <a:lnTo>
                      <a:pt x="440" y="43"/>
                    </a:lnTo>
                    <a:lnTo>
                      <a:pt x="336" y="126"/>
                    </a:lnTo>
                    <a:lnTo>
                      <a:pt x="231" y="168"/>
                    </a:lnTo>
                    <a:lnTo>
                      <a:pt x="210" y="315"/>
                    </a:lnTo>
                    <a:lnTo>
                      <a:pt x="64" y="419"/>
                    </a:lnTo>
                    <a:lnTo>
                      <a:pt x="64" y="524"/>
                    </a:lnTo>
                    <a:lnTo>
                      <a:pt x="1" y="629"/>
                    </a:lnTo>
                    <a:lnTo>
                      <a:pt x="22" y="754"/>
                    </a:lnTo>
                    <a:lnTo>
                      <a:pt x="22" y="880"/>
                    </a:lnTo>
                    <a:lnTo>
                      <a:pt x="106" y="880"/>
                    </a:lnTo>
                    <a:lnTo>
                      <a:pt x="231" y="963"/>
                    </a:lnTo>
                    <a:lnTo>
                      <a:pt x="315" y="1110"/>
                    </a:lnTo>
                    <a:lnTo>
                      <a:pt x="231" y="1193"/>
                    </a:lnTo>
                    <a:lnTo>
                      <a:pt x="252" y="1214"/>
                    </a:lnTo>
                    <a:lnTo>
                      <a:pt x="378" y="1214"/>
                    </a:lnTo>
                    <a:lnTo>
                      <a:pt x="524" y="1256"/>
                    </a:lnTo>
                    <a:lnTo>
                      <a:pt x="566" y="1214"/>
                    </a:lnTo>
                    <a:lnTo>
                      <a:pt x="691" y="1298"/>
                    </a:lnTo>
                    <a:lnTo>
                      <a:pt x="838" y="1298"/>
                    </a:lnTo>
                    <a:lnTo>
                      <a:pt x="943" y="1256"/>
                    </a:lnTo>
                    <a:lnTo>
                      <a:pt x="1068" y="1256"/>
                    </a:lnTo>
                    <a:lnTo>
                      <a:pt x="1110" y="1152"/>
                    </a:lnTo>
                    <a:lnTo>
                      <a:pt x="1110" y="1089"/>
                    </a:lnTo>
                    <a:lnTo>
                      <a:pt x="1215" y="1068"/>
                    </a:lnTo>
                    <a:lnTo>
                      <a:pt x="1256" y="984"/>
                    </a:lnTo>
                    <a:lnTo>
                      <a:pt x="1403" y="796"/>
                    </a:lnTo>
                    <a:lnTo>
                      <a:pt x="1382" y="733"/>
                    </a:lnTo>
                    <a:lnTo>
                      <a:pt x="1319" y="754"/>
                    </a:lnTo>
                    <a:lnTo>
                      <a:pt x="1215" y="733"/>
                    </a:lnTo>
                    <a:lnTo>
                      <a:pt x="1215" y="670"/>
                    </a:lnTo>
                    <a:lnTo>
                      <a:pt x="1361" y="545"/>
                    </a:lnTo>
                    <a:lnTo>
                      <a:pt x="1466" y="545"/>
                    </a:lnTo>
                    <a:lnTo>
                      <a:pt x="1738" y="440"/>
                    </a:lnTo>
                    <a:lnTo>
                      <a:pt x="1821" y="461"/>
                    </a:lnTo>
                    <a:lnTo>
                      <a:pt x="1926" y="273"/>
                    </a:lnTo>
                    <a:lnTo>
                      <a:pt x="1905" y="231"/>
                    </a:lnTo>
                    <a:lnTo>
                      <a:pt x="1779" y="210"/>
                    </a:lnTo>
                    <a:lnTo>
                      <a:pt x="1717" y="147"/>
                    </a:lnTo>
                    <a:lnTo>
                      <a:pt x="1591" y="126"/>
                    </a:lnTo>
                    <a:lnTo>
                      <a:pt x="1424" y="126"/>
                    </a:lnTo>
                    <a:lnTo>
                      <a:pt x="1403" y="105"/>
                    </a:lnTo>
                    <a:lnTo>
                      <a:pt x="1256" y="43"/>
                    </a:lnTo>
                    <a:lnTo>
                      <a:pt x="1173" y="64"/>
                    </a:lnTo>
                    <a:lnTo>
                      <a:pt x="1047" y="64"/>
                    </a:lnTo>
                    <a:lnTo>
                      <a:pt x="963" y="43"/>
                    </a:lnTo>
                    <a:lnTo>
                      <a:pt x="859" y="43"/>
                    </a:lnTo>
                    <a:lnTo>
                      <a:pt x="79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5" name="Google Shape;1965;p66"/>
              <p:cNvSpPr/>
              <p:nvPr/>
            </p:nvSpPr>
            <p:spPr>
              <a:xfrm>
                <a:off x="2474800" y="1600250"/>
                <a:ext cx="142825" cy="88425"/>
              </a:xfrm>
              <a:custGeom>
                <a:avLst/>
                <a:gdLst/>
                <a:ahLst/>
                <a:cxnLst/>
                <a:rect l="l" t="t" r="r" b="b"/>
                <a:pathLst>
                  <a:path w="5713" h="3537" extrusionOk="0">
                    <a:moveTo>
                      <a:pt x="2177" y="0"/>
                    </a:moveTo>
                    <a:lnTo>
                      <a:pt x="1863" y="84"/>
                    </a:lnTo>
                    <a:lnTo>
                      <a:pt x="1800" y="126"/>
                    </a:lnTo>
                    <a:lnTo>
                      <a:pt x="1863" y="188"/>
                    </a:lnTo>
                    <a:lnTo>
                      <a:pt x="1863" y="293"/>
                    </a:lnTo>
                    <a:lnTo>
                      <a:pt x="1988" y="356"/>
                    </a:lnTo>
                    <a:lnTo>
                      <a:pt x="2051" y="460"/>
                    </a:lnTo>
                    <a:lnTo>
                      <a:pt x="1967" y="439"/>
                    </a:lnTo>
                    <a:lnTo>
                      <a:pt x="1842" y="335"/>
                    </a:lnTo>
                    <a:lnTo>
                      <a:pt x="1758" y="335"/>
                    </a:lnTo>
                    <a:lnTo>
                      <a:pt x="1695" y="293"/>
                    </a:lnTo>
                    <a:lnTo>
                      <a:pt x="1591" y="293"/>
                    </a:lnTo>
                    <a:lnTo>
                      <a:pt x="1465" y="335"/>
                    </a:lnTo>
                    <a:lnTo>
                      <a:pt x="1381" y="335"/>
                    </a:lnTo>
                    <a:lnTo>
                      <a:pt x="1319" y="398"/>
                    </a:lnTo>
                    <a:lnTo>
                      <a:pt x="1256" y="502"/>
                    </a:lnTo>
                    <a:lnTo>
                      <a:pt x="1130" y="607"/>
                    </a:lnTo>
                    <a:lnTo>
                      <a:pt x="1214" y="711"/>
                    </a:lnTo>
                    <a:lnTo>
                      <a:pt x="1444" y="753"/>
                    </a:lnTo>
                    <a:lnTo>
                      <a:pt x="1549" y="753"/>
                    </a:lnTo>
                    <a:lnTo>
                      <a:pt x="1653" y="837"/>
                    </a:lnTo>
                    <a:lnTo>
                      <a:pt x="1737" y="837"/>
                    </a:lnTo>
                    <a:lnTo>
                      <a:pt x="1758" y="879"/>
                    </a:lnTo>
                    <a:lnTo>
                      <a:pt x="1695" y="921"/>
                    </a:lnTo>
                    <a:lnTo>
                      <a:pt x="1570" y="879"/>
                    </a:lnTo>
                    <a:lnTo>
                      <a:pt x="1319" y="858"/>
                    </a:lnTo>
                    <a:lnTo>
                      <a:pt x="1109" y="879"/>
                    </a:lnTo>
                    <a:lnTo>
                      <a:pt x="1026" y="858"/>
                    </a:lnTo>
                    <a:lnTo>
                      <a:pt x="921" y="879"/>
                    </a:lnTo>
                    <a:lnTo>
                      <a:pt x="754" y="1046"/>
                    </a:lnTo>
                    <a:lnTo>
                      <a:pt x="607" y="1193"/>
                    </a:lnTo>
                    <a:lnTo>
                      <a:pt x="628" y="1256"/>
                    </a:lnTo>
                    <a:lnTo>
                      <a:pt x="754" y="1256"/>
                    </a:lnTo>
                    <a:lnTo>
                      <a:pt x="942" y="1297"/>
                    </a:lnTo>
                    <a:lnTo>
                      <a:pt x="1068" y="1276"/>
                    </a:lnTo>
                    <a:lnTo>
                      <a:pt x="1214" y="1276"/>
                    </a:lnTo>
                    <a:lnTo>
                      <a:pt x="1256" y="1339"/>
                    </a:lnTo>
                    <a:lnTo>
                      <a:pt x="1340" y="1381"/>
                    </a:lnTo>
                    <a:lnTo>
                      <a:pt x="1214" y="1486"/>
                    </a:lnTo>
                    <a:lnTo>
                      <a:pt x="1068" y="1486"/>
                    </a:lnTo>
                    <a:lnTo>
                      <a:pt x="963" y="1569"/>
                    </a:lnTo>
                    <a:lnTo>
                      <a:pt x="837" y="1548"/>
                    </a:lnTo>
                    <a:lnTo>
                      <a:pt x="712" y="1465"/>
                    </a:lnTo>
                    <a:lnTo>
                      <a:pt x="503" y="1465"/>
                    </a:lnTo>
                    <a:lnTo>
                      <a:pt x="419" y="1444"/>
                    </a:lnTo>
                    <a:lnTo>
                      <a:pt x="314" y="1465"/>
                    </a:lnTo>
                    <a:lnTo>
                      <a:pt x="84" y="1611"/>
                    </a:lnTo>
                    <a:lnTo>
                      <a:pt x="126" y="1674"/>
                    </a:lnTo>
                    <a:lnTo>
                      <a:pt x="126" y="1800"/>
                    </a:lnTo>
                    <a:lnTo>
                      <a:pt x="0" y="1800"/>
                    </a:lnTo>
                    <a:lnTo>
                      <a:pt x="0" y="1862"/>
                    </a:lnTo>
                    <a:lnTo>
                      <a:pt x="189" y="1988"/>
                    </a:lnTo>
                    <a:lnTo>
                      <a:pt x="314" y="2134"/>
                    </a:lnTo>
                    <a:lnTo>
                      <a:pt x="377" y="2134"/>
                    </a:lnTo>
                    <a:lnTo>
                      <a:pt x="398" y="2030"/>
                    </a:lnTo>
                    <a:lnTo>
                      <a:pt x="482" y="2072"/>
                    </a:lnTo>
                    <a:lnTo>
                      <a:pt x="419" y="2134"/>
                    </a:lnTo>
                    <a:lnTo>
                      <a:pt x="544" y="2239"/>
                    </a:lnTo>
                    <a:lnTo>
                      <a:pt x="544" y="2385"/>
                    </a:lnTo>
                    <a:lnTo>
                      <a:pt x="649" y="2427"/>
                    </a:lnTo>
                    <a:lnTo>
                      <a:pt x="733" y="2344"/>
                    </a:lnTo>
                    <a:lnTo>
                      <a:pt x="733" y="2218"/>
                    </a:lnTo>
                    <a:lnTo>
                      <a:pt x="796" y="2239"/>
                    </a:lnTo>
                    <a:lnTo>
                      <a:pt x="900" y="2239"/>
                    </a:lnTo>
                    <a:lnTo>
                      <a:pt x="837" y="2323"/>
                    </a:lnTo>
                    <a:lnTo>
                      <a:pt x="837" y="2427"/>
                    </a:lnTo>
                    <a:lnTo>
                      <a:pt x="963" y="2511"/>
                    </a:lnTo>
                    <a:lnTo>
                      <a:pt x="1068" y="2490"/>
                    </a:lnTo>
                    <a:lnTo>
                      <a:pt x="1109" y="2406"/>
                    </a:lnTo>
                    <a:lnTo>
                      <a:pt x="1277" y="2323"/>
                    </a:lnTo>
                    <a:lnTo>
                      <a:pt x="1319" y="2197"/>
                    </a:lnTo>
                    <a:lnTo>
                      <a:pt x="1340" y="2176"/>
                    </a:lnTo>
                    <a:lnTo>
                      <a:pt x="1423" y="2281"/>
                    </a:lnTo>
                    <a:lnTo>
                      <a:pt x="1465" y="2197"/>
                    </a:lnTo>
                    <a:lnTo>
                      <a:pt x="1591" y="2176"/>
                    </a:lnTo>
                    <a:lnTo>
                      <a:pt x="1674" y="2176"/>
                    </a:lnTo>
                    <a:lnTo>
                      <a:pt x="1549" y="2281"/>
                    </a:lnTo>
                    <a:lnTo>
                      <a:pt x="1423" y="2344"/>
                    </a:lnTo>
                    <a:lnTo>
                      <a:pt x="1423" y="2448"/>
                    </a:lnTo>
                    <a:lnTo>
                      <a:pt x="1570" y="2511"/>
                    </a:lnTo>
                    <a:lnTo>
                      <a:pt x="1674" y="2490"/>
                    </a:lnTo>
                    <a:lnTo>
                      <a:pt x="1737" y="2532"/>
                    </a:lnTo>
                    <a:lnTo>
                      <a:pt x="1842" y="2511"/>
                    </a:lnTo>
                    <a:lnTo>
                      <a:pt x="1946" y="2490"/>
                    </a:lnTo>
                    <a:lnTo>
                      <a:pt x="2009" y="2406"/>
                    </a:lnTo>
                    <a:lnTo>
                      <a:pt x="2093" y="2490"/>
                    </a:lnTo>
                    <a:lnTo>
                      <a:pt x="2093" y="2553"/>
                    </a:lnTo>
                    <a:lnTo>
                      <a:pt x="2260" y="2553"/>
                    </a:lnTo>
                    <a:lnTo>
                      <a:pt x="2407" y="2490"/>
                    </a:lnTo>
                    <a:lnTo>
                      <a:pt x="2407" y="2553"/>
                    </a:lnTo>
                    <a:lnTo>
                      <a:pt x="2574" y="2553"/>
                    </a:lnTo>
                    <a:lnTo>
                      <a:pt x="2637" y="2490"/>
                    </a:lnTo>
                    <a:lnTo>
                      <a:pt x="2700" y="2532"/>
                    </a:lnTo>
                    <a:lnTo>
                      <a:pt x="2616" y="2595"/>
                    </a:lnTo>
                    <a:lnTo>
                      <a:pt x="2595" y="2657"/>
                    </a:lnTo>
                    <a:lnTo>
                      <a:pt x="2323" y="2657"/>
                    </a:lnTo>
                    <a:lnTo>
                      <a:pt x="2218" y="2741"/>
                    </a:lnTo>
                    <a:lnTo>
                      <a:pt x="2156" y="2720"/>
                    </a:lnTo>
                    <a:lnTo>
                      <a:pt x="2009" y="2720"/>
                    </a:lnTo>
                    <a:lnTo>
                      <a:pt x="1842" y="2657"/>
                    </a:lnTo>
                    <a:lnTo>
                      <a:pt x="1653" y="2657"/>
                    </a:lnTo>
                    <a:lnTo>
                      <a:pt x="1486" y="2741"/>
                    </a:lnTo>
                    <a:lnTo>
                      <a:pt x="1381" y="2741"/>
                    </a:lnTo>
                    <a:lnTo>
                      <a:pt x="1256" y="2720"/>
                    </a:lnTo>
                    <a:lnTo>
                      <a:pt x="1172" y="2762"/>
                    </a:lnTo>
                    <a:lnTo>
                      <a:pt x="1005" y="2720"/>
                    </a:lnTo>
                    <a:lnTo>
                      <a:pt x="837" y="2762"/>
                    </a:lnTo>
                    <a:lnTo>
                      <a:pt x="816" y="2950"/>
                    </a:lnTo>
                    <a:lnTo>
                      <a:pt x="837" y="3034"/>
                    </a:lnTo>
                    <a:lnTo>
                      <a:pt x="796" y="3160"/>
                    </a:lnTo>
                    <a:lnTo>
                      <a:pt x="921" y="3285"/>
                    </a:lnTo>
                    <a:lnTo>
                      <a:pt x="963" y="3390"/>
                    </a:lnTo>
                    <a:lnTo>
                      <a:pt x="1130" y="3432"/>
                    </a:lnTo>
                    <a:lnTo>
                      <a:pt x="1319" y="3494"/>
                    </a:lnTo>
                    <a:lnTo>
                      <a:pt x="1465" y="3494"/>
                    </a:lnTo>
                    <a:lnTo>
                      <a:pt x="1633" y="3452"/>
                    </a:lnTo>
                    <a:lnTo>
                      <a:pt x="1779" y="3452"/>
                    </a:lnTo>
                    <a:lnTo>
                      <a:pt x="1800" y="3536"/>
                    </a:lnTo>
                    <a:lnTo>
                      <a:pt x="1946" y="3536"/>
                    </a:lnTo>
                    <a:lnTo>
                      <a:pt x="2072" y="3473"/>
                    </a:lnTo>
                    <a:lnTo>
                      <a:pt x="2093" y="3473"/>
                    </a:lnTo>
                    <a:lnTo>
                      <a:pt x="2218" y="3452"/>
                    </a:lnTo>
                    <a:lnTo>
                      <a:pt x="2260" y="3369"/>
                    </a:lnTo>
                    <a:lnTo>
                      <a:pt x="2386" y="3369"/>
                    </a:lnTo>
                    <a:lnTo>
                      <a:pt x="2428" y="3348"/>
                    </a:lnTo>
                    <a:lnTo>
                      <a:pt x="2469" y="3243"/>
                    </a:lnTo>
                    <a:lnTo>
                      <a:pt x="2532" y="3222"/>
                    </a:lnTo>
                    <a:lnTo>
                      <a:pt x="2616" y="3222"/>
                    </a:lnTo>
                    <a:lnTo>
                      <a:pt x="2679" y="3139"/>
                    </a:lnTo>
                    <a:lnTo>
                      <a:pt x="2741" y="3180"/>
                    </a:lnTo>
                    <a:lnTo>
                      <a:pt x="2909" y="3180"/>
                    </a:lnTo>
                    <a:lnTo>
                      <a:pt x="2930" y="3222"/>
                    </a:lnTo>
                    <a:lnTo>
                      <a:pt x="3055" y="3222"/>
                    </a:lnTo>
                    <a:lnTo>
                      <a:pt x="3118" y="3160"/>
                    </a:lnTo>
                    <a:lnTo>
                      <a:pt x="3306" y="3076"/>
                    </a:lnTo>
                    <a:lnTo>
                      <a:pt x="3369" y="3076"/>
                    </a:lnTo>
                    <a:lnTo>
                      <a:pt x="3453" y="3055"/>
                    </a:lnTo>
                    <a:lnTo>
                      <a:pt x="3453" y="2971"/>
                    </a:lnTo>
                    <a:lnTo>
                      <a:pt x="3537" y="3013"/>
                    </a:lnTo>
                    <a:lnTo>
                      <a:pt x="3557" y="3076"/>
                    </a:lnTo>
                    <a:lnTo>
                      <a:pt x="3516" y="3160"/>
                    </a:lnTo>
                    <a:lnTo>
                      <a:pt x="3516" y="3222"/>
                    </a:lnTo>
                    <a:lnTo>
                      <a:pt x="3662" y="3264"/>
                    </a:lnTo>
                    <a:lnTo>
                      <a:pt x="3746" y="3243"/>
                    </a:lnTo>
                    <a:lnTo>
                      <a:pt x="3767" y="3160"/>
                    </a:lnTo>
                    <a:lnTo>
                      <a:pt x="3892" y="3118"/>
                    </a:lnTo>
                    <a:lnTo>
                      <a:pt x="3934" y="3118"/>
                    </a:lnTo>
                    <a:lnTo>
                      <a:pt x="3955" y="3180"/>
                    </a:lnTo>
                    <a:lnTo>
                      <a:pt x="3871" y="3264"/>
                    </a:lnTo>
                    <a:lnTo>
                      <a:pt x="3892" y="3348"/>
                    </a:lnTo>
                    <a:lnTo>
                      <a:pt x="4039" y="3390"/>
                    </a:lnTo>
                    <a:lnTo>
                      <a:pt x="4206" y="3369"/>
                    </a:lnTo>
                    <a:lnTo>
                      <a:pt x="4394" y="3285"/>
                    </a:lnTo>
                    <a:lnTo>
                      <a:pt x="4478" y="3285"/>
                    </a:lnTo>
                    <a:lnTo>
                      <a:pt x="4583" y="3264"/>
                    </a:lnTo>
                    <a:lnTo>
                      <a:pt x="4666" y="3327"/>
                    </a:lnTo>
                    <a:lnTo>
                      <a:pt x="4708" y="3285"/>
                    </a:lnTo>
                    <a:lnTo>
                      <a:pt x="4708" y="3243"/>
                    </a:lnTo>
                    <a:lnTo>
                      <a:pt x="4771" y="3222"/>
                    </a:lnTo>
                    <a:lnTo>
                      <a:pt x="4834" y="3222"/>
                    </a:lnTo>
                    <a:lnTo>
                      <a:pt x="4876" y="3139"/>
                    </a:lnTo>
                    <a:lnTo>
                      <a:pt x="4876" y="3055"/>
                    </a:lnTo>
                    <a:lnTo>
                      <a:pt x="4980" y="2971"/>
                    </a:lnTo>
                    <a:lnTo>
                      <a:pt x="5085" y="2971"/>
                    </a:lnTo>
                    <a:lnTo>
                      <a:pt x="5190" y="2804"/>
                    </a:lnTo>
                    <a:lnTo>
                      <a:pt x="5190" y="2720"/>
                    </a:lnTo>
                    <a:lnTo>
                      <a:pt x="5210" y="2657"/>
                    </a:lnTo>
                    <a:lnTo>
                      <a:pt x="5294" y="2657"/>
                    </a:lnTo>
                    <a:lnTo>
                      <a:pt x="5399" y="2616"/>
                    </a:lnTo>
                    <a:lnTo>
                      <a:pt x="5524" y="2490"/>
                    </a:lnTo>
                    <a:lnTo>
                      <a:pt x="5650" y="2218"/>
                    </a:lnTo>
                    <a:lnTo>
                      <a:pt x="5713" y="2072"/>
                    </a:lnTo>
                    <a:lnTo>
                      <a:pt x="5650" y="1967"/>
                    </a:lnTo>
                    <a:lnTo>
                      <a:pt x="5566" y="1779"/>
                    </a:lnTo>
                    <a:lnTo>
                      <a:pt x="5441" y="1695"/>
                    </a:lnTo>
                    <a:lnTo>
                      <a:pt x="5357" y="1695"/>
                    </a:lnTo>
                    <a:lnTo>
                      <a:pt x="5190" y="1820"/>
                    </a:lnTo>
                    <a:lnTo>
                      <a:pt x="5190" y="1925"/>
                    </a:lnTo>
                    <a:lnTo>
                      <a:pt x="5106" y="2072"/>
                    </a:lnTo>
                    <a:lnTo>
                      <a:pt x="5127" y="2092"/>
                    </a:lnTo>
                    <a:lnTo>
                      <a:pt x="5106" y="2134"/>
                    </a:lnTo>
                    <a:lnTo>
                      <a:pt x="5022" y="2134"/>
                    </a:lnTo>
                    <a:lnTo>
                      <a:pt x="4918" y="2239"/>
                    </a:lnTo>
                    <a:lnTo>
                      <a:pt x="4897" y="2197"/>
                    </a:lnTo>
                    <a:lnTo>
                      <a:pt x="4980" y="2009"/>
                    </a:lnTo>
                    <a:lnTo>
                      <a:pt x="5001" y="1883"/>
                    </a:lnTo>
                    <a:lnTo>
                      <a:pt x="4834" y="1800"/>
                    </a:lnTo>
                    <a:lnTo>
                      <a:pt x="4771" y="1820"/>
                    </a:lnTo>
                    <a:lnTo>
                      <a:pt x="4687" y="1904"/>
                    </a:lnTo>
                    <a:lnTo>
                      <a:pt x="4499" y="2009"/>
                    </a:lnTo>
                    <a:lnTo>
                      <a:pt x="4457" y="2113"/>
                    </a:lnTo>
                    <a:lnTo>
                      <a:pt x="4394" y="2030"/>
                    </a:lnTo>
                    <a:lnTo>
                      <a:pt x="4415" y="1925"/>
                    </a:lnTo>
                    <a:lnTo>
                      <a:pt x="4583" y="1800"/>
                    </a:lnTo>
                    <a:lnTo>
                      <a:pt x="4771" y="1695"/>
                    </a:lnTo>
                    <a:lnTo>
                      <a:pt x="4834" y="1569"/>
                    </a:lnTo>
                    <a:lnTo>
                      <a:pt x="4813" y="1507"/>
                    </a:lnTo>
                    <a:lnTo>
                      <a:pt x="4666" y="1507"/>
                    </a:lnTo>
                    <a:lnTo>
                      <a:pt x="4562" y="1548"/>
                    </a:lnTo>
                    <a:lnTo>
                      <a:pt x="4499" y="1548"/>
                    </a:lnTo>
                    <a:lnTo>
                      <a:pt x="4499" y="1486"/>
                    </a:lnTo>
                    <a:lnTo>
                      <a:pt x="4583" y="1402"/>
                    </a:lnTo>
                    <a:lnTo>
                      <a:pt x="4771" y="1276"/>
                    </a:lnTo>
                    <a:lnTo>
                      <a:pt x="4813" y="1276"/>
                    </a:lnTo>
                    <a:lnTo>
                      <a:pt x="4876" y="1235"/>
                    </a:lnTo>
                    <a:lnTo>
                      <a:pt x="4876" y="942"/>
                    </a:lnTo>
                    <a:lnTo>
                      <a:pt x="4834" y="921"/>
                    </a:lnTo>
                    <a:lnTo>
                      <a:pt x="4834" y="753"/>
                    </a:lnTo>
                    <a:lnTo>
                      <a:pt x="4876" y="649"/>
                    </a:lnTo>
                    <a:lnTo>
                      <a:pt x="4876" y="565"/>
                    </a:lnTo>
                    <a:lnTo>
                      <a:pt x="4938" y="502"/>
                    </a:lnTo>
                    <a:lnTo>
                      <a:pt x="5022" y="502"/>
                    </a:lnTo>
                    <a:lnTo>
                      <a:pt x="5085" y="419"/>
                    </a:lnTo>
                    <a:lnTo>
                      <a:pt x="5022" y="335"/>
                    </a:lnTo>
                    <a:lnTo>
                      <a:pt x="5043" y="251"/>
                    </a:lnTo>
                    <a:lnTo>
                      <a:pt x="4897" y="188"/>
                    </a:lnTo>
                    <a:lnTo>
                      <a:pt x="4813" y="188"/>
                    </a:lnTo>
                    <a:lnTo>
                      <a:pt x="4562" y="419"/>
                    </a:lnTo>
                    <a:lnTo>
                      <a:pt x="4415" y="460"/>
                    </a:lnTo>
                    <a:lnTo>
                      <a:pt x="4374" y="565"/>
                    </a:lnTo>
                    <a:lnTo>
                      <a:pt x="4394" y="628"/>
                    </a:lnTo>
                    <a:lnTo>
                      <a:pt x="4290" y="628"/>
                    </a:lnTo>
                    <a:lnTo>
                      <a:pt x="4248" y="607"/>
                    </a:lnTo>
                    <a:lnTo>
                      <a:pt x="4143" y="649"/>
                    </a:lnTo>
                    <a:lnTo>
                      <a:pt x="4039" y="816"/>
                    </a:lnTo>
                    <a:lnTo>
                      <a:pt x="4081" y="942"/>
                    </a:lnTo>
                    <a:lnTo>
                      <a:pt x="4081" y="1067"/>
                    </a:lnTo>
                    <a:lnTo>
                      <a:pt x="4143" y="1130"/>
                    </a:lnTo>
                    <a:lnTo>
                      <a:pt x="4206" y="1297"/>
                    </a:lnTo>
                    <a:lnTo>
                      <a:pt x="4143" y="1465"/>
                    </a:lnTo>
                    <a:lnTo>
                      <a:pt x="4039" y="1465"/>
                    </a:lnTo>
                    <a:lnTo>
                      <a:pt x="3871" y="1507"/>
                    </a:lnTo>
                    <a:lnTo>
                      <a:pt x="3788" y="1507"/>
                    </a:lnTo>
                    <a:lnTo>
                      <a:pt x="3746" y="1569"/>
                    </a:lnTo>
                    <a:lnTo>
                      <a:pt x="3788" y="1674"/>
                    </a:lnTo>
                    <a:lnTo>
                      <a:pt x="3788" y="1758"/>
                    </a:lnTo>
                    <a:lnTo>
                      <a:pt x="3892" y="1883"/>
                    </a:lnTo>
                    <a:lnTo>
                      <a:pt x="3955" y="2072"/>
                    </a:lnTo>
                    <a:lnTo>
                      <a:pt x="3767" y="2134"/>
                    </a:lnTo>
                    <a:lnTo>
                      <a:pt x="3788" y="2197"/>
                    </a:lnTo>
                    <a:lnTo>
                      <a:pt x="3829" y="2239"/>
                    </a:lnTo>
                    <a:lnTo>
                      <a:pt x="3746" y="2281"/>
                    </a:lnTo>
                    <a:lnTo>
                      <a:pt x="3662" y="2134"/>
                    </a:lnTo>
                    <a:lnTo>
                      <a:pt x="3453" y="2092"/>
                    </a:lnTo>
                    <a:lnTo>
                      <a:pt x="3411" y="2113"/>
                    </a:lnTo>
                    <a:lnTo>
                      <a:pt x="3265" y="2092"/>
                    </a:lnTo>
                    <a:lnTo>
                      <a:pt x="3244" y="2009"/>
                    </a:lnTo>
                    <a:lnTo>
                      <a:pt x="3202" y="1967"/>
                    </a:lnTo>
                    <a:lnTo>
                      <a:pt x="3118" y="2030"/>
                    </a:lnTo>
                    <a:lnTo>
                      <a:pt x="2993" y="2092"/>
                    </a:lnTo>
                    <a:lnTo>
                      <a:pt x="2930" y="2030"/>
                    </a:lnTo>
                    <a:lnTo>
                      <a:pt x="2930" y="1820"/>
                    </a:lnTo>
                    <a:lnTo>
                      <a:pt x="3034" y="1758"/>
                    </a:lnTo>
                    <a:lnTo>
                      <a:pt x="3118" y="1507"/>
                    </a:lnTo>
                    <a:lnTo>
                      <a:pt x="3034" y="1507"/>
                    </a:lnTo>
                    <a:lnTo>
                      <a:pt x="2909" y="1465"/>
                    </a:lnTo>
                    <a:lnTo>
                      <a:pt x="2804" y="1486"/>
                    </a:lnTo>
                    <a:lnTo>
                      <a:pt x="2783" y="1402"/>
                    </a:lnTo>
                    <a:lnTo>
                      <a:pt x="2888" y="1381"/>
                    </a:lnTo>
                    <a:lnTo>
                      <a:pt x="2993" y="1402"/>
                    </a:lnTo>
                    <a:lnTo>
                      <a:pt x="3034" y="1339"/>
                    </a:lnTo>
                    <a:lnTo>
                      <a:pt x="3013" y="1088"/>
                    </a:lnTo>
                    <a:lnTo>
                      <a:pt x="2909" y="963"/>
                    </a:lnTo>
                    <a:lnTo>
                      <a:pt x="2951" y="879"/>
                    </a:lnTo>
                    <a:lnTo>
                      <a:pt x="3013" y="858"/>
                    </a:lnTo>
                    <a:lnTo>
                      <a:pt x="3034" y="774"/>
                    </a:lnTo>
                    <a:lnTo>
                      <a:pt x="2951" y="711"/>
                    </a:lnTo>
                    <a:lnTo>
                      <a:pt x="2951" y="649"/>
                    </a:lnTo>
                    <a:lnTo>
                      <a:pt x="2909" y="565"/>
                    </a:lnTo>
                    <a:lnTo>
                      <a:pt x="2825" y="565"/>
                    </a:lnTo>
                    <a:lnTo>
                      <a:pt x="2783" y="523"/>
                    </a:lnTo>
                    <a:lnTo>
                      <a:pt x="2700" y="565"/>
                    </a:lnTo>
                    <a:lnTo>
                      <a:pt x="2490" y="565"/>
                    </a:lnTo>
                    <a:lnTo>
                      <a:pt x="2428" y="502"/>
                    </a:lnTo>
                    <a:lnTo>
                      <a:pt x="2532" y="335"/>
                    </a:lnTo>
                    <a:lnTo>
                      <a:pt x="2616" y="293"/>
                    </a:lnTo>
                    <a:lnTo>
                      <a:pt x="2574" y="126"/>
                    </a:lnTo>
                    <a:lnTo>
                      <a:pt x="2469" y="21"/>
                    </a:lnTo>
                    <a:lnTo>
                      <a:pt x="2281" y="21"/>
                    </a:lnTo>
                    <a:lnTo>
                      <a:pt x="217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6" name="Google Shape;1966;p66"/>
              <p:cNvSpPr/>
              <p:nvPr/>
            </p:nvSpPr>
            <p:spPr>
              <a:xfrm>
                <a:off x="2638000" y="1637900"/>
                <a:ext cx="69075" cy="67500"/>
              </a:xfrm>
              <a:custGeom>
                <a:avLst/>
                <a:gdLst/>
                <a:ahLst/>
                <a:cxnLst/>
                <a:rect l="l" t="t" r="r" b="b"/>
                <a:pathLst>
                  <a:path w="2763" h="2700" extrusionOk="0">
                    <a:moveTo>
                      <a:pt x="1884" y="1"/>
                    </a:moveTo>
                    <a:lnTo>
                      <a:pt x="1758" y="84"/>
                    </a:lnTo>
                    <a:lnTo>
                      <a:pt x="1654" y="84"/>
                    </a:lnTo>
                    <a:lnTo>
                      <a:pt x="1612" y="126"/>
                    </a:lnTo>
                    <a:lnTo>
                      <a:pt x="1507" y="126"/>
                    </a:lnTo>
                    <a:lnTo>
                      <a:pt x="1423" y="189"/>
                    </a:lnTo>
                    <a:lnTo>
                      <a:pt x="1423" y="335"/>
                    </a:lnTo>
                    <a:lnTo>
                      <a:pt x="1403" y="398"/>
                    </a:lnTo>
                    <a:lnTo>
                      <a:pt x="1423" y="545"/>
                    </a:lnTo>
                    <a:lnTo>
                      <a:pt x="1528" y="649"/>
                    </a:lnTo>
                    <a:lnTo>
                      <a:pt x="1549" y="733"/>
                    </a:lnTo>
                    <a:lnTo>
                      <a:pt x="1549" y="733"/>
                    </a:lnTo>
                    <a:lnTo>
                      <a:pt x="1444" y="691"/>
                    </a:lnTo>
                    <a:lnTo>
                      <a:pt x="1361" y="691"/>
                    </a:lnTo>
                    <a:lnTo>
                      <a:pt x="1340" y="733"/>
                    </a:lnTo>
                    <a:lnTo>
                      <a:pt x="1528" y="858"/>
                    </a:lnTo>
                    <a:lnTo>
                      <a:pt x="1528" y="963"/>
                    </a:lnTo>
                    <a:lnTo>
                      <a:pt x="1423" y="1005"/>
                    </a:lnTo>
                    <a:lnTo>
                      <a:pt x="1403" y="1151"/>
                    </a:lnTo>
                    <a:lnTo>
                      <a:pt x="1444" y="1235"/>
                    </a:lnTo>
                    <a:lnTo>
                      <a:pt x="1340" y="1319"/>
                    </a:lnTo>
                    <a:lnTo>
                      <a:pt x="1235" y="1256"/>
                    </a:lnTo>
                    <a:lnTo>
                      <a:pt x="1235" y="1214"/>
                    </a:lnTo>
                    <a:lnTo>
                      <a:pt x="1256" y="1110"/>
                    </a:lnTo>
                    <a:lnTo>
                      <a:pt x="1235" y="796"/>
                    </a:lnTo>
                    <a:lnTo>
                      <a:pt x="1151" y="712"/>
                    </a:lnTo>
                    <a:lnTo>
                      <a:pt x="1131" y="628"/>
                    </a:lnTo>
                    <a:lnTo>
                      <a:pt x="1151" y="586"/>
                    </a:lnTo>
                    <a:lnTo>
                      <a:pt x="1151" y="482"/>
                    </a:lnTo>
                    <a:lnTo>
                      <a:pt x="1110" y="419"/>
                    </a:lnTo>
                    <a:lnTo>
                      <a:pt x="1089" y="314"/>
                    </a:lnTo>
                    <a:lnTo>
                      <a:pt x="1026" y="273"/>
                    </a:lnTo>
                    <a:lnTo>
                      <a:pt x="900" y="314"/>
                    </a:lnTo>
                    <a:lnTo>
                      <a:pt x="879" y="377"/>
                    </a:lnTo>
                    <a:lnTo>
                      <a:pt x="775" y="461"/>
                    </a:lnTo>
                    <a:lnTo>
                      <a:pt x="733" y="524"/>
                    </a:lnTo>
                    <a:lnTo>
                      <a:pt x="796" y="566"/>
                    </a:lnTo>
                    <a:lnTo>
                      <a:pt x="838" y="566"/>
                    </a:lnTo>
                    <a:lnTo>
                      <a:pt x="900" y="628"/>
                    </a:lnTo>
                    <a:lnTo>
                      <a:pt x="796" y="670"/>
                    </a:lnTo>
                    <a:lnTo>
                      <a:pt x="775" y="733"/>
                    </a:lnTo>
                    <a:lnTo>
                      <a:pt x="670" y="796"/>
                    </a:lnTo>
                    <a:lnTo>
                      <a:pt x="628" y="942"/>
                    </a:lnTo>
                    <a:lnTo>
                      <a:pt x="733" y="984"/>
                    </a:lnTo>
                    <a:lnTo>
                      <a:pt x="733" y="1026"/>
                    </a:lnTo>
                    <a:lnTo>
                      <a:pt x="607" y="1068"/>
                    </a:lnTo>
                    <a:lnTo>
                      <a:pt x="587" y="1172"/>
                    </a:lnTo>
                    <a:lnTo>
                      <a:pt x="628" y="1256"/>
                    </a:lnTo>
                    <a:lnTo>
                      <a:pt x="670" y="1361"/>
                    </a:lnTo>
                    <a:lnTo>
                      <a:pt x="607" y="1423"/>
                    </a:lnTo>
                    <a:lnTo>
                      <a:pt x="566" y="1382"/>
                    </a:lnTo>
                    <a:lnTo>
                      <a:pt x="566" y="1235"/>
                    </a:lnTo>
                    <a:lnTo>
                      <a:pt x="503" y="1214"/>
                    </a:lnTo>
                    <a:lnTo>
                      <a:pt x="503" y="1110"/>
                    </a:lnTo>
                    <a:lnTo>
                      <a:pt x="461" y="1130"/>
                    </a:lnTo>
                    <a:lnTo>
                      <a:pt x="294" y="1130"/>
                    </a:lnTo>
                    <a:lnTo>
                      <a:pt x="273" y="1214"/>
                    </a:lnTo>
                    <a:lnTo>
                      <a:pt x="335" y="1256"/>
                    </a:lnTo>
                    <a:lnTo>
                      <a:pt x="252" y="1298"/>
                    </a:lnTo>
                    <a:lnTo>
                      <a:pt x="168" y="1235"/>
                    </a:lnTo>
                    <a:lnTo>
                      <a:pt x="84" y="1298"/>
                    </a:lnTo>
                    <a:lnTo>
                      <a:pt x="1" y="1256"/>
                    </a:lnTo>
                    <a:lnTo>
                      <a:pt x="1" y="1402"/>
                    </a:lnTo>
                    <a:lnTo>
                      <a:pt x="63" y="1444"/>
                    </a:lnTo>
                    <a:lnTo>
                      <a:pt x="147" y="1444"/>
                    </a:lnTo>
                    <a:lnTo>
                      <a:pt x="189" y="1465"/>
                    </a:lnTo>
                    <a:lnTo>
                      <a:pt x="252" y="1444"/>
                    </a:lnTo>
                    <a:lnTo>
                      <a:pt x="356" y="1444"/>
                    </a:lnTo>
                    <a:lnTo>
                      <a:pt x="419" y="1465"/>
                    </a:lnTo>
                    <a:lnTo>
                      <a:pt x="503" y="1444"/>
                    </a:lnTo>
                    <a:lnTo>
                      <a:pt x="628" y="1507"/>
                    </a:lnTo>
                    <a:lnTo>
                      <a:pt x="796" y="1465"/>
                    </a:lnTo>
                    <a:lnTo>
                      <a:pt x="879" y="1528"/>
                    </a:lnTo>
                    <a:lnTo>
                      <a:pt x="984" y="1528"/>
                    </a:lnTo>
                    <a:lnTo>
                      <a:pt x="1444" y="1612"/>
                    </a:lnTo>
                    <a:lnTo>
                      <a:pt x="1507" y="1654"/>
                    </a:lnTo>
                    <a:lnTo>
                      <a:pt x="1423" y="1695"/>
                    </a:lnTo>
                    <a:lnTo>
                      <a:pt x="1298" y="1674"/>
                    </a:lnTo>
                    <a:lnTo>
                      <a:pt x="1151" y="1674"/>
                    </a:lnTo>
                    <a:lnTo>
                      <a:pt x="1047" y="1737"/>
                    </a:lnTo>
                    <a:lnTo>
                      <a:pt x="879" y="1758"/>
                    </a:lnTo>
                    <a:lnTo>
                      <a:pt x="921" y="1758"/>
                    </a:lnTo>
                    <a:lnTo>
                      <a:pt x="984" y="1800"/>
                    </a:lnTo>
                    <a:lnTo>
                      <a:pt x="921" y="1842"/>
                    </a:lnTo>
                    <a:lnTo>
                      <a:pt x="754" y="1779"/>
                    </a:lnTo>
                    <a:lnTo>
                      <a:pt x="670" y="1758"/>
                    </a:lnTo>
                    <a:lnTo>
                      <a:pt x="587" y="1800"/>
                    </a:lnTo>
                    <a:lnTo>
                      <a:pt x="607" y="1863"/>
                    </a:lnTo>
                    <a:lnTo>
                      <a:pt x="587" y="1905"/>
                    </a:lnTo>
                    <a:lnTo>
                      <a:pt x="524" y="1863"/>
                    </a:lnTo>
                    <a:lnTo>
                      <a:pt x="482" y="1863"/>
                    </a:lnTo>
                    <a:lnTo>
                      <a:pt x="503" y="1905"/>
                    </a:lnTo>
                    <a:lnTo>
                      <a:pt x="503" y="1967"/>
                    </a:lnTo>
                    <a:lnTo>
                      <a:pt x="566" y="2009"/>
                    </a:lnTo>
                    <a:lnTo>
                      <a:pt x="649" y="2051"/>
                    </a:lnTo>
                    <a:lnTo>
                      <a:pt x="607" y="2114"/>
                    </a:lnTo>
                    <a:lnTo>
                      <a:pt x="670" y="2198"/>
                    </a:lnTo>
                    <a:lnTo>
                      <a:pt x="607" y="2198"/>
                    </a:lnTo>
                    <a:lnTo>
                      <a:pt x="566" y="2114"/>
                    </a:lnTo>
                    <a:lnTo>
                      <a:pt x="503" y="2114"/>
                    </a:lnTo>
                    <a:lnTo>
                      <a:pt x="461" y="2218"/>
                    </a:lnTo>
                    <a:lnTo>
                      <a:pt x="461" y="2281"/>
                    </a:lnTo>
                    <a:lnTo>
                      <a:pt x="440" y="2323"/>
                    </a:lnTo>
                    <a:lnTo>
                      <a:pt x="440" y="2428"/>
                    </a:lnTo>
                    <a:lnTo>
                      <a:pt x="503" y="2491"/>
                    </a:lnTo>
                    <a:lnTo>
                      <a:pt x="607" y="2491"/>
                    </a:lnTo>
                    <a:lnTo>
                      <a:pt x="670" y="2532"/>
                    </a:lnTo>
                    <a:lnTo>
                      <a:pt x="712" y="2532"/>
                    </a:lnTo>
                    <a:lnTo>
                      <a:pt x="775" y="2470"/>
                    </a:lnTo>
                    <a:lnTo>
                      <a:pt x="900" y="2407"/>
                    </a:lnTo>
                    <a:lnTo>
                      <a:pt x="817" y="2511"/>
                    </a:lnTo>
                    <a:lnTo>
                      <a:pt x="859" y="2595"/>
                    </a:lnTo>
                    <a:lnTo>
                      <a:pt x="921" y="2595"/>
                    </a:lnTo>
                    <a:lnTo>
                      <a:pt x="1005" y="2511"/>
                    </a:lnTo>
                    <a:lnTo>
                      <a:pt x="1026" y="2574"/>
                    </a:lnTo>
                    <a:lnTo>
                      <a:pt x="1068" y="2679"/>
                    </a:lnTo>
                    <a:lnTo>
                      <a:pt x="1382" y="2700"/>
                    </a:lnTo>
                    <a:lnTo>
                      <a:pt x="1444" y="2595"/>
                    </a:lnTo>
                    <a:lnTo>
                      <a:pt x="1423" y="2511"/>
                    </a:lnTo>
                    <a:lnTo>
                      <a:pt x="1444" y="2407"/>
                    </a:lnTo>
                    <a:lnTo>
                      <a:pt x="1507" y="2365"/>
                    </a:lnTo>
                    <a:lnTo>
                      <a:pt x="1528" y="2407"/>
                    </a:lnTo>
                    <a:lnTo>
                      <a:pt x="1528" y="2511"/>
                    </a:lnTo>
                    <a:lnTo>
                      <a:pt x="1570" y="2616"/>
                    </a:lnTo>
                    <a:lnTo>
                      <a:pt x="1612" y="2574"/>
                    </a:lnTo>
                    <a:lnTo>
                      <a:pt x="1612" y="2470"/>
                    </a:lnTo>
                    <a:lnTo>
                      <a:pt x="1612" y="2407"/>
                    </a:lnTo>
                    <a:lnTo>
                      <a:pt x="1654" y="2323"/>
                    </a:lnTo>
                    <a:lnTo>
                      <a:pt x="1675" y="2281"/>
                    </a:lnTo>
                    <a:lnTo>
                      <a:pt x="1570" y="2302"/>
                    </a:lnTo>
                    <a:lnTo>
                      <a:pt x="1486" y="2344"/>
                    </a:lnTo>
                    <a:lnTo>
                      <a:pt x="1528" y="2239"/>
                    </a:lnTo>
                    <a:lnTo>
                      <a:pt x="1633" y="2198"/>
                    </a:lnTo>
                    <a:lnTo>
                      <a:pt x="1695" y="2135"/>
                    </a:lnTo>
                    <a:lnTo>
                      <a:pt x="1758" y="2072"/>
                    </a:lnTo>
                    <a:lnTo>
                      <a:pt x="1758" y="1988"/>
                    </a:lnTo>
                    <a:lnTo>
                      <a:pt x="1821" y="1967"/>
                    </a:lnTo>
                    <a:lnTo>
                      <a:pt x="1905" y="1988"/>
                    </a:lnTo>
                    <a:lnTo>
                      <a:pt x="1905" y="2072"/>
                    </a:lnTo>
                    <a:lnTo>
                      <a:pt x="1905" y="2156"/>
                    </a:lnTo>
                    <a:lnTo>
                      <a:pt x="1947" y="2093"/>
                    </a:lnTo>
                    <a:lnTo>
                      <a:pt x="2072" y="1926"/>
                    </a:lnTo>
                    <a:lnTo>
                      <a:pt x="2072" y="1863"/>
                    </a:lnTo>
                    <a:lnTo>
                      <a:pt x="1947" y="1779"/>
                    </a:lnTo>
                    <a:lnTo>
                      <a:pt x="1947" y="1737"/>
                    </a:lnTo>
                    <a:lnTo>
                      <a:pt x="1988" y="1674"/>
                    </a:lnTo>
                    <a:lnTo>
                      <a:pt x="2051" y="1716"/>
                    </a:lnTo>
                    <a:lnTo>
                      <a:pt x="2135" y="1716"/>
                    </a:lnTo>
                    <a:lnTo>
                      <a:pt x="2156" y="1612"/>
                    </a:lnTo>
                    <a:lnTo>
                      <a:pt x="2156" y="1549"/>
                    </a:lnTo>
                    <a:lnTo>
                      <a:pt x="2260" y="1423"/>
                    </a:lnTo>
                    <a:lnTo>
                      <a:pt x="2281" y="1340"/>
                    </a:lnTo>
                    <a:lnTo>
                      <a:pt x="2407" y="1214"/>
                    </a:lnTo>
                    <a:lnTo>
                      <a:pt x="2511" y="1151"/>
                    </a:lnTo>
                    <a:lnTo>
                      <a:pt x="2553" y="1089"/>
                    </a:lnTo>
                    <a:lnTo>
                      <a:pt x="2511" y="942"/>
                    </a:lnTo>
                    <a:lnTo>
                      <a:pt x="2616" y="775"/>
                    </a:lnTo>
                    <a:lnTo>
                      <a:pt x="2742" y="691"/>
                    </a:lnTo>
                    <a:lnTo>
                      <a:pt x="2763" y="586"/>
                    </a:lnTo>
                    <a:lnTo>
                      <a:pt x="2700" y="482"/>
                    </a:lnTo>
                    <a:lnTo>
                      <a:pt x="2595" y="461"/>
                    </a:lnTo>
                    <a:lnTo>
                      <a:pt x="2553" y="356"/>
                    </a:lnTo>
                    <a:lnTo>
                      <a:pt x="2595" y="356"/>
                    </a:lnTo>
                    <a:lnTo>
                      <a:pt x="2616" y="294"/>
                    </a:lnTo>
                    <a:lnTo>
                      <a:pt x="2595" y="252"/>
                    </a:lnTo>
                    <a:lnTo>
                      <a:pt x="2616" y="168"/>
                    </a:lnTo>
                    <a:lnTo>
                      <a:pt x="2595" y="84"/>
                    </a:lnTo>
                    <a:lnTo>
                      <a:pt x="2511" y="84"/>
                    </a:lnTo>
                    <a:lnTo>
                      <a:pt x="2553" y="147"/>
                    </a:lnTo>
                    <a:lnTo>
                      <a:pt x="2553" y="252"/>
                    </a:lnTo>
                    <a:lnTo>
                      <a:pt x="2470" y="273"/>
                    </a:lnTo>
                    <a:lnTo>
                      <a:pt x="2386" y="189"/>
                    </a:lnTo>
                    <a:lnTo>
                      <a:pt x="2302" y="273"/>
                    </a:lnTo>
                    <a:lnTo>
                      <a:pt x="2302" y="461"/>
                    </a:lnTo>
                    <a:lnTo>
                      <a:pt x="2260" y="503"/>
                    </a:lnTo>
                    <a:lnTo>
                      <a:pt x="2198" y="503"/>
                    </a:lnTo>
                    <a:lnTo>
                      <a:pt x="2156" y="566"/>
                    </a:lnTo>
                    <a:lnTo>
                      <a:pt x="2093" y="566"/>
                    </a:lnTo>
                    <a:lnTo>
                      <a:pt x="2093" y="482"/>
                    </a:lnTo>
                    <a:lnTo>
                      <a:pt x="2177" y="398"/>
                    </a:lnTo>
                    <a:lnTo>
                      <a:pt x="2219" y="168"/>
                    </a:lnTo>
                    <a:lnTo>
                      <a:pt x="2156" y="105"/>
                    </a:lnTo>
                    <a:lnTo>
                      <a:pt x="2072" y="126"/>
                    </a:lnTo>
                    <a:lnTo>
                      <a:pt x="1988" y="84"/>
                    </a:lnTo>
                    <a:lnTo>
                      <a:pt x="196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7" name="Google Shape;1967;p66"/>
              <p:cNvSpPr/>
              <p:nvPr/>
            </p:nvSpPr>
            <p:spPr>
              <a:xfrm>
                <a:off x="2686125" y="1510800"/>
                <a:ext cx="62275" cy="87900"/>
              </a:xfrm>
              <a:custGeom>
                <a:avLst/>
                <a:gdLst/>
                <a:ahLst/>
                <a:cxnLst/>
                <a:rect l="l" t="t" r="r" b="b"/>
                <a:pathLst>
                  <a:path w="2491" h="3516" extrusionOk="0">
                    <a:moveTo>
                      <a:pt x="1026" y="0"/>
                    </a:moveTo>
                    <a:lnTo>
                      <a:pt x="921" y="63"/>
                    </a:lnTo>
                    <a:lnTo>
                      <a:pt x="879" y="147"/>
                    </a:lnTo>
                    <a:lnTo>
                      <a:pt x="754" y="230"/>
                    </a:lnTo>
                    <a:lnTo>
                      <a:pt x="733" y="335"/>
                    </a:lnTo>
                    <a:lnTo>
                      <a:pt x="607" y="481"/>
                    </a:lnTo>
                    <a:lnTo>
                      <a:pt x="607" y="586"/>
                    </a:lnTo>
                    <a:lnTo>
                      <a:pt x="712" y="649"/>
                    </a:lnTo>
                    <a:lnTo>
                      <a:pt x="754" y="586"/>
                    </a:lnTo>
                    <a:lnTo>
                      <a:pt x="879" y="565"/>
                    </a:lnTo>
                    <a:lnTo>
                      <a:pt x="921" y="628"/>
                    </a:lnTo>
                    <a:lnTo>
                      <a:pt x="775" y="753"/>
                    </a:lnTo>
                    <a:lnTo>
                      <a:pt x="649" y="837"/>
                    </a:lnTo>
                    <a:lnTo>
                      <a:pt x="545" y="984"/>
                    </a:lnTo>
                    <a:lnTo>
                      <a:pt x="545" y="1046"/>
                    </a:lnTo>
                    <a:lnTo>
                      <a:pt x="712" y="963"/>
                    </a:lnTo>
                    <a:lnTo>
                      <a:pt x="858" y="837"/>
                    </a:lnTo>
                    <a:lnTo>
                      <a:pt x="942" y="837"/>
                    </a:lnTo>
                    <a:lnTo>
                      <a:pt x="1026" y="774"/>
                    </a:lnTo>
                    <a:lnTo>
                      <a:pt x="1068" y="858"/>
                    </a:lnTo>
                    <a:lnTo>
                      <a:pt x="1047" y="984"/>
                    </a:lnTo>
                    <a:lnTo>
                      <a:pt x="963" y="984"/>
                    </a:lnTo>
                    <a:lnTo>
                      <a:pt x="838" y="1109"/>
                    </a:lnTo>
                    <a:lnTo>
                      <a:pt x="775" y="1193"/>
                    </a:lnTo>
                    <a:lnTo>
                      <a:pt x="838" y="1276"/>
                    </a:lnTo>
                    <a:lnTo>
                      <a:pt x="984" y="1256"/>
                    </a:lnTo>
                    <a:lnTo>
                      <a:pt x="1089" y="1297"/>
                    </a:lnTo>
                    <a:lnTo>
                      <a:pt x="963" y="1381"/>
                    </a:lnTo>
                    <a:lnTo>
                      <a:pt x="817" y="1465"/>
                    </a:lnTo>
                    <a:lnTo>
                      <a:pt x="712" y="1402"/>
                    </a:lnTo>
                    <a:lnTo>
                      <a:pt x="712" y="1486"/>
                    </a:lnTo>
                    <a:lnTo>
                      <a:pt x="838" y="1528"/>
                    </a:lnTo>
                    <a:lnTo>
                      <a:pt x="838" y="1590"/>
                    </a:lnTo>
                    <a:lnTo>
                      <a:pt x="649" y="1779"/>
                    </a:lnTo>
                    <a:lnTo>
                      <a:pt x="607" y="1779"/>
                    </a:lnTo>
                    <a:lnTo>
                      <a:pt x="545" y="1611"/>
                    </a:lnTo>
                    <a:lnTo>
                      <a:pt x="440" y="1569"/>
                    </a:lnTo>
                    <a:lnTo>
                      <a:pt x="335" y="1423"/>
                    </a:lnTo>
                    <a:lnTo>
                      <a:pt x="126" y="1528"/>
                    </a:lnTo>
                    <a:lnTo>
                      <a:pt x="126" y="1590"/>
                    </a:lnTo>
                    <a:lnTo>
                      <a:pt x="1" y="1800"/>
                    </a:lnTo>
                    <a:lnTo>
                      <a:pt x="105" y="1925"/>
                    </a:lnTo>
                    <a:lnTo>
                      <a:pt x="105" y="2051"/>
                    </a:lnTo>
                    <a:lnTo>
                      <a:pt x="189" y="2093"/>
                    </a:lnTo>
                    <a:lnTo>
                      <a:pt x="294" y="2009"/>
                    </a:lnTo>
                    <a:lnTo>
                      <a:pt x="356" y="2009"/>
                    </a:lnTo>
                    <a:lnTo>
                      <a:pt x="545" y="2051"/>
                    </a:lnTo>
                    <a:lnTo>
                      <a:pt x="733" y="2051"/>
                    </a:lnTo>
                    <a:lnTo>
                      <a:pt x="754" y="2113"/>
                    </a:lnTo>
                    <a:lnTo>
                      <a:pt x="942" y="2051"/>
                    </a:lnTo>
                    <a:lnTo>
                      <a:pt x="942" y="2134"/>
                    </a:lnTo>
                    <a:lnTo>
                      <a:pt x="838" y="2155"/>
                    </a:lnTo>
                    <a:lnTo>
                      <a:pt x="775" y="2239"/>
                    </a:lnTo>
                    <a:lnTo>
                      <a:pt x="817" y="2344"/>
                    </a:lnTo>
                    <a:lnTo>
                      <a:pt x="963" y="2323"/>
                    </a:lnTo>
                    <a:lnTo>
                      <a:pt x="1089" y="2427"/>
                    </a:lnTo>
                    <a:lnTo>
                      <a:pt x="1172" y="2616"/>
                    </a:lnTo>
                    <a:lnTo>
                      <a:pt x="1256" y="2616"/>
                    </a:lnTo>
                    <a:lnTo>
                      <a:pt x="1298" y="2657"/>
                    </a:lnTo>
                    <a:lnTo>
                      <a:pt x="1256" y="2741"/>
                    </a:lnTo>
                    <a:lnTo>
                      <a:pt x="1256" y="2867"/>
                    </a:lnTo>
                    <a:lnTo>
                      <a:pt x="1068" y="3201"/>
                    </a:lnTo>
                    <a:lnTo>
                      <a:pt x="1130" y="3390"/>
                    </a:lnTo>
                    <a:lnTo>
                      <a:pt x="1172" y="3494"/>
                    </a:lnTo>
                    <a:lnTo>
                      <a:pt x="1256" y="3494"/>
                    </a:lnTo>
                    <a:lnTo>
                      <a:pt x="1361" y="3473"/>
                    </a:lnTo>
                    <a:lnTo>
                      <a:pt x="1403" y="3515"/>
                    </a:lnTo>
                    <a:lnTo>
                      <a:pt x="1486" y="3515"/>
                    </a:lnTo>
                    <a:lnTo>
                      <a:pt x="1654" y="3411"/>
                    </a:lnTo>
                    <a:lnTo>
                      <a:pt x="1654" y="3348"/>
                    </a:lnTo>
                    <a:lnTo>
                      <a:pt x="1758" y="3285"/>
                    </a:lnTo>
                    <a:lnTo>
                      <a:pt x="1821" y="3160"/>
                    </a:lnTo>
                    <a:lnTo>
                      <a:pt x="1863" y="3034"/>
                    </a:lnTo>
                    <a:lnTo>
                      <a:pt x="1884" y="2846"/>
                    </a:lnTo>
                    <a:lnTo>
                      <a:pt x="1988" y="2678"/>
                    </a:lnTo>
                    <a:lnTo>
                      <a:pt x="1905" y="2657"/>
                    </a:lnTo>
                    <a:lnTo>
                      <a:pt x="1905" y="2574"/>
                    </a:lnTo>
                    <a:lnTo>
                      <a:pt x="1988" y="2532"/>
                    </a:lnTo>
                    <a:lnTo>
                      <a:pt x="2072" y="2365"/>
                    </a:lnTo>
                    <a:lnTo>
                      <a:pt x="2135" y="2365"/>
                    </a:lnTo>
                    <a:lnTo>
                      <a:pt x="2219" y="2260"/>
                    </a:lnTo>
                    <a:lnTo>
                      <a:pt x="2344" y="2197"/>
                    </a:lnTo>
                    <a:lnTo>
                      <a:pt x="2386" y="2030"/>
                    </a:lnTo>
                    <a:lnTo>
                      <a:pt x="2386" y="1925"/>
                    </a:lnTo>
                    <a:lnTo>
                      <a:pt x="2491" y="1841"/>
                    </a:lnTo>
                    <a:lnTo>
                      <a:pt x="2491" y="1800"/>
                    </a:lnTo>
                    <a:lnTo>
                      <a:pt x="2428" y="1695"/>
                    </a:lnTo>
                    <a:lnTo>
                      <a:pt x="2407" y="1569"/>
                    </a:lnTo>
                    <a:lnTo>
                      <a:pt x="2344" y="1569"/>
                    </a:lnTo>
                    <a:lnTo>
                      <a:pt x="2239" y="1507"/>
                    </a:lnTo>
                    <a:lnTo>
                      <a:pt x="2114" y="1507"/>
                    </a:lnTo>
                    <a:lnTo>
                      <a:pt x="2093" y="1465"/>
                    </a:lnTo>
                    <a:lnTo>
                      <a:pt x="2135" y="1360"/>
                    </a:lnTo>
                    <a:lnTo>
                      <a:pt x="2302" y="1276"/>
                    </a:lnTo>
                    <a:lnTo>
                      <a:pt x="2302" y="1193"/>
                    </a:lnTo>
                    <a:lnTo>
                      <a:pt x="2239" y="1109"/>
                    </a:lnTo>
                    <a:lnTo>
                      <a:pt x="2239" y="984"/>
                    </a:lnTo>
                    <a:lnTo>
                      <a:pt x="2281" y="879"/>
                    </a:lnTo>
                    <a:lnTo>
                      <a:pt x="2177" y="774"/>
                    </a:lnTo>
                    <a:lnTo>
                      <a:pt x="2093" y="774"/>
                    </a:lnTo>
                    <a:lnTo>
                      <a:pt x="1967" y="858"/>
                    </a:lnTo>
                    <a:lnTo>
                      <a:pt x="1779" y="900"/>
                    </a:lnTo>
                    <a:lnTo>
                      <a:pt x="1758" y="984"/>
                    </a:lnTo>
                    <a:lnTo>
                      <a:pt x="1675" y="1088"/>
                    </a:lnTo>
                    <a:lnTo>
                      <a:pt x="1591" y="1067"/>
                    </a:lnTo>
                    <a:lnTo>
                      <a:pt x="1570" y="963"/>
                    </a:lnTo>
                    <a:lnTo>
                      <a:pt x="1695" y="900"/>
                    </a:lnTo>
                    <a:lnTo>
                      <a:pt x="1758" y="837"/>
                    </a:lnTo>
                    <a:lnTo>
                      <a:pt x="1758" y="670"/>
                    </a:lnTo>
                    <a:lnTo>
                      <a:pt x="1800" y="460"/>
                    </a:lnTo>
                    <a:lnTo>
                      <a:pt x="1758" y="356"/>
                    </a:lnTo>
                    <a:lnTo>
                      <a:pt x="1695" y="272"/>
                    </a:lnTo>
                    <a:lnTo>
                      <a:pt x="1654" y="168"/>
                    </a:lnTo>
                    <a:lnTo>
                      <a:pt x="1507" y="105"/>
                    </a:lnTo>
                    <a:lnTo>
                      <a:pt x="1403" y="147"/>
                    </a:lnTo>
                    <a:lnTo>
                      <a:pt x="1277" y="105"/>
                    </a:lnTo>
                    <a:lnTo>
                      <a:pt x="1130" y="230"/>
                    </a:lnTo>
                    <a:lnTo>
                      <a:pt x="1047" y="209"/>
                    </a:lnTo>
                    <a:lnTo>
                      <a:pt x="1047" y="21"/>
                    </a:lnTo>
                    <a:lnTo>
                      <a:pt x="102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8" name="Google Shape;1968;p66"/>
              <p:cNvSpPr/>
              <p:nvPr/>
            </p:nvSpPr>
            <p:spPr>
              <a:xfrm>
                <a:off x="2799125" y="1455875"/>
                <a:ext cx="96775" cy="158525"/>
              </a:xfrm>
              <a:custGeom>
                <a:avLst/>
                <a:gdLst/>
                <a:ahLst/>
                <a:cxnLst/>
                <a:rect l="l" t="t" r="r" b="b"/>
                <a:pathLst>
                  <a:path w="3871" h="6341" extrusionOk="0">
                    <a:moveTo>
                      <a:pt x="2385" y="0"/>
                    </a:moveTo>
                    <a:lnTo>
                      <a:pt x="2385" y="126"/>
                    </a:lnTo>
                    <a:lnTo>
                      <a:pt x="2302" y="272"/>
                    </a:lnTo>
                    <a:lnTo>
                      <a:pt x="2385" y="356"/>
                    </a:lnTo>
                    <a:lnTo>
                      <a:pt x="2490" y="356"/>
                    </a:lnTo>
                    <a:lnTo>
                      <a:pt x="2595" y="314"/>
                    </a:lnTo>
                    <a:lnTo>
                      <a:pt x="2741" y="377"/>
                    </a:lnTo>
                    <a:lnTo>
                      <a:pt x="2783" y="460"/>
                    </a:lnTo>
                    <a:lnTo>
                      <a:pt x="2888" y="481"/>
                    </a:lnTo>
                    <a:lnTo>
                      <a:pt x="2888" y="565"/>
                    </a:lnTo>
                    <a:lnTo>
                      <a:pt x="2699" y="733"/>
                    </a:lnTo>
                    <a:lnTo>
                      <a:pt x="2616" y="733"/>
                    </a:lnTo>
                    <a:lnTo>
                      <a:pt x="2490" y="649"/>
                    </a:lnTo>
                    <a:lnTo>
                      <a:pt x="2385" y="649"/>
                    </a:lnTo>
                    <a:lnTo>
                      <a:pt x="2281" y="628"/>
                    </a:lnTo>
                    <a:lnTo>
                      <a:pt x="2281" y="628"/>
                    </a:lnTo>
                    <a:lnTo>
                      <a:pt x="2323" y="733"/>
                    </a:lnTo>
                    <a:lnTo>
                      <a:pt x="2406" y="753"/>
                    </a:lnTo>
                    <a:lnTo>
                      <a:pt x="2323" y="837"/>
                    </a:lnTo>
                    <a:lnTo>
                      <a:pt x="2218" y="858"/>
                    </a:lnTo>
                    <a:lnTo>
                      <a:pt x="2072" y="691"/>
                    </a:lnTo>
                    <a:lnTo>
                      <a:pt x="1904" y="774"/>
                    </a:lnTo>
                    <a:lnTo>
                      <a:pt x="1862" y="942"/>
                    </a:lnTo>
                    <a:lnTo>
                      <a:pt x="1779" y="1005"/>
                    </a:lnTo>
                    <a:lnTo>
                      <a:pt x="1779" y="1088"/>
                    </a:lnTo>
                    <a:lnTo>
                      <a:pt x="1883" y="1109"/>
                    </a:lnTo>
                    <a:lnTo>
                      <a:pt x="1904" y="1256"/>
                    </a:lnTo>
                    <a:lnTo>
                      <a:pt x="2051" y="1318"/>
                    </a:lnTo>
                    <a:lnTo>
                      <a:pt x="2051" y="1381"/>
                    </a:lnTo>
                    <a:lnTo>
                      <a:pt x="1946" y="1381"/>
                    </a:lnTo>
                    <a:lnTo>
                      <a:pt x="1946" y="1465"/>
                    </a:lnTo>
                    <a:lnTo>
                      <a:pt x="1988" y="1528"/>
                    </a:lnTo>
                    <a:lnTo>
                      <a:pt x="1988" y="1611"/>
                    </a:lnTo>
                    <a:lnTo>
                      <a:pt x="1904" y="1590"/>
                    </a:lnTo>
                    <a:lnTo>
                      <a:pt x="1841" y="1528"/>
                    </a:lnTo>
                    <a:lnTo>
                      <a:pt x="1695" y="1507"/>
                    </a:lnTo>
                    <a:lnTo>
                      <a:pt x="1590" y="1423"/>
                    </a:lnTo>
                    <a:lnTo>
                      <a:pt x="1528" y="1402"/>
                    </a:lnTo>
                    <a:lnTo>
                      <a:pt x="1423" y="1486"/>
                    </a:lnTo>
                    <a:lnTo>
                      <a:pt x="1381" y="1569"/>
                    </a:lnTo>
                    <a:lnTo>
                      <a:pt x="1465" y="1674"/>
                    </a:lnTo>
                    <a:lnTo>
                      <a:pt x="1423" y="1779"/>
                    </a:lnTo>
                    <a:lnTo>
                      <a:pt x="1360" y="1737"/>
                    </a:lnTo>
                    <a:lnTo>
                      <a:pt x="1360" y="1674"/>
                    </a:lnTo>
                    <a:lnTo>
                      <a:pt x="1276" y="1611"/>
                    </a:lnTo>
                    <a:lnTo>
                      <a:pt x="1151" y="1569"/>
                    </a:lnTo>
                    <a:lnTo>
                      <a:pt x="1109" y="1569"/>
                    </a:lnTo>
                    <a:lnTo>
                      <a:pt x="1025" y="1486"/>
                    </a:lnTo>
                    <a:lnTo>
                      <a:pt x="942" y="1465"/>
                    </a:lnTo>
                    <a:lnTo>
                      <a:pt x="921" y="1528"/>
                    </a:lnTo>
                    <a:lnTo>
                      <a:pt x="963" y="1674"/>
                    </a:lnTo>
                    <a:lnTo>
                      <a:pt x="963" y="1800"/>
                    </a:lnTo>
                    <a:lnTo>
                      <a:pt x="1004" y="1946"/>
                    </a:lnTo>
                    <a:lnTo>
                      <a:pt x="1109" y="2009"/>
                    </a:lnTo>
                    <a:lnTo>
                      <a:pt x="1235" y="2030"/>
                    </a:lnTo>
                    <a:lnTo>
                      <a:pt x="1276" y="2093"/>
                    </a:lnTo>
                    <a:lnTo>
                      <a:pt x="1256" y="2113"/>
                    </a:lnTo>
                    <a:lnTo>
                      <a:pt x="1130" y="2113"/>
                    </a:lnTo>
                    <a:lnTo>
                      <a:pt x="1256" y="2197"/>
                    </a:lnTo>
                    <a:lnTo>
                      <a:pt x="1318" y="2260"/>
                    </a:lnTo>
                    <a:lnTo>
                      <a:pt x="1423" y="2344"/>
                    </a:lnTo>
                    <a:lnTo>
                      <a:pt x="1548" y="2344"/>
                    </a:lnTo>
                    <a:lnTo>
                      <a:pt x="1632" y="2260"/>
                    </a:lnTo>
                    <a:lnTo>
                      <a:pt x="1674" y="2260"/>
                    </a:lnTo>
                    <a:lnTo>
                      <a:pt x="1674" y="2344"/>
                    </a:lnTo>
                    <a:lnTo>
                      <a:pt x="1590" y="2427"/>
                    </a:lnTo>
                    <a:lnTo>
                      <a:pt x="1548" y="2616"/>
                    </a:lnTo>
                    <a:lnTo>
                      <a:pt x="1486" y="2616"/>
                    </a:lnTo>
                    <a:lnTo>
                      <a:pt x="1339" y="2469"/>
                    </a:lnTo>
                    <a:lnTo>
                      <a:pt x="1025" y="2427"/>
                    </a:lnTo>
                    <a:lnTo>
                      <a:pt x="921" y="2260"/>
                    </a:lnTo>
                    <a:lnTo>
                      <a:pt x="837" y="2239"/>
                    </a:lnTo>
                    <a:lnTo>
                      <a:pt x="795" y="2155"/>
                    </a:lnTo>
                    <a:lnTo>
                      <a:pt x="753" y="2155"/>
                    </a:lnTo>
                    <a:lnTo>
                      <a:pt x="712" y="2302"/>
                    </a:lnTo>
                    <a:lnTo>
                      <a:pt x="712" y="2344"/>
                    </a:lnTo>
                    <a:lnTo>
                      <a:pt x="649" y="2406"/>
                    </a:lnTo>
                    <a:lnTo>
                      <a:pt x="712" y="2574"/>
                    </a:lnTo>
                    <a:lnTo>
                      <a:pt x="628" y="2637"/>
                    </a:lnTo>
                    <a:lnTo>
                      <a:pt x="544" y="2616"/>
                    </a:lnTo>
                    <a:lnTo>
                      <a:pt x="544" y="2762"/>
                    </a:lnTo>
                    <a:lnTo>
                      <a:pt x="502" y="2783"/>
                    </a:lnTo>
                    <a:lnTo>
                      <a:pt x="502" y="3034"/>
                    </a:lnTo>
                    <a:lnTo>
                      <a:pt x="586" y="3097"/>
                    </a:lnTo>
                    <a:lnTo>
                      <a:pt x="732" y="3097"/>
                    </a:lnTo>
                    <a:lnTo>
                      <a:pt x="837" y="3160"/>
                    </a:lnTo>
                    <a:lnTo>
                      <a:pt x="942" y="3139"/>
                    </a:lnTo>
                    <a:lnTo>
                      <a:pt x="942" y="3181"/>
                    </a:lnTo>
                    <a:lnTo>
                      <a:pt x="858" y="3243"/>
                    </a:lnTo>
                    <a:lnTo>
                      <a:pt x="753" y="3181"/>
                    </a:lnTo>
                    <a:lnTo>
                      <a:pt x="586" y="3181"/>
                    </a:lnTo>
                    <a:lnTo>
                      <a:pt x="523" y="3160"/>
                    </a:lnTo>
                    <a:lnTo>
                      <a:pt x="419" y="3181"/>
                    </a:lnTo>
                    <a:lnTo>
                      <a:pt x="272" y="3369"/>
                    </a:lnTo>
                    <a:lnTo>
                      <a:pt x="230" y="3473"/>
                    </a:lnTo>
                    <a:lnTo>
                      <a:pt x="314" y="3557"/>
                    </a:lnTo>
                    <a:lnTo>
                      <a:pt x="293" y="3599"/>
                    </a:lnTo>
                    <a:lnTo>
                      <a:pt x="209" y="3620"/>
                    </a:lnTo>
                    <a:lnTo>
                      <a:pt x="209" y="3725"/>
                    </a:lnTo>
                    <a:lnTo>
                      <a:pt x="293" y="3787"/>
                    </a:lnTo>
                    <a:lnTo>
                      <a:pt x="335" y="3725"/>
                    </a:lnTo>
                    <a:lnTo>
                      <a:pt x="502" y="3725"/>
                    </a:lnTo>
                    <a:lnTo>
                      <a:pt x="586" y="3662"/>
                    </a:lnTo>
                    <a:lnTo>
                      <a:pt x="628" y="3704"/>
                    </a:lnTo>
                    <a:lnTo>
                      <a:pt x="628" y="3787"/>
                    </a:lnTo>
                    <a:lnTo>
                      <a:pt x="523" y="3808"/>
                    </a:lnTo>
                    <a:lnTo>
                      <a:pt x="440" y="3913"/>
                    </a:lnTo>
                    <a:lnTo>
                      <a:pt x="502" y="3976"/>
                    </a:lnTo>
                    <a:lnTo>
                      <a:pt x="586" y="3976"/>
                    </a:lnTo>
                    <a:lnTo>
                      <a:pt x="691" y="3892"/>
                    </a:lnTo>
                    <a:lnTo>
                      <a:pt x="753" y="3892"/>
                    </a:lnTo>
                    <a:lnTo>
                      <a:pt x="858" y="3808"/>
                    </a:lnTo>
                    <a:lnTo>
                      <a:pt x="858" y="3871"/>
                    </a:lnTo>
                    <a:lnTo>
                      <a:pt x="816" y="3934"/>
                    </a:lnTo>
                    <a:lnTo>
                      <a:pt x="858" y="3976"/>
                    </a:lnTo>
                    <a:lnTo>
                      <a:pt x="1046" y="3976"/>
                    </a:lnTo>
                    <a:lnTo>
                      <a:pt x="1067" y="4018"/>
                    </a:lnTo>
                    <a:lnTo>
                      <a:pt x="963" y="4038"/>
                    </a:lnTo>
                    <a:lnTo>
                      <a:pt x="963" y="4122"/>
                    </a:lnTo>
                    <a:lnTo>
                      <a:pt x="1067" y="4143"/>
                    </a:lnTo>
                    <a:lnTo>
                      <a:pt x="1172" y="4122"/>
                    </a:lnTo>
                    <a:lnTo>
                      <a:pt x="1318" y="4206"/>
                    </a:lnTo>
                    <a:lnTo>
                      <a:pt x="1590" y="4290"/>
                    </a:lnTo>
                    <a:lnTo>
                      <a:pt x="1632" y="4331"/>
                    </a:lnTo>
                    <a:lnTo>
                      <a:pt x="1381" y="4310"/>
                    </a:lnTo>
                    <a:lnTo>
                      <a:pt x="1276" y="4331"/>
                    </a:lnTo>
                    <a:lnTo>
                      <a:pt x="1130" y="4227"/>
                    </a:lnTo>
                    <a:lnTo>
                      <a:pt x="963" y="4290"/>
                    </a:lnTo>
                    <a:lnTo>
                      <a:pt x="963" y="4352"/>
                    </a:lnTo>
                    <a:lnTo>
                      <a:pt x="1130" y="4415"/>
                    </a:lnTo>
                    <a:lnTo>
                      <a:pt x="1339" y="4436"/>
                    </a:lnTo>
                    <a:lnTo>
                      <a:pt x="1569" y="4436"/>
                    </a:lnTo>
                    <a:lnTo>
                      <a:pt x="1653" y="4499"/>
                    </a:lnTo>
                    <a:lnTo>
                      <a:pt x="1423" y="4541"/>
                    </a:lnTo>
                    <a:lnTo>
                      <a:pt x="1339" y="4520"/>
                    </a:lnTo>
                    <a:lnTo>
                      <a:pt x="1109" y="4499"/>
                    </a:lnTo>
                    <a:lnTo>
                      <a:pt x="942" y="4457"/>
                    </a:lnTo>
                    <a:lnTo>
                      <a:pt x="900" y="4394"/>
                    </a:lnTo>
                    <a:lnTo>
                      <a:pt x="753" y="4352"/>
                    </a:lnTo>
                    <a:lnTo>
                      <a:pt x="607" y="4206"/>
                    </a:lnTo>
                    <a:lnTo>
                      <a:pt x="544" y="4248"/>
                    </a:lnTo>
                    <a:lnTo>
                      <a:pt x="481" y="4331"/>
                    </a:lnTo>
                    <a:lnTo>
                      <a:pt x="293" y="4352"/>
                    </a:lnTo>
                    <a:lnTo>
                      <a:pt x="209" y="4415"/>
                    </a:lnTo>
                    <a:lnTo>
                      <a:pt x="188" y="4624"/>
                    </a:lnTo>
                    <a:lnTo>
                      <a:pt x="314" y="4729"/>
                    </a:lnTo>
                    <a:lnTo>
                      <a:pt x="314" y="4854"/>
                    </a:lnTo>
                    <a:lnTo>
                      <a:pt x="272" y="4917"/>
                    </a:lnTo>
                    <a:lnTo>
                      <a:pt x="188" y="4729"/>
                    </a:lnTo>
                    <a:lnTo>
                      <a:pt x="126" y="4729"/>
                    </a:lnTo>
                    <a:lnTo>
                      <a:pt x="63" y="4980"/>
                    </a:lnTo>
                    <a:lnTo>
                      <a:pt x="84" y="5126"/>
                    </a:lnTo>
                    <a:lnTo>
                      <a:pt x="168" y="5147"/>
                    </a:lnTo>
                    <a:lnTo>
                      <a:pt x="188" y="5126"/>
                    </a:lnTo>
                    <a:lnTo>
                      <a:pt x="272" y="5126"/>
                    </a:lnTo>
                    <a:lnTo>
                      <a:pt x="335" y="5252"/>
                    </a:lnTo>
                    <a:lnTo>
                      <a:pt x="419" y="5273"/>
                    </a:lnTo>
                    <a:lnTo>
                      <a:pt x="335" y="5294"/>
                    </a:lnTo>
                    <a:lnTo>
                      <a:pt x="272" y="5336"/>
                    </a:lnTo>
                    <a:lnTo>
                      <a:pt x="188" y="5231"/>
                    </a:lnTo>
                    <a:lnTo>
                      <a:pt x="21" y="5252"/>
                    </a:lnTo>
                    <a:lnTo>
                      <a:pt x="0" y="5461"/>
                    </a:lnTo>
                    <a:lnTo>
                      <a:pt x="63" y="5503"/>
                    </a:lnTo>
                    <a:lnTo>
                      <a:pt x="126" y="5482"/>
                    </a:lnTo>
                    <a:lnTo>
                      <a:pt x="84" y="5566"/>
                    </a:lnTo>
                    <a:lnTo>
                      <a:pt x="84" y="5817"/>
                    </a:lnTo>
                    <a:lnTo>
                      <a:pt x="168" y="5754"/>
                    </a:lnTo>
                    <a:lnTo>
                      <a:pt x="230" y="5775"/>
                    </a:lnTo>
                    <a:lnTo>
                      <a:pt x="230" y="5963"/>
                    </a:lnTo>
                    <a:lnTo>
                      <a:pt x="398" y="6005"/>
                    </a:lnTo>
                    <a:lnTo>
                      <a:pt x="628" y="6173"/>
                    </a:lnTo>
                    <a:lnTo>
                      <a:pt x="732" y="6110"/>
                    </a:lnTo>
                    <a:lnTo>
                      <a:pt x="795" y="6005"/>
                    </a:lnTo>
                    <a:lnTo>
                      <a:pt x="753" y="5922"/>
                    </a:lnTo>
                    <a:lnTo>
                      <a:pt x="921" y="5922"/>
                    </a:lnTo>
                    <a:lnTo>
                      <a:pt x="942" y="6026"/>
                    </a:lnTo>
                    <a:lnTo>
                      <a:pt x="921" y="6131"/>
                    </a:lnTo>
                    <a:lnTo>
                      <a:pt x="942" y="6235"/>
                    </a:lnTo>
                    <a:lnTo>
                      <a:pt x="1004" y="6214"/>
                    </a:lnTo>
                    <a:lnTo>
                      <a:pt x="1067" y="5963"/>
                    </a:lnTo>
                    <a:lnTo>
                      <a:pt x="1067" y="5712"/>
                    </a:lnTo>
                    <a:lnTo>
                      <a:pt x="1130" y="5566"/>
                    </a:lnTo>
                    <a:lnTo>
                      <a:pt x="1256" y="5440"/>
                    </a:lnTo>
                    <a:lnTo>
                      <a:pt x="1318" y="5294"/>
                    </a:lnTo>
                    <a:lnTo>
                      <a:pt x="1318" y="5461"/>
                    </a:lnTo>
                    <a:lnTo>
                      <a:pt x="1172" y="5670"/>
                    </a:lnTo>
                    <a:lnTo>
                      <a:pt x="1151" y="5817"/>
                    </a:lnTo>
                    <a:lnTo>
                      <a:pt x="1172" y="5922"/>
                    </a:lnTo>
                    <a:lnTo>
                      <a:pt x="1130" y="6131"/>
                    </a:lnTo>
                    <a:lnTo>
                      <a:pt x="1172" y="6235"/>
                    </a:lnTo>
                    <a:lnTo>
                      <a:pt x="1151" y="6319"/>
                    </a:lnTo>
                    <a:lnTo>
                      <a:pt x="1214" y="6340"/>
                    </a:lnTo>
                    <a:lnTo>
                      <a:pt x="1256" y="6298"/>
                    </a:lnTo>
                    <a:lnTo>
                      <a:pt x="1339" y="6173"/>
                    </a:lnTo>
                    <a:lnTo>
                      <a:pt x="1528" y="5984"/>
                    </a:lnTo>
                    <a:lnTo>
                      <a:pt x="1590" y="5691"/>
                    </a:lnTo>
                    <a:lnTo>
                      <a:pt x="1674" y="5650"/>
                    </a:lnTo>
                    <a:lnTo>
                      <a:pt x="1674" y="5754"/>
                    </a:lnTo>
                    <a:lnTo>
                      <a:pt x="1632" y="5880"/>
                    </a:lnTo>
                    <a:lnTo>
                      <a:pt x="1632" y="5963"/>
                    </a:lnTo>
                    <a:lnTo>
                      <a:pt x="1737" y="5984"/>
                    </a:lnTo>
                    <a:lnTo>
                      <a:pt x="1862" y="5859"/>
                    </a:lnTo>
                    <a:lnTo>
                      <a:pt x="1946" y="5775"/>
                    </a:lnTo>
                    <a:lnTo>
                      <a:pt x="1946" y="5670"/>
                    </a:lnTo>
                    <a:lnTo>
                      <a:pt x="1841" y="5650"/>
                    </a:lnTo>
                    <a:lnTo>
                      <a:pt x="1841" y="5608"/>
                    </a:lnTo>
                    <a:lnTo>
                      <a:pt x="1946" y="5566"/>
                    </a:lnTo>
                    <a:lnTo>
                      <a:pt x="1946" y="5398"/>
                    </a:lnTo>
                    <a:lnTo>
                      <a:pt x="1904" y="5336"/>
                    </a:lnTo>
                    <a:lnTo>
                      <a:pt x="1904" y="5231"/>
                    </a:lnTo>
                    <a:lnTo>
                      <a:pt x="2072" y="5126"/>
                    </a:lnTo>
                    <a:lnTo>
                      <a:pt x="2113" y="4938"/>
                    </a:lnTo>
                    <a:lnTo>
                      <a:pt x="2218" y="4875"/>
                    </a:lnTo>
                    <a:lnTo>
                      <a:pt x="2281" y="4813"/>
                    </a:lnTo>
                    <a:lnTo>
                      <a:pt x="2281" y="4917"/>
                    </a:lnTo>
                    <a:lnTo>
                      <a:pt x="2281" y="4959"/>
                    </a:lnTo>
                    <a:lnTo>
                      <a:pt x="2197" y="4980"/>
                    </a:lnTo>
                    <a:lnTo>
                      <a:pt x="2113" y="5168"/>
                    </a:lnTo>
                    <a:lnTo>
                      <a:pt x="2051" y="5294"/>
                    </a:lnTo>
                    <a:lnTo>
                      <a:pt x="2009" y="5461"/>
                    </a:lnTo>
                    <a:lnTo>
                      <a:pt x="2072" y="5566"/>
                    </a:lnTo>
                    <a:lnTo>
                      <a:pt x="2092" y="5691"/>
                    </a:lnTo>
                    <a:lnTo>
                      <a:pt x="2155" y="5650"/>
                    </a:lnTo>
                    <a:lnTo>
                      <a:pt x="2260" y="5461"/>
                    </a:lnTo>
                    <a:lnTo>
                      <a:pt x="2469" y="5273"/>
                    </a:lnTo>
                    <a:lnTo>
                      <a:pt x="2532" y="5147"/>
                    </a:lnTo>
                    <a:lnTo>
                      <a:pt x="2532" y="4980"/>
                    </a:lnTo>
                    <a:lnTo>
                      <a:pt x="2616" y="4875"/>
                    </a:lnTo>
                    <a:lnTo>
                      <a:pt x="2699" y="4854"/>
                    </a:lnTo>
                    <a:lnTo>
                      <a:pt x="2699" y="4917"/>
                    </a:lnTo>
                    <a:lnTo>
                      <a:pt x="2678" y="4959"/>
                    </a:lnTo>
                    <a:lnTo>
                      <a:pt x="2678" y="5085"/>
                    </a:lnTo>
                    <a:lnTo>
                      <a:pt x="2741" y="5064"/>
                    </a:lnTo>
                    <a:lnTo>
                      <a:pt x="2888" y="4875"/>
                    </a:lnTo>
                    <a:lnTo>
                      <a:pt x="2971" y="4875"/>
                    </a:lnTo>
                    <a:lnTo>
                      <a:pt x="3139" y="4917"/>
                    </a:lnTo>
                    <a:lnTo>
                      <a:pt x="3327" y="4854"/>
                    </a:lnTo>
                    <a:lnTo>
                      <a:pt x="3432" y="4834"/>
                    </a:lnTo>
                    <a:lnTo>
                      <a:pt x="3494" y="4750"/>
                    </a:lnTo>
                    <a:lnTo>
                      <a:pt x="3620" y="4729"/>
                    </a:lnTo>
                    <a:lnTo>
                      <a:pt x="3662" y="4624"/>
                    </a:lnTo>
                    <a:lnTo>
                      <a:pt x="3662" y="4541"/>
                    </a:lnTo>
                    <a:lnTo>
                      <a:pt x="3683" y="4457"/>
                    </a:lnTo>
                    <a:lnTo>
                      <a:pt x="3620" y="4394"/>
                    </a:lnTo>
                    <a:lnTo>
                      <a:pt x="3662" y="4227"/>
                    </a:lnTo>
                    <a:lnTo>
                      <a:pt x="3662" y="3976"/>
                    </a:lnTo>
                    <a:lnTo>
                      <a:pt x="3620" y="3976"/>
                    </a:lnTo>
                    <a:lnTo>
                      <a:pt x="3536" y="4122"/>
                    </a:lnTo>
                    <a:lnTo>
                      <a:pt x="3411" y="4290"/>
                    </a:lnTo>
                    <a:lnTo>
                      <a:pt x="3348" y="4290"/>
                    </a:lnTo>
                    <a:lnTo>
                      <a:pt x="3348" y="4206"/>
                    </a:lnTo>
                    <a:lnTo>
                      <a:pt x="3432" y="4101"/>
                    </a:lnTo>
                    <a:lnTo>
                      <a:pt x="3536" y="4018"/>
                    </a:lnTo>
                    <a:lnTo>
                      <a:pt x="3557" y="3934"/>
                    </a:lnTo>
                    <a:lnTo>
                      <a:pt x="3432" y="3829"/>
                    </a:lnTo>
                    <a:lnTo>
                      <a:pt x="3411" y="3725"/>
                    </a:lnTo>
                    <a:lnTo>
                      <a:pt x="3348" y="3725"/>
                    </a:lnTo>
                    <a:lnTo>
                      <a:pt x="3306" y="3766"/>
                    </a:lnTo>
                    <a:lnTo>
                      <a:pt x="3264" y="3829"/>
                    </a:lnTo>
                    <a:lnTo>
                      <a:pt x="3201" y="3787"/>
                    </a:lnTo>
                    <a:lnTo>
                      <a:pt x="3097" y="3808"/>
                    </a:lnTo>
                    <a:lnTo>
                      <a:pt x="3013" y="3871"/>
                    </a:lnTo>
                    <a:lnTo>
                      <a:pt x="2909" y="3829"/>
                    </a:lnTo>
                    <a:lnTo>
                      <a:pt x="2950" y="3787"/>
                    </a:lnTo>
                    <a:lnTo>
                      <a:pt x="3222" y="3683"/>
                    </a:lnTo>
                    <a:lnTo>
                      <a:pt x="3327" y="3662"/>
                    </a:lnTo>
                    <a:lnTo>
                      <a:pt x="3536" y="3453"/>
                    </a:lnTo>
                    <a:lnTo>
                      <a:pt x="3578" y="3390"/>
                    </a:lnTo>
                    <a:lnTo>
                      <a:pt x="3725" y="3160"/>
                    </a:lnTo>
                    <a:lnTo>
                      <a:pt x="3766" y="2971"/>
                    </a:lnTo>
                    <a:lnTo>
                      <a:pt x="3725" y="2950"/>
                    </a:lnTo>
                    <a:lnTo>
                      <a:pt x="3641" y="2971"/>
                    </a:lnTo>
                    <a:lnTo>
                      <a:pt x="3578" y="3034"/>
                    </a:lnTo>
                    <a:lnTo>
                      <a:pt x="3536" y="2950"/>
                    </a:lnTo>
                    <a:lnTo>
                      <a:pt x="3578" y="2888"/>
                    </a:lnTo>
                    <a:lnTo>
                      <a:pt x="3641" y="2846"/>
                    </a:lnTo>
                    <a:lnTo>
                      <a:pt x="3725" y="2867"/>
                    </a:lnTo>
                    <a:lnTo>
                      <a:pt x="3766" y="2783"/>
                    </a:lnTo>
                    <a:lnTo>
                      <a:pt x="3766" y="2657"/>
                    </a:lnTo>
                    <a:lnTo>
                      <a:pt x="3871" y="2553"/>
                    </a:lnTo>
                    <a:lnTo>
                      <a:pt x="3871" y="2427"/>
                    </a:lnTo>
                    <a:lnTo>
                      <a:pt x="3850" y="2365"/>
                    </a:lnTo>
                    <a:lnTo>
                      <a:pt x="3850" y="2302"/>
                    </a:lnTo>
                    <a:lnTo>
                      <a:pt x="3745" y="2260"/>
                    </a:lnTo>
                    <a:lnTo>
                      <a:pt x="3641" y="2302"/>
                    </a:lnTo>
                    <a:lnTo>
                      <a:pt x="3494" y="2553"/>
                    </a:lnTo>
                    <a:lnTo>
                      <a:pt x="3494" y="2678"/>
                    </a:lnTo>
                    <a:lnTo>
                      <a:pt x="3557" y="2762"/>
                    </a:lnTo>
                    <a:lnTo>
                      <a:pt x="3473" y="2846"/>
                    </a:lnTo>
                    <a:lnTo>
                      <a:pt x="3432" y="2888"/>
                    </a:lnTo>
                    <a:lnTo>
                      <a:pt x="3369" y="2867"/>
                    </a:lnTo>
                    <a:lnTo>
                      <a:pt x="3411" y="2825"/>
                    </a:lnTo>
                    <a:lnTo>
                      <a:pt x="3348" y="2762"/>
                    </a:lnTo>
                    <a:lnTo>
                      <a:pt x="3348" y="2657"/>
                    </a:lnTo>
                    <a:lnTo>
                      <a:pt x="3453" y="2448"/>
                    </a:lnTo>
                    <a:lnTo>
                      <a:pt x="3432" y="2344"/>
                    </a:lnTo>
                    <a:lnTo>
                      <a:pt x="3453" y="2302"/>
                    </a:lnTo>
                    <a:lnTo>
                      <a:pt x="3473" y="2323"/>
                    </a:lnTo>
                    <a:lnTo>
                      <a:pt x="3557" y="2302"/>
                    </a:lnTo>
                    <a:lnTo>
                      <a:pt x="3536" y="2134"/>
                    </a:lnTo>
                    <a:lnTo>
                      <a:pt x="3453" y="2030"/>
                    </a:lnTo>
                    <a:lnTo>
                      <a:pt x="3348" y="2030"/>
                    </a:lnTo>
                    <a:lnTo>
                      <a:pt x="3222" y="2051"/>
                    </a:lnTo>
                    <a:lnTo>
                      <a:pt x="3160" y="2155"/>
                    </a:lnTo>
                    <a:lnTo>
                      <a:pt x="3139" y="2113"/>
                    </a:lnTo>
                    <a:lnTo>
                      <a:pt x="3118" y="2051"/>
                    </a:lnTo>
                    <a:lnTo>
                      <a:pt x="3139" y="1904"/>
                    </a:lnTo>
                    <a:lnTo>
                      <a:pt x="3055" y="1737"/>
                    </a:lnTo>
                    <a:lnTo>
                      <a:pt x="3097" y="1507"/>
                    </a:lnTo>
                    <a:lnTo>
                      <a:pt x="3097" y="1318"/>
                    </a:lnTo>
                    <a:lnTo>
                      <a:pt x="3139" y="1193"/>
                    </a:lnTo>
                    <a:lnTo>
                      <a:pt x="3160" y="1005"/>
                    </a:lnTo>
                    <a:lnTo>
                      <a:pt x="3139" y="858"/>
                    </a:lnTo>
                    <a:lnTo>
                      <a:pt x="3243" y="670"/>
                    </a:lnTo>
                    <a:lnTo>
                      <a:pt x="3243" y="523"/>
                    </a:lnTo>
                    <a:lnTo>
                      <a:pt x="3139" y="419"/>
                    </a:lnTo>
                    <a:lnTo>
                      <a:pt x="3118" y="272"/>
                    </a:lnTo>
                    <a:lnTo>
                      <a:pt x="2950" y="147"/>
                    </a:lnTo>
                    <a:lnTo>
                      <a:pt x="2909" y="63"/>
                    </a:lnTo>
                    <a:lnTo>
                      <a:pt x="2741" y="0"/>
                    </a:lnTo>
                    <a:lnTo>
                      <a:pt x="2699" y="21"/>
                    </a:lnTo>
                    <a:lnTo>
                      <a:pt x="2699" y="105"/>
                    </a:lnTo>
                    <a:lnTo>
                      <a:pt x="2678" y="126"/>
                    </a:lnTo>
                    <a:lnTo>
                      <a:pt x="251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69" name="Google Shape;1969;p66"/>
              <p:cNvSpPr/>
              <p:nvPr/>
            </p:nvSpPr>
            <p:spPr>
              <a:xfrm>
                <a:off x="2744725" y="1557875"/>
                <a:ext cx="36625" cy="48150"/>
              </a:xfrm>
              <a:custGeom>
                <a:avLst/>
                <a:gdLst/>
                <a:ahLst/>
                <a:cxnLst/>
                <a:rect l="l" t="t" r="r" b="b"/>
                <a:pathLst>
                  <a:path w="1465" h="1926" extrusionOk="0">
                    <a:moveTo>
                      <a:pt x="711" y="0"/>
                    </a:moveTo>
                    <a:lnTo>
                      <a:pt x="586" y="105"/>
                    </a:lnTo>
                    <a:lnTo>
                      <a:pt x="502" y="168"/>
                    </a:lnTo>
                    <a:lnTo>
                      <a:pt x="502" y="356"/>
                    </a:lnTo>
                    <a:lnTo>
                      <a:pt x="419" y="419"/>
                    </a:lnTo>
                    <a:lnTo>
                      <a:pt x="356" y="377"/>
                    </a:lnTo>
                    <a:lnTo>
                      <a:pt x="272" y="544"/>
                    </a:lnTo>
                    <a:lnTo>
                      <a:pt x="272" y="733"/>
                    </a:lnTo>
                    <a:lnTo>
                      <a:pt x="188" y="837"/>
                    </a:lnTo>
                    <a:lnTo>
                      <a:pt x="272" y="963"/>
                    </a:lnTo>
                    <a:lnTo>
                      <a:pt x="147" y="963"/>
                    </a:lnTo>
                    <a:lnTo>
                      <a:pt x="167" y="1005"/>
                    </a:lnTo>
                    <a:lnTo>
                      <a:pt x="272" y="1088"/>
                    </a:lnTo>
                    <a:lnTo>
                      <a:pt x="398" y="1256"/>
                    </a:lnTo>
                    <a:lnTo>
                      <a:pt x="377" y="1360"/>
                    </a:lnTo>
                    <a:lnTo>
                      <a:pt x="356" y="1360"/>
                    </a:lnTo>
                    <a:lnTo>
                      <a:pt x="209" y="1256"/>
                    </a:lnTo>
                    <a:lnTo>
                      <a:pt x="84" y="1256"/>
                    </a:lnTo>
                    <a:lnTo>
                      <a:pt x="63" y="1318"/>
                    </a:lnTo>
                    <a:lnTo>
                      <a:pt x="0" y="1402"/>
                    </a:lnTo>
                    <a:lnTo>
                      <a:pt x="105" y="1465"/>
                    </a:lnTo>
                    <a:lnTo>
                      <a:pt x="147" y="1590"/>
                    </a:lnTo>
                    <a:lnTo>
                      <a:pt x="188" y="1632"/>
                    </a:lnTo>
                    <a:lnTo>
                      <a:pt x="105" y="1737"/>
                    </a:lnTo>
                    <a:lnTo>
                      <a:pt x="105" y="1883"/>
                    </a:lnTo>
                    <a:lnTo>
                      <a:pt x="251" y="1821"/>
                    </a:lnTo>
                    <a:lnTo>
                      <a:pt x="272" y="1737"/>
                    </a:lnTo>
                    <a:lnTo>
                      <a:pt x="356" y="1737"/>
                    </a:lnTo>
                    <a:lnTo>
                      <a:pt x="377" y="1883"/>
                    </a:lnTo>
                    <a:lnTo>
                      <a:pt x="460" y="1883"/>
                    </a:lnTo>
                    <a:lnTo>
                      <a:pt x="607" y="1842"/>
                    </a:lnTo>
                    <a:lnTo>
                      <a:pt x="711" y="1883"/>
                    </a:lnTo>
                    <a:lnTo>
                      <a:pt x="837" y="1779"/>
                    </a:lnTo>
                    <a:lnTo>
                      <a:pt x="900" y="1821"/>
                    </a:lnTo>
                    <a:lnTo>
                      <a:pt x="900" y="1925"/>
                    </a:lnTo>
                    <a:lnTo>
                      <a:pt x="983" y="1925"/>
                    </a:lnTo>
                    <a:lnTo>
                      <a:pt x="1025" y="1883"/>
                    </a:lnTo>
                    <a:lnTo>
                      <a:pt x="1235" y="1737"/>
                    </a:lnTo>
                    <a:lnTo>
                      <a:pt x="1235" y="1632"/>
                    </a:lnTo>
                    <a:lnTo>
                      <a:pt x="1214" y="1465"/>
                    </a:lnTo>
                    <a:lnTo>
                      <a:pt x="1151" y="1465"/>
                    </a:lnTo>
                    <a:lnTo>
                      <a:pt x="1109" y="1402"/>
                    </a:lnTo>
                    <a:lnTo>
                      <a:pt x="1193" y="1360"/>
                    </a:lnTo>
                    <a:lnTo>
                      <a:pt x="1297" y="1381"/>
                    </a:lnTo>
                    <a:lnTo>
                      <a:pt x="1339" y="1298"/>
                    </a:lnTo>
                    <a:lnTo>
                      <a:pt x="1465" y="1214"/>
                    </a:lnTo>
                    <a:lnTo>
                      <a:pt x="1423" y="984"/>
                    </a:lnTo>
                    <a:lnTo>
                      <a:pt x="1360" y="900"/>
                    </a:lnTo>
                    <a:lnTo>
                      <a:pt x="1360" y="837"/>
                    </a:lnTo>
                    <a:lnTo>
                      <a:pt x="1235" y="837"/>
                    </a:lnTo>
                    <a:lnTo>
                      <a:pt x="1193" y="691"/>
                    </a:lnTo>
                    <a:lnTo>
                      <a:pt x="1193" y="649"/>
                    </a:lnTo>
                    <a:lnTo>
                      <a:pt x="1130" y="586"/>
                    </a:lnTo>
                    <a:lnTo>
                      <a:pt x="1109" y="482"/>
                    </a:lnTo>
                    <a:lnTo>
                      <a:pt x="1046" y="461"/>
                    </a:lnTo>
                    <a:lnTo>
                      <a:pt x="1004" y="377"/>
                    </a:lnTo>
                    <a:lnTo>
                      <a:pt x="1025" y="272"/>
                    </a:lnTo>
                    <a:lnTo>
                      <a:pt x="983" y="168"/>
                    </a:lnTo>
                    <a:lnTo>
                      <a:pt x="83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0" name="Google Shape;1970;p66"/>
              <p:cNvSpPr/>
              <p:nvPr/>
            </p:nvSpPr>
            <p:spPr>
              <a:xfrm>
                <a:off x="2789175" y="1410350"/>
                <a:ext cx="386600" cy="302375"/>
              </a:xfrm>
              <a:custGeom>
                <a:avLst/>
                <a:gdLst/>
                <a:ahLst/>
                <a:cxnLst/>
                <a:rect l="l" t="t" r="r" b="b"/>
                <a:pathLst>
                  <a:path w="15464" h="12095" extrusionOk="0">
                    <a:moveTo>
                      <a:pt x="9625" y="1"/>
                    </a:moveTo>
                    <a:lnTo>
                      <a:pt x="9521" y="105"/>
                    </a:lnTo>
                    <a:lnTo>
                      <a:pt x="9416" y="105"/>
                    </a:lnTo>
                    <a:lnTo>
                      <a:pt x="9353" y="168"/>
                    </a:lnTo>
                    <a:lnTo>
                      <a:pt x="9416" y="252"/>
                    </a:lnTo>
                    <a:lnTo>
                      <a:pt x="9521" y="273"/>
                    </a:lnTo>
                    <a:lnTo>
                      <a:pt x="9584" y="315"/>
                    </a:lnTo>
                    <a:lnTo>
                      <a:pt x="9458" y="315"/>
                    </a:lnTo>
                    <a:lnTo>
                      <a:pt x="9395" y="377"/>
                    </a:lnTo>
                    <a:lnTo>
                      <a:pt x="9458" y="461"/>
                    </a:lnTo>
                    <a:lnTo>
                      <a:pt x="9584" y="566"/>
                    </a:lnTo>
                    <a:lnTo>
                      <a:pt x="9563" y="629"/>
                    </a:lnTo>
                    <a:lnTo>
                      <a:pt x="9521" y="691"/>
                    </a:lnTo>
                    <a:lnTo>
                      <a:pt x="9625" y="796"/>
                    </a:lnTo>
                    <a:lnTo>
                      <a:pt x="9709" y="817"/>
                    </a:lnTo>
                    <a:lnTo>
                      <a:pt x="9709" y="880"/>
                    </a:lnTo>
                    <a:lnTo>
                      <a:pt x="9605" y="901"/>
                    </a:lnTo>
                    <a:lnTo>
                      <a:pt x="9605" y="942"/>
                    </a:lnTo>
                    <a:lnTo>
                      <a:pt x="9395" y="712"/>
                    </a:lnTo>
                    <a:lnTo>
                      <a:pt x="9353" y="712"/>
                    </a:lnTo>
                    <a:lnTo>
                      <a:pt x="9312" y="796"/>
                    </a:lnTo>
                    <a:lnTo>
                      <a:pt x="9312" y="901"/>
                    </a:lnTo>
                    <a:lnTo>
                      <a:pt x="9270" y="880"/>
                    </a:lnTo>
                    <a:lnTo>
                      <a:pt x="9249" y="691"/>
                    </a:lnTo>
                    <a:lnTo>
                      <a:pt x="9270" y="566"/>
                    </a:lnTo>
                    <a:lnTo>
                      <a:pt x="9186" y="419"/>
                    </a:lnTo>
                    <a:lnTo>
                      <a:pt x="9186" y="273"/>
                    </a:lnTo>
                    <a:lnTo>
                      <a:pt x="9123" y="210"/>
                    </a:lnTo>
                    <a:lnTo>
                      <a:pt x="9081" y="252"/>
                    </a:lnTo>
                    <a:lnTo>
                      <a:pt x="8956" y="147"/>
                    </a:lnTo>
                    <a:lnTo>
                      <a:pt x="8872" y="105"/>
                    </a:lnTo>
                    <a:lnTo>
                      <a:pt x="8851" y="252"/>
                    </a:lnTo>
                    <a:lnTo>
                      <a:pt x="8872" y="461"/>
                    </a:lnTo>
                    <a:lnTo>
                      <a:pt x="8851" y="670"/>
                    </a:lnTo>
                    <a:lnTo>
                      <a:pt x="8893" y="817"/>
                    </a:lnTo>
                    <a:lnTo>
                      <a:pt x="8935" y="984"/>
                    </a:lnTo>
                    <a:lnTo>
                      <a:pt x="8935" y="1047"/>
                    </a:lnTo>
                    <a:lnTo>
                      <a:pt x="8935" y="1193"/>
                    </a:lnTo>
                    <a:lnTo>
                      <a:pt x="8872" y="1235"/>
                    </a:lnTo>
                    <a:lnTo>
                      <a:pt x="8830" y="1131"/>
                    </a:lnTo>
                    <a:lnTo>
                      <a:pt x="8788" y="984"/>
                    </a:lnTo>
                    <a:lnTo>
                      <a:pt x="8747" y="901"/>
                    </a:lnTo>
                    <a:lnTo>
                      <a:pt x="8747" y="775"/>
                    </a:lnTo>
                    <a:lnTo>
                      <a:pt x="8726" y="629"/>
                    </a:lnTo>
                    <a:lnTo>
                      <a:pt x="8684" y="482"/>
                    </a:lnTo>
                    <a:lnTo>
                      <a:pt x="8475" y="357"/>
                    </a:lnTo>
                    <a:lnTo>
                      <a:pt x="8412" y="357"/>
                    </a:lnTo>
                    <a:lnTo>
                      <a:pt x="8370" y="482"/>
                    </a:lnTo>
                    <a:lnTo>
                      <a:pt x="8349" y="524"/>
                    </a:lnTo>
                    <a:lnTo>
                      <a:pt x="8370" y="691"/>
                    </a:lnTo>
                    <a:lnTo>
                      <a:pt x="8558" y="817"/>
                    </a:lnTo>
                    <a:lnTo>
                      <a:pt x="8558" y="901"/>
                    </a:lnTo>
                    <a:lnTo>
                      <a:pt x="8370" y="880"/>
                    </a:lnTo>
                    <a:lnTo>
                      <a:pt x="8328" y="838"/>
                    </a:lnTo>
                    <a:lnTo>
                      <a:pt x="8244" y="838"/>
                    </a:lnTo>
                    <a:lnTo>
                      <a:pt x="8161" y="921"/>
                    </a:lnTo>
                    <a:lnTo>
                      <a:pt x="8244" y="1131"/>
                    </a:lnTo>
                    <a:lnTo>
                      <a:pt x="8224" y="1193"/>
                    </a:lnTo>
                    <a:lnTo>
                      <a:pt x="8077" y="1235"/>
                    </a:lnTo>
                    <a:lnTo>
                      <a:pt x="8035" y="1340"/>
                    </a:lnTo>
                    <a:lnTo>
                      <a:pt x="7952" y="1403"/>
                    </a:lnTo>
                    <a:lnTo>
                      <a:pt x="7910" y="1319"/>
                    </a:lnTo>
                    <a:lnTo>
                      <a:pt x="7910" y="1214"/>
                    </a:lnTo>
                    <a:lnTo>
                      <a:pt x="7847" y="1214"/>
                    </a:lnTo>
                    <a:lnTo>
                      <a:pt x="7784" y="1361"/>
                    </a:lnTo>
                    <a:lnTo>
                      <a:pt x="7700" y="1403"/>
                    </a:lnTo>
                    <a:lnTo>
                      <a:pt x="7680" y="1131"/>
                    </a:lnTo>
                    <a:lnTo>
                      <a:pt x="7700" y="984"/>
                    </a:lnTo>
                    <a:lnTo>
                      <a:pt x="7700" y="921"/>
                    </a:lnTo>
                    <a:lnTo>
                      <a:pt x="7491" y="838"/>
                    </a:lnTo>
                    <a:lnTo>
                      <a:pt x="7470" y="775"/>
                    </a:lnTo>
                    <a:lnTo>
                      <a:pt x="7533" y="691"/>
                    </a:lnTo>
                    <a:lnTo>
                      <a:pt x="7554" y="608"/>
                    </a:lnTo>
                    <a:lnTo>
                      <a:pt x="7470" y="566"/>
                    </a:lnTo>
                    <a:lnTo>
                      <a:pt x="7261" y="524"/>
                    </a:lnTo>
                    <a:lnTo>
                      <a:pt x="7219" y="482"/>
                    </a:lnTo>
                    <a:lnTo>
                      <a:pt x="7073" y="524"/>
                    </a:lnTo>
                    <a:lnTo>
                      <a:pt x="7031" y="629"/>
                    </a:lnTo>
                    <a:lnTo>
                      <a:pt x="7115" y="712"/>
                    </a:lnTo>
                    <a:lnTo>
                      <a:pt x="7115" y="921"/>
                    </a:lnTo>
                    <a:lnTo>
                      <a:pt x="7073" y="984"/>
                    </a:lnTo>
                    <a:lnTo>
                      <a:pt x="6968" y="942"/>
                    </a:lnTo>
                    <a:lnTo>
                      <a:pt x="6864" y="984"/>
                    </a:lnTo>
                    <a:lnTo>
                      <a:pt x="6780" y="901"/>
                    </a:lnTo>
                    <a:lnTo>
                      <a:pt x="6654" y="901"/>
                    </a:lnTo>
                    <a:lnTo>
                      <a:pt x="6633" y="1026"/>
                    </a:lnTo>
                    <a:lnTo>
                      <a:pt x="6675" y="1089"/>
                    </a:lnTo>
                    <a:lnTo>
                      <a:pt x="6738" y="1193"/>
                    </a:lnTo>
                    <a:lnTo>
                      <a:pt x="6801" y="1256"/>
                    </a:lnTo>
                    <a:lnTo>
                      <a:pt x="6801" y="1403"/>
                    </a:lnTo>
                    <a:lnTo>
                      <a:pt x="6864" y="1465"/>
                    </a:lnTo>
                    <a:lnTo>
                      <a:pt x="6905" y="1465"/>
                    </a:lnTo>
                    <a:lnTo>
                      <a:pt x="7010" y="1633"/>
                    </a:lnTo>
                    <a:lnTo>
                      <a:pt x="7010" y="1779"/>
                    </a:lnTo>
                    <a:lnTo>
                      <a:pt x="6968" y="1842"/>
                    </a:lnTo>
                    <a:lnTo>
                      <a:pt x="6989" y="1717"/>
                    </a:lnTo>
                    <a:lnTo>
                      <a:pt x="6947" y="1717"/>
                    </a:lnTo>
                    <a:lnTo>
                      <a:pt x="6843" y="1842"/>
                    </a:lnTo>
                    <a:lnTo>
                      <a:pt x="6780" y="1758"/>
                    </a:lnTo>
                    <a:lnTo>
                      <a:pt x="6780" y="1654"/>
                    </a:lnTo>
                    <a:lnTo>
                      <a:pt x="6801" y="1633"/>
                    </a:lnTo>
                    <a:lnTo>
                      <a:pt x="6780" y="1549"/>
                    </a:lnTo>
                    <a:lnTo>
                      <a:pt x="6738" y="1612"/>
                    </a:lnTo>
                    <a:lnTo>
                      <a:pt x="6654" y="1612"/>
                    </a:lnTo>
                    <a:lnTo>
                      <a:pt x="6654" y="1758"/>
                    </a:lnTo>
                    <a:lnTo>
                      <a:pt x="6592" y="1842"/>
                    </a:lnTo>
                    <a:lnTo>
                      <a:pt x="6571" y="1758"/>
                    </a:lnTo>
                    <a:lnTo>
                      <a:pt x="6508" y="1675"/>
                    </a:lnTo>
                    <a:lnTo>
                      <a:pt x="6550" y="1570"/>
                    </a:lnTo>
                    <a:lnTo>
                      <a:pt x="6550" y="1424"/>
                    </a:lnTo>
                    <a:lnTo>
                      <a:pt x="6445" y="1298"/>
                    </a:lnTo>
                    <a:lnTo>
                      <a:pt x="6382" y="1298"/>
                    </a:lnTo>
                    <a:lnTo>
                      <a:pt x="6257" y="1465"/>
                    </a:lnTo>
                    <a:lnTo>
                      <a:pt x="6215" y="1507"/>
                    </a:lnTo>
                    <a:lnTo>
                      <a:pt x="6215" y="1633"/>
                    </a:lnTo>
                    <a:lnTo>
                      <a:pt x="6257" y="1717"/>
                    </a:lnTo>
                    <a:lnTo>
                      <a:pt x="6215" y="1758"/>
                    </a:lnTo>
                    <a:lnTo>
                      <a:pt x="6131" y="1675"/>
                    </a:lnTo>
                    <a:lnTo>
                      <a:pt x="6152" y="1612"/>
                    </a:lnTo>
                    <a:lnTo>
                      <a:pt x="6110" y="1528"/>
                    </a:lnTo>
                    <a:lnTo>
                      <a:pt x="6131" y="1424"/>
                    </a:lnTo>
                    <a:lnTo>
                      <a:pt x="6110" y="1298"/>
                    </a:lnTo>
                    <a:lnTo>
                      <a:pt x="5985" y="1235"/>
                    </a:lnTo>
                    <a:lnTo>
                      <a:pt x="5985" y="1089"/>
                    </a:lnTo>
                    <a:lnTo>
                      <a:pt x="5985" y="984"/>
                    </a:lnTo>
                    <a:lnTo>
                      <a:pt x="5943" y="984"/>
                    </a:lnTo>
                    <a:lnTo>
                      <a:pt x="5796" y="1110"/>
                    </a:lnTo>
                    <a:lnTo>
                      <a:pt x="5713" y="1131"/>
                    </a:lnTo>
                    <a:lnTo>
                      <a:pt x="5692" y="1256"/>
                    </a:lnTo>
                    <a:lnTo>
                      <a:pt x="5713" y="1340"/>
                    </a:lnTo>
                    <a:lnTo>
                      <a:pt x="5692" y="1403"/>
                    </a:lnTo>
                    <a:lnTo>
                      <a:pt x="5692" y="1465"/>
                    </a:lnTo>
                    <a:lnTo>
                      <a:pt x="5608" y="1528"/>
                    </a:lnTo>
                    <a:lnTo>
                      <a:pt x="5608" y="1445"/>
                    </a:lnTo>
                    <a:lnTo>
                      <a:pt x="5629" y="1403"/>
                    </a:lnTo>
                    <a:lnTo>
                      <a:pt x="5608" y="1340"/>
                    </a:lnTo>
                    <a:lnTo>
                      <a:pt x="5524" y="1424"/>
                    </a:lnTo>
                    <a:lnTo>
                      <a:pt x="5462" y="1570"/>
                    </a:lnTo>
                    <a:lnTo>
                      <a:pt x="5399" y="1612"/>
                    </a:lnTo>
                    <a:lnTo>
                      <a:pt x="5399" y="1340"/>
                    </a:lnTo>
                    <a:lnTo>
                      <a:pt x="5420" y="1256"/>
                    </a:lnTo>
                    <a:lnTo>
                      <a:pt x="5420" y="1193"/>
                    </a:lnTo>
                    <a:lnTo>
                      <a:pt x="5336" y="1152"/>
                    </a:lnTo>
                    <a:lnTo>
                      <a:pt x="5273" y="1214"/>
                    </a:lnTo>
                    <a:lnTo>
                      <a:pt x="5022" y="1214"/>
                    </a:lnTo>
                    <a:lnTo>
                      <a:pt x="4876" y="1319"/>
                    </a:lnTo>
                    <a:lnTo>
                      <a:pt x="4771" y="1298"/>
                    </a:lnTo>
                    <a:lnTo>
                      <a:pt x="4646" y="1361"/>
                    </a:lnTo>
                    <a:lnTo>
                      <a:pt x="4583" y="1465"/>
                    </a:lnTo>
                    <a:lnTo>
                      <a:pt x="4457" y="1465"/>
                    </a:lnTo>
                    <a:lnTo>
                      <a:pt x="4353" y="1528"/>
                    </a:lnTo>
                    <a:lnTo>
                      <a:pt x="4332" y="1654"/>
                    </a:lnTo>
                    <a:lnTo>
                      <a:pt x="4248" y="1612"/>
                    </a:lnTo>
                    <a:lnTo>
                      <a:pt x="4227" y="1633"/>
                    </a:lnTo>
                    <a:lnTo>
                      <a:pt x="4248" y="1737"/>
                    </a:lnTo>
                    <a:lnTo>
                      <a:pt x="4290" y="1758"/>
                    </a:lnTo>
                    <a:lnTo>
                      <a:pt x="4269" y="1863"/>
                    </a:lnTo>
                    <a:lnTo>
                      <a:pt x="4290" y="1968"/>
                    </a:lnTo>
                    <a:lnTo>
                      <a:pt x="4415" y="1947"/>
                    </a:lnTo>
                    <a:lnTo>
                      <a:pt x="4478" y="1863"/>
                    </a:lnTo>
                    <a:lnTo>
                      <a:pt x="4478" y="1779"/>
                    </a:lnTo>
                    <a:lnTo>
                      <a:pt x="4604" y="1758"/>
                    </a:lnTo>
                    <a:lnTo>
                      <a:pt x="4667" y="1717"/>
                    </a:lnTo>
                    <a:lnTo>
                      <a:pt x="4708" y="1675"/>
                    </a:lnTo>
                    <a:lnTo>
                      <a:pt x="4750" y="1821"/>
                    </a:lnTo>
                    <a:lnTo>
                      <a:pt x="4813" y="1758"/>
                    </a:lnTo>
                    <a:lnTo>
                      <a:pt x="4855" y="1654"/>
                    </a:lnTo>
                    <a:lnTo>
                      <a:pt x="4897" y="1633"/>
                    </a:lnTo>
                    <a:lnTo>
                      <a:pt x="4876" y="1779"/>
                    </a:lnTo>
                    <a:lnTo>
                      <a:pt x="4918" y="1842"/>
                    </a:lnTo>
                    <a:lnTo>
                      <a:pt x="5064" y="1842"/>
                    </a:lnTo>
                    <a:lnTo>
                      <a:pt x="4939" y="1884"/>
                    </a:lnTo>
                    <a:lnTo>
                      <a:pt x="4771" y="1926"/>
                    </a:lnTo>
                    <a:lnTo>
                      <a:pt x="4604" y="2051"/>
                    </a:lnTo>
                    <a:lnTo>
                      <a:pt x="4478" y="2093"/>
                    </a:lnTo>
                    <a:lnTo>
                      <a:pt x="4499" y="2198"/>
                    </a:lnTo>
                    <a:lnTo>
                      <a:pt x="4499" y="2281"/>
                    </a:lnTo>
                    <a:lnTo>
                      <a:pt x="4583" y="2281"/>
                    </a:lnTo>
                    <a:lnTo>
                      <a:pt x="4667" y="2198"/>
                    </a:lnTo>
                    <a:lnTo>
                      <a:pt x="4771" y="2198"/>
                    </a:lnTo>
                    <a:lnTo>
                      <a:pt x="4918" y="2156"/>
                    </a:lnTo>
                    <a:lnTo>
                      <a:pt x="5127" y="2135"/>
                    </a:lnTo>
                    <a:lnTo>
                      <a:pt x="5378" y="2072"/>
                    </a:lnTo>
                    <a:lnTo>
                      <a:pt x="5420" y="2135"/>
                    </a:lnTo>
                    <a:lnTo>
                      <a:pt x="5420" y="2198"/>
                    </a:lnTo>
                    <a:lnTo>
                      <a:pt x="5336" y="2240"/>
                    </a:lnTo>
                    <a:lnTo>
                      <a:pt x="5273" y="2177"/>
                    </a:lnTo>
                    <a:lnTo>
                      <a:pt x="5169" y="2177"/>
                    </a:lnTo>
                    <a:lnTo>
                      <a:pt x="5064" y="2261"/>
                    </a:lnTo>
                    <a:lnTo>
                      <a:pt x="4876" y="2261"/>
                    </a:lnTo>
                    <a:lnTo>
                      <a:pt x="4708" y="2386"/>
                    </a:lnTo>
                    <a:lnTo>
                      <a:pt x="4562" y="2386"/>
                    </a:lnTo>
                    <a:lnTo>
                      <a:pt x="4541" y="2449"/>
                    </a:lnTo>
                    <a:lnTo>
                      <a:pt x="4604" y="2554"/>
                    </a:lnTo>
                    <a:lnTo>
                      <a:pt x="4708" y="2554"/>
                    </a:lnTo>
                    <a:lnTo>
                      <a:pt x="4813" y="2616"/>
                    </a:lnTo>
                    <a:lnTo>
                      <a:pt x="4750" y="2658"/>
                    </a:lnTo>
                    <a:lnTo>
                      <a:pt x="4562" y="2658"/>
                    </a:lnTo>
                    <a:lnTo>
                      <a:pt x="4478" y="2574"/>
                    </a:lnTo>
                    <a:lnTo>
                      <a:pt x="4415" y="2574"/>
                    </a:lnTo>
                    <a:lnTo>
                      <a:pt x="4353" y="2616"/>
                    </a:lnTo>
                    <a:lnTo>
                      <a:pt x="4353" y="2763"/>
                    </a:lnTo>
                    <a:lnTo>
                      <a:pt x="4290" y="2826"/>
                    </a:lnTo>
                    <a:lnTo>
                      <a:pt x="4332" y="2909"/>
                    </a:lnTo>
                    <a:lnTo>
                      <a:pt x="4415" y="2972"/>
                    </a:lnTo>
                    <a:lnTo>
                      <a:pt x="4562" y="2909"/>
                    </a:lnTo>
                    <a:lnTo>
                      <a:pt x="4750" y="3014"/>
                    </a:lnTo>
                    <a:lnTo>
                      <a:pt x="4897" y="2993"/>
                    </a:lnTo>
                    <a:lnTo>
                      <a:pt x="4918" y="3035"/>
                    </a:lnTo>
                    <a:lnTo>
                      <a:pt x="5022" y="3035"/>
                    </a:lnTo>
                    <a:lnTo>
                      <a:pt x="5169" y="3139"/>
                    </a:lnTo>
                    <a:lnTo>
                      <a:pt x="5231" y="3139"/>
                    </a:lnTo>
                    <a:lnTo>
                      <a:pt x="5315" y="3118"/>
                    </a:lnTo>
                    <a:lnTo>
                      <a:pt x="5462" y="3139"/>
                    </a:lnTo>
                    <a:lnTo>
                      <a:pt x="5545" y="3139"/>
                    </a:lnTo>
                    <a:lnTo>
                      <a:pt x="5713" y="3035"/>
                    </a:lnTo>
                    <a:lnTo>
                      <a:pt x="5943" y="3035"/>
                    </a:lnTo>
                    <a:lnTo>
                      <a:pt x="6110" y="3014"/>
                    </a:lnTo>
                    <a:lnTo>
                      <a:pt x="6173" y="2972"/>
                    </a:lnTo>
                    <a:lnTo>
                      <a:pt x="6236" y="2930"/>
                    </a:lnTo>
                    <a:lnTo>
                      <a:pt x="6320" y="2930"/>
                    </a:lnTo>
                    <a:lnTo>
                      <a:pt x="6320" y="2993"/>
                    </a:lnTo>
                    <a:lnTo>
                      <a:pt x="6278" y="3077"/>
                    </a:lnTo>
                    <a:lnTo>
                      <a:pt x="6068" y="3098"/>
                    </a:lnTo>
                    <a:lnTo>
                      <a:pt x="5838" y="3139"/>
                    </a:lnTo>
                    <a:lnTo>
                      <a:pt x="5755" y="3202"/>
                    </a:lnTo>
                    <a:lnTo>
                      <a:pt x="5650" y="3223"/>
                    </a:lnTo>
                    <a:lnTo>
                      <a:pt x="5629" y="3244"/>
                    </a:lnTo>
                    <a:lnTo>
                      <a:pt x="5462" y="3223"/>
                    </a:lnTo>
                    <a:lnTo>
                      <a:pt x="5336" y="3286"/>
                    </a:lnTo>
                    <a:lnTo>
                      <a:pt x="5231" y="3286"/>
                    </a:lnTo>
                    <a:lnTo>
                      <a:pt x="5190" y="3223"/>
                    </a:lnTo>
                    <a:lnTo>
                      <a:pt x="5085" y="3223"/>
                    </a:lnTo>
                    <a:lnTo>
                      <a:pt x="4897" y="3118"/>
                    </a:lnTo>
                    <a:lnTo>
                      <a:pt x="4562" y="3118"/>
                    </a:lnTo>
                    <a:lnTo>
                      <a:pt x="4499" y="3077"/>
                    </a:lnTo>
                    <a:lnTo>
                      <a:pt x="4374" y="3098"/>
                    </a:lnTo>
                    <a:lnTo>
                      <a:pt x="4269" y="3077"/>
                    </a:lnTo>
                    <a:lnTo>
                      <a:pt x="4227" y="3118"/>
                    </a:lnTo>
                    <a:lnTo>
                      <a:pt x="4248" y="3286"/>
                    </a:lnTo>
                    <a:lnTo>
                      <a:pt x="4290" y="3328"/>
                    </a:lnTo>
                    <a:lnTo>
                      <a:pt x="4290" y="3516"/>
                    </a:lnTo>
                    <a:lnTo>
                      <a:pt x="4353" y="3642"/>
                    </a:lnTo>
                    <a:lnTo>
                      <a:pt x="4395" y="3704"/>
                    </a:lnTo>
                    <a:lnTo>
                      <a:pt x="4478" y="3725"/>
                    </a:lnTo>
                    <a:lnTo>
                      <a:pt x="4646" y="3934"/>
                    </a:lnTo>
                    <a:lnTo>
                      <a:pt x="4708" y="3976"/>
                    </a:lnTo>
                    <a:lnTo>
                      <a:pt x="4771" y="3955"/>
                    </a:lnTo>
                    <a:lnTo>
                      <a:pt x="4897" y="3767"/>
                    </a:lnTo>
                    <a:lnTo>
                      <a:pt x="5106" y="3662"/>
                    </a:lnTo>
                    <a:lnTo>
                      <a:pt x="5315" y="3537"/>
                    </a:lnTo>
                    <a:lnTo>
                      <a:pt x="5441" y="3432"/>
                    </a:lnTo>
                    <a:lnTo>
                      <a:pt x="5503" y="3349"/>
                    </a:lnTo>
                    <a:lnTo>
                      <a:pt x="5545" y="3349"/>
                    </a:lnTo>
                    <a:lnTo>
                      <a:pt x="5817" y="3411"/>
                    </a:lnTo>
                    <a:lnTo>
                      <a:pt x="6027" y="3390"/>
                    </a:lnTo>
                    <a:lnTo>
                      <a:pt x="6173" y="3390"/>
                    </a:lnTo>
                    <a:lnTo>
                      <a:pt x="6320" y="3495"/>
                    </a:lnTo>
                    <a:lnTo>
                      <a:pt x="6571" y="3516"/>
                    </a:lnTo>
                    <a:lnTo>
                      <a:pt x="6780" y="3516"/>
                    </a:lnTo>
                    <a:lnTo>
                      <a:pt x="6864" y="3558"/>
                    </a:lnTo>
                    <a:lnTo>
                      <a:pt x="6843" y="3600"/>
                    </a:lnTo>
                    <a:lnTo>
                      <a:pt x="6654" y="3621"/>
                    </a:lnTo>
                    <a:lnTo>
                      <a:pt x="6550" y="3600"/>
                    </a:lnTo>
                    <a:lnTo>
                      <a:pt x="6361" y="3558"/>
                    </a:lnTo>
                    <a:lnTo>
                      <a:pt x="6152" y="3453"/>
                    </a:lnTo>
                    <a:lnTo>
                      <a:pt x="6047" y="3453"/>
                    </a:lnTo>
                    <a:lnTo>
                      <a:pt x="5964" y="3495"/>
                    </a:lnTo>
                    <a:lnTo>
                      <a:pt x="5734" y="3453"/>
                    </a:lnTo>
                    <a:lnTo>
                      <a:pt x="5608" y="3432"/>
                    </a:lnTo>
                    <a:lnTo>
                      <a:pt x="5545" y="3516"/>
                    </a:lnTo>
                    <a:lnTo>
                      <a:pt x="5399" y="3600"/>
                    </a:lnTo>
                    <a:lnTo>
                      <a:pt x="5294" y="3725"/>
                    </a:lnTo>
                    <a:lnTo>
                      <a:pt x="5106" y="3830"/>
                    </a:lnTo>
                    <a:lnTo>
                      <a:pt x="5022" y="3976"/>
                    </a:lnTo>
                    <a:lnTo>
                      <a:pt x="4939" y="4060"/>
                    </a:lnTo>
                    <a:lnTo>
                      <a:pt x="4918" y="4123"/>
                    </a:lnTo>
                    <a:lnTo>
                      <a:pt x="5064" y="4227"/>
                    </a:lnTo>
                    <a:lnTo>
                      <a:pt x="5190" y="4227"/>
                    </a:lnTo>
                    <a:lnTo>
                      <a:pt x="5190" y="4290"/>
                    </a:lnTo>
                    <a:lnTo>
                      <a:pt x="5294" y="4395"/>
                    </a:lnTo>
                    <a:lnTo>
                      <a:pt x="5503" y="4395"/>
                    </a:lnTo>
                    <a:lnTo>
                      <a:pt x="5755" y="4478"/>
                    </a:lnTo>
                    <a:lnTo>
                      <a:pt x="5943" y="4478"/>
                    </a:lnTo>
                    <a:lnTo>
                      <a:pt x="6110" y="4332"/>
                    </a:lnTo>
                    <a:lnTo>
                      <a:pt x="6131" y="4144"/>
                    </a:lnTo>
                    <a:lnTo>
                      <a:pt x="6278" y="4081"/>
                    </a:lnTo>
                    <a:lnTo>
                      <a:pt x="6382" y="4123"/>
                    </a:lnTo>
                    <a:lnTo>
                      <a:pt x="6257" y="4165"/>
                    </a:lnTo>
                    <a:lnTo>
                      <a:pt x="6257" y="4269"/>
                    </a:lnTo>
                    <a:lnTo>
                      <a:pt x="6361" y="4290"/>
                    </a:lnTo>
                    <a:lnTo>
                      <a:pt x="6508" y="4248"/>
                    </a:lnTo>
                    <a:lnTo>
                      <a:pt x="6654" y="4269"/>
                    </a:lnTo>
                    <a:lnTo>
                      <a:pt x="6780" y="4186"/>
                    </a:lnTo>
                    <a:lnTo>
                      <a:pt x="6884" y="4227"/>
                    </a:lnTo>
                    <a:lnTo>
                      <a:pt x="6780" y="4332"/>
                    </a:lnTo>
                    <a:lnTo>
                      <a:pt x="6571" y="4353"/>
                    </a:lnTo>
                    <a:lnTo>
                      <a:pt x="6466" y="4374"/>
                    </a:lnTo>
                    <a:lnTo>
                      <a:pt x="6320" y="4374"/>
                    </a:lnTo>
                    <a:lnTo>
                      <a:pt x="6152" y="4541"/>
                    </a:lnTo>
                    <a:lnTo>
                      <a:pt x="6173" y="4604"/>
                    </a:lnTo>
                    <a:lnTo>
                      <a:pt x="6257" y="4646"/>
                    </a:lnTo>
                    <a:lnTo>
                      <a:pt x="6445" y="4604"/>
                    </a:lnTo>
                    <a:lnTo>
                      <a:pt x="6571" y="4771"/>
                    </a:lnTo>
                    <a:lnTo>
                      <a:pt x="7010" y="4771"/>
                    </a:lnTo>
                    <a:lnTo>
                      <a:pt x="7156" y="4750"/>
                    </a:lnTo>
                    <a:lnTo>
                      <a:pt x="7554" y="4583"/>
                    </a:lnTo>
                    <a:lnTo>
                      <a:pt x="7680" y="4562"/>
                    </a:lnTo>
                    <a:lnTo>
                      <a:pt x="7889" y="4395"/>
                    </a:lnTo>
                    <a:lnTo>
                      <a:pt x="7847" y="4353"/>
                    </a:lnTo>
                    <a:lnTo>
                      <a:pt x="7805" y="4353"/>
                    </a:lnTo>
                    <a:lnTo>
                      <a:pt x="7952" y="4165"/>
                    </a:lnTo>
                    <a:lnTo>
                      <a:pt x="8056" y="4165"/>
                    </a:lnTo>
                    <a:lnTo>
                      <a:pt x="8140" y="4039"/>
                    </a:lnTo>
                    <a:lnTo>
                      <a:pt x="8161" y="4060"/>
                    </a:lnTo>
                    <a:lnTo>
                      <a:pt x="8224" y="4165"/>
                    </a:lnTo>
                    <a:lnTo>
                      <a:pt x="8265" y="4165"/>
                    </a:lnTo>
                    <a:lnTo>
                      <a:pt x="8265" y="4060"/>
                    </a:lnTo>
                    <a:lnTo>
                      <a:pt x="8579" y="3830"/>
                    </a:lnTo>
                    <a:lnTo>
                      <a:pt x="8788" y="3809"/>
                    </a:lnTo>
                    <a:lnTo>
                      <a:pt x="9123" y="3662"/>
                    </a:lnTo>
                    <a:lnTo>
                      <a:pt x="9123" y="3746"/>
                    </a:lnTo>
                    <a:lnTo>
                      <a:pt x="8851" y="3872"/>
                    </a:lnTo>
                    <a:lnTo>
                      <a:pt x="8684" y="3872"/>
                    </a:lnTo>
                    <a:lnTo>
                      <a:pt x="8370" y="4060"/>
                    </a:lnTo>
                    <a:lnTo>
                      <a:pt x="8328" y="4227"/>
                    </a:lnTo>
                    <a:lnTo>
                      <a:pt x="8203" y="4332"/>
                    </a:lnTo>
                    <a:lnTo>
                      <a:pt x="8056" y="4332"/>
                    </a:lnTo>
                    <a:lnTo>
                      <a:pt x="8014" y="4478"/>
                    </a:lnTo>
                    <a:lnTo>
                      <a:pt x="7952" y="4541"/>
                    </a:lnTo>
                    <a:lnTo>
                      <a:pt x="7952" y="4583"/>
                    </a:lnTo>
                    <a:lnTo>
                      <a:pt x="8244" y="4562"/>
                    </a:lnTo>
                    <a:lnTo>
                      <a:pt x="8328" y="4604"/>
                    </a:lnTo>
                    <a:lnTo>
                      <a:pt x="8454" y="4604"/>
                    </a:lnTo>
                    <a:lnTo>
                      <a:pt x="8579" y="4688"/>
                    </a:lnTo>
                    <a:lnTo>
                      <a:pt x="8558" y="4750"/>
                    </a:lnTo>
                    <a:lnTo>
                      <a:pt x="8663" y="4792"/>
                    </a:lnTo>
                    <a:lnTo>
                      <a:pt x="8747" y="4792"/>
                    </a:lnTo>
                    <a:lnTo>
                      <a:pt x="8788" y="4855"/>
                    </a:lnTo>
                    <a:lnTo>
                      <a:pt x="8663" y="4876"/>
                    </a:lnTo>
                    <a:lnTo>
                      <a:pt x="8558" y="4918"/>
                    </a:lnTo>
                    <a:lnTo>
                      <a:pt x="8433" y="4813"/>
                    </a:lnTo>
                    <a:lnTo>
                      <a:pt x="8224" y="4750"/>
                    </a:lnTo>
                    <a:lnTo>
                      <a:pt x="7952" y="4771"/>
                    </a:lnTo>
                    <a:lnTo>
                      <a:pt x="7554" y="4813"/>
                    </a:lnTo>
                    <a:lnTo>
                      <a:pt x="7408" y="4876"/>
                    </a:lnTo>
                    <a:lnTo>
                      <a:pt x="7303" y="4876"/>
                    </a:lnTo>
                    <a:lnTo>
                      <a:pt x="7303" y="4918"/>
                    </a:lnTo>
                    <a:lnTo>
                      <a:pt x="7324" y="4981"/>
                    </a:lnTo>
                    <a:lnTo>
                      <a:pt x="7512" y="5022"/>
                    </a:lnTo>
                    <a:lnTo>
                      <a:pt x="7680" y="5022"/>
                    </a:lnTo>
                    <a:lnTo>
                      <a:pt x="7784" y="5085"/>
                    </a:lnTo>
                    <a:lnTo>
                      <a:pt x="7784" y="5169"/>
                    </a:lnTo>
                    <a:lnTo>
                      <a:pt x="7638" y="5190"/>
                    </a:lnTo>
                    <a:lnTo>
                      <a:pt x="7533" y="5106"/>
                    </a:lnTo>
                    <a:lnTo>
                      <a:pt x="7324" y="5085"/>
                    </a:lnTo>
                    <a:lnTo>
                      <a:pt x="7219" y="5002"/>
                    </a:lnTo>
                    <a:lnTo>
                      <a:pt x="7115" y="4981"/>
                    </a:lnTo>
                    <a:lnTo>
                      <a:pt x="6947" y="5064"/>
                    </a:lnTo>
                    <a:lnTo>
                      <a:pt x="6696" y="5085"/>
                    </a:lnTo>
                    <a:lnTo>
                      <a:pt x="6508" y="5002"/>
                    </a:lnTo>
                    <a:lnTo>
                      <a:pt x="6361" y="5002"/>
                    </a:lnTo>
                    <a:lnTo>
                      <a:pt x="6215" y="4960"/>
                    </a:lnTo>
                    <a:lnTo>
                      <a:pt x="6131" y="4897"/>
                    </a:lnTo>
                    <a:lnTo>
                      <a:pt x="5922" y="4918"/>
                    </a:lnTo>
                    <a:lnTo>
                      <a:pt x="5859" y="5064"/>
                    </a:lnTo>
                    <a:lnTo>
                      <a:pt x="5922" y="5169"/>
                    </a:lnTo>
                    <a:lnTo>
                      <a:pt x="5922" y="5587"/>
                    </a:lnTo>
                    <a:lnTo>
                      <a:pt x="5943" y="5629"/>
                    </a:lnTo>
                    <a:lnTo>
                      <a:pt x="5838" y="5755"/>
                    </a:lnTo>
                    <a:lnTo>
                      <a:pt x="5838" y="5839"/>
                    </a:lnTo>
                    <a:lnTo>
                      <a:pt x="5922" y="5901"/>
                    </a:lnTo>
                    <a:lnTo>
                      <a:pt x="5985" y="6006"/>
                    </a:lnTo>
                    <a:lnTo>
                      <a:pt x="6131" y="6006"/>
                    </a:lnTo>
                    <a:lnTo>
                      <a:pt x="6236" y="6069"/>
                    </a:lnTo>
                    <a:lnTo>
                      <a:pt x="6110" y="6048"/>
                    </a:lnTo>
                    <a:lnTo>
                      <a:pt x="6027" y="6111"/>
                    </a:lnTo>
                    <a:lnTo>
                      <a:pt x="5985" y="6173"/>
                    </a:lnTo>
                    <a:lnTo>
                      <a:pt x="5964" y="6069"/>
                    </a:lnTo>
                    <a:lnTo>
                      <a:pt x="5859" y="5964"/>
                    </a:lnTo>
                    <a:lnTo>
                      <a:pt x="5817" y="5964"/>
                    </a:lnTo>
                    <a:lnTo>
                      <a:pt x="5796" y="6027"/>
                    </a:lnTo>
                    <a:lnTo>
                      <a:pt x="5713" y="5922"/>
                    </a:lnTo>
                    <a:lnTo>
                      <a:pt x="5692" y="5734"/>
                    </a:lnTo>
                    <a:lnTo>
                      <a:pt x="5692" y="5525"/>
                    </a:lnTo>
                    <a:lnTo>
                      <a:pt x="5629" y="5232"/>
                    </a:lnTo>
                    <a:lnTo>
                      <a:pt x="5503" y="5085"/>
                    </a:lnTo>
                    <a:lnTo>
                      <a:pt x="5503" y="4981"/>
                    </a:lnTo>
                    <a:lnTo>
                      <a:pt x="5231" y="4792"/>
                    </a:lnTo>
                    <a:lnTo>
                      <a:pt x="5169" y="4792"/>
                    </a:lnTo>
                    <a:lnTo>
                      <a:pt x="5001" y="4688"/>
                    </a:lnTo>
                    <a:lnTo>
                      <a:pt x="4980" y="4583"/>
                    </a:lnTo>
                    <a:lnTo>
                      <a:pt x="4876" y="4541"/>
                    </a:lnTo>
                    <a:lnTo>
                      <a:pt x="4708" y="4583"/>
                    </a:lnTo>
                    <a:lnTo>
                      <a:pt x="4353" y="4981"/>
                    </a:lnTo>
                    <a:lnTo>
                      <a:pt x="4290" y="5106"/>
                    </a:lnTo>
                    <a:lnTo>
                      <a:pt x="4290" y="5211"/>
                    </a:lnTo>
                    <a:lnTo>
                      <a:pt x="4374" y="5274"/>
                    </a:lnTo>
                    <a:lnTo>
                      <a:pt x="4499" y="5315"/>
                    </a:lnTo>
                    <a:lnTo>
                      <a:pt x="4562" y="5441"/>
                    </a:lnTo>
                    <a:lnTo>
                      <a:pt x="4562" y="5525"/>
                    </a:lnTo>
                    <a:lnTo>
                      <a:pt x="4541" y="5546"/>
                    </a:lnTo>
                    <a:lnTo>
                      <a:pt x="4457" y="5420"/>
                    </a:lnTo>
                    <a:lnTo>
                      <a:pt x="4374" y="5399"/>
                    </a:lnTo>
                    <a:lnTo>
                      <a:pt x="4290" y="5336"/>
                    </a:lnTo>
                    <a:lnTo>
                      <a:pt x="4248" y="5378"/>
                    </a:lnTo>
                    <a:lnTo>
                      <a:pt x="4164" y="5399"/>
                    </a:lnTo>
                    <a:lnTo>
                      <a:pt x="4143" y="5483"/>
                    </a:lnTo>
                    <a:lnTo>
                      <a:pt x="4185" y="5608"/>
                    </a:lnTo>
                    <a:lnTo>
                      <a:pt x="4269" y="5650"/>
                    </a:lnTo>
                    <a:lnTo>
                      <a:pt x="4332" y="5818"/>
                    </a:lnTo>
                    <a:lnTo>
                      <a:pt x="4353" y="6131"/>
                    </a:lnTo>
                    <a:lnTo>
                      <a:pt x="4269" y="6278"/>
                    </a:lnTo>
                    <a:lnTo>
                      <a:pt x="4269" y="6445"/>
                    </a:lnTo>
                    <a:lnTo>
                      <a:pt x="4185" y="6634"/>
                    </a:lnTo>
                    <a:lnTo>
                      <a:pt x="4185" y="6759"/>
                    </a:lnTo>
                    <a:lnTo>
                      <a:pt x="4227" y="6780"/>
                    </a:lnTo>
                    <a:lnTo>
                      <a:pt x="4290" y="6759"/>
                    </a:lnTo>
                    <a:lnTo>
                      <a:pt x="4290" y="6759"/>
                    </a:lnTo>
                    <a:lnTo>
                      <a:pt x="4269" y="6906"/>
                    </a:lnTo>
                    <a:lnTo>
                      <a:pt x="4185" y="7052"/>
                    </a:lnTo>
                    <a:lnTo>
                      <a:pt x="4143" y="6968"/>
                    </a:lnTo>
                    <a:lnTo>
                      <a:pt x="4123" y="6864"/>
                    </a:lnTo>
                    <a:lnTo>
                      <a:pt x="4018" y="6780"/>
                    </a:lnTo>
                    <a:lnTo>
                      <a:pt x="3934" y="6864"/>
                    </a:lnTo>
                    <a:lnTo>
                      <a:pt x="3934" y="7052"/>
                    </a:lnTo>
                    <a:lnTo>
                      <a:pt x="4081" y="7303"/>
                    </a:lnTo>
                    <a:lnTo>
                      <a:pt x="4248" y="7282"/>
                    </a:lnTo>
                    <a:lnTo>
                      <a:pt x="4353" y="7324"/>
                    </a:lnTo>
                    <a:lnTo>
                      <a:pt x="4395" y="7408"/>
                    </a:lnTo>
                    <a:lnTo>
                      <a:pt x="4583" y="7408"/>
                    </a:lnTo>
                    <a:lnTo>
                      <a:pt x="4792" y="7491"/>
                    </a:lnTo>
                    <a:lnTo>
                      <a:pt x="4876" y="7408"/>
                    </a:lnTo>
                    <a:lnTo>
                      <a:pt x="5001" y="7324"/>
                    </a:lnTo>
                    <a:lnTo>
                      <a:pt x="5001" y="7261"/>
                    </a:lnTo>
                    <a:lnTo>
                      <a:pt x="5085" y="7219"/>
                    </a:lnTo>
                    <a:lnTo>
                      <a:pt x="5085" y="7303"/>
                    </a:lnTo>
                    <a:lnTo>
                      <a:pt x="5022" y="7408"/>
                    </a:lnTo>
                    <a:lnTo>
                      <a:pt x="5022" y="7533"/>
                    </a:lnTo>
                    <a:lnTo>
                      <a:pt x="4980" y="7596"/>
                    </a:lnTo>
                    <a:lnTo>
                      <a:pt x="4876" y="7533"/>
                    </a:lnTo>
                    <a:lnTo>
                      <a:pt x="4646" y="7533"/>
                    </a:lnTo>
                    <a:lnTo>
                      <a:pt x="4541" y="7575"/>
                    </a:lnTo>
                    <a:lnTo>
                      <a:pt x="4541" y="7680"/>
                    </a:lnTo>
                    <a:lnTo>
                      <a:pt x="4583" y="7701"/>
                    </a:lnTo>
                    <a:lnTo>
                      <a:pt x="4708" y="7701"/>
                    </a:lnTo>
                    <a:lnTo>
                      <a:pt x="4750" y="7784"/>
                    </a:lnTo>
                    <a:lnTo>
                      <a:pt x="4646" y="7784"/>
                    </a:lnTo>
                    <a:lnTo>
                      <a:pt x="4646" y="7952"/>
                    </a:lnTo>
                    <a:lnTo>
                      <a:pt x="4478" y="7722"/>
                    </a:lnTo>
                    <a:lnTo>
                      <a:pt x="4395" y="7722"/>
                    </a:lnTo>
                    <a:lnTo>
                      <a:pt x="4353" y="7617"/>
                    </a:lnTo>
                    <a:lnTo>
                      <a:pt x="4290" y="7533"/>
                    </a:lnTo>
                    <a:lnTo>
                      <a:pt x="4039" y="7366"/>
                    </a:lnTo>
                    <a:lnTo>
                      <a:pt x="3976" y="7366"/>
                    </a:lnTo>
                    <a:lnTo>
                      <a:pt x="3830" y="7199"/>
                    </a:lnTo>
                    <a:lnTo>
                      <a:pt x="3830" y="7178"/>
                    </a:lnTo>
                    <a:lnTo>
                      <a:pt x="3725" y="7178"/>
                    </a:lnTo>
                    <a:lnTo>
                      <a:pt x="3620" y="7261"/>
                    </a:lnTo>
                    <a:lnTo>
                      <a:pt x="3516" y="7261"/>
                    </a:lnTo>
                    <a:lnTo>
                      <a:pt x="3432" y="7303"/>
                    </a:lnTo>
                    <a:lnTo>
                      <a:pt x="3286" y="7261"/>
                    </a:lnTo>
                    <a:lnTo>
                      <a:pt x="3034" y="7303"/>
                    </a:lnTo>
                    <a:lnTo>
                      <a:pt x="2972" y="7282"/>
                    </a:lnTo>
                    <a:lnTo>
                      <a:pt x="2783" y="7471"/>
                    </a:lnTo>
                    <a:lnTo>
                      <a:pt x="2700" y="7617"/>
                    </a:lnTo>
                    <a:lnTo>
                      <a:pt x="2700" y="7743"/>
                    </a:lnTo>
                    <a:lnTo>
                      <a:pt x="2595" y="7784"/>
                    </a:lnTo>
                    <a:lnTo>
                      <a:pt x="2490" y="7847"/>
                    </a:lnTo>
                    <a:lnTo>
                      <a:pt x="2365" y="7910"/>
                    </a:lnTo>
                    <a:lnTo>
                      <a:pt x="2344" y="7994"/>
                    </a:lnTo>
                    <a:lnTo>
                      <a:pt x="2198" y="8098"/>
                    </a:lnTo>
                    <a:lnTo>
                      <a:pt x="2177" y="8224"/>
                    </a:lnTo>
                    <a:lnTo>
                      <a:pt x="2260" y="8224"/>
                    </a:lnTo>
                    <a:lnTo>
                      <a:pt x="2281" y="8307"/>
                    </a:lnTo>
                    <a:lnTo>
                      <a:pt x="2177" y="8307"/>
                    </a:lnTo>
                    <a:lnTo>
                      <a:pt x="2093" y="8349"/>
                    </a:lnTo>
                    <a:lnTo>
                      <a:pt x="2260" y="8475"/>
                    </a:lnTo>
                    <a:lnTo>
                      <a:pt x="2407" y="8517"/>
                    </a:lnTo>
                    <a:lnTo>
                      <a:pt x="2511" y="8433"/>
                    </a:lnTo>
                    <a:lnTo>
                      <a:pt x="2490" y="8349"/>
                    </a:lnTo>
                    <a:lnTo>
                      <a:pt x="2658" y="8370"/>
                    </a:lnTo>
                    <a:lnTo>
                      <a:pt x="2825" y="8245"/>
                    </a:lnTo>
                    <a:lnTo>
                      <a:pt x="2825" y="8349"/>
                    </a:lnTo>
                    <a:lnTo>
                      <a:pt x="2700" y="8412"/>
                    </a:lnTo>
                    <a:lnTo>
                      <a:pt x="2616" y="8538"/>
                    </a:lnTo>
                    <a:lnTo>
                      <a:pt x="2616" y="8621"/>
                    </a:lnTo>
                    <a:lnTo>
                      <a:pt x="2783" y="8621"/>
                    </a:lnTo>
                    <a:lnTo>
                      <a:pt x="2888" y="8642"/>
                    </a:lnTo>
                    <a:lnTo>
                      <a:pt x="3014" y="8475"/>
                    </a:lnTo>
                    <a:lnTo>
                      <a:pt x="3202" y="8349"/>
                    </a:lnTo>
                    <a:lnTo>
                      <a:pt x="3307" y="8119"/>
                    </a:lnTo>
                    <a:lnTo>
                      <a:pt x="3453" y="7931"/>
                    </a:lnTo>
                    <a:lnTo>
                      <a:pt x="3558" y="7910"/>
                    </a:lnTo>
                    <a:lnTo>
                      <a:pt x="3558" y="7910"/>
                    </a:lnTo>
                    <a:lnTo>
                      <a:pt x="3537" y="7994"/>
                    </a:lnTo>
                    <a:lnTo>
                      <a:pt x="3453" y="8035"/>
                    </a:lnTo>
                    <a:lnTo>
                      <a:pt x="3307" y="8245"/>
                    </a:lnTo>
                    <a:lnTo>
                      <a:pt x="3348" y="8349"/>
                    </a:lnTo>
                    <a:lnTo>
                      <a:pt x="3244" y="8349"/>
                    </a:lnTo>
                    <a:lnTo>
                      <a:pt x="3181" y="8454"/>
                    </a:lnTo>
                    <a:lnTo>
                      <a:pt x="3202" y="8538"/>
                    </a:lnTo>
                    <a:lnTo>
                      <a:pt x="3286" y="8538"/>
                    </a:lnTo>
                    <a:lnTo>
                      <a:pt x="3223" y="8580"/>
                    </a:lnTo>
                    <a:lnTo>
                      <a:pt x="3139" y="8580"/>
                    </a:lnTo>
                    <a:lnTo>
                      <a:pt x="3034" y="8684"/>
                    </a:lnTo>
                    <a:lnTo>
                      <a:pt x="3076" y="8747"/>
                    </a:lnTo>
                    <a:lnTo>
                      <a:pt x="3202" y="8747"/>
                    </a:lnTo>
                    <a:lnTo>
                      <a:pt x="3118" y="8789"/>
                    </a:lnTo>
                    <a:lnTo>
                      <a:pt x="2993" y="8747"/>
                    </a:lnTo>
                    <a:lnTo>
                      <a:pt x="2888" y="8747"/>
                    </a:lnTo>
                    <a:lnTo>
                      <a:pt x="2804" y="8789"/>
                    </a:lnTo>
                    <a:lnTo>
                      <a:pt x="2721" y="8831"/>
                    </a:lnTo>
                    <a:lnTo>
                      <a:pt x="2679" y="8872"/>
                    </a:lnTo>
                    <a:lnTo>
                      <a:pt x="2721" y="8977"/>
                    </a:lnTo>
                    <a:lnTo>
                      <a:pt x="2804" y="8977"/>
                    </a:lnTo>
                    <a:lnTo>
                      <a:pt x="2867" y="8935"/>
                    </a:lnTo>
                    <a:lnTo>
                      <a:pt x="2909" y="8956"/>
                    </a:lnTo>
                    <a:lnTo>
                      <a:pt x="3014" y="8956"/>
                    </a:lnTo>
                    <a:lnTo>
                      <a:pt x="3014" y="9040"/>
                    </a:lnTo>
                    <a:lnTo>
                      <a:pt x="2930" y="9040"/>
                    </a:lnTo>
                    <a:lnTo>
                      <a:pt x="2825" y="8998"/>
                    </a:lnTo>
                    <a:lnTo>
                      <a:pt x="2783" y="9040"/>
                    </a:lnTo>
                    <a:lnTo>
                      <a:pt x="2783" y="9082"/>
                    </a:lnTo>
                    <a:lnTo>
                      <a:pt x="2888" y="9103"/>
                    </a:lnTo>
                    <a:lnTo>
                      <a:pt x="2867" y="9144"/>
                    </a:lnTo>
                    <a:lnTo>
                      <a:pt x="2783" y="9186"/>
                    </a:lnTo>
                    <a:lnTo>
                      <a:pt x="2700" y="9186"/>
                    </a:lnTo>
                    <a:lnTo>
                      <a:pt x="2700" y="9249"/>
                    </a:lnTo>
                    <a:lnTo>
                      <a:pt x="2783" y="9396"/>
                    </a:lnTo>
                    <a:lnTo>
                      <a:pt x="2867" y="9396"/>
                    </a:lnTo>
                    <a:lnTo>
                      <a:pt x="2909" y="9312"/>
                    </a:lnTo>
                    <a:lnTo>
                      <a:pt x="3034" y="9207"/>
                    </a:lnTo>
                    <a:lnTo>
                      <a:pt x="3014" y="9312"/>
                    </a:lnTo>
                    <a:lnTo>
                      <a:pt x="2909" y="9396"/>
                    </a:lnTo>
                    <a:lnTo>
                      <a:pt x="2825" y="9479"/>
                    </a:lnTo>
                    <a:lnTo>
                      <a:pt x="2804" y="9563"/>
                    </a:lnTo>
                    <a:lnTo>
                      <a:pt x="2972" y="9626"/>
                    </a:lnTo>
                    <a:lnTo>
                      <a:pt x="3097" y="9626"/>
                    </a:lnTo>
                    <a:lnTo>
                      <a:pt x="3118" y="9605"/>
                    </a:lnTo>
                    <a:lnTo>
                      <a:pt x="3181" y="9605"/>
                    </a:lnTo>
                    <a:lnTo>
                      <a:pt x="3244" y="9668"/>
                    </a:lnTo>
                    <a:lnTo>
                      <a:pt x="3432" y="9584"/>
                    </a:lnTo>
                    <a:lnTo>
                      <a:pt x="3620" y="9416"/>
                    </a:lnTo>
                    <a:lnTo>
                      <a:pt x="3620" y="9396"/>
                    </a:lnTo>
                    <a:lnTo>
                      <a:pt x="3725" y="9312"/>
                    </a:lnTo>
                    <a:lnTo>
                      <a:pt x="3934" y="9103"/>
                    </a:lnTo>
                    <a:lnTo>
                      <a:pt x="3934" y="9040"/>
                    </a:lnTo>
                    <a:lnTo>
                      <a:pt x="4018" y="8956"/>
                    </a:lnTo>
                    <a:lnTo>
                      <a:pt x="4081" y="8956"/>
                    </a:lnTo>
                    <a:lnTo>
                      <a:pt x="4018" y="9040"/>
                    </a:lnTo>
                    <a:lnTo>
                      <a:pt x="3976" y="9144"/>
                    </a:lnTo>
                    <a:lnTo>
                      <a:pt x="3809" y="9354"/>
                    </a:lnTo>
                    <a:lnTo>
                      <a:pt x="3599" y="9479"/>
                    </a:lnTo>
                    <a:lnTo>
                      <a:pt x="3453" y="9626"/>
                    </a:lnTo>
                    <a:lnTo>
                      <a:pt x="3307" y="9709"/>
                    </a:lnTo>
                    <a:lnTo>
                      <a:pt x="3223" y="9793"/>
                    </a:lnTo>
                    <a:lnTo>
                      <a:pt x="3286" y="9877"/>
                    </a:lnTo>
                    <a:lnTo>
                      <a:pt x="3223" y="9898"/>
                    </a:lnTo>
                    <a:lnTo>
                      <a:pt x="3076" y="9772"/>
                    </a:lnTo>
                    <a:lnTo>
                      <a:pt x="2825" y="9772"/>
                    </a:lnTo>
                    <a:lnTo>
                      <a:pt x="2825" y="9835"/>
                    </a:lnTo>
                    <a:lnTo>
                      <a:pt x="2783" y="9814"/>
                    </a:lnTo>
                    <a:lnTo>
                      <a:pt x="2700" y="9688"/>
                    </a:lnTo>
                    <a:lnTo>
                      <a:pt x="2490" y="9584"/>
                    </a:lnTo>
                    <a:lnTo>
                      <a:pt x="2407" y="9605"/>
                    </a:lnTo>
                    <a:lnTo>
                      <a:pt x="2365" y="9563"/>
                    </a:lnTo>
                    <a:lnTo>
                      <a:pt x="2407" y="9416"/>
                    </a:lnTo>
                    <a:lnTo>
                      <a:pt x="2407" y="9082"/>
                    </a:lnTo>
                    <a:lnTo>
                      <a:pt x="2365" y="8872"/>
                    </a:lnTo>
                    <a:lnTo>
                      <a:pt x="2239" y="8726"/>
                    </a:lnTo>
                    <a:lnTo>
                      <a:pt x="2156" y="8726"/>
                    </a:lnTo>
                    <a:lnTo>
                      <a:pt x="2030" y="8663"/>
                    </a:lnTo>
                    <a:lnTo>
                      <a:pt x="1946" y="8684"/>
                    </a:lnTo>
                    <a:lnTo>
                      <a:pt x="1821" y="8684"/>
                    </a:lnTo>
                    <a:lnTo>
                      <a:pt x="1737" y="8726"/>
                    </a:lnTo>
                    <a:lnTo>
                      <a:pt x="1633" y="8747"/>
                    </a:lnTo>
                    <a:lnTo>
                      <a:pt x="1633" y="8831"/>
                    </a:lnTo>
                    <a:lnTo>
                      <a:pt x="1654" y="8935"/>
                    </a:lnTo>
                    <a:lnTo>
                      <a:pt x="1633" y="8977"/>
                    </a:lnTo>
                    <a:lnTo>
                      <a:pt x="1612" y="9165"/>
                    </a:lnTo>
                    <a:lnTo>
                      <a:pt x="1654" y="9249"/>
                    </a:lnTo>
                    <a:lnTo>
                      <a:pt x="1716" y="9249"/>
                    </a:lnTo>
                    <a:lnTo>
                      <a:pt x="1716" y="9312"/>
                    </a:lnTo>
                    <a:lnTo>
                      <a:pt x="1612" y="9396"/>
                    </a:lnTo>
                    <a:lnTo>
                      <a:pt x="1570" y="9458"/>
                    </a:lnTo>
                    <a:lnTo>
                      <a:pt x="1654" y="9563"/>
                    </a:lnTo>
                    <a:lnTo>
                      <a:pt x="1737" y="9563"/>
                    </a:lnTo>
                    <a:lnTo>
                      <a:pt x="1758" y="9500"/>
                    </a:lnTo>
                    <a:lnTo>
                      <a:pt x="1884" y="9563"/>
                    </a:lnTo>
                    <a:lnTo>
                      <a:pt x="1863" y="9584"/>
                    </a:lnTo>
                    <a:lnTo>
                      <a:pt x="1737" y="9584"/>
                    </a:lnTo>
                    <a:lnTo>
                      <a:pt x="1737" y="9605"/>
                    </a:lnTo>
                    <a:lnTo>
                      <a:pt x="1821" y="9668"/>
                    </a:lnTo>
                    <a:lnTo>
                      <a:pt x="1821" y="9709"/>
                    </a:lnTo>
                    <a:lnTo>
                      <a:pt x="1737" y="9772"/>
                    </a:lnTo>
                    <a:lnTo>
                      <a:pt x="1716" y="9793"/>
                    </a:lnTo>
                    <a:lnTo>
                      <a:pt x="1779" y="9814"/>
                    </a:lnTo>
                    <a:lnTo>
                      <a:pt x="1842" y="9877"/>
                    </a:lnTo>
                    <a:lnTo>
                      <a:pt x="1946" y="9877"/>
                    </a:lnTo>
                    <a:lnTo>
                      <a:pt x="1967" y="9898"/>
                    </a:lnTo>
                    <a:lnTo>
                      <a:pt x="1926" y="9940"/>
                    </a:lnTo>
                    <a:lnTo>
                      <a:pt x="1821" y="9940"/>
                    </a:lnTo>
                    <a:lnTo>
                      <a:pt x="1779" y="9981"/>
                    </a:lnTo>
                    <a:lnTo>
                      <a:pt x="1654" y="9877"/>
                    </a:lnTo>
                    <a:lnTo>
                      <a:pt x="1612" y="9898"/>
                    </a:lnTo>
                    <a:lnTo>
                      <a:pt x="1570" y="9940"/>
                    </a:lnTo>
                    <a:lnTo>
                      <a:pt x="1507" y="9940"/>
                    </a:lnTo>
                    <a:lnTo>
                      <a:pt x="1444" y="9835"/>
                    </a:lnTo>
                    <a:lnTo>
                      <a:pt x="1361" y="9814"/>
                    </a:lnTo>
                    <a:lnTo>
                      <a:pt x="1298" y="9877"/>
                    </a:lnTo>
                    <a:lnTo>
                      <a:pt x="1110" y="9877"/>
                    </a:lnTo>
                    <a:lnTo>
                      <a:pt x="984" y="9793"/>
                    </a:lnTo>
                    <a:lnTo>
                      <a:pt x="879" y="9793"/>
                    </a:lnTo>
                    <a:lnTo>
                      <a:pt x="817" y="9835"/>
                    </a:lnTo>
                    <a:lnTo>
                      <a:pt x="817" y="9919"/>
                    </a:lnTo>
                    <a:lnTo>
                      <a:pt x="733" y="9940"/>
                    </a:lnTo>
                    <a:lnTo>
                      <a:pt x="628" y="9981"/>
                    </a:lnTo>
                    <a:lnTo>
                      <a:pt x="586" y="10044"/>
                    </a:lnTo>
                    <a:lnTo>
                      <a:pt x="419" y="10086"/>
                    </a:lnTo>
                    <a:lnTo>
                      <a:pt x="377" y="10107"/>
                    </a:lnTo>
                    <a:lnTo>
                      <a:pt x="273" y="10128"/>
                    </a:lnTo>
                    <a:lnTo>
                      <a:pt x="189" y="10212"/>
                    </a:lnTo>
                    <a:lnTo>
                      <a:pt x="168" y="10316"/>
                    </a:lnTo>
                    <a:lnTo>
                      <a:pt x="168" y="10358"/>
                    </a:lnTo>
                    <a:lnTo>
                      <a:pt x="147" y="10442"/>
                    </a:lnTo>
                    <a:lnTo>
                      <a:pt x="1" y="10525"/>
                    </a:lnTo>
                    <a:lnTo>
                      <a:pt x="1" y="10609"/>
                    </a:lnTo>
                    <a:lnTo>
                      <a:pt x="42" y="10651"/>
                    </a:lnTo>
                    <a:lnTo>
                      <a:pt x="42" y="10818"/>
                    </a:lnTo>
                    <a:lnTo>
                      <a:pt x="63" y="10860"/>
                    </a:lnTo>
                    <a:lnTo>
                      <a:pt x="189" y="10860"/>
                    </a:lnTo>
                    <a:lnTo>
                      <a:pt x="252" y="10735"/>
                    </a:lnTo>
                    <a:lnTo>
                      <a:pt x="294" y="10735"/>
                    </a:lnTo>
                    <a:lnTo>
                      <a:pt x="273" y="10756"/>
                    </a:lnTo>
                    <a:lnTo>
                      <a:pt x="210" y="10860"/>
                    </a:lnTo>
                    <a:lnTo>
                      <a:pt x="273" y="10881"/>
                    </a:lnTo>
                    <a:lnTo>
                      <a:pt x="356" y="10818"/>
                    </a:lnTo>
                    <a:lnTo>
                      <a:pt x="356" y="10651"/>
                    </a:lnTo>
                    <a:lnTo>
                      <a:pt x="398" y="10421"/>
                    </a:lnTo>
                    <a:lnTo>
                      <a:pt x="482" y="10400"/>
                    </a:lnTo>
                    <a:lnTo>
                      <a:pt x="566" y="10337"/>
                    </a:lnTo>
                    <a:lnTo>
                      <a:pt x="419" y="10567"/>
                    </a:lnTo>
                    <a:lnTo>
                      <a:pt x="419" y="10672"/>
                    </a:lnTo>
                    <a:lnTo>
                      <a:pt x="398" y="10714"/>
                    </a:lnTo>
                    <a:lnTo>
                      <a:pt x="377" y="10839"/>
                    </a:lnTo>
                    <a:lnTo>
                      <a:pt x="314" y="10944"/>
                    </a:lnTo>
                    <a:lnTo>
                      <a:pt x="377" y="10986"/>
                    </a:lnTo>
                    <a:lnTo>
                      <a:pt x="419" y="10986"/>
                    </a:lnTo>
                    <a:lnTo>
                      <a:pt x="503" y="11069"/>
                    </a:lnTo>
                    <a:lnTo>
                      <a:pt x="607" y="11069"/>
                    </a:lnTo>
                    <a:lnTo>
                      <a:pt x="628" y="10965"/>
                    </a:lnTo>
                    <a:lnTo>
                      <a:pt x="607" y="10944"/>
                    </a:lnTo>
                    <a:lnTo>
                      <a:pt x="670" y="10839"/>
                    </a:lnTo>
                    <a:lnTo>
                      <a:pt x="691" y="10735"/>
                    </a:lnTo>
                    <a:lnTo>
                      <a:pt x="733" y="10672"/>
                    </a:lnTo>
                    <a:lnTo>
                      <a:pt x="733" y="10756"/>
                    </a:lnTo>
                    <a:lnTo>
                      <a:pt x="775" y="10818"/>
                    </a:lnTo>
                    <a:lnTo>
                      <a:pt x="712" y="10944"/>
                    </a:lnTo>
                    <a:lnTo>
                      <a:pt x="712" y="11028"/>
                    </a:lnTo>
                    <a:lnTo>
                      <a:pt x="712" y="11090"/>
                    </a:lnTo>
                    <a:lnTo>
                      <a:pt x="796" y="11195"/>
                    </a:lnTo>
                    <a:lnTo>
                      <a:pt x="838" y="11237"/>
                    </a:lnTo>
                    <a:lnTo>
                      <a:pt x="921" y="11153"/>
                    </a:lnTo>
                    <a:lnTo>
                      <a:pt x="900" y="11069"/>
                    </a:lnTo>
                    <a:lnTo>
                      <a:pt x="900" y="11048"/>
                    </a:lnTo>
                    <a:lnTo>
                      <a:pt x="921" y="11028"/>
                    </a:lnTo>
                    <a:lnTo>
                      <a:pt x="1005" y="11028"/>
                    </a:lnTo>
                    <a:lnTo>
                      <a:pt x="1047" y="10965"/>
                    </a:lnTo>
                    <a:lnTo>
                      <a:pt x="1026" y="10860"/>
                    </a:lnTo>
                    <a:lnTo>
                      <a:pt x="984" y="10818"/>
                    </a:lnTo>
                    <a:lnTo>
                      <a:pt x="984" y="10735"/>
                    </a:lnTo>
                    <a:lnTo>
                      <a:pt x="1026" y="10756"/>
                    </a:lnTo>
                    <a:lnTo>
                      <a:pt x="1110" y="10923"/>
                    </a:lnTo>
                    <a:lnTo>
                      <a:pt x="1110" y="10986"/>
                    </a:lnTo>
                    <a:lnTo>
                      <a:pt x="1047" y="11090"/>
                    </a:lnTo>
                    <a:lnTo>
                      <a:pt x="1005" y="11090"/>
                    </a:lnTo>
                    <a:lnTo>
                      <a:pt x="942" y="11195"/>
                    </a:lnTo>
                    <a:lnTo>
                      <a:pt x="984" y="11258"/>
                    </a:lnTo>
                    <a:lnTo>
                      <a:pt x="1026" y="11258"/>
                    </a:lnTo>
                    <a:lnTo>
                      <a:pt x="1089" y="11279"/>
                    </a:lnTo>
                    <a:lnTo>
                      <a:pt x="1110" y="11341"/>
                    </a:lnTo>
                    <a:lnTo>
                      <a:pt x="1151" y="11341"/>
                    </a:lnTo>
                    <a:lnTo>
                      <a:pt x="1340" y="11446"/>
                    </a:lnTo>
                    <a:lnTo>
                      <a:pt x="1402" y="11446"/>
                    </a:lnTo>
                    <a:lnTo>
                      <a:pt x="1402" y="11551"/>
                    </a:lnTo>
                    <a:lnTo>
                      <a:pt x="1612" y="11551"/>
                    </a:lnTo>
                    <a:lnTo>
                      <a:pt x="1674" y="11593"/>
                    </a:lnTo>
                    <a:lnTo>
                      <a:pt x="1737" y="11572"/>
                    </a:lnTo>
                    <a:lnTo>
                      <a:pt x="1779" y="11488"/>
                    </a:lnTo>
                    <a:lnTo>
                      <a:pt x="1716" y="11362"/>
                    </a:lnTo>
                    <a:lnTo>
                      <a:pt x="1654" y="11174"/>
                    </a:lnTo>
                    <a:lnTo>
                      <a:pt x="1716" y="11048"/>
                    </a:lnTo>
                    <a:lnTo>
                      <a:pt x="1758" y="10986"/>
                    </a:lnTo>
                    <a:lnTo>
                      <a:pt x="1779" y="11048"/>
                    </a:lnTo>
                    <a:lnTo>
                      <a:pt x="1821" y="11174"/>
                    </a:lnTo>
                    <a:lnTo>
                      <a:pt x="1821" y="11279"/>
                    </a:lnTo>
                    <a:lnTo>
                      <a:pt x="1842" y="11341"/>
                    </a:lnTo>
                    <a:lnTo>
                      <a:pt x="1926" y="11341"/>
                    </a:lnTo>
                    <a:lnTo>
                      <a:pt x="1946" y="11279"/>
                    </a:lnTo>
                    <a:lnTo>
                      <a:pt x="2030" y="11279"/>
                    </a:lnTo>
                    <a:lnTo>
                      <a:pt x="2051" y="11237"/>
                    </a:lnTo>
                    <a:lnTo>
                      <a:pt x="2072" y="11153"/>
                    </a:lnTo>
                    <a:lnTo>
                      <a:pt x="2135" y="11090"/>
                    </a:lnTo>
                    <a:lnTo>
                      <a:pt x="2156" y="10965"/>
                    </a:lnTo>
                    <a:lnTo>
                      <a:pt x="2177" y="10923"/>
                    </a:lnTo>
                    <a:lnTo>
                      <a:pt x="2198" y="10923"/>
                    </a:lnTo>
                    <a:lnTo>
                      <a:pt x="2260" y="11048"/>
                    </a:lnTo>
                    <a:lnTo>
                      <a:pt x="2239" y="11090"/>
                    </a:lnTo>
                    <a:lnTo>
                      <a:pt x="2177" y="11195"/>
                    </a:lnTo>
                    <a:lnTo>
                      <a:pt x="2156" y="11279"/>
                    </a:lnTo>
                    <a:lnTo>
                      <a:pt x="2198" y="11341"/>
                    </a:lnTo>
                    <a:lnTo>
                      <a:pt x="2198" y="11404"/>
                    </a:lnTo>
                    <a:lnTo>
                      <a:pt x="2302" y="11488"/>
                    </a:lnTo>
                    <a:lnTo>
                      <a:pt x="2386" y="11446"/>
                    </a:lnTo>
                    <a:lnTo>
                      <a:pt x="2490" y="11279"/>
                    </a:lnTo>
                    <a:lnTo>
                      <a:pt x="2449" y="11174"/>
                    </a:lnTo>
                    <a:lnTo>
                      <a:pt x="2470" y="11028"/>
                    </a:lnTo>
                    <a:lnTo>
                      <a:pt x="2574" y="10944"/>
                    </a:lnTo>
                    <a:lnTo>
                      <a:pt x="2679" y="10923"/>
                    </a:lnTo>
                    <a:lnTo>
                      <a:pt x="2574" y="11028"/>
                    </a:lnTo>
                    <a:lnTo>
                      <a:pt x="2553" y="11132"/>
                    </a:lnTo>
                    <a:lnTo>
                      <a:pt x="2595" y="11237"/>
                    </a:lnTo>
                    <a:lnTo>
                      <a:pt x="2511" y="11446"/>
                    </a:lnTo>
                    <a:lnTo>
                      <a:pt x="2511" y="11509"/>
                    </a:lnTo>
                    <a:lnTo>
                      <a:pt x="2595" y="11593"/>
                    </a:lnTo>
                    <a:lnTo>
                      <a:pt x="2700" y="11572"/>
                    </a:lnTo>
                    <a:lnTo>
                      <a:pt x="2783" y="11593"/>
                    </a:lnTo>
                    <a:lnTo>
                      <a:pt x="2867" y="11572"/>
                    </a:lnTo>
                    <a:lnTo>
                      <a:pt x="2867" y="11446"/>
                    </a:lnTo>
                    <a:lnTo>
                      <a:pt x="2930" y="11362"/>
                    </a:lnTo>
                    <a:lnTo>
                      <a:pt x="2909" y="11279"/>
                    </a:lnTo>
                    <a:lnTo>
                      <a:pt x="2825" y="11132"/>
                    </a:lnTo>
                    <a:lnTo>
                      <a:pt x="2909" y="10944"/>
                    </a:lnTo>
                    <a:lnTo>
                      <a:pt x="2909" y="10818"/>
                    </a:lnTo>
                    <a:lnTo>
                      <a:pt x="2972" y="10923"/>
                    </a:lnTo>
                    <a:lnTo>
                      <a:pt x="2930" y="11028"/>
                    </a:lnTo>
                    <a:lnTo>
                      <a:pt x="2909" y="11090"/>
                    </a:lnTo>
                    <a:lnTo>
                      <a:pt x="2993" y="11258"/>
                    </a:lnTo>
                    <a:lnTo>
                      <a:pt x="3076" y="11279"/>
                    </a:lnTo>
                    <a:lnTo>
                      <a:pt x="3118" y="11300"/>
                    </a:lnTo>
                    <a:lnTo>
                      <a:pt x="3034" y="11341"/>
                    </a:lnTo>
                    <a:lnTo>
                      <a:pt x="2993" y="11488"/>
                    </a:lnTo>
                    <a:lnTo>
                      <a:pt x="3014" y="11551"/>
                    </a:lnTo>
                    <a:lnTo>
                      <a:pt x="3181" y="11593"/>
                    </a:lnTo>
                    <a:lnTo>
                      <a:pt x="3244" y="11551"/>
                    </a:lnTo>
                    <a:lnTo>
                      <a:pt x="3348" y="11697"/>
                    </a:lnTo>
                    <a:lnTo>
                      <a:pt x="3348" y="11802"/>
                    </a:lnTo>
                    <a:lnTo>
                      <a:pt x="3286" y="11906"/>
                    </a:lnTo>
                    <a:lnTo>
                      <a:pt x="3181" y="11990"/>
                    </a:lnTo>
                    <a:lnTo>
                      <a:pt x="3223" y="12011"/>
                    </a:lnTo>
                    <a:lnTo>
                      <a:pt x="3286" y="12095"/>
                    </a:lnTo>
                    <a:lnTo>
                      <a:pt x="3369" y="12095"/>
                    </a:lnTo>
                    <a:lnTo>
                      <a:pt x="3495" y="12074"/>
                    </a:lnTo>
                    <a:lnTo>
                      <a:pt x="3537" y="12095"/>
                    </a:lnTo>
                    <a:lnTo>
                      <a:pt x="3725" y="11927"/>
                    </a:lnTo>
                    <a:lnTo>
                      <a:pt x="3830" y="11969"/>
                    </a:lnTo>
                    <a:lnTo>
                      <a:pt x="3871" y="11990"/>
                    </a:lnTo>
                    <a:lnTo>
                      <a:pt x="4039" y="11823"/>
                    </a:lnTo>
                    <a:lnTo>
                      <a:pt x="4123" y="11802"/>
                    </a:lnTo>
                    <a:lnTo>
                      <a:pt x="4227" y="11655"/>
                    </a:lnTo>
                    <a:lnTo>
                      <a:pt x="4290" y="11593"/>
                    </a:lnTo>
                    <a:lnTo>
                      <a:pt x="4332" y="11613"/>
                    </a:lnTo>
                    <a:lnTo>
                      <a:pt x="4290" y="11781"/>
                    </a:lnTo>
                    <a:lnTo>
                      <a:pt x="4269" y="11906"/>
                    </a:lnTo>
                    <a:lnTo>
                      <a:pt x="4290" y="11927"/>
                    </a:lnTo>
                    <a:lnTo>
                      <a:pt x="4395" y="11865"/>
                    </a:lnTo>
                    <a:lnTo>
                      <a:pt x="4478" y="11718"/>
                    </a:lnTo>
                    <a:lnTo>
                      <a:pt x="4583" y="11655"/>
                    </a:lnTo>
                    <a:lnTo>
                      <a:pt x="4687" y="11655"/>
                    </a:lnTo>
                    <a:lnTo>
                      <a:pt x="4813" y="11446"/>
                    </a:lnTo>
                    <a:lnTo>
                      <a:pt x="4876" y="11237"/>
                    </a:lnTo>
                    <a:lnTo>
                      <a:pt x="4855" y="11153"/>
                    </a:lnTo>
                    <a:lnTo>
                      <a:pt x="4876" y="11048"/>
                    </a:lnTo>
                    <a:lnTo>
                      <a:pt x="4792" y="11028"/>
                    </a:lnTo>
                    <a:lnTo>
                      <a:pt x="4750" y="11048"/>
                    </a:lnTo>
                    <a:lnTo>
                      <a:pt x="4667" y="11048"/>
                    </a:lnTo>
                    <a:lnTo>
                      <a:pt x="4541" y="11132"/>
                    </a:lnTo>
                    <a:lnTo>
                      <a:pt x="4478" y="11195"/>
                    </a:lnTo>
                    <a:lnTo>
                      <a:pt x="4374" y="11195"/>
                    </a:lnTo>
                    <a:lnTo>
                      <a:pt x="4457" y="11090"/>
                    </a:lnTo>
                    <a:lnTo>
                      <a:pt x="4478" y="11028"/>
                    </a:lnTo>
                    <a:lnTo>
                      <a:pt x="4374" y="11048"/>
                    </a:lnTo>
                    <a:lnTo>
                      <a:pt x="4353" y="10986"/>
                    </a:lnTo>
                    <a:lnTo>
                      <a:pt x="4374" y="10923"/>
                    </a:lnTo>
                    <a:lnTo>
                      <a:pt x="4457" y="10923"/>
                    </a:lnTo>
                    <a:lnTo>
                      <a:pt x="4499" y="10735"/>
                    </a:lnTo>
                    <a:lnTo>
                      <a:pt x="4562" y="10651"/>
                    </a:lnTo>
                    <a:lnTo>
                      <a:pt x="4541" y="10546"/>
                    </a:lnTo>
                    <a:lnTo>
                      <a:pt x="4395" y="10463"/>
                    </a:lnTo>
                    <a:lnTo>
                      <a:pt x="4185" y="10525"/>
                    </a:lnTo>
                    <a:lnTo>
                      <a:pt x="4060" y="10630"/>
                    </a:lnTo>
                    <a:lnTo>
                      <a:pt x="4123" y="10504"/>
                    </a:lnTo>
                    <a:lnTo>
                      <a:pt x="4039" y="10358"/>
                    </a:lnTo>
                    <a:lnTo>
                      <a:pt x="3892" y="10295"/>
                    </a:lnTo>
                    <a:lnTo>
                      <a:pt x="3830" y="10316"/>
                    </a:lnTo>
                    <a:lnTo>
                      <a:pt x="3767" y="10358"/>
                    </a:lnTo>
                    <a:lnTo>
                      <a:pt x="3725" y="10358"/>
                    </a:lnTo>
                    <a:lnTo>
                      <a:pt x="3599" y="10525"/>
                    </a:lnTo>
                    <a:lnTo>
                      <a:pt x="3495" y="10525"/>
                    </a:lnTo>
                    <a:lnTo>
                      <a:pt x="3558" y="10337"/>
                    </a:lnTo>
                    <a:lnTo>
                      <a:pt x="3453" y="10232"/>
                    </a:lnTo>
                    <a:lnTo>
                      <a:pt x="3809" y="10232"/>
                    </a:lnTo>
                    <a:lnTo>
                      <a:pt x="3830" y="10191"/>
                    </a:lnTo>
                    <a:lnTo>
                      <a:pt x="3725" y="10044"/>
                    </a:lnTo>
                    <a:lnTo>
                      <a:pt x="3767" y="9981"/>
                    </a:lnTo>
                    <a:lnTo>
                      <a:pt x="3830" y="9793"/>
                    </a:lnTo>
                    <a:lnTo>
                      <a:pt x="3830" y="9709"/>
                    </a:lnTo>
                    <a:lnTo>
                      <a:pt x="3934" y="9605"/>
                    </a:lnTo>
                    <a:lnTo>
                      <a:pt x="3934" y="9668"/>
                    </a:lnTo>
                    <a:lnTo>
                      <a:pt x="3955" y="9730"/>
                    </a:lnTo>
                    <a:lnTo>
                      <a:pt x="3934" y="9835"/>
                    </a:lnTo>
                    <a:lnTo>
                      <a:pt x="3871" y="9898"/>
                    </a:lnTo>
                    <a:lnTo>
                      <a:pt x="3934" y="10128"/>
                    </a:lnTo>
                    <a:lnTo>
                      <a:pt x="4164" y="10421"/>
                    </a:lnTo>
                    <a:lnTo>
                      <a:pt x="4332" y="10442"/>
                    </a:lnTo>
                    <a:lnTo>
                      <a:pt x="4353" y="10421"/>
                    </a:lnTo>
                    <a:lnTo>
                      <a:pt x="4478" y="10421"/>
                    </a:lnTo>
                    <a:lnTo>
                      <a:pt x="4771" y="10546"/>
                    </a:lnTo>
                    <a:lnTo>
                      <a:pt x="4813" y="10525"/>
                    </a:lnTo>
                    <a:lnTo>
                      <a:pt x="4897" y="10358"/>
                    </a:lnTo>
                    <a:lnTo>
                      <a:pt x="4980" y="10295"/>
                    </a:lnTo>
                    <a:lnTo>
                      <a:pt x="5022" y="10295"/>
                    </a:lnTo>
                    <a:lnTo>
                      <a:pt x="4980" y="10358"/>
                    </a:lnTo>
                    <a:lnTo>
                      <a:pt x="5064" y="10400"/>
                    </a:lnTo>
                    <a:lnTo>
                      <a:pt x="5169" y="10337"/>
                    </a:lnTo>
                    <a:lnTo>
                      <a:pt x="5190" y="10253"/>
                    </a:lnTo>
                    <a:lnTo>
                      <a:pt x="5211" y="10212"/>
                    </a:lnTo>
                    <a:lnTo>
                      <a:pt x="5273" y="10253"/>
                    </a:lnTo>
                    <a:lnTo>
                      <a:pt x="5399" y="10212"/>
                    </a:lnTo>
                    <a:lnTo>
                      <a:pt x="5399" y="10086"/>
                    </a:lnTo>
                    <a:lnTo>
                      <a:pt x="5545" y="9981"/>
                    </a:lnTo>
                    <a:lnTo>
                      <a:pt x="5545" y="9877"/>
                    </a:lnTo>
                    <a:lnTo>
                      <a:pt x="5524" y="9835"/>
                    </a:lnTo>
                    <a:lnTo>
                      <a:pt x="5420" y="9835"/>
                    </a:lnTo>
                    <a:lnTo>
                      <a:pt x="5524" y="9730"/>
                    </a:lnTo>
                    <a:lnTo>
                      <a:pt x="5545" y="9521"/>
                    </a:lnTo>
                    <a:lnTo>
                      <a:pt x="5713" y="9500"/>
                    </a:lnTo>
                    <a:lnTo>
                      <a:pt x="5943" y="9563"/>
                    </a:lnTo>
                    <a:lnTo>
                      <a:pt x="6027" y="9626"/>
                    </a:lnTo>
                    <a:lnTo>
                      <a:pt x="6173" y="9626"/>
                    </a:lnTo>
                    <a:lnTo>
                      <a:pt x="6278" y="9563"/>
                    </a:lnTo>
                    <a:lnTo>
                      <a:pt x="6382" y="9563"/>
                    </a:lnTo>
                    <a:lnTo>
                      <a:pt x="6466" y="9668"/>
                    </a:lnTo>
                    <a:lnTo>
                      <a:pt x="6571" y="9626"/>
                    </a:lnTo>
                    <a:lnTo>
                      <a:pt x="6675" y="9521"/>
                    </a:lnTo>
                    <a:lnTo>
                      <a:pt x="6759" y="9479"/>
                    </a:lnTo>
                    <a:lnTo>
                      <a:pt x="6759" y="9396"/>
                    </a:lnTo>
                    <a:lnTo>
                      <a:pt x="6633" y="9396"/>
                    </a:lnTo>
                    <a:lnTo>
                      <a:pt x="6278" y="9207"/>
                    </a:lnTo>
                    <a:lnTo>
                      <a:pt x="6257" y="9144"/>
                    </a:lnTo>
                    <a:lnTo>
                      <a:pt x="6340" y="9082"/>
                    </a:lnTo>
                    <a:lnTo>
                      <a:pt x="6445" y="9103"/>
                    </a:lnTo>
                    <a:lnTo>
                      <a:pt x="6487" y="9165"/>
                    </a:lnTo>
                    <a:lnTo>
                      <a:pt x="6592" y="9144"/>
                    </a:lnTo>
                    <a:lnTo>
                      <a:pt x="6780" y="9291"/>
                    </a:lnTo>
                    <a:lnTo>
                      <a:pt x="6864" y="9270"/>
                    </a:lnTo>
                    <a:lnTo>
                      <a:pt x="6989" y="9165"/>
                    </a:lnTo>
                    <a:lnTo>
                      <a:pt x="7073" y="9144"/>
                    </a:lnTo>
                    <a:lnTo>
                      <a:pt x="7115" y="9061"/>
                    </a:lnTo>
                    <a:lnTo>
                      <a:pt x="7094" y="8935"/>
                    </a:lnTo>
                    <a:lnTo>
                      <a:pt x="6968" y="8831"/>
                    </a:lnTo>
                    <a:lnTo>
                      <a:pt x="6884" y="8831"/>
                    </a:lnTo>
                    <a:lnTo>
                      <a:pt x="6864" y="8747"/>
                    </a:lnTo>
                    <a:lnTo>
                      <a:pt x="6738" y="8684"/>
                    </a:lnTo>
                    <a:lnTo>
                      <a:pt x="6738" y="8642"/>
                    </a:lnTo>
                    <a:lnTo>
                      <a:pt x="6864" y="8663"/>
                    </a:lnTo>
                    <a:lnTo>
                      <a:pt x="6947" y="8684"/>
                    </a:lnTo>
                    <a:lnTo>
                      <a:pt x="6968" y="8768"/>
                    </a:lnTo>
                    <a:lnTo>
                      <a:pt x="7031" y="8789"/>
                    </a:lnTo>
                    <a:lnTo>
                      <a:pt x="7156" y="8789"/>
                    </a:lnTo>
                    <a:lnTo>
                      <a:pt x="7198" y="8852"/>
                    </a:lnTo>
                    <a:lnTo>
                      <a:pt x="7387" y="8726"/>
                    </a:lnTo>
                    <a:lnTo>
                      <a:pt x="7428" y="8726"/>
                    </a:lnTo>
                    <a:lnTo>
                      <a:pt x="7470" y="8538"/>
                    </a:lnTo>
                    <a:lnTo>
                      <a:pt x="7596" y="8328"/>
                    </a:lnTo>
                    <a:lnTo>
                      <a:pt x="7596" y="8224"/>
                    </a:lnTo>
                    <a:lnTo>
                      <a:pt x="7512" y="8161"/>
                    </a:lnTo>
                    <a:lnTo>
                      <a:pt x="7387" y="8056"/>
                    </a:lnTo>
                    <a:lnTo>
                      <a:pt x="7198" y="8056"/>
                    </a:lnTo>
                    <a:lnTo>
                      <a:pt x="7094" y="8119"/>
                    </a:lnTo>
                    <a:lnTo>
                      <a:pt x="7094" y="8035"/>
                    </a:lnTo>
                    <a:lnTo>
                      <a:pt x="7219" y="7994"/>
                    </a:lnTo>
                    <a:lnTo>
                      <a:pt x="7366" y="7994"/>
                    </a:lnTo>
                    <a:lnTo>
                      <a:pt x="7387" y="7931"/>
                    </a:lnTo>
                    <a:lnTo>
                      <a:pt x="7198" y="7784"/>
                    </a:lnTo>
                    <a:lnTo>
                      <a:pt x="7115" y="7743"/>
                    </a:lnTo>
                    <a:lnTo>
                      <a:pt x="7010" y="7743"/>
                    </a:lnTo>
                    <a:lnTo>
                      <a:pt x="6968" y="7722"/>
                    </a:lnTo>
                    <a:lnTo>
                      <a:pt x="6947" y="7743"/>
                    </a:lnTo>
                    <a:lnTo>
                      <a:pt x="6843" y="7784"/>
                    </a:lnTo>
                    <a:lnTo>
                      <a:pt x="6801" y="7743"/>
                    </a:lnTo>
                    <a:lnTo>
                      <a:pt x="6780" y="7784"/>
                    </a:lnTo>
                    <a:lnTo>
                      <a:pt x="6675" y="7784"/>
                    </a:lnTo>
                    <a:lnTo>
                      <a:pt x="6675" y="7701"/>
                    </a:lnTo>
                    <a:lnTo>
                      <a:pt x="6696" y="7638"/>
                    </a:lnTo>
                    <a:lnTo>
                      <a:pt x="6487" y="7533"/>
                    </a:lnTo>
                    <a:lnTo>
                      <a:pt x="6466" y="7491"/>
                    </a:lnTo>
                    <a:lnTo>
                      <a:pt x="6466" y="7491"/>
                    </a:lnTo>
                    <a:lnTo>
                      <a:pt x="6571" y="7533"/>
                    </a:lnTo>
                    <a:lnTo>
                      <a:pt x="6759" y="7575"/>
                    </a:lnTo>
                    <a:lnTo>
                      <a:pt x="6843" y="7617"/>
                    </a:lnTo>
                    <a:lnTo>
                      <a:pt x="6801" y="7701"/>
                    </a:lnTo>
                    <a:lnTo>
                      <a:pt x="6801" y="7701"/>
                    </a:lnTo>
                    <a:lnTo>
                      <a:pt x="6989" y="7638"/>
                    </a:lnTo>
                    <a:lnTo>
                      <a:pt x="7198" y="7638"/>
                    </a:lnTo>
                    <a:lnTo>
                      <a:pt x="7324" y="7743"/>
                    </a:lnTo>
                    <a:lnTo>
                      <a:pt x="7366" y="7722"/>
                    </a:lnTo>
                    <a:lnTo>
                      <a:pt x="7387" y="7596"/>
                    </a:lnTo>
                    <a:lnTo>
                      <a:pt x="7115" y="7512"/>
                    </a:lnTo>
                    <a:lnTo>
                      <a:pt x="6905" y="7491"/>
                    </a:lnTo>
                    <a:lnTo>
                      <a:pt x="6759" y="7429"/>
                    </a:lnTo>
                    <a:lnTo>
                      <a:pt x="6780" y="7387"/>
                    </a:lnTo>
                    <a:lnTo>
                      <a:pt x="6884" y="7366"/>
                    </a:lnTo>
                    <a:lnTo>
                      <a:pt x="6989" y="7429"/>
                    </a:lnTo>
                    <a:lnTo>
                      <a:pt x="7219" y="7491"/>
                    </a:lnTo>
                    <a:lnTo>
                      <a:pt x="7408" y="7491"/>
                    </a:lnTo>
                    <a:lnTo>
                      <a:pt x="7470" y="7596"/>
                    </a:lnTo>
                    <a:lnTo>
                      <a:pt x="7470" y="7722"/>
                    </a:lnTo>
                    <a:lnTo>
                      <a:pt x="7491" y="7805"/>
                    </a:lnTo>
                    <a:lnTo>
                      <a:pt x="7638" y="7910"/>
                    </a:lnTo>
                    <a:lnTo>
                      <a:pt x="7805" y="7952"/>
                    </a:lnTo>
                    <a:lnTo>
                      <a:pt x="7889" y="8035"/>
                    </a:lnTo>
                    <a:lnTo>
                      <a:pt x="7910" y="8035"/>
                    </a:lnTo>
                    <a:lnTo>
                      <a:pt x="7993" y="7994"/>
                    </a:lnTo>
                    <a:lnTo>
                      <a:pt x="7952" y="7847"/>
                    </a:lnTo>
                    <a:lnTo>
                      <a:pt x="7993" y="7743"/>
                    </a:lnTo>
                    <a:lnTo>
                      <a:pt x="7952" y="7701"/>
                    </a:lnTo>
                    <a:lnTo>
                      <a:pt x="8056" y="7617"/>
                    </a:lnTo>
                    <a:lnTo>
                      <a:pt x="7993" y="7575"/>
                    </a:lnTo>
                    <a:lnTo>
                      <a:pt x="7680" y="7491"/>
                    </a:lnTo>
                    <a:lnTo>
                      <a:pt x="7554" y="7512"/>
                    </a:lnTo>
                    <a:lnTo>
                      <a:pt x="7512" y="7512"/>
                    </a:lnTo>
                    <a:lnTo>
                      <a:pt x="7408" y="7408"/>
                    </a:lnTo>
                    <a:lnTo>
                      <a:pt x="7282" y="7387"/>
                    </a:lnTo>
                    <a:lnTo>
                      <a:pt x="7198" y="7282"/>
                    </a:lnTo>
                    <a:lnTo>
                      <a:pt x="7115" y="7282"/>
                    </a:lnTo>
                    <a:lnTo>
                      <a:pt x="7073" y="7324"/>
                    </a:lnTo>
                    <a:lnTo>
                      <a:pt x="6989" y="7324"/>
                    </a:lnTo>
                    <a:lnTo>
                      <a:pt x="7010" y="7219"/>
                    </a:lnTo>
                    <a:lnTo>
                      <a:pt x="6864" y="7178"/>
                    </a:lnTo>
                    <a:lnTo>
                      <a:pt x="6843" y="7094"/>
                    </a:lnTo>
                    <a:lnTo>
                      <a:pt x="6947" y="7073"/>
                    </a:lnTo>
                    <a:lnTo>
                      <a:pt x="6989" y="7115"/>
                    </a:lnTo>
                    <a:lnTo>
                      <a:pt x="7094" y="7157"/>
                    </a:lnTo>
                    <a:lnTo>
                      <a:pt x="7156" y="7073"/>
                    </a:lnTo>
                    <a:lnTo>
                      <a:pt x="7115" y="7010"/>
                    </a:lnTo>
                    <a:lnTo>
                      <a:pt x="7156" y="6968"/>
                    </a:lnTo>
                    <a:lnTo>
                      <a:pt x="7219" y="7052"/>
                    </a:lnTo>
                    <a:lnTo>
                      <a:pt x="7219" y="7178"/>
                    </a:lnTo>
                    <a:lnTo>
                      <a:pt x="7324" y="7219"/>
                    </a:lnTo>
                    <a:lnTo>
                      <a:pt x="7638" y="7303"/>
                    </a:lnTo>
                    <a:lnTo>
                      <a:pt x="7700" y="7261"/>
                    </a:lnTo>
                    <a:lnTo>
                      <a:pt x="7554" y="7052"/>
                    </a:lnTo>
                    <a:lnTo>
                      <a:pt x="7408" y="6989"/>
                    </a:lnTo>
                    <a:lnTo>
                      <a:pt x="7303" y="6947"/>
                    </a:lnTo>
                    <a:lnTo>
                      <a:pt x="7303" y="6864"/>
                    </a:lnTo>
                    <a:lnTo>
                      <a:pt x="7324" y="6801"/>
                    </a:lnTo>
                    <a:lnTo>
                      <a:pt x="7408" y="6906"/>
                    </a:lnTo>
                    <a:lnTo>
                      <a:pt x="7554" y="6906"/>
                    </a:lnTo>
                    <a:lnTo>
                      <a:pt x="7638" y="6968"/>
                    </a:lnTo>
                    <a:lnTo>
                      <a:pt x="7680" y="7073"/>
                    </a:lnTo>
                    <a:lnTo>
                      <a:pt x="7721" y="7052"/>
                    </a:lnTo>
                    <a:lnTo>
                      <a:pt x="7805" y="7157"/>
                    </a:lnTo>
                    <a:lnTo>
                      <a:pt x="7910" y="7199"/>
                    </a:lnTo>
                    <a:lnTo>
                      <a:pt x="7952" y="7261"/>
                    </a:lnTo>
                    <a:lnTo>
                      <a:pt x="8014" y="7282"/>
                    </a:lnTo>
                    <a:lnTo>
                      <a:pt x="8077" y="7178"/>
                    </a:lnTo>
                    <a:lnTo>
                      <a:pt x="8203" y="7178"/>
                    </a:lnTo>
                    <a:lnTo>
                      <a:pt x="8307" y="7282"/>
                    </a:lnTo>
                    <a:lnTo>
                      <a:pt x="8349" y="7261"/>
                    </a:lnTo>
                    <a:lnTo>
                      <a:pt x="8349" y="7157"/>
                    </a:lnTo>
                    <a:lnTo>
                      <a:pt x="8412" y="7157"/>
                    </a:lnTo>
                    <a:lnTo>
                      <a:pt x="8516" y="7261"/>
                    </a:lnTo>
                    <a:lnTo>
                      <a:pt x="8642" y="7261"/>
                    </a:lnTo>
                    <a:lnTo>
                      <a:pt x="8684" y="7199"/>
                    </a:lnTo>
                    <a:lnTo>
                      <a:pt x="8684" y="6885"/>
                    </a:lnTo>
                    <a:lnTo>
                      <a:pt x="8433" y="6634"/>
                    </a:lnTo>
                    <a:lnTo>
                      <a:pt x="8349" y="6634"/>
                    </a:lnTo>
                    <a:lnTo>
                      <a:pt x="8307" y="6655"/>
                    </a:lnTo>
                    <a:lnTo>
                      <a:pt x="8224" y="6634"/>
                    </a:lnTo>
                    <a:lnTo>
                      <a:pt x="8244" y="6571"/>
                    </a:lnTo>
                    <a:lnTo>
                      <a:pt x="8433" y="6550"/>
                    </a:lnTo>
                    <a:lnTo>
                      <a:pt x="8516" y="6571"/>
                    </a:lnTo>
                    <a:lnTo>
                      <a:pt x="8558" y="6550"/>
                    </a:lnTo>
                    <a:lnTo>
                      <a:pt x="8642" y="6592"/>
                    </a:lnTo>
                    <a:lnTo>
                      <a:pt x="8642" y="6696"/>
                    </a:lnTo>
                    <a:lnTo>
                      <a:pt x="8684" y="6759"/>
                    </a:lnTo>
                    <a:lnTo>
                      <a:pt x="8851" y="6780"/>
                    </a:lnTo>
                    <a:lnTo>
                      <a:pt x="8851" y="6968"/>
                    </a:lnTo>
                    <a:lnTo>
                      <a:pt x="8893" y="7052"/>
                    </a:lnTo>
                    <a:lnTo>
                      <a:pt x="8998" y="7052"/>
                    </a:lnTo>
                    <a:lnTo>
                      <a:pt x="9060" y="7094"/>
                    </a:lnTo>
                    <a:lnTo>
                      <a:pt x="9353" y="7115"/>
                    </a:lnTo>
                    <a:lnTo>
                      <a:pt x="9500" y="7115"/>
                    </a:lnTo>
                    <a:lnTo>
                      <a:pt x="9688" y="6947"/>
                    </a:lnTo>
                    <a:lnTo>
                      <a:pt x="9709" y="6864"/>
                    </a:lnTo>
                    <a:lnTo>
                      <a:pt x="9605" y="6801"/>
                    </a:lnTo>
                    <a:lnTo>
                      <a:pt x="9563" y="6843"/>
                    </a:lnTo>
                    <a:lnTo>
                      <a:pt x="9500" y="6780"/>
                    </a:lnTo>
                    <a:lnTo>
                      <a:pt x="9563" y="6759"/>
                    </a:lnTo>
                    <a:lnTo>
                      <a:pt x="9709" y="6696"/>
                    </a:lnTo>
                    <a:lnTo>
                      <a:pt x="9835" y="6738"/>
                    </a:lnTo>
                    <a:lnTo>
                      <a:pt x="9981" y="6675"/>
                    </a:lnTo>
                    <a:lnTo>
                      <a:pt x="10002" y="6571"/>
                    </a:lnTo>
                    <a:lnTo>
                      <a:pt x="9918" y="6466"/>
                    </a:lnTo>
                    <a:lnTo>
                      <a:pt x="9625" y="6466"/>
                    </a:lnTo>
                    <a:lnTo>
                      <a:pt x="9395" y="6424"/>
                    </a:lnTo>
                    <a:lnTo>
                      <a:pt x="9416" y="6362"/>
                    </a:lnTo>
                    <a:lnTo>
                      <a:pt x="9521" y="6362"/>
                    </a:lnTo>
                    <a:lnTo>
                      <a:pt x="9563" y="6257"/>
                    </a:lnTo>
                    <a:lnTo>
                      <a:pt x="9605" y="6278"/>
                    </a:lnTo>
                    <a:lnTo>
                      <a:pt x="9625" y="6383"/>
                    </a:lnTo>
                    <a:lnTo>
                      <a:pt x="9709" y="6383"/>
                    </a:lnTo>
                    <a:lnTo>
                      <a:pt x="9772" y="6341"/>
                    </a:lnTo>
                    <a:lnTo>
                      <a:pt x="9981" y="6424"/>
                    </a:lnTo>
                    <a:lnTo>
                      <a:pt x="10044" y="6362"/>
                    </a:lnTo>
                    <a:lnTo>
                      <a:pt x="10149" y="6445"/>
                    </a:lnTo>
                    <a:lnTo>
                      <a:pt x="10211" y="6445"/>
                    </a:lnTo>
                    <a:lnTo>
                      <a:pt x="10316" y="6320"/>
                    </a:lnTo>
                    <a:lnTo>
                      <a:pt x="10295" y="6236"/>
                    </a:lnTo>
                    <a:lnTo>
                      <a:pt x="10149" y="6152"/>
                    </a:lnTo>
                    <a:lnTo>
                      <a:pt x="10211" y="6048"/>
                    </a:lnTo>
                    <a:lnTo>
                      <a:pt x="10253" y="6006"/>
                    </a:lnTo>
                    <a:lnTo>
                      <a:pt x="10232" y="5839"/>
                    </a:lnTo>
                    <a:lnTo>
                      <a:pt x="10316" y="5901"/>
                    </a:lnTo>
                    <a:lnTo>
                      <a:pt x="10316" y="6006"/>
                    </a:lnTo>
                    <a:lnTo>
                      <a:pt x="10253" y="6069"/>
                    </a:lnTo>
                    <a:lnTo>
                      <a:pt x="10295" y="6152"/>
                    </a:lnTo>
                    <a:lnTo>
                      <a:pt x="10358" y="6173"/>
                    </a:lnTo>
                    <a:lnTo>
                      <a:pt x="10441" y="6111"/>
                    </a:lnTo>
                    <a:lnTo>
                      <a:pt x="10734" y="6111"/>
                    </a:lnTo>
                    <a:lnTo>
                      <a:pt x="10776" y="6027"/>
                    </a:lnTo>
                    <a:lnTo>
                      <a:pt x="10923" y="5922"/>
                    </a:lnTo>
                    <a:lnTo>
                      <a:pt x="10881" y="5797"/>
                    </a:lnTo>
                    <a:lnTo>
                      <a:pt x="10944" y="5755"/>
                    </a:lnTo>
                    <a:lnTo>
                      <a:pt x="11048" y="5755"/>
                    </a:lnTo>
                    <a:lnTo>
                      <a:pt x="11132" y="5650"/>
                    </a:lnTo>
                    <a:lnTo>
                      <a:pt x="11216" y="5692"/>
                    </a:lnTo>
                    <a:lnTo>
                      <a:pt x="11299" y="5629"/>
                    </a:lnTo>
                    <a:lnTo>
                      <a:pt x="11550" y="5608"/>
                    </a:lnTo>
                    <a:lnTo>
                      <a:pt x="11613" y="5483"/>
                    </a:lnTo>
                    <a:lnTo>
                      <a:pt x="11822" y="5420"/>
                    </a:lnTo>
                    <a:lnTo>
                      <a:pt x="11927" y="5336"/>
                    </a:lnTo>
                    <a:lnTo>
                      <a:pt x="12073" y="5336"/>
                    </a:lnTo>
                    <a:lnTo>
                      <a:pt x="12136" y="5315"/>
                    </a:lnTo>
                    <a:lnTo>
                      <a:pt x="12262" y="5315"/>
                    </a:lnTo>
                    <a:lnTo>
                      <a:pt x="12429" y="5232"/>
                    </a:lnTo>
                    <a:lnTo>
                      <a:pt x="12555" y="5106"/>
                    </a:lnTo>
                    <a:lnTo>
                      <a:pt x="12659" y="5085"/>
                    </a:lnTo>
                    <a:lnTo>
                      <a:pt x="12743" y="4960"/>
                    </a:lnTo>
                    <a:lnTo>
                      <a:pt x="12952" y="4918"/>
                    </a:lnTo>
                    <a:lnTo>
                      <a:pt x="13036" y="4876"/>
                    </a:lnTo>
                    <a:lnTo>
                      <a:pt x="13224" y="4771"/>
                    </a:lnTo>
                    <a:lnTo>
                      <a:pt x="13308" y="4604"/>
                    </a:lnTo>
                    <a:lnTo>
                      <a:pt x="13371" y="4458"/>
                    </a:lnTo>
                    <a:lnTo>
                      <a:pt x="13182" y="4458"/>
                    </a:lnTo>
                    <a:lnTo>
                      <a:pt x="13057" y="4478"/>
                    </a:lnTo>
                    <a:lnTo>
                      <a:pt x="12973" y="4437"/>
                    </a:lnTo>
                    <a:lnTo>
                      <a:pt x="12848" y="4458"/>
                    </a:lnTo>
                    <a:lnTo>
                      <a:pt x="12659" y="4646"/>
                    </a:lnTo>
                    <a:lnTo>
                      <a:pt x="12387" y="4667"/>
                    </a:lnTo>
                    <a:lnTo>
                      <a:pt x="11927" y="4709"/>
                    </a:lnTo>
                    <a:lnTo>
                      <a:pt x="11801" y="4688"/>
                    </a:lnTo>
                    <a:lnTo>
                      <a:pt x="11488" y="4688"/>
                    </a:lnTo>
                    <a:lnTo>
                      <a:pt x="11299" y="4771"/>
                    </a:lnTo>
                    <a:lnTo>
                      <a:pt x="11299" y="4667"/>
                    </a:lnTo>
                    <a:lnTo>
                      <a:pt x="11174" y="4667"/>
                    </a:lnTo>
                    <a:lnTo>
                      <a:pt x="11216" y="4562"/>
                    </a:lnTo>
                    <a:lnTo>
                      <a:pt x="11362" y="4562"/>
                    </a:lnTo>
                    <a:lnTo>
                      <a:pt x="11446" y="4583"/>
                    </a:lnTo>
                    <a:lnTo>
                      <a:pt x="11550" y="4541"/>
                    </a:lnTo>
                    <a:lnTo>
                      <a:pt x="11571" y="4604"/>
                    </a:lnTo>
                    <a:lnTo>
                      <a:pt x="11718" y="4604"/>
                    </a:lnTo>
                    <a:lnTo>
                      <a:pt x="11906" y="4583"/>
                    </a:lnTo>
                    <a:lnTo>
                      <a:pt x="12032" y="4583"/>
                    </a:lnTo>
                    <a:lnTo>
                      <a:pt x="12346" y="4541"/>
                    </a:lnTo>
                    <a:lnTo>
                      <a:pt x="12848" y="4332"/>
                    </a:lnTo>
                    <a:lnTo>
                      <a:pt x="12931" y="4269"/>
                    </a:lnTo>
                    <a:lnTo>
                      <a:pt x="12848" y="4186"/>
                    </a:lnTo>
                    <a:lnTo>
                      <a:pt x="12638" y="4144"/>
                    </a:lnTo>
                    <a:lnTo>
                      <a:pt x="12262" y="4081"/>
                    </a:lnTo>
                    <a:lnTo>
                      <a:pt x="12199" y="3976"/>
                    </a:lnTo>
                    <a:lnTo>
                      <a:pt x="12199" y="3976"/>
                    </a:lnTo>
                    <a:lnTo>
                      <a:pt x="12346" y="4060"/>
                    </a:lnTo>
                    <a:lnTo>
                      <a:pt x="12450" y="4039"/>
                    </a:lnTo>
                    <a:lnTo>
                      <a:pt x="12450" y="3976"/>
                    </a:lnTo>
                    <a:lnTo>
                      <a:pt x="12325" y="3851"/>
                    </a:lnTo>
                    <a:lnTo>
                      <a:pt x="12304" y="3725"/>
                    </a:lnTo>
                    <a:lnTo>
                      <a:pt x="12408" y="3851"/>
                    </a:lnTo>
                    <a:lnTo>
                      <a:pt x="12597" y="4060"/>
                    </a:lnTo>
                    <a:lnTo>
                      <a:pt x="12638" y="4060"/>
                    </a:lnTo>
                    <a:lnTo>
                      <a:pt x="12722" y="4018"/>
                    </a:lnTo>
                    <a:lnTo>
                      <a:pt x="12764" y="4081"/>
                    </a:lnTo>
                    <a:lnTo>
                      <a:pt x="12973" y="4081"/>
                    </a:lnTo>
                    <a:lnTo>
                      <a:pt x="13057" y="4144"/>
                    </a:lnTo>
                    <a:lnTo>
                      <a:pt x="13141" y="4144"/>
                    </a:lnTo>
                    <a:lnTo>
                      <a:pt x="13287" y="4165"/>
                    </a:lnTo>
                    <a:lnTo>
                      <a:pt x="13371" y="4123"/>
                    </a:lnTo>
                    <a:lnTo>
                      <a:pt x="13308" y="4081"/>
                    </a:lnTo>
                    <a:lnTo>
                      <a:pt x="13162" y="4060"/>
                    </a:lnTo>
                    <a:lnTo>
                      <a:pt x="13162" y="3976"/>
                    </a:lnTo>
                    <a:lnTo>
                      <a:pt x="13350" y="4018"/>
                    </a:lnTo>
                    <a:lnTo>
                      <a:pt x="13475" y="4060"/>
                    </a:lnTo>
                    <a:lnTo>
                      <a:pt x="13601" y="4165"/>
                    </a:lnTo>
                    <a:lnTo>
                      <a:pt x="13664" y="4144"/>
                    </a:lnTo>
                    <a:lnTo>
                      <a:pt x="13706" y="4018"/>
                    </a:lnTo>
                    <a:lnTo>
                      <a:pt x="13810" y="4081"/>
                    </a:lnTo>
                    <a:lnTo>
                      <a:pt x="13978" y="4081"/>
                    </a:lnTo>
                    <a:lnTo>
                      <a:pt x="14124" y="4039"/>
                    </a:lnTo>
                    <a:lnTo>
                      <a:pt x="14229" y="4018"/>
                    </a:lnTo>
                    <a:lnTo>
                      <a:pt x="14354" y="3914"/>
                    </a:lnTo>
                    <a:lnTo>
                      <a:pt x="14710" y="3746"/>
                    </a:lnTo>
                    <a:lnTo>
                      <a:pt x="14794" y="3662"/>
                    </a:lnTo>
                    <a:lnTo>
                      <a:pt x="14794" y="3621"/>
                    </a:lnTo>
                    <a:lnTo>
                      <a:pt x="14877" y="3600"/>
                    </a:lnTo>
                    <a:lnTo>
                      <a:pt x="15003" y="3621"/>
                    </a:lnTo>
                    <a:lnTo>
                      <a:pt x="15045" y="3558"/>
                    </a:lnTo>
                    <a:lnTo>
                      <a:pt x="15275" y="3432"/>
                    </a:lnTo>
                    <a:lnTo>
                      <a:pt x="15400" y="3181"/>
                    </a:lnTo>
                    <a:lnTo>
                      <a:pt x="15463" y="2909"/>
                    </a:lnTo>
                    <a:lnTo>
                      <a:pt x="15442" y="2721"/>
                    </a:lnTo>
                    <a:lnTo>
                      <a:pt x="15379" y="2595"/>
                    </a:lnTo>
                    <a:lnTo>
                      <a:pt x="15233" y="2512"/>
                    </a:lnTo>
                    <a:lnTo>
                      <a:pt x="15149" y="2512"/>
                    </a:lnTo>
                    <a:lnTo>
                      <a:pt x="15128" y="2554"/>
                    </a:lnTo>
                    <a:lnTo>
                      <a:pt x="15024" y="2554"/>
                    </a:lnTo>
                    <a:lnTo>
                      <a:pt x="14961" y="2658"/>
                    </a:lnTo>
                    <a:lnTo>
                      <a:pt x="14877" y="2700"/>
                    </a:lnTo>
                    <a:lnTo>
                      <a:pt x="14835" y="2658"/>
                    </a:lnTo>
                    <a:lnTo>
                      <a:pt x="14961" y="2470"/>
                    </a:lnTo>
                    <a:lnTo>
                      <a:pt x="15003" y="2386"/>
                    </a:lnTo>
                    <a:lnTo>
                      <a:pt x="15107" y="2302"/>
                    </a:lnTo>
                    <a:lnTo>
                      <a:pt x="15128" y="2156"/>
                    </a:lnTo>
                    <a:lnTo>
                      <a:pt x="15066" y="2051"/>
                    </a:lnTo>
                    <a:lnTo>
                      <a:pt x="15024" y="2030"/>
                    </a:lnTo>
                    <a:lnTo>
                      <a:pt x="15107" y="1968"/>
                    </a:lnTo>
                    <a:lnTo>
                      <a:pt x="15170" y="1737"/>
                    </a:lnTo>
                    <a:lnTo>
                      <a:pt x="15066" y="1717"/>
                    </a:lnTo>
                    <a:lnTo>
                      <a:pt x="14940" y="1737"/>
                    </a:lnTo>
                    <a:lnTo>
                      <a:pt x="14919" y="1842"/>
                    </a:lnTo>
                    <a:lnTo>
                      <a:pt x="14856" y="1884"/>
                    </a:lnTo>
                    <a:lnTo>
                      <a:pt x="14794" y="1926"/>
                    </a:lnTo>
                    <a:lnTo>
                      <a:pt x="14731" y="1863"/>
                    </a:lnTo>
                    <a:lnTo>
                      <a:pt x="14794" y="1779"/>
                    </a:lnTo>
                    <a:lnTo>
                      <a:pt x="14794" y="1717"/>
                    </a:lnTo>
                    <a:lnTo>
                      <a:pt x="14835" y="1633"/>
                    </a:lnTo>
                    <a:lnTo>
                      <a:pt x="14814" y="1570"/>
                    </a:lnTo>
                    <a:lnTo>
                      <a:pt x="14689" y="1654"/>
                    </a:lnTo>
                    <a:lnTo>
                      <a:pt x="14626" y="1779"/>
                    </a:lnTo>
                    <a:lnTo>
                      <a:pt x="14584" y="1821"/>
                    </a:lnTo>
                    <a:lnTo>
                      <a:pt x="14522" y="1758"/>
                    </a:lnTo>
                    <a:lnTo>
                      <a:pt x="14584" y="1633"/>
                    </a:lnTo>
                    <a:lnTo>
                      <a:pt x="14542" y="1549"/>
                    </a:lnTo>
                    <a:lnTo>
                      <a:pt x="14417" y="1549"/>
                    </a:lnTo>
                    <a:lnTo>
                      <a:pt x="14270" y="1633"/>
                    </a:lnTo>
                    <a:lnTo>
                      <a:pt x="14208" y="1737"/>
                    </a:lnTo>
                    <a:lnTo>
                      <a:pt x="14082" y="1737"/>
                    </a:lnTo>
                    <a:lnTo>
                      <a:pt x="14019" y="1779"/>
                    </a:lnTo>
                    <a:lnTo>
                      <a:pt x="13978" y="1884"/>
                    </a:lnTo>
                    <a:lnTo>
                      <a:pt x="13894" y="1884"/>
                    </a:lnTo>
                    <a:lnTo>
                      <a:pt x="13789" y="1842"/>
                    </a:lnTo>
                    <a:lnTo>
                      <a:pt x="13580" y="1821"/>
                    </a:lnTo>
                    <a:lnTo>
                      <a:pt x="13308" y="1821"/>
                    </a:lnTo>
                    <a:lnTo>
                      <a:pt x="13496" y="1758"/>
                    </a:lnTo>
                    <a:lnTo>
                      <a:pt x="13559" y="1717"/>
                    </a:lnTo>
                    <a:lnTo>
                      <a:pt x="13643" y="1737"/>
                    </a:lnTo>
                    <a:lnTo>
                      <a:pt x="13747" y="1737"/>
                    </a:lnTo>
                    <a:lnTo>
                      <a:pt x="13894" y="1654"/>
                    </a:lnTo>
                    <a:lnTo>
                      <a:pt x="14019" y="1633"/>
                    </a:lnTo>
                    <a:lnTo>
                      <a:pt x="14124" y="1507"/>
                    </a:lnTo>
                    <a:lnTo>
                      <a:pt x="14333" y="1403"/>
                    </a:lnTo>
                    <a:lnTo>
                      <a:pt x="14396" y="1340"/>
                    </a:lnTo>
                    <a:lnTo>
                      <a:pt x="14354" y="1298"/>
                    </a:lnTo>
                    <a:lnTo>
                      <a:pt x="14270" y="1298"/>
                    </a:lnTo>
                    <a:lnTo>
                      <a:pt x="14061" y="1152"/>
                    </a:lnTo>
                    <a:lnTo>
                      <a:pt x="14019" y="1089"/>
                    </a:lnTo>
                    <a:lnTo>
                      <a:pt x="13978" y="1089"/>
                    </a:lnTo>
                    <a:lnTo>
                      <a:pt x="13873" y="1131"/>
                    </a:lnTo>
                    <a:lnTo>
                      <a:pt x="13810" y="1193"/>
                    </a:lnTo>
                    <a:lnTo>
                      <a:pt x="13747" y="1152"/>
                    </a:lnTo>
                    <a:lnTo>
                      <a:pt x="13706" y="1089"/>
                    </a:lnTo>
                    <a:lnTo>
                      <a:pt x="13789" y="1005"/>
                    </a:lnTo>
                    <a:lnTo>
                      <a:pt x="13768" y="921"/>
                    </a:lnTo>
                    <a:lnTo>
                      <a:pt x="13601" y="942"/>
                    </a:lnTo>
                    <a:lnTo>
                      <a:pt x="13538" y="1047"/>
                    </a:lnTo>
                    <a:lnTo>
                      <a:pt x="13454" y="1026"/>
                    </a:lnTo>
                    <a:lnTo>
                      <a:pt x="13454" y="901"/>
                    </a:lnTo>
                    <a:lnTo>
                      <a:pt x="13308" y="942"/>
                    </a:lnTo>
                    <a:lnTo>
                      <a:pt x="13266" y="1005"/>
                    </a:lnTo>
                    <a:lnTo>
                      <a:pt x="13224" y="921"/>
                    </a:lnTo>
                    <a:lnTo>
                      <a:pt x="13287" y="838"/>
                    </a:lnTo>
                    <a:lnTo>
                      <a:pt x="13245" y="775"/>
                    </a:lnTo>
                    <a:lnTo>
                      <a:pt x="13308" y="775"/>
                    </a:lnTo>
                    <a:lnTo>
                      <a:pt x="13371" y="691"/>
                    </a:lnTo>
                    <a:lnTo>
                      <a:pt x="13287" y="608"/>
                    </a:lnTo>
                    <a:lnTo>
                      <a:pt x="13078" y="587"/>
                    </a:lnTo>
                    <a:lnTo>
                      <a:pt x="12910" y="503"/>
                    </a:lnTo>
                    <a:lnTo>
                      <a:pt x="12785" y="524"/>
                    </a:lnTo>
                    <a:lnTo>
                      <a:pt x="12659" y="629"/>
                    </a:lnTo>
                    <a:lnTo>
                      <a:pt x="12638" y="733"/>
                    </a:lnTo>
                    <a:lnTo>
                      <a:pt x="12597" y="775"/>
                    </a:lnTo>
                    <a:lnTo>
                      <a:pt x="12513" y="670"/>
                    </a:lnTo>
                    <a:lnTo>
                      <a:pt x="12638" y="524"/>
                    </a:lnTo>
                    <a:lnTo>
                      <a:pt x="12659" y="461"/>
                    </a:lnTo>
                    <a:lnTo>
                      <a:pt x="12513" y="461"/>
                    </a:lnTo>
                    <a:lnTo>
                      <a:pt x="12387" y="377"/>
                    </a:lnTo>
                    <a:lnTo>
                      <a:pt x="12262" y="377"/>
                    </a:lnTo>
                    <a:lnTo>
                      <a:pt x="12199" y="482"/>
                    </a:lnTo>
                    <a:lnTo>
                      <a:pt x="12011" y="608"/>
                    </a:lnTo>
                    <a:lnTo>
                      <a:pt x="11885" y="733"/>
                    </a:lnTo>
                    <a:lnTo>
                      <a:pt x="11801" y="775"/>
                    </a:lnTo>
                    <a:lnTo>
                      <a:pt x="11781" y="712"/>
                    </a:lnTo>
                    <a:lnTo>
                      <a:pt x="11822" y="587"/>
                    </a:lnTo>
                    <a:lnTo>
                      <a:pt x="11822" y="419"/>
                    </a:lnTo>
                    <a:lnTo>
                      <a:pt x="11781" y="377"/>
                    </a:lnTo>
                    <a:lnTo>
                      <a:pt x="11739" y="273"/>
                    </a:lnTo>
                    <a:lnTo>
                      <a:pt x="11592" y="189"/>
                    </a:lnTo>
                    <a:lnTo>
                      <a:pt x="11467" y="210"/>
                    </a:lnTo>
                    <a:lnTo>
                      <a:pt x="11341" y="189"/>
                    </a:lnTo>
                    <a:lnTo>
                      <a:pt x="11278" y="85"/>
                    </a:lnTo>
                    <a:lnTo>
                      <a:pt x="11153" y="64"/>
                    </a:lnTo>
                    <a:lnTo>
                      <a:pt x="10985" y="105"/>
                    </a:lnTo>
                    <a:lnTo>
                      <a:pt x="10881" y="85"/>
                    </a:lnTo>
                    <a:lnTo>
                      <a:pt x="10818" y="64"/>
                    </a:lnTo>
                    <a:lnTo>
                      <a:pt x="10734" y="1"/>
                    </a:lnTo>
                    <a:lnTo>
                      <a:pt x="10651" y="64"/>
                    </a:lnTo>
                    <a:lnTo>
                      <a:pt x="10630" y="210"/>
                    </a:lnTo>
                    <a:lnTo>
                      <a:pt x="10734" y="461"/>
                    </a:lnTo>
                    <a:lnTo>
                      <a:pt x="10651" y="670"/>
                    </a:lnTo>
                    <a:lnTo>
                      <a:pt x="10651" y="817"/>
                    </a:lnTo>
                    <a:lnTo>
                      <a:pt x="10609" y="880"/>
                    </a:lnTo>
                    <a:lnTo>
                      <a:pt x="10525" y="838"/>
                    </a:lnTo>
                    <a:lnTo>
                      <a:pt x="10400" y="880"/>
                    </a:lnTo>
                    <a:lnTo>
                      <a:pt x="10337" y="817"/>
                    </a:lnTo>
                    <a:lnTo>
                      <a:pt x="10421" y="733"/>
                    </a:lnTo>
                    <a:lnTo>
                      <a:pt x="10358" y="566"/>
                    </a:lnTo>
                    <a:lnTo>
                      <a:pt x="10421" y="461"/>
                    </a:lnTo>
                    <a:lnTo>
                      <a:pt x="10441" y="315"/>
                    </a:lnTo>
                    <a:lnTo>
                      <a:pt x="10400" y="273"/>
                    </a:lnTo>
                    <a:lnTo>
                      <a:pt x="10232" y="398"/>
                    </a:lnTo>
                    <a:lnTo>
                      <a:pt x="10232" y="461"/>
                    </a:lnTo>
                    <a:lnTo>
                      <a:pt x="10149" y="482"/>
                    </a:lnTo>
                    <a:lnTo>
                      <a:pt x="10107" y="419"/>
                    </a:lnTo>
                    <a:lnTo>
                      <a:pt x="10149" y="273"/>
                    </a:lnTo>
                    <a:lnTo>
                      <a:pt x="10107" y="210"/>
                    </a:lnTo>
                    <a:lnTo>
                      <a:pt x="10044" y="252"/>
                    </a:lnTo>
                    <a:lnTo>
                      <a:pt x="9981" y="398"/>
                    </a:lnTo>
                    <a:lnTo>
                      <a:pt x="9897" y="398"/>
                    </a:lnTo>
                    <a:lnTo>
                      <a:pt x="9877" y="357"/>
                    </a:lnTo>
                    <a:lnTo>
                      <a:pt x="9918" y="252"/>
                    </a:lnTo>
                    <a:lnTo>
                      <a:pt x="9918" y="105"/>
                    </a:lnTo>
                    <a:lnTo>
                      <a:pt x="9897" y="64"/>
                    </a:lnTo>
                    <a:lnTo>
                      <a:pt x="962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1" name="Google Shape;1971;p66"/>
              <p:cNvSpPr/>
              <p:nvPr/>
            </p:nvSpPr>
            <p:spPr>
              <a:xfrm>
                <a:off x="2905300" y="2401625"/>
                <a:ext cx="91575" cy="98875"/>
              </a:xfrm>
              <a:custGeom>
                <a:avLst/>
                <a:gdLst/>
                <a:ahLst/>
                <a:cxnLst/>
                <a:rect l="l" t="t" r="r" b="b"/>
                <a:pathLst>
                  <a:path w="3663" h="3955" extrusionOk="0">
                    <a:moveTo>
                      <a:pt x="2909" y="2155"/>
                    </a:moveTo>
                    <a:lnTo>
                      <a:pt x="2872" y="2165"/>
                    </a:lnTo>
                    <a:lnTo>
                      <a:pt x="2872" y="2165"/>
                    </a:lnTo>
                    <a:lnTo>
                      <a:pt x="2878" y="2166"/>
                    </a:lnTo>
                    <a:lnTo>
                      <a:pt x="2878" y="2166"/>
                    </a:lnTo>
                    <a:lnTo>
                      <a:pt x="2930" y="2155"/>
                    </a:lnTo>
                    <a:close/>
                    <a:moveTo>
                      <a:pt x="2323" y="0"/>
                    </a:moveTo>
                    <a:lnTo>
                      <a:pt x="2260" y="42"/>
                    </a:lnTo>
                    <a:lnTo>
                      <a:pt x="2219" y="84"/>
                    </a:lnTo>
                    <a:lnTo>
                      <a:pt x="2135" y="84"/>
                    </a:lnTo>
                    <a:lnTo>
                      <a:pt x="2072" y="147"/>
                    </a:lnTo>
                    <a:lnTo>
                      <a:pt x="2009" y="188"/>
                    </a:lnTo>
                    <a:lnTo>
                      <a:pt x="1905" y="188"/>
                    </a:lnTo>
                    <a:lnTo>
                      <a:pt x="1779" y="293"/>
                    </a:lnTo>
                    <a:lnTo>
                      <a:pt x="1675" y="377"/>
                    </a:lnTo>
                    <a:lnTo>
                      <a:pt x="1675" y="460"/>
                    </a:lnTo>
                    <a:lnTo>
                      <a:pt x="1612" y="460"/>
                    </a:lnTo>
                    <a:lnTo>
                      <a:pt x="1570" y="419"/>
                    </a:lnTo>
                    <a:lnTo>
                      <a:pt x="1570" y="460"/>
                    </a:lnTo>
                    <a:lnTo>
                      <a:pt x="1591" y="481"/>
                    </a:lnTo>
                    <a:lnTo>
                      <a:pt x="1591" y="523"/>
                    </a:lnTo>
                    <a:lnTo>
                      <a:pt x="1528" y="586"/>
                    </a:lnTo>
                    <a:lnTo>
                      <a:pt x="1423" y="670"/>
                    </a:lnTo>
                    <a:lnTo>
                      <a:pt x="1382" y="691"/>
                    </a:lnTo>
                    <a:lnTo>
                      <a:pt x="1402" y="711"/>
                    </a:lnTo>
                    <a:lnTo>
                      <a:pt x="1382" y="774"/>
                    </a:lnTo>
                    <a:lnTo>
                      <a:pt x="1319" y="774"/>
                    </a:lnTo>
                    <a:lnTo>
                      <a:pt x="1319" y="816"/>
                    </a:lnTo>
                    <a:lnTo>
                      <a:pt x="1382" y="837"/>
                    </a:lnTo>
                    <a:lnTo>
                      <a:pt x="1319" y="879"/>
                    </a:lnTo>
                    <a:lnTo>
                      <a:pt x="1256" y="879"/>
                    </a:lnTo>
                    <a:lnTo>
                      <a:pt x="1193" y="942"/>
                    </a:lnTo>
                    <a:lnTo>
                      <a:pt x="1193" y="1004"/>
                    </a:lnTo>
                    <a:lnTo>
                      <a:pt x="1214" y="1004"/>
                    </a:lnTo>
                    <a:lnTo>
                      <a:pt x="1256" y="1025"/>
                    </a:lnTo>
                    <a:lnTo>
                      <a:pt x="1193" y="1046"/>
                    </a:lnTo>
                    <a:lnTo>
                      <a:pt x="1151" y="1046"/>
                    </a:lnTo>
                    <a:lnTo>
                      <a:pt x="1089" y="1151"/>
                    </a:lnTo>
                    <a:lnTo>
                      <a:pt x="1068" y="1214"/>
                    </a:lnTo>
                    <a:lnTo>
                      <a:pt x="942" y="1402"/>
                    </a:lnTo>
                    <a:lnTo>
                      <a:pt x="942" y="1444"/>
                    </a:lnTo>
                    <a:lnTo>
                      <a:pt x="984" y="1507"/>
                    </a:lnTo>
                    <a:lnTo>
                      <a:pt x="984" y="1548"/>
                    </a:lnTo>
                    <a:lnTo>
                      <a:pt x="963" y="1548"/>
                    </a:lnTo>
                    <a:lnTo>
                      <a:pt x="942" y="1527"/>
                    </a:lnTo>
                    <a:lnTo>
                      <a:pt x="900" y="1527"/>
                    </a:lnTo>
                    <a:lnTo>
                      <a:pt x="796" y="1569"/>
                    </a:lnTo>
                    <a:lnTo>
                      <a:pt x="754" y="1653"/>
                    </a:lnTo>
                    <a:lnTo>
                      <a:pt x="754" y="1716"/>
                    </a:lnTo>
                    <a:lnTo>
                      <a:pt x="796" y="1716"/>
                    </a:lnTo>
                    <a:lnTo>
                      <a:pt x="858" y="1758"/>
                    </a:lnTo>
                    <a:lnTo>
                      <a:pt x="838" y="1779"/>
                    </a:lnTo>
                    <a:lnTo>
                      <a:pt x="838" y="1841"/>
                    </a:lnTo>
                    <a:lnTo>
                      <a:pt x="775" y="1883"/>
                    </a:lnTo>
                    <a:lnTo>
                      <a:pt x="649" y="1862"/>
                    </a:lnTo>
                    <a:lnTo>
                      <a:pt x="628" y="1883"/>
                    </a:lnTo>
                    <a:lnTo>
                      <a:pt x="628" y="1946"/>
                    </a:lnTo>
                    <a:lnTo>
                      <a:pt x="545" y="2030"/>
                    </a:lnTo>
                    <a:lnTo>
                      <a:pt x="482" y="2134"/>
                    </a:lnTo>
                    <a:lnTo>
                      <a:pt x="440" y="2197"/>
                    </a:lnTo>
                    <a:lnTo>
                      <a:pt x="419" y="2197"/>
                    </a:lnTo>
                    <a:lnTo>
                      <a:pt x="419" y="2134"/>
                    </a:lnTo>
                    <a:lnTo>
                      <a:pt x="377" y="2197"/>
                    </a:lnTo>
                    <a:lnTo>
                      <a:pt x="335" y="2134"/>
                    </a:lnTo>
                    <a:lnTo>
                      <a:pt x="356" y="2072"/>
                    </a:lnTo>
                    <a:lnTo>
                      <a:pt x="440" y="2030"/>
                    </a:lnTo>
                    <a:lnTo>
                      <a:pt x="461" y="1967"/>
                    </a:lnTo>
                    <a:lnTo>
                      <a:pt x="440" y="1988"/>
                    </a:lnTo>
                    <a:lnTo>
                      <a:pt x="356" y="2051"/>
                    </a:lnTo>
                    <a:lnTo>
                      <a:pt x="231" y="2134"/>
                    </a:lnTo>
                    <a:lnTo>
                      <a:pt x="168" y="2260"/>
                    </a:lnTo>
                    <a:lnTo>
                      <a:pt x="231" y="2260"/>
                    </a:lnTo>
                    <a:lnTo>
                      <a:pt x="314" y="2239"/>
                    </a:lnTo>
                    <a:lnTo>
                      <a:pt x="461" y="2197"/>
                    </a:lnTo>
                    <a:lnTo>
                      <a:pt x="586" y="2197"/>
                    </a:lnTo>
                    <a:lnTo>
                      <a:pt x="524" y="2281"/>
                    </a:lnTo>
                    <a:lnTo>
                      <a:pt x="419" y="2406"/>
                    </a:lnTo>
                    <a:lnTo>
                      <a:pt x="335" y="2511"/>
                    </a:lnTo>
                    <a:lnTo>
                      <a:pt x="210" y="2595"/>
                    </a:lnTo>
                    <a:lnTo>
                      <a:pt x="105" y="2699"/>
                    </a:lnTo>
                    <a:lnTo>
                      <a:pt x="22" y="2699"/>
                    </a:lnTo>
                    <a:lnTo>
                      <a:pt x="1" y="2762"/>
                    </a:lnTo>
                    <a:lnTo>
                      <a:pt x="22" y="2804"/>
                    </a:lnTo>
                    <a:lnTo>
                      <a:pt x="1" y="2888"/>
                    </a:lnTo>
                    <a:lnTo>
                      <a:pt x="22" y="2929"/>
                    </a:lnTo>
                    <a:lnTo>
                      <a:pt x="63" y="2929"/>
                    </a:lnTo>
                    <a:lnTo>
                      <a:pt x="168" y="2971"/>
                    </a:lnTo>
                    <a:lnTo>
                      <a:pt x="314" y="2929"/>
                    </a:lnTo>
                    <a:lnTo>
                      <a:pt x="377" y="2888"/>
                    </a:lnTo>
                    <a:lnTo>
                      <a:pt x="482" y="2888"/>
                    </a:lnTo>
                    <a:lnTo>
                      <a:pt x="566" y="2825"/>
                    </a:lnTo>
                    <a:lnTo>
                      <a:pt x="586" y="2783"/>
                    </a:lnTo>
                    <a:lnTo>
                      <a:pt x="586" y="2804"/>
                    </a:lnTo>
                    <a:lnTo>
                      <a:pt x="545" y="2888"/>
                    </a:lnTo>
                    <a:lnTo>
                      <a:pt x="670" y="2908"/>
                    </a:lnTo>
                    <a:lnTo>
                      <a:pt x="754" y="2888"/>
                    </a:lnTo>
                    <a:lnTo>
                      <a:pt x="796" y="2929"/>
                    </a:lnTo>
                    <a:lnTo>
                      <a:pt x="963" y="2929"/>
                    </a:lnTo>
                    <a:lnTo>
                      <a:pt x="1047" y="2908"/>
                    </a:lnTo>
                    <a:lnTo>
                      <a:pt x="1068" y="2971"/>
                    </a:lnTo>
                    <a:lnTo>
                      <a:pt x="1110" y="3013"/>
                    </a:lnTo>
                    <a:lnTo>
                      <a:pt x="1214" y="3013"/>
                    </a:lnTo>
                    <a:lnTo>
                      <a:pt x="1256" y="2992"/>
                    </a:lnTo>
                    <a:lnTo>
                      <a:pt x="1277" y="3013"/>
                    </a:lnTo>
                    <a:lnTo>
                      <a:pt x="1361" y="3013"/>
                    </a:lnTo>
                    <a:lnTo>
                      <a:pt x="1402" y="2992"/>
                    </a:lnTo>
                    <a:lnTo>
                      <a:pt x="1402" y="2950"/>
                    </a:lnTo>
                    <a:lnTo>
                      <a:pt x="1486" y="2950"/>
                    </a:lnTo>
                    <a:lnTo>
                      <a:pt x="1507" y="2992"/>
                    </a:lnTo>
                    <a:lnTo>
                      <a:pt x="1570" y="2992"/>
                    </a:lnTo>
                    <a:lnTo>
                      <a:pt x="1591" y="2929"/>
                    </a:lnTo>
                    <a:lnTo>
                      <a:pt x="1633" y="2929"/>
                    </a:lnTo>
                    <a:lnTo>
                      <a:pt x="1695" y="2971"/>
                    </a:lnTo>
                    <a:lnTo>
                      <a:pt x="1716" y="2908"/>
                    </a:lnTo>
                    <a:lnTo>
                      <a:pt x="1716" y="2867"/>
                    </a:lnTo>
                    <a:lnTo>
                      <a:pt x="1716" y="2783"/>
                    </a:lnTo>
                    <a:lnTo>
                      <a:pt x="1737" y="2804"/>
                    </a:lnTo>
                    <a:lnTo>
                      <a:pt x="1779" y="2762"/>
                    </a:lnTo>
                    <a:lnTo>
                      <a:pt x="1821" y="2762"/>
                    </a:lnTo>
                    <a:lnTo>
                      <a:pt x="1800" y="2783"/>
                    </a:lnTo>
                    <a:lnTo>
                      <a:pt x="1779" y="2888"/>
                    </a:lnTo>
                    <a:lnTo>
                      <a:pt x="1800" y="2908"/>
                    </a:lnTo>
                    <a:lnTo>
                      <a:pt x="1821" y="2867"/>
                    </a:lnTo>
                    <a:lnTo>
                      <a:pt x="1884" y="2783"/>
                    </a:lnTo>
                    <a:lnTo>
                      <a:pt x="1905" y="2783"/>
                    </a:lnTo>
                    <a:lnTo>
                      <a:pt x="1905" y="2867"/>
                    </a:lnTo>
                    <a:lnTo>
                      <a:pt x="1884" y="2908"/>
                    </a:lnTo>
                    <a:lnTo>
                      <a:pt x="1884" y="2971"/>
                    </a:lnTo>
                    <a:lnTo>
                      <a:pt x="1947" y="2929"/>
                    </a:lnTo>
                    <a:lnTo>
                      <a:pt x="1988" y="2929"/>
                    </a:lnTo>
                    <a:lnTo>
                      <a:pt x="1988" y="2971"/>
                    </a:lnTo>
                    <a:lnTo>
                      <a:pt x="1884" y="3034"/>
                    </a:lnTo>
                    <a:lnTo>
                      <a:pt x="1779" y="3097"/>
                    </a:lnTo>
                    <a:lnTo>
                      <a:pt x="1800" y="3118"/>
                    </a:lnTo>
                    <a:lnTo>
                      <a:pt x="1821" y="3097"/>
                    </a:lnTo>
                    <a:lnTo>
                      <a:pt x="1884" y="3097"/>
                    </a:lnTo>
                    <a:lnTo>
                      <a:pt x="1905" y="3118"/>
                    </a:lnTo>
                    <a:lnTo>
                      <a:pt x="1947" y="3118"/>
                    </a:lnTo>
                    <a:lnTo>
                      <a:pt x="1988" y="3139"/>
                    </a:lnTo>
                    <a:lnTo>
                      <a:pt x="2030" y="3118"/>
                    </a:lnTo>
                    <a:lnTo>
                      <a:pt x="2114" y="3097"/>
                    </a:lnTo>
                    <a:lnTo>
                      <a:pt x="2135" y="3013"/>
                    </a:lnTo>
                    <a:lnTo>
                      <a:pt x="2135" y="2971"/>
                    </a:lnTo>
                    <a:lnTo>
                      <a:pt x="2198" y="2992"/>
                    </a:lnTo>
                    <a:lnTo>
                      <a:pt x="2260" y="3013"/>
                    </a:lnTo>
                    <a:lnTo>
                      <a:pt x="2323" y="3076"/>
                    </a:lnTo>
                    <a:lnTo>
                      <a:pt x="2365" y="3034"/>
                    </a:lnTo>
                    <a:lnTo>
                      <a:pt x="2428" y="3013"/>
                    </a:lnTo>
                    <a:lnTo>
                      <a:pt x="2511" y="3013"/>
                    </a:lnTo>
                    <a:lnTo>
                      <a:pt x="2449" y="3076"/>
                    </a:lnTo>
                    <a:lnTo>
                      <a:pt x="2449" y="3097"/>
                    </a:lnTo>
                    <a:lnTo>
                      <a:pt x="2344" y="3139"/>
                    </a:lnTo>
                    <a:lnTo>
                      <a:pt x="2239" y="3139"/>
                    </a:lnTo>
                    <a:lnTo>
                      <a:pt x="2198" y="3201"/>
                    </a:lnTo>
                    <a:lnTo>
                      <a:pt x="2198" y="3243"/>
                    </a:lnTo>
                    <a:lnTo>
                      <a:pt x="2156" y="3285"/>
                    </a:lnTo>
                    <a:lnTo>
                      <a:pt x="2135" y="3327"/>
                    </a:lnTo>
                    <a:lnTo>
                      <a:pt x="2051" y="3327"/>
                    </a:lnTo>
                    <a:lnTo>
                      <a:pt x="2009" y="3348"/>
                    </a:lnTo>
                    <a:lnTo>
                      <a:pt x="1988" y="3411"/>
                    </a:lnTo>
                    <a:lnTo>
                      <a:pt x="1926" y="3432"/>
                    </a:lnTo>
                    <a:lnTo>
                      <a:pt x="1821" y="3452"/>
                    </a:lnTo>
                    <a:lnTo>
                      <a:pt x="1737" y="3515"/>
                    </a:lnTo>
                    <a:lnTo>
                      <a:pt x="1716" y="3557"/>
                    </a:lnTo>
                    <a:lnTo>
                      <a:pt x="1737" y="3599"/>
                    </a:lnTo>
                    <a:lnTo>
                      <a:pt x="1779" y="3620"/>
                    </a:lnTo>
                    <a:lnTo>
                      <a:pt x="1842" y="3620"/>
                    </a:lnTo>
                    <a:lnTo>
                      <a:pt x="1884" y="3557"/>
                    </a:lnTo>
                    <a:lnTo>
                      <a:pt x="1905" y="3536"/>
                    </a:lnTo>
                    <a:lnTo>
                      <a:pt x="1947" y="3536"/>
                    </a:lnTo>
                    <a:lnTo>
                      <a:pt x="1947" y="3599"/>
                    </a:lnTo>
                    <a:lnTo>
                      <a:pt x="1988" y="3620"/>
                    </a:lnTo>
                    <a:lnTo>
                      <a:pt x="2051" y="3599"/>
                    </a:lnTo>
                    <a:lnTo>
                      <a:pt x="2114" y="3536"/>
                    </a:lnTo>
                    <a:lnTo>
                      <a:pt x="2135" y="3494"/>
                    </a:lnTo>
                    <a:lnTo>
                      <a:pt x="2156" y="3494"/>
                    </a:lnTo>
                    <a:lnTo>
                      <a:pt x="2198" y="3432"/>
                    </a:lnTo>
                    <a:lnTo>
                      <a:pt x="2219" y="3348"/>
                    </a:lnTo>
                    <a:lnTo>
                      <a:pt x="2260" y="3327"/>
                    </a:lnTo>
                    <a:lnTo>
                      <a:pt x="2365" y="3222"/>
                    </a:lnTo>
                    <a:lnTo>
                      <a:pt x="2428" y="3201"/>
                    </a:lnTo>
                    <a:lnTo>
                      <a:pt x="2470" y="3222"/>
                    </a:lnTo>
                    <a:lnTo>
                      <a:pt x="2553" y="3222"/>
                    </a:lnTo>
                    <a:lnTo>
                      <a:pt x="2511" y="3285"/>
                    </a:lnTo>
                    <a:lnTo>
                      <a:pt x="2553" y="3285"/>
                    </a:lnTo>
                    <a:lnTo>
                      <a:pt x="2616" y="3243"/>
                    </a:lnTo>
                    <a:lnTo>
                      <a:pt x="2658" y="3118"/>
                    </a:lnTo>
                    <a:lnTo>
                      <a:pt x="2721" y="3013"/>
                    </a:lnTo>
                    <a:lnTo>
                      <a:pt x="2721" y="2908"/>
                    </a:lnTo>
                    <a:lnTo>
                      <a:pt x="2742" y="2888"/>
                    </a:lnTo>
                    <a:lnTo>
                      <a:pt x="2763" y="2888"/>
                    </a:lnTo>
                    <a:lnTo>
                      <a:pt x="2825" y="2929"/>
                    </a:lnTo>
                    <a:lnTo>
                      <a:pt x="2846" y="2929"/>
                    </a:lnTo>
                    <a:lnTo>
                      <a:pt x="2888" y="2971"/>
                    </a:lnTo>
                    <a:lnTo>
                      <a:pt x="2888" y="3076"/>
                    </a:lnTo>
                    <a:lnTo>
                      <a:pt x="2867" y="3139"/>
                    </a:lnTo>
                    <a:lnTo>
                      <a:pt x="2846" y="3222"/>
                    </a:lnTo>
                    <a:lnTo>
                      <a:pt x="2867" y="3285"/>
                    </a:lnTo>
                    <a:lnTo>
                      <a:pt x="2846" y="3327"/>
                    </a:lnTo>
                    <a:lnTo>
                      <a:pt x="2763" y="3411"/>
                    </a:lnTo>
                    <a:lnTo>
                      <a:pt x="2721" y="3557"/>
                    </a:lnTo>
                    <a:lnTo>
                      <a:pt x="2721" y="3641"/>
                    </a:lnTo>
                    <a:lnTo>
                      <a:pt x="2679" y="3662"/>
                    </a:lnTo>
                    <a:lnTo>
                      <a:pt x="2679" y="3745"/>
                    </a:lnTo>
                    <a:lnTo>
                      <a:pt x="2742" y="3766"/>
                    </a:lnTo>
                    <a:lnTo>
                      <a:pt x="2825" y="3724"/>
                    </a:lnTo>
                    <a:lnTo>
                      <a:pt x="2888" y="3557"/>
                    </a:lnTo>
                    <a:lnTo>
                      <a:pt x="2951" y="3557"/>
                    </a:lnTo>
                    <a:lnTo>
                      <a:pt x="3035" y="3452"/>
                    </a:lnTo>
                    <a:lnTo>
                      <a:pt x="3076" y="3411"/>
                    </a:lnTo>
                    <a:lnTo>
                      <a:pt x="3097" y="3432"/>
                    </a:lnTo>
                    <a:lnTo>
                      <a:pt x="3202" y="3432"/>
                    </a:lnTo>
                    <a:lnTo>
                      <a:pt x="3202" y="3494"/>
                    </a:lnTo>
                    <a:lnTo>
                      <a:pt x="3139" y="3515"/>
                    </a:lnTo>
                    <a:lnTo>
                      <a:pt x="3035" y="3620"/>
                    </a:lnTo>
                    <a:lnTo>
                      <a:pt x="3035" y="3704"/>
                    </a:lnTo>
                    <a:lnTo>
                      <a:pt x="2993" y="3766"/>
                    </a:lnTo>
                    <a:lnTo>
                      <a:pt x="3035" y="3808"/>
                    </a:lnTo>
                    <a:lnTo>
                      <a:pt x="3035" y="3913"/>
                    </a:lnTo>
                    <a:lnTo>
                      <a:pt x="3076" y="3955"/>
                    </a:lnTo>
                    <a:lnTo>
                      <a:pt x="3097" y="3871"/>
                    </a:lnTo>
                    <a:lnTo>
                      <a:pt x="3160" y="3829"/>
                    </a:lnTo>
                    <a:lnTo>
                      <a:pt x="3202" y="3829"/>
                    </a:lnTo>
                    <a:lnTo>
                      <a:pt x="3265" y="3913"/>
                    </a:lnTo>
                    <a:lnTo>
                      <a:pt x="3307" y="3934"/>
                    </a:lnTo>
                    <a:lnTo>
                      <a:pt x="3390" y="3871"/>
                    </a:lnTo>
                    <a:lnTo>
                      <a:pt x="3390" y="3829"/>
                    </a:lnTo>
                    <a:lnTo>
                      <a:pt x="3411" y="3829"/>
                    </a:lnTo>
                    <a:lnTo>
                      <a:pt x="3453" y="3766"/>
                    </a:lnTo>
                    <a:lnTo>
                      <a:pt x="3453" y="3704"/>
                    </a:lnTo>
                    <a:lnTo>
                      <a:pt x="3474" y="3704"/>
                    </a:lnTo>
                    <a:lnTo>
                      <a:pt x="3495" y="3641"/>
                    </a:lnTo>
                    <a:lnTo>
                      <a:pt x="3474" y="3599"/>
                    </a:lnTo>
                    <a:lnTo>
                      <a:pt x="3495" y="3494"/>
                    </a:lnTo>
                    <a:lnTo>
                      <a:pt x="3599" y="3348"/>
                    </a:lnTo>
                    <a:lnTo>
                      <a:pt x="3662" y="3243"/>
                    </a:lnTo>
                    <a:lnTo>
                      <a:pt x="3662" y="3097"/>
                    </a:lnTo>
                    <a:lnTo>
                      <a:pt x="3662" y="3034"/>
                    </a:lnTo>
                    <a:lnTo>
                      <a:pt x="3620" y="3034"/>
                    </a:lnTo>
                    <a:lnTo>
                      <a:pt x="3620" y="3097"/>
                    </a:lnTo>
                    <a:lnTo>
                      <a:pt x="3579" y="3180"/>
                    </a:lnTo>
                    <a:lnTo>
                      <a:pt x="3495" y="3222"/>
                    </a:lnTo>
                    <a:lnTo>
                      <a:pt x="3411" y="3306"/>
                    </a:lnTo>
                    <a:lnTo>
                      <a:pt x="3369" y="3327"/>
                    </a:lnTo>
                    <a:lnTo>
                      <a:pt x="3348" y="3243"/>
                    </a:lnTo>
                    <a:lnTo>
                      <a:pt x="3369" y="3180"/>
                    </a:lnTo>
                    <a:lnTo>
                      <a:pt x="3369" y="3097"/>
                    </a:lnTo>
                    <a:lnTo>
                      <a:pt x="3474" y="3013"/>
                    </a:lnTo>
                    <a:lnTo>
                      <a:pt x="3495" y="2971"/>
                    </a:lnTo>
                    <a:lnTo>
                      <a:pt x="3579" y="2888"/>
                    </a:lnTo>
                    <a:lnTo>
                      <a:pt x="3599" y="2888"/>
                    </a:lnTo>
                    <a:lnTo>
                      <a:pt x="3662" y="2867"/>
                    </a:lnTo>
                    <a:lnTo>
                      <a:pt x="3620" y="2804"/>
                    </a:lnTo>
                    <a:lnTo>
                      <a:pt x="3579" y="2867"/>
                    </a:lnTo>
                    <a:lnTo>
                      <a:pt x="3516" y="2867"/>
                    </a:lnTo>
                    <a:lnTo>
                      <a:pt x="3453" y="2888"/>
                    </a:lnTo>
                    <a:lnTo>
                      <a:pt x="3390" y="2888"/>
                    </a:lnTo>
                    <a:lnTo>
                      <a:pt x="3307" y="2929"/>
                    </a:lnTo>
                    <a:lnTo>
                      <a:pt x="3286" y="2992"/>
                    </a:lnTo>
                    <a:lnTo>
                      <a:pt x="3181" y="3076"/>
                    </a:lnTo>
                    <a:lnTo>
                      <a:pt x="3181" y="3118"/>
                    </a:lnTo>
                    <a:lnTo>
                      <a:pt x="3139" y="3180"/>
                    </a:lnTo>
                    <a:lnTo>
                      <a:pt x="3055" y="3097"/>
                    </a:lnTo>
                    <a:lnTo>
                      <a:pt x="3055" y="3034"/>
                    </a:lnTo>
                    <a:lnTo>
                      <a:pt x="3035" y="2971"/>
                    </a:lnTo>
                    <a:lnTo>
                      <a:pt x="3035" y="2888"/>
                    </a:lnTo>
                    <a:lnTo>
                      <a:pt x="3076" y="2929"/>
                    </a:lnTo>
                    <a:lnTo>
                      <a:pt x="3097" y="2929"/>
                    </a:lnTo>
                    <a:lnTo>
                      <a:pt x="3181" y="2825"/>
                    </a:lnTo>
                    <a:lnTo>
                      <a:pt x="3139" y="2825"/>
                    </a:lnTo>
                    <a:lnTo>
                      <a:pt x="3055" y="2804"/>
                    </a:lnTo>
                    <a:lnTo>
                      <a:pt x="3181" y="2804"/>
                    </a:lnTo>
                    <a:lnTo>
                      <a:pt x="3076" y="2783"/>
                    </a:lnTo>
                    <a:lnTo>
                      <a:pt x="3035" y="2720"/>
                    </a:lnTo>
                    <a:lnTo>
                      <a:pt x="3035" y="2678"/>
                    </a:lnTo>
                    <a:lnTo>
                      <a:pt x="3055" y="2657"/>
                    </a:lnTo>
                    <a:lnTo>
                      <a:pt x="3160" y="2657"/>
                    </a:lnTo>
                    <a:lnTo>
                      <a:pt x="3181" y="2616"/>
                    </a:lnTo>
                    <a:lnTo>
                      <a:pt x="3265" y="2553"/>
                    </a:lnTo>
                    <a:lnTo>
                      <a:pt x="3286" y="2448"/>
                    </a:lnTo>
                    <a:lnTo>
                      <a:pt x="3369" y="2448"/>
                    </a:lnTo>
                    <a:lnTo>
                      <a:pt x="3390" y="2469"/>
                    </a:lnTo>
                    <a:lnTo>
                      <a:pt x="3495" y="2406"/>
                    </a:lnTo>
                    <a:lnTo>
                      <a:pt x="3516" y="2344"/>
                    </a:lnTo>
                    <a:lnTo>
                      <a:pt x="3516" y="2260"/>
                    </a:lnTo>
                    <a:lnTo>
                      <a:pt x="3495" y="2197"/>
                    </a:lnTo>
                    <a:lnTo>
                      <a:pt x="3411" y="2281"/>
                    </a:lnTo>
                    <a:lnTo>
                      <a:pt x="3369" y="2302"/>
                    </a:lnTo>
                    <a:lnTo>
                      <a:pt x="3348" y="2281"/>
                    </a:lnTo>
                    <a:lnTo>
                      <a:pt x="3286" y="2281"/>
                    </a:lnTo>
                    <a:lnTo>
                      <a:pt x="3286" y="2344"/>
                    </a:lnTo>
                    <a:lnTo>
                      <a:pt x="3286" y="2406"/>
                    </a:lnTo>
                    <a:lnTo>
                      <a:pt x="3244" y="2448"/>
                    </a:lnTo>
                    <a:lnTo>
                      <a:pt x="3181" y="2448"/>
                    </a:lnTo>
                    <a:lnTo>
                      <a:pt x="3097" y="2490"/>
                    </a:lnTo>
                    <a:lnTo>
                      <a:pt x="3055" y="2511"/>
                    </a:lnTo>
                    <a:lnTo>
                      <a:pt x="3055" y="2574"/>
                    </a:lnTo>
                    <a:lnTo>
                      <a:pt x="2993" y="2595"/>
                    </a:lnTo>
                    <a:lnTo>
                      <a:pt x="3035" y="2553"/>
                    </a:lnTo>
                    <a:lnTo>
                      <a:pt x="3035" y="2469"/>
                    </a:lnTo>
                    <a:lnTo>
                      <a:pt x="2993" y="2490"/>
                    </a:lnTo>
                    <a:lnTo>
                      <a:pt x="2951" y="2490"/>
                    </a:lnTo>
                    <a:lnTo>
                      <a:pt x="2993" y="2469"/>
                    </a:lnTo>
                    <a:lnTo>
                      <a:pt x="3055" y="2406"/>
                    </a:lnTo>
                    <a:lnTo>
                      <a:pt x="3076" y="2385"/>
                    </a:lnTo>
                    <a:lnTo>
                      <a:pt x="3035" y="2364"/>
                    </a:lnTo>
                    <a:lnTo>
                      <a:pt x="3076" y="2302"/>
                    </a:lnTo>
                    <a:lnTo>
                      <a:pt x="3097" y="2239"/>
                    </a:lnTo>
                    <a:lnTo>
                      <a:pt x="3055" y="2197"/>
                    </a:lnTo>
                    <a:lnTo>
                      <a:pt x="2993" y="2260"/>
                    </a:lnTo>
                    <a:lnTo>
                      <a:pt x="3035" y="2197"/>
                    </a:lnTo>
                    <a:lnTo>
                      <a:pt x="3035" y="2155"/>
                    </a:lnTo>
                    <a:lnTo>
                      <a:pt x="2993" y="2155"/>
                    </a:lnTo>
                    <a:lnTo>
                      <a:pt x="2930" y="2176"/>
                    </a:lnTo>
                    <a:lnTo>
                      <a:pt x="2878" y="2166"/>
                    </a:lnTo>
                    <a:lnTo>
                      <a:pt x="2878" y="2166"/>
                    </a:lnTo>
                    <a:lnTo>
                      <a:pt x="2825" y="2176"/>
                    </a:lnTo>
                    <a:lnTo>
                      <a:pt x="2872" y="2165"/>
                    </a:lnTo>
                    <a:lnTo>
                      <a:pt x="2872" y="2165"/>
                    </a:lnTo>
                    <a:lnTo>
                      <a:pt x="2825" y="2155"/>
                    </a:lnTo>
                    <a:lnTo>
                      <a:pt x="2909" y="2155"/>
                    </a:lnTo>
                    <a:lnTo>
                      <a:pt x="2993" y="2113"/>
                    </a:lnTo>
                    <a:lnTo>
                      <a:pt x="3035" y="2072"/>
                    </a:lnTo>
                    <a:lnTo>
                      <a:pt x="3076" y="2072"/>
                    </a:lnTo>
                    <a:lnTo>
                      <a:pt x="3139" y="2051"/>
                    </a:lnTo>
                    <a:lnTo>
                      <a:pt x="3139" y="1967"/>
                    </a:lnTo>
                    <a:lnTo>
                      <a:pt x="3181" y="1904"/>
                    </a:lnTo>
                    <a:lnTo>
                      <a:pt x="3181" y="1862"/>
                    </a:lnTo>
                    <a:lnTo>
                      <a:pt x="3097" y="1800"/>
                    </a:lnTo>
                    <a:lnTo>
                      <a:pt x="2993" y="1716"/>
                    </a:lnTo>
                    <a:lnTo>
                      <a:pt x="2888" y="1716"/>
                    </a:lnTo>
                    <a:lnTo>
                      <a:pt x="2783" y="1737"/>
                    </a:lnTo>
                    <a:lnTo>
                      <a:pt x="2742" y="1737"/>
                    </a:lnTo>
                    <a:lnTo>
                      <a:pt x="2742" y="1779"/>
                    </a:lnTo>
                    <a:lnTo>
                      <a:pt x="2679" y="1862"/>
                    </a:lnTo>
                    <a:lnTo>
                      <a:pt x="2658" y="1946"/>
                    </a:lnTo>
                    <a:lnTo>
                      <a:pt x="2679" y="1841"/>
                    </a:lnTo>
                    <a:lnTo>
                      <a:pt x="2658" y="1820"/>
                    </a:lnTo>
                    <a:lnTo>
                      <a:pt x="2679" y="1758"/>
                    </a:lnTo>
                    <a:lnTo>
                      <a:pt x="2742" y="1674"/>
                    </a:lnTo>
                    <a:lnTo>
                      <a:pt x="2721" y="1674"/>
                    </a:lnTo>
                    <a:lnTo>
                      <a:pt x="2637" y="1737"/>
                    </a:lnTo>
                    <a:lnTo>
                      <a:pt x="2574" y="1779"/>
                    </a:lnTo>
                    <a:lnTo>
                      <a:pt x="2553" y="1862"/>
                    </a:lnTo>
                    <a:lnTo>
                      <a:pt x="2532" y="1841"/>
                    </a:lnTo>
                    <a:lnTo>
                      <a:pt x="2491" y="1862"/>
                    </a:lnTo>
                    <a:lnTo>
                      <a:pt x="2449" y="1883"/>
                    </a:lnTo>
                    <a:lnTo>
                      <a:pt x="2428" y="1862"/>
                    </a:lnTo>
                    <a:lnTo>
                      <a:pt x="2344" y="1925"/>
                    </a:lnTo>
                    <a:lnTo>
                      <a:pt x="2323" y="2030"/>
                    </a:lnTo>
                    <a:lnTo>
                      <a:pt x="2239" y="2072"/>
                    </a:lnTo>
                    <a:lnTo>
                      <a:pt x="2239" y="2072"/>
                    </a:lnTo>
                    <a:lnTo>
                      <a:pt x="2281" y="2030"/>
                    </a:lnTo>
                    <a:lnTo>
                      <a:pt x="2323" y="1883"/>
                    </a:lnTo>
                    <a:lnTo>
                      <a:pt x="2365" y="1779"/>
                    </a:lnTo>
                    <a:lnTo>
                      <a:pt x="2344" y="1758"/>
                    </a:lnTo>
                    <a:lnTo>
                      <a:pt x="2281" y="1779"/>
                    </a:lnTo>
                    <a:lnTo>
                      <a:pt x="2260" y="1841"/>
                    </a:lnTo>
                    <a:lnTo>
                      <a:pt x="2219" y="1883"/>
                    </a:lnTo>
                    <a:lnTo>
                      <a:pt x="2177" y="1841"/>
                    </a:lnTo>
                    <a:lnTo>
                      <a:pt x="2239" y="1779"/>
                    </a:lnTo>
                    <a:lnTo>
                      <a:pt x="2260" y="1737"/>
                    </a:lnTo>
                    <a:lnTo>
                      <a:pt x="2260" y="1716"/>
                    </a:lnTo>
                    <a:lnTo>
                      <a:pt x="2177" y="1737"/>
                    </a:lnTo>
                    <a:lnTo>
                      <a:pt x="2072" y="1820"/>
                    </a:lnTo>
                    <a:lnTo>
                      <a:pt x="2030" y="1820"/>
                    </a:lnTo>
                    <a:lnTo>
                      <a:pt x="2009" y="1737"/>
                    </a:lnTo>
                    <a:lnTo>
                      <a:pt x="1967" y="1737"/>
                    </a:lnTo>
                    <a:lnTo>
                      <a:pt x="1905" y="1820"/>
                    </a:lnTo>
                    <a:lnTo>
                      <a:pt x="1842" y="1820"/>
                    </a:lnTo>
                    <a:lnTo>
                      <a:pt x="1842" y="1779"/>
                    </a:lnTo>
                    <a:lnTo>
                      <a:pt x="1947" y="1737"/>
                    </a:lnTo>
                    <a:lnTo>
                      <a:pt x="2009" y="1632"/>
                    </a:lnTo>
                    <a:lnTo>
                      <a:pt x="2030" y="1548"/>
                    </a:lnTo>
                    <a:lnTo>
                      <a:pt x="1947" y="1548"/>
                    </a:lnTo>
                    <a:lnTo>
                      <a:pt x="1863" y="1611"/>
                    </a:lnTo>
                    <a:lnTo>
                      <a:pt x="1863" y="1611"/>
                    </a:lnTo>
                    <a:lnTo>
                      <a:pt x="1926" y="1527"/>
                    </a:lnTo>
                    <a:lnTo>
                      <a:pt x="2009" y="1444"/>
                    </a:lnTo>
                    <a:lnTo>
                      <a:pt x="2114" y="1444"/>
                    </a:lnTo>
                    <a:lnTo>
                      <a:pt x="2156" y="1423"/>
                    </a:lnTo>
                    <a:lnTo>
                      <a:pt x="2239" y="1381"/>
                    </a:lnTo>
                    <a:lnTo>
                      <a:pt x="2281" y="1339"/>
                    </a:lnTo>
                    <a:lnTo>
                      <a:pt x="2281" y="1276"/>
                    </a:lnTo>
                    <a:lnTo>
                      <a:pt x="2260" y="1318"/>
                    </a:lnTo>
                    <a:lnTo>
                      <a:pt x="2156" y="1339"/>
                    </a:lnTo>
                    <a:lnTo>
                      <a:pt x="2114" y="1318"/>
                    </a:lnTo>
                    <a:lnTo>
                      <a:pt x="2030" y="1235"/>
                    </a:lnTo>
                    <a:lnTo>
                      <a:pt x="1967" y="1235"/>
                    </a:lnTo>
                    <a:lnTo>
                      <a:pt x="1926" y="1255"/>
                    </a:lnTo>
                    <a:lnTo>
                      <a:pt x="1967" y="1151"/>
                    </a:lnTo>
                    <a:lnTo>
                      <a:pt x="2009" y="1130"/>
                    </a:lnTo>
                    <a:lnTo>
                      <a:pt x="2009" y="1109"/>
                    </a:lnTo>
                    <a:lnTo>
                      <a:pt x="1947" y="1130"/>
                    </a:lnTo>
                    <a:lnTo>
                      <a:pt x="1863" y="1193"/>
                    </a:lnTo>
                    <a:lnTo>
                      <a:pt x="1821" y="1255"/>
                    </a:lnTo>
                    <a:lnTo>
                      <a:pt x="1737" y="1339"/>
                    </a:lnTo>
                    <a:lnTo>
                      <a:pt x="1695" y="1360"/>
                    </a:lnTo>
                    <a:lnTo>
                      <a:pt x="1654" y="1423"/>
                    </a:lnTo>
                    <a:lnTo>
                      <a:pt x="1591" y="1465"/>
                    </a:lnTo>
                    <a:lnTo>
                      <a:pt x="1528" y="1548"/>
                    </a:lnTo>
                    <a:lnTo>
                      <a:pt x="1528" y="1444"/>
                    </a:lnTo>
                    <a:lnTo>
                      <a:pt x="1549" y="1360"/>
                    </a:lnTo>
                    <a:lnTo>
                      <a:pt x="1612" y="1297"/>
                    </a:lnTo>
                    <a:lnTo>
                      <a:pt x="1612" y="1235"/>
                    </a:lnTo>
                    <a:lnTo>
                      <a:pt x="1654" y="1130"/>
                    </a:lnTo>
                    <a:lnTo>
                      <a:pt x="1737" y="1046"/>
                    </a:lnTo>
                    <a:lnTo>
                      <a:pt x="1737" y="1004"/>
                    </a:lnTo>
                    <a:lnTo>
                      <a:pt x="1800" y="942"/>
                    </a:lnTo>
                    <a:lnTo>
                      <a:pt x="1821" y="921"/>
                    </a:lnTo>
                    <a:lnTo>
                      <a:pt x="1863" y="816"/>
                    </a:lnTo>
                    <a:lnTo>
                      <a:pt x="1947" y="774"/>
                    </a:lnTo>
                    <a:lnTo>
                      <a:pt x="2009" y="711"/>
                    </a:lnTo>
                    <a:lnTo>
                      <a:pt x="2051" y="691"/>
                    </a:lnTo>
                    <a:lnTo>
                      <a:pt x="2072" y="670"/>
                    </a:lnTo>
                    <a:lnTo>
                      <a:pt x="2072" y="607"/>
                    </a:lnTo>
                    <a:lnTo>
                      <a:pt x="2114" y="565"/>
                    </a:lnTo>
                    <a:lnTo>
                      <a:pt x="2135" y="481"/>
                    </a:lnTo>
                    <a:lnTo>
                      <a:pt x="2135" y="523"/>
                    </a:lnTo>
                    <a:lnTo>
                      <a:pt x="2114" y="586"/>
                    </a:lnTo>
                    <a:lnTo>
                      <a:pt x="2135" y="628"/>
                    </a:lnTo>
                    <a:lnTo>
                      <a:pt x="2219" y="523"/>
                    </a:lnTo>
                    <a:lnTo>
                      <a:pt x="2323" y="419"/>
                    </a:lnTo>
                    <a:lnTo>
                      <a:pt x="2344" y="377"/>
                    </a:lnTo>
                    <a:lnTo>
                      <a:pt x="2323" y="314"/>
                    </a:lnTo>
                    <a:lnTo>
                      <a:pt x="2260" y="314"/>
                    </a:lnTo>
                    <a:lnTo>
                      <a:pt x="2219" y="377"/>
                    </a:lnTo>
                    <a:lnTo>
                      <a:pt x="2177" y="293"/>
                    </a:lnTo>
                    <a:lnTo>
                      <a:pt x="2156" y="272"/>
                    </a:lnTo>
                    <a:lnTo>
                      <a:pt x="2177" y="209"/>
                    </a:lnTo>
                    <a:lnTo>
                      <a:pt x="2239" y="188"/>
                    </a:lnTo>
                    <a:lnTo>
                      <a:pt x="2323" y="209"/>
                    </a:lnTo>
                    <a:lnTo>
                      <a:pt x="2386" y="272"/>
                    </a:lnTo>
                    <a:lnTo>
                      <a:pt x="2449" y="251"/>
                    </a:lnTo>
                    <a:lnTo>
                      <a:pt x="2491" y="188"/>
                    </a:lnTo>
                    <a:lnTo>
                      <a:pt x="2491" y="42"/>
                    </a:lnTo>
                    <a:lnTo>
                      <a:pt x="2428" y="42"/>
                    </a:lnTo>
                    <a:lnTo>
                      <a:pt x="2365" y="63"/>
                    </a:lnTo>
                    <a:lnTo>
                      <a:pt x="2365" y="105"/>
                    </a:lnTo>
                    <a:lnTo>
                      <a:pt x="2323" y="105"/>
                    </a:lnTo>
                    <a:lnTo>
                      <a:pt x="2323" y="63"/>
                    </a:lnTo>
                    <a:lnTo>
                      <a:pt x="232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2" name="Google Shape;1972;p66"/>
              <p:cNvSpPr/>
              <p:nvPr/>
            </p:nvSpPr>
            <p:spPr>
              <a:xfrm>
                <a:off x="1922950" y="1659350"/>
                <a:ext cx="1050900" cy="913875"/>
              </a:xfrm>
              <a:custGeom>
                <a:avLst/>
                <a:gdLst/>
                <a:ahLst/>
                <a:cxnLst/>
                <a:rect l="l" t="t" r="r" b="b"/>
                <a:pathLst>
                  <a:path w="42036" h="36555" extrusionOk="0">
                    <a:moveTo>
                      <a:pt x="4310" y="26929"/>
                    </a:moveTo>
                    <a:lnTo>
                      <a:pt x="4310" y="27055"/>
                    </a:lnTo>
                    <a:lnTo>
                      <a:pt x="4268" y="27159"/>
                    </a:lnTo>
                    <a:lnTo>
                      <a:pt x="4101" y="27264"/>
                    </a:lnTo>
                    <a:lnTo>
                      <a:pt x="4076" y="27268"/>
                    </a:lnTo>
                    <a:lnTo>
                      <a:pt x="4076" y="27268"/>
                    </a:lnTo>
                    <a:lnTo>
                      <a:pt x="4101" y="27243"/>
                    </a:lnTo>
                    <a:lnTo>
                      <a:pt x="4185" y="27117"/>
                    </a:lnTo>
                    <a:lnTo>
                      <a:pt x="4289" y="27034"/>
                    </a:lnTo>
                    <a:lnTo>
                      <a:pt x="4310" y="26929"/>
                    </a:lnTo>
                    <a:close/>
                    <a:moveTo>
                      <a:pt x="40508" y="27473"/>
                    </a:moveTo>
                    <a:lnTo>
                      <a:pt x="40299" y="27557"/>
                    </a:lnTo>
                    <a:lnTo>
                      <a:pt x="40090" y="27599"/>
                    </a:lnTo>
                    <a:lnTo>
                      <a:pt x="40132" y="27536"/>
                    </a:lnTo>
                    <a:lnTo>
                      <a:pt x="40404" y="27473"/>
                    </a:lnTo>
                    <a:close/>
                    <a:moveTo>
                      <a:pt x="19459" y="0"/>
                    </a:moveTo>
                    <a:lnTo>
                      <a:pt x="19187" y="105"/>
                    </a:lnTo>
                    <a:lnTo>
                      <a:pt x="18810" y="105"/>
                    </a:lnTo>
                    <a:lnTo>
                      <a:pt x="18727" y="63"/>
                    </a:lnTo>
                    <a:lnTo>
                      <a:pt x="18392" y="84"/>
                    </a:lnTo>
                    <a:lnTo>
                      <a:pt x="18308" y="63"/>
                    </a:lnTo>
                    <a:lnTo>
                      <a:pt x="18120" y="105"/>
                    </a:lnTo>
                    <a:lnTo>
                      <a:pt x="18078" y="210"/>
                    </a:lnTo>
                    <a:lnTo>
                      <a:pt x="18120" y="272"/>
                    </a:lnTo>
                    <a:lnTo>
                      <a:pt x="18078" y="377"/>
                    </a:lnTo>
                    <a:lnTo>
                      <a:pt x="18078" y="524"/>
                    </a:lnTo>
                    <a:lnTo>
                      <a:pt x="18036" y="775"/>
                    </a:lnTo>
                    <a:lnTo>
                      <a:pt x="18120" y="879"/>
                    </a:lnTo>
                    <a:lnTo>
                      <a:pt x="18036" y="942"/>
                    </a:lnTo>
                    <a:lnTo>
                      <a:pt x="17911" y="942"/>
                    </a:lnTo>
                    <a:lnTo>
                      <a:pt x="17764" y="1109"/>
                    </a:lnTo>
                    <a:lnTo>
                      <a:pt x="17701" y="1214"/>
                    </a:lnTo>
                    <a:lnTo>
                      <a:pt x="17471" y="1298"/>
                    </a:lnTo>
                    <a:lnTo>
                      <a:pt x="17367" y="1444"/>
                    </a:lnTo>
                    <a:lnTo>
                      <a:pt x="17095" y="1633"/>
                    </a:lnTo>
                    <a:lnTo>
                      <a:pt x="16990" y="1674"/>
                    </a:lnTo>
                    <a:lnTo>
                      <a:pt x="16990" y="1758"/>
                    </a:lnTo>
                    <a:lnTo>
                      <a:pt x="17074" y="1925"/>
                    </a:lnTo>
                    <a:lnTo>
                      <a:pt x="17074" y="2072"/>
                    </a:lnTo>
                    <a:lnTo>
                      <a:pt x="16760" y="2030"/>
                    </a:lnTo>
                    <a:lnTo>
                      <a:pt x="16739" y="1946"/>
                    </a:lnTo>
                    <a:lnTo>
                      <a:pt x="16718" y="2135"/>
                    </a:lnTo>
                    <a:lnTo>
                      <a:pt x="16613" y="2281"/>
                    </a:lnTo>
                    <a:lnTo>
                      <a:pt x="16530" y="2302"/>
                    </a:lnTo>
                    <a:lnTo>
                      <a:pt x="16509" y="2365"/>
                    </a:lnTo>
                    <a:lnTo>
                      <a:pt x="16300" y="2407"/>
                    </a:lnTo>
                    <a:lnTo>
                      <a:pt x="16237" y="2574"/>
                    </a:lnTo>
                    <a:lnTo>
                      <a:pt x="16132" y="2595"/>
                    </a:lnTo>
                    <a:lnTo>
                      <a:pt x="16028" y="2700"/>
                    </a:lnTo>
                    <a:lnTo>
                      <a:pt x="15944" y="2700"/>
                    </a:lnTo>
                    <a:lnTo>
                      <a:pt x="15923" y="2804"/>
                    </a:lnTo>
                    <a:lnTo>
                      <a:pt x="15776" y="2888"/>
                    </a:lnTo>
                    <a:lnTo>
                      <a:pt x="15672" y="2993"/>
                    </a:lnTo>
                    <a:lnTo>
                      <a:pt x="15588" y="2972"/>
                    </a:lnTo>
                    <a:lnTo>
                      <a:pt x="15588" y="3076"/>
                    </a:lnTo>
                    <a:lnTo>
                      <a:pt x="15776" y="3139"/>
                    </a:lnTo>
                    <a:lnTo>
                      <a:pt x="15986" y="3139"/>
                    </a:lnTo>
                    <a:lnTo>
                      <a:pt x="15986" y="3244"/>
                    </a:lnTo>
                    <a:lnTo>
                      <a:pt x="15839" y="3202"/>
                    </a:lnTo>
                    <a:lnTo>
                      <a:pt x="15944" y="3516"/>
                    </a:lnTo>
                    <a:lnTo>
                      <a:pt x="16028" y="3599"/>
                    </a:lnTo>
                    <a:lnTo>
                      <a:pt x="16007" y="3725"/>
                    </a:lnTo>
                    <a:lnTo>
                      <a:pt x="15944" y="3871"/>
                    </a:lnTo>
                    <a:lnTo>
                      <a:pt x="16007" y="4018"/>
                    </a:lnTo>
                    <a:lnTo>
                      <a:pt x="15902" y="4185"/>
                    </a:lnTo>
                    <a:lnTo>
                      <a:pt x="15902" y="4394"/>
                    </a:lnTo>
                    <a:lnTo>
                      <a:pt x="15902" y="4457"/>
                    </a:lnTo>
                    <a:lnTo>
                      <a:pt x="15986" y="4457"/>
                    </a:lnTo>
                    <a:lnTo>
                      <a:pt x="16028" y="4478"/>
                    </a:lnTo>
                    <a:lnTo>
                      <a:pt x="16111" y="4394"/>
                    </a:lnTo>
                    <a:lnTo>
                      <a:pt x="16237" y="4374"/>
                    </a:lnTo>
                    <a:lnTo>
                      <a:pt x="16341" y="4394"/>
                    </a:lnTo>
                    <a:lnTo>
                      <a:pt x="16509" y="4374"/>
                    </a:lnTo>
                    <a:lnTo>
                      <a:pt x="16676" y="4227"/>
                    </a:lnTo>
                    <a:lnTo>
                      <a:pt x="16760" y="4185"/>
                    </a:lnTo>
                    <a:lnTo>
                      <a:pt x="16760" y="4143"/>
                    </a:lnTo>
                    <a:lnTo>
                      <a:pt x="16864" y="4060"/>
                    </a:lnTo>
                    <a:lnTo>
                      <a:pt x="16927" y="4143"/>
                    </a:lnTo>
                    <a:lnTo>
                      <a:pt x="16927" y="4269"/>
                    </a:lnTo>
                    <a:lnTo>
                      <a:pt x="16844" y="4353"/>
                    </a:lnTo>
                    <a:lnTo>
                      <a:pt x="16927" y="4457"/>
                    </a:lnTo>
                    <a:lnTo>
                      <a:pt x="17032" y="4457"/>
                    </a:lnTo>
                    <a:lnTo>
                      <a:pt x="17178" y="4374"/>
                    </a:lnTo>
                    <a:lnTo>
                      <a:pt x="17346" y="4374"/>
                    </a:lnTo>
                    <a:lnTo>
                      <a:pt x="17450" y="4248"/>
                    </a:lnTo>
                    <a:lnTo>
                      <a:pt x="17597" y="4081"/>
                    </a:lnTo>
                    <a:lnTo>
                      <a:pt x="17576" y="4018"/>
                    </a:lnTo>
                    <a:lnTo>
                      <a:pt x="17701" y="3850"/>
                    </a:lnTo>
                    <a:lnTo>
                      <a:pt x="17722" y="3767"/>
                    </a:lnTo>
                    <a:lnTo>
                      <a:pt x="17890" y="3620"/>
                    </a:lnTo>
                    <a:lnTo>
                      <a:pt x="18015" y="3557"/>
                    </a:lnTo>
                    <a:lnTo>
                      <a:pt x="18036" y="3453"/>
                    </a:lnTo>
                    <a:lnTo>
                      <a:pt x="18099" y="3306"/>
                    </a:lnTo>
                    <a:lnTo>
                      <a:pt x="18204" y="3453"/>
                    </a:lnTo>
                    <a:lnTo>
                      <a:pt x="18350" y="3453"/>
                    </a:lnTo>
                    <a:lnTo>
                      <a:pt x="18497" y="3348"/>
                    </a:lnTo>
                    <a:lnTo>
                      <a:pt x="18643" y="3327"/>
                    </a:lnTo>
                    <a:lnTo>
                      <a:pt x="18706" y="3181"/>
                    </a:lnTo>
                    <a:lnTo>
                      <a:pt x="18769" y="3181"/>
                    </a:lnTo>
                    <a:lnTo>
                      <a:pt x="18873" y="3076"/>
                    </a:lnTo>
                    <a:lnTo>
                      <a:pt x="18936" y="2909"/>
                    </a:lnTo>
                    <a:lnTo>
                      <a:pt x="19124" y="2867"/>
                    </a:lnTo>
                    <a:lnTo>
                      <a:pt x="19187" y="2846"/>
                    </a:lnTo>
                    <a:lnTo>
                      <a:pt x="19250" y="2888"/>
                    </a:lnTo>
                    <a:lnTo>
                      <a:pt x="19333" y="2846"/>
                    </a:lnTo>
                    <a:lnTo>
                      <a:pt x="19543" y="2846"/>
                    </a:lnTo>
                    <a:lnTo>
                      <a:pt x="19668" y="2762"/>
                    </a:lnTo>
                    <a:lnTo>
                      <a:pt x="19773" y="2762"/>
                    </a:lnTo>
                    <a:lnTo>
                      <a:pt x="20024" y="2658"/>
                    </a:lnTo>
                    <a:lnTo>
                      <a:pt x="20233" y="2616"/>
                    </a:lnTo>
                    <a:lnTo>
                      <a:pt x="20296" y="2595"/>
                    </a:lnTo>
                    <a:cubicBezTo>
                      <a:pt x="20338" y="2679"/>
                      <a:pt x="20442" y="2741"/>
                      <a:pt x="20526" y="2762"/>
                    </a:cubicBezTo>
                    <a:lnTo>
                      <a:pt x="20401" y="2783"/>
                    </a:lnTo>
                    <a:lnTo>
                      <a:pt x="19877" y="2993"/>
                    </a:lnTo>
                    <a:lnTo>
                      <a:pt x="19752" y="3097"/>
                    </a:lnTo>
                    <a:lnTo>
                      <a:pt x="19438" y="3181"/>
                    </a:lnTo>
                    <a:lnTo>
                      <a:pt x="19020" y="3369"/>
                    </a:lnTo>
                    <a:lnTo>
                      <a:pt x="18852" y="3495"/>
                    </a:lnTo>
                    <a:lnTo>
                      <a:pt x="18852" y="3578"/>
                    </a:lnTo>
                    <a:lnTo>
                      <a:pt x="18957" y="3578"/>
                    </a:lnTo>
                    <a:lnTo>
                      <a:pt x="19020" y="3620"/>
                    </a:lnTo>
                    <a:lnTo>
                      <a:pt x="18915" y="3704"/>
                    </a:lnTo>
                    <a:lnTo>
                      <a:pt x="18831" y="3704"/>
                    </a:lnTo>
                    <a:lnTo>
                      <a:pt x="18643" y="3850"/>
                    </a:lnTo>
                    <a:lnTo>
                      <a:pt x="18497" y="3850"/>
                    </a:lnTo>
                    <a:lnTo>
                      <a:pt x="18413" y="3934"/>
                    </a:lnTo>
                    <a:lnTo>
                      <a:pt x="18392" y="4039"/>
                    </a:lnTo>
                    <a:lnTo>
                      <a:pt x="18225" y="4143"/>
                    </a:lnTo>
                    <a:lnTo>
                      <a:pt x="18162" y="4227"/>
                    </a:lnTo>
                    <a:lnTo>
                      <a:pt x="18162" y="4353"/>
                    </a:lnTo>
                    <a:lnTo>
                      <a:pt x="18225" y="4311"/>
                    </a:lnTo>
                    <a:lnTo>
                      <a:pt x="18308" y="4374"/>
                    </a:lnTo>
                    <a:lnTo>
                      <a:pt x="18266" y="4457"/>
                    </a:lnTo>
                    <a:lnTo>
                      <a:pt x="18287" y="4478"/>
                    </a:lnTo>
                    <a:lnTo>
                      <a:pt x="18371" y="4457"/>
                    </a:lnTo>
                    <a:lnTo>
                      <a:pt x="18476" y="4415"/>
                    </a:lnTo>
                    <a:lnTo>
                      <a:pt x="18580" y="4415"/>
                    </a:lnTo>
                    <a:lnTo>
                      <a:pt x="18643" y="4457"/>
                    </a:lnTo>
                    <a:lnTo>
                      <a:pt x="18622" y="4541"/>
                    </a:lnTo>
                    <a:lnTo>
                      <a:pt x="18497" y="4583"/>
                    </a:lnTo>
                    <a:lnTo>
                      <a:pt x="18371" y="4520"/>
                    </a:lnTo>
                    <a:lnTo>
                      <a:pt x="18287" y="4562"/>
                    </a:lnTo>
                    <a:lnTo>
                      <a:pt x="18308" y="4666"/>
                    </a:lnTo>
                    <a:lnTo>
                      <a:pt x="18517" y="4771"/>
                    </a:lnTo>
                    <a:lnTo>
                      <a:pt x="18601" y="4729"/>
                    </a:lnTo>
                    <a:lnTo>
                      <a:pt x="18622" y="4646"/>
                    </a:lnTo>
                    <a:lnTo>
                      <a:pt x="18685" y="4646"/>
                    </a:lnTo>
                    <a:lnTo>
                      <a:pt x="18727" y="4687"/>
                    </a:lnTo>
                    <a:lnTo>
                      <a:pt x="18685" y="4771"/>
                    </a:lnTo>
                    <a:lnTo>
                      <a:pt x="18789" y="4771"/>
                    </a:lnTo>
                    <a:lnTo>
                      <a:pt x="18957" y="4792"/>
                    </a:lnTo>
                    <a:lnTo>
                      <a:pt x="19145" y="4750"/>
                    </a:lnTo>
                    <a:lnTo>
                      <a:pt x="19250" y="4750"/>
                    </a:lnTo>
                    <a:lnTo>
                      <a:pt x="19417" y="4834"/>
                    </a:lnTo>
                    <a:lnTo>
                      <a:pt x="19543" y="4792"/>
                    </a:lnTo>
                    <a:lnTo>
                      <a:pt x="19647" y="4855"/>
                    </a:lnTo>
                    <a:lnTo>
                      <a:pt x="19689" y="4959"/>
                    </a:lnTo>
                    <a:lnTo>
                      <a:pt x="19773" y="4959"/>
                    </a:lnTo>
                    <a:lnTo>
                      <a:pt x="19752" y="5001"/>
                    </a:lnTo>
                    <a:lnTo>
                      <a:pt x="19668" y="5001"/>
                    </a:lnTo>
                    <a:lnTo>
                      <a:pt x="19522" y="4897"/>
                    </a:lnTo>
                    <a:lnTo>
                      <a:pt x="19313" y="4897"/>
                    </a:lnTo>
                    <a:lnTo>
                      <a:pt x="19250" y="4959"/>
                    </a:lnTo>
                    <a:lnTo>
                      <a:pt x="19375" y="5001"/>
                    </a:lnTo>
                    <a:lnTo>
                      <a:pt x="19417" y="5064"/>
                    </a:lnTo>
                    <a:lnTo>
                      <a:pt x="19229" y="5064"/>
                    </a:lnTo>
                    <a:lnTo>
                      <a:pt x="19145" y="4980"/>
                    </a:lnTo>
                    <a:lnTo>
                      <a:pt x="18894" y="5001"/>
                    </a:lnTo>
                    <a:lnTo>
                      <a:pt x="18810" y="5064"/>
                    </a:lnTo>
                    <a:lnTo>
                      <a:pt x="18727" y="5001"/>
                    </a:lnTo>
                    <a:lnTo>
                      <a:pt x="18643" y="5001"/>
                    </a:lnTo>
                    <a:lnTo>
                      <a:pt x="18580" y="5043"/>
                    </a:lnTo>
                    <a:lnTo>
                      <a:pt x="18497" y="5043"/>
                    </a:lnTo>
                    <a:lnTo>
                      <a:pt x="18225" y="5064"/>
                    </a:lnTo>
                    <a:lnTo>
                      <a:pt x="18183" y="5085"/>
                    </a:lnTo>
                    <a:lnTo>
                      <a:pt x="17973" y="5127"/>
                    </a:lnTo>
                    <a:lnTo>
                      <a:pt x="17953" y="5273"/>
                    </a:lnTo>
                    <a:lnTo>
                      <a:pt x="17973" y="5587"/>
                    </a:lnTo>
                    <a:lnTo>
                      <a:pt x="17994" y="5629"/>
                    </a:lnTo>
                    <a:lnTo>
                      <a:pt x="17994" y="5754"/>
                    </a:lnTo>
                    <a:lnTo>
                      <a:pt x="17953" y="5796"/>
                    </a:lnTo>
                    <a:lnTo>
                      <a:pt x="17953" y="5859"/>
                    </a:lnTo>
                    <a:lnTo>
                      <a:pt x="17994" y="5922"/>
                    </a:lnTo>
                    <a:lnTo>
                      <a:pt x="18099" y="5901"/>
                    </a:lnTo>
                    <a:lnTo>
                      <a:pt x="18141" y="5901"/>
                    </a:lnTo>
                    <a:lnTo>
                      <a:pt x="18225" y="5943"/>
                    </a:lnTo>
                    <a:lnTo>
                      <a:pt x="18329" y="5943"/>
                    </a:lnTo>
                    <a:lnTo>
                      <a:pt x="18371" y="5901"/>
                    </a:lnTo>
                    <a:lnTo>
                      <a:pt x="18392" y="5901"/>
                    </a:lnTo>
                    <a:lnTo>
                      <a:pt x="18476" y="5922"/>
                    </a:lnTo>
                    <a:lnTo>
                      <a:pt x="18517" y="5964"/>
                    </a:lnTo>
                    <a:lnTo>
                      <a:pt x="18559" y="5943"/>
                    </a:lnTo>
                    <a:lnTo>
                      <a:pt x="18622" y="6006"/>
                    </a:lnTo>
                    <a:lnTo>
                      <a:pt x="18622" y="6047"/>
                    </a:lnTo>
                    <a:lnTo>
                      <a:pt x="18706" y="6068"/>
                    </a:lnTo>
                    <a:lnTo>
                      <a:pt x="18789" y="6047"/>
                    </a:lnTo>
                    <a:lnTo>
                      <a:pt x="18852" y="6047"/>
                    </a:lnTo>
                    <a:lnTo>
                      <a:pt x="18915" y="6110"/>
                    </a:lnTo>
                    <a:lnTo>
                      <a:pt x="19041" y="6110"/>
                    </a:lnTo>
                    <a:lnTo>
                      <a:pt x="19124" y="6068"/>
                    </a:lnTo>
                    <a:lnTo>
                      <a:pt x="19229" y="6131"/>
                    </a:lnTo>
                    <a:lnTo>
                      <a:pt x="19333" y="6068"/>
                    </a:lnTo>
                    <a:lnTo>
                      <a:pt x="19417" y="6110"/>
                    </a:lnTo>
                    <a:lnTo>
                      <a:pt x="19543" y="6110"/>
                    </a:lnTo>
                    <a:lnTo>
                      <a:pt x="19647" y="6068"/>
                    </a:lnTo>
                    <a:lnTo>
                      <a:pt x="19752" y="6131"/>
                    </a:lnTo>
                    <a:lnTo>
                      <a:pt x="19773" y="6215"/>
                    </a:lnTo>
                    <a:lnTo>
                      <a:pt x="19857" y="6152"/>
                    </a:lnTo>
                    <a:lnTo>
                      <a:pt x="19877" y="6257"/>
                    </a:lnTo>
                    <a:lnTo>
                      <a:pt x="19982" y="6340"/>
                    </a:lnTo>
                    <a:lnTo>
                      <a:pt x="19982" y="6382"/>
                    </a:lnTo>
                    <a:lnTo>
                      <a:pt x="20003" y="6445"/>
                    </a:lnTo>
                    <a:lnTo>
                      <a:pt x="20108" y="6445"/>
                    </a:lnTo>
                    <a:lnTo>
                      <a:pt x="20191" y="6466"/>
                    </a:lnTo>
                    <a:lnTo>
                      <a:pt x="20212" y="6550"/>
                    </a:lnTo>
                    <a:lnTo>
                      <a:pt x="20275" y="6570"/>
                    </a:lnTo>
                    <a:lnTo>
                      <a:pt x="20359" y="6654"/>
                    </a:lnTo>
                    <a:lnTo>
                      <a:pt x="20317" y="6696"/>
                    </a:lnTo>
                    <a:lnTo>
                      <a:pt x="20317" y="6780"/>
                    </a:lnTo>
                    <a:lnTo>
                      <a:pt x="20422" y="6884"/>
                    </a:lnTo>
                    <a:lnTo>
                      <a:pt x="20589" y="6989"/>
                    </a:lnTo>
                    <a:lnTo>
                      <a:pt x="20589" y="7052"/>
                    </a:lnTo>
                    <a:lnTo>
                      <a:pt x="20568" y="7073"/>
                    </a:lnTo>
                    <a:lnTo>
                      <a:pt x="20589" y="7114"/>
                    </a:lnTo>
                    <a:lnTo>
                      <a:pt x="20526" y="7094"/>
                    </a:lnTo>
                    <a:lnTo>
                      <a:pt x="20317" y="7052"/>
                    </a:lnTo>
                    <a:lnTo>
                      <a:pt x="20170" y="6989"/>
                    </a:lnTo>
                    <a:lnTo>
                      <a:pt x="20087" y="7010"/>
                    </a:lnTo>
                    <a:lnTo>
                      <a:pt x="20003" y="6989"/>
                    </a:lnTo>
                    <a:lnTo>
                      <a:pt x="19982" y="7010"/>
                    </a:lnTo>
                    <a:lnTo>
                      <a:pt x="19898" y="7010"/>
                    </a:lnTo>
                    <a:lnTo>
                      <a:pt x="19836" y="6905"/>
                    </a:lnTo>
                    <a:lnTo>
                      <a:pt x="19752" y="6905"/>
                    </a:lnTo>
                    <a:lnTo>
                      <a:pt x="19689" y="6801"/>
                    </a:lnTo>
                    <a:lnTo>
                      <a:pt x="19647" y="6780"/>
                    </a:lnTo>
                    <a:lnTo>
                      <a:pt x="19522" y="6801"/>
                    </a:lnTo>
                    <a:lnTo>
                      <a:pt x="19438" y="6780"/>
                    </a:lnTo>
                    <a:lnTo>
                      <a:pt x="19375" y="6738"/>
                    </a:lnTo>
                    <a:lnTo>
                      <a:pt x="19250" y="6675"/>
                    </a:lnTo>
                    <a:lnTo>
                      <a:pt x="19229" y="6591"/>
                    </a:lnTo>
                    <a:lnTo>
                      <a:pt x="19166" y="6591"/>
                    </a:lnTo>
                    <a:lnTo>
                      <a:pt x="19124" y="6570"/>
                    </a:lnTo>
                    <a:lnTo>
                      <a:pt x="18999" y="6570"/>
                    </a:lnTo>
                    <a:lnTo>
                      <a:pt x="18936" y="6550"/>
                    </a:lnTo>
                    <a:lnTo>
                      <a:pt x="18685" y="6550"/>
                    </a:lnTo>
                    <a:lnTo>
                      <a:pt x="18517" y="6529"/>
                    </a:lnTo>
                    <a:lnTo>
                      <a:pt x="18413" y="6487"/>
                    </a:lnTo>
                    <a:lnTo>
                      <a:pt x="17973" y="6487"/>
                    </a:lnTo>
                    <a:lnTo>
                      <a:pt x="17890" y="6529"/>
                    </a:lnTo>
                    <a:lnTo>
                      <a:pt x="17764" y="6550"/>
                    </a:lnTo>
                    <a:lnTo>
                      <a:pt x="17701" y="6633"/>
                    </a:lnTo>
                    <a:lnTo>
                      <a:pt x="17701" y="6801"/>
                    </a:lnTo>
                    <a:lnTo>
                      <a:pt x="17597" y="6968"/>
                    </a:lnTo>
                    <a:lnTo>
                      <a:pt x="17639" y="7156"/>
                    </a:lnTo>
                    <a:lnTo>
                      <a:pt x="17597" y="7219"/>
                    </a:lnTo>
                    <a:lnTo>
                      <a:pt x="17639" y="7282"/>
                    </a:lnTo>
                    <a:lnTo>
                      <a:pt x="17701" y="7303"/>
                    </a:lnTo>
                    <a:lnTo>
                      <a:pt x="17681" y="7366"/>
                    </a:lnTo>
                    <a:lnTo>
                      <a:pt x="17639" y="7387"/>
                    </a:lnTo>
                    <a:lnTo>
                      <a:pt x="17701" y="7617"/>
                    </a:lnTo>
                    <a:lnTo>
                      <a:pt x="17785" y="7700"/>
                    </a:lnTo>
                    <a:lnTo>
                      <a:pt x="17806" y="7742"/>
                    </a:lnTo>
                    <a:lnTo>
                      <a:pt x="17973" y="7847"/>
                    </a:lnTo>
                    <a:lnTo>
                      <a:pt x="18015" y="7910"/>
                    </a:lnTo>
                    <a:lnTo>
                      <a:pt x="18120" y="7889"/>
                    </a:lnTo>
                    <a:lnTo>
                      <a:pt x="18183" y="7951"/>
                    </a:lnTo>
                    <a:lnTo>
                      <a:pt x="18266" y="7993"/>
                    </a:lnTo>
                    <a:lnTo>
                      <a:pt x="18392" y="7931"/>
                    </a:lnTo>
                    <a:lnTo>
                      <a:pt x="18476" y="7931"/>
                    </a:lnTo>
                    <a:lnTo>
                      <a:pt x="18538" y="8014"/>
                    </a:lnTo>
                    <a:lnTo>
                      <a:pt x="18685" y="8014"/>
                    </a:lnTo>
                    <a:lnTo>
                      <a:pt x="18748" y="8140"/>
                    </a:lnTo>
                    <a:lnTo>
                      <a:pt x="18831" y="8161"/>
                    </a:lnTo>
                    <a:lnTo>
                      <a:pt x="18852" y="8223"/>
                    </a:lnTo>
                    <a:lnTo>
                      <a:pt x="18727" y="8265"/>
                    </a:lnTo>
                    <a:lnTo>
                      <a:pt x="18727" y="8349"/>
                    </a:lnTo>
                    <a:lnTo>
                      <a:pt x="18685" y="8412"/>
                    </a:lnTo>
                    <a:lnTo>
                      <a:pt x="18685" y="8454"/>
                    </a:lnTo>
                    <a:lnTo>
                      <a:pt x="18622" y="8537"/>
                    </a:lnTo>
                    <a:lnTo>
                      <a:pt x="18497" y="8621"/>
                    </a:lnTo>
                    <a:lnTo>
                      <a:pt x="18497" y="8663"/>
                    </a:lnTo>
                    <a:lnTo>
                      <a:pt x="18434" y="8747"/>
                    </a:lnTo>
                    <a:lnTo>
                      <a:pt x="18517" y="8788"/>
                    </a:lnTo>
                    <a:lnTo>
                      <a:pt x="18517" y="8935"/>
                    </a:lnTo>
                    <a:lnTo>
                      <a:pt x="18580" y="9060"/>
                    </a:lnTo>
                    <a:lnTo>
                      <a:pt x="18580" y="9144"/>
                    </a:lnTo>
                    <a:lnTo>
                      <a:pt x="18434" y="9165"/>
                    </a:lnTo>
                    <a:lnTo>
                      <a:pt x="18497" y="9207"/>
                    </a:lnTo>
                    <a:lnTo>
                      <a:pt x="18685" y="9249"/>
                    </a:lnTo>
                    <a:lnTo>
                      <a:pt x="18748" y="9207"/>
                    </a:lnTo>
                    <a:lnTo>
                      <a:pt x="18810" y="9207"/>
                    </a:lnTo>
                    <a:lnTo>
                      <a:pt x="18831" y="9270"/>
                    </a:lnTo>
                    <a:lnTo>
                      <a:pt x="18894" y="9207"/>
                    </a:lnTo>
                    <a:lnTo>
                      <a:pt x="18936" y="9207"/>
                    </a:lnTo>
                    <a:lnTo>
                      <a:pt x="18999" y="9249"/>
                    </a:lnTo>
                    <a:lnTo>
                      <a:pt x="19145" y="9249"/>
                    </a:lnTo>
                    <a:lnTo>
                      <a:pt x="19333" y="9311"/>
                    </a:lnTo>
                    <a:lnTo>
                      <a:pt x="19417" y="9249"/>
                    </a:lnTo>
                    <a:lnTo>
                      <a:pt x="19564" y="9249"/>
                    </a:lnTo>
                    <a:lnTo>
                      <a:pt x="19585" y="9291"/>
                    </a:lnTo>
                    <a:lnTo>
                      <a:pt x="19626" y="9291"/>
                    </a:lnTo>
                    <a:lnTo>
                      <a:pt x="19668" y="9270"/>
                    </a:lnTo>
                    <a:lnTo>
                      <a:pt x="19752" y="9249"/>
                    </a:lnTo>
                    <a:lnTo>
                      <a:pt x="19794" y="9270"/>
                    </a:lnTo>
                    <a:lnTo>
                      <a:pt x="19836" y="9353"/>
                    </a:lnTo>
                    <a:lnTo>
                      <a:pt x="19877" y="9353"/>
                    </a:lnTo>
                    <a:lnTo>
                      <a:pt x="19940" y="9311"/>
                    </a:lnTo>
                    <a:lnTo>
                      <a:pt x="19982" y="9353"/>
                    </a:lnTo>
                    <a:lnTo>
                      <a:pt x="20003" y="9416"/>
                    </a:lnTo>
                    <a:lnTo>
                      <a:pt x="20066" y="9416"/>
                    </a:lnTo>
                    <a:lnTo>
                      <a:pt x="20108" y="9374"/>
                    </a:lnTo>
                    <a:lnTo>
                      <a:pt x="20254" y="9353"/>
                    </a:lnTo>
                    <a:lnTo>
                      <a:pt x="20296" y="9270"/>
                    </a:lnTo>
                    <a:lnTo>
                      <a:pt x="20401" y="9249"/>
                    </a:lnTo>
                    <a:lnTo>
                      <a:pt x="20484" y="9249"/>
                    </a:lnTo>
                    <a:lnTo>
                      <a:pt x="20589" y="9144"/>
                    </a:lnTo>
                    <a:lnTo>
                      <a:pt x="20714" y="9081"/>
                    </a:lnTo>
                    <a:lnTo>
                      <a:pt x="20819" y="9060"/>
                    </a:lnTo>
                    <a:lnTo>
                      <a:pt x="20840" y="8998"/>
                    </a:lnTo>
                    <a:lnTo>
                      <a:pt x="20924" y="8998"/>
                    </a:lnTo>
                    <a:lnTo>
                      <a:pt x="21028" y="9039"/>
                    </a:lnTo>
                    <a:lnTo>
                      <a:pt x="21112" y="9039"/>
                    </a:lnTo>
                    <a:lnTo>
                      <a:pt x="21196" y="9081"/>
                    </a:lnTo>
                    <a:lnTo>
                      <a:pt x="21405" y="9081"/>
                    </a:lnTo>
                    <a:lnTo>
                      <a:pt x="21635" y="8935"/>
                    </a:lnTo>
                    <a:lnTo>
                      <a:pt x="21656" y="8851"/>
                    </a:lnTo>
                    <a:lnTo>
                      <a:pt x="21719" y="8851"/>
                    </a:lnTo>
                    <a:lnTo>
                      <a:pt x="21740" y="8893"/>
                    </a:lnTo>
                    <a:lnTo>
                      <a:pt x="21761" y="8851"/>
                    </a:lnTo>
                    <a:lnTo>
                      <a:pt x="21844" y="8788"/>
                    </a:lnTo>
                    <a:lnTo>
                      <a:pt x="21844" y="8726"/>
                    </a:lnTo>
                    <a:lnTo>
                      <a:pt x="21865" y="8663"/>
                    </a:lnTo>
                    <a:lnTo>
                      <a:pt x="21928" y="8684"/>
                    </a:lnTo>
                    <a:lnTo>
                      <a:pt x="21991" y="8684"/>
                    </a:lnTo>
                    <a:lnTo>
                      <a:pt x="22054" y="8642"/>
                    </a:lnTo>
                    <a:lnTo>
                      <a:pt x="22054" y="8579"/>
                    </a:lnTo>
                    <a:lnTo>
                      <a:pt x="22095" y="8621"/>
                    </a:lnTo>
                    <a:lnTo>
                      <a:pt x="22158" y="8621"/>
                    </a:lnTo>
                    <a:lnTo>
                      <a:pt x="22179" y="8663"/>
                    </a:lnTo>
                    <a:lnTo>
                      <a:pt x="22179" y="8726"/>
                    </a:lnTo>
                    <a:lnTo>
                      <a:pt x="22242" y="8767"/>
                    </a:lnTo>
                    <a:lnTo>
                      <a:pt x="22158" y="8830"/>
                    </a:lnTo>
                    <a:lnTo>
                      <a:pt x="22158" y="8893"/>
                    </a:lnTo>
                    <a:lnTo>
                      <a:pt x="22095" y="8977"/>
                    </a:lnTo>
                    <a:lnTo>
                      <a:pt x="22054" y="8998"/>
                    </a:lnTo>
                    <a:lnTo>
                      <a:pt x="22054" y="9060"/>
                    </a:lnTo>
                    <a:lnTo>
                      <a:pt x="22137" y="9081"/>
                    </a:lnTo>
                    <a:lnTo>
                      <a:pt x="22200" y="9165"/>
                    </a:lnTo>
                    <a:lnTo>
                      <a:pt x="22242" y="9144"/>
                    </a:lnTo>
                    <a:lnTo>
                      <a:pt x="22305" y="9144"/>
                    </a:lnTo>
                    <a:lnTo>
                      <a:pt x="22409" y="9186"/>
                    </a:lnTo>
                    <a:lnTo>
                      <a:pt x="22409" y="9207"/>
                    </a:lnTo>
                    <a:cubicBezTo>
                      <a:pt x="22367" y="9207"/>
                      <a:pt x="22305" y="9249"/>
                      <a:pt x="22263" y="9270"/>
                    </a:cubicBezTo>
                    <a:lnTo>
                      <a:pt x="22242" y="9270"/>
                    </a:lnTo>
                    <a:cubicBezTo>
                      <a:pt x="22137" y="9291"/>
                      <a:pt x="22054" y="9353"/>
                      <a:pt x="21949" y="9374"/>
                    </a:cubicBezTo>
                    <a:cubicBezTo>
                      <a:pt x="21886" y="9374"/>
                      <a:pt x="21865" y="9395"/>
                      <a:pt x="21844" y="9458"/>
                    </a:cubicBezTo>
                    <a:lnTo>
                      <a:pt x="21551" y="9521"/>
                    </a:lnTo>
                    <a:lnTo>
                      <a:pt x="21133" y="9563"/>
                    </a:lnTo>
                    <a:lnTo>
                      <a:pt x="21007" y="9521"/>
                    </a:lnTo>
                    <a:lnTo>
                      <a:pt x="20903" y="9521"/>
                    </a:lnTo>
                    <a:lnTo>
                      <a:pt x="20735" y="9730"/>
                    </a:lnTo>
                    <a:lnTo>
                      <a:pt x="20631" y="9793"/>
                    </a:lnTo>
                    <a:lnTo>
                      <a:pt x="20589" y="9876"/>
                    </a:lnTo>
                    <a:lnTo>
                      <a:pt x="20673" y="9918"/>
                    </a:lnTo>
                    <a:lnTo>
                      <a:pt x="20735" y="9876"/>
                    </a:lnTo>
                    <a:lnTo>
                      <a:pt x="20798" y="9876"/>
                    </a:lnTo>
                    <a:lnTo>
                      <a:pt x="20777" y="9981"/>
                    </a:lnTo>
                    <a:lnTo>
                      <a:pt x="20694" y="10023"/>
                    </a:lnTo>
                    <a:lnTo>
                      <a:pt x="20714" y="10086"/>
                    </a:lnTo>
                    <a:lnTo>
                      <a:pt x="20882" y="10107"/>
                    </a:lnTo>
                    <a:lnTo>
                      <a:pt x="20903" y="10148"/>
                    </a:lnTo>
                    <a:lnTo>
                      <a:pt x="21028" y="10127"/>
                    </a:lnTo>
                    <a:lnTo>
                      <a:pt x="21028" y="10044"/>
                    </a:lnTo>
                    <a:lnTo>
                      <a:pt x="20945" y="9981"/>
                    </a:lnTo>
                    <a:lnTo>
                      <a:pt x="20945" y="9897"/>
                    </a:lnTo>
                    <a:lnTo>
                      <a:pt x="21028" y="9876"/>
                    </a:lnTo>
                    <a:lnTo>
                      <a:pt x="21049" y="9918"/>
                    </a:lnTo>
                    <a:lnTo>
                      <a:pt x="21133" y="9918"/>
                    </a:lnTo>
                    <a:lnTo>
                      <a:pt x="21238" y="10002"/>
                    </a:lnTo>
                    <a:lnTo>
                      <a:pt x="21321" y="9981"/>
                    </a:lnTo>
                    <a:lnTo>
                      <a:pt x="21342" y="9876"/>
                    </a:lnTo>
                    <a:lnTo>
                      <a:pt x="21426" y="9814"/>
                    </a:lnTo>
                    <a:lnTo>
                      <a:pt x="21426" y="9918"/>
                    </a:lnTo>
                    <a:lnTo>
                      <a:pt x="21530" y="10023"/>
                    </a:lnTo>
                    <a:lnTo>
                      <a:pt x="21551" y="9981"/>
                    </a:lnTo>
                    <a:lnTo>
                      <a:pt x="21551" y="9897"/>
                    </a:lnTo>
                    <a:lnTo>
                      <a:pt x="21656" y="9897"/>
                    </a:lnTo>
                    <a:lnTo>
                      <a:pt x="21677" y="9814"/>
                    </a:lnTo>
                    <a:lnTo>
                      <a:pt x="21761" y="9814"/>
                    </a:lnTo>
                    <a:lnTo>
                      <a:pt x="21886" y="9772"/>
                    </a:lnTo>
                    <a:cubicBezTo>
                      <a:pt x="21932" y="9802"/>
                      <a:pt x="21989" y="9822"/>
                      <a:pt x="22041" y="9822"/>
                    </a:cubicBezTo>
                    <a:cubicBezTo>
                      <a:pt x="22060" y="9822"/>
                      <a:pt x="22079" y="9819"/>
                      <a:pt x="22095" y="9814"/>
                    </a:cubicBezTo>
                    <a:cubicBezTo>
                      <a:pt x="22116" y="9814"/>
                      <a:pt x="22132" y="9808"/>
                      <a:pt x="22142" y="9803"/>
                    </a:cubicBezTo>
                    <a:lnTo>
                      <a:pt x="22142" y="9803"/>
                    </a:lnTo>
                    <a:lnTo>
                      <a:pt x="22095" y="9835"/>
                    </a:lnTo>
                    <a:lnTo>
                      <a:pt x="22158" y="9918"/>
                    </a:lnTo>
                    <a:lnTo>
                      <a:pt x="22033" y="10044"/>
                    </a:lnTo>
                    <a:lnTo>
                      <a:pt x="21949" y="10002"/>
                    </a:lnTo>
                    <a:lnTo>
                      <a:pt x="21886" y="10044"/>
                    </a:lnTo>
                    <a:lnTo>
                      <a:pt x="21782" y="10044"/>
                    </a:lnTo>
                    <a:lnTo>
                      <a:pt x="21740" y="10002"/>
                    </a:lnTo>
                    <a:lnTo>
                      <a:pt x="21656" y="10002"/>
                    </a:lnTo>
                    <a:lnTo>
                      <a:pt x="21551" y="10190"/>
                    </a:lnTo>
                    <a:lnTo>
                      <a:pt x="21572" y="10316"/>
                    </a:lnTo>
                    <a:lnTo>
                      <a:pt x="21572" y="10462"/>
                    </a:lnTo>
                    <a:lnTo>
                      <a:pt x="21551" y="10316"/>
                    </a:lnTo>
                    <a:lnTo>
                      <a:pt x="21510" y="10316"/>
                    </a:lnTo>
                    <a:lnTo>
                      <a:pt x="21468" y="10232"/>
                    </a:lnTo>
                    <a:lnTo>
                      <a:pt x="21405" y="10232"/>
                    </a:lnTo>
                    <a:lnTo>
                      <a:pt x="21342" y="10337"/>
                    </a:lnTo>
                    <a:lnTo>
                      <a:pt x="21196" y="10379"/>
                    </a:lnTo>
                    <a:lnTo>
                      <a:pt x="21133" y="10400"/>
                    </a:lnTo>
                    <a:lnTo>
                      <a:pt x="21133" y="10316"/>
                    </a:lnTo>
                    <a:lnTo>
                      <a:pt x="21091" y="10316"/>
                    </a:lnTo>
                    <a:lnTo>
                      <a:pt x="21007" y="10420"/>
                    </a:lnTo>
                    <a:lnTo>
                      <a:pt x="20924" y="10441"/>
                    </a:lnTo>
                    <a:lnTo>
                      <a:pt x="20882" y="10400"/>
                    </a:lnTo>
                    <a:lnTo>
                      <a:pt x="20798" y="10400"/>
                    </a:lnTo>
                    <a:lnTo>
                      <a:pt x="20735" y="10483"/>
                    </a:lnTo>
                    <a:lnTo>
                      <a:pt x="20735" y="10504"/>
                    </a:lnTo>
                    <a:lnTo>
                      <a:pt x="20589" y="10525"/>
                    </a:lnTo>
                    <a:lnTo>
                      <a:pt x="20505" y="10588"/>
                    </a:lnTo>
                    <a:lnTo>
                      <a:pt x="20505" y="10692"/>
                    </a:lnTo>
                    <a:lnTo>
                      <a:pt x="20526" y="10797"/>
                    </a:lnTo>
                    <a:lnTo>
                      <a:pt x="20422" y="11069"/>
                    </a:lnTo>
                    <a:lnTo>
                      <a:pt x="20380" y="11278"/>
                    </a:lnTo>
                    <a:lnTo>
                      <a:pt x="20380" y="11362"/>
                    </a:lnTo>
                    <a:lnTo>
                      <a:pt x="20484" y="11446"/>
                    </a:lnTo>
                    <a:lnTo>
                      <a:pt x="20463" y="11488"/>
                    </a:lnTo>
                    <a:lnTo>
                      <a:pt x="20359" y="11529"/>
                    </a:lnTo>
                    <a:lnTo>
                      <a:pt x="20359" y="11592"/>
                    </a:lnTo>
                    <a:lnTo>
                      <a:pt x="20422" y="11697"/>
                    </a:lnTo>
                    <a:lnTo>
                      <a:pt x="20422" y="11801"/>
                    </a:lnTo>
                    <a:lnTo>
                      <a:pt x="20380" y="11864"/>
                    </a:lnTo>
                    <a:lnTo>
                      <a:pt x="20359" y="11801"/>
                    </a:lnTo>
                    <a:lnTo>
                      <a:pt x="20275" y="11864"/>
                    </a:lnTo>
                    <a:lnTo>
                      <a:pt x="20212" y="11843"/>
                    </a:lnTo>
                    <a:lnTo>
                      <a:pt x="20254" y="11760"/>
                    </a:lnTo>
                    <a:lnTo>
                      <a:pt x="20296" y="11739"/>
                    </a:lnTo>
                    <a:lnTo>
                      <a:pt x="20296" y="11634"/>
                    </a:lnTo>
                    <a:lnTo>
                      <a:pt x="20212" y="11634"/>
                    </a:lnTo>
                    <a:lnTo>
                      <a:pt x="20087" y="11864"/>
                    </a:lnTo>
                    <a:lnTo>
                      <a:pt x="20066" y="12115"/>
                    </a:lnTo>
                    <a:lnTo>
                      <a:pt x="20108" y="12408"/>
                    </a:lnTo>
                    <a:lnTo>
                      <a:pt x="20108" y="12785"/>
                    </a:lnTo>
                    <a:lnTo>
                      <a:pt x="20087" y="12408"/>
                    </a:lnTo>
                    <a:lnTo>
                      <a:pt x="20045" y="12220"/>
                    </a:lnTo>
                    <a:lnTo>
                      <a:pt x="19982" y="12178"/>
                    </a:lnTo>
                    <a:lnTo>
                      <a:pt x="20045" y="12073"/>
                    </a:lnTo>
                    <a:lnTo>
                      <a:pt x="20045" y="11990"/>
                    </a:lnTo>
                    <a:lnTo>
                      <a:pt x="19898" y="11906"/>
                    </a:lnTo>
                    <a:lnTo>
                      <a:pt x="19961" y="11780"/>
                    </a:lnTo>
                    <a:lnTo>
                      <a:pt x="19961" y="11571"/>
                    </a:lnTo>
                    <a:lnTo>
                      <a:pt x="19877" y="11446"/>
                    </a:lnTo>
                    <a:lnTo>
                      <a:pt x="19877" y="11236"/>
                    </a:lnTo>
                    <a:lnTo>
                      <a:pt x="19961" y="11111"/>
                    </a:lnTo>
                    <a:lnTo>
                      <a:pt x="20045" y="10923"/>
                    </a:lnTo>
                    <a:lnTo>
                      <a:pt x="20045" y="10755"/>
                    </a:lnTo>
                    <a:lnTo>
                      <a:pt x="20003" y="10755"/>
                    </a:lnTo>
                    <a:lnTo>
                      <a:pt x="19961" y="10839"/>
                    </a:lnTo>
                    <a:lnTo>
                      <a:pt x="19940" y="10964"/>
                    </a:lnTo>
                    <a:lnTo>
                      <a:pt x="19857" y="11048"/>
                    </a:lnTo>
                    <a:lnTo>
                      <a:pt x="19836" y="11027"/>
                    </a:lnTo>
                    <a:lnTo>
                      <a:pt x="19794" y="10902"/>
                    </a:lnTo>
                    <a:lnTo>
                      <a:pt x="19877" y="10713"/>
                    </a:lnTo>
                    <a:lnTo>
                      <a:pt x="19898" y="10609"/>
                    </a:lnTo>
                    <a:lnTo>
                      <a:pt x="19836" y="10546"/>
                    </a:lnTo>
                    <a:lnTo>
                      <a:pt x="19752" y="10630"/>
                    </a:lnTo>
                    <a:lnTo>
                      <a:pt x="19731" y="10609"/>
                    </a:lnTo>
                    <a:lnTo>
                      <a:pt x="19689" y="10546"/>
                    </a:lnTo>
                    <a:lnTo>
                      <a:pt x="19731" y="10483"/>
                    </a:lnTo>
                    <a:lnTo>
                      <a:pt x="19731" y="10337"/>
                    </a:lnTo>
                    <a:lnTo>
                      <a:pt x="19668" y="10337"/>
                    </a:lnTo>
                    <a:lnTo>
                      <a:pt x="19668" y="10295"/>
                    </a:lnTo>
                    <a:lnTo>
                      <a:pt x="19689" y="10232"/>
                    </a:lnTo>
                    <a:lnTo>
                      <a:pt x="19689" y="10127"/>
                    </a:lnTo>
                    <a:lnTo>
                      <a:pt x="19585" y="10169"/>
                    </a:lnTo>
                    <a:lnTo>
                      <a:pt x="19271" y="10274"/>
                    </a:lnTo>
                    <a:lnTo>
                      <a:pt x="19103" y="10379"/>
                    </a:lnTo>
                    <a:lnTo>
                      <a:pt x="19041" y="10337"/>
                    </a:lnTo>
                    <a:lnTo>
                      <a:pt x="19041" y="10295"/>
                    </a:lnTo>
                    <a:lnTo>
                      <a:pt x="18999" y="10295"/>
                    </a:lnTo>
                    <a:lnTo>
                      <a:pt x="18915" y="10379"/>
                    </a:lnTo>
                    <a:lnTo>
                      <a:pt x="18831" y="10379"/>
                    </a:lnTo>
                    <a:lnTo>
                      <a:pt x="18789" y="10295"/>
                    </a:lnTo>
                    <a:lnTo>
                      <a:pt x="18622" y="10420"/>
                    </a:lnTo>
                    <a:lnTo>
                      <a:pt x="18622" y="10337"/>
                    </a:lnTo>
                    <a:lnTo>
                      <a:pt x="18517" y="10295"/>
                    </a:lnTo>
                    <a:lnTo>
                      <a:pt x="18476" y="10295"/>
                    </a:lnTo>
                    <a:lnTo>
                      <a:pt x="18476" y="10337"/>
                    </a:lnTo>
                    <a:lnTo>
                      <a:pt x="18308" y="10337"/>
                    </a:lnTo>
                    <a:lnTo>
                      <a:pt x="18078" y="10232"/>
                    </a:lnTo>
                    <a:lnTo>
                      <a:pt x="17890" y="10232"/>
                    </a:lnTo>
                    <a:lnTo>
                      <a:pt x="17701" y="10127"/>
                    </a:lnTo>
                    <a:lnTo>
                      <a:pt x="17555" y="10127"/>
                    </a:lnTo>
                    <a:lnTo>
                      <a:pt x="17555" y="10023"/>
                    </a:lnTo>
                    <a:lnTo>
                      <a:pt x="17429" y="9918"/>
                    </a:lnTo>
                    <a:lnTo>
                      <a:pt x="17346" y="9981"/>
                    </a:lnTo>
                    <a:lnTo>
                      <a:pt x="17241" y="9897"/>
                    </a:lnTo>
                    <a:lnTo>
                      <a:pt x="17220" y="9772"/>
                    </a:lnTo>
                    <a:lnTo>
                      <a:pt x="17116" y="9709"/>
                    </a:lnTo>
                    <a:lnTo>
                      <a:pt x="17053" y="9667"/>
                    </a:lnTo>
                    <a:lnTo>
                      <a:pt x="17157" y="9646"/>
                    </a:lnTo>
                    <a:lnTo>
                      <a:pt x="17283" y="9646"/>
                    </a:lnTo>
                    <a:lnTo>
                      <a:pt x="17283" y="9500"/>
                    </a:lnTo>
                    <a:lnTo>
                      <a:pt x="17388" y="9437"/>
                    </a:lnTo>
                    <a:lnTo>
                      <a:pt x="17367" y="9353"/>
                    </a:lnTo>
                    <a:lnTo>
                      <a:pt x="17471" y="9353"/>
                    </a:lnTo>
                    <a:lnTo>
                      <a:pt x="17639" y="9395"/>
                    </a:lnTo>
                    <a:lnTo>
                      <a:pt x="17681" y="9374"/>
                    </a:lnTo>
                    <a:lnTo>
                      <a:pt x="17681" y="9332"/>
                    </a:lnTo>
                    <a:lnTo>
                      <a:pt x="17806" y="9332"/>
                    </a:lnTo>
                    <a:lnTo>
                      <a:pt x="18078" y="9395"/>
                    </a:lnTo>
                    <a:lnTo>
                      <a:pt x="18183" y="9291"/>
                    </a:lnTo>
                    <a:lnTo>
                      <a:pt x="18183" y="9165"/>
                    </a:lnTo>
                    <a:lnTo>
                      <a:pt x="18225" y="9060"/>
                    </a:lnTo>
                    <a:lnTo>
                      <a:pt x="18183" y="8935"/>
                    </a:lnTo>
                    <a:lnTo>
                      <a:pt x="18183" y="8809"/>
                    </a:lnTo>
                    <a:lnTo>
                      <a:pt x="18120" y="8705"/>
                    </a:lnTo>
                    <a:lnTo>
                      <a:pt x="18078" y="8537"/>
                    </a:lnTo>
                    <a:lnTo>
                      <a:pt x="17994" y="8516"/>
                    </a:lnTo>
                    <a:lnTo>
                      <a:pt x="17973" y="8433"/>
                    </a:lnTo>
                    <a:lnTo>
                      <a:pt x="17806" y="8286"/>
                    </a:lnTo>
                    <a:lnTo>
                      <a:pt x="17764" y="8286"/>
                    </a:lnTo>
                    <a:lnTo>
                      <a:pt x="17743" y="8349"/>
                    </a:lnTo>
                    <a:lnTo>
                      <a:pt x="17681" y="8349"/>
                    </a:lnTo>
                    <a:lnTo>
                      <a:pt x="17660" y="8286"/>
                    </a:lnTo>
                    <a:lnTo>
                      <a:pt x="17492" y="8203"/>
                    </a:lnTo>
                    <a:lnTo>
                      <a:pt x="17492" y="8244"/>
                    </a:lnTo>
                    <a:lnTo>
                      <a:pt x="17597" y="8328"/>
                    </a:lnTo>
                    <a:lnTo>
                      <a:pt x="17576" y="8391"/>
                    </a:lnTo>
                    <a:lnTo>
                      <a:pt x="17639" y="8454"/>
                    </a:lnTo>
                    <a:lnTo>
                      <a:pt x="17576" y="8558"/>
                    </a:lnTo>
                    <a:lnTo>
                      <a:pt x="17492" y="8454"/>
                    </a:lnTo>
                    <a:lnTo>
                      <a:pt x="17492" y="8349"/>
                    </a:lnTo>
                    <a:lnTo>
                      <a:pt x="17388" y="8349"/>
                    </a:lnTo>
                    <a:lnTo>
                      <a:pt x="17220" y="8244"/>
                    </a:lnTo>
                    <a:lnTo>
                      <a:pt x="17178" y="8182"/>
                    </a:lnTo>
                    <a:lnTo>
                      <a:pt x="17137" y="8223"/>
                    </a:lnTo>
                    <a:lnTo>
                      <a:pt x="17053" y="8182"/>
                    </a:lnTo>
                    <a:lnTo>
                      <a:pt x="17011" y="8077"/>
                    </a:lnTo>
                    <a:lnTo>
                      <a:pt x="16906" y="7993"/>
                    </a:lnTo>
                    <a:lnTo>
                      <a:pt x="16739" y="7993"/>
                    </a:lnTo>
                    <a:lnTo>
                      <a:pt x="16551" y="7805"/>
                    </a:lnTo>
                    <a:lnTo>
                      <a:pt x="16404" y="7721"/>
                    </a:lnTo>
                    <a:lnTo>
                      <a:pt x="16383" y="7617"/>
                    </a:lnTo>
                    <a:lnTo>
                      <a:pt x="15902" y="7345"/>
                    </a:lnTo>
                    <a:lnTo>
                      <a:pt x="15776" y="7135"/>
                    </a:lnTo>
                    <a:lnTo>
                      <a:pt x="15776" y="6968"/>
                    </a:lnTo>
                    <a:lnTo>
                      <a:pt x="15672" y="6717"/>
                    </a:lnTo>
                    <a:lnTo>
                      <a:pt x="15672" y="6612"/>
                    </a:lnTo>
                    <a:lnTo>
                      <a:pt x="15567" y="6612"/>
                    </a:lnTo>
                    <a:lnTo>
                      <a:pt x="15442" y="6508"/>
                    </a:lnTo>
                    <a:lnTo>
                      <a:pt x="15337" y="6508"/>
                    </a:lnTo>
                    <a:lnTo>
                      <a:pt x="15253" y="6424"/>
                    </a:lnTo>
                    <a:lnTo>
                      <a:pt x="15149" y="6403"/>
                    </a:lnTo>
                    <a:lnTo>
                      <a:pt x="15065" y="6319"/>
                    </a:lnTo>
                    <a:lnTo>
                      <a:pt x="14940" y="6361"/>
                    </a:lnTo>
                    <a:lnTo>
                      <a:pt x="14793" y="6487"/>
                    </a:lnTo>
                    <a:lnTo>
                      <a:pt x="14688" y="6696"/>
                    </a:lnTo>
                    <a:lnTo>
                      <a:pt x="14584" y="6738"/>
                    </a:lnTo>
                    <a:lnTo>
                      <a:pt x="14479" y="6801"/>
                    </a:lnTo>
                    <a:lnTo>
                      <a:pt x="14375" y="6801"/>
                    </a:lnTo>
                    <a:lnTo>
                      <a:pt x="14312" y="6738"/>
                    </a:lnTo>
                    <a:lnTo>
                      <a:pt x="14144" y="6696"/>
                    </a:lnTo>
                    <a:lnTo>
                      <a:pt x="14061" y="6633"/>
                    </a:lnTo>
                    <a:lnTo>
                      <a:pt x="14144" y="6529"/>
                    </a:lnTo>
                    <a:lnTo>
                      <a:pt x="14207" y="6466"/>
                    </a:lnTo>
                    <a:lnTo>
                      <a:pt x="14270" y="6466"/>
                    </a:lnTo>
                    <a:lnTo>
                      <a:pt x="14375" y="6361"/>
                    </a:lnTo>
                    <a:lnTo>
                      <a:pt x="14458" y="6319"/>
                    </a:lnTo>
                    <a:lnTo>
                      <a:pt x="14479" y="6257"/>
                    </a:lnTo>
                    <a:lnTo>
                      <a:pt x="14458" y="6215"/>
                    </a:lnTo>
                    <a:lnTo>
                      <a:pt x="14375" y="6236"/>
                    </a:lnTo>
                    <a:lnTo>
                      <a:pt x="14333" y="6194"/>
                    </a:lnTo>
                    <a:lnTo>
                      <a:pt x="14354" y="6110"/>
                    </a:lnTo>
                    <a:lnTo>
                      <a:pt x="14458" y="6006"/>
                    </a:lnTo>
                    <a:lnTo>
                      <a:pt x="14437" y="5943"/>
                    </a:lnTo>
                    <a:lnTo>
                      <a:pt x="14542" y="5838"/>
                    </a:lnTo>
                    <a:lnTo>
                      <a:pt x="14542" y="5754"/>
                    </a:lnTo>
                    <a:lnTo>
                      <a:pt x="14521" y="5629"/>
                    </a:lnTo>
                    <a:lnTo>
                      <a:pt x="14375" y="5650"/>
                    </a:lnTo>
                    <a:lnTo>
                      <a:pt x="14375" y="5734"/>
                    </a:lnTo>
                    <a:lnTo>
                      <a:pt x="14165" y="5880"/>
                    </a:lnTo>
                    <a:lnTo>
                      <a:pt x="14061" y="5838"/>
                    </a:lnTo>
                    <a:lnTo>
                      <a:pt x="14165" y="6047"/>
                    </a:lnTo>
                    <a:lnTo>
                      <a:pt x="14103" y="6131"/>
                    </a:lnTo>
                    <a:lnTo>
                      <a:pt x="14061" y="6026"/>
                    </a:lnTo>
                    <a:lnTo>
                      <a:pt x="13914" y="6026"/>
                    </a:lnTo>
                    <a:lnTo>
                      <a:pt x="13810" y="6131"/>
                    </a:lnTo>
                    <a:lnTo>
                      <a:pt x="13893" y="6152"/>
                    </a:lnTo>
                    <a:lnTo>
                      <a:pt x="13851" y="6298"/>
                    </a:lnTo>
                    <a:lnTo>
                      <a:pt x="13747" y="6236"/>
                    </a:lnTo>
                    <a:lnTo>
                      <a:pt x="13642" y="6319"/>
                    </a:lnTo>
                    <a:lnTo>
                      <a:pt x="13684" y="6403"/>
                    </a:lnTo>
                    <a:lnTo>
                      <a:pt x="13789" y="6403"/>
                    </a:lnTo>
                    <a:lnTo>
                      <a:pt x="13831" y="6466"/>
                    </a:lnTo>
                    <a:lnTo>
                      <a:pt x="13642" y="6570"/>
                    </a:lnTo>
                    <a:lnTo>
                      <a:pt x="13579" y="6424"/>
                    </a:lnTo>
                    <a:lnTo>
                      <a:pt x="13433" y="6361"/>
                    </a:lnTo>
                    <a:lnTo>
                      <a:pt x="13391" y="6236"/>
                    </a:lnTo>
                    <a:lnTo>
                      <a:pt x="13391" y="5713"/>
                    </a:lnTo>
                    <a:lnTo>
                      <a:pt x="13496" y="5503"/>
                    </a:lnTo>
                    <a:lnTo>
                      <a:pt x="13475" y="5148"/>
                    </a:lnTo>
                    <a:lnTo>
                      <a:pt x="13538" y="5001"/>
                    </a:lnTo>
                    <a:lnTo>
                      <a:pt x="13517" y="4562"/>
                    </a:lnTo>
                    <a:lnTo>
                      <a:pt x="13517" y="4625"/>
                    </a:lnTo>
                    <a:lnTo>
                      <a:pt x="13370" y="4687"/>
                    </a:lnTo>
                    <a:lnTo>
                      <a:pt x="13266" y="4855"/>
                    </a:lnTo>
                    <a:lnTo>
                      <a:pt x="13349" y="4938"/>
                    </a:lnTo>
                    <a:lnTo>
                      <a:pt x="13287" y="5001"/>
                    </a:lnTo>
                    <a:lnTo>
                      <a:pt x="13349" y="5148"/>
                    </a:lnTo>
                    <a:lnTo>
                      <a:pt x="13307" y="5315"/>
                    </a:lnTo>
                    <a:lnTo>
                      <a:pt x="13245" y="5294"/>
                    </a:lnTo>
                    <a:lnTo>
                      <a:pt x="13161" y="5210"/>
                    </a:lnTo>
                    <a:lnTo>
                      <a:pt x="13119" y="5294"/>
                    </a:lnTo>
                    <a:lnTo>
                      <a:pt x="13119" y="5378"/>
                    </a:lnTo>
                    <a:lnTo>
                      <a:pt x="13056" y="5315"/>
                    </a:lnTo>
                    <a:lnTo>
                      <a:pt x="12952" y="5399"/>
                    </a:lnTo>
                    <a:lnTo>
                      <a:pt x="12952" y="5482"/>
                    </a:lnTo>
                    <a:lnTo>
                      <a:pt x="12889" y="5482"/>
                    </a:lnTo>
                    <a:lnTo>
                      <a:pt x="12638" y="5608"/>
                    </a:lnTo>
                    <a:lnTo>
                      <a:pt x="12491" y="5775"/>
                    </a:lnTo>
                    <a:lnTo>
                      <a:pt x="12429" y="5692"/>
                    </a:lnTo>
                    <a:lnTo>
                      <a:pt x="12429" y="5587"/>
                    </a:lnTo>
                    <a:lnTo>
                      <a:pt x="12575" y="5524"/>
                    </a:lnTo>
                    <a:lnTo>
                      <a:pt x="12596" y="5420"/>
                    </a:lnTo>
                    <a:lnTo>
                      <a:pt x="12491" y="5420"/>
                    </a:lnTo>
                    <a:lnTo>
                      <a:pt x="12387" y="5482"/>
                    </a:lnTo>
                    <a:lnTo>
                      <a:pt x="12178" y="5482"/>
                    </a:lnTo>
                    <a:lnTo>
                      <a:pt x="12052" y="5566"/>
                    </a:lnTo>
                    <a:lnTo>
                      <a:pt x="11780" y="5566"/>
                    </a:lnTo>
                    <a:lnTo>
                      <a:pt x="11424" y="5817"/>
                    </a:lnTo>
                    <a:lnTo>
                      <a:pt x="11257" y="5880"/>
                    </a:lnTo>
                    <a:lnTo>
                      <a:pt x="11111" y="6089"/>
                    </a:lnTo>
                    <a:lnTo>
                      <a:pt x="11090" y="5985"/>
                    </a:lnTo>
                    <a:lnTo>
                      <a:pt x="11215" y="5796"/>
                    </a:lnTo>
                    <a:lnTo>
                      <a:pt x="11173" y="5713"/>
                    </a:lnTo>
                    <a:lnTo>
                      <a:pt x="10985" y="5817"/>
                    </a:lnTo>
                    <a:lnTo>
                      <a:pt x="10964" y="5775"/>
                    </a:lnTo>
                    <a:lnTo>
                      <a:pt x="10880" y="5796"/>
                    </a:lnTo>
                    <a:lnTo>
                      <a:pt x="10797" y="5838"/>
                    </a:lnTo>
                    <a:lnTo>
                      <a:pt x="10734" y="5775"/>
                    </a:lnTo>
                    <a:lnTo>
                      <a:pt x="10629" y="5796"/>
                    </a:lnTo>
                    <a:lnTo>
                      <a:pt x="10587" y="5880"/>
                    </a:lnTo>
                    <a:lnTo>
                      <a:pt x="10315" y="6047"/>
                    </a:lnTo>
                    <a:lnTo>
                      <a:pt x="10211" y="6047"/>
                    </a:lnTo>
                    <a:lnTo>
                      <a:pt x="10022" y="6110"/>
                    </a:lnTo>
                    <a:lnTo>
                      <a:pt x="9897" y="6257"/>
                    </a:lnTo>
                    <a:lnTo>
                      <a:pt x="9939" y="6361"/>
                    </a:lnTo>
                    <a:lnTo>
                      <a:pt x="9834" y="6340"/>
                    </a:lnTo>
                    <a:lnTo>
                      <a:pt x="9792" y="6403"/>
                    </a:lnTo>
                    <a:lnTo>
                      <a:pt x="9688" y="6361"/>
                    </a:lnTo>
                    <a:lnTo>
                      <a:pt x="9657" y="6408"/>
                    </a:lnTo>
                    <a:lnTo>
                      <a:pt x="9657" y="6408"/>
                    </a:lnTo>
                    <a:lnTo>
                      <a:pt x="9583" y="6319"/>
                    </a:lnTo>
                    <a:lnTo>
                      <a:pt x="9625" y="6215"/>
                    </a:lnTo>
                    <a:lnTo>
                      <a:pt x="9709" y="6215"/>
                    </a:lnTo>
                    <a:lnTo>
                      <a:pt x="9792" y="6110"/>
                    </a:lnTo>
                    <a:lnTo>
                      <a:pt x="9897" y="6026"/>
                    </a:lnTo>
                    <a:lnTo>
                      <a:pt x="9939" y="6068"/>
                    </a:lnTo>
                    <a:lnTo>
                      <a:pt x="10022" y="6026"/>
                    </a:lnTo>
                    <a:lnTo>
                      <a:pt x="10043" y="5943"/>
                    </a:lnTo>
                    <a:lnTo>
                      <a:pt x="10169" y="5838"/>
                    </a:lnTo>
                    <a:lnTo>
                      <a:pt x="10211" y="5901"/>
                    </a:lnTo>
                    <a:lnTo>
                      <a:pt x="10462" y="5796"/>
                    </a:lnTo>
                    <a:lnTo>
                      <a:pt x="10546" y="5650"/>
                    </a:lnTo>
                    <a:lnTo>
                      <a:pt x="10671" y="5608"/>
                    </a:lnTo>
                    <a:lnTo>
                      <a:pt x="10880" y="5629"/>
                    </a:lnTo>
                    <a:lnTo>
                      <a:pt x="10901" y="5587"/>
                    </a:lnTo>
                    <a:lnTo>
                      <a:pt x="11090" y="5587"/>
                    </a:lnTo>
                    <a:lnTo>
                      <a:pt x="11278" y="5503"/>
                    </a:lnTo>
                    <a:lnTo>
                      <a:pt x="11320" y="5587"/>
                    </a:lnTo>
                    <a:lnTo>
                      <a:pt x="11383" y="5587"/>
                    </a:lnTo>
                    <a:lnTo>
                      <a:pt x="11445" y="5524"/>
                    </a:lnTo>
                    <a:lnTo>
                      <a:pt x="11529" y="5524"/>
                    </a:lnTo>
                    <a:lnTo>
                      <a:pt x="11675" y="5503"/>
                    </a:lnTo>
                    <a:lnTo>
                      <a:pt x="11738" y="5399"/>
                    </a:lnTo>
                    <a:lnTo>
                      <a:pt x="11989" y="5315"/>
                    </a:lnTo>
                    <a:lnTo>
                      <a:pt x="12240" y="5231"/>
                    </a:lnTo>
                    <a:lnTo>
                      <a:pt x="12261" y="5127"/>
                    </a:lnTo>
                    <a:lnTo>
                      <a:pt x="12324" y="5127"/>
                    </a:lnTo>
                    <a:lnTo>
                      <a:pt x="12366" y="5085"/>
                    </a:lnTo>
                    <a:lnTo>
                      <a:pt x="12324" y="5022"/>
                    </a:lnTo>
                    <a:lnTo>
                      <a:pt x="12324" y="4918"/>
                    </a:lnTo>
                    <a:lnTo>
                      <a:pt x="12240" y="4876"/>
                    </a:lnTo>
                    <a:lnTo>
                      <a:pt x="12219" y="4918"/>
                    </a:lnTo>
                    <a:lnTo>
                      <a:pt x="12219" y="5001"/>
                    </a:lnTo>
                    <a:lnTo>
                      <a:pt x="12115" y="5022"/>
                    </a:lnTo>
                    <a:lnTo>
                      <a:pt x="12073" y="4980"/>
                    </a:lnTo>
                    <a:lnTo>
                      <a:pt x="12031" y="4980"/>
                    </a:lnTo>
                    <a:lnTo>
                      <a:pt x="12010" y="4938"/>
                    </a:lnTo>
                    <a:lnTo>
                      <a:pt x="11885" y="4938"/>
                    </a:lnTo>
                    <a:lnTo>
                      <a:pt x="11696" y="5001"/>
                    </a:lnTo>
                    <a:lnTo>
                      <a:pt x="11634" y="5106"/>
                    </a:lnTo>
                    <a:lnTo>
                      <a:pt x="11571" y="5169"/>
                    </a:lnTo>
                    <a:lnTo>
                      <a:pt x="11508" y="5085"/>
                    </a:lnTo>
                    <a:lnTo>
                      <a:pt x="11466" y="5085"/>
                    </a:lnTo>
                    <a:lnTo>
                      <a:pt x="11362" y="5169"/>
                    </a:lnTo>
                    <a:lnTo>
                      <a:pt x="11090" y="5252"/>
                    </a:lnTo>
                    <a:lnTo>
                      <a:pt x="10755" y="5273"/>
                    </a:lnTo>
                    <a:lnTo>
                      <a:pt x="10692" y="5210"/>
                    </a:lnTo>
                    <a:lnTo>
                      <a:pt x="10629" y="5210"/>
                    </a:lnTo>
                    <a:lnTo>
                      <a:pt x="10650" y="5273"/>
                    </a:lnTo>
                    <a:lnTo>
                      <a:pt x="10587" y="5315"/>
                    </a:lnTo>
                    <a:lnTo>
                      <a:pt x="10483" y="5294"/>
                    </a:lnTo>
                    <a:lnTo>
                      <a:pt x="10420" y="5294"/>
                    </a:lnTo>
                    <a:lnTo>
                      <a:pt x="10357" y="5420"/>
                    </a:lnTo>
                    <a:lnTo>
                      <a:pt x="10211" y="5587"/>
                    </a:lnTo>
                    <a:lnTo>
                      <a:pt x="10148" y="5524"/>
                    </a:lnTo>
                    <a:lnTo>
                      <a:pt x="10043" y="5524"/>
                    </a:lnTo>
                    <a:lnTo>
                      <a:pt x="10022" y="5503"/>
                    </a:lnTo>
                    <a:lnTo>
                      <a:pt x="9897" y="5503"/>
                    </a:lnTo>
                    <a:lnTo>
                      <a:pt x="9813" y="5566"/>
                    </a:lnTo>
                    <a:lnTo>
                      <a:pt x="9730" y="5566"/>
                    </a:lnTo>
                    <a:lnTo>
                      <a:pt x="9688" y="5629"/>
                    </a:lnTo>
                    <a:lnTo>
                      <a:pt x="9583" y="5671"/>
                    </a:lnTo>
                    <a:lnTo>
                      <a:pt x="9478" y="5734"/>
                    </a:lnTo>
                    <a:lnTo>
                      <a:pt x="9311" y="5817"/>
                    </a:lnTo>
                    <a:lnTo>
                      <a:pt x="9123" y="5880"/>
                    </a:lnTo>
                    <a:lnTo>
                      <a:pt x="9081" y="5985"/>
                    </a:lnTo>
                    <a:lnTo>
                      <a:pt x="9081" y="6152"/>
                    </a:lnTo>
                    <a:lnTo>
                      <a:pt x="9102" y="6466"/>
                    </a:lnTo>
                    <a:lnTo>
                      <a:pt x="9081" y="6633"/>
                    </a:lnTo>
                    <a:lnTo>
                      <a:pt x="9018" y="6612"/>
                    </a:lnTo>
                    <a:lnTo>
                      <a:pt x="8955" y="6654"/>
                    </a:lnTo>
                    <a:lnTo>
                      <a:pt x="8704" y="6863"/>
                    </a:lnTo>
                    <a:lnTo>
                      <a:pt x="8788" y="6759"/>
                    </a:lnTo>
                    <a:lnTo>
                      <a:pt x="8893" y="6633"/>
                    </a:lnTo>
                    <a:lnTo>
                      <a:pt x="8914" y="6550"/>
                    </a:lnTo>
                    <a:lnTo>
                      <a:pt x="8872" y="6529"/>
                    </a:lnTo>
                    <a:lnTo>
                      <a:pt x="8872" y="6445"/>
                    </a:lnTo>
                    <a:lnTo>
                      <a:pt x="8746" y="6257"/>
                    </a:lnTo>
                    <a:lnTo>
                      <a:pt x="8662" y="6257"/>
                    </a:lnTo>
                    <a:lnTo>
                      <a:pt x="8600" y="6173"/>
                    </a:lnTo>
                    <a:lnTo>
                      <a:pt x="8537" y="6152"/>
                    </a:lnTo>
                    <a:lnTo>
                      <a:pt x="8537" y="6006"/>
                    </a:lnTo>
                    <a:lnTo>
                      <a:pt x="8390" y="5817"/>
                    </a:lnTo>
                    <a:lnTo>
                      <a:pt x="8370" y="5817"/>
                    </a:lnTo>
                    <a:lnTo>
                      <a:pt x="8286" y="5796"/>
                    </a:lnTo>
                    <a:lnTo>
                      <a:pt x="8265" y="5692"/>
                    </a:lnTo>
                    <a:lnTo>
                      <a:pt x="8181" y="5629"/>
                    </a:lnTo>
                    <a:lnTo>
                      <a:pt x="8139" y="5671"/>
                    </a:lnTo>
                    <a:lnTo>
                      <a:pt x="8035" y="5587"/>
                    </a:lnTo>
                    <a:lnTo>
                      <a:pt x="7846" y="5378"/>
                    </a:lnTo>
                    <a:lnTo>
                      <a:pt x="7805" y="5190"/>
                    </a:lnTo>
                    <a:lnTo>
                      <a:pt x="7805" y="5001"/>
                    </a:lnTo>
                    <a:lnTo>
                      <a:pt x="7763" y="4980"/>
                    </a:lnTo>
                    <a:lnTo>
                      <a:pt x="7721" y="5043"/>
                    </a:lnTo>
                    <a:lnTo>
                      <a:pt x="7658" y="5001"/>
                    </a:lnTo>
                    <a:lnTo>
                      <a:pt x="7616" y="4876"/>
                    </a:lnTo>
                    <a:lnTo>
                      <a:pt x="7658" y="4750"/>
                    </a:lnTo>
                    <a:lnTo>
                      <a:pt x="7637" y="4729"/>
                    </a:lnTo>
                    <a:lnTo>
                      <a:pt x="7658" y="4646"/>
                    </a:lnTo>
                    <a:lnTo>
                      <a:pt x="7533" y="4520"/>
                    </a:lnTo>
                    <a:lnTo>
                      <a:pt x="7533" y="4415"/>
                    </a:lnTo>
                    <a:lnTo>
                      <a:pt x="7428" y="4332"/>
                    </a:lnTo>
                    <a:lnTo>
                      <a:pt x="7386" y="4332"/>
                    </a:lnTo>
                    <a:lnTo>
                      <a:pt x="7323" y="4248"/>
                    </a:lnTo>
                    <a:lnTo>
                      <a:pt x="7219" y="4164"/>
                    </a:lnTo>
                    <a:lnTo>
                      <a:pt x="7114" y="4164"/>
                    </a:lnTo>
                    <a:lnTo>
                      <a:pt x="6800" y="3934"/>
                    </a:lnTo>
                    <a:lnTo>
                      <a:pt x="6717" y="3934"/>
                    </a:lnTo>
                    <a:lnTo>
                      <a:pt x="6696" y="3850"/>
                    </a:lnTo>
                    <a:lnTo>
                      <a:pt x="0" y="16091"/>
                    </a:lnTo>
                    <a:lnTo>
                      <a:pt x="377" y="16091"/>
                    </a:lnTo>
                    <a:lnTo>
                      <a:pt x="502" y="16153"/>
                    </a:lnTo>
                    <a:lnTo>
                      <a:pt x="711" y="16007"/>
                    </a:lnTo>
                    <a:lnTo>
                      <a:pt x="1004" y="16049"/>
                    </a:lnTo>
                    <a:lnTo>
                      <a:pt x="858" y="16300"/>
                    </a:lnTo>
                    <a:lnTo>
                      <a:pt x="921" y="16446"/>
                    </a:lnTo>
                    <a:lnTo>
                      <a:pt x="1025" y="16718"/>
                    </a:lnTo>
                    <a:lnTo>
                      <a:pt x="1172" y="17388"/>
                    </a:lnTo>
                    <a:lnTo>
                      <a:pt x="1235" y="17534"/>
                    </a:lnTo>
                    <a:lnTo>
                      <a:pt x="1130" y="17702"/>
                    </a:lnTo>
                    <a:lnTo>
                      <a:pt x="1130" y="17765"/>
                    </a:lnTo>
                    <a:lnTo>
                      <a:pt x="1172" y="17765"/>
                    </a:lnTo>
                    <a:lnTo>
                      <a:pt x="1381" y="17744"/>
                    </a:lnTo>
                    <a:lnTo>
                      <a:pt x="1569" y="17723"/>
                    </a:lnTo>
                    <a:lnTo>
                      <a:pt x="1695" y="17639"/>
                    </a:lnTo>
                    <a:lnTo>
                      <a:pt x="1862" y="17409"/>
                    </a:lnTo>
                    <a:lnTo>
                      <a:pt x="1988" y="17283"/>
                    </a:lnTo>
                    <a:lnTo>
                      <a:pt x="2197" y="17200"/>
                    </a:lnTo>
                    <a:lnTo>
                      <a:pt x="2260" y="17179"/>
                    </a:lnTo>
                    <a:lnTo>
                      <a:pt x="2469" y="17116"/>
                    </a:lnTo>
                    <a:lnTo>
                      <a:pt x="2636" y="17116"/>
                    </a:lnTo>
                    <a:lnTo>
                      <a:pt x="2783" y="17221"/>
                    </a:lnTo>
                    <a:lnTo>
                      <a:pt x="2783" y="17325"/>
                    </a:lnTo>
                    <a:lnTo>
                      <a:pt x="2804" y="17409"/>
                    </a:lnTo>
                    <a:lnTo>
                      <a:pt x="2720" y="17555"/>
                    </a:lnTo>
                    <a:lnTo>
                      <a:pt x="2699" y="17639"/>
                    </a:lnTo>
                    <a:lnTo>
                      <a:pt x="2825" y="17974"/>
                    </a:lnTo>
                    <a:lnTo>
                      <a:pt x="2804" y="18078"/>
                    </a:lnTo>
                    <a:lnTo>
                      <a:pt x="2846" y="18288"/>
                    </a:lnTo>
                    <a:lnTo>
                      <a:pt x="2992" y="18455"/>
                    </a:lnTo>
                    <a:lnTo>
                      <a:pt x="3013" y="18664"/>
                    </a:lnTo>
                    <a:lnTo>
                      <a:pt x="3055" y="18748"/>
                    </a:lnTo>
                    <a:lnTo>
                      <a:pt x="3097" y="18853"/>
                    </a:lnTo>
                    <a:lnTo>
                      <a:pt x="3034" y="18957"/>
                    </a:lnTo>
                    <a:lnTo>
                      <a:pt x="3034" y="19062"/>
                    </a:lnTo>
                    <a:lnTo>
                      <a:pt x="3055" y="19146"/>
                    </a:lnTo>
                    <a:lnTo>
                      <a:pt x="3013" y="19501"/>
                    </a:lnTo>
                    <a:lnTo>
                      <a:pt x="3013" y="19920"/>
                    </a:lnTo>
                    <a:lnTo>
                      <a:pt x="3034" y="20338"/>
                    </a:lnTo>
                    <a:lnTo>
                      <a:pt x="2929" y="20380"/>
                    </a:lnTo>
                    <a:lnTo>
                      <a:pt x="2929" y="20464"/>
                    </a:lnTo>
                    <a:lnTo>
                      <a:pt x="2971" y="20464"/>
                    </a:lnTo>
                    <a:lnTo>
                      <a:pt x="3055" y="20527"/>
                    </a:lnTo>
                    <a:lnTo>
                      <a:pt x="3076" y="20568"/>
                    </a:lnTo>
                    <a:lnTo>
                      <a:pt x="3034" y="20589"/>
                    </a:lnTo>
                    <a:lnTo>
                      <a:pt x="2971" y="20652"/>
                    </a:lnTo>
                    <a:lnTo>
                      <a:pt x="3013" y="20736"/>
                    </a:lnTo>
                    <a:lnTo>
                      <a:pt x="3055" y="20778"/>
                    </a:lnTo>
                    <a:lnTo>
                      <a:pt x="3076" y="20861"/>
                    </a:lnTo>
                    <a:lnTo>
                      <a:pt x="3055" y="20903"/>
                    </a:lnTo>
                    <a:lnTo>
                      <a:pt x="3055" y="20966"/>
                    </a:lnTo>
                    <a:lnTo>
                      <a:pt x="3160" y="20966"/>
                    </a:lnTo>
                    <a:lnTo>
                      <a:pt x="3243" y="20987"/>
                    </a:lnTo>
                    <a:lnTo>
                      <a:pt x="3348" y="21154"/>
                    </a:lnTo>
                    <a:lnTo>
                      <a:pt x="3369" y="21217"/>
                    </a:lnTo>
                    <a:lnTo>
                      <a:pt x="3452" y="21280"/>
                    </a:lnTo>
                    <a:lnTo>
                      <a:pt x="3578" y="21363"/>
                    </a:lnTo>
                    <a:lnTo>
                      <a:pt x="3641" y="21468"/>
                    </a:lnTo>
                    <a:lnTo>
                      <a:pt x="3641" y="21573"/>
                    </a:lnTo>
                    <a:lnTo>
                      <a:pt x="3683" y="21594"/>
                    </a:lnTo>
                    <a:lnTo>
                      <a:pt x="3704" y="21635"/>
                    </a:lnTo>
                    <a:lnTo>
                      <a:pt x="3683" y="21698"/>
                    </a:lnTo>
                    <a:lnTo>
                      <a:pt x="3683" y="21740"/>
                    </a:lnTo>
                    <a:lnTo>
                      <a:pt x="3641" y="21782"/>
                    </a:lnTo>
                    <a:lnTo>
                      <a:pt x="3641" y="21845"/>
                    </a:lnTo>
                    <a:lnTo>
                      <a:pt x="3641" y="21887"/>
                    </a:lnTo>
                    <a:lnTo>
                      <a:pt x="3662" y="21907"/>
                    </a:lnTo>
                    <a:lnTo>
                      <a:pt x="3599" y="22033"/>
                    </a:lnTo>
                    <a:lnTo>
                      <a:pt x="3452" y="22326"/>
                    </a:lnTo>
                    <a:lnTo>
                      <a:pt x="3432" y="22514"/>
                    </a:lnTo>
                    <a:lnTo>
                      <a:pt x="3285" y="22661"/>
                    </a:lnTo>
                    <a:lnTo>
                      <a:pt x="3285" y="22744"/>
                    </a:lnTo>
                    <a:lnTo>
                      <a:pt x="3327" y="22744"/>
                    </a:lnTo>
                    <a:lnTo>
                      <a:pt x="3494" y="22535"/>
                    </a:lnTo>
                    <a:lnTo>
                      <a:pt x="3536" y="22410"/>
                    </a:lnTo>
                    <a:lnTo>
                      <a:pt x="3662" y="22305"/>
                    </a:lnTo>
                    <a:lnTo>
                      <a:pt x="3683" y="22347"/>
                    </a:lnTo>
                    <a:lnTo>
                      <a:pt x="3766" y="22368"/>
                    </a:lnTo>
                    <a:lnTo>
                      <a:pt x="3766" y="22431"/>
                    </a:lnTo>
                    <a:lnTo>
                      <a:pt x="3599" y="22514"/>
                    </a:lnTo>
                    <a:lnTo>
                      <a:pt x="3557" y="22619"/>
                    </a:lnTo>
                    <a:lnTo>
                      <a:pt x="3390" y="22786"/>
                    </a:lnTo>
                    <a:lnTo>
                      <a:pt x="3390" y="22828"/>
                    </a:lnTo>
                    <a:lnTo>
                      <a:pt x="3473" y="22828"/>
                    </a:lnTo>
                    <a:lnTo>
                      <a:pt x="3432" y="22870"/>
                    </a:lnTo>
                    <a:lnTo>
                      <a:pt x="3285" y="22849"/>
                    </a:lnTo>
                    <a:lnTo>
                      <a:pt x="3222" y="22870"/>
                    </a:lnTo>
                    <a:lnTo>
                      <a:pt x="3160" y="23037"/>
                    </a:lnTo>
                    <a:lnTo>
                      <a:pt x="3055" y="23142"/>
                    </a:lnTo>
                    <a:lnTo>
                      <a:pt x="3076" y="23268"/>
                    </a:lnTo>
                    <a:lnTo>
                      <a:pt x="3034" y="23247"/>
                    </a:lnTo>
                    <a:lnTo>
                      <a:pt x="2971" y="23184"/>
                    </a:lnTo>
                    <a:lnTo>
                      <a:pt x="2908" y="23247"/>
                    </a:lnTo>
                    <a:lnTo>
                      <a:pt x="2908" y="23393"/>
                    </a:lnTo>
                    <a:lnTo>
                      <a:pt x="3013" y="23393"/>
                    </a:lnTo>
                    <a:lnTo>
                      <a:pt x="3034" y="23477"/>
                    </a:lnTo>
                    <a:lnTo>
                      <a:pt x="2971" y="23665"/>
                    </a:lnTo>
                    <a:lnTo>
                      <a:pt x="2950" y="23937"/>
                    </a:lnTo>
                    <a:lnTo>
                      <a:pt x="3013" y="24125"/>
                    </a:lnTo>
                    <a:lnTo>
                      <a:pt x="3076" y="24293"/>
                    </a:lnTo>
                    <a:lnTo>
                      <a:pt x="3160" y="24314"/>
                    </a:lnTo>
                    <a:lnTo>
                      <a:pt x="3180" y="24230"/>
                    </a:lnTo>
                    <a:lnTo>
                      <a:pt x="3264" y="24146"/>
                    </a:lnTo>
                    <a:lnTo>
                      <a:pt x="3452" y="24104"/>
                    </a:lnTo>
                    <a:lnTo>
                      <a:pt x="3557" y="24021"/>
                    </a:lnTo>
                    <a:lnTo>
                      <a:pt x="3662" y="23895"/>
                    </a:lnTo>
                    <a:lnTo>
                      <a:pt x="3704" y="23895"/>
                    </a:lnTo>
                    <a:lnTo>
                      <a:pt x="3704" y="24021"/>
                    </a:lnTo>
                    <a:lnTo>
                      <a:pt x="3662" y="24125"/>
                    </a:lnTo>
                    <a:lnTo>
                      <a:pt x="3599" y="24146"/>
                    </a:lnTo>
                    <a:lnTo>
                      <a:pt x="3536" y="24251"/>
                    </a:lnTo>
                    <a:lnTo>
                      <a:pt x="3536" y="24314"/>
                    </a:lnTo>
                    <a:lnTo>
                      <a:pt x="3641" y="24397"/>
                    </a:lnTo>
                    <a:lnTo>
                      <a:pt x="3704" y="24460"/>
                    </a:lnTo>
                    <a:lnTo>
                      <a:pt x="3808" y="24460"/>
                    </a:lnTo>
                    <a:lnTo>
                      <a:pt x="3892" y="24502"/>
                    </a:lnTo>
                    <a:lnTo>
                      <a:pt x="3955" y="24544"/>
                    </a:lnTo>
                    <a:lnTo>
                      <a:pt x="3808" y="24502"/>
                    </a:lnTo>
                    <a:lnTo>
                      <a:pt x="3683" y="24502"/>
                    </a:lnTo>
                    <a:lnTo>
                      <a:pt x="3578" y="24439"/>
                    </a:lnTo>
                    <a:lnTo>
                      <a:pt x="3432" y="24439"/>
                    </a:lnTo>
                    <a:lnTo>
                      <a:pt x="3369" y="24523"/>
                    </a:lnTo>
                    <a:lnTo>
                      <a:pt x="3369" y="24607"/>
                    </a:lnTo>
                    <a:lnTo>
                      <a:pt x="3432" y="24669"/>
                    </a:lnTo>
                    <a:lnTo>
                      <a:pt x="3452" y="24920"/>
                    </a:lnTo>
                    <a:lnTo>
                      <a:pt x="3494" y="24983"/>
                    </a:lnTo>
                    <a:lnTo>
                      <a:pt x="3557" y="24983"/>
                    </a:lnTo>
                    <a:lnTo>
                      <a:pt x="3641" y="24941"/>
                    </a:lnTo>
                    <a:lnTo>
                      <a:pt x="3683" y="24983"/>
                    </a:lnTo>
                    <a:lnTo>
                      <a:pt x="3641" y="25046"/>
                    </a:lnTo>
                    <a:lnTo>
                      <a:pt x="3599" y="25088"/>
                    </a:lnTo>
                    <a:lnTo>
                      <a:pt x="3683" y="25151"/>
                    </a:lnTo>
                    <a:lnTo>
                      <a:pt x="3683" y="25192"/>
                    </a:lnTo>
                    <a:lnTo>
                      <a:pt x="3662" y="25255"/>
                    </a:lnTo>
                    <a:lnTo>
                      <a:pt x="3557" y="25234"/>
                    </a:lnTo>
                    <a:lnTo>
                      <a:pt x="3411" y="25276"/>
                    </a:lnTo>
                    <a:lnTo>
                      <a:pt x="3264" y="25381"/>
                    </a:lnTo>
                    <a:lnTo>
                      <a:pt x="3243" y="25423"/>
                    </a:lnTo>
                    <a:lnTo>
                      <a:pt x="3306" y="25485"/>
                    </a:lnTo>
                    <a:lnTo>
                      <a:pt x="3452" y="25423"/>
                    </a:lnTo>
                    <a:lnTo>
                      <a:pt x="3536" y="25465"/>
                    </a:lnTo>
                    <a:lnTo>
                      <a:pt x="3452" y="25485"/>
                    </a:lnTo>
                    <a:lnTo>
                      <a:pt x="3432" y="25548"/>
                    </a:lnTo>
                    <a:lnTo>
                      <a:pt x="3515" y="25632"/>
                    </a:lnTo>
                    <a:lnTo>
                      <a:pt x="3662" y="25590"/>
                    </a:lnTo>
                    <a:lnTo>
                      <a:pt x="3829" y="25465"/>
                    </a:lnTo>
                    <a:lnTo>
                      <a:pt x="3934" y="25297"/>
                    </a:lnTo>
                    <a:lnTo>
                      <a:pt x="4038" y="25297"/>
                    </a:lnTo>
                    <a:lnTo>
                      <a:pt x="4143" y="25213"/>
                    </a:lnTo>
                    <a:lnTo>
                      <a:pt x="4164" y="25109"/>
                    </a:lnTo>
                    <a:lnTo>
                      <a:pt x="4185" y="25088"/>
                    </a:lnTo>
                    <a:lnTo>
                      <a:pt x="4206" y="25172"/>
                    </a:lnTo>
                    <a:lnTo>
                      <a:pt x="4143" y="25339"/>
                    </a:lnTo>
                    <a:lnTo>
                      <a:pt x="4038" y="25402"/>
                    </a:lnTo>
                    <a:lnTo>
                      <a:pt x="3913" y="25465"/>
                    </a:lnTo>
                    <a:lnTo>
                      <a:pt x="3892" y="25548"/>
                    </a:lnTo>
                    <a:lnTo>
                      <a:pt x="3955" y="25611"/>
                    </a:lnTo>
                    <a:lnTo>
                      <a:pt x="4038" y="25590"/>
                    </a:lnTo>
                    <a:lnTo>
                      <a:pt x="4164" y="25590"/>
                    </a:lnTo>
                    <a:lnTo>
                      <a:pt x="4268" y="25611"/>
                    </a:lnTo>
                    <a:lnTo>
                      <a:pt x="4122" y="25611"/>
                    </a:lnTo>
                    <a:lnTo>
                      <a:pt x="4017" y="25674"/>
                    </a:lnTo>
                    <a:lnTo>
                      <a:pt x="4017" y="25820"/>
                    </a:lnTo>
                    <a:lnTo>
                      <a:pt x="4059" y="25967"/>
                    </a:lnTo>
                    <a:lnTo>
                      <a:pt x="4017" y="25988"/>
                    </a:lnTo>
                    <a:lnTo>
                      <a:pt x="3976" y="25904"/>
                    </a:lnTo>
                    <a:lnTo>
                      <a:pt x="3976" y="25757"/>
                    </a:lnTo>
                    <a:lnTo>
                      <a:pt x="3913" y="25674"/>
                    </a:lnTo>
                    <a:lnTo>
                      <a:pt x="3850" y="25716"/>
                    </a:lnTo>
                    <a:lnTo>
                      <a:pt x="3578" y="25904"/>
                    </a:lnTo>
                    <a:lnTo>
                      <a:pt x="3536" y="25988"/>
                    </a:lnTo>
                    <a:lnTo>
                      <a:pt x="3369" y="26071"/>
                    </a:lnTo>
                    <a:lnTo>
                      <a:pt x="3327" y="26134"/>
                    </a:lnTo>
                    <a:lnTo>
                      <a:pt x="3348" y="26218"/>
                    </a:lnTo>
                    <a:lnTo>
                      <a:pt x="3348" y="26301"/>
                    </a:lnTo>
                    <a:lnTo>
                      <a:pt x="3369" y="26322"/>
                    </a:lnTo>
                    <a:lnTo>
                      <a:pt x="3452" y="26281"/>
                    </a:lnTo>
                    <a:lnTo>
                      <a:pt x="3557" y="26218"/>
                    </a:lnTo>
                    <a:lnTo>
                      <a:pt x="3599" y="26113"/>
                    </a:lnTo>
                    <a:lnTo>
                      <a:pt x="3662" y="26134"/>
                    </a:lnTo>
                    <a:lnTo>
                      <a:pt x="3704" y="26197"/>
                    </a:lnTo>
                    <a:lnTo>
                      <a:pt x="3892" y="26218"/>
                    </a:lnTo>
                    <a:lnTo>
                      <a:pt x="3871" y="26239"/>
                    </a:lnTo>
                    <a:lnTo>
                      <a:pt x="3766" y="26218"/>
                    </a:lnTo>
                    <a:lnTo>
                      <a:pt x="3599" y="26218"/>
                    </a:lnTo>
                    <a:lnTo>
                      <a:pt x="3536" y="26281"/>
                    </a:lnTo>
                    <a:lnTo>
                      <a:pt x="3536" y="26322"/>
                    </a:lnTo>
                    <a:lnTo>
                      <a:pt x="3557" y="26385"/>
                    </a:lnTo>
                    <a:lnTo>
                      <a:pt x="3473" y="26406"/>
                    </a:lnTo>
                    <a:lnTo>
                      <a:pt x="3432" y="26385"/>
                    </a:lnTo>
                    <a:lnTo>
                      <a:pt x="3264" y="26427"/>
                    </a:lnTo>
                    <a:lnTo>
                      <a:pt x="3264" y="26490"/>
                    </a:lnTo>
                    <a:lnTo>
                      <a:pt x="3390" y="26490"/>
                    </a:lnTo>
                    <a:lnTo>
                      <a:pt x="3473" y="26532"/>
                    </a:lnTo>
                    <a:lnTo>
                      <a:pt x="3578" y="26532"/>
                    </a:lnTo>
                    <a:lnTo>
                      <a:pt x="3515" y="26594"/>
                    </a:lnTo>
                    <a:lnTo>
                      <a:pt x="3390" y="26594"/>
                    </a:lnTo>
                    <a:lnTo>
                      <a:pt x="3327" y="26532"/>
                    </a:lnTo>
                    <a:lnTo>
                      <a:pt x="3222" y="26553"/>
                    </a:lnTo>
                    <a:lnTo>
                      <a:pt x="3180" y="26657"/>
                    </a:lnTo>
                    <a:lnTo>
                      <a:pt x="3243" y="26720"/>
                    </a:lnTo>
                    <a:lnTo>
                      <a:pt x="3327" y="26720"/>
                    </a:lnTo>
                    <a:lnTo>
                      <a:pt x="3452" y="26699"/>
                    </a:lnTo>
                    <a:lnTo>
                      <a:pt x="3536" y="26741"/>
                    </a:lnTo>
                    <a:lnTo>
                      <a:pt x="3683" y="26741"/>
                    </a:lnTo>
                    <a:lnTo>
                      <a:pt x="3662" y="26804"/>
                    </a:lnTo>
                    <a:lnTo>
                      <a:pt x="3557" y="26825"/>
                    </a:lnTo>
                    <a:lnTo>
                      <a:pt x="3452" y="26804"/>
                    </a:lnTo>
                    <a:lnTo>
                      <a:pt x="3432" y="26825"/>
                    </a:lnTo>
                    <a:lnTo>
                      <a:pt x="3452" y="26845"/>
                    </a:lnTo>
                    <a:lnTo>
                      <a:pt x="3662" y="26845"/>
                    </a:lnTo>
                    <a:lnTo>
                      <a:pt x="3662" y="26908"/>
                    </a:lnTo>
                    <a:lnTo>
                      <a:pt x="3536" y="26929"/>
                    </a:lnTo>
                    <a:lnTo>
                      <a:pt x="3390" y="26908"/>
                    </a:lnTo>
                    <a:lnTo>
                      <a:pt x="3327" y="26845"/>
                    </a:lnTo>
                    <a:lnTo>
                      <a:pt x="3264" y="26908"/>
                    </a:lnTo>
                    <a:lnTo>
                      <a:pt x="3327" y="27013"/>
                    </a:lnTo>
                    <a:lnTo>
                      <a:pt x="3452" y="27076"/>
                    </a:lnTo>
                    <a:lnTo>
                      <a:pt x="3473" y="27013"/>
                    </a:lnTo>
                    <a:lnTo>
                      <a:pt x="3557" y="27013"/>
                    </a:lnTo>
                    <a:lnTo>
                      <a:pt x="3641" y="27055"/>
                    </a:lnTo>
                    <a:lnTo>
                      <a:pt x="3787" y="27034"/>
                    </a:lnTo>
                    <a:lnTo>
                      <a:pt x="3850" y="27076"/>
                    </a:lnTo>
                    <a:lnTo>
                      <a:pt x="3766" y="27117"/>
                    </a:lnTo>
                    <a:lnTo>
                      <a:pt x="3766" y="27159"/>
                    </a:lnTo>
                    <a:lnTo>
                      <a:pt x="3871" y="27159"/>
                    </a:lnTo>
                    <a:lnTo>
                      <a:pt x="3892" y="27243"/>
                    </a:lnTo>
                    <a:lnTo>
                      <a:pt x="4026" y="27276"/>
                    </a:lnTo>
                    <a:lnTo>
                      <a:pt x="3976" y="27285"/>
                    </a:lnTo>
                    <a:lnTo>
                      <a:pt x="3871" y="27285"/>
                    </a:lnTo>
                    <a:lnTo>
                      <a:pt x="3787" y="27369"/>
                    </a:lnTo>
                    <a:lnTo>
                      <a:pt x="3787" y="27431"/>
                    </a:lnTo>
                    <a:lnTo>
                      <a:pt x="3871" y="27473"/>
                    </a:lnTo>
                    <a:lnTo>
                      <a:pt x="3913" y="27431"/>
                    </a:lnTo>
                    <a:lnTo>
                      <a:pt x="3976" y="27389"/>
                    </a:lnTo>
                    <a:lnTo>
                      <a:pt x="3996" y="27452"/>
                    </a:lnTo>
                    <a:lnTo>
                      <a:pt x="4017" y="27452"/>
                    </a:lnTo>
                    <a:lnTo>
                      <a:pt x="4080" y="27369"/>
                    </a:lnTo>
                    <a:lnTo>
                      <a:pt x="4185" y="27306"/>
                    </a:lnTo>
                    <a:lnTo>
                      <a:pt x="4185" y="27369"/>
                    </a:lnTo>
                    <a:lnTo>
                      <a:pt x="4164" y="27410"/>
                    </a:lnTo>
                    <a:lnTo>
                      <a:pt x="4164" y="27473"/>
                    </a:lnTo>
                    <a:lnTo>
                      <a:pt x="4206" y="27494"/>
                    </a:lnTo>
                    <a:lnTo>
                      <a:pt x="4289" y="27557"/>
                    </a:lnTo>
                    <a:lnTo>
                      <a:pt x="4373" y="27557"/>
                    </a:lnTo>
                    <a:lnTo>
                      <a:pt x="4499" y="27369"/>
                    </a:lnTo>
                    <a:lnTo>
                      <a:pt x="4520" y="27159"/>
                    </a:lnTo>
                    <a:lnTo>
                      <a:pt x="4582" y="27055"/>
                    </a:lnTo>
                    <a:lnTo>
                      <a:pt x="4645" y="27034"/>
                    </a:lnTo>
                    <a:lnTo>
                      <a:pt x="4645" y="27097"/>
                    </a:lnTo>
                    <a:lnTo>
                      <a:pt x="4603" y="27159"/>
                    </a:lnTo>
                    <a:lnTo>
                      <a:pt x="4603" y="27306"/>
                    </a:lnTo>
                    <a:lnTo>
                      <a:pt x="4499" y="27473"/>
                    </a:lnTo>
                    <a:lnTo>
                      <a:pt x="4415" y="27557"/>
                    </a:lnTo>
                    <a:lnTo>
                      <a:pt x="4436" y="27599"/>
                    </a:lnTo>
                    <a:lnTo>
                      <a:pt x="4582" y="27599"/>
                    </a:lnTo>
                    <a:lnTo>
                      <a:pt x="4687" y="27578"/>
                    </a:lnTo>
                    <a:lnTo>
                      <a:pt x="4708" y="27599"/>
                    </a:lnTo>
                    <a:lnTo>
                      <a:pt x="4624" y="27682"/>
                    </a:lnTo>
                    <a:lnTo>
                      <a:pt x="4582" y="27808"/>
                    </a:lnTo>
                    <a:lnTo>
                      <a:pt x="4415" y="27913"/>
                    </a:lnTo>
                    <a:lnTo>
                      <a:pt x="4415" y="27975"/>
                    </a:lnTo>
                    <a:lnTo>
                      <a:pt x="4499" y="28122"/>
                    </a:lnTo>
                    <a:lnTo>
                      <a:pt x="4624" y="28185"/>
                    </a:lnTo>
                    <a:lnTo>
                      <a:pt x="4708" y="28122"/>
                    </a:lnTo>
                    <a:lnTo>
                      <a:pt x="4792" y="28122"/>
                    </a:lnTo>
                    <a:lnTo>
                      <a:pt x="4812" y="28226"/>
                    </a:lnTo>
                    <a:lnTo>
                      <a:pt x="4875" y="28331"/>
                    </a:lnTo>
                    <a:lnTo>
                      <a:pt x="4875" y="28415"/>
                    </a:lnTo>
                    <a:lnTo>
                      <a:pt x="4812" y="28415"/>
                    </a:lnTo>
                    <a:lnTo>
                      <a:pt x="4771" y="28310"/>
                    </a:lnTo>
                    <a:lnTo>
                      <a:pt x="4708" y="28310"/>
                    </a:lnTo>
                    <a:lnTo>
                      <a:pt x="4708" y="28415"/>
                    </a:lnTo>
                    <a:lnTo>
                      <a:pt x="4812" y="28561"/>
                    </a:lnTo>
                    <a:lnTo>
                      <a:pt x="4938" y="28498"/>
                    </a:lnTo>
                    <a:lnTo>
                      <a:pt x="5085" y="28436"/>
                    </a:lnTo>
                    <a:lnTo>
                      <a:pt x="5147" y="28352"/>
                    </a:lnTo>
                    <a:lnTo>
                      <a:pt x="5147" y="28352"/>
                    </a:lnTo>
                    <a:lnTo>
                      <a:pt x="5126" y="28519"/>
                    </a:lnTo>
                    <a:lnTo>
                      <a:pt x="5022" y="28750"/>
                    </a:lnTo>
                    <a:lnTo>
                      <a:pt x="5043" y="28938"/>
                    </a:lnTo>
                    <a:lnTo>
                      <a:pt x="5126" y="28959"/>
                    </a:lnTo>
                    <a:lnTo>
                      <a:pt x="20087" y="30444"/>
                    </a:lnTo>
                    <a:lnTo>
                      <a:pt x="20212" y="30507"/>
                    </a:lnTo>
                    <a:lnTo>
                      <a:pt x="20359" y="30507"/>
                    </a:lnTo>
                    <a:lnTo>
                      <a:pt x="20484" y="30612"/>
                    </a:lnTo>
                    <a:lnTo>
                      <a:pt x="20484" y="30674"/>
                    </a:lnTo>
                    <a:lnTo>
                      <a:pt x="20568" y="30737"/>
                    </a:lnTo>
                    <a:lnTo>
                      <a:pt x="20589" y="30779"/>
                    </a:lnTo>
                    <a:lnTo>
                      <a:pt x="20694" y="30821"/>
                    </a:lnTo>
                    <a:lnTo>
                      <a:pt x="20714" y="30842"/>
                    </a:lnTo>
                    <a:lnTo>
                      <a:pt x="20840" y="30884"/>
                    </a:lnTo>
                    <a:lnTo>
                      <a:pt x="20903" y="30946"/>
                    </a:lnTo>
                    <a:lnTo>
                      <a:pt x="20945" y="30946"/>
                    </a:lnTo>
                    <a:lnTo>
                      <a:pt x="21049" y="30926"/>
                    </a:lnTo>
                    <a:lnTo>
                      <a:pt x="21133" y="30946"/>
                    </a:lnTo>
                    <a:lnTo>
                      <a:pt x="21238" y="30946"/>
                    </a:lnTo>
                    <a:lnTo>
                      <a:pt x="21363" y="31051"/>
                    </a:lnTo>
                    <a:lnTo>
                      <a:pt x="21447" y="31051"/>
                    </a:lnTo>
                    <a:lnTo>
                      <a:pt x="21510" y="31198"/>
                    </a:lnTo>
                    <a:lnTo>
                      <a:pt x="21719" y="31239"/>
                    </a:lnTo>
                    <a:lnTo>
                      <a:pt x="21823" y="31260"/>
                    </a:lnTo>
                    <a:lnTo>
                      <a:pt x="21886" y="31344"/>
                    </a:lnTo>
                    <a:lnTo>
                      <a:pt x="21970" y="31407"/>
                    </a:lnTo>
                    <a:lnTo>
                      <a:pt x="22158" y="31407"/>
                    </a:lnTo>
                    <a:lnTo>
                      <a:pt x="22263" y="31344"/>
                    </a:lnTo>
                    <a:lnTo>
                      <a:pt x="22305" y="31407"/>
                    </a:lnTo>
                    <a:lnTo>
                      <a:pt x="22367" y="31511"/>
                    </a:lnTo>
                    <a:lnTo>
                      <a:pt x="22618" y="31532"/>
                    </a:lnTo>
                    <a:lnTo>
                      <a:pt x="22681" y="31574"/>
                    </a:lnTo>
                    <a:lnTo>
                      <a:pt x="22807" y="31616"/>
                    </a:lnTo>
                    <a:lnTo>
                      <a:pt x="22890" y="31658"/>
                    </a:lnTo>
                    <a:lnTo>
                      <a:pt x="25192" y="32725"/>
                    </a:lnTo>
                    <a:lnTo>
                      <a:pt x="25339" y="32913"/>
                    </a:lnTo>
                    <a:lnTo>
                      <a:pt x="25694" y="33206"/>
                    </a:lnTo>
                    <a:lnTo>
                      <a:pt x="26050" y="34985"/>
                    </a:lnTo>
                    <a:lnTo>
                      <a:pt x="26008" y="35738"/>
                    </a:lnTo>
                    <a:lnTo>
                      <a:pt x="25945" y="35864"/>
                    </a:lnTo>
                    <a:lnTo>
                      <a:pt x="25903" y="36010"/>
                    </a:lnTo>
                    <a:lnTo>
                      <a:pt x="25820" y="36136"/>
                    </a:lnTo>
                    <a:lnTo>
                      <a:pt x="25611" y="36240"/>
                    </a:lnTo>
                    <a:lnTo>
                      <a:pt x="25506" y="36366"/>
                    </a:lnTo>
                    <a:lnTo>
                      <a:pt x="25611" y="36554"/>
                    </a:lnTo>
                    <a:lnTo>
                      <a:pt x="27598" y="36031"/>
                    </a:lnTo>
                    <a:lnTo>
                      <a:pt x="27849" y="35947"/>
                    </a:lnTo>
                    <a:lnTo>
                      <a:pt x="27912" y="35654"/>
                    </a:lnTo>
                    <a:lnTo>
                      <a:pt x="28979" y="35340"/>
                    </a:lnTo>
                    <a:lnTo>
                      <a:pt x="29461" y="34985"/>
                    </a:lnTo>
                    <a:lnTo>
                      <a:pt x="29565" y="34901"/>
                    </a:lnTo>
                    <a:lnTo>
                      <a:pt x="29712" y="34880"/>
                    </a:lnTo>
                    <a:lnTo>
                      <a:pt x="29984" y="34650"/>
                    </a:lnTo>
                    <a:lnTo>
                      <a:pt x="30088" y="34545"/>
                    </a:lnTo>
                    <a:lnTo>
                      <a:pt x="30214" y="34483"/>
                    </a:lnTo>
                    <a:lnTo>
                      <a:pt x="30318" y="34378"/>
                    </a:lnTo>
                    <a:lnTo>
                      <a:pt x="30528" y="34357"/>
                    </a:lnTo>
                    <a:lnTo>
                      <a:pt x="32202" y="34378"/>
                    </a:lnTo>
                    <a:lnTo>
                      <a:pt x="32327" y="34252"/>
                    </a:lnTo>
                    <a:lnTo>
                      <a:pt x="32390" y="34252"/>
                    </a:lnTo>
                    <a:lnTo>
                      <a:pt x="32432" y="34190"/>
                    </a:lnTo>
                    <a:lnTo>
                      <a:pt x="32515" y="34190"/>
                    </a:lnTo>
                    <a:lnTo>
                      <a:pt x="32620" y="34231"/>
                    </a:lnTo>
                    <a:lnTo>
                      <a:pt x="32704" y="34169"/>
                    </a:lnTo>
                    <a:lnTo>
                      <a:pt x="32725" y="34085"/>
                    </a:lnTo>
                    <a:lnTo>
                      <a:pt x="32913" y="33876"/>
                    </a:lnTo>
                    <a:lnTo>
                      <a:pt x="32976" y="33855"/>
                    </a:lnTo>
                    <a:lnTo>
                      <a:pt x="33143" y="33667"/>
                    </a:lnTo>
                    <a:lnTo>
                      <a:pt x="33185" y="33541"/>
                    </a:lnTo>
                    <a:lnTo>
                      <a:pt x="33227" y="33415"/>
                    </a:lnTo>
                    <a:lnTo>
                      <a:pt x="33373" y="33332"/>
                    </a:lnTo>
                    <a:lnTo>
                      <a:pt x="33373" y="33227"/>
                    </a:lnTo>
                    <a:lnTo>
                      <a:pt x="33478" y="33102"/>
                    </a:lnTo>
                    <a:lnTo>
                      <a:pt x="33687" y="32871"/>
                    </a:lnTo>
                    <a:lnTo>
                      <a:pt x="33750" y="32767"/>
                    </a:lnTo>
                    <a:lnTo>
                      <a:pt x="33854" y="32662"/>
                    </a:lnTo>
                    <a:lnTo>
                      <a:pt x="33875" y="32662"/>
                    </a:lnTo>
                    <a:lnTo>
                      <a:pt x="33959" y="32704"/>
                    </a:lnTo>
                    <a:lnTo>
                      <a:pt x="34022" y="32788"/>
                    </a:lnTo>
                    <a:lnTo>
                      <a:pt x="34168" y="32767"/>
                    </a:lnTo>
                    <a:lnTo>
                      <a:pt x="34315" y="32809"/>
                    </a:lnTo>
                    <a:lnTo>
                      <a:pt x="34378" y="32767"/>
                    </a:lnTo>
                    <a:lnTo>
                      <a:pt x="34608" y="32976"/>
                    </a:lnTo>
                    <a:lnTo>
                      <a:pt x="34608" y="33143"/>
                    </a:lnTo>
                    <a:lnTo>
                      <a:pt x="34482" y="33876"/>
                    </a:lnTo>
                    <a:lnTo>
                      <a:pt x="34440" y="33959"/>
                    </a:lnTo>
                    <a:lnTo>
                      <a:pt x="34503" y="33959"/>
                    </a:lnTo>
                    <a:lnTo>
                      <a:pt x="34524" y="34043"/>
                    </a:lnTo>
                    <a:lnTo>
                      <a:pt x="34587" y="34085"/>
                    </a:lnTo>
                    <a:lnTo>
                      <a:pt x="34587" y="34190"/>
                    </a:lnTo>
                    <a:lnTo>
                      <a:pt x="34587" y="34252"/>
                    </a:lnTo>
                    <a:lnTo>
                      <a:pt x="34587" y="34294"/>
                    </a:lnTo>
                    <a:lnTo>
                      <a:pt x="34545" y="34357"/>
                    </a:lnTo>
                    <a:lnTo>
                      <a:pt x="34587" y="34378"/>
                    </a:lnTo>
                    <a:lnTo>
                      <a:pt x="34733" y="34399"/>
                    </a:lnTo>
                    <a:lnTo>
                      <a:pt x="34859" y="34378"/>
                    </a:lnTo>
                    <a:lnTo>
                      <a:pt x="34901" y="34462"/>
                    </a:lnTo>
                    <a:lnTo>
                      <a:pt x="34963" y="34483"/>
                    </a:lnTo>
                    <a:lnTo>
                      <a:pt x="35026" y="34399"/>
                    </a:lnTo>
                    <a:lnTo>
                      <a:pt x="35110" y="34462"/>
                    </a:lnTo>
                    <a:lnTo>
                      <a:pt x="35235" y="34441"/>
                    </a:lnTo>
                    <a:lnTo>
                      <a:pt x="35277" y="34336"/>
                    </a:lnTo>
                    <a:lnTo>
                      <a:pt x="35382" y="34231"/>
                    </a:lnTo>
                    <a:lnTo>
                      <a:pt x="35382" y="34231"/>
                    </a:lnTo>
                    <a:lnTo>
                      <a:pt x="35319" y="34336"/>
                    </a:lnTo>
                    <a:lnTo>
                      <a:pt x="35340" y="34336"/>
                    </a:lnTo>
                    <a:lnTo>
                      <a:pt x="35319" y="34378"/>
                    </a:lnTo>
                    <a:lnTo>
                      <a:pt x="35361" y="34399"/>
                    </a:lnTo>
                    <a:lnTo>
                      <a:pt x="35633" y="34336"/>
                    </a:lnTo>
                    <a:lnTo>
                      <a:pt x="35675" y="34252"/>
                    </a:lnTo>
                    <a:lnTo>
                      <a:pt x="35842" y="34252"/>
                    </a:lnTo>
                    <a:lnTo>
                      <a:pt x="35968" y="34127"/>
                    </a:lnTo>
                    <a:lnTo>
                      <a:pt x="36072" y="34085"/>
                    </a:lnTo>
                    <a:lnTo>
                      <a:pt x="36198" y="33918"/>
                    </a:lnTo>
                    <a:lnTo>
                      <a:pt x="36198" y="33980"/>
                    </a:lnTo>
                    <a:lnTo>
                      <a:pt x="36282" y="33939"/>
                    </a:lnTo>
                    <a:lnTo>
                      <a:pt x="36282" y="33980"/>
                    </a:lnTo>
                    <a:lnTo>
                      <a:pt x="36156" y="34127"/>
                    </a:lnTo>
                    <a:lnTo>
                      <a:pt x="36051" y="34148"/>
                    </a:lnTo>
                    <a:lnTo>
                      <a:pt x="35947" y="34294"/>
                    </a:lnTo>
                    <a:lnTo>
                      <a:pt x="36072" y="34336"/>
                    </a:lnTo>
                    <a:lnTo>
                      <a:pt x="36156" y="34231"/>
                    </a:lnTo>
                    <a:lnTo>
                      <a:pt x="36261" y="34231"/>
                    </a:lnTo>
                    <a:lnTo>
                      <a:pt x="36323" y="34273"/>
                    </a:lnTo>
                    <a:lnTo>
                      <a:pt x="36575" y="34294"/>
                    </a:lnTo>
                    <a:lnTo>
                      <a:pt x="36742" y="34294"/>
                    </a:lnTo>
                    <a:lnTo>
                      <a:pt x="36616" y="34357"/>
                    </a:lnTo>
                    <a:lnTo>
                      <a:pt x="36470" y="34378"/>
                    </a:lnTo>
                    <a:lnTo>
                      <a:pt x="36365" y="34399"/>
                    </a:lnTo>
                    <a:lnTo>
                      <a:pt x="36323" y="34483"/>
                    </a:lnTo>
                    <a:lnTo>
                      <a:pt x="36323" y="34545"/>
                    </a:lnTo>
                    <a:lnTo>
                      <a:pt x="36261" y="34483"/>
                    </a:lnTo>
                    <a:lnTo>
                      <a:pt x="36219" y="34378"/>
                    </a:lnTo>
                    <a:lnTo>
                      <a:pt x="36156" y="34357"/>
                    </a:lnTo>
                    <a:lnTo>
                      <a:pt x="35968" y="34399"/>
                    </a:lnTo>
                    <a:lnTo>
                      <a:pt x="35779" y="34545"/>
                    </a:lnTo>
                    <a:lnTo>
                      <a:pt x="35549" y="34587"/>
                    </a:lnTo>
                    <a:lnTo>
                      <a:pt x="35340" y="34713"/>
                    </a:lnTo>
                    <a:lnTo>
                      <a:pt x="35319" y="34817"/>
                    </a:lnTo>
                    <a:lnTo>
                      <a:pt x="35173" y="34922"/>
                    </a:lnTo>
                    <a:lnTo>
                      <a:pt x="35110" y="35110"/>
                    </a:lnTo>
                    <a:lnTo>
                      <a:pt x="35110" y="35236"/>
                    </a:lnTo>
                    <a:lnTo>
                      <a:pt x="35131" y="35340"/>
                    </a:lnTo>
                    <a:lnTo>
                      <a:pt x="35152" y="35445"/>
                    </a:lnTo>
                    <a:lnTo>
                      <a:pt x="35215" y="35424"/>
                    </a:lnTo>
                    <a:lnTo>
                      <a:pt x="35256" y="35445"/>
                    </a:lnTo>
                    <a:lnTo>
                      <a:pt x="35256" y="35592"/>
                    </a:lnTo>
                    <a:lnTo>
                      <a:pt x="35361" y="35654"/>
                    </a:lnTo>
                    <a:lnTo>
                      <a:pt x="35403" y="35612"/>
                    </a:lnTo>
                    <a:lnTo>
                      <a:pt x="35466" y="35654"/>
                    </a:lnTo>
                    <a:lnTo>
                      <a:pt x="35507" y="35612"/>
                    </a:lnTo>
                    <a:lnTo>
                      <a:pt x="35507" y="35508"/>
                    </a:lnTo>
                    <a:lnTo>
                      <a:pt x="35570" y="35487"/>
                    </a:lnTo>
                    <a:lnTo>
                      <a:pt x="35654" y="35487"/>
                    </a:lnTo>
                    <a:lnTo>
                      <a:pt x="35779" y="35382"/>
                    </a:lnTo>
                    <a:lnTo>
                      <a:pt x="35884" y="35340"/>
                    </a:lnTo>
                    <a:lnTo>
                      <a:pt x="36031" y="35131"/>
                    </a:lnTo>
                    <a:lnTo>
                      <a:pt x="36219" y="35006"/>
                    </a:lnTo>
                    <a:lnTo>
                      <a:pt x="36177" y="34964"/>
                    </a:lnTo>
                    <a:lnTo>
                      <a:pt x="36240" y="34817"/>
                    </a:lnTo>
                    <a:lnTo>
                      <a:pt x="36323" y="34817"/>
                    </a:lnTo>
                    <a:lnTo>
                      <a:pt x="36386" y="34755"/>
                    </a:lnTo>
                    <a:lnTo>
                      <a:pt x="36428" y="34755"/>
                    </a:lnTo>
                    <a:lnTo>
                      <a:pt x="36491" y="34880"/>
                    </a:lnTo>
                    <a:lnTo>
                      <a:pt x="36637" y="34901"/>
                    </a:lnTo>
                    <a:lnTo>
                      <a:pt x="36637" y="34859"/>
                    </a:lnTo>
                    <a:lnTo>
                      <a:pt x="36721" y="34859"/>
                    </a:lnTo>
                    <a:lnTo>
                      <a:pt x="36909" y="34755"/>
                    </a:lnTo>
                    <a:lnTo>
                      <a:pt x="37077" y="34692"/>
                    </a:lnTo>
                    <a:lnTo>
                      <a:pt x="37286" y="34650"/>
                    </a:lnTo>
                    <a:lnTo>
                      <a:pt x="37391" y="34650"/>
                    </a:lnTo>
                    <a:lnTo>
                      <a:pt x="37663" y="34483"/>
                    </a:lnTo>
                    <a:lnTo>
                      <a:pt x="37809" y="34441"/>
                    </a:lnTo>
                    <a:lnTo>
                      <a:pt x="37914" y="34441"/>
                    </a:lnTo>
                    <a:lnTo>
                      <a:pt x="37997" y="34462"/>
                    </a:lnTo>
                    <a:lnTo>
                      <a:pt x="38081" y="34399"/>
                    </a:lnTo>
                    <a:lnTo>
                      <a:pt x="38018" y="34357"/>
                    </a:lnTo>
                    <a:lnTo>
                      <a:pt x="37935" y="34357"/>
                    </a:lnTo>
                    <a:lnTo>
                      <a:pt x="37830" y="34294"/>
                    </a:lnTo>
                    <a:lnTo>
                      <a:pt x="37872" y="34294"/>
                    </a:lnTo>
                    <a:lnTo>
                      <a:pt x="37956" y="34273"/>
                    </a:lnTo>
                    <a:lnTo>
                      <a:pt x="37956" y="34231"/>
                    </a:lnTo>
                    <a:lnTo>
                      <a:pt x="37663" y="34169"/>
                    </a:lnTo>
                    <a:lnTo>
                      <a:pt x="37537" y="34148"/>
                    </a:lnTo>
                    <a:lnTo>
                      <a:pt x="37558" y="34085"/>
                    </a:lnTo>
                    <a:lnTo>
                      <a:pt x="37537" y="33980"/>
                    </a:lnTo>
                    <a:lnTo>
                      <a:pt x="37370" y="34085"/>
                    </a:lnTo>
                    <a:lnTo>
                      <a:pt x="37349" y="34148"/>
                    </a:lnTo>
                    <a:lnTo>
                      <a:pt x="37160" y="34106"/>
                    </a:lnTo>
                    <a:lnTo>
                      <a:pt x="37139" y="34064"/>
                    </a:lnTo>
                    <a:lnTo>
                      <a:pt x="36993" y="34022"/>
                    </a:lnTo>
                    <a:lnTo>
                      <a:pt x="36930" y="34043"/>
                    </a:lnTo>
                    <a:lnTo>
                      <a:pt x="36826" y="33980"/>
                    </a:lnTo>
                    <a:lnTo>
                      <a:pt x="36637" y="33980"/>
                    </a:lnTo>
                    <a:lnTo>
                      <a:pt x="36491" y="33876"/>
                    </a:lnTo>
                    <a:lnTo>
                      <a:pt x="36616" y="33834"/>
                    </a:lnTo>
                    <a:lnTo>
                      <a:pt x="36637" y="33750"/>
                    </a:lnTo>
                    <a:lnTo>
                      <a:pt x="36491" y="33750"/>
                    </a:lnTo>
                    <a:lnTo>
                      <a:pt x="36428" y="33708"/>
                    </a:lnTo>
                    <a:lnTo>
                      <a:pt x="36323" y="33708"/>
                    </a:lnTo>
                    <a:lnTo>
                      <a:pt x="36282" y="33541"/>
                    </a:lnTo>
                    <a:lnTo>
                      <a:pt x="36219" y="33499"/>
                    </a:lnTo>
                    <a:lnTo>
                      <a:pt x="36219" y="33332"/>
                    </a:lnTo>
                    <a:lnTo>
                      <a:pt x="36261" y="33227"/>
                    </a:lnTo>
                    <a:lnTo>
                      <a:pt x="36177" y="33143"/>
                    </a:lnTo>
                    <a:lnTo>
                      <a:pt x="36261" y="33039"/>
                    </a:lnTo>
                    <a:lnTo>
                      <a:pt x="36261" y="32997"/>
                    </a:lnTo>
                    <a:lnTo>
                      <a:pt x="36051" y="32997"/>
                    </a:lnTo>
                    <a:lnTo>
                      <a:pt x="36114" y="32913"/>
                    </a:lnTo>
                    <a:lnTo>
                      <a:pt x="36198" y="32913"/>
                    </a:lnTo>
                    <a:lnTo>
                      <a:pt x="36365" y="32620"/>
                    </a:lnTo>
                    <a:lnTo>
                      <a:pt x="36470" y="32558"/>
                    </a:lnTo>
                    <a:lnTo>
                      <a:pt x="36428" y="32474"/>
                    </a:lnTo>
                    <a:lnTo>
                      <a:pt x="36365" y="32474"/>
                    </a:lnTo>
                    <a:lnTo>
                      <a:pt x="36323" y="32411"/>
                    </a:lnTo>
                    <a:lnTo>
                      <a:pt x="36219" y="32411"/>
                    </a:lnTo>
                    <a:lnTo>
                      <a:pt x="36114" y="32495"/>
                    </a:lnTo>
                    <a:lnTo>
                      <a:pt x="35989" y="32558"/>
                    </a:lnTo>
                    <a:lnTo>
                      <a:pt x="35947" y="32474"/>
                    </a:lnTo>
                    <a:lnTo>
                      <a:pt x="35905" y="32369"/>
                    </a:lnTo>
                    <a:lnTo>
                      <a:pt x="35675" y="32307"/>
                    </a:lnTo>
                    <a:lnTo>
                      <a:pt x="35528" y="32286"/>
                    </a:lnTo>
                    <a:lnTo>
                      <a:pt x="35361" y="32307"/>
                    </a:lnTo>
                    <a:lnTo>
                      <a:pt x="35528" y="32244"/>
                    </a:lnTo>
                    <a:lnTo>
                      <a:pt x="35654" y="32265"/>
                    </a:lnTo>
                    <a:lnTo>
                      <a:pt x="35779" y="32244"/>
                    </a:lnTo>
                    <a:lnTo>
                      <a:pt x="35863" y="32181"/>
                    </a:lnTo>
                    <a:lnTo>
                      <a:pt x="35989" y="32244"/>
                    </a:lnTo>
                    <a:lnTo>
                      <a:pt x="36093" y="32307"/>
                    </a:lnTo>
                    <a:lnTo>
                      <a:pt x="36219" y="32307"/>
                    </a:lnTo>
                    <a:lnTo>
                      <a:pt x="36386" y="32202"/>
                    </a:lnTo>
                    <a:lnTo>
                      <a:pt x="36470" y="32202"/>
                    </a:lnTo>
                    <a:lnTo>
                      <a:pt x="36575" y="32097"/>
                    </a:lnTo>
                    <a:lnTo>
                      <a:pt x="36700" y="32076"/>
                    </a:lnTo>
                    <a:lnTo>
                      <a:pt x="36784" y="31867"/>
                    </a:lnTo>
                    <a:lnTo>
                      <a:pt x="36721" y="31825"/>
                    </a:lnTo>
                    <a:lnTo>
                      <a:pt x="36805" y="31783"/>
                    </a:lnTo>
                    <a:lnTo>
                      <a:pt x="36742" y="31721"/>
                    </a:lnTo>
                    <a:lnTo>
                      <a:pt x="36616" y="31658"/>
                    </a:lnTo>
                    <a:lnTo>
                      <a:pt x="36533" y="31658"/>
                    </a:lnTo>
                    <a:lnTo>
                      <a:pt x="36575" y="31637"/>
                    </a:lnTo>
                    <a:lnTo>
                      <a:pt x="36575" y="31616"/>
                    </a:lnTo>
                    <a:lnTo>
                      <a:pt x="36742" y="31637"/>
                    </a:lnTo>
                    <a:lnTo>
                      <a:pt x="36742" y="31574"/>
                    </a:lnTo>
                    <a:lnTo>
                      <a:pt x="36512" y="31449"/>
                    </a:lnTo>
                    <a:lnTo>
                      <a:pt x="36303" y="31365"/>
                    </a:lnTo>
                    <a:lnTo>
                      <a:pt x="35905" y="31365"/>
                    </a:lnTo>
                    <a:lnTo>
                      <a:pt x="35800" y="31428"/>
                    </a:lnTo>
                    <a:lnTo>
                      <a:pt x="35675" y="31428"/>
                    </a:lnTo>
                    <a:lnTo>
                      <a:pt x="35319" y="31553"/>
                    </a:lnTo>
                    <a:lnTo>
                      <a:pt x="35026" y="31616"/>
                    </a:lnTo>
                    <a:lnTo>
                      <a:pt x="34859" y="31679"/>
                    </a:lnTo>
                    <a:lnTo>
                      <a:pt x="34712" y="31721"/>
                    </a:lnTo>
                    <a:lnTo>
                      <a:pt x="34440" y="31867"/>
                    </a:lnTo>
                    <a:lnTo>
                      <a:pt x="34064" y="32139"/>
                    </a:lnTo>
                    <a:lnTo>
                      <a:pt x="33771" y="32390"/>
                    </a:lnTo>
                    <a:lnTo>
                      <a:pt x="33666" y="32453"/>
                    </a:lnTo>
                    <a:lnTo>
                      <a:pt x="33541" y="32579"/>
                    </a:lnTo>
                    <a:lnTo>
                      <a:pt x="33373" y="32767"/>
                    </a:lnTo>
                    <a:lnTo>
                      <a:pt x="33185" y="32892"/>
                    </a:lnTo>
                    <a:lnTo>
                      <a:pt x="32934" y="33018"/>
                    </a:lnTo>
                    <a:lnTo>
                      <a:pt x="32641" y="33143"/>
                    </a:lnTo>
                    <a:lnTo>
                      <a:pt x="32515" y="33143"/>
                    </a:lnTo>
                    <a:lnTo>
                      <a:pt x="32704" y="33102"/>
                    </a:lnTo>
                    <a:lnTo>
                      <a:pt x="33018" y="32976"/>
                    </a:lnTo>
                    <a:lnTo>
                      <a:pt x="33038" y="32892"/>
                    </a:lnTo>
                    <a:lnTo>
                      <a:pt x="33290" y="32725"/>
                    </a:lnTo>
                    <a:lnTo>
                      <a:pt x="33373" y="32599"/>
                    </a:lnTo>
                    <a:lnTo>
                      <a:pt x="33436" y="32453"/>
                    </a:lnTo>
                    <a:lnTo>
                      <a:pt x="33541" y="32411"/>
                    </a:lnTo>
                    <a:lnTo>
                      <a:pt x="33666" y="32286"/>
                    </a:lnTo>
                    <a:lnTo>
                      <a:pt x="33813" y="32202"/>
                    </a:lnTo>
                    <a:lnTo>
                      <a:pt x="33875" y="31993"/>
                    </a:lnTo>
                    <a:lnTo>
                      <a:pt x="34106" y="31888"/>
                    </a:lnTo>
                    <a:lnTo>
                      <a:pt x="34231" y="31679"/>
                    </a:lnTo>
                    <a:lnTo>
                      <a:pt x="34294" y="31658"/>
                    </a:lnTo>
                    <a:lnTo>
                      <a:pt x="34315" y="31595"/>
                    </a:lnTo>
                    <a:lnTo>
                      <a:pt x="34440" y="31532"/>
                    </a:lnTo>
                    <a:lnTo>
                      <a:pt x="34545" y="31491"/>
                    </a:lnTo>
                    <a:lnTo>
                      <a:pt x="34608" y="31386"/>
                    </a:lnTo>
                    <a:lnTo>
                      <a:pt x="34712" y="31344"/>
                    </a:lnTo>
                    <a:lnTo>
                      <a:pt x="34754" y="31386"/>
                    </a:lnTo>
                    <a:lnTo>
                      <a:pt x="34838" y="31365"/>
                    </a:lnTo>
                    <a:lnTo>
                      <a:pt x="34922" y="31239"/>
                    </a:lnTo>
                    <a:lnTo>
                      <a:pt x="35131" y="31239"/>
                    </a:lnTo>
                    <a:lnTo>
                      <a:pt x="35235" y="31177"/>
                    </a:lnTo>
                    <a:lnTo>
                      <a:pt x="35424" y="31177"/>
                    </a:lnTo>
                    <a:lnTo>
                      <a:pt x="35487" y="31072"/>
                    </a:lnTo>
                    <a:lnTo>
                      <a:pt x="35528" y="30946"/>
                    </a:lnTo>
                    <a:lnTo>
                      <a:pt x="35570" y="30905"/>
                    </a:lnTo>
                    <a:lnTo>
                      <a:pt x="35570" y="30821"/>
                    </a:lnTo>
                    <a:lnTo>
                      <a:pt x="35696" y="30758"/>
                    </a:lnTo>
                    <a:lnTo>
                      <a:pt x="35905" y="30591"/>
                    </a:lnTo>
                    <a:lnTo>
                      <a:pt x="36010" y="30549"/>
                    </a:lnTo>
                    <a:lnTo>
                      <a:pt x="36072" y="30507"/>
                    </a:lnTo>
                    <a:lnTo>
                      <a:pt x="36010" y="30444"/>
                    </a:lnTo>
                    <a:lnTo>
                      <a:pt x="36072" y="30382"/>
                    </a:lnTo>
                    <a:lnTo>
                      <a:pt x="36156" y="30319"/>
                    </a:lnTo>
                    <a:lnTo>
                      <a:pt x="36261" y="30423"/>
                    </a:lnTo>
                    <a:lnTo>
                      <a:pt x="36386" y="30486"/>
                    </a:lnTo>
                    <a:lnTo>
                      <a:pt x="36616" y="30444"/>
                    </a:lnTo>
                    <a:lnTo>
                      <a:pt x="36805" y="30528"/>
                    </a:lnTo>
                    <a:lnTo>
                      <a:pt x="36888" y="30528"/>
                    </a:lnTo>
                    <a:lnTo>
                      <a:pt x="36951" y="30549"/>
                    </a:lnTo>
                    <a:lnTo>
                      <a:pt x="37098" y="30486"/>
                    </a:lnTo>
                    <a:lnTo>
                      <a:pt x="37160" y="30549"/>
                    </a:lnTo>
                    <a:lnTo>
                      <a:pt x="37265" y="30549"/>
                    </a:lnTo>
                    <a:lnTo>
                      <a:pt x="37349" y="30507"/>
                    </a:lnTo>
                    <a:lnTo>
                      <a:pt x="37474" y="30591"/>
                    </a:lnTo>
                    <a:lnTo>
                      <a:pt x="37663" y="30612"/>
                    </a:lnTo>
                    <a:lnTo>
                      <a:pt x="37746" y="30570"/>
                    </a:lnTo>
                    <a:lnTo>
                      <a:pt x="37788" y="30570"/>
                    </a:lnTo>
                    <a:lnTo>
                      <a:pt x="37893" y="30633"/>
                    </a:lnTo>
                    <a:lnTo>
                      <a:pt x="38039" y="30674"/>
                    </a:lnTo>
                    <a:lnTo>
                      <a:pt x="38081" y="30633"/>
                    </a:lnTo>
                    <a:lnTo>
                      <a:pt x="38248" y="30716"/>
                    </a:lnTo>
                    <a:lnTo>
                      <a:pt x="38311" y="30716"/>
                    </a:lnTo>
                    <a:lnTo>
                      <a:pt x="38416" y="30674"/>
                    </a:lnTo>
                    <a:lnTo>
                      <a:pt x="38500" y="30695"/>
                    </a:lnTo>
                    <a:lnTo>
                      <a:pt x="38479" y="30737"/>
                    </a:lnTo>
                    <a:lnTo>
                      <a:pt x="38583" y="30779"/>
                    </a:lnTo>
                    <a:lnTo>
                      <a:pt x="38834" y="30695"/>
                    </a:lnTo>
                    <a:lnTo>
                      <a:pt x="38897" y="30695"/>
                    </a:lnTo>
                    <a:lnTo>
                      <a:pt x="39023" y="30633"/>
                    </a:lnTo>
                    <a:lnTo>
                      <a:pt x="39085" y="30674"/>
                    </a:lnTo>
                    <a:lnTo>
                      <a:pt x="39253" y="30674"/>
                    </a:lnTo>
                    <a:lnTo>
                      <a:pt x="39336" y="30716"/>
                    </a:lnTo>
                    <a:lnTo>
                      <a:pt x="39441" y="30674"/>
                    </a:lnTo>
                    <a:lnTo>
                      <a:pt x="39462" y="30591"/>
                    </a:lnTo>
                    <a:lnTo>
                      <a:pt x="39608" y="30591"/>
                    </a:lnTo>
                    <a:lnTo>
                      <a:pt x="39671" y="30528"/>
                    </a:lnTo>
                    <a:lnTo>
                      <a:pt x="39734" y="30570"/>
                    </a:lnTo>
                    <a:lnTo>
                      <a:pt x="39818" y="30465"/>
                    </a:lnTo>
                    <a:lnTo>
                      <a:pt x="39922" y="30402"/>
                    </a:lnTo>
                    <a:lnTo>
                      <a:pt x="39943" y="30361"/>
                    </a:lnTo>
                    <a:lnTo>
                      <a:pt x="40048" y="30382"/>
                    </a:lnTo>
                    <a:lnTo>
                      <a:pt x="40132" y="30214"/>
                    </a:lnTo>
                    <a:lnTo>
                      <a:pt x="40132" y="30110"/>
                    </a:lnTo>
                    <a:lnTo>
                      <a:pt x="40194" y="30110"/>
                    </a:lnTo>
                    <a:lnTo>
                      <a:pt x="40278" y="30047"/>
                    </a:lnTo>
                    <a:lnTo>
                      <a:pt x="40299" y="29963"/>
                    </a:lnTo>
                    <a:lnTo>
                      <a:pt x="40257" y="29942"/>
                    </a:lnTo>
                    <a:lnTo>
                      <a:pt x="40278" y="29879"/>
                    </a:lnTo>
                    <a:lnTo>
                      <a:pt x="40383" y="29879"/>
                    </a:lnTo>
                    <a:lnTo>
                      <a:pt x="40487" y="29858"/>
                    </a:lnTo>
                    <a:lnTo>
                      <a:pt x="40487" y="29775"/>
                    </a:lnTo>
                    <a:lnTo>
                      <a:pt x="40508" y="29754"/>
                    </a:lnTo>
                    <a:lnTo>
                      <a:pt x="40571" y="29838"/>
                    </a:lnTo>
                    <a:lnTo>
                      <a:pt x="40696" y="29858"/>
                    </a:lnTo>
                    <a:lnTo>
                      <a:pt x="40801" y="29775"/>
                    </a:lnTo>
                    <a:lnTo>
                      <a:pt x="40822" y="29838"/>
                    </a:lnTo>
                    <a:lnTo>
                      <a:pt x="40906" y="29838"/>
                    </a:lnTo>
                    <a:lnTo>
                      <a:pt x="40989" y="29775"/>
                    </a:lnTo>
                    <a:lnTo>
                      <a:pt x="41031" y="29838"/>
                    </a:lnTo>
                    <a:lnTo>
                      <a:pt x="41136" y="29796"/>
                    </a:lnTo>
                    <a:lnTo>
                      <a:pt x="41178" y="29754"/>
                    </a:lnTo>
                    <a:lnTo>
                      <a:pt x="41241" y="29754"/>
                    </a:lnTo>
                    <a:lnTo>
                      <a:pt x="41324" y="29649"/>
                    </a:lnTo>
                    <a:lnTo>
                      <a:pt x="41387" y="29649"/>
                    </a:lnTo>
                    <a:lnTo>
                      <a:pt x="41492" y="29545"/>
                    </a:lnTo>
                    <a:lnTo>
                      <a:pt x="41617" y="29545"/>
                    </a:lnTo>
                    <a:lnTo>
                      <a:pt x="41764" y="29440"/>
                    </a:lnTo>
                    <a:lnTo>
                      <a:pt x="41826" y="29356"/>
                    </a:lnTo>
                    <a:lnTo>
                      <a:pt x="41910" y="29356"/>
                    </a:lnTo>
                    <a:lnTo>
                      <a:pt x="41931" y="29252"/>
                    </a:lnTo>
                    <a:lnTo>
                      <a:pt x="41973" y="29147"/>
                    </a:lnTo>
                    <a:lnTo>
                      <a:pt x="41910" y="29126"/>
                    </a:lnTo>
                    <a:lnTo>
                      <a:pt x="41805" y="29147"/>
                    </a:lnTo>
                    <a:lnTo>
                      <a:pt x="41722" y="29105"/>
                    </a:lnTo>
                    <a:lnTo>
                      <a:pt x="41764" y="29105"/>
                    </a:lnTo>
                    <a:lnTo>
                      <a:pt x="41868" y="29126"/>
                    </a:lnTo>
                    <a:lnTo>
                      <a:pt x="41952" y="29105"/>
                    </a:lnTo>
                    <a:lnTo>
                      <a:pt x="41868" y="29001"/>
                    </a:lnTo>
                    <a:lnTo>
                      <a:pt x="41764" y="29001"/>
                    </a:lnTo>
                    <a:lnTo>
                      <a:pt x="41617" y="28917"/>
                    </a:lnTo>
                    <a:lnTo>
                      <a:pt x="41554" y="28812"/>
                    </a:lnTo>
                    <a:lnTo>
                      <a:pt x="41554" y="28812"/>
                    </a:lnTo>
                    <a:lnTo>
                      <a:pt x="41701" y="28896"/>
                    </a:lnTo>
                    <a:lnTo>
                      <a:pt x="41805" y="28833"/>
                    </a:lnTo>
                    <a:lnTo>
                      <a:pt x="41826" y="28729"/>
                    </a:lnTo>
                    <a:lnTo>
                      <a:pt x="41910" y="28708"/>
                    </a:lnTo>
                    <a:lnTo>
                      <a:pt x="41952" y="28603"/>
                    </a:lnTo>
                    <a:lnTo>
                      <a:pt x="41764" y="28540"/>
                    </a:lnTo>
                    <a:lnTo>
                      <a:pt x="41847" y="28478"/>
                    </a:lnTo>
                    <a:lnTo>
                      <a:pt x="41931" y="28498"/>
                    </a:lnTo>
                    <a:lnTo>
                      <a:pt x="42015" y="28415"/>
                    </a:lnTo>
                    <a:lnTo>
                      <a:pt x="41973" y="28331"/>
                    </a:lnTo>
                    <a:lnTo>
                      <a:pt x="41826" y="28268"/>
                    </a:lnTo>
                    <a:lnTo>
                      <a:pt x="41805" y="28164"/>
                    </a:lnTo>
                    <a:lnTo>
                      <a:pt x="41847" y="28122"/>
                    </a:lnTo>
                    <a:lnTo>
                      <a:pt x="41952" y="28185"/>
                    </a:lnTo>
                    <a:lnTo>
                      <a:pt x="41931" y="28101"/>
                    </a:lnTo>
                    <a:lnTo>
                      <a:pt x="41764" y="28017"/>
                    </a:lnTo>
                    <a:lnTo>
                      <a:pt x="41617" y="28017"/>
                    </a:lnTo>
                    <a:lnTo>
                      <a:pt x="41638" y="27954"/>
                    </a:lnTo>
                    <a:lnTo>
                      <a:pt x="41701" y="27913"/>
                    </a:lnTo>
                    <a:lnTo>
                      <a:pt x="41659" y="27871"/>
                    </a:lnTo>
                    <a:lnTo>
                      <a:pt x="41533" y="27871"/>
                    </a:lnTo>
                    <a:lnTo>
                      <a:pt x="41387" y="27954"/>
                    </a:lnTo>
                    <a:lnTo>
                      <a:pt x="41345" y="28059"/>
                    </a:lnTo>
                    <a:lnTo>
                      <a:pt x="41303" y="28101"/>
                    </a:lnTo>
                    <a:lnTo>
                      <a:pt x="41241" y="27996"/>
                    </a:lnTo>
                    <a:lnTo>
                      <a:pt x="41094" y="27996"/>
                    </a:lnTo>
                    <a:lnTo>
                      <a:pt x="41157" y="27913"/>
                    </a:lnTo>
                    <a:lnTo>
                      <a:pt x="41220" y="27913"/>
                    </a:lnTo>
                    <a:lnTo>
                      <a:pt x="41345" y="27808"/>
                    </a:lnTo>
                    <a:lnTo>
                      <a:pt x="41387" y="27703"/>
                    </a:lnTo>
                    <a:lnTo>
                      <a:pt x="41303" y="27536"/>
                    </a:lnTo>
                    <a:lnTo>
                      <a:pt x="41115" y="27473"/>
                    </a:lnTo>
                    <a:lnTo>
                      <a:pt x="40885" y="27494"/>
                    </a:lnTo>
                    <a:lnTo>
                      <a:pt x="40801" y="27536"/>
                    </a:lnTo>
                    <a:lnTo>
                      <a:pt x="40822" y="27557"/>
                    </a:lnTo>
                    <a:lnTo>
                      <a:pt x="40969" y="27557"/>
                    </a:lnTo>
                    <a:lnTo>
                      <a:pt x="41010" y="27578"/>
                    </a:lnTo>
                    <a:lnTo>
                      <a:pt x="40885" y="27578"/>
                    </a:lnTo>
                    <a:lnTo>
                      <a:pt x="40717" y="27557"/>
                    </a:lnTo>
                    <a:lnTo>
                      <a:pt x="40550" y="27641"/>
                    </a:lnTo>
                    <a:lnTo>
                      <a:pt x="40404" y="27661"/>
                    </a:lnTo>
                    <a:lnTo>
                      <a:pt x="40299" y="27787"/>
                    </a:lnTo>
                    <a:lnTo>
                      <a:pt x="40257" y="27892"/>
                    </a:lnTo>
                    <a:lnTo>
                      <a:pt x="40173" y="27892"/>
                    </a:lnTo>
                    <a:lnTo>
                      <a:pt x="40048" y="27996"/>
                    </a:lnTo>
                    <a:lnTo>
                      <a:pt x="39860" y="27996"/>
                    </a:lnTo>
                    <a:lnTo>
                      <a:pt x="39755" y="28205"/>
                    </a:lnTo>
                    <a:lnTo>
                      <a:pt x="39671" y="28205"/>
                    </a:lnTo>
                    <a:lnTo>
                      <a:pt x="39629" y="28268"/>
                    </a:lnTo>
                    <a:lnTo>
                      <a:pt x="39567" y="28268"/>
                    </a:lnTo>
                    <a:lnTo>
                      <a:pt x="39525" y="28185"/>
                    </a:lnTo>
                    <a:lnTo>
                      <a:pt x="39608" y="28101"/>
                    </a:lnTo>
                    <a:lnTo>
                      <a:pt x="39671" y="28122"/>
                    </a:lnTo>
                    <a:lnTo>
                      <a:pt x="39713" y="28059"/>
                    </a:lnTo>
                    <a:lnTo>
                      <a:pt x="39462" y="27871"/>
                    </a:lnTo>
                    <a:lnTo>
                      <a:pt x="39441" y="27808"/>
                    </a:lnTo>
                    <a:lnTo>
                      <a:pt x="39357" y="27787"/>
                    </a:lnTo>
                    <a:lnTo>
                      <a:pt x="39399" y="27745"/>
                    </a:lnTo>
                    <a:lnTo>
                      <a:pt x="39399" y="27641"/>
                    </a:lnTo>
                    <a:lnTo>
                      <a:pt x="39525" y="27850"/>
                    </a:lnTo>
                    <a:lnTo>
                      <a:pt x="39734" y="27975"/>
                    </a:lnTo>
                    <a:lnTo>
                      <a:pt x="39776" y="27913"/>
                    </a:lnTo>
                    <a:lnTo>
                      <a:pt x="39818" y="27808"/>
                    </a:lnTo>
                    <a:lnTo>
                      <a:pt x="39943" y="27808"/>
                    </a:lnTo>
                    <a:lnTo>
                      <a:pt x="40027" y="27745"/>
                    </a:lnTo>
                    <a:lnTo>
                      <a:pt x="40194" y="27641"/>
                    </a:lnTo>
                    <a:lnTo>
                      <a:pt x="40404" y="27578"/>
                    </a:lnTo>
                    <a:lnTo>
                      <a:pt x="40613" y="27557"/>
                    </a:lnTo>
                    <a:lnTo>
                      <a:pt x="40592" y="27494"/>
                    </a:lnTo>
                    <a:lnTo>
                      <a:pt x="40508" y="27473"/>
                    </a:lnTo>
                    <a:lnTo>
                      <a:pt x="40613" y="27473"/>
                    </a:lnTo>
                    <a:lnTo>
                      <a:pt x="40717" y="27369"/>
                    </a:lnTo>
                    <a:lnTo>
                      <a:pt x="40906" y="27285"/>
                    </a:lnTo>
                    <a:lnTo>
                      <a:pt x="40969" y="27348"/>
                    </a:lnTo>
                    <a:lnTo>
                      <a:pt x="41199" y="27285"/>
                    </a:lnTo>
                    <a:lnTo>
                      <a:pt x="41199" y="27243"/>
                    </a:lnTo>
                    <a:lnTo>
                      <a:pt x="41387" y="27222"/>
                    </a:lnTo>
                    <a:lnTo>
                      <a:pt x="41282" y="27117"/>
                    </a:lnTo>
                    <a:lnTo>
                      <a:pt x="41010" y="27034"/>
                    </a:lnTo>
                    <a:lnTo>
                      <a:pt x="41073" y="26971"/>
                    </a:lnTo>
                    <a:lnTo>
                      <a:pt x="41136" y="26971"/>
                    </a:lnTo>
                    <a:lnTo>
                      <a:pt x="41199" y="26866"/>
                    </a:lnTo>
                    <a:lnTo>
                      <a:pt x="41115" y="26845"/>
                    </a:lnTo>
                    <a:lnTo>
                      <a:pt x="40969" y="26908"/>
                    </a:lnTo>
                    <a:lnTo>
                      <a:pt x="40885" y="27013"/>
                    </a:lnTo>
                    <a:lnTo>
                      <a:pt x="40759" y="26929"/>
                    </a:lnTo>
                    <a:lnTo>
                      <a:pt x="40613" y="26950"/>
                    </a:lnTo>
                    <a:lnTo>
                      <a:pt x="40592" y="26866"/>
                    </a:lnTo>
                    <a:lnTo>
                      <a:pt x="40676" y="26845"/>
                    </a:lnTo>
                    <a:lnTo>
                      <a:pt x="40676" y="26657"/>
                    </a:lnTo>
                    <a:lnTo>
                      <a:pt x="40696" y="26615"/>
                    </a:lnTo>
                    <a:lnTo>
                      <a:pt x="40550" y="26720"/>
                    </a:lnTo>
                    <a:lnTo>
                      <a:pt x="40550" y="26657"/>
                    </a:lnTo>
                    <a:lnTo>
                      <a:pt x="40592" y="26615"/>
                    </a:lnTo>
                    <a:lnTo>
                      <a:pt x="40550" y="26594"/>
                    </a:lnTo>
                    <a:lnTo>
                      <a:pt x="40341" y="26762"/>
                    </a:lnTo>
                    <a:lnTo>
                      <a:pt x="40257" y="26845"/>
                    </a:lnTo>
                    <a:lnTo>
                      <a:pt x="40194" y="26845"/>
                    </a:lnTo>
                    <a:lnTo>
                      <a:pt x="40278" y="26762"/>
                    </a:lnTo>
                    <a:lnTo>
                      <a:pt x="40445" y="26636"/>
                    </a:lnTo>
                    <a:lnTo>
                      <a:pt x="40383" y="26594"/>
                    </a:lnTo>
                    <a:lnTo>
                      <a:pt x="40236" y="26657"/>
                    </a:lnTo>
                    <a:lnTo>
                      <a:pt x="40194" y="26636"/>
                    </a:lnTo>
                    <a:lnTo>
                      <a:pt x="40257" y="26594"/>
                    </a:lnTo>
                    <a:lnTo>
                      <a:pt x="40341" y="26532"/>
                    </a:lnTo>
                    <a:lnTo>
                      <a:pt x="40341" y="26490"/>
                    </a:lnTo>
                    <a:lnTo>
                      <a:pt x="40194" y="26511"/>
                    </a:lnTo>
                    <a:lnTo>
                      <a:pt x="40090" y="26615"/>
                    </a:lnTo>
                    <a:lnTo>
                      <a:pt x="39985" y="26741"/>
                    </a:lnTo>
                    <a:lnTo>
                      <a:pt x="39943" y="26720"/>
                    </a:lnTo>
                    <a:lnTo>
                      <a:pt x="39985" y="26615"/>
                    </a:lnTo>
                    <a:lnTo>
                      <a:pt x="40090" y="26532"/>
                    </a:lnTo>
                    <a:lnTo>
                      <a:pt x="40090" y="26490"/>
                    </a:lnTo>
                    <a:lnTo>
                      <a:pt x="40027" y="26490"/>
                    </a:lnTo>
                    <a:lnTo>
                      <a:pt x="39818" y="26699"/>
                    </a:lnTo>
                    <a:lnTo>
                      <a:pt x="39713" y="26720"/>
                    </a:lnTo>
                    <a:lnTo>
                      <a:pt x="39608" y="26636"/>
                    </a:lnTo>
                    <a:lnTo>
                      <a:pt x="39734" y="26657"/>
                    </a:lnTo>
                    <a:lnTo>
                      <a:pt x="39839" y="26594"/>
                    </a:lnTo>
                    <a:lnTo>
                      <a:pt x="40027" y="26343"/>
                    </a:lnTo>
                    <a:lnTo>
                      <a:pt x="40152" y="26281"/>
                    </a:lnTo>
                    <a:lnTo>
                      <a:pt x="40069" y="26197"/>
                    </a:lnTo>
                    <a:lnTo>
                      <a:pt x="40090" y="26092"/>
                    </a:lnTo>
                    <a:lnTo>
                      <a:pt x="40069" y="26071"/>
                    </a:lnTo>
                    <a:lnTo>
                      <a:pt x="39964" y="26218"/>
                    </a:lnTo>
                    <a:lnTo>
                      <a:pt x="39922" y="26218"/>
                    </a:lnTo>
                    <a:lnTo>
                      <a:pt x="39922" y="26176"/>
                    </a:lnTo>
                    <a:lnTo>
                      <a:pt x="39964" y="26092"/>
                    </a:lnTo>
                    <a:lnTo>
                      <a:pt x="39964" y="25925"/>
                    </a:lnTo>
                    <a:lnTo>
                      <a:pt x="39880" y="25904"/>
                    </a:lnTo>
                    <a:lnTo>
                      <a:pt x="39860" y="25883"/>
                    </a:lnTo>
                    <a:lnTo>
                      <a:pt x="39755" y="25967"/>
                    </a:lnTo>
                    <a:lnTo>
                      <a:pt x="39734" y="25904"/>
                    </a:lnTo>
                    <a:lnTo>
                      <a:pt x="39755" y="25820"/>
                    </a:lnTo>
                    <a:lnTo>
                      <a:pt x="39734" y="25799"/>
                    </a:lnTo>
                    <a:lnTo>
                      <a:pt x="39650" y="25799"/>
                    </a:lnTo>
                    <a:lnTo>
                      <a:pt x="39713" y="25757"/>
                    </a:lnTo>
                    <a:lnTo>
                      <a:pt x="39650" y="25695"/>
                    </a:lnTo>
                    <a:lnTo>
                      <a:pt x="39650" y="25611"/>
                    </a:lnTo>
                    <a:lnTo>
                      <a:pt x="39608" y="25611"/>
                    </a:lnTo>
                    <a:lnTo>
                      <a:pt x="39441" y="25653"/>
                    </a:lnTo>
                    <a:lnTo>
                      <a:pt x="39441" y="25695"/>
                    </a:lnTo>
                    <a:lnTo>
                      <a:pt x="39357" y="25716"/>
                    </a:lnTo>
                    <a:lnTo>
                      <a:pt x="39148" y="25674"/>
                    </a:lnTo>
                    <a:lnTo>
                      <a:pt x="39316" y="25674"/>
                    </a:lnTo>
                    <a:lnTo>
                      <a:pt x="39357" y="25590"/>
                    </a:lnTo>
                    <a:lnTo>
                      <a:pt x="39504" y="25569"/>
                    </a:lnTo>
                    <a:lnTo>
                      <a:pt x="39525" y="25506"/>
                    </a:lnTo>
                    <a:lnTo>
                      <a:pt x="39462" y="25444"/>
                    </a:lnTo>
                    <a:lnTo>
                      <a:pt x="39357" y="25339"/>
                    </a:lnTo>
                    <a:lnTo>
                      <a:pt x="39357" y="25234"/>
                    </a:lnTo>
                    <a:lnTo>
                      <a:pt x="39211" y="25151"/>
                    </a:lnTo>
                    <a:lnTo>
                      <a:pt x="39357" y="25151"/>
                    </a:lnTo>
                    <a:lnTo>
                      <a:pt x="39525" y="25234"/>
                    </a:lnTo>
                    <a:lnTo>
                      <a:pt x="39650" y="25234"/>
                    </a:lnTo>
                    <a:lnTo>
                      <a:pt x="39650" y="25151"/>
                    </a:lnTo>
                    <a:lnTo>
                      <a:pt x="39546" y="25088"/>
                    </a:lnTo>
                    <a:lnTo>
                      <a:pt x="39567" y="25046"/>
                    </a:lnTo>
                    <a:lnTo>
                      <a:pt x="39650" y="25067"/>
                    </a:lnTo>
                    <a:lnTo>
                      <a:pt x="39776" y="24962"/>
                    </a:lnTo>
                    <a:lnTo>
                      <a:pt x="39860" y="24920"/>
                    </a:lnTo>
                    <a:lnTo>
                      <a:pt x="39880" y="24816"/>
                    </a:lnTo>
                    <a:lnTo>
                      <a:pt x="39776" y="24711"/>
                    </a:lnTo>
                    <a:lnTo>
                      <a:pt x="39713" y="24732"/>
                    </a:lnTo>
                    <a:lnTo>
                      <a:pt x="39608" y="24711"/>
                    </a:lnTo>
                    <a:lnTo>
                      <a:pt x="39671" y="24648"/>
                    </a:lnTo>
                    <a:lnTo>
                      <a:pt x="39713" y="24565"/>
                    </a:lnTo>
                    <a:lnTo>
                      <a:pt x="39650" y="24523"/>
                    </a:lnTo>
                    <a:lnTo>
                      <a:pt x="39525" y="24523"/>
                    </a:lnTo>
                    <a:lnTo>
                      <a:pt x="39462" y="24502"/>
                    </a:lnTo>
                    <a:lnTo>
                      <a:pt x="39399" y="24523"/>
                    </a:lnTo>
                    <a:lnTo>
                      <a:pt x="39316" y="24439"/>
                    </a:lnTo>
                    <a:lnTo>
                      <a:pt x="39420" y="24439"/>
                    </a:lnTo>
                    <a:lnTo>
                      <a:pt x="39462" y="24397"/>
                    </a:lnTo>
                    <a:lnTo>
                      <a:pt x="39546" y="24418"/>
                    </a:lnTo>
                    <a:lnTo>
                      <a:pt x="39650" y="24314"/>
                    </a:lnTo>
                    <a:lnTo>
                      <a:pt x="39608" y="24125"/>
                    </a:lnTo>
                    <a:lnTo>
                      <a:pt x="39504" y="24021"/>
                    </a:lnTo>
                    <a:lnTo>
                      <a:pt x="39441" y="24104"/>
                    </a:lnTo>
                    <a:lnTo>
                      <a:pt x="39336" y="24084"/>
                    </a:lnTo>
                    <a:lnTo>
                      <a:pt x="39253" y="24146"/>
                    </a:lnTo>
                    <a:lnTo>
                      <a:pt x="39295" y="24042"/>
                    </a:lnTo>
                    <a:lnTo>
                      <a:pt x="39420" y="23979"/>
                    </a:lnTo>
                    <a:lnTo>
                      <a:pt x="39504" y="23979"/>
                    </a:lnTo>
                    <a:lnTo>
                      <a:pt x="39504" y="23874"/>
                    </a:lnTo>
                    <a:lnTo>
                      <a:pt x="39399" y="23832"/>
                    </a:lnTo>
                    <a:lnTo>
                      <a:pt x="39316" y="23874"/>
                    </a:lnTo>
                    <a:lnTo>
                      <a:pt x="39190" y="23874"/>
                    </a:lnTo>
                    <a:lnTo>
                      <a:pt x="39002" y="23937"/>
                    </a:lnTo>
                    <a:lnTo>
                      <a:pt x="39002" y="23937"/>
                    </a:lnTo>
                    <a:lnTo>
                      <a:pt x="39148" y="23728"/>
                    </a:lnTo>
                    <a:lnTo>
                      <a:pt x="39253" y="23728"/>
                    </a:lnTo>
                    <a:lnTo>
                      <a:pt x="39357" y="23686"/>
                    </a:lnTo>
                    <a:lnTo>
                      <a:pt x="39357" y="23623"/>
                    </a:lnTo>
                    <a:lnTo>
                      <a:pt x="39441" y="23560"/>
                    </a:lnTo>
                    <a:lnTo>
                      <a:pt x="39420" y="23519"/>
                    </a:lnTo>
                    <a:lnTo>
                      <a:pt x="39295" y="23581"/>
                    </a:lnTo>
                    <a:lnTo>
                      <a:pt x="39106" y="23581"/>
                    </a:lnTo>
                    <a:lnTo>
                      <a:pt x="38939" y="23665"/>
                    </a:lnTo>
                    <a:lnTo>
                      <a:pt x="38939" y="23665"/>
                    </a:lnTo>
                    <a:lnTo>
                      <a:pt x="39002" y="23581"/>
                    </a:lnTo>
                    <a:lnTo>
                      <a:pt x="38981" y="23498"/>
                    </a:lnTo>
                    <a:lnTo>
                      <a:pt x="39023" y="23414"/>
                    </a:lnTo>
                    <a:lnTo>
                      <a:pt x="39106" y="23477"/>
                    </a:lnTo>
                    <a:lnTo>
                      <a:pt x="39295" y="23477"/>
                    </a:lnTo>
                    <a:lnTo>
                      <a:pt x="39399" y="23351"/>
                    </a:lnTo>
                    <a:lnTo>
                      <a:pt x="39399" y="23205"/>
                    </a:lnTo>
                    <a:lnTo>
                      <a:pt x="39295" y="23268"/>
                    </a:lnTo>
                    <a:lnTo>
                      <a:pt x="39211" y="23247"/>
                    </a:lnTo>
                    <a:lnTo>
                      <a:pt x="39316" y="23142"/>
                    </a:lnTo>
                    <a:lnTo>
                      <a:pt x="39336" y="23037"/>
                    </a:lnTo>
                    <a:lnTo>
                      <a:pt x="39253" y="22996"/>
                    </a:lnTo>
                    <a:lnTo>
                      <a:pt x="39002" y="23079"/>
                    </a:lnTo>
                    <a:lnTo>
                      <a:pt x="38918" y="23037"/>
                    </a:lnTo>
                    <a:lnTo>
                      <a:pt x="38981" y="22954"/>
                    </a:lnTo>
                    <a:lnTo>
                      <a:pt x="39106" y="22975"/>
                    </a:lnTo>
                    <a:lnTo>
                      <a:pt x="39211" y="22954"/>
                    </a:lnTo>
                    <a:lnTo>
                      <a:pt x="39295" y="22828"/>
                    </a:lnTo>
                    <a:lnTo>
                      <a:pt x="39211" y="22765"/>
                    </a:lnTo>
                    <a:lnTo>
                      <a:pt x="39211" y="22682"/>
                    </a:lnTo>
                    <a:lnTo>
                      <a:pt x="39127" y="22765"/>
                    </a:lnTo>
                    <a:lnTo>
                      <a:pt x="39085" y="22765"/>
                    </a:lnTo>
                    <a:lnTo>
                      <a:pt x="39044" y="22682"/>
                    </a:lnTo>
                    <a:lnTo>
                      <a:pt x="38981" y="22619"/>
                    </a:lnTo>
                    <a:lnTo>
                      <a:pt x="39044" y="22577"/>
                    </a:lnTo>
                    <a:lnTo>
                      <a:pt x="39106" y="22640"/>
                    </a:lnTo>
                    <a:lnTo>
                      <a:pt x="39148" y="22577"/>
                    </a:lnTo>
                    <a:lnTo>
                      <a:pt x="39148" y="22452"/>
                    </a:lnTo>
                    <a:lnTo>
                      <a:pt x="39044" y="22347"/>
                    </a:lnTo>
                    <a:lnTo>
                      <a:pt x="39023" y="22242"/>
                    </a:lnTo>
                    <a:lnTo>
                      <a:pt x="39106" y="22200"/>
                    </a:lnTo>
                    <a:lnTo>
                      <a:pt x="39106" y="22096"/>
                    </a:lnTo>
                    <a:lnTo>
                      <a:pt x="39023" y="22096"/>
                    </a:lnTo>
                    <a:lnTo>
                      <a:pt x="39044" y="22033"/>
                    </a:lnTo>
                    <a:lnTo>
                      <a:pt x="39085" y="21928"/>
                    </a:lnTo>
                    <a:lnTo>
                      <a:pt x="39002" y="21928"/>
                    </a:lnTo>
                    <a:lnTo>
                      <a:pt x="38918" y="21907"/>
                    </a:lnTo>
                    <a:lnTo>
                      <a:pt x="38918" y="21887"/>
                    </a:lnTo>
                    <a:lnTo>
                      <a:pt x="38981" y="21887"/>
                    </a:lnTo>
                    <a:lnTo>
                      <a:pt x="39044" y="21803"/>
                    </a:lnTo>
                    <a:lnTo>
                      <a:pt x="38981" y="21740"/>
                    </a:lnTo>
                    <a:lnTo>
                      <a:pt x="38981" y="21677"/>
                    </a:lnTo>
                    <a:lnTo>
                      <a:pt x="39044" y="21615"/>
                    </a:lnTo>
                    <a:lnTo>
                      <a:pt x="39023" y="21573"/>
                    </a:lnTo>
                    <a:lnTo>
                      <a:pt x="38918" y="21615"/>
                    </a:lnTo>
                    <a:lnTo>
                      <a:pt x="38918" y="21615"/>
                    </a:lnTo>
                    <a:lnTo>
                      <a:pt x="39023" y="21531"/>
                    </a:lnTo>
                    <a:lnTo>
                      <a:pt x="38981" y="21489"/>
                    </a:lnTo>
                    <a:lnTo>
                      <a:pt x="38876" y="21510"/>
                    </a:lnTo>
                    <a:lnTo>
                      <a:pt x="38772" y="21635"/>
                    </a:lnTo>
                    <a:lnTo>
                      <a:pt x="38792" y="21719"/>
                    </a:lnTo>
                    <a:lnTo>
                      <a:pt x="38730" y="21824"/>
                    </a:lnTo>
                    <a:lnTo>
                      <a:pt x="38604" y="21949"/>
                    </a:lnTo>
                    <a:lnTo>
                      <a:pt x="38604" y="22033"/>
                    </a:lnTo>
                    <a:lnTo>
                      <a:pt x="38520" y="22096"/>
                    </a:lnTo>
                    <a:lnTo>
                      <a:pt x="38520" y="22200"/>
                    </a:lnTo>
                    <a:lnTo>
                      <a:pt x="38458" y="22117"/>
                    </a:lnTo>
                    <a:lnTo>
                      <a:pt x="38395" y="22138"/>
                    </a:lnTo>
                    <a:lnTo>
                      <a:pt x="38311" y="22326"/>
                    </a:lnTo>
                    <a:lnTo>
                      <a:pt x="38311" y="22410"/>
                    </a:lnTo>
                    <a:lnTo>
                      <a:pt x="38416" y="22410"/>
                    </a:lnTo>
                    <a:lnTo>
                      <a:pt x="38479" y="22472"/>
                    </a:lnTo>
                    <a:lnTo>
                      <a:pt x="38479" y="22556"/>
                    </a:lnTo>
                    <a:lnTo>
                      <a:pt x="38374" y="22452"/>
                    </a:lnTo>
                    <a:lnTo>
                      <a:pt x="38311" y="22452"/>
                    </a:lnTo>
                    <a:lnTo>
                      <a:pt x="38290" y="22535"/>
                    </a:lnTo>
                    <a:lnTo>
                      <a:pt x="38207" y="22640"/>
                    </a:lnTo>
                    <a:lnTo>
                      <a:pt x="38144" y="22682"/>
                    </a:lnTo>
                    <a:lnTo>
                      <a:pt x="38102" y="22849"/>
                    </a:lnTo>
                    <a:lnTo>
                      <a:pt x="37997" y="22870"/>
                    </a:lnTo>
                    <a:lnTo>
                      <a:pt x="37935" y="22975"/>
                    </a:lnTo>
                    <a:lnTo>
                      <a:pt x="37935" y="23037"/>
                    </a:lnTo>
                    <a:lnTo>
                      <a:pt x="37872" y="23037"/>
                    </a:lnTo>
                    <a:lnTo>
                      <a:pt x="37872" y="23205"/>
                    </a:lnTo>
                    <a:lnTo>
                      <a:pt x="37788" y="23393"/>
                    </a:lnTo>
                    <a:lnTo>
                      <a:pt x="37788" y="23393"/>
                    </a:lnTo>
                    <a:lnTo>
                      <a:pt x="37830" y="23268"/>
                    </a:lnTo>
                    <a:lnTo>
                      <a:pt x="37788" y="23100"/>
                    </a:lnTo>
                    <a:lnTo>
                      <a:pt x="37725" y="23037"/>
                    </a:lnTo>
                    <a:lnTo>
                      <a:pt x="37558" y="23142"/>
                    </a:lnTo>
                    <a:lnTo>
                      <a:pt x="37474" y="23247"/>
                    </a:lnTo>
                    <a:lnTo>
                      <a:pt x="37453" y="23351"/>
                    </a:lnTo>
                    <a:lnTo>
                      <a:pt x="37349" y="23372"/>
                    </a:lnTo>
                    <a:lnTo>
                      <a:pt x="37307" y="23414"/>
                    </a:lnTo>
                    <a:lnTo>
                      <a:pt x="37265" y="23372"/>
                    </a:lnTo>
                    <a:lnTo>
                      <a:pt x="37202" y="23372"/>
                    </a:lnTo>
                    <a:lnTo>
                      <a:pt x="37098" y="23456"/>
                    </a:lnTo>
                    <a:lnTo>
                      <a:pt x="36993" y="23456"/>
                    </a:lnTo>
                    <a:lnTo>
                      <a:pt x="36847" y="23560"/>
                    </a:lnTo>
                    <a:lnTo>
                      <a:pt x="36826" y="23686"/>
                    </a:lnTo>
                    <a:lnTo>
                      <a:pt x="36700" y="23832"/>
                    </a:lnTo>
                    <a:lnTo>
                      <a:pt x="36742" y="23728"/>
                    </a:lnTo>
                    <a:lnTo>
                      <a:pt x="36742" y="23623"/>
                    </a:lnTo>
                    <a:lnTo>
                      <a:pt x="36784" y="23581"/>
                    </a:lnTo>
                    <a:lnTo>
                      <a:pt x="36784" y="23351"/>
                    </a:lnTo>
                    <a:lnTo>
                      <a:pt x="36805" y="23247"/>
                    </a:lnTo>
                    <a:lnTo>
                      <a:pt x="36784" y="23247"/>
                    </a:lnTo>
                    <a:lnTo>
                      <a:pt x="36365" y="23456"/>
                    </a:lnTo>
                    <a:lnTo>
                      <a:pt x="36198" y="23770"/>
                    </a:lnTo>
                    <a:lnTo>
                      <a:pt x="36072" y="23812"/>
                    </a:lnTo>
                    <a:lnTo>
                      <a:pt x="36156" y="23707"/>
                    </a:lnTo>
                    <a:lnTo>
                      <a:pt x="36177" y="23581"/>
                    </a:lnTo>
                    <a:lnTo>
                      <a:pt x="36303" y="23393"/>
                    </a:lnTo>
                    <a:lnTo>
                      <a:pt x="36303" y="23268"/>
                    </a:lnTo>
                    <a:lnTo>
                      <a:pt x="36323" y="23142"/>
                    </a:lnTo>
                    <a:lnTo>
                      <a:pt x="36282" y="23037"/>
                    </a:lnTo>
                    <a:lnTo>
                      <a:pt x="36177" y="22933"/>
                    </a:lnTo>
                    <a:lnTo>
                      <a:pt x="36072" y="22933"/>
                    </a:lnTo>
                    <a:lnTo>
                      <a:pt x="36093" y="23058"/>
                    </a:lnTo>
                    <a:lnTo>
                      <a:pt x="36072" y="23058"/>
                    </a:lnTo>
                    <a:lnTo>
                      <a:pt x="35968" y="22975"/>
                    </a:lnTo>
                    <a:lnTo>
                      <a:pt x="35842" y="22765"/>
                    </a:lnTo>
                    <a:lnTo>
                      <a:pt x="36051" y="22870"/>
                    </a:lnTo>
                    <a:lnTo>
                      <a:pt x="36093" y="22849"/>
                    </a:lnTo>
                    <a:lnTo>
                      <a:pt x="35989" y="22807"/>
                    </a:lnTo>
                    <a:lnTo>
                      <a:pt x="35863" y="22598"/>
                    </a:lnTo>
                    <a:lnTo>
                      <a:pt x="35842" y="22577"/>
                    </a:lnTo>
                    <a:lnTo>
                      <a:pt x="35968" y="22431"/>
                    </a:lnTo>
                    <a:lnTo>
                      <a:pt x="35989" y="22347"/>
                    </a:lnTo>
                    <a:lnTo>
                      <a:pt x="36093" y="22179"/>
                    </a:lnTo>
                    <a:lnTo>
                      <a:pt x="36093" y="21970"/>
                    </a:lnTo>
                    <a:lnTo>
                      <a:pt x="35947" y="21845"/>
                    </a:lnTo>
                    <a:lnTo>
                      <a:pt x="35738" y="21803"/>
                    </a:lnTo>
                    <a:lnTo>
                      <a:pt x="35466" y="21656"/>
                    </a:lnTo>
                    <a:lnTo>
                      <a:pt x="35466" y="21656"/>
                    </a:lnTo>
                    <a:lnTo>
                      <a:pt x="35759" y="21761"/>
                    </a:lnTo>
                    <a:lnTo>
                      <a:pt x="36010" y="21803"/>
                    </a:lnTo>
                    <a:lnTo>
                      <a:pt x="36051" y="21615"/>
                    </a:lnTo>
                    <a:lnTo>
                      <a:pt x="36093" y="21531"/>
                    </a:lnTo>
                    <a:lnTo>
                      <a:pt x="36114" y="21698"/>
                    </a:lnTo>
                    <a:lnTo>
                      <a:pt x="36177" y="21594"/>
                    </a:lnTo>
                    <a:lnTo>
                      <a:pt x="36093" y="21363"/>
                    </a:lnTo>
                    <a:lnTo>
                      <a:pt x="36198" y="21196"/>
                    </a:lnTo>
                    <a:lnTo>
                      <a:pt x="36365" y="21175"/>
                    </a:lnTo>
                    <a:lnTo>
                      <a:pt x="36386" y="20987"/>
                    </a:lnTo>
                    <a:lnTo>
                      <a:pt x="36386" y="20778"/>
                    </a:lnTo>
                    <a:lnTo>
                      <a:pt x="36303" y="20778"/>
                    </a:lnTo>
                    <a:lnTo>
                      <a:pt x="36282" y="20966"/>
                    </a:lnTo>
                    <a:lnTo>
                      <a:pt x="36156" y="21071"/>
                    </a:lnTo>
                    <a:lnTo>
                      <a:pt x="36093" y="20987"/>
                    </a:lnTo>
                    <a:lnTo>
                      <a:pt x="36114" y="20778"/>
                    </a:lnTo>
                    <a:lnTo>
                      <a:pt x="35968" y="20715"/>
                    </a:lnTo>
                    <a:lnTo>
                      <a:pt x="35842" y="20778"/>
                    </a:lnTo>
                    <a:lnTo>
                      <a:pt x="35779" y="20715"/>
                    </a:lnTo>
                    <a:lnTo>
                      <a:pt x="35696" y="20757"/>
                    </a:lnTo>
                    <a:lnTo>
                      <a:pt x="35528" y="20589"/>
                    </a:lnTo>
                    <a:lnTo>
                      <a:pt x="35424" y="20652"/>
                    </a:lnTo>
                    <a:lnTo>
                      <a:pt x="35424" y="20547"/>
                    </a:lnTo>
                    <a:lnTo>
                      <a:pt x="35319" y="20652"/>
                    </a:lnTo>
                    <a:lnTo>
                      <a:pt x="35319" y="20547"/>
                    </a:lnTo>
                    <a:lnTo>
                      <a:pt x="35173" y="20401"/>
                    </a:lnTo>
                    <a:lnTo>
                      <a:pt x="35277" y="20401"/>
                    </a:lnTo>
                    <a:lnTo>
                      <a:pt x="35340" y="20296"/>
                    </a:lnTo>
                    <a:lnTo>
                      <a:pt x="35445" y="20380"/>
                    </a:lnTo>
                    <a:lnTo>
                      <a:pt x="35466" y="20296"/>
                    </a:lnTo>
                    <a:lnTo>
                      <a:pt x="35361" y="20171"/>
                    </a:lnTo>
                    <a:lnTo>
                      <a:pt x="35277" y="20255"/>
                    </a:lnTo>
                    <a:lnTo>
                      <a:pt x="35173" y="20171"/>
                    </a:lnTo>
                    <a:lnTo>
                      <a:pt x="35277" y="20150"/>
                    </a:lnTo>
                    <a:lnTo>
                      <a:pt x="35235" y="20024"/>
                    </a:lnTo>
                    <a:lnTo>
                      <a:pt x="35110" y="19920"/>
                    </a:lnTo>
                    <a:lnTo>
                      <a:pt x="35026" y="19962"/>
                    </a:lnTo>
                    <a:lnTo>
                      <a:pt x="35026" y="19878"/>
                    </a:lnTo>
                    <a:lnTo>
                      <a:pt x="35110" y="19773"/>
                    </a:lnTo>
                    <a:lnTo>
                      <a:pt x="35110" y="19606"/>
                    </a:lnTo>
                    <a:lnTo>
                      <a:pt x="35005" y="19606"/>
                    </a:lnTo>
                    <a:lnTo>
                      <a:pt x="34859" y="19501"/>
                    </a:lnTo>
                    <a:lnTo>
                      <a:pt x="34859" y="19397"/>
                    </a:lnTo>
                    <a:lnTo>
                      <a:pt x="34650" y="19229"/>
                    </a:lnTo>
                    <a:lnTo>
                      <a:pt x="34503" y="19313"/>
                    </a:lnTo>
                    <a:lnTo>
                      <a:pt x="34398" y="19313"/>
                    </a:lnTo>
                    <a:lnTo>
                      <a:pt x="34336" y="19397"/>
                    </a:lnTo>
                    <a:lnTo>
                      <a:pt x="34210" y="19334"/>
                    </a:lnTo>
                    <a:lnTo>
                      <a:pt x="34210" y="19480"/>
                    </a:lnTo>
                    <a:lnTo>
                      <a:pt x="34126" y="19376"/>
                    </a:lnTo>
                    <a:lnTo>
                      <a:pt x="34043" y="19376"/>
                    </a:lnTo>
                    <a:lnTo>
                      <a:pt x="34001" y="19292"/>
                    </a:lnTo>
                    <a:lnTo>
                      <a:pt x="33896" y="19292"/>
                    </a:lnTo>
                    <a:lnTo>
                      <a:pt x="33729" y="19397"/>
                    </a:lnTo>
                    <a:lnTo>
                      <a:pt x="33562" y="19397"/>
                    </a:lnTo>
                    <a:lnTo>
                      <a:pt x="33708" y="19334"/>
                    </a:lnTo>
                    <a:lnTo>
                      <a:pt x="33729" y="19229"/>
                    </a:lnTo>
                    <a:lnTo>
                      <a:pt x="33603" y="19229"/>
                    </a:lnTo>
                    <a:lnTo>
                      <a:pt x="33352" y="19104"/>
                    </a:lnTo>
                    <a:lnTo>
                      <a:pt x="33164" y="18999"/>
                    </a:lnTo>
                    <a:lnTo>
                      <a:pt x="32976" y="18999"/>
                    </a:lnTo>
                    <a:lnTo>
                      <a:pt x="32913" y="18957"/>
                    </a:lnTo>
                    <a:lnTo>
                      <a:pt x="32829" y="18978"/>
                    </a:lnTo>
                    <a:lnTo>
                      <a:pt x="32746" y="18978"/>
                    </a:lnTo>
                    <a:lnTo>
                      <a:pt x="32662" y="19062"/>
                    </a:lnTo>
                    <a:lnTo>
                      <a:pt x="32662" y="19125"/>
                    </a:lnTo>
                    <a:lnTo>
                      <a:pt x="32578" y="19125"/>
                    </a:lnTo>
                    <a:lnTo>
                      <a:pt x="32536" y="19104"/>
                    </a:lnTo>
                    <a:lnTo>
                      <a:pt x="32453" y="19166"/>
                    </a:lnTo>
                    <a:lnTo>
                      <a:pt x="32453" y="19313"/>
                    </a:lnTo>
                    <a:lnTo>
                      <a:pt x="32369" y="19480"/>
                    </a:lnTo>
                    <a:lnTo>
                      <a:pt x="32369" y="19690"/>
                    </a:lnTo>
                    <a:lnTo>
                      <a:pt x="32453" y="19794"/>
                    </a:lnTo>
                    <a:lnTo>
                      <a:pt x="32515" y="19794"/>
                    </a:lnTo>
                    <a:lnTo>
                      <a:pt x="32515" y="19836"/>
                    </a:lnTo>
                    <a:lnTo>
                      <a:pt x="32557" y="19857"/>
                    </a:lnTo>
                    <a:lnTo>
                      <a:pt x="32557" y="20003"/>
                    </a:lnTo>
                    <a:lnTo>
                      <a:pt x="32515" y="20045"/>
                    </a:lnTo>
                    <a:lnTo>
                      <a:pt x="32432" y="20045"/>
                    </a:lnTo>
                    <a:lnTo>
                      <a:pt x="32411" y="20171"/>
                    </a:lnTo>
                    <a:lnTo>
                      <a:pt x="32243" y="20380"/>
                    </a:lnTo>
                    <a:lnTo>
                      <a:pt x="32013" y="20568"/>
                    </a:lnTo>
                    <a:lnTo>
                      <a:pt x="32013" y="20652"/>
                    </a:lnTo>
                    <a:lnTo>
                      <a:pt x="32055" y="20673"/>
                    </a:lnTo>
                    <a:lnTo>
                      <a:pt x="32243" y="20652"/>
                    </a:lnTo>
                    <a:lnTo>
                      <a:pt x="32327" y="20652"/>
                    </a:lnTo>
                    <a:lnTo>
                      <a:pt x="32243" y="20694"/>
                    </a:lnTo>
                    <a:lnTo>
                      <a:pt x="32202" y="20861"/>
                    </a:lnTo>
                    <a:lnTo>
                      <a:pt x="32202" y="20903"/>
                    </a:lnTo>
                    <a:lnTo>
                      <a:pt x="32327" y="20945"/>
                    </a:lnTo>
                    <a:lnTo>
                      <a:pt x="32222" y="20966"/>
                    </a:lnTo>
                    <a:lnTo>
                      <a:pt x="32139" y="21050"/>
                    </a:lnTo>
                    <a:lnTo>
                      <a:pt x="32160" y="21112"/>
                    </a:lnTo>
                    <a:lnTo>
                      <a:pt x="32222" y="21175"/>
                    </a:lnTo>
                    <a:lnTo>
                      <a:pt x="32118" y="21301"/>
                    </a:lnTo>
                    <a:lnTo>
                      <a:pt x="32118" y="21363"/>
                    </a:lnTo>
                    <a:lnTo>
                      <a:pt x="32264" y="21363"/>
                    </a:lnTo>
                    <a:lnTo>
                      <a:pt x="32306" y="21426"/>
                    </a:lnTo>
                    <a:lnTo>
                      <a:pt x="32160" y="21635"/>
                    </a:lnTo>
                    <a:lnTo>
                      <a:pt x="32034" y="21698"/>
                    </a:lnTo>
                    <a:lnTo>
                      <a:pt x="32034" y="21824"/>
                    </a:lnTo>
                    <a:lnTo>
                      <a:pt x="32097" y="21887"/>
                    </a:lnTo>
                    <a:lnTo>
                      <a:pt x="32013" y="21845"/>
                    </a:lnTo>
                    <a:lnTo>
                      <a:pt x="31930" y="21719"/>
                    </a:lnTo>
                    <a:lnTo>
                      <a:pt x="31888" y="21719"/>
                    </a:lnTo>
                    <a:lnTo>
                      <a:pt x="31741" y="21887"/>
                    </a:lnTo>
                    <a:lnTo>
                      <a:pt x="31741" y="21928"/>
                    </a:lnTo>
                    <a:lnTo>
                      <a:pt x="31804" y="21949"/>
                    </a:lnTo>
                    <a:lnTo>
                      <a:pt x="31804" y="22033"/>
                    </a:lnTo>
                    <a:lnTo>
                      <a:pt x="31720" y="22117"/>
                    </a:lnTo>
                    <a:lnTo>
                      <a:pt x="31616" y="22117"/>
                    </a:lnTo>
                    <a:lnTo>
                      <a:pt x="31302" y="22431"/>
                    </a:lnTo>
                    <a:lnTo>
                      <a:pt x="31197" y="22472"/>
                    </a:lnTo>
                    <a:lnTo>
                      <a:pt x="31113" y="22724"/>
                    </a:lnTo>
                    <a:lnTo>
                      <a:pt x="31155" y="22786"/>
                    </a:lnTo>
                    <a:lnTo>
                      <a:pt x="31260" y="22828"/>
                    </a:lnTo>
                    <a:lnTo>
                      <a:pt x="31281" y="22954"/>
                    </a:lnTo>
                    <a:lnTo>
                      <a:pt x="31406" y="23037"/>
                    </a:lnTo>
                    <a:lnTo>
                      <a:pt x="31595" y="23288"/>
                    </a:lnTo>
                    <a:lnTo>
                      <a:pt x="31616" y="23602"/>
                    </a:lnTo>
                    <a:lnTo>
                      <a:pt x="31595" y="23937"/>
                    </a:lnTo>
                    <a:lnTo>
                      <a:pt x="31678" y="24125"/>
                    </a:lnTo>
                    <a:lnTo>
                      <a:pt x="31637" y="24251"/>
                    </a:lnTo>
                    <a:lnTo>
                      <a:pt x="31637" y="24460"/>
                    </a:lnTo>
                    <a:lnTo>
                      <a:pt x="31595" y="24523"/>
                    </a:lnTo>
                    <a:lnTo>
                      <a:pt x="31490" y="24816"/>
                    </a:lnTo>
                    <a:lnTo>
                      <a:pt x="31427" y="24962"/>
                    </a:lnTo>
                    <a:lnTo>
                      <a:pt x="31490" y="24962"/>
                    </a:lnTo>
                    <a:lnTo>
                      <a:pt x="31511" y="24858"/>
                    </a:lnTo>
                    <a:lnTo>
                      <a:pt x="31595" y="24816"/>
                    </a:lnTo>
                    <a:lnTo>
                      <a:pt x="31595" y="24962"/>
                    </a:lnTo>
                    <a:lnTo>
                      <a:pt x="31699" y="25088"/>
                    </a:lnTo>
                    <a:lnTo>
                      <a:pt x="31616" y="25192"/>
                    </a:lnTo>
                    <a:lnTo>
                      <a:pt x="31511" y="25192"/>
                    </a:lnTo>
                    <a:lnTo>
                      <a:pt x="31469" y="25151"/>
                    </a:lnTo>
                    <a:lnTo>
                      <a:pt x="31385" y="25151"/>
                    </a:lnTo>
                    <a:lnTo>
                      <a:pt x="31218" y="25402"/>
                    </a:lnTo>
                    <a:lnTo>
                      <a:pt x="31093" y="25465"/>
                    </a:lnTo>
                    <a:lnTo>
                      <a:pt x="31072" y="25569"/>
                    </a:lnTo>
                    <a:lnTo>
                      <a:pt x="30800" y="25674"/>
                    </a:lnTo>
                    <a:lnTo>
                      <a:pt x="30737" y="25757"/>
                    </a:lnTo>
                    <a:lnTo>
                      <a:pt x="30737" y="25799"/>
                    </a:lnTo>
                    <a:lnTo>
                      <a:pt x="30360" y="25925"/>
                    </a:lnTo>
                    <a:lnTo>
                      <a:pt x="30130" y="26029"/>
                    </a:lnTo>
                    <a:lnTo>
                      <a:pt x="30067" y="26092"/>
                    </a:lnTo>
                    <a:lnTo>
                      <a:pt x="29942" y="26092"/>
                    </a:lnTo>
                    <a:lnTo>
                      <a:pt x="29837" y="26176"/>
                    </a:lnTo>
                    <a:lnTo>
                      <a:pt x="29607" y="26197"/>
                    </a:lnTo>
                    <a:lnTo>
                      <a:pt x="29440" y="26281"/>
                    </a:lnTo>
                    <a:lnTo>
                      <a:pt x="29481" y="26322"/>
                    </a:lnTo>
                    <a:lnTo>
                      <a:pt x="29481" y="26427"/>
                    </a:lnTo>
                    <a:lnTo>
                      <a:pt x="29523" y="26511"/>
                    </a:lnTo>
                    <a:lnTo>
                      <a:pt x="29523" y="26615"/>
                    </a:lnTo>
                    <a:lnTo>
                      <a:pt x="29586" y="26699"/>
                    </a:lnTo>
                    <a:lnTo>
                      <a:pt x="29523" y="26720"/>
                    </a:lnTo>
                    <a:lnTo>
                      <a:pt x="29544" y="26804"/>
                    </a:lnTo>
                    <a:lnTo>
                      <a:pt x="29607" y="26825"/>
                    </a:lnTo>
                    <a:lnTo>
                      <a:pt x="29523" y="26866"/>
                    </a:lnTo>
                    <a:lnTo>
                      <a:pt x="29586" y="26971"/>
                    </a:lnTo>
                    <a:lnTo>
                      <a:pt x="29523" y="27013"/>
                    </a:lnTo>
                    <a:lnTo>
                      <a:pt x="29544" y="27117"/>
                    </a:lnTo>
                    <a:lnTo>
                      <a:pt x="29502" y="27159"/>
                    </a:lnTo>
                    <a:lnTo>
                      <a:pt x="29481" y="27348"/>
                    </a:lnTo>
                    <a:lnTo>
                      <a:pt x="29502" y="27452"/>
                    </a:lnTo>
                    <a:lnTo>
                      <a:pt x="29419" y="27745"/>
                    </a:lnTo>
                    <a:lnTo>
                      <a:pt x="29440" y="27808"/>
                    </a:lnTo>
                    <a:lnTo>
                      <a:pt x="29502" y="27850"/>
                    </a:lnTo>
                    <a:lnTo>
                      <a:pt x="29502" y="27913"/>
                    </a:lnTo>
                    <a:lnTo>
                      <a:pt x="29544" y="27975"/>
                    </a:lnTo>
                    <a:lnTo>
                      <a:pt x="29440" y="28101"/>
                    </a:lnTo>
                    <a:lnTo>
                      <a:pt x="29440" y="28226"/>
                    </a:lnTo>
                    <a:lnTo>
                      <a:pt x="29523" y="28268"/>
                    </a:lnTo>
                    <a:lnTo>
                      <a:pt x="29544" y="28436"/>
                    </a:lnTo>
                    <a:lnTo>
                      <a:pt x="29607" y="28498"/>
                    </a:lnTo>
                    <a:lnTo>
                      <a:pt x="29481" y="28624"/>
                    </a:lnTo>
                    <a:lnTo>
                      <a:pt x="29419" y="28791"/>
                    </a:lnTo>
                    <a:lnTo>
                      <a:pt x="29377" y="28812"/>
                    </a:lnTo>
                    <a:lnTo>
                      <a:pt x="29314" y="28791"/>
                    </a:lnTo>
                    <a:lnTo>
                      <a:pt x="29314" y="28896"/>
                    </a:lnTo>
                    <a:lnTo>
                      <a:pt x="29377" y="28959"/>
                    </a:lnTo>
                    <a:lnTo>
                      <a:pt x="29314" y="29042"/>
                    </a:lnTo>
                    <a:lnTo>
                      <a:pt x="29293" y="29231"/>
                    </a:lnTo>
                    <a:lnTo>
                      <a:pt x="29314" y="29356"/>
                    </a:lnTo>
                    <a:lnTo>
                      <a:pt x="29419" y="29482"/>
                    </a:lnTo>
                    <a:lnTo>
                      <a:pt x="29523" y="29545"/>
                    </a:lnTo>
                    <a:lnTo>
                      <a:pt x="29335" y="29524"/>
                    </a:lnTo>
                    <a:lnTo>
                      <a:pt x="29209" y="29419"/>
                    </a:lnTo>
                    <a:lnTo>
                      <a:pt x="29230" y="29252"/>
                    </a:lnTo>
                    <a:lnTo>
                      <a:pt x="29189" y="29042"/>
                    </a:lnTo>
                    <a:lnTo>
                      <a:pt x="29105" y="29022"/>
                    </a:lnTo>
                    <a:lnTo>
                      <a:pt x="29084" y="28959"/>
                    </a:lnTo>
                    <a:lnTo>
                      <a:pt x="29105" y="28854"/>
                    </a:lnTo>
                    <a:lnTo>
                      <a:pt x="29063" y="28854"/>
                    </a:lnTo>
                    <a:lnTo>
                      <a:pt x="28875" y="29105"/>
                    </a:lnTo>
                    <a:lnTo>
                      <a:pt x="28875" y="29210"/>
                    </a:lnTo>
                    <a:lnTo>
                      <a:pt x="28854" y="29314"/>
                    </a:lnTo>
                    <a:lnTo>
                      <a:pt x="28749" y="29314"/>
                    </a:lnTo>
                    <a:lnTo>
                      <a:pt x="28644" y="29210"/>
                    </a:lnTo>
                    <a:lnTo>
                      <a:pt x="28477" y="29147"/>
                    </a:lnTo>
                    <a:lnTo>
                      <a:pt x="28352" y="29252"/>
                    </a:lnTo>
                    <a:lnTo>
                      <a:pt x="28184" y="29335"/>
                    </a:lnTo>
                    <a:lnTo>
                      <a:pt x="28184" y="29335"/>
                    </a:lnTo>
                    <a:lnTo>
                      <a:pt x="28393" y="29147"/>
                    </a:lnTo>
                    <a:lnTo>
                      <a:pt x="28456" y="29001"/>
                    </a:lnTo>
                    <a:lnTo>
                      <a:pt x="28435" y="28917"/>
                    </a:lnTo>
                    <a:lnTo>
                      <a:pt x="28393" y="28729"/>
                    </a:lnTo>
                    <a:lnTo>
                      <a:pt x="28331" y="28624"/>
                    </a:lnTo>
                    <a:lnTo>
                      <a:pt x="28289" y="28540"/>
                    </a:lnTo>
                    <a:lnTo>
                      <a:pt x="28268" y="28540"/>
                    </a:lnTo>
                    <a:lnTo>
                      <a:pt x="28142" y="28478"/>
                    </a:lnTo>
                    <a:lnTo>
                      <a:pt x="28038" y="28415"/>
                    </a:lnTo>
                    <a:lnTo>
                      <a:pt x="28038" y="28331"/>
                    </a:lnTo>
                    <a:lnTo>
                      <a:pt x="28017" y="28289"/>
                    </a:lnTo>
                    <a:lnTo>
                      <a:pt x="28038" y="28185"/>
                    </a:lnTo>
                    <a:lnTo>
                      <a:pt x="27954" y="28080"/>
                    </a:lnTo>
                    <a:lnTo>
                      <a:pt x="27870" y="28017"/>
                    </a:lnTo>
                    <a:lnTo>
                      <a:pt x="27870" y="27892"/>
                    </a:lnTo>
                    <a:lnTo>
                      <a:pt x="27766" y="27808"/>
                    </a:lnTo>
                    <a:lnTo>
                      <a:pt x="27724" y="27703"/>
                    </a:lnTo>
                    <a:lnTo>
                      <a:pt x="27766" y="27473"/>
                    </a:lnTo>
                    <a:lnTo>
                      <a:pt x="27870" y="27369"/>
                    </a:lnTo>
                    <a:lnTo>
                      <a:pt x="27933" y="27222"/>
                    </a:lnTo>
                    <a:lnTo>
                      <a:pt x="27933" y="27117"/>
                    </a:lnTo>
                    <a:lnTo>
                      <a:pt x="28080" y="26866"/>
                    </a:lnTo>
                    <a:lnTo>
                      <a:pt x="28080" y="26615"/>
                    </a:lnTo>
                    <a:lnTo>
                      <a:pt x="28059" y="26594"/>
                    </a:lnTo>
                    <a:lnTo>
                      <a:pt x="28038" y="26448"/>
                    </a:lnTo>
                    <a:lnTo>
                      <a:pt x="28121" y="26301"/>
                    </a:lnTo>
                    <a:lnTo>
                      <a:pt x="28184" y="26197"/>
                    </a:lnTo>
                    <a:lnTo>
                      <a:pt x="28184" y="26092"/>
                    </a:lnTo>
                    <a:lnTo>
                      <a:pt x="28352" y="25799"/>
                    </a:lnTo>
                    <a:lnTo>
                      <a:pt x="28331" y="25611"/>
                    </a:lnTo>
                    <a:lnTo>
                      <a:pt x="28268" y="25611"/>
                    </a:lnTo>
                    <a:lnTo>
                      <a:pt x="28247" y="25653"/>
                    </a:lnTo>
                    <a:lnTo>
                      <a:pt x="28247" y="25590"/>
                    </a:lnTo>
                    <a:lnTo>
                      <a:pt x="28163" y="25590"/>
                    </a:lnTo>
                    <a:lnTo>
                      <a:pt x="28038" y="25653"/>
                    </a:lnTo>
                    <a:lnTo>
                      <a:pt x="27849" y="25611"/>
                    </a:lnTo>
                    <a:lnTo>
                      <a:pt x="27661" y="25569"/>
                    </a:lnTo>
                    <a:lnTo>
                      <a:pt x="27619" y="25569"/>
                    </a:lnTo>
                    <a:lnTo>
                      <a:pt x="27556" y="25506"/>
                    </a:lnTo>
                    <a:lnTo>
                      <a:pt x="27326" y="25506"/>
                    </a:lnTo>
                    <a:lnTo>
                      <a:pt x="27201" y="25548"/>
                    </a:lnTo>
                    <a:lnTo>
                      <a:pt x="27138" y="25506"/>
                    </a:lnTo>
                    <a:lnTo>
                      <a:pt x="26971" y="25506"/>
                    </a:lnTo>
                    <a:lnTo>
                      <a:pt x="26929" y="25485"/>
                    </a:lnTo>
                    <a:lnTo>
                      <a:pt x="26971" y="25444"/>
                    </a:lnTo>
                    <a:lnTo>
                      <a:pt x="26803" y="25297"/>
                    </a:lnTo>
                    <a:lnTo>
                      <a:pt x="26782" y="25234"/>
                    </a:lnTo>
                    <a:lnTo>
                      <a:pt x="26594" y="25046"/>
                    </a:lnTo>
                    <a:lnTo>
                      <a:pt x="26510" y="25025"/>
                    </a:lnTo>
                    <a:lnTo>
                      <a:pt x="26343" y="24879"/>
                    </a:lnTo>
                    <a:lnTo>
                      <a:pt x="26259" y="24858"/>
                    </a:lnTo>
                    <a:lnTo>
                      <a:pt x="26029" y="24711"/>
                    </a:lnTo>
                    <a:lnTo>
                      <a:pt x="25966" y="24648"/>
                    </a:lnTo>
                    <a:lnTo>
                      <a:pt x="25903" y="24753"/>
                    </a:lnTo>
                    <a:lnTo>
                      <a:pt x="25903" y="24711"/>
                    </a:lnTo>
                    <a:lnTo>
                      <a:pt x="25820" y="24523"/>
                    </a:lnTo>
                    <a:lnTo>
                      <a:pt x="25736" y="24439"/>
                    </a:lnTo>
                    <a:lnTo>
                      <a:pt x="25736" y="24335"/>
                    </a:lnTo>
                    <a:lnTo>
                      <a:pt x="25631" y="24293"/>
                    </a:lnTo>
                    <a:lnTo>
                      <a:pt x="25527" y="24104"/>
                    </a:lnTo>
                    <a:lnTo>
                      <a:pt x="25443" y="24084"/>
                    </a:lnTo>
                    <a:lnTo>
                      <a:pt x="25255" y="23895"/>
                    </a:lnTo>
                    <a:lnTo>
                      <a:pt x="25150" y="23874"/>
                    </a:lnTo>
                    <a:lnTo>
                      <a:pt x="25087" y="23812"/>
                    </a:lnTo>
                    <a:lnTo>
                      <a:pt x="24815" y="23728"/>
                    </a:lnTo>
                    <a:lnTo>
                      <a:pt x="24627" y="23581"/>
                    </a:lnTo>
                    <a:lnTo>
                      <a:pt x="24376" y="23393"/>
                    </a:lnTo>
                    <a:lnTo>
                      <a:pt x="24167" y="23414"/>
                    </a:lnTo>
                    <a:lnTo>
                      <a:pt x="23748" y="23560"/>
                    </a:lnTo>
                    <a:lnTo>
                      <a:pt x="23330" y="23686"/>
                    </a:lnTo>
                    <a:lnTo>
                      <a:pt x="23142" y="23686"/>
                    </a:lnTo>
                    <a:lnTo>
                      <a:pt x="23016" y="23623"/>
                    </a:lnTo>
                    <a:lnTo>
                      <a:pt x="23016" y="23623"/>
                    </a:lnTo>
                    <a:lnTo>
                      <a:pt x="23142" y="23665"/>
                    </a:lnTo>
                    <a:lnTo>
                      <a:pt x="23330" y="23602"/>
                    </a:lnTo>
                    <a:lnTo>
                      <a:pt x="23665" y="23268"/>
                    </a:lnTo>
                    <a:lnTo>
                      <a:pt x="23727" y="23163"/>
                    </a:lnTo>
                    <a:lnTo>
                      <a:pt x="23665" y="22933"/>
                    </a:lnTo>
                    <a:lnTo>
                      <a:pt x="23581" y="22828"/>
                    </a:lnTo>
                    <a:lnTo>
                      <a:pt x="23665" y="22577"/>
                    </a:lnTo>
                    <a:lnTo>
                      <a:pt x="23665" y="22347"/>
                    </a:lnTo>
                    <a:lnTo>
                      <a:pt x="23581" y="22200"/>
                    </a:lnTo>
                    <a:lnTo>
                      <a:pt x="23581" y="22054"/>
                    </a:lnTo>
                    <a:lnTo>
                      <a:pt x="23644" y="21928"/>
                    </a:lnTo>
                    <a:lnTo>
                      <a:pt x="23644" y="21824"/>
                    </a:lnTo>
                    <a:lnTo>
                      <a:pt x="23539" y="21782"/>
                    </a:lnTo>
                    <a:lnTo>
                      <a:pt x="23204" y="21782"/>
                    </a:lnTo>
                    <a:lnTo>
                      <a:pt x="23037" y="22054"/>
                    </a:lnTo>
                    <a:lnTo>
                      <a:pt x="22828" y="22305"/>
                    </a:lnTo>
                    <a:lnTo>
                      <a:pt x="22577" y="22326"/>
                    </a:lnTo>
                    <a:lnTo>
                      <a:pt x="22409" y="22452"/>
                    </a:lnTo>
                    <a:lnTo>
                      <a:pt x="22472" y="22347"/>
                    </a:lnTo>
                    <a:lnTo>
                      <a:pt x="22786" y="22263"/>
                    </a:lnTo>
                    <a:lnTo>
                      <a:pt x="22932" y="22117"/>
                    </a:lnTo>
                    <a:lnTo>
                      <a:pt x="23037" y="21845"/>
                    </a:lnTo>
                    <a:lnTo>
                      <a:pt x="22995" y="21824"/>
                    </a:lnTo>
                    <a:lnTo>
                      <a:pt x="22995" y="21677"/>
                    </a:lnTo>
                    <a:lnTo>
                      <a:pt x="22932" y="21594"/>
                    </a:lnTo>
                    <a:lnTo>
                      <a:pt x="22953" y="21489"/>
                    </a:lnTo>
                    <a:lnTo>
                      <a:pt x="22932" y="21405"/>
                    </a:lnTo>
                    <a:lnTo>
                      <a:pt x="22807" y="21384"/>
                    </a:lnTo>
                    <a:lnTo>
                      <a:pt x="22849" y="21322"/>
                    </a:lnTo>
                    <a:lnTo>
                      <a:pt x="22953" y="21301"/>
                    </a:lnTo>
                    <a:lnTo>
                      <a:pt x="22995" y="21196"/>
                    </a:lnTo>
                    <a:lnTo>
                      <a:pt x="23100" y="21008"/>
                    </a:lnTo>
                    <a:lnTo>
                      <a:pt x="23100" y="20861"/>
                    </a:lnTo>
                    <a:lnTo>
                      <a:pt x="23037" y="20799"/>
                    </a:lnTo>
                    <a:lnTo>
                      <a:pt x="23121" y="20568"/>
                    </a:lnTo>
                    <a:lnTo>
                      <a:pt x="23204" y="20527"/>
                    </a:lnTo>
                    <a:lnTo>
                      <a:pt x="23246" y="20359"/>
                    </a:lnTo>
                    <a:lnTo>
                      <a:pt x="23330" y="20255"/>
                    </a:lnTo>
                    <a:lnTo>
                      <a:pt x="23372" y="20045"/>
                    </a:lnTo>
                    <a:lnTo>
                      <a:pt x="23476" y="19941"/>
                    </a:lnTo>
                    <a:lnTo>
                      <a:pt x="23435" y="19815"/>
                    </a:lnTo>
                    <a:lnTo>
                      <a:pt x="23435" y="19731"/>
                    </a:lnTo>
                    <a:lnTo>
                      <a:pt x="23560" y="19815"/>
                    </a:lnTo>
                    <a:lnTo>
                      <a:pt x="23665" y="19711"/>
                    </a:lnTo>
                    <a:lnTo>
                      <a:pt x="23665" y="19606"/>
                    </a:lnTo>
                    <a:lnTo>
                      <a:pt x="23790" y="19585"/>
                    </a:lnTo>
                    <a:lnTo>
                      <a:pt x="23958" y="19397"/>
                    </a:lnTo>
                    <a:lnTo>
                      <a:pt x="24062" y="19334"/>
                    </a:lnTo>
                    <a:lnTo>
                      <a:pt x="24041" y="19229"/>
                    </a:lnTo>
                    <a:lnTo>
                      <a:pt x="24125" y="19166"/>
                    </a:lnTo>
                    <a:lnTo>
                      <a:pt x="24188" y="19166"/>
                    </a:lnTo>
                    <a:lnTo>
                      <a:pt x="24230" y="19083"/>
                    </a:lnTo>
                    <a:lnTo>
                      <a:pt x="24167" y="18999"/>
                    </a:lnTo>
                    <a:lnTo>
                      <a:pt x="24292" y="18915"/>
                    </a:lnTo>
                    <a:lnTo>
                      <a:pt x="24376" y="18769"/>
                    </a:lnTo>
                    <a:lnTo>
                      <a:pt x="24481" y="18769"/>
                    </a:lnTo>
                    <a:lnTo>
                      <a:pt x="24481" y="18706"/>
                    </a:lnTo>
                    <a:lnTo>
                      <a:pt x="24543" y="18664"/>
                    </a:lnTo>
                    <a:lnTo>
                      <a:pt x="24397" y="18560"/>
                    </a:lnTo>
                    <a:lnTo>
                      <a:pt x="24460" y="18539"/>
                    </a:lnTo>
                    <a:lnTo>
                      <a:pt x="24460" y="18455"/>
                    </a:lnTo>
                    <a:lnTo>
                      <a:pt x="24543" y="18476"/>
                    </a:lnTo>
                    <a:lnTo>
                      <a:pt x="24669" y="18581"/>
                    </a:lnTo>
                    <a:lnTo>
                      <a:pt x="24690" y="18643"/>
                    </a:lnTo>
                    <a:lnTo>
                      <a:pt x="24753" y="18602"/>
                    </a:lnTo>
                    <a:lnTo>
                      <a:pt x="24711" y="18539"/>
                    </a:lnTo>
                    <a:lnTo>
                      <a:pt x="24606" y="18476"/>
                    </a:lnTo>
                    <a:lnTo>
                      <a:pt x="24795" y="18392"/>
                    </a:lnTo>
                    <a:lnTo>
                      <a:pt x="24836" y="18330"/>
                    </a:lnTo>
                    <a:lnTo>
                      <a:pt x="24983" y="18330"/>
                    </a:lnTo>
                    <a:lnTo>
                      <a:pt x="25004" y="18350"/>
                    </a:lnTo>
                    <a:lnTo>
                      <a:pt x="25025" y="18267"/>
                    </a:lnTo>
                    <a:lnTo>
                      <a:pt x="25004" y="18225"/>
                    </a:lnTo>
                    <a:lnTo>
                      <a:pt x="25087" y="18225"/>
                    </a:lnTo>
                    <a:lnTo>
                      <a:pt x="25108" y="18350"/>
                    </a:lnTo>
                    <a:lnTo>
                      <a:pt x="25192" y="18246"/>
                    </a:lnTo>
                    <a:lnTo>
                      <a:pt x="25192" y="18225"/>
                    </a:lnTo>
                    <a:lnTo>
                      <a:pt x="25108" y="18162"/>
                    </a:lnTo>
                    <a:lnTo>
                      <a:pt x="25108" y="18058"/>
                    </a:lnTo>
                    <a:lnTo>
                      <a:pt x="25150" y="18120"/>
                    </a:lnTo>
                    <a:lnTo>
                      <a:pt x="25359" y="18162"/>
                    </a:lnTo>
                    <a:lnTo>
                      <a:pt x="25339" y="18078"/>
                    </a:lnTo>
                    <a:lnTo>
                      <a:pt x="25234" y="18037"/>
                    </a:lnTo>
                    <a:lnTo>
                      <a:pt x="25213" y="17953"/>
                    </a:lnTo>
                    <a:lnTo>
                      <a:pt x="25255" y="17932"/>
                    </a:lnTo>
                    <a:lnTo>
                      <a:pt x="25297" y="17848"/>
                    </a:lnTo>
                    <a:lnTo>
                      <a:pt x="25318" y="18016"/>
                    </a:lnTo>
                    <a:lnTo>
                      <a:pt x="25422" y="17974"/>
                    </a:lnTo>
                    <a:lnTo>
                      <a:pt x="25506" y="18016"/>
                    </a:lnTo>
                    <a:lnTo>
                      <a:pt x="25590" y="17953"/>
                    </a:lnTo>
                    <a:lnTo>
                      <a:pt x="25464" y="17744"/>
                    </a:lnTo>
                    <a:lnTo>
                      <a:pt x="25401" y="17514"/>
                    </a:lnTo>
                    <a:lnTo>
                      <a:pt x="25297" y="17388"/>
                    </a:lnTo>
                    <a:lnTo>
                      <a:pt x="25297" y="17283"/>
                    </a:lnTo>
                    <a:lnTo>
                      <a:pt x="25255" y="17200"/>
                    </a:lnTo>
                    <a:lnTo>
                      <a:pt x="25297" y="17137"/>
                    </a:lnTo>
                    <a:lnTo>
                      <a:pt x="25359" y="17221"/>
                    </a:lnTo>
                    <a:lnTo>
                      <a:pt x="25422" y="17409"/>
                    </a:lnTo>
                    <a:lnTo>
                      <a:pt x="25569" y="17597"/>
                    </a:lnTo>
                    <a:lnTo>
                      <a:pt x="25841" y="17639"/>
                    </a:lnTo>
                    <a:lnTo>
                      <a:pt x="25945" y="17723"/>
                    </a:lnTo>
                    <a:lnTo>
                      <a:pt x="26071" y="17723"/>
                    </a:lnTo>
                    <a:lnTo>
                      <a:pt x="26155" y="17660"/>
                    </a:lnTo>
                    <a:lnTo>
                      <a:pt x="26259" y="17660"/>
                    </a:lnTo>
                    <a:lnTo>
                      <a:pt x="26406" y="17514"/>
                    </a:lnTo>
                    <a:lnTo>
                      <a:pt x="26448" y="17242"/>
                    </a:lnTo>
                    <a:lnTo>
                      <a:pt x="26238" y="16990"/>
                    </a:lnTo>
                    <a:lnTo>
                      <a:pt x="26196" y="16823"/>
                    </a:lnTo>
                    <a:lnTo>
                      <a:pt x="26134" y="16739"/>
                    </a:lnTo>
                    <a:lnTo>
                      <a:pt x="26071" y="16739"/>
                    </a:lnTo>
                    <a:lnTo>
                      <a:pt x="25945" y="16886"/>
                    </a:lnTo>
                    <a:lnTo>
                      <a:pt x="25715" y="16907"/>
                    </a:lnTo>
                    <a:lnTo>
                      <a:pt x="25652" y="16928"/>
                    </a:lnTo>
                    <a:lnTo>
                      <a:pt x="25652" y="16907"/>
                    </a:lnTo>
                    <a:lnTo>
                      <a:pt x="25631" y="16823"/>
                    </a:lnTo>
                    <a:lnTo>
                      <a:pt x="25715" y="16865"/>
                    </a:lnTo>
                    <a:lnTo>
                      <a:pt x="25841" y="16823"/>
                    </a:lnTo>
                    <a:lnTo>
                      <a:pt x="25966" y="16718"/>
                    </a:lnTo>
                    <a:lnTo>
                      <a:pt x="25945" y="16677"/>
                    </a:lnTo>
                    <a:lnTo>
                      <a:pt x="25736" y="16551"/>
                    </a:lnTo>
                    <a:lnTo>
                      <a:pt x="25506" y="16300"/>
                    </a:lnTo>
                    <a:lnTo>
                      <a:pt x="25443" y="16300"/>
                    </a:lnTo>
                    <a:lnTo>
                      <a:pt x="25422" y="16363"/>
                    </a:lnTo>
                    <a:lnTo>
                      <a:pt x="25464" y="16446"/>
                    </a:lnTo>
                    <a:lnTo>
                      <a:pt x="25443" y="16488"/>
                    </a:lnTo>
                    <a:lnTo>
                      <a:pt x="25339" y="16405"/>
                    </a:lnTo>
                    <a:lnTo>
                      <a:pt x="25297" y="16258"/>
                    </a:lnTo>
                    <a:lnTo>
                      <a:pt x="25401" y="16279"/>
                    </a:lnTo>
                    <a:lnTo>
                      <a:pt x="25401" y="16091"/>
                    </a:lnTo>
                    <a:lnTo>
                      <a:pt x="25443" y="16195"/>
                    </a:lnTo>
                    <a:lnTo>
                      <a:pt x="25611" y="16342"/>
                    </a:lnTo>
                    <a:lnTo>
                      <a:pt x="25694" y="16363"/>
                    </a:lnTo>
                    <a:lnTo>
                      <a:pt x="25757" y="16551"/>
                    </a:lnTo>
                    <a:lnTo>
                      <a:pt x="25966" y="16677"/>
                    </a:lnTo>
                    <a:lnTo>
                      <a:pt x="26217" y="16760"/>
                    </a:lnTo>
                    <a:lnTo>
                      <a:pt x="26322" y="16907"/>
                    </a:lnTo>
                    <a:lnTo>
                      <a:pt x="26427" y="16970"/>
                    </a:lnTo>
                    <a:lnTo>
                      <a:pt x="26448" y="17032"/>
                    </a:lnTo>
                    <a:lnTo>
                      <a:pt x="26573" y="17095"/>
                    </a:lnTo>
                    <a:lnTo>
                      <a:pt x="26636" y="17137"/>
                    </a:lnTo>
                    <a:lnTo>
                      <a:pt x="26636" y="17011"/>
                    </a:lnTo>
                    <a:lnTo>
                      <a:pt x="26740" y="16970"/>
                    </a:lnTo>
                    <a:lnTo>
                      <a:pt x="26657" y="16907"/>
                    </a:lnTo>
                    <a:lnTo>
                      <a:pt x="26678" y="16802"/>
                    </a:lnTo>
                    <a:lnTo>
                      <a:pt x="26761" y="16928"/>
                    </a:lnTo>
                    <a:lnTo>
                      <a:pt x="26782" y="17011"/>
                    </a:lnTo>
                    <a:lnTo>
                      <a:pt x="26866" y="17032"/>
                    </a:lnTo>
                    <a:lnTo>
                      <a:pt x="26992" y="16865"/>
                    </a:lnTo>
                    <a:lnTo>
                      <a:pt x="26992" y="16656"/>
                    </a:lnTo>
                    <a:lnTo>
                      <a:pt x="26950" y="16572"/>
                    </a:lnTo>
                    <a:lnTo>
                      <a:pt x="26992" y="16405"/>
                    </a:lnTo>
                    <a:lnTo>
                      <a:pt x="27054" y="16593"/>
                    </a:lnTo>
                    <a:lnTo>
                      <a:pt x="27054" y="16698"/>
                    </a:lnTo>
                    <a:lnTo>
                      <a:pt x="27117" y="16467"/>
                    </a:lnTo>
                    <a:lnTo>
                      <a:pt x="27222" y="16405"/>
                    </a:lnTo>
                    <a:lnTo>
                      <a:pt x="27264" y="16467"/>
                    </a:lnTo>
                    <a:lnTo>
                      <a:pt x="27284" y="16488"/>
                    </a:lnTo>
                    <a:lnTo>
                      <a:pt x="27201" y="16593"/>
                    </a:lnTo>
                    <a:lnTo>
                      <a:pt x="27264" y="16614"/>
                    </a:lnTo>
                    <a:lnTo>
                      <a:pt x="27284" y="16698"/>
                    </a:lnTo>
                    <a:lnTo>
                      <a:pt x="27368" y="16614"/>
                    </a:lnTo>
                    <a:lnTo>
                      <a:pt x="27431" y="16656"/>
                    </a:lnTo>
                    <a:lnTo>
                      <a:pt x="27577" y="16802"/>
                    </a:lnTo>
                    <a:lnTo>
                      <a:pt x="27598" y="16760"/>
                    </a:lnTo>
                    <a:lnTo>
                      <a:pt x="27682" y="16760"/>
                    </a:lnTo>
                    <a:lnTo>
                      <a:pt x="27724" y="16802"/>
                    </a:lnTo>
                    <a:lnTo>
                      <a:pt x="27828" y="16781"/>
                    </a:lnTo>
                    <a:lnTo>
                      <a:pt x="27933" y="16593"/>
                    </a:lnTo>
                    <a:lnTo>
                      <a:pt x="28100" y="16509"/>
                    </a:lnTo>
                    <a:lnTo>
                      <a:pt x="28456" y="16153"/>
                    </a:lnTo>
                    <a:lnTo>
                      <a:pt x="28477" y="16070"/>
                    </a:lnTo>
                    <a:lnTo>
                      <a:pt x="28540" y="16049"/>
                    </a:lnTo>
                    <a:lnTo>
                      <a:pt x="28561" y="16091"/>
                    </a:lnTo>
                    <a:lnTo>
                      <a:pt x="28728" y="15881"/>
                    </a:lnTo>
                    <a:lnTo>
                      <a:pt x="28833" y="15840"/>
                    </a:lnTo>
                    <a:lnTo>
                      <a:pt x="28958" y="15735"/>
                    </a:lnTo>
                    <a:lnTo>
                      <a:pt x="29000" y="15672"/>
                    </a:lnTo>
                    <a:lnTo>
                      <a:pt x="28979" y="15547"/>
                    </a:lnTo>
                    <a:lnTo>
                      <a:pt x="28561" y="15442"/>
                    </a:lnTo>
                    <a:lnTo>
                      <a:pt x="28331" y="15400"/>
                    </a:lnTo>
                    <a:lnTo>
                      <a:pt x="28121" y="15317"/>
                    </a:lnTo>
                    <a:lnTo>
                      <a:pt x="28038" y="15128"/>
                    </a:lnTo>
                    <a:lnTo>
                      <a:pt x="27912" y="14898"/>
                    </a:lnTo>
                    <a:lnTo>
                      <a:pt x="27849" y="14898"/>
                    </a:lnTo>
                    <a:lnTo>
                      <a:pt x="27828" y="14710"/>
                    </a:lnTo>
                    <a:lnTo>
                      <a:pt x="27808" y="14689"/>
                    </a:lnTo>
                    <a:lnTo>
                      <a:pt x="27828" y="14626"/>
                    </a:lnTo>
                    <a:lnTo>
                      <a:pt x="27870" y="14626"/>
                    </a:lnTo>
                    <a:lnTo>
                      <a:pt x="27912" y="14563"/>
                    </a:lnTo>
                    <a:lnTo>
                      <a:pt x="27828" y="14501"/>
                    </a:lnTo>
                    <a:lnTo>
                      <a:pt x="27598" y="14501"/>
                    </a:lnTo>
                    <a:lnTo>
                      <a:pt x="27326" y="14417"/>
                    </a:lnTo>
                    <a:lnTo>
                      <a:pt x="27243" y="14417"/>
                    </a:lnTo>
                    <a:lnTo>
                      <a:pt x="27201" y="14480"/>
                    </a:lnTo>
                    <a:lnTo>
                      <a:pt x="27117" y="14396"/>
                    </a:lnTo>
                    <a:lnTo>
                      <a:pt x="27117" y="14312"/>
                    </a:lnTo>
                    <a:lnTo>
                      <a:pt x="27222" y="14354"/>
                    </a:lnTo>
                    <a:lnTo>
                      <a:pt x="27494" y="14375"/>
                    </a:lnTo>
                    <a:lnTo>
                      <a:pt x="27640" y="14480"/>
                    </a:lnTo>
                    <a:lnTo>
                      <a:pt x="27870" y="14480"/>
                    </a:lnTo>
                    <a:lnTo>
                      <a:pt x="28017" y="14584"/>
                    </a:lnTo>
                    <a:lnTo>
                      <a:pt x="28142" y="14814"/>
                    </a:lnTo>
                    <a:lnTo>
                      <a:pt x="28247" y="14835"/>
                    </a:lnTo>
                    <a:lnTo>
                      <a:pt x="28289" y="14898"/>
                    </a:lnTo>
                    <a:lnTo>
                      <a:pt x="28247" y="14919"/>
                    </a:lnTo>
                    <a:lnTo>
                      <a:pt x="28184" y="14919"/>
                    </a:lnTo>
                    <a:lnTo>
                      <a:pt x="28184" y="14982"/>
                    </a:lnTo>
                    <a:lnTo>
                      <a:pt x="28372" y="15045"/>
                    </a:lnTo>
                    <a:lnTo>
                      <a:pt x="28435" y="15191"/>
                    </a:lnTo>
                    <a:lnTo>
                      <a:pt x="28498" y="15296"/>
                    </a:lnTo>
                    <a:lnTo>
                      <a:pt x="28875" y="15358"/>
                    </a:lnTo>
                    <a:lnTo>
                      <a:pt x="28979" y="15317"/>
                    </a:lnTo>
                    <a:lnTo>
                      <a:pt x="29021" y="15191"/>
                    </a:lnTo>
                    <a:lnTo>
                      <a:pt x="29105" y="15128"/>
                    </a:lnTo>
                    <a:lnTo>
                      <a:pt x="29189" y="15149"/>
                    </a:lnTo>
                    <a:lnTo>
                      <a:pt x="29314" y="15003"/>
                    </a:lnTo>
                    <a:lnTo>
                      <a:pt x="29335" y="14982"/>
                    </a:lnTo>
                    <a:lnTo>
                      <a:pt x="29502" y="15128"/>
                    </a:lnTo>
                    <a:lnTo>
                      <a:pt x="29481" y="15149"/>
                    </a:lnTo>
                    <a:lnTo>
                      <a:pt x="29377" y="15317"/>
                    </a:lnTo>
                    <a:lnTo>
                      <a:pt x="29377" y="15400"/>
                    </a:lnTo>
                    <a:lnTo>
                      <a:pt x="29293" y="15505"/>
                    </a:lnTo>
                    <a:lnTo>
                      <a:pt x="29293" y="15568"/>
                    </a:lnTo>
                    <a:lnTo>
                      <a:pt x="29189" y="15756"/>
                    </a:lnTo>
                    <a:lnTo>
                      <a:pt x="29230" y="15840"/>
                    </a:lnTo>
                    <a:lnTo>
                      <a:pt x="29189" y="15861"/>
                    </a:lnTo>
                    <a:lnTo>
                      <a:pt x="29168" y="15965"/>
                    </a:lnTo>
                    <a:lnTo>
                      <a:pt x="29168" y="16070"/>
                    </a:lnTo>
                    <a:lnTo>
                      <a:pt x="29000" y="16195"/>
                    </a:lnTo>
                    <a:lnTo>
                      <a:pt x="28958" y="16300"/>
                    </a:lnTo>
                    <a:lnTo>
                      <a:pt x="28958" y="16467"/>
                    </a:lnTo>
                    <a:lnTo>
                      <a:pt x="28916" y="16509"/>
                    </a:lnTo>
                    <a:lnTo>
                      <a:pt x="28916" y="16677"/>
                    </a:lnTo>
                    <a:lnTo>
                      <a:pt x="28854" y="16760"/>
                    </a:lnTo>
                    <a:lnTo>
                      <a:pt x="28707" y="16760"/>
                    </a:lnTo>
                    <a:lnTo>
                      <a:pt x="28540" y="16823"/>
                    </a:lnTo>
                    <a:lnTo>
                      <a:pt x="28540" y="16928"/>
                    </a:lnTo>
                    <a:lnTo>
                      <a:pt x="28477" y="17116"/>
                    </a:lnTo>
                    <a:lnTo>
                      <a:pt x="28498" y="17242"/>
                    </a:lnTo>
                    <a:lnTo>
                      <a:pt x="28561" y="17242"/>
                    </a:lnTo>
                    <a:lnTo>
                      <a:pt x="28582" y="17137"/>
                    </a:lnTo>
                    <a:lnTo>
                      <a:pt x="28644" y="17116"/>
                    </a:lnTo>
                    <a:lnTo>
                      <a:pt x="28686" y="17137"/>
                    </a:lnTo>
                    <a:lnTo>
                      <a:pt x="28770" y="17200"/>
                    </a:lnTo>
                    <a:lnTo>
                      <a:pt x="28854" y="17200"/>
                    </a:lnTo>
                    <a:lnTo>
                      <a:pt x="28896" y="17179"/>
                    </a:lnTo>
                    <a:lnTo>
                      <a:pt x="28958" y="17179"/>
                    </a:lnTo>
                    <a:lnTo>
                      <a:pt x="29000" y="17221"/>
                    </a:lnTo>
                    <a:lnTo>
                      <a:pt x="29021" y="17304"/>
                    </a:lnTo>
                    <a:lnTo>
                      <a:pt x="28958" y="17409"/>
                    </a:lnTo>
                    <a:lnTo>
                      <a:pt x="28979" y="17514"/>
                    </a:lnTo>
                    <a:lnTo>
                      <a:pt x="28896" y="17597"/>
                    </a:lnTo>
                    <a:lnTo>
                      <a:pt x="28896" y="17744"/>
                    </a:lnTo>
                    <a:lnTo>
                      <a:pt x="28916" y="17806"/>
                    </a:lnTo>
                    <a:lnTo>
                      <a:pt x="28979" y="17765"/>
                    </a:lnTo>
                    <a:lnTo>
                      <a:pt x="29021" y="17806"/>
                    </a:lnTo>
                    <a:lnTo>
                      <a:pt x="29105" y="17806"/>
                    </a:lnTo>
                    <a:lnTo>
                      <a:pt x="29168" y="17744"/>
                    </a:lnTo>
                    <a:lnTo>
                      <a:pt x="29272" y="17744"/>
                    </a:lnTo>
                    <a:lnTo>
                      <a:pt x="29293" y="17702"/>
                    </a:lnTo>
                    <a:lnTo>
                      <a:pt x="29377" y="17639"/>
                    </a:lnTo>
                    <a:lnTo>
                      <a:pt x="29440" y="17639"/>
                    </a:lnTo>
                    <a:lnTo>
                      <a:pt x="29544" y="17555"/>
                    </a:lnTo>
                    <a:lnTo>
                      <a:pt x="29586" y="17430"/>
                    </a:lnTo>
                    <a:lnTo>
                      <a:pt x="29649" y="17346"/>
                    </a:lnTo>
                    <a:lnTo>
                      <a:pt x="29712" y="17283"/>
                    </a:lnTo>
                    <a:lnTo>
                      <a:pt x="29753" y="17283"/>
                    </a:lnTo>
                    <a:lnTo>
                      <a:pt x="29816" y="17325"/>
                    </a:lnTo>
                    <a:lnTo>
                      <a:pt x="29900" y="17283"/>
                    </a:lnTo>
                    <a:lnTo>
                      <a:pt x="29942" y="17242"/>
                    </a:lnTo>
                    <a:lnTo>
                      <a:pt x="30025" y="17242"/>
                    </a:lnTo>
                    <a:lnTo>
                      <a:pt x="30067" y="17095"/>
                    </a:lnTo>
                    <a:lnTo>
                      <a:pt x="30067" y="16970"/>
                    </a:lnTo>
                    <a:lnTo>
                      <a:pt x="30172" y="16886"/>
                    </a:lnTo>
                    <a:lnTo>
                      <a:pt x="30214" y="16802"/>
                    </a:lnTo>
                    <a:lnTo>
                      <a:pt x="30277" y="16802"/>
                    </a:lnTo>
                    <a:lnTo>
                      <a:pt x="30339" y="16865"/>
                    </a:lnTo>
                    <a:lnTo>
                      <a:pt x="30381" y="16802"/>
                    </a:lnTo>
                    <a:lnTo>
                      <a:pt x="30444" y="16781"/>
                    </a:lnTo>
                    <a:lnTo>
                      <a:pt x="30486" y="16802"/>
                    </a:lnTo>
                    <a:lnTo>
                      <a:pt x="30528" y="16907"/>
                    </a:lnTo>
                    <a:lnTo>
                      <a:pt x="30444" y="16970"/>
                    </a:lnTo>
                    <a:lnTo>
                      <a:pt x="30381" y="17011"/>
                    </a:lnTo>
                    <a:lnTo>
                      <a:pt x="30465" y="17074"/>
                    </a:lnTo>
                    <a:lnTo>
                      <a:pt x="30632" y="17074"/>
                    </a:lnTo>
                    <a:lnTo>
                      <a:pt x="30695" y="17095"/>
                    </a:lnTo>
                    <a:lnTo>
                      <a:pt x="30737" y="17179"/>
                    </a:lnTo>
                    <a:lnTo>
                      <a:pt x="30653" y="17283"/>
                    </a:lnTo>
                    <a:lnTo>
                      <a:pt x="30569" y="17304"/>
                    </a:lnTo>
                    <a:lnTo>
                      <a:pt x="30569" y="17430"/>
                    </a:lnTo>
                    <a:lnTo>
                      <a:pt x="30653" y="17451"/>
                    </a:lnTo>
                    <a:lnTo>
                      <a:pt x="30695" y="17430"/>
                    </a:lnTo>
                    <a:lnTo>
                      <a:pt x="30779" y="17430"/>
                    </a:lnTo>
                    <a:lnTo>
                      <a:pt x="30800" y="17451"/>
                    </a:lnTo>
                    <a:lnTo>
                      <a:pt x="30883" y="17430"/>
                    </a:lnTo>
                    <a:lnTo>
                      <a:pt x="30904" y="17514"/>
                    </a:lnTo>
                    <a:lnTo>
                      <a:pt x="31009" y="17514"/>
                    </a:lnTo>
                    <a:lnTo>
                      <a:pt x="31072" y="17555"/>
                    </a:lnTo>
                    <a:lnTo>
                      <a:pt x="31113" y="17555"/>
                    </a:lnTo>
                    <a:lnTo>
                      <a:pt x="31260" y="17639"/>
                    </a:lnTo>
                    <a:lnTo>
                      <a:pt x="31302" y="17618"/>
                    </a:lnTo>
                    <a:lnTo>
                      <a:pt x="31365" y="17493"/>
                    </a:lnTo>
                    <a:lnTo>
                      <a:pt x="31406" y="17451"/>
                    </a:lnTo>
                    <a:lnTo>
                      <a:pt x="31490" y="17346"/>
                    </a:lnTo>
                    <a:lnTo>
                      <a:pt x="31595" y="17346"/>
                    </a:lnTo>
                    <a:lnTo>
                      <a:pt x="31616" y="17304"/>
                    </a:lnTo>
                    <a:lnTo>
                      <a:pt x="31532" y="17283"/>
                    </a:lnTo>
                    <a:lnTo>
                      <a:pt x="31490" y="17200"/>
                    </a:lnTo>
                    <a:lnTo>
                      <a:pt x="31574" y="17179"/>
                    </a:lnTo>
                    <a:lnTo>
                      <a:pt x="31595" y="17095"/>
                    </a:lnTo>
                    <a:lnTo>
                      <a:pt x="31511" y="17053"/>
                    </a:lnTo>
                    <a:lnTo>
                      <a:pt x="31469" y="16990"/>
                    </a:lnTo>
                    <a:lnTo>
                      <a:pt x="31406" y="17011"/>
                    </a:lnTo>
                    <a:lnTo>
                      <a:pt x="31406" y="17095"/>
                    </a:lnTo>
                    <a:lnTo>
                      <a:pt x="31365" y="17116"/>
                    </a:lnTo>
                    <a:lnTo>
                      <a:pt x="31302" y="17095"/>
                    </a:lnTo>
                    <a:lnTo>
                      <a:pt x="31197" y="17032"/>
                    </a:lnTo>
                    <a:lnTo>
                      <a:pt x="31197" y="16970"/>
                    </a:lnTo>
                    <a:lnTo>
                      <a:pt x="31155" y="16990"/>
                    </a:lnTo>
                    <a:lnTo>
                      <a:pt x="31072" y="17074"/>
                    </a:lnTo>
                    <a:lnTo>
                      <a:pt x="30883" y="17074"/>
                    </a:lnTo>
                    <a:lnTo>
                      <a:pt x="30800" y="17011"/>
                    </a:lnTo>
                    <a:lnTo>
                      <a:pt x="30904" y="16970"/>
                    </a:lnTo>
                    <a:lnTo>
                      <a:pt x="30988" y="16970"/>
                    </a:lnTo>
                    <a:lnTo>
                      <a:pt x="31072" y="16907"/>
                    </a:lnTo>
                    <a:lnTo>
                      <a:pt x="31072" y="16823"/>
                    </a:lnTo>
                    <a:lnTo>
                      <a:pt x="31051" y="16802"/>
                    </a:lnTo>
                    <a:lnTo>
                      <a:pt x="31051" y="16677"/>
                    </a:lnTo>
                    <a:lnTo>
                      <a:pt x="31072" y="16593"/>
                    </a:lnTo>
                    <a:lnTo>
                      <a:pt x="31072" y="16551"/>
                    </a:lnTo>
                    <a:lnTo>
                      <a:pt x="31009" y="16488"/>
                    </a:lnTo>
                    <a:lnTo>
                      <a:pt x="31009" y="16405"/>
                    </a:lnTo>
                    <a:lnTo>
                      <a:pt x="30862" y="16258"/>
                    </a:lnTo>
                    <a:lnTo>
                      <a:pt x="30737" y="16195"/>
                    </a:lnTo>
                    <a:lnTo>
                      <a:pt x="30737" y="16153"/>
                    </a:lnTo>
                    <a:lnTo>
                      <a:pt x="30695" y="16028"/>
                    </a:lnTo>
                    <a:lnTo>
                      <a:pt x="30632" y="16028"/>
                    </a:lnTo>
                    <a:lnTo>
                      <a:pt x="30590" y="15944"/>
                    </a:lnTo>
                    <a:lnTo>
                      <a:pt x="30632" y="15819"/>
                    </a:lnTo>
                    <a:lnTo>
                      <a:pt x="30590" y="15735"/>
                    </a:lnTo>
                    <a:lnTo>
                      <a:pt x="30465" y="15735"/>
                    </a:lnTo>
                    <a:lnTo>
                      <a:pt x="30277" y="15651"/>
                    </a:lnTo>
                    <a:lnTo>
                      <a:pt x="30235" y="15547"/>
                    </a:lnTo>
                    <a:lnTo>
                      <a:pt x="30277" y="15505"/>
                    </a:lnTo>
                    <a:lnTo>
                      <a:pt x="30277" y="15442"/>
                    </a:lnTo>
                    <a:lnTo>
                      <a:pt x="30214" y="15358"/>
                    </a:lnTo>
                    <a:lnTo>
                      <a:pt x="30172" y="15296"/>
                    </a:lnTo>
                    <a:lnTo>
                      <a:pt x="30151" y="15296"/>
                    </a:lnTo>
                    <a:lnTo>
                      <a:pt x="30046" y="15421"/>
                    </a:lnTo>
                    <a:lnTo>
                      <a:pt x="30025" y="15526"/>
                    </a:lnTo>
                    <a:lnTo>
                      <a:pt x="29963" y="15568"/>
                    </a:lnTo>
                    <a:lnTo>
                      <a:pt x="29921" y="15526"/>
                    </a:lnTo>
                    <a:lnTo>
                      <a:pt x="29921" y="15400"/>
                    </a:lnTo>
                    <a:lnTo>
                      <a:pt x="29858" y="15296"/>
                    </a:lnTo>
                    <a:lnTo>
                      <a:pt x="29900" y="15212"/>
                    </a:lnTo>
                    <a:lnTo>
                      <a:pt x="30025" y="15212"/>
                    </a:lnTo>
                    <a:lnTo>
                      <a:pt x="30005" y="15128"/>
                    </a:lnTo>
                    <a:lnTo>
                      <a:pt x="30025" y="15024"/>
                    </a:lnTo>
                    <a:lnTo>
                      <a:pt x="30005" y="14919"/>
                    </a:lnTo>
                    <a:lnTo>
                      <a:pt x="29900" y="14940"/>
                    </a:lnTo>
                    <a:lnTo>
                      <a:pt x="29900" y="14877"/>
                    </a:lnTo>
                    <a:lnTo>
                      <a:pt x="29963" y="14773"/>
                    </a:lnTo>
                    <a:lnTo>
                      <a:pt x="29921" y="14731"/>
                    </a:lnTo>
                    <a:lnTo>
                      <a:pt x="29712" y="14814"/>
                    </a:lnTo>
                    <a:cubicBezTo>
                      <a:pt x="29691" y="14773"/>
                      <a:pt x="29628" y="14731"/>
                      <a:pt x="29607" y="14689"/>
                    </a:cubicBezTo>
                    <a:lnTo>
                      <a:pt x="29712" y="14605"/>
                    </a:lnTo>
                    <a:lnTo>
                      <a:pt x="29795" y="14584"/>
                    </a:lnTo>
                    <a:lnTo>
                      <a:pt x="29858" y="14417"/>
                    </a:lnTo>
                    <a:lnTo>
                      <a:pt x="29816" y="14312"/>
                    </a:lnTo>
                    <a:lnTo>
                      <a:pt x="29691" y="14291"/>
                    </a:lnTo>
                    <a:lnTo>
                      <a:pt x="29628" y="14208"/>
                    </a:lnTo>
                    <a:lnTo>
                      <a:pt x="29628" y="14103"/>
                    </a:lnTo>
                    <a:lnTo>
                      <a:pt x="29691" y="14082"/>
                    </a:lnTo>
                    <a:lnTo>
                      <a:pt x="29649" y="13998"/>
                    </a:lnTo>
                    <a:lnTo>
                      <a:pt x="29691" y="13915"/>
                    </a:lnTo>
                    <a:lnTo>
                      <a:pt x="29816" y="13998"/>
                    </a:lnTo>
                    <a:lnTo>
                      <a:pt x="29921" y="13977"/>
                    </a:lnTo>
                    <a:lnTo>
                      <a:pt x="30025" y="14061"/>
                    </a:lnTo>
                    <a:lnTo>
                      <a:pt x="30151" y="14061"/>
                    </a:lnTo>
                    <a:lnTo>
                      <a:pt x="30318" y="13977"/>
                    </a:lnTo>
                    <a:lnTo>
                      <a:pt x="30318" y="14019"/>
                    </a:lnTo>
                    <a:lnTo>
                      <a:pt x="30360" y="14061"/>
                    </a:lnTo>
                    <a:lnTo>
                      <a:pt x="30339" y="14082"/>
                    </a:lnTo>
                    <a:lnTo>
                      <a:pt x="30277" y="14249"/>
                    </a:lnTo>
                    <a:lnTo>
                      <a:pt x="30277" y="14312"/>
                    </a:lnTo>
                    <a:lnTo>
                      <a:pt x="30360" y="14291"/>
                    </a:lnTo>
                    <a:lnTo>
                      <a:pt x="30381" y="14354"/>
                    </a:lnTo>
                    <a:lnTo>
                      <a:pt x="30465" y="14375"/>
                    </a:lnTo>
                    <a:lnTo>
                      <a:pt x="30590" y="14459"/>
                    </a:lnTo>
                    <a:lnTo>
                      <a:pt x="30632" y="14354"/>
                    </a:lnTo>
                    <a:lnTo>
                      <a:pt x="30528" y="14249"/>
                    </a:lnTo>
                    <a:lnTo>
                      <a:pt x="30590" y="14145"/>
                    </a:lnTo>
                    <a:lnTo>
                      <a:pt x="30632" y="14208"/>
                    </a:lnTo>
                    <a:lnTo>
                      <a:pt x="30695" y="14249"/>
                    </a:lnTo>
                    <a:lnTo>
                      <a:pt x="30737" y="14354"/>
                    </a:lnTo>
                    <a:lnTo>
                      <a:pt x="30904" y="14501"/>
                    </a:lnTo>
                    <a:lnTo>
                      <a:pt x="30967" y="14501"/>
                    </a:lnTo>
                    <a:lnTo>
                      <a:pt x="30967" y="14417"/>
                    </a:lnTo>
                    <a:lnTo>
                      <a:pt x="30946" y="14375"/>
                    </a:lnTo>
                    <a:lnTo>
                      <a:pt x="30988" y="14291"/>
                    </a:lnTo>
                    <a:lnTo>
                      <a:pt x="30967" y="14145"/>
                    </a:lnTo>
                    <a:lnTo>
                      <a:pt x="30904" y="14103"/>
                    </a:lnTo>
                    <a:lnTo>
                      <a:pt x="30946" y="13957"/>
                    </a:lnTo>
                    <a:lnTo>
                      <a:pt x="30862" y="13768"/>
                    </a:lnTo>
                    <a:lnTo>
                      <a:pt x="30758" y="13726"/>
                    </a:lnTo>
                    <a:lnTo>
                      <a:pt x="30758" y="13622"/>
                    </a:lnTo>
                    <a:lnTo>
                      <a:pt x="30695" y="13580"/>
                    </a:lnTo>
                    <a:lnTo>
                      <a:pt x="30549" y="13685"/>
                    </a:lnTo>
                    <a:lnTo>
                      <a:pt x="30486" y="13685"/>
                    </a:lnTo>
                    <a:lnTo>
                      <a:pt x="30590" y="13538"/>
                    </a:lnTo>
                    <a:lnTo>
                      <a:pt x="30695" y="13538"/>
                    </a:lnTo>
                    <a:lnTo>
                      <a:pt x="30737" y="13559"/>
                    </a:lnTo>
                    <a:lnTo>
                      <a:pt x="30841" y="13517"/>
                    </a:lnTo>
                    <a:lnTo>
                      <a:pt x="30925" y="13622"/>
                    </a:lnTo>
                    <a:lnTo>
                      <a:pt x="30967" y="13643"/>
                    </a:lnTo>
                    <a:lnTo>
                      <a:pt x="30967" y="13873"/>
                    </a:lnTo>
                    <a:lnTo>
                      <a:pt x="31009" y="13873"/>
                    </a:lnTo>
                    <a:lnTo>
                      <a:pt x="31155" y="13768"/>
                    </a:lnTo>
                    <a:lnTo>
                      <a:pt x="31051" y="13936"/>
                    </a:lnTo>
                    <a:lnTo>
                      <a:pt x="31051" y="13998"/>
                    </a:lnTo>
                    <a:lnTo>
                      <a:pt x="30967" y="14040"/>
                    </a:lnTo>
                    <a:lnTo>
                      <a:pt x="30967" y="14082"/>
                    </a:lnTo>
                    <a:lnTo>
                      <a:pt x="31051" y="14166"/>
                    </a:lnTo>
                    <a:lnTo>
                      <a:pt x="31072" y="14291"/>
                    </a:lnTo>
                    <a:lnTo>
                      <a:pt x="31009" y="14375"/>
                    </a:lnTo>
                    <a:lnTo>
                      <a:pt x="31072" y="14417"/>
                    </a:lnTo>
                    <a:lnTo>
                      <a:pt x="31365" y="14354"/>
                    </a:lnTo>
                    <a:lnTo>
                      <a:pt x="31406" y="14249"/>
                    </a:lnTo>
                    <a:lnTo>
                      <a:pt x="31511" y="14249"/>
                    </a:lnTo>
                    <a:lnTo>
                      <a:pt x="31574" y="14270"/>
                    </a:lnTo>
                    <a:lnTo>
                      <a:pt x="31720" y="14082"/>
                    </a:lnTo>
                    <a:lnTo>
                      <a:pt x="31804" y="14082"/>
                    </a:lnTo>
                    <a:lnTo>
                      <a:pt x="31846" y="13998"/>
                    </a:lnTo>
                    <a:lnTo>
                      <a:pt x="31950" y="13936"/>
                    </a:lnTo>
                    <a:lnTo>
                      <a:pt x="31992" y="13789"/>
                    </a:lnTo>
                    <a:lnTo>
                      <a:pt x="32055" y="13747"/>
                    </a:lnTo>
                    <a:lnTo>
                      <a:pt x="32243" y="13747"/>
                    </a:lnTo>
                    <a:lnTo>
                      <a:pt x="32348" y="13789"/>
                    </a:lnTo>
                    <a:lnTo>
                      <a:pt x="32411" y="13726"/>
                    </a:lnTo>
                    <a:lnTo>
                      <a:pt x="32369" y="13622"/>
                    </a:lnTo>
                    <a:lnTo>
                      <a:pt x="32536" y="13475"/>
                    </a:lnTo>
                    <a:lnTo>
                      <a:pt x="32557" y="13413"/>
                    </a:lnTo>
                    <a:lnTo>
                      <a:pt x="32620" y="13371"/>
                    </a:lnTo>
                    <a:lnTo>
                      <a:pt x="32641" y="13245"/>
                    </a:lnTo>
                    <a:lnTo>
                      <a:pt x="32515" y="13015"/>
                    </a:lnTo>
                    <a:lnTo>
                      <a:pt x="32536" y="12931"/>
                    </a:lnTo>
                    <a:lnTo>
                      <a:pt x="32411" y="12827"/>
                    </a:lnTo>
                    <a:lnTo>
                      <a:pt x="32369" y="12701"/>
                    </a:lnTo>
                    <a:lnTo>
                      <a:pt x="32432" y="12596"/>
                    </a:lnTo>
                    <a:lnTo>
                      <a:pt x="32557" y="12534"/>
                    </a:lnTo>
                    <a:lnTo>
                      <a:pt x="32578" y="12471"/>
                    </a:lnTo>
                    <a:lnTo>
                      <a:pt x="32557" y="12471"/>
                    </a:lnTo>
                    <a:lnTo>
                      <a:pt x="32474" y="12534"/>
                    </a:lnTo>
                    <a:lnTo>
                      <a:pt x="32453" y="12534"/>
                    </a:lnTo>
                    <a:lnTo>
                      <a:pt x="32453" y="12471"/>
                    </a:lnTo>
                    <a:lnTo>
                      <a:pt x="32536" y="12366"/>
                    </a:lnTo>
                    <a:lnTo>
                      <a:pt x="32432" y="12366"/>
                    </a:lnTo>
                    <a:lnTo>
                      <a:pt x="32515" y="12283"/>
                    </a:lnTo>
                    <a:lnTo>
                      <a:pt x="32536" y="12199"/>
                    </a:lnTo>
                    <a:lnTo>
                      <a:pt x="32453" y="12157"/>
                    </a:lnTo>
                    <a:lnTo>
                      <a:pt x="32348" y="12115"/>
                    </a:lnTo>
                    <a:lnTo>
                      <a:pt x="32411" y="12094"/>
                    </a:lnTo>
                    <a:lnTo>
                      <a:pt x="32411" y="11990"/>
                    </a:lnTo>
                    <a:lnTo>
                      <a:pt x="32474" y="11990"/>
                    </a:lnTo>
                    <a:lnTo>
                      <a:pt x="32515" y="12052"/>
                    </a:lnTo>
                    <a:lnTo>
                      <a:pt x="32620" y="12052"/>
                    </a:lnTo>
                    <a:lnTo>
                      <a:pt x="32683" y="12157"/>
                    </a:lnTo>
                    <a:lnTo>
                      <a:pt x="32766" y="12178"/>
                    </a:lnTo>
                    <a:lnTo>
                      <a:pt x="32829" y="12094"/>
                    </a:lnTo>
                    <a:lnTo>
                      <a:pt x="32892" y="12115"/>
                    </a:lnTo>
                    <a:lnTo>
                      <a:pt x="33059" y="12073"/>
                    </a:lnTo>
                    <a:lnTo>
                      <a:pt x="33185" y="11990"/>
                    </a:lnTo>
                    <a:lnTo>
                      <a:pt x="33143" y="11948"/>
                    </a:lnTo>
                    <a:lnTo>
                      <a:pt x="33206" y="11843"/>
                    </a:lnTo>
                    <a:lnTo>
                      <a:pt x="33185" y="11801"/>
                    </a:lnTo>
                    <a:lnTo>
                      <a:pt x="33143" y="11801"/>
                    </a:lnTo>
                    <a:lnTo>
                      <a:pt x="33143" y="11739"/>
                    </a:lnTo>
                    <a:lnTo>
                      <a:pt x="33080" y="11697"/>
                    </a:lnTo>
                    <a:lnTo>
                      <a:pt x="32934" y="11697"/>
                    </a:lnTo>
                    <a:lnTo>
                      <a:pt x="32997" y="11655"/>
                    </a:lnTo>
                    <a:lnTo>
                      <a:pt x="33101" y="11634"/>
                    </a:lnTo>
                    <a:lnTo>
                      <a:pt x="33290" y="11488"/>
                    </a:lnTo>
                    <a:lnTo>
                      <a:pt x="33373" y="11383"/>
                    </a:lnTo>
                    <a:lnTo>
                      <a:pt x="33352" y="11341"/>
                    </a:lnTo>
                    <a:lnTo>
                      <a:pt x="33290" y="11320"/>
                    </a:lnTo>
                    <a:lnTo>
                      <a:pt x="33269" y="11236"/>
                    </a:lnTo>
                    <a:lnTo>
                      <a:pt x="33080" y="11174"/>
                    </a:lnTo>
                    <a:lnTo>
                      <a:pt x="32976" y="11216"/>
                    </a:lnTo>
                    <a:lnTo>
                      <a:pt x="32934" y="11174"/>
                    </a:lnTo>
                    <a:lnTo>
                      <a:pt x="33038" y="11153"/>
                    </a:lnTo>
                    <a:lnTo>
                      <a:pt x="33038" y="11027"/>
                    </a:lnTo>
                    <a:lnTo>
                      <a:pt x="32808" y="10860"/>
                    </a:lnTo>
                    <a:lnTo>
                      <a:pt x="32808" y="10818"/>
                    </a:lnTo>
                    <a:lnTo>
                      <a:pt x="32871" y="10818"/>
                    </a:lnTo>
                    <a:lnTo>
                      <a:pt x="32955" y="10902"/>
                    </a:lnTo>
                    <a:lnTo>
                      <a:pt x="33038" y="10860"/>
                    </a:lnTo>
                    <a:lnTo>
                      <a:pt x="32955" y="10797"/>
                    </a:lnTo>
                    <a:lnTo>
                      <a:pt x="33018" y="10755"/>
                    </a:lnTo>
                    <a:lnTo>
                      <a:pt x="33018" y="10713"/>
                    </a:lnTo>
                    <a:lnTo>
                      <a:pt x="32871" y="10651"/>
                    </a:lnTo>
                    <a:lnTo>
                      <a:pt x="32766" y="10588"/>
                    </a:lnTo>
                    <a:lnTo>
                      <a:pt x="32662" y="10651"/>
                    </a:lnTo>
                    <a:lnTo>
                      <a:pt x="32515" y="10588"/>
                    </a:lnTo>
                    <a:cubicBezTo>
                      <a:pt x="32536" y="10546"/>
                      <a:pt x="32536" y="10525"/>
                      <a:pt x="32536" y="10504"/>
                    </a:cubicBezTo>
                    <a:lnTo>
                      <a:pt x="32599" y="10504"/>
                    </a:lnTo>
                    <a:lnTo>
                      <a:pt x="32620" y="10483"/>
                    </a:lnTo>
                    <a:lnTo>
                      <a:pt x="32599" y="10420"/>
                    </a:lnTo>
                    <a:lnTo>
                      <a:pt x="32536" y="10420"/>
                    </a:lnTo>
                    <a:cubicBezTo>
                      <a:pt x="32536" y="10400"/>
                      <a:pt x="32536" y="10339"/>
                      <a:pt x="32517" y="10317"/>
                    </a:cubicBezTo>
                    <a:lnTo>
                      <a:pt x="32517" y="10317"/>
                    </a:lnTo>
                    <a:cubicBezTo>
                      <a:pt x="32518" y="10308"/>
                      <a:pt x="32523" y="10287"/>
                      <a:pt x="32536" y="10274"/>
                    </a:cubicBezTo>
                    <a:cubicBezTo>
                      <a:pt x="32536" y="10274"/>
                      <a:pt x="32536" y="10232"/>
                      <a:pt x="32557" y="10232"/>
                    </a:cubicBezTo>
                    <a:lnTo>
                      <a:pt x="32641" y="10316"/>
                    </a:lnTo>
                    <a:lnTo>
                      <a:pt x="32746" y="10274"/>
                    </a:lnTo>
                    <a:lnTo>
                      <a:pt x="32934" y="10232"/>
                    </a:lnTo>
                    <a:lnTo>
                      <a:pt x="32976" y="10337"/>
                    </a:lnTo>
                    <a:lnTo>
                      <a:pt x="33080" y="10379"/>
                    </a:lnTo>
                    <a:lnTo>
                      <a:pt x="33143" y="10441"/>
                    </a:lnTo>
                    <a:lnTo>
                      <a:pt x="33185" y="10420"/>
                    </a:lnTo>
                    <a:lnTo>
                      <a:pt x="33352" y="10525"/>
                    </a:lnTo>
                    <a:lnTo>
                      <a:pt x="33394" y="10483"/>
                    </a:lnTo>
                    <a:lnTo>
                      <a:pt x="33457" y="10504"/>
                    </a:lnTo>
                    <a:lnTo>
                      <a:pt x="33499" y="10420"/>
                    </a:lnTo>
                    <a:lnTo>
                      <a:pt x="33478" y="10337"/>
                    </a:lnTo>
                    <a:lnTo>
                      <a:pt x="33394" y="10295"/>
                    </a:lnTo>
                    <a:lnTo>
                      <a:pt x="33310" y="10190"/>
                    </a:lnTo>
                    <a:lnTo>
                      <a:pt x="33269" y="10107"/>
                    </a:lnTo>
                    <a:lnTo>
                      <a:pt x="33059" y="9918"/>
                    </a:lnTo>
                    <a:lnTo>
                      <a:pt x="33038" y="9855"/>
                    </a:lnTo>
                    <a:lnTo>
                      <a:pt x="33038" y="9855"/>
                    </a:lnTo>
                    <a:lnTo>
                      <a:pt x="33101" y="9897"/>
                    </a:lnTo>
                    <a:lnTo>
                      <a:pt x="33143" y="9960"/>
                    </a:lnTo>
                    <a:lnTo>
                      <a:pt x="33206" y="9981"/>
                    </a:lnTo>
                    <a:lnTo>
                      <a:pt x="33310" y="10107"/>
                    </a:lnTo>
                    <a:lnTo>
                      <a:pt x="33394" y="10127"/>
                    </a:lnTo>
                    <a:lnTo>
                      <a:pt x="33415" y="10190"/>
                    </a:lnTo>
                    <a:lnTo>
                      <a:pt x="33499" y="10295"/>
                    </a:lnTo>
                    <a:lnTo>
                      <a:pt x="33603" y="10400"/>
                    </a:lnTo>
                    <a:lnTo>
                      <a:pt x="33624" y="10462"/>
                    </a:lnTo>
                    <a:lnTo>
                      <a:pt x="33687" y="10504"/>
                    </a:lnTo>
                    <a:lnTo>
                      <a:pt x="33792" y="10609"/>
                    </a:lnTo>
                    <a:lnTo>
                      <a:pt x="33834" y="10713"/>
                    </a:lnTo>
                    <a:lnTo>
                      <a:pt x="33938" y="10713"/>
                    </a:lnTo>
                    <a:lnTo>
                      <a:pt x="33980" y="10672"/>
                    </a:lnTo>
                    <a:lnTo>
                      <a:pt x="33917" y="10546"/>
                    </a:lnTo>
                    <a:lnTo>
                      <a:pt x="33834" y="10337"/>
                    </a:lnTo>
                    <a:lnTo>
                      <a:pt x="34001" y="10358"/>
                    </a:lnTo>
                    <a:lnTo>
                      <a:pt x="34189" y="10462"/>
                    </a:lnTo>
                    <a:lnTo>
                      <a:pt x="34357" y="10462"/>
                    </a:lnTo>
                    <a:lnTo>
                      <a:pt x="34357" y="10567"/>
                    </a:lnTo>
                    <a:lnTo>
                      <a:pt x="34336" y="10630"/>
                    </a:lnTo>
                    <a:lnTo>
                      <a:pt x="34440" y="10713"/>
                    </a:lnTo>
                    <a:lnTo>
                      <a:pt x="34545" y="10713"/>
                    </a:lnTo>
                    <a:lnTo>
                      <a:pt x="34566" y="10734"/>
                    </a:lnTo>
                    <a:lnTo>
                      <a:pt x="34838" y="10734"/>
                    </a:lnTo>
                    <a:lnTo>
                      <a:pt x="34922" y="10672"/>
                    </a:lnTo>
                    <a:lnTo>
                      <a:pt x="34984" y="10546"/>
                    </a:lnTo>
                    <a:lnTo>
                      <a:pt x="34984" y="10441"/>
                    </a:lnTo>
                    <a:lnTo>
                      <a:pt x="35026" y="10337"/>
                    </a:lnTo>
                    <a:lnTo>
                      <a:pt x="34963" y="10295"/>
                    </a:lnTo>
                    <a:lnTo>
                      <a:pt x="34880" y="10086"/>
                    </a:lnTo>
                    <a:lnTo>
                      <a:pt x="34838" y="10086"/>
                    </a:lnTo>
                    <a:lnTo>
                      <a:pt x="34754" y="9939"/>
                    </a:lnTo>
                    <a:lnTo>
                      <a:pt x="34775" y="9814"/>
                    </a:lnTo>
                    <a:lnTo>
                      <a:pt x="34838" y="9793"/>
                    </a:lnTo>
                    <a:lnTo>
                      <a:pt x="34838" y="9709"/>
                    </a:lnTo>
                    <a:lnTo>
                      <a:pt x="34859" y="9688"/>
                    </a:lnTo>
                    <a:lnTo>
                      <a:pt x="34922" y="9730"/>
                    </a:lnTo>
                    <a:lnTo>
                      <a:pt x="34943" y="9835"/>
                    </a:lnTo>
                    <a:lnTo>
                      <a:pt x="34984" y="9730"/>
                    </a:lnTo>
                    <a:lnTo>
                      <a:pt x="34984" y="9583"/>
                    </a:lnTo>
                    <a:lnTo>
                      <a:pt x="35047" y="9542"/>
                    </a:lnTo>
                    <a:lnTo>
                      <a:pt x="35089" y="9500"/>
                    </a:lnTo>
                    <a:lnTo>
                      <a:pt x="35089" y="9604"/>
                    </a:lnTo>
                    <a:lnTo>
                      <a:pt x="35131" y="9667"/>
                    </a:lnTo>
                    <a:lnTo>
                      <a:pt x="35089" y="9709"/>
                    </a:lnTo>
                    <a:lnTo>
                      <a:pt x="34984" y="9772"/>
                    </a:lnTo>
                    <a:lnTo>
                      <a:pt x="34963" y="9897"/>
                    </a:lnTo>
                    <a:lnTo>
                      <a:pt x="35026" y="9918"/>
                    </a:lnTo>
                    <a:lnTo>
                      <a:pt x="35068" y="10002"/>
                    </a:lnTo>
                    <a:lnTo>
                      <a:pt x="35068" y="10086"/>
                    </a:lnTo>
                    <a:lnTo>
                      <a:pt x="35194" y="10232"/>
                    </a:lnTo>
                    <a:lnTo>
                      <a:pt x="35256" y="10274"/>
                    </a:lnTo>
                    <a:lnTo>
                      <a:pt x="35256" y="10190"/>
                    </a:lnTo>
                    <a:lnTo>
                      <a:pt x="35298" y="10169"/>
                    </a:lnTo>
                    <a:lnTo>
                      <a:pt x="35361" y="10211"/>
                    </a:lnTo>
                    <a:lnTo>
                      <a:pt x="35466" y="10169"/>
                    </a:lnTo>
                    <a:lnTo>
                      <a:pt x="35487" y="10211"/>
                    </a:lnTo>
                    <a:lnTo>
                      <a:pt x="35466" y="10253"/>
                    </a:lnTo>
                    <a:lnTo>
                      <a:pt x="35466" y="10358"/>
                    </a:lnTo>
                    <a:lnTo>
                      <a:pt x="35403" y="10525"/>
                    </a:lnTo>
                    <a:lnTo>
                      <a:pt x="35403" y="10567"/>
                    </a:lnTo>
                    <a:lnTo>
                      <a:pt x="35298" y="10734"/>
                    </a:lnTo>
                    <a:lnTo>
                      <a:pt x="35235" y="10923"/>
                    </a:lnTo>
                    <a:lnTo>
                      <a:pt x="35235" y="10964"/>
                    </a:lnTo>
                    <a:lnTo>
                      <a:pt x="35256" y="10964"/>
                    </a:lnTo>
                    <a:lnTo>
                      <a:pt x="35298" y="10860"/>
                    </a:lnTo>
                    <a:lnTo>
                      <a:pt x="35403" y="10902"/>
                    </a:lnTo>
                    <a:lnTo>
                      <a:pt x="35403" y="10923"/>
                    </a:lnTo>
                    <a:lnTo>
                      <a:pt x="35487" y="10923"/>
                    </a:lnTo>
                    <a:lnTo>
                      <a:pt x="35549" y="11006"/>
                    </a:lnTo>
                    <a:lnTo>
                      <a:pt x="35696" y="11027"/>
                    </a:lnTo>
                    <a:lnTo>
                      <a:pt x="35591" y="11069"/>
                    </a:lnTo>
                    <a:lnTo>
                      <a:pt x="35570" y="11132"/>
                    </a:lnTo>
                    <a:lnTo>
                      <a:pt x="35507" y="11153"/>
                    </a:lnTo>
                    <a:lnTo>
                      <a:pt x="35466" y="11111"/>
                    </a:lnTo>
                    <a:lnTo>
                      <a:pt x="35382" y="11132"/>
                    </a:lnTo>
                    <a:lnTo>
                      <a:pt x="35403" y="11216"/>
                    </a:lnTo>
                    <a:lnTo>
                      <a:pt x="35466" y="11236"/>
                    </a:lnTo>
                    <a:lnTo>
                      <a:pt x="35487" y="11257"/>
                    </a:lnTo>
                    <a:lnTo>
                      <a:pt x="35591" y="11257"/>
                    </a:lnTo>
                    <a:lnTo>
                      <a:pt x="35591" y="11341"/>
                    </a:lnTo>
                    <a:lnTo>
                      <a:pt x="35612" y="11383"/>
                    </a:lnTo>
                    <a:lnTo>
                      <a:pt x="35612" y="11467"/>
                    </a:lnTo>
                    <a:lnTo>
                      <a:pt x="35675" y="11550"/>
                    </a:lnTo>
                    <a:lnTo>
                      <a:pt x="35779" y="11571"/>
                    </a:lnTo>
                    <a:lnTo>
                      <a:pt x="35821" y="11655"/>
                    </a:lnTo>
                    <a:lnTo>
                      <a:pt x="35863" y="11739"/>
                    </a:lnTo>
                    <a:lnTo>
                      <a:pt x="35821" y="11843"/>
                    </a:lnTo>
                    <a:lnTo>
                      <a:pt x="35759" y="11906"/>
                    </a:lnTo>
                    <a:lnTo>
                      <a:pt x="35675" y="11906"/>
                    </a:lnTo>
                    <a:lnTo>
                      <a:pt x="35612" y="11948"/>
                    </a:lnTo>
                    <a:lnTo>
                      <a:pt x="35570" y="11906"/>
                    </a:lnTo>
                    <a:lnTo>
                      <a:pt x="35487" y="11885"/>
                    </a:lnTo>
                    <a:lnTo>
                      <a:pt x="35445" y="11906"/>
                    </a:lnTo>
                    <a:lnTo>
                      <a:pt x="35361" y="12011"/>
                    </a:lnTo>
                    <a:lnTo>
                      <a:pt x="35403" y="12052"/>
                    </a:lnTo>
                    <a:lnTo>
                      <a:pt x="35403" y="12094"/>
                    </a:lnTo>
                    <a:lnTo>
                      <a:pt x="35361" y="12178"/>
                    </a:lnTo>
                    <a:lnTo>
                      <a:pt x="35382" y="12220"/>
                    </a:lnTo>
                    <a:lnTo>
                      <a:pt x="35445" y="12220"/>
                    </a:lnTo>
                    <a:lnTo>
                      <a:pt x="35466" y="12199"/>
                    </a:lnTo>
                    <a:lnTo>
                      <a:pt x="35549" y="12178"/>
                    </a:lnTo>
                    <a:lnTo>
                      <a:pt x="35654" y="12178"/>
                    </a:lnTo>
                    <a:lnTo>
                      <a:pt x="35717" y="12115"/>
                    </a:lnTo>
                    <a:lnTo>
                      <a:pt x="35800" y="12115"/>
                    </a:lnTo>
                    <a:lnTo>
                      <a:pt x="35863" y="12011"/>
                    </a:lnTo>
                    <a:lnTo>
                      <a:pt x="35905" y="11990"/>
                    </a:lnTo>
                    <a:lnTo>
                      <a:pt x="35926" y="12115"/>
                    </a:lnTo>
                    <a:lnTo>
                      <a:pt x="35989" y="12157"/>
                    </a:lnTo>
                    <a:lnTo>
                      <a:pt x="36072" y="12094"/>
                    </a:lnTo>
                    <a:lnTo>
                      <a:pt x="36135" y="11969"/>
                    </a:lnTo>
                    <a:lnTo>
                      <a:pt x="36240" y="11885"/>
                    </a:lnTo>
                    <a:lnTo>
                      <a:pt x="36303" y="11948"/>
                    </a:lnTo>
                    <a:lnTo>
                      <a:pt x="36303" y="11990"/>
                    </a:lnTo>
                    <a:lnTo>
                      <a:pt x="36219" y="12011"/>
                    </a:lnTo>
                    <a:lnTo>
                      <a:pt x="36177" y="12073"/>
                    </a:lnTo>
                    <a:lnTo>
                      <a:pt x="36219" y="12094"/>
                    </a:lnTo>
                    <a:lnTo>
                      <a:pt x="36219" y="12157"/>
                    </a:lnTo>
                    <a:lnTo>
                      <a:pt x="36093" y="12199"/>
                    </a:lnTo>
                    <a:lnTo>
                      <a:pt x="36072" y="12220"/>
                    </a:lnTo>
                    <a:lnTo>
                      <a:pt x="36219" y="12199"/>
                    </a:lnTo>
                    <a:lnTo>
                      <a:pt x="36240" y="12283"/>
                    </a:lnTo>
                    <a:lnTo>
                      <a:pt x="36135" y="12366"/>
                    </a:lnTo>
                    <a:lnTo>
                      <a:pt x="36177" y="12492"/>
                    </a:lnTo>
                    <a:lnTo>
                      <a:pt x="36219" y="12513"/>
                    </a:lnTo>
                    <a:lnTo>
                      <a:pt x="36282" y="12617"/>
                    </a:lnTo>
                    <a:lnTo>
                      <a:pt x="36407" y="12596"/>
                    </a:lnTo>
                    <a:lnTo>
                      <a:pt x="36428" y="12534"/>
                    </a:lnTo>
                    <a:lnTo>
                      <a:pt x="36407" y="12471"/>
                    </a:lnTo>
                    <a:lnTo>
                      <a:pt x="36407" y="12387"/>
                    </a:lnTo>
                    <a:lnTo>
                      <a:pt x="36449" y="12366"/>
                    </a:lnTo>
                    <a:lnTo>
                      <a:pt x="36595" y="12471"/>
                    </a:lnTo>
                    <a:lnTo>
                      <a:pt x="36595" y="12534"/>
                    </a:lnTo>
                    <a:lnTo>
                      <a:pt x="36533" y="12638"/>
                    </a:lnTo>
                    <a:lnTo>
                      <a:pt x="36616" y="12701"/>
                    </a:lnTo>
                    <a:lnTo>
                      <a:pt x="36637" y="12743"/>
                    </a:lnTo>
                    <a:lnTo>
                      <a:pt x="36491" y="12827"/>
                    </a:lnTo>
                    <a:lnTo>
                      <a:pt x="36449" y="12889"/>
                    </a:lnTo>
                    <a:lnTo>
                      <a:pt x="36533" y="12952"/>
                    </a:lnTo>
                    <a:lnTo>
                      <a:pt x="36763" y="12952"/>
                    </a:lnTo>
                    <a:lnTo>
                      <a:pt x="36826" y="12994"/>
                    </a:lnTo>
                    <a:lnTo>
                      <a:pt x="36826" y="13099"/>
                    </a:lnTo>
                    <a:lnTo>
                      <a:pt x="36826" y="13161"/>
                    </a:lnTo>
                    <a:lnTo>
                      <a:pt x="36867" y="13140"/>
                    </a:lnTo>
                    <a:lnTo>
                      <a:pt x="36867" y="13057"/>
                    </a:lnTo>
                    <a:lnTo>
                      <a:pt x="36930" y="12994"/>
                    </a:lnTo>
                    <a:lnTo>
                      <a:pt x="36972" y="12994"/>
                    </a:lnTo>
                    <a:lnTo>
                      <a:pt x="36972" y="13057"/>
                    </a:lnTo>
                    <a:lnTo>
                      <a:pt x="36930" y="13161"/>
                    </a:lnTo>
                    <a:lnTo>
                      <a:pt x="36930" y="13245"/>
                    </a:lnTo>
                    <a:lnTo>
                      <a:pt x="36847" y="13266"/>
                    </a:lnTo>
                    <a:lnTo>
                      <a:pt x="36805" y="13433"/>
                    </a:lnTo>
                    <a:lnTo>
                      <a:pt x="36805" y="13475"/>
                    </a:lnTo>
                    <a:lnTo>
                      <a:pt x="36867" y="13517"/>
                    </a:lnTo>
                    <a:lnTo>
                      <a:pt x="36867" y="13622"/>
                    </a:lnTo>
                    <a:lnTo>
                      <a:pt x="36826" y="13726"/>
                    </a:lnTo>
                    <a:lnTo>
                      <a:pt x="36826" y="13831"/>
                    </a:lnTo>
                    <a:lnTo>
                      <a:pt x="36847" y="13852"/>
                    </a:lnTo>
                    <a:lnTo>
                      <a:pt x="36847" y="13873"/>
                    </a:lnTo>
                    <a:lnTo>
                      <a:pt x="36826" y="14082"/>
                    </a:lnTo>
                    <a:lnTo>
                      <a:pt x="36763" y="14166"/>
                    </a:lnTo>
                    <a:lnTo>
                      <a:pt x="36826" y="14270"/>
                    </a:lnTo>
                    <a:lnTo>
                      <a:pt x="36805" y="14354"/>
                    </a:lnTo>
                    <a:lnTo>
                      <a:pt x="36637" y="14396"/>
                    </a:lnTo>
                    <a:lnTo>
                      <a:pt x="36491" y="14375"/>
                    </a:lnTo>
                    <a:lnTo>
                      <a:pt x="36428" y="14396"/>
                    </a:lnTo>
                    <a:lnTo>
                      <a:pt x="36407" y="14480"/>
                    </a:lnTo>
                    <a:lnTo>
                      <a:pt x="36198" y="14626"/>
                    </a:lnTo>
                    <a:lnTo>
                      <a:pt x="36198" y="14710"/>
                    </a:lnTo>
                    <a:lnTo>
                      <a:pt x="36344" y="14793"/>
                    </a:lnTo>
                    <a:lnTo>
                      <a:pt x="36303" y="14793"/>
                    </a:lnTo>
                    <a:lnTo>
                      <a:pt x="36219" y="14814"/>
                    </a:lnTo>
                    <a:lnTo>
                      <a:pt x="36303" y="14814"/>
                    </a:lnTo>
                    <a:lnTo>
                      <a:pt x="36177" y="14982"/>
                    </a:lnTo>
                    <a:lnTo>
                      <a:pt x="36093" y="15024"/>
                    </a:lnTo>
                    <a:lnTo>
                      <a:pt x="35884" y="15149"/>
                    </a:lnTo>
                    <a:lnTo>
                      <a:pt x="35738" y="15296"/>
                    </a:lnTo>
                    <a:lnTo>
                      <a:pt x="35675" y="15296"/>
                    </a:lnTo>
                    <a:lnTo>
                      <a:pt x="35633" y="15337"/>
                    </a:lnTo>
                    <a:lnTo>
                      <a:pt x="35591" y="15463"/>
                    </a:lnTo>
                    <a:lnTo>
                      <a:pt x="35675" y="15568"/>
                    </a:lnTo>
                    <a:lnTo>
                      <a:pt x="35696" y="15672"/>
                    </a:lnTo>
                    <a:lnTo>
                      <a:pt x="35800" y="15840"/>
                    </a:lnTo>
                    <a:lnTo>
                      <a:pt x="35842" y="16133"/>
                    </a:lnTo>
                    <a:lnTo>
                      <a:pt x="35779" y="16174"/>
                    </a:lnTo>
                    <a:lnTo>
                      <a:pt x="35738" y="16153"/>
                    </a:lnTo>
                    <a:lnTo>
                      <a:pt x="35675" y="16195"/>
                    </a:lnTo>
                    <a:lnTo>
                      <a:pt x="35654" y="16300"/>
                    </a:lnTo>
                    <a:lnTo>
                      <a:pt x="35633" y="16195"/>
                    </a:lnTo>
                    <a:lnTo>
                      <a:pt x="35633" y="16049"/>
                    </a:lnTo>
                    <a:lnTo>
                      <a:pt x="35570" y="15986"/>
                    </a:lnTo>
                    <a:lnTo>
                      <a:pt x="35466" y="16049"/>
                    </a:lnTo>
                    <a:lnTo>
                      <a:pt x="35424" y="16153"/>
                    </a:lnTo>
                    <a:lnTo>
                      <a:pt x="35319" y="16216"/>
                    </a:lnTo>
                    <a:lnTo>
                      <a:pt x="35235" y="16174"/>
                    </a:lnTo>
                    <a:lnTo>
                      <a:pt x="35256" y="16112"/>
                    </a:lnTo>
                    <a:lnTo>
                      <a:pt x="35256" y="16070"/>
                    </a:lnTo>
                    <a:lnTo>
                      <a:pt x="35047" y="16070"/>
                    </a:lnTo>
                    <a:lnTo>
                      <a:pt x="35005" y="16174"/>
                    </a:lnTo>
                    <a:lnTo>
                      <a:pt x="34922" y="16258"/>
                    </a:lnTo>
                    <a:lnTo>
                      <a:pt x="34796" y="16216"/>
                    </a:lnTo>
                    <a:lnTo>
                      <a:pt x="34712" y="16216"/>
                    </a:lnTo>
                    <a:lnTo>
                      <a:pt x="34650" y="16174"/>
                    </a:lnTo>
                    <a:lnTo>
                      <a:pt x="34587" y="16174"/>
                    </a:lnTo>
                    <a:lnTo>
                      <a:pt x="34503" y="16258"/>
                    </a:lnTo>
                    <a:lnTo>
                      <a:pt x="34357" y="16195"/>
                    </a:lnTo>
                    <a:lnTo>
                      <a:pt x="34315" y="16174"/>
                    </a:lnTo>
                    <a:lnTo>
                      <a:pt x="34231" y="16070"/>
                    </a:lnTo>
                    <a:lnTo>
                      <a:pt x="34106" y="15986"/>
                    </a:lnTo>
                    <a:lnTo>
                      <a:pt x="33980" y="15965"/>
                    </a:lnTo>
                    <a:lnTo>
                      <a:pt x="33834" y="15777"/>
                    </a:lnTo>
                    <a:lnTo>
                      <a:pt x="33813" y="15840"/>
                    </a:lnTo>
                    <a:lnTo>
                      <a:pt x="33813" y="15902"/>
                    </a:lnTo>
                    <a:lnTo>
                      <a:pt x="33792" y="15965"/>
                    </a:lnTo>
                    <a:lnTo>
                      <a:pt x="33750" y="15944"/>
                    </a:lnTo>
                    <a:lnTo>
                      <a:pt x="33708" y="15965"/>
                    </a:lnTo>
                    <a:lnTo>
                      <a:pt x="33708" y="16049"/>
                    </a:lnTo>
                    <a:lnTo>
                      <a:pt x="33771" y="16112"/>
                    </a:lnTo>
                    <a:lnTo>
                      <a:pt x="33750" y="16195"/>
                    </a:lnTo>
                    <a:lnTo>
                      <a:pt x="33687" y="16195"/>
                    </a:lnTo>
                    <a:lnTo>
                      <a:pt x="33582" y="16216"/>
                    </a:lnTo>
                    <a:lnTo>
                      <a:pt x="33499" y="16300"/>
                    </a:lnTo>
                    <a:lnTo>
                      <a:pt x="33373" y="16300"/>
                    </a:lnTo>
                    <a:lnTo>
                      <a:pt x="33290" y="16384"/>
                    </a:lnTo>
                    <a:lnTo>
                      <a:pt x="33290" y="16488"/>
                    </a:lnTo>
                    <a:lnTo>
                      <a:pt x="33206" y="16530"/>
                    </a:lnTo>
                    <a:lnTo>
                      <a:pt x="33164" y="16677"/>
                    </a:lnTo>
                    <a:lnTo>
                      <a:pt x="33248" y="16886"/>
                    </a:lnTo>
                    <a:lnTo>
                      <a:pt x="33352" y="16990"/>
                    </a:lnTo>
                    <a:lnTo>
                      <a:pt x="33394" y="16949"/>
                    </a:lnTo>
                    <a:lnTo>
                      <a:pt x="33499" y="17095"/>
                    </a:lnTo>
                    <a:lnTo>
                      <a:pt x="33478" y="17158"/>
                    </a:lnTo>
                    <a:lnTo>
                      <a:pt x="33666" y="17158"/>
                    </a:lnTo>
                    <a:lnTo>
                      <a:pt x="33771" y="17200"/>
                    </a:lnTo>
                    <a:lnTo>
                      <a:pt x="33813" y="17137"/>
                    </a:lnTo>
                    <a:lnTo>
                      <a:pt x="33917" y="17137"/>
                    </a:lnTo>
                    <a:lnTo>
                      <a:pt x="33980" y="17095"/>
                    </a:lnTo>
                    <a:lnTo>
                      <a:pt x="34106" y="17095"/>
                    </a:lnTo>
                    <a:lnTo>
                      <a:pt x="34189" y="17053"/>
                    </a:lnTo>
                    <a:lnTo>
                      <a:pt x="34273" y="17095"/>
                    </a:lnTo>
                    <a:lnTo>
                      <a:pt x="34315" y="17032"/>
                    </a:lnTo>
                    <a:lnTo>
                      <a:pt x="34315" y="16928"/>
                    </a:lnTo>
                    <a:lnTo>
                      <a:pt x="34336" y="16865"/>
                    </a:lnTo>
                    <a:lnTo>
                      <a:pt x="34398" y="16865"/>
                    </a:lnTo>
                    <a:lnTo>
                      <a:pt x="34503" y="17032"/>
                    </a:lnTo>
                    <a:lnTo>
                      <a:pt x="34587" y="17032"/>
                    </a:lnTo>
                    <a:lnTo>
                      <a:pt x="34650" y="17116"/>
                    </a:lnTo>
                    <a:lnTo>
                      <a:pt x="34796" y="17137"/>
                    </a:lnTo>
                    <a:lnTo>
                      <a:pt x="34817" y="17074"/>
                    </a:lnTo>
                    <a:lnTo>
                      <a:pt x="34901" y="16970"/>
                    </a:lnTo>
                    <a:lnTo>
                      <a:pt x="34943" y="16970"/>
                    </a:lnTo>
                    <a:lnTo>
                      <a:pt x="35026" y="16886"/>
                    </a:lnTo>
                    <a:lnTo>
                      <a:pt x="35131" y="16865"/>
                    </a:lnTo>
                    <a:lnTo>
                      <a:pt x="35110" y="16928"/>
                    </a:lnTo>
                    <a:lnTo>
                      <a:pt x="35110" y="17032"/>
                    </a:lnTo>
                    <a:lnTo>
                      <a:pt x="35026" y="17137"/>
                    </a:lnTo>
                    <a:lnTo>
                      <a:pt x="35026" y="17262"/>
                    </a:lnTo>
                    <a:lnTo>
                      <a:pt x="35131" y="17221"/>
                    </a:lnTo>
                    <a:lnTo>
                      <a:pt x="35173" y="17032"/>
                    </a:lnTo>
                    <a:lnTo>
                      <a:pt x="35215" y="17074"/>
                    </a:lnTo>
                    <a:lnTo>
                      <a:pt x="35256" y="17032"/>
                    </a:lnTo>
                    <a:lnTo>
                      <a:pt x="35340" y="17074"/>
                    </a:lnTo>
                    <a:lnTo>
                      <a:pt x="35256" y="17200"/>
                    </a:lnTo>
                    <a:lnTo>
                      <a:pt x="35277" y="17283"/>
                    </a:lnTo>
                    <a:lnTo>
                      <a:pt x="35277" y="17179"/>
                    </a:lnTo>
                    <a:lnTo>
                      <a:pt x="35466" y="17011"/>
                    </a:lnTo>
                    <a:lnTo>
                      <a:pt x="35487" y="17074"/>
                    </a:lnTo>
                    <a:lnTo>
                      <a:pt x="35361" y="17179"/>
                    </a:lnTo>
                    <a:lnTo>
                      <a:pt x="35361" y="17242"/>
                    </a:lnTo>
                    <a:lnTo>
                      <a:pt x="35445" y="17304"/>
                    </a:lnTo>
                    <a:lnTo>
                      <a:pt x="35487" y="17451"/>
                    </a:lnTo>
                    <a:lnTo>
                      <a:pt x="35487" y="17555"/>
                    </a:lnTo>
                    <a:lnTo>
                      <a:pt x="35507" y="17660"/>
                    </a:lnTo>
                    <a:lnTo>
                      <a:pt x="35612" y="17639"/>
                    </a:lnTo>
                    <a:lnTo>
                      <a:pt x="35612" y="17765"/>
                    </a:lnTo>
                    <a:lnTo>
                      <a:pt x="35675" y="17827"/>
                    </a:lnTo>
                    <a:lnTo>
                      <a:pt x="35759" y="17681"/>
                    </a:lnTo>
                    <a:lnTo>
                      <a:pt x="35717" y="17869"/>
                    </a:lnTo>
                    <a:lnTo>
                      <a:pt x="35654" y="17953"/>
                    </a:lnTo>
                    <a:lnTo>
                      <a:pt x="35759" y="18058"/>
                    </a:lnTo>
                    <a:lnTo>
                      <a:pt x="35759" y="17974"/>
                    </a:lnTo>
                    <a:lnTo>
                      <a:pt x="35800" y="17869"/>
                    </a:lnTo>
                    <a:lnTo>
                      <a:pt x="35863" y="17848"/>
                    </a:lnTo>
                    <a:lnTo>
                      <a:pt x="35863" y="17848"/>
                    </a:lnTo>
                    <a:lnTo>
                      <a:pt x="35821" y="17890"/>
                    </a:lnTo>
                    <a:lnTo>
                      <a:pt x="35863" y="18037"/>
                    </a:lnTo>
                    <a:lnTo>
                      <a:pt x="35926" y="18162"/>
                    </a:lnTo>
                    <a:lnTo>
                      <a:pt x="36093" y="18141"/>
                    </a:lnTo>
                    <a:lnTo>
                      <a:pt x="36031" y="18183"/>
                    </a:lnTo>
                    <a:lnTo>
                      <a:pt x="35821" y="18309"/>
                    </a:lnTo>
                    <a:lnTo>
                      <a:pt x="35675" y="18309"/>
                    </a:lnTo>
                    <a:lnTo>
                      <a:pt x="35654" y="18371"/>
                    </a:lnTo>
                    <a:lnTo>
                      <a:pt x="35759" y="18413"/>
                    </a:lnTo>
                    <a:lnTo>
                      <a:pt x="35759" y="18560"/>
                    </a:lnTo>
                    <a:lnTo>
                      <a:pt x="35821" y="18664"/>
                    </a:lnTo>
                    <a:lnTo>
                      <a:pt x="35905" y="18727"/>
                    </a:lnTo>
                    <a:lnTo>
                      <a:pt x="35989" y="18727"/>
                    </a:lnTo>
                    <a:lnTo>
                      <a:pt x="35989" y="18790"/>
                    </a:lnTo>
                    <a:lnTo>
                      <a:pt x="36093" y="18874"/>
                    </a:lnTo>
                    <a:lnTo>
                      <a:pt x="36156" y="18915"/>
                    </a:lnTo>
                    <a:lnTo>
                      <a:pt x="36219" y="18915"/>
                    </a:lnTo>
                    <a:lnTo>
                      <a:pt x="36407" y="19041"/>
                    </a:lnTo>
                    <a:lnTo>
                      <a:pt x="36512" y="19041"/>
                    </a:lnTo>
                    <a:lnTo>
                      <a:pt x="36512" y="19104"/>
                    </a:lnTo>
                    <a:lnTo>
                      <a:pt x="36575" y="19125"/>
                    </a:lnTo>
                    <a:lnTo>
                      <a:pt x="36595" y="19083"/>
                    </a:lnTo>
                    <a:lnTo>
                      <a:pt x="36616" y="19041"/>
                    </a:lnTo>
                    <a:lnTo>
                      <a:pt x="36721" y="19104"/>
                    </a:lnTo>
                    <a:lnTo>
                      <a:pt x="36679" y="19125"/>
                    </a:lnTo>
                    <a:lnTo>
                      <a:pt x="36616" y="19187"/>
                    </a:lnTo>
                    <a:lnTo>
                      <a:pt x="36679" y="19292"/>
                    </a:lnTo>
                    <a:lnTo>
                      <a:pt x="36742" y="19334"/>
                    </a:lnTo>
                    <a:lnTo>
                      <a:pt x="36805" y="19334"/>
                    </a:lnTo>
                    <a:lnTo>
                      <a:pt x="36805" y="19418"/>
                    </a:lnTo>
                    <a:lnTo>
                      <a:pt x="36930" y="19543"/>
                    </a:lnTo>
                    <a:lnTo>
                      <a:pt x="37014" y="19543"/>
                    </a:lnTo>
                    <a:lnTo>
                      <a:pt x="37056" y="19606"/>
                    </a:lnTo>
                    <a:lnTo>
                      <a:pt x="37098" y="19648"/>
                    </a:lnTo>
                    <a:lnTo>
                      <a:pt x="37265" y="19731"/>
                    </a:lnTo>
                    <a:lnTo>
                      <a:pt x="37328" y="19711"/>
                    </a:lnTo>
                    <a:lnTo>
                      <a:pt x="37370" y="19731"/>
                    </a:lnTo>
                    <a:lnTo>
                      <a:pt x="37453" y="19731"/>
                    </a:lnTo>
                    <a:lnTo>
                      <a:pt x="37537" y="19773"/>
                    </a:lnTo>
                    <a:lnTo>
                      <a:pt x="37558" y="19857"/>
                    </a:lnTo>
                    <a:lnTo>
                      <a:pt x="37725" y="19983"/>
                    </a:lnTo>
                    <a:lnTo>
                      <a:pt x="37788" y="19983"/>
                    </a:lnTo>
                    <a:lnTo>
                      <a:pt x="37872" y="20045"/>
                    </a:lnTo>
                    <a:lnTo>
                      <a:pt x="38060" y="20087"/>
                    </a:lnTo>
                    <a:lnTo>
                      <a:pt x="38165" y="20150"/>
                    </a:lnTo>
                    <a:lnTo>
                      <a:pt x="38269" y="20150"/>
                    </a:lnTo>
                    <a:lnTo>
                      <a:pt x="38290" y="20129"/>
                    </a:lnTo>
                    <a:lnTo>
                      <a:pt x="38290" y="20066"/>
                    </a:lnTo>
                    <a:lnTo>
                      <a:pt x="38207" y="19983"/>
                    </a:lnTo>
                    <a:lnTo>
                      <a:pt x="38165" y="19920"/>
                    </a:lnTo>
                    <a:lnTo>
                      <a:pt x="38207" y="19857"/>
                    </a:lnTo>
                    <a:lnTo>
                      <a:pt x="38290" y="19878"/>
                    </a:lnTo>
                    <a:lnTo>
                      <a:pt x="38311" y="19815"/>
                    </a:lnTo>
                    <a:lnTo>
                      <a:pt x="38290" y="19752"/>
                    </a:lnTo>
                    <a:lnTo>
                      <a:pt x="38248" y="19773"/>
                    </a:lnTo>
                    <a:lnTo>
                      <a:pt x="38207" y="19731"/>
                    </a:lnTo>
                    <a:lnTo>
                      <a:pt x="38248" y="19606"/>
                    </a:lnTo>
                    <a:lnTo>
                      <a:pt x="38207" y="19564"/>
                    </a:lnTo>
                    <a:lnTo>
                      <a:pt x="38102" y="19669"/>
                    </a:lnTo>
                    <a:lnTo>
                      <a:pt x="38102" y="19627"/>
                    </a:lnTo>
                    <a:lnTo>
                      <a:pt x="38081" y="19543"/>
                    </a:lnTo>
                    <a:lnTo>
                      <a:pt x="38018" y="19543"/>
                    </a:lnTo>
                    <a:lnTo>
                      <a:pt x="38123" y="19439"/>
                    </a:lnTo>
                    <a:lnTo>
                      <a:pt x="38102" y="19313"/>
                    </a:lnTo>
                    <a:lnTo>
                      <a:pt x="38060" y="19292"/>
                    </a:lnTo>
                    <a:lnTo>
                      <a:pt x="37956" y="19292"/>
                    </a:lnTo>
                    <a:lnTo>
                      <a:pt x="37976" y="19187"/>
                    </a:lnTo>
                    <a:lnTo>
                      <a:pt x="37935" y="19083"/>
                    </a:lnTo>
                    <a:lnTo>
                      <a:pt x="37893" y="18999"/>
                    </a:lnTo>
                    <a:lnTo>
                      <a:pt x="37788" y="18999"/>
                    </a:lnTo>
                    <a:lnTo>
                      <a:pt x="37851" y="18915"/>
                    </a:lnTo>
                    <a:lnTo>
                      <a:pt x="37767" y="18894"/>
                    </a:lnTo>
                    <a:lnTo>
                      <a:pt x="37725" y="18894"/>
                    </a:lnTo>
                    <a:lnTo>
                      <a:pt x="37746" y="18832"/>
                    </a:lnTo>
                    <a:lnTo>
                      <a:pt x="37663" y="18727"/>
                    </a:lnTo>
                    <a:lnTo>
                      <a:pt x="37663" y="18748"/>
                    </a:lnTo>
                    <a:lnTo>
                      <a:pt x="37621" y="18748"/>
                    </a:lnTo>
                    <a:lnTo>
                      <a:pt x="37621" y="18602"/>
                    </a:lnTo>
                    <a:lnTo>
                      <a:pt x="37621" y="18539"/>
                    </a:lnTo>
                    <a:lnTo>
                      <a:pt x="37621" y="18476"/>
                    </a:lnTo>
                    <a:lnTo>
                      <a:pt x="37453" y="18350"/>
                    </a:lnTo>
                    <a:lnTo>
                      <a:pt x="37432" y="18225"/>
                    </a:lnTo>
                    <a:lnTo>
                      <a:pt x="37432" y="18120"/>
                    </a:lnTo>
                    <a:lnTo>
                      <a:pt x="37516" y="18162"/>
                    </a:lnTo>
                    <a:lnTo>
                      <a:pt x="37558" y="18078"/>
                    </a:lnTo>
                    <a:lnTo>
                      <a:pt x="37663" y="18120"/>
                    </a:lnTo>
                    <a:lnTo>
                      <a:pt x="37663" y="18225"/>
                    </a:lnTo>
                    <a:lnTo>
                      <a:pt x="37746" y="18371"/>
                    </a:lnTo>
                    <a:lnTo>
                      <a:pt x="37872" y="18434"/>
                    </a:lnTo>
                    <a:lnTo>
                      <a:pt x="37935" y="18476"/>
                    </a:lnTo>
                    <a:lnTo>
                      <a:pt x="37935" y="18560"/>
                    </a:lnTo>
                    <a:lnTo>
                      <a:pt x="37976" y="18602"/>
                    </a:lnTo>
                    <a:lnTo>
                      <a:pt x="37976" y="18539"/>
                    </a:lnTo>
                    <a:lnTo>
                      <a:pt x="37935" y="18392"/>
                    </a:lnTo>
                    <a:lnTo>
                      <a:pt x="37935" y="18350"/>
                    </a:lnTo>
                    <a:lnTo>
                      <a:pt x="37976" y="18309"/>
                    </a:lnTo>
                    <a:lnTo>
                      <a:pt x="38018" y="18392"/>
                    </a:lnTo>
                    <a:lnTo>
                      <a:pt x="38018" y="18455"/>
                    </a:lnTo>
                    <a:lnTo>
                      <a:pt x="38081" y="18497"/>
                    </a:lnTo>
                    <a:lnTo>
                      <a:pt x="38123" y="18685"/>
                    </a:lnTo>
                    <a:lnTo>
                      <a:pt x="38207" y="18706"/>
                    </a:lnTo>
                    <a:lnTo>
                      <a:pt x="38207" y="18769"/>
                    </a:lnTo>
                    <a:lnTo>
                      <a:pt x="38290" y="18832"/>
                    </a:lnTo>
                    <a:lnTo>
                      <a:pt x="38374" y="19020"/>
                    </a:lnTo>
                    <a:lnTo>
                      <a:pt x="38416" y="18936"/>
                    </a:lnTo>
                    <a:lnTo>
                      <a:pt x="38395" y="18832"/>
                    </a:lnTo>
                    <a:lnTo>
                      <a:pt x="38395" y="18664"/>
                    </a:lnTo>
                    <a:lnTo>
                      <a:pt x="38416" y="18560"/>
                    </a:lnTo>
                    <a:lnTo>
                      <a:pt x="38416" y="18643"/>
                    </a:lnTo>
                    <a:lnTo>
                      <a:pt x="38479" y="18811"/>
                    </a:lnTo>
                    <a:lnTo>
                      <a:pt x="38479" y="18915"/>
                    </a:lnTo>
                    <a:lnTo>
                      <a:pt x="38479" y="18999"/>
                    </a:lnTo>
                    <a:lnTo>
                      <a:pt x="38520" y="19020"/>
                    </a:lnTo>
                    <a:lnTo>
                      <a:pt x="38604" y="19083"/>
                    </a:lnTo>
                    <a:lnTo>
                      <a:pt x="38625" y="18999"/>
                    </a:lnTo>
                    <a:lnTo>
                      <a:pt x="38583" y="18957"/>
                    </a:lnTo>
                    <a:lnTo>
                      <a:pt x="38583" y="18894"/>
                    </a:lnTo>
                    <a:lnTo>
                      <a:pt x="38667" y="18915"/>
                    </a:lnTo>
                    <a:lnTo>
                      <a:pt x="38688" y="19020"/>
                    </a:lnTo>
                    <a:lnTo>
                      <a:pt x="38688" y="19104"/>
                    </a:lnTo>
                    <a:lnTo>
                      <a:pt x="38709" y="19125"/>
                    </a:lnTo>
                    <a:lnTo>
                      <a:pt x="38709" y="19062"/>
                    </a:lnTo>
                    <a:lnTo>
                      <a:pt x="38772" y="19020"/>
                    </a:lnTo>
                    <a:lnTo>
                      <a:pt x="38772" y="19187"/>
                    </a:lnTo>
                    <a:lnTo>
                      <a:pt x="38813" y="19271"/>
                    </a:lnTo>
                    <a:lnTo>
                      <a:pt x="38897" y="19271"/>
                    </a:lnTo>
                    <a:lnTo>
                      <a:pt x="38939" y="19208"/>
                    </a:lnTo>
                    <a:lnTo>
                      <a:pt x="38939" y="19313"/>
                    </a:lnTo>
                    <a:lnTo>
                      <a:pt x="38918" y="19376"/>
                    </a:lnTo>
                    <a:lnTo>
                      <a:pt x="38981" y="19543"/>
                    </a:lnTo>
                    <a:lnTo>
                      <a:pt x="39023" y="19627"/>
                    </a:lnTo>
                    <a:lnTo>
                      <a:pt x="39127" y="19627"/>
                    </a:lnTo>
                    <a:lnTo>
                      <a:pt x="39127" y="19543"/>
                    </a:lnTo>
                    <a:lnTo>
                      <a:pt x="39106" y="19522"/>
                    </a:lnTo>
                    <a:lnTo>
                      <a:pt x="39106" y="19397"/>
                    </a:lnTo>
                    <a:lnTo>
                      <a:pt x="39044" y="19187"/>
                    </a:lnTo>
                    <a:lnTo>
                      <a:pt x="39127" y="19187"/>
                    </a:lnTo>
                    <a:lnTo>
                      <a:pt x="39169" y="19271"/>
                    </a:lnTo>
                    <a:lnTo>
                      <a:pt x="39274" y="19292"/>
                    </a:lnTo>
                    <a:lnTo>
                      <a:pt x="39316" y="19271"/>
                    </a:lnTo>
                    <a:lnTo>
                      <a:pt x="39253" y="19166"/>
                    </a:lnTo>
                    <a:lnTo>
                      <a:pt x="39295" y="19083"/>
                    </a:lnTo>
                    <a:lnTo>
                      <a:pt x="39295" y="18894"/>
                    </a:lnTo>
                    <a:lnTo>
                      <a:pt x="39211" y="18706"/>
                    </a:lnTo>
                    <a:lnTo>
                      <a:pt x="39232" y="18560"/>
                    </a:lnTo>
                    <a:lnTo>
                      <a:pt x="39232" y="18392"/>
                    </a:lnTo>
                    <a:lnTo>
                      <a:pt x="39253" y="18560"/>
                    </a:lnTo>
                    <a:lnTo>
                      <a:pt x="39232" y="18664"/>
                    </a:lnTo>
                    <a:lnTo>
                      <a:pt x="39253" y="18790"/>
                    </a:lnTo>
                    <a:lnTo>
                      <a:pt x="39420" y="18957"/>
                    </a:lnTo>
                    <a:lnTo>
                      <a:pt x="39441" y="18894"/>
                    </a:lnTo>
                    <a:lnTo>
                      <a:pt x="39420" y="18769"/>
                    </a:lnTo>
                    <a:lnTo>
                      <a:pt x="39462" y="18664"/>
                    </a:lnTo>
                    <a:lnTo>
                      <a:pt x="39462" y="18497"/>
                    </a:lnTo>
                    <a:lnTo>
                      <a:pt x="39546" y="18455"/>
                    </a:lnTo>
                    <a:lnTo>
                      <a:pt x="39525" y="18434"/>
                    </a:lnTo>
                    <a:lnTo>
                      <a:pt x="39399" y="18246"/>
                    </a:lnTo>
                    <a:lnTo>
                      <a:pt x="39357" y="18120"/>
                    </a:lnTo>
                    <a:lnTo>
                      <a:pt x="39316" y="18078"/>
                    </a:lnTo>
                    <a:lnTo>
                      <a:pt x="39336" y="18016"/>
                    </a:lnTo>
                    <a:lnTo>
                      <a:pt x="39253" y="17869"/>
                    </a:lnTo>
                    <a:lnTo>
                      <a:pt x="39190" y="17786"/>
                    </a:lnTo>
                    <a:lnTo>
                      <a:pt x="39316" y="17765"/>
                    </a:lnTo>
                    <a:lnTo>
                      <a:pt x="39336" y="17723"/>
                    </a:lnTo>
                    <a:lnTo>
                      <a:pt x="39420" y="17639"/>
                    </a:lnTo>
                    <a:lnTo>
                      <a:pt x="39357" y="17576"/>
                    </a:lnTo>
                    <a:lnTo>
                      <a:pt x="39295" y="17618"/>
                    </a:lnTo>
                    <a:lnTo>
                      <a:pt x="39148" y="17639"/>
                    </a:lnTo>
                    <a:lnTo>
                      <a:pt x="39106" y="17597"/>
                    </a:lnTo>
                    <a:lnTo>
                      <a:pt x="39127" y="17555"/>
                    </a:lnTo>
                    <a:lnTo>
                      <a:pt x="39148" y="17514"/>
                    </a:lnTo>
                    <a:lnTo>
                      <a:pt x="39232" y="17430"/>
                    </a:lnTo>
                    <a:lnTo>
                      <a:pt x="39253" y="17325"/>
                    </a:lnTo>
                    <a:lnTo>
                      <a:pt x="39211" y="17242"/>
                    </a:lnTo>
                    <a:lnTo>
                      <a:pt x="39148" y="17242"/>
                    </a:lnTo>
                    <a:lnTo>
                      <a:pt x="39148" y="17304"/>
                    </a:lnTo>
                    <a:lnTo>
                      <a:pt x="39106" y="17388"/>
                    </a:lnTo>
                    <a:lnTo>
                      <a:pt x="39106" y="17304"/>
                    </a:lnTo>
                    <a:lnTo>
                      <a:pt x="39085" y="17325"/>
                    </a:lnTo>
                    <a:lnTo>
                      <a:pt x="38939" y="17346"/>
                    </a:lnTo>
                    <a:lnTo>
                      <a:pt x="38918" y="17304"/>
                    </a:lnTo>
                    <a:lnTo>
                      <a:pt x="39002" y="17242"/>
                    </a:lnTo>
                    <a:lnTo>
                      <a:pt x="39023" y="17200"/>
                    </a:lnTo>
                    <a:lnTo>
                      <a:pt x="38981" y="17137"/>
                    </a:lnTo>
                    <a:lnTo>
                      <a:pt x="38939" y="17032"/>
                    </a:lnTo>
                    <a:lnTo>
                      <a:pt x="38876" y="16990"/>
                    </a:lnTo>
                    <a:lnTo>
                      <a:pt x="38813" y="17011"/>
                    </a:lnTo>
                    <a:lnTo>
                      <a:pt x="38813" y="17116"/>
                    </a:lnTo>
                    <a:lnTo>
                      <a:pt x="38792" y="17179"/>
                    </a:lnTo>
                    <a:lnTo>
                      <a:pt x="38772" y="17137"/>
                    </a:lnTo>
                    <a:lnTo>
                      <a:pt x="38772" y="17011"/>
                    </a:lnTo>
                    <a:lnTo>
                      <a:pt x="38730" y="16928"/>
                    </a:lnTo>
                    <a:lnTo>
                      <a:pt x="38688" y="16928"/>
                    </a:lnTo>
                    <a:lnTo>
                      <a:pt x="38709" y="16865"/>
                    </a:lnTo>
                    <a:lnTo>
                      <a:pt x="38667" y="16865"/>
                    </a:lnTo>
                    <a:lnTo>
                      <a:pt x="38667" y="16823"/>
                    </a:lnTo>
                    <a:lnTo>
                      <a:pt x="38688" y="16823"/>
                    </a:lnTo>
                    <a:lnTo>
                      <a:pt x="38667" y="16760"/>
                    </a:lnTo>
                    <a:lnTo>
                      <a:pt x="38604" y="16718"/>
                    </a:lnTo>
                    <a:lnTo>
                      <a:pt x="38625" y="16677"/>
                    </a:lnTo>
                    <a:lnTo>
                      <a:pt x="38730" y="16677"/>
                    </a:lnTo>
                    <a:lnTo>
                      <a:pt x="38792" y="16656"/>
                    </a:lnTo>
                    <a:lnTo>
                      <a:pt x="38730" y="16593"/>
                    </a:lnTo>
                    <a:lnTo>
                      <a:pt x="38625" y="16593"/>
                    </a:lnTo>
                    <a:lnTo>
                      <a:pt x="38583" y="16572"/>
                    </a:lnTo>
                    <a:lnTo>
                      <a:pt x="38625" y="16488"/>
                    </a:lnTo>
                    <a:lnTo>
                      <a:pt x="38730" y="16446"/>
                    </a:lnTo>
                    <a:lnTo>
                      <a:pt x="38730" y="16405"/>
                    </a:lnTo>
                    <a:lnTo>
                      <a:pt x="38688" y="16363"/>
                    </a:lnTo>
                    <a:lnTo>
                      <a:pt x="38520" y="16363"/>
                    </a:lnTo>
                    <a:lnTo>
                      <a:pt x="38500" y="16405"/>
                    </a:lnTo>
                    <a:lnTo>
                      <a:pt x="38458" y="16488"/>
                    </a:lnTo>
                    <a:lnTo>
                      <a:pt x="38248" y="16530"/>
                    </a:lnTo>
                    <a:lnTo>
                      <a:pt x="38353" y="16467"/>
                    </a:lnTo>
                    <a:lnTo>
                      <a:pt x="38500" y="16321"/>
                    </a:lnTo>
                    <a:lnTo>
                      <a:pt x="38562" y="16216"/>
                    </a:lnTo>
                    <a:lnTo>
                      <a:pt x="38562" y="16174"/>
                    </a:lnTo>
                    <a:lnTo>
                      <a:pt x="38458" y="16174"/>
                    </a:lnTo>
                    <a:lnTo>
                      <a:pt x="38395" y="16153"/>
                    </a:lnTo>
                    <a:lnTo>
                      <a:pt x="38458" y="16091"/>
                    </a:lnTo>
                    <a:lnTo>
                      <a:pt x="38416" y="16049"/>
                    </a:lnTo>
                    <a:lnTo>
                      <a:pt x="38374" y="16070"/>
                    </a:lnTo>
                    <a:lnTo>
                      <a:pt x="38374" y="15986"/>
                    </a:lnTo>
                    <a:lnTo>
                      <a:pt x="38416" y="15923"/>
                    </a:lnTo>
                    <a:lnTo>
                      <a:pt x="38416" y="15819"/>
                    </a:lnTo>
                    <a:lnTo>
                      <a:pt x="38290" y="15777"/>
                    </a:lnTo>
                    <a:lnTo>
                      <a:pt x="38207" y="15756"/>
                    </a:lnTo>
                    <a:lnTo>
                      <a:pt x="38081" y="15756"/>
                    </a:lnTo>
                    <a:lnTo>
                      <a:pt x="38039" y="15693"/>
                    </a:lnTo>
                    <a:lnTo>
                      <a:pt x="38165" y="15693"/>
                    </a:lnTo>
                    <a:lnTo>
                      <a:pt x="38269" y="15672"/>
                    </a:lnTo>
                    <a:lnTo>
                      <a:pt x="38311" y="15630"/>
                    </a:lnTo>
                    <a:lnTo>
                      <a:pt x="38374" y="15693"/>
                    </a:lnTo>
                    <a:lnTo>
                      <a:pt x="38395" y="15756"/>
                    </a:lnTo>
                    <a:lnTo>
                      <a:pt x="38500" y="15756"/>
                    </a:lnTo>
                    <a:lnTo>
                      <a:pt x="38604" y="15798"/>
                    </a:lnTo>
                    <a:lnTo>
                      <a:pt x="38625" y="15881"/>
                    </a:lnTo>
                    <a:lnTo>
                      <a:pt x="38604" y="15965"/>
                    </a:lnTo>
                    <a:lnTo>
                      <a:pt x="38625" y="16049"/>
                    </a:lnTo>
                    <a:lnTo>
                      <a:pt x="38730" y="16174"/>
                    </a:lnTo>
                    <a:lnTo>
                      <a:pt x="38772" y="16174"/>
                    </a:lnTo>
                    <a:lnTo>
                      <a:pt x="38792" y="16070"/>
                    </a:lnTo>
                    <a:lnTo>
                      <a:pt x="38834" y="16133"/>
                    </a:lnTo>
                    <a:lnTo>
                      <a:pt x="38981" y="16153"/>
                    </a:lnTo>
                    <a:lnTo>
                      <a:pt x="39023" y="16133"/>
                    </a:lnTo>
                    <a:lnTo>
                      <a:pt x="39023" y="16070"/>
                    </a:lnTo>
                    <a:lnTo>
                      <a:pt x="38981" y="16049"/>
                    </a:lnTo>
                    <a:lnTo>
                      <a:pt x="38981" y="15965"/>
                    </a:lnTo>
                    <a:lnTo>
                      <a:pt x="38939" y="15861"/>
                    </a:lnTo>
                    <a:lnTo>
                      <a:pt x="38876" y="15777"/>
                    </a:lnTo>
                    <a:lnTo>
                      <a:pt x="38792" y="15756"/>
                    </a:lnTo>
                    <a:lnTo>
                      <a:pt x="38813" y="15672"/>
                    </a:lnTo>
                    <a:lnTo>
                      <a:pt x="38813" y="15589"/>
                    </a:lnTo>
                    <a:lnTo>
                      <a:pt x="38772" y="15547"/>
                    </a:lnTo>
                    <a:lnTo>
                      <a:pt x="38792" y="15526"/>
                    </a:lnTo>
                    <a:lnTo>
                      <a:pt x="38834" y="15547"/>
                    </a:lnTo>
                    <a:lnTo>
                      <a:pt x="38876" y="15651"/>
                    </a:lnTo>
                    <a:lnTo>
                      <a:pt x="38918" y="15693"/>
                    </a:lnTo>
                    <a:lnTo>
                      <a:pt x="39002" y="15672"/>
                    </a:lnTo>
                    <a:lnTo>
                      <a:pt x="38981" y="15651"/>
                    </a:lnTo>
                    <a:lnTo>
                      <a:pt x="39002" y="15630"/>
                    </a:lnTo>
                    <a:lnTo>
                      <a:pt x="39085" y="15651"/>
                    </a:lnTo>
                    <a:lnTo>
                      <a:pt x="39044" y="15547"/>
                    </a:lnTo>
                    <a:lnTo>
                      <a:pt x="39002" y="15442"/>
                    </a:lnTo>
                    <a:lnTo>
                      <a:pt x="38897" y="15379"/>
                    </a:lnTo>
                    <a:lnTo>
                      <a:pt x="39002" y="15379"/>
                    </a:lnTo>
                    <a:lnTo>
                      <a:pt x="39044" y="15442"/>
                    </a:lnTo>
                    <a:lnTo>
                      <a:pt x="39106" y="15484"/>
                    </a:lnTo>
                    <a:lnTo>
                      <a:pt x="39190" y="15463"/>
                    </a:lnTo>
                    <a:lnTo>
                      <a:pt x="39148" y="15421"/>
                    </a:lnTo>
                    <a:lnTo>
                      <a:pt x="39148" y="15337"/>
                    </a:lnTo>
                    <a:lnTo>
                      <a:pt x="39190" y="15337"/>
                    </a:lnTo>
                    <a:lnTo>
                      <a:pt x="39232" y="15379"/>
                    </a:lnTo>
                    <a:lnTo>
                      <a:pt x="39295" y="15421"/>
                    </a:lnTo>
                    <a:lnTo>
                      <a:pt x="39295" y="15463"/>
                    </a:lnTo>
                    <a:lnTo>
                      <a:pt x="39232" y="15484"/>
                    </a:lnTo>
                    <a:lnTo>
                      <a:pt x="39232" y="15589"/>
                    </a:lnTo>
                    <a:lnTo>
                      <a:pt x="39232" y="15630"/>
                    </a:lnTo>
                    <a:lnTo>
                      <a:pt x="39295" y="15630"/>
                    </a:lnTo>
                    <a:lnTo>
                      <a:pt x="39336" y="15651"/>
                    </a:lnTo>
                    <a:lnTo>
                      <a:pt x="39336" y="15693"/>
                    </a:lnTo>
                    <a:lnTo>
                      <a:pt x="39295" y="15735"/>
                    </a:lnTo>
                    <a:lnTo>
                      <a:pt x="39253" y="15777"/>
                    </a:lnTo>
                    <a:lnTo>
                      <a:pt x="39316" y="15798"/>
                    </a:lnTo>
                    <a:lnTo>
                      <a:pt x="39357" y="15777"/>
                    </a:lnTo>
                    <a:lnTo>
                      <a:pt x="39399" y="15798"/>
                    </a:lnTo>
                    <a:lnTo>
                      <a:pt x="39357" y="15881"/>
                    </a:lnTo>
                    <a:lnTo>
                      <a:pt x="39399" y="15944"/>
                    </a:lnTo>
                    <a:lnTo>
                      <a:pt x="39441" y="15965"/>
                    </a:lnTo>
                    <a:lnTo>
                      <a:pt x="39525" y="15944"/>
                    </a:lnTo>
                    <a:lnTo>
                      <a:pt x="39734" y="15798"/>
                    </a:lnTo>
                    <a:lnTo>
                      <a:pt x="39818" y="15672"/>
                    </a:lnTo>
                    <a:lnTo>
                      <a:pt x="39818" y="15756"/>
                    </a:lnTo>
                    <a:lnTo>
                      <a:pt x="39755" y="15798"/>
                    </a:lnTo>
                    <a:lnTo>
                      <a:pt x="39734" y="15861"/>
                    </a:lnTo>
                    <a:lnTo>
                      <a:pt x="39629" y="15902"/>
                    </a:lnTo>
                    <a:lnTo>
                      <a:pt x="39462" y="16070"/>
                    </a:lnTo>
                    <a:lnTo>
                      <a:pt x="39462" y="16112"/>
                    </a:lnTo>
                    <a:lnTo>
                      <a:pt x="39546" y="16153"/>
                    </a:lnTo>
                    <a:lnTo>
                      <a:pt x="39650" y="16112"/>
                    </a:lnTo>
                    <a:lnTo>
                      <a:pt x="39818" y="16007"/>
                    </a:lnTo>
                    <a:lnTo>
                      <a:pt x="39880" y="16007"/>
                    </a:lnTo>
                    <a:lnTo>
                      <a:pt x="40027" y="15965"/>
                    </a:lnTo>
                    <a:lnTo>
                      <a:pt x="40069" y="15881"/>
                    </a:lnTo>
                    <a:lnTo>
                      <a:pt x="40132" y="15861"/>
                    </a:lnTo>
                    <a:lnTo>
                      <a:pt x="40236" y="15777"/>
                    </a:lnTo>
                    <a:lnTo>
                      <a:pt x="40278" y="15777"/>
                    </a:lnTo>
                    <a:lnTo>
                      <a:pt x="40278" y="15840"/>
                    </a:lnTo>
                    <a:lnTo>
                      <a:pt x="40236" y="15861"/>
                    </a:lnTo>
                    <a:lnTo>
                      <a:pt x="40152" y="15965"/>
                    </a:lnTo>
                    <a:lnTo>
                      <a:pt x="40090" y="16070"/>
                    </a:lnTo>
                    <a:lnTo>
                      <a:pt x="40027" y="16112"/>
                    </a:lnTo>
                    <a:lnTo>
                      <a:pt x="39943" y="16195"/>
                    </a:lnTo>
                    <a:lnTo>
                      <a:pt x="39839" y="16216"/>
                    </a:lnTo>
                    <a:lnTo>
                      <a:pt x="39776" y="16258"/>
                    </a:lnTo>
                    <a:lnTo>
                      <a:pt x="39713" y="16384"/>
                    </a:lnTo>
                    <a:lnTo>
                      <a:pt x="39713" y="16426"/>
                    </a:lnTo>
                    <a:lnTo>
                      <a:pt x="39734" y="16467"/>
                    </a:lnTo>
                    <a:lnTo>
                      <a:pt x="39776" y="16426"/>
                    </a:lnTo>
                    <a:lnTo>
                      <a:pt x="39860" y="16426"/>
                    </a:lnTo>
                    <a:lnTo>
                      <a:pt x="39943" y="16467"/>
                    </a:lnTo>
                    <a:lnTo>
                      <a:pt x="39860" y="16488"/>
                    </a:lnTo>
                    <a:lnTo>
                      <a:pt x="39776" y="16509"/>
                    </a:lnTo>
                    <a:lnTo>
                      <a:pt x="39734" y="16551"/>
                    </a:lnTo>
                    <a:lnTo>
                      <a:pt x="39734" y="16593"/>
                    </a:lnTo>
                    <a:lnTo>
                      <a:pt x="39776" y="16614"/>
                    </a:lnTo>
                    <a:lnTo>
                      <a:pt x="39860" y="16593"/>
                    </a:lnTo>
                    <a:lnTo>
                      <a:pt x="39922" y="16572"/>
                    </a:lnTo>
                    <a:lnTo>
                      <a:pt x="39839" y="16677"/>
                    </a:lnTo>
                    <a:lnTo>
                      <a:pt x="39755" y="16698"/>
                    </a:lnTo>
                    <a:lnTo>
                      <a:pt x="39734" y="16739"/>
                    </a:lnTo>
                    <a:lnTo>
                      <a:pt x="39755" y="16781"/>
                    </a:lnTo>
                    <a:lnTo>
                      <a:pt x="39839" y="16802"/>
                    </a:lnTo>
                    <a:lnTo>
                      <a:pt x="39922" y="16781"/>
                    </a:lnTo>
                    <a:lnTo>
                      <a:pt x="39985" y="16781"/>
                    </a:lnTo>
                    <a:lnTo>
                      <a:pt x="40027" y="16802"/>
                    </a:lnTo>
                    <a:lnTo>
                      <a:pt x="39964" y="16823"/>
                    </a:lnTo>
                    <a:lnTo>
                      <a:pt x="39964" y="16865"/>
                    </a:lnTo>
                    <a:lnTo>
                      <a:pt x="39860" y="16907"/>
                    </a:lnTo>
                    <a:lnTo>
                      <a:pt x="39839" y="16970"/>
                    </a:lnTo>
                    <a:lnTo>
                      <a:pt x="39860" y="17032"/>
                    </a:lnTo>
                    <a:lnTo>
                      <a:pt x="39922" y="17116"/>
                    </a:lnTo>
                    <a:lnTo>
                      <a:pt x="39922" y="17200"/>
                    </a:lnTo>
                    <a:lnTo>
                      <a:pt x="39943" y="17221"/>
                    </a:lnTo>
                    <a:lnTo>
                      <a:pt x="39985" y="17137"/>
                    </a:lnTo>
                    <a:lnTo>
                      <a:pt x="40048" y="17032"/>
                    </a:lnTo>
                    <a:lnTo>
                      <a:pt x="40090" y="16990"/>
                    </a:lnTo>
                    <a:lnTo>
                      <a:pt x="40132" y="16990"/>
                    </a:lnTo>
                    <a:lnTo>
                      <a:pt x="40090" y="17032"/>
                    </a:lnTo>
                    <a:lnTo>
                      <a:pt x="40090" y="17095"/>
                    </a:lnTo>
                    <a:lnTo>
                      <a:pt x="40048" y="17116"/>
                    </a:lnTo>
                    <a:lnTo>
                      <a:pt x="40048" y="17137"/>
                    </a:lnTo>
                    <a:lnTo>
                      <a:pt x="40090" y="17200"/>
                    </a:lnTo>
                    <a:lnTo>
                      <a:pt x="40069" y="17242"/>
                    </a:lnTo>
                    <a:lnTo>
                      <a:pt x="40132" y="17304"/>
                    </a:lnTo>
                    <a:lnTo>
                      <a:pt x="40152" y="17304"/>
                    </a:lnTo>
                    <a:lnTo>
                      <a:pt x="40173" y="17242"/>
                    </a:lnTo>
                    <a:lnTo>
                      <a:pt x="40257" y="17221"/>
                    </a:lnTo>
                    <a:lnTo>
                      <a:pt x="40278" y="17221"/>
                    </a:lnTo>
                    <a:lnTo>
                      <a:pt x="40278" y="17283"/>
                    </a:lnTo>
                    <a:lnTo>
                      <a:pt x="40236" y="17325"/>
                    </a:lnTo>
                    <a:lnTo>
                      <a:pt x="40236" y="17346"/>
                    </a:lnTo>
                    <a:lnTo>
                      <a:pt x="40278" y="17388"/>
                    </a:lnTo>
                    <a:lnTo>
                      <a:pt x="40278" y="17430"/>
                    </a:lnTo>
                    <a:lnTo>
                      <a:pt x="40299" y="17451"/>
                    </a:lnTo>
                    <a:lnTo>
                      <a:pt x="40299" y="17514"/>
                    </a:lnTo>
                    <a:lnTo>
                      <a:pt x="40362" y="17534"/>
                    </a:lnTo>
                    <a:lnTo>
                      <a:pt x="40383" y="17493"/>
                    </a:lnTo>
                    <a:lnTo>
                      <a:pt x="40487" y="17451"/>
                    </a:lnTo>
                    <a:lnTo>
                      <a:pt x="40508" y="17388"/>
                    </a:lnTo>
                    <a:lnTo>
                      <a:pt x="40508" y="17325"/>
                    </a:lnTo>
                    <a:lnTo>
                      <a:pt x="40445" y="17242"/>
                    </a:lnTo>
                    <a:lnTo>
                      <a:pt x="40466" y="17242"/>
                    </a:lnTo>
                    <a:lnTo>
                      <a:pt x="40508" y="17283"/>
                    </a:lnTo>
                    <a:lnTo>
                      <a:pt x="40550" y="17283"/>
                    </a:lnTo>
                    <a:lnTo>
                      <a:pt x="40550" y="17221"/>
                    </a:lnTo>
                    <a:lnTo>
                      <a:pt x="40508" y="17137"/>
                    </a:lnTo>
                    <a:lnTo>
                      <a:pt x="40508" y="17095"/>
                    </a:lnTo>
                    <a:lnTo>
                      <a:pt x="40571" y="17074"/>
                    </a:lnTo>
                    <a:lnTo>
                      <a:pt x="40571" y="16990"/>
                    </a:lnTo>
                    <a:lnTo>
                      <a:pt x="40571" y="16928"/>
                    </a:lnTo>
                    <a:lnTo>
                      <a:pt x="40508" y="16928"/>
                    </a:lnTo>
                    <a:lnTo>
                      <a:pt x="40466" y="16886"/>
                    </a:lnTo>
                    <a:lnTo>
                      <a:pt x="40466" y="16865"/>
                    </a:lnTo>
                    <a:lnTo>
                      <a:pt x="40487" y="16886"/>
                    </a:lnTo>
                    <a:lnTo>
                      <a:pt x="40571" y="16907"/>
                    </a:lnTo>
                    <a:lnTo>
                      <a:pt x="40613" y="16865"/>
                    </a:lnTo>
                    <a:lnTo>
                      <a:pt x="40592" y="16802"/>
                    </a:lnTo>
                    <a:lnTo>
                      <a:pt x="40550" y="16802"/>
                    </a:lnTo>
                    <a:lnTo>
                      <a:pt x="40508" y="16781"/>
                    </a:lnTo>
                    <a:lnTo>
                      <a:pt x="40592" y="16781"/>
                    </a:lnTo>
                    <a:lnTo>
                      <a:pt x="40655" y="16718"/>
                    </a:lnTo>
                    <a:lnTo>
                      <a:pt x="40655" y="16572"/>
                    </a:lnTo>
                    <a:lnTo>
                      <a:pt x="40676" y="16509"/>
                    </a:lnTo>
                    <a:lnTo>
                      <a:pt x="40696" y="16572"/>
                    </a:lnTo>
                    <a:lnTo>
                      <a:pt x="40696" y="16656"/>
                    </a:lnTo>
                    <a:lnTo>
                      <a:pt x="40717" y="16718"/>
                    </a:lnTo>
                    <a:lnTo>
                      <a:pt x="40696" y="16802"/>
                    </a:lnTo>
                    <a:lnTo>
                      <a:pt x="40759" y="16823"/>
                    </a:lnTo>
                    <a:lnTo>
                      <a:pt x="40822" y="16802"/>
                    </a:lnTo>
                    <a:lnTo>
                      <a:pt x="40864" y="16760"/>
                    </a:lnTo>
                    <a:lnTo>
                      <a:pt x="40906" y="16718"/>
                    </a:lnTo>
                    <a:lnTo>
                      <a:pt x="40906" y="16823"/>
                    </a:lnTo>
                    <a:lnTo>
                      <a:pt x="40927" y="16865"/>
                    </a:lnTo>
                    <a:lnTo>
                      <a:pt x="40989" y="16865"/>
                    </a:lnTo>
                    <a:lnTo>
                      <a:pt x="41010" y="16823"/>
                    </a:lnTo>
                    <a:lnTo>
                      <a:pt x="41010" y="16698"/>
                    </a:lnTo>
                    <a:lnTo>
                      <a:pt x="41010" y="16593"/>
                    </a:lnTo>
                    <a:lnTo>
                      <a:pt x="40969" y="16572"/>
                    </a:lnTo>
                    <a:lnTo>
                      <a:pt x="40927" y="16551"/>
                    </a:lnTo>
                    <a:lnTo>
                      <a:pt x="41010" y="16572"/>
                    </a:lnTo>
                    <a:lnTo>
                      <a:pt x="41094" y="16614"/>
                    </a:lnTo>
                    <a:lnTo>
                      <a:pt x="41115" y="16698"/>
                    </a:lnTo>
                    <a:lnTo>
                      <a:pt x="41178" y="16698"/>
                    </a:lnTo>
                    <a:lnTo>
                      <a:pt x="41199" y="16656"/>
                    </a:lnTo>
                    <a:lnTo>
                      <a:pt x="41199" y="16509"/>
                    </a:lnTo>
                    <a:lnTo>
                      <a:pt x="41136" y="16446"/>
                    </a:lnTo>
                    <a:lnTo>
                      <a:pt x="41031" y="16363"/>
                    </a:lnTo>
                    <a:lnTo>
                      <a:pt x="41010" y="16300"/>
                    </a:lnTo>
                    <a:lnTo>
                      <a:pt x="41031" y="16300"/>
                    </a:lnTo>
                    <a:lnTo>
                      <a:pt x="41094" y="16363"/>
                    </a:lnTo>
                    <a:lnTo>
                      <a:pt x="41199" y="16446"/>
                    </a:lnTo>
                    <a:lnTo>
                      <a:pt x="41220" y="16509"/>
                    </a:lnTo>
                    <a:lnTo>
                      <a:pt x="41387" y="16509"/>
                    </a:lnTo>
                    <a:lnTo>
                      <a:pt x="41408" y="16446"/>
                    </a:lnTo>
                    <a:lnTo>
                      <a:pt x="41387" y="16384"/>
                    </a:lnTo>
                    <a:lnTo>
                      <a:pt x="41324" y="16363"/>
                    </a:lnTo>
                    <a:lnTo>
                      <a:pt x="41282" y="16300"/>
                    </a:lnTo>
                    <a:lnTo>
                      <a:pt x="41178" y="16300"/>
                    </a:lnTo>
                    <a:lnTo>
                      <a:pt x="41115" y="16258"/>
                    </a:lnTo>
                    <a:lnTo>
                      <a:pt x="41136" y="16153"/>
                    </a:lnTo>
                    <a:lnTo>
                      <a:pt x="41178" y="16195"/>
                    </a:lnTo>
                    <a:lnTo>
                      <a:pt x="41241" y="16258"/>
                    </a:lnTo>
                    <a:lnTo>
                      <a:pt x="41324" y="16258"/>
                    </a:lnTo>
                    <a:lnTo>
                      <a:pt x="41345" y="16195"/>
                    </a:lnTo>
                    <a:lnTo>
                      <a:pt x="41324" y="16133"/>
                    </a:lnTo>
                    <a:lnTo>
                      <a:pt x="41282" y="16091"/>
                    </a:lnTo>
                    <a:lnTo>
                      <a:pt x="41282" y="16049"/>
                    </a:lnTo>
                    <a:lnTo>
                      <a:pt x="41324" y="16028"/>
                    </a:lnTo>
                    <a:lnTo>
                      <a:pt x="41345" y="16049"/>
                    </a:lnTo>
                    <a:lnTo>
                      <a:pt x="41429" y="16091"/>
                    </a:lnTo>
                    <a:lnTo>
                      <a:pt x="41429" y="16153"/>
                    </a:lnTo>
                    <a:lnTo>
                      <a:pt x="41408" y="16237"/>
                    </a:lnTo>
                    <a:lnTo>
                      <a:pt x="41513" y="16258"/>
                    </a:lnTo>
                    <a:lnTo>
                      <a:pt x="41617" y="16279"/>
                    </a:lnTo>
                    <a:lnTo>
                      <a:pt x="41701" y="16258"/>
                    </a:lnTo>
                    <a:lnTo>
                      <a:pt x="41764" y="16258"/>
                    </a:lnTo>
                    <a:lnTo>
                      <a:pt x="41826" y="16174"/>
                    </a:lnTo>
                    <a:lnTo>
                      <a:pt x="41826" y="16133"/>
                    </a:lnTo>
                    <a:lnTo>
                      <a:pt x="41638" y="16133"/>
                    </a:lnTo>
                    <a:lnTo>
                      <a:pt x="41617" y="16091"/>
                    </a:lnTo>
                    <a:lnTo>
                      <a:pt x="41659" y="16049"/>
                    </a:lnTo>
                    <a:lnTo>
                      <a:pt x="41743" y="16070"/>
                    </a:lnTo>
                    <a:lnTo>
                      <a:pt x="41805" y="16049"/>
                    </a:lnTo>
                    <a:lnTo>
                      <a:pt x="41764" y="15986"/>
                    </a:lnTo>
                    <a:lnTo>
                      <a:pt x="41722" y="15965"/>
                    </a:lnTo>
                    <a:lnTo>
                      <a:pt x="41743" y="15944"/>
                    </a:lnTo>
                    <a:lnTo>
                      <a:pt x="41722" y="15881"/>
                    </a:lnTo>
                    <a:lnTo>
                      <a:pt x="41659" y="15861"/>
                    </a:lnTo>
                    <a:lnTo>
                      <a:pt x="41596" y="15881"/>
                    </a:lnTo>
                    <a:lnTo>
                      <a:pt x="41638" y="15819"/>
                    </a:lnTo>
                    <a:lnTo>
                      <a:pt x="41701" y="15756"/>
                    </a:lnTo>
                    <a:lnTo>
                      <a:pt x="41722" y="15777"/>
                    </a:lnTo>
                    <a:lnTo>
                      <a:pt x="41764" y="15819"/>
                    </a:lnTo>
                    <a:lnTo>
                      <a:pt x="41826" y="15881"/>
                    </a:lnTo>
                    <a:lnTo>
                      <a:pt x="41826" y="15965"/>
                    </a:lnTo>
                    <a:lnTo>
                      <a:pt x="41952" y="15965"/>
                    </a:lnTo>
                    <a:lnTo>
                      <a:pt x="42015" y="15944"/>
                    </a:lnTo>
                    <a:lnTo>
                      <a:pt x="42036" y="15923"/>
                    </a:lnTo>
                    <a:lnTo>
                      <a:pt x="42015" y="15840"/>
                    </a:lnTo>
                    <a:lnTo>
                      <a:pt x="41931" y="15777"/>
                    </a:lnTo>
                    <a:lnTo>
                      <a:pt x="41931" y="15714"/>
                    </a:lnTo>
                    <a:lnTo>
                      <a:pt x="41910" y="15651"/>
                    </a:lnTo>
                    <a:lnTo>
                      <a:pt x="41805" y="15651"/>
                    </a:lnTo>
                    <a:lnTo>
                      <a:pt x="41847" y="15547"/>
                    </a:lnTo>
                    <a:lnTo>
                      <a:pt x="41805" y="15463"/>
                    </a:lnTo>
                    <a:lnTo>
                      <a:pt x="41701" y="15463"/>
                    </a:lnTo>
                    <a:lnTo>
                      <a:pt x="41743" y="15400"/>
                    </a:lnTo>
                    <a:lnTo>
                      <a:pt x="41722" y="15358"/>
                    </a:lnTo>
                    <a:lnTo>
                      <a:pt x="41596" y="15442"/>
                    </a:lnTo>
                    <a:lnTo>
                      <a:pt x="41533" y="15526"/>
                    </a:lnTo>
                    <a:lnTo>
                      <a:pt x="41554" y="15651"/>
                    </a:lnTo>
                    <a:lnTo>
                      <a:pt x="41533" y="15651"/>
                    </a:lnTo>
                    <a:lnTo>
                      <a:pt x="41492" y="15609"/>
                    </a:lnTo>
                    <a:lnTo>
                      <a:pt x="41492" y="15442"/>
                    </a:lnTo>
                    <a:lnTo>
                      <a:pt x="41450" y="15421"/>
                    </a:lnTo>
                    <a:lnTo>
                      <a:pt x="41408" y="15442"/>
                    </a:lnTo>
                    <a:lnTo>
                      <a:pt x="41408" y="15526"/>
                    </a:lnTo>
                    <a:lnTo>
                      <a:pt x="41324" y="15651"/>
                    </a:lnTo>
                    <a:lnTo>
                      <a:pt x="41282" y="15714"/>
                    </a:lnTo>
                    <a:lnTo>
                      <a:pt x="41282" y="15714"/>
                    </a:lnTo>
                    <a:lnTo>
                      <a:pt x="41303" y="15630"/>
                    </a:lnTo>
                    <a:lnTo>
                      <a:pt x="41303" y="15505"/>
                    </a:lnTo>
                    <a:lnTo>
                      <a:pt x="41387" y="15358"/>
                    </a:lnTo>
                    <a:lnTo>
                      <a:pt x="41387" y="15296"/>
                    </a:lnTo>
                    <a:lnTo>
                      <a:pt x="41282" y="15317"/>
                    </a:lnTo>
                    <a:lnTo>
                      <a:pt x="41178" y="15442"/>
                    </a:lnTo>
                    <a:lnTo>
                      <a:pt x="41178" y="15505"/>
                    </a:lnTo>
                    <a:lnTo>
                      <a:pt x="41094" y="15568"/>
                    </a:lnTo>
                    <a:lnTo>
                      <a:pt x="41010" y="15568"/>
                    </a:lnTo>
                    <a:lnTo>
                      <a:pt x="41010" y="15505"/>
                    </a:lnTo>
                    <a:lnTo>
                      <a:pt x="41073" y="15400"/>
                    </a:lnTo>
                    <a:lnTo>
                      <a:pt x="41199" y="15337"/>
                    </a:lnTo>
                    <a:lnTo>
                      <a:pt x="41241" y="15233"/>
                    </a:lnTo>
                    <a:lnTo>
                      <a:pt x="41303" y="15149"/>
                    </a:lnTo>
                    <a:lnTo>
                      <a:pt x="41345" y="15149"/>
                    </a:lnTo>
                    <a:lnTo>
                      <a:pt x="41429" y="15086"/>
                    </a:lnTo>
                    <a:lnTo>
                      <a:pt x="41450" y="15024"/>
                    </a:lnTo>
                    <a:lnTo>
                      <a:pt x="41387" y="15003"/>
                    </a:lnTo>
                    <a:lnTo>
                      <a:pt x="41282" y="15086"/>
                    </a:lnTo>
                    <a:lnTo>
                      <a:pt x="41199" y="15149"/>
                    </a:lnTo>
                    <a:lnTo>
                      <a:pt x="41115" y="15191"/>
                    </a:lnTo>
                    <a:lnTo>
                      <a:pt x="41010" y="15296"/>
                    </a:lnTo>
                    <a:lnTo>
                      <a:pt x="41073" y="15191"/>
                    </a:lnTo>
                    <a:lnTo>
                      <a:pt x="41136" y="15086"/>
                    </a:lnTo>
                    <a:lnTo>
                      <a:pt x="41115" y="15086"/>
                    </a:lnTo>
                    <a:lnTo>
                      <a:pt x="41010" y="15107"/>
                    </a:lnTo>
                    <a:lnTo>
                      <a:pt x="40969" y="15149"/>
                    </a:lnTo>
                    <a:lnTo>
                      <a:pt x="40801" y="15128"/>
                    </a:lnTo>
                    <a:lnTo>
                      <a:pt x="40696" y="15128"/>
                    </a:lnTo>
                    <a:lnTo>
                      <a:pt x="40655" y="15086"/>
                    </a:lnTo>
                    <a:lnTo>
                      <a:pt x="40759" y="15086"/>
                    </a:lnTo>
                    <a:lnTo>
                      <a:pt x="40969" y="15024"/>
                    </a:lnTo>
                    <a:lnTo>
                      <a:pt x="40864" y="14982"/>
                    </a:lnTo>
                    <a:lnTo>
                      <a:pt x="40780" y="14919"/>
                    </a:lnTo>
                    <a:lnTo>
                      <a:pt x="40864" y="14919"/>
                    </a:lnTo>
                    <a:lnTo>
                      <a:pt x="40927" y="14898"/>
                    </a:lnTo>
                    <a:lnTo>
                      <a:pt x="40885" y="14793"/>
                    </a:lnTo>
                    <a:lnTo>
                      <a:pt x="40801" y="14773"/>
                    </a:lnTo>
                    <a:lnTo>
                      <a:pt x="40801" y="14731"/>
                    </a:lnTo>
                    <a:lnTo>
                      <a:pt x="40885" y="14689"/>
                    </a:lnTo>
                    <a:lnTo>
                      <a:pt x="40885" y="14605"/>
                    </a:lnTo>
                    <a:lnTo>
                      <a:pt x="40864" y="14480"/>
                    </a:lnTo>
                    <a:lnTo>
                      <a:pt x="40822" y="14417"/>
                    </a:lnTo>
                    <a:lnTo>
                      <a:pt x="40696" y="14480"/>
                    </a:lnTo>
                    <a:lnTo>
                      <a:pt x="40655" y="14521"/>
                    </a:lnTo>
                    <a:lnTo>
                      <a:pt x="40592" y="14501"/>
                    </a:lnTo>
                    <a:lnTo>
                      <a:pt x="40571" y="14521"/>
                    </a:lnTo>
                    <a:lnTo>
                      <a:pt x="40550" y="14501"/>
                    </a:lnTo>
                    <a:lnTo>
                      <a:pt x="40592" y="14417"/>
                    </a:lnTo>
                    <a:lnTo>
                      <a:pt x="40613" y="14312"/>
                    </a:lnTo>
                    <a:lnTo>
                      <a:pt x="40759" y="14291"/>
                    </a:lnTo>
                    <a:lnTo>
                      <a:pt x="40801" y="14249"/>
                    </a:lnTo>
                    <a:lnTo>
                      <a:pt x="40801" y="14103"/>
                    </a:lnTo>
                    <a:lnTo>
                      <a:pt x="40780" y="14061"/>
                    </a:lnTo>
                    <a:lnTo>
                      <a:pt x="40696" y="14145"/>
                    </a:lnTo>
                    <a:lnTo>
                      <a:pt x="40571" y="14249"/>
                    </a:lnTo>
                    <a:lnTo>
                      <a:pt x="40508" y="14312"/>
                    </a:lnTo>
                    <a:lnTo>
                      <a:pt x="40445" y="14375"/>
                    </a:lnTo>
                    <a:lnTo>
                      <a:pt x="40445" y="14480"/>
                    </a:lnTo>
                    <a:lnTo>
                      <a:pt x="40445" y="14563"/>
                    </a:lnTo>
                    <a:lnTo>
                      <a:pt x="40278" y="14291"/>
                    </a:lnTo>
                    <a:lnTo>
                      <a:pt x="40278" y="14187"/>
                    </a:lnTo>
                    <a:lnTo>
                      <a:pt x="40278" y="14082"/>
                    </a:lnTo>
                    <a:lnTo>
                      <a:pt x="40341" y="13998"/>
                    </a:lnTo>
                    <a:lnTo>
                      <a:pt x="40424" y="13873"/>
                    </a:lnTo>
                    <a:lnTo>
                      <a:pt x="40466" y="13789"/>
                    </a:lnTo>
                    <a:lnTo>
                      <a:pt x="40424" y="13768"/>
                    </a:lnTo>
                    <a:lnTo>
                      <a:pt x="40362" y="13831"/>
                    </a:lnTo>
                    <a:lnTo>
                      <a:pt x="40299" y="13894"/>
                    </a:lnTo>
                    <a:lnTo>
                      <a:pt x="40299" y="13936"/>
                    </a:lnTo>
                    <a:lnTo>
                      <a:pt x="40194" y="13977"/>
                    </a:lnTo>
                    <a:lnTo>
                      <a:pt x="40152" y="14061"/>
                    </a:lnTo>
                    <a:lnTo>
                      <a:pt x="40152" y="14103"/>
                    </a:lnTo>
                    <a:lnTo>
                      <a:pt x="40069" y="14249"/>
                    </a:lnTo>
                    <a:lnTo>
                      <a:pt x="40027" y="14270"/>
                    </a:lnTo>
                    <a:lnTo>
                      <a:pt x="40027" y="14187"/>
                    </a:lnTo>
                    <a:lnTo>
                      <a:pt x="40069" y="14082"/>
                    </a:lnTo>
                    <a:lnTo>
                      <a:pt x="40173" y="13894"/>
                    </a:lnTo>
                    <a:lnTo>
                      <a:pt x="40215" y="13852"/>
                    </a:lnTo>
                    <a:lnTo>
                      <a:pt x="40194" y="13768"/>
                    </a:lnTo>
                    <a:lnTo>
                      <a:pt x="40111" y="13768"/>
                    </a:lnTo>
                    <a:lnTo>
                      <a:pt x="40048" y="13852"/>
                    </a:lnTo>
                    <a:lnTo>
                      <a:pt x="40048" y="13936"/>
                    </a:lnTo>
                    <a:lnTo>
                      <a:pt x="40006" y="13957"/>
                    </a:lnTo>
                    <a:lnTo>
                      <a:pt x="40006" y="13873"/>
                    </a:lnTo>
                    <a:lnTo>
                      <a:pt x="40069" y="13747"/>
                    </a:lnTo>
                    <a:lnTo>
                      <a:pt x="40090" y="13685"/>
                    </a:lnTo>
                    <a:lnTo>
                      <a:pt x="40048" y="13622"/>
                    </a:lnTo>
                    <a:lnTo>
                      <a:pt x="39943" y="13580"/>
                    </a:lnTo>
                    <a:lnTo>
                      <a:pt x="39964" y="13559"/>
                    </a:lnTo>
                    <a:lnTo>
                      <a:pt x="39901" y="13517"/>
                    </a:lnTo>
                    <a:lnTo>
                      <a:pt x="39776" y="13517"/>
                    </a:lnTo>
                    <a:lnTo>
                      <a:pt x="39692" y="13538"/>
                    </a:lnTo>
                    <a:lnTo>
                      <a:pt x="39734" y="13454"/>
                    </a:lnTo>
                    <a:lnTo>
                      <a:pt x="39818" y="13433"/>
                    </a:lnTo>
                    <a:lnTo>
                      <a:pt x="39713" y="13413"/>
                    </a:lnTo>
                    <a:lnTo>
                      <a:pt x="39567" y="13413"/>
                    </a:lnTo>
                    <a:lnTo>
                      <a:pt x="39504" y="13517"/>
                    </a:lnTo>
                    <a:lnTo>
                      <a:pt x="39504" y="13433"/>
                    </a:lnTo>
                    <a:lnTo>
                      <a:pt x="39671" y="13350"/>
                    </a:lnTo>
                    <a:lnTo>
                      <a:pt x="39818" y="13329"/>
                    </a:lnTo>
                    <a:lnTo>
                      <a:pt x="39860" y="13371"/>
                    </a:lnTo>
                    <a:lnTo>
                      <a:pt x="39964" y="13392"/>
                    </a:lnTo>
                    <a:lnTo>
                      <a:pt x="39985" y="13350"/>
                    </a:lnTo>
                    <a:lnTo>
                      <a:pt x="40027" y="13266"/>
                    </a:lnTo>
                    <a:lnTo>
                      <a:pt x="39943" y="13266"/>
                    </a:lnTo>
                    <a:lnTo>
                      <a:pt x="39839" y="13245"/>
                    </a:lnTo>
                    <a:lnTo>
                      <a:pt x="39734" y="13182"/>
                    </a:lnTo>
                    <a:lnTo>
                      <a:pt x="39650" y="13182"/>
                    </a:lnTo>
                    <a:lnTo>
                      <a:pt x="39650" y="13287"/>
                    </a:lnTo>
                    <a:lnTo>
                      <a:pt x="39608" y="13287"/>
                    </a:lnTo>
                    <a:lnTo>
                      <a:pt x="39608" y="13245"/>
                    </a:lnTo>
                    <a:lnTo>
                      <a:pt x="39629" y="13182"/>
                    </a:lnTo>
                    <a:lnTo>
                      <a:pt x="39629" y="13140"/>
                    </a:lnTo>
                    <a:lnTo>
                      <a:pt x="39525" y="13140"/>
                    </a:lnTo>
                    <a:lnTo>
                      <a:pt x="39525" y="13182"/>
                    </a:lnTo>
                    <a:lnTo>
                      <a:pt x="39462" y="13224"/>
                    </a:lnTo>
                    <a:lnTo>
                      <a:pt x="39441" y="13161"/>
                    </a:lnTo>
                    <a:lnTo>
                      <a:pt x="39441" y="13078"/>
                    </a:lnTo>
                    <a:lnTo>
                      <a:pt x="39399" y="13057"/>
                    </a:lnTo>
                    <a:lnTo>
                      <a:pt x="39357" y="13078"/>
                    </a:lnTo>
                    <a:lnTo>
                      <a:pt x="39316" y="13036"/>
                    </a:lnTo>
                    <a:lnTo>
                      <a:pt x="39232" y="12994"/>
                    </a:lnTo>
                    <a:lnTo>
                      <a:pt x="39148" y="12994"/>
                    </a:lnTo>
                    <a:lnTo>
                      <a:pt x="39232" y="12910"/>
                    </a:lnTo>
                    <a:lnTo>
                      <a:pt x="39295" y="12868"/>
                    </a:lnTo>
                    <a:lnTo>
                      <a:pt x="39441" y="12973"/>
                    </a:lnTo>
                    <a:lnTo>
                      <a:pt x="39504" y="12973"/>
                    </a:lnTo>
                    <a:lnTo>
                      <a:pt x="39462" y="12931"/>
                    </a:lnTo>
                    <a:lnTo>
                      <a:pt x="39169" y="12764"/>
                    </a:lnTo>
                    <a:lnTo>
                      <a:pt x="39044" y="12743"/>
                    </a:lnTo>
                    <a:lnTo>
                      <a:pt x="39023" y="12722"/>
                    </a:lnTo>
                    <a:lnTo>
                      <a:pt x="39106" y="12722"/>
                    </a:lnTo>
                    <a:lnTo>
                      <a:pt x="39316" y="12806"/>
                    </a:lnTo>
                    <a:lnTo>
                      <a:pt x="39441" y="12806"/>
                    </a:lnTo>
                    <a:lnTo>
                      <a:pt x="39650" y="12848"/>
                    </a:lnTo>
                    <a:lnTo>
                      <a:pt x="39692" y="12848"/>
                    </a:lnTo>
                    <a:lnTo>
                      <a:pt x="39671" y="12806"/>
                    </a:lnTo>
                    <a:lnTo>
                      <a:pt x="39671" y="12722"/>
                    </a:lnTo>
                    <a:lnTo>
                      <a:pt x="39629" y="12659"/>
                    </a:lnTo>
                    <a:lnTo>
                      <a:pt x="39546" y="12638"/>
                    </a:lnTo>
                    <a:lnTo>
                      <a:pt x="39462" y="12596"/>
                    </a:lnTo>
                    <a:lnTo>
                      <a:pt x="39483" y="12555"/>
                    </a:lnTo>
                    <a:lnTo>
                      <a:pt x="39546" y="12555"/>
                    </a:lnTo>
                    <a:lnTo>
                      <a:pt x="39567" y="12617"/>
                    </a:lnTo>
                    <a:lnTo>
                      <a:pt x="39629" y="12638"/>
                    </a:lnTo>
                    <a:lnTo>
                      <a:pt x="39671" y="12617"/>
                    </a:lnTo>
                    <a:lnTo>
                      <a:pt x="39776" y="12617"/>
                    </a:lnTo>
                    <a:lnTo>
                      <a:pt x="39797" y="12596"/>
                    </a:lnTo>
                    <a:lnTo>
                      <a:pt x="39797" y="12534"/>
                    </a:lnTo>
                    <a:lnTo>
                      <a:pt x="39734" y="12513"/>
                    </a:lnTo>
                    <a:lnTo>
                      <a:pt x="39734" y="12450"/>
                    </a:lnTo>
                    <a:lnTo>
                      <a:pt x="39671" y="12387"/>
                    </a:lnTo>
                    <a:lnTo>
                      <a:pt x="39588" y="12408"/>
                    </a:lnTo>
                    <a:lnTo>
                      <a:pt x="39525" y="12450"/>
                    </a:lnTo>
                    <a:lnTo>
                      <a:pt x="39378" y="12450"/>
                    </a:lnTo>
                    <a:lnTo>
                      <a:pt x="39357" y="12513"/>
                    </a:lnTo>
                    <a:lnTo>
                      <a:pt x="39316" y="12513"/>
                    </a:lnTo>
                    <a:lnTo>
                      <a:pt x="39274" y="12429"/>
                    </a:lnTo>
                    <a:lnTo>
                      <a:pt x="39378" y="12387"/>
                    </a:lnTo>
                    <a:lnTo>
                      <a:pt x="39525" y="12387"/>
                    </a:lnTo>
                    <a:lnTo>
                      <a:pt x="39567" y="12345"/>
                    </a:lnTo>
                    <a:lnTo>
                      <a:pt x="39692" y="12345"/>
                    </a:lnTo>
                    <a:lnTo>
                      <a:pt x="39734" y="12304"/>
                    </a:lnTo>
                    <a:lnTo>
                      <a:pt x="39650" y="12283"/>
                    </a:lnTo>
                    <a:lnTo>
                      <a:pt x="39546" y="12241"/>
                    </a:lnTo>
                    <a:lnTo>
                      <a:pt x="39525" y="12199"/>
                    </a:lnTo>
                    <a:lnTo>
                      <a:pt x="39588" y="12241"/>
                    </a:lnTo>
                    <a:lnTo>
                      <a:pt x="39776" y="12241"/>
                    </a:lnTo>
                    <a:lnTo>
                      <a:pt x="39839" y="12283"/>
                    </a:lnTo>
                    <a:lnTo>
                      <a:pt x="39964" y="12429"/>
                    </a:lnTo>
                    <a:lnTo>
                      <a:pt x="40048" y="12450"/>
                    </a:lnTo>
                    <a:lnTo>
                      <a:pt x="40090" y="12429"/>
                    </a:lnTo>
                    <a:lnTo>
                      <a:pt x="40111" y="12492"/>
                    </a:lnTo>
                    <a:lnTo>
                      <a:pt x="40173" y="12513"/>
                    </a:lnTo>
                    <a:lnTo>
                      <a:pt x="40215" y="12450"/>
                    </a:lnTo>
                    <a:lnTo>
                      <a:pt x="40278" y="12450"/>
                    </a:lnTo>
                    <a:lnTo>
                      <a:pt x="40320" y="12555"/>
                    </a:lnTo>
                    <a:lnTo>
                      <a:pt x="40404" y="12555"/>
                    </a:lnTo>
                    <a:lnTo>
                      <a:pt x="40466" y="12534"/>
                    </a:lnTo>
                    <a:lnTo>
                      <a:pt x="40466" y="12408"/>
                    </a:lnTo>
                    <a:lnTo>
                      <a:pt x="40404" y="12324"/>
                    </a:lnTo>
                    <a:lnTo>
                      <a:pt x="40383" y="12241"/>
                    </a:lnTo>
                    <a:lnTo>
                      <a:pt x="40278" y="12199"/>
                    </a:lnTo>
                    <a:lnTo>
                      <a:pt x="40194" y="12136"/>
                    </a:lnTo>
                    <a:lnTo>
                      <a:pt x="40152" y="12115"/>
                    </a:lnTo>
                    <a:lnTo>
                      <a:pt x="40090" y="12136"/>
                    </a:lnTo>
                    <a:lnTo>
                      <a:pt x="40048" y="12178"/>
                    </a:lnTo>
                    <a:lnTo>
                      <a:pt x="39964" y="12115"/>
                    </a:lnTo>
                    <a:lnTo>
                      <a:pt x="39797" y="11990"/>
                    </a:lnTo>
                    <a:lnTo>
                      <a:pt x="39692" y="11969"/>
                    </a:lnTo>
                    <a:lnTo>
                      <a:pt x="39483" y="11990"/>
                    </a:lnTo>
                    <a:lnTo>
                      <a:pt x="39420" y="11969"/>
                    </a:lnTo>
                    <a:lnTo>
                      <a:pt x="39588" y="11927"/>
                    </a:lnTo>
                    <a:lnTo>
                      <a:pt x="39671" y="11864"/>
                    </a:lnTo>
                    <a:lnTo>
                      <a:pt x="39755" y="11864"/>
                    </a:lnTo>
                    <a:lnTo>
                      <a:pt x="39776" y="11885"/>
                    </a:lnTo>
                    <a:lnTo>
                      <a:pt x="39860" y="11885"/>
                    </a:lnTo>
                    <a:lnTo>
                      <a:pt x="39943" y="11822"/>
                    </a:lnTo>
                    <a:lnTo>
                      <a:pt x="40006" y="11780"/>
                    </a:lnTo>
                    <a:lnTo>
                      <a:pt x="40173" y="11780"/>
                    </a:lnTo>
                    <a:lnTo>
                      <a:pt x="40257" y="11822"/>
                    </a:lnTo>
                    <a:lnTo>
                      <a:pt x="40383" y="11822"/>
                    </a:lnTo>
                    <a:lnTo>
                      <a:pt x="40424" y="11760"/>
                    </a:lnTo>
                    <a:lnTo>
                      <a:pt x="40466" y="11676"/>
                    </a:lnTo>
                    <a:lnTo>
                      <a:pt x="40404" y="11592"/>
                    </a:lnTo>
                    <a:lnTo>
                      <a:pt x="40383" y="11467"/>
                    </a:lnTo>
                    <a:lnTo>
                      <a:pt x="40278" y="11236"/>
                    </a:lnTo>
                    <a:lnTo>
                      <a:pt x="40257" y="11090"/>
                    </a:lnTo>
                    <a:lnTo>
                      <a:pt x="40194" y="11132"/>
                    </a:lnTo>
                    <a:lnTo>
                      <a:pt x="40173" y="11090"/>
                    </a:lnTo>
                    <a:lnTo>
                      <a:pt x="40090" y="11132"/>
                    </a:lnTo>
                    <a:lnTo>
                      <a:pt x="40090" y="11174"/>
                    </a:lnTo>
                    <a:lnTo>
                      <a:pt x="40048" y="11278"/>
                    </a:lnTo>
                    <a:lnTo>
                      <a:pt x="40069" y="11299"/>
                    </a:lnTo>
                    <a:lnTo>
                      <a:pt x="40069" y="11383"/>
                    </a:lnTo>
                    <a:lnTo>
                      <a:pt x="40006" y="11404"/>
                    </a:lnTo>
                    <a:lnTo>
                      <a:pt x="39901" y="11467"/>
                    </a:lnTo>
                    <a:lnTo>
                      <a:pt x="39839" y="11550"/>
                    </a:lnTo>
                    <a:lnTo>
                      <a:pt x="39734" y="11508"/>
                    </a:lnTo>
                    <a:lnTo>
                      <a:pt x="39650" y="11488"/>
                    </a:lnTo>
                    <a:lnTo>
                      <a:pt x="39546" y="11508"/>
                    </a:lnTo>
                    <a:lnTo>
                      <a:pt x="39462" y="11613"/>
                    </a:lnTo>
                    <a:lnTo>
                      <a:pt x="39357" y="11718"/>
                    </a:lnTo>
                    <a:lnTo>
                      <a:pt x="39316" y="11697"/>
                    </a:lnTo>
                    <a:lnTo>
                      <a:pt x="39232" y="11676"/>
                    </a:lnTo>
                    <a:lnTo>
                      <a:pt x="39127" y="11697"/>
                    </a:lnTo>
                    <a:lnTo>
                      <a:pt x="39085" y="11697"/>
                    </a:lnTo>
                    <a:lnTo>
                      <a:pt x="39190" y="11592"/>
                    </a:lnTo>
                    <a:lnTo>
                      <a:pt x="39232" y="11571"/>
                    </a:lnTo>
                    <a:lnTo>
                      <a:pt x="39316" y="11613"/>
                    </a:lnTo>
                    <a:lnTo>
                      <a:pt x="39420" y="11571"/>
                    </a:lnTo>
                    <a:lnTo>
                      <a:pt x="39462" y="11467"/>
                    </a:lnTo>
                    <a:lnTo>
                      <a:pt x="39546" y="11404"/>
                    </a:lnTo>
                    <a:lnTo>
                      <a:pt x="39588" y="11404"/>
                    </a:lnTo>
                    <a:lnTo>
                      <a:pt x="39692" y="11362"/>
                    </a:lnTo>
                    <a:lnTo>
                      <a:pt x="39776" y="11299"/>
                    </a:lnTo>
                    <a:lnTo>
                      <a:pt x="39776" y="11174"/>
                    </a:lnTo>
                    <a:lnTo>
                      <a:pt x="39776" y="11132"/>
                    </a:lnTo>
                    <a:lnTo>
                      <a:pt x="39692" y="11132"/>
                    </a:lnTo>
                    <a:lnTo>
                      <a:pt x="39629" y="11153"/>
                    </a:lnTo>
                    <a:lnTo>
                      <a:pt x="39546" y="11132"/>
                    </a:lnTo>
                    <a:lnTo>
                      <a:pt x="39420" y="11132"/>
                    </a:lnTo>
                    <a:lnTo>
                      <a:pt x="39253" y="11278"/>
                    </a:lnTo>
                    <a:lnTo>
                      <a:pt x="39148" y="11383"/>
                    </a:lnTo>
                    <a:lnTo>
                      <a:pt x="38960" y="11404"/>
                    </a:lnTo>
                    <a:lnTo>
                      <a:pt x="39023" y="11362"/>
                    </a:lnTo>
                    <a:lnTo>
                      <a:pt x="39148" y="11341"/>
                    </a:lnTo>
                    <a:lnTo>
                      <a:pt x="39169" y="11257"/>
                    </a:lnTo>
                    <a:lnTo>
                      <a:pt x="39127" y="11236"/>
                    </a:lnTo>
                    <a:lnTo>
                      <a:pt x="39023" y="11236"/>
                    </a:lnTo>
                    <a:lnTo>
                      <a:pt x="39190" y="11153"/>
                    </a:lnTo>
                    <a:lnTo>
                      <a:pt x="39295" y="11153"/>
                    </a:lnTo>
                    <a:lnTo>
                      <a:pt x="39441" y="11048"/>
                    </a:lnTo>
                    <a:lnTo>
                      <a:pt x="39567" y="11048"/>
                    </a:lnTo>
                    <a:lnTo>
                      <a:pt x="39650" y="11027"/>
                    </a:lnTo>
                    <a:lnTo>
                      <a:pt x="39839" y="11027"/>
                    </a:lnTo>
                    <a:lnTo>
                      <a:pt x="39922" y="10944"/>
                    </a:lnTo>
                    <a:lnTo>
                      <a:pt x="39964" y="10881"/>
                    </a:lnTo>
                    <a:lnTo>
                      <a:pt x="39985" y="10839"/>
                    </a:lnTo>
                    <a:lnTo>
                      <a:pt x="40069" y="10818"/>
                    </a:lnTo>
                    <a:lnTo>
                      <a:pt x="40069" y="10923"/>
                    </a:lnTo>
                    <a:lnTo>
                      <a:pt x="40132" y="10944"/>
                    </a:lnTo>
                    <a:lnTo>
                      <a:pt x="40236" y="10839"/>
                    </a:lnTo>
                    <a:lnTo>
                      <a:pt x="40257" y="10734"/>
                    </a:lnTo>
                    <a:lnTo>
                      <a:pt x="40236" y="10672"/>
                    </a:lnTo>
                    <a:lnTo>
                      <a:pt x="40152" y="10630"/>
                    </a:lnTo>
                    <a:lnTo>
                      <a:pt x="40090" y="10525"/>
                    </a:lnTo>
                    <a:lnTo>
                      <a:pt x="39964" y="10400"/>
                    </a:lnTo>
                    <a:lnTo>
                      <a:pt x="39922" y="10295"/>
                    </a:lnTo>
                    <a:lnTo>
                      <a:pt x="39839" y="10295"/>
                    </a:lnTo>
                    <a:lnTo>
                      <a:pt x="39755" y="10337"/>
                    </a:lnTo>
                    <a:lnTo>
                      <a:pt x="39713" y="10400"/>
                    </a:lnTo>
                    <a:lnTo>
                      <a:pt x="39629" y="10420"/>
                    </a:lnTo>
                    <a:lnTo>
                      <a:pt x="39525" y="10504"/>
                    </a:lnTo>
                    <a:lnTo>
                      <a:pt x="39420" y="10504"/>
                    </a:lnTo>
                    <a:lnTo>
                      <a:pt x="39336" y="10567"/>
                    </a:lnTo>
                    <a:lnTo>
                      <a:pt x="39316" y="10546"/>
                    </a:lnTo>
                    <a:lnTo>
                      <a:pt x="39336" y="10441"/>
                    </a:lnTo>
                    <a:lnTo>
                      <a:pt x="39420" y="10400"/>
                    </a:lnTo>
                    <a:lnTo>
                      <a:pt x="39525" y="10400"/>
                    </a:lnTo>
                    <a:lnTo>
                      <a:pt x="39650" y="10253"/>
                    </a:lnTo>
                    <a:lnTo>
                      <a:pt x="39713" y="10190"/>
                    </a:lnTo>
                    <a:lnTo>
                      <a:pt x="39713" y="10127"/>
                    </a:lnTo>
                    <a:lnTo>
                      <a:pt x="39629" y="10148"/>
                    </a:lnTo>
                    <a:lnTo>
                      <a:pt x="39462" y="10211"/>
                    </a:lnTo>
                    <a:lnTo>
                      <a:pt x="39316" y="10316"/>
                    </a:lnTo>
                    <a:lnTo>
                      <a:pt x="39253" y="10316"/>
                    </a:lnTo>
                    <a:lnTo>
                      <a:pt x="39211" y="10358"/>
                    </a:lnTo>
                    <a:lnTo>
                      <a:pt x="39169" y="10441"/>
                    </a:lnTo>
                    <a:lnTo>
                      <a:pt x="39106" y="10630"/>
                    </a:lnTo>
                    <a:lnTo>
                      <a:pt x="38918" y="10839"/>
                    </a:lnTo>
                    <a:lnTo>
                      <a:pt x="38730" y="10944"/>
                    </a:lnTo>
                    <a:lnTo>
                      <a:pt x="38730" y="10923"/>
                    </a:lnTo>
                    <a:lnTo>
                      <a:pt x="38813" y="10839"/>
                    </a:lnTo>
                    <a:lnTo>
                      <a:pt x="38939" y="10713"/>
                    </a:lnTo>
                    <a:lnTo>
                      <a:pt x="39023" y="10567"/>
                    </a:lnTo>
                    <a:lnTo>
                      <a:pt x="39064" y="10525"/>
                    </a:lnTo>
                    <a:lnTo>
                      <a:pt x="39064" y="10462"/>
                    </a:lnTo>
                    <a:lnTo>
                      <a:pt x="39023" y="10462"/>
                    </a:lnTo>
                    <a:lnTo>
                      <a:pt x="39002" y="10441"/>
                    </a:lnTo>
                    <a:lnTo>
                      <a:pt x="38939" y="10462"/>
                    </a:lnTo>
                    <a:lnTo>
                      <a:pt x="38855" y="10609"/>
                    </a:lnTo>
                    <a:lnTo>
                      <a:pt x="38730" y="10734"/>
                    </a:lnTo>
                    <a:lnTo>
                      <a:pt x="38688" y="10734"/>
                    </a:lnTo>
                    <a:lnTo>
                      <a:pt x="38709" y="10651"/>
                    </a:lnTo>
                    <a:lnTo>
                      <a:pt x="38730" y="10567"/>
                    </a:lnTo>
                    <a:lnTo>
                      <a:pt x="38834" y="10462"/>
                    </a:lnTo>
                    <a:lnTo>
                      <a:pt x="38876" y="10400"/>
                    </a:lnTo>
                    <a:lnTo>
                      <a:pt x="38918" y="10316"/>
                    </a:lnTo>
                    <a:lnTo>
                      <a:pt x="39002" y="10316"/>
                    </a:lnTo>
                    <a:lnTo>
                      <a:pt x="39044" y="10337"/>
                    </a:lnTo>
                    <a:lnTo>
                      <a:pt x="39148" y="10337"/>
                    </a:lnTo>
                    <a:lnTo>
                      <a:pt x="39190" y="10295"/>
                    </a:lnTo>
                    <a:lnTo>
                      <a:pt x="39253" y="10211"/>
                    </a:lnTo>
                    <a:lnTo>
                      <a:pt x="39357" y="10148"/>
                    </a:lnTo>
                    <a:lnTo>
                      <a:pt x="39462" y="10023"/>
                    </a:lnTo>
                    <a:lnTo>
                      <a:pt x="39525" y="9918"/>
                    </a:lnTo>
                    <a:lnTo>
                      <a:pt x="39483" y="9814"/>
                    </a:lnTo>
                    <a:lnTo>
                      <a:pt x="39525" y="9730"/>
                    </a:lnTo>
                    <a:lnTo>
                      <a:pt x="39483" y="9709"/>
                    </a:lnTo>
                    <a:lnTo>
                      <a:pt x="39336" y="9793"/>
                    </a:lnTo>
                    <a:lnTo>
                      <a:pt x="39274" y="9876"/>
                    </a:lnTo>
                    <a:lnTo>
                      <a:pt x="39274" y="9981"/>
                    </a:lnTo>
                    <a:lnTo>
                      <a:pt x="39253" y="10107"/>
                    </a:lnTo>
                    <a:lnTo>
                      <a:pt x="39211" y="10127"/>
                    </a:lnTo>
                    <a:lnTo>
                      <a:pt x="39232" y="10086"/>
                    </a:lnTo>
                    <a:lnTo>
                      <a:pt x="39232" y="10023"/>
                    </a:lnTo>
                    <a:lnTo>
                      <a:pt x="39148" y="9981"/>
                    </a:lnTo>
                    <a:lnTo>
                      <a:pt x="39044" y="9981"/>
                    </a:lnTo>
                    <a:lnTo>
                      <a:pt x="38939" y="10044"/>
                    </a:lnTo>
                    <a:lnTo>
                      <a:pt x="38855" y="10023"/>
                    </a:lnTo>
                    <a:lnTo>
                      <a:pt x="38730" y="10044"/>
                    </a:lnTo>
                    <a:lnTo>
                      <a:pt x="38625" y="10107"/>
                    </a:lnTo>
                    <a:lnTo>
                      <a:pt x="38500" y="10107"/>
                    </a:lnTo>
                    <a:lnTo>
                      <a:pt x="38583" y="10044"/>
                    </a:lnTo>
                    <a:lnTo>
                      <a:pt x="38688" y="10002"/>
                    </a:lnTo>
                    <a:lnTo>
                      <a:pt x="38772" y="9897"/>
                    </a:lnTo>
                    <a:lnTo>
                      <a:pt x="38730" y="9814"/>
                    </a:lnTo>
                    <a:lnTo>
                      <a:pt x="38688" y="9814"/>
                    </a:lnTo>
                    <a:lnTo>
                      <a:pt x="38541" y="9835"/>
                    </a:lnTo>
                    <a:lnTo>
                      <a:pt x="38604" y="9772"/>
                    </a:lnTo>
                    <a:lnTo>
                      <a:pt x="38688" y="9772"/>
                    </a:lnTo>
                    <a:lnTo>
                      <a:pt x="38772" y="9709"/>
                    </a:lnTo>
                    <a:lnTo>
                      <a:pt x="38813" y="9604"/>
                    </a:lnTo>
                    <a:lnTo>
                      <a:pt x="38897" y="9583"/>
                    </a:lnTo>
                    <a:lnTo>
                      <a:pt x="38939" y="9521"/>
                    </a:lnTo>
                    <a:lnTo>
                      <a:pt x="39002" y="9521"/>
                    </a:lnTo>
                    <a:lnTo>
                      <a:pt x="39106" y="9604"/>
                    </a:lnTo>
                    <a:lnTo>
                      <a:pt x="39169" y="9667"/>
                    </a:lnTo>
                    <a:lnTo>
                      <a:pt x="39253" y="9667"/>
                    </a:lnTo>
                    <a:lnTo>
                      <a:pt x="39357" y="9521"/>
                    </a:lnTo>
                    <a:lnTo>
                      <a:pt x="39441" y="9458"/>
                    </a:lnTo>
                    <a:lnTo>
                      <a:pt x="39441" y="9395"/>
                    </a:lnTo>
                    <a:lnTo>
                      <a:pt x="39336" y="9270"/>
                    </a:lnTo>
                    <a:lnTo>
                      <a:pt x="39316" y="9165"/>
                    </a:lnTo>
                    <a:lnTo>
                      <a:pt x="39274" y="9060"/>
                    </a:lnTo>
                    <a:lnTo>
                      <a:pt x="39169" y="8956"/>
                    </a:lnTo>
                    <a:lnTo>
                      <a:pt x="39106" y="8893"/>
                    </a:lnTo>
                    <a:lnTo>
                      <a:pt x="39023" y="8726"/>
                    </a:lnTo>
                    <a:lnTo>
                      <a:pt x="38960" y="8747"/>
                    </a:lnTo>
                    <a:lnTo>
                      <a:pt x="38960" y="8830"/>
                    </a:lnTo>
                    <a:lnTo>
                      <a:pt x="38918" y="8893"/>
                    </a:lnTo>
                    <a:lnTo>
                      <a:pt x="38855" y="8935"/>
                    </a:lnTo>
                    <a:lnTo>
                      <a:pt x="38834" y="8977"/>
                    </a:lnTo>
                    <a:lnTo>
                      <a:pt x="38834" y="9060"/>
                    </a:lnTo>
                    <a:lnTo>
                      <a:pt x="38751" y="9102"/>
                    </a:lnTo>
                    <a:lnTo>
                      <a:pt x="38709" y="9186"/>
                    </a:lnTo>
                    <a:lnTo>
                      <a:pt x="38709" y="9291"/>
                    </a:lnTo>
                    <a:lnTo>
                      <a:pt x="38583" y="9353"/>
                    </a:lnTo>
                    <a:lnTo>
                      <a:pt x="38500" y="9458"/>
                    </a:lnTo>
                    <a:lnTo>
                      <a:pt x="38479" y="9542"/>
                    </a:lnTo>
                    <a:lnTo>
                      <a:pt x="38416" y="9604"/>
                    </a:lnTo>
                    <a:lnTo>
                      <a:pt x="38374" y="9583"/>
                    </a:lnTo>
                    <a:lnTo>
                      <a:pt x="38395" y="9458"/>
                    </a:lnTo>
                    <a:lnTo>
                      <a:pt x="38500" y="9291"/>
                    </a:lnTo>
                    <a:lnTo>
                      <a:pt x="38583" y="9270"/>
                    </a:lnTo>
                    <a:lnTo>
                      <a:pt x="38583" y="9228"/>
                    </a:lnTo>
                    <a:lnTo>
                      <a:pt x="38541" y="9186"/>
                    </a:lnTo>
                    <a:lnTo>
                      <a:pt x="38500" y="9123"/>
                    </a:lnTo>
                    <a:lnTo>
                      <a:pt x="38186" y="9332"/>
                    </a:lnTo>
                    <a:lnTo>
                      <a:pt x="38060" y="9500"/>
                    </a:lnTo>
                    <a:lnTo>
                      <a:pt x="37997" y="9583"/>
                    </a:lnTo>
                    <a:lnTo>
                      <a:pt x="37893" y="9604"/>
                    </a:lnTo>
                    <a:lnTo>
                      <a:pt x="37893" y="9583"/>
                    </a:lnTo>
                    <a:lnTo>
                      <a:pt x="37956" y="9542"/>
                    </a:lnTo>
                    <a:lnTo>
                      <a:pt x="38039" y="9374"/>
                    </a:lnTo>
                    <a:lnTo>
                      <a:pt x="38060" y="9291"/>
                    </a:lnTo>
                    <a:lnTo>
                      <a:pt x="38186" y="9165"/>
                    </a:lnTo>
                    <a:lnTo>
                      <a:pt x="38248" y="9081"/>
                    </a:lnTo>
                    <a:lnTo>
                      <a:pt x="38207" y="9019"/>
                    </a:lnTo>
                    <a:lnTo>
                      <a:pt x="38207" y="8935"/>
                    </a:lnTo>
                    <a:lnTo>
                      <a:pt x="38081" y="9019"/>
                    </a:lnTo>
                    <a:lnTo>
                      <a:pt x="37935" y="9144"/>
                    </a:lnTo>
                    <a:lnTo>
                      <a:pt x="37893" y="9249"/>
                    </a:lnTo>
                    <a:lnTo>
                      <a:pt x="37809" y="9353"/>
                    </a:lnTo>
                    <a:lnTo>
                      <a:pt x="37788" y="9332"/>
                    </a:lnTo>
                    <a:lnTo>
                      <a:pt x="37809" y="9228"/>
                    </a:lnTo>
                    <a:lnTo>
                      <a:pt x="37872" y="9123"/>
                    </a:lnTo>
                    <a:lnTo>
                      <a:pt x="37809" y="9081"/>
                    </a:lnTo>
                    <a:lnTo>
                      <a:pt x="37809" y="9039"/>
                    </a:lnTo>
                    <a:lnTo>
                      <a:pt x="37893" y="9019"/>
                    </a:lnTo>
                    <a:lnTo>
                      <a:pt x="38081" y="8872"/>
                    </a:lnTo>
                    <a:lnTo>
                      <a:pt x="38269" y="8726"/>
                    </a:lnTo>
                    <a:lnTo>
                      <a:pt x="38269" y="8642"/>
                    </a:lnTo>
                    <a:lnTo>
                      <a:pt x="38186" y="8642"/>
                    </a:lnTo>
                    <a:lnTo>
                      <a:pt x="38060" y="8726"/>
                    </a:lnTo>
                    <a:lnTo>
                      <a:pt x="38018" y="8809"/>
                    </a:lnTo>
                    <a:lnTo>
                      <a:pt x="37914" y="8851"/>
                    </a:lnTo>
                    <a:lnTo>
                      <a:pt x="37914" y="8809"/>
                    </a:lnTo>
                    <a:lnTo>
                      <a:pt x="37893" y="8747"/>
                    </a:lnTo>
                    <a:lnTo>
                      <a:pt x="37704" y="8872"/>
                    </a:lnTo>
                    <a:lnTo>
                      <a:pt x="37642" y="8977"/>
                    </a:lnTo>
                    <a:lnTo>
                      <a:pt x="37558" y="9165"/>
                    </a:lnTo>
                    <a:lnTo>
                      <a:pt x="37432" y="9249"/>
                    </a:lnTo>
                    <a:lnTo>
                      <a:pt x="37349" y="9249"/>
                    </a:lnTo>
                    <a:lnTo>
                      <a:pt x="37432" y="9165"/>
                    </a:lnTo>
                    <a:lnTo>
                      <a:pt x="37558" y="9060"/>
                    </a:lnTo>
                    <a:lnTo>
                      <a:pt x="37600" y="8956"/>
                    </a:lnTo>
                    <a:lnTo>
                      <a:pt x="37579" y="8935"/>
                    </a:lnTo>
                    <a:lnTo>
                      <a:pt x="37495" y="8935"/>
                    </a:lnTo>
                    <a:lnTo>
                      <a:pt x="37600" y="8851"/>
                    </a:lnTo>
                    <a:lnTo>
                      <a:pt x="37746" y="8830"/>
                    </a:lnTo>
                    <a:lnTo>
                      <a:pt x="37788" y="8767"/>
                    </a:lnTo>
                    <a:lnTo>
                      <a:pt x="37767" y="8726"/>
                    </a:lnTo>
                    <a:lnTo>
                      <a:pt x="37683" y="8747"/>
                    </a:lnTo>
                    <a:lnTo>
                      <a:pt x="37558" y="8767"/>
                    </a:lnTo>
                    <a:lnTo>
                      <a:pt x="37474" y="8851"/>
                    </a:lnTo>
                    <a:lnTo>
                      <a:pt x="37391" y="8830"/>
                    </a:lnTo>
                    <a:lnTo>
                      <a:pt x="37600" y="8726"/>
                    </a:lnTo>
                    <a:lnTo>
                      <a:pt x="37579" y="8663"/>
                    </a:lnTo>
                    <a:lnTo>
                      <a:pt x="37474" y="8663"/>
                    </a:lnTo>
                    <a:lnTo>
                      <a:pt x="37537" y="8600"/>
                    </a:lnTo>
                    <a:lnTo>
                      <a:pt x="37642" y="8600"/>
                    </a:lnTo>
                    <a:lnTo>
                      <a:pt x="37683" y="8642"/>
                    </a:lnTo>
                    <a:lnTo>
                      <a:pt x="37809" y="8642"/>
                    </a:lnTo>
                    <a:lnTo>
                      <a:pt x="37872" y="8537"/>
                    </a:lnTo>
                    <a:lnTo>
                      <a:pt x="37997" y="8495"/>
                    </a:lnTo>
                    <a:lnTo>
                      <a:pt x="37997" y="8412"/>
                    </a:lnTo>
                    <a:lnTo>
                      <a:pt x="38060" y="8328"/>
                    </a:lnTo>
                    <a:lnTo>
                      <a:pt x="38060" y="8286"/>
                    </a:lnTo>
                    <a:lnTo>
                      <a:pt x="37976" y="8286"/>
                    </a:lnTo>
                    <a:lnTo>
                      <a:pt x="37914" y="8223"/>
                    </a:lnTo>
                    <a:lnTo>
                      <a:pt x="37809" y="8203"/>
                    </a:lnTo>
                    <a:lnTo>
                      <a:pt x="37683" y="8307"/>
                    </a:lnTo>
                    <a:lnTo>
                      <a:pt x="37537" y="8349"/>
                    </a:lnTo>
                    <a:lnTo>
                      <a:pt x="37453" y="8495"/>
                    </a:lnTo>
                    <a:lnTo>
                      <a:pt x="37244" y="8705"/>
                    </a:lnTo>
                    <a:lnTo>
                      <a:pt x="37181" y="8705"/>
                    </a:lnTo>
                    <a:lnTo>
                      <a:pt x="37223" y="8621"/>
                    </a:lnTo>
                    <a:lnTo>
                      <a:pt x="37265" y="8621"/>
                    </a:lnTo>
                    <a:lnTo>
                      <a:pt x="37370" y="8537"/>
                    </a:lnTo>
                    <a:lnTo>
                      <a:pt x="37495" y="8349"/>
                    </a:lnTo>
                    <a:lnTo>
                      <a:pt x="37642" y="8286"/>
                    </a:lnTo>
                    <a:lnTo>
                      <a:pt x="37704" y="8203"/>
                    </a:lnTo>
                    <a:lnTo>
                      <a:pt x="37683" y="8140"/>
                    </a:lnTo>
                    <a:lnTo>
                      <a:pt x="37495" y="8140"/>
                    </a:lnTo>
                    <a:lnTo>
                      <a:pt x="37328" y="8286"/>
                    </a:lnTo>
                    <a:lnTo>
                      <a:pt x="37495" y="8119"/>
                    </a:lnTo>
                    <a:lnTo>
                      <a:pt x="37663" y="8077"/>
                    </a:lnTo>
                    <a:lnTo>
                      <a:pt x="37767" y="8098"/>
                    </a:lnTo>
                    <a:lnTo>
                      <a:pt x="37851" y="8119"/>
                    </a:lnTo>
                    <a:lnTo>
                      <a:pt x="37956" y="8014"/>
                    </a:lnTo>
                    <a:lnTo>
                      <a:pt x="37956" y="7931"/>
                    </a:lnTo>
                    <a:lnTo>
                      <a:pt x="37914" y="7889"/>
                    </a:lnTo>
                    <a:lnTo>
                      <a:pt x="37914" y="7805"/>
                    </a:lnTo>
                    <a:lnTo>
                      <a:pt x="37914" y="7721"/>
                    </a:lnTo>
                    <a:lnTo>
                      <a:pt x="37788" y="7679"/>
                    </a:lnTo>
                    <a:lnTo>
                      <a:pt x="37746" y="7596"/>
                    </a:lnTo>
                    <a:lnTo>
                      <a:pt x="37642" y="7575"/>
                    </a:lnTo>
                    <a:lnTo>
                      <a:pt x="37600" y="7617"/>
                    </a:lnTo>
                    <a:lnTo>
                      <a:pt x="37558" y="7617"/>
                    </a:lnTo>
                    <a:lnTo>
                      <a:pt x="37558" y="7533"/>
                    </a:lnTo>
                    <a:lnTo>
                      <a:pt x="37474" y="7512"/>
                    </a:lnTo>
                    <a:lnTo>
                      <a:pt x="37391" y="7428"/>
                    </a:lnTo>
                    <a:lnTo>
                      <a:pt x="37391" y="7366"/>
                    </a:lnTo>
                    <a:lnTo>
                      <a:pt x="37244" y="7282"/>
                    </a:lnTo>
                    <a:lnTo>
                      <a:pt x="37181" y="7282"/>
                    </a:lnTo>
                    <a:lnTo>
                      <a:pt x="37139" y="7219"/>
                    </a:lnTo>
                    <a:lnTo>
                      <a:pt x="37014" y="7219"/>
                    </a:lnTo>
                    <a:lnTo>
                      <a:pt x="36826" y="7261"/>
                    </a:lnTo>
                    <a:lnTo>
                      <a:pt x="36721" y="7366"/>
                    </a:lnTo>
                    <a:lnTo>
                      <a:pt x="36595" y="7366"/>
                    </a:lnTo>
                    <a:lnTo>
                      <a:pt x="36491" y="7533"/>
                    </a:lnTo>
                    <a:lnTo>
                      <a:pt x="36512" y="7596"/>
                    </a:lnTo>
                    <a:lnTo>
                      <a:pt x="36595" y="7617"/>
                    </a:lnTo>
                    <a:lnTo>
                      <a:pt x="36805" y="7805"/>
                    </a:lnTo>
                    <a:lnTo>
                      <a:pt x="36826" y="7847"/>
                    </a:lnTo>
                    <a:lnTo>
                      <a:pt x="36909" y="7889"/>
                    </a:lnTo>
                    <a:lnTo>
                      <a:pt x="36951" y="7993"/>
                    </a:lnTo>
                    <a:lnTo>
                      <a:pt x="36909" y="7993"/>
                    </a:lnTo>
                    <a:lnTo>
                      <a:pt x="36826" y="7931"/>
                    </a:lnTo>
                    <a:lnTo>
                      <a:pt x="36700" y="7931"/>
                    </a:lnTo>
                    <a:lnTo>
                      <a:pt x="36700" y="7847"/>
                    </a:lnTo>
                    <a:lnTo>
                      <a:pt x="36512" y="7679"/>
                    </a:lnTo>
                    <a:lnTo>
                      <a:pt x="36428" y="7700"/>
                    </a:lnTo>
                    <a:lnTo>
                      <a:pt x="36386" y="7721"/>
                    </a:lnTo>
                    <a:lnTo>
                      <a:pt x="36386" y="7721"/>
                    </a:lnTo>
                    <a:lnTo>
                      <a:pt x="36407" y="7638"/>
                    </a:lnTo>
                    <a:lnTo>
                      <a:pt x="36428" y="7533"/>
                    </a:lnTo>
                    <a:lnTo>
                      <a:pt x="36303" y="7491"/>
                    </a:lnTo>
                    <a:lnTo>
                      <a:pt x="36240" y="7512"/>
                    </a:lnTo>
                    <a:lnTo>
                      <a:pt x="36240" y="7721"/>
                    </a:lnTo>
                    <a:lnTo>
                      <a:pt x="36303" y="7826"/>
                    </a:lnTo>
                    <a:lnTo>
                      <a:pt x="36323" y="7951"/>
                    </a:lnTo>
                    <a:lnTo>
                      <a:pt x="36303" y="8035"/>
                    </a:lnTo>
                    <a:lnTo>
                      <a:pt x="36303" y="7931"/>
                    </a:lnTo>
                    <a:lnTo>
                      <a:pt x="36219" y="7784"/>
                    </a:lnTo>
                    <a:lnTo>
                      <a:pt x="36135" y="7889"/>
                    </a:lnTo>
                    <a:lnTo>
                      <a:pt x="36093" y="7993"/>
                    </a:lnTo>
                    <a:lnTo>
                      <a:pt x="36135" y="8056"/>
                    </a:lnTo>
                    <a:lnTo>
                      <a:pt x="36072" y="8119"/>
                    </a:lnTo>
                    <a:lnTo>
                      <a:pt x="35968" y="8056"/>
                    </a:lnTo>
                    <a:lnTo>
                      <a:pt x="35863" y="8035"/>
                    </a:lnTo>
                    <a:lnTo>
                      <a:pt x="35905" y="7951"/>
                    </a:lnTo>
                    <a:lnTo>
                      <a:pt x="36010" y="7889"/>
                    </a:lnTo>
                    <a:lnTo>
                      <a:pt x="36135" y="7700"/>
                    </a:lnTo>
                    <a:lnTo>
                      <a:pt x="36177" y="7596"/>
                    </a:lnTo>
                    <a:lnTo>
                      <a:pt x="36093" y="7512"/>
                    </a:lnTo>
                    <a:lnTo>
                      <a:pt x="36072" y="7407"/>
                    </a:lnTo>
                    <a:lnTo>
                      <a:pt x="35926" y="7533"/>
                    </a:lnTo>
                    <a:lnTo>
                      <a:pt x="35884" y="7596"/>
                    </a:lnTo>
                    <a:lnTo>
                      <a:pt x="35863" y="7533"/>
                    </a:lnTo>
                    <a:lnTo>
                      <a:pt x="35884" y="7407"/>
                    </a:lnTo>
                    <a:lnTo>
                      <a:pt x="35779" y="7387"/>
                    </a:lnTo>
                    <a:lnTo>
                      <a:pt x="35717" y="7407"/>
                    </a:lnTo>
                    <a:lnTo>
                      <a:pt x="35696" y="7491"/>
                    </a:lnTo>
                    <a:lnTo>
                      <a:pt x="35717" y="7617"/>
                    </a:lnTo>
                    <a:lnTo>
                      <a:pt x="35717" y="7742"/>
                    </a:lnTo>
                    <a:lnTo>
                      <a:pt x="35675" y="7700"/>
                    </a:lnTo>
                    <a:lnTo>
                      <a:pt x="35675" y="7533"/>
                    </a:lnTo>
                    <a:lnTo>
                      <a:pt x="35654" y="7512"/>
                    </a:lnTo>
                    <a:lnTo>
                      <a:pt x="35591" y="7617"/>
                    </a:lnTo>
                    <a:lnTo>
                      <a:pt x="35487" y="7638"/>
                    </a:lnTo>
                    <a:lnTo>
                      <a:pt x="35487" y="7721"/>
                    </a:lnTo>
                    <a:lnTo>
                      <a:pt x="35403" y="7826"/>
                    </a:lnTo>
                    <a:lnTo>
                      <a:pt x="35340" y="7847"/>
                    </a:lnTo>
                    <a:lnTo>
                      <a:pt x="35277" y="7931"/>
                    </a:lnTo>
                    <a:lnTo>
                      <a:pt x="35173" y="7931"/>
                    </a:lnTo>
                    <a:lnTo>
                      <a:pt x="35256" y="7847"/>
                    </a:lnTo>
                    <a:lnTo>
                      <a:pt x="35256" y="7784"/>
                    </a:lnTo>
                    <a:lnTo>
                      <a:pt x="35194" y="7721"/>
                    </a:lnTo>
                    <a:lnTo>
                      <a:pt x="35152" y="7721"/>
                    </a:lnTo>
                    <a:lnTo>
                      <a:pt x="35152" y="7679"/>
                    </a:lnTo>
                    <a:lnTo>
                      <a:pt x="35235" y="7679"/>
                    </a:lnTo>
                    <a:lnTo>
                      <a:pt x="35277" y="7700"/>
                    </a:lnTo>
                    <a:lnTo>
                      <a:pt x="35298" y="7638"/>
                    </a:lnTo>
                    <a:lnTo>
                      <a:pt x="35298" y="7596"/>
                    </a:lnTo>
                    <a:lnTo>
                      <a:pt x="35298" y="7554"/>
                    </a:lnTo>
                    <a:lnTo>
                      <a:pt x="35403" y="7491"/>
                    </a:lnTo>
                    <a:lnTo>
                      <a:pt x="35570" y="7345"/>
                    </a:lnTo>
                    <a:lnTo>
                      <a:pt x="35591" y="7261"/>
                    </a:lnTo>
                    <a:lnTo>
                      <a:pt x="35675" y="7177"/>
                    </a:lnTo>
                    <a:lnTo>
                      <a:pt x="35570" y="7177"/>
                    </a:lnTo>
                    <a:lnTo>
                      <a:pt x="35403" y="7282"/>
                    </a:lnTo>
                    <a:lnTo>
                      <a:pt x="35277" y="7407"/>
                    </a:lnTo>
                    <a:lnTo>
                      <a:pt x="35194" y="7407"/>
                    </a:lnTo>
                    <a:lnTo>
                      <a:pt x="35277" y="7324"/>
                    </a:lnTo>
                    <a:lnTo>
                      <a:pt x="35361" y="7219"/>
                    </a:lnTo>
                    <a:lnTo>
                      <a:pt x="35445" y="7156"/>
                    </a:lnTo>
                    <a:lnTo>
                      <a:pt x="35549" y="7114"/>
                    </a:lnTo>
                    <a:lnTo>
                      <a:pt x="35612" y="7052"/>
                    </a:lnTo>
                    <a:lnTo>
                      <a:pt x="35696" y="7052"/>
                    </a:lnTo>
                    <a:lnTo>
                      <a:pt x="35779" y="6905"/>
                    </a:lnTo>
                    <a:lnTo>
                      <a:pt x="35779" y="6863"/>
                    </a:lnTo>
                    <a:lnTo>
                      <a:pt x="35696" y="6780"/>
                    </a:lnTo>
                    <a:lnTo>
                      <a:pt x="35696" y="6675"/>
                    </a:lnTo>
                    <a:lnTo>
                      <a:pt x="35717" y="6591"/>
                    </a:lnTo>
                    <a:lnTo>
                      <a:pt x="35884" y="6424"/>
                    </a:lnTo>
                    <a:lnTo>
                      <a:pt x="35905" y="6361"/>
                    </a:lnTo>
                    <a:lnTo>
                      <a:pt x="35863" y="6257"/>
                    </a:lnTo>
                    <a:lnTo>
                      <a:pt x="35842" y="6194"/>
                    </a:lnTo>
                    <a:lnTo>
                      <a:pt x="35800" y="6131"/>
                    </a:lnTo>
                    <a:lnTo>
                      <a:pt x="35884" y="6006"/>
                    </a:lnTo>
                    <a:lnTo>
                      <a:pt x="35968" y="5922"/>
                    </a:lnTo>
                    <a:lnTo>
                      <a:pt x="35989" y="5838"/>
                    </a:lnTo>
                    <a:lnTo>
                      <a:pt x="36010" y="5587"/>
                    </a:lnTo>
                    <a:lnTo>
                      <a:pt x="36051" y="5524"/>
                    </a:lnTo>
                    <a:lnTo>
                      <a:pt x="36010" y="5462"/>
                    </a:lnTo>
                    <a:lnTo>
                      <a:pt x="35842" y="5399"/>
                    </a:lnTo>
                    <a:lnTo>
                      <a:pt x="35654" y="5399"/>
                    </a:lnTo>
                    <a:lnTo>
                      <a:pt x="35487" y="5357"/>
                    </a:lnTo>
                    <a:lnTo>
                      <a:pt x="35361" y="5420"/>
                    </a:lnTo>
                    <a:lnTo>
                      <a:pt x="35235" y="5420"/>
                    </a:lnTo>
                    <a:lnTo>
                      <a:pt x="35068" y="5503"/>
                    </a:lnTo>
                    <a:lnTo>
                      <a:pt x="34796" y="5587"/>
                    </a:lnTo>
                    <a:lnTo>
                      <a:pt x="34754" y="5671"/>
                    </a:lnTo>
                    <a:lnTo>
                      <a:pt x="34859" y="5796"/>
                    </a:lnTo>
                    <a:lnTo>
                      <a:pt x="34859" y="5880"/>
                    </a:lnTo>
                    <a:lnTo>
                      <a:pt x="34817" y="5922"/>
                    </a:lnTo>
                    <a:lnTo>
                      <a:pt x="34754" y="5775"/>
                    </a:lnTo>
                    <a:lnTo>
                      <a:pt x="34712" y="5713"/>
                    </a:lnTo>
                    <a:lnTo>
                      <a:pt x="34650" y="5587"/>
                    </a:lnTo>
                    <a:lnTo>
                      <a:pt x="34524" y="5587"/>
                    </a:lnTo>
                    <a:lnTo>
                      <a:pt x="34440" y="5671"/>
                    </a:lnTo>
                    <a:lnTo>
                      <a:pt x="34440" y="5734"/>
                    </a:lnTo>
                    <a:lnTo>
                      <a:pt x="34398" y="5796"/>
                    </a:lnTo>
                    <a:lnTo>
                      <a:pt x="34378" y="5713"/>
                    </a:lnTo>
                    <a:lnTo>
                      <a:pt x="34398" y="5608"/>
                    </a:lnTo>
                    <a:lnTo>
                      <a:pt x="34336" y="5587"/>
                    </a:lnTo>
                    <a:lnTo>
                      <a:pt x="34189" y="5608"/>
                    </a:lnTo>
                    <a:lnTo>
                      <a:pt x="34126" y="5713"/>
                    </a:lnTo>
                    <a:lnTo>
                      <a:pt x="34126" y="5796"/>
                    </a:lnTo>
                    <a:lnTo>
                      <a:pt x="34273" y="5901"/>
                    </a:lnTo>
                    <a:lnTo>
                      <a:pt x="34378" y="6047"/>
                    </a:lnTo>
                    <a:lnTo>
                      <a:pt x="34503" y="6131"/>
                    </a:lnTo>
                    <a:lnTo>
                      <a:pt x="34440" y="6131"/>
                    </a:lnTo>
                    <a:lnTo>
                      <a:pt x="34294" y="6047"/>
                    </a:lnTo>
                    <a:lnTo>
                      <a:pt x="34106" y="5880"/>
                    </a:lnTo>
                    <a:lnTo>
                      <a:pt x="34064" y="5880"/>
                    </a:lnTo>
                    <a:lnTo>
                      <a:pt x="34022" y="5922"/>
                    </a:lnTo>
                    <a:lnTo>
                      <a:pt x="33854" y="5922"/>
                    </a:lnTo>
                    <a:lnTo>
                      <a:pt x="33813" y="5943"/>
                    </a:lnTo>
                    <a:lnTo>
                      <a:pt x="33875" y="6006"/>
                    </a:lnTo>
                    <a:lnTo>
                      <a:pt x="34001" y="6006"/>
                    </a:lnTo>
                    <a:lnTo>
                      <a:pt x="34022" y="6047"/>
                    </a:lnTo>
                    <a:lnTo>
                      <a:pt x="34064" y="6152"/>
                    </a:lnTo>
                    <a:lnTo>
                      <a:pt x="34210" y="6257"/>
                    </a:lnTo>
                    <a:lnTo>
                      <a:pt x="34231" y="6340"/>
                    </a:lnTo>
                    <a:lnTo>
                      <a:pt x="34315" y="6424"/>
                    </a:lnTo>
                    <a:lnTo>
                      <a:pt x="34210" y="6424"/>
                    </a:lnTo>
                    <a:lnTo>
                      <a:pt x="34126" y="6319"/>
                    </a:lnTo>
                    <a:lnTo>
                      <a:pt x="33980" y="6236"/>
                    </a:lnTo>
                    <a:lnTo>
                      <a:pt x="33980" y="6152"/>
                    </a:lnTo>
                    <a:lnTo>
                      <a:pt x="33875" y="6047"/>
                    </a:lnTo>
                    <a:lnTo>
                      <a:pt x="33750" y="6047"/>
                    </a:lnTo>
                    <a:lnTo>
                      <a:pt x="33666" y="6131"/>
                    </a:lnTo>
                    <a:lnTo>
                      <a:pt x="33666" y="6215"/>
                    </a:lnTo>
                    <a:lnTo>
                      <a:pt x="33582" y="6361"/>
                    </a:lnTo>
                    <a:lnTo>
                      <a:pt x="33541" y="6529"/>
                    </a:lnTo>
                    <a:lnTo>
                      <a:pt x="33603" y="6633"/>
                    </a:lnTo>
                    <a:lnTo>
                      <a:pt x="33478" y="6675"/>
                    </a:lnTo>
                    <a:lnTo>
                      <a:pt x="33478" y="6759"/>
                    </a:lnTo>
                    <a:lnTo>
                      <a:pt x="33541" y="6822"/>
                    </a:lnTo>
                    <a:lnTo>
                      <a:pt x="33562" y="6926"/>
                    </a:lnTo>
                    <a:lnTo>
                      <a:pt x="33645" y="6926"/>
                    </a:lnTo>
                    <a:lnTo>
                      <a:pt x="33813" y="6780"/>
                    </a:lnTo>
                    <a:lnTo>
                      <a:pt x="33896" y="6780"/>
                    </a:lnTo>
                    <a:lnTo>
                      <a:pt x="33917" y="6842"/>
                    </a:lnTo>
                    <a:lnTo>
                      <a:pt x="33813" y="6863"/>
                    </a:lnTo>
                    <a:lnTo>
                      <a:pt x="33771" y="6884"/>
                    </a:lnTo>
                    <a:lnTo>
                      <a:pt x="33771" y="6947"/>
                    </a:lnTo>
                    <a:lnTo>
                      <a:pt x="33687" y="6947"/>
                    </a:lnTo>
                    <a:lnTo>
                      <a:pt x="33603" y="7052"/>
                    </a:lnTo>
                    <a:lnTo>
                      <a:pt x="33603" y="7156"/>
                    </a:lnTo>
                    <a:lnTo>
                      <a:pt x="33541" y="7240"/>
                    </a:lnTo>
                    <a:lnTo>
                      <a:pt x="33478" y="7177"/>
                    </a:lnTo>
                    <a:lnTo>
                      <a:pt x="33499" y="7094"/>
                    </a:lnTo>
                    <a:lnTo>
                      <a:pt x="33436" y="6947"/>
                    </a:lnTo>
                    <a:lnTo>
                      <a:pt x="33352" y="6926"/>
                    </a:lnTo>
                    <a:lnTo>
                      <a:pt x="33290" y="7031"/>
                    </a:lnTo>
                    <a:lnTo>
                      <a:pt x="33331" y="7094"/>
                    </a:lnTo>
                    <a:lnTo>
                      <a:pt x="33269" y="7177"/>
                    </a:lnTo>
                    <a:lnTo>
                      <a:pt x="33164" y="7198"/>
                    </a:lnTo>
                    <a:lnTo>
                      <a:pt x="33122" y="7261"/>
                    </a:lnTo>
                    <a:lnTo>
                      <a:pt x="33080" y="7177"/>
                    </a:lnTo>
                    <a:lnTo>
                      <a:pt x="33038" y="7198"/>
                    </a:lnTo>
                    <a:lnTo>
                      <a:pt x="33059" y="7303"/>
                    </a:lnTo>
                    <a:lnTo>
                      <a:pt x="33122" y="7407"/>
                    </a:lnTo>
                    <a:lnTo>
                      <a:pt x="33122" y="7554"/>
                    </a:lnTo>
                    <a:lnTo>
                      <a:pt x="33143" y="7575"/>
                    </a:lnTo>
                    <a:lnTo>
                      <a:pt x="33143" y="7700"/>
                    </a:lnTo>
                    <a:lnTo>
                      <a:pt x="33227" y="7721"/>
                    </a:lnTo>
                    <a:lnTo>
                      <a:pt x="33290" y="7784"/>
                    </a:lnTo>
                    <a:lnTo>
                      <a:pt x="33269" y="7868"/>
                    </a:lnTo>
                    <a:lnTo>
                      <a:pt x="33290" y="7931"/>
                    </a:lnTo>
                    <a:lnTo>
                      <a:pt x="33290" y="8035"/>
                    </a:lnTo>
                    <a:lnTo>
                      <a:pt x="33185" y="8119"/>
                    </a:lnTo>
                    <a:lnTo>
                      <a:pt x="33143" y="8203"/>
                    </a:lnTo>
                    <a:lnTo>
                      <a:pt x="33122" y="8412"/>
                    </a:lnTo>
                    <a:lnTo>
                      <a:pt x="33059" y="8454"/>
                    </a:lnTo>
                    <a:lnTo>
                      <a:pt x="32934" y="8663"/>
                    </a:lnTo>
                    <a:lnTo>
                      <a:pt x="32934" y="8747"/>
                    </a:lnTo>
                    <a:lnTo>
                      <a:pt x="32808" y="8872"/>
                    </a:lnTo>
                    <a:lnTo>
                      <a:pt x="32829" y="8830"/>
                    </a:lnTo>
                    <a:lnTo>
                      <a:pt x="32829" y="8726"/>
                    </a:lnTo>
                    <a:lnTo>
                      <a:pt x="32871" y="8558"/>
                    </a:lnTo>
                    <a:lnTo>
                      <a:pt x="32955" y="8495"/>
                    </a:lnTo>
                    <a:lnTo>
                      <a:pt x="32934" y="8433"/>
                    </a:lnTo>
                    <a:lnTo>
                      <a:pt x="32913" y="8454"/>
                    </a:lnTo>
                    <a:lnTo>
                      <a:pt x="32829" y="8454"/>
                    </a:lnTo>
                    <a:lnTo>
                      <a:pt x="32746" y="8391"/>
                    </a:lnTo>
                    <a:lnTo>
                      <a:pt x="32704" y="8349"/>
                    </a:lnTo>
                    <a:lnTo>
                      <a:pt x="32746" y="8328"/>
                    </a:lnTo>
                    <a:lnTo>
                      <a:pt x="32829" y="8307"/>
                    </a:lnTo>
                    <a:lnTo>
                      <a:pt x="32913" y="8307"/>
                    </a:lnTo>
                    <a:lnTo>
                      <a:pt x="32913" y="8244"/>
                    </a:lnTo>
                    <a:lnTo>
                      <a:pt x="32955" y="8244"/>
                    </a:lnTo>
                    <a:lnTo>
                      <a:pt x="32976" y="8349"/>
                    </a:lnTo>
                    <a:lnTo>
                      <a:pt x="33038" y="8244"/>
                    </a:lnTo>
                    <a:lnTo>
                      <a:pt x="33038" y="8140"/>
                    </a:lnTo>
                    <a:lnTo>
                      <a:pt x="32934" y="8098"/>
                    </a:lnTo>
                    <a:lnTo>
                      <a:pt x="32913" y="8035"/>
                    </a:lnTo>
                    <a:lnTo>
                      <a:pt x="32808" y="7910"/>
                    </a:lnTo>
                    <a:lnTo>
                      <a:pt x="32808" y="7763"/>
                    </a:lnTo>
                    <a:lnTo>
                      <a:pt x="32746" y="7679"/>
                    </a:lnTo>
                    <a:lnTo>
                      <a:pt x="32725" y="7512"/>
                    </a:lnTo>
                    <a:lnTo>
                      <a:pt x="32704" y="7491"/>
                    </a:lnTo>
                    <a:lnTo>
                      <a:pt x="32704" y="7407"/>
                    </a:lnTo>
                    <a:lnTo>
                      <a:pt x="32746" y="7366"/>
                    </a:lnTo>
                    <a:lnTo>
                      <a:pt x="32829" y="7198"/>
                    </a:lnTo>
                    <a:lnTo>
                      <a:pt x="32829" y="7094"/>
                    </a:lnTo>
                    <a:lnTo>
                      <a:pt x="32934" y="6989"/>
                    </a:lnTo>
                    <a:lnTo>
                      <a:pt x="33018" y="6884"/>
                    </a:lnTo>
                    <a:lnTo>
                      <a:pt x="33122" y="6842"/>
                    </a:lnTo>
                    <a:lnTo>
                      <a:pt x="33122" y="6738"/>
                    </a:lnTo>
                    <a:lnTo>
                      <a:pt x="33059" y="6654"/>
                    </a:lnTo>
                    <a:lnTo>
                      <a:pt x="33018" y="6550"/>
                    </a:lnTo>
                    <a:lnTo>
                      <a:pt x="33038" y="6424"/>
                    </a:lnTo>
                    <a:lnTo>
                      <a:pt x="33143" y="6215"/>
                    </a:lnTo>
                    <a:lnTo>
                      <a:pt x="33227" y="6173"/>
                    </a:lnTo>
                    <a:lnTo>
                      <a:pt x="33394" y="6068"/>
                    </a:lnTo>
                    <a:lnTo>
                      <a:pt x="33603" y="5817"/>
                    </a:lnTo>
                    <a:lnTo>
                      <a:pt x="33813" y="5608"/>
                    </a:lnTo>
                    <a:lnTo>
                      <a:pt x="33959" y="5587"/>
                    </a:lnTo>
                    <a:lnTo>
                      <a:pt x="34064" y="5441"/>
                    </a:lnTo>
                    <a:lnTo>
                      <a:pt x="34106" y="5378"/>
                    </a:lnTo>
                    <a:lnTo>
                      <a:pt x="34210" y="5378"/>
                    </a:lnTo>
                    <a:lnTo>
                      <a:pt x="34398" y="5294"/>
                    </a:lnTo>
                    <a:lnTo>
                      <a:pt x="34545" y="5231"/>
                    </a:lnTo>
                    <a:lnTo>
                      <a:pt x="34587" y="5169"/>
                    </a:lnTo>
                    <a:lnTo>
                      <a:pt x="34545" y="5085"/>
                    </a:lnTo>
                    <a:lnTo>
                      <a:pt x="34315" y="4980"/>
                    </a:lnTo>
                    <a:lnTo>
                      <a:pt x="34189" y="4897"/>
                    </a:lnTo>
                    <a:lnTo>
                      <a:pt x="34001" y="4897"/>
                    </a:lnTo>
                    <a:lnTo>
                      <a:pt x="33959" y="4876"/>
                    </a:lnTo>
                    <a:lnTo>
                      <a:pt x="33875" y="4897"/>
                    </a:lnTo>
                    <a:lnTo>
                      <a:pt x="33708" y="4876"/>
                    </a:lnTo>
                    <a:lnTo>
                      <a:pt x="33645" y="4897"/>
                    </a:lnTo>
                    <a:lnTo>
                      <a:pt x="33436" y="4897"/>
                    </a:lnTo>
                    <a:lnTo>
                      <a:pt x="33122" y="5001"/>
                    </a:lnTo>
                    <a:lnTo>
                      <a:pt x="32934" y="5190"/>
                    </a:lnTo>
                    <a:lnTo>
                      <a:pt x="32725" y="5273"/>
                    </a:lnTo>
                    <a:lnTo>
                      <a:pt x="32704" y="5378"/>
                    </a:lnTo>
                    <a:lnTo>
                      <a:pt x="32725" y="5482"/>
                    </a:lnTo>
                    <a:lnTo>
                      <a:pt x="32641" y="5441"/>
                    </a:lnTo>
                    <a:lnTo>
                      <a:pt x="32557" y="5441"/>
                    </a:lnTo>
                    <a:lnTo>
                      <a:pt x="32494" y="5545"/>
                    </a:lnTo>
                    <a:lnTo>
                      <a:pt x="32348" y="5545"/>
                    </a:lnTo>
                    <a:lnTo>
                      <a:pt x="32243" y="5692"/>
                    </a:lnTo>
                    <a:lnTo>
                      <a:pt x="32243" y="5796"/>
                    </a:lnTo>
                    <a:lnTo>
                      <a:pt x="32181" y="5796"/>
                    </a:lnTo>
                    <a:lnTo>
                      <a:pt x="32034" y="6006"/>
                    </a:lnTo>
                    <a:lnTo>
                      <a:pt x="32097" y="6068"/>
                    </a:lnTo>
                    <a:lnTo>
                      <a:pt x="32034" y="6152"/>
                    </a:lnTo>
                    <a:lnTo>
                      <a:pt x="31992" y="6068"/>
                    </a:lnTo>
                    <a:lnTo>
                      <a:pt x="31930" y="6068"/>
                    </a:lnTo>
                    <a:lnTo>
                      <a:pt x="31888" y="6257"/>
                    </a:lnTo>
                    <a:lnTo>
                      <a:pt x="31762" y="6257"/>
                    </a:lnTo>
                    <a:lnTo>
                      <a:pt x="31678" y="6361"/>
                    </a:lnTo>
                    <a:lnTo>
                      <a:pt x="31616" y="6424"/>
                    </a:lnTo>
                    <a:lnTo>
                      <a:pt x="31553" y="6570"/>
                    </a:lnTo>
                    <a:lnTo>
                      <a:pt x="31448" y="6759"/>
                    </a:lnTo>
                    <a:lnTo>
                      <a:pt x="31448" y="6863"/>
                    </a:lnTo>
                    <a:lnTo>
                      <a:pt x="31490" y="6842"/>
                    </a:lnTo>
                    <a:lnTo>
                      <a:pt x="31511" y="6842"/>
                    </a:lnTo>
                    <a:lnTo>
                      <a:pt x="31490" y="6905"/>
                    </a:lnTo>
                    <a:lnTo>
                      <a:pt x="31406" y="6905"/>
                    </a:lnTo>
                    <a:lnTo>
                      <a:pt x="31260" y="6989"/>
                    </a:lnTo>
                    <a:lnTo>
                      <a:pt x="31239" y="7094"/>
                    </a:lnTo>
                    <a:lnTo>
                      <a:pt x="31155" y="7114"/>
                    </a:lnTo>
                    <a:lnTo>
                      <a:pt x="31134" y="7198"/>
                    </a:lnTo>
                    <a:lnTo>
                      <a:pt x="31134" y="7407"/>
                    </a:lnTo>
                    <a:lnTo>
                      <a:pt x="31072" y="7512"/>
                    </a:lnTo>
                    <a:lnTo>
                      <a:pt x="30988" y="7512"/>
                    </a:lnTo>
                    <a:lnTo>
                      <a:pt x="30967" y="7659"/>
                    </a:lnTo>
                    <a:lnTo>
                      <a:pt x="30967" y="7721"/>
                    </a:lnTo>
                    <a:lnTo>
                      <a:pt x="30862" y="7784"/>
                    </a:lnTo>
                    <a:lnTo>
                      <a:pt x="30821" y="7972"/>
                    </a:lnTo>
                    <a:lnTo>
                      <a:pt x="30862" y="8077"/>
                    </a:lnTo>
                    <a:lnTo>
                      <a:pt x="31072" y="8182"/>
                    </a:lnTo>
                    <a:lnTo>
                      <a:pt x="31176" y="8182"/>
                    </a:lnTo>
                    <a:lnTo>
                      <a:pt x="31302" y="8244"/>
                    </a:lnTo>
                    <a:lnTo>
                      <a:pt x="31385" y="8244"/>
                    </a:lnTo>
                    <a:lnTo>
                      <a:pt x="31511" y="8328"/>
                    </a:lnTo>
                    <a:lnTo>
                      <a:pt x="31678" y="8328"/>
                    </a:lnTo>
                    <a:lnTo>
                      <a:pt x="31699" y="8495"/>
                    </a:lnTo>
                    <a:lnTo>
                      <a:pt x="31867" y="8558"/>
                    </a:lnTo>
                    <a:lnTo>
                      <a:pt x="31888" y="8642"/>
                    </a:lnTo>
                    <a:lnTo>
                      <a:pt x="31971" y="8705"/>
                    </a:lnTo>
                    <a:lnTo>
                      <a:pt x="31804" y="8705"/>
                    </a:lnTo>
                    <a:lnTo>
                      <a:pt x="31762" y="8726"/>
                    </a:lnTo>
                    <a:lnTo>
                      <a:pt x="31574" y="8726"/>
                    </a:lnTo>
                    <a:lnTo>
                      <a:pt x="31365" y="8642"/>
                    </a:lnTo>
                    <a:lnTo>
                      <a:pt x="31344" y="8537"/>
                    </a:lnTo>
                    <a:lnTo>
                      <a:pt x="31239" y="8454"/>
                    </a:lnTo>
                    <a:lnTo>
                      <a:pt x="31051" y="8454"/>
                    </a:lnTo>
                    <a:lnTo>
                      <a:pt x="30988" y="8412"/>
                    </a:lnTo>
                    <a:lnTo>
                      <a:pt x="30883" y="8391"/>
                    </a:lnTo>
                    <a:lnTo>
                      <a:pt x="30862" y="8433"/>
                    </a:lnTo>
                    <a:lnTo>
                      <a:pt x="30925" y="8558"/>
                    </a:lnTo>
                    <a:lnTo>
                      <a:pt x="30925" y="8642"/>
                    </a:lnTo>
                    <a:lnTo>
                      <a:pt x="30841" y="8642"/>
                    </a:lnTo>
                    <a:lnTo>
                      <a:pt x="30821" y="8726"/>
                    </a:lnTo>
                    <a:lnTo>
                      <a:pt x="30862" y="8914"/>
                    </a:lnTo>
                    <a:lnTo>
                      <a:pt x="30883" y="9039"/>
                    </a:lnTo>
                    <a:lnTo>
                      <a:pt x="30862" y="9165"/>
                    </a:lnTo>
                    <a:lnTo>
                      <a:pt x="30883" y="9270"/>
                    </a:lnTo>
                    <a:lnTo>
                      <a:pt x="31030" y="9353"/>
                    </a:lnTo>
                    <a:lnTo>
                      <a:pt x="31134" y="9458"/>
                    </a:lnTo>
                    <a:lnTo>
                      <a:pt x="31134" y="9500"/>
                    </a:lnTo>
                    <a:lnTo>
                      <a:pt x="31072" y="9458"/>
                    </a:lnTo>
                    <a:lnTo>
                      <a:pt x="31051" y="9458"/>
                    </a:lnTo>
                    <a:lnTo>
                      <a:pt x="31072" y="9563"/>
                    </a:lnTo>
                    <a:lnTo>
                      <a:pt x="31155" y="9667"/>
                    </a:lnTo>
                    <a:lnTo>
                      <a:pt x="31197" y="9667"/>
                    </a:lnTo>
                    <a:lnTo>
                      <a:pt x="31197" y="9583"/>
                    </a:lnTo>
                    <a:lnTo>
                      <a:pt x="31281" y="9563"/>
                    </a:lnTo>
                    <a:lnTo>
                      <a:pt x="31385" y="9583"/>
                    </a:lnTo>
                    <a:lnTo>
                      <a:pt x="31469" y="9667"/>
                    </a:lnTo>
                    <a:lnTo>
                      <a:pt x="31553" y="9688"/>
                    </a:lnTo>
                    <a:lnTo>
                      <a:pt x="31574" y="9646"/>
                    </a:lnTo>
                    <a:lnTo>
                      <a:pt x="31553" y="9583"/>
                    </a:lnTo>
                    <a:lnTo>
                      <a:pt x="31574" y="9500"/>
                    </a:lnTo>
                    <a:lnTo>
                      <a:pt x="31616" y="9479"/>
                    </a:lnTo>
                    <a:lnTo>
                      <a:pt x="31678" y="9542"/>
                    </a:lnTo>
                    <a:lnTo>
                      <a:pt x="31657" y="9646"/>
                    </a:lnTo>
                    <a:lnTo>
                      <a:pt x="31678" y="9709"/>
                    </a:lnTo>
                    <a:lnTo>
                      <a:pt x="31720" y="9709"/>
                    </a:lnTo>
                    <a:lnTo>
                      <a:pt x="31783" y="9583"/>
                    </a:lnTo>
                    <a:lnTo>
                      <a:pt x="31909" y="9563"/>
                    </a:lnTo>
                    <a:lnTo>
                      <a:pt x="31992" y="9479"/>
                    </a:lnTo>
                    <a:lnTo>
                      <a:pt x="32013" y="9500"/>
                    </a:lnTo>
                    <a:lnTo>
                      <a:pt x="31971" y="9583"/>
                    </a:lnTo>
                    <a:lnTo>
                      <a:pt x="31783" y="9688"/>
                    </a:lnTo>
                    <a:lnTo>
                      <a:pt x="31762" y="9793"/>
                    </a:lnTo>
                    <a:lnTo>
                      <a:pt x="31867" y="9876"/>
                    </a:lnTo>
                    <a:lnTo>
                      <a:pt x="31888" y="10023"/>
                    </a:lnTo>
                    <a:lnTo>
                      <a:pt x="32013" y="10169"/>
                    </a:lnTo>
                    <a:lnTo>
                      <a:pt x="32181" y="10169"/>
                    </a:lnTo>
                    <a:lnTo>
                      <a:pt x="32222" y="10107"/>
                    </a:lnTo>
                    <a:lnTo>
                      <a:pt x="32118" y="10023"/>
                    </a:lnTo>
                    <a:lnTo>
                      <a:pt x="32181" y="10002"/>
                    </a:lnTo>
                    <a:lnTo>
                      <a:pt x="32285" y="10023"/>
                    </a:lnTo>
                    <a:lnTo>
                      <a:pt x="32348" y="10107"/>
                    </a:lnTo>
                    <a:lnTo>
                      <a:pt x="32411" y="10086"/>
                    </a:lnTo>
                    <a:lnTo>
                      <a:pt x="32494" y="10002"/>
                    </a:lnTo>
                    <a:lnTo>
                      <a:pt x="32599" y="9897"/>
                    </a:lnTo>
                    <a:lnTo>
                      <a:pt x="32662" y="9897"/>
                    </a:lnTo>
                    <a:lnTo>
                      <a:pt x="32662" y="9960"/>
                    </a:lnTo>
                    <a:lnTo>
                      <a:pt x="32599" y="9981"/>
                    </a:lnTo>
                    <a:lnTo>
                      <a:pt x="32432" y="10127"/>
                    </a:lnTo>
                    <a:lnTo>
                      <a:pt x="32432" y="10211"/>
                    </a:lnTo>
                    <a:lnTo>
                      <a:pt x="32453" y="10232"/>
                    </a:lnTo>
                    <a:cubicBezTo>
                      <a:pt x="32411" y="10295"/>
                      <a:pt x="32390" y="10379"/>
                      <a:pt x="32348" y="10441"/>
                    </a:cubicBezTo>
                    <a:lnTo>
                      <a:pt x="32306" y="10441"/>
                    </a:lnTo>
                    <a:lnTo>
                      <a:pt x="32222" y="10504"/>
                    </a:lnTo>
                    <a:lnTo>
                      <a:pt x="32139" y="10504"/>
                    </a:lnTo>
                    <a:lnTo>
                      <a:pt x="32097" y="10420"/>
                    </a:lnTo>
                    <a:lnTo>
                      <a:pt x="31992" y="10400"/>
                    </a:lnTo>
                    <a:lnTo>
                      <a:pt x="32013" y="10441"/>
                    </a:lnTo>
                    <a:lnTo>
                      <a:pt x="32097" y="10504"/>
                    </a:lnTo>
                    <a:lnTo>
                      <a:pt x="32076" y="10609"/>
                    </a:lnTo>
                    <a:lnTo>
                      <a:pt x="31971" y="10609"/>
                    </a:lnTo>
                    <a:lnTo>
                      <a:pt x="31971" y="10630"/>
                    </a:lnTo>
                    <a:lnTo>
                      <a:pt x="31992" y="10692"/>
                    </a:lnTo>
                    <a:lnTo>
                      <a:pt x="31909" y="10755"/>
                    </a:lnTo>
                    <a:lnTo>
                      <a:pt x="31909" y="10839"/>
                    </a:lnTo>
                    <a:lnTo>
                      <a:pt x="31971" y="10923"/>
                    </a:lnTo>
                    <a:lnTo>
                      <a:pt x="31888" y="10923"/>
                    </a:lnTo>
                    <a:lnTo>
                      <a:pt x="31888" y="11027"/>
                    </a:lnTo>
                    <a:lnTo>
                      <a:pt x="31804" y="11111"/>
                    </a:lnTo>
                    <a:lnTo>
                      <a:pt x="31804" y="11278"/>
                    </a:lnTo>
                    <a:lnTo>
                      <a:pt x="31867" y="11278"/>
                    </a:lnTo>
                    <a:lnTo>
                      <a:pt x="31909" y="11383"/>
                    </a:lnTo>
                    <a:lnTo>
                      <a:pt x="31950" y="11383"/>
                    </a:lnTo>
                    <a:lnTo>
                      <a:pt x="32013" y="11488"/>
                    </a:lnTo>
                    <a:lnTo>
                      <a:pt x="31950" y="11508"/>
                    </a:lnTo>
                    <a:lnTo>
                      <a:pt x="31888" y="11508"/>
                    </a:lnTo>
                    <a:lnTo>
                      <a:pt x="31825" y="11571"/>
                    </a:lnTo>
                    <a:lnTo>
                      <a:pt x="31783" y="11508"/>
                    </a:lnTo>
                    <a:lnTo>
                      <a:pt x="31637" y="11550"/>
                    </a:lnTo>
                    <a:lnTo>
                      <a:pt x="31595" y="11634"/>
                    </a:lnTo>
                    <a:lnTo>
                      <a:pt x="31699" y="11739"/>
                    </a:lnTo>
                    <a:lnTo>
                      <a:pt x="31741" y="11739"/>
                    </a:lnTo>
                    <a:lnTo>
                      <a:pt x="31741" y="11801"/>
                    </a:lnTo>
                    <a:lnTo>
                      <a:pt x="31637" y="11843"/>
                    </a:lnTo>
                    <a:lnTo>
                      <a:pt x="31595" y="11780"/>
                    </a:lnTo>
                    <a:lnTo>
                      <a:pt x="31511" y="11864"/>
                    </a:lnTo>
                    <a:lnTo>
                      <a:pt x="31427" y="11739"/>
                    </a:lnTo>
                    <a:lnTo>
                      <a:pt x="31323" y="11801"/>
                    </a:lnTo>
                    <a:lnTo>
                      <a:pt x="31218" y="12011"/>
                    </a:lnTo>
                    <a:lnTo>
                      <a:pt x="31113" y="12262"/>
                    </a:lnTo>
                    <a:lnTo>
                      <a:pt x="30988" y="12492"/>
                    </a:lnTo>
                    <a:lnTo>
                      <a:pt x="30779" y="12638"/>
                    </a:lnTo>
                    <a:lnTo>
                      <a:pt x="30737" y="12743"/>
                    </a:lnTo>
                    <a:lnTo>
                      <a:pt x="30674" y="12743"/>
                    </a:lnTo>
                    <a:lnTo>
                      <a:pt x="30569" y="12910"/>
                    </a:lnTo>
                    <a:lnTo>
                      <a:pt x="30465" y="12952"/>
                    </a:lnTo>
                    <a:lnTo>
                      <a:pt x="30444" y="13140"/>
                    </a:lnTo>
                    <a:lnTo>
                      <a:pt x="30360" y="13224"/>
                    </a:lnTo>
                    <a:lnTo>
                      <a:pt x="30339" y="13350"/>
                    </a:lnTo>
                    <a:lnTo>
                      <a:pt x="30277" y="13350"/>
                    </a:lnTo>
                    <a:lnTo>
                      <a:pt x="30235" y="13224"/>
                    </a:lnTo>
                    <a:lnTo>
                      <a:pt x="30151" y="13224"/>
                    </a:lnTo>
                    <a:lnTo>
                      <a:pt x="30067" y="13308"/>
                    </a:lnTo>
                    <a:lnTo>
                      <a:pt x="30109" y="13350"/>
                    </a:lnTo>
                    <a:lnTo>
                      <a:pt x="30130" y="13475"/>
                    </a:lnTo>
                    <a:lnTo>
                      <a:pt x="30046" y="13475"/>
                    </a:lnTo>
                    <a:lnTo>
                      <a:pt x="29963" y="13413"/>
                    </a:lnTo>
                    <a:lnTo>
                      <a:pt x="30005" y="13308"/>
                    </a:lnTo>
                    <a:lnTo>
                      <a:pt x="29921" y="13140"/>
                    </a:lnTo>
                    <a:lnTo>
                      <a:pt x="29837" y="12743"/>
                    </a:lnTo>
                    <a:lnTo>
                      <a:pt x="29837" y="12576"/>
                    </a:lnTo>
                    <a:lnTo>
                      <a:pt x="29816" y="12492"/>
                    </a:lnTo>
                    <a:lnTo>
                      <a:pt x="29858" y="12366"/>
                    </a:lnTo>
                    <a:lnTo>
                      <a:pt x="29942" y="12262"/>
                    </a:lnTo>
                    <a:lnTo>
                      <a:pt x="29921" y="12115"/>
                    </a:lnTo>
                    <a:lnTo>
                      <a:pt x="29963" y="12011"/>
                    </a:lnTo>
                    <a:lnTo>
                      <a:pt x="30046" y="11969"/>
                    </a:lnTo>
                    <a:lnTo>
                      <a:pt x="30130" y="12011"/>
                    </a:lnTo>
                    <a:lnTo>
                      <a:pt x="30214" y="11990"/>
                    </a:lnTo>
                    <a:lnTo>
                      <a:pt x="30277" y="11885"/>
                    </a:lnTo>
                    <a:lnTo>
                      <a:pt x="30256" y="11655"/>
                    </a:lnTo>
                    <a:lnTo>
                      <a:pt x="30318" y="11550"/>
                    </a:lnTo>
                    <a:lnTo>
                      <a:pt x="30318" y="11153"/>
                    </a:lnTo>
                    <a:lnTo>
                      <a:pt x="30214" y="11027"/>
                    </a:lnTo>
                    <a:lnTo>
                      <a:pt x="30172" y="10860"/>
                    </a:lnTo>
                    <a:lnTo>
                      <a:pt x="30109" y="10692"/>
                    </a:lnTo>
                    <a:lnTo>
                      <a:pt x="30067" y="10588"/>
                    </a:lnTo>
                    <a:lnTo>
                      <a:pt x="30025" y="10525"/>
                    </a:lnTo>
                    <a:lnTo>
                      <a:pt x="29963" y="10525"/>
                    </a:lnTo>
                    <a:lnTo>
                      <a:pt x="29921" y="10630"/>
                    </a:lnTo>
                    <a:lnTo>
                      <a:pt x="29795" y="10839"/>
                    </a:lnTo>
                    <a:lnTo>
                      <a:pt x="29628" y="10964"/>
                    </a:lnTo>
                    <a:lnTo>
                      <a:pt x="29607" y="11069"/>
                    </a:lnTo>
                    <a:lnTo>
                      <a:pt x="29607" y="11278"/>
                    </a:lnTo>
                    <a:lnTo>
                      <a:pt x="29544" y="11341"/>
                    </a:lnTo>
                    <a:lnTo>
                      <a:pt x="29481" y="11278"/>
                    </a:lnTo>
                    <a:lnTo>
                      <a:pt x="29398" y="11362"/>
                    </a:lnTo>
                    <a:lnTo>
                      <a:pt x="29419" y="11383"/>
                    </a:lnTo>
                    <a:lnTo>
                      <a:pt x="29398" y="11446"/>
                    </a:lnTo>
                    <a:lnTo>
                      <a:pt x="29230" y="11529"/>
                    </a:lnTo>
                    <a:lnTo>
                      <a:pt x="29189" y="11592"/>
                    </a:lnTo>
                    <a:lnTo>
                      <a:pt x="29084" y="11697"/>
                    </a:lnTo>
                    <a:lnTo>
                      <a:pt x="29000" y="11697"/>
                    </a:lnTo>
                    <a:lnTo>
                      <a:pt x="29000" y="11634"/>
                    </a:lnTo>
                    <a:lnTo>
                      <a:pt x="29084" y="11592"/>
                    </a:lnTo>
                    <a:lnTo>
                      <a:pt x="29084" y="11467"/>
                    </a:lnTo>
                    <a:lnTo>
                      <a:pt x="29042" y="11425"/>
                    </a:lnTo>
                    <a:lnTo>
                      <a:pt x="29147" y="11278"/>
                    </a:lnTo>
                    <a:lnTo>
                      <a:pt x="29168" y="11174"/>
                    </a:lnTo>
                    <a:lnTo>
                      <a:pt x="29168" y="11069"/>
                    </a:lnTo>
                    <a:lnTo>
                      <a:pt x="29251" y="11027"/>
                    </a:lnTo>
                    <a:lnTo>
                      <a:pt x="29251" y="10923"/>
                    </a:lnTo>
                    <a:lnTo>
                      <a:pt x="29209" y="10902"/>
                    </a:lnTo>
                    <a:lnTo>
                      <a:pt x="29251" y="10755"/>
                    </a:lnTo>
                    <a:lnTo>
                      <a:pt x="29147" y="10609"/>
                    </a:lnTo>
                    <a:lnTo>
                      <a:pt x="29147" y="10525"/>
                    </a:lnTo>
                    <a:lnTo>
                      <a:pt x="29084" y="10420"/>
                    </a:lnTo>
                    <a:lnTo>
                      <a:pt x="29084" y="10379"/>
                    </a:lnTo>
                    <a:lnTo>
                      <a:pt x="29147" y="10400"/>
                    </a:lnTo>
                    <a:lnTo>
                      <a:pt x="29189" y="10400"/>
                    </a:lnTo>
                    <a:lnTo>
                      <a:pt x="29209" y="10525"/>
                    </a:lnTo>
                    <a:lnTo>
                      <a:pt x="29272" y="10504"/>
                    </a:lnTo>
                    <a:lnTo>
                      <a:pt x="29377" y="10379"/>
                    </a:lnTo>
                    <a:lnTo>
                      <a:pt x="29481" y="10379"/>
                    </a:lnTo>
                    <a:lnTo>
                      <a:pt x="29565" y="10295"/>
                    </a:lnTo>
                    <a:lnTo>
                      <a:pt x="29481" y="10232"/>
                    </a:lnTo>
                    <a:lnTo>
                      <a:pt x="29377" y="10316"/>
                    </a:lnTo>
                    <a:lnTo>
                      <a:pt x="29293" y="10232"/>
                    </a:lnTo>
                    <a:lnTo>
                      <a:pt x="29189" y="10211"/>
                    </a:lnTo>
                    <a:lnTo>
                      <a:pt x="29189" y="10107"/>
                    </a:lnTo>
                    <a:lnTo>
                      <a:pt x="29230" y="10065"/>
                    </a:lnTo>
                    <a:lnTo>
                      <a:pt x="29209" y="10002"/>
                    </a:lnTo>
                    <a:lnTo>
                      <a:pt x="29126" y="10023"/>
                    </a:lnTo>
                    <a:lnTo>
                      <a:pt x="29105" y="10107"/>
                    </a:lnTo>
                    <a:lnTo>
                      <a:pt x="28958" y="10169"/>
                    </a:lnTo>
                    <a:lnTo>
                      <a:pt x="28854" y="10065"/>
                    </a:lnTo>
                    <a:lnTo>
                      <a:pt x="28854" y="9939"/>
                    </a:lnTo>
                    <a:lnTo>
                      <a:pt x="28770" y="9918"/>
                    </a:lnTo>
                    <a:lnTo>
                      <a:pt x="28665" y="9939"/>
                    </a:lnTo>
                    <a:lnTo>
                      <a:pt x="28603" y="9897"/>
                    </a:lnTo>
                    <a:lnTo>
                      <a:pt x="28644" y="9793"/>
                    </a:lnTo>
                    <a:lnTo>
                      <a:pt x="28707" y="9772"/>
                    </a:lnTo>
                    <a:lnTo>
                      <a:pt x="28749" y="9709"/>
                    </a:lnTo>
                    <a:lnTo>
                      <a:pt x="28812" y="9709"/>
                    </a:lnTo>
                    <a:lnTo>
                      <a:pt x="29126" y="9500"/>
                    </a:lnTo>
                    <a:lnTo>
                      <a:pt x="29168" y="9458"/>
                    </a:lnTo>
                    <a:lnTo>
                      <a:pt x="29042" y="9332"/>
                    </a:lnTo>
                    <a:lnTo>
                      <a:pt x="28875" y="9353"/>
                    </a:lnTo>
                    <a:lnTo>
                      <a:pt x="28875" y="9332"/>
                    </a:lnTo>
                    <a:lnTo>
                      <a:pt x="28979" y="9270"/>
                    </a:lnTo>
                    <a:lnTo>
                      <a:pt x="29042" y="9144"/>
                    </a:lnTo>
                    <a:lnTo>
                      <a:pt x="29168" y="9081"/>
                    </a:lnTo>
                    <a:lnTo>
                      <a:pt x="29147" y="9228"/>
                    </a:lnTo>
                    <a:lnTo>
                      <a:pt x="29189" y="9332"/>
                    </a:lnTo>
                    <a:lnTo>
                      <a:pt x="29293" y="9291"/>
                    </a:lnTo>
                    <a:lnTo>
                      <a:pt x="29377" y="9332"/>
                    </a:lnTo>
                    <a:lnTo>
                      <a:pt x="29461" y="9249"/>
                    </a:lnTo>
                    <a:lnTo>
                      <a:pt x="29461" y="9144"/>
                    </a:lnTo>
                    <a:lnTo>
                      <a:pt x="29377" y="9039"/>
                    </a:lnTo>
                    <a:lnTo>
                      <a:pt x="29293" y="9019"/>
                    </a:lnTo>
                    <a:lnTo>
                      <a:pt x="29293" y="8935"/>
                    </a:lnTo>
                    <a:lnTo>
                      <a:pt x="29314" y="8830"/>
                    </a:lnTo>
                    <a:lnTo>
                      <a:pt x="29293" y="8726"/>
                    </a:lnTo>
                    <a:lnTo>
                      <a:pt x="29314" y="8663"/>
                    </a:lnTo>
                    <a:lnTo>
                      <a:pt x="29314" y="8600"/>
                    </a:lnTo>
                    <a:lnTo>
                      <a:pt x="29209" y="8454"/>
                    </a:lnTo>
                    <a:lnTo>
                      <a:pt x="29272" y="8349"/>
                    </a:lnTo>
                    <a:lnTo>
                      <a:pt x="29209" y="8244"/>
                    </a:lnTo>
                    <a:lnTo>
                      <a:pt x="29272" y="8223"/>
                    </a:lnTo>
                    <a:lnTo>
                      <a:pt x="29272" y="8077"/>
                    </a:lnTo>
                    <a:lnTo>
                      <a:pt x="29356" y="7931"/>
                    </a:lnTo>
                    <a:lnTo>
                      <a:pt x="29356" y="7847"/>
                    </a:lnTo>
                    <a:lnTo>
                      <a:pt x="29419" y="7742"/>
                    </a:lnTo>
                    <a:lnTo>
                      <a:pt x="29419" y="7700"/>
                    </a:lnTo>
                    <a:lnTo>
                      <a:pt x="29356" y="7659"/>
                    </a:lnTo>
                    <a:lnTo>
                      <a:pt x="29377" y="7449"/>
                    </a:lnTo>
                    <a:lnTo>
                      <a:pt x="29356" y="7324"/>
                    </a:lnTo>
                    <a:lnTo>
                      <a:pt x="29251" y="7261"/>
                    </a:lnTo>
                    <a:lnTo>
                      <a:pt x="29272" y="7177"/>
                    </a:lnTo>
                    <a:lnTo>
                      <a:pt x="29251" y="7073"/>
                    </a:lnTo>
                    <a:lnTo>
                      <a:pt x="29293" y="7052"/>
                    </a:lnTo>
                    <a:lnTo>
                      <a:pt x="29335" y="6947"/>
                    </a:lnTo>
                    <a:lnTo>
                      <a:pt x="29272" y="6884"/>
                    </a:lnTo>
                    <a:lnTo>
                      <a:pt x="29230" y="6863"/>
                    </a:lnTo>
                    <a:cubicBezTo>
                      <a:pt x="29272" y="6842"/>
                      <a:pt x="29293" y="6801"/>
                      <a:pt x="29293" y="6759"/>
                    </a:cubicBezTo>
                    <a:cubicBezTo>
                      <a:pt x="29314" y="6696"/>
                      <a:pt x="29335" y="6654"/>
                      <a:pt x="29335" y="6591"/>
                    </a:cubicBezTo>
                    <a:lnTo>
                      <a:pt x="29377" y="6550"/>
                    </a:lnTo>
                    <a:lnTo>
                      <a:pt x="29377" y="6445"/>
                    </a:lnTo>
                    <a:lnTo>
                      <a:pt x="29440" y="6445"/>
                    </a:lnTo>
                    <a:lnTo>
                      <a:pt x="29523" y="6361"/>
                    </a:lnTo>
                    <a:lnTo>
                      <a:pt x="29586" y="6257"/>
                    </a:lnTo>
                    <a:lnTo>
                      <a:pt x="29649" y="6215"/>
                    </a:lnTo>
                    <a:lnTo>
                      <a:pt x="29753" y="6215"/>
                    </a:lnTo>
                    <a:lnTo>
                      <a:pt x="29816" y="6131"/>
                    </a:lnTo>
                    <a:lnTo>
                      <a:pt x="29900" y="6068"/>
                    </a:lnTo>
                    <a:lnTo>
                      <a:pt x="29942" y="5964"/>
                    </a:lnTo>
                    <a:lnTo>
                      <a:pt x="29942" y="5838"/>
                    </a:lnTo>
                    <a:lnTo>
                      <a:pt x="29900" y="5796"/>
                    </a:lnTo>
                    <a:lnTo>
                      <a:pt x="29963" y="5713"/>
                    </a:lnTo>
                    <a:lnTo>
                      <a:pt x="30005" y="5629"/>
                    </a:lnTo>
                    <a:lnTo>
                      <a:pt x="29795" y="5629"/>
                    </a:lnTo>
                    <a:lnTo>
                      <a:pt x="29733" y="5587"/>
                    </a:lnTo>
                    <a:lnTo>
                      <a:pt x="29753" y="5503"/>
                    </a:lnTo>
                    <a:lnTo>
                      <a:pt x="29837" y="5503"/>
                    </a:lnTo>
                    <a:lnTo>
                      <a:pt x="29921" y="5545"/>
                    </a:lnTo>
                    <a:lnTo>
                      <a:pt x="30025" y="5545"/>
                    </a:lnTo>
                    <a:lnTo>
                      <a:pt x="30130" y="5587"/>
                    </a:lnTo>
                    <a:lnTo>
                      <a:pt x="30214" y="5524"/>
                    </a:lnTo>
                    <a:lnTo>
                      <a:pt x="30297" y="5545"/>
                    </a:lnTo>
                    <a:lnTo>
                      <a:pt x="30318" y="5650"/>
                    </a:lnTo>
                    <a:lnTo>
                      <a:pt x="30465" y="5796"/>
                    </a:lnTo>
                    <a:lnTo>
                      <a:pt x="30549" y="5796"/>
                    </a:lnTo>
                    <a:lnTo>
                      <a:pt x="30569" y="5838"/>
                    </a:lnTo>
                    <a:lnTo>
                      <a:pt x="30653" y="5859"/>
                    </a:lnTo>
                    <a:lnTo>
                      <a:pt x="30779" y="5817"/>
                    </a:lnTo>
                    <a:lnTo>
                      <a:pt x="30988" y="5692"/>
                    </a:lnTo>
                    <a:lnTo>
                      <a:pt x="31134" y="5524"/>
                    </a:lnTo>
                    <a:lnTo>
                      <a:pt x="31302" y="5399"/>
                    </a:lnTo>
                    <a:lnTo>
                      <a:pt x="31365" y="5315"/>
                    </a:lnTo>
                    <a:lnTo>
                      <a:pt x="31302" y="5294"/>
                    </a:lnTo>
                    <a:lnTo>
                      <a:pt x="31344" y="5231"/>
                    </a:lnTo>
                    <a:lnTo>
                      <a:pt x="31469" y="5231"/>
                    </a:lnTo>
                    <a:lnTo>
                      <a:pt x="31595" y="5085"/>
                    </a:lnTo>
                    <a:lnTo>
                      <a:pt x="31825" y="4897"/>
                    </a:lnTo>
                    <a:lnTo>
                      <a:pt x="31825" y="4855"/>
                    </a:lnTo>
                    <a:lnTo>
                      <a:pt x="31930" y="4834"/>
                    </a:lnTo>
                    <a:lnTo>
                      <a:pt x="32013" y="4687"/>
                    </a:lnTo>
                    <a:lnTo>
                      <a:pt x="32181" y="4541"/>
                    </a:lnTo>
                    <a:lnTo>
                      <a:pt x="32222" y="4415"/>
                    </a:lnTo>
                    <a:lnTo>
                      <a:pt x="32285" y="4415"/>
                    </a:lnTo>
                    <a:lnTo>
                      <a:pt x="32327" y="4436"/>
                    </a:lnTo>
                    <a:lnTo>
                      <a:pt x="32327" y="4436"/>
                    </a:lnTo>
                    <a:lnTo>
                      <a:pt x="32306" y="4353"/>
                    </a:lnTo>
                    <a:lnTo>
                      <a:pt x="32222" y="4311"/>
                    </a:lnTo>
                    <a:lnTo>
                      <a:pt x="32222" y="4227"/>
                    </a:lnTo>
                    <a:lnTo>
                      <a:pt x="32076" y="4122"/>
                    </a:lnTo>
                    <a:lnTo>
                      <a:pt x="31804" y="4081"/>
                    </a:lnTo>
                    <a:lnTo>
                      <a:pt x="31657" y="4060"/>
                    </a:lnTo>
                    <a:lnTo>
                      <a:pt x="31574" y="4081"/>
                    </a:lnTo>
                    <a:lnTo>
                      <a:pt x="31511" y="4060"/>
                    </a:lnTo>
                    <a:lnTo>
                      <a:pt x="31511" y="3976"/>
                    </a:lnTo>
                    <a:lnTo>
                      <a:pt x="31469" y="3871"/>
                    </a:lnTo>
                    <a:lnTo>
                      <a:pt x="31406" y="3871"/>
                    </a:lnTo>
                    <a:lnTo>
                      <a:pt x="31385" y="3850"/>
                    </a:lnTo>
                    <a:lnTo>
                      <a:pt x="31281" y="3829"/>
                    </a:lnTo>
                    <a:lnTo>
                      <a:pt x="31197" y="3704"/>
                    </a:lnTo>
                    <a:lnTo>
                      <a:pt x="31051" y="3704"/>
                    </a:lnTo>
                    <a:lnTo>
                      <a:pt x="30967" y="3788"/>
                    </a:lnTo>
                    <a:lnTo>
                      <a:pt x="30946" y="3704"/>
                    </a:lnTo>
                    <a:lnTo>
                      <a:pt x="30841" y="3704"/>
                    </a:lnTo>
                    <a:lnTo>
                      <a:pt x="30779" y="3641"/>
                    </a:lnTo>
                    <a:lnTo>
                      <a:pt x="30674" y="3662"/>
                    </a:lnTo>
                    <a:lnTo>
                      <a:pt x="30507" y="3662"/>
                    </a:lnTo>
                    <a:lnTo>
                      <a:pt x="30235" y="3725"/>
                    </a:lnTo>
                    <a:lnTo>
                      <a:pt x="30130" y="3871"/>
                    </a:lnTo>
                    <a:lnTo>
                      <a:pt x="30214" y="3976"/>
                    </a:lnTo>
                    <a:lnTo>
                      <a:pt x="30130" y="4018"/>
                    </a:lnTo>
                    <a:lnTo>
                      <a:pt x="30109" y="4060"/>
                    </a:lnTo>
                    <a:lnTo>
                      <a:pt x="30193" y="4164"/>
                    </a:lnTo>
                    <a:lnTo>
                      <a:pt x="30214" y="4290"/>
                    </a:lnTo>
                    <a:lnTo>
                      <a:pt x="30088" y="4290"/>
                    </a:lnTo>
                    <a:lnTo>
                      <a:pt x="30046" y="4185"/>
                    </a:lnTo>
                    <a:lnTo>
                      <a:pt x="29984" y="4060"/>
                    </a:lnTo>
                    <a:lnTo>
                      <a:pt x="29900" y="4039"/>
                    </a:lnTo>
                    <a:lnTo>
                      <a:pt x="29816" y="4164"/>
                    </a:lnTo>
                    <a:lnTo>
                      <a:pt x="29837" y="4227"/>
                    </a:lnTo>
                    <a:lnTo>
                      <a:pt x="29837" y="4290"/>
                    </a:lnTo>
                    <a:lnTo>
                      <a:pt x="29733" y="4332"/>
                    </a:lnTo>
                    <a:lnTo>
                      <a:pt x="29712" y="4478"/>
                    </a:lnTo>
                    <a:lnTo>
                      <a:pt x="29565" y="4646"/>
                    </a:lnTo>
                    <a:lnTo>
                      <a:pt x="29523" y="4771"/>
                    </a:lnTo>
                    <a:lnTo>
                      <a:pt x="29502" y="4855"/>
                    </a:lnTo>
                    <a:lnTo>
                      <a:pt x="29565" y="4876"/>
                    </a:lnTo>
                    <a:lnTo>
                      <a:pt x="29461" y="4959"/>
                    </a:lnTo>
                    <a:lnTo>
                      <a:pt x="29461" y="5064"/>
                    </a:lnTo>
                    <a:lnTo>
                      <a:pt x="29377" y="5106"/>
                    </a:lnTo>
                    <a:lnTo>
                      <a:pt x="29272" y="5357"/>
                    </a:lnTo>
                    <a:lnTo>
                      <a:pt x="29272" y="5482"/>
                    </a:lnTo>
                    <a:lnTo>
                      <a:pt x="29209" y="5566"/>
                    </a:lnTo>
                    <a:lnTo>
                      <a:pt x="29293" y="5629"/>
                    </a:lnTo>
                    <a:lnTo>
                      <a:pt x="29293" y="5713"/>
                    </a:lnTo>
                    <a:lnTo>
                      <a:pt x="29251" y="5734"/>
                    </a:lnTo>
                    <a:lnTo>
                      <a:pt x="29251" y="5838"/>
                    </a:lnTo>
                    <a:lnTo>
                      <a:pt x="29189" y="6026"/>
                    </a:lnTo>
                    <a:lnTo>
                      <a:pt x="29063" y="6215"/>
                    </a:lnTo>
                    <a:lnTo>
                      <a:pt x="29084" y="6257"/>
                    </a:lnTo>
                    <a:lnTo>
                      <a:pt x="29189" y="6257"/>
                    </a:lnTo>
                    <a:lnTo>
                      <a:pt x="29209" y="6319"/>
                    </a:lnTo>
                    <a:cubicBezTo>
                      <a:pt x="29189" y="6319"/>
                      <a:pt x="29168" y="6340"/>
                      <a:pt x="29168" y="6340"/>
                    </a:cubicBezTo>
                    <a:lnTo>
                      <a:pt x="29105" y="6319"/>
                    </a:lnTo>
                    <a:lnTo>
                      <a:pt x="29042" y="6361"/>
                    </a:lnTo>
                    <a:lnTo>
                      <a:pt x="28958" y="6508"/>
                    </a:lnTo>
                    <a:lnTo>
                      <a:pt x="29042" y="6508"/>
                    </a:lnTo>
                    <a:cubicBezTo>
                      <a:pt x="29000" y="6529"/>
                      <a:pt x="28979" y="6550"/>
                      <a:pt x="28979" y="6612"/>
                    </a:cubicBezTo>
                    <a:lnTo>
                      <a:pt x="28875" y="6570"/>
                    </a:lnTo>
                    <a:lnTo>
                      <a:pt x="28791" y="6633"/>
                    </a:lnTo>
                    <a:lnTo>
                      <a:pt x="28791" y="6738"/>
                    </a:lnTo>
                    <a:lnTo>
                      <a:pt x="28644" y="6842"/>
                    </a:lnTo>
                    <a:lnTo>
                      <a:pt x="28582" y="6884"/>
                    </a:lnTo>
                    <a:cubicBezTo>
                      <a:pt x="28665" y="6612"/>
                      <a:pt x="28728" y="6257"/>
                      <a:pt x="28749" y="5943"/>
                    </a:cubicBezTo>
                    <a:lnTo>
                      <a:pt x="28937" y="5838"/>
                    </a:lnTo>
                    <a:lnTo>
                      <a:pt x="28937" y="5734"/>
                    </a:lnTo>
                    <a:lnTo>
                      <a:pt x="29000" y="5566"/>
                    </a:lnTo>
                    <a:lnTo>
                      <a:pt x="29000" y="5399"/>
                    </a:lnTo>
                    <a:lnTo>
                      <a:pt x="29063" y="5315"/>
                    </a:lnTo>
                    <a:lnTo>
                      <a:pt x="28979" y="5315"/>
                    </a:lnTo>
                    <a:lnTo>
                      <a:pt x="28937" y="5378"/>
                    </a:lnTo>
                    <a:lnTo>
                      <a:pt x="28791" y="5420"/>
                    </a:lnTo>
                    <a:lnTo>
                      <a:pt x="28728" y="5545"/>
                    </a:lnTo>
                    <a:lnTo>
                      <a:pt x="28686" y="5503"/>
                    </a:lnTo>
                    <a:lnTo>
                      <a:pt x="28686" y="5399"/>
                    </a:lnTo>
                    <a:lnTo>
                      <a:pt x="28770" y="5357"/>
                    </a:lnTo>
                    <a:lnTo>
                      <a:pt x="28770" y="5231"/>
                    </a:lnTo>
                    <a:lnTo>
                      <a:pt x="28749" y="5169"/>
                    </a:lnTo>
                    <a:lnTo>
                      <a:pt x="28665" y="5127"/>
                    </a:lnTo>
                    <a:lnTo>
                      <a:pt x="28749" y="5127"/>
                    </a:lnTo>
                    <a:lnTo>
                      <a:pt x="28791" y="5106"/>
                    </a:lnTo>
                    <a:lnTo>
                      <a:pt x="28770" y="4980"/>
                    </a:lnTo>
                    <a:lnTo>
                      <a:pt x="28582" y="4876"/>
                    </a:lnTo>
                    <a:lnTo>
                      <a:pt x="28540" y="4897"/>
                    </a:lnTo>
                    <a:lnTo>
                      <a:pt x="28352" y="4918"/>
                    </a:lnTo>
                    <a:lnTo>
                      <a:pt x="28331" y="4980"/>
                    </a:lnTo>
                    <a:lnTo>
                      <a:pt x="28247" y="4980"/>
                    </a:lnTo>
                    <a:lnTo>
                      <a:pt x="28247" y="4897"/>
                    </a:lnTo>
                    <a:lnTo>
                      <a:pt x="28331" y="4771"/>
                    </a:lnTo>
                    <a:lnTo>
                      <a:pt x="28414" y="4771"/>
                    </a:lnTo>
                    <a:lnTo>
                      <a:pt x="28540" y="4666"/>
                    </a:lnTo>
                    <a:lnTo>
                      <a:pt x="28749" y="4604"/>
                    </a:lnTo>
                    <a:lnTo>
                      <a:pt x="28791" y="4562"/>
                    </a:lnTo>
                    <a:lnTo>
                      <a:pt x="28937" y="4541"/>
                    </a:lnTo>
                    <a:lnTo>
                      <a:pt x="29000" y="4541"/>
                    </a:lnTo>
                    <a:lnTo>
                      <a:pt x="29063" y="4583"/>
                    </a:lnTo>
                    <a:lnTo>
                      <a:pt x="29105" y="4562"/>
                    </a:lnTo>
                    <a:lnTo>
                      <a:pt x="29147" y="4394"/>
                    </a:lnTo>
                    <a:lnTo>
                      <a:pt x="29189" y="4332"/>
                    </a:lnTo>
                    <a:lnTo>
                      <a:pt x="29063" y="4248"/>
                    </a:lnTo>
                    <a:lnTo>
                      <a:pt x="29042" y="4185"/>
                    </a:lnTo>
                    <a:lnTo>
                      <a:pt x="29105" y="4164"/>
                    </a:lnTo>
                    <a:lnTo>
                      <a:pt x="29168" y="4122"/>
                    </a:lnTo>
                    <a:lnTo>
                      <a:pt x="29189" y="4164"/>
                    </a:lnTo>
                    <a:lnTo>
                      <a:pt x="29272" y="4185"/>
                    </a:lnTo>
                    <a:lnTo>
                      <a:pt x="29419" y="4122"/>
                    </a:lnTo>
                    <a:lnTo>
                      <a:pt x="29481" y="4039"/>
                    </a:lnTo>
                    <a:lnTo>
                      <a:pt x="29461" y="3955"/>
                    </a:lnTo>
                    <a:lnTo>
                      <a:pt x="29481" y="3913"/>
                    </a:lnTo>
                    <a:lnTo>
                      <a:pt x="29461" y="3829"/>
                    </a:lnTo>
                    <a:lnTo>
                      <a:pt x="29377" y="3850"/>
                    </a:lnTo>
                    <a:lnTo>
                      <a:pt x="29293" y="3746"/>
                    </a:lnTo>
                    <a:lnTo>
                      <a:pt x="29042" y="3746"/>
                    </a:lnTo>
                    <a:lnTo>
                      <a:pt x="28958" y="3725"/>
                    </a:lnTo>
                    <a:lnTo>
                      <a:pt x="28896" y="3767"/>
                    </a:lnTo>
                    <a:lnTo>
                      <a:pt x="28770" y="3767"/>
                    </a:lnTo>
                    <a:lnTo>
                      <a:pt x="28665" y="3725"/>
                    </a:lnTo>
                    <a:lnTo>
                      <a:pt x="28582" y="3746"/>
                    </a:lnTo>
                    <a:lnTo>
                      <a:pt x="28519" y="3641"/>
                    </a:lnTo>
                    <a:lnTo>
                      <a:pt x="28435" y="3599"/>
                    </a:lnTo>
                    <a:lnTo>
                      <a:pt x="28435" y="3516"/>
                    </a:lnTo>
                    <a:lnTo>
                      <a:pt x="28477" y="3453"/>
                    </a:lnTo>
                    <a:lnTo>
                      <a:pt x="28456" y="3411"/>
                    </a:lnTo>
                    <a:lnTo>
                      <a:pt x="28310" y="3390"/>
                    </a:lnTo>
                    <a:lnTo>
                      <a:pt x="28226" y="3432"/>
                    </a:lnTo>
                    <a:lnTo>
                      <a:pt x="28163" y="3495"/>
                    </a:lnTo>
                    <a:lnTo>
                      <a:pt x="28226" y="3537"/>
                    </a:lnTo>
                    <a:lnTo>
                      <a:pt x="28331" y="3537"/>
                    </a:lnTo>
                    <a:lnTo>
                      <a:pt x="28268" y="3641"/>
                    </a:lnTo>
                    <a:lnTo>
                      <a:pt x="28142" y="3620"/>
                    </a:lnTo>
                    <a:lnTo>
                      <a:pt x="28059" y="3495"/>
                    </a:lnTo>
                    <a:lnTo>
                      <a:pt x="28017" y="3516"/>
                    </a:lnTo>
                    <a:lnTo>
                      <a:pt x="27954" y="3495"/>
                    </a:lnTo>
                    <a:lnTo>
                      <a:pt x="27849" y="3537"/>
                    </a:lnTo>
                    <a:lnTo>
                      <a:pt x="27828" y="3641"/>
                    </a:lnTo>
                    <a:lnTo>
                      <a:pt x="27787" y="3662"/>
                    </a:lnTo>
                    <a:lnTo>
                      <a:pt x="27808" y="3767"/>
                    </a:lnTo>
                    <a:lnTo>
                      <a:pt x="27808" y="3871"/>
                    </a:lnTo>
                    <a:lnTo>
                      <a:pt x="27891" y="3934"/>
                    </a:lnTo>
                    <a:lnTo>
                      <a:pt x="27891" y="4060"/>
                    </a:lnTo>
                    <a:lnTo>
                      <a:pt x="27828" y="4122"/>
                    </a:lnTo>
                    <a:lnTo>
                      <a:pt x="27808" y="4248"/>
                    </a:lnTo>
                    <a:lnTo>
                      <a:pt x="27787" y="4248"/>
                    </a:lnTo>
                    <a:lnTo>
                      <a:pt x="27745" y="4018"/>
                    </a:lnTo>
                    <a:lnTo>
                      <a:pt x="27703" y="3913"/>
                    </a:lnTo>
                    <a:lnTo>
                      <a:pt x="27619" y="3850"/>
                    </a:lnTo>
                    <a:lnTo>
                      <a:pt x="27598" y="3934"/>
                    </a:lnTo>
                    <a:lnTo>
                      <a:pt x="27515" y="3934"/>
                    </a:lnTo>
                    <a:lnTo>
                      <a:pt x="27431" y="4018"/>
                    </a:lnTo>
                    <a:lnTo>
                      <a:pt x="27431" y="4143"/>
                    </a:lnTo>
                    <a:lnTo>
                      <a:pt x="27515" y="4248"/>
                    </a:lnTo>
                    <a:lnTo>
                      <a:pt x="27515" y="4332"/>
                    </a:lnTo>
                    <a:lnTo>
                      <a:pt x="27619" y="4457"/>
                    </a:lnTo>
                    <a:lnTo>
                      <a:pt x="27745" y="4457"/>
                    </a:lnTo>
                    <a:lnTo>
                      <a:pt x="27808" y="4353"/>
                    </a:lnTo>
                    <a:lnTo>
                      <a:pt x="27828" y="4353"/>
                    </a:lnTo>
                    <a:lnTo>
                      <a:pt x="27849" y="4457"/>
                    </a:lnTo>
                    <a:lnTo>
                      <a:pt x="27933" y="4583"/>
                    </a:lnTo>
                    <a:lnTo>
                      <a:pt x="27933" y="4666"/>
                    </a:lnTo>
                    <a:lnTo>
                      <a:pt x="27849" y="4666"/>
                    </a:lnTo>
                    <a:lnTo>
                      <a:pt x="27808" y="4562"/>
                    </a:lnTo>
                    <a:lnTo>
                      <a:pt x="27724" y="4541"/>
                    </a:lnTo>
                    <a:lnTo>
                      <a:pt x="27619" y="4562"/>
                    </a:lnTo>
                    <a:lnTo>
                      <a:pt x="27577" y="4604"/>
                    </a:lnTo>
                    <a:lnTo>
                      <a:pt x="27619" y="4708"/>
                    </a:lnTo>
                    <a:lnTo>
                      <a:pt x="27598" y="4792"/>
                    </a:lnTo>
                    <a:lnTo>
                      <a:pt x="27515" y="4876"/>
                    </a:lnTo>
                    <a:lnTo>
                      <a:pt x="27536" y="4959"/>
                    </a:lnTo>
                    <a:lnTo>
                      <a:pt x="27473" y="5085"/>
                    </a:lnTo>
                    <a:lnTo>
                      <a:pt x="27410" y="5127"/>
                    </a:lnTo>
                    <a:lnTo>
                      <a:pt x="27431" y="5231"/>
                    </a:lnTo>
                    <a:lnTo>
                      <a:pt x="27389" y="5294"/>
                    </a:lnTo>
                    <a:lnTo>
                      <a:pt x="27284" y="5273"/>
                    </a:lnTo>
                    <a:lnTo>
                      <a:pt x="27201" y="5169"/>
                    </a:lnTo>
                    <a:lnTo>
                      <a:pt x="27201" y="5064"/>
                    </a:lnTo>
                    <a:lnTo>
                      <a:pt x="27075" y="4897"/>
                    </a:lnTo>
                    <a:lnTo>
                      <a:pt x="27075" y="4792"/>
                    </a:lnTo>
                    <a:lnTo>
                      <a:pt x="27054" y="4708"/>
                    </a:lnTo>
                    <a:lnTo>
                      <a:pt x="26950" y="4687"/>
                    </a:lnTo>
                    <a:lnTo>
                      <a:pt x="26950" y="4646"/>
                    </a:lnTo>
                    <a:lnTo>
                      <a:pt x="26992" y="4604"/>
                    </a:lnTo>
                    <a:lnTo>
                      <a:pt x="27033" y="4562"/>
                    </a:lnTo>
                    <a:lnTo>
                      <a:pt x="26992" y="4478"/>
                    </a:lnTo>
                    <a:lnTo>
                      <a:pt x="26887" y="4457"/>
                    </a:lnTo>
                    <a:lnTo>
                      <a:pt x="26740" y="4499"/>
                    </a:lnTo>
                    <a:lnTo>
                      <a:pt x="26699" y="4457"/>
                    </a:lnTo>
                    <a:lnTo>
                      <a:pt x="26657" y="4478"/>
                    </a:lnTo>
                    <a:lnTo>
                      <a:pt x="26594" y="4562"/>
                    </a:lnTo>
                    <a:lnTo>
                      <a:pt x="26489" y="4604"/>
                    </a:lnTo>
                    <a:lnTo>
                      <a:pt x="26364" y="4792"/>
                    </a:lnTo>
                    <a:lnTo>
                      <a:pt x="26427" y="4876"/>
                    </a:lnTo>
                    <a:lnTo>
                      <a:pt x="26427" y="5064"/>
                    </a:lnTo>
                    <a:lnTo>
                      <a:pt x="26385" y="5127"/>
                    </a:lnTo>
                    <a:lnTo>
                      <a:pt x="26448" y="5210"/>
                    </a:lnTo>
                    <a:lnTo>
                      <a:pt x="26427" y="5378"/>
                    </a:lnTo>
                    <a:lnTo>
                      <a:pt x="26322" y="5420"/>
                    </a:lnTo>
                    <a:lnTo>
                      <a:pt x="26322" y="5545"/>
                    </a:lnTo>
                    <a:lnTo>
                      <a:pt x="26364" y="5608"/>
                    </a:lnTo>
                    <a:lnTo>
                      <a:pt x="26448" y="5587"/>
                    </a:lnTo>
                    <a:lnTo>
                      <a:pt x="26489" y="5629"/>
                    </a:lnTo>
                    <a:lnTo>
                      <a:pt x="26573" y="5587"/>
                    </a:lnTo>
                    <a:lnTo>
                      <a:pt x="26636" y="5608"/>
                    </a:lnTo>
                    <a:lnTo>
                      <a:pt x="26636" y="5734"/>
                    </a:lnTo>
                    <a:lnTo>
                      <a:pt x="26657" y="5796"/>
                    </a:lnTo>
                    <a:lnTo>
                      <a:pt x="26699" y="5796"/>
                    </a:lnTo>
                    <a:lnTo>
                      <a:pt x="26782" y="5922"/>
                    </a:lnTo>
                    <a:lnTo>
                      <a:pt x="26782" y="6110"/>
                    </a:lnTo>
                    <a:lnTo>
                      <a:pt x="26887" y="6236"/>
                    </a:lnTo>
                    <a:lnTo>
                      <a:pt x="26887" y="6319"/>
                    </a:lnTo>
                    <a:lnTo>
                      <a:pt x="26929" y="6424"/>
                    </a:lnTo>
                    <a:lnTo>
                      <a:pt x="27012" y="6466"/>
                    </a:lnTo>
                    <a:lnTo>
                      <a:pt x="26992" y="6550"/>
                    </a:lnTo>
                    <a:lnTo>
                      <a:pt x="27012" y="6696"/>
                    </a:lnTo>
                    <a:lnTo>
                      <a:pt x="26929" y="6842"/>
                    </a:lnTo>
                    <a:lnTo>
                      <a:pt x="27012" y="6905"/>
                    </a:lnTo>
                    <a:lnTo>
                      <a:pt x="27033" y="7052"/>
                    </a:lnTo>
                    <a:lnTo>
                      <a:pt x="27012" y="7156"/>
                    </a:lnTo>
                    <a:lnTo>
                      <a:pt x="27033" y="7198"/>
                    </a:lnTo>
                    <a:lnTo>
                      <a:pt x="27117" y="7156"/>
                    </a:lnTo>
                    <a:lnTo>
                      <a:pt x="27180" y="7198"/>
                    </a:lnTo>
                    <a:lnTo>
                      <a:pt x="27180" y="7324"/>
                    </a:lnTo>
                    <a:lnTo>
                      <a:pt x="27264" y="7387"/>
                    </a:lnTo>
                    <a:lnTo>
                      <a:pt x="27410" y="7324"/>
                    </a:lnTo>
                    <a:lnTo>
                      <a:pt x="27452" y="7198"/>
                    </a:lnTo>
                    <a:lnTo>
                      <a:pt x="27598" y="7114"/>
                    </a:lnTo>
                    <a:lnTo>
                      <a:pt x="27619" y="7010"/>
                    </a:lnTo>
                    <a:lnTo>
                      <a:pt x="27556" y="6968"/>
                    </a:lnTo>
                    <a:lnTo>
                      <a:pt x="27494" y="6759"/>
                    </a:lnTo>
                    <a:lnTo>
                      <a:pt x="27515" y="6654"/>
                    </a:lnTo>
                    <a:lnTo>
                      <a:pt x="27703" y="6466"/>
                    </a:lnTo>
                    <a:lnTo>
                      <a:pt x="27703" y="6550"/>
                    </a:lnTo>
                    <a:lnTo>
                      <a:pt x="27598" y="6675"/>
                    </a:lnTo>
                    <a:lnTo>
                      <a:pt x="27640" y="6905"/>
                    </a:lnTo>
                    <a:lnTo>
                      <a:pt x="27724" y="6947"/>
                    </a:lnTo>
                    <a:lnTo>
                      <a:pt x="27828" y="6884"/>
                    </a:lnTo>
                    <a:lnTo>
                      <a:pt x="27954" y="6968"/>
                    </a:lnTo>
                    <a:lnTo>
                      <a:pt x="28121" y="6905"/>
                    </a:lnTo>
                    <a:lnTo>
                      <a:pt x="28121" y="6842"/>
                    </a:lnTo>
                    <a:lnTo>
                      <a:pt x="28247" y="6780"/>
                    </a:lnTo>
                    <a:lnTo>
                      <a:pt x="28352" y="6780"/>
                    </a:lnTo>
                    <a:lnTo>
                      <a:pt x="28435" y="6738"/>
                    </a:lnTo>
                    <a:lnTo>
                      <a:pt x="28477" y="6780"/>
                    </a:lnTo>
                    <a:lnTo>
                      <a:pt x="28498" y="6759"/>
                    </a:lnTo>
                    <a:lnTo>
                      <a:pt x="28498" y="6759"/>
                    </a:lnTo>
                    <a:cubicBezTo>
                      <a:pt x="28477" y="6863"/>
                      <a:pt x="28456" y="6989"/>
                      <a:pt x="28456" y="7094"/>
                    </a:cubicBezTo>
                    <a:lnTo>
                      <a:pt x="28435" y="7114"/>
                    </a:lnTo>
                    <a:lnTo>
                      <a:pt x="28456" y="7156"/>
                    </a:lnTo>
                    <a:lnTo>
                      <a:pt x="28456" y="7219"/>
                    </a:lnTo>
                    <a:cubicBezTo>
                      <a:pt x="28456" y="7283"/>
                      <a:pt x="28503" y="7308"/>
                      <a:pt x="28554" y="7308"/>
                    </a:cubicBezTo>
                    <a:cubicBezTo>
                      <a:pt x="28586" y="7308"/>
                      <a:pt x="28620" y="7298"/>
                      <a:pt x="28644" y="7282"/>
                    </a:cubicBezTo>
                    <a:lnTo>
                      <a:pt x="28707" y="7282"/>
                    </a:lnTo>
                    <a:lnTo>
                      <a:pt x="28707" y="7324"/>
                    </a:lnTo>
                    <a:lnTo>
                      <a:pt x="28582" y="7533"/>
                    </a:lnTo>
                    <a:lnTo>
                      <a:pt x="28561" y="7617"/>
                    </a:lnTo>
                    <a:lnTo>
                      <a:pt x="28456" y="7679"/>
                    </a:lnTo>
                    <a:lnTo>
                      <a:pt x="28477" y="7596"/>
                    </a:lnTo>
                    <a:lnTo>
                      <a:pt x="28435" y="7533"/>
                    </a:lnTo>
                    <a:lnTo>
                      <a:pt x="28477" y="7407"/>
                    </a:lnTo>
                    <a:lnTo>
                      <a:pt x="28393" y="7324"/>
                    </a:lnTo>
                    <a:lnTo>
                      <a:pt x="28268" y="7387"/>
                    </a:lnTo>
                    <a:lnTo>
                      <a:pt x="28184" y="7512"/>
                    </a:lnTo>
                    <a:lnTo>
                      <a:pt x="28121" y="7512"/>
                    </a:lnTo>
                    <a:lnTo>
                      <a:pt x="28038" y="7679"/>
                    </a:lnTo>
                    <a:lnTo>
                      <a:pt x="27954" y="7700"/>
                    </a:lnTo>
                    <a:lnTo>
                      <a:pt x="27870" y="7910"/>
                    </a:lnTo>
                    <a:lnTo>
                      <a:pt x="27724" y="8056"/>
                    </a:lnTo>
                    <a:lnTo>
                      <a:pt x="27703" y="8203"/>
                    </a:lnTo>
                    <a:lnTo>
                      <a:pt x="27745" y="8328"/>
                    </a:lnTo>
                    <a:lnTo>
                      <a:pt x="27745" y="8412"/>
                    </a:lnTo>
                    <a:lnTo>
                      <a:pt x="27808" y="8433"/>
                    </a:lnTo>
                    <a:lnTo>
                      <a:pt x="27870" y="8370"/>
                    </a:lnTo>
                    <a:lnTo>
                      <a:pt x="27933" y="8370"/>
                    </a:lnTo>
                    <a:lnTo>
                      <a:pt x="27933" y="8454"/>
                    </a:lnTo>
                    <a:lnTo>
                      <a:pt x="27828" y="8537"/>
                    </a:lnTo>
                    <a:lnTo>
                      <a:pt x="27828" y="8579"/>
                    </a:lnTo>
                    <a:lnTo>
                      <a:pt x="27724" y="8579"/>
                    </a:lnTo>
                    <a:lnTo>
                      <a:pt x="27619" y="8642"/>
                    </a:lnTo>
                    <a:lnTo>
                      <a:pt x="27431" y="8830"/>
                    </a:lnTo>
                    <a:lnTo>
                      <a:pt x="27347" y="8935"/>
                    </a:lnTo>
                    <a:lnTo>
                      <a:pt x="27326" y="9207"/>
                    </a:lnTo>
                    <a:lnTo>
                      <a:pt x="27389" y="9311"/>
                    </a:lnTo>
                    <a:lnTo>
                      <a:pt x="27389" y="9395"/>
                    </a:lnTo>
                    <a:lnTo>
                      <a:pt x="27326" y="9500"/>
                    </a:lnTo>
                    <a:lnTo>
                      <a:pt x="27347" y="9563"/>
                    </a:lnTo>
                    <a:lnTo>
                      <a:pt x="27389" y="9625"/>
                    </a:lnTo>
                    <a:lnTo>
                      <a:pt x="27452" y="9625"/>
                    </a:lnTo>
                    <a:lnTo>
                      <a:pt x="27515" y="9667"/>
                    </a:lnTo>
                    <a:lnTo>
                      <a:pt x="27536" y="9793"/>
                    </a:lnTo>
                    <a:lnTo>
                      <a:pt x="27640" y="9835"/>
                    </a:lnTo>
                    <a:lnTo>
                      <a:pt x="27703" y="9939"/>
                    </a:lnTo>
                    <a:lnTo>
                      <a:pt x="27745" y="9939"/>
                    </a:lnTo>
                    <a:lnTo>
                      <a:pt x="27828" y="9814"/>
                    </a:lnTo>
                    <a:lnTo>
                      <a:pt x="27808" y="9939"/>
                    </a:lnTo>
                    <a:lnTo>
                      <a:pt x="27849" y="10107"/>
                    </a:lnTo>
                    <a:lnTo>
                      <a:pt x="28017" y="10127"/>
                    </a:lnTo>
                    <a:lnTo>
                      <a:pt x="28080" y="10190"/>
                    </a:lnTo>
                    <a:lnTo>
                      <a:pt x="28184" y="10190"/>
                    </a:lnTo>
                    <a:lnTo>
                      <a:pt x="28331" y="10211"/>
                    </a:lnTo>
                    <a:lnTo>
                      <a:pt x="28331" y="10295"/>
                    </a:lnTo>
                    <a:lnTo>
                      <a:pt x="28226" y="10504"/>
                    </a:lnTo>
                    <a:lnTo>
                      <a:pt x="28121" y="10546"/>
                    </a:lnTo>
                    <a:lnTo>
                      <a:pt x="28080" y="10525"/>
                    </a:lnTo>
                    <a:lnTo>
                      <a:pt x="28121" y="10420"/>
                    </a:lnTo>
                    <a:lnTo>
                      <a:pt x="28226" y="10379"/>
                    </a:lnTo>
                    <a:lnTo>
                      <a:pt x="28080" y="10337"/>
                    </a:lnTo>
                    <a:lnTo>
                      <a:pt x="27954" y="10379"/>
                    </a:lnTo>
                    <a:lnTo>
                      <a:pt x="27849" y="10504"/>
                    </a:lnTo>
                    <a:lnTo>
                      <a:pt x="27912" y="10546"/>
                    </a:lnTo>
                    <a:lnTo>
                      <a:pt x="27912" y="10630"/>
                    </a:lnTo>
                    <a:lnTo>
                      <a:pt x="27745" y="10713"/>
                    </a:lnTo>
                    <a:lnTo>
                      <a:pt x="27661" y="10797"/>
                    </a:lnTo>
                    <a:lnTo>
                      <a:pt x="27598" y="10797"/>
                    </a:lnTo>
                    <a:lnTo>
                      <a:pt x="27515" y="10944"/>
                    </a:lnTo>
                    <a:lnTo>
                      <a:pt x="27536" y="11006"/>
                    </a:lnTo>
                    <a:lnTo>
                      <a:pt x="27619" y="11006"/>
                    </a:lnTo>
                    <a:lnTo>
                      <a:pt x="27661" y="11048"/>
                    </a:lnTo>
                    <a:lnTo>
                      <a:pt x="27766" y="11027"/>
                    </a:lnTo>
                    <a:lnTo>
                      <a:pt x="27828" y="10923"/>
                    </a:lnTo>
                    <a:lnTo>
                      <a:pt x="27808" y="10860"/>
                    </a:lnTo>
                    <a:lnTo>
                      <a:pt x="27870" y="10839"/>
                    </a:lnTo>
                    <a:lnTo>
                      <a:pt x="27954" y="10797"/>
                    </a:lnTo>
                    <a:lnTo>
                      <a:pt x="28017" y="10839"/>
                    </a:lnTo>
                    <a:lnTo>
                      <a:pt x="27975" y="10944"/>
                    </a:lnTo>
                    <a:lnTo>
                      <a:pt x="27912" y="11069"/>
                    </a:lnTo>
                    <a:lnTo>
                      <a:pt x="27870" y="11236"/>
                    </a:lnTo>
                    <a:lnTo>
                      <a:pt x="27870" y="11320"/>
                    </a:lnTo>
                    <a:lnTo>
                      <a:pt x="27808" y="11383"/>
                    </a:lnTo>
                    <a:lnTo>
                      <a:pt x="27640" y="11425"/>
                    </a:lnTo>
                    <a:lnTo>
                      <a:pt x="27536" y="11529"/>
                    </a:lnTo>
                    <a:lnTo>
                      <a:pt x="27452" y="11550"/>
                    </a:lnTo>
                    <a:lnTo>
                      <a:pt x="27452" y="11592"/>
                    </a:lnTo>
                    <a:lnTo>
                      <a:pt x="27410" y="11697"/>
                    </a:lnTo>
                    <a:lnTo>
                      <a:pt x="27138" y="11801"/>
                    </a:lnTo>
                    <a:lnTo>
                      <a:pt x="27075" y="11906"/>
                    </a:lnTo>
                    <a:lnTo>
                      <a:pt x="26971" y="11948"/>
                    </a:lnTo>
                    <a:lnTo>
                      <a:pt x="26929" y="11885"/>
                    </a:lnTo>
                    <a:lnTo>
                      <a:pt x="26887" y="11885"/>
                    </a:lnTo>
                    <a:lnTo>
                      <a:pt x="26866" y="11843"/>
                    </a:lnTo>
                    <a:lnTo>
                      <a:pt x="26803" y="11906"/>
                    </a:lnTo>
                    <a:lnTo>
                      <a:pt x="26720" y="11948"/>
                    </a:lnTo>
                    <a:lnTo>
                      <a:pt x="26720" y="11948"/>
                    </a:lnTo>
                    <a:lnTo>
                      <a:pt x="26761" y="11885"/>
                    </a:lnTo>
                    <a:lnTo>
                      <a:pt x="26720" y="11843"/>
                    </a:lnTo>
                    <a:lnTo>
                      <a:pt x="26615" y="11948"/>
                    </a:lnTo>
                    <a:lnTo>
                      <a:pt x="26573" y="12094"/>
                    </a:lnTo>
                    <a:lnTo>
                      <a:pt x="26468" y="12262"/>
                    </a:lnTo>
                    <a:lnTo>
                      <a:pt x="26448" y="12304"/>
                    </a:lnTo>
                    <a:lnTo>
                      <a:pt x="26489" y="12387"/>
                    </a:lnTo>
                    <a:lnTo>
                      <a:pt x="26489" y="12471"/>
                    </a:lnTo>
                    <a:lnTo>
                      <a:pt x="26406" y="12617"/>
                    </a:lnTo>
                    <a:lnTo>
                      <a:pt x="26406" y="12701"/>
                    </a:lnTo>
                    <a:lnTo>
                      <a:pt x="26468" y="12785"/>
                    </a:lnTo>
                    <a:lnTo>
                      <a:pt x="26385" y="12827"/>
                    </a:lnTo>
                    <a:lnTo>
                      <a:pt x="26343" y="12952"/>
                    </a:lnTo>
                    <a:lnTo>
                      <a:pt x="26364" y="12952"/>
                    </a:lnTo>
                    <a:lnTo>
                      <a:pt x="26448" y="12931"/>
                    </a:lnTo>
                    <a:lnTo>
                      <a:pt x="26489" y="12848"/>
                    </a:lnTo>
                    <a:lnTo>
                      <a:pt x="26594" y="12889"/>
                    </a:lnTo>
                    <a:lnTo>
                      <a:pt x="26699" y="12806"/>
                    </a:lnTo>
                    <a:lnTo>
                      <a:pt x="26615" y="12910"/>
                    </a:lnTo>
                    <a:lnTo>
                      <a:pt x="26510" y="12910"/>
                    </a:lnTo>
                    <a:lnTo>
                      <a:pt x="26406" y="13015"/>
                    </a:lnTo>
                    <a:lnTo>
                      <a:pt x="26259" y="13057"/>
                    </a:lnTo>
                    <a:lnTo>
                      <a:pt x="26259" y="13203"/>
                    </a:lnTo>
                    <a:lnTo>
                      <a:pt x="26176" y="13266"/>
                    </a:lnTo>
                    <a:lnTo>
                      <a:pt x="26071" y="13203"/>
                    </a:lnTo>
                    <a:lnTo>
                      <a:pt x="25945" y="13203"/>
                    </a:lnTo>
                    <a:lnTo>
                      <a:pt x="25862" y="13120"/>
                    </a:lnTo>
                    <a:lnTo>
                      <a:pt x="25778" y="13161"/>
                    </a:lnTo>
                    <a:lnTo>
                      <a:pt x="25820" y="13350"/>
                    </a:lnTo>
                    <a:lnTo>
                      <a:pt x="25631" y="13245"/>
                    </a:lnTo>
                    <a:lnTo>
                      <a:pt x="25694" y="12994"/>
                    </a:lnTo>
                    <a:lnTo>
                      <a:pt x="25631" y="12827"/>
                    </a:lnTo>
                    <a:lnTo>
                      <a:pt x="25548" y="12722"/>
                    </a:lnTo>
                    <a:lnTo>
                      <a:pt x="25590" y="12555"/>
                    </a:lnTo>
                    <a:lnTo>
                      <a:pt x="25631" y="12555"/>
                    </a:lnTo>
                    <a:lnTo>
                      <a:pt x="25673" y="12722"/>
                    </a:lnTo>
                    <a:lnTo>
                      <a:pt x="25820" y="12638"/>
                    </a:lnTo>
                    <a:lnTo>
                      <a:pt x="25862" y="12743"/>
                    </a:lnTo>
                    <a:lnTo>
                      <a:pt x="25987" y="12806"/>
                    </a:lnTo>
                    <a:lnTo>
                      <a:pt x="26071" y="12722"/>
                    </a:lnTo>
                    <a:lnTo>
                      <a:pt x="26071" y="12638"/>
                    </a:lnTo>
                    <a:lnTo>
                      <a:pt x="26134" y="12492"/>
                    </a:lnTo>
                    <a:lnTo>
                      <a:pt x="26029" y="12513"/>
                    </a:lnTo>
                    <a:lnTo>
                      <a:pt x="25945" y="12492"/>
                    </a:lnTo>
                    <a:lnTo>
                      <a:pt x="26029" y="12429"/>
                    </a:lnTo>
                    <a:lnTo>
                      <a:pt x="26092" y="12304"/>
                    </a:lnTo>
                    <a:lnTo>
                      <a:pt x="26029" y="12304"/>
                    </a:lnTo>
                    <a:lnTo>
                      <a:pt x="25945" y="12387"/>
                    </a:lnTo>
                    <a:lnTo>
                      <a:pt x="25778" y="12429"/>
                    </a:lnTo>
                    <a:lnTo>
                      <a:pt x="25778" y="12345"/>
                    </a:lnTo>
                    <a:lnTo>
                      <a:pt x="25924" y="12283"/>
                    </a:lnTo>
                    <a:lnTo>
                      <a:pt x="25924" y="12178"/>
                    </a:lnTo>
                    <a:lnTo>
                      <a:pt x="25841" y="12178"/>
                    </a:lnTo>
                    <a:lnTo>
                      <a:pt x="25736" y="12220"/>
                    </a:lnTo>
                    <a:lnTo>
                      <a:pt x="25736" y="12136"/>
                    </a:lnTo>
                    <a:lnTo>
                      <a:pt x="25778" y="11969"/>
                    </a:lnTo>
                    <a:lnTo>
                      <a:pt x="25862" y="11864"/>
                    </a:lnTo>
                    <a:lnTo>
                      <a:pt x="25883" y="11969"/>
                    </a:lnTo>
                    <a:lnTo>
                      <a:pt x="25945" y="11906"/>
                    </a:lnTo>
                    <a:lnTo>
                      <a:pt x="25945" y="11822"/>
                    </a:lnTo>
                    <a:lnTo>
                      <a:pt x="26092" y="11676"/>
                    </a:lnTo>
                    <a:lnTo>
                      <a:pt x="26092" y="11592"/>
                    </a:lnTo>
                    <a:lnTo>
                      <a:pt x="26280" y="11488"/>
                    </a:lnTo>
                    <a:lnTo>
                      <a:pt x="26280" y="11362"/>
                    </a:lnTo>
                    <a:lnTo>
                      <a:pt x="26364" y="11299"/>
                    </a:lnTo>
                    <a:lnTo>
                      <a:pt x="26448" y="11278"/>
                    </a:lnTo>
                    <a:lnTo>
                      <a:pt x="26448" y="11236"/>
                    </a:lnTo>
                    <a:lnTo>
                      <a:pt x="26343" y="11236"/>
                    </a:lnTo>
                    <a:lnTo>
                      <a:pt x="26196" y="11257"/>
                    </a:lnTo>
                    <a:lnTo>
                      <a:pt x="26155" y="11425"/>
                    </a:lnTo>
                    <a:lnTo>
                      <a:pt x="26029" y="11488"/>
                    </a:lnTo>
                    <a:lnTo>
                      <a:pt x="25945" y="11467"/>
                    </a:lnTo>
                    <a:lnTo>
                      <a:pt x="25966" y="11425"/>
                    </a:lnTo>
                    <a:lnTo>
                      <a:pt x="26113" y="11362"/>
                    </a:lnTo>
                    <a:lnTo>
                      <a:pt x="26134" y="11257"/>
                    </a:lnTo>
                    <a:lnTo>
                      <a:pt x="26050" y="11216"/>
                    </a:lnTo>
                    <a:lnTo>
                      <a:pt x="25966" y="11236"/>
                    </a:lnTo>
                    <a:lnTo>
                      <a:pt x="25883" y="11153"/>
                    </a:lnTo>
                    <a:lnTo>
                      <a:pt x="25924" y="11069"/>
                    </a:lnTo>
                    <a:lnTo>
                      <a:pt x="25945" y="10944"/>
                    </a:lnTo>
                    <a:lnTo>
                      <a:pt x="25862" y="10860"/>
                    </a:lnTo>
                    <a:lnTo>
                      <a:pt x="25820" y="10902"/>
                    </a:lnTo>
                    <a:lnTo>
                      <a:pt x="25778" y="10964"/>
                    </a:lnTo>
                    <a:lnTo>
                      <a:pt x="25778" y="10902"/>
                    </a:lnTo>
                    <a:lnTo>
                      <a:pt x="25820" y="10818"/>
                    </a:lnTo>
                    <a:lnTo>
                      <a:pt x="25757" y="10713"/>
                    </a:lnTo>
                    <a:lnTo>
                      <a:pt x="25652" y="10713"/>
                    </a:lnTo>
                    <a:lnTo>
                      <a:pt x="25631" y="10902"/>
                    </a:lnTo>
                    <a:lnTo>
                      <a:pt x="25527" y="10964"/>
                    </a:lnTo>
                    <a:lnTo>
                      <a:pt x="25506" y="11027"/>
                    </a:lnTo>
                    <a:lnTo>
                      <a:pt x="25443" y="10985"/>
                    </a:lnTo>
                    <a:lnTo>
                      <a:pt x="25443" y="10923"/>
                    </a:lnTo>
                    <a:lnTo>
                      <a:pt x="25401" y="10839"/>
                    </a:lnTo>
                    <a:lnTo>
                      <a:pt x="25318" y="10839"/>
                    </a:lnTo>
                    <a:lnTo>
                      <a:pt x="25297" y="10923"/>
                    </a:lnTo>
                    <a:lnTo>
                      <a:pt x="25318" y="10964"/>
                    </a:lnTo>
                    <a:lnTo>
                      <a:pt x="25297" y="11027"/>
                    </a:lnTo>
                    <a:lnTo>
                      <a:pt x="25339" y="11132"/>
                    </a:lnTo>
                    <a:lnTo>
                      <a:pt x="25339" y="11195"/>
                    </a:lnTo>
                    <a:lnTo>
                      <a:pt x="25297" y="11257"/>
                    </a:lnTo>
                    <a:lnTo>
                      <a:pt x="25234" y="11195"/>
                    </a:lnTo>
                    <a:lnTo>
                      <a:pt x="25234" y="11132"/>
                    </a:lnTo>
                    <a:lnTo>
                      <a:pt x="25192" y="11132"/>
                    </a:lnTo>
                    <a:lnTo>
                      <a:pt x="25171" y="11195"/>
                    </a:lnTo>
                    <a:lnTo>
                      <a:pt x="25213" y="11446"/>
                    </a:lnTo>
                    <a:lnTo>
                      <a:pt x="25234" y="11592"/>
                    </a:lnTo>
                    <a:lnTo>
                      <a:pt x="25401" y="11676"/>
                    </a:lnTo>
                    <a:lnTo>
                      <a:pt x="25443" y="11760"/>
                    </a:lnTo>
                    <a:lnTo>
                      <a:pt x="25443" y="11990"/>
                    </a:lnTo>
                    <a:lnTo>
                      <a:pt x="25422" y="11864"/>
                    </a:lnTo>
                    <a:lnTo>
                      <a:pt x="25339" y="11801"/>
                    </a:lnTo>
                    <a:lnTo>
                      <a:pt x="25192" y="11613"/>
                    </a:lnTo>
                    <a:lnTo>
                      <a:pt x="25171" y="11467"/>
                    </a:lnTo>
                    <a:lnTo>
                      <a:pt x="25108" y="11278"/>
                    </a:lnTo>
                    <a:lnTo>
                      <a:pt x="25025" y="11278"/>
                    </a:lnTo>
                    <a:lnTo>
                      <a:pt x="24983" y="11341"/>
                    </a:lnTo>
                    <a:lnTo>
                      <a:pt x="25004" y="11488"/>
                    </a:lnTo>
                    <a:lnTo>
                      <a:pt x="25087" y="11592"/>
                    </a:lnTo>
                    <a:lnTo>
                      <a:pt x="25108" y="11718"/>
                    </a:lnTo>
                    <a:lnTo>
                      <a:pt x="25067" y="11760"/>
                    </a:lnTo>
                    <a:lnTo>
                      <a:pt x="24983" y="11655"/>
                    </a:lnTo>
                    <a:lnTo>
                      <a:pt x="24774" y="11697"/>
                    </a:lnTo>
                    <a:lnTo>
                      <a:pt x="24711" y="11760"/>
                    </a:lnTo>
                    <a:lnTo>
                      <a:pt x="24648" y="11676"/>
                    </a:lnTo>
                    <a:lnTo>
                      <a:pt x="24564" y="11655"/>
                    </a:lnTo>
                    <a:lnTo>
                      <a:pt x="24376" y="11488"/>
                    </a:lnTo>
                    <a:lnTo>
                      <a:pt x="24146" y="11488"/>
                    </a:lnTo>
                    <a:lnTo>
                      <a:pt x="24125" y="11404"/>
                    </a:lnTo>
                    <a:lnTo>
                      <a:pt x="24083" y="11404"/>
                    </a:lnTo>
                    <a:lnTo>
                      <a:pt x="23937" y="11488"/>
                    </a:lnTo>
                    <a:lnTo>
                      <a:pt x="23874" y="11571"/>
                    </a:lnTo>
                    <a:lnTo>
                      <a:pt x="23707" y="11571"/>
                    </a:lnTo>
                    <a:lnTo>
                      <a:pt x="23560" y="11655"/>
                    </a:lnTo>
                    <a:lnTo>
                      <a:pt x="23435" y="11550"/>
                    </a:lnTo>
                    <a:lnTo>
                      <a:pt x="23414" y="11550"/>
                    </a:lnTo>
                    <a:lnTo>
                      <a:pt x="23393" y="11446"/>
                    </a:lnTo>
                    <a:lnTo>
                      <a:pt x="23330" y="11404"/>
                    </a:lnTo>
                    <a:lnTo>
                      <a:pt x="23204" y="11488"/>
                    </a:lnTo>
                    <a:lnTo>
                      <a:pt x="23204" y="11404"/>
                    </a:lnTo>
                    <a:lnTo>
                      <a:pt x="23037" y="11257"/>
                    </a:lnTo>
                    <a:lnTo>
                      <a:pt x="23016" y="11174"/>
                    </a:lnTo>
                    <a:lnTo>
                      <a:pt x="22974" y="11153"/>
                    </a:lnTo>
                    <a:lnTo>
                      <a:pt x="22974" y="11069"/>
                    </a:lnTo>
                    <a:lnTo>
                      <a:pt x="22995" y="11027"/>
                    </a:lnTo>
                    <a:lnTo>
                      <a:pt x="22932" y="10944"/>
                    </a:lnTo>
                    <a:lnTo>
                      <a:pt x="22890" y="10964"/>
                    </a:lnTo>
                    <a:lnTo>
                      <a:pt x="22870" y="10944"/>
                    </a:lnTo>
                    <a:lnTo>
                      <a:pt x="22870" y="10860"/>
                    </a:lnTo>
                    <a:lnTo>
                      <a:pt x="22807" y="10839"/>
                    </a:lnTo>
                    <a:lnTo>
                      <a:pt x="22702" y="10881"/>
                    </a:lnTo>
                    <a:lnTo>
                      <a:pt x="22577" y="10881"/>
                    </a:lnTo>
                    <a:lnTo>
                      <a:pt x="22493" y="10818"/>
                    </a:lnTo>
                    <a:lnTo>
                      <a:pt x="22451" y="10818"/>
                    </a:lnTo>
                    <a:lnTo>
                      <a:pt x="22409" y="10755"/>
                    </a:lnTo>
                    <a:lnTo>
                      <a:pt x="22305" y="10713"/>
                    </a:lnTo>
                    <a:lnTo>
                      <a:pt x="22200" y="10713"/>
                    </a:lnTo>
                    <a:lnTo>
                      <a:pt x="22263" y="10630"/>
                    </a:lnTo>
                    <a:lnTo>
                      <a:pt x="22263" y="10546"/>
                    </a:lnTo>
                    <a:lnTo>
                      <a:pt x="22346" y="10462"/>
                    </a:lnTo>
                    <a:lnTo>
                      <a:pt x="22346" y="10420"/>
                    </a:lnTo>
                    <a:lnTo>
                      <a:pt x="22263" y="10400"/>
                    </a:lnTo>
                    <a:lnTo>
                      <a:pt x="22179" y="10400"/>
                    </a:lnTo>
                    <a:lnTo>
                      <a:pt x="22158" y="10148"/>
                    </a:lnTo>
                    <a:lnTo>
                      <a:pt x="22095" y="10127"/>
                    </a:lnTo>
                    <a:lnTo>
                      <a:pt x="22095" y="10086"/>
                    </a:lnTo>
                    <a:lnTo>
                      <a:pt x="22179" y="10023"/>
                    </a:lnTo>
                    <a:lnTo>
                      <a:pt x="22200" y="9981"/>
                    </a:lnTo>
                    <a:lnTo>
                      <a:pt x="22158" y="9939"/>
                    </a:lnTo>
                    <a:lnTo>
                      <a:pt x="22179" y="9876"/>
                    </a:lnTo>
                    <a:lnTo>
                      <a:pt x="22179" y="9772"/>
                    </a:lnTo>
                    <a:cubicBezTo>
                      <a:pt x="22284" y="9709"/>
                      <a:pt x="22388" y="9688"/>
                      <a:pt x="22493" y="9604"/>
                    </a:cubicBezTo>
                    <a:lnTo>
                      <a:pt x="22514" y="9625"/>
                    </a:lnTo>
                    <a:lnTo>
                      <a:pt x="22598" y="9604"/>
                    </a:lnTo>
                    <a:lnTo>
                      <a:pt x="22681" y="9500"/>
                    </a:lnTo>
                    <a:lnTo>
                      <a:pt x="22702" y="9500"/>
                    </a:lnTo>
                    <a:lnTo>
                      <a:pt x="22702" y="9604"/>
                    </a:lnTo>
                    <a:lnTo>
                      <a:pt x="22765" y="9709"/>
                    </a:lnTo>
                    <a:lnTo>
                      <a:pt x="22828" y="9730"/>
                    </a:lnTo>
                    <a:lnTo>
                      <a:pt x="22911" y="9688"/>
                    </a:lnTo>
                    <a:lnTo>
                      <a:pt x="22995" y="9709"/>
                    </a:lnTo>
                    <a:lnTo>
                      <a:pt x="23037" y="9793"/>
                    </a:lnTo>
                    <a:lnTo>
                      <a:pt x="23121" y="9793"/>
                    </a:lnTo>
                    <a:lnTo>
                      <a:pt x="23183" y="9835"/>
                    </a:lnTo>
                    <a:lnTo>
                      <a:pt x="23225" y="9835"/>
                    </a:lnTo>
                    <a:lnTo>
                      <a:pt x="23225" y="9730"/>
                    </a:lnTo>
                    <a:lnTo>
                      <a:pt x="23288" y="9730"/>
                    </a:lnTo>
                    <a:lnTo>
                      <a:pt x="23351" y="9709"/>
                    </a:lnTo>
                    <a:lnTo>
                      <a:pt x="23414" y="9730"/>
                    </a:lnTo>
                    <a:lnTo>
                      <a:pt x="23414" y="9814"/>
                    </a:lnTo>
                    <a:lnTo>
                      <a:pt x="23455" y="9835"/>
                    </a:lnTo>
                    <a:lnTo>
                      <a:pt x="23539" y="9814"/>
                    </a:lnTo>
                    <a:lnTo>
                      <a:pt x="23602" y="9730"/>
                    </a:lnTo>
                    <a:lnTo>
                      <a:pt x="23644" y="9772"/>
                    </a:lnTo>
                    <a:lnTo>
                      <a:pt x="23665" y="9835"/>
                    </a:lnTo>
                    <a:lnTo>
                      <a:pt x="23727" y="9835"/>
                    </a:lnTo>
                    <a:lnTo>
                      <a:pt x="23748" y="9793"/>
                    </a:lnTo>
                    <a:lnTo>
                      <a:pt x="23769" y="9793"/>
                    </a:lnTo>
                    <a:lnTo>
                      <a:pt x="23832" y="9709"/>
                    </a:lnTo>
                    <a:lnTo>
                      <a:pt x="23916" y="9709"/>
                    </a:lnTo>
                    <a:lnTo>
                      <a:pt x="23937" y="9772"/>
                    </a:lnTo>
                    <a:lnTo>
                      <a:pt x="23979" y="9793"/>
                    </a:lnTo>
                    <a:lnTo>
                      <a:pt x="24041" y="9772"/>
                    </a:lnTo>
                    <a:lnTo>
                      <a:pt x="24041" y="9709"/>
                    </a:lnTo>
                    <a:lnTo>
                      <a:pt x="24020" y="9667"/>
                    </a:lnTo>
                    <a:lnTo>
                      <a:pt x="24083" y="9583"/>
                    </a:lnTo>
                    <a:lnTo>
                      <a:pt x="24083" y="9521"/>
                    </a:lnTo>
                    <a:lnTo>
                      <a:pt x="24146" y="9458"/>
                    </a:lnTo>
                    <a:lnTo>
                      <a:pt x="24146" y="9374"/>
                    </a:lnTo>
                    <a:lnTo>
                      <a:pt x="24062" y="9374"/>
                    </a:lnTo>
                    <a:lnTo>
                      <a:pt x="24041" y="9291"/>
                    </a:lnTo>
                    <a:lnTo>
                      <a:pt x="24062" y="9186"/>
                    </a:lnTo>
                    <a:lnTo>
                      <a:pt x="24146" y="9165"/>
                    </a:lnTo>
                    <a:lnTo>
                      <a:pt x="24146" y="9060"/>
                    </a:lnTo>
                    <a:lnTo>
                      <a:pt x="24041" y="8998"/>
                    </a:lnTo>
                    <a:lnTo>
                      <a:pt x="23958" y="9039"/>
                    </a:lnTo>
                    <a:lnTo>
                      <a:pt x="23958" y="9102"/>
                    </a:lnTo>
                    <a:lnTo>
                      <a:pt x="23916" y="9165"/>
                    </a:lnTo>
                    <a:lnTo>
                      <a:pt x="23832" y="9102"/>
                    </a:lnTo>
                    <a:lnTo>
                      <a:pt x="23707" y="9102"/>
                    </a:lnTo>
                    <a:lnTo>
                      <a:pt x="23560" y="9249"/>
                    </a:lnTo>
                    <a:lnTo>
                      <a:pt x="23455" y="9311"/>
                    </a:lnTo>
                    <a:lnTo>
                      <a:pt x="23455" y="9270"/>
                    </a:lnTo>
                    <a:lnTo>
                      <a:pt x="23602" y="9186"/>
                    </a:lnTo>
                    <a:lnTo>
                      <a:pt x="23644" y="9102"/>
                    </a:lnTo>
                    <a:lnTo>
                      <a:pt x="23644" y="8977"/>
                    </a:lnTo>
                    <a:lnTo>
                      <a:pt x="23602" y="9060"/>
                    </a:lnTo>
                    <a:lnTo>
                      <a:pt x="23539" y="9039"/>
                    </a:lnTo>
                    <a:lnTo>
                      <a:pt x="23539" y="8935"/>
                    </a:lnTo>
                    <a:lnTo>
                      <a:pt x="23644" y="8851"/>
                    </a:lnTo>
                    <a:lnTo>
                      <a:pt x="23560" y="8726"/>
                    </a:lnTo>
                    <a:lnTo>
                      <a:pt x="23644" y="8642"/>
                    </a:lnTo>
                    <a:lnTo>
                      <a:pt x="23727" y="8642"/>
                    </a:lnTo>
                    <a:lnTo>
                      <a:pt x="23707" y="8684"/>
                    </a:lnTo>
                    <a:lnTo>
                      <a:pt x="23748" y="8851"/>
                    </a:lnTo>
                    <a:lnTo>
                      <a:pt x="23832" y="8935"/>
                    </a:lnTo>
                    <a:lnTo>
                      <a:pt x="23874" y="8893"/>
                    </a:lnTo>
                    <a:lnTo>
                      <a:pt x="23979" y="8893"/>
                    </a:lnTo>
                    <a:lnTo>
                      <a:pt x="24041" y="8767"/>
                    </a:lnTo>
                    <a:lnTo>
                      <a:pt x="23979" y="8726"/>
                    </a:lnTo>
                    <a:lnTo>
                      <a:pt x="23979" y="8663"/>
                    </a:lnTo>
                    <a:lnTo>
                      <a:pt x="24062" y="8663"/>
                    </a:lnTo>
                    <a:lnTo>
                      <a:pt x="24083" y="8726"/>
                    </a:lnTo>
                    <a:lnTo>
                      <a:pt x="24146" y="8684"/>
                    </a:lnTo>
                    <a:lnTo>
                      <a:pt x="24251" y="8621"/>
                    </a:lnTo>
                    <a:lnTo>
                      <a:pt x="24271" y="8475"/>
                    </a:lnTo>
                    <a:lnTo>
                      <a:pt x="24292" y="8579"/>
                    </a:lnTo>
                    <a:lnTo>
                      <a:pt x="24355" y="8579"/>
                    </a:lnTo>
                    <a:lnTo>
                      <a:pt x="24460" y="8516"/>
                    </a:lnTo>
                    <a:lnTo>
                      <a:pt x="24376" y="8684"/>
                    </a:lnTo>
                    <a:lnTo>
                      <a:pt x="24376" y="8851"/>
                    </a:lnTo>
                    <a:lnTo>
                      <a:pt x="24439" y="8830"/>
                    </a:lnTo>
                    <a:lnTo>
                      <a:pt x="24481" y="8851"/>
                    </a:lnTo>
                    <a:lnTo>
                      <a:pt x="24439" y="8935"/>
                    </a:lnTo>
                    <a:lnTo>
                      <a:pt x="24502" y="8935"/>
                    </a:lnTo>
                    <a:lnTo>
                      <a:pt x="24564" y="8788"/>
                    </a:lnTo>
                    <a:lnTo>
                      <a:pt x="24606" y="8747"/>
                    </a:lnTo>
                    <a:lnTo>
                      <a:pt x="24690" y="8579"/>
                    </a:lnTo>
                    <a:lnTo>
                      <a:pt x="24774" y="8558"/>
                    </a:lnTo>
                    <a:lnTo>
                      <a:pt x="24753" y="8684"/>
                    </a:lnTo>
                    <a:lnTo>
                      <a:pt x="24648" y="8788"/>
                    </a:lnTo>
                    <a:lnTo>
                      <a:pt x="24669" y="8977"/>
                    </a:lnTo>
                    <a:lnTo>
                      <a:pt x="24753" y="8977"/>
                    </a:lnTo>
                    <a:lnTo>
                      <a:pt x="24815" y="9039"/>
                    </a:lnTo>
                    <a:lnTo>
                      <a:pt x="24878" y="8956"/>
                    </a:lnTo>
                    <a:lnTo>
                      <a:pt x="25004" y="8851"/>
                    </a:lnTo>
                    <a:lnTo>
                      <a:pt x="25067" y="8684"/>
                    </a:lnTo>
                    <a:lnTo>
                      <a:pt x="25108" y="8558"/>
                    </a:lnTo>
                    <a:lnTo>
                      <a:pt x="25087" y="8433"/>
                    </a:lnTo>
                    <a:lnTo>
                      <a:pt x="25129" y="8370"/>
                    </a:lnTo>
                    <a:lnTo>
                      <a:pt x="25108" y="8328"/>
                    </a:lnTo>
                    <a:lnTo>
                      <a:pt x="25025" y="8328"/>
                    </a:lnTo>
                    <a:lnTo>
                      <a:pt x="24983" y="8307"/>
                    </a:lnTo>
                    <a:lnTo>
                      <a:pt x="24899" y="8349"/>
                    </a:lnTo>
                    <a:lnTo>
                      <a:pt x="24899" y="8223"/>
                    </a:lnTo>
                    <a:lnTo>
                      <a:pt x="24941" y="8203"/>
                    </a:lnTo>
                    <a:lnTo>
                      <a:pt x="24920" y="8140"/>
                    </a:lnTo>
                    <a:lnTo>
                      <a:pt x="24815" y="8140"/>
                    </a:lnTo>
                    <a:lnTo>
                      <a:pt x="24795" y="8098"/>
                    </a:lnTo>
                    <a:lnTo>
                      <a:pt x="24690" y="8014"/>
                    </a:lnTo>
                    <a:lnTo>
                      <a:pt x="24690" y="7931"/>
                    </a:lnTo>
                    <a:lnTo>
                      <a:pt x="24606" y="7742"/>
                    </a:lnTo>
                    <a:lnTo>
                      <a:pt x="24585" y="7617"/>
                    </a:lnTo>
                    <a:lnTo>
                      <a:pt x="24627" y="7491"/>
                    </a:lnTo>
                    <a:lnTo>
                      <a:pt x="24585" y="7324"/>
                    </a:lnTo>
                    <a:lnTo>
                      <a:pt x="24502" y="7470"/>
                    </a:lnTo>
                    <a:lnTo>
                      <a:pt x="24502" y="7575"/>
                    </a:lnTo>
                    <a:lnTo>
                      <a:pt x="24418" y="7428"/>
                    </a:lnTo>
                    <a:lnTo>
                      <a:pt x="24292" y="7366"/>
                    </a:lnTo>
                    <a:lnTo>
                      <a:pt x="24271" y="7114"/>
                    </a:lnTo>
                    <a:lnTo>
                      <a:pt x="24188" y="7073"/>
                    </a:lnTo>
                    <a:lnTo>
                      <a:pt x="24167" y="6884"/>
                    </a:lnTo>
                    <a:lnTo>
                      <a:pt x="24083" y="6780"/>
                    </a:lnTo>
                    <a:lnTo>
                      <a:pt x="24083" y="6675"/>
                    </a:lnTo>
                    <a:lnTo>
                      <a:pt x="24041" y="6591"/>
                    </a:lnTo>
                    <a:lnTo>
                      <a:pt x="24041" y="6529"/>
                    </a:lnTo>
                    <a:lnTo>
                      <a:pt x="24146" y="6529"/>
                    </a:lnTo>
                    <a:lnTo>
                      <a:pt x="24167" y="6382"/>
                    </a:lnTo>
                    <a:lnTo>
                      <a:pt x="24251" y="6382"/>
                    </a:lnTo>
                    <a:lnTo>
                      <a:pt x="24271" y="6424"/>
                    </a:lnTo>
                    <a:lnTo>
                      <a:pt x="24355" y="6361"/>
                    </a:lnTo>
                    <a:lnTo>
                      <a:pt x="24355" y="6257"/>
                    </a:lnTo>
                    <a:lnTo>
                      <a:pt x="24460" y="6026"/>
                    </a:lnTo>
                    <a:lnTo>
                      <a:pt x="24460" y="5922"/>
                    </a:lnTo>
                    <a:lnTo>
                      <a:pt x="24481" y="5880"/>
                    </a:lnTo>
                    <a:lnTo>
                      <a:pt x="24397" y="5692"/>
                    </a:lnTo>
                    <a:lnTo>
                      <a:pt x="24460" y="5566"/>
                    </a:lnTo>
                    <a:lnTo>
                      <a:pt x="24523" y="5566"/>
                    </a:lnTo>
                    <a:lnTo>
                      <a:pt x="24523" y="5399"/>
                    </a:lnTo>
                    <a:lnTo>
                      <a:pt x="24627" y="5252"/>
                    </a:lnTo>
                    <a:lnTo>
                      <a:pt x="24627" y="5148"/>
                    </a:lnTo>
                    <a:lnTo>
                      <a:pt x="24690" y="5064"/>
                    </a:lnTo>
                    <a:lnTo>
                      <a:pt x="24690" y="4855"/>
                    </a:lnTo>
                    <a:lnTo>
                      <a:pt x="24774" y="4834"/>
                    </a:lnTo>
                    <a:lnTo>
                      <a:pt x="24774" y="4729"/>
                    </a:lnTo>
                    <a:lnTo>
                      <a:pt x="24899" y="4583"/>
                    </a:lnTo>
                    <a:lnTo>
                      <a:pt x="24899" y="4478"/>
                    </a:lnTo>
                    <a:cubicBezTo>
                      <a:pt x="24918" y="4516"/>
                      <a:pt x="24966" y="4536"/>
                      <a:pt x="25020" y="4536"/>
                    </a:cubicBezTo>
                    <a:cubicBezTo>
                      <a:pt x="25085" y="4536"/>
                      <a:pt x="25158" y="4505"/>
                      <a:pt x="25192" y="4436"/>
                    </a:cubicBezTo>
                    <a:lnTo>
                      <a:pt x="25255" y="4122"/>
                    </a:lnTo>
                    <a:lnTo>
                      <a:pt x="25359" y="4122"/>
                    </a:lnTo>
                    <a:lnTo>
                      <a:pt x="25506" y="3955"/>
                    </a:lnTo>
                    <a:lnTo>
                      <a:pt x="25652" y="3892"/>
                    </a:lnTo>
                    <a:lnTo>
                      <a:pt x="25820" y="3725"/>
                    </a:lnTo>
                    <a:lnTo>
                      <a:pt x="25862" y="3725"/>
                    </a:lnTo>
                    <a:lnTo>
                      <a:pt x="25987" y="3599"/>
                    </a:lnTo>
                    <a:lnTo>
                      <a:pt x="25987" y="3516"/>
                    </a:lnTo>
                    <a:lnTo>
                      <a:pt x="26050" y="3474"/>
                    </a:lnTo>
                    <a:lnTo>
                      <a:pt x="26050" y="3390"/>
                    </a:lnTo>
                    <a:lnTo>
                      <a:pt x="25966" y="3285"/>
                    </a:lnTo>
                    <a:lnTo>
                      <a:pt x="25987" y="3223"/>
                    </a:lnTo>
                    <a:lnTo>
                      <a:pt x="25987" y="3160"/>
                    </a:lnTo>
                    <a:lnTo>
                      <a:pt x="25883" y="2993"/>
                    </a:lnTo>
                    <a:lnTo>
                      <a:pt x="25820" y="2993"/>
                    </a:lnTo>
                    <a:lnTo>
                      <a:pt x="25736" y="3013"/>
                    </a:lnTo>
                    <a:lnTo>
                      <a:pt x="25631" y="2972"/>
                    </a:lnTo>
                    <a:lnTo>
                      <a:pt x="25548" y="2993"/>
                    </a:lnTo>
                    <a:lnTo>
                      <a:pt x="25443" y="2909"/>
                    </a:lnTo>
                    <a:lnTo>
                      <a:pt x="25359" y="2909"/>
                    </a:lnTo>
                    <a:lnTo>
                      <a:pt x="25297" y="2846"/>
                    </a:lnTo>
                    <a:lnTo>
                      <a:pt x="25129" y="2867"/>
                    </a:lnTo>
                    <a:lnTo>
                      <a:pt x="25025" y="2972"/>
                    </a:lnTo>
                    <a:lnTo>
                      <a:pt x="24941" y="2993"/>
                    </a:lnTo>
                    <a:lnTo>
                      <a:pt x="24774" y="3118"/>
                    </a:lnTo>
                    <a:lnTo>
                      <a:pt x="24774" y="3181"/>
                    </a:lnTo>
                    <a:lnTo>
                      <a:pt x="24878" y="3265"/>
                    </a:lnTo>
                    <a:lnTo>
                      <a:pt x="24941" y="3390"/>
                    </a:lnTo>
                    <a:lnTo>
                      <a:pt x="24941" y="3516"/>
                    </a:lnTo>
                    <a:lnTo>
                      <a:pt x="24983" y="3641"/>
                    </a:lnTo>
                    <a:lnTo>
                      <a:pt x="24941" y="3704"/>
                    </a:lnTo>
                    <a:lnTo>
                      <a:pt x="24941" y="3809"/>
                    </a:lnTo>
                    <a:lnTo>
                      <a:pt x="25025" y="3913"/>
                    </a:lnTo>
                    <a:lnTo>
                      <a:pt x="25025" y="3934"/>
                    </a:lnTo>
                    <a:lnTo>
                      <a:pt x="25004" y="3955"/>
                    </a:lnTo>
                    <a:cubicBezTo>
                      <a:pt x="24983" y="4018"/>
                      <a:pt x="24941" y="4081"/>
                      <a:pt x="24920" y="4143"/>
                    </a:cubicBezTo>
                    <a:lnTo>
                      <a:pt x="24899" y="4081"/>
                    </a:lnTo>
                    <a:lnTo>
                      <a:pt x="24920" y="4018"/>
                    </a:lnTo>
                    <a:lnTo>
                      <a:pt x="24920" y="3934"/>
                    </a:lnTo>
                    <a:lnTo>
                      <a:pt x="24815" y="3871"/>
                    </a:lnTo>
                    <a:lnTo>
                      <a:pt x="24774" y="3725"/>
                    </a:lnTo>
                    <a:lnTo>
                      <a:pt x="24795" y="3662"/>
                    </a:lnTo>
                    <a:lnTo>
                      <a:pt x="24711" y="3495"/>
                    </a:lnTo>
                    <a:lnTo>
                      <a:pt x="24606" y="3474"/>
                    </a:lnTo>
                    <a:lnTo>
                      <a:pt x="24564" y="3411"/>
                    </a:lnTo>
                    <a:lnTo>
                      <a:pt x="24502" y="3411"/>
                    </a:lnTo>
                    <a:lnTo>
                      <a:pt x="24481" y="3578"/>
                    </a:lnTo>
                    <a:lnTo>
                      <a:pt x="24418" y="3578"/>
                    </a:lnTo>
                    <a:lnTo>
                      <a:pt x="24292" y="3369"/>
                    </a:lnTo>
                    <a:lnTo>
                      <a:pt x="24209" y="3369"/>
                    </a:lnTo>
                    <a:lnTo>
                      <a:pt x="24146" y="3285"/>
                    </a:lnTo>
                    <a:lnTo>
                      <a:pt x="24062" y="3327"/>
                    </a:lnTo>
                    <a:lnTo>
                      <a:pt x="24083" y="3495"/>
                    </a:lnTo>
                    <a:lnTo>
                      <a:pt x="24041" y="3516"/>
                    </a:lnTo>
                    <a:lnTo>
                      <a:pt x="23958" y="3495"/>
                    </a:lnTo>
                    <a:lnTo>
                      <a:pt x="23895" y="3620"/>
                    </a:lnTo>
                    <a:lnTo>
                      <a:pt x="23895" y="3704"/>
                    </a:lnTo>
                    <a:lnTo>
                      <a:pt x="23832" y="3746"/>
                    </a:lnTo>
                    <a:lnTo>
                      <a:pt x="23748" y="4039"/>
                    </a:lnTo>
                    <a:lnTo>
                      <a:pt x="23748" y="4143"/>
                    </a:lnTo>
                    <a:lnTo>
                      <a:pt x="23686" y="4227"/>
                    </a:lnTo>
                    <a:lnTo>
                      <a:pt x="23686" y="4353"/>
                    </a:lnTo>
                    <a:lnTo>
                      <a:pt x="23665" y="4374"/>
                    </a:lnTo>
                    <a:lnTo>
                      <a:pt x="23665" y="4478"/>
                    </a:lnTo>
                    <a:lnTo>
                      <a:pt x="23581" y="4541"/>
                    </a:lnTo>
                    <a:lnTo>
                      <a:pt x="23581" y="4771"/>
                    </a:lnTo>
                    <a:lnTo>
                      <a:pt x="23518" y="4813"/>
                    </a:lnTo>
                    <a:lnTo>
                      <a:pt x="23455" y="4792"/>
                    </a:lnTo>
                    <a:lnTo>
                      <a:pt x="23372" y="4980"/>
                    </a:lnTo>
                    <a:lnTo>
                      <a:pt x="23414" y="5064"/>
                    </a:lnTo>
                    <a:lnTo>
                      <a:pt x="23372" y="5169"/>
                    </a:lnTo>
                    <a:lnTo>
                      <a:pt x="23372" y="5273"/>
                    </a:lnTo>
                    <a:lnTo>
                      <a:pt x="23309" y="5378"/>
                    </a:lnTo>
                    <a:lnTo>
                      <a:pt x="23351" y="5462"/>
                    </a:lnTo>
                    <a:lnTo>
                      <a:pt x="23330" y="5524"/>
                    </a:lnTo>
                    <a:lnTo>
                      <a:pt x="23204" y="5524"/>
                    </a:lnTo>
                    <a:lnTo>
                      <a:pt x="23246" y="5587"/>
                    </a:lnTo>
                    <a:lnTo>
                      <a:pt x="23351" y="5629"/>
                    </a:lnTo>
                    <a:lnTo>
                      <a:pt x="23351" y="5734"/>
                    </a:lnTo>
                    <a:lnTo>
                      <a:pt x="23267" y="5713"/>
                    </a:lnTo>
                    <a:lnTo>
                      <a:pt x="23204" y="5734"/>
                    </a:lnTo>
                    <a:lnTo>
                      <a:pt x="23121" y="5796"/>
                    </a:lnTo>
                    <a:lnTo>
                      <a:pt x="23037" y="5754"/>
                    </a:lnTo>
                    <a:lnTo>
                      <a:pt x="22995" y="5817"/>
                    </a:lnTo>
                    <a:lnTo>
                      <a:pt x="22995" y="5922"/>
                    </a:lnTo>
                    <a:lnTo>
                      <a:pt x="22932" y="5964"/>
                    </a:lnTo>
                    <a:lnTo>
                      <a:pt x="22849" y="5922"/>
                    </a:lnTo>
                    <a:lnTo>
                      <a:pt x="22849" y="5817"/>
                    </a:lnTo>
                    <a:lnTo>
                      <a:pt x="22890" y="5734"/>
                    </a:lnTo>
                    <a:lnTo>
                      <a:pt x="22828" y="5650"/>
                    </a:lnTo>
                    <a:lnTo>
                      <a:pt x="22828" y="5482"/>
                    </a:lnTo>
                    <a:lnTo>
                      <a:pt x="22911" y="5294"/>
                    </a:lnTo>
                    <a:lnTo>
                      <a:pt x="22932" y="5169"/>
                    </a:lnTo>
                    <a:lnTo>
                      <a:pt x="23016" y="5085"/>
                    </a:lnTo>
                    <a:lnTo>
                      <a:pt x="23016" y="4980"/>
                    </a:lnTo>
                    <a:lnTo>
                      <a:pt x="23037" y="4876"/>
                    </a:lnTo>
                    <a:lnTo>
                      <a:pt x="23100" y="4646"/>
                    </a:lnTo>
                    <a:lnTo>
                      <a:pt x="23225" y="4562"/>
                    </a:lnTo>
                    <a:lnTo>
                      <a:pt x="23225" y="4436"/>
                    </a:lnTo>
                    <a:lnTo>
                      <a:pt x="23100" y="4436"/>
                    </a:lnTo>
                    <a:lnTo>
                      <a:pt x="23100" y="4353"/>
                    </a:lnTo>
                    <a:lnTo>
                      <a:pt x="23163" y="4269"/>
                    </a:lnTo>
                    <a:lnTo>
                      <a:pt x="23163" y="4039"/>
                    </a:lnTo>
                    <a:lnTo>
                      <a:pt x="23121" y="3976"/>
                    </a:lnTo>
                    <a:lnTo>
                      <a:pt x="23058" y="3850"/>
                    </a:lnTo>
                    <a:lnTo>
                      <a:pt x="23100" y="3809"/>
                    </a:lnTo>
                    <a:lnTo>
                      <a:pt x="23100" y="3662"/>
                    </a:lnTo>
                    <a:lnTo>
                      <a:pt x="23016" y="3662"/>
                    </a:lnTo>
                    <a:lnTo>
                      <a:pt x="22911" y="3537"/>
                    </a:lnTo>
                    <a:lnTo>
                      <a:pt x="22744" y="3599"/>
                    </a:lnTo>
                    <a:lnTo>
                      <a:pt x="22723" y="3725"/>
                    </a:lnTo>
                    <a:lnTo>
                      <a:pt x="22828" y="3809"/>
                    </a:lnTo>
                    <a:lnTo>
                      <a:pt x="22828" y="3913"/>
                    </a:lnTo>
                    <a:lnTo>
                      <a:pt x="22890" y="3976"/>
                    </a:lnTo>
                    <a:lnTo>
                      <a:pt x="22890" y="4060"/>
                    </a:lnTo>
                    <a:lnTo>
                      <a:pt x="22807" y="4060"/>
                    </a:lnTo>
                    <a:lnTo>
                      <a:pt x="22786" y="3955"/>
                    </a:lnTo>
                    <a:lnTo>
                      <a:pt x="22702" y="3955"/>
                    </a:lnTo>
                    <a:lnTo>
                      <a:pt x="22639" y="4081"/>
                    </a:lnTo>
                    <a:lnTo>
                      <a:pt x="22702" y="4122"/>
                    </a:lnTo>
                    <a:lnTo>
                      <a:pt x="22723" y="4227"/>
                    </a:lnTo>
                    <a:lnTo>
                      <a:pt x="22786" y="4353"/>
                    </a:lnTo>
                    <a:lnTo>
                      <a:pt x="22723" y="4394"/>
                    </a:lnTo>
                    <a:lnTo>
                      <a:pt x="22702" y="4353"/>
                    </a:lnTo>
                    <a:lnTo>
                      <a:pt x="22639" y="4290"/>
                    </a:lnTo>
                    <a:lnTo>
                      <a:pt x="22618" y="4436"/>
                    </a:lnTo>
                    <a:lnTo>
                      <a:pt x="22514" y="4353"/>
                    </a:lnTo>
                    <a:lnTo>
                      <a:pt x="22514" y="4248"/>
                    </a:lnTo>
                    <a:lnTo>
                      <a:pt x="22430" y="4248"/>
                    </a:lnTo>
                    <a:lnTo>
                      <a:pt x="22388" y="4353"/>
                    </a:lnTo>
                    <a:lnTo>
                      <a:pt x="22326" y="4332"/>
                    </a:lnTo>
                    <a:lnTo>
                      <a:pt x="22326" y="4185"/>
                    </a:lnTo>
                    <a:lnTo>
                      <a:pt x="22409" y="4122"/>
                    </a:lnTo>
                    <a:lnTo>
                      <a:pt x="22388" y="4081"/>
                    </a:lnTo>
                    <a:lnTo>
                      <a:pt x="22221" y="4143"/>
                    </a:lnTo>
                    <a:lnTo>
                      <a:pt x="22095" y="4269"/>
                    </a:lnTo>
                    <a:lnTo>
                      <a:pt x="22012" y="4143"/>
                    </a:lnTo>
                    <a:lnTo>
                      <a:pt x="21949" y="4143"/>
                    </a:lnTo>
                    <a:lnTo>
                      <a:pt x="21865" y="4227"/>
                    </a:lnTo>
                    <a:lnTo>
                      <a:pt x="21740" y="4227"/>
                    </a:lnTo>
                    <a:lnTo>
                      <a:pt x="21698" y="4164"/>
                    </a:lnTo>
                    <a:lnTo>
                      <a:pt x="21572" y="4185"/>
                    </a:lnTo>
                    <a:lnTo>
                      <a:pt x="21530" y="4143"/>
                    </a:lnTo>
                    <a:lnTo>
                      <a:pt x="21635" y="4060"/>
                    </a:lnTo>
                    <a:lnTo>
                      <a:pt x="21782" y="4039"/>
                    </a:lnTo>
                    <a:lnTo>
                      <a:pt x="21865" y="4060"/>
                    </a:lnTo>
                    <a:lnTo>
                      <a:pt x="21991" y="4039"/>
                    </a:lnTo>
                    <a:lnTo>
                      <a:pt x="21991" y="3955"/>
                    </a:lnTo>
                    <a:lnTo>
                      <a:pt x="22074" y="3934"/>
                    </a:lnTo>
                    <a:lnTo>
                      <a:pt x="22158" y="3955"/>
                    </a:lnTo>
                    <a:lnTo>
                      <a:pt x="22263" y="3850"/>
                    </a:lnTo>
                    <a:lnTo>
                      <a:pt x="22263" y="3746"/>
                    </a:lnTo>
                    <a:lnTo>
                      <a:pt x="22284" y="3662"/>
                    </a:lnTo>
                    <a:lnTo>
                      <a:pt x="22200" y="3599"/>
                    </a:lnTo>
                    <a:lnTo>
                      <a:pt x="22095" y="3411"/>
                    </a:lnTo>
                    <a:lnTo>
                      <a:pt x="21970" y="3348"/>
                    </a:lnTo>
                    <a:lnTo>
                      <a:pt x="21949" y="3285"/>
                    </a:lnTo>
                    <a:lnTo>
                      <a:pt x="21761" y="3118"/>
                    </a:lnTo>
                    <a:lnTo>
                      <a:pt x="21740" y="3076"/>
                    </a:lnTo>
                    <a:lnTo>
                      <a:pt x="21635" y="3076"/>
                    </a:lnTo>
                    <a:lnTo>
                      <a:pt x="21489" y="3139"/>
                    </a:lnTo>
                    <a:lnTo>
                      <a:pt x="21426" y="3139"/>
                    </a:lnTo>
                    <a:lnTo>
                      <a:pt x="21238" y="3327"/>
                    </a:lnTo>
                    <a:lnTo>
                      <a:pt x="21279" y="3390"/>
                    </a:lnTo>
                    <a:lnTo>
                      <a:pt x="21279" y="3453"/>
                    </a:lnTo>
                    <a:lnTo>
                      <a:pt x="21217" y="3495"/>
                    </a:lnTo>
                    <a:lnTo>
                      <a:pt x="21133" y="3516"/>
                    </a:lnTo>
                    <a:lnTo>
                      <a:pt x="21133" y="3453"/>
                    </a:lnTo>
                    <a:lnTo>
                      <a:pt x="21049" y="3495"/>
                    </a:lnTo>
                    <a:lnTo>
                      <a:pt x="20966" y="3432"/>
                    </a:lnTo>
                    <a:lnTo>
                      <a:pt x="20861" y="3432"/>
                    </a:lnTo>
                    <a:lnTo>
                      <a:pt x="20819" y="3495"/>
                    </a:lnTo>
                    <a:lnTo>
                      <a:pt x="20714" y="3495"/>
                    </a:lnTo>
                    <a:lnTo>
                      <a:pt x="20652" y="3432"/>
                    </a:lnTo>
                    <a:lnTo>
                      <a:pt x="20714" y="3390"/>
                    </a:lnTo>
                    <a:lnTo>
                      <a:pt x="20861" y="3348"/>
                    </a:lnTo>
                    <a:lnTo>
                      <a:pt x="20924" y="3244"/>
                    </a:lnTo>
                    <a:lnTo>
                      <a:pt x="21028" y="3223"/>
                    </a:lnTo>
                    <a:lnTo>
                      <a:pt x="21112" y="3244"/>
                    </a:lnTo>
                    <a:lnTo>
                      <a:pt x="21175" y="3139"/>
                    </a:lnTo>
                    <a:lnTo>
                      <a:pt x="21175" y="3013"/>
                    </a:lnTo>
                    <a:lnTo>
                      <a:pt x="21238" y="2972"/>
                    </a:lnTo>
                    <a:lnTo>
                      <a:pt x="21321" y="2972"/>
                    </a:lnTo>
                    <a:lnTo>
                      <a:pt x="21384" y="2804"/>
                    </a:lnTo>
                    <a:lnTo>
                      <a:pt x="21384" y="2616"/>
                    </a:lnTo>
                    <a:lnTo>
                      <a:pt x="21426" y="2553"/>
                    </a:lnTo>
                    <a:lnTo>
                      <a:pt x="21384" y="2449"/>
                    </a:lnTo>
                    <a:lnTo>
                      <a:pt x="21279" y="2449"/>
                    </a:lnTo>
                    <a:lnTo>
                      <a:pt x="21112" y="2490"/>
                    </a:lnTo>
                    <a:lnTo>
                      <a:pt x="20903" y="2553"/>
                    </a:lnTo>
                    <a:lnTo>
                      <a:pt x="20694" y="2616"/>
                    </a:lnTo>
                    <a:lnTo>
                      <a:pt x="20547" y="2658"/>
                    </a:lnTo>
                    <a:cubicBezTo>
                      <a:pt x="20652" y="2616"/>
                      <a:pt x="20798" y="2574"/>
                      <a:pt x="20903" y="2511"/>
                    </a:cubicBezTo>
                    <a:cubicBezTo>
                      <a:pt x="20945" y="2511"/>
                      <a:pt x="21028" y="2490"/>
                      <a:pt x="21070" y="2490"/>
                    </a:cubicBezTo>
                    <a:cubicBezTo>
                      <a:pt x="21217" y="2469"/>
                      <a:pt x="21238" y="2344"/>
                      <a:pt x="21175" y="2239"/>
                    </a:cubicBezTo>
                    <a:lnTo>
                      <a:pt x="21238" y="2177"/>
                    </a:lnTo>
                    <a:lnTo>
                      <a:pt x="21217" y="2072"/>
                    </a:lnTo>
                    <a:lnTo>
                      <a:pt x="21217" y="1967"/>
                    </a:lnTo>
                    <a:lnTo>
                      <a:pt x="21154" y="1884"/>
                    </a:lnTo>
                    <a:lnTo>
                      <a:pt x="21217" y="1842"/>
                    </a:lnTo>
                    <a:lnTo>
                      <a:pt x="21217" y="1674"/>
                    </a:lnTo>
                    <a:lnTo>
                      <a:pt x="21133" y="1507"/>
                    </a:lnTo>
                    <a:lnTo>
                      <a:pt x="21175" y="1402"/>
                    </a:lnTo>
                    <a:lnTo>
                      <a:pt x="21154" y="1109"/>
                    </a:lnTo>
                    <a:lnTo>
                      <a:pt x="20945" y="879"/>
                    </a:lnTo>
                    <a:lnTo>
                      <a:pt x="20924" y="775"/>
                    </a:lnTo>
                    <a:lnTo>
                      <a:pt x="20840" y="733"/>
                    </a:lnTo>
                    <a:lnTo>
                      <a:pt x="20694" y="796"/>
                    </a:lnTo>
                    <a:lnTo>
                      <a:pt x="20526" y="775"/>
                    </a:lnTo>
                    <a:lnTo>
                      <a:pt x="20442" y="837"/>
                    </a:lnTo>
                    <a:lnTo>
                      <a:pt x="20442" y="984"/>
                    </a:lnTo>
                    <a:lnTo>
                      <a:pt x="20212" y="1109"/>
                    </a:lnTo>
                    <a:lnTo>
                      <a:pt x="20212" y="1047"/>
                    </a:lnTo>
                    <a:lnTo>
                      <a:pt x="20380" y="900"/>
                    </a:lnTo>
                    <a:lnTo>
                      <a:pt x="20422" y="754"/>
                    </a:lnTo>
                    <a:lnTo>
                      <a:pt x="20317" y="670"/>
                    </a:lnTo>
                    <a:lnTo>
                      <a:pt x="20212" y="712"/>
                    </a:lnTo>
                    <a:lnTo>
                      <a:pt x="20129" y="733"/>
                    </a:lnTo>
                    <a:lnTo>
                      <a:pt x="20212" y="670"/>
                    </a:lnTo>
                    <a:lnTo>
                      <a:pt x="20191" y="586"/>
                    </a:lnTo>
                    <a:lnTo>
                      <a:pt x="19898" y="419"/>
                    </a:lnTo>
                    <a:lnTo>
                      <a:pt x="19815" y="293"/>
                    </a:lnTo>
                    <a:lnTo>
                      <a:pt x="19752" y="252"/>
                    </a:lnTo>
                    <a:lnTo>
                      <a:pt x="19773" y="105"/>
                    </a:lnTo>
                    <a:lnTo>
                      <a:pt x="1945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grpSp>
        <p:sp>
          <p:nvSpPr>
            <p:cNvPr id="1973" name="Google Shape;1973;p66"/>
            <p:cNvSpPr/>
            <p:nvPr/>
          </p:nvSpPr>
          <p:spPr>
            <a:xfrm>
              <a:off x="3216902" y="3020658"/>
              <a:ext cx="15456" cy="5959"/>
            </a:xfrm>
            <a:custGeom>
              <a:avLst/>
              <a:gdLst/>
              <a:ahLst/>
              <a:cxnLst/>
              <a:rect l="l" t="t" r="r" b="b"/>
              <a:pathLst>
                <a:path w="1298" h="524" extrusionOk="0">
                  <a:moveTo>
                    <a:pt x="503" y="0"/>
                  </a:moveTo>
                  <a:lnTo>
                    <a:pt x="293" y="42"/>
                  </a:lnTo>
                  <a:lnTo>
                    <a:pt x="168" y="21"/>
                  </a:lnTo>
                  <a:lnTo>
                    <a:pt x="63" y="42"/>
                  </a:lnTo>
                  <a:lnTo>
                    <a:pt x="1" y="147"/>
                  </a:lnTo>
                  <a:lnTo>
                    <a:pt x="105" y="230"/>
                  </a:lnTo>
                  <a:lnTo>
                    <a:pt x="189" y="209"/>
                  </a:lnTo>
                  <a:lnTo>
                    <a:pt x="252" y="230"/>
                  </a:lnTo>
                  <a:lnTo>
                    <a:pt x="314" y="377"/>
                  </a:lnTo>
                  <a:lnTo>
                    <a:pt x="398" y="439"/>
                  </a:lnTo>
                  <a:lnTo>
                    <a:pt x="524" y="439"/>
                  </a:lnTo>
                  <a:lnTo>
                    <a:pt x="607" y="523"/>
                  </a:lnTo>
                  <a:lnTo>
                    <a:pt x="775" y="523"/>
                  </a:lnTo>
                  <a:lnTo>
                    <a:pt x="775" y="377"/>
                  </a:lnTo>
                  <a:lnTo>
                    <a:pt x="879" y="377"/>
                  </a:lnTo>
                  <a:lnTo>
                    <a:pt x="900" y="439"/>
                  </a:lnTo>
                  <a:lnTo>
                    <a:pt x="984" y="439"/>
                  </a:lnTo>
                  <a:lnTo>
                    <a:pt x="1005" y="335"/>
                  </a:lnTo>
                  <a:lnTo>
                    <a:pt x="1089" y="377"/>
                  </a:lnTo>
                  <a:lnTo>
                    <a:pt x="1298" y="377"/>
                  </a:lnTo>
                  <a:lnTo>
                    <a:pt x="1298" y="335"/>
                  </a:lnTo>
                  <a:lnTo>
                    <a:pt x="1193" y="230"/>
                  </a:lnTo>
                  <a:lnTo>
                    <a:pt x="1047" y="209"/>
                  </a:lnTo>
                  <a:lnTo>
                    <a:pt x="942" y="21"/>
                  </a:lnTo>
                  <a:lnTo>
                    <a:pt x="50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4" name="Google Shape;1974;p66"/>
            <p:cNvSpPr/>
            <p:nvPr/>
          </p:nvSpPr>
          <p:spPr>
            <a:xfrm>
              <a:off x="3243063" y="3010423"/>
              <a:ext cx="19695" cy="13340"/>
            </a:xfrm>
            <a:custGeom>
              <a:avLst/>
              <a:gdLst/>
              <a:ahLst/>
              <a:cxnLst/>
              <a:rect l="l" t="t" r="r" b="b"/>
              <a:pathLst>
                <a:path w="1654" h="1173" extrusionOk="0">
                  <a:moveTo>
                    <a:pt x="1089" y="0"/>
                  </a:moveTo>
                  <a:lnTo>
                    <a:pt x="1005" y="63"/>
                  </a:lnTo>
                  <a:lnTo>
                    <a:pt x="900" y="21"/>
                  </a:lnTo>
                  <a:lnTo>
                    <a:pt x="691" y="21"/>
                  </a:lnTo>
                  <a:lnTo>
                    <a:pt x="649" y="84"/>
                  </a:lnTo>
                  <a:lnTo>
                    <a:pt x="754" y="168"/>
                  </a:lnTo>
                  <a:lnTo>
                    <a:pt x="1068" y="272"/>
                  </a:lnTo>
                  <a:lnTo>
                    <a:pt x="1047" y="314"/>
                  </a:lnTo>
                  <a:lnTo>
                    <a:pt x="1109" y="398"/>
                  </a:lnTo>
                  <a:lnTo>
                    <a:pt x="1047" y="544"/>
                  </a:lnTo>
                  <a:lnTo>
                    <a:pt x="1109" y="649"/>
                  </a:lnTo>
                  <a:lnTo>
                    <a:pt x="1214" y="691"/>
                  </a:lnTo>
                  <a:lnTo>
                    <a:pt x="1340" y="795"/>
                  </a:lnTo>
                  <a:lnTo>
                    <a:pt x="1319" y="858"/>
                  </a:lnTo>
                  <a:lnTo>
                    <a:pt x="1068" y="858"/>
                  </a:lnTo>
                  <a:lnTo>
                    <a:pt x="1026" y="900"/>
                  </a:lnTo>
                  <a:lnTo>
                    <a:pt x="921" y="858"/>
                  </a:lnTo>
                  <a:lnTo>
                    <a:pt x="796" y="858"/>
                  </a:lnTo>
                  <a:lnTo>
                    <a:pt x="649" y="816"/>
                  </a:lnTo>
                  <a:lnTo>
                    <a:pt x="524" y="858"/>
                  </a:lnTo>
                  <a:lnTo>
                    <a:pt x="524" y="816"/>
                  </a:lnTo>
                  <a:lnTo>
                    <a:pt x="482" y="795"/>
                  </a:lnTo>
                  <a:lnTo>
                    <a:pt x="293" y="837"/>
                  </a:lnTo>
                  <a:lnTo>
                    <a:pt x="189" y="733"/>
                  </a:lnTo>
                  <a:lnTo>
                    <a:pt x="63" y="795"/>
                  </a:lnTo>
                  <a:lnTo>
                    <a:pt x="0" y="858"/>
                  </a:lnTo>
                  <a:lnTo>
                    <a:pt x="63" y="963"/>
                  </a:lnTo>
                  <a:lnTo>
                    <a:pt x="189" y="1005"/>
                  </a:lnTo>
                  <a:lnTo>
                    <a:pt x="314" y="1151"/>
                  </a:lnTo>
                  <a:lnTo>
                    <a:pt x="377" y="1172"/>
                  </a:lnTo>
                  <a:lnTo>
                    <a:pt x="377" y="1067"/>
                  </a:lnTo>
                  <a:lnTo>
                    <a:pt x="419" y="1026"/>
                  </a:lnTo>
                  <a:lnTo>
                    <a:pt x="691" y="1026"/>
                  </a:lnTo>
                  <a:lnTo>
                    <a:pt x="796" y="1067"/>
                  </a:lnTo>
                  <a:lnTo>
                    <a:pt x="1109" y="1067"/>
                  </a:lnTo>
                  <a:lnTo>
                    <a:pt x="1151" y="1047"/>
                  </a:lnTo>
                  <a:lnTo>
                    <a:pt x="1256" y="1109"/>
                  </a:lnTo>
                  <a:lnTo>
                    <a:pt x="1340" y="1109"/>
                  </a:lnTo>
                  <a:lnTo>
                    <a:pt x="1340" y="1047"/>
                  </a:lnTo>
                  <a:lnTo>
                    <a:pt x="1570" y="921"/>
                  </a:lnTo>
                  <a:lnTo>
                    <a:pt x="1570" y="837"/>
                  </a:lnTo>
                  <a:lnTo>
                    <a:pt x="1570" y="733"/>
                  </a:lnTo>
                  <a:lnTo>
                    <a:pt x="1528" y="607"/>
                  </a:lnTo>
                  <a:lnTo>
                    <a:pt x="1549" y="544"/>
                  </a:lnTo>
                  <a:lnTo>
                    <a:pt x="1633" y="502"/>
                  </a:lnTo>
                  <a:lnTo>
                    <a:pt x="1653" y="377"/>
                  </a:lnTo>
                  <a:lnTo>
                    <a:pt x="1612" y="293"/>
                  </a:lnTo>
                  <a:lnTo>
                    <a:pt x="1653" y="189"/>
                  </a:lnTo>
                  <a:lnTo>
                    <a:pt x="1633" y="126"/>
                  </a:lnTo>
                  <a:lnTo>
                    <a:pt x="1528" y="105"/>
                  </a:lnTo>
                  <a:lnTo>
                    <a:pt x="1423" y="126"/>
                  </a:lnTo>
                  <a:lnTo>
                    <a:pt x="1319" y="21"/>
                  </a:lnTo>
                  <a:lnTo>
                    <a:pt x="108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5" name="Google Shape;1975;p66"/>
            <p:cNvSpPr/>
            <p:nvPr/>
          </p:nvSpPr>
          <p:spPr>
            <a:xfrm>
              <a:off x="3173297" y="2986859"/>
              <a:ext cx="73267" cy="24997"/>
            </a:xfrm>
            <a:custGeom>
              <a:avLst/>
              <a:gdLst/>
              <a:ahLst/>
              <a:cxnLst/>
              <a:rect l="l" t="t" r="r" b="b"/>
              <a:pathLst>
                <a:path w="6153" h="2198" extrusionOk="0">
                  <a:moveTo>
                    <a:pt x="1570" y="1"/>
                  </a:moveTo>
                  <a:lnTo>
                    <a:pt x="1445" y="106"/>
                  </a:lnTo>
                  <a:lnTo>
                    <a:pt x="1131" y="106"/>
                  </a:lnTo>
                  <a:lnTo>
                    <a:pt x="901" y="168"/>
                  </a:lnTo>
                  <a:lnTo>
                    <a:pt x="817" y="252"/>
                  </a:lnTo>
                  <a:lnTo>
                    <a:pt x="566" y="315"/>
                  </a:lnTo>
                  <a:lnTo>
                    <a:pt x="482" y="419"/>
                  </a:lnTo>
                  <a:lnTo>
                    <a:pt x="377" y="482"/>
                  </a:lnTo>
                  <a:lnTo>
                    <a:pt x="357" y="608"/>
                  </a:lnTo>
                  <a:lnTo>
                    <a:pt x="419" y="712"/>
                  </a:lnTo>
                  <a:lnTo>
                    <a:pt x="398" y="775"/>
                  </a:lnTo>
                  <a:lnTo>
                    <a:pt x="294" y="712"/>
                  </a:lnTo>
                  <a:lnTo>
                    <a:pt x="85" y="817"/>
                  </a:lnTo>
                  <a:lnTo>
                    <a:pt x="1" y="796"/>
                  </a:lnTo>
                  <a:lnTo>
                    <a:pt x="1" y="880"/>
                  </a:lnTo>
                  <a:lnTo>
                    <a:pt x="105" y="922"/>
                  </a:lnTo>
                  <a:lnTo>
                    <a:pt x="252" y="796"/>
                  </a:lnTo>
                  <a:lnTo>
                    <a:pt x="273" y="817"/>
                  </a:lnTo>
                  <a:lnTo>
                    <a:pt x="273" y="922"/>
                  </a:lnTo>
                  <a:lnTo>
                    <a:pt x="419" y="817"/>
                  </a:lnTo>
                  <a:lnTo>
                    <a:pt x="524" y="817"/>
                  </a:lnTo>
                  <a:lnTo>
                    <a:pt x="629" y="629"/>
                  </a:lnTo>
                  <a:lnTo>
                    <a:pt x="796" y="670"/>
                  </a:lnTo>
                  <a:lnTo>
                    <a:pt x="838" y="608"/>
                  </a:lnTo>
                  <a:lnTo>
                    <a:pt x="922" y="691"/>
                  </a:lnTo>
                  <a:lnTo>
                    <a:pt x="1026" y="670"/>
                  </a:lnTo>
                  <a:lnTo>
                    <a:pt x="1214" y="461"/>
                  </a:lnTo>
                  <a:lnTo>
                    <a:pt x="1319" y="419"/>
                  </a:lnTo>
                  <a:lnTo>
                    <a:pt x="1361" y="357"/>
                  </a:lnTo>
                  <a:lnTo>
                    <a:pt x="1528" y="378"/>
                  </a:lnTo>
                  <a:lnTo>
                    <a:pt x="1654" y="378"/>
                  </a:lnTo>
                  <a:lnTo>
                    <a:pt x="1884" y="398"/>
                  </a:lnTo>
                  <a:lnTo>
                    <a:pt x="1968" y="461"/>
                  </a:lnTo>
                  <a:lnTo>
                    <a:pt x="1884" y="503"/>
                  </a:lnTo>
                  <a:lnTo>
                    <a:pt x="1758" y="503"/>
                  </a:lnTo>
                  <a:lnTo>
                    <a:pt x="1675" y="566"/>
                  </a:lnTo>
                  <a:lnTo>
                    <a:pt x="1758" y="629"/>
                  </a:lnTo>
                  <a:lnTo>
                    <a:pt x="2093" y="691"/>
                  </a:lnTo>
                  <a:lnTo>
                    <a:pt x="2177" y="670"/>
                  </a:lnTo>
                  <a:lnTo>
                    <a:pt x="2282" y="670"/>
                  </a:lnTo>
                  <a:lnTo>
                    <a:pt x="2386" y="733"/>
                  </a:lnTo>
                  <a:lnTo>
                    <a:pt x="2554" y="775"/>
                  </a:lnTo>
                  <a:lnTo>
                    <a:pt x="2616" y="775"/>
                  </a:lnTo>
                  <a:lnTo>
                    <a:pt x="2658" y="691"/>
                  </a:lnTo>
                  <a:lnTo>
                    <a:pt x="2721" y="775"/>
                  </a:lnTo>
                  <a:lnTo>
                    <a:pt x="2763" y="817"/>
                  </a:lnTo>
                  <a:lnTo>
                    <a:pt x="2930" y="942"/>
                  </a:lnTo>
                  <a:lnTo>
                    <a:pt x="3077" y="984"/>
                  </a:lnTo>
                  <a:lnTo>
                    <a:pt x="3139" y="942"/>
                  </a:lnTo>
                  <a:lnTo>
                    <a:pt x="3244" y="1026"/>
                  </a:lnTo>
                  <a:lnTo>
                    <a:pt x="3349" y="1005"/>
                  </a:lnTo>
                  <a:lnTo>
                    <a:pt x="3432" y="1047"/>
                  </a:lnTo>
                  <a:lnTo>
                    <a:pt x="3600" y="1005"/>
                  </a:lnTo>
                  <a:lnTo>
                    <a:pt x="3663" y="1026"/>
                  </a:lnTo>
                  <a:lnTo>
                    <a:pt x="3746" y="1361"/>
                  </a:lnTo>
                  <a:lnTo>
                    <a:pt x="3955" y="1570"/>
                  </a:lnTo>
                  <a:lnTo>
                    <a:pt x="4039" y="1612"/>
                  </a:lnTo>
                  <a:lnTo>
                    <a:pt x="4081" y="1549"/>
                  </a:lnTo>
                  <a:lnTo>
                    <a:pt x="4227" y="1633"/>
                  </a:lnTo>
                  <a:lnTo>
                    <a:pt x="4437" y="1633"/>
                  </a:lnTo>
                  <a:lnTo>
                    <a:pt x="4458" y="1675"/>
                  </a:lnTo>
                  <a:lnTo>
                    <a:pt x="4541" y="1738"/>
                  </a:lnTo>
                  <a:lnTo>
                    <a:pt x="4541" y="1842"/>
                  </a:lnTo>
                  <a:lnTo>
                    <a:pt x="4374" y="1863"/>
                  </a:lnTo>
                  <a:lnTo>
                    <a:pt x="4186" y="2051"/>
                  </a:lnTo>
                  <a:lnTo>
                    <a:pt x="4186" y="2156"/>
                  </a:lnTo>
                  <a:lnTo>
                    <a:pt x="4374" y="2177"/>
                  </a:lnTo>
                  <a:lnTo>
                    <a:pt x="4541" y="2135"/>
                  </a:lnTo>
                  <a:lnTo>
                    <a:pt x="4604" y="2156"/>
                  </a:lnTo>
                  <a:lnTo>
                    <a:pt x="4897" y="2093"/>
                  </a:lnTo>
                  <a:lnTo>
                    <a:pt x="5064" y="2093"/>
                  </a:lnTo>
                  <a:lnTo>
                    <a:pt x="5274" y="2198"/>
                  </a:lnTo>
                  <a:lnTo>
                    <a:pt x="5546" y="2135"/>
                  </a:lnTo>
                  <a:lnTo>
                    <a:pt x="5587" y="2072"/>
                  </a:lnTo>
                  <a:lnTo>
                    <a:pt x="5650" y="2072"/>
                  </a:lnTo>
                  <a:lnTo>
                    <a:pt x="5734" y="2030"/>
                  </a:lnTo>
                  <a:lnTo>
                    <a:pt x="5943" y="2051"/>
                  </a:lnTo>
                  <a:lnTo>
                    <a:pt x="6069" y="1989"/>
                  </a:lnTo>
                  <a:lnTo>
                    <a:pt x="6152" y="1884"/>
                  </a:lnTo>
                  <a:lnTo>
                    <a:pt x="6111" y="1842"/>
                  </a:lnTo>
                  <a:lnTo>
                    <a:pt x="6006" y="1821"/>
                  </a:lnTo>
                  <a:lnTo>
                    <a:pt x="5922" y="1654"/>
                  </a:lnTo>
                  <a:lnTo>
                    <a:pt x="5692" y="1549"/>
                  </a:lnTo>
                  <a:lnTo>
                    <a:pt x="5378" y="1549"/>
                  </a:lnTo>
                  <a:lnTo>
                    <a:pt x="5295" y="1528"/>
                  </a:lnTo>
                  <a:lnTo>
                    <a:pt x="5336" y="1466"/>
                  </a:lnTo>
                  <a:lnTo>
                    <a:pt x="5399" y="1319"/>
                  </a:lnTo>
                  <a:lnTo>
                    <a:pt x="5315" y="1298"/>
                  </a:lnTo>
                  <a:lnTo>
                    <a:pt x="5232" y="1340"/>
                  </a:lnTo>
                  <a:lnTo>
                    <a:pt x="5127" y="1340"/>
                  </a:lnTo>
                  <a:lnTo>
                    <a:pt x="4918" y="1194"/>
                  </a:lnTo>
                  <a:lnTo>
                    <a:pt x="4855" y="1235"/>
                  </a:lnTo>
                  <a:lnTo>
                    <a:pt x="4771" y="1152"/>
                  </a:lnTo>
                  <a:lnTo>
                    <a:pt x="4604" y="1026"/>
                  </a:lnTo>
                  <a:lnTo>
                    <a:pt x="4541" y="1131"/>
                  </a:lnTo>
                  <a:lnTo>
                    <a:pt x="4479" y="1089"/>
                  </a:lnTo>
                  <a:lnTo>
                    <a:pt x="4499" y="1005"/>
                  </a:lnTo>
                  <a:lnTo>
                    <a:pt x="4437" y="984"/>
                  </a:lnTo>
                  <a:lnTo>
                    <a:pt x="4395" y="1047"/>
                  </a:lnTo>
                  <a:lnTo>
                    <a:pt x="4332" y="984"/>
                  </a:lnTo>
                  <a:lnTo>
                    <a:pt x="4123" y="922"/>
                  </a:lnTo>
                  <a:lnTo>
                    <a:pt x="3955" y="796"/>
                  </a:lnTo>
                  <a:lnTo>
                    <a:pt x="3830" y="712"/>
                  </a:lnTo>
                  <a:lnTo>
                    <a:pt x="3704" y="587"/>
                  </a:lnTo>
                  <a:lnTo>
                    <a:pt x="3349" y="587"/>
                  </a:lnTo>
                  <a:lnTo>
                    <a:pt x="3244" y="524"/>
                  </a:lnTo>
                  <a:lnTo>
                    <a:pt x="3202" y="398"/>
                  </a:lnTo>
                  <a:lnTo>
                    <a:pt x="3077" y="252"/>
                  </a:lnTo>
                  <a:lnTo>
                    <a:pt x="2972" y="273"/>
                  </a:lnTo>
                  <a:lnTo>
                    <a:pt x="2909" y="210"/>
                  </a:lnTo>
                  <a:lnTo>
                    <a:pt x="2491" y="147"/>
                  </a:lnTo>
                  <a:lnTo>
                    <a:pt x="2365" y="210"/>
                  </a:lnTo>
                  <a:lnTo>
                    <a:pt x="2177" y="168"/>
                  </a:lnTo>
                  <a:lnTo>
                    <a:pt x="2072" y="43"/>
                  </a:lnTo>
                  <a:lnTo>
                    <a:pt x="182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6" name="Google Shape;1976;p66"/>
            <p:cNvSpPr/>
            <p:nvPr/>
          </p:nvSpPr>
          <p:spPr>
            <a:xfrm>
              <a:off x="3371128" y="3527019"/>
              <a:ext cx="18695" cy="10247"/>
            </a:xfrm>
            <a:custGeom>
              <a:avLst/>
              <a:gdLst/>
              <a:ahLst/>
              <a:cxnLst/>
              <a:rect l="l" t="t" r="r" b="b"/>
              <a:pathLst>
                <a:path w="1570" h="901" extrusionOk="0">
                  <a:moveTo>
                    <a:pt x="1025" y="0"/>
                  </a:moveTo>
                  <a:lnTo>
                    <a:pt x="984" y="84"/>
                  </a:lnTo>
                  <a:lnTo>
                    <a:pt x="921" y="105"/>
                  </a:lnTo>
                  <a:lnTo>
                    <a:pt x="942" y="189"/>
                  </a:lnTo>
                  <a:lnTo>
                    <a:pt x="921" y="252"/>
                  </a:lnTo>
                  <a:lnTo>
                    <a:pt x="691" y="314"/>
                  </a:lnTo>
                  <a:lnTo>
                    <a:pt x="733" y="273"/>
                  </a:lnTo>
                  <a:lnTo>
                    <a:pt x="774" y="126"/>
                  </a:lnTo>
                  <a:lnTo>
                    <a:pt x="733" y="63"/>
                  </a:lnTo>
                  <a:lnTo>
                    <a:pt x="649" y="84"/>
                  </a:lnTo>
                  <a:lnTo>
                    <a:pt x="607" y="168"/>
                  </a:lnTo>
                  <a:lnTo>
                    <a:pt x="544" y="168"/>
                  </a:lnTo>
                  <a:lnTo>
                    <a:pt x="461" y="84"/>
                  </a:lnTo>
                  <a:lnTo>
                    <a:pt x="377" y="84"/>
                  </a:lnTo>
                  <a:lnTo>
                    <a:pt x="377" y="252"/>
                  </a:lnTo>
                  <a:lnTo>
                    <a:pt x="272" y="210"/>
                  </a:lnTo>
                  <a:lnTo>
                    <a:pt x="168" y="105"/>
                  </a:lnTo>
                  <a:lnTo>
                    <a:pt x="105" y="168"/>
                  </a:lnTo>
                  <a:lnTo>
                    <a:pt x="230" y="356"/>
                  </a:lnTo>
                  <a:lnTo>
                    <a:pt x="377" y="377"/>
                  </a:lnTo>
                  <a:lnTo>
                    <a:pt x="377" y="419"/>
                  </a:lnTo>
                  <a:lnTo>
                    <a:pt x="230" y="419"/>
                  </a:lnTo>
                  <a:lnTo>
                    <a:pt x="168" y="482"/>
                  </a:lnTo>
                  <a:lnTo>
                    <a:pt x="189" y="565"/>
                  </a:lnTo>
                  <a:lnTo>
                    <a:pt x="84" y="670"/>
                  </a:lnTo>
                  <a:lnTo>
                    <a:pt x="0" y="670"/>
                  </a:lnTo>
                  <a:lnTo>
                    <a:pt x="0" y="712"/>
                  </a:lnTo>
                  <a:lnTo>
                    <a:pt x="126" y="796"/>
                  </a:lnTo>
                  <a:lnTo>
                    <a:pt x="189" y="712"/>
                  </a:lnTo>
                  <a:lnTo>
                    <a:pt x="293" y="796"/>
                  </a:lnTo>
                  <a:lnTo>
                    <a:pt x="377" y="691"/>
                  </a:lnTo>
                  <a:lnTo>
                    <a:pt x="230" y="628"/>
                  </a:lnTo>
                  <a:lnTo>
                    <a:pt x="335" y="586"/>
                  </a:lnTo>
                  <a:lnTo>
                    <a:pt x="523" y="607"/>
                  </a:lnTo>
                  <a:lnTo>
                    <a:pt x="649" y="565"/>
                  </a:lnTo>
                  <a:lnTo>
                    <a:pt x="649" y="461"/>
                  </a:lnTo>
                  <a:cubicBezTo>
                    <a:pt x="649" y="461"/>
                    <a:pt x="667" y="470"/>
                    <a:pt x="680" y="470"/>
                  </a:cubicBezTo>
                  <a:cubicBezTo>
                    <a:pt x="686" y="470"/>
                    <a:pt x="691" y="468"/>
                    <a:pt x="691" y="461"/>
                  </a:cubicBezTo>
                  <a:cubicBezTo>
                    <a:pt x="795" y="398"/>
                    <a:pt x="900" y="377"/>
                    <a:pt x="1005" y="314"/>
                  </a:cubicBezTo>
                  <a:lnTo>
                    <a:pt x="1046" y="398"/>
                  </a:lnTo>
                  <a:lnTo>
                    <a:pt x="1025" y="461"/>
                  </a:lnTo>
                  <a:lnTo>
                    <a:pt x="942" y="419"/>
                  </a:lnTo>
                  <a:lnTo>
                    <a:pt x="858" y="461"/>
                  </a:lnTo>
                  <a:lnTo>
                    <a:pt x="691" y="712"/>
                  </a:lnTo>
                  <a:lnTo>
                    <a:pt x="753" y="733"/>
                  </a:lnTo>
                  <a:lnTo>
                    <a:pt x="837" y="879"/>
                  </a:lnTo>
                  <a:lnTo>
                    <a:pt x="921" y="900"/>
                  </a:lnTo>
                  <a:lnTo>
                    <a:pt x="921" y="837"/>
                  </a:lnTo>
                  <a:lnTo>
                    <a:pt x="837" y="733"/>
                  </a:lnTo>
                  <a:lnTo>
                    <a:pt x="858" y="712"/>
                  </a:lnTo>
                  <a:lnTo>
                    <a:pt x="963" y="775"/>
                  </a:lnTo>
                  <a:lnTo>
                    <a:pt x="1025" y="733"/>
                  </a:lnTo>
                  <a:lnTo>
                    <a:pt x="963" y="691"/>
                  </a:lnTo>
                  <a:lnTo>
                    <a:pt x="963" y="607"/>
                  </a:lnTo>
                  <a:lnTo>
                    <a:pt x="1067" y="628"/>
                  </a:lnTo>
                  <a:lnTo>
                    <a:pt x="1172" y="607"/>
                  </a:lnTo>
                  <a:lnTo>
                    <a:pt x="1172" y="586"/>
                  </a:lnTo>
                  <a:lnTo>
                    <a:pt x="1088" y="586"/>
                  </a:lnTo>
                  <a:lnTo>
                    <a:pt x="1046" y="524"/>
                  </a:lnTo>
                  <a:lnTo>
                    <a:pt x="1088" y="503"/>
                  </a:lnTo>
                  <a:lnTo>
                    <a:pt x="1193" y="524"/>
                  </a:lnTo>
                  <a:lnTo>
                    <a:pt x="1339" y="503"/>
                  </a:lnTo>
                  <a:lnTo>
                    <a:pt x="1444" y="419"/>
                  </a:lnTo>
                  <a:lnTo>
                    <a:pt x="1549" y="398"/>
                  </a:lnTo>
                  <a:lnTo>
                    <a:pt x="1507" y="314"/>
                  </a:lnTo>
                  <a:lnTo>
                    <a:pt x="1465" y="293"/>
                  </a:lnTo>
                  <a:lnTo>
                    <a:pt x="1444" y="273"/>
                  </a:lnTo>
                  <a:lnTo>
                    <a:pt x="1486" y="210"/>
                  </a:lnTo>
                  <a:lnTo>
                    <a:pt x="1569" y="189"/>
                  </a:lnTo>
                  <a:lnTo>
                    <a:pt x="1528" y="126"/>
                  </a:lnTo>
                  <a:lnTo>
                    <a:pt x="1381" y="105"/>
                  </a:lnTo>
                  <a:lnTo>
                    <a:pt x="1318" y="126"/>
                  </a:lnTo>
                  <a:lnTo>
                    <a:pt x="1339" y="189"/>
                  </a:lnTo>
                  <a:lnTo>
                    <a:pt x="1256" y="210"/>
                  </a:lnTo>
                  <a:lnTo>
                    <a:pt x="1172" y="105"/>
                  </a:lnTo>
                  <a:lnTo>
                    <a:pt x="1172" y="42"/>
                  </a:lnTo>
                  <a:lnTo>
                    <a:pt x="102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7" name="Google Shape;1977;p66"/>
            <p:cNvSpPr/>
            <p:nvPr/>
          </p:nvSpPr>
          <p:spPr>
            <a:xfrm>
              <a:off x="3183264" y="3080853"/>
              <a:ext cx="38140" cy="16672"/>
            </a:xfrm>
            <a:custGeom>
              <a:avLst/>
              <a:gdLst/>
              <a:ahLst/>
              <a:cxnLst/>
              <a:rect l="l" t="t" r="r" b="b"/>
              <a:pathLst>
                <a:path w="3203" h="1466" extrusionOk="0">
                  <a:moveTo>
                    <a:pt x="2072" y="1"/>
                  </a:moveTo>
                  <a:lnTo>
                    <a:pt x="2030" y="43"/>
                  </a:lnTo>
                  <a:lnTo>
                    <a:pt x="1863" y="147"/>
                  </a:lnTo>
                  <a:lnTo>
                    <a:pt x="1675" y="189"/>
                  </a:lnTo>
                  <a:lnTo>
                    <a:pt x="1319" y="377"/>
                  </a:lnTo>
                  <a:lnTo>
                    <a:pt x="1214" y="461"/>
                  </a:lnTo>
                  <a:lnTo>
                    <a:pt x="1131" y="482"/>
                  </a:lnTo>
                  <a:lnTo>
                    <a:pt x="921" y="482"/>
                  </a:lnTo>
                  <a:lnTo>
                    <a:pt x="733" y="315"/>
                  </a:lnTo>
                  <a:lnTo>
                    <a:pt x="608" y="273"/>
                  </a:lnTo>
                  <a:lnTo>
                    <a:pt x="566" y="294"/>
                  </a:lnTo>
                  <a:lnTo>
                    <a:pt x="629" y="356"/>
                  </a:lnTo>
                  <a:lnTo>
                    <a:pt x="629" y="398"/>
                  </a:lnTo>
                  <a:lnTo>
                    <a:pt x="566" y="419"/>
                  </a:lnTo>
                  <a:lnTo>
                    <a:pt x="461" y="377"/>
                  </a:lnTo>
                  <a:lnTo>
                    <a:pt x="419" y="315"/>
                  </a:lnTo>
                  <a:lnTo>
                    <a:pt x="461" y="294"/>
                  </a:lnTo>
                  <a:lnTo>
                    <a:pt x="482" y="294"/>
                  </a:lnTo>
                  <a:lnTo>
                    <a:pt x="461" y="252"/>
                  </a:lnTo>
                  <a:lnTo>
                    <a:pt x="398" y="252"/>
                  </a:lnTo>
                  <a:lnTo>
                    <a:pt x="315" y="210"/>
                  </a:lnTo>
                  <a:lnTo>
                    <a:pt x="273" y="168"/>
                  </a:lnTo>
                  <a:lnTo>
                    <a:pt x="252" y="84"/>
                  </a:lnTo>
                  <a:lnTo>
                    <a:pt x="147" y="84"/>
                  </a:lnTo>
                  <a:lnTo>
                    <a:pt x="85" y="147"/>
                  </a:lnTo>
                  <a:lnTo>
                    <a:pt x="85" y="252"/>
                  </a:lnTo>
                  <a:lnTo>
                    <a:pt x="43" y="315"/>
                  </a:lnTo>
                  <a:lnTo>
                    <a:pt x="1" y="398"/>
                  </a:lnTo>
                  <a:lnTo>
                    <a:pt x="85" y="419"/>
                  </a:lnTo>
                  <a:lnTo>
                    <a:pt x="147" y="524"/>
                  </a:lnTo>
                  <a:lnTo>
                    <a:pt x="64" y="587"/>
                  </a:lnTo>
                  <a:lnTo>
                    <a:pt x="43" y="691"/>
                  </a:lnTo>
                  <a:lnTo>
                    <a:pt x="43" y="733"/>
                  </a:lnTo>
                  <a:lnTo>
                    <a:pt x="64" y="796"/>
                  </a:lnTo>
                  <a:lnTo>
                    <a:pt x="168" y="796"/>
                  </a:lnTo>
                  <a:lnTo>
                    <a:pt x="252" y="817"/>
                  </a:lnTo>
                  <a:lnTo>
                    <a:pt x="357" y="796"/>
                  </a:lnTo>
                  <a:lnTo>
                    <a:pt x="398" y="733"/>
                  </a:lnTo>
                  <a:lnTo>
                    <a:pt x="461" y="796"/>
                  </a:lnTo>
                  <a:lnTo>
                    <a:pt x="461" y="838"/>
                  </a:lnTo>
                  <a:lnTo>
                    <a:pt x="524" y="880"/>
                  </a:lnTo>
                  <a:lnTo>
                    <a:pt x="733" y="900"/>
                  </a:lnTo>
                  <a:lnTo>
                    <a:pt x="775" y="1026"/>
                  </a:lnTo>
                  <a:lnTo>
                    <a:pt x="817" y="1193"/>
                  </a:lnTo>
                  <a:lnTo>
                    <a:pt x="921" y="1235"/>
                  </a:lnTo>
                  <a:lnTo>
                    <a:pt x="1026" y="1235"/>
                  </a:lnTo>
                  <a:lnTo>
                    <a:pt x="1047" y="1152"/>
                  </a:lnTo>
                  <a:lnTo>
                    <a:pt x="1005" y="1131"/>
                  </a:lnTo>
                  <a:lnTo>
                    <a:pt x="1047" y="1047"/>
                  </a:lnTo>
                  <a:lnTo>
                    <a:pt x="1131" y="1089"/>
                  </a:lnTo>
                  <a:lnTo>
                    <a:pt x="1152" y="1131"/>
                  </a:lnTo>
                  <a:lnTo>
                    <a:pt x="1131" y="1193"/>
                  </a:lnTo>
                  <a:lnTo>
                    <a:pt x="1152" y="1319"/>
                  </a:lnTo>
                  <a:lnTo>
                    <a:pt x="1152" y="1403"/>
                  </a:lnTo>
                  <a:lnTo>
                    <a:pt x="1193" y="1444"/>
                  </a:lnTo>
                  <a:lnTo>
                    <a:pt x="1340" y="1465"/>
                  </a:lnTo>
                  <a:lnTo>
                    <a:pt x="1424" y="1361"/>
                  </a:lnTo>
                  <a:lnTo>
                    <a:pt x="1507" y="1298"/>
                  </a:lnTo>
                  <a:lnTo>
                    <a:pt x="1612" y="1319"/>
                  </a:lnTo>
                  <a:lnTo>
                    <a:pt x="1654" y="1298"/>
                  </a:lnTo>
                  <a:lnTo>
                    <a:pt x="1654" y="1152"/>
                  </a:lnTo>
                  <a:lnTo>
                    <a:pt x="1570" y="1089"/>
                  </a:lnTo>
                  <a:lnTo>
                    <a:pt x="1465" y="1026"/>
                  </a:lnTo>
                  <a:lnTo>
                    <a:pt x="1445" y="921"/>
                  </a:lnTo>
                  <a:lnTo>
                    <a:pt x="1445" y="880"/>
                  </a:lnTo>
                  <a:lnTo>
                    <a:pt x="1549" y="817"/>
                  </a:lnTo>
                  <a:lnTo>
                    <a:pt x="1737" y="775"/>
                  </a:lnTo>
                  <a:lnTo>
                    <a:pt x="1884" y="628"/>
                  </a:lnTo>
                  <a:lnTo>
                    <a:pt x="1884" y="587"/>
                  </a:lnTo>
                  <a:lnTo>
                    <a:pt x="1863" y="566"/>
                  </a:lnTo>
                  <a:lnTo>
                    <a:pt x="1863" y="419"/>
                  </a:lnTo>
                  <a:lnTo>
                    <a:pt x="2051" y="356"/>
                  </a:lnTo>
                  <a:lnTo>
                    <a:pt x="2177" y="315"/>
                  </a:lnTo>
                  <a:lnTo>
                    <a:pt x="2261" y="377"/>
                  </a:lnTo>
                  <a:lnTo>
                    <a:pt x="2365" y="482"/>
                  </a:lnTo>
                  <a:lnTo>
                    <a:pt x="2449" y="482"/>
                  </a:lnTo>
                  <a:lnTo>
                    <a:pt x="2553" y="608"/>
                  </a:lnTo>
                  <a:lnTo>
                    <a:pt x="2574" y="712"/>
                  </a:lnTo>
                  <a:lnTo>
                    <a:pt x="2616" y="775"/>
                  </a:lnTo>
                  <a:lnTo>
                    <a:pt x="2679" y="733"/>
                  </a:lnTo>
                  <a:lnTo>
                    <a:pt x="2763" y="670"/>
                  </a:lnTo>
                  <a:lnTo>
                    <a:pt x="2805" y="670"/>
                  </a:lnTo>
                  <a:lnTo>
                    <a:pt x="2826" y="733"/>
                  </a:lnTo>
                  <a:lnTo>
                    <a:pt x="2784" y="796"/>
                  </a:lnTo>
                  <a:lnTo>
                    <a:pt x="2721" y="796"/>
                  </a:lnTo>
                  <a:lnTo>
                    <a:pt x="2616" y="942"/>
                  </a:lnTo>
                  <a:lnTo>
                    <a:pt x="2595" y="984"/>
                  </a:lnTo>
                  <a:lnTo>
                    <a:pt x="2616" y="1131"/>
                  </a:lnTo>
                  <a:lnTo>
                    <a:pt x="2763" y="1319"/>
                  </a:lnTo>
                  <a:lnTo>
                    <a:pt x="2888" y="1424"/>
                  </a:lnTo>
                  <a:lnTo>
                    <a:pt x="2972" y="1235"/>
                  </a:lnTo>
                  <a:lnTo>
                    <a:pt x="3014" y="1235"/>
                  </a:lnTo>
                  <a:lnTo>
                    <a:pt x="3098" y="1193"/>
                  </a:lnTo>
                  <a:lnTo>
                    <a:pt x="3118" y="1047"/>
                  </a:lnTo>
                  <a:lnTo>
                    <a:pt x="3202" y="900"/>
                  </a:lnTo>
                  <a:lnTo>
                    <a:pt x="3139" y="733"/>
                  </a:lnTo>
                  <a:lnTo>
                    <a:pt x="3139" y="691"/>
                  </a:lnTo>
                  <a:lnTo>
                    <a:pt x="3181" y="587"/>
                  </a:lnTo>
                  <a:lnTo>
                    <a:pt x="3118" y="524"/>
                  </a:lnTo>
                  <a:lnTo>
                    <a:pt x="3035" y="482"/>
                  </a:lnTo>
                  <a:lnTo>
                    <a:pt x="3014" y="419"/>
                  </a:lnTo>
                  <a:lnTo>
                    <a:pt x="2909" y="294"/>
                  </a:lnTo>
                  <a:lnTo>
                    <a:pt x="2679" y="168"/>
                  </a:lnTo>
                  <a:lnTo>
                    <a:pt x="2512" y="147"/>
                  </a:lnTo>
                  <a:lnTo>
                    <a:pt x="2281" y="147"/>
                  </a:lnTo>
                  <a:lnTo>
                    <a:pt x="2198" y="105"/>
                  </a:lnTo>
                  <a:lnTo>
                    <a:pt x="2156" y="63"/>
                  </a:lnTo>
                  <a:lnTo>
                    <a:pt x="207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8" name="Google Shape;1978;p66"/>
            <p:cNvSpPr/>
            <p:nvPr/>
          </p:nvSpPr>
          <p:spPr>
            <a:xfrm>
              <a:off x="3163092" y="3070629"/>
              <a:ext cx="23172" cy="20709"/>
            </a:xfrm>
            <a:custGeom>
              <a:avLst/>
              <a:gdLst/>
              <a:ahLst/>
              <a:cxnLst/>
              <a:rect l="l" t="t" r="r" b="b"/>
              <a:pathLst>
                <a:path w="1946" h="1821" extrusionOk="0">
                  <a:moveTo>
                    <a:pt x="293" y="0"/>
                  </a:moveTo>
                  <a:lnTo>
                    <a:pt x="105" y="21"/>
                  </a:lnTo>
                  <a:lnTo>
                    <a:pt x="105" y="42"/>
                  </a:lnTo>
                  <a:lnTo>
                    <a:pt x="63" y="63"/>
                  </a:lnTo>
                  <a:lnTo>
                    <a:pt x="84" y="63"/>
                  </a:lnTo>
                  <a:lnTo>
                    <a:pt x="63" y="209"/>
                  </a:lnTo>
                  <a:lnTo>
                    <a:pt x="0" y="230"/>
                  </a:lnTo>
                  <a:lnTo>
                    <a:pt x="63" y="251"/>
                  </a:lnTo>
                  <a:lnTo>
                    <a:pt x="126" y="272"/>
                  </a:lnTo>
                  <a:lnTo>
                    <a:pt x="167" y="377"/>
                  </a:lnTo>
                  <a:lnTo>
                    <a:pt x="63" y="460"/>
                  </a:lnTo>
                  <a:lnTo>
                    <a:pt x="0" y="586"/>
                  </a:lnTo>
                  <a:lnTo>
                    <a:pt x="21" y="690"/>
                  </a:lnTo>
                  <a:lnTo>
                    <a:pt x="188" y="837"/>
                  </a:lnTo>
                  <a:lnTo>
                    <a:pt x="335" y="837"/>
                  </a:lnTo>
                  <a:lnTo>
                    <a:pt x="418" y="879"/>
                  </a:lnTo>
                  <a:lnTo>
                    <a:pt x="481" y="983"/>
                  </a:lnTo>
                  <a:lnTo>
                    <a:pt x="523" y="983"/>
                  </a:lnTo>
                  <a:lnTo>
                    <a:pt x="607" y="879"/>
                  </a:lnTo>
                  <a:lnTo>
                    <a:pt x="586" y="774"/>
                  </a:lnTo>
                  <a:lnTo>
                    <a:pt x="418" y="670"/>
                  </a:lnTo>
                  <a:lnTo>
                    <a:pt x="377" y="586"/>
                  </a:lnTo>
                  <a:lnTo>
                    <a:pt x="418" y="565"/>
                  </a:lnTo>
                  <a:lnTo>
                    <a:pt x="523" y="649"/>
                  </a:lnTo>
                  <a:lnTo>
                    <a:pt x="628" y="690"/>
                  </a:lnTo>
                  <a:lnTo>
                    <a:pt x="649" y="774"/>
                  </a:lnTo>
                  <a:lnTo>
                    <a:pt x="753" y="858"/>
                  </a:lnTo>
                  <a:lnTo>
                    <a:pt x="795" y="983"/>
                  </a:lnTo>
                  <a:lnTo>
                    <a:pt x="921" y="1067"/>
                  </a:lnTo>
                  <a:lnTo>
                    <a:pt x="1025" y="1151"/>
                  </a:lnTo>
                  <a:lnTo>
                    <a:pt x="1109" y="1193"/>
                  </a:lnTo>
                  <a:lnTo>
                    <a:pt x="1234" y="1318"/>
                  </a:lnTo>
                  <a:lnTo>
                    <a:pt x="1255" y="1402"/>
                  </a:lnTo>
                  <a:lnTo>
                    <a:pt x="1172" y="1486"/>
                  </a:lnTo>
                  <a:lnTo>
                    <a:pt x="1172" y="1569"/>
                  </a:lnTo>
                  <a:lnTo>
                    <a:pt x="1234" y="1632"/>
                  </a:lnTo>
                  <a:lnTo>
                    <a:pt x="1360" y="1695"/>
                  </a:lnTo>
                  <a:lnTo>
                    <a:pt x="1444" y="1737"/>
                  </a:lnTo>
                  <a:lnTo>
                    <a:pt x="1486" y="1716"/>
                  </a:lnTo>
                  <a:lnTo>
                    <a:pt x="1527" y="1632"/>
                  </a:lnTo>
                  <a:lnTo>
                    <a:pt x="1465" y="1569"/>
                  </a:lnTo>
                  <a:lnTo>
                    <a:pt x="1360" y="1507"/>
                  </a:lnTo>
                  <a:lnTo>
                    <a:pt x="1360" y="1486"/>
                  </a:lnTo>
                  <a:lnTo>
                    <a:pt x="1381" y="1465"/>
                  </a:lnTo>
                  <a:lnTo>
                    <a:pt x="1465" y="1507"/>
                  </a:lnTo>
                  <a:lnTo>
                    <a:pt x="1548" y="1632"/>
                  </a:lnTo>
                  <a:lnTo>
                    <a:pt x="1548" y="1737"/>
                  </a:lnTo>
                  <a:lnTo>
                    <a:pt x="1590" y="1737"/>
                  </a:lnTo>
                  <a:lnTo>
                    <a:pt x="1632" y="1779"/>
                  </a:lnTo>
                  <a:lnTo>
                    <a:pt x="1674" y="1820"/>
                  </a:lnTo>
                  <a:lnTo>
                    <a:pt x="1737" y="1820"/>
                  </a:lnTo>
                  <a:lnTo>
                    <a:pt x="1758" y="1779"/>
                  </a:lnTo>
                  <a:lnTo>
                    <a:pt x="1758" y="1695"/>
                  </a:lnTo>
                  <a:lnTo>
                    <a:pt x="1737" y="1632"/>
                  </a:lnTo>
                  <a:lnTo>
                    <a:pt x="1737" y="1590"/>
                  </a:lnTo>
                  <a:lnTo>
                    <a:pt x="1758" y="1486"/>
                  </a:lnTo>
                  <a:lnTo>
                    <a:pt x="1841" y="1423"/>
                  </a:lnTo>
                  <a:lnTo>
                    <a:pt x="1779" y="1318"/>
                  </a:lnTo>
                  <a:lnTo>
                    <a:pt x="1695" y="1297"/>
                  </a:lnTo>
                  <a:lnTo>
                    <a:pt x="1737" y="1214"/>
                  </a:lnTo>
                  <a:lnTo>
                    <a:pt x="1779" y="1151"/>
                  </a:lnTo>
                  <a:lnTo>
                    <a:pt x="1779" y="1046"/>
                  </a:lnTo>
                  <a:lnTo>
                    <a:pt x="1841" y="983"/>
                  </a:lnTo>
                  <a:lnTo>
                    <a:pt x="1946" y="983"/>
                  </a:lnTo>
                  <a:lnTo>
                    <a:pt x="1946" y="962"/>
                  </a:lnTo>
                  <a:lnTo>
                    <a:pt x="1862" y="900"/>
                  </a:lnTo>
                  <a:lnTo>
                    <a:pt x="1758" y="879"/>
                  </a:lnTo>
                  <a:lnTo>
                    <a:pt x="1695" y="795"/>
                  </a:lnTo>
                  <a:lnTo>
                    <a:pt x="1653" y="732"/>
                  </a:lnTo>
                  <a:lnTo>
                    <a:pt x="1548" y="586"/>
                  </a:lnTo>
                  <a:lnTo>
                    <a:pt x="1465" y="481"/>
                  </a:lnTo>
                  <a:lnTo>
                    <a:pt x="1465" y="356"/>
                  </a:lnTo>
                  <a:lnTo>
                    <a:pt x="1423" y="251"/>
                  </a:lnTo>
                  <a:lnTo>
                    <a:pt x="1360" y="272"/>
                  </a:lnTo>
                  <a:lnTo>
                    <a:pt x="1339" y="335"/>
                  </a:lnTo>
                  <a:lnTo>
                    <a:pt x="1234" y="335"/>
                  </a:lnTo>
                  <a:lnTo>
                    <a:pt x="1255" y="272"/>
                  </a:lnTo>
                  <a:lnTo>
                    <a:pt x="1172" y="272"/>
                  </a:lnTo>
                  <a:lnTo>
                    <a:pt x="1130" y="314"/>
                  </a:lnTo>
                  <a:lnTo>
                    <a:pt x="1025" y="209"/>
                  </a:lnTo>
                  <a:lnTo>
                    <a:pt x="1025" y="146"/>
                  </a:lnTo>
                  <a:lnTo>
                    <a:pt x="942" y="126"/>
                  </a:lnTo>
                  <a:lnTo>
                    <a:pt x="858" y="42"/>
                  </a:lnTo>
                  <a:lnTo>
                    <a:pt x="711" y="42"/>
                  </a:lnTo>
                  <a:lnTo>
                    <a:pt x="607" y="63"/>
                  </a:lnTo>
                  <a:lnTo>
                    <a:pt x="29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79" name="Google Shape;1979;p66"/>
            <p:cNvSpPr/>
            <p:nvPr/>
          </p:nvSpPr>
          <p:spPr>
            <a:xfrm>
              <a:off x="3150875" y="3043494"/>
              <a:ext cx="32150" cy="30467"/>
            </a:xfrm>
            <a:custGeom>
              <a:avLst/>
              <a:gdLst/>
              <a:ahLst/>
              <a:cxnLst/>
              <a:rect l="l" t="t" r="r" b="b"/>
              <a:pathLst>
                <a:path w="2700" h="2679" extrusionOk="0">
                  <a:moveTo>
                    <a:pt x="2470" y="1"/>
                  </a:moveTo>
                  <a:lnTo>
                    <a:pt x="2407" y="22"/>
                  </a:lnTo>
                  <a:lnTo>
                    <a:pt x="2386" y="105"/>
                  </a:lnTo>
                  <a:lnTo>
                    <a:pt x="2302" y="126"/>
                  </a:lnTo>
                  <a:lnTo>
                    <a:pt x="2198" y="210"/>
                  </a:lnTo>
                  <a:lnTo>
                    <a:pt x="2093" y="210"/>
                  </a:lnTo>
                  <a:lnTo>
                    <a:pt x="2072" y="294"/>
                  </a:lnTo>
                  <a:lnTo>
                    <a:pt x="1988" y="252"/>
                  </a:lnTo>
                  <a:lnTo>
                    <a:pt x="1884" y="294"/>
                  </a:lnTo>
                  <a:lnTo>
                    <a:pt x="1863" y="231"/>
                  </a:lnTo>
                  <a:lnTo>
                    <a:pt x="1779" y="189"/>
                  </a:lnTo>
                  <a:lnTo>
                    <a:pt x="1737" y="189"/>
                  </a:lnTo>
                  <a:lnTo>
                    <a:pt x="1696" y="294"/>
                  </a:lnTo>
                  <a:lnTo>
                    <a:pt x="1591" y="294"/>
                  </a:lnTo>
                  <a:lnTo>
                    <a:pt x="1528" y="419"/>
                  </a:lnTo>
                  <a:lnTo>
                    <a:pt x="1528" y="461"/>
                  </a:lnTo>
                  <a:lnTo>
                    <a:pt x="1465" y="503"/>
                  </a:lnTo>
                  <a:lnTo>
                    <a:pt x="1361" y="587"/>
                  </a:lnTo>
                  <a:lnTo>
                    <a:pt x="1235" y="649"/>
                  </a:lnTo>
                  <a:lnTo>
                    <a:pt x="1214" y="691"/>
                  </a:lnTo>
                  <a:lnTo>
                    <a:pt x="1131" y="670"/>
                  </a:lnTo>
                  <a:lnTo>
                    <a:pt x="1068" y="691"/>
                  </a:lnTo>
                  <a:lnTo>
                    <a:pt x="1005" y="649"/>
                  </a:lnTo>
                  <a:lnTo>
                    <a:pt x="859" y="628"/>
                  </a:lnTo>
                  <a:lnTo>
                    <a:pt x="691" y="733"/>
                  </a:lnTo>
                  <a:lnTo>
                    <a:pt x="503" y="754"/>
                  </a:lnTo>
                  <a:lnTo>
                    <a:pt x="503" y="859"/>
                  </a:lnTo>
                  <a:lnTo>
                    <a:pt x="503" y="942"/>
                  </a:lnTo>
                  <a:lnTo>
                    <a:pt x="482" y="1089"/>
                  </a:lnTo>
                  <a:lnTo>
                    <a:pt x="419" y="1172"/>
                  </a:lnTo>
                  <a:lnTo>
                    <a:pt x="294" y="1172"/>
                  </a:lnTo>
                  <a:lnTo>
                    <a:pt x="189" y="1193"/>
                  </a:lnTo>
                  <a:lnTo>
                    <a:pt x="189" y="1256"/>
                  </a:lnTo>
                  <a:lnTo>
                    <a:pt x="126" y="1256"/>
                  </a:lnTo>
                  <a:lnTo>
                    <a:pt x="22" y="1214"/>
                  </a:lnTo>
                  <a:lnTo>
                    <a:pt x="1" y="1256"/>
                  </a:lnTo>
                  <a:lnTo>
                    <a:pt x="210" y="1507"/>
                  </a:lnTo>
                  <a:lnTo>
                    <a:pt x="315" y="1591"/>
                  </a:lnTo>
                  <a:lnTo>
                    <a:pt x="315" y="1675"/>
                  </a:lnTo>
                  <a:lnTo>
                    <a:pt x="482" y="1821"/>
                  </a:lnTo>
                  <a:lnTo>
                    <a:pt x="628" y="2030"/>
                  </a:lnTo>
                  <a:lnTo>
                    <a:pt x="900" y="2323"/>
                  </a:lnTo>
                  <a:lnTo>
                    <a:pt x="963" y="2323"/>
                  </a:lnTo>
                  <a:lnTo>
                    <a:pt x="1026" y="2344"/>
                  </a:lnTo>
                  <a:lnTo>
                    <a:pt x="1068" y="2323"/>
                  </a:lnTo>
                  <a:lnTo>
                    <a:pt x="1068" y="2407"/>
                  </a:lnTo>
                  <a:lnTo>
                    <a:pt x="1131" y="2407"/>
                  </a:lnTo>
                  <a:lnTo>
                    <a:pt x="1319" y="2386"/>
                  </a:lnTo>
                  <a:lnTo>
                    <a:pt x="1633" y="2449"/>
                  </a:lnTo>
                  <a:lnTo>
                    <a:pt x="1737" y="2428"/>
                  </a:lnTo>
                  <a:lnTo>
                    <a:pt x="1884" y="2428"/>
                  </a:lnTo>
                  <a:lnTo>
                    <a:pt x="1947" y="2512"/>
                  </a:lnTo>
                  <a:lnTo>
                    <a:pt x="2009" y="2532"/>
                  </a:lnTo>
                  <a:lnTo>
                    <a:pt x="2009" y="2595"/>
                  </a:lnTo>
                  <a:lnTo>
                    <a:pt x="2156" y="2679"/>
                  </a:lnTo>
                  <a:lnTo>
                    <a:pt x="2198" y="2658"/>
                  </a:lnTo>
                  <a:lnTo>
                    <a:pt x="2260" y="2658"/>
                  </a:lnTo>
                  <a:lnTo>
                    <a:pt x="2302" y="2637"/>
                  </a:lnTo>
                  <a:lnTo>
                    <a:pt x="2281" y="2553"/>
                  </a:lnTo>
                  <a:lnTo>
                    <a:pt x="2219" y="2470"/>
                  </a:lnTo>
                  <a:lnTo>
                    <a:pt x="2198" y="2344"/>
                  </a:lnTo>
                  <a:lnTo>
                    <a:pt x="2281" y="2219"/>
                  </a:lnTo>
                  <a:lnTo>
                    <a:pt x="2302" y="2135"/>
                  </a:lnTo>
                  <a:lnTo>
                    <a:pt x="2302" y="2009"/>
                  </a:lnTo>
                  <a:lnTo>
                    <a:pt x="2281" y="2093"/>
                  </a:lnTo>
                  <a:lnTo>
                    <a:pt x="2260" y="2135"/>
                  </a:lnTo>
                  <a:lnTo>
                    <a:pt x="2198" y="2156"/>
                  </a:lnTo>
                  <a:lnTo>
                    <a:pt x="2198" y="2093"/>
                  </a:lnTo>
                  <a:lnTo>
                    <a:pt x="2219" y="2009"/>
                  </a:lnTo>
                  <a:lnTo>
                    <a:pt x="2281" y="1884"/>
                  </a:lnTo>
                  <a:lnTo>
                    <a:pt x="2260" y="1800"/>
                  </a:lnTo>
                  <a:lnTo>
                    <a:pt x="2260" y="1716"/>
                  </a:lnTo>
                  <a:lnTo>
                    <a:pt x="2344" y="1528"/>
                  </a:lnTo>
                  <a:lnTo>
                    <a:pt x="2386" y="1528"/>
                  </a:lnTo>
                  <a:lnTo>
                    <a:pt x="2365" y="1591"/>
                  </a:lnTo>
                  <a:lnTo>
                    <a:pt x="2365" y="1675"/>
                  </a:lnTo>
                  <a:lnTo>
                    <a:pt x="2365" y="1800"/>
                  </a:lnTo>
                  <a:lnTo>
                    <a:pt x="2386" y="1800"/>
                  </a:lnTo>
                  <a:lnTo>
                    <a:pt x="2428" y="1716"/>
                  </a:lnTo>
                  <a:lnTo>
                    <a:pt x="2470" y="1486"/>
                  </a:lnTo>
                  <a:lnTo>
                    <a:pt x="2470" y="1214"/>
                  </a:lnTo>
                  <a:lnTo>
                    <a:pt x="2491" y="1172"/>
                  </a:lnTo>
                  <a:lnTo>
                    <a:pt x="2428" y="1089"/>
                  </a:lnTo>
                  <a:lnTo>
                    <a:pt x="2407" y="1068"/>
                  </a:lnTo>
                  <a:lnTo>
                    <a:pt x="2407" y="1005"/>
                  </a:lnTo>
                  <a:lnTo>
                    <a:pt x="2470" y="963"/>
                  </a:lnTo>
                  <a:lnTo>
                    <a:pt x="2491" y="963"/>
                  </a:lnTo>
                  <a:lnTo>
                    <a:pt x="2512" y="984"/>
                  </a:lnTo>
                  <a:lnTo>
                    <a:pt x="2533" y="838"/>
                  </a:lnTo>
                  <a:lnTo>
                    <a:pt x="2637" y="691"/>
                  </a:lnTo>
                  <a:lnTo>
                    <a:pt x="2700" y="628"/>
                  </a:lnTo>
                  <a:lnTo>
                    <a:pt x="2700" y="566"/>
                  </a:lnTo>
                  <a:lnTo>
                    <a:pt x="2637" y="524"/>
                  </a:lnTo>
                  <a:lnTo>
                    <a:pt x="2637" y="461"/>
                  </a:lnTo>
                  <a:lnTo>
                    <a:pt x="2679" y="377"/>
                  </a:lnTo>
                  <a:lnTo>
                    <a:pt x="2637" y="273"/>
                  </a:lnTo>
                  <a:lnTo>
                    <a:pt x="2637" y="126"/>
                  </a:lnTo>
                  <a:lnTo>
                    <a:pt x="2679" y="63"/>
                  </a:lnTo>
                  <a:lnTo>
                    <a:pt x="2700" y="43"/>
                  </a:lnTo>
                  <a:lnTo>
                    <a:pt x="2533" y="43"/>
                  </a:lnTo>
                  <a:lnTo>
                    <a:pt x="251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0" name="Google Shape;1980;p66"/>
            <p:cNvSpPr/>
            <p:nvPr/>
          </p:nvSpPr>
          <p:spPr>
            <a:xfrm>
              <a:off x="3140409" y="3037308"/>
              <a:ext cx="43617" cy="20948"/>
            </a:xfrm>
            <a:custGeom>
              <a:avLst/>
              <a:gdLst/>
              <a:ahLst/>
              <a:cxnLst/>
              <a:rect l="l" t="t" r="r" b="b"/>
              <a:pathLst>
                <a:path w="3663" h="1842" extrusionOk="0">
                  <a:moveTo>
                    <a:pt x="1926" y="1"/>
                  </a:moveTo>
                  <a:lnTo>
                    <a:pt x="1905" y="43"/>
                  </a:lnTo>
                  <a:lnTo>
                    <a:pt x="1968" y="105"/>
                  </a:lnTo>
                  <a:lnTo>
                    <a:pt x="1863" y="126"/>
                  </a:lnTo>
                  <a:lnTo>
                    <a:pt x="1800" y="168"/>
                  </a:lnTo>
                  <a:lnTo>
                    <a:pt x="1696" y="147"/>
                  </a:lnTo>
                  <a:lnTo>
                    <a:pt x="1507" y="168"/>
                  </a:lnTo>
                  <a:lnTo>
                    <a:pt x="943" y="168"/>
                  </a:lnTo>
                  <a:lnTo>
                    <a:pt x="775" y="252"/>
                  </a:lnTo>
                  <a:lnTo>
                    <a:pt x="712" y="210"/>
                  </a:lnTo>
                  <a:lnTo>
                    <a:pt x="712" y="252"/>
                  </a:lnTo>
                  <a:lnTo>
                    <a:pt x="629" y="315"/>
                  </a:lnTo>
                  <a:lnTo>
                    <a:pt x="566" y="419"/>
                  </a:lnTo>
                  <a:lnTo>
                    <a:pt x="419" y="482"/>
                  </a:lnTo>
                  <a:lnTo>
                    <a:pt x="336" y="482"/>
                  </a:lnTo>
                  <a:lnTo>
                    <a:pt x="189" y="649"/>
                  </a:lnTo>
                  <a:lnTo>
                    <a:pt x="106" y="754"/>
                  </a:lnTo>
                  <a:lnTo>
                    <a:pt x="126" y="838"/>
                  </a:lnTo>
                  <a:lnTo>
                    <a:pt x="43" y="984"/>
                  </a:lnTo>
                  <a:lnTo>
                    <a:pt x="1" y="1047"/>
                  </a:lnTo>
                  <a:lnTo>
                    <a:pt x="43" y="1005"/>
                  </a:lnTo>
                  <a:lnTo>
                    <a:pt x="126" y="1047"/>
                  </a:lnTo>
                  <a:lnTo>
                    <a:pt x="147" y="1068"/>
                  </a:lnTo>
                  <a:lnTo>
                    <a:pt x="210" y="1089"/>
                  </a:lnTo>
                  <a:lnTo>
                    <a:pt x="252" y="1151"/>
                  </a:lnTo>
                  <a:lnTo>
                    <a:pt x="399" y="1110"/>
                  </a:lnTo>
                  <a:lnTo>
                    <a:pt x="503" y="1151"/>
                  </a:lnTo>
                  <a:lnTo>
                    <a:pt x="566" y="1256"/>
                  </a:lnTo>
                  <a:lnTo>
                    <a:pt x="608" y="1298"/>
                  </a:lnTo>
                  <a:lnTo>
                    <a:pt x="650" y="1361"/>
                  </a:lnTo>
                  <a:lnTo>
                    <a:pt x="671" y="1298"/>
                  </a:lnTo>
                  <a:lnTo>
                    <a:pt x="712" y="1256"/>
                  </a:lnTo>
                  <a:lnTo>
                    <a:pt x="817" y="1214"/>
                  </a:lnTo>
                  <a:lnTo>
                    <a:pt x="859" y="1256"/>
                  </a:lnTo>
                  <a:lnTo>
                    <a:pt x="943" y="1277"/>
                  </a:lnTo>
                  <a:lnTo>
                    <a:pt x="943" y="1382"/>
                  </a:lnTo>
                  <a:lnTo>
                    <a:pt x="922" y="1486"/>
                  </a:lnTo>
                  <a:lnTo>
                    <a:pt x="922" y="1507"/>
                  </a:lnTo>
                  <a:lnTo>
                    <a:pt x="880" y="1612"/>
                  </a:lnTo>
                  <a:lnTo>
                    <a:pt x="922" y="1675"/>
                  </a:lnTo>
                  <a:lnTo>
                    <a:pt x="963" y="1696"/>
                  </a:lnTo>
                  <a:lnTo>
                    <a:pt x="984" y="1716"/>
                  </a:lnTo>
                  <a:lnTo>
                    <a:pt x="1047" y="1716"/>
                  </a:lnTo>
                  <a:lnTo>
                    <a:pt x="1068" y="1696"/>
                  </a:lnTo>
                  <a:lnTo>
                    <a:pt x="1131" y="1716"/>
                  </a:lnTo>
                  <a:lnTo>
                    <a:pt x="1131" y="1800"/>
                  </a:lnTo>
                  <a:lnTo>
                    <a:pt x="1152" y="1842"/>
                  </a:lnTo>
                  <a:lnTo>
                    <a:pt x="1256" y="1821"/>
                  </a:lnTo>
                  <a:lnTo>
                    <a:pt x="1382" y="1821"/>
                  </a:lnTo>
                  <a:lnTo>
                    <a:pt x="1445" y="1737"/>
                  </a:lnTo>
                  <a:lnTo>
                    <a:pt x="1445" y="1591"/>
                  </a:lnTo>
                  <a:lnTo>
                    <a:pt x="1445" y="1507"/>
                  </a:lnTo>
                  <a:lnTo>
                    <a:pt x="1445" y="1403"/>
                  </a:lnTo>
                  <a:lnTo>
                    <a:pt x="1612" y="1382"/>
                  </a:lnTo>
                  <a:lnTo>
                    <a:pt x="1800" y="1277"/>
                  </a:lnTo>
                  <a:lnTo>
                    <a:pt x="1926" y="1298"/>
                  </a:lnTo>
                  <a:lnTo>
                    <a:pt x="2010" y="1361"/>
                  </a:lnTo>
                  <a:lnTo>
                    <a:pt x="2072" y="1361"/>
                  </a:lnTo>
                  <a:lnTo>
                    <a:pt x="2135" y="1382"/>
                  </a:lnTo>
                  <a:lnTo>
                    <a:pt x="2177" y="1298"/>
                  </a:lnTo>
                  <a:lnTo>
                    <a:pt x="2303" y="1277"/>
                  </a:lnTo>
                  <a:lnTo>
                    <a:pt x="2407" y="1151"/>
                  </a:lnTo>
                  <a:lnTo>
                    <a:pt x="2449" y="1110"/>
                  </a:lnTo>
                  <a:lnTo>
                    <a:pt x="2491" y="1068"/>
                  </a:lnTo>
                  <a:lnTo>
                    <a:pt x="2554" y="900"/>
                  </a:lnTo>
                  <a:lnTo>
                    <a:pt x="2658" y="900"/>
                  </a:lnTo>
                  <a:lnTo>
                    <a:pt x="2700" y="796"/>
                  </a:lnTo>
                  <a:lnTo>
                    <a:pt x="2742" y="796"/>
                  </a:lnTo>
                  <a:lnTo>
                    <a:pt x="2826" y="879"/>
                  </a:lnTo>
                  <a:lnTo>
                    <a:pt x="2847" y="900"/>
                  </a:lnTo>
                  <a:lnTo>
                    <a:pt x="2951" y="900"/>
                  </a:lnTo>
                  <a:lnTo>
                    <a:pt x="3035" y="942"/>
                  </a:lnTo>
                  <a:lnTo>
                    <a:pt x="3056" y="859"/>
                  </a:lnTo>
                  <a:lnTo>
                    <a:pt x="3139" y="859"/>
                  </a:lnTo>
                  <a:lnTo>
                    <a:pt x="3244" y="775"/>
                  </a:lnTo>
                  <a:lnTo>
                    <a:pt x="3328" y="754"/>
                  </a:lnTo>
                  <a:lnTo>
                    <a:pt x="3349" y="670"/>
                  </a:lnTo>
                  <a:lnTo>
                    <a:pt x="3391" y="649"/>
                  </a:lnTo>
                  <a:lnTo>
                    <a:pt x="3453" y="649"/>
                  </a:lnTo>
                  <a:lnTo>
                    <a:pt x="3474" y="670"/>
                  </a:lnTo>
                  <a:lnTo>
                    <a:pt x="3642" y="670"/>
                  </a:lnTo>
                  <a:lnTo>
                    <a:pt x="3663" y="628"/>
                  </a:lnTo>
                  <a:lnTo>
                    <a:pt x="3642" y="566"/>
                  </a:lnTo>
                  <a:lnTo>
                    <a:pt x="3495" y="461"/>
                  </a:lnTo>
                  <a:lnTo>
                    <a:pt x="3370" y="419"/>
                  </a:lnTo>
                  <a:lnTo>
                    <a:pt x="3370" y="419"/>
                  </a:lnTo>
                  <a:lnTo>
                    <a:pt x="3432" y="524"/>
                  </a:lnTo>
                  <a:lnTo>
                    <a:pt x="3286" y="524"/>
                  </a:lnTo>
                  <a:lnTo>
                    <a:pt x="3139" y="482"/>
                  </a:lnTo>
                  <a:lnTo>
                    <a:pt x="3077" y="461"/>
                  </a:lnTo>
                  <a:lnTo>
                    <a:pt x="2972" y="440"/>
                  </a:lnTo>
                  <a:lnTo>
                    <a:pt x="2867" y="440"/>
                  </a:lnTo>
                  <a:lnTo>
                    <a:pt x="2909" y="377"/>
                  </a:lnTo>
                  <a:lnTo>
                    <a:pt x="2972" y="377"/>
                  </a:lnTo>
                  <a:lnTo>
                    <a:pt x="2972" y="315"/>
                  </a:lnTo>
                  <a:lnTo>
                    <a:pt x="3035" y="315"/>
                  </a:lnTo>
                  <a:lnTo>
                    <a:pt x="3119" y="335"/>
                  </a:lnTo>
                  <a:lnTo>
                    <a:pt x="3265" y="377"/>
                  </a:lnTo>
                  <a:lnTo>
                    <a:pt x="3286" y="356"/>
                  </a:lnTo>
                  <a:lnTo>
                    <a:pt x="3181" y="273"/>
                  </a:lnTo>
                  <a:lnTo>
                    <a:pt x="3035" y="210"/>
                  </a:lnTo>
                  <a:lnTo>
                    <a:pt x="2951" y="168"/>
                  </a:lnTo>
                  <a:lnTo>
                    <a:pt x="2847" y="210"/>
                  </a:lnTo>
                  <a:lnTo>
                    <a:pt x="2805" y="168"/>
                  </a:lnTo>
                  <a:lnTo>
                    <a:pt x="2763" y="252"/>
                  </a:lnTo>
                  <a:lnTo>
                    <a:pt x="2700" y="210"/>
                  </a:lnTo>
                  <a:lnTo>
                    <a:pt x="2428" y="168"/>
                  </a:lnTo>
                  <a:lnTo>
                    <a:pt x="2198" y="147"/>
                  </a:lnTo>
                  <a:lnTo>
                    <a:pt x="2072" y="43"/>
                  </a:lnTo>
                  <a:lnTo>
                    <a:pt x="192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1" name="Google Shape;1981;p66"/>
            <p:cNvSpPr/>
            <p:nvPr/>
          </p:nvSpPr>
          <p:spPr>
            <a:xfrm>
              <a:off x="3134431" y="3048737"/>
              <a:ext cx="17206" cy="9519"/>
            </a:xfrm>
            <a:custGeom>
              <a:avLst/>
              <a:gdLst/>
              <a:ahLst/>
              <a:cxnLst/>
              <a:rect l="l" t="t" r="r" b="b"/>
              <a:pathLst>
                <a:path w="1445" h="837" extrusionOk="0">
                  <a:moveTo>
                    <a:pt x="545" y="0"/>
                  </a:moveTo>
                  <a:lnTo>
                    <a:pt x="503" y="42"/>
                  </a:lnTo>
                  <a:lnTo>
                    <a:pt x="398" y="105"/>
                  </a:lnTo>
                  <a:lnTo>
                    <a:pt x="398" y="167"/>
                  </a:lnTo>
                  <a:lnTo>
                    <a:pt x="294" y="188"/>
                  </a:lnTo>
                  <a:lnTo>
                    <a:pt x="168" y="251"/>
                  </a:lnTo>
                  <a:lnTo>
                    <a:pt x="64" y="356"/>
                  </a:lnTo>
                  <a:lnTo>
                    <a:pt x="64" y="398"/>
                  </a:lnTo>
                  <a:lnTo>
                    <a:pt x="1" y="481"/>
                  </a:lnTo>
                  <a:lnTo>
                    <a:pt x="168" y="481"/>
                  </a:lnTo>
                  <a:lnTo>
                    <a:pt x="273" y="586"/>
                  </a:lnTo>
                  <a:lnTo>
                    <a:pt x="398" y="607"/>
                  </a:lnTo>
                  <a:lnTo>
                    <a:pt x="440" y="607"/>
                  </a:lnTo>
                  <a:lnTo>
                    <a:pt x="649" y="691"/>
                  </a:lnTo>
                  <a:lnTo>
                    <a:pt x="838" y="795"/>
                  </a:lnTo>
                  <a:lnTo>
                    <a:pt x="859" y="732"/>
                  </a:lnTo>
                  <a:lnTo>
                    <a:pt x="796" y="691"/>
                  </a:lnTo>
                  <a:lnTo>
                    <a:pt x="817" y="670"/>
                  </a:lnTo>
                  <a:lnTo>
                    <a:pt x="921" y="670"/>
                  </a:lnTo>
                  <a:lnTo>
                    <a:pt x="1005" y="795"/>
                  </a:lnTo>
                  <a:lnTo>
                    <a:pt x="1068" y="837"/>
                  </a:lnTo>
                  <a:lnTo>
                    <a:pt x="1340" y="837"/>
                  </a:lnTo>
                  <a:lnTo>
                    <a:pt x="1424" y="732"/>
                  </a:lnTo>
                  <a:lnTo>
                    <a:pt x="1382" y="691"/>
                  </a:lnTo>
                  <a:lnTo>
                    <a:pt x="1424" y="670"/>
                  </a:lnTo>
                  <a:lnTo>
                    <a:pt x="1382" y="607"/>
                  </a:lnTo>
                  <a:lnTo>
                    <a:pt x="1424" y="502"/>
                  </a:lnTo>
                  <a:lnTo>
                    <a:pt x="1424" y="481"/>
                  </a:lnTo>
                  <a:lnTo>
                    <a:pt x="1445" y="377"/>
                  </a:lnTo>
                  <a:lnTo>
                    <a:pt x="1445" y="272"/>
                  </a:lnTo>
                  <a:lnTo>
                    <a:pt x="1361" y="251"/>
                  </a:lnTo>
                  <a:lnTo>
                    <a:pt x="1319" y="209"/>
                  </a:lnTo>
                  <a:lnTo>
                    <a:pt x="1214" y="251"/>
                  </a:lnTo>
                  <a:lnTo>
                    <a:pt x="1173" y="293"/>
                  </a:lnTo>
                  <a:lnTo>
                    <a:pt x="1152" y="356"/>
                  </a:lnTo>
                  <a:lnTo>
                    <a:pt x="1110" y="293"/>
                  </a:lnTo>
                  <a:lnTo>
                    <a:pt x="1068" y="251"/>
                  </a:lnTo>
                  <a:lnTo>
                    <a:pt x="1005" y="146"/>
                  </a:lnTo>
                  <a:lnTo>
                    <a:pt x="901" y="105"/>
                  </a:lnTo>
                  <a:lnTo>
                    <a:pt x="754" y="146"/>
                  </a:lnTo>
                  <a:lnTo>
                    <a:pt x="712" y="84"/>
                  </a:lnTo>
                  <a:lnTo>
                    <a:pt x="649" y="63"/>
                  </a:lnTo>
                  <a:lnTo>
                    <a:pt x="628" y="42"/>
                  </a:lnTo>
                  <a:lnTo>
                    <a:pt x="54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2" name="Google Shape;1982;p66"/>
            <p:cNvSpPr/>
            <p:nvPr/>
          </p:nvSpPr>
          <p:spPr>
            <a:xfrm>
              <a:off x="3142159" y="3021841"/>
              <a:ext cx="7978" cy="16672"/>
            </a:xfrm>
            <a:custGeom>
              <a:avLst/>
              <a:gdLst/>
              <a:ahLst/>
              <a:cxnLst/>
              <a:rect l="l" t="t" r="r" b="b"/>
              <a:pathLst>
                <a:path w="670" h="1466" extrusionOk="0">
                  <a:moveTo>
                    <a:pt x="398" y="1"/>
                  </a:moveTo>
                  <a:lnTo>
                    <a:pt x="377" y="43"/>
                  </a:lnTo>
                  <a:lnTo>
                    <a:pt x="356" y="147"/>
                  </a:lnTo>
                  <a:lnTo>
                    <a:pt x="272" y="231"/>
                  </a:lnTo>
                  <a:lnTo>
                    <a:pt x="272" y="252"/>
                  </a:lnTo>
                  <a:lnTo>
                    <a:pt x="210" y="273"/>
                  </a:lnTo>
                  <a:lnTo>
                    <a:pt x="189" y="315"/>
                  </a:lnTo>
                  <a:lnTo>
                    <a:pt x="168" y="273"/>
                  </a:lnTo>
                  <a:lnTo>
                    <a:pt x="168" y="231"/>
                  </a:lnTo>
                  <a:lnTo>
                    <a:pt x="84" y="231"/>
                  </a:lnTo>
                  <a:lnTo>
                    <a:pt x="42" y="273"/>
                  </a:lnTo>
                  <a:lnTo>
                    <a:pt x="0" y="356"/>
                  </a:lnTo>
                  <a:lnTo>
                    <a:pt x="0" y="1423"/>
                  </a:lnTo>
                  <a:lnTo>
                    <a:pt x="84" y="1423"/>
                  </a:lnTo>
                  <a:lnTo>
                    <a:pt x="105" y="1465"/>
                  </a:lnTo>
                  <a:lnTo>
                    <a:pt x="168" y="1465"/>
                  </a:lnTo>
                  <a:lnTo>
                    <a:pt x="210" y="1361"/>
                  </a:lnTo>
                  <a:lnTo>
                    <a:pt x="314" y="1256"/>
                  </a:lnTo>
                  <a:lnTo>
                    <a:pt x="398" y="1298"/>
                  </a:lnTo>
                  <a:lnTo>
                    <a:pt x="565" y="1068"/>
                  </a:lnTo>
                  <a:lnTo>
                    <a:pt x="607" y="900"/>
                  </a:lnTo>
                  <a:lnTo>
                    <a:pt x="607" y="733"/>
                  </a:lnTo>
                  <a:lnTo>
                    <a:pt x="565" y="670"/>
                  </a:lnTo>
                  <a:lnTo>
                    <a:pt x="586" y="482"/>
                  </a:lnTo>
                  <a:lnTo>
                    <a:pt x="628" y="377"/>
                  </a:lnTo>
                  <a:lnTo>
                    <a:pt x="670" y="105"/>
                  </a:lnTo>
                  <a:lnTo>
                    <a:pt x="670" y="43"/>
                  </a:lnTo>
                  <a:lnTo>
                    <a:pt x="670" y="1"/>
                  </a:lnTo>
                  <a:lnTo>
                    <a:pt x="586" y="1"/>
                  </a:lnTo>
                  <a:lnTo>
                    <a:pt x="524" y="43"/>
                  </a:lnTo>
                  <a:lnTo>
                    <a:pt x="50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3" name="Google Shape;1983;p66"/>
            <p:cNvSpPr/>
            <p:nvPr/>
          </p:nvSpPr>
          <p:spPr>
            <a:xfrm>
              <a:off x="3120487" y="3025651"/>
              <a:ext cx="28411" cy="28568"/>
            </a:xfrm>
            <a:custGeom>
              <a:avLst/>
              <a:gdLst/>
              <a:ahLst/>
              <a:cxnLst/>
              <a:rect l="l" t="t" r="r" b="b"/>
              <a:pathLst>
                <a:path w="2386" h="2512" extrusionOk="0">
                  <a:moveTo>
                    <a:pt x="837" y="0"/>
                  </a:moveTo>
                  <a:lnTo>
                    <a:pt x="816" y="314"/>
                  </a:lnTo>
                  <a:lnTo>
                    <a:pt x="565" y="335"/>
                  </a:lnTo>
                  <a:lnTo>
                    <a:pt x="649" y="419"/>
                  </a:lnTo>
                  <a:lnTo>
                    <a:pt x="670" y="461"/>
                  </a:lnTo>
                  <a:lnTo>
                    <a:pt x="774" y="565"/>
                  </a:lnTo>
                  <a:lnTo>
                    <a:pt x="858" y="649"/>
                  </a:lnTo>
                  <a:lnTo>
                    <a:pt x="942" y="649"/>
                  </a:lnTo>
                  <a:lnTo>
                    <a:pt x="963" y="712"/>
                  </a:lnTo>
                  <a:lnTo>
                    <a:pt x="983" y="816"/>
                  </a:lnTo>
                  <a:lnTo>
                    <a:pt x="1025" y="837"/>
                  </a:lnTo>
                  <a:lnTo>
                    <a:pt x="1130" y="858"/>
                  </a:lnTo>
                  <a:lnTo>
                    <a:pt x="1193" y="879"/>
                  </a:lnTo>
                  <a:lnTo>
                    <a:pt x="1193" y="963"/>
                  </a:lnTo>
                  <a:lnTo>
                    <a:pt x="1130" y="1026"/>
                  </a:lnTo>
                  <a:lnTo>
                    <a:pt x="398" y="1026"/>
                  </a:lnTo>
                  <a:lnTo>
                    <a:pt x="42" y="1570"/>
                  </a:lnTo>
                  <a:lnTo>
                    <a:pt x="42" y="1674"/>
                  </a:lnTo>
                  <a:lnTo>
                    <a:pt x="84" y="1695"/>
                  </a:lnTo>
                  <a:lnTo>
                    <a:pt x="42" y="1758"/>
                  </a:lnTo>
                  <a:lnTo>
                    <a:pt x="84" y="1800"/>
                  </a:lnTo>
                  <a:lnTo>
                    <a:pt x="105" y="1821"/>
                  </a:lnTo>
                  <a:lnTo>
                    <a:pt x="105" y="1863"/>
                  </a:lnTo>
                  <a:lnTo>
                    <a:pt x="42" y="1904"/>
                  </a:lnTo>
                  <a:lnTo>
                    <a:pt x="21" y="1967"/>
                  </a:lnTo>
                  <a:lnTo>
                    <a:pt x="0" y="1988"/>
                  </a:lnTo>
                  <a:lnTo>
                    <a:pt x="105" y="2093"/>
                  </a:lnTo>
                  <a:lnTo>
                    <a:pt x="147" y="2218"/>
                  </a:lnTo>
                  <a:lnTo>
                    <a:pt x="251" y="2218"/>
                  </a:lnTo>
                  <a:lnTo>
                    <a:pt x="335" y="2323"/>
                  </a:lnTo>
                  <a:lnTo>
                    <a:pt x="628" y="2428"/>
                  </a:lnTo>
                  <a:lnTo>
                    <a:pt x="942" y="2428"/>
                  </a:lnTo>
                  <a:lnTo>
                    <a:pt x="1172" y="2511"/>
                  </a:lnTo>
                  <a:lnTo>
                    <a:pt x="1235" y="2428"/>
                  </a:lnTo>
                  <a:lnTo>
                    <a:pt x="1235" y="2386"/>
                  </a:lnTo>
                  <a:lnTo>
                    <a:pt x="1339" y="2281"/>
                  </a:lnTo>
                  <a:lnTo>
                    <a:pt x="1465" y="2218"/>
                  </a:lnTo>
                  <a:lnTo>
                    <a:pt x="1569" y="2197"/>
                  </a:lnTo>
                  <a:lnTo>
                    <a:pt x="1569" y="2135"/>
                  </a:lnTo>
                  <a:lnTo>
                    <a:pt x="1716" y="2009"/>
                  </a:lnTo>
                  <a:lnTo>
                    <a:pt x="1799" y="1863"/>
                  </a:lnTo>
                  <a:lnTo>
                    <a:pt x="1779" y="1779"/>
                  </a:lnTo>
                  <a:lnTo>
                    <a:pt x="1862" y="1674"/>
                  </a:lnTo>
                  <a:lnTo>
                    <a:pt x="2009" y="1507"/>
                  </a:lnTo>
                  <a:lnTo>
                    <a:pt x="2092" y="1507"/>
                  </a:lnTo>
                  <a:lnTo>
                    <a:pt x="2239" y="1444"/>
                  </a:lnTo>
                  <a:lnTo>
                    <a:pt x="2302" y="1340"/>
                  </a:lnTo>
                  <a:lnTo>
                    <a:pt x="2385" y="1277"/>
                  </a:lnTo>
                  <a:lnTo>
                    <a:pt x="2385" y="1235"/>
                  </a:lnTo>
                  <a:lnTo>
                    <a:pt x="2344" y="1172"/>
                  </a:lnTo>
                  <a:lnTo>
                    <a:pt x="2239" y="1172"/>
                  </a:lnTo>
                  <a:lnTo>
                    <a:pt x="2218" y="1256"/>
                  </a:lnTo>
                  <a:lnTo>
                    <a:pt x="2113" y="1172"/>
                  </a:lnTo>
                  <a:lnTo>
                    <a:pt x="2030" y="1172"/>
                  </a:lnTo>
                  <a:lnTo>
                    <a:pt x="1988" y="1130"/>
                  </a:lnTo>
                  <a:lnTo>
                    <a:pt x="1925" y="1130"/>
                  </a:lnTo>
                  <a:lnTo>
                    <a:pt x="1904" y="1088"/>
                  </a:lnTo>
                  <a:lnTo>
                    <a:pt x="1820" y="1088"/>
                  </a:lnTo>
                  <a:lnTo>
                    <a:pt x="1820" y="21"/>
                  </a:lnTo>
                  <a:lnTo>
                    <a:pt x="83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4" name="Google Shape;1984;p66"/>
            <p:cNvSpPr/>
            <p:nvPr/>
          </p:nvSpPr>
          <p:spPr>
            <a:xfrm>
              <a:off x="2965761" y="2909287"/>
              <a:ext cx="196343" cy="138983"/>
            </a:xfrm>
            <a:custGeom>
              <a:avLst/>
              <a:gdLst/>
              <a:ahLst/>
              <a:cxnLst/>
              <a:rect l="l" t="t" r="r" b="b"/>
              <a:pathLst>
                <a:path w="16489" h="12221" extrusionOk="0">
                  <a:moveTo>
                    <a:pt x="1381" y="1"/>
                  </a:moveTo>
                  <a:lnTo>
                    <a:pt x="1" y="22"/>
                  </a:lnTo>
                  <a:lnTo>
                    <a:pt x="21" y="168"/>
                  </a:lnTo>
                  <a:lnTo>
                    <a:pt x="105" y="482"/>
                  </a:lnTo>
                  <a:lnTo>
                    <a:pt x="168" y="587"/>
                  </a:lnTo>
                  <a:lnTo>
                    <a:pt x="231" y="691"/>
                  </a:lnTo>
                  <a:lnTo>
                    <a:pt x="168" y="712"/>
                  </a:lnTo>
                  <a:lnTo>
                    <a:pt x="168" y="796"/>
                  </a:lnTo>
                  <a:lnTo>
                    <a:pt x="189" y="901"/>
                  </a:lnTo>
                  <a:lnTo>
                    <a:pt x="356" y="1110"/>
                  </a:lnTo>
                  <a:lnTo>
                    <a:pt x="356" y="1152"/>
                  </a:lnTo>
                  <a:lnTo>
                    <a:pt x="314" y="1173"/>
                  </a:lnTo>
                  <a:lnTo>
                    <a:pt x="335" y="1256"/>
                  </a:lnTo>
                  <a:lnTo>
                    <a:pt x="461" y="1361"/>
                  </a:lnTo>
                  <a:lnTo>
                    <a:pt x="482" y="1486"/>
                  </a:lnTo>
                  <a:lnTo>
                    <a:pt x="440" y="1549"/>
                  </a:lnTo>
                  <a:lnTo>
                    <a:pt x="440" y="1654"/>
                  </a:lnTo>
                  <a:lnTo>
                    <a:pt x="524" y="1696"/>
                  </a:lnTo>
                  <a:lnTo>
                    <a:pt x="545" y="1779"/>
                  </a:lnTo>
                  <a:lnTo>
                    <a:pt x="545" y="1968"/>
                  </a:lnTo>
                  <a:lnTo>
                    <a:pt x="586" y="2114"/>
                  </a:lnTo>
                  <a:lnTo>
                    <a:pt x="691" y="2219"/>
                  </a:lnTo>
                  <a:lnTo>
                    <a:pt x="754" y="2219"/>
                  </a:lnTo>
                  <a:lnTo>
                    <a:pt x="942" y="2386"/>
                  </a:lnTo>
                  <a:lnTo>
                    <a:pt x="1005" y="2512"/>
                  </a:lnTo>
                  <a:lnTo>
                    <a:pt x="1047" y="2595"/>
                  </a:lnTo>
                  <a:lnTo>
                    <a:pt x="1172" y="2721"/>
                  </a:lnTo>
                  <a:lnTo>
                    <a:pt x="1214" y="2909"/>
                  </a:lnTo>
                  <a:lnTo>
                    <a:pt x="1277" y="2930"/>
                  </a:lnTo>
                  <a:lnTo>
                    <a:pt x="1361" y="3056"/>
                  </a:lnTo>
                  <a:lnTo>
                    <a:pt x="1298" y="3139"/>
                  </a:lnTo>
                  <a:lnTo>
                    <a:pt x="1277" y="3202"/>
                  </a:lnTo>
                  <a:lnTo>
                    <a:pt x="1319" y="3265"/>
                  </a:lnTo>
                  <a:lnTo>
                    <a:pt x="1298" y="3349"/>
                  </a:lnTo>
                  <a:lnTo>
                    <a:pt x="1214" y="3328"/>
                  </a:lnTo>
                  <a:lnTo>
                    <a:pt x="1172" y="3411"/>
                  </a:lnTo>
                  <a:lnTo>
                    <a:pt x="1193" y="3432"/>
                  </a:lnTo>
                  <a:lnTo>
                    <a:pt x="1277" y="3432"/>
                  </a:lnTo>
                  <a:lnTo>
                    <a:pt x="1277" y="3516"/>
                  </a:lnTo>
                  <a:lnTo>
                    <a:pt x="1214" y="3558"/>
                  </a:lnTo>
                  <a:lnTo>
                    <a:pt x="1151" y="3516"/>
                  </a:lnTo>
                  <a:lnTo>
                    <a:pt x="1005" y="3516"/>
                  </a:lnTo>
                  <a:lnTo>
                    <a:pt x="900" y="3453"/>
                  </a:lnTo>
                  <a:lnTo>
                    <a:pt x="775" y="3474"/>
                  </a:lnTo>
                  <a:lnTo>
                    <a:pt x="712" y="3516"/>
                  </a:lnTo>
                  <a:lnTo>
                    <a:pt x="858" y="3662"/>
                  </a:lnTo>
                  <a:lnTo>
                    <a:pt x="963" y="3725"/>
                  </a:lnTo>
                  <a:lnTo>
                    <a:pt x="963" y="3830"/>
                  </a:lnTo>
                  <a:lnTo>
                    <a:pt x="1005" y="3934"/>
                  </a:lnTo>
                  <a:lnTo>
                    <a:pt x="1109" y="3955"/>
                  </a:lnTo>
                  <a:lnTo>
                    <a:pt x="1235" y="4039"/>
                  </a:lnTo>
                  <a:lnTo>
                    <a:pt x="1235" y="4081"/>
                  </a:lnTo>
                  <a:lnTo>
                    <a:pt x="1319" y="4081"/>
                  </a:lnTo>
                  <a:lnTo>
                    <a:pt x="1402" y="4102"/>
                  </a:lnTo>
                  <a:lnTo>
                    <a:pt x="1381" y="4144"/>
                  </a:lnTo>
                  <a:lnTo>
                    <a:pt x="1423" y="4206"/>
                  </a:lnTo>
                  <a:lnTo>
                    <a:pt x="1507" y="4186"/>
                  </a:lnTo>
                  <a:lnTo>
                    <a:pt x="1591" y="4186"/>
                  </a:lnTo>
                  <a:lnTo>
                    <a:pt x="1674" y="4081"/>
                  </a:lnTo>
                  <a:lnTo>
                    <a:pt x="1716" y="4081"/>
                  </a:lnTo>
                  <a:lnTo>
                    <a:pt x="1695" y="4186"/>
                  </a:lnTo>
                  <a:lnTo>
                    <a:pt x="1716" y="4374"/>
                  </a:lnTo>
                  <a:lnTo>
                    <a:pt x="1905" y="4562"/>
                  </a:lnTo>
                  <a:lnTo>
                    <a:pt x="2009" y="4583"/>
                  </a:lnTo>
                  <a:lnTo>
                    <a:pt x="2051" y="4583"/>
                  </a:lnTo>
                  <a:lnTo>
                    <a:pt x="2114" y="4667"/>
                  </a:lnTo>
                  <a:lnTo>
                    <a:pt x="2197" y="4897"/>
                  </a:lnTo>
                  <a:lnTo>
                    <a:pt x="2197" y="5127"/>
                  </a:lnTo>
                  <a:lnTo>
                    <a:pt x="2156" y="5315"/>
                  </a:lnTo>
                  <a:lnTo>
                    <a:pt x="2051" y="5462"/>
                  </a:lnTo>
                  <a:lnTo>
                    <a:pt x="2093" y="5546"/>
                  </a:lnTo>
                  <a:lnTo>
                    <a:pt x="2197" y="5650"/>
                  </a:lnTo>
                  <a:lnTo>
                    <a:pt x="2239" y="5629"/>
                  </a:lnTo>
                  <a:lnTo>
                    <a:pt x="2260" y="5713"/>
                  </a:lnTo>
                  <a:lnTo>
                    <a:pt x="2407" y="5734"/>
                  </a:lnTo>
                  <a:lnTo>
                    <a:pt x="2449" y="5859"/>
                  </a:lnTo>
                  <a:lnTo>
                    <a:pt x="2679" y="6131"/>
                  </a:lnTo>
                  <a:lnTo>
                    <a:pt x="2762" y="6152"/>
                  </a:lnTo>
                  <a:lnTo>
                    <a:pt x="2804" y="6236"/>
                  </a:lnTo>
                  <a:lnTo>
                    <a:pt x="2888" y="6341"/>
                  </a:lnTo>
                  <a:lnTo>
                    <a:pt x="3034" y="6362"/>
                  </a:lnTo>
                  <a:lnTo>
                    <a:pt x="3076" y="6445"/>
                  </a:lnTo>
                  <a:lnTo>
                    <a:pt x="3076" y="6571"/>
                  </a:lnTo>
                  <a:lnTo>
                    <a:pt x="3160" y="6655"/>
                  </a:lnTo>
                  <a:lnTo>
                    <a:pt x="3160" y="6717"/>
                  </a:lnTo>
                  <a:lnTo>
                    <a:pt x="3202" y="6822"/>
                  </a:lnTo>
                  <a:lnTo>
                    <a:pt x="3286" y="6864"/>
                  </a:lnTo>
                  <a:lnTo>
                    <a:pt x="3474" y="6780"/>
                  </a:lnTo>
                  <a:lnTo>
                    <a:pt x="3578" y="6613"/>
                  </a:lnTo>
                  <a:lnTo>
                    <a:pt x="3578" y="6487"/>
                  </a:lnTo>
                  <a:lnTo>
                    <a:pt x="3495" y="6445"/>
                  </a:lnTo>
                  <a:lnTo>
                    <a:pt x="3474" y="6341"/>
                  </a:lnTo>
                  <a:lnTo>
                    <a:pt x="3411" y="6278"/>
                  </a:lnTo>
                  <a:lnTo>
                    <a:pt x="3390" y="6173"/>
                  </a:lnTo>
                  <a:lnTo>
                    <a:pt x="3286" y="6131"/>
                  </a:lnTo>
                  <a:lnTo>
                    <a:pt x="3265" y="6048"/>
                  </a:lnTo>
                  <a:lnTo>
                    <a:pt x="3202" y="5964"/>
                  </a:lnTo>
                  <a:lnTo>
                    <a:pt x="3139" y="5943"/>
                  </a:lnTo>
                  <a:lnTo>
                    <a:pt x="3097" y="5964"/>
                  </a:lnTo>
                  <a:lnTo>
                    <a:pt x="3097" y="6048"/>
                  </a:lnTo>
                  <a:lnTo>
                    <a:pt x="3055" y="6069"/>
                  </a:lnTo>
                  <a:lnTo>
                    <a:pt x="3055" y="5985"/>
                  </a:lnTo>
                  <a:lnTo>
                    <a:pt x="2972" y="5943"/>
                  </a:lnTo>
                  <a:lnTo>
                    <a:pt x="2867" y="5818"/>
                  </a:lnTo>
                  <a:lnTo>
                    <a:pt x="2846" y="5734"/>
                  </a:lnTo>
                  <a:lnTo>
                    <a:pt x="2888" y="5629"/>
                  </a:lnTo>
                  <a:lnTo>
                    <a:pt x="2888" y="5504"/>
                  </a:lnTo>
                  <a:lnTo>
                    <a:pt x="2804" y="5399"/>
                  </a:lnTo>
                  <a:lnTo>
                    <a:pt x="2846" y="5294"/>
                  </a:lnTo>
                  <a:lnTo>
                    <a:pt x="2846" y="5232"/>
                  </a:lnTo>
                  <a:lnTo>
                    <a:pt x="2783" y="5148"/>
                  </a:lnTo>
                  <a:lnTo>
                    <a:pt x="2783" y="5085"/>
                  </a:lnTo>
                  <a:lnTo>
                    <a:pt x="2721" y="5002"/>
                  </a:lnTo>
                  <a:lnTo>
                    <a:pt x="2721" y="4897"/>
                  </a:lnTo>
                  <a:lnTo>
                    <a:pt x="2679" y="4834"/>
                  </a:lnTo>
                  <a:lnTo>
                    <a:pt x="2679" y="4688"/>
                  </a:lnTo>
                  <a:lnTo>
                    <a:pt x="2721" y="4604"/>
                  </a:lnTo>
                  <a:lnTo>
                    <a:pt x="2658" y="4395"/>
                  </a:lnTo>
                  <a:lnTo>
                    <a:pt x="2616" y="4290"/>
                  </a:lnTo>
                  <a:lnTo>
                    <a:pt x="2553" y="4206"/>
                  </a:lnTo>
                  <a:lnTo>
                    <a:pt x="2532" y="4186"/>
                  </a:lnTo>
                  <a:lnTo>
                    <a:pt x="2532" y="4248"/>
                  </a:lnTo>
                  <a:lnTo>
                    <a:pt x="2532" y="4290"/>
                  </a:lnTo>
                  <a:lnTo>
                    <a:pt x="2469" y="4353"/>
                  </a:lnTo>
                  <a:lnTo>
                    <a:pt x="2365" y="4186"/>
                  </a:lnTo>
                  <a:lnTo>
                    <a:pt x="2365" y="4102"/>
                  </a:lnTo>
                  <a:lnTo>
                    <a:pt x="2407" y="4039"/>
                  </a:lnTo>
                  <a:lnTo>
                    <a:pt x="2365" y="3976"/>
                  </a:lnTo>
                  <a:lnTo>
                    <a:pt x="2323" y="3955"/>
                  </a:lnTo>
                  <a:lnTo>
                    <a:pt x="2281" y="3746"/>
                  </a:lnTo>
                  <a:lnTo>
                    <a:pt x="2197" y="3579"/>
                  </a:lnTo>
                  <a:lnTo>
                    <a:pt x="2135" y="3558"/>
                  </a:lnTo>
                  <a:lnTo>
                    <a:pt x="2030" y="3453"/>
                  </a:lnTo>
                  <a:lnTo>
                    <a:pt x="2030" y="3328"/>
                  </a:lnTo>
                  <a:lnTo>
                    <a:pt x="2051" y="3202"/>
                  </a:lnTo>
                  <a:lnTo>
                    <a:pt x="1946" y="3056"/>
                  </a:lnTo>
                  <a:lnTo>
                    <a:pt x="1884" y="3035"/>
                  </a:lnTo>
                  <a:lnTo>
                    <a:pt x="1821" y="2993"/>
                  </a:lnTo>
                  <a:lnTo>
                    <a:pt x="1821" y="2846"/>
                  </a:lnTo>
                  <a:lnTo>
                    <a:pt x="1737" y="2784"/>
                  </a:lnTo>
                  <a:lnTo>
                    <a:pt x="1633" y="2742"/>
                  </a:lnTo>
                  <a:lnTo>
                    <a:pt x="1612" y="2637"/>
                  </a:lnTo>
                  <a:lnTo>
                    <a:pt x="1633" y="2574"/>
                  </a:lnTo>
                  <a:lnTo>
                    <a:pt x="1612" y="2407"/>
                  </a:lnTo>
                  <a:lnTo>
                    <a:pt x="1465" y="2302"/>
                  </a:lnTo>
                  <a:lnTo>
                    <a:pt x="1402" y="2219"/>
                  </a:lnTo>
                  <a:lnTo>
                    <a:pt x="1319" y="2198"/>
                  </a:lnTo>
                  <a:lnTo>
                    <a:pt x="1319" y="2093"/>
                  </a:lnTo>
                  <a:lnTo>
                    <a:pt x="1235" y="1947"/>
                  </a:lnTo>
                  <a:lnTo>
                    <a:pt x="1193" y="1863"/>
                  </a:lnTo>
                  <a:lnTo>
                    <a:pt x="1235" y="1779"/>
                  </a:lnTo>
                  <a:lnTo>
                    <a:pt x="1214" y="1361"/>
                  </a:lnTo>
                  <a:lnTo>
                    <a:pt x="1193" y="1131"/>
                  </a:lnTo>
                  <a:lnTo>
                    <a:pt x="1235" y="1005"/>
                  </a:lnTo>
                  <a:lnTo>
                    <a:pt x="1298" y="796"/>
                  </a:lnTo>
                  <a:lnTo>
                    <a:pt x="1277" y="691"/>
                  </a:lnTo>
                  <a:lnTo>
                    <a:pt x="1235" y="545"/>
                  </a:lnTo>
                  <a:lnTo>
                    <a:pt x="1319" y="691"/>
                  </a:lnTo>
                  <a:lnTo>
                    <a:pt x="1486" y="754"/>
                  </a:lnTo>
                  <a:lnTo>
                    <a:pt x="1570" y="921"/>
                  </a:lnTo>
                  <a:lnTo>
                    <a:pt x="1633" y="963"/>
                  </a:lnTo>
                  <a:lnTo>
                    <a:pt x="1737" y="963"/>
                  </a:lnTo>
                  <a:lnTo>
                    <a:pt x="1800" y="921"/>
                  </a:lnTo>
                  <a:lnTo>
                    <a:pt x="1884" y="1026"/>
                  </a:lnTo>
                  <a:lnTo>
                    <a:pt x="1925" y="1068"/>
                  </a:lnTo>
                  <a:lnTo>
                    <a:pt x="2030" y="1068"/>
                  </a:lnTo>
                  <a:lnTo>
                    <a:pt x="2156" y="1152"/>
                  </a:lnTo>
                  <a:lnTo>
                    <a:pt x="2156" y="1214"/>
                  </a:lnTo>
                  <a:lnTo>
                    <a:pt x="2093" y="1319"/>
                  </a:lnTo>
                  <a:lnTo>
                    <a:pt x="2093" y="1382"/>
                  </a:lnTo>
                  <a:lnTo>
                    <a:pt x="2135" y="1549"/>
                  </a:lnTo>
                  <a:lnTo>
                    <a:pt x="2156" y="1737"/>
                  </a:lnTo>
                  <a:lnTo>
                    <a:pt x="2218" y="1842"/>
                  </a:lnTo>
                  <a:lnTo>
                    <a:pt x="2239" y="1968"/>
                  </a:lnTo>
                  <a:lnTo>
                    <a:pt x="2218" y="2051"/>
                  </a:lnTo>
                  <a:lnTo>
                    <a:pt x="2239" y="2156"/>
                  </a:lnTo>
                  <a:lnTo>
                    <a:pt x="2407" y="2323"/>
                  </a:lnTo>
                  <a:lnTo>
                    <a:pt x="2365" y="2386"/>
                  </a:lnTo>
                  <a:lnTo>
                    <a:pt x="2344" y="2470"/>
                  </a:lnTo>
                  <a:lnTo>
                    <a:pt x="2407" y="2533"/>
                  </a:lnTo>
                  <a:lnTo>
                    <a:pt x="2428" y="2533"/>
                  </a:lnTo>
                  <a:lnTo>
                    <a:pt x="2469" y="2595"/>
                  </a:lnTo>
                  <a:lnTo>
                    <a:pt x="2532" y="2784"/>
                  </a:lnTo>
                  <a:lnTo>
                    <a:pt x="2616" y="2805"/>
                  </a:lnTo>
                  <a:lnTo>
                    <a:pt x="2658" y="2909"/>
                  </a:lnTo>
                  <a:lnTo>
                    <a:pt x="2658" y="3035"/>
                  </a:lnTo>
                  <a:lnTo>
                    <a:pt x="2721" y="3097"/>
                  </a:lnTo>
                  <a:lnTo>
                    <a:pt x="2783" y="3118"/>
                  </a:lnTo>
                  <a:lnTo>
                    <a:pt x="2846" y="3244"/>
                  </a:lnTo>
                  <a:lnTo>
                    <a:pt x="2867" y="3349"/>
                  </a:lnTo>
                  <a:lnTo>
                    <a:pt x="2951" y="3411"/>
                  </a:lnTo>
                  <a:lnTo>
                    <a:pt x="2972" y="3453"/>
                  </a:lnTo>
                  <a:lnTo>
                    <a:pt x="3055" y="3453"/>
                  </a:lnTo>
                  <a:lnTo>
                    <a:pt x="3097" y="3516"/>
                  </a:lnTo>
                  <a:lnTo>
                    <a:pt x="3181" y="3453"/>
                  </a:lnTo>
                  <a:lnTo>
                    <a:pt x="3244" y="3516"/>
                  </a:lnTo>
                  <a:lnTo>
                    <a:pt x="3244" y="3642"/>
                  </a:lnTo>
                  <a:lnTo>
                    <a:pt x="3181" y="3725"/>
                  </a:lnTo>
                  <a:lnTo>
                    <a:pt x="3202" y="3872"/>
                  </a:lnTo>
                  <a:lnTo>
                    <a:pt x="3390" y="4060"/>
                  </a:lnTo>
                  <a:lnTo>
                    <a:pt x="3474" y="4039"/>
                  </a:lnTo>
                  <a:lnTo>
                    <a:pt x="3558" y="4060"/>
                  </a:lnTo>
                  <a:lnTo>
                    <a:pt x="3516" y="4165"/>
                  </a:lnTo>
                  <a:lnTo>
                    <a:pt x="3578" y="4269"/>
                  </a:lnTo>
                  <a:lnTo>
                    <a:pt x="3683" y="4290"/>
                  </a:lnTo>
                  <a:lnTo>
                    <a:pt x="3767" y="4290"/>
                  </a:lnTo>
                  <a:lnTo>
                    <a:pt x="3850" y="4395"/>
                  </a:lnTo>
                  <a:lnTo>
                    <a:pt x="3892" y="4499"/>
                  </a:lnTo>
                  <a:lnTo>
                    <a:pt x="3976" y="4520"/>
                  </a:lnTo>
                  <a:lnTo>
                    <a:pt x="3997" y="4499"/>
                  </a:lnTo>
                  <a:lnTo>
                    <a:pt x="4018" y="4520"/>
                  </a:lnTo>
                  <a:lnTo>
                    <a:pt x="4039" y="4604"/>
                  </a:lnTo>
                  <a:lnTo>
                    <a:pt x="3997" y="4667"/>
                  </a:lnTo>
                  <a:lnTo>
                    <a:pt x="3934" y="4604"/>
                  </a:lnTo>
                  <a:lnTo>
                    <a:pt x="3850" y="4625"/>
                  </a:lnTo>
                  <a:lnTo>
                    <a:pt x="3767" y="4730"/>
                  </a:lnTo>
                  <a:lnTo>
                    <a:pt x="3704" y="4897"/>
                  </a:lnTo>
                  <a:lnTo>
                    <a:pt x="3725" y="5002"/>
                  </a:lnTo>
                  <a:lnTo>
                    <a:pt x="3809" y="5085"/>
                  </a:lnTo>
                  <a:lnTo>
                    <a:pt x="3913" y="5085"/>
                  </a:lnTo>
                  <a:lnTo>
                    <a:pt x="3997" y="5148"/>
                  </a:lnTo>
                  <a:lnTo>
                    <a:pt x="4206" y="5315"/>
                  </a:lnTo>
                  <a:lnTo>
                    <a:pt x="4353" y="5357"/>
                  </a:lnTo>
                  <a:lnTo>
                    <a:pt x="4415" y="5357"/>
                  </a:lnTo>
                  <a:lnTo>
                    <a:pt x="4436" y="5420"/>
                  </a:lnTo>
                  <a:lnTo>
                    <a:pt x="4499" y="5525"/>
                  </a:lnTo>
                  <a:lnTo>
                    <a:pt x="4541" y="5608"/>
                  </a:lnTo>
                  <a:lnTo>
                    <a:pt x="4499" y="5713"/>
                  </a:lnTo>
                  <a:lnTo>
                    <a:pt x="4415" y="5734"/>
                  </a:lnTo>
                  <a:lnTo>
                    <a:pt x="4436" y="5776"/>
                  </a:lnTo>
                  <a:lnTo>
                    <a:pt x="4520" y="5838"/>
                  </a:lnTo>
                  <a:lnTo>
                    <a:pt x="4708" y="5880"/>
                  </a:lnTo>
                  <a:lnTo>
                    <a:pt x="4708" y="5964"/>
                  </a:lnTo>
                  <a:lnTo>
                    <a:pt x="4750" y="5985"/>
                  </a:lnTo>
                  <a:lnTo>
                    <a:pt x="4897" y="6131"/>
                  </a:lnTo>
                  <a:lnTo>
                    <a:pt x="5085" y="6362"/>
                  </a:lnTo>
                  <a:lnTo>
                    <a:pt x="5231" y="6592"/>
                  </a:lnTo>
                  <a:lnTo>
                    <a:pt x="5399" y="6801"/>
                  </a:lnTo>
                  <a:lnTo>
                    <a:pt x="5399" y="6906"/>
                  </a:lnTo>
                  <a:lnTo>
                    <a:pt x="5608" y="7178"/>
                  </a:lnTo>
                  <a:lnTo>
                    <a:pt x="5650" y="7282"/>
                  </a:lnTo>
                  <a:lnTo>
                    <a:pt x="5587" y="7408"/>
                  </a:lnTo>
                  <a:lnTo>
                    <a:pt x="5650" y="7491"/>
                  </a:lnTo>
                  <a:lnTo>
                    <a:pt x="5692" y="7638"/>
                  </a:lnTo>
                  <a:lnTo>
                    <a:pt x="5817" y="7952"/>
                  </a:lnTo>
                  <a:lnTo>
                    <a:pt x="5817" y="8077"/>
                  </a:lnTo>
                  <a:lnTo>
                    <a:pt x="5775" y="8182"/>
                  </a:lnTo>
                  <a:lnTo>
                    <a:pt x="5650" y="8287"/>
                  </a:lnTo>
                  <a:lnTo>
                    <a:pt x="5608" y="8370"/>
                  </a:lnTo>
                  <a:lnTo>
                    <a:pt x="5671" y="8370"/>
                  </a:lnTo>
                  <a:lnTo>
                    <a:pt x="5754" y="8454"/>
                  </a:lnTo>
                  <a:lnTo>
                    <a:pt x="5692" y="8496"/>
                  </a:lnTo>
                  <a:lnTo>
                    <a:pt x="5566" y="8496"/>
                  </a:lnTo>
                  <a:lnTo>
                    <a:pt x="5482" y="8538"/>
                  </a:lnTo>
                  <a:lnTo>
                    <a:pt x="5482" y="8579"/>
                  </a:lnTo>
                  <a:lnTo>
                    <a:pt x="5566" y="8789"/>
                  </a:lnTo>
                  <a:lnTo>
                    <a:pt x="5650" y="8872"/>
                  </a:lnTo>
                  <a:lnTo>
                    <a:pt x="5650" y="8956"/>
                  </a:lnTo>
                  <a:lnTo>
                    <a:pt x="5754" y="9103"/>
                  </a:lnTo>
                  <a:lnTo>
                    <a:pt x="5796" y="9228"/>
                  </a:lnTo>
                  <a:lnTo>
                    <a:pt x="5859" y="9291"/>
                  </a:lnTo>
                  <a:lnTo>
                    <a:pt x="5922" y="9291"/>
                  </a:lnTo>
                  <a:lnTo>
                    <a:pt x="5943" y="9333"/>
                  </a:lnTo>
                  <a:lnTo>
                    <a:pt x="6131" y="9395"/>
                  </a:lnTo>
                  <a:lnTo>
                    <a:pt x="6278" y="9375"/>
                  </a:lnTo>
                  <a:lnTo>
                    <a:pt x="6340" y="9375"/>
                  </a:lnTo>
                  <a:lnTo>
                    <a:pt x="6299" y="9437"/>
                  </a:lnTo>
                  <a:lnTo>
                    <a:pt x="6299" y="9500"/>
                  </a:lnTo>
                  <a:lnTo>
                    <a:pt x="6424" y="9542"/>
                  </a:lnTo>
                  <a:lnTo>
                    <a:pt x="6591" y="9688"/>
                  </a:lnTo>
                  <a:lnTo>
                    <a:pt x="6696" y="9835"/>
                  </a:lnTo>
                  <a:lnTo>
                    <a:pt x="6759" y="9960"/>
                  </a:lnTo>
                  <a:lnTo>
                    <a:pt x="6863" y="10023"/>
                  </a:lnTo>
                  <a:lnTo>
                    <a:pt x="6926" y="10002"/>
                  </a:lnTo>
                  <a:lnTo>
                    <a:pt x="7031" y="10044"/>
                  </a:lnTo>
                  <a:lnTo>
                    <a:pt x="7115" y="10044"/>
                  </a:lnTo>
                  <a:lnTo>
                    <a:pt x="7345" y="10149"/>
                  </a:lnTo>
                  <a:lnTo>
                    <a:pt x="7428" y="10149"/>
                  </a:lnTo>
                  <a:lnTo>
                    <a:pt x="7449" y="10107"/>
                  </a:lnTo>
                  <a:lnTo>
                    <a:pt x="7512" y="10107"/>
                  </a:lnTo>
                  <a:lnTo>
                    <a:pt x="7575" y="10170"/>
                  </a:lnTo>
                  <a:lnTo>
                    <a:pt x="7847" y="10442"/>
                  </a:lnTo>
                  <a:lnTo>
                    <a:pt x="7910" y="10442"/>
                  </a:lnTo>
                  <a:lnTo>
                    <a:pt x="8098" y="10630"/>
                  </a:lnTo>
                  <a:lnTo>
                    <a:pt x="8328" y="10735"/>
                  </a:lnTo>
                  <a:lnTo>
                    <a:pt x="8621" y="10756"/>
                  </a:lnTo>
                  <a:lnTo>
                    <a:pt x="8747" y="10839"/>
                  </a:lnTo>
                  <a:lnTo>
                    <a:pt x="8830" y="10965"/>
                  </a:lnTo>
                  <a:lnTo>
                    <a:pt x="8998" y="10965"/>
                  </a:lnTo>
                  <a:lnTo>
                    <a:pt x="9144" y="11048"/>
                  </a:lnTo>
                  <a:lnTo>
                    <a:pt x="9228" y="10986"/>
                  </a:lnTo>
                  <a:lnTo>
                    <a:pt x="9249" y="11007"/>
                  </a:lnTo>
                  <a:lnTo>
                    <a:pt x="9332" y="11153"/>
                  </a:lnTo>
                  <a:lnTo>
                    <a:pt x="9479" y="11216"/>
                  </a:lnTo>
                  <a:lnTo>
                    <a:pt x="9625" y="11216"/>
                  </a:lnTo>
                  <a:lnTo>
                    <a:pt x="9730" y="11279"/>
                  </a:lnTo>
                  <a:lnTo>
                    <a:pt x="9960" y="11362"/>
                  </a:lnTo>
                  <a:lnTo>
                    <a:pt x="10148" y="11362"/>
                  </a:lnTo>
                  <a:lnTo>
                    <a:pt x="10295" y="11467"/>
                  </a:lnTo>
                  <a:lnTo>
                    <a:pt x="10588" y="11572"/>
                  </a:lnTo>
                  <a:lnTo>
                    <a:pt x="10692" y="11530"/>
                  </a:lnTo>
                  <a:lnTo>
                    <a:pt x="11006" y="11404"/>
                  </a:lnTo>
                  <a:lnTo>
                    <a:pt x="11111" y="11404"/>
                  </a:lnTo>
                  <a:lnTo>
                    <a:pt x="11299" y="11300"/>
                  </a:lnTo>
                  <a:lnTo>
                    <a:pt x="11404" y="11279"/>
                  </a:lnTo>
                  <a:lnTo>
                    <a:pt x="11613" y="11279"/>
                  </a:lnTo>
                  <a:lnTo>
                    <a:pt x="11613" y="11258"/>
                  </a:lnTo>
                  <a:lnTo>
                    <a:pt x="11467" y="11216"/>
                  </a:lnTo>
                  <a:lnTo>
                    <a:pt x="11404" y="11216"/>
                  </a:lnTo>
                  <a:lnTo>
                    <a:pt x="11404" y="11174"/>
                  </a:lnTo>
                  <a:lnTo>
                    <a:pt x="11529" y="11090"/>
                  </a:lnTo>
                  <a:lnTo>
                    <a:pt x="11550" y="11111"/>
                  </a:lnTo>
                  <a:lnTo>
                    <a:pt x="11550" y="11195"/>
                  </a:lnTo>
                  <a:lnTo>
                    <a:pt x="11634" y="11153"/>
                  </a:lnTo>
                  <a:lnTo>
                    <a:pt x="11718" y="11153"/>
                  </a:lnTo>
                  <a:lnTo>
                    <a:pt x="11718" y="11195"/>
                  </a:lnTo>
                  <a:lnTo>
                    <a:pt x="11655" y="11195"/>
                  </a:lnTo>
                  <a:lnTo>
                    <a:pt x="11634" y="11216"/>
                  </a:lnTo>
                  <a:lnTo>
                    <a:pt x="11655" y="11258"/>
                  </a:lnTo>
                  <a:lnTo>
                    <a:pt x="11760" y="11258"/>
                  </a:lnTo>
                  <a:lnTo>
                    <a:pt x="11864" y="11279"/>
                  </a:lnTo>
                  <a:lnTo>
                    <a:pt x="12032" y="11404"/>
                  </a:lnTo>
                  <a:lnTo>
                    <a:pt x="12094" y="11467"/>
                  </a:lnTo>
                  <a:lnTo>
                    <a:pt x="12094" y="11425"/>
                  </a:lnTo>
                  <a:lnTo>
                    <a:pt x="11969" y="11300"/>
                  </a:lnTo>
                  <a:lnTo>
                    <a:pt x="11780" y="11216"/>
                  </a:lnTo>
                  <a:lnTo>
                    <a:pt x="11780" y="11174"/>
                  </a:lnTo>
                  <a:lnTo>
                    <a:pt x="11822" y="11174"/>
                  </a:lnTo>
                  <a:lnTo>
                    <a:pt x="11843" y="11195"/>
                  </a:lnTo>
                  <a:lnTo>
                    <a:pt x="11948" y="11216"/>
                  </a:lnTo>
                  <a:lnTo>
                    <a:pt x="12053" y="11300"/>
                  </a:lnTo>
                  <a:lnTo>
                    <a:pt x="12157" y="11425"/>
                  </a:lnTo>
                  <a:lnTo>
                    <a:pt x="12157" y="11488"/>
                  </a:lnTo>
                  <a:lnTo>
                    <a:pt x="12199" y="11530"/>
                  </a:lnTo>
                  <a:lnTo>
                    <a:pt x="12597" y="11885"/>
                  </a:lnTo>
                  <a:lnTo>
                    <a:pt x="12722" y="11906"/>
                  </a:lnTo>
                  <a:lnTo>
                    <a:pt x="12764" y="11990"/>
                  </a:lnTo>
                  <a:lnTo>
                    <a:pt x="12910" y="12116"/>
                  </a:lnTo>
                  <a:lnTo>
                    <a:pt x="12994" y="12220"/>
                  </a:lnTo>
                  <a:lnTo>
                    <a:pt x="13015" y="12199"/>
                  </a:lnTo>
                  <a:lnTo>
                    <a:pt x="13036" y="12136"/>
                  </a:lnTo>
                  <a:lnTo>
                    <a:pt x="13099" y="12095"/>
                  </a:lnTo>
                  <a:lnTo>
                    <a:pt x="13099" y="12053"/>
                  </a:lnTo>
                  <a:lnTo>
                    <a:pt x="13078" y="12032"/>
                  </a:lnTo>
                  <a:lnTo>
                    <a:pt x="13036" y="11990"/>
                  </a:lnTo>
                  <a:lnTo>
                    <a:pt x="13078" y="11927"/>
                  </a:lnTo>
                  <a:lnTo>
                    <a:pt x="13036" y="11906"/>
                  </a:lnTo>
                  <a:lnTo>
                    <a:pt x="13036" y="11802"/>
                  </a:lnTo>
                  <a:lnTo>
                    <a:pt x="13392" y="11258"/>
                  </a:lnTo>
                  <a:lnTo>
                    <a:pt x="14124" y="11258"/>
                  </a:lnTo>
                  <a:lnTo>
                    <a:pt x="14187" y="11195"/>
                  </a:lnTo>
                  <a:lnTo>
                    <a:pt x="14187" y="11111"/>
                  </a:lnTo>
                  <a:lnTo>
                    <a:pt x="14124" y="11090"/>
                  </a:lnTo>
                  <a:lnTo>
                    <a:pt x="14019" y="11069"/>
                  </a:lnTo>
                  <a:lnTo>
                    <a:pt x="13977" y="11048"/>
                  </a:lnTo>
                  <a:lnTo>
                    <a:pt x="13957" y="10944"/>
                  </a:lnTo>
                  <a:lnTo>
                    <a:pt x="13936" y="10881"/>
                  </a:lnTo>
                  <a:lnTo>
                    <a:pt x="13852" y="10881"/>
                  </a:lnTo>
                  <a:lnTo>
                    <a:pt x="13768" y="10797"/>
                  </a:lnTo>
                  <a:lnTo>
                    <a:pt x="13664" y="10693"/>
                  </a:lnTo>
                  <a:lnTo>
                    <a:pt x="13643" y="10651"/>
                  </a:lnTo>
                  <a:lnTo>
                    <a:pt x="13559" y="10567"/>
                  </a:lnTo>
                  <a:lnTo>
                    <a:pt x="13810" y="10546"/>
                  </a:lnTo>
                  <a:lnTo>
                    <a:pt x="13831" y="10232"/>
                  </a:lnTo>
                  <a:lnTo>
                    <a:pt x="14814" y="10253"/>
                  </a:lnTo>
                  <a:lnTo>
                    <a:pt x="14856" y="10170"/>
                  </a:lnTo>
                  <a:lnTo>
                    <a:pt x="14898" y="10128"/>
                  </a:lnTo>
                  <a:lnTo>
                    <a:pt x="14982" y="10128"/>
                  </a:lnTo>
                  <a:lnTo>
                    <a:pt x="14982" y="10170"/>
                  </a:lnTo>
                  <a:lnTo>
                    <a:pt x="15003" y="10212"/>
                  </a:lnTo>
                  <a:lnTo>
                    <a:pt x="15024" y="10170"/>
                  </a:lnTo>
                  <a:lnTo>
                    <a:pt x="15086" y="10149"/>
                  </a:lnTo>
                  <a:lnTo>
                    <a:pt x="15086" y="10128"/>
                  </a:lnTo>
                  <a:lnTo>
                    <a:pt x="15170" y="10044"/>
                  </a:lnTo>
                  <a:lnTo>
                    <a:pt x="15191" y="9940"/>
                  </a:lnTo>
                  <a:lnTo>
                    <a:pt x="15212" y="9898"/>
                  </a:lnTo>
                  <a:lnTo>
                    <a:pt x="15317" y="9898"/>
                  </a:lnTo>
                  <a:lnTo>
                    <a:pt x="15421" y="9793"/>
                  </a:lnTo>
                  <a:lnTo>
                    <a:pt x="15526" y="9647"/>
                  </a:lnTo>
                  <a:lnTo>
                    <a:pt x="15610" y="9626"/>
                  </a:lnTo>
                  <a:lnTo>
                    <a:pt x="15610" y="9626"/>
                  </a:lnTo>
                  <a:lnTo>
                    <a:pt x="15589" y="9730"/>
                  </a:lnTo>
                  <a:lnTo>
                    <a:pt x="15526" y="9793"/>
                  </a:lnTo>
                  <a:lnTo>
                    <a:pt x="15547" y="9835"/>
                  </a:lnTo>
                  <a:lnTo>
                    <a:pt x="15651" y="9919"/>
                  </a:lnTo>
                  <a:lnTo>
                    <a:pt x="15714" y="10023"/>
                  </a:lnTo>
                  <a:lnTo>
                    <a:pt x="15735" y="10002"/>
                  </a:lnTo>
                  <a:lnTo>
                    <a:pt x="15840" y="9814"/>
                  </a:lnTo>
                  <a:lnTo>
                    <a:pt x="15944" y="9437"/>
                  </a:lnTo>
                  <a:lnTo>
                    <a:pt x="16007" y="9333"/>
                  </a:lnTo>
                  <a:lnTo>
                    <a:pt x="15944" y="9375"/>
                  </a:lnTo>
                  <a:lnTo>
                    <a:pt x="15902" y="9416"/>
                  </a:lnTo>
                  <a:lnTo>
                    <a:pt x="15840" y="9395"/>
                  </a:lnTo>
                  <a:lnTo>
                    <a:pt x="15840" y="9333"/>
                  </a:lnTo>
                  <a:lnTo>
                    <a:pt x="15965" y="9207"/>
                  </a:lnTo>
                  <a:lnTo>
                    <a:pt x="16007" y="9123"/>
                  </a:lnTo>
                  <a:lnTo>
                    <a:pt x="15902" y="9123"/>
                  </a:lnTo>
                  <a:lnTo>
                    <a:pt x="15819" y="9061"/>
                  </a:lnTo>
                  <a:lnTo>
                    <a:pt x="15840" y="9019"/>
                  </a:lnTo>
                  <a:lnTo>
                    <a:pt x="15965" y="8956"/>
                  </a:lnTo>
                  <a:lnTo>
                    <a:pt x="15965" y="8789"/>
                  </a:lnTo>
                  <a:lnTo>
                    <a:pt x="16028" y="8705"/>
                  </a:lnTo>
                  <a:lnTo>
                    <a:pt x="16279" y="8475"/>
                  </a:lnTo>
                  <a:lnTo>
                    <a:pt x="16426" y="8266"/>
                  </a:lnTo>
                  <a:lnTo>
                    <a:pt x="16488" y="8119"/>
                  </a:lnTo>
                  <a:lnTo>
                    <a:pt x="16488" y="8015"/>
                  </a:lnTo>
                  <a:lnTo>
                    <a:pt x="16321" y="7763"/>
                  </a:lnTo>
                  <a:lnTo>
                    <a:pt x="16216" y="7805"/>
                  </a:lnTo>
                  <a:lnTo>
                    <a:pt x="16237" y="7847"/>
                  </a:lnTo>
                  <a:lnTo>
                    <a:pt x="16174" y="7868"/>
                  </a:lnTo>
                  <a:lnTo>
                    <a:pt x="15923" y="7826"/>
                  </a:lnTo>
                  <a:lnTo>
                    <a:pt x="15693" y="7826"/>
                  </a:lnTo>
                  <a:lnTo>
                    <a:pt x="15693" y="7868"/>
                  </a:lnTo>
                  <a:lnTo>
                    <a:pt x="15547" y="7952"/>
                  </a:lnTo>
                  <a:lnTo>
                    <a:pt x="15505" y="7910"/>
                  </a:lnTo>
                  <a:lnTo>
                    <a:pt x="15379" y="7931"/>
                  </a:lnTo>
                  <a:lnTo>
                    <a:pt x="15275" y="8035"/>
                  </a:lnTo>
                  <a:lnTo>
                    <a:pt x="14793" y="8035"/>
                  </a:lnTo>
                  <a:lnTo>
                    <a:pt x="14396" y="8119"/>
                  </a:lnTo>
                  <a:lnTo>
                    <a:pt x="14396" y="8182"/>
                  </a:lnTo>
                  <a:lnTo>
                    <a:pt x="14501" y="8224"/>
                  </a:lnTo>
                  <a:lnTo>
                    <a:pt x="14291" y="8454"/>
                  </a:lnTo>
                  <a:lnTo>
                    <a:pt x="14270" y="8810"/>
                  </a:lnTo>
                  <a:lnTo>
                    <a:pt x="14291" y="8851"/>
                  </a:lnTo>
                  <a:lnTo>
                    <a:pt x="14082" y="9082"/>
                  </a:lnTo>
                  <a:lnTo>
                    <a:pt x="14082" y="9270"/>
                  </a:lnTo>
                  <a:lnTo>
                    <a:pt x="13957" y="9395"/>
                  </a:lnTo>
                  <a:lnTo>
                    <a:pt x="13873" y="9416"/>
                  </a:lnTo>
                  <a:lnTo>
                    <a:pt x="13622" y="9542"/>
                  </a:lnTo>
                  <a:lnTo>
                    <a:pt x="13643" y="9584"/>
                  </a:lnTo>
                  <a:lnTo>
                    <a:pt x="13747" y="9500"/>
                  </a:lnTo>
                  <a:lnTo>
                    <a:pt x="13726" y="9605"/>
                  </a:lnTo>
                  <a:lnTo>
                    <a:pt x="13726" y="9793"/>
                  </a:lnTo>
                  <a:lnTo>
                    <a:pt x="13622" y="9919"/>
                  </a:lnTo>
                  <a:lnTo>
                    <a:pt x="13538" y="9919"/>
                  </a:lnTo>
                  <a:lnTo>
                    <a:pt x="13517" y="9960"/>
                  </a:lnTo>
                  <a:lnTo>
                    <a:pt x="13454" y="9919"/>
                  </a:lnTo>
                  <a:lnTo>
                    <a:pt x="13329" y="9835"/>
                  </a:lnTo>
                  <a:lnTo>
                    <a:pt x="13350" y="9793"/>
                  </a:lnTo>
                  <a:lnTo>
                    <a:pt x="13454" y="9730"/>
                  </a:lnTo>
                  <a:lnTo>
                    <a:pt x="13308" y="9688"/>
                  </a:lnTo>
                  <a:lnTo>
                    <a:pt x="13245" y="9730"/>
                  </a:lnTo>
                  <a:lnTo>
                    <a:pt x="13120" y="9709"/>
                  </a:lnTo>
                  <a:lnTo>
                    <a:pt x="12973" y="9709"/>
                  </a:lnTo>
                  <a:lnTo>
                    <a:pt x="12869" y="9793"/>
                  </a:lnTo>
                  <a:lnTo>
                    <a:pt x="12722" y="9814"/>
                  </a:lnTo>
                  <a:lnTo>
                    <a:pt x="12513" y="9814"/>
                  </a:lnTo>
                  <a:lnTo>
                    <a:pt x="12492" y="9856"/>
                  </a:lnTo>
                  <a:lnTo>
                    <a:pt x="12262" y="10002"/>
                  </a:lnTo>
                  <a:lnTo>
                    <a:pt x="12178" y="10002"/>
                  </a:lnTo>
                  <a:lnTo>
                    <a:pt x="12157" y="9940"/>
                  </a:lnTo>
                  <a:lnTo>
                    <a:pt x="11948" y="10002"/>
                  </a:lnTo>
                  <a:lnTo>
                    <a:pt x="11822" y="10044"/>
                  </a:lnTo>
                  <a:lnTo>
                    <a:pt x="11760" y="9919"/>
                  </a:lnTo>
                  <a:lnTo>
                    <a:pt x="11634" y="9730"/>
                  </a:lnTo>
                  <a:lnTo>
                    <a:pt x="11467" y="9647"/>
                  </a:lnTo>
                  <a:lnTo>
                    <a:pt x="11425" y="9605"/>
                  </a:lnTo>
                  <a:lnTo>
                    <a:pt x="11257" y="9605"/>
                  </a:lnTo>
                  <a:lnTo>
                    <a:pt x="11216" y="9626"/>
                  </a:lnTo>
                  <a:lnTo>
                    <a:pt x="11132" y="9521"/>
                  </a:lnTo>
                  <a:lnTo>
                    <a:pt x="10902" y="9270"/>
                  </a:lnTo>
                  <a:lnTo>
                    <a:pt x="10881" y="9165"/>
                  </a:lnTo>
                  <a:lnTo>
                    <a:pt x="10881" y="9082"/>
                  </a:lnTo>
                  <a:lnTo>
                    <a:pt x="10776" y="8914"/>
                  </a:lnTo>
                  <a:lnTo>
                    <a:pt x="10713" y="8789"/>
                  </a:lnTo>
                  <a:lnTo>
                    <a:pt x="10400" y="8454"/>
                  </a:lnTo>
                  <a:lnTo>
                    <a:pt x="10379" y="8328"/>
                  </a:lnTo>
                  <a:lnTo>
                    <a:pt x="10316" y="8245"/>
                  </a:lnTo>
                  <a:lnTo>
                    <a:pt x="10358" y="8161"/>
                  </a:lnTo>
                  <a:lnTo>
                    <a:pt x="10316" y="8077"/>
                  </a:lnTo>
                  <a:lnTo>
                    <a:pt x="10253" y="7847"/>
                  </a:lnTo>
                  <a:lnTo>
                    <a:pt x="10169" y="7763"/>
                  </a:lnTo>
                  <a:lnTo>
                    <a:pt x="10190" y="7638"/>
                  </a:lnTo>
                  <a:lnTo>
                    <a:pt x="10316" y="7805"/>
                  </a:lnTo>
                  <a:lnTo>
                    <a:pt x="10316" y="8015"/>
                  </a:lnTo>
                  <a:lnTo>
                    <a:pt x="10379" y="7973"/>
                  </a:lnTo>
                  <a:lnTo>
                    <a:pt x="10379" y="7805"/>
                  </a:lnTo>
                  <a:lnTo>
                    <a:pt x="10211" y="7554"/>
                  </a:lnTo>
                  <a:lnTo>
                    <a:pt x="10253" y="7429"/>
                  </a:lnTo>
                  <a:lnTo>
                    <a:pt x="10190" y="7219"/>
                  </a:lnTo>
                  <a:lnTo>
                    <a:pt x="10169" y="7115"/>
                  </a:lnTo>
                  <a:lnTo>
                    <a:pt x="10253" y="7010"/>
                  </a:lnTo>
                  <a:lnTo>
                    <a:pt x="10295" y="6717"/>
                  </a:lnTo>
                  <a:lnTo>
                    <a:pt x="10253" y="6571"/>
                  </a:lnTo>
                  <a:lnTo>
                    <a:pt x="10316" y="6278"/>
                  </a:lnTo>
                  <a:lnTo>
                    <a:pt x="10316" y="6173"/>
                  </a:lnTo>
                  <a:lnTo>
                    <a:pt x="10358" y="6090"/>
                  </a:lnTo>
                  <a:lnTo>
                    <a:pt x="10316" y="6048"/>
                  </a:lnTo>
                  <a:lnTo>
                    <a:pt x="10316" y="5922"/>
                  </a:lnTo>
                  <a:lnTo>
                    <a:pt x="10379" y="5859"/>
                  </a:lnTo>
                  <a:lnTo>
                    <a:pt x="10400" y="5713"/>
                  </a:lnTo>
                  <a:lnTo>
                    <a:pt x="10420" y="5650"/>
                  </a:lnTo>
                  <a:lnTo>
                    <a:pt x="10358" y="5608"/>
                  </a:lnTo>
                  <a:lnTo>
                    <a:pt x="10420" y="5504"/>
                  </a:lnTo>
                  <a:lnTo>
                    <a:pt x="10420" y="5336"/>
                  </a:lnTo>
                  <a:lnTo>
                    <a:pt x="10525" y="5336"/>
                  </a:lnTo>
                  <a:lnTo>
                    <a:pt x="10504" y="5441"/>
                  </a:lnTo>
                  <a:lnTo>
                    <a:pt x="10504" y="5525"/>
                  </a:lnTo>
                  <a:lnTo>
                    <a:pt x="10567" y="5504"/>
                  </a:lnTo>
                  <a:lnTo>
                    <a:pt x="10588" y="5399"/>
                  </a:lnTo>
                  <a:lnTo>
                    <a:pt x="10672" y="5294"/>
                  </a:lnTo>
                  <a:lnTo>
                    <a:pt x="10692" y="5148"/>
                  </a:lnTo>
                  <a:lnTo>
                    <a:pt x="10734" y="5106"/>
                  </a:lnTo>
                  <a:lnTo>
                    <a:pt x="10776" y="4939"/>
                  </a:lnTo>
                  <a:lnTo>
                    <a:pt x="10776" y="4897"/>
                  </a:lnTo>
                  <a:lnTo>
                    <a:pt x="10692" y="4939"/>
                  </a:lnTo>
                  <a:lnTo>
                    <a:pt x="10672" y="5127"/>
                  </a:lnTo>
                  <a:lnTo>
                    <a:pt x="10567" y="5190"/>
                  </a:lnTo>
                  <a:lnTo>
                    <a:pt x="10588" y="5106"/>
                  </a:lnTo>
                  <a:lnTo>
                    <a:pt x="10525" y="5085"/>
                  </a:lnTo>
                  <a:lnTo>
                    <a:pt x="10504" y="5002"/>
                  </a:lnTo>
                  <a:lnTo>
                    <a:pt x="10400" y="5002"/>
                  </a:lnTo>
                  <a:lnTo>
                    <a:pt x="10295" y="4918"/>
                  </a:lnTo>
                  <a:lnTo>
                    <a:pt x="10107" y="4876"/>
                  </a:lnTo>
                  <a:lnTo>
                    <a:pt x="10002" y="4771"/>
                  </a:lnTo>
                  <a:lnTo>
                    <a:pt x="9939" y="4730"/>
                  </a:lnTo>
                  <a:lnTo>
                    <a:pt x="9856" y="4730"/>
                  </a:lnTo>
                  <a:lnTo>
                    <a:pt x="9793" y="4709"/>
                  </a:lnTo>
                  <a:lnTo>
                    <a:pt x="9772" y="4709"/>
                  </a:lnTo>
                  <a:lnTo>
                    <a:pt x="9730" y="4667"/>
                  </a:lnTo>
                  <a:lnTo>
                    <a:pt x="9751" y="4499"/>
                  </a:lnTo>
                  <a:lnTo>
                    <a:pt x="9625" y="4165"/>
                  </a:lnTo>
                  <a:lnTo>
                    <a:pt x="9625" y="4144"/>
                  </a:lnTo>
                  <a:lnTo>
                    <a:pt x="9625" y="4081"/>
                  </a:lnTo>
                  <a:lnTo>
                    <a:pt x="9625" y="3976"/>
                  </a:lnTo>
                  <a:lnTo>
                    <a:pt x="9646" y="3872"/>
                  </a:lnTo>
                  <a:lnTo>
                    <a:pt x="9542" y="3788"/>
                  </a:lnTo>
                  <a:lnTo>
                    <a:pt x="9479" y="3683"/>
                  </a:lnTo>
                  <a:lnTo>
                    <a:pt x="9458" y="3579"/>
                  </a:lnTo>
                  <a:lnTo>
                    <a:pt x="9374" y="3537"/>
                  </a:lnTo>
                  <a:lnTo>
                    <a:pt x="9353" y="3453"/>
                  </a:lnTo>
                  <a:lnTo>
                    <a:pt x="9312" y="3432"/>
                  </a:lnTo>
                  <a:lnTo>
                    <a:pt x="9228" y="3223"/>
                  </a:lnTo>
                  <a:lnTo>
                    <a:pt x="9207" y="3139"/>
                  </a:lnTo>
                  <a:lnTo>
                    <a:pt x="9123" y="3118"/>
                  </a:lnTo>
                  <a:lnTo>
                    <a:pt x="9123" y="2951"/>
                  </a:lnTo>
                  <a:lnTo>
                    <a:pt x="9123" y="2888"/>
                  </a:lnTo>
                  <a:lnTo>
                    <a:pt x="9060" y="2825"/>
                  </a:lnTo>
                  <a:lnTo>
                    <a:pt x="9040" y="2721"/>
                  </a:lnTo>
                  <a:lnTo>
                    <a:pt x="8935" y="2574"/>
                  </a:lnTo>
                  <a:lnTo>
                    <a:pt x="8830" y="2491"/>
                  </a:lnTo>
                  <a:lnTo>
                    <a:pt x="8788" y="2386"/>
                  </a:lnTo>
                  <a:lnTo>
                    <a:pt x="8705" y="2365"/>
                  </a:lnTo>
                  <a:lnTo>
                    <a:pt x="8621" y="2365"/>
                  </a:lnTo>
                  <a:lnTo>
                    <a:pt x="8600" y="2323"/>
                  </a:lnTo>
                  <a:lnTo>
                    <a:pt x="8579" y="2302"/>
                  </a:lnTo>
                  <a:lnTo>
                    <a:pt x="8475" y="2323"/>
                  </a:lnTo>
                  <a:lnTo>
                    <a:pt x="8370" y="2302"/>
                  </a:lnTo>
                  <a:lnTo>
                    <a:pt x="8265" y="2302"/>
                  </a:lnTo>
                  <a:lnTo>
                    <a:pt x="8223" y="2386"/>
                  </a:lnTo>
                  <a:lnTo>
                    <a:pt x="8182" y="2386"/>
                  </a:lnTo>
                  <a:lnTo>
                    <a:pt x="8161" y="2365"/>
                  </a:lnTo>
                  <a:lnTo>
                    <a:pt x="8119" y="2365"/>
                  </a:lnTo>
                  <a:lnTo>
                    <a:pt x="8035" y="2386"/>
                  </a:lnTo>
                  <a:lnTo>
                    <a:pt x="7993" y="2428"/>
                  </a:lnTo>
                  <a:lnTo>
                    <a:pt x="7910" y="2595"/>
                  </a:lnTo>
                  <a:lnTo>
                    <a:pt x="7868" y="2679"/>
                  </a:lnTo>
                  <a:lnTo>
                    <a:pt x="7868" y="2700"/>
                  </a:lnTo>
                  <a:lnTo>
                    <a:pt x="7868" y="2742"/>
                  </a:lnTo>
                  <a:lnTo>
                    <a:pt x="7805" y="2742"/>
                  </a:lnTo>
                  <a:lnTo>
                    <a:pt x="7700" y="2825"/>
                  </a:lnTo>
                  <a:lnTo>
                    <a:pt x="7700" y="2846"/>
                  </a:lnTo>
                  <a:lnTo>
                    <a:pt x="7659" y="2888"/>
                  </a:lnTo>
                  <a:lnTo>
                    <a:pt x="7596" y="2888"/>
                  </a:lnTo>
                  <a:lnTo>
                    <a:pt x="7575" y="2825"/>
                  </a:lnTo>
                  <a:lnTo>
                    <a:pt x="7449" y="2784"/>
                  </a:lnTo>
                  <a:lnTo>
                    <a:pt x="7366" y="2742"/>
                  </a:lnTo>
                  <a:lnTo>
                    <a:pt x="7345" y="2700"/>
                  </a:lnTo>
                  <a:lnTo>
                    <a:pt x="7219" y="2637"/>
                  </a:lnTo>
                  <a:lnTo>
                    <a:pt x="7156" y="2637"/>
                  </a:lnTo>
                  <a:lnTo>
                    <a:pt x="7115" y="2595"/>
                  </a:lnTo>
                  <a:lnTo>
                    <a:pt x="7115" y="2574"/>
                  </a:lnTo>
                  <a:lnTo>
                    <a:pt x="7073" y="2512"/>
                  </a:lnTo>
                  <a:lnTo>
                    <a:pt x="7031" y="2491"/>
                  </a:lnTo>
                  <a:lnTo>
                    <a:pt x="6989" y="2491"/>
                  </a:lnTo>
                  <a:lnTo>
                    <a:pt x="6947" y="2470"/>
                  </a:lnTo>
                  <a:lnTo>
                    <a:pt x="6926" y="2470"/>
                  </a:lnTo>
                  <a:lnTo>
                    <a:pt x="6926" y="2428"/>
                  </a:lnTo>
                  <a:lnTo>
                    <a:pt x="6905" y="2323"/>
                  </a:lnTo>
                  <a:lnTo>
                    <a:pt x="6822" y="2261"/>
                  </a:lnTo>
                  <a:lnTo>
                    <a:pt x="6717" y="2114"/>
                  </a:lnTo>
                  <a:lnTo>
                    <a:pt x="6717" y="2093"/>
                  </a:lnTo>
                  <a:lnTo>
                    <a:pt x="6801" y="2072"/>
                  </a:lnTo>
                  <a:lnTo>
                    <a:pt x="6822" y="2051"/>
                  </a:lnTo>
                  <a:lnTo>
                    <a:pt x="6822" y="1968"/>
                  </a:lnTo>
                  <a:lnTo>
                    <a:pt x="6738" y="1884"/>
                  </a:lnTo>
                  <a:lnTo>
                    <a:pt x="6717" y="1863"/>
                  </a:lnTo>
                  <a:lnTo>
                    <a:pt x="6696" y="1842"/>
                  </a:lnTo>
                  <a:lnTo>
                    <a:pt x="6654" y="1800"/>
                  </a:lnTo>
                  <a:lnTo>
                    <a:pt x="6633" y="1675"/>
                  </a:lnTo>
                  <a:lnTo>
                    <a:pt x="6591" y="1591"/>
                  </a:lnTo>
                  <a:lnTo>
                    <a:pt x="6508" y="1549"/>
                  </a:lnTo>
                  <a:lnTo>
                    <a:pt x="6424" y="1528"/>
                  </a:lnTo>
                  <a:lnTo>
                    <a:pt x="6466" y="1465"/>
                  </a:lnTo>
                  <a:lnTo>
                    <a:pt x="6466" y="1424"/>
                  </a:lnTo>
                  <a:lnTo>
                    <a:pt x="6403" y="1340"/>
                  </a:lnTo>
                  <a:lnTo>
                    <a:pt x="6299" y="1319"/>
                  </a:lnTo>
                  <a:lnTo>
                    <a:pt x="6319" y="1256"/>
                  </a:lnTo>
                  <a:lnTo>
                    <a:pt x="6278" y="1173"/>
                  </a:lnTo>
                  <a:lnTo>
                    <a:pt x="6215" y="1173"/>
                  </a:lnTo>
                  <a:lnTo>
                    <a:pt x="6194" y="1131"/>
                  </a:lnTo>
                  <a:lnTo>
                    <a:pt x="6131" y="1068"/>
                  </a:lnTo>
                  <a:lnTo>
                    <a:pt x="6068" y="942"/>
                  </a:lnTo>
                  <a:lnTo>
                    <a:pt x="5943" y="859"/>
                  </a:lnTo>
                  <a:lnTo>
                    <a:pt x="5022" y="838"/>
                  </a:lnTo>
                  <a:lnTo>
                    <a:pt x="4980" y="1047"/>
                  </a:lnTo>
                  <a:lnTo>
                    <a:pt x="3327" y="1005"/>
                  </a:lnTo>
                  <a:lnTo>
                    <a:pt x="1402" y="105"/>
                  </a:lnTo>
                  <a:lnTo>
                    <a:pt x="1402" y="64"/>
                  </a:lnTo>
                  <a:lnTo>
                    <a:pt x="138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5" name="Google Shape;1985;p66"/>
            <p:cNvSpPr/>
            <p:nvPr/>
          </p:nvSpPr>
          <p:spPr>
            <a:xfrm>
              <a:off x="3378594" y="3107749"/>
              <a:ext cx="19445" cy="26657"/>
            </a:xfrm>
            <a:custGeom>
              <a:avLst/>
              <a:gdLst/>
              <a:ahLst/>
              <a:cxnLst/>
              <a:rect l="l" t="t" r="r" b="b"/>
              <a:pathLst>
                <a:path w="1633" h="2344" extrusionOk="0">
                  <a:moveTo>
                    <a:pt x="336" y="0"/>
                  </a:moveTo>
                  <a:lnTo>
                    <a:pt x="231" y="84"/>
                  </a:lnTo>
                  <a:lnTo>
                    <a:pt x="126" y="147"/>
                  </a:lnTo>
                  <a:lnTo>
                    <a:pt x="85" y="209"/>
                  </a:lnTo>
                  <a:lnTo>
                    <a:pt x="1" y="314"/>
                  </a:lnTo>
                  <a:lnTo>
                    <a:pt x="1" y="460"/>
                  </a:lnTo>
                  <a:lnTo>
                    <a:pt x="64" y="607"/>
                  </a:lnTo>
                  <a:lnTo>
                    <a:pt x="22" y="732"/>
                  </a:lnTo>
                  <a:lnTo>
                    <a:pt x="22" y="816"/>
                  </a:lnTo>
                  <a:lnTo>
                    <a:pt x="126" y="879"/>
                  </a:lnTo>
                  <a:lnTo>
                    <a:pt x="189" y="963"/>
                  </a:lnTo>
                  <a:lnTo>
                    <a:pt x="231" y="1067"/>
                  </a:lnTo>
                  <a:lnTo>
                    <a:pt x="273" y="1193"/>
                  </a:lnTo>
                  <a:lnTo>
                    <a:pt x="294" y="1256"/>
                  </a:lnTo>
                  <a:lnTo>
                    <a:pt x="273" y="1360"/>
                  </a:lnTo>
                  <a:lnTo>
                    <a:pt x="189" y="1444"/>
                  </a:lnTo>
                  <a:lnTo>
                    <a:pt x="189" y="1590"/>
                  </a:lnTo>
                  <a:lnTo>
                    <a:pt x="231" y="1653"/>
                  </a:lnTo>
                  <a:lnTo>
                    <a:pt x="189" y="1779"/>
                  </a:lnTo>
                  <a:lnTo>
                    <a:pt x="64" y="1883"/>
                  </a:lnTo>
                  <a:lnTo>
                    <a:pt x="1" y="1883"/>
                  </a:lnTo>
                  <a:lnTo>
                    <a:pt x="22" y="1925"/>
                  </a:lnTo>
                  <a:lnTo>
                    <a:pt x="85" y="2009"/>
                  </a:lnTo>
                  <a:lnTo>
                    <a:pt x="106" y="2030"/>
                  </a:lnTo>
                  <a:lnTo>
                    <a:pt x="106" y="2113"/>
                  </a:lnTo>
                  <a:lnTo>
                    <a:pt x="189" y="2197"/>
                  </a:lnTo>
                  <a:lnTo>
                    <a:pt x="294" y="2218"/>
                  </a:lnTo>
                  <a:lnTo>
                    <a:pt x="336" y="2134"/>
                  </a:lnTo>
                  <a:lnTo>
                    <a:pt x="419" y="2113"/>
                  </a:lnTo>
                  <a:lnTo>
                    <a:pt x="503" y="2113"/>
                  </a:lnTo>
                  <a:lnTo>
                    <a:pt x="503" y="2176"/>
                  </a:lnTo>
                  <a:lnTo>
                    <a:pt x="545" y="2197"/>
                  </a:lnTo>
                  <a:lnTo>
                    <a:pt x="545" y="2323"/>
                  </a:lnTo>
                  <a:lnTo>
                    <a:pt x="608" y="2344"/>
                  </a:lnTo>
                  <a:lnTo>
                    <a:pt x="712" y="2281"/>
                  </a:lnTo>
                  <a:lnTo>
                    <a:pt x="733" y="2197"/>
                  </a:lnTo>
                  <a:lnTo>
                    <a:pt x="817" y="2134"/>
                  </a:lnTo>
                  <a:lnTo>
                    <a:pt x="880" y="2113"/>
                  </a:lnTo>
                  <a:lnTo>
                    <a:pt x="963" y="1988"/>
                  </a:lnTo>
                  <a:lnTo>
                    <a:pt x="1068" y="1820"/>
                  </a:lnTo>
                  <a:lnTo>
                    <a:pt x="1173" y="1590"/>
                  </a:lnTo>
                  <a:lnTo>
                    <a:pt x="1173" y="1486"/>
                  </a:lnTo>
                  <a:lnTo>
                    <a:pt x="1340" y="1297"/>
                  </a:lnTo>
                  <a:lnTo>
                    <a:pt x="1466" y="1130"/>
                  </a:lnTo>
                  <a:lnTo>
                    <a:pt x="1528" y="1046"/>
                  </a:lnTo>
                  <a:lnTo>
                    <a:pt x="1633" y="921"/>
                  </a:lnTo>
                  <a:lnTo>
                    <a:pt x="1591" y="774"/>
                  </a:lnTo>
                  <a:lnTo>
                    <a:pt x="1487" y="649"/>
                  </a:lnTo>
                  <a:lnTo>
                    <a:pt x="1466" y="711"/>
                  </a:lnTo>
                  <a:lnTo>
                    <a:pt x="1382" y="649"/>
                  </a:lnTo>
                  <a:lnTo>
                    <a:pt x="1361" y="544"/>
                  </a:lnTo>
                  <a:lnTo>
                    <a:pt x="1173" y="335"/>
                  </a:lnTo>
                  <a:lnTo>
                    <a:pt x="1131" y="335"/>
                  </a:lnTo>
                  <a:lnTo>
                    <a:pt x="963" y="209"/>
                  </a:lnTo>
                  <a:lnTo>
                    <a:pt x="650" y="105"/>
                  </a:lnTo>
                  <a:lnTo>
                    <a:pt x="524" y="21"/>
                  </a:lnTo>
                  <a:lnTo>
                    <a:pt x="33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6" name="Google Shape;1986;p66"/>
            <p:cNvSpPr/>
            <p:nvPr/>
          </p:nvSpPr>
          <p:spPr>
            <a:xfrm>
              <a:off x="3354434" y="3105122"/>
              <a:ext cx="27661" cy="28807"/>
            </a:xfrm>
            <a:custGeom>
              <a:avLst/>
              <a:gdLst/>
              <a:ahLst/>
              <a:cxnLst/>
              <a:rect l="l" t="t" r="r" b="b"/>
              <a:pathLst>
                <a:path w="2323" h="2533" extrusionOk="0">
                  <a:moveTo>
                    <a:pt x="1632" y="1"/>
                  </a:moveTo>
                  <a:lnTo>
                    <a:pt x="1528" y="43"/>
                  </a:lnTo>
                  <a:lnTo>
                    <a:pt x="1339" y="22"/>
                  </a:lnTo>
                  <a:lnTo>
                    <a:pt x="1151" y="64"/>
                  </a:lnTo>
                  <a:lnTo>
                    <a:pt x="963" y="22"/>
                  </a:lnTo>
                  <a:lnTo>
                    <a:pt x="691" y="22"/>
                  </a:lnTo>
                  <a:lnTo>
                    <a:pt x="544" y="64"/>
                  </a:lnTo>
                  <a:lnTo>
                    <a:pt x="544" y="210"/>
                  </a:lnTo>
                  <a:lnTo>
                    <a:pt x="482" y="336"/>
                  </a:lnTo>
                  <a:lnTo>
                    <a:pt x="523" y="419"/>
                  </a:lnTo>
                  <a:lnTo>
                    <a:pt x="440" y="524"/>
                  </a:lnTo>
                  <a:lnTo>
                    <a:pt x="335" y="566"/>
                  </a:lnTo>
                  <a:lnTo>
                    <a:pt x="168" y="566"/>
                  </a:lnTo>
                  <a:lnTo>
                    <a:pt x="105" y="691"/>
                  </a:lnTo>
                  <a:lnTo>
                    <a:pt x="105" y="838"/>
                  </a:lnTo>
                  <a:lnTo>
                    <a:pt x="0" y="1068"/>
                  </a:lnTo>
                  <a:lnTo>
                    <a:pt x="21" y="1152"/>
                  </a:lnTo>
                  <a:lnTo>
                    <a:pt x="126" y="1194"/>
                  </a:lnTo>
                  <a:lnTo>
                    <a:pt x="168" y="1277"/>
                  </a:lnTo>
                  <a:lnTo>
                    <a:pt x="210" y="1319"/>
                  </a:lnTo>
                  <a:lnTo>
                    <a:pt x="272" y="1424"/>
                  </a:lnTo>
                  <a:lnTo>
                    <a:pt x="272" y="1507"/>
                  </a:lnTo>
                  <a:lnTo>
                    <a:pt x="335" y="1570"/>
                  </a:lnTo>
                  <a:lnTo>
                    <a:pt x="419" y="1570"/>
                  </a:lnTo>
                  <a:lnTo>
                    <a:pt x="461" y="1591"/>
                  </a:lnTo>
                  <a:lnTo>
                    <a:pt x="482" y="1696"/>
                  </a:lnTo>
                  <a:lnTo>
                    <a:pt x="523" y="1842"/>
                  </a:lnTo>
                  <a:lnTo>
                    <a:pt x="523" y="1989"/>
                  </a:lnTo>
                  <a:lnTo>
                    <a:pt x="586" y="2010"/>
                  </a:lnTo>
                  <a:lnTo>
                    <a:pt x="670" y="2135"/>
                  </a:lnTo>
                  <a:lnTo>
                    <a:pt x="691" y="2219"/>
                  </a:lnTo>
                  <a:lnTo>
                    <a:pt x="795" y="2261"/>
                  </a:lnTo>
                  <a:lnTo>
                    <a:pt x="795" y="2323"/>
                  </a:lnTo>
                  <a:lnTo>
                    <a:pt x="858" y="2407"/>
                  </a:lnTo>
                  <a:lnTo>
                    <a:pt x="942" y="2449"/>
                  </a:lnTo>
                  <a:lnTo>
                    <a:pt x="984" y="2449"/>
                  </a:lnTo>
                  <a:lnTo>
                    <a:pt x="1005" y="2470"/>
                  </a:lnTo>
                  <a:lnTo>
                    <a:pt x="1172" y="2533"/>
                  </a:lnTo>
                  <a:lnTo>
                    <a:pt x="1256" y="2533"/>
                  </a:lnTo>
                  <a:lnTo>
                    <a:pt x="1277" y="2470"/>
                  </a:lnTo>
                  <a:lnTo>
                    <a:pt x="1214" y="2344"/>
                  </a:lnTo>
                  <a:lnTo>
                    <a:pt x="1193" y="2303"/>
                  </a:lnTo>
                  <a:lnTo>
                    <a:pt x="1088" y="2198"/>
                  </a:lnTo>
                  <a:lnTo>
                    <a:pt x="1109" y="2093"/>
                  </a:lnTo>
                  <a:lnTo>
                    <a:pt x="1214" y="2010"/>
                  </a:lnTo>
                  <a:lnTo>
                    <a:pt x="1339" y="2031"/>
                  </a:lnTo>
                  <a:lnTo>
                    <a:pt x="1591" y="2031"/>
                  </a:lnTo>
                  <a:lnTo>
                    <a:pt x="1695" y="1989"/>
                  </a:lnTo>
                  <a:lnTo>
                    <a:pt x="1842" y="1989"/>
                  </a:lnTo>
                  <a:lnTo>
                    <a:pt x="1946" y="2093"/>
                  </a:lnTo>
                  <a:lnTo>
                    <a:pt x="2030" y="2114"/>
                  </a:lnTo>
                  <a:lnTo>
                    <a:pt x="2093" y="2114"/>
                  </a:lnTo>
                  <a:lnTo>
                    <a:pt x="2218" y="2010"/>
                  </a:lnTo>
                  <a:lnTo>
                    <a:pt x="2260" y="1884"/>
                  </a:lnTo>
                  <a:lnTo>
                    <a:pt x="2218" y="1821"/>
                  </a:lnTo>
                  <a:lnTo>
                    <a:pt x="2218" y="1675"/>
                  </a:lnTo>
                  <a:lnTo>
                    <a:pt x="2302" y="1591"/>
                  </a:lnTo>
                  <a:lnTo>
                    <a:pt x="2323" y="1487"/>
                  </a:lnTo>
                  <a:lnTo>
                    <a:pt x="2302" y="1424"/>
                  </a:lnTo>
                  <a:lnTo>
                    <a:pt x="2260" y="1298"/>
                  </a:lnTo>
                  <a:lnTo>
                    <a:pt x="2218" y="1194"/>
                  </a:lnTo>
                  <a:lnTo>
                    <a:pt x="2155" y="1110"/>
                  </a:lnTo>
                  <a:lnTo>
                    <a:pt x="2051" y="1047"/>
                  </a:lnTo>
                  <a:lnTo>
                    <a:pt x="2051" y="963"/>
                  </a:lnTo>
                  <a:lnTo>
                    <a:pt x="2093" y="838"/>
                  </a:lnTo>
                  <a:lnTo>
                    <a:pt x="2030" y="691"/>
                  </a:lnTo>
                  <a:lnTo>
                    <a:pt x="2030" y="545"/>
                  </a:lnTo>
                  <a:lnTo>
                    <a:pt x="2114" y="440"/>
                  </a:lnTo>
                  <a:lnTo>
                    <a:pt x="2155" y="378"/>
                  </a:lnTo>
                  <a:lnTo>
                    <a:pt x="2260" y="231"/>
                  </a:lnTo>
                  <a:lnTo>
                    <a:pt x="2260" y="147"/>
                  </a:lnTo>
                  <a:lnTo>
                    <a:pt x="2135" y="106"/>
                  </a:lnTo>
                  <a:lnTo>
                    <a:pt x="1946" y="64"/>
                  </a:lnTo>
                  <a:lnTo>
                    <a:pt x="171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7" name="Google Shape;1987;p66"/>
            <p:cNvSpPr/>
            <p:nvPr/>
          </p:nvSpPr>
          <p:spPr>
            <a:xfrm>
              <a:off x="3331012" y="3088711"/>
              <a:ext cx="34639" cy="49743"/>
            </a:xfrm>
            <a:custGeom>
              <a:avLst/>
              <a:gdLst/>
              <a:ahLst/>
              <a:cxnLst/>
              <a:rect l="l" t="t" r="r" b="b"/>
              <a:pathLst>
                <a:path w="2909" h="4374" extrusionOk="0">
                  <a:moveTo>
                    <a:pt x="879" y="0"/>
                  </a:moveTo>
                  <a:lnTo>
                    <a:pt x="858" y="84"/>
                  </a:lnTo>
                  <a:lnTo>
                    <a:pt x="712" y="251"/>
                  </a:lnTo>
                  <a:lnTo>
                    <a:pt x="565" y="356"/>
                  </a:lnTo>
                  <a:lnTo>
                    <a:pt x="503" y="335"/>
                  </a:lnTo>
                  <a:lnTo>
                    <a:pt x="335" y="544"/>
                  </a:lnTo>
                  <a:lnTo>
                    <a:pt x="356" y="628"/>
                  </a:lnTo>
                  <a:lnTo>
                    <a:pt x="419" y="733"/>
                  </a:lnTo>
                  <a:lnTo>
                    <a:pt x="565" y="753"/>
                  </a:lnTo>
                  <a:lnTo>
                    <a:pt x="649" y="837"/>
                  </a:lnTo>
                  <a:lnTo>
                    <a:pt x="649" y="963"/>
                  </a:lnTo>
                  <a:lnTo>
                    <a:pt x="461" y="1046"/>
                  </a:lnTo>
                  <a:lnTo>
                    <a:pt x="398" y="1025"/>
                  </a:lnTo>
                  <a:lnTo>
                    <a:pt x="293" y="1046"/>
                  </a:lnTo>
                  <a:lnTo>
                    <a:pt x="210" y="1025"/>
                  </a:lnTo>
                  <a:lnTo>
                    <a:pt x="126" y="1088"/>
                  </a:lnTo>
                  <a:lnTo>
                    <a:pt x="105" y="1277"/>
                  </a:lnTo>
                  <a:lnTo>
                    <a:pt x="1" y="1381"/>
                  </a:lnTo>
                  <a:lnTo>
                    <a:pt x="42" y="1507"/>
                  </a:lnTo>
                  <a:lnTo>
                    <a:pt x="189" y="1716"/>
                  </a:lnTo>
                  <a:lnTo>
                    <a:pt x="419" y="1904"/>
                  </a:lnTo>
                  <a:lnTo>
                    <a:pt x="419" y="1925"/>
                  </a:lnTo>
                  <a:lnTo>
                    <a:pt x="461" y="1925"/>
                  </a:lnTo>
                  <a:lnTo>
                    <a:pt x="524" y="1988"/>
                  </a:lnTo>
                  <a:lnTo>
                    <a:pt x="565" y="1925"/>
                  </a:lnTo>
                  <a:lnTo>
                    <a:pt x="712" y="1967"/>
                  </a:lnTo>
                  <a:lnTo>
                    <a:pt x="817" y="2072"/>
                  </a:lnTo>
                  <a:lnTo>
                    <a:pt x="817" y="2218"/>
                  </a:lnTo>
                  <a:lnTo>
                    <a:pt x="733" y="2344"/>
                  </a:lnTo>
                  <a:lnTo>
                    <a:pt x="670" y="2406"/>
                  </a:lnTo>
                  <a:lnTo>
                    <a:pt x="775" y="2448"/>
                  </a:lnTo>
                  <a:lnTo>
                    <a:pt x="879" y="2448"/>
                  </a:lnTo>
                  <a:lnTo>
                    <a:pt x="942" y="2532"/>
                  </a:lnTo>
                  <a:lnTo>
                    <a:pt x="984" y="2616"/>
                  </a:lnTo>
                  <a:lnTo>
                    <a:pt x="1089" y="2616"/>
                  </a:lnTo>
                  <a:lnTo>
                    <a:pt x="1089" y="2657"/>
                  </a:lnTo>
                  <a:lnTo>
                    <a:pt x="984" y="2804"/>
                  </a:lnTo>
                  <a:lnTo>
                    <a:pt x="963" y="2950"/>
                  </a:lnTo>
                  <a:lnTo>
                    <a:pt x="837" y="3160"/>
                  </a:lnTo>
                  <a:lnTo>
                    <a:pt x="858" y="3264"/>
                  </a:lnTo>
                  <a:lnTo>
                    <a:pt x="817" y="3369"/>
                  </a:lnTo>
                  <a:lnTo>
                    <a:pt x="817" y="3474"/>
                  </a:lnTo>
                  <a:lnTo>
                    <a:pt x="837" y="3536"/>
                  </a:lnTo>
                  <a:lnTo>
                    <a:pt x="817" y="3599"/>
                  </a:lnTo>
                  <a:lnTo>
                    <a:pt x="817" y="3704"/>
                  </a:lnTo>
                  <a:lnTo>
                    <a:pt x="921" y="3808"/>
                  </a:lnTo>
                  <a:lnTo>
                    <a:pt x="1047" y="3955"/>
                  </a:lnTo>
                  <a:lnTo>
                    <a:pt x="1047" y="4018"/>
                  </a:lnTo>
                  <a:lnTo>
                    <a:pt x="1130" y="4122"/>
                  </a:lnTo>
                  <a:lnTo>
                    <a:pt x="1361" y="4331"/>
                  </a:lnTo>
                  <a:lnTo>
                    <a:pt x="1444" y="4373"/>
                  </a:lnTo>
                  <a:lnTo>
                    <a:pt x="1507" y="4290"/>
                  </a:lnTo>
                  <a:lnTo>
                    <a:pt x="1591" y="4269"/>
                  </a:lnTo>
                  <a:lnTo>
                    <a:pt x="1612" y="4290"/>
                  </a:lnTo>
                  <a:lnTo>
                    <a:pt x="1758" y="4290"/>
                  </a:lnTo>
                  <a:lnTo>
                    <a:pt x="1821" y="4185"/>
                  </a:lnTo>
                  <a:lnTo>
                    <a:pt x="1863" y="4122"/>
                  </a:lnTo>
                  <a:lnTo>
                    <a:pt x="1967" y="4101"/>
                  </a:lnTo>
                  <a:lnTo>
                    <a:pt x="2198" y="4101"/>
                  </a:lnTo>
                  <a:lnTo>
                    <a:pt x="2260" y="3913"/>
                  </a:lnTo>
                  <a:lnTo>
                    <a:pt x="2386" y="3871"/>
                  </a:lnTo>
                  <a:lnTo>
                    <a:pt x="2553" y="3871"/>
                  </a:lnTo>
                  <a:lnTo>
                    <a:pt x="2616" y="3913"/>
                  </a:lnTo>
                  <a:lnTo>
                    <a:pt x="2721" y="3892"/>
                  </a:lnTo>
                  <a:lnTo>
                    <a:pt x="2909" y="3892"/>
                  </a:lnTo>
                  <a:lnTo>
                    <a:pt x="2825" y="3850"/>
                  </a:lnTo>
                  <a:lnTo>
                    <a:pt x="2762" y="3766"/>
                  </a:lnTo>
                  <a:lnTo>
                    <a:pt x="2762" y="3704"/>
                  </a:lnTo>
                  <a:lnTo>
                    <a:pt x="2658" y="3662"/>
                  </a:lnTo>
                  <a:lnTo>
                    <a:pt x="2637" y="3578"/>
                  </a:lnTo>
                  <a:lnTo>
                    <a:pt x="2553" y="3453"/>
                  </a:lnTo>
                  <a:lnTo>
                    <a:pt x="2490" y="3432"/>
                  </a:lnTo>
                  <a:lnTo>
                    <a:pt x="2490" y="3285"/>
                  </a:lnTo>
                  <a:lnTo>
                    <a:pt x="2449" y="3139"/>
                  </a:lnTo>
                  <a:lnTo>
                    <a:pt x="2428" y="3034"/>
                  </a:lnTo>
                  <a:lnTo>
                    <a:pt x="2386" y="3013"/>
                  </a:lnTo>
                  <a:lnTo>
                    <a:pt x="2302" y="3013"/>
                  </a:lnTo>
                  <a:lnTo>
                    <a:pt x="2239" y="2950"/>
                  </a:lnTo>
                  <a:lnTo>
                    <a:pt x="2239" y="2867"/>
                  </a:lnTo>
                  <a:lnTo>
                    <a:pt x="2177" y="2762"/>
                  </a:lnTo>
                  <a:lnTo>
                    <a:pt x="2135" y="2720"/>
                  </a:lnTo>
                  <a:lnTo>
                    <a:pt x="2093" y="2637"/>
                  </a:lnTo>
                  <a:lnTo>
                    <a:pt x="1988" y="2595"/>
                  </a:lnTo>
                  <a:lnTo>
                    <a:pt x="1967" y="2511"/>
                  </a:lnTo>
                  <a:lnTo>
                    <a:pt x="2072" y="2281"/>
                  </a:lnTo>
                  <a:lnTo>
                    <a:pt x="2072" y="2134"/>
                  </a:lnTo>
                  <a:lnTo>
                    <a:pt x="2135" y="2009"/>
                  </a:lnTo>
                  <a:lnTo>
                    <a:pt x="2302" y="2009"/>
                  </a:lnTo>
                  <a:lnTo>
                    <a:pt x="2407" y="1967"/>
                  </a:lnTo>
                  <a:lnTo>
                    <a:pt x="2490" y="1862"/>
                  </a:lnTo>
                  <a:lnTo>
                    <a:pt x="2449" y="1779"/>
                  </a:lnTo>
                  <a:lnTo>
                    <a:pt x="2511" y="1653"/>
                  </a:lnTo>
                  <a:lnTo>
                    <a:pt x="2449" y="1549"/>
                  </a:lnTo>
                  <a:lnTo>
                    <a:pt x="2449" y="1381"/>
                  </a:lnTo>
                  <a:lnTo>
                    <a:pt x="2428" y="1297"/>
                  </a:lnTo>
                  <a:lnTo>
                    <a:pt x="2218" y="1256"/>
                  </a:lnTo>
                  <a:lnTo>
                    <a:pt x="2009" y="1046"/>
                  </a:lnTo>
                  <a:lnTo>
                    <a:pt x="1905" y="963"/>
                  </a:lnTo>
                  <a:lnTo>
                    <a:pt x="1863" y="984"/>
                  </a:lnTo>
                  <a:lnTo>
                    <a:pt x="1716" y="1046"/>
                  </a:lnTo>
                  <a:lnTo>
                    <a:pt x="1653" y="1130"/>
                  </a:lnTo>
                  <a:lnTo>
                    <a:pt x="1612" y="1235"/>
                  </a:lnTo>
                  <a:lnTo>
                    <a:pt x="1591" y="1088"/>
                  </a:lnTo>
                  <a:lnTo>
                    <a:pt x="1612" y="921"/>
                  </a:lnTo>
                  <a:lnTo>
                    <a:pt x="1674" y="816"/>
                  </a:lnTo>
                  <a:lnTo>
                    <a:pt x="1612" y="628"/>
                  </a:lnTo>
                  <a:lnTo>
                    <a:pt x="1507" y="565"/>
                  </a:lnTo>
                  <a:lnTo>
                    <a:pt x="1298" y="419"/>
                  </a:lnTo>
                  <a:lnTo>
                    <a:pt x="1151" y="251"/>
                  </a:lnTo>
                  <a:lnTo>
                    <a:pt x="1130" y="147"/>
                  </a:lnTo>
                  <a:lnTo>
                    <a:pt x="1026" y="42"/>
                  </a:lnTo>
                  <a:lnTo>
                    <a:pt x="921" y="21"/>
                  </a:lnTo>
                  <a:lnTo>
                    <a:pt x="87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8" name="Google Shape;1988;p66"/>
            <p:cNvSpPr/>
            <p:nvPr/>
          </p:nvSpPr>
          <p:spPr>
            <a:xfrm>
              <a:off x="3250041" y="3063487"/>
              <a:ext cx="91450" cy="78538"/>
            </a:xfrm>
            <a:custGeom>
              <a:avLst/>
              <a:gdLst/>
              <a:ahLst/>
              <a:cxnLst/>
              <a:rect l="l" t="t" r="r" b="b"/>
              <a:pathLst>
                <a:path w="7680" h="6906" extrusionOk="0">
                  <a:moveTo>
                    <a:pt x="1988" y="0"/>
                  </a:moveTo>
                  <a:lnTo>
                    <a:pt x="1821" y="63"/>
                  </a:lnTo>
                  <a:lnTo>
                    <a:pt x="1674" y="251"/>
                  </a:lnTo>
                  <a:lnTo>
                    <a:pt x="1695" y="377"/>
                  </a:lnTo>
                  <a:lnTo>
                    <a:pt x="1758" y="440"/>
                  </a:lnTo>
                  <a:lnTo>
                    <a:pt x="1863" y="356"/>
                  </a:lnTo>
                  <a:lnTo>
                    <a:pt x="1967" y="377"/>
                  </a:lnTo>
                  <a:lnTo>
                    <a:pt x="2072" y="461"/>
                  </a:lnTo>
                  <a:lnTo>
                    <a:pt x="2030" y="544"/>
                  </a:lnTo>
                  <a:lnTo>
                    <a:pt x="1925" y="565"/>
                  </a:lnTo>
                  <a:lnTo>
                    <a:pt x="1821" y="523"/>
                  </a:lnTo>
                  <a:lnTo>
                    <a:pt x="1779" y="482"/>
                  </a:lnTo>
                  <a:lnTo>
                    <a:pt x="1758" y="523"/>
                  </a:lnTo>
                  <a:lnTo>
                    <a:pt x="1758" y="565"/>
                  </a:lnTo>
                  <a:lnTo>
                    <a:pt x="1611" y="649"/>
                  </a:lnTo>
                  <a:lnTo>
                    <a:pt x="1360" y="670"/>
                  </a:lnTo>
                  <a:lnTo>
                    <a:pt x="1088" y="774"/>
                  </a:lnTo>
                  <a:lnTo>
                    <a:pt x="1026" y="879"/>
                  </a:lnTo>
                  <a:lnTo>
                    <a:pt x="1026" y="984"/>
                  </a:lnTo>
                  <a:lnTo>
                    <a:pt x="1088" y="1088"/>
                  </a:lnTo>
                  <a:lnTo>
                    <a:pt x="1088" y="1318"/>
                  </a:lnTo>
                  <a:lnTo>
                    <a:pt x="1130" y="1486"/>
                  </a:lnTo>
                  <a:lnTo>
                    <a:pt x="1151" y="1611"/>
                  </a:lnTo>
                  <a:lnTo>
                    <a:pt x="1067" y="1800"/>
                  </a:lnTo>
                  <a:lnTo>
                    <a:pt x="879" y="1925"/>
                  </a:lnTo>
                  <a:lnTo>
                    <a:pt x="775" y="1904"/>
                  </a:lnTo>
                  <a:lnTo>
                    <a:pt x="775" y="1737"/>
                  </a:lnTo>
                  <a:lnTo>
                    <a:pt x="649" y="1611"/>
                  </a:lnTo>
                  <a:lnTo>
                    <a:pt x="628" y="1486"/>
                  </a:lnTo>
                  <a:lnTo>
                    <a:pt x="733" y="1402"/>
                  </a:lnTo>
                  <a:lnTo>
                    <a:pt x="754" y="1318"/>
                  </a:lnTo>
                  <a:lnTo>
                    <a:pt x="963" y="1109"/>
                  </a:lnTo>
                  <a:lnTo>
                    <a:pt x="963" y="942"/>
                  </a:lnTo>
                  <a:lnTo>
                    <a:pt x="879" y="795"/>
                  </a:lnTo>
                  <a:lnTo>
                    <a:pt x="921" y="754"/>
                  </a:lnTo>
                  <a:lnTo>
                    <a:pt x="879" y="670"/>
                  </a:lnTo>
                  <a:lnTo>
                    <a:pt x="816" y="628"/>
                  </a:lnTo>
                  <a:lnTo>
                    <a:pt x="754" y="523"/>
                  </a:lnTo>
                  <a:lnTo>
                    <a:pt x="775" y="440"/>
                  </a:lnTo>
                  <a:lnTo>
                    <a:pt x="921" y="377"/>
                  </a:lnTo>
                  <a:lnTo>
                    <a:pt x="1067" y="356"/>
                  </a:lnTo>
                  <a:lnTo>
                    <a:pt x="1172" y="210"/>
                  </a:lnTo>
                  <a:lnTo>
                    <a:pt x="1130" y="210"/>
                  </a:lnTo>
                  <a:lnTo>
                    <a:pt x="1088" y="230"/>
                  </a:lnTo>
                  <a:lnTo>
                    <a:pt x="775" y="356"/>
                  </a:lnTo>
                  <a:lnTo>
                    <a:pt x="628" y="628"/>
                  </a:lnTo>
                  <a:lnTo>
                    <a:pt x="565" y="670"/>
                  </a:lnTo>
                  <a:lnTo>
                    <a:pt x="461" y="691"/>
                  </a:lnTo>
                  <a:lnTo>
                    <a:pt x="356" y="837"/>
                  </a:lnTo>
                  <a:lnTo>
                    <a:pt x="293" y="900"/>
                  </a:lnTo>
                  <a:lnTo>
                    <a:pt x="105" y="1172"/>
                  </a:lnTo>
                  <a:lnTo>
                    <a:pt x="84" y="1298"/>
                  </a:lnTo>
                  <a:lnTo>
                    <a:pt x="105" y="1402"/>
                  </a:lnTo>
                  <a:lnTo>
                    <a:pt x="84" y="1590"/>
                  </a:lnTo>
                  <a:lnTo>
                    <a:pt x="0" y="1779"/>
                  </a:lnTo>
                  <a:lnTo>
                    <a:pt x="0" y="1821"/>
                  </a:lnTo>
                  <a:lnTo>
                    <a:pt x="147" y="1821"/>
                  </a:lnTo>
                  <a:lnTo>
                    <a:pt x="398" y="2239"/>
                  </a:lnTo>
                  <a:lnTo>
                    <a:pt x="503" y="2407"/>
                  </a:lnTo>
                  <a:lnTo>
                    <a:pt x="523" y="2511"/>
                  </a:lnTo>
                  <a:lnTo>
                    <a:pt x="461" y="2637"/>
                  </a:lnTo>
                  <a:lnTo>
                    <a:pt x="461" y="2720"/>
                  </a:lnTo>
                  <a:lnTo>
                    <a:pt x="440" y="2762"/>
                  </a:lnTo>
                  <a:lnTo>
                    <a:pt x="440" y="2867"/>
                  </a:lnTo>
                  <a:lnTo>
                    <a:pt x="565" y="2971"/>
                  </a:lnTo>
                  <a:lnTo>
                    <a:pt x="733" y="3034"/>
                  </a:lnTo>
                  <a:lnTo>
                    <a:pt x="837" y="3055"/>
                  </a:lnTo>
                  <a:lnTo>
                    <a:pt x="963" y="3097"/>
                  </a:lnTo>
                  <a:lnTo>
                    <a:pt x="1047" y="3055"/>
                  </a:lnTo>
                  <a:lnTo>
                    <a:pt x="1193" y="3055"/>
                  </a:lnTo>
                  <a:lnTo>
                    <a:pt x="1339" y="3097"/>
                  </a:lnTo>
                  <a:lnTo>
                    <a:pt x="1381" y="3076"/>
                  </a:lnTo>
                  <a:lnTo>
                    <a:pt x="1549" y="3055"/>
                  </a:lnTo>
                  <a:lnTo>
                    <a:pt x="1716" y="3076"/>
                  </a:lnTo>
                  <a:lnTo>
                    <a:pt x="1821" y="3139"/>
                  </a:lnTo>
                  <a:lnTo>
                    <a:pt x="2281" y="3557"/>
                  </a:lnTo>
                  <a:lnTo>
                    <a:pt x="2427" y="3515"/>
                  </a:lnTo>
                  <a:lnTo>
                    <a:pt x="2448" y="3557"/>
                  </a:lnTo>
                  <a:lnTo>
                    <a:pt x="2511" y="3515"/>
                  </a:lnTo>
                  <a:lnTo>
                    <a:pt x="2637" y="3578"/>
                  </a:lnTo>
                  <a:lnTo>
                    <a:pt x="2699" y="3599"/>
                  </a:lnTo>
                  <a:lnTo>
                    <a:pt x="2825" y="3557"/>
                  </a:lnTo>
                  <a:lnTo>
                    <a:pt x="2930" y="3557"/>
                  </a:lnTo>
                  <a:lnTo>
                    <a:pt x="3076" y="3578"/>
                  </a:lnTo>
                  <a:lnTo>
                    <a:pt x="3118" y="3515"/>
                  </a:lnTo>
                  <a:lnTo>
                    <a:pt x="3223" y="3515"/>
                  </a:lnTo>
                  <a:lnTo>
                    <a:pt x="3285" y="3578"/>
                  </a:lnTo>
                  <a:lnTo>
                    <a:pt x="3348" y="3808"/>
                  </a:lnTo>
                  <a:lnTo>
                    <a:pt x="3285" y="3892"/>
                  </a:lnTo>
                  <a:lnTo>
                    <a:pt x="3285" y="3997"/>
                  </a:lnTo>
                  <a:lnTo>
                    <a:pt x="3264" y="4080"/>
                  </a:lnTo>
                  <a:lnTo>
                    <a:pt x="3118" y="4101"/>
                  </a:lnTo>
                  <a:lnTo>
                    <a:pt x="3055" y="4185"/>
                  </a:lnTo>
                  <a:lnTo>
                    <a:pt x="3076" y="4394"/>
                  </a:lnTo>
                  <a:lnTo>
                    <a:pt x="3118" y="4457"/>
                  </a:lnTo>
                  <a:lnTo>
                    <a:pt x="3055" y="4624"/>
                  </a:lnTo>
                  <a:lnTo>
                    <a:pt x="3055" y="4813"/>
                  </a:lnTo>
                  <a:lnTo>
                    <a:pt x="3139" y="4875"/>
                  </a:lnTo>
                  <a:lnTo>
                    <a:pt x="3139" y="4959"/>
                  </a:lnTo>
                  <a:lnTo>
                    <a:pt x="3244" y="5252"/>
                  </a:lnTo>
                  <a:lnTo>
                    <a:pt x="3055" y="5587"/>
                  </a:lnTo>
                  <a:lnTo>
                    <a:pt x="3076" y="5692"/>
                  </a:lnTo>
                  <a:lnTo>
                    <a:pt x="3139" y="5692"/>
                  </a:lnTo>
                  <a:lnTo>
                    <a:pt x="3223" y="5671"/>
                  </a:lnTo>
                  <a:lnTo>
                    <a:pt x="3223" y="5692"/>
                  </a:lnTo>
                  <a:lnTo>
                    <a:pt x="3244" y="5775"/>
                  </a:lnTo>
                  <a:lnTo>
                    <a:pt x="3327" y="5817"/>
                  </a:lnTo>
                  <a:lnTo>
                    <a:pt x="3369" y="5922"/>
                  </a:lnTo>
                  <a:lnTo>
                    <a:pt x="3348" y="5984"/>
                  </a:lnTo>
                  <a:lnTo>
                    <a:pt x="3390" y="6131"/>
                  </a:lnTo>
                  <a:lnTo>
                    <a:pt x="3536" y="6424"/>
                  </a:lnTo>
                  <a:lnTo>
                    <a:pt x="3536" y="6528"/>
                  </a:lnTo>
                  <a:lnTo>
                    <a:pt x="3746" y="6696"/>
                  </a:lnTo>
                  <a:lnTo>
                    <a:pt x="3976" y="6863"/>
                  </a:lnTo>
                  <a:lnTo>
                    <a:pt x="4101" y="6905"/>
                  </a:lnTo>
                  <a:lnTo>
                    <a:pt x="4332" y="6863"/>
                  </a:lnTo>
                  <a:lnTo>
                    <a:pt x="4478" y="6717"/>
                  </a:lnTo>
                  <a:lnTo>
                    <a:pt x="4687" y="6591"/>
                  </a:lnTo>
                  <a:lnTo>
                    <a:pt x="4750" y="6487"/>
                  </a:lnTo>
                  <a:lnTo>
                    <a:pt x="5064" y="6319"/>
                  </a:lnTo>
                  <a:lnTo>
                    <a:pt x="5127" y="6173"/>
                  </a:lnTo>
                  <a:lnTo>
                    <a:pt x="5168" y="6110"/>
                  </a:lnTo>
                  <a:lnTo>
                    <a:pt x="5210" y="6068"/>
                  </a:lnTo>
                  <a:lnTo>
                    <a:pt x="5482" y="6005"/>
                  </a:lnTo>
                  <a:lnTo>
                    <a:pt x="5629" y="5964"/>
                  </a:lnTo>
                  <a:lnTo>
                    <a:pt x="5587" y="5817"/>
                  </a:lnTo>
                  <a:lnTo>
                    <a:pt x="5440" y="5796"/>
                  </a:lnTo>
                  <a:lnTo>
                    <a:pt x="5252" y="5817"/>
                  </a:lnTo>
                  <a:lnTo>
                    <a:pt x="4959" y="5712"/>
                  </a:lnTo>
                  <a:lnTo>
                    <a:pt x="5022" y="5545"/>
                  </a:lnTo>
                  <a:lnTo>
                    <a:pt x="5001" y="5482"/>
                  </a:lnTo>
                  <a:lnTo>
                    <a:pt x="4938" y="5440"/>
                  </a:lnTo>
                  <a:lnTo>
                    <a:pt x="5127" y="5168"/>
                  </a:lnTo>
                  <a:lnTo>
                    <a:pt x="5064" y="5064"/>
                  </a:lnTo>
                  <a:lnTo>
                    <a:pt x="4938" y="4938"/>
                  </a:lnTo>
                  <a:lnTo>
                    <a:pt x="4834" y="4917"/>
                  </a:lnTo>
                  <a:lnTo>
                    <a:pt x="4750" y="4750"/>
                  </a:lnTo>
                  <a:lnTo>
                    <a:pt x="4917" y="4813"/>
                  </a:lnTo>
                  <a:lnTo>
                    <a:pt x="5106" y="4834"/>
                  </a:lnTo>
                  <a:lnTo>
                    <a:pt x="5273" y="4938"/>
                  </a:lnTo>
                  <a:lnTo>
                    <a:pt x="5461" y="4938"/>
                  </a:lnTo>
                  <a:lnTo>
                    <a:pt x="5733" y="4875"/>
                  </a:lnTo>
                  <a:lnTo>
                    <a:pt x="5796" y="4938"/>
                  </a:lnTo>
                  <a:lnTo>
                    <a:pt x="5985" y="4875"/>
                  </a:lnTo>
                  <a:lnTo>
                    <a:pt x="6173" y="4708"/>
                  </a:lnTo>
                  <a:lnTo>
                    <a:pt x="6319" y="4708"/>
                  </a:lnTo>
                  <a:lnTo>
                    <a:pt x="6424" y="4729"/>
                  </a:lnTo>
                  <a:lnTo>
                    <a:pt x="6675" y="4624"/>
                  </a:lnTo>
                  <a:lnTo>
                    <a:pt x="6884" y="4624"/>
                  </a:lnTo>
                  <a:lnTo>
                    <a:pt x="7156" y="4394"/>
                  </a:lnTo>
                  <a:lnTo>
                    <a:pt x="7219" y="4248"/>
                  </a:lnTo>
                  <a:lnTo>
                    <a:pt x="7219" y="4143"/>
                  </a:lnTo>
                  <a:lnTo>
                    <a:pt x="7219" y="4122"/>
                  </a:lnTo>
                  <a:lnTo>
                    <a:pt x="6989" y="3934"/>
                  </a:lnTo>
                  <a:lnTo>
                    <a:pt x="6842" y="3725"/>
                  </a:lnTo>
                  <a:lnTo>
                    <a:pt x="6801" y="3599"/>
                  </a:lnTo>
                  <a:lnTo>
                    <a:pt x="6905" y="3495"/>
                  </a:lnTo>
                  <a:lnTo>
                    <a:pt x="6926" y="3306"/>
                  </a:lnTo>
                  <a:lnTo>
                    <a:pt x="7010" y="3243"/>
                  </a:lnTo>
                  <a:lnTo>
                    <a:pt x="7093" y="3264"/>
                  </a:lnTo>
                  <a:lnTo>
                    <a:pt x="7198" y="3243"/>
                  </a:lnTo>
                  <a:lnTo>
                    <a:pt x="7261" y="3264"/>
                  </a:lnTo>
                  <a:lnTo>
                    <a:pt x="7449" y="3181"/>
                  </a:lnTo>
                  <a:lnTo>
                    <a:pt x="7449" y="3055"/>
                  </a:lnTo>
                  <a:lnTo>
                    <a:pt x="7365" y="2971"/>
                  </a:lnTo>
                  <a:lnTo>
                    <a:pt x="7219" y="2951"/>
                  </a:lnTo>
                  <a:lnTo>
                    <a:pt x="7156" y="2846"/>
                  </a:lnTo>
                  <a:lnTo>
                    <a:pt x="7135" y="2762"/>
                  </a:lnTo>
                  <a:lnTo>
                    <a:pt x="7303" y="2553"/>
                  </a:lnTo>
                  <a:lnTo>
                    <a:pt x="7365" y="2574"/>
                  </a:lnTo>
                  <a:lnTo>
                    <a:pt x="7512" y="2469"/>
                  </a:lnTo>
                  <a:lnTo>
                    <a:pt x="7658" y="2302"/>
                  </a:lnTo>
                  <a:lnTo>
                    <a:pt x="7679" y="2218"/>
                  </a:lnTo>
                  <a:lnTo>
                    <a:pt x="7658" y="2218"/>
                  </a:lnTo>
                  <a:lnTo>
                    <a:pt x="7428" y="2114"/>
                  </a:lnTo>
                  <a:lnTo>
                    <a:pt x="7345" y="2114"/>
                  </a:lnTo>
                  <a:lnTo>
                    <a:pt x="7261" y="2135"/>
                  </a:lnTo>
                  <a:lnTo>
                    <a:pt x="7156" y="2114"/>
                  </a:lnTo>
                  <a:lnTo>
                    <a:pt x="7093" y="2114"/>
                  </a:lnTo>
                  <a:lnTo>
                    <a:pt x="7010" y="2155"/>
                  </a:lnTo>
                  <a:lnTo>
                    <a:pt x="6821" y="2197"/>
                  </a:lnTo>
                  <a:lnTo>
                    <a:pt x="6675" y="2155"/>
                  </a:lnTo>
                  <a:lnTo>
                    <a:pt x="6612" y="2155"/>
                  </a:lnTo>
                  <a:lnTo>
                    <a:pt x="6717" y="2135"/>
                  </a:lnTo>
                  <a:lnTo>
                    <a:pt x="6801" y="2135"/>
                  </a:lnTo>
                  <a:lnTo>
                    <a:pt x="6884" y="2093"/>
                  </a:lnTo>
                  <a:lnTo>
                    <a:pt x="6926" y="2009"/>
                  </a:lnTo>
                  <a:lnTo>
                    <a:pt x="7052" y="1904"/>
                  </a:lnTo>
                  <a:lnTo>
                    <a:pt x="7093" y="1842"/>
                  </a:lnTo>
                  <a:lnTo>
                    <a:pt x="7010" y="1800"/>
                  </a:lnTo>
                  <a:lnTo>
                    <a:pt x="7010" y="1779"/>
                  </a:lnTo>
                  <a:lnTo>
                    <a:pt x="6989" y="1674"/>
                  </a:lnTo>
                  <a:lnTo>
                    <a:pt x="6821" y="1590"/>
                  </a:lnTo>
                  <a:lnTo>
                    <a:pt x="6612" y="1528"/>
                  </a:lnTo>
                  <a:lnTo>
                    <a:pt x="6570" y="1486"/>
                  </a:lnTo>
                  <a:lnTo>
                    <a:pt x="6487" y="1423"/>
                  </a:lnTo>
                  <a:lnTo>
                    <a:pt x="6382" y="1423"/>
                  </a:lnTo>
                  <a:lnTo>
                    <a:pt x="6361" y="1381"/>
                  </a:lnTo>
                  <a:lnTo>
                    <a:pt x="6215" y="1318"/>
                  </a:lnTo>
                  <a:lnTo>
                    <a:pt x="6173" y="1318"/>
                  </a:lnTo>
                  <a:lnTo>
                    <a:pt x="6173" y="1423"/>
                  </a:lnTo>
                  <a:lnTo>
                    <a:pt x="6089" y="1318"/>
                  </a:lnTo>
                  <a:lnTo>
                    <a:pt x="6047" y="1214"/>
                  </a:lnTo>
                  <a:lnTo>
                    <a:pt x="5943" y="1172"/>
                  </a:lnTo>
                  <a:lnTo>
                    <a:pt x="5901" y="1088"/>
                  </a:lnTo>
                  <a:lnTo>
                    <a:pt x="5964" y="1046"/>
                  </a:lnTo>
                  <a:lnTo>
                    <a:pt x="6215" y="1067"/>
                  </a:lnTo>
                  <a:lnTo>
                    <a:pt x="6319" y="984"/>
                  </a:lnTo>
                  <a:lnTo>
                    <a:pt x="6487" y="984"/>
                  </a:lnTo>
                  <a:lnTo>
                    <a:pt x="6487" y="879"/>
                  </a:lnTo>
                  <a:lnTo>
                    <a:pt x="6361" y="900"/>
                  </a:lnTo>
                  <a:lnTo>
                    <a:pt x="6089" y="858"/>
                  </a:lnTo>
                  <a:lnTo>
                    <a:pt x="5901" y="879"/>
                  </a:lnTo>
                  <a:lnTo>
                    <a:pt x="5775" y="879"/>
                  </a:lnTo>
                  <a:lnTo>
                    <a:pt x="5524" y="963"/>
                  </a:lnTo>
                  <a:lnTo>
                    <a:pt x="5440" y="942"/>
                  </a:lnTo>
                  <a:lnTo>
                    <a:pt x="5336" y="942"/>
                  </a:lnTo>
                  <a:lnTo>
                    <a:pt x="5127" y="1088"/>
                  </a:lnTo>
                  <a:lnTo>
                    <a:pt x="5022" y="1109"/>
                  </a:lnTo>
                  <a:lnTo>
                    <a:pt x="4896" y="1172"/>
                  </a:lnTo>
                  <a:lnTo>
                    <a:pt x="4834" y="1256"/>
                  </a:lnTo>
                  <a:lnTo>
                    <a:pt x="4645" y="1277"/>
                  </a:lnTo>
                  <a:lnTo>
                    <a:pt x="4604" y="1298"/>
                  </a:lnTo>
                  <a:lnTo>
                    <a:pt x="4520" y="1277"/>
                  </a:lnTo>
                  <a:lnTo>
                    <a:pt x="4269" y="1088"/>
                  </a:lnTo>
                  <a:lnTo>
                    <a:pt x="4206" y="984"/>
                  </a:lnTo>
                  <a:lnTo>
                    <a:pt x="3871" y="984"/>
                  </a:lnTo>
                  <a:lnTo>
                    <a:pt x="3327" y="1088"/>
                  </a:lnTo>
                  <a:lnTo>
                    <a:pt x="3055" y="1088"/>
                  </a:lnTo>
                  <a:lnTo>
                    <a:pt x="2951" y="1046"/>
                  </a:lnTo>
                  <a:lnTo>
                    <a:pt x="2909" y="963"/>
                  </a:lnTo>
                  <a:lnTo>
                    <a:pt x="2909" y="858"/>
                  </a:lnTo>
                  <a:lnTo>
                    <a:pt x="2972" y="858"/>
                  </a:lnTo>
                  <a:lnTo>
                    <a:pt x="2951" y="733"/>
                  </a:lnTo>
                  <a:lnTo>
                    <a:pt x="2846" y="565"/>
                  </a:lnTo>
                  <a:lnTo>
                    <a:pt x="2741" y="544"/>
                  </a:lnTo>
                  <a:lnTo>
                    <a:pt x="2448" y="565"/>
                  </a:lnTo>
                  <a:lnTo>
                    <a:pt x="2323" y="482"/>
                  </a:lnTo>
                  <a:lnTo>
                    <a:pt x="2239" y="482"/>
                  </a:lnTo>
                  <a:lnTo>
                    <a:pt x="2176" y="523"/>
                  </a:lnTo>
                  <a:lnTo>
                    <a:pt x="2072" y="356"/>
                  </a:lnTo>
                  <a:lnTo>
                    <a:pt x="2072" y="210"/>
                  </a:lnTo>
                  <a:lnTo>
                    <a:pt x="2030" y="21"/>
                  </a:lnTo>
                  <a:lnTo>
                    <a:pt x="1988"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89" name="Google Shape;1989;p66"/>
            <p:cNvSpPr/>
            <p:nvPr/>
          </p:nvSpPr>
          <p:spPr>
            <a:xfrm>
              <a:off x="3209425" y="3061815"/>
              <a:ext cx="82733" cy="112565"/>
            </a:xfrm>
            <a:custGeom>
              <a:avLst/>
              <a:gdLst/>
              <a:ahLst/>
              <a:cxnLst/>
              <a:rect l="l" t="t" r="r" b="b"/>
              <a:pathLst>
                <a:path w="6948" h="9898" extrusionOk="0">
                  <a:moveTo>
                    <a:pt x="4353" y="1"/>
                  </a:moveTo>
                  <a:lnTo>
                    <a:pt x="4332" y="64"/>
                  </a:lnTo>
                  <a:lnTo>
                    <a:pt x="4290" y="105"/>
                  </a:lnTo>
                  <a:lnTo>
                    <a:pt x="4227" y="147"/>
                  </a:lnTo>
                  <a:lnTo>
                    <a:pt x="4165" y="168"/>
                  </a:lnTo>
                  <a:lnTo>
                    <a:pt x="4060" y="168"/>
                  </a:lnTo>
                  <a:lnTo>
                    <a:pt x="3976" y="189"/>
                  </a:lnTo>
                  <a:lnTo>
                    <a:pt x="3955" y="252"/>
                  </a:lnTo>
                  <a:lnTo>
                    <a:pt x="3976" y="294"/>
                  </a:lnTo>
                  <a:lnTo>
                    <a:pt x="3955" y="357"/>
                  </a:lnTo>
                  <a:lnTo>
                    <a:pt x="3809" y="419"/>
                  </a:lnTo>
                  <a:lnTo>
                    <a:pt x="3621" y="566"/>
                  </a:lnTo>
                  <a:lnTo>
                    <a:pt x="3495" y="670"/>
                  </a:lnTo>
                  <a:lnTo>
                    <a:pt x="3328" y="691"/>
                  </a:lnTo>
                  <a:lnTo>
                    <a:pt x="2972" y="691"/>
                  </a:lnTo>
                  <a:lnTo>
                    <a:pt x="2867" y="733"/>
                  </a:lnTo>
                  <a:lnTo>
                    <a:pt x="2867" y="817"/>
                  </a:lnTo>
                  <a:lnTo>
                    <a:pt x="2888" y="901"/>
                  </a:lnTo>
                  <a:lnTo>
                    <a:pt x="2888" y="1005"/>
                  </a:lnTo>
                  <a:lnTo>
                    <a:pt x="2805" y="1089"/>
                  </a:lnTo>
                  <a:lnTo>
                    <a:pt x="2721" y="1047"/>
                  </a:lnTo>
                  <a:lnTo>
                    <a:pt x="2763" y="942"/>
                  </a:lnTo>
                  <a:lnTo>
                    <a:pt x="2763" y="921"/>
                  </a:lnTo>
                  <a:lnTo>
                    <a:pt x="2825" y="901"/>
                  </a:lnTo>
                  <a:lnTo>
                    <a:pt x="2700" y="880"/>
                  </a:lnTo>
                  <a:lnTo>
                    <a:pt x="2574" y="817"/>
                  </a:lnTo>
                  <a:lnTo>
                    <a:pt x="2491" y="817"/>
                  </a:lnTo>
                  <a:lnTo>
                    <a:pt x="2302" y="942"/>
                  </a:lnTo>
                  <a:lnTo>
                    <a:pt x="2261" y="1026"/>
                  </a:lnTo>
                  <a:lnTo>
                    <a:pt x="2135" y="1152"/>
                  </a:lnTo>
                  <a:lnTo>
                    <a:pt x="1968" y="1465"/>
                  </a:lnTo>
                  <a:lnTo>
                    <a:pt x="1947" y="1549"/>
                  </a:lnTo>
                  <a:lnTo>
                    <a:pt x="1947" y="1549"/>
                  </a:lnTo>
                  <a:lnTo>
                    <a:pt x="1989" y="1528"/>
                  </a:lnTo>
                  <a:lnTo>
                    <a:pt x="2051" y="1570"/>
                  </a:lnTo>
                  <a:lnTo>
                    <a:pt x="2051" y="1654"/>
                  </a:lnTo>
                  <a:lnTo>
                    <a:pt x="2030" y="1758"/>
                  </a:lnTo>
                  <a:lnTo>
                    <a:pt x="1947" y="1821"/>
                  </a:lnTo>
                  <a:lnTo>
                    <a:pt x="1842" y="1821"/>
                  </a:lnTo>
                  <a:lnTo>
                    <a:pt x="1737" y="1863"/>
                  </a:lnTo>
                  <a:lnTo>
                    <a:pt x="1612" y="1989"/>
                  </a:lnTo>
                  <a:lnTo>
                    <a:pt x="1528" y="2051"/>
                  </a:lnTo>
                  <a:lnTo>
                    <a:pt x="1424" y="2198"/>
                  </a:lnTo>
                  <a:lnTo>
                    <a:pt x="1340" y="2198"/>
                  </a:lnTo>
                  <a:lnTo>
                    <a:pt x="1256" y="2240"/>
                  </a:lnTo>
                  <a:lnTo>
                    <a:pt x="1298" y="2344"/>
                  </a:lnTo>
                  <a:lnTo>
                    <a:pt x="1403" y="2449"/>
                  </a:lnTo>
                  <a:lnTo>
                    <a:pt x="1403" y="2574"/>
                  </a:lnTo>
                  <a:lnTo>
                    <a:pt x="1340" y="2700"/>
                  </a:lnTo>
                  <a:lnTo>
                    <a:pt x="1256" y="2700"/>
                  </a:lnTo>
                  <a:lnTo>
                    <a:pt x="1152" y="2616"/>
                  </a:lnTo>
                  <a:lnTo>
                    <a:pt x="1193" y="2574"/>
                  </a:lnTo>
                  <a:lnTo>
                    <a:pt x="1214" y="2512"/>
                  </a:lnTo>
                  <a:lnTo>
                    <a:pt x="1131" y="2470"/>
                  </a:lnTo>
                  <a:lnTo>
                    <a:pt x="1089" y="2365"/>
                  </a:lnTo>
                  <a:lnTo>
                    <a:pt x="984" y="2261"/>
                  </a:lnTo>
                  <a:lnTo>
                    <a:pt x="942" y="2365"/>
                  </a:lnTo>
                  <a:lnTo>
                    <a:pt x="942" y="2407"/>
                  </a:lnTo>
                  <a:lnTo>
                    <a:pt x="1005" y="2574"/>
                  </a:lnTo>
                  <a:lnTo>
                    <a:pt x="921" y="2721"/>
                  </a:lnTo>
                  <a:lnTo>
                    <a:pt x="901" y="2867"/>
                  </a:lnTo>
                  <a:lnTo>
                    <a:pt x="817" y="2909"/>
                  </a:lnTo>
                  <a:lnTo>
                    <a:pt x="775" y="2909"/>
                  </a:lnTo>
                  <a:lnTo>
                    <a:pt x="691" y="3098"/>
                  </a:lnTo>
                  <a:lnTo>
                    <a:pt x="712" y="3118"/>
                  </a:lnTo>
                  <a:lnTo>
                    <a:pt x="733" y="3244"/>
                  </a:lnTo>
                  <a:lnTo>
                    <a:pt x="733" y="3390"/>
                  </a:lnTo>
                  <a:lnTo>
                    <a:pt x="880" y="3516"/>
                  </a:lnTo>
                  <a:lnTo>
                    <a:pt x="901" y="3516"/>
                  </a:lnTo>
                  <a:lnTo>
                    <a:pt x="942" y="3495"/>
                  </a:lnTo>
                  <a:lnTo>
                    <a:pt x="1005" y="3537"/>
                  </a:lnTo>
                  <a:lnTo>
                    <a:pt x="1005" y="3662"/>
                  </a:lnTo>
                  <a:lnTo>
                    <a:pt x="921" y="3746"/>
                  </a:lnTo>
                  <a:lnTo>
                    <a:pt x="921" y="3809"/>
                  </a:lnTo>
                  <a:lnTo>
                    <a:pt x="1005" y="3872"/>
                  </a:lnTo>
                  <a:lnTo>
                    <a:pt x="1005" y="4039"/>
                  </a:lnTo>
                  <a:lnTo>
                    <a:pt x="921" y="4081"/>
                  </a:lnTo>
                  <a:lnTo>
                    <a:pt x="880" y="4165"/>
                  </a:lnTo>
                  <a:lnTo>
                    <a:pt x="921" y="4186"/>
                  </a:lnTo>
                  <a:lnTo>
                    <a:pt x="984" y="4290"/>
                  </a:lnTo>
                  <a:lnTo>
                    <a:pt x="942" y="4478"/>
                  </a:lnTo>
                  <a:lnTo>
                    <a:pt x="984" y="4771"/>
                  </a:lnTo>
                  <a:lnTo>
                    <a:pt x="901" y="4855"/>
                  </a:lnTo>
                  <a:lnTo>
                    <a:pt x="880" y="4918"/>
                  </a:lnTo>
                  <a:lnTo>
                    <a:pt x="942" y="5022"/>
                  </a:lnTo>
                  <a:lnTo>
                    <a:pt x="1047" y="4981"/>
                  </a:lnTo>
                  <a:lnTo>
                    <a:pt x="1047" y="4981"/>
                  </a:lnTo>
                  <a:lnTo>
                    <a:pt x="1026" y="5064"/>
                  </a:lnTo>
                  <a:lnTo>
                    <a:pt x="1089" y="5127"/>
                  </a:lnTo>
                  <a:lnTo>
                    <a:pt x="1152" y="5127"/>
                  </a:lnTo>
                  <a:lnTo>
                    <a:pt x="1152" y="5190"/>
                  </a:lnTo>
                  <a:lnTo>
                    <a:pt x="1110" y="5274"/>
                  </a:lnTo>
                  <a:lnTo>
                    <a:pt x="1047" y="5378"/>
                  </a:lnTo>
                  <a:lnTo>
                    <a:pt x="817" y="5608"/>
                  </a:lnTo>
                  <a:lnTo>
                    <a:pt x="775" y="5713"/>
                  </a:lnTo>
                  <a:lnTo>
                    <a:pt x="608" y="5859"/>
                  </a:lnTo>
                  <a:lnTo>
                    <a:pt x="398" y="5922"/>
                  </a:lnTo>
                  <a:lnTo>
                    <a:pt x="210" y="6048"/>
                  </a:lnTo>
                  <a:lnTo>
                    <a:pt x="64" y="6278"/>
                  </a:lnTo>
                  <a:lnTo>
                    <a:pt x="43" y="6466"/>
                  </a:lnTo>
                  <a:lnTo>
                    <a:pt x="1" y="6571"/>
                  </a:lnTo>
                  <a:lnTo>
                    <a:pt x="189" y="6655"/>
                  </a:lnTo>
                  <a:lnTo>
                    <a:pt x="377" y="6780"/>
                  </a:lnTo>
                  <a:lnTo>
                    <a:pt x="629" y="6947"/>
                  </a:lnTo>
                  <a:lnTo>
                    <a:pt x="733" y="6947"/>
                  </a:lnTo>
                  <a:lnTo>
                    <a:pt x="880" y="7094"/>
                  </a:lnTo>
                  <a:lnTo>
                    <a:pt x="838" y="7178"/>
                  </a:lnTo>
                  <a:lnTo>
                    <a:pt x="880" y="7261"/>
                  </a:lnTo>
                  <a:lnTo>
                    <a:pt x="1047" y="7282"/>
                  </a:lnTo>
                  <a:lnTo>
                    <a:pt x="1256" y="7366"/>
                  </a:lnTo>
                  <a:lnTo>
                    <a:pt x="1319" y="7408"/>
                  </a:lnTo>
                  <a:lnTo>
                    <a:pt x="1507" y="7471"/>
                  </a:lnTo>
                  <a:lnTo>
                    <a:pt x="1570" y="7387"/>
                  </a:lnTo>
                  <a:lnTo>
                    <a:pt x="1570" y="7282"/>
                  </a:lnTo>
                  <a:lnTo>
                    <a:pt x="1654" y="7199"/>
                  </a:lnTo>
                  <a:lnTo>
                    <a:pt x="1717" y="7199"/>
                  </a:lnTo>
                  <a:lnTo>
                    <a:pt x="1863" y="7282"/>
                  </a:lnTo>
                  <a:lnTo>
                    <a:pt x="1968" y="7303"/>
                  </a:lnTo>
                  <a:lnTo>
                    <a:pt x="1989" y="7387"/>
                  </a:lnTo>
                  <a:lnTo>
                    <a:pt x="2072" y="7429"/>
                  </a:lnTo>
                  <a:lnTo>
                    <a:pt x="2135" y="7429"/>
                  </a:lnTo>
                  <a:lnTo>
                    <a:pt x="2177" y="7512"/>
                  </a:lnTo>
                  <a:lnTo>
                    <a:pt x="2386" y="7575"/>
                  </a:lnTo>
                  <a:lnTo>
                    <a:pt x="2512" y="7596"/>
                  </a:lnTo>
                  <a:lnTo>
                    <a:pt x="2553" y="7638"/>
                  </a:lnTo>
                  <a:lnTo>
                    <a:pt x="2700" y="7805"/>
                  </a:lnTo>
                  <a:lnTo>
                    <a:pt x="2700" y="7910"/>
                  </a:lnTo>
                  <a:lnTo>
                    <a:pt x="2805" y="8098"/>
                  </a:lnTo>
                  <a:lnTo>
                    <a:pt x="2888" y="8098"/>
                  </a:lnTo>
                  <a:lnTo>
                    <a:pt x="3139" y="8203"/>
                  </a:lnTo>
                  <a:lnTo>
                    <a:pt x="3244" y="8349"/>
                  </a:lnTo>
                  <a:lnTo>
                    <a:pt x="3244" y="8517"/>
                  </a:lnTo>
                  <a:lnTo>
                    <a:pt x="3307" y="8517"/>
                  </a:lnTo>
                  <a:lnTo>
                    <a:pt x="3411" y="8559"/>
                  </a:lnTo>
                  <a:lnTo>
                    <a:pt x="3432" y="8684"/>
                  </a:lnTo>
                  <a:lnTo>
                    <a:pt x="3411" y="8768"/>
                  </a:lnTo>
                  <a:lnTo>
                    <a:pt x="3432" y="8852"/>
                  </a:lnTo>
                  <a:lnTo>
                    <a:pt x="3537" y="8872"/>
                  </a:lnTo>
                  <a:lnTo>
                    <a:pt x="3662" y="8852"/>
                  </a:lnTo>
                  <a:lnTo>
                    <a:pt x="3767" y="8872"/>
                  </a:lnTo>
                  <a:lnTo>
                    <a:pt x="3914" y="8872"/>
                  </a:lnTo>
                  <a:lnTo>
                    <a:pt x="3955" y="8831"/>
                  </a:lnTo>
                  <a:lnTo>
                    <a:pt x="4144" y="8747"/>
                  </a:lnTo>
                  <a:lnTo>
                    <a:pt x="4290" y="8768"/>
                  </a:lnTo>
                  <a:lnTo>
                    <a:pt x="4458" y="8852"/>
                  </a:lnTo>
                  <a:lnTo>
                    <a:pt x="4646" y="8747"/>
                  </a:lnTo>
                  <a:lnTo>
                    <a:pt x="4750" y="8747"/>
                  </a:lnTo>
                  <a:lnTo>
                    <a:pt x="4792" y="8831"/>
                  </a:lnTo>
                  <a:lnTo>
                    <a:pt x="4876" y="8831"/>
                  </a:lnTo>
                  <a:lnTo>
                    <a:pt x="4981" y="8872"/>
                  </a:lnTo>
                  <a:lnTo>
                    <a:pt x="5064" y="8956"/>
                  </a:lnTo>
                  <a:lnTo>
                    <a:pt x="5169" y="8935"/>
                  </a:lnTo>
                  <a:lnTo>
                    <a:pt x="5169" y="8998"/>
                  </a:lnTo>
                  <a:lnTo>
                    <a:pt x="4792" y="9626"/>
                  </a:lnTo>
                  <a:lnTo>
                    <a:pt x="4813" y="9709"/>
                  </a:lnTo>
                  <a:lnTo>
                    <a:pt x="4960" y="9688"/>
                  </a:lnTo>
                  <a:lnTo>
                    <a:pt x="5085" y="9688"/>
                  </a:lnTo>
                  <a:lnTo>
                    <a:pt x="5190" y="9772"/>
                  </a:lnTo>
                  <a:lnTo>
                    <a:pt x="5211" y="9898"/>
                  </a:lnTo>
                  <a:lnTo>
                    <a:pt x="5294" y="9584"/>
                  </a:lnTo>
                  <a:lnTo>
                    <a:pt x="5629" y="8370"/>
                  </a:lnTo>
                  <a:lnTo>
                    <a:pt x="5629" y="8308"/>
                  </a:lnTo>
                  <a:lnTo>
                    <a:pt x="5629" y="8098"/>
                  </a:lnTo>
                  <a:lnTo>
                    <a:pt x="5504" y="7847"/>
                  </a:lnTo>
                  <a:lnTo>
                    <a:pt x="5294" y="7680"/>
                  </a:lnTo>
                  <a:lnTo>
                    <a:pt x="5190" y="7533"/>
                  </a:lnTo>
                  <a:lnTo>
                    <a:pt x="5169" y="7219"/>
                  </a:lnTo>
                  <a:lnTo>
                    <a:pt x="5546" y="7094"/>
                  </a:lnTo>
                  <a:lnTo>
                    <a:pt x="5692" y="7199"/>
                  </a:lnTo>
                  <a:lnTo>
                    <a:pt x="5713" y="7094"/>
                  </a:lnTo>
                  <a:lnTo>
                    <a:pt x="5650" y="7010"/>
                  </a:lnTo>
                  <a:lnTo>
                    <a:pt x="5713" y="6968"/>
                  </a:lnTo>
                  <a:lnTo>
                    <a:pt x="5629" y="6801"/>
                  </a:lnTo>
                  <a:lnTo>
                    <a:pt x="5420" y="6738"/>
                  </a:lnTo>
                  <a:lnTo>
                    <a:pt x="5336" y="6592"/>
                  </a:lnTo>
                  <a:lnTo>
                    <a:pt x="5399" y="6424"/>
                  </a:lnTo>
                  <a:lnTo>
                    <a:pt x="6048" y="6424"/>
                  </a:lnTo>
                  <a:lnTo>
                    <a:pt x="6131" y="6341"/>
                  </a:lnTo>
                  <a:lnTo>
                    <a:pt x="6236" y="6341"/>
                  </a:lnTo>
                  <a:lnTo>
                    <a:pt x="6278" y="6383"/>
                  </a:lnTo>
                  <a:lnTo>
                    <a:pt x="6362" y="6383"/>
                  </a:lnTo>
                  <a:lnTo>
                    <a:pt x="6466" y="6257"/>
                  </a:lnTo>
                  <a:lnTo>
                    <a:pt x="6634" y="6215"/>
                  </a:lnTo>
                  <a:lnTo>
                    <a:pt x="6675" y="6320"/>
                  </a:lnTo>
                  <a:lnTo>
                    <a:pt x="6759" y="6424"/>
                  </a:lnTo>
                  <a:lnTo>
                    <a:pt x="6780" y="6550"/>
                  </a:lnTo>
                  <a:lnTo>
                    <a:pt x="6780" y="6696"/>
                  </a:lnTo>
                  <a:lnTo>
                    <a:pt x="6947" y="6675"/>
                  </a:lnTo>
                  <a:lnTo>
                    <a:pt x="6947" y="6571"/>
                  </a:lnTo>
                  <a:lnTo>
                    <a:pt x="6801" y="6278"/>
                  </a:lnTo>
                  <a:lnTo>
                    <a:pt x="6759" y="6131"/>
                  </a:lnTo>
                  <a:lnTo>
                    <a:pt x="6780" y="6069"/>
                  </a:lnTo>
                  <a:lnTo>
                    <a:pt x="6738" y="5964"/>
                  </a:lnTo>
                  <a:lnTo>
                    <a:pt x="6655" y="5922"/>
                  </a:lnTo>
                  <a:lnTo>
                    <a:pt x="6634" y="5839"/>
                  </a:lnTo>
                  <a:lnTo>
                    <a:pt x="6634" y="5818"/>
                  </a:lnTo>
                  <a:lnTo>
                    <a:pt x="6550" y="5839"/>
                  </a:lnTo>
                  <a:lnTo>
                    <a:pt x="6487" y="5839"/>
                  </a:lnTo>
                  <a:lnTo>
                    <a:pt x="6466" y="5734"/>
                  </a:lnTo>
                  <a:lnTo>
                    <a:pt x="6655" y="5399"/>
                  </a:lnTo>
                  <a:lnTo>
                    <a:pt x="6550" y="5106"/>
                  </a:lnTo>
                  <a:lnTo>
                    <a:pt x="6550" y="5022"/>
                  </a:lnTo>
                  <a:lnTo>
                    <a:pt x="6466" y="4960"/>
                  </a:lnTo>
                  <a:lnTo>
                    <a:pt x="6466" y="4771"/>
                  </a:lnTo>
                  <a:lnTo>
                    <a:pt x="6529" y="4604"/>
                  </a:lnTo>
                  <a:lnTo>
                    <a:pt x="6487" y="4541"/>
                  </a:lnTo>
                  <a:lnTo>
                    <a:pt x="6466" y="4332"/>
                  </a:lnTo>
                  <a:lnTo>
                    <a:pt x="6529" y="4248"/>
                  </a:lnTo>
                  <a:lnTo>
                    <a:pt x="6675" y="4227"/>
                  </a:lnTo>
                  <a:lnTo>
                    <a:pt x="6696" y="4144"/>
                  </a:lnTo>
                  <a:lnTo>
                    <a:pt x="6696" y="4039"/>
                  </a:lnTo>
                  <a:lnTo>
                    <a:pt x="6759" y="3955"/>
                  </a:lnTo>
                  <a:lnTo>
                    <a:pt x="6696" y="3725"/>
                  </a:lnTo>
                  <a:lnTo>
                    <a:pt x="6634" y="3662"/>
                  </a:lnTo>
                  <a:lnTo>
                    <a:pt x="6529" y="3662"/>
                  </a:lnTo>
                  <a:lnTo>
                    <a:pt x="6487" y="3725"/>
                  </a:lnTo>
                  <a:lnTo>
                    <a:pt x="6341" y="3704"/>
                  </a:lnTo>
                  <a:lnTo>
                    <a:pt x="6236" y="3704"/>
                  </a:lnTo>
                  <a:lnTo>
                    <a:pt x="6110" y="3746"/>
                  </a:lnTo>
                  <a:lnTo>
                    <a:pt x="6048" y="3725"/>
                  </a:lnTo>
                  <a:lnTo>
                    <a:pt x="5922" y="3662"/>
                  </a:lnTo>
                  <a:lnTo>
                    <a:pt x="5859" y="3704"/>
                  </a:lnTo>
                  <a:lnTo>
                    <a:pt x="5838" y="3662"/>
                  </a:lnTo>
                  <a:lnTo>
                    <a:pt x="5692" y="3704"/>
                  </a:lnTo>
                  <a:lnTo>
                    <a:pt x="5232" y="3286"/>
                  </a:lnTo>
                  <a:lnTo>
                    <a:pt x="5127" y="3223"/>
                  </a:lnTo>
                  <a:lnTo>
                    <a:pt x="4960" y="3202"/>
                  </a:lnTo>
                  <a:lnTo>
                    <a:pt x="4792" y="3223"/>
                  </a:lnTo>
                  <a:lnTo>
                    <a:pt x="4750" y="3244"/>
                  </a:lnTo>
                  <a:lnTo>
                    <a:pt x="4604" y="3202"/>
                  </a:lnTo>
                  <a:lnTo>
                    <a:pt x="4458" y="3202"/>
                  </a:lnTo>
                  <a:lnTo>
                    <a:pt x="4374" y="3244"/>
                  </a:lnTo>
                  <a:lnTo>
                    <a:pt x="4248" y="3202"/>
                  </a:lnTo>
                  <a:lnTo>
                    <a:pt x="4144" y="3181"/>
                  </a:lnTo>
                  <a:lnTo>
                    <a:pt x="3976" y="3118"/>
                  </a:lnTo>
                  <a:lnTo>
                    <a:pt x="3851" y="3014"/>
                  </a:lnTo>
                  <a:lnTo>
                    <a:pt x="3851" y="2909"/>
                  </a:lnTo>
                  <a:lnTo>
                    <a:pt x="3872" y="2867"/>
                  </a:lnTo>
                  <a:lnTo>
                    <a:pt x="3872" y="2784"/>
                  </a:lnTo>
                  <a:lnTo>
                    <a:pt x="3934" y="2658"/>
                  </a:lnTo>
                  <a:lnTo>
                    <a:pt x="3914" y="2554"/>
                  </a:lnTo>
                  <a:lnTo>
                    <a:pt x="3809" y="2386"/>
                  </a:lnTo>
                  <a:lnTo>
                    <a:pt x="3558" y="1968"/>
                  </a:lnTo>
                  <a:lnTo>
                    <a:pt x="3411" y="1968"/>
                  </a:lnTo>
                  <a:lnTo>
                    <a:pt x="3411" y="1926"/>
                  </a:lnTo>
                  <a:lnTo>
                    <a:pt x="3495" y="1737"/>
                  </a:lnTo>
                  <a:lnTo>
                    <a:pt x="3516" y="1549"/>
                  </a:lnTo>
                  <a:lnTo>
                    <a:pt x="3495" y="1445"/>
                  </a:lnTo>
                  <a:lnTo>
                    <a:pt x="3516" y="1319"/>
                  </a:lnTo>
                  <a:lnTo>
                    <a:pt x="3704" y="1047"/>
                  </a:lnTo>
                  <a:lnTo>
                    <a:pt x="3767" y="984"/>
                  </a:lnTo>
                  <a:lnTo>
                    <a:pt x="3872" y="838"/>
                  </a:lnTo>
                  <a:lnTo>
                    <a:pt x="3976" y="817"/>
                  </a:lnTo>
                  <a:lnTo>
                    <a:pt x="4039" y="775"/>
                  </a:lnTo>
                  <a:lnTo>
                    <a:pt x="4186" y="503"/>
                  </a:lnTo>
                  <a:lnTo>
                    <a:pt x="4499" y="377"/>
                  </a:lnTo>
                  <a:lnTo>
                    <a:pt x="4541" y="357"/>
                  </a:lnTo>
                  <a:lnTo>
                    <a:pt x="4604" y="357"/>
                  </a:lnTo>
                  <a:lnTo>
                    <a:pt x="4667" y="294"/>
                  </a:lnTo>
                  <a:lnTo>
                    <a:pt x="4688" y="210"/>
                  </a:lnTo>
                  <a:lnTo>
                    <a:pt x="4646" y="147"/>
                  </a:lnTo>
                  <a:lnTo>
                    <a:pt x="4437" y="43"/>
                  </a:lnTo>
                  <a:lnTo>
                    <a:pt x="435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0" name="Google Shape;1990;p66"/>
            <p:cNvSpPr/>
            <p:nvPr/>
          </p:nvSpPr>
          <p:spPr>
            <a:xfrm>
              <a:off x="3195231" y="3136533"/>
              <a:ext cx="40867" cy="42852"/>
            </a:xfrm>
            <a:custGeom>
              <a:avLst/>
              <a:gdLst/>
              <a:ahLst/>
              <a:cxnLst/>
              <a:rect l="l" t="t" r="r" b="b"/>
              <a:pathLst>
                <a:path w="3432" h="3768" extrusionOk="0">
                  <a:moveTo>
                    <a:pt x="1193" y="1"/>
                  </a:moveTo>
                  <a:lnTo>
                    <a:pt x="1172" y="168"/>
                  </a:lnTo>
                  <a:lnTo>
                    <a:pt x="1025" y="168"/>
                  </a:lnTo>
                  <a:lnTo>
                    <a:pt x="732" y="336"/>
                  </a:lnTo>
                  <a:lnTo>
                    <a:pt x="607" y="377"/>
                  </a:lnTo>
                  <a:lnTo>
                    <a:pt x="440" y="440"/>
                  </a:lnTo>
                  <a:lnTo>
                    <a:pt x="523" y="587"/>
                  </a:lnTo>
                  <a:lnTo>
                    <a:pt x="523" y="649"/>
                  </a:lnTo>
                  <a:lnTo>
                    <a:pt x="565" y="733"/>
                  </a:lnTo>
                  <a:lnTo>
                    <a:pt x="544" y="901"/>
                  </a:lnTo>
                  <a:lnTo>
                    <a:pt x="335" y="1131"/>
                  </a:lnTo>
                  <a:lnTo>
                    <a:pt x="314" y="1235"/>
                  </a:lnTo>
                  <a:lnTo>
                    <a:pt x="356" y="1277"/>
                  </a:lnTo>
                  <a:lnTo>
                    <a:pt x="251" y="1445"/>
                  </a:lnTo>
                  <a:lnTo>
                    <a:pt x="126" y="1465"/>
                  </a:lnTo>
                  <a:lnTo>
                    <a:pt x="21" y="1591"/>
                  </a:lnTo>
                  <a:lnTo>
                    <a:pt x="84" y="1696"/>
                  </a:lnTo>
                  <a:lnTo>
                    <a:pt x="126" y="1800"/>
                  </a:lnTo>
                  <a:lnTo>
                    <a:pt x="105" y="1905"/>
                  </a:lnTo>
                  <a:lnTo>
                    <a:pt x="126" y="2072"/>
                  </a:lnTo>
                  <a:lnTo>
                    <a:pt x="84" y="2198"/>
                  </a:lnTo>
                  <a:lnTo>
                    <a:pt x="0" y="2261"/>
                  </a:lnTo>
                  <a:lnTo>
                    <a:pt x="84" y="2323"/>
                  </a:lnTo>
                  <a:lnTo>
                    <a:pt x="209" y="2386"/>
                  </a:lnTo>
                  <a:lnTo>
                    <a:pt x="314" y="2491"/>
                  </a:lnTo>
                  <a:lnTo>
                    <a:pt x="419" y="2574"/>
                  </a:lnTo>
                  <a:lnTo>
                    <a:pt x="440" y="2533"/>
                  </a:lnTo>
                  <a:lnTo>
                    <a:pt x="502" y="2386"/>
                  </a:lnTo>
                  <a:lnTo>
                    <a:pt x="544" y="2323"/>
                  </a:lnTo>
                  <a:lnTo>
                    <a:pt x="628" y="2219"/>
                  </a:lnTo>
                  <a:lnTo>
                    <a:pt x="628" y="2323"/>
                  </a:lnTo>
                  <a:lnTo>
                    <a:pt x="649" y="2428"/>
                  </a:lnTo>
                  <a:lnTo>
                    <a:pt x="649" y="2365"/>
                  </a:lnTo>
                  <a:lnTo>
                    <a:pt x="649" y="2282"/>
                  </a:lnTo>
                  <a:lnTo>
                    <a:pt x="712" y="2282"/>
                  </a:lnTo>
                  <a:lnTo>
                    <a:pt x="732" y="2428"/>
                  </a:lnTo>
                  <a:lnTo>
                    <a:pt x="712" y="2595"/>
                  </a:lnTo>
                  <a:lnTo>
                    <a:pt x="712" y="2700"/>
                  </a:lnTo>
                  <a:lnTo>
                    <a:pt x="649" y="2826"/>
                  </a:lnTo>
                  <a:lnTo>
                    <a:pt x="502" y="2951"/>
                  </a:lnTo>
                  <a:lnTo>
                    <a:pt x="544" y="2993"/>
                  </a:lnTo>
                  <a:lnTo>
                    <a:pt x="607" y="3139"/>
                  </a:lnTo>
                  <a:lnTo>
                    <a:pt x="502" y="3202"/>
                  </a:lnTo>
                  <a:lnTo>
                    <a:pt x="398" y="3328"/>
                  </a:lnTo>
                  <a:lnTo>
                    <a:pt x="419" y="3432"/>
                  </a:lnTo>
                  <a:lnTo>
                    <a:pt x="523" y="3432"/>
                  </a:lnTo>
                  <a:lnTo>
                    <a:pt x="649" y="3370"/>
                  </a:lnTo>
                  <a:lnTo>
                    <a:pt x="712" y="3453"/>
                  </a:lnTo>
                  <a:lnTo>
                    <a:pt x="879" y="3516"/>
                  </a:lnTo>
                  <a:lnTo>
                    <a:pt x="984" y="3537"/>
                  </a:lnTo>
                  <a:lnTo>
                    <a:pt x="1151" y="3767"/>
                  </a:lnTo>
                  <a:lnTo>
                    <a:pt x="1235" y="3767"/>
                  </a:lnTo>
                  <a:lnTo>
                    <a:pt x="1339" y="3662"/>
                  </a:lnTo>
                  <a:lnTo>
                    <a:pt x="1779" y="2721"/>
                  </a:lnTo>
                  <a:lnTo>
                    <a:pt x="1883" y="2637"/>
                  </a:lnTo>
                  <a:lnTo>
                    <a:pt x="2448" y="2470"/>
                  </a:lnTo>
                  <a:lnTo>
                    <a:pt x="2720" y="2282"/>
                  </a:lnTo>
                  <a:lnTo>
                    <a:pt x="3118" y="1905"/>
                  </a:lnTo>
                  <a:lnTo>
                    <a:pt x="3264" y="1549"/>
                  </a:lnTo>
                  <a:lnTo>
                    <a:pt x="3369" y="1549"/>
                  </a:lnTo>
                  <a:lnTo>
                    <a:pt x="3390" y="1486"/>
                  </a:lnTo>
                  <a:lnTo>
                    <a:pt x="3432" y="1361"/>
                  </a:lnTo>
                  <a:lnTo>
                    <a:pt x="3390" y="1235"/>
                  </a:lnTo>
                  <a:lnTo>
                    <a:pt x="3285" y="1026"/>
                  </a:lnTo>
                  <a:lnTo>
                    <a:pt x="3285" y="963"/>
                  </a:lnTo>
                  <a:lnTo>
                    <a:pt x="3264" y="859"/>
                  </a:lnTo>
                  <a:lnTo>
                    <a:pt x="3181" y="817"/>
                  </a:lnTo>
                  <a:lnTo>
                    <a:pt x="3160" y="733"/>
                  </a:lnTo>
                  <a:lnTo>
                    <a:pt x="3055" y="712"/>
                  </a:lnTo>
                  <a:lnTo>
                    <a:pt x="2909" y="629"/>
                  </a:lnTo>
                  <a:lnTo>
                    <a:pt x="2846" y="629"/>
                  </a:lnTo>
                  <a:lnTo>
                    <a:pt x="2762" y="712"/>
                  </a:lnTo>
                  <a:lnTo>
                    <a:pt x="2762" y="817"/>
                  </a:lnTo>
                  <a:lnTo>
                    <a:pt x="2699" y="901"/>
                  </a:lnTo>
                  <a:lnTo>
                    <a:pt x="2511" y="838"/>
                  </a:lnTo>
                  <a:lnTo>
                    <a:pt x="2448" y="796"/>
                  </a:lnTo>
                  <a:lnTo>
                    <a:pt x="2239" y="712"/>
                  </a:lnTo>
                  <a:lnTo>
                    <a:pt x="2072" y="691"/>
                  </a:lnTo>
                  <a:lnTo>
                    <a:pt x="2030" y="608"/>
                  </a:lnTo>
                  <a:lnTo>
                    <a:pt x="2072" y="524"/>
                  </a:lnTo>
                  <a:lnTo>
                    <a:pt x="1925" y="377"/>
                  </a:lnTo>
                  <a:lnTo>
                    <a:pt x="1821" y="377"/>
                  </a:lnTo>
                  <a:lnTo>
                    <a:pt x="1569" y="210"/>
                  </a:lnTo>
                  <a:lnTo>
                    <a:pt x="1381" y="85"/>
                  </a:lnTo>
                  <a:lnTo>
                    <a:pt x="119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1" name="Google Shape;1991;p66"/>
            <p:cNvSpPr/>
            <p:nvPr/>
          </p:nvSpPr>
          <p:spPr>
            <a:xfrm>
              <a:off x="3192980" y="3146290"/>
              <a:ext cx="88711" cy="124938"/>
            </a:xfrm>
            <a:custGeom>
              <a:avLst/>
              <a:gdLst/>
              <a:ahLst/>
              <a:cxnLst/>
              <a:rect l="l" t="t" r="r" b="b"/>
              <a:pathLst>
                <a:path w="7450" h="10986" extrusionOk="0">
                  <a:moveTo>
                    <a:pt x="3453" y="1"/>
                  </a:moveTo>
                  <a:lnTo>
                    <a:pt x="3474" y="105"/>
                  </a:lnTo>
                  <a:lnTo>
                    <a:pt x="3474" y="168"/>
                  </a:lnTo>
                  <a:lnTo>
                    <a:pt x="3579" y="377"/>
                  </a:lnTo>
                  <a:lnTo>
                    <a:pt x="3621" y="503"/>
                  </a:lnTo>
                  <a:lnTo>
                    <a:pt x="3579" y="628"/>
                  </a:lnTo>
                  <a:lnTo>
                    <a:pt x="3558" y="691"/>
                  </a:lnTo>
                  <a:lnTo>
                    <a:pt x="3453" y="691"/>
                  </a:lnTo>
                  <a:lnTo>
                    <a:pt x="3307" y="1047"/>
                  </a:lnTo>
                  <a:lnTo>
                    <a:pt x="2909" y="1424"/>
                  </a:lnTo>
                  <a:lnTo>
                    <a:pt x="2637" y="1612"/>
                  </a:lnTo>
                  <a:lnTo>
                    <a:pt x="2072" y="1779"/>
                  </a:lnTo>
                  <a:lnTo>
                    <a:pt x="1968" y="1863"/>
                  </a:lnTo>
                  <a:lnTo>
                    <a:pt x="1528" y="2804"/>
                  </a:lnTo>
                  <a:lnTo>
                    <a:pt x="1424" y="2909"/>
                  </a:lnTo>
                  <a:lnTo>
                    <a:pt x="1340" y="2909"/>
                  </a:lnTo>
                  <a:lnTo>
                    <a:pt x="1173" y="2679"/>
                  </a:lnTo>
                  <a:lnTo>
                    <a:pt x="1068" y="2658"/>
                  </a:lnTo>
                  <a:lnTo>
                    <a:pt x="901" y="2595"/>
                  </a:lnTo>
                  <a:lnTo>
                    <a:pt x="838" y="2512"/>
                  </a:lnTo>
                  <a:lnTo>
                    <a:pt x="712" y="2574"/>
                  </a:lnTo>
                  <a:lnTo>
                    <a:pt x="608" y="2574"/>
                  </a:lnTo>
                  <a:lnTo>
                    <a:pt x="587" y="2470"/>
                  </a:lnTo>
                  <a:lnTo>
                    <a:pt x="691" y="2344"/>
                  </a:lnTo>
                  <a:lnTo>
                    <a:pt x="796" y="2281"/>
                  </a:lnTo>
                  <a:lnTo>
                    <a:pt x="733" y="2135"/>
                  </a:lnTo>
                  <a:lnTo>
                    <a:pt x="691" y="2093"/>
                  </a:lnTo>
                  <a:lnTo>
                    <a:pt x="398" y="2240"/>
                  </a:lnTo>
                  <a:lnTo>
                    <a:pt x="294" y="2344"/>
                  </a:lnTo>
                  <a:lnTo>
                    <a:pt x="105" y="2512"/>
                  </a:lnTo>
                  <a:lnTo>
                    <a:pt x="64" y="2679"/>
                  </a:lnTo>
                  <a:lnTo>
                    <a:pt x="1" y="2784"/>
                  </a:lnTo>
                  <a:lnTo>
                    <a:pt x="22" y="2825"/>
                  </a:lnTo>
                  <a:lnTo>
                    <a:pt x="105" y="2909"/>
                  </a:lnTo>
                  <a:lnTo>
                    <a:pt x="126" y="2993"/>
                  </a:lnTo>
                  <a:lnTo>
                    <a:pt x="64" y="3035"/>
                  </a:lnTo>
                  <a:lnTo>
                    <a:pt x="64" y="3097"/>
                  </a:lnTo>
                  <a:lnTo>
                    <a:pt x="189" y="3202"/>
                  </a:lnTo>
                  <a:lnTo>
                    <a:pt x="273" y="3348"/>
                  </a:lnTo>
                  <a:lnTo>
                    <a:pt x="231" y="3495"/>
                  </a:lnTo>
                  <a:lnTo>
                    <a:pt x="168" y="3495"/>
                  </a:lnTo>
                  <a:lnTo>
                    <a:pt x="85" y="3516"/>
                  </a:lnTo>
                  <a:lnTo>
                    <a:pt x="22" y="3621"/>
                  </a:lnTo>
                  <a:lnTo>
                    <a:pt x="126" y="3704"/>
                  </a:lnTo>
                  <a:lnTo>
                    <a:pt x="231" y="3746"/>
                  </a:lnTo>
                  <a:lnTo>
                    <a:pt x="419" y="3872"/>
                  </a:lnTo>
                  <a:lnTo>
                    <a:pt x="587" y="3913"/>
                  </a:lnTo>
                  <a:lnTo>
                    <a:pt x="817" y="4060"/>
                  </a:lnTo>
                  <a:lnTo>
                    <a:pt x="921" y="4081"/>
                  </a:lnTo>
                  <a:lnTo>
                    <a:pt x="963" y="4185"/>
                  </a:lnTo>
                  <a:lnTo>
                    <a:pt x="1068" y="4374"/>
                  </a:lnTo>
                  <a:lnTo>
                    <a:pt x="1110" y="4541"/>
                  </a:lnTo>
                  <a:lnTo>
                    <a:pt x="1173" y="4667"/>
                  </a:lnTo>
                  <a:lnTo>
                    <a:pt x="1424" y="4771"/>
                  </a:lnTo>
                  <a:lnTo>
                    <a:pt x="1486" y="4960"/>
                  </a:lnTo>
                  <a:lnTo>
                    <a:pt x="1549" y="5106"/>
                  </a:lnTo>
                  <a:lnTo>
                    <a:pt x="1591" y="5211"/>
                  </a:lnTo>
                  <a:lnTo>
                    <a:pt x="1633" y="5399"/>
                  </a:lnTo>
                  <a:lnTo>
                    <a:pt x="1696" y="5525"/>
                  </a:lnTo>
                  <a:lnTo>
                    <a:pt x="1800" y="5587"/>
                  </a:lnTo>
                  <a:lnTo>
                    <a:pt x="1905" y="5797"/>
                  </a:lnTo>
                  <a:lnTo>
                    <a:pt x="1905" y="5922"/>
                  </a:lnTo>
                  <a:lnTo>
                    <a:pt x="1884" y="5964"/>
                  </a:lnTo>
                  <a:lnTo>
                    <a:pt x="1989" y="6152"/>
                  </a:lnTo>
                  <a:lnTo>
                    <a:pt x="2177" y="6382"/>
                  </a:lnTo>
                  <a:lnTo>
                    <a:pt x="2219" y="6487"/>
                  </a:lnTo>
                  <a:lnTo>
                    <a:pt x="2198" y="6592"/>
                  </a:lnTo>
                  <a:lnTo>
                    <a:pt x="2219" y="6675"/>
                  </a:lnTo>
                  <a:lnTo>
                    <a:pt x="2302" y="6696"/>
                  </a:lnTo>
                  <a:lnTo>
                    <a:pt x="2491" y="6885"/>
                  </a:lnTo>
                  <a:lnTo>
                    <a:pt x="2533" y="6989"/>
                  </a:lnTo>
                  <a:lnTo>
                    <a:pt x="2574" y="7157"/>
                  </a:lnTo>
                  <a:lnTo>
                    <a:pt x="2616" y="7219"/>
                  </a:lnTo>
                  <a:lnTo>
                    <a:pt x="2784" y="7282"/>
                  </a:lnTo>
                  <a:lnTo>
                    <a:pt x="2805" y="7408"/>
                  </a:lnTo>
                  <a:lnTo>
                    <a:pt x="2951" y="7680"/>
                  </a:lnTo>
                  <a:lnTo>
                    <a:pt x="3014" y="7805"/>
                  </a:lnTo>
                  <a:lnTo>
                    <a:pt x="3202" y="8056"/>
                  </a:lnTo>
                  <a:lnTo>
                    <a:pt x="3202" y="8203"/>
                  </a:lnTo>
                  <a:lnTo>
                    <a:pt x="3139" y="8203"/>
                  </a:lnTo>
                  <a:lnTo>
                    <a:pt x="3098" y="8161"/>
                  </a:lnTo>
                  <a:lnTo>
                    <a:pt x="3098" y="8224"/>
                  </a:lnTo>
                  <a:lnTo>
                    <a:pt x="3118" y="8328"/>
                  </a:lnTo>
                  <a:lnTo>
                    <a:pt x="3118" y="8412"/>
                  </a:lnTo>
                  <a:lnTo>
                    <a:pt x="3160" y="8412"/>
                  </a:lnTo>
                  <a:lnTo>
                    <a:pt x="3244" y="8454"/>
                  </a:lnTo>
                  <a:lnTo>
                    <a:pt x="3265" y="8538"/>
                  </a:lnTo>
                  <a:lnTo>
                    <a:pt x="3244" y="8579"/>
                  </a:lnTo>
                  <a:lnTo>
                    <a:pt x="3432" y="8726"/>
                  </a:lnTo>
                  <a:lnTo>
                    <a:pt x="3621" y="8789"/>
                  </a:lnTo>
                  <a:lnTo>
                    <a:pt x="3642" y="8872"/>
                  </a:lnTo>
                  <a:lnTo>
                    <a:pt x="3725" y="8977"/>
                  </a:lnTo>
                  <a:lnTo>
                    <a:pt x="3830" y="8998"/>
                  </a:lnTo>
                  <a:lnTo>
                    <a:pt x="3872" y="9061"/>
                  </a:lnTo>
                  <a:lnTo>
                    <a:pt x="3893" y="9165"/>
                  </a:lnTo>
                  <a:lnTo>
                    <a:pt x="3976" y="9207"/>
                  </a:lnTo>
                  <a:lnTo>
                    <a:pt x="4165" y="9186"/>
                  </a:lnTo>
                  <a:lnTo>
                    <a:pt x="4206" y="9144"/>
                  </a:lnTo>
                  <a:lnTo>
                    <a:pt x="4186" y="9207"/>
                  </a:lnTo>
                  <a:lnTo>
                    <a:pt x="4269" y="9354"/>
                  </a:lnTo>
                  <a:lnTo>
                    <a:pt x="4458" y="9416"/>
                  </a:lnTo>
                  <a:lnTo>
                    <a:pt x="4562" y="9500"/>
                  </a:lnTo>
                  <a:lnTo>
                    <a:pt x="4562" y="9605"/>
                  </a:lnTo>
                  <a:lnTo>
                    <a:pt x="4667" y="9667"/>
                  </a:lnTo>
                  <a:lnTo>
                    <a:pt x="4792" y="9709"/>
                  </a:lnTo>
                  <a:lnTo>
                    <a:pt x="4834" y="9688"/>
                  </a:lnTo>
                  <a:lnTo>
                    <a:pt x="4939" y="9709"/>
                  </a:lnTo>
                  <a:lnTo>
                    <a:pt x="5148" y="9835"/>
                  </a:lnTo>
                  <a:lnTo>
                    <a:pt x="5315" y="9919"/>
                  </a:lnTo>
                  <a:lnTo>
                    <a:pt x="5420" y="9919"/>
                  </a:lnTo>
                  <a:lnTo>
                    <a:pt x="5462" y="9939"/>
                  </a:lnTo>
                  <a:lnTo>
                    <a:pt x="5504" y="10023"/>
                  </a:lnTo>
                  <a:lnTo>
                    <a:pt x="5650" y="10128"/>
                  </a:lnTo>
                  <a:lnTo>
                    <a:pt x="5755" y="10191"/>
                  </a:lnTo>
                  <a:lnTo>
                    <a:pt x="5859" y="10316"/>
                  </a:lnTo>
                  <a:lnTo>
                    <a:pt x="5943" y="10337"/>
                  </a:lnTo>
                  <a:lnTo>
                    <a:pt x="5985" y="10421"/>
                  </a:lnTo>
                  <a:lnTo>
                    <a:pt x="5964" y="10463"/>
                  </a:lnTo>
                  <a:lnTo>
                    <a:pt x="5964" y="10546"/>
                  </a:lnTo>
                  <a:lnTo>
                    <a:pt x="6090" y="10567"/>
                  </a:lnTo>
                  <a:lnTo>
                    <a:pt x="6236" y="10630"/>
                  </a:lnTo>
                  <a:lnTo>
                    <a:pt x="6403" y="10776"/>
                  </a:lnTo>
                  <a:lnTo>
                    <a:pt x="6550" y="10944"/>
                  </a:lnTo>
                  <a:lnTo>
                    <a:pt x="6655" y="10965"/>
                  </a:lnTo>
                  <a:lnTo>
                    <a:pt x="6675" y="10986"/>
                  </a:lnTo>
                  <a:lnTo>
                    <a:pt x="6801" y="10923"/>
                  </a:lnTo>
                  <a:lnTo>
                    <a:pt x="6927" y="10839"/>
                  </a:lnTo>
                  <a:lnTo>
                    <a:pt x="7010" y="10839"/>
                  </a:lnTo>
                  <a:lnTo>
                    <a:pt x="7115" y="10776"/>
                  </a:lnTo>
                  <a:lnTo>
                    <a:pt x="7178" y="10672"/>
                  </a:lnTo>
                  <a:lnTo>
                    <a:pt x="7073" y="10567"/>
                  </a:lnTo>
                  <a:lnTo>
                    <a:pt x="7094" y="10463"/>
                  </a:lnTo>
                  <a:lnTo>
                    <a:pt x="7136" y="10400"/>
                  </a:lnTo>
                  <a:lnTo>
                    <a:pt x="7240" y="10421"/>
                  </a:lnTo>
                  <a:lnTo>
                    <a:pt x="7219" y="10337"/>
                  </a:lnTo>
                  <a:lnTo>
                    <a:pt x="7136" y="10316"/>
                  </a:lnTo>
                  <a:lnTo>
                    <a:pt x="7094" y="10253"/>
                  </a:lnTo>
                  <a:lnTo>
                    <a:pt x="7199" y="10086"/>
                  </a:lnTo>
                  <a:lnTo>
                    <a:pt x="7324" y="10002"/>
                  </a:lnTo>
                  <a:lnTo>
                    <a:pt x="7429" y="9835"/>
                  </a:lnTo>
                  <a:lnTo>
                    <a:pt x="7450" y="9709"/>
                  </a:lnTo>
                  <a:lnTo>
                    <a:pt x="7282" y="9312"/>
                  </a:lnTo>
                  <a:lnTo>
                    <a:pt x="7324" y="9207"/>
                  </a:lnTo>
                  <a:lnTo>
                    <a:pt x="7324" y="9082"/>
                  </a:lnTo>
                  <a:lnTo>
                    <a:pt x="7303" y="8998"/>
                  </a:lnTo>
                  <a:lnTo>
                    <a:pt x="7282" y="8872"/>
                  </a:lnTo>
                  <a:lnTo>
                    <a:pt x="7324" y="8789"/>
                  </a:lnTo>
                  <a:lnTo>
                    <a:pt x="7387" y="8621"/>
                  </a:lnTo>
                  <a:lnTo>
                    <a:pt x="7345" y="8245"/>
                  </a:lnTo>
                  <a:lnTo>
                    <a:pt x="7303" y="8098"/>
                  </a:lnTo>
                  <a:lnTo>
                    <a:pt x="7387" y="7910"/>
                  </a:lnTo>
                  <a:lnTo>
                    <a:pt x="7387" y="7491"/>
                  </a:lnTo>
                  <a:lnTo>
                    <a:pt x="7450" y="7324"/>
                  </a:lnTo>
                  <a:lnTo>
                    <a:pt x="7450" y="7261"/>
                  </a:lnTo>
                  <a:lnTo>
                    <a:pt x="6927" y="6487"/>
                  </a:lnTo>
                  <a:lnTo>
                    <a:pt x="6906" y="6487"/>
                  </a:lnTo>
                  <a:lnTo>
                    <a:pt x="6864" y="6466"/>
                  </a:lnTo>
                  <a:lnTo>
                    <a:pt x="6675" y="6466"/>
                  </a:lnTo>
                  <a:lnTo>
                    <a:pt x="6571" y="6529"/>
                  </a:lnTo>
                  <a:lnTo>
                    <a:pt x="6445" y="6529"/>
                  </a:lnTo>
                  <a:lnTo>
                    <a:pt x="6383" y="6466"/>
                  </a:lnTo>
                  <a:lnTo>
                    <a:pt x="6362" y="6341"/>
                  </a:lnTo>
                  <a:lnTo>
                    <a:pt x="6341" y="6006"/>
                  </a:lnTo>
                  <a:lnTo>
                    <a:pt x="6341" y="5797"/>
                  </a:lnTo>
                  <a:lnTo>
                    <a:pt x="6383" y="5734"/>
                  </a:lnTo>
                  <a:lnTo>
                    <a:pt x="6403" y="5608"/>
                  </a:lnTo>
                  <a:lnTo>
                    <a:pt x="6362" y="5545"/>
                  </a:lnTo>
                  <a:lnTo>
                    <a:pt x="6152" y="5650"/>
                  </a:lnTo>
                  <a:lnTo>
                    <a:pt x="5922" y="5901"/>
                  </a:lnTo>
                  <a:lnTo>
                    <a:pt x="5608" y="5859"/>
                  </a:lnTo>
                  <a:lnTo>
                    <a:pt x="5357" y="5859"/>
                  </a:lnTo>
                  <a:lnTo>
                    <a:pt x="5315" y="5713"/>
                  </a:lnTo>
                  <a:lnTo>
                    <a:pt x="5211" y="5525"/>
                  </a:lnTo>
                  <a:lnTo>
                    <a:pt x="5023" y="5483"/>
                  </a:lnTo>
                  <a:lnTo>
                    <a:pt x="4688" y="5525"/>
                  </a:lnTo>
                  <a:lnTo>
                    <a:pt x="4813" y="5336"/>
                  </a:lnTo>
                  <a:lnTo>
                    <a:pt x="4520" y="4876"/>
                  </a:lnTo>
                  <a:lnTo>
                    <a:pt x="4374" y="4709"/>
                  </a:lnTo>
                  <a:lnTo>
                    <a:pt x="4395" y="4646"/>
                  </a:lnTo>
                  <a:lnTo>
                    <a:pt x="4374" y="4541"/>
                  </a:lnTo>
                  <a:lnTo>
                    <a:pt x="4416" y="4437"/>
                  </a:lnTo>
                  <a:lnTo>
                    <a:pt x="4416" y="4290"/>
                  </a:lnTo>
                  <a:lnTo>
                    <a:pt x="4395" y="4227"/>
                  </a:lnTo>
                  <a:lnTo>
                    <a:pt x="4458" y="4165"/>
                  </a:lnTo>
                  <a:lnTo>
                    <a:pt x="4458" y="4039"/>
                  </a:lnTo>
                  <a:lnTo>
                    <a:pt x="4625" y="3934"/>
                  </a:lnTo>
                  <a:lnTo>
                    <a:pt x="4709" y="3955"/>
                  </a:lnTo>
                  <a:lnTo>
                    <a:pt x="4792" y="3851"/>
                  </a:lnTo>
                  <a:lnTo>
                    <a:pt x="4730" y="3746"/>
                  </a:lnTo>
                  <a:lnTo>
                    <a:pt x="4688" y="3558"/>
                  </a:lnTo>
                  <a:lnTo>
                    <a:pt x="4834" y="3411"/>
                  </a:lnTo>
                  <a:lnTo>
                    <a:pt x="4813" y="3307"/>
                  </a:lnTo>
                  <a:lnTo>
                    <a:pt x="4897" y="3223"/>
                  </a:lnTo>
                  <a:lnTo>
                    <a:pt x="4876" y="3076"/>
                  </a:lnTo>
                  <a:lnTo>
                    <a:pt x="4981" y="3014"/>
                  </a:lnTo>
                  <a:lnTo>
                    <a:pt x="5106" y="2930"/>
                  </a:lnTo>
                  <a:lnTo>
                    <a:pt x="5232" y="2825"/>
                  </a:lnTo>
                  <a:lnTo>
                    <a:pt x="5295" y="2804"/>
                  </a:lnTo>
                  <a:lnTo>
                    <a:pt x="5357" y="2721"/>
                  </a:lnTo>
                  <a:lnTo>
                    <a:pt x="5650" y="2679"/>
                  </a:lnTo>
                  <a:lnTo>
                    <a:pt x="6069" y="2553"/>
                  </a:lnTo>
                  <a:lnTo>
                    <a:pt x="6090" y="2449"/>
                  </a:lnTo>
                  <a:lnTo>
                    <a:pt x="6152" y="2470"/>
                  </a:lnTo>
                  <a:lnTo>
                    <a:pt x="6299" y="2470"/>
                  </a:lnTo>
                  <a:lnTo>
                    <a:pt x="6445" y="2553"/>
                  </a:lnTo>
                  <a:lnTo>
                    <a:pt x="6445" y="2574"/>
                  </a:lnTo>
                  <a:lnTo>
                    <a:pt x="6550" y="2595"/>
                  </a:lnTo>
                  <a:lnTo>
                    <a:pt x="6592" y="2512"/>
                  </a:lnTo>
                  <a:lnTo>
                    <a:pt x="6592" y="2470"/>
                  </a:lnTo>
                  <a:lnTo>
                    <a:pt x="6571" y="2344"/>
                  </a:lnTo>
                  <a:lnTo>
                    <a:pt x="6466" y="2260"/>
                  </a:lnTo>
                  <a:lnTo>
                    <a:pt x="6341" y="2260"/>
                  </a:lnTo>
                  <a:lnTo>
                    <a:pt x="6194" y="2281"/>
                  </a:lnTo>
                  <a:lnTo>
                    <a:pt x="6173" y="2198"/>
                  </a:lnTo>
                  <a:lnTo>
                    <a:pt x="6550" y="1570"/>
                  </a:lnTo>
                  <a:lnTo>
                    <a:pt x="6550" y="1507"/>
                  </a:lnTo>
                  <a:lnTo>
                    <a:pt x="6445" y="1528"/>
                  </a:lnTo>
                  <a:lnTo>
                    <a:pt x="6362" y="1444"/>
                  </a:lnTo>
                  <a:lnTo>
                    <a:pt x="6257" y="1403"/>
                  </a:lnTo>
                  <a:lnTo>
                    <a:pt x="6173" y="1403"/>
                  </a:lnTo>
                  <a:lnTo>
                    <a:pt x="6131" y="1319"/>
                  </a:lnTo>
                  <a:lnTo>
                    <a:pt x="6027" y="1319"/>
                  </a:lnTo>
                  <a:lnTo>
                    <a:pt x="5839" y="1424"/>
                  </a:lnTo>
                  <a:lnTo>
                    <a:pt x="5671" y="1340"/>
                  </a:lnTo>
                  <a:lnTo>
                    <a:pt x="5525" y="1319"/>
                  </a:lnTo>
                  <a:lnTo>
                    <a:pt x="5336" y="1403"/>
                  </a:lnTo>
                  <a:lnTo>
                    <a:pt x="5295" y="1444"/>
                  </a:lnTo>
                  <a:lnTo>
                    <a:pt x="5148" y="1444"/>
                  </a:lnTo>
                  <a:lnTo>
                    <a:pt x="5043" y="1424"/>
                  </a:lnTo>
                  <a:lnTo>
                    <a:pt x="4918" y="1444"/>
                  </a:lnTo>
                  <a:lnTo>
                    <a:pt x="4813" y="1424"/>
                  </a:lnTo>
                  <a:lnTo>
                    <a:pt x="4792" y="1340"/>
                  </a:lnTo>
                  <a:lnTo>
                    <a:pt x="4813" y="1256"/>
                  </a:lnTo>
                  <a:lnTo>
                    <a:pt x="4792" y="1131"/>
                  </a:lnTo>
                  <a:lnTo>
                    <a:pt x="4688" y="1089"/>
                  </a:lnTo>
                  <a:lnTo>
                    <a:pt x="4625" y="1089"/>
                  </a:lnTo>
                  <a:lnTo>
                    <a:pt x="4625" y="921"/>
                  </a:lnTo>
                  <a:lnTo>
                    <a:pt x="4520" y="775"/>
                  </a:lnTo>
                  <a:lnTo>
                    <a:pt x="4269" y="670"/>
                  </a:lnTo>
                  <a:lnTo>
                    <a:pt x="4186" y="670"/>
                  </a:lnTo>
                  <a:lnTo>
                    <a:pt x="4081" y="482"/>
                  </a:lnTo>
                  <a:lnTo>
                    <a:pt x="4081" y="377"/>
                  </a:lnTo>
                  <a:lnTo>
                    <a:pt x="3934" y="210"/>
                  </a:lnTo>
                  <a:lnTo>
                    <a:pt x="3893" y="168"/>
                  </a:lnTo>
                  <a:lnTo>
                    <a:pt x="3767" y="147"/>
                  </a:lnTo>
                  <a:lnTo>
                    <a:pt x="3558" y="84"/>
                  </a:lnTo>
                  <a:lnTo>
                    <a:pt x="351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2" name="Google Shape;1992;p66"/>
            <p:cNvSpPr/>
            <p:nvPr/>
          </p:nvSpPr>
          <p:spPr>
            <a:xfrm>
              <a:off x="3275452" y="3211250"/>
              <a:ext cx="85722" cy="91389"/>
            </a:xfrm>
            <a:custGeom>
              <a:avLst/>
              <a:gdLst/>
              <a:ahLst/>
              <a:cxnLst/>
              <a:rect l="l" t="t" r="r" b="b"/>
              <a:pathLst>
                <a:path w="7199" h="8036" extrusionOk="0">
                  <a:moveTo>
                    <a:pt x="1967" y="1"/>
                  </a:moveTo>
                  <a:lnTo>
                    <a:pt x="1779" y="85"/>
                  </a:lnTo>
                  <a:lnTo>
                    <a:pt x="1612" y="126"/>
                  </a:lnTo>
                  <a:lnTo>
                    <a:pt x="1319" y="294"/>
                  </a:lnTo>
                  <a:lnTo>
                    <a:pt x="1235" y="545"/>
                  </a:lnTo>
                  <a:lnTo>
                    <a:pt x="1047" y="608"/>
                  </a:lnTo>
                  <a:lnTo>
                    <a:pt x="921" y="608"/>
                  </a:lnTo>
                  <a:lnTo>
                    <a:pt x="796" y="712"/>
                  </a:lnTo>
                  <a:lnTo>
                    <a:pt x="712" y="712"/>
                  </a:lnTo>
                  <a:lnTo>
                    <a:pt x="524" y="775"/>
                  </a:lnTo>
                  <a:lnTo>
                    <a:pt x="1" y="775"/>
                  </a:lnTo>
                  <a:lnTo>
                    <a:pt x="524" y="1549"/>
                  </a:lnTo>
                  <a:lnTo>
                    <a:pt x="524" y="1612"/>
                  </a:lnTo>
                  <a:lnTo>
                    <a:pt x="461" y="1779"/>
                  </a:lnTo>
                  <a:lnTo>
                    <a:pt x="461" y="2198"/>
                  </a:lnTo>
                  <a:lnTo>
                    <a:pt x="377" y="2386"/>
                  </a:lnTo>
                  <a:lnTo>
                    <a:pt x="419" y="2533"/>
                  </a:lnTo>
                  <a:lnTo>
                    <a:pt x="461" y="2909"/>
                  </a:lnTo>
                  <a:lnTo>
                    <a:pt x="398" y="3077"/>
                  </a:lnTo>
                  <a:lnTo>
                    <a:pt x="356" y="3160"/>
                  </a:lnTo>
                  <a:lnTo>
                    <a:pt x="377" y="3286"/>
                  </a:lnTo>
                  <a:lnTo>
                    <a:pt x="398" y="3370"/>
                  </a:lnTo>
                  <a:lnTo>
                    <a:pt x="398" y="3495"/>
                  </a:lnTo>
                  <a:lnTo>
                    <a:pt x="356" y="3600"/>
                  </a:lnTo>
                  <a:lnTo>
                    <a:pt x="524" y="3997"/>
                  </a:lnTo>
                  <a:lnTo>
                    <a:pt x="503" y="4123"/>
                  </a:lnTo>
                  <a:lnTo>
                    <a:pt x="398" y="4290"/>
                  </a:lnTo>
                  <a:lnTo>
                    <a:pt x="273" y="4374"/>
                  </a:lnTo>
                  <a:lnTo>
                    <a:pt x="168" y="4541"/>
                  </a:lnTo>
                  <a:lnTo>
                    <a:pt x="210" y="4604"/>
                  </a:lnTo>
                  <a:lnTo>
                    <a:pt x="293" y="4625"/>
                  </a:lnTo>
                  <a:lnTo>
                    <a:pt x="314" y="4709"/>
                  </a:lnTo>
                  <a:lnTo>
                    <a:pt x="356" y="4709"/>
                  </a:lnTo>
                  <a:lnTo>
                    <a:pt x="356" y="4834"/>
                  </a:lnTo>
                  <a:lnTo>
                    <a:pt x="482" y="4939"/>
                  </a:lnTo>
                  <a:lnTo>
                    <a:pt x="524" y="5002"/>
                  </a:lnTo>
                  <a:lnTo>
                    <a:pt x="565" y="5127"/>
                  </a:lnTo>
                  <a:lnTo>
                    <a:pt x="524" y="5232"/>
                  </a:lnTo>
                  <a:lnTo>
                    <a:pt x="524" y="5274"/>
                  </a:lnTo>
                  <a:lnTo>
                    <a:pt x="586" y="5483"/>
                  </a:lnTo>
                  <a:lnTo>
                    <a:pt x="670" y="5629"/>
                  </a:lnTo>
                  <a:lnTo>
                    <a:pt x="921" y="5839"/>
                  </a:lnTo>
                  <a:lnTo>
                    <a:pt x="942" y="5901"/>
                  </a:lnTo>
                  <a:lnTo>
                    <a:pt x="879" y="6090"/>
                  </a:lnTo>
                  <a:lnTo>
                    <a:pt x="921" y="6194"/>
                  </a:lnTo>
                  <a:lnTo>
                    <a:pt x="775" y="6508"/>
                  </a:lnTo>
                  <a:lnTo>
                    <a:pt x="879" y="6613"/>
                  </a:lnTo>
                  <a:lnTo>
                    <a:pt x="1130" y="6885"/>
                  </a:lnTo>
                  <a:lnTo>
                    <a:pt x="1570" y="8036"/>
                  </a:lnTo>
                  <a:lnTo>
                    <a:pt x="1737" y="8036"/>
                  </a:lnTo>
                  <a:lnTo>
                    <a:pt x="1758" y="7952"/>
                  </a:lnTo>
                  <a:lnTo>
                    <a:pt x="1863" y="7931"/>
                  </a:lnTo>
                  <a:lnTo>
                    <a:pt x="1863" y="7952"/>
                  </a:lnTo>
                  <a:lnTo>
                    <a:pt x="1946" y="7847"/>
                  </a:lnTo>
                  <a:lnTo>
                    <a:pt x="2051" y="7638"/>
                  </a:lnTo>
                  <a:lnTo>
                    <a:pt x="2260" y="7408"/>
                  </a:lnTo>
                  <a:lnTo>
                    <a:pt x="2407" y="7345"/>
                  </a:lnTo>
                  <a:lnTo>
                    <a:pt x="2553" y="7471"/>
                  </a:lnTo>
                  <a:lnTo>
                    <a:pt x="2721" y="7450"/>
                  </a:lnTo>
                  <a:lnTo>
                    <a:pt x="2804" y="7429"/>
                  </a:lnTo>
                  <a:lnTo>
                    <a:pt x="2930" y="7471"/>
                  </a:lnTo>
                  <a:lnTo>
                    <a:pt x="3139" y="7429"/>
                  </a:lnTo>
                  <a:lnTo>
                    <a:pt x="3244" y="7450"/>
                  </a:lnTo>
                  <a:lnTo>
                    <a:pt x="3286" y="7575"/>
                  </a:lnTo>
                  <a:lnTo>
                    <a:pt x="3348" y="7847"/>
                  </a:lnTo>
                  <a:lnTo>
                    <a:pt x="3411" y="7889"/>
                  </a:lnTo>
                  <a:lnTo>
                    <a:pt x="3453" y="7847"/>
                  </a:lnTo>
                  <a:lnTo>
                    <a:pt x="3453" y="7743"/>
                  </a:lnTo>
                  <a:lnTo>
                    <a:pt x="3516" y="7617"/>
                  </a:lnTo>
                  <a:lnTo>
                    <a:pt x="3516" y="7512"/>
                  </a:lnTo>
                  <a:lnTo>
                    <a:pt x="3620" y="7366"/>
                  </a:lnTo>
                  <a:lnTo>
                    <a:pt x="4227" y="7366"/>
                  </a:lnTo>
                  <a:lnTo>
                    <a:pt x="4353" y="7471"/>
                  </a:lnTo>
                  <a:lnTo>
                    <a:pt x="4374" y="7303"/>
                  </a:lnTo>
                  <a:lnTo>
                    <a:pt x="4541" y="6989"/>
                  </a:lnTo>
                  <a:lnTo>
                    <a:pt x="4562" y="6822"/>
                  </a:lnTo>
                  <a:lnTo>
                    <a:pt x="4541" y="6675"/>
                  </a:lnTo>
                  <a:lnTo>
                    <a:pt x="4478" y="6592"/>
                  </a:lnTo>
                  <a:lnTo>
                    <a:pt x="4667" y="6299"/>
                  </a:lnTo>
                  <a:lnTo>
                    <a:pt x="4750" y="6090"/>
                  </a:lnTo>
                  <a:lnTo>
                    <a:pt x="4750" y="5985"/>
                  </a:lnTo>
                  <a:lnTo>
                    <a:pt x="4876" y="5901"/>
                  </a:lnTo>
                  <a:lnTo>
                    <a:pt x="5650" y="5692"/>
                  </a:lnTo>
                  <a:lnTo>
                    <a:pt x="6319" y="5692"/>
                  </a:lnTo>
                  <a:lnTo>
                    <a:pt x="6696" y="5985"/>
                  </a:lnTo>
                  <a:lnTo>
                    <a:pt x="6780" y="5985"/>
                  </a:lnTo>
                  <a:lnTo>
                    <a:pt x="6864" y="6069"/>
                  </a:lnTo>
                  <a:lnTo>
                    <a:pt x="6926" y="5964"/>
                  </a:lnTo>
                  <a:lnTo>
                    <a:pt x="6905" y="5880"/>
                  </a:lnTo>
                  <a:lnTo>
                    <a:pt x="7198" y="5315"/>
                  </a:lnTo>
                  <a:lnTo>
                    <a:pt x="7177" y="5043"/>
                  </a:lnTo>
                  <a:lnTo>
                    <a:pt x="6884" y="4499"/>
                  </a:lnTo>
                  <a:lnTo>
                    <a:pt x="6571" y="4437"/>
                  </a:lnTo>
                  <a:lnTo>
                    <a:pt x="6591" y="4207"/>
                  </a:lnTo>
                  <a:lnTo>
                    <a:pt x="6550" y="3851"/>
                  </a:lnTo>
                  <a:lnTo>
                    <a:pt x="5524" y="3809"/>
                  </a:lnTo>
                  <a:lnTo>
                    <a:pt x="5545" y="3558"/>
                  </a:lnTo>
                  <a:lnTo>
                    <a:pt x="5315" y="3181"/>
                  </a:lnTo>
                  <a:lnTo>
                    <a:pt x="5399" y="3056"/>
                  </a:lnTo>
                  <a:lnTo>
                    <a:pt x="5336" y="2846"/>
                  </a:lnTo>
                  <a:lnTo>
                    <a:pt x="5378" y="2554"/>
                  </a:lnTo>
                  <a:lnTo>
                    <a:pt x="5315" y="2491"/>
                  </a:lnTo>
                  <a:lnTo>
                    <a:pt x="5106" y="2323"/>
                  </a:lnTo>
                  <a:lnTo>
                    <a:pt x="4771" y="2386"/>
                  </a:lnTo>
                  <a:lnTo>
                    <a:pt x="4604" y="2302"/>
                  </a:lnTo>
                  <a:lnTo>
                    <a:pt x="4499" y="2240"/>
                  </a:lnTo>
                  <a:lnTo>
                    <a:pt x="4457" y="2093"/>
                  </a:lnTo>
                  <a:lnTo>
                    <a:pt x="4290" y="2030"/>
                  </a:lnTo>
                  <a:lnTo>
                    <a:pt x="4060" y="1968"/>
                  </a:lnTo>
                  <a:lnTo>
                    <a:pt x="3955" y="1968"/>
                  </a:lnTo>
                  <a:lnTo>
                    <a:pt x="3746" y="1717"/>
                  </a:lnTo>
                  <a:lnTo>
                    <a:pt x="3620" y="1779"/>
                  </a:lnTo>
                  <a:lnTo>
                    <a:pt x="3411" y="1570"/>
                  </a:lnTo>
                  <a:lnTo>
                    <a:pt x="3181" y="1612"/>
                  </a:lnTo>
                  <a:lnTo>
                    <a:pt x="3118" y="1696"/>
                  </a:lnTo>
                  <a:lnTo>
                    <a:pt x="2993" y="1570"/>
                  </a:lnTo>
                  <a:lnTo>
                    <a:pt x="2804" y="1466"/>
                  </a:lnTo>
                  <a:lnTo>
                    <a:pt x="2679" y="1382"/>
                  </a:lnTo>
                  <a:lnTo>
                    <a:pt x="2616" y="1235"/>
                  </a:lnTo>
                  <a:lnTo>
                    <a:pt x="2490" y="1152"/>
                  </a:lnTo>
                  <a:lnTo>
                    <a:pt x="2407" y="942"/>
                  </a:lnTo>
                  <a:lnTo>
                    <a:pt x="2449" y="838"/>
                  </a:lnTo>
                  <a:lnTo>
                    <a:pt x="2386" y="545"/>
                  </a:lnTo>
                  <a:lnTo>
                    <a:pt x="2470" y="398"/>
                  </a:lnTo>
                  <a:lnTo>
                    <a:pt x="2407" y="189"/>
                  </a:lnTo>
                  <a:lnTo>
                    <a:pt x="2407" y="43"/>
                  </a:lnTo>
                  <a:lnTo>
                    <a:pt x="2365" y="1"/>
                  </a:lnTo>
                  <a:lnTo>
                    <a:pt x="2239" y="85"/>
                  </a:lnTo>
                  <a:lnTo>
                    <a:pt x="209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sp>
          <p:nvSpPr>
            <p:cNvPr id="1993" name="Google Shape;1993;p66"/>
            <p:cNvSpPr/>
            <p:nvPr/>
          </p:nvSpPr>
          <p:spPr>
            <a:xfrm>
              <a:off x="3327273" y="3275982"/>
              <a:ext cx="58811" cy="59262"/>
            </a:xfrm>
            <a:custGeom>
              <a:avLst/>
              <a:gdLst/>
              <a:ahLst/>
              <a:cxnLst/>
              <a:rect l="l" t="t" r="r" b="b"/>
              <a:pathLst>
                <a:path w="4939" h="5211" extrusionOk="0">
                  <a:moveTo>
                    <a:pt x="1298" y="0"/>
                  </a:moveTo>
                  <a:lnTo>
                    <a:pt x="524" y="209"/>
                  </a:lnTo>
                  <a:lnTo>
                    <a:pt x="398" y="293"/>
                  </a:lnTo>
                  <a:lnTo>
                    <a:pt x="398" y="398"/>
                  </a:lnTo>
                  <a:lnTo>
                    <a:pt x="315" y="607"/>
                  </a:lnTo>
                  <a:lnTo>
                    <a:pt x="126" y="900"/>
                  </a:lnTo>
                  <a:lnTo>
                    <a:pt x="189" y="983"/>
                  </a:lnTo>
                  <a:lnTo>
                    <a:pt x="210" y="1130"/>
                  </a:lnTo>
                  <a:lnTo>
                    <a:pt x="189" y="1297"/>
                  </a:lnTo>
                  <a:lnTo>
                    <a:pt x="22" y="1611"/>
                  </a:lnTo>
                  <a:lnTo>
                    <a:pt x="1" y="1779"/>
                  </a:lnTo>
                  <a:lnTo>
                    <a:pt x="1" y="1820"/>
                  </a:lnTo>
                  <a:lnTo>
                    <a:pt x="126" y="1946"/>
                  </a:lnTo>
                  <a:lnTo>
                    <a:pt x="231" y="1967"/>
                  </a:lnTo>
                  <a:lnTo>
                    <a:pt x="398" y="2239"/>
                  </a:lnTo>
                  <a:lnTo>
                    <a:pt x="754" y="2595"/>
                  </a:lnTo>
                  <a:lnTo>
                    <a:pt x="879" y="2595"/>
                  </a:lnTo>
                  <a:lnTo>
                    <a:pt x="1026" y="2720"/>
                  </a:lnTo>
                  <a:lnTo>
                    <a:pt x="1131" y="2888"/>
                  </a:lnTo>
                  <a:lnTo>
                    <a:pt x="1465" y="2971"/>
                  </a:lnTo>
                  <a:lnTo>
                    <a:pt x="1695" y="3097"/>
                  </a:lnTo>
                  <a:lnTo>
                    <a:pt x="1800" y="3097"/>
                  </a:lnTo>
                  <a:lnTo>
                    <a:pt x="2030" y="3327"/>
                  </a:lnTo>
                  <a:lnTo>
                    <a:pt x="2302" y="3452"/>
                  </a:lnTo>
                  <a:lnTo>
                    <a:pt x="2637" y="3515"/>
                  </a:lnTo>
                  <a:lnTo>
                    <a:pt x="2804" y="3641"/>
                  </a:lnTo>
                  <a:lnTo>
                    <a:pt x="2951" y="3808"/>
                  </a:lnTo>
                  <a:lnTo>
                    <a:pt x="3035" y="3934"/>
                  </a:lnTo>
                  <a:lnTo>
                    <a:pt x="2972" y="4059"/>
                  </a:lnTo>
                  <a:lnTo>
                    <a:pt x="2909" y="4185"/>
                  </a:lnTo>
                  <a:lnTo>
                    <a:pt x="2804" y="4269"/>
                  </a:lnTo>
                  <a:lnTo>
                    <a:pt x="2742" y="4373"/>
                  </a:lnTo>
                  <a:lnTo>
                    <a:pt x="2763" y="4478"/>
                  </a:lnTo>
                  <a:lnTo>
                    <a:pt x="2700" y="4708"/>
                  </a:lnTo>
                  <a:lnTo>
                    <a:pt x="2512" y="4896"/>
                  </a:lnTo>
                  <a:lnTo>
                    <a:pt x="2491" y="5022"/>
                  </a:lnTo>
                  <a:lnTo>
                    <a:pt x="2574" y="5022"/>
                  </a:lnTo>
                  <a:lnTo>
                    <a:pt x="2972" y="4959"/>
                  </a:lnTo>
                  <a:lnTo>
                    <a:pt x="3328" y="5064"/>
                  </a:lnTo>
                  <a:lnTo>
                    <a:pt x="3579" y="5210"/>
                  </a:lnTo>
                  <a:lnTo>
                    <a:pt x="3704" y="5168"/>
                  </a:lnTo>
                  <a:lnTo>
                    <a:pt x="3788" y="5168"/>
                  </a:lnTo>
                  <a:lnTo>
                    <a:pt x="3851" y="5210"/>
                  </a:lnTo>
                  <a:lnTo>
                    <a:pt x="3955" y="5064"/>
                  </a:lnTo>
                  <a:lnTo>
                    <a:pt x="3997" y="5022"/>
                  </a:lnTo>
                  <a:lnTo>
                    <a:pt x="4123" y="5085"/>
                  </a:lnTo>
                  <a:lnTo>
                    <a:pt x="4227" y="4959"/>
                  </a:lnTo>
                  <a:lnTo>
                    <a:pt x="4290" y="4792"/>
                  </a:lnTo>
                  <a:lnTo>
                    <a:pt x="4541" y="4603"/>
                  </a:lnTo>
                  <a:lnTo>
                    <a:pt x="4583" y="4478"/>
                  </a:lnTo>
                  <a:lnTo>
                    <a:pt x="4646" y="4352"/>
                  </a:lnTo>
                  <a:lnTo>
                    <a:pt x="4750" y="4248"/>
                  </a:lnTo>
                  <a:lnTo>
                    <a:pt x="4792" y="4038"/>
                  </a:lnTo>
                  <a:lnTo>
                    <a:pt x="4750" y="3976"/>
                  </a:lnTo>
                  <a:lnTo>
                    <a:pt x="4750" y="3829"/>
                  </a:lnTo>
                  <a:lnTo>
                    <a:pt x="4813" y="3808"/>
                  </a:lnTo>
                  <a:lnTo>
                    <a:pt x="4813" y="3724"/>
                  </a:lnTo>
                  <a:lnTo>
                    <a:pt x="4813" y="3662"/>
                  </a:lnTo>
                  <a:lnTo>
                    <a:pt x="4813" y="3599"/>
                  </a:lnTo>
                  <a:lnTo>
                    <a:pt x="4834" y="3599"/>
                  </a:lnTo>
                  <a:lnTo>
                    <a:pt x="4855" y="3515"/>
                  </a:lnTo>
                  <a:lnTo>
                    <a:pt x="4855" y="2971"/>
                  </a:lnTo>
                  <a:lnTo>
                    <a:pt x="4939" y="2888"/>
                  </a:lnTo>
                  <a:lnTo>
                    <a:pt x="4834" y="2867"/>
                  </a:lnTo>
                  <a:lnTo>
                    <a:pt x="4750" y="2783"/>
                  </a:lnTo>
                  <a:lnTo>
                    <a:pt x="4625" y="2720"/>
                  </a:lnTo>
                  <a:lnTo>
                    <a:pt x="4395" y="2867"/>
                  </a:lnTo>
                  <a:lnTo>
                    <a:pt x="4290" y="2825"/>
                  </a:lnTo>
                  <a:lnTo>
                    <a:pt x="4206" y="2616"/>
                  </a:lnTo>
                  <a:lnTo>
                    <a:pt x="4060" y="1988"/>
                  </a:lnTo>
                  <a:lnTo>
                    <a:pt x="4018" y="1862"/>
                  </a:lnTo>
                  <a:lnTo>
                    <a:pt x="3892" y="1820"/>
                  </a:lnTo>
                  <a:lnTo>
                    <a:pt x="3767" y="1716"/>
                  </a:lnTo>
                  <a:lnTo>
                    <a:pt x="3495" y="1841"/>
                  </a:lnTo>
                  <a:lnTo>
                    <a:pt x="3328" y="1758"/>
                  </a:lnTo>
                  <a:lnTo>
                    <a:pt x="3056" y="1779"/>
                  </a:lnTo>
                  <a:lnTo>
                    <a:pt x="2972" y="1737"/>
                  </a:lnTo>
                  <a:lnTo>
                    <a:pt x="2763" y="1758"/>
                  </a:lnTo>
                  <a:lnTo>
                    <a:pt x="2721" y="1632"/>
                  </a:lnTo>
                  <a:lnTo>
                    <a:pt x="2763" y="1528"/>
                  </a:lnTo>
                  <a:lnTo>
                    <a:pt x="2721" y="1360"/>
                  </a:lnTo>
                  <a:lnTo>
                    <a:pt x="2763" y="1025"/>
                  </a:lnTo>
                  <a:lnTo>
                    <a:pt x="2658" y="837"/>
                  </a:lnTo>
                  <a:lnTo>
                    <a:pt x="2658" y="670"/>
                  </a:lnTo>
                  <a:lnTo>
                    <a:pt x="2512" y="565"/>
                  </a:lnTo>
                  <a:lnTo>
                    <a:pt x="2553" y="419"/>
                  </a:lnTo>
                  <a:lnTo>
                    <a:pt x="2428" y="293"/>
                  </a:lnTo>
                  <a:lnTo>
                    <a:pt x="2344" y="293"/>
                  </a:lnTo>
                  <a:lnTo>
                    <a:pt x="196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sp>
          <p:nvSpPr>
            <p:cNvPr id="1994" name="Google Shape;1994;p66"/>
            <p:cNvSpPr/>
            <p:nvPr/>
          </p:nvSpPr>
          <p:spPr>
            <a:xfrm>
              <a:off x="3363150" y="3352838"/>
              <a:ext cx="34889" cy="37848"/>
            </a:xfrm>
            <a:custGeom>
              <a:avLst/>
              <a:gdLst/>
              <a:ahLst/>
              <a:cxnLst/>
              <a:rect l="l" t="t" r="r" b="b"/>
              <a:pathLst>
                <a:path w="2930" h="3328" extrusionOk="0">
                  <a:moveTo>
                    <a:pt x="754" y="0"/>
                  </a:moveTo>
                  <a:lnTo>
                    <a:pt x="440" y="63"/>
                  </a:lnTo>
                  <a:lnTo>
                    <a:pt x="377" y="42"/>
                  </a:lnTo>
                  <a:lnTo>
                    <a:pt x="315" y="42"/>
                  </a:lnTo>
                  <a:lnTo>
                    <a:pt x="273" y="63"/>
                  </a:lnTo>
                  <a:lnTo>
                    <a:pt x="231" y="210"/>
                  </a:lnTo>
                  <a:lnTo>
                    <a:pt x="126" y="335"/>
                  </a:lnTo>
                  <a:lnTo>
                    <a:pt x="168" y="524"/>
                  </a:lnTo>
                  <a:lnTo>
                    <a:pt x="126" y="586"/>
                  </a:lnTo>
                  <a:lnTo>
                    <a:pt x="147" y="712"/>
                  </a:lnTo>
                  <a:lnTo>
                    <a:pt x="147" y="963"/>
                  </a:lnTo>
                  <a:lnTo>
                    <a:pt x="84" y="1047"/>
                  </a:lnTo>
                  <a:lnTo>
                    <a:pt x="84" y="1151"/>
                  </a:lnTo>
                  <a:lnTo>
                    <a:pt x="43" y="1277"/>
                  </a:lnTo>
                  <a:lnTo>
                    <a:pt x="84" y="1465"/>
                  </a:lnTo>
                  <a:lnTo>
                    <a:pt x="43" y="1507"/>
                  </a:lnTo>
                  <a:lnTo>
                    <a:pt x="63" y="1779"/>
                  </a:lnTo>
                  <a:lnTo>
                    <a:pt x="126" y="1967"/>
                  </a:lnTo>
                  <a:lnTo>
                    <a:pt x="84" y="2030"/>
                  </a:lnTo>
                  <a:lnTo>
                    <a:pt x="22" y="2114"/>
                  </a:lnTo>
                  <a:lnTo>
                    <a:pt x="1" y="2156"/>
                  </a:lnTo>
                  <a:lnTo>
                    <a:pt x="1" y="2428"/>
                  </a:lnTo>
                  <a:lnTo>
                    <a:pt x="63" y="2637"/>
                  </a:lnTo>
                  <a:lnTo>
                    <a:pt x="231" y="2867"/>
                  </a:lnTo>
                  <a:lnTo>
                    <a:pt x="315" y="2867"/>
                  </a:lnTo>
                  <a:lnTo>
                    <a:pt x="461" y="3034"/>
                  </a:lnTo>
                  <a:lnTo>
                    <a:pt x="545" y="3055"/>
                  </a:lnTo>
                  <a:lnTo>
                    <a:pt x="796" y="3034"/>
                  </a:lnTo>
                  <a:lnTo>
                    <a:pt x="963" y="3055"/>
                  </a:lnTo>
                  <a:lnTo>
                    <a:pt x="1089" y="3139"/>
                  </a:lnTo>
                  <a:lnTo>
                    <a:pt x="1172" y="3160"/>
                  </a:lnTo>
                  <a:lnTo>
                    <a:pt x="1277" y="3160"/>
                  </a:lnTo>
                  <a:lnTo>
                    <a:pt x="1298" y="3181"/>
                  </a:lnTo>
                  <a:lnTo>
                    <a:pt x="1277" y="3244"/>
                  </a:lnTo>
                  <a:lnTo>
                    <a:pt x="1277" y="3285"/>
                  </a:lnTo>
                  <a:lnTo>
                    <a:pt x="1382" y="3285"/>
                  </a:lnTo>
                  <a:lnTo>
                    <a:pt x="1507" y="3202"/>
                  </a:lnTo>
                  <a:lnTo>
                    <a:pt x="1654" y="3181"/>
                  </a:lnTo>
                  <a:lnTo>
                    <a:pt x="1800" y="3244"/>
                  </a:lnTo>
                  <a:lnTo>
                    <a:pt x="1842" y="3264"/>
                  </a:lnTo>
                  <a:lnTo>
                    <a:pt x="1926" y="3264"/>
                  </a:lnTo>
                  <a:lnTo>
                    <a:pt x="2009" y="3285"/>
                  </a:lnTo>
                  <a:lnTo>
                    <a:pt x="2093" y="3327"/>
                  </a:lnTo>
                  <a:lnTo>
                    <a:pt x="2135" y="3264"/>
                  </a:lnTo>
                  <a:lnTo>
                    <a:pt x="2156" y="3181"/>
                  </a:lnTo>
                  <a:lnTo>
                    <a:pt x="2177" y="3181"/>
                  </a:lnTo>
                  <a:lnTo>
                    <a:pt x="2239" y="3202"/>
                  </a:lnTo>
                  <a:lnTo>
                    <a:pt x="2449" y="3139"/>
                  </a:lnTo>
                  <a:lnTo>
                    <a:pt x="2574" y="2972"/>
                  </a:lnTo>
                  <a:lnTo>
                    <a:pt x="2637" y="2930"/>
                  </a:lnTo>
                  <a:lnTo>
                    <a:pt x="2616" y="2909"/>
                  </a:lnTo>
                  <a:lnTo>
                    <a:pt x="2658" y="2804"/>
                  </a:lnTo>
                  <a:lnTo>
                    <a:pt x="2784" y="2720"/>
                  </a:lnTo>
                  <a:lnTo>
                    <a:pt x="2784" y="2532"/>
                  </a:lnTo>
                  <a:lnTo>
                    <a:pt x="2867" y="2428"/>
                  </a:lnTo>
                  <a:lnTo>
                    <a:pt x="2930" y="2407"/>
                  </a:lnTo>
                  <a:lnTo>
                    <a:pt x="2888" y="2386"/>
                  </a:lnTo>
                  <a:lnTo>
                    <a:pt x="2825" y="2281"/>
                  </a:lnTo>
                  <a:lnTo>
                    <a:pt x="2784" y="2239"/>
                  </a:lnTo>
                  <a:lnTo>
                    <a:pt x="2784" y="2218"/>
                  </a:lnTo>
                  <a:lnTo>
                    <a:pt x="2742" y="2030"/>
                  </a:lnTo>
                  <a:lnTo>
                    <a:pt x="2846" y="1884"/>
                  </a:lnTo>
                  <a:lnTo>
                    <a:pt x="2867" y="1716"/>
                  </a:lnTo>
                  <a:lnTo>
                    <a:pt x="2742" y="1612"/>
                  </a:lnTo>
                  <a:lnTo>
                    <a:pt x="2574" y="1402"/>
                  </a:lnTo>
                  <a:lnTo>
                    <a:pt x="2449" y="1256"/>
                  </a:lnTo>
                  <a:lnTo>
                    <a:pt x="2239" y="1151"/>
                  </a:lnTo>
                  <a:lnTo>
                    <a:pt x="2114" y="1172"/>
                  </a:lnTo>
                  <a:lnTo>
                    <a:pt x="2114" y="1026"/>
                  </a:lnTo>
                  <a:lnTo>
                    <a:pt x="1988" y="879"/>
                  </a:lnTo>
                  <a:lnTo>
                    <a:pt x="1842" y="858"/>
                  </a:lnTo>
                  <a:lnTo>
                    <a:pt x="1695" y="775"/>
                  </a:lnTo>
                  <a:lnTo>
                    <a:pt x="1570" y="565"/>
                  </a:lnTo>
                  <a:lnTo>
                    <a:pt x="1486" y="565"/>
                  </a:lnTo>
                  <a:lnTo>
                    <a:pt x="1382" y="670"/>
                  </a:lnTo>
                  <a:lnTo>
                    <a:pt x="1319" y="670"/>
                  </a:lnTo>
                  <a:lnTo>
                    <a:pt x="1172" y="461"/>
                  </a:lnTo>
                  <a:lnTo>
                    <a:pt x="1110" y="314"/>
                  </a:lnTo>
                  <a:lnTo>
                    <a:pt x="984" y="251"/>
                  </a:lnTo>
                  <a:lnTo>
                    <a:pt x="859" y="63"/>
                  </a:lnTo>
                  <a:lnTo>
                    <a:pt x="754"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995" name="Google Shape;1995;p66"/>
            <p:cNvGrpSpPr/>
            <p:nvPr/>
          </p:nvGrpSpPr>
          <p:grpSpPr>
            <a:xfrm>
              <a:off x="3280929" y="3294542"/>
              <a:ext cx="109894" cy="272224"/>
              <a:chOff x="2711750" y="3572300"/>
              <a:chExt cx="230725" cy="598425"/>
            </a:xfrm>
          </p:grpSpPr>
          <p:sp>
            <p:nvSpPr>
              <p:cNvPr id="1996" name="Google Shape;1996;p66"/>
              <p:cNvSpPr/>
              <p:nvPr/>
            </p:nvSpPr>
            <p:spPr>
              <a:xfrm>
                <a:off x="2711750" y="3572300"/>
                <a:ext cx="230725" cy="538800"/>
              </a:xfrm>
              <a:custGeom>
                <a:avLst/>
                <a:gdLst/>
                <a:ahLst/>
                <a:cxnLst/>
                <a:rect l="l" t="t" r="r" b="b"/>
                <a:pathLst>
                  <a:path w="9229" h="21552" extrusionOk="0">
                    <a:moveTo>
                      <a:pt x="1947" y="0"/>
                    </a:moveTo>
                    <a:lnTo>
                      <a:pt x="1800" y="42"/>
                    </a:lnTo>
                    <a:lnTo>
                      <a:pt x="1570" y="293"/>
                    </a:lnTo>
                    <a:lnTo>
                      <a:pt x="1466" y="502"/>
                    </a:lnTo>
                    <a:lnTo>
                      <a:pt x="1382" y="607"/>
                    </a:lnTo>
                    <a:lnTo>
                      <a:pt x="1466" y="753"/>
                    </a:lnTo>
                    <a:lnTo>
                      <a:pt x="1298" y="1402"/>
                    </a:lnTo>
                    <a:lnTo>
                      <a:pt x="629" y="1779"/>
                    </a:lnTo>
                    <a:lnTo>
                      <a:pt x="566" y="1925"/>
                    </a:lnTo>
                    <a:lnTo>
                      <a:pt x="691" y="2030"/>
                    </a:lnTo>
                    <a:lnTo>
                      <a:pt x="733" y="2134"/>
                    </a:lnTo>
                    <a:lnTo>
                      <a:pt x="650" y="2281"/>
                    </a:lnTo>
                    <a:lnTo>
                      <a:pt x="670" y="2448"/>
                    </a:lnTo>
                    <a:lnTo>
                      <a:pt x="796" y="2616"/>
                    </a:lnTo>
                    <a:lnTo>
                      <a:pt x="796" y="2762"/>
                    </a:lnTo>
                    <a:lnTo>
                      <a:pt x="691" y="2846"/>
                    </a:lnTo>
                    <a:lnTo>
                      <a:pt x="670" y="2950"/>
                    </a:lnTo>
                    <a:lnTo>
                      <a:pt x="754" y="3013"/>
                    </a:lnTo>
                    <a:lnTo>
                      <a:pt x="796" y="3076"/>
                    </a:lnTo>
                    <a:lnTo>
                      <a:pt x="796" y="3243"/>
                    </a:lnTo>
                    <a:lnTo>
                      <a:pt x="859" y="3285"/>
                    </a:lnTo>
                    <a:lnTo>
                      <a:pt x="775" y="3390"/>
                    </a:lnTo>
                    <a:lnTo>
                      <a:pt x="670" y="3453"/>
                    </a:lnTo>
                    <a:lnTo>
                      <a:pt x="524" y="3599"/>
                    </a:lnTo>
                    <a:lnTo>
                      <a:pt x="357" y="3997"/>
                    </a:lnTo>
                    <a:lnTo>
                      <a:pt x="252" y="4164"/>
                    </a:lnTo>
                    <a:lnTo>
                      <a:pt x="210" y="4582"/>
                    </a:lnTo>
                    <a:lnTo>
                      <a:pt x="126" y="4645"/>
                    </a:lnTo>
                    <a:lnTo>
                      <a:pt x="147" y="5022"/>
                    </a:lnTo>
                    <a:lnTo>
                      <a:pt x="252" y="5210"/>
                    </a:lnTo>
                    <a:lnTo>
                      <a:pt x="252" y="5461"/>
                    </a:lnTo>
                    <a:lnTo>
                      <a:pt x="168" y="5566"/>
                    </a:lnTo>
                    <a:lnTo>
                      <a:pt x="168" y="5859"/>
                    </a:lnTo>
                    <a:lnTo>
                      <a:pt x="22" y="5942"/>
                    </a:lnTo>
                    <a:lnTo>
                      <a:pt x="1" y="6152"/>
                    </a:lnTo>
                    <a:lnTo>
                      <a:pt x="43" y="6424"/>
                    </a:lnTo>
                    <a:lnTo>
                      <a:pt x="147" y="6570"/>
                    </a:lnTo>
                    <a:lnTo>
                      <a:pt x="168" y="6675"/>
                    </a:lnTo>
                    <a:lnTo>
                      <a:pt x="315" y="6884"/>
                    </a:lnTo>
                    <a:lnTo>
                      <a:pt x="378" y="7051"/>
                    </a:lnTo>
                    <a:lnTo>
                      <a:pt x="461" y="7407"/>
                    </a:lnTo>
                    <a:lnTo>
                      <a:pt x="545" y="7470"/>
                    </a:lnTo>
                    <a:lnTo>
                      <a:pt x="587" y="7930"/>
                    </a:lnTo>
                    <a:lnTo>
                      <a:pt x="566" y="8181"/>
                    </a:lnTo>
                    <a:lnTo>
                      <a:pt x="461" y="8202"/>
                    </a:lnTo>
                    <a:lnTo>
                      <a:pt x="357" y="8453"/>
                    </a:lnTo>
                    <a:lnTo>
                      <a:pt x="378" y="8683"/>
                    </a:lnTo>
                    <a:lnTo>
                      <a:pt x="252" y="8872"/>
                    </a:lnTo>
                    <a:lnTo>
                      <a:pt x="336" y="8935"/>
                    </a:lnTo>
                    <a:lnTo>
                      <a:pt x="440" y="9123"/>
                    </a:lnTo>
                    <a:lnTo>
                      <a:pt x="461" y="9332"/>
                    </a:lnTo>
                    <a:lnTo>
                      <a:pt x="336" y="9458"/>
                    </a:lnTo>
                    <a:lnTo>
                      <a:pt x="210" y="9709"/>
                    </a:lnTo>
                    <a:lnTo>
                      <a:pt x="210" y="10085"/>
                    </a:lnTo>
                    <a:lnTo>
                      <a:pt x="210" y="10253"/>
                    </a:lnTo>
                    <a:lnTo>
                      <a:pt x="147" y="10483"/>
                    </a:lnTo>
                    <a:lnTo>
                      <a:pt x="482" y="11173"/>
                    </a:lnTo>
                    <a:lnTo>
                      <a:pt x="419" y="11278"/>
                    </a:lnTo>
                    <a:lnTo>
                      <a:pt x="252" y="11341"/>
                    </a:lnTo>
                    <a:lnTo>
                      <a:pt x="231" y="11655"/>
                    </a:lnTo>
                    <a:lnTo>
                      <a:pt x="22" y="11948"/>
                    </a:lnTo>
                    <a:lnTo>
                      <a:pt x="43" y="12157"/>
                    </a:lnTo>
                    <a:lnTo>
                      <a:pt x="147" y="12345"/>
                    </a:lnTo>
                    <a:lnTo>
                      <a:pt x="126" y="12764"/>
                    </a:lnTo>
                    <a:lnTo>
                      <a:pt x="147" y="13119"/>
                    </a:lnTo>
                    <a:lnTo>
                      <a:pt x="210" y="13391"/>
                    </a:lnTo>
                    <a:lnTo>
                      <a:pt x="315" y="13433"/>
                    </a:lnTo>
                    <a:lnTo>
                      <a:pt x="357" y="13538"/>
                    </a:lnTo>
                    <a:lnTo>
                      <a:pt x="336" y="13705"/>
                    </a:lnTo>
                    <a:lnTo>
                      <a:pt x="210" y="13789"/>
                    </a:lnTo>
                    <a:lnTo>
                      <a:pt x="231" y="14103"/>
                    </a:lnTo>
                    <a:cubicBezTo>
                      <a:pt x="252" y="14165"/>
                      <a:pt x="252" y="14270"/>
                      <a:pt x="273" y="14354"/>
                    </a:cubicBezTo>
                    <a:lnTo>
                      <a:pt x="273" y="14375"/>
                    </a:lnTo>
                    <a:lnTo>
                      <a:pt x="461" y="14437"/>
                    </a:lnTo>
                    <a:lnTo>
                      <a:pt x="461" y="14626"/>
                    </a:lnTo>
                    <a:lnTo>
                      <a:pt x="461" y="14772"/>
                    </a:lnTo>
                    <a:lnTo>
                      <a:pt x="566" y="15002"/>
                    </a:lnTo>
                    <a:lnTo>
                      <a:pt x="608" y="15274"/>
                    </a:lnTo>
                    <a:lnTo>
                      <a:pt x="712" y="15295"/>
                    </a:lnTo>
                    <a:lnTo>
                      <a:pt x="796" y="15253"/>
                    </a:lnTo>
                    <a:lnTo>
                      <a:pt x="880" y="15274"/>
                    </a:lnTo>
                    <a:lnTo>
                      <a:pt x="880" y="15400"/>
                    </a:lnTo>
                    <a:lnTo>
                      <a:pt x="754" y="15567"/>
                    </a:lnTo>
                    <a:lnTo>
                      <a:pt x="482" y="15567"/>
                    </a:lnTo>
                    <a:lnTo>
                      <a:pt x="440" y="15672"/>
                    </a:lnTo>
                    <a:lnTo>
                      <a:pt x="524" y="15735"/>
                    </a:lnTo>
                    <a:lnTo>
                      <a:pt x="545" y="15714"/>
                    </a:lnTo>
                    <a:lnTo>
                      <a:pt x="670" y="15714"/>
                    </a:lnTo>
                    <a:lnTo>
                      <a:pt x="859" y="15839"/>
                    </a:lnTo>
                    <a:lnTo>
                      <a:pt x="984" y="16049"/>
                    </a:lnTo>
                    <a:lnTo>
                      <a:pt x="984" y="16195"/>
                    </a:lnTo>
                    <a:lnTo>
                      <a:pt x="838" y="16321"/>
                    </a:lnTo>
                    <a:lnTo>
                      <a:pt x="838" y="16425"/>
                    </a:lnTo>
                    <a:lnTo>
                      <a:pt x="901" y="16572"/>
                    </a:lnTo>
                    <a:lnTo>
                      <a:pt x="963" y="16885"/>
                    </a:lnTo>
                    <a:lnTo>
                      <a:pt x="1047" y="17137"/>
                    </a:lnTo>
                    <a:lnTo>
                      <a:pt x="942" y="17241"/>
                    </a:lnTo>
                    <a:lnTo>
                      <a:pt x="901" y="17367"/>
                    </a:lnTo>
                    <a:lnTo>
                      <a:pt x="1005" y="17618"/>
                    </a:lnTo>
                    <a:lnTo>
                      <a:pt x="901" y="17764"/>
                    </a:lnTo>
                    <a:lnTo>
                      <a:pt x="859" y="18015"/>
                    </a:lnTo>
                    <a:lnTo>
                      <a:pt x="942" y="18246"/>
                    </a:lnTo>
                    <a:lnTo>
                      <a:pt x="984" y="18559"/>
                    </a:lnTo>
                    <a:lnTo>
                      <a:pt x="942" y="18852"/>
                    </a:lnTo>
                    <a:lnTo>
                      <a:pt x="733" y="19062"/>
                    </a:lnTo>
                    <a:lnTo>
                      <a:pt x="587" y="19250"/>
                    </a:lnTo>
                    <a:lnTo>
                      <a:pt x="524" y="19752"/>
                    </a:lnTo>
                    <a:cubicBezTo>
                      <a:pt x="545" y="19815"/>
                      <a:pt x="545" y="19898"/>
                      <a:pt x="566" y="19982"/>
                    </a:cubicBezTo>
                    <a:lnTo>
                      <a:pt x="796" y="20422"/>
                    </a:lnTo>
                    <a:lnTo>
                      <a:pt x="942" y="20422"/>
                    </a:lnTo>
                    <a:lnTo>
                      <a:pt x="1047" y="20317"/>
                    </a:lnTo>
                    <a:lnTo>
                      <a:pt x="1214" y="20233"/>
                    </a:lnTo>
                    <a:lnTo>
                      <a:pt x="1361" y="20233"/>
                    </a:lnTo>
                    <a:lnTo>
                      <a:pt x="1361" y="20401"/>
                    </a:lnTo>
                    <a:lnTo>
                      <a:pt x="1382" y="20735"/>
                    </a:lnTo>
                    <a:lnTo>
                      <a:pt x="1507" y="20840"/>
                    </a:lnTo>
                    <a:lnTo>
                      <a:pt x="1570" y="21049"/>
                    </a:lnTo>
                    <a:lnTo>
                      <a:pt x="1633" y="21279"/>
                    </a:lnTo>
                    <a:lnTo>
                      <a:pt x="1926" y="21321"/>
                    </a:lnTo>
                    <a:lnTo>
                      <a:pt x="2030" y="21363"/>
                    </a:lnTo>
                    <a:lnTo>
                      <a:pt x="2449" y="21279"/>
                    </a:lnTo>
                    <a:lnTo>
                      <a:pt x="3181" y="21279"/>
                    </a:lnTo>
                    <a:lnTo>
                      <a:pt x="3244" y="21342"/>
                    </a:lnTo>
                    <a:lnTo>
                      <a:pt x="3370" y="21363"/>
                    </a:lnTo>
                    <a:lnTo>
                      <a:pt x="3516" y="21489"/>
                    </a:lnTo>
                    <a:lnTo>
                      <a:pt x="3663" y="21551"/>
                    </a:lnTo>
                    <a:lnTo>
                      <a:pt x="3704" y="21551"/>
                    </a:lnTo>
                    <a:lnTo>
                      <a:pt x="3704" y="21447"/>
                    </a:lnTo>
                    <a:lnTo>
                      <a:pt x="3600" y="21363"/>
                    </a:lnTo>
                    <a:lnTo>
                      <a:pt x="3411" y="21238"/>
                    </a:lnTo>
                    <a:lnTo>
                      <a:pt x="3391" y="21133"/>
                    </a:lnTo>
                    <a:lnTo>
                      <a:pt x="3286" y="21028"/>
                    </a:lnTo>
                    <a:lnTo>
                      <a:pt x="3202" y="21049"/>
                    </a:lnTo>
                    <a:lnTo>
                      <a:pt x="3160" y="21007"/>
                    </a:lnTo>
                    <a:lnTo>
                      <a:pt x="3244" y="20945"/>
                    </a:lnTo>
                    <a:lnTo>
                      <a:pt x="3265" y="20861"/>
                    </a:lnTo>
                    <a:lnTo>
                      <a:pt x="3244" y="20840"/>
                    </a:lnTo>
                    <a:lnTo>
                      <a:pt x="3244" y="20756"/>
                    </a:lnTo>
                    <a:lnTo>
                      <a:pt x="3139" y="20505"/>
                    </a:lnTo>
                    <a:lnTo>
                      <a:pt x="3035" y="20317"/>
                    </a:lnTo>
                    <a:lnTo>
                      <a:pt x="2993" y="20129"/>
                    </a:lnTo>
                    <a:lnTo>
                      <a:pt x="3077" y="19961"/>
                    </a:lnTo>
                    <a:lnTo>
                      <a:pt x="3202" y="19857"/>
                    </a:lnTo>
                    <a:lnTo>
                      <a:pt x="3265" y="19752"/>
                    </a:lnTo>
                    <a:lnTo>
                      <a:pt x="3202" y="19689"/>
                    </a:lnTo>
                    <a:lnTo>
                      <a:pt x="3202" y="19585"/>
                    </a:lnTo>
                    <a:lnTo>
                      <a:pt x="3160" y="19501"/>
                    </a:lnTo>
                    <a:lnTo>
                      <a:pt x="3244" y="19564"/>
                    </a:lnTo>
                    <a:lnTo>
                      <a:pt x="3307" y="19647"/>
                    </a:lnTo>
                    <a:lnTo>
                      <a:pt x="3391" y="19668"/>
                    </a:lnTo>
                    <a:lnTo>
                      <a:pt x="3516" y="19564"/>
                    </a:lnTo>
                    <a:lnTo>
                      <a:pt x="3558" y="19480"/>
                    </a:lnTo>
                    <a:lnTo>
                      <a:pt x="3663" y="19354"/>
                    </a:lnTo>
                    <a:lnTo>
                      <a:pt x="3683" y="19250"/>
                    </a:lnTo>
                    <a:lnTo>
                      <a:pt x="3663" y="19062"/>
                    </a:lnTo>
                    <a:lnTo>
                      <a:pt x="3579" y="19041"/>
                    </a:lnTo>
                    <a:lnTo>
                      <a:pt x="3516" y="19082"/>
                    </a:lnTo>
                    <a:lnTo>
                      <a:pt x="3516" y="19082"/>
                    </a:lnTo>
                    <a:lnTo>
                      <a:pt x="3558" y="19020"/>
                    </a:lnTo>
                    <a:lnTo>
                      <a:pt x="3663" y="18915"/>
                    </a:lnTo>
                    <a:lnTo>
                      <a:pt x="3704" y="18769"/>
                    </a:lnTo>
                    <a:lnTo>
                      <a:pt x="3725" y="18643"/>
                    </a:lnTo>
                    <a:lnTo>
                      <a:pt x="3872" y="18518"/>
                    </a:lnTo>
                    <a:lnTo>
                      <a:pt x="3976" y="18518"/>
                    </a:lnTo>
                    <a:lnTo>
                      <a:pt x="4018" y="18392"/>
                    </a:lnTo>
                    <a:lnTo>
                      <a:pt x="4102" y="18287"/>
                    </a:lnTo>
                    <a:lnTo>
                      <a:pt x="4144" y="18246"/>
                    </a:lnTo>
                    <a:lnTo>
                      <a:pt x="4186" y="18141"/>
                    </a:lnTo>
                    <a:lnTo>
                      <a:pt x="4248" y="18099"/>
                    </a:lnTo>
                    <a:lnTo>
                      <a:pt x="4332" y="17994"/>
                    </a:lnTo>
                    <a:lnTo>
                      <a:pt x="4311" y="17932"/>
                    </a:lnTo>
                    <a:lnTo>
                      <a:pt x="4311" y="17869"/>
                    </a:lnTo>
                    <a:lnTo>
                      <a:pt x="4395" y="17806"/>
                    </a:lnTo>
                    <a:lnTo>
                      <a:pt x="4290" y="17702"/>
                    </a:lnTo>
                    <a:lnTo>
                      <a:pt x="4207" y="17702"/>
                    </a:lnTo>
                    <a:lnTo>
                      <a:pt x="4311" y="17597"/>
                    </a:lnTo>
                    <a:lnTo>
                      <a:pt x="4311" y="17492"/>
                    </a:lnTo>
                    <a:lnTo>
                      <a:pt x="4227" y="17367"/>
                    </a:lnTo>
                    <a:lnTo>
                      <a:pt x="4227" y="17423"/>
                    </a:lnTo>
                    <a:lnTo>
                      <a:pt x="4186" y="17409"/>
                    </a:lnTo>
                    <a:lnTo>
                      <a:pt x="4123" y="17429"/>
                    </a:lnTo>
                    <a:lnTo>
                      <a:pt x="4018" y="17429"/>
                    </a:lnTo>
                    <a:lnTo>
                      <a:pt x="3830" y="17471"/>
                    </a:lnTo>
                    <a:lnTo>
                      <a:pt x="3600" y="17262"/>
                    </a:lnTo>
                    <a:lnTo>
                      <a:pt x="3453" y="17137"/>
                    </a:lnTo>
                    <a:lnTo>
                      <a:pt x="3370" y="17095"/>
                    </a:lnTo>
                    <a:lnTo>
                      <a:pt x="3265" y="16990"/>
                    </a:lnTo>
                    <a:lnTo>
                      <a:pt x="3139" y="16781"/>
                    </a:lnTo>
                    <a:lnTo>
                      <a:pt x="3139" y="16655"/>
                    </a:lnTo>
                    <a:lnTo>
                      <a:pt x="3056" y="16551"/>
                    </a:lnTo>
                    <a:lnTo>
                      <a:pt x="3056" y="16467"/>
                    </a:lnTo>
                    <a:lnTo>
                      <a:pt x="3181" y="16362"/>
                    </a:lnTo>
                    <a:lnTo>
                      <a:pt x="3244" y="16258"/>
                    </a:lnTo>
                    <a:lnTo>
                      <a:pt x="3286" y="16132"/>
                    </a:lnTo>
                    <a:lnTo>
                      <a:pt x="3370" y="16111"/>
                    </a:lnTo>
                    <a:lnTo>
                      <a:pt x="3474" y="16007"/>
                    </a:lnTo>
                    <a:lnTo>
                      <a:pt x="3600" y="15986"/>
                    </a:lnTo>
                    <a:lnTo>
                      <a:pt x="3704" y="15881"/>
                    </a:lnTo>
                    <a:lnTo>
                      <a:pt x="3872" y="15839"/>
                    </a:lnTo>
                    <a:lnTo>
                      <a:pt x="3976" y="15881"/>
                    </a:lnTo>
                    <a:lnTo>
                      <a:pt x="4144" y="15839"/>
                    </a:lnTo>
                    <a:lnTo>
                      <a:pt x="4144" y="15797"/>
                    </a:lnTo>
                    <a:lnTo>
                      <a:pt x="4102" y="15735"/>
                    </a:lnTo>
                    <a:lnTo>
                      <a:pt x="3997" y="15693"/>
                    </a:lnTo>
                    <a:lnTo>
                      <a:pt x="4018" y="15630"/>
                    </a:lnTo>
                    <a:lnTo>
                      <a:pt x="4039" y="15567"/>
                    </a:lnTo>
                    <a:lnTo>
                      <a:pt x="4207" y="15463"/>
                    </a:lnTo>
                    <a:lnTo>
                      <a:pt x="4186" y="15421"/>
                    </a:lnTo>
                    <a:lnTo>
                      <a:pt x="4227" y="15358"/>
                    </a:lnTo>
                    <a:lnTo>
                      <a:pt x="4227" y="15295"/>
                    </a:lnTo>
                    <a:lnTo>
                      <a:pt x="4102" y="15128"/>
                    </a:lnTo>
                    <a:lnTo>
                      <a:pt x="4123" y="15065"/>
                    </a:lnTo>
                    <a:lnTo>
                      <a:pt x="4123" y="14981"/>
                    </a:lnTo>
                    <a:lnTo>
                      <a:pt x="4018" y="14940"/>
                    </a:lnTo>
                    <a:lnTo>
                      <a:pt x="3997" y="14772"/>
                    </a:lnTo>
                    <a:lnTo>
                      <a:pt x="4081" y="14668"/>
                    </a:lnTo>
                    <a:lnTo>
                      <a:pt x="4123" y="14563"/>
                    </a:lnTo>
                    <a:lnTo>
                      <a:pt x="4081" y="14521"/>
                    </a:lnTo>
                    <a:lnTo>
                      <a:pt x="4144" y="14437"/>
                    </a:lnTo>
                    <a:lnTo>
                      <a:pt x="4332" y="14354"/>
                    </a:lnTo>
                    <a:lnTo>
                      <a:pt x="4458" y="14249"/>
                    </a:lnTo>
                    <a:lnTo>
                      <a:pt x="4458" y="14207"/>
                    </a:lnTo>
                    <a:lnTo>
                      <a:pt x="4311" y="14144"/>
                    </a:lnTo>
                    <a:lnTo>
                      <a:pt x="4207" y="14144"/>
                    </a:lnTo>
                    <a:lnTo>
                      <a:pt x="4144" y="14061"/>
                    </a:lnTo>
                    <a:lnTo>
                      <a:pt x="4186" y="14019"/>
                    </a:lnTo>
                    <a:lnTo>
                      <a:pt x="4290" y="13935"/>
                    </a:lnTo>
                    <a:lnTo>
                      <a:pt x="4437" y="13893"/>
                    </a:lnTo>
                    <a:lnTo>
                      <a:pt x="4562" y="13956"/>
                    </a:lnTo>
                    <a:lnTo>
                      <a:pt x="4562" y="14040"/>
                    </a:lnTo>
                    <a:lnTo>
                      <a:pt x="4541" y="14082"/>
                    </a:lnTo>
                    <a:lnTo>
                      <a:pt x="4604" y="14186"/>
                    </a:lnTo>
                    <a:lnTo>
                      <a:pt x="4667" y="14228"/>
                    </a:lnTo>
                    <a:lnTo>
                      <a:pt x="4918" y="14082"/>
                    </a:lnTo>
                    <a:lnTo>
                      <a:pt x="4939" y="13998"/>
                    </a:lnTo>
                    <a:lnTo>
                      <a:pt x="4876" y="13852"/>
                    </a:lnTo>
                    <a:lnTo>
                      <a:pt x="4813" y="13747"/>
                    </a:lnTo>
                    <a:lnTo>
                      <a:pt x="4855" y="13726"/>
                    </a:lnTo>
                    <a:lnTo>
                      <a:pt x="4876" y="13621"/>
                    </a:lnTo>
                    <a:lnTo>
                      <a:pt x="4813" y="13496"/>
                    </a:lnTo>
                    <a:lnTo>
                      <a:pt x="4730" y="13496"/>
                    </a:lnTo>
                    <a:lnTo>
                      <a:pt x="4625" y="13559"/>
                    </a:lnTo>
                    <a:lnTo>
                      <a:pt x="4541" y="13559"/>
                    </a:lnTo>
                    <a:lnTo>
                      <a:pt x="4499" y="13621"/>
                    </a:lnTo>
                    <a:lnTo>
                      <a:pt x="4520" y="13642"/>
                    </a:lnTo>
                    <a:lnTo>
                      <a:pt x="4625" y="13684"/>
                    </a:lnTo>
                    <a:lnTo>
                      <a:pt x="4625" y="13726"/>
                    </a:lnTo>
                    <a:lnTo>
                      <a:pt x="4437" y="13789"/>
                    </a:lnTo>
                    <a:lnTo>
                      <a:pt x="4353" y="13747"/>
                    </a:lnTo>
                    <a:lnTo>
                      <a:pt x="4416" y="13705"/>
                    </a:lnTo>
                    <a:lnTo>
                      <a:pt x="4499" y="13684"/>
                    </a:lnTo>
                    <a:lnTo>
                      <a:pt x="4437" y="13642"/>
                    </a:lnTo>
                    <a:lnTo>
                      <a:pt x="4248" y="13642"/>
                    </a:lnTo>
                    <a:lnTo>
                      <a:pt x="4123" y="13580"/>
                    </a:lnTo>
                    <a:lnTo>
                      <a:pt x="4102" y="13475"/>
                    </a:lnTo>
                    <a:lnTo>
                      <a:pt x="4102" y="13203"/>
                    </a:lnTo>
                    <a:lnTo>
                      <a:pt x="4039" y="12994"/>
                    </a:lnTo>
                    <a:lnTo>
                      <a:pt x="3914" y="12889"/>
                    </a:lnTo>
                    <a:lnTo>
                      <a:pt x="3914" y="12680"/>
                    </a:lnTo>
                    <a:lnTo>
                      <a:pt x="4018" y="12575"/>
                    </a:lnTo>
                    <a:lnTo>
                      <a:pt x="4102" y="12575"/>
                    </a:lnTo>
                    <a:lnTo>
                      <a:pt x="4081" y="12659"/>
                    </a:lnTo>
                    <a:lnTo>
                      <a:pt x="4102" y="12680"/>
                    </a:lnTo>
                    <a:lnTo>
                      <a:pt x="4227" y="12680"/>
                    </a:lnTo>
                    <a:lnTo>
                      <a:pt x="4437" y="12764"/>
                    </a:lnTo>
                    <a:lnTo>
                      <a:pt x="4646" y="12910"/>
                    </a:lnTo>
                    <a:lnTo>
                      <a:pt x="4834" y="12973"/>
                    </a:lnTo>
                    <a:lnTo>
                      <a:pt x="5148" y="12973"/>
                    </a:lnTo>
                    <a:lnTo>
                      <a:pt x="5336" y="12847"/>
                    </a:lnTo>
                    <a:lnTo>
                      <a:pt x="5295" y="12805"/>
                    </a:lnTo>
                    <a:lnTo>
                      <a:pt x="5441" y="12701"/>
                    </a:lnTo>
                    <a:lnTo>
                      <a:pt x="5462" y="12596"/>
                    </a:lnTo>
                    <a:lnTo>
                      <a:pt x="5441" y="12533"/>
                    </a:lnTo>
                    <a:lnTo>
                      <a:pt x="5462" y="12471"/>
                    </a:lnTo>
                    <a:lnTo>
                      <a:pt x="5483" y="12366"/>
                    </a:lnTo>
                    <a:lnTo>
                      <a:pt x="5378" y="12345"/>
                    </a:lnTo>
                    <a:lnTo>
                      <a:pt x="5295" y="12220"/>
                    </a:lnTo>
                    <a:lnTo>
                      <a:pt x="5295" y="12115"/>
                    </a:lnTo>
                    <a:lnTo>
                      <a:pt x="5357" y="12031"/>
                    </a:lnTo>
                    <a:lnTo>
                      <a:pt x="5336" y="11968"/>
                    </a:lnTo>
                    <a:lnTo>
                      <a:pt x="5441" y="11864"/>
                    </a:lnTo>
                    <a:lnTo>
                      <a:pt x="5441" y="11843"/>
                    </a:lnTo>
                    <a:lnTo>
                      <a:pt x="5483" y="11843"/>
                    </a:lnTo>
                    <a:lnTo>
                      <a:pt x="5504" y="11759"/>
                    </a:lnTo>
                    <a:lnTo>
                      <a:pt x="5483" y="11655"/>
                    </a:lnTo>
                    <a:lnTo>
                      <a:pt x="5378" y="11655"/>
                    </a:lnTo>
                    <a:lnTo>
                      <a:pt x="5378" y="11613"/>
                    </a:lnTo>
                    <a:lnTo>
                      <a:pt x="5336" y="11529"/>
                    </a:lnTo>
                    <a:lnTo>
                      <a:pt x="5336" y="11320"/>
                    </a:lnTo>
                    <a:lnTo>
                      <a:pt x="5295" y="11236"/>
                    </a:lnTo>
                    <a:lnTo>
                      <a:pt x="5295" y="11131"/>
                    </a:lnTo>
                    <a:lnTo>
                      <a:pt x="5336" y="11111"/>
                    </a:lnTo>
                    <a:lnTo>
                      <a:pt x="5378" y="11194"/>
                    </a:lnTo>
                    <a:lnTo>
                      <a:pt x="5462" y="11194"/>
                    </a:lnTo>
                    <a:lnTo>
                      <a:pt x="5608" y="11236"/>
                    </a:lnTo>
                    <a:lnTo>
                      <a:pt x="5755" y="11320"/>
                    </a:lnTo>
                    <a:lnTo>
                      <a:pt x="5859" y="11320"/>
                    </a:lnTo>
                    <a:lnTo>
                      <a:pt x="6027" y="11299"/>
                    </a:lnTo>
                    <a:lnTo>
                      <a:pt x="6215" y="11320"/>
                    </a:lnTo>
                    <a:lnTo>
                      <a:pt x="6445" y="11320"/>
                    </a:lnTo>
                    <a:lnTo>
                      <a:pt x="6843" y="11215"/>
                    </a:lnTo>
                    <a:lnTo>
                      <a:pt x="7178" y="11069"/>
                    </a:lnTo>
                    <a:lnTo>
                      <a:pt x="7220" y="10985"/>
                    </a:lnTo>
                    <a:lnTo>
                      <a:pt x="7261" y="11027"/>
                    </a:lnTo>
                    <a:lnTo>
                      <a:pt x="7492" y="10964"/>
                    </a:lnTo>
                    <a:lnTo>
                      <a:pt x="7805" y="10776"/>
                    </a:lnTo>
                    <a:lnTo>
                      <a:pt x="7868" y="10671"/>
                    </a:lnTo>
                    <a:lnTo>
                      <a:pt x="7826" y="10546"/>
                    </a:lnTo>
                    <a:lnTo>
                      <a:pt x="7889" y="10357"/>
                    </a:lnTo>
                    <a:lnTo>
                      <a:pt x="7931" y="10336"/>
                    </a:lnTo>
                    <a:lnTo>
                      <a:pt x="7973" y="10378"/>
                    </a:lnTo>
                    <a:lnTo>
                      <a:pt x="8015" y="10336"/>
                    </a:lnTo>
                    <a:lnTo>
                      <a:pt x="8077" y="10148"/>
                    </a:lnTo>
                    <a:lnTo>
                      <a:pt x="8182" y="9960"/>
                    </a:lnTo>
                    <a:lnTo>
                      <a:pt x="8203" y="9855"/>
                    </a:lnTo>
                    <a:lnTo>
                      <a:pt x="8203" y="9625"/>
                    </a:lnTo>
                    <a:lnTo>
                      <a:pt x="8182" y="9520"/>
                    </a:lnTo>
                    <a:lnTo>
                      <a:pt x="8140" y="9520"/>
                    </a:lnTo>
                    <a:lnTo>
                      <a:pt x="8077" y="9604"/>
                    </a:lnTo>
                    <a:lnTo>
                      <a:pt x="7931" y="9604"/>
                    </a:lnTo>
                    <a:lnTo>
                      <a:pt x="7784" y="9499"/>
                    </a:lnTo>
                    <a:lnTo>
                      <a:pt x="7701" y="9332"/>
                    </a:lnTo>
                    <a:lnTo>
                      <a:pt x="7701" y="9248"/>
                    </a:lnTo>
                    <a:lnTo>
                      <a:pt x="7826" y="8976"/>
                    </a:lnTo>
                    <a:lnTo>
                      <a:pt x="7826" y="8872"/>
                    </a:lnTo>
                    <a:lnTo>
                      <a:pt x="7764" y="8788"/>
                    </a:lnTo>
                    <a:lnTo>
                      <a:pt x="7471" y="8558"/>
                    </a:lnTo>
                    <a:lnTo>
                      <a:pt x="7240" y="8453"/>
                    </a:lnTo>
                    <a:lnTo>
                      <a:pt x="6989" y="8265"/>
                    </a:lnTo>
                    <a:lnTo>
                      <a:pt x="6948" y="8160"/>
                    </a:lnTo>
                    <a:lnTo>
                      <a:pt x="6968" y="8139"/>
                    </a:lnTo>
                    <a:lnTo>
                      <a:pt x="6968" y="8035"/>
                    </a:lnTo>
                    <a:lnTo>
                      <a:pt x="6885" y="7951"/>
                    </a:lnTo>
                    <a:lnTo>
                      <a:pt x="6927" y="7888"/>
                    </a:lnTo>
                    <a:lnTo>
                      <a:pt x="6864" y="7679"/>
                    </a:lnTo>
                    <a:lnTo>
                      <a:pt x="6885" y="7449"/>
                    </a:lnTo>
                    <a:lnTo>
                      <a:pt x="6927" y="7240"/>
                    </a:lnTo>
                    <a:lnTo>
                      <a:pt x="7010" y="7156"/>
                    </a:lnTo>
                    <a:lnTo>
                      <a:pt x="7031" y="7093"/>
                    </a:lnTo>
                    <a:lnTo>
                      <a:pt x="6968" y="6905"/>
                    </a:lnTo>
                    <a:lnTo>
                      <a:pt x="6948" y="6633"/>
                    </a:lnTo>
                    <a:lnTo>
                      <a:pt x="7010" y="6591"/>
                    </a:lnTo>
                    <a:lnTo>
                      <a:pt x="6948" y="6403"/>
                    </a:lnTo>
                    <a:lnTo>
                      <a:pt x="7031" y="6277"/>
                    </a:lnTo>
                    <a:lnTo>
                      <a:pt x="7031" y="6173"/>
                    </a:lnTo>
                    <a:lnTo>
                      <a:pt x="7073" y="6089"/>
                    </a:lnTo>
                    <a:lnTo>
                      <a:pt x="7115" y="5838"/>
                    </a:lnTo>
                    <a:lnTo>
                      <a:pt x="7073" y="5733"/>
                    </a:lnTo>
                    <a:lnTo>
                      <a:pt x="7136" y="5650"/>
                    </a:lnTo>
                    <a:lnTo>
                      <a:pt x="7115" y="5461"/>
                    </a:lnTo>
                    <a:lnTo>
                      <a:pt x="7220" y="5336"/>
                    </a:lnTo>
                    <a:lnTo>
                      <a:pt x="7261" y="5210"/>
                    </a:lnTo>
                    <a:lnTo>
                      <a:pt x="7261" y="5168"/>
                    </a:lnTo>
                    <a:lnTo>
                      <a:pt x="7282" y="5126"/>
                    </a:lnTo>
                    <a:lnTo>
                      <a:pt x="7387" y="5043"/>
                    </a:lnTo>
                    <a:lnTo>
                      <a:pt x="7387" y="5001"/>
                    </a:lnTo>
                    <a:lnTo>
                      <a:pt x="7492" y="4833"/>
                    </a:lnTo>
                    <a:lnTo>
                      <a:pt x="7575" y="4750"/>
                    </a:lnTo>
                    <a:lnTo>
                      <a:pt x="7680" y="4541"/>
                    </a:lnTo>
                    <a:lnTo>
                      <a:pt x="7722" y="4478"/>
                    </a:lnTo>
                    <a:lnTo>
                      <a:pt x="7805" y="4436"/>
                    </a:lnTo>
                    <a:lnTo>
                      <a:pt x="7805" y="4310"/>
                    </a:lnTo>
                    <a:lnTo>
                      <a:pt x="7826" y="4227"/>
                    </a:lnTo>
                    <a:lnTo>
                      <a:pt x="8015" y="3997"/>
                    </a:lnTo>
                    <a:lnTo>
                      <a:pt x="8098" y="3997"/>
                    </a:lnTo>
                    <a:lnTo>
                      <a:pt x="8182" y="3976"/>
                    </a:lnTo>
                    <a:lnTo>
                      <a:pt x="8182" y="3850"/>
                    </a:lnTo>
                    <a:lnTo>
                      <a:pt x="8266" y="3808"/>
                    </a:lnTo>
                    <a:lnTo>
                      <a:pt x="8475" y="3641"/>
                    </a:lnTo>
                    <a:lnTo>
                      <a:pt x="8538" y="3599"/>
                    </a:lnTo>
                    <a:lnTo>
                      <a:pt x="8600" y="3536"/>
                    </a:lnTo>
                    <a:lnTo>
                      <a:pt x="8831" y="3369"/>
                    </a:lnTo>
                    <a:lnTo>
                      <a:pt x="8852" y="3390"/>
                    </a:lnTo>
                    <a:lnTo>
                      <a:pt x="8935" y="3327"/>
                    </a:lnTo>
                    <a:lnTo>
                      <a:pt x="8956" y="3264"/>
                    </a:lnTo>
                    <a:lnTo>
                      <a:pt x="9103" y="3181"/>
                    </a:lnTo>
                    <a:lnTo>
                      <a:pt x="9207" y="3181"/>
                    </a:lnTo>
                    <a:lnTo>
                      <a:pt x="9228" y="3118"/>
                    </a:lnTo>
                    <a:lnTo>
                      <a:pt x="9207" y="2909"/>
                    </a:lnTo>
                    <a:lnTo>
                      <a:pt x="9165" y="2657"/>
                    </a:lnTo>
                    <a:lnTo>
                      <a:pt x="9165" y="2490"/>
                    </a:lnTo>
                    <a:lnTo>
                      <a:pt x="9061" y="2239"/>
                    </a:lnTo>
                    <a:lnTo>
                      <a:pt x="9061" y="2134"/>
                    </a:lnTo>
                    <a:lnTo>
                      <a:pt x="8810" y="2113"/>
                    </a:lnTo>
                    <a:lnTo>
                      <a:pt x="8705" y="2197"/>
                    </a:lnTo>
                    <a:lnTo>
                      <a:pt x="8684" y="2218"/>
                    </a:lnTo>
                    <a:lnTo>
                      <a:pt x="8684" y="2385"/>
                    </a:lnTo>
                    <a:lnTo>
                      <a:pt x="8705" y="2427"/>
                    </a:lnTo>
                    <a:lnTo>
                      <a:pt x="8705" y="2637"/>
                    </a:lnTo>
                    <a:lnTo>
                      <a:pt x="8600" y="2720"/>
                    </a:lnTo>
                    <a:lnTo>
                      <a:pt x="8517" y="2846"/>
                    </a:lnTo>
                    <a:lnTo>
                      <a:pt x="8496" y="2971"/>
                    </a:lnTo>
                    <a:lnTo>
                      <a:pt x="8224" y="3160"/>
                    </a:lnTo>
                    <a:lnTo>
                      <a:pt x="8182" y="3327"/>
                    </a:lnTo>
                    <a:lnTo>
                      <a:pt x="8077" y="3453"/>
                    </a:lnTo>
                    <a:lnTo>
                      <a:pt x="7952" y="3432"/>
                    </a:lnTo>
                    <a:lnTo>
                      <a:pt x="7889" y="3453"/>
                    </a:lnTo>
                    <a:lnTo>
                      <a:pt x="7784" y="3599"/>
                    </a:lnTo>
                    <a:lnTo>
                      <a:pt x="7743" y="3557"/>
                    </a:lnTo>
                    <a:lnTo>
                      <a:pt x="7659" y="3557"/>
                    </a:lnTo>
                    <a:lnTo>
                      <a:pt x="7533" y="3599"/>
                    </a:lnTo>
                    <a:lnTo>
                      <a:pt x="7282" y="3453"/>
                    </a:lnTo>
                    <a:lnTo>
                      <a:pt x="6948" y="3348"/>
                    </a:lnTo>
                    <a:lnTo>
                      <a:pt x="6529" y="3390"/>
                    </a:lnTo>
                    <a:lnTo>
                      <a:pt x="6424" y="3390"/>
                    </a:lnTo>
                    <a:lnTo>
                      <a:pt x="6445" y="3264"/>
                    </a:lnTo>
                    <a:lnTo>
                      <a:pt x="6634" y="3076"/>
                    </a:lnTo>
                    <a:lnTo>
                      <a:pt x="6717" y="2846"/>
                    </a:lnTo>
                    <a:lnTo>
                      <a:pt x="6696" y="2720"/>
                    </a:lnTo>
                    <a:lnTo>
                      <a:pt x="6738" y="2616"/>
                    </a:lnTo>
                    <a:lnTo>
                      <a:pt x="6843" y="2532"/>
                    </a:lnTo>
                    <a:lnTo>
                      <a:pt x="6927" y="2406"/>
                    </a:lnTo>
                    <a:lnTo>
                      <a:pt x="6948" y="2281"/>
                    </a:lnTo>
                    <a:lnTo>
                      <a:pt x="6864" y="2134"/>
                    </a:lnTo>
                    <a:lnTo>
                      <a:pt x="6696" y="2009"/>
                    </a:lnTo>
                    <a:lnTo>
                      <a:pt x="6550" y="1862"/>
                    </a:lnTo>
                    <a:lnTo>
                      <a:pt x="6215" y="1800"/>
                    </a:lnTo>
                    <a:lnTo>
                      <a:pt x="5964" y="1674"/>
                    </a:lnTo>
                    <a:lnTo>
                      <a:pt x="5692" y="1465"/>
                    </a:lnTo>
                    <a:lnTo>
                      <a:pt x="5587" y="1444"/>
                    </a:lnTo>
                    <a:lnTo>
                      <a:pt x="5357" y="1339"/>
                    </a:lnTo>
                    <a:lnTo>
                      <a:pt x="5023" y="1256"/>
                    </a:lnTo>
                    <a:lnTo>
                      <a:pt x="4939" y="1088"/>
                    </a:lnTo>
                    <a:lnTo>
                      <a:pt x="4813" y="963"/>
                    </a:lnTo>
                    <a:lnTo>
                      <a:pt x="4667" y="942"/>
                    </a:lnTo>
                    <a:lnTo>
                      <a:pt x="4311" y="565"/>
                    </a:lnTo>
                    <a:lnTo>
                      <a:pt x="4186" y="314"/>
                    </a:lnTo>
                    <a:lnTo>
                      <a:pt x="4081" y="293"/>
                    </a:lnTo>
                    <a:lnTo>
                      <a:pt x="3935" y="147"/>
                    </a:lnTo>
                    <a:lnTo>
                      <a:pt x="3914" y="126"/>
                    </a:lnTo>
                    <a:lnTo>
                      <a:pt x="3809" y="21"/>
                    </a:lnTo>
                    <a:lnTo>
                      <a:pt x="3181" y="21"/>
                    </a:lnTo>
                    <a:lnTo>
                      <a:pt x="3077" y="147"/>
                    </a:lnTo>
                    <a:lnTo>
                      <a:pt x="3077" y="251"/>
                    </a:lnTo>
                    <a:lnTo>
                      <a:pt x="2993" y="356"/>
                    </a:lnTo>
                    <a:lnTo>
                      <a:pt x="2993" y="460"/>
                    </a:lnTo>
                    <a:lnTo>
                      <a:pt x="2951" y="544"/>
                    </a:lnTo>
                    <a:lnTo>
                      <a:pt x="2888" y="460"/>
                    </a:lnTo>
                    <a:lnTo>
                      <a:pt x="2826" y="230"/>
                    </a:lnTo>
                    <a:lnTo>
                      <a:pt x="2784" y="84"/>
                    </a:lnTo>
                    <a:lnTo>
                      <a:pt x="2679" y="42"/>
                    </a:lnTo>
                    <a:lnTo>
                      <a:pt x="2470" y="105"/>
                    </a:lnTo>
                    <a:lnTo>
                      <a:pt x="2344" y="84"/>
                    </a:lnTo>
                    <a:lnTo>
                      <a:pt x="2240" y="105"/>
                    </a:lnTo>
                    <a:lnTo>
                      <a:pt x="2093" y="126"/>
                    </a:lnTo>
                    <a:lnTo>
                      <a:pt x="194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1997" name="Google Shape;1997;p66"/>
              <p:cNvSpPr/>
              <p:nvPr/>
            </p:nvSpPr>
            <p:spPr>
              <a:xfrm>
                <a:off x="2804875" y="4134625"/>
                <a:ext cx="51800" cy="36100"/>
              </a:xfrm>
              <a:custGeom>
                <a:avLst/>
                <a:gdLst/>
                <a:ahLst/>
                <a:cxnLst/>
                <a:rect l="l" t="t" r="r" b="b"/>
                <a:pathLst>
                  <a:path w="2072" h="1444" extrusionOk="0">
                    <a:moveTo>
                      <a:pt x="0" y="0"/>
                    </a:moveTo>
                    <a:lnTo>
                      <a:pt x="272" y="1067"/>
                    </a:lnTo>
                    <a:lnTo>
                      <a:pt x="314" y="1067"/>
                    </a:lnTo>
                    <a:lnTo>
                      <a:pt x="502" y="1046"/>
                    </a:lnTo>
                    <a:lnTo>
                      <a:pt x="670" y="1046"/>
                    </a:lnTo>
                    <a:lnTo>
                      <a:pt x="816" y="1004"/>
                    </a:lnTo>
                    <a:lnTo>
                      <a:pt x="816" y="1046"/>
                    </a:lnTo>
                    <a:lnTo>
                      <a:pt x="712" y="1067"/>
                    </a:lnTo>
                    <a:lnTo>
                      <a:pt x="565" y="1130"/>
                    </a:lnTo>
                    <a:lnTo>
                      <a:pt x="293" y="1130"/>
                    </a:lnTo>
                    <a:lnTo>
                      <a:pt x="356" y="1360"/>
                    </a:lnTo>
                    <a:lnTo>
                      <a:pt x="398" y="1360"/>
                    </a:lnTo>
                    <a:lnTo>
                      <a:pt x="607" y="1276"/>
                    </a:lnTo>
                    <a:lnTo>
                      <a:pt x="837" y="1297"/>
                    </a:lnTo>
                    <a:lnTo>
                      <a:pt x="1005" y="1276"/>
                    </a:lnTo>
                    <a:lnTo>
                      <a:pt x="1235" y="1297"/>
                    </a:lnTo>
                    <a:lnTo>
                      <a:pt x="1360" y="1381"/>
                    </a:lnTo>
                    <a:lnTo>
                      <a:pt x="1507" y="1444"/>
                    </a:lnTo>
                    <a:lnTo>
                      <a:pt x="1632" y="1402"/>
                    </a:lnTo>
                    <a:lnTo>
                      <a:pt x="1737" y="1297"/>
                    </a:lnTo>
                    <a:lnTo>
                      <a:pt x="1758" y="1193"/>
                    </a:lnTo>
                    <a:lnTo>
                      <a:pt x="1883" y="1151"/>
                    </a:lnTo>
                    <a:lnTo>
                      <a:pt x="1946" y="1193"/>
                    </a:lnTo>
                    <a:lnTo>
                      <a:pt x="2072" y="1130"/>
                    </a:lnTo>
                    <a:lnTo>
                      <a:pt x="2072" y="1004"/>
                    </a:lnTo>
                    <a:lnTo>
                      <a:pt x="1967" y="983"/>
                    </a:lnTo>
                    <a:lnTo>
                      <a:pt x="1758" y="1046"/>
                    </a:lnTo>
                    <a:lnTo>
                      <a:pt x="1632" y="1004"/>
                    </a:lnTo>
                    <a:lnTo>
                      <a:pt x="1507" y="879"/>
                    </a:lnTo>
                    <a:lnTo>
                      <a:pt x="1318" y="837"/>
                    </a:lnTo>
                    <a:lnTo>
                      <a:pt x="1256" y="774"/>
                    </a:lnTo>
                    <a:lnTo>
                      <a:pt x="816" y="628"/>
                    </a:lnTo>
                    <a:lnTo>
                      <a:pt x="691" y="607"/>
                    </a:lnTo>
                    <a:lnTo>
                      <a:pt x="691" y="460"/>
                    </a:lnTo>
                    <a:lnTo>
                      <a:pt x="565" y="335"/>
                    </a:lnTo>
                    <a:lnTo>
                      <a:pt x="398" y="314"/>
                    </a:lnTo>
                    <a:lnTo>
                      <a:pt x="314" y="126"/>
                    </a:lnTo>
                    <a:lnTo>
                      <a:pt x="272" y="21"/>
                    </a:lnTo>
                    <a:lnTo>
                      <a:pt x="105" y="42"/>
                    </a:lnTo>
                    <a:lnTo>
                      <a:pt x="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1998" name="Google Shape;1998;p66"/>
            <p:cNvSpPr/>
            <p:nvPr/>
          </p:nvSpPr>
          <p:spPr>
            <a:xfrm>
              <a:off x="4563295" y="2964728"/>
              <a:ext cx="12467" cy="27863"/>
            </a:xfrm>
            <a:custGeom>
              <a:avLst/>
              <a:gdLst/>
              <a:ahLst/>
              <a:cxnLst/>
              <a:rect l="l" t="t" r="r" b="b"/>
              <a:pathLst>
                <a:path w="1047" h="2450" extrusionOk="0">
                  <a:moveTo>
                    <a:pt x="691" y="1"/>
                  </a:moveTo>
                  <a:lnTo>
                    <a:pt x="628" y="43"/>
                  </a:lnTo>
                  <a:lnTo>
                    <a:pt x="628" y="127"/>
                  </a:lnTo>
                  <a:lnTo>
                    <a:pt x="524" y="147"/>
                  </a:lnTo>
                  <a:lnTo>
                    <a:pt x="398" y="315"/>
                  </a:lnTo>
                  <a:lnTo>
                    <a:pt x="294" y="482"/>
                  </a:lnTo>
                  <a:lnTo>
                    <a:pt x="315" y="545"/>
                  </a:lnTo>
                  <a:lnTo>
                    <a:pt x="294" y="629"/>
                  </a:lnTo>
                  <a:lnTo>
                    <a:pt x="231" y="671"/>
                  </a:lnTo>
                  <a:lnTo>
                    <a:pt x="105" y="880"/>
                  </a:lnTo>
                  <a:lnTo>
                    <a:pt x="63" y="1110"/>
                  </a:lnTo>
                  <a:lnTo>
                    <a:pt x="1" y="1152"/>
                  </a:lnTo>
                  <a:lnTo>
                    <a:pt x="63" y="1194"/>
                  </a:lnTo>
                  <a:lnTo>
                    <a:pt x="63" y="1424"/>
                  </a:lnTo>
                  <a:lnTo>
                    <a:pt x="84" y="1675"/>
                  </a:lnTo>
                  <a:lnTo>
                    <a:pt x="126" y="1696"/>
                  </a:lnTo>
                  <a:lnTo>
                    <a:pt x="168" y="1780"/>
                  </a:lnTo>
                  <a:lnTo>
                    <a:pt x="126" y="1780"/>
                  </a:lnTo>
                  <a:lnTo>
                    <a:pt x="105" y="1842"/>
                  </a:lnTo>
                  <a:lnTo>
                    <a:pt x="189" y="1947"/>
                  </a:lnTo>
                  <a:lnTo>
                    <a:pt x="231" y="1947"/>
                  </a:lnTo>
                  <a:lnTo>
                    <a:pt x="273" y="2031"/>
                  </a:lnTo>
                  <a:lnTo>
                    <a:pt x="419" y="2093"/>
                  </a:lnTo>
                  <a:lnTo>
                    <a:pt x="503" y="2219"/>
                  </a:lnTo>
                  <a:lnTo>
                    <a:pt x="503" y="2344"/>
                  </a:lnTo>
                  <a:lnTo>
                    <a:pt x="503" y="2449"/>
                  </a:lnTo>
                  <a:lnTo>
                    <a:pt x="587" y="2407"/>
                  </a:lnTo>
                  <a:lnTo>
                    <a:pt x="691" y="2449"/>
                  </a:lnTo>
                  <a:lnTo>
                    <a:pt x="691" y="2449"/>
                  </a:lnTo>
                  <a:lnTo>
                    <a:pt x="649" y="2324"/>
                  </a:lnTo>
                  <a:lnTo>
                    <a:pt x="691" y="2198"/>
                  </a:lnTo>
                  <a:lnTo>
                    <a:pt x="628" y="2010"/>
                  </a:lnTo>
                  <a:lnTo>
                    <a:pt x="712" y="1884"/>
                  </a:lnTo>
                  <a:lnTo>
                    <a:pt x="859" y="1675"/>
                  </a:lnTo>
                  <a:lnTo>
                    <a:pt x="859" y="1528"/>
                  </a:lnTo>
                  <a:lnTo>
                    <a:pt x="880" y="1487"/>
                  </a:lnTo>
                  <a:lnTo>
                    <a:pt x="838" y="1466"/>
                  </a:lnTo>
                  <a:lnTo>
                    <a:pt x="880" y="1256"/>
                  </a:lnTo>
                  <a:lnTo>
                    <a:pt x="880" y="1089"/>
                  </a:lnTo>
                  <a:lnTo>
                    <a:pt x="859" y="943"/>
                  </a:lnTo>
                  <a:lnTo>
                    <a:pt x="942" y="796"/>
                  </a:lnTo>
                  <a:lnTo>
                    <a:pt x="963" y="524"/>
                  </a:lnTo>
                  <a:lnTo>
                    <a:pt x="1005" y="357"/>
                  </a:lnTo>
                  <a:lnTo>
                    <a:pt x="1047" y="336"/>
                  </a:lnTo>
                  <a:lnTo>
                    <a:pt x="1026" y="252"/>
                  </a:lnTo>
                  <a:lnTo>
                    <a:pt x="921" y="168"/>
                  </a:lnTo>
                  <a:lnTo>
                    <a:pt x="880" y="168"/>
                  </a:lnTo>
                  <a:lnTo>
                    <a:pt x="817" y="43"/>
                  </a:lnTo>
                  <a:lnTo>
                    <a:pt x="69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1999" name="Google Shape;1999;p66"/>
            <p:cNvGrpSpPr/>
            <p:nvPr/>
          </p:nvGrpSpPr>
          <p:grpSpPr>
            <a:xfrm>
              <a:off x="3790439" y="2408636"/>
              <a:ext cx="73017" cy="75684"/>
              <a:chOff x="3781475" y="1624825"/>
              <a:chExt cx="153300" cy="166375"/>
            </a:xfrm>
          </p:grpSpPr>
          <p:sp>
            <p:nvSpPr>
              <p:cNvPr id="2000" name="Google Shape;2000;p66"/>
              <p:cNvSpPr/>
              <p:nvPr/>
            </p:nvSpPr>
            <p:spPr>
              <a:xfrm>
                <a:off x="3845300" y="1624825"/>
                <a:ext cx="89475" cy="60700"/>
              </a:xfrm>
              <a:custGeom>
                <a:avLst/>
                <a:gdLst/>
                <a:ahLst/>
                <a:cxnLst/>
                <a:rect l="l" t="t" r="r" b="b"/>
                <a:pathLst>
                  <a:path w="3579" h="2428" extrusionOk="0">
                    <a:moveTo>
                      <a:pt x="1695" y="1"/>
                    </a:moveTo>
                    <a:lnTo>
                      <a:pt x="1674" y="84"/>
                    </a:lnTo>
                    <a:lnTo>
                      <a:pt x="1716" y="168"/>
                    </a:lnTo>
                    <a:lnTo>
                      <a:pt x="1758" y="252"/>
                    </a:lnTo>
                    <a:lnTo>
                      <a:pt x="1674" y="210"/>
                    </a:lnTo>
                    <a:lnTo>
                      <a:pt x="1611" y="168"/>
                    </a:lnTo>
                    <a:lnTo>
                      <a:pt x="1570" y="189"/>
                    </a:lnTo>
                    <a:lnTo>
                      <a:pt x="1570" y="293"/>
                    </a:lnTo>
                    <a:lnTo>
                      <a:pt x="1653" y="377"/>
                    </a:lnTo>
                    <a:lnTo>
                      <a:pt x="1653" y="482"/>
                    </a:lnTo>
                    <a:lnTo>
                      <a:pt x="1611" y="586"/>
                    </a:lnTo>
                    <a:lnTo>
                      <a:pt x="1611" y="712"/>
                    </a:lnTo>
                    <a:lnTo>
                      <a:pt x="1674" y="879"/>
                    </a:lnTo>
                    <a:lnTo>
                      <a:pt x="1653" y="984"/>
                    </a:lnTo>
                    <a:lnTo>
                      <a:pt x="1591" y="984"/>
                    </a:lnTo>
                    <a:lnTo>
                      <a:pt x="1570" y="879"/>
                    </a:lnTo>
                    <a:lnTo>
                      <a:pt x="1465" y="796"/>
                    </a:lnTo>
                    <a:lnTo>
                      <a:pt x="1360" y="733"/>
                    </a:lnTo>
                    <a:lnTo>
                      <a:pt x="1339" y="670"/>
                    </a:lnTo>
                    <a:lnTo>
                      <a:pt x="1381" y="586"/>
                    </a:lnTo>
                    <a:lnTo>
                      <a:pt x="1381" y="524"/>
                    </a:lnTo>
                    <a:lnTo>
                      <a:pt x="1298" y="503"/>
                    </a:lnTo>
                    <a:lnTo>
                      <a:pt x="1193" y="565"/>
                    </a:lnTo>
                    <a:lnTo>
                      <a:pt x="1151" y="565"/>
                    </a:lnTo>
                    <a:lnTo>
                      <a:pt x="1130" y="607"/>
                    </a:lnTo>
                    <a:lnTo>
                      <a:pt x="1026" y="670"/>
                    </a:lnTo>
                    <a:lnTo>
                      <a:pt x="942" y="628"/>
                    </a:lnTo>
                    <a:lnTo>
                      <a:pt x="942" y="586"/>
                    </a:lnTo>
                    <a:lnTo>
                      <a:pt x="942" y="524"/>
                    </a:lnTo>
                    <a:lnTo>
                      <a:pt x="879" y="524"/>
                    </a:lnTo>
                    <a:lnTo>
                      <a:pt x="816" y="461"/>
                    </a:lnTo>
                    <a:lnTo>
                      <a:pt x="775" y="356"/>
                    </a:lnTo>
                    <a:lnTo>
                      <a:pt x="712" y="314"/>
                    </a:lnTo>
                    <a:lnTo>
                      <a:pt x="649" y="356"/>
                    </a:lnTo>
                    <a:lnTo>
                      <a:pt x="565" y="273"/>
                    </a:lnTo>
                    <a:lnTo>
                      <a:pt x="607" y="189"/>
                    </a:lnTo>
                    <a:lnTo>
                      <a:pt x="565" y="84"/>
                    </a:lnTo>
                    <a:lnTo>
                      <a:pt x="523" y="63"/>
                    </a:lnTo>
                    <a:lnTo>
                      <a:pt x="461" y="147"/>
                    </a:lnTo>
                    <a:lnTo>
                      <a:pt x="440" y="293"/>
                    </a:lnTo>
                    <a:lnTo>
                      <a:pt x="461" y="419"/>
                    </a:lnTo>
                    <a:lnTo>
                      <a:pt x="544" y="565"/>
                    </a:lnTo>
                    <a:lnTo>
                      <a:pt x="565" y="712"/>
                    </a:lnTo>
                    <a:lnTo>
                      <a:pt x="523" y="733"/>
                    </a:lnTo>
                    <a:lnTo>
                      <a:pt x="440" y="649"/>
                    </a:lnTo>
                    <a:lnTo>
                      <a:pt x="419" y="545"/>
                    </a:lnTo>
                    <a:lnTo>
                      <a:pt x="398" y="524"/>
                    </a:lnTo>
                    <a:lnTo>
                      <a:pt x="398" y="628"/>
                    </a:lnTo>
                    <a:lnTo>
                      <a:pt x="419" y="754"/>
                    </a:lnTo>
                    <a:lnTo>
                      <a:pt x="461" y="837"/>
                    </a:lnTo>
                    <a:lnTo>
                      <a:pt x="461" y="921"/>
                    </a:lnTo>
                    <a:lnTo>
                      <a:pt x="440" y="1005"/>
                    </a:lnTo>
                    <a:lnTo>
                      <a:pt x="419" y="984"/>
                    </a:lnTo>
                    <a:lnTo>
                      <a:pt x="356" y="837"/>
                    </a:lnTo>
                    <a:lnTo>
                      <a:pt x="314" y="796"/>
                    </a:lnTo>
                    <a:lnTo>
                      <a:pt x="105" y="817"/>
                    </a:lnTo>
                    <a:lnTo>
                      <a:pt x="21" y="775"/>
                    </a:lnTo>
                    <a:lnTo>
                      <a:pt x="0" y="775"/>
                    </a:lnTo>
                    <a:lnTo>
                      <a:pt x="63" y="879"/>
                    </a:lnTo>
                    <a:lnTo>
                      <a:pt x="126" y="879"/>
                    </a:lnTo>
                    <a:lnTo>
                      <a:pt x="189" y="921"/>
                    </a:lnTo>
                    <a:lnTo>
                      <a:pt x="168" y="984"/>
                    </a:lnTo>
                    <a:lnTo>
                      <a:pt x="189" y="1026"/>
                    </a:lnTo>
                    <a:lnTo>
                      <a:pt x="293" y="1026"/>
                    </a:lnTo>
                    <a:lnTo>
                      <a:pt x="314" y="1068"/>
                    </a:lnTo>
                    <a:lnTo>
                      <a:pt x="168" y="1172"/>
                    </a:lnTo>
                    <a:lnTo>
                      <a:pt x="168" y="1235"/>
                    </a:lnTo>
                    <a:lnTo>
                      <a:pt x="293" y="1423"/>
                    </a:lnTo>
                    <a:lnTo>
                      <a:pt x="377" y="1444"/>
                    </a:lnTo>
                    <a:lnTo>
                      <a:pt x="461" y="1486"/>
                    </a:lnTo>
                    <a:lnTo>
                      <a:pt x="607" y="1486"/>
                    </a:lnTo>
                    <a:lnTo>
                      <a:pt x="691" y="1465"/>
                    </a:lnTo>
                    <a:lnTo>
                      <a:pt x="754" y="1528"/>
                    </a:lnTo>
                    <a:lnTo>
                      <a:pt x="816" y="1528"/>
                    </a:lnTo>
                    <a:lnTo>
                      <a:pt x="942" y="1444"/>
                    </a:lnTo>
                    <a:lnTo>
                      <a:pt x="1026" y="1423"/>
                    </a:lnTo>
                    <a:lnTo>
                      <a:pt x="1235" y="1381"/>
                    </a:lnTo>
                    <a:lnTo>
                      <a:pt x="1381" y="1381"/>
                    </a:lnTo>
                    <a:lnTo>
                      <a:pt x="1465" y="1340"/>
                    </a:lnTo>
                    <a:lnTo>
                      <a:pt x="1528" y="1340"/>
                    </a:lnTo>
                    <a:lnTo>
                      <a:pt x="1570" y="1361"/>
                    </a:lnTo>
                    <a:lnTo>
                      <a:pt x="1570" y="1423"/>
                    </a:lnTo>
                    <a:lnTo>
                      <a:pt x="1549" y="1465"/>
                    </a:lnTo>
                    <a:lnTo>
                      <a:pt x="1507" y="1549"/>
                    </a:lnTo>
                    <a:lnTo>
                      <a:pt x="1465" y="1570"/>
                    </a:lnTo>
                    <a:lnTo>
                      <a:pt x="1339" y="1549"/>
                    </a:lnTo>
                    <a:lnTo>
                      <a:pt x="1214" y="1549"/>
                    </a:lnTo>
                    <a:lnTo>
                      <a:pt x="1109" y="1528"/>
                    </a:lnTo>
                    <a:lnTo>
                      <a:pt x="1067" y="1570"/>
                    </a:lnTo>
                    <a:lnTo>
                      <a:pt x="1130" y="1591"/>
                    </a:lnTo>
                    <a:lnTo>
                      <a:pt x="1298" y="1653"/>
                    </a:lnTo>
                    <a:lnTo>
                      <a:pt x="1360" y="1695"/>
                    </a:lnTo>
                    <a:lnTo>
                      <a:pt x="1360" y="1758"/>
                    </a:lnTo>
                    <a:lnTo>
                      <a:pt x="1298" y="1758"/>
                    </a:lnTo>
                    <a:lnTo>
                      <a:pt x="1172" y="1695"/>
                    </a:lnTo>
                    <a:lnTo>
                      <a:pt x="1151" y="1758"/>
                    </a:lnTo>
                    <a:lnTo>
                      <a:pt x="1088" y="1758"/>
                    </a:lnTo>
                    <a:lnTo>
                      <a:pt x="984" y="1674"/>
                    </a:lnTo>
                    <a:lnTo>
                      <a:pt x="900" y="1653"/>
                    </a:lnTo>
                    <a:lnTo>
                      <a:pt x="754" y="1695"/>
                    </a:lnTo>
                    <a:lnTo>
                      <a:pt x="754" y="1758"/>
                    </a:lnTo>
                    <a:lnTo>
                      <a:pt x="837" y="1779"/>
                    </a:lnTo>
                    <a:lnTo>
                      <a:pt x="1047" y="1967"/>
                    </a:lnTo>
                    <a:lnTo>
                      <a:pt x="1130" y="1988"/>
                    </a:lnTo>
                    <a:lnTo>
                      <a:pt x="1235" y="1946"/>
                    </a:lnTo>
                    <a:lnTo>
                      <a:pt x="1277" y="1967"/>
                    </a:lnTo>
                    <a:lnTo>
                      <a:pt x="1339" y="2072"/>
                    </a:lnTo>
                    <a:lnTo>
                      <a:pt x="1339" y="2156"/>
                    </a:lnTo>
                    <a:lnTo>
                      <a:pt x="1423" y="2177"/>
                    </a:lnTo>
                    <a:lnTo>
                      <a:pt x="1507" y="2156"/>
                    </a:lnTo>
                    <a:lnTo>
                      <a:pt x="1674" y="2156"/>
                    </a:lnTo>
                    <a:lnTo>
                      <a:pt x="1842" y="2093"/>
                    </a:lnTo>
                    <a:lnTo>
                      <a:pt x="1946" y="2093"/>
                    </a:lnTo>
                    <a:lnTo>
                      <a:pt x="2093" y="2072"/>
                    </a:lnTo>
                    <a:lnTo>
                      <a:pt x="2093" y="2114"/>
                    </a:lnTo>
                    <a:lnTo>
                      <a:pt x="2072" y="2218"/>
                    </a:lnTo>
                    <a:lnTo>
                      <a:pt x="2093" y="2323"/>
                    </a:lnTo>
                    <a:lnTo>
                      <a:pt x="2218" y="2407"/>
                    </a:lnTo>
                    <a:lnTo>
                      <a:pt x="2365" y="2428"/>
                    </a:lnTo>
                    <a:lnTo>
                      <a:pt x="2532" y="2386"/>
                    </a:lnTo>
                    <a:lnTo>
                      <a:pt x="2574" y="2323"/>
                    </a:lnTo>
                    <a:lnTo>
                      <a:pt x="2532" y="2281"/>
                    </a:lnTo>
                    <a:lnTo>
                      <a:pt x="2532" y="2218"/>
                    </a:lnTo>
                    <a:lnTo>
                      <a:pt x="2595" y="2156"/>
                    </a:lnTo>
                    <a:lnTo>
                      <a:pt x="2699" y="2051"/>
                    </a:lnTo>
                    <a:lnTo>
                      <a:pt x="2783" y="2009"/>
                    </a:lnTo>
                    <a:lnTo>
                      <a:pt x="2846" y="2072"/>
                    </a:lnTo>
                    <a:lnTo>
                      <a:pt x="2930" y="2114"/>
                    </a:lnTo>
                    <a:lnTo>
                      <a:pt x="3034" y="2114"/>
                    </a:lnTo>
                    <a:lnTo>
                      <a:pt x="3160" y="2051"/>
                    </a:lnTo>
                    <a:lnTo>
                      <a:pt x="3202" y="1988"/>
                    </a:lnTo>
                    <a:lnTo>
                      <a:pt x="3160" y="1842"/>
                    </a:lnTo>
                    <a:lnTo>
                      <a:pt x="3139" y="1758"/>
                    </a:lnTo>
                    <a:lnTo>
                      <a:pt x="3181" y="1674"/>
                    </a:lnTo>
                    <a:lnTo>
                      <a:pt x="3264" y="1591"/>
                    </a:lnTo>
                    <a:lnTo>
                      <a:pt x="3348" y="1423"/>
                    </a:lnTo>
                    <a:lnTo>
                      <a:pt x="3432" y="1319"/>
                    </a:lnTo>
                    <a:lnTo>
                      <a:pt x="3557" y="1172"/>
                    </a:lnTo>
                    <a:lnTo>
                      <a:pt x="3578" y="1068"/>
                    </a:lnTo>
                    <a:lnTo>
                      <a:pt x="3578" y="1005"/>
                    </a:lnTo>
                    <a:lnTo>
                      <a:pt x="3557" y="900"/>
                    </a:lnTo>
                    <a:lnTo>
                      <a:pt x="3536" y="817"/>
                    </a:lnTo>
                    <a:lnTo>
                      <a:pt x="3557" y="754"/>
                    </a:lnTo>
                    <a:lnTo>
                      <a:pt x="3557" y="712"/>
                    </a:lnTo>
                    <a:lnTo>
                      <a:pt x="3516" y="691"/>
                    </a:lnTo>
                    <a:lnTo>
                      <a:pt x="3348" y="691"/>
                    </a:lnTo>
                    <a:lnTo>
                      <a:pt x="3264" y="607"/>
                    </a:lnTo>
                    <a:lnTo>
                      <a:pt x="3223" y="607"/>
                    </a:lnTo>
                    <a:lnTo>
                      <a:pt x="3034" y="628"/>
                    </a:lnTo>
                    <a:lnTo>
                      <a:pt x="2930" y="607"/>
                    </a:lnTo>
                    <a:lnTo>
                      <a:pt x="2846" y="545"/>
                    </a:lnTo>
                    <a:lnTo>
                      <a:pt x="2741" y="545"/>
                    </a:lnTo>
                    <a:lnTo>
                      <a:pt x="2679" y="503"/>
                    </a:lnTo>
                    <a:lnTo>
                      <a:pt x="2679" y="440"/>
                    </a:lnTo>
                    <a:lnTo>
                      <a:pt x="2637" y="419"/>
                    </a:lnTo>
                    <a:lnTo>
                      <a:pt x="2532" y="482"/>
                    </a:lnTo>
                    <a:lnTo>
                      <a:pt x="2532" y="419"/>
                    </a:lnTo>
                    <a:lnTo>
                      <a:pt x="2532" y="335"/>
                    </a:lnTo>
                    <a:lnTo>
                      <a:pt x="2532" y="293"/>
                    </a:lnTo>
                    <a:lnTo>
                      <a:pt x="2490" y="335"/>
                    </a:lnTo>
                    <a:lnTo>
                      <a:pt x="2469" y="440"/>
                    </a:lnTo>
                    <a:lnTo>
                      <a:pt x="2407" y="482"/>
                    </a:lnTo>
                    <a:lnTo>
                      <a:pt x="2386" y="335"/>
                    </a:lnTo>
                    <a:lnTo>
                      <a:pt x="2344" y="335"/>
                    </a:lnTo>
                    <a:lnTo>
                      <a:pt x="2302" y="398"/>
                    </a:lnTo>
                    <a:lnTo>
                      <a:pt x="2323" y="440"/>
                    </a:lnTo>
                    <a:lnTo>
                      <a:pt x="2302" y="503"/>
                    </a:lnTo>
                    <a:lnTo>
                      <a:pt x="2093" y="503"/>
                    </a:lnTo>
                    <a:lnTo>
                      <a:pt x="2093" y="607"/>
                    </a:lnTo>
                    <a:lnTo>
                      <a:pt x="2072" y="691"/>
                    </a:lnTo>
                    <a:lnTo>
                      <a:pt x="1988" y="670"/>
                    </a:lnTo>
                    <a:lnTo>
                      <a:pt x="1967" y="586"/>
                    </a:lnTo>
                    <a:lnTo>
                      <a:pt x="1925" y="586"/>
                    </a:lnTo>
                    <a:lnTo>
                      <a:pt x="1925" y="670"/>
                    </a:lnTo>
                    <a:lnTo>
                      <a:pt x="1904" y="733"/>
                    </a:lnTo>
                    <a:lnTo>
                      <a:pt x="1883" y="691"/>
                    </a:lnTo>
                    <a:lnTo>
                      <a:pt x="1883" y="607"/>
                    </a:lnTo>
                    <a:lnTo>
                      <a:pt x="1904" y="482"/>
                    </a:lnTo>
                    <a:lnTo>
                      <a:pt x="1904" y="252"/>
                    </a:lnTo>
                    <a:lnTo>
                      <a:pt x="1883" y="168"/>
                    </a:lnTo>
                    <a:lnTo>
                      <a:pt x="1779" y="84"/>
                    </a:lnTo>
                    <a:lnTo>
                      <a:pt x="171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1" name="Google Shape;2001;p66"/>
              <p:cNvSpPr/>
              <p:nvPr/>
            </p:nvSpPr>
            <p:spPr>
              <a:xfrm>
                <a:off x="3875625" y="1704850"/>
                <a:ext cx="21475" cy="18350"/>
              </a:xfrm>
              <a:custGeom>
                <a:avLst/>
                <a:gdLst/>
                <a:ahLst/>
                <a:cxnLst/>
                <a:rect l="l" t="t" r="r" b="b"/>
                <a:pathLst>
                  <a:path w="859" h="734" extrusionOk="0">
                    <a:moveTo>
                      <a:pt x="650" y="1"/>
                    </a:moveTo>
                    <a:lnTo>
                      <a:pt x="587" y="43"/>
                    </a:lnTo>
                    <a:lnTo>
                      <a:pt x="419" y="126"/>
                    </a:lnTo>
                    <a:lnTo>
                      <a:pt x="419" y="43"/>
                    </a:lnTo>
                    <a:lnTo>
                      <a:pt x="357" y="43"/>
                    </a:lnTo>
                    <a:lnTo>
                      <a:pt x="273" y="105"/>
                    </a:lnTo>
                    <a:lnTo>
                      <a:pt x="252" y="147"/>
                    </a:lnTo>
                    <a:lnTo>
                      <a:pt x="231" y="210"/>
                    </a:lnTo>
                    <a:lnTo>
                      <a:pt x="126" y="189"/>
                    </a:lnTo>
                    <a:lnTo>
                      <a:pt x="64" y="252"/>
                    </a:lnTo>
                    <a:lnTo>
                      <a:pt x="1" y="315"/>
                    </a:lnTo>
                    <a:lnTo>
                      <a:pt x="64" y="357"/>
                    </a:lnTo>
                    <a:lnTo>
                      <a:pt x="210" y="357"/>
                    </a:lnTo>
                    <a:lnTo>
                      <a:pt x="252" y="461"/>
                    </a:lnTo>
                    <a:lnTo>
                      <a:pt x="273" y="524"/>
                    </a:lnTo>
                    <a:lnTo>
                      <a:pt x="273" y="608"/>
                    </a:lnTo>
                    <a:lnTo>
                      <a:pt x="336" y="629"/>
                    </a:lnTo>
                    <a:lnTo>
                      <a:pt x="273" y="712"/>
                    </a:lnTo>
                    <a:lnTo>
                      <a:pt x="357" y="712"/>
                    </a:lnTo>
                    <a:lnTo>
                      <a:pt x="419" y="733"/>
                    </a:lnTo>
                    <a:lnTo>
                      <a:pt x="440" y="670"/>
                    </a:lnTo>
                    <a:lnTo>
                      <a:pt x="587" y="608"/>
                    </a:lnTo>
                    <a:lnTo>
                      <a:pt x="670" y="608"/>
                    </a:lnTo>
                    <a:lnTo>
                      <a:pt x="754" y="524"/>
                    </a:lnTo>
                    <a:lnTo>
                      <a:pt x="733" y="461"/>
                    </a:lnTo>
                    <a:lnTo>
                      <a:pt x="754" y="315"/>
                    </a:lnTo>
                    <a:lnTo>
                      <a:pt x="796" y="294"/>
                    </a:lnTo>
                    <a:lnTo>
                      <a:pt x="859" y="189"/>
                    </a:lnTo>
                    <a:lnTo>
                      <a:pt x="796" y="105"/>
                    </a:lnTo>
                    <a:lnTo>
                      <a:pt x="733" y="85"/>
                    </a:lnTo>
                    <a:lnTo>
                      <a:pt x="670" y="22"/>
                    </a:lnTo>
                    <a:lnTo>
                      <a:pt x="65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2" name="Google Shape;2002;p66"/>
              <p:cNvSpPr/>
              <p:nvPr/>
            </p:nvSpPr>
            <p:spPr>
              <a:xfrm>
                <a:off x="3883475" y="1716375"/>
                <a:ext cx="39275" cy="43425"/>
              </a:xfrm>
              <a:custGeom>
                <a:avLst/>
                <a:gdLst/>
                <a:ahLst/>
                <a:cxnLst/>
                <a:rect l="l" t="t" r="r" b="b"/>
                <a:pathLst>
                  <a:path w="1571" h="1737" extrusionOk="0">
                    <a:moveTo>
                      <a:pt x="796" y="0"/>
                    </a:moveTo>
                    <a:lnTo>
                      <a:pt x="649" y="105"/>
                    </a:lnTo>
                    <a:lnTo>
                      <a:pt x="482" y="251"/>
                    </a:lnTo>
                    <a:lnTo>
                      <a:pt x="377" y="251"/>
                    </a:lnTo>
                    <a:lnTo>
                      <a:pt x="147" y="293"/>
                    </a:lnTo>
                    <a:lnTo>
                      <a:pt x="43" y="398"/>
                    </a:lnTo>
                    <a:lnTo>
                      <a:pt x="1" y="502"/>
                    </a:lnTo>
                    <a:lnTo>
                      <a:pt x="105" y="565"/>
                    </a:lnTo>
                    <a:lnTo>
                      <a:pt x="168" y="670"/>
                    </a:lnTo>
                    <a:lnTo>
                      <a:pt x="273" y="670"/>
                    </a:lnTo>
                    <a:lnTo>
                      <a:pt x="315" y="712"/>
                    </a:lnTo>
                    <a:lnTo>
                      <a:pt x="273" y="795"/>
                    </a:lnTo>
                    <a:lnTo>
                      <a:pt x="273" y="900"/>
                    </a:lnTo>
                    <a:lnTo>
                      <a:pt x="168" y="1046"/>
                    </a:lnTo>
                    <a:lnTo>
                      <a:pt x="147" y="1235"/>
                    </a:lnTo>
                    <a:lnTo>
                      <a:pt x="64" y="1297"/>
                    </a:lnTo>
                    <a:lnTo>
                      <a:pt x="105" y="1402"/>
                    </a:lnTo>
                    <a:lnTo>
                      <a:pt x="43" y="1444"/>
                    </a:lnTo>
                    <a:lnTo>
                      <a:pt x="64" y="1548"/>
                    </a:lnTo>
                    <a:lnTo>
                      <a:pt x="126" y="1548"/>
                    </a:lnTo>
                    <a:lnTo>
                      <a:pt x="210" y="1507"/>
                    </a:lnTo>
                    <a:lnTo>
                      <a:pt x="315" y="1465"/>
                    </a:lnTo>
                    <a:lnTo>
                      <a:pt x="440" y="1402"/>
                    </a:lnTo>
                    <a:lnTo>
                      <a:pt x="524" y="1402"/>
                    </a:lnTo>
                    <a:lnTo>
                      <a:pt x="587" y="1318"/>
                    </a:lnTo>
                    <a:lnTo>
                      <a:pt x="649" y="1193"/>
                    </a:lnTo>
                    <a:lnTo>
                      <a:pt x="691" y="1151"/>
                    </a:lnTo>
                    <a:lnTo>
                      <a:pt x="796" y="1151"/>
                    </a:lnTo>
                    <a:lnTo>
                      <a:pt x="838" y="1130"/>
                    </a:lnTo>
                    <a:lnTo>
                      <a:pt x="838" y="1235"/>
                    </a:lnTo>
                    <a:lnTo>
                      <a:pt x="796" y="1423"/>
                    </a:lnTo>
                    <a:lnTo>
                      <a:pt x="796" y="1548"/>
                    </a:lnTo>
                    <a:lnTo>
                      <a:pt x="754" y="1632"/>
                    </a:lnTo>
                    <a:lnTo>
                      <a:pt x="775" y="1737"/>
                    </a:lnTo>
                    <a:lnTo>
                      <a:pt x="859" y="1737"/>
                    </a:lnTo>
                    <a:lnTo>
                      <a:pt x="942" y="1653"/>
                    </a:lnTo>
                    <a:lnTo>
                      <a:pt x="942" y="1569"/>
                    </a:lnTo>
                    <a:lnTo>
                      <a:pt x="984" y="1465"/>
                    </a:lnTo>
                    <a:lnTo>
                      <a:pt x="1089" y="1423"/>
                    </a:lnTo>
                    <a:lnTo>
                      <a:pt x="1193" y="1402"/>
                    </a:lnTo>
                    <a:lnTo>
                      <a:pt x="1277" y="1151"/>
                    </a:lnTo>
                    <a:lnTo>
                      <a:pt x="1277" y="1046"/>
                    </a:lnTo>
                    <a:lnTo>
                      <a:pt x="1382" y="900"/>
                    </a:lnTo>
                    <a:lnTo>
                      <a:pt x="1507" y="837"/>
                    </a:lnTo>
                    <a:lnTo>
                      <a:pt x="1570" y="795"/>
                    </a:lnTo>
                    <a:lnTo>
                      <a:pt x="1465" y="732"/>
                    </a:lnTo>
                    <a:lnTo>
                      <a:pt x="1403" y="691"/>
                    </a:lnTo>
                    <a:lnTo>
                      <a:pt x="1298" y="628"/>
                    </a:lnTo>
                    <a:lnTo>
                      <a:pt x="1172" y="712"/>
                    </a:lnTo>
                    <a:lnTo>
                      <a:pt x="1089" y="774"/>
                    </a:lnTo>
                    <a:lnTo>
                      <a:pt x="963" y="691"/>
                    </a:lnTo>
                    <a:lnTo>
                      <a:pt x="838" y="565"/>
                    </a:lnTo>
                    <a:lnTo>
                      <a:pt x="796" y="398"/>
                    </a:lnTo>
                    <a:lnTo>
                      <a:pt x="838" y="356"/>
                    </a:lnTo>
                    <a:lnTo>
                      <a:pt x="942" y="314"/>
                    </a:lnTo>
                    <a:lnTo>
                      <a:pt x="942" y="272"/>
                    </a:lnTo>
                    <a:lnTo>
                      <a:pt x="859" y="147"/>
                    </a:lnTo>
                    <a:lnTo>
                      <a:pt x="79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3" name="Google Shape;2003;p66"/>
              <p:cNvSpPr/>
              <p:nvPr/>
            </p:nvSpPr>
            <p:spPr>
              <a:xfrm>
                <a:off x="3781475" y="1649925"/>
                <a:ext cx="102550" cy="141275"/>
              </a:xfrm>
              <a:custGeom>
                <a:avLst/>
                <a:gdLst/>
                <a:ahLst/>
                <a:cxnLst/>
                <a:rect l="l" t="t" r="r" b="b"/>
                <a:pathLst>
                  <a:path w="4102" h="5651" extrusionOk="0">
                    <a:moveTo>
                      <a:pt x="1988" y="1"/>
                    </a:moveTo>
                    <a:lnTo>
                      <a:pt x="1926" y="22"/>
                    </a:lnTo>
                    <a:lnTo>
                      <a:pt x="1842" y="126"/>
                    </a:lnTo>
                    <a:lnTo>
                      <a:pt x="1884" y="315"/>
                    </a:lnTo>
                    <a:lnTo>
                      <a:pt x="1821" y="419"/>
                    </a:lnTo>
                    <a:lnTo>
                      <a:pt x="1821" y="524"/>
                    </a:lnTo>
                    <a:lnTo>
                      <a:pt x="1800" y="629"/>
                    </a:lnTo>
                    <a:lnTo>
                      <a:pt x="1842" y="649"/>
                    </a:lnTo>
                    <a:lnTo>
                      <a:pt x="1884" y="733"/>
                    </a:lnTo>
                    <a:lnTo>
                      <a:pt x="1884" y="1068"/>
                    </a:lnTo>
                    <a:lnTo>
                      <a:pt x="1884" y="1235"/>
                    </a:lnTo>
                    <a:lnTo>
                      <a:pt x="1926" y="1361"/>
                    </a:lnTo>
                    <a:lnTo>
                      <a:pt x="2030" y="1507"/>
                    </a:lnTo>
                    <a:lnTo>
                      <a:pt x="2030" y="1654"/>
                    </a:lnTo>
                    <a:lnTo>
                      <a:pt x="2135" y="1779"/>
                    </a:lnTo>
                    <a:lnTo>
                      <a:pt x="2135" y="1863"/>
                    </a:lnTo>
                    <a:lnTo>
                      <a:pt x="2051" y="1863"/>
                    </a:lnTo>
                    <a:lnTo>
                      <a:pt x="2009" y="1800"/>
                    </a:lnTo>
                    <a:lnTo>
                      <a:pt x="1926" y="1612"/>
                    </a:lnTo>
                    <a:lnTo>
                      <a:pt x="1842" y="1507"/>
                    </a:lnTo>
                    <a:lnTo>
                      <a:pt x="1800" y="1507"/>
                    </a:lnTo>
                    <a:lnTo>
                      <a:pt x="1716" y="1570"/>
                    </a:lnTo>
                    <a:lnTo>
                      <a:pt x="1675" y="1549"/>
                    </a:lnTo>
                    <a:lnTo>
                      <a:pt x="1675" y="1486"/>
                    </a:lnTo>
                    <a:lnTo>
                      <a:pt x="1737" y="1403"/>
                    </a:lnTo>
                    <a:lnTo>
                      <a:pt x="1779" y="1361"/>
                    </a:lnTo>
                    <a:lnTo>
                      <a:pt x="1779" y="1256"/>
                    </a:lnTo>
                    <a:lnTo>
                      <a:pt x="1695" y="1026"/>
                    </a:lnTo>
                    <a:lnTo>
                      <a:pt x="1695" y="817"/>
                    </a:lnTo>
                    <a:lnTo>
                      <a:pt x="1675" y="733"/>
                    </a:lnTo>
                    <a:lnTo>
                      <a:pt x="1528" y="649"/>
                    </a:lnTo>
                    <a:lnTo>
                      <a:pt x="1465" y="524"/>
                    </a:lnTo>
                    <a:lnTo>
                      <a:pt x="1382" y="503"/>
                    </a:lnTo>
                    <a:lnTo>
                      <a:pt x="1319" y="545"/>
                    </a:lnTo>
                    <a:lnTo>
                      <a:pt x="1319" y="670"/>
                    </a:lnTo>
                    <a:lnTo>
                      <a:pt x="1193" y="838"/>
                    </a:lnTo>
                    <a:lnTo>
                      <a:pt x="1172" y="963"/>
                    </a:lnTo>
                    <a:lnTo>
                      <a:pt x="1193" y="1089"/>
                    </a:lnTo>
                    <a:lnTo>
                      <a:pt x="1256" y="1235"/>
                    </a:lnTo>
                    <a:lnTo>
                      <a:pt x="1277" y="1403"/>
                    </a:lnTo>
                    <a:lnTo>
                      <a:pt x="1214" y="1382"/>
                    </a:lnTo>
                    <a:lnTo>
                      <a:pt x="1172" y="1298"/>
                    </a:lnTo>
                    <a:lnTo>
                      <a:pt x="1151" y="1173"/>
                    </a:lnTo>
                    <a:lnTo>
                      <a:pt x="1172" y="1089"/>
                    </a:lnTo>
                    <a:lnTo>
                      <a:pt x="1110" y="1068"/>
                    </a:lnTo>
                    <a:lnTo>
                      <a:pt x="1068" y="984"/>
                    </a:lnTo>
                    <a:lnTo>
                      <a:pt x="1047" y="984"/>
                    </a:lnTo>
                    <a:lnTo>
                      <a:pt x="984" y="1047"/>
                    </a:lnTo>
                    <a:lnTo>
                      <a:pt x="942" y="1026"/>
                    </a:lnTo>
                    <a:lnTo>
                      <a:pt x="942" y="942"/>
                    </a:lnTo>
                    <a:lnTo>
                      <a:pt x="1047" y="859"/>
                    </a:lnTo>
                    <a:lnTo>
                      <a:pt x="1047" y="838"/>
                    </a:lnTo>
                    <a:lnTo>
                      <a:pt x="984" y="817"/>
                    </a:lnTo>
                    <a:lnTo>
                      <a:pt x="859" y="859"/>
                    </a:lnTo>
                    <a:lnTo>
                      <a:pt x="775" y="921"/>
                    </a:lnTo>
                    <a:lnTo>
                      <a:pt x="691" y="859"/>
                    </a:lnTo>
                    <a:lnTo>
                      <a:pt x="733" y="817"/>
                    </a:lnTo>
                    <a:lnTo>
                      <a:pt x="775" y="775"/>
                    </a:lnTo>
                    <a:lnTo>
                      <a:pt x="796" y="733"/>
                    </a:lnTo>
                    <a:lnTo>
                      <a:pt x="900" y="629"/>
                    </a:lnTo>
                    <a:lnTo>
                      <a:pt x="984" y="629"/>
                    </a:lnTo>
                    <a:lnTo>
                      <a:pt x="1005" y="649"/>
                    </a:lnTo>
                    <a:lnTo>
                      <a:pt x="1089" y="670"/>
                    </a:lnTo>
                    <a:lnTo>
                      <a:pt x="1151" y="608"/>
                    </a:lnTo>
                    <a:lnTo>
                      <a:pt x="1172" y="524"/>
                    </a:lnTo>
                    <a:lnTo>
                      <a:pt x="1089" y="398"/>
                    </a:lnTo>
                    <a:lnTo>
                      <a:pt x="1047" y="336"/>
                    </a:lnTo>
                    <a:lnTo>
                      <a:pt x="900" y="357"/>
                    </a:lnTo>
                    <a:lnTo>
                      <a:pt x="670" y="545"/>
                    </a:lnTo>
                    <a:lnTo>
                      <a:pt x="587" y="566"/>
                    </a:lnTo>
                    <a:lnTo>
                      <a:pt x="545" y="545"/>
                    </a:lnTo>
                    <a:lnTo>
                      <a:pt x="545" y="461"/>
                    </a:lnTo>
                    <a:lnTo>
                      <a:pt x="461" y="419"/>
                    </a:lnTo>
                    <a:lnTo>
                      <a:pt x="419" y="440"/>
                    </a:lnTo>
                    <a:lnTo>
                      <a:pt x="419" y="566"/>
                    </a:lnTo>
                    <a:lnTo>
                      <a:pt x="545" y="712"/>
                    </a:lnTo>
                    <a:lnTo>
                      <a:pt x="524" y="754"/>
                    </a:lnTo>
                    <a:lnTo>
                      <a:pt x="419" y="754"/>
                    </a:lnTo>
                    <a:lnTo>
                      <a:pt x="377" y="649"/>
                    </a:lnTo>
                    <a:lnTo>
                      <a:pt x="315" y="503"/>
                    </a:lnTo>
                    <a:lnTo>
                      <a:pt x="231" y="503"/>
                    </a:lnTo>
                    <a:lnTo>
                      <a:pt x="126" y="608"/>
                    </a:lnTo>
                    <a:lnTo>
                      <a:pt x="147" y="733"/>
                    </a:lnTo>
                    <a:lnTo>
                      <a:pt x="168" y="775"/>
                    </a:lnTo>
                    <a:lnTo>
                      <a:pt x="168" y="880"/>
                    </a:lnTo>
                    <a:lnTo>
                      <a:pt x="147" y="880"/>
                    </a:lnTo>
                    <a:lnTo>
                      <a:pt x="43" y="963"/>
                    </a:lnTo>
                    <a:lnTo>
                      <a:pt x="1" y="984"/>
                    </a:lnTo>
                    <a:lnTo>
                      <a:pt x="1" y="1089"/>
                    </a:lnTo>
                    <a:lnTo>
                      <a:pt x="22" y="1235"/>
                    </a:lnTo>
                    <a:lnTo>
                      <a:pt x="43" y="1361"/>
                    </a:lnTo>
                    <a:lnTo>
                      <a:pt x="147" y="1549"/>
                    </a:lnTo>
                    <a:lnTo>
                      <a:pt x="147" y="1612"/>
                    </a:lnTo>
                    <a:lnTo>
                      <a:pt x="231" y="1591"/>
                    </a:lnTo>
                    <a:lnTo>
                      <a:pt x="273" y="1507"/>
                    </a:lnTo>
                    <a:lnTo>
                      <a:pt x="273" y="1403"/>
                    </a:lnTo>
                    <a:lnTo>
                      <a:pt x="273" y="1298"/>
                    </a:lnTo>
                    <a:lnTo>
                      <a:pt x="335" y="1277"/>
                    </a:lnTo>
                    <a:lnTo>
                      <a:pt x="419" y="1361"/>
                    </a:lnTo>
                    <a:lnTo>
                      <a:pt x="461" y="1298"/>
                    </a:lnTo>
                    <a:lnTo>
                      <a:pt x="482" y="1340"/>
                    </a:lnTo>
                    <a:lnTo>
                      <a:pt x="440" y="1445"/>
                    </a:lnTo>
                    <a:lnTo>
                      <a:pt x="419" y="1591"/>
                    </a:lnTo>
                    <a:lnTo>
                      <a:pt x="377" y="1612"/>
                    </a:lnTo>
                    <a:lnTo>
                      <a:pt x="377" y="1675"/>
                    </a:lnTo>
                    <a:lnTo>
                      <a:pt x="482" y="1779"/>
                    </a:lnTo>
                    <a:lnTo>
                      <a:pt x="482" y="1800"/>
                    </a:lnTo>
                    <a:lnTo>
                      <a:pt x="545" y="1821"/>
                    </a:lnTo>
                    <a:lnTo>
                      <a:pt x="628" y="1821"/>
                    </a:lnTo>
                    <a:lnTo>
                      <a:pt x="649" y="1863"/>
                    </a:lnTo>
                    <a:lnTo>
                      <a:pt x="649" y="1926"/>
                    </a:lnTo>
                    <a:lnTo>
                      <a:pt x="545" y="2010"/>
                    </a:lnTo>
                    <a:lnTo>
                      <a:pt x="482" y="2010"/>
                    </a:lnTo>
                    <a:lnTo>
                      <a:pt x="482" y="1968"/>
                    </a:lnTo>
                    <a:lnTo>
                      <a:pt x="461" y="1905"/>
                    </a:lnTo>
                    <a:lnTo>
                      <a:pt x="315" y="1800"/>
                    </a:lnTo>
                    <a:lnTo>
                      <a:pt x="273" y="1821"/>
                    </a:lnTo>
                    <a:lnTo>
                      <a:pt x="273" y="1884"/>
                    </a:lnTo>
                    <a:lnTo>
                      <a:pt x="335" y="1989"/>
                    </a:lnTo>
                    <a:lnTo>
                      <a:pt x="419" y="2030"/>
                    </a:lnTo>
                    <a:lnTo>
                      <a:pt x="482" y="2093"/>
                    </a:lnTo>
                    <a:lnTo>
                      <a:pt x="482" y="2114"/>
                    </a:lnTo>
                    <a:lnTo>
                      <a:pt x="440" y="2177"/>
                    </a:lnTo>
                    <a:lnTo>
                      <a:pt x="482" y="2240"/>
                    </a:lnTo>
                    <a:lnTo>
                      <a:pt x="587" y="2302"/>
                    </a:lnTo>
                    <a:lnTo>
                      <a:pt x="670" y="2344"/>
                    </a:lnTo>
                    <a:lnTo>
                      <a:pt x="691" y="2428"/>
                    </a:lnTo>
                    <a:lnTo>
                      <a:pt x="775" y="2449"/>
                    </a:lnTo>
                    <a:lnTo>
                      <a:pt x="900" y="2449"/>
                    </a:lnTo>
                    <a:lnTo>
                      <a:pt x="942" y="2491"/>
                    </a:lnTo>
                    <a:lnTo>
                      <a:pt x="879" y="2533"/>
                    </a:lnTo>
                    <a:lnTo>
                      <a:pt x="754" y="2533"/>
                    </a:lnTo>
                    <a:lnTo>
                      <a:pt x="754" y="2637"/>
                    </a:lnTo>
                    <a:lnTo>
                      <a:pt x="796" y="2742"/>
                    </a:lnTo>
                    <a:lnTo>
                      <a:pt x="859" y="2742"/>
                    </a:lnTo>
                    <a:lnTo>
                      <a:pt x="942" y="2763"/>
                    </a:lnTo>
                    <a:lnTo>
                      <a:pt x="1068" y="2909"/>
                    </a:lnTo>
                    <a:lnTo>
                      <a:pt x="1110" y="2972"/>
                    </a:lnTo>
                    <a:lnTo>
                      <a:pt x="1068" y="3035"/>
                    </a:lnTo>
                    <a:lnTo>
                      <a:pt x="1068" y="3077"/>
                    </a:lnTo>
                    <a:lnTo>
                      <a:pt x="1382" y="3077"/>
                    </a:lnTo>
                    <a:lnTo>
                      <a:pt x="1465" y="3014"/>
                    </a:lnTo>
                    <a:lnTo>
                      <a:pt x="1465" y="2930"/>
                    </a:lnTo>
                    <a:lnTo>
                      <a:pt x="1507" y="2805"/>
                    </a:lnTo>
                    <a:lnTo>
                      <a:pt x="1591" y="2763"/>
                    </a:lnTo>
                    <a:lnTo>
                      <a:pt x="1675" y="2805"/>
                    </a:lnTo>
                    <a:lnTo>
                      <a:pt x="1675" y="2721"/>
                    </a:lnTo>
                    <a:lnTo>
                      <a:pt x="1612" y="2616"/>
                    </a:lnTo>
                    <a:lnTo>
                      <a:pt x="1570" y="2512"/>
                    </a:lnTo>
                    <a:lnTo>
                      <a:pt x="1570" y="2386"/>
                    </a:lnTo>
                    <a:lnTo>
                      <a:pt x="1528" y="2302"/>
                    </a:lnTo>
                    <a:lnTo>
                      <a:pt x="1528" y="2219"/>
                    </a:lnTo>
                    <a:lnTo>
                      <a:pt x="1591" y="2198"/>
                    </a:lnTo>
                    <a:lnTo>
                      <a:pt x="1633" y="2219"/>
                    </a:lnTo>
                    <a:lnTo>
                      <a:pt x="1695" y="2323"/>
                    </a:lnTo>
                    <a:lnTo>
                      <a:pt x="1675" y="2344"/>
                    </a:lnTo>
                    <a:lnTo>
                      <a:pt x="1695" y="2428"/>
                    </a:lnTo>
                    <a:lnTo>
                      <a:pt x="1779" y="2344"/>
                    </a:lnTo>
                    <a:lnTo>
                      <a:pt x="1779" y="2282"/>
                    </a:lnTo>
                    <a:lnTo>
                      <a:pt x="1737" y="2093"/>
                    </a:lnTo>
                    <a:lnTo>
                      <a:pt x="1800" y="2010"/>
                    </a:lnTo>
                    <a:lnTo>
                      <a:pt x="1821" y="2010"/>
                    </a:lnTo>
                    <a:lnTo>
                      <a:pt x="1884" y="2093"/>
                    </a:lnTo>
                    <a:lnTo>
                      <a:pt x="1884" y="2219"/>
                    </a:lnTo>
                    <a:lnTo>
                      <a:pt x="1926" y="2282"/>
                    </a:lnTo>
                    <a:lnTo>
                      <a:pt x="1926" y="2344"/>
                    </a:lnTo>
                    <a:lnTo>
                      <a:pt x="1842" y="2428"/>
                    </a:lnTo>
                    <a:lnTo>
                      <a:pt x="1842" y="2491"/>
                    </a:lnTo>
                    <a:lnTo>
                      <a:pt x="1884" y="2637"/>
                    </a:lnTo>
                    <a:lnTo>
                      <a:pt x="1926" y="2658"/>
                    </a:lnTo>
                    <a:lnTo>
                      <a:pt x="2009" y="2637"/>
                    </a:lnTo>
                    <a:lnTo>
                      <a:pt x="2156" y="2491"/>
                    </a:lnTo>
                    <a:lnTo>
                      <a:pt x="2219" y="2344"/>
                    </a:lnTo>
                    <a:lnTo>
                      <a:pt x="2219" y="2240"/>
                    </a:lnTo>
                    <a:lnTo>
                      <a:pt x="2239" y="2177"/>
                    </a:lnTo>
                    <a:lnTo>
                      <a:pt x="2302" y="2198"/>
                    </a:lnTo>
                    <a:lnTo>
                      <a:pt x="2344" y="2282"/>
                    </a:lnTo>
                    <a:lnTo>
                      <a:pt x="2323" y="2407"/>
                    </a:lnTo>
                    <a:lnTo>
                      <a:pt x="2260" y="2512"/>
                    </a:lnTo>
                    <a:lnTo>
                      <a:pt x="2260" y="2595"/>
                    </a:lnTo>
                    <a:lnTo>
                      <a:pt x="2344" y="2637"/>
                    </a:lnTo>
                    <a:lnTo>
                      <a:pt x="2449" y="2616"/>
                    </a:lnTo>
                    <a:lnTo>
                      <a:pt x="2532" y="2533"/>
                    </a:lnTo>
                    <a:lnTo>
                      <a:pt x="2574" y="2533"/>
                    </a:lnTo>
                    <a:lnTo>
                      <a:pt x="2574" y="2595"/>
                    </a:lnTo>
                    <a:lnTo>
                      <a:pt x="2532" y="2637"/>
                    </a:lnTo>
                    <a:lnTo>
                      <a:pt x="2428" y="2658"/>
                    </a:lnTo>
                    <a:lnTo>
                      <a:pt x="2344" y="2763"/>
                    </a:lnTo>
                    <a:lnTo>
                      <a:pt x="2156" y="2763"/>
                    </a:lnTo>
                    <a:lnTo>
                      <a:pt x="2009" y="2826"/>
                    </a:lnTo>
                    <a:lnTo>
                      <a:pt x="1988" y="2867"/>
                    </a:lnTo>
                    <a:lnTo>
                      <a:pt x="2009" y="2951"/>
                    </a:lnTo>
                    <a:lnTo>
                      <a:pt x="1884" y="3014"/>
                    </a:lnTo>
                    <a:lnTo>
                      <a:pt x="1800" y="3118"/>
                    </a:lnTo>
                    <a:lnTo>
                      <a:pt x="1716" y="3181"/>
                    </a:lnTo>
                    <a:lnTo>
                      <a:pt x="1675" y="3181"/>
                    </a:lnTo>
                    <a:lnTo>
                      <a:pt x="1570" y="3244"/>
                    </a:lnTo>
                    <a:lnTo>
                      <a:pt x="1570" y="3328"/>
                    </a:lnTo>
                    <a:lnTo>
                      <a:pt x="1507" y="3349"/>
                    </a:lnTo>
                    <a:lnTo>
                      <a:pt x="1486" y="3265"/>
                    </a:lnTo>
                    <a:lnTo>
                      <a:pt x="1465" y="3223"/>
                    </a:lnTo>
                    <a:lnTo>
                      <a:pt x="1382" y="3265"/>
                    </a:lnTo>
                    <a:lnTo>
                      <a:pt x="1298" y="3286"/>
                    </a:lnTo>
                    <a:lnTo>
                      <a:pt x="1298" y="3349"/>
                    </a:lnTo>
                    <a:lnTo>
                      <a:pt x="1277" y="3390"/>
                    </a:lnTo>
                    <a:lnTo>
                      <a:pt x="1319" y="3579"/>
                    </a:lnTo>
                    <a:lnTo>
                      <a:pt x="1319" y="3704"/>
                    </a:lnTo>
                    <a:lnTo>
                      <a:pt x="1361" y="3746"/>
                    </a:lnTo>
                    <a:lnTo>
                      <a:pt x="1465" y="3746"/>
                    </a:lnTo>
                    <a:lnTo>
                      <a:pt x="1528" y="3704"/>
                    </a:lnTo>
                    <a:lnTo>
                      <a:pt x="1633" y="3683"/>
                    </a:lnTo>
                    <a:lnTo>
                      <a:pt x="1695" y="3662"/>
                    </a:lnTo>
                    <a:lnTo>
                      <a:pt x="1779" y="3662"/>
                    </a:lnTo>
                    <a:lnTo>
                      <a:pt x="1842" y="3642"/>
                    </a:lnTo>
                    <a:lnTo>
                      <a:pt x="1926" y="3537"/>
                    </a:lnTo>
                    <a:lnTo>
                      <a:pt x="1988" y="3537"/>
                    </a:lnTo>
                    <a:lnTo>
                      <a:pt x="2009" y="3495"/>
                    </a:lnTo>
                    <a:lnTo>
                      <a:pt x="2114" y="3495"/>
                    </a:lnTo>
                    <a:lnTo>
                      <a:pt x="2135" y="3537"/>
                    </a:lnTo>
                    <a:lnTo>
                      <a:pt x="2428" y="3537"/>
                    </a:lnTo>
                    <a:lnTo>
                      <a:pt x="2470" y="3474"/>
                    </a:lnTo>
                    <a:lnTo>
                      <a:pt x="2553" y="3432"/>
                    </a:lnTo>
                    <a:lnTo>
                      <a:pt x="2616" y="3432"/>
                    </a:lnTo>
                    <a:lnTo>
                      <a:pt x="2616" y="3495"/>
                    </a:lnTo>
                    <a:lnTo>
                      <a:pt x="2553" y="3537"/>
                    </a:lnTo>
                    <a:lnTo>
                      <a:pt x="2532" y="3600"/>
                    </a:lnTo>
                    <a:lnTo>
                      <a:pt x="2449" y="3600"/>
                    </a:lnTo>
                    <a:lnTo>
                      <a:pt x="2407" y="3642"/>
                    </a:lnTo>
                    <a:lnTo>
                      <a:pt x="2239" y="3642"/>
                    </a:lnTo>
                    <a:lnTo>
                      <a:pt x="2135" y="3683"/>
                    </a:lnTo>
                    <a:lnTo>
                      <a:pt x="1947" y="3767"/>
                    </a:lnTo>
                    <a:lnTo>
                      <a:pt x="1884" y="3767"/>
                    </a:lnTo>
                    <a:lnTo>
                      <a:pt x="1800" y="3788"/>
                    </a:lnTo>
                    <a:lnTo>
                      <a:pt x="1800" y="3809"/>
                    </a:lnTo>
                    <a:lnTo>
                      <a:pt x="1905" y="3872"/>
                    </a:lnTo>
                    <a:lnTo>
                      <a:pt x="2051" y="3893"/>
                    </a:lnTo>
                    <a:lnTo>
                      <a:pt x="2135" y="3893"/>
                    </a:lnTo>
                    <a:lnTo>
                      <a:pt x="2239" y="3976"/>
                    </a:lnTo>
                    <a:lnTo>
                      <a:pt x="2239" y="4018"/>
                    </a:lnTo>
                    <a:lnTo>
                      <a:pt x="2030" y="4018"/>
                    </a:lnTo>
                    <a:lnTo>
                      <a:pt x="1947" y="4060"/>
                    </a:lnTo>
                    <a:lnTo>
                      <a:pt x="1905" y="4018"/>
                    </a:lnTo>
                    <a:lnTo>
                      <a:pt x="1800" y="3997"/>
                    </a:lnTo>
                    <a:lnTo>
                      <a:pt x="1779" y="4060"/>
                    </a:lnTo>
                    <a:lnTo>
                      <a:pt x="1737" y="4060"/>
                    </a:lnTo>
                    <a:lnTo>
                      <a:pt x="1695" y="3997"/>
                    </a:lnTo>
                    <a:lnTo>
                      <a:pt x="1633" y="3914"/>
                    </a:lnTo>
                    <a:lnTo>
                      <a:pt x="1570" y="3893"/>
                    </a:lnTo>
                    <a:lnTo>
                      <a:pt x="1423" y="3997"/>
                    </a:lnTo>
                    <a:lnTo>
                      <a:pt x="1423" y="4018"/>
                    </a:lnTo>
                    <a:lnTo>
                      <a:pt x="1486" y="4102"/>
                    </a:lnTo>
                    <a:lnTo>
                      <a:pt x="1507" y="4165"/>
                    </a:lnTo>
                    <a:lnTo>
                      <a:pt x="1486" y="4227"/>
                    </a:lnTo>
                    <a:lnTo>
                      <a:pt x="1507" y="4227"/>
                    </a:lnTo>
                    <a:lnTo>
                      <a:pt x="1486" y="4290"/>
                    </a:lnTo>
                    <a:lnTo>
                      <a:pt x="1507" y="4332"/>
                    </a:lnTo>
                    <a:lnTo>
                      <a:pt x="1591" y="4395"/>
                    </a:lnTo>
                    <a:lnTo>
                      <a:pt x="1591" y="4437"/>
                    </a:lnTo>
                    <a:lnTo>
                      <a:pt x="1612" y="4499"/>
                    </a:lnTo>
                    <a:lnTo>
                      <a:pt x="1633" y="4478"/>
                    </a:lnTo>
                    <a:lnTo>
                      <a:pt x="1716" y="4541"/>
                    </a:lnTo>
                    <a:lnTo>
                      <a:pt x="1716" y="4604"/>
                    </a:lnTo>
                    <a:lnTo>
                      <a:pt x="1779" y="4688"/>
                    </a:lnTo>
                    <a:lnTo>
                      <a:pt x="1800" y="4646"/>
                    </a:lnTo>
                    <a:lnTo>
                      <a:pt x="1884" y="4688"/>
                    </a:lnTo>
                    <a:lnTo>
                      <a:pt x="1926" y="4751"/>
                    </a:lnTo>
                    <a:lnTo>
                      <a:pt x="1988" y="4792"/>
                    </a:lnTo>
                    <a:lnTo>
                      <a:pt x="1988" y="4855"/>
                    </a:lnTo>
                    <a:lnTo>
                      <a:pt x="2114" y="4960"/>
                    </a:lnTo>
                    <a:lnTo>
                      <a:pt x="2239" y="4918"/>
                    </a:lnTo>
                    <a:lnTo>
                      <a:pt x="2260" y="4834"/>
                    </a:lnTo>
                    <a:lnTo>
                      <a:pt x="2323" y="4834"/>
                    </a:lnTo>
                    <a:lnTo>
                      <a:pt x="2344" y="4897"/>
                    </a:lnTo>
                    <a:lnTo>
                      <a:pt x="2428" y="4855"/>
                    </a:lnTo>
                    <a:lnTo>
                      <a:pt x="2449" y="4897"/>
                    </a:lnTo>
                    <a:lnTo>
                      <a:pt x="2449" y="4960"/>
                    </a:lnTo>
                    <a:lnTo>
                      <a:pt x="2407" y="5023"/>
                    </a:lnTo>
                    <a:lnTo>
                      <a:pt x="2344" y="5023"/>
                    </a:lnTo>
                    <a:lnTo>
                      <a:pt x="2239" y="5106"/>
                    </a:lnTo>
                    <a:lnTo>
                      <a:pt x="2239" y="5148"/>
                    </a:lnTo>
                    <a:lnTo>
                      <a:pt x="2428" y="5336"/>
                    </a:lnTo>
                    <a:lnTo>
                      <a:pt x="2470" y="5357"/>
                    </a:lnTo>
                    <a:lnTo>
                      <a:pt x="2532" y="5420"/>
                    </a:lnTo>
                    <a:lnTo>
                      <a:pt x="2512" y="5567"/>
                    </a:lnTo>
                    <a:lnTo>
                      <a:pt x="2532" y="5650"/>
                    </a:lnTo>
                    <a:lnTo>
                      <a:pt x="2574" y="5650"/>
                    </a:lnTo>
                    <a:lnTo>
                      <a:pt x="2616" y="5587"/>
                    </a:lnTo>
                    <a:lnTo>
                      <a:pt x="2658" y="5567"/>
                    </a:lnTo>
                    <a:lnTo>
                      <a:pt x="2721" y="5650"/>
                    </a:lnTo>
                    <a:lnTo>
                      <a:pt x="2784" y="5629"/>
                    </a:lnTo>
                    <a:lnTo>
                      <a:pt x="2867" y="5525"/>
                    </a:lnTo>
                    <a:lnTo>
                      <a:pt x="2888" y="5420"/>
                    </a:lnTo>
                    <a:lnTo>
                      <a:pt x="2930" y="5357"/>
                    </a:lnTo>
                    <a:lnTo>
                      <a:pt x="2930" y="5315"/>
                    </a:lnTo>
                    <a:lnTo>
                      <a:pt x="2867" y="5148"/>
                    </a:lnTo>
                    <a:lnTo>
                      <a:pt x="2846" y="5023"/>
                    </a:lnTo>
                    <a:lnTo>
                      <a:pt x="2888" y="4939"/>
                    </a:lnTo>
                    <a:lnTo>
                      <a:pt x="2951" y="4855"/>
                    </a:lnTo>
                    <a:lnTo>
                      <a:pt x="2951" y="4499"/>
                    </a:lnTo>
                    <a:lnTo>
                      <a:pt x="2972" y="4395"/>
                    </a:lnTo>
                    <a:lnTo>
                      <a:pt x="2972" y="4311"/>
                    </a:lnTo>
                    <a:lnTo>
                      <a:pt x="3056" y="4227"/>
                    </a:lnTo>
                    <a:lnTo>
                      <a:pt x="3056" y="4206"/>
                    </a:lnTo>
                    <a:lnTo>
                      <a:pt x="2972" y="4165"/>
                    </a:lnTo>
                    <a:lnTo>
                      <a:pt x="3056" y="4060"/>
                    </a:lnTo>
                    <a:lnTo>
                      <a:pt x="3181" y="4081"/>
                    </a:lnTo>
                    <a:lnTo>
                      <a:pt x="3202" y="4081"/>
                    </a:lnTo>
                    <a:lnTo>
                      <a:pt x="3244" y="3976"/>
                    </a:lnTo>
                    <a:lnTo>
                      <a:pt x="3244" y="3809"/>
                    </a:lnTo>
                    <a:lnTo>
                      <a:pt x="3265" y="3683"/>
                    </a:lnTo>
                    <a:lnTo>
                      <a:pt x="3265" y="3558"/>
                    </a:lnTo>
                    <a:lnTo>
                      <a:pt x="3181" y="3432"/>
                    </a:lnTo>
                    <a:lnTo>
                      <a:pt x="3181" y="3286"/>
                    </a:lnTo>
                    <a:lnTo>
                      <a:pt x="3244" y="3265"/>
                    </a:lnTo>
                    <a:lnTo>
                      <a:pt x="3348" y="3328"/>
                    </a:lnTo>
                    <a:lnTo>
                      <a:pt x="3390" y="3223"/>
                    </a:lnTo>
                    <a:lnTo>
                      <a:pt x="3369" y="3181"/>
                    </a:lnTo>
                    <a:lnTo>
                      <a:pt x="3369" y="3056"/>
                    </a:lnTo>
                    <a:lnTo>
                      <a:pt x="3390" y="2951"/>
                    </a:lnTo>
                    <a:lnTo>
                      <a:pt x="3369" y="2742"/>
                    </a:lnTo>
                    <a:lnTo>
                      <a:pt x="3348" y="2616"/>
                    </a:lnTo>
                    <a:lnTo>
                      <a:pt x="3369" y="2554"/>
                    </a:lnTo>
                    <a:lnTo>
                      <a:pt x="3495" y="2449"/>
                    </a:lnTo>
                    <a:lnTo>
                      <a:pt x="3495" y="2386"/>
                    </a:lnTo>
                    <a:lnTo>
                      <a:pt x="3474" y="2323"/>
                    </a:lnTo>
                    <a:lnTo>
                      <a:pt x="3474" y="2282"/>
                    </a:lnTo>
                    <a:lnTo>
                      <a:pt x="3579" y="2282"/>
                    </a:lnTo>
                    <a:lnTo>
                      <a:pt x="3725" y="2135"/>
                    </a:lnTo>
                    <a:lnTo>
                      <a:pt x="3830" y="2135"/>
                    </a:lnTo>
                    <a:lnTo>
                      <a:pt x="3934" y="2114"/>
                    </a:lnTo>
                    <a:lnTo>
                      <a:pt x="3997" y="2219"/>
                    </a:lnTo>
                    <a:lnTo>
                      <a:pt x="4039" y="2198"/>
                    </a:lnTo>
                    <a:lnTo>
                      <a:pt x="4081" y="2114"/>
                    </a:lnTo>
                    <a:lnTo>
                      <a:pt x="4102" y="2072"/>
                    </a:lnTo>
                    <a:lnTo>
                      <a:pt x="4102" y="1926"/>
                    </a:lnTo>
                    <a:lnTo>
                      <a:pt x="4018" y="1905"/>
                    </a:lnTo>
                    <a:lnTo>
                      <a:pt x="3767" y="1821"/>
                    </a:lnTo>
                    <a:lnTo>
                      <a:pt x="3662" y="1779"/>
                    </a:lnTo>
                    <a:lnTo>
                      <a:pt x="3495" y="1612"/>
                    </a:lnTo>
                    <a:lnTo>
                      <a:pt x="3411" y="1570"/>
                    </a:lnTo>
                    <a:lnTo>
                      <a:pt x="3286" y="1382"/>
                    </a:lnTo>
                    <a:lnTo>
                      <a:pt x="3244" y="1361"/>
                    </a:lnTo>
                    <a:lnTo>
                      <a:pt x="3097" y="1361"/>
                    </a:lnTo>
                    <a:lnTo>
                      <a:pt x="3056" y="1277"/>
                    </a:lnTo>
                    <a:lnTo>
                      <a:pt x="3056" y="1193"/>
                    </a:lnTo>
                    <a:lnTo>
                      <a:pt x="2972" y="942"/>
                    </a:lnTo>
                    <a:lnTo>
                      <a:pt x="2888" y="733"/>
                    </a:lnTo>
                    <a:lnTo>
                      <a:pt x="2742" y="608"/>
                    </a:lnTo>
                    <a:lnTo>
                      <a:pt x="2658" y="670"/>
                    </a:lnTo>
                    <a:lnTo>
                      <a:pt x="2637" y="775"/>
                    </a:lnTo>
                    <a:lnTo>
                      <a:pt x="2658" y="984"/>
                    </a:lnTo>
                    <a:lnTo>
                      <a:pt x="2658" y="1131"/>
                    </a:lnTo>
                    <a:lnTo>
                      <a:pt x="2574" y="1193"/>
                    </a:lnTo>
                    <a:lnTo>
                      <a:pt x="2553" y="1173"/>
                    </a:lnTo>
                    <a:lnTo>
                      <a:pt x="2553" y="1131"/>
                    </a:lnTo>
                    <a:lnTo>
                      <a:pt x="2553" y="963"/>
                    </a:lnTo>
                    <a:lnTo>
                      <a:pt x="2553" y="733"/>
                    </a:lnTo>
                    <a:lnTo>
                      <a:pt x="2616" y="670"/>
                    </a:lnTo>
                    <a:lnTo>
                      <a:pt x="2616" y="545"/>
                    </a:lnTo>
                    <a:lnTo>
                      <a:pt x="2553" y="419"/>
                    </a:lnTo>
                    <a:lnTo>
                      <a:pt x="2449" y="231"/>
                    </a:lnTo>
                    <a:lnTo>
                      <a:pt x="2344" y="189"/>
                    </a:lnTo>
                    <a:lnTo>
                      <a:pt x="2260" y="231"/>
                    </a:lnTo>
                    <a:lnTo>
                      <a:pt x="2219" y="315"/>
                    </a:lnTo>
                    <a:lnTo>
                      <a:pt x="2156" y="294"/>
                    </a:lnTo>
                    <a:lnTo>
                      <a:pt x="2135" y="147"/>
                    </a:lnTo>
                    <a:lnTo>
                      <a:pt x="203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04" name="Google Shape;2004;p66"/>
            <p:cNvSpPr/>
            <p:nvPr/>
          </p:nvSpPr>
          <p:spPr>
            <a:xfrm>
              <a:off x="4614379" y="2777935"/>
              <a:ext cx="83472" cy="139700"/>
            </a:xfrm>
            <a:custGeom>
              <a:avLst/>
              <a:gdLst/>
              <a:ahLst/>
              <a:cxnLst/>
              <a:rect l="l" t="t" r="r" b="b"/>
              <a:pathLst>
                <a:path w="7010" h="12284" extrusionOk="0">
                  <a:moveTo>
                    <a:pt x="4122" y="1"/>
                  </a:moveTo>
                  <a:lnTo>
                    <a:pt x="4122" y="43"/>
                  </a:lnTo>
                  <a:lnTo>
                    <a:pt x="4080" y="126"/>
                  </a:lnTo>
                  <a:lnTo>
                    <a:pt x="4017" y="126"/>
                  </a:lnTo>
                  <a:lnTo>
                    <a:pt x="3996" y="147"/>
                  </a:lnTo>
                  <a:lnTo>
                    <a:pt x="4059" y="231"/>
                  </a:lnTo>
                  <a:lnTo>
                    <a:pt x="4080" y="357"/>
                  </a:lnTo>
                  <a:lnTo>
                    <a:pt x="4289" y="671"/>
                  </a:lnTo>
                  <a:lnTo>
                    <a:pt x="4331" y="796"/>
                  </a:lnTo>
                  <a:lnTo>
                    <a:pt x="4331" y="1005"/>
                  </a:lnTo>
                  <a:lnTo>
                    <a:pt x="4310" y="1089"/>
                  </a:lnTo>
                  <a:lnTo>
                    <a:pt x="4373" y="1277"/>
                  </a:lnTo>
                  <a:lnTo>
                    <a:pt x="4415" y="1382"/>
                  </a:lnTo>
                  <a:lnTo>
                    <a:pt x="4415" y="1424"/>
                  </a:lnTo>
                  <a:lnTo>
                    <a:pt x="4373" y="1424"/>
                  </a:lnTo>
                  <a:lnTo>
                    <a:pt x="4289" y="1528"/>
                  </a:lnTo>
                  <a:lnTo>
                    <a:pt x="4310" y="1633"/>
                  </a:lnTo>
                  <a:lnTo>
                    <a:pt x="4373" y="1738"/>
                  </a:lnTo>
                  <a:lnTo>
                    <a:pt x="4394" y="1800"/>
                  </a:lnTo>
                  <a:lnTo>
                    <a:pt x="4457" y="1821"/>
                  </a:lnTo>
                  <a:lnTo>
                    <a:pt x="4478" y="1905"/>
                  </a:lnTo>
                  <a:lnTo>
                    <a:pt x="4457" y="1926"/>
                  </a:lnTo>
                  <a:lnTo>
                    <a:pt x="4457" y="2010"/>
                  </a:lnTo>
                  <a:lnTo>
                    <a:pt x="4394" y="2051"/>
                  </a:lnTo>
                  <a:lnTo>
                    <a:pt x="4206" y="2031"/>
                  </a:lnTo>
                  <a:lnTo>
                    <a:pt x="4017" y="1926"/>
                  </a:lnTo>
                  <a:lnTo>
                    <a:pt x="3955" y="1947"/>
                  </a:lnTo>
                  <a:lnTo>
                    <a:pt x="3892" y="2031"/>
                  </a:lnTo>
                  <a:lnTo>
                    <a:pt x="3913" y="2093"/>
                  </a:lnTo>
                  <a:lnTo>
                    <a:pt x="3976" y="2093"/>
                  </a:lnTo>
                  <a:lnTo>
                    <a:pt x="4080" y="2156"/>
                  </a:lnTo>
                  <a:lnTo>
                    <a:pt x="4080" y="2219"/>
                  </a:lnTo>
                  <a:lnTo>
                    <a:pt x="4017" y="2261"/>
                  </a:lnTo>
                  <a:lnTo>
                    <a:pt x="3976" y="2365"/>
                  </a:lnTo>
                  <a:lnTo>
                    <a:pt x="3892" y="2407"/>
                  </a:lnTo>
                  <a:lnTo>
                    <a:pt x="3871" y="2449"/>
                  </a:lnTo>
                  <a:lnTo>
                    <a:pt x="3787" y="2470"/>
                  </a:lnTo>
                  <a:lnTo>
                    <a:pt x="3745" y="2575"/>
                  </a:lnTo>
                  <a:lnTo>
                    <a:pt x="3766" y="2679"/>
                  </a:lnTo>
                  <a:lnTo>
                    <a:pt x="3766" y="2847"/>
                  </a:lnTo>
                  <a:lnTo>
                    <a:pt x="3787" y="2930"/>
                  </a:lnTo>
                  <a:lnTo>
                    <a:pt x="3871" y="2930"/>
                  </a:lnTo>
                  <a:lnTo>
                    <a:pt x="3976" y="2993"/>
                  </a:lnTo>
                  <a:lnTo>
                    <a:pt x="4059" y="3077"/>
                  </a:lnTo>
                  <a:lnTo>
                    <a:pt x="4122" y="3286"/>
                  </a:lnTo>
                  <a:lnTo>
                    <a:pt x="4164" y="3495"/>
                  </a:lnTo>
                  <a:lnTo>
                    <a:pt x="4122" y="3516"/>
                  </a:lnTo>
                  <a:lnTo>
                    <a:pt x="4185" y="3621"/>
                  </a:lnTo>
                  <a:lnTo>
                    <a:pt x="4289" y="3684"/>
                  </a:lnTo>
                  <a:lnTo>
                    <a:pt x="4415" y="3516"/>
                  </a:lnTo>
                  <a:lnTo>
                    <a:pt x="4478" y="3412"/>
                  </a:lnTo>
                  <a:lnTo>
                    <a:pt x="4478" y="3349"/>
                  </a:lnTo>
                  <a:lnTo>
                    <a:pt x="4520" y="3286"/>
                  </a:lnTo>
                  <a:lnTo>
                    <a:pt x="4540" y="3286"/>
                  </a:lnTo>
                  <a:cubicBezTo>
                    <a:pt x="4624" y="3370"/>
                    <a:pt x="4708" y="3453"/>
                    <a:pt x="4729" y="3558"/>
                  </a:cubicBezTo>
                  <a:lnTo>
                    <a:pt x="4729" y="3579"/>
                  </a:lnTo>
                  <a:lnTo>
                    <a:pt x="4687" y="3704"/>
                  </a:lnTo>
                  <a:lnTo>
                    <a:pt x="4687" y="3809"/>
                  </a:lnTo>
                  <a:lnTo>
                    <a:pt x="4729" y="3872"/>
                  </a:lnTo>
                  <a:lnTo>
                    <a:pt x="4792" y="3830"/>
                  </a:lnTo>
                  <a:lnTo>
                    <a:pt x="4917" y="3725"/>
                  </a:lnTo>
                  <a:lnTo>
                    <a:pt x="4980" y="3872"/>
                  </a:lnTo>
                  <a:lnTo>
                    <a:pt x="4917" y="3976"/>
                  </a:lnTo>
                  <a:lnTo>
                    <a:pt x="4833" y="4018"/>
                  </a:lnTo>
                  <a:lnTo>
                    <a:pt x="4771" y="3976"/>
                  </a:lnTo>
                  <a:lnTo>
                    <a:pt x="4792" y="4102"/>
                  </a:lnTo>
                  <a:lnTo>
                    <a:pt x="4729" y="4144"/>
                  </a:lnTo>
                  <a:lnTo>
                    <a:pt x="4666" y="4123"/>
                  </a:lnTo>
                  <a:lnTo>
                    <a:pt x="4624" y="4018"/>
                  </a:lnTo>
                  <a:lnTo>
                    <a:pt x="4603" y="3914"/>
                  </a:lnTo>
                  <a:lnTo>
                    <a:pt x="4582" y="3872"/>
                  </a:lnTo>
                  <a:lnTo>
                    <a:pt x="4499" y="3893"/>
                  </a:lnTo>
                  <a:lnTo>
                    <a:pt x="4457" y="3872"/>
                  </a:lnTo>
                  <a:lnTo>
                    <a:pt x="4415" y="3976"/>
                  </a:lnTo>
                  <a:lnTo>
                    <a:pt x="4478" y="4123"/>
                  </a:lnTo>
                  <a:lnTo>
                    <a:pt x="4478" y="4228"/>
                  </a:lnTo>
                  <a:lnTo>
                    <a:pt x="4394" y="4248"/>
                  </a:lnTo>
                  <a:lnTo>
                    <a:pt x="4310" y="4353"/>
                  </a:lnTo>
                  <a:lnTo>
                    <a:pt x="4310" y="4416"/>
                  </a:lnTo>
                  <a:lnTo>
                    <a:pt x="4457" y="4562"/>
                  </a:lnTo>
                  <a:lnTo>
                    <a:pt x="4499" y="4646"/>
                  </a:lnTo>
                  <a:lnTo>
                    <a:pt x="4457" y="4813"/>
                  </a:lnTo>
                  <a:lnTo>
                    <a:pt x="4373" y="4855"/>
                  </a:lnTo>
                  <a:lnTo>
                    <a:pt x="4289" y="4834"/>
                  </a:lnTo>
                  <a:lnTo>
                    <a:pt x="4268" y="4876"/>
                  </a:lnTo>
                  <a:lnTo>
                    <a:pt x="4352" y="4981"/>
                  </a:lnTo>
                  <a:lnTo>
                    <a:pt x="4415" y="4960"/>
                  </a:lnTo>
                  <a:lnTo>
                    <a:pt x="4499" y="4876"/>
                  </a:lnTo>
                  <a:lnTo>
                    <a:pt x="4603" y="5148"/>
                  </a:lnTo>
                  <a:lnTo>
                    <a:pt x="4666" y="5441"/>
                  </a:lnTo>
                  <a:lnTo>
                    <a:pt x="4624" y="5588"/>
                  </a:lnTo>
                  <a:lnTo>
                    <a:pt x="4624" y="5860"/>
                  </a:lnTo>
                  <a:lnTo>
                    <a:pt x="4520" y="6236"/>
                  </a:lnTo>
                  <a:lnTo>
                    <a:pt x="4561" y="6404"/>
                  </a:lnTo>
                  <a:lnTo>
                    <a:pt x="4499" y="6592"/>
                  </a:lnTo>
                  <a:lnTo>
                    <a:pt x="4373" y="6655"/>
                  </a:lnTo>
                  <a:lnTo>
                    <a:pt x="4310" y="6843"/>
                  </a:lnTo>
                  <a:lnTo>
                    <a:pt x="4310" y="7031"/>
                  </a:lnTo>
                  <a:lnTo>
                    <a:pt x="4248" y="7136"/>
                  </a:lnTo>
                  <a:lnTo>
                    <a:pt x="4206" y="7241"/>
                  </a:lnTo>
                  <a:lnTo>
                    <a:pt x="4080" y="7366"/>
                  </a:lnTo>
                  <a:lnTo>
                    <a:pt x="3829" y="7533"/>
                  </a:lnTo>
                  <a:lnTo>
                    <a:pt x="3724" y="7554"/>
                  </a:lnTo>
                  <a:lnTo>
                    <a:pt x="3662" y="7659"/>
                  </a:lnTo>
                  <a:lnTo>
                    <a:pt x="3536" y="7575"/>
                  </a:lnTo>
                  <a:lnTo>
                    <a:pt x="3411" y="7429"/>
                  </a:lnTo>
                  <a:lnTo>
                    <a:pt x="3411" y="7345"/>
                  </a:lnTo>
                  <a:lnTo>
                    <a:pt x="3452" y="7324"/>
                  </a:lnTo>
                  <a:lnTo>
                    <a:pt x="3515" y="7220"/>
                  </a:lnTo>
                  <a:lnTo>
                    <a:pt x="3515" y="7157"/>
                  </a:lnTo>
                  <a:lnTo>
                    <a:pt x="3578" y="7073"/>
                  </a:lnTo>
                  <a:lnTo>
                    <a:pt x="3578" y="7052"/>
                  </a:lnTo>
                  <a:lnTo>
                    <a:pt x="3452" y="7073"/>
                  </a:lnTo>
                  <a:lnTo>
                    <a:pt x="3348" y="7178"/>
                  </a:lnTo>
                  <a:lnTo>
                    <a:pt x="3222" y="7241"/>
                  </a:lnTo>
                  <a:lnTo>
                    <a:pt x="3201" y="7345"/>
                  </a:lnTo>
                  <a:lnTo>
                    <a:pt x="3264" y="7471"/>
                  </a:lnTo>
                  <a:lnTo>
                    <a:pt x="3306" y="7722"/>
                  </a:lnTo>
                  <a:lnTo>
                    <a:pt x="3264" y="7868"/>
                  </a:lnTo>
                  <a:lnTo>
                    <a:pt x="3139" y="7994"/>
                  </a:lnTo>
                  <a:lnTo>
                    <a:pt x="3139" y="8077"/>
                  </a:lnTo>
                  <a:lnTo>
                    <a:pt x="3076" y="8119"/>
                  </a:lnTo>
                  <a:lnTo>
                    <a:pt x="3055" y="8329"/>
                  </a:lnTo>
                  <a:lnTo>
                    <a:pt x="3118" y="8391"/>
                  </a:lnTo>
                  <a:lnTo>
                    <a:pt x="3118" y="8475"/>
                  </a:lnTo>
                  <a:lnTo>
                    <a:pt x="3076" y="8496"/>
                  </a:lnTo>
                  <a:lnTo>
                    <a:pt x="3118" y="8517"/>
                  </a:lnTo>
                  <a:lnTo>
                    <a:pt x="3076" y="8601"/>
                  </a:lnTo>
                  <a:lnTo>
                    <a:pt x="3034" y="8601"/>
                  </a:lnTo>
                  <a:lnTo>
                    <a:pt x="3055" y="8642"/>
                  </a:lnTo>
                  <a:lnTo>
                    <a:pt x="2992" y="8684"/>
                  </a:lnTo>
                  <a:lnTo>
                    <a:pt x="2929" y="8621"/>
                  </a:lnTo>
                  <a:lnTo>
                    <a:pt x="2846" y="8684"/>
                  </a:lnTo>
                  <a:lnTo>
                    <a:pt x="2804" y="8642"/>
                  </a:lnTo>
                  <a:lnTo>
                    <a:pt x="2762" y="8517"/>
                  </a:lnTo>
                  <a:lnTo>
                    <a:pt x="2741" y="8496"/>
                  </a:lnTo>
                  <a:lnTo>
                    <a:pt x="2657" y="8538"/>
                  </a:lnTo>
                  <a:lnTo>
                    <a:pt x="2595" y="8538"/>
                  </a:lnTo>
                  <a:lnTo>
                    <a:pt x="2553" y="8517"/>
                  </a:lnTo>
                  <a:lnTo>
                    <a:pt x="2302" y="8601"/>
                  </a:lnTo>
                  <a:lnTo>
                    <a:pt x="2176" y="8642"/>
                  </a:lnTo>
                  <a:lnTo>
                    <a:pt x="2030" y="8705"/>
                  </a:lnTo>
                  <a:lnTo>
                    <a:pt x="1883" y="8705"/>
                  </a:lnTo>
                  <a:lnTo>
                    <a:pt x="1758" y="8747"/>
                  </a:lnTo>
                  <a:lnTo>
                    <a:pt x="1695" y="8726"/>
                  </a:lnTo>
                  <a:lnTo>
                    <a:pt x="1569" y="8747"/>
                  </a:lnTo>
                  <a:lnTo>
                    <a:pt x="1360" y="8914"/>
                  </a:lnTo>
                  <a:lnTo>
                    <a:pt x="1297" y="9040"/>
                  </a:lnTo>
                  <a:lnTo>
                    <a:pt x="1235" y="9082"/>
                  </a:lnTo>
                  <a:lnTo>
                    <a:pt x="1193" y="9165"/>
                  </a:lnTo>
                  <a:lnTo>
                    <a:pt x="1046" y="9354"/>
                  </a:lnTo>
                  <a:lnTo>
                    <a:pt x="942" y="9375"/>
                  </a:lnTo>
                  <a:lnTo>
                    <a:pt x="858" y="9479"/>
                  </a:lnTo>
                  <a:lnTo>
                    <a:pt x="837" y="9563"/>
                  </a:lnTo>
                  <a:lnTo>
                    <a:pt x="753" y="9647"/>
                  </a:lnTo>
                  <a:lnTo>
                    <a:pt x="607" y="9668"/>
                  </a:lnTo>
                  <a:lnTo>
                    <a:pt x="544" y="9751"/>
                  </a:lnTo>
                  <a:lnTo>
                    <a:pt x="565" y="9940"/>
                  </a:lnTo>
                  <a:lnTo>
                    <a:pt x="628" y="9961"/>
                  </a:lnTo>
                  <a:lnTo>
                    <a:pt x="649" y="10002"/>
                  </a:lnTo>
                  <a:lnTo>
                    <a:pt x="628" y="10065"/>
                  </a:lnTo>
                  <a:lnTo>
                    <a:pt x="607" y="10044"/>
                  </a:lnTo>
                  <a:lnTo>
                    <a:pt x="481" y="10149"/>
                  </a:lnTo>
                  <a:lnTo>
                    <a:pt x="439" y="10212"/>
                  </a:lnTo>
                  <a:lnTo>
                    <a:pt x="377" y="10274"/>
                  </a:lnTo>
                  <a:lnTo>
                    <a:pt x="272" y="10379"/>
                  </a:lnTo>
                  <a:lnTo>
                    <a:pt x="209" y="10463"/>
                  </a:lnTo>
                  <a:lnTo>
                    <a:pt x="105" y="10463"/>
                  </a:lnTo>
                  <a:lnTo>
                    <a:pt x="0" y="10505"/>
                  </a:lnTo>
                  <a:lnTo>
                    <a:pt x="105" y="10505"/>
                  </a:lnTo>
                  <a:lnTo>
                    <a:pt x="167" y="10609"/>
                  </a:lnTo>
                  <a:lnTo>
                    <a:pt x="209" y="10735"/>
                  </a:lnTo>
                  <a:lnTo>
                    <a:pt x="167" y="10777"/>
                  </a:lnTo>
                  <a:lnTo>
                    <a:pt x="126" y="10693"/>
                  </a:lnTo>
                  <a:lnTo>
                    <a:pt x="84" y="10609"/>
                  </a:lnTo>
                  <a:lnTo>
                    <a:pt x="63" y="10714"/>
                  </a:lnTo>
                  <a:lnTo>
                    <a:pt x="84" y="10818"/>
                  </a:lnTo>
                  <a:lnTo>
                    <a:pt x="167" y="10839"/>
                  </a:lnTo>
                  <a:lnTo>
                    <a:pt x="167" y="10923"/>
                  </a:lnTo>
                  <a:lnTo>
                    <a:pt x="126" y="11007"/>
                  </a:lnTo>
                  <a:lnTo>
                    <a:pt x="126" y="11007"/>
                  </a:lnTo>
                  <a:lnTo>
                    <a:pt x="188" y="10965"/>
                  </a:lnTo>
                  <a:lnTo>
                    <a:pt x="230" y="10902"/>
                  </a:lnTo>
                  <a:lnTo>
                    <a:pt x="314" y="10860"/>
                  </a:lnTo>
                  <a:lnTo>
                    <a:pt x="377" y="10902"/>
                  </a:lnTo>
                  <a:lnTo>
                    <a:pt x="314" y="10944"/>
                  </a:lnTo>
                  <a:lnTo>
                    <a:pt x="377" y="10965"/>
                  </a:lnTo>
                  <a:lnTo>
                    <a:pt x="439" y="10944"/>
                  </a:lnTo>
                  <a:lnTo>
                    <a:pt x="439" y="10839"/>
                  </a:lnTo>
                  <a:lnTo>
                    <a:pt x="398" y="10798"/>
                  </a:lnTo>
                  <a:lnTo>
                    <a:pt x="293" y="10818"/>
                  </a:lnTo>
                  <a:lnTo>
                    <a:pt x="293" y="10777"/>
                  </a:lnTo>
                  <a:lnTo>
                    <a:pt x="314" y="10714"/>
                  </a:lnTo>
                  <a:lnTo>
                    <a:pt x="293" y="10630"/>
                  </a:lnTo>
                  <a:lnTo>
                    <a:pt x="335" y="10588"/>
                  </a:lnTo>
                  <a:lnTo>
                    <a:pt x="439" y="10609"/>
                  </a:lnTo>
                  <a:lnTo>
                    <a:pt x="544" y="10798"/>
                  </a:lnTo>
                  <a:lnTo>
                    <a:pt x="586" y="10923"/>
                  </a:lnTo>
                  <a:lnTo>
                    <a:pt x="628" y="10986"/>
                  </a:lnTo>
                  <a:lnTo>
                    <a:pt x="628" y="11153"/>
                  </a:lnTo>
                  <a:lnTo>
                    <a:pt x="544" y="11342"/>
                  </a:lnTo>
                  <a:lnTo>
                    <a:pt x="439" y="11342"/>
                  </a:lnTo>
                  <a:lnTo>
                    <a:pt x="481" y="11383"/>
                  </a:lnTo>
                  <a:lnTo>
                    <a:pt x="544" y="11551"/>
                  </a:lnTo>
                  <a:lnTo>
                    <a:pt x="586" y="11760"/>
                  </a:lnTo>
                  <a:lnTo>
                    <a:pt x="691" y="11865"/>
                  </a:lnTo>
                  <a:lnTo>
                    <a:pt x="691" y="11969"/>
                  </a:lnTo>
                  <a:lnTo>
                    <a:pt x="628" y="12011"/>
                  </a:lnTo>
                  <a:lnTo>
                    <a:pt x="711" y="12095"/>
                  </a:lnTo>
                  <a:lnTo>
                    <a:pt x="795" y="12095"/>
                  </a:lnTo>
                  <a:lnTo>
                    <a:pt x="858" y="12158"/>
                  </a:lnTo>
                  <a:lnTo>
                    <a:pt x="900" y="12095"/>
                  </a:lnTo>
                  <a:lnTo>
                    <a:pt x="900" y="12053"/>
                  </a:lnTo>
                  <a:lnTo>
                    <a:pt x="816" y="11906"/>
                  </a:lnTo>
                  <a:lnTo>
                    <a:pt x="816" y="11739"/>
                  </a:lnTo>
                  <a:lnTo>
                    <a:pt x="858" y="11676"/>
                  </a:lnTo>
                  <a:lnTo>
                    <a:pt x="921" y="11739"/>
                  </a:lnTo>
                  <a:lnTo>
                    <a:pt x="900" y="11781"/>
                  </a:lnTo>
                  <a:lnTo>
                    <a:pt x="900" y="11844"/>
                  </a:lnTo>
                  <a:lnTo>
                    <a:pt x="963" y="11948"/>
                  </a:lnTo>
                  <a:lnTo>
                    <a:pt x="1004" y="12095"/>
                  </a:lnTo>
                  <a:lnTo>
                    <a:pt x="963" y="12199"/>
                  </a:lnTo>
                  <a:lnTo>
                    <a:pt x="1004" y="12283"/>
                  </a:lnTo>
                  <a:lnTo>
                    <a:pt x="1109" y="12220"/>
                  </a:lnTo>
                  <a:lnTo>
                    <a:pt x="1214" y="12074"/>
                  </a:lnTo>
                  <a:lnTo>
                    <a:pt x="1109" y="11969"/>
                  </a:lnTo>
                  <a:lnTo>
                    <a:pt x="1109" y="11906"/>
                  </a:lnTo>
                  <a:lnTo>
                    <a:pt x="1151" y="11886"/>
                  </a:lnTo>
                  <a:lnTo>
                    <a:pt x="1235" y="11906"/>
                  </a:lnTo>
                  <a:lnTo>
                    <a:pt x="1276" y="11948"/>
                  </a:lnTo>
                  <a:lnTo>
                    <a:pt x="1318" y="11844"/>
                  </a:lnTo>
                  <a:lnTo>
                    <a:pt x="1318" y="11655"/>
                  </a:lnTo>
                  <a:lnTo>
                    <a:pt x="1276" y="11572"/>
                  </a:lnTo>
                  <a:lnTo>
                    <a:pt x="1276" y="11237"/>
                  </a:lnTo>
                  <a:lnTo>
                    <a:pt x="1276" y="11049"/>
                  </a:lnTo>
                  <a:lnTo>
                    <a:pt x="1339" y="10944"/>
                  </a:lnTo>
                  <a:lnTo>
                    <a:pt x="1444" y="10839"/>
                  </a:lnTo>
                  <a:lnTo>
                    <a:pt x="1423" y="10777"/>
                  </a:lnTo>
                  <a:lnTo>
                    <a:pt x="1360" y="10735"/>
                  </a:lnTo>
                  <a:lnTo>
                    <a:pt x="1360" y="10630"/>
                  </a:lnTo>
                  <a:lnTo>
                    <a:pt x="1318" y="10630"/>
                  </a:lnTo>
                  <a:lnTo>
                    <a:pt x="1339" y="10567"/>
                  </a:lnTo>
                  <a:lnTo>
                    <a:pt x="1151" y="10567"/>
                  </a:lnTo>
                  <a:lnTo>
                    <a:pt x="1130" y="10505"/>
                  </a:lnTo>
                  <a:lnTo>
                    <a:pt x="1235" y="10463"/>
                  </a:lnTo>
                  <a:lnTo>
                    <a:pt x="1255" y="10379"/>
                  </a:lnTo>
                  <a:lnTo>
                    <a:pt x="1235" y="10212"/>
                  </a:lnTo>
                  <a:lnTo>
                    <a:pt x="1151" y="10170"/>
                  </a:lnTo>
                  <a:lnTo>
                    <a:pt x="1067" y="10191"/>
                  </a:lnTo>
                  <a:lnTo>
                    <a:pt x="1067" y="10212"/>
                  </a:lnTo>
                  <a:lnTo>
                    <a:pt x="1004" y="10274"/>
                  </a:lnTo>
                  <a:lnTo>
                    <a:pt x="921" y="10274"/>
                  </a:lnTo>
                  <a:lnTo>
                    <a:pt x="795" y="10149"/>
                  </a:lnTo>
                  <a:lnTo>
                    <a:pt x="816" y="10065"/>
                  </a:lnTo>
                  <a:lnTo>
                    <a:pt x="1004" y="9982"/>
                  </a:lnTo>
                  <a:lnTo>
                    <a:pt x="1151" y="9961"/>
                  </a:lnTo>
                  <a:lnTo>
                    <a:pt x="1339" y="10002"/>
                  </a:lnTo>
                  <a:lnTo>
                    <a:pt x="1423" y="10065"/>
                  </a:lnTo>
                  <a:lnTo>
                    <a:pt x="1444" y="10002"/>
                  </a:lnTo>
                  <a:lnTo>
                    <a:pt x="1444" y="9940"/>
                  </a:lnTo>
                  <a:lnTo>
                    <a:pt x="1444" y="9835"/>
                  </a:lnTo>
                  <a:lnTo>
                    <a:pt x="1423" y="9751"/>
                  </a:lnTo>
                  <a:lnTo>
                    <a:pt x="1444" y="9689"/>
                  </a:lnTo>
                  <a:lnTo>
                    <a:pt x="1527" y="9689"/>
                  </a:lnTo>
                  <a:lnTo>
                    <a:pt x="1569" y="9772"/>
                  </a:lnTo>
                  <a:lnTo>
                    <a:pt x="1653" y="9772"/>
                  </a:lnTo>
                  <a:lnTo>
                    <a:pt x="1758" y="9730"/>
                  </a:lnTo>
                  <a:lnTo>
                    <a:pt x="1946" y="9689"/>
                  </a:lnTo>
                  <a:lnTo>
                    <a:pt x="2113" y="9647"/>
                  </a:lnTo>
                  <a:lnTo>
                    <a:pt x="2218" y="9647"/>
                  </a:lnTo>
                  <a:lnTo>
                    <a:pt x="2281" y="9668"/>
                  </a:lnTo>
                  <a:lnTo>
                    <a:pt x="2323" y="9647"/>
                  </a:lnTo>
                  <a:cubicBezTo>
                    <a:pt x="2323" y="9668"/>
                    <a:pt x="2364" y="9730"/>
                    <a:pt x="2364" y="9751"/>
                  </a:cubicBezTo>
                  <a:lnTo>
                    <a:pt x="2218" y="9856"/>
                  </a:lnTo>
                  <a:lnTo>
                    <a:pt x="2218" y="9940"/>
                  </a:lnTo>
                  <a:lnTo>
                    <a:pt x="2155" y="9877"/>
                  </a:lnTo>
                  <a:lnTo>
                    <a:pt x="2051" y="9898"/>
                  </a:lnTo>
                  <a:lnTo>
                    <a:pt x="1967" y="9961"/>
                  </a:lnTo>
                  <a:lnTo>
                    <a:pt x="1904" y="9940"/>
                  </a:lnTo>
                  <a:lnTo>
                    <a:pt x="1841" y="9772"/>
                  </a:lnTo>
                  <a:lnTo>
                    <a:pt x="1779" y="9772"/>
                  </a:lnTo>
                  <a:lnTo>
                    <a:pt x="1632" y="9961"/>
                  </a:lnTo>
                  <a:lnTo>
                    <a:pt x="1632" y="10065"/>
                  </a:lnTo>
                  <a:lnTo>
                    <a:pt x="1527" y="10128"/>
                  </a:lnTo>
                  <a:lnTo>
                    <a:pt x="1486" y="10233"/>
                  </a:lnTo>
                  <a:lnTo>
                    <a:pt x="1653" y="10295"/>
                  </a:lnTo>
                  <a:lnTo>
                    <a:pt x="1674" y="10400"/>
                  </a:lnTo>
                  <a:lnTo>
                    <a:pt x="1653" y="10421"/>
                  </a:lnTo>
                  <a:lnTo>
                    <a:pt x="1653" y="10484"/>
                  </a:lnTo>
                  <a:lnTo>
                    <a:pt x="1737" y="10609"/>
                  </a:lnTo>
                  <a:lnTo>
                    <a:pt x="1862" y="10630"/>
                  </a:lnTo>
                  <a:lnTo>
                    <a:pt x="1862" y="10714"/>
                  </a:lnTo>
                  <a:lnTo>
                    <a:pt x="1904" y="10735"/>
                  </a:lnTo>
                  <a:lnTo>
                    <a:pt x="1946" y="10693"/>
                  </a:lnTo>
                  <a:lnTo>
                    <a:pt x="2009" y="10714"/>
                  </a:lnTo>
                  <a:lnTo>
                    <a:pt x="2072" y="10693"/>
                  </a:lnTo>
                  <a:lnTo>
                    <a:pt x="2072" y="10609"/>
                  </a:lnTo>
                  <a:lnTo>
                    <a:pt x="1967" y="10505"/>
                  </a:lnTo>
                  <a:lnTo>
                    <a:pt x="2009" y="10400"/>
                  </a:lnTo>
                  <a:lnTo>
                    <a:pt x="2072" y="10254"/>
                  </a:lnTo>
                  <a:lnTo>
                    <a:pt x="2197" y="10170"/>
                  </a:lnTo>
                  <a:lnTo>
                    <a:pt x="2218" y="10107"/>
                  </a:lnTo>
                  <a:lnTo>
                    <a:pt x="2364" y="10149"/>
                  </a:lnTo>
                  <a:lnTo>
                    <a:pt x="2511" y="10254"/>
                  </a:lnTo>
                  <a:lnTo>
                    <a:pt x="2574" y="10316"/>
                  </a:lnTo>
                  <a:lnTo>
                    <a:pt x="2636" y="10295"/>
                  </a:lnTo>
                  <a:lnTo>
                    <a:pt x="2699" y="10086"/>
                  </a:lnTo>
                  <a:lnTo>
                    <a:pt x="2825" y="9961"/>
                  </a:lnTo>
                  <a:lnTo>
                    <a:pt x="2825" y="9877"/>
                  </a:lnTo>
                  <a:lnTo>
                    <a:pt x="2783" y="9814"/>
                  </a:lnTo>
                  <a:lnTo>
                    <a:pt x="2741" y="9751"/>
                  </a:lnTo>
                  <a:lnTo>
                    <a:pt x="2616" y="9647"/>
                  </a:lnTo>
                  <a:lnTo>
                    <a:pt x="2532" y="9647"/>
                  </a:lnTo>
                  <a:lnTo>
                    <a:pt x="2469" y="9584"/>
                  </a:lnTo>
                  <a:lnTo>
                    <a:pt x="2302" y="9584"/>
                  </a:lnTo>
                  <a:cubicBezTo>
                    <a:pt x="2302" y="9563"/>
                    <a:pt x="2302" y="9521"/>
                    <a:pt x="2281" y="9479"/>
                  </a:cubicBezTo>
                  <a:lnTo>
                    <a:pt x="2281" y="9458"/>
                  </a:lnTo>
                  <a:lnTo>
                    <a:pt x="2406" y="9375"/>
                  </a:lnTo>
                  <a:lnTo>
                    <a:pt x="2427" y="9333"/>
                  </a:lnTo>
                  <a:lnTo>
                    <a:pt x="2574" y="9228"/>
                  </a:lnTo>
                  <a:lnTo>
                    <a:pt x="2699" y="9165"/>
                  </a:lnTo>
                  <a:lnTo>
                    <a:pt x="2888" y="9207"/>
                  </a:lnTo>
                  <a:lnTo>
                    <a:pt x="2992" y="9165"/>
                  </a:lnTo>
                  <a:lnTo>
                    <a:pt x="3034" y="9228"/>
                  </a:lnTo>
                  <a:lnTo>
                    <a:pt x="3034" y="9333"/>
                  </a:lnTo>
                  <a:lnTo>
                    <a:pt x="2950" y="9458"/>
                  </a:lnTo>
                  <a:lnTo>
                    <a:pt x="2929" y="9563"/>
                  </a:lnTo>
                  <a:lnTo>
                    <a:pt x="2992" y="9584"/>
                  </a:lnTo>
                  <a:lnTo>
                    <a:pt x="2992" y="9689"/>
                  </a:lnTo>
                  <a:lnTo>
                    <a:pt x="2992" y="9793"/>
                  </a:lnTo>
                  <a:lnTo>
                    <a:pt x="2950" y="9856"/>
                  </a:lnTo>
                  <a:lnTo>
                    <a:pt x="2992" y="9961"/>
                  </a:lnTo>
                  <a:lnTo>
                    <a:pt x="3097" y="10002"/>
                  </a:lnTo>
                  <a:lnTo>
                    <a:pt x="3243" y="10170"/>
                  </a:lnTo>
                  <a:lnTo>
                    <a:pt x="3348" y="10191"/>
                  </a:lnTo>
                  <a:lnTo>
                    <a:pt x="3432" y="10170"/>
                  </a:lnTo>
                  <a:lnTo>
                    <a:pt x="3536" y="10002"/>
                  </a:lnTo>
                  <a:lnTo>
                    <a:pt x="3536" y="9898"/>
                  </a:lnTo>
                  <a:lnTo>
                    <a:pt x="3578" y="9856"/>
                  </a:lnTo>
                  <a:lnTo>
                    <a:pt x="3620" y="9793"/>
                  </a:lnTo>
                  <a:lnTo>
                    <a:pt x="3578" y="9710"/>
                  </a:lnTo>
                  <a:lnTo>
                    <a:pt x="3662" y="9584"/>
                  </a:lnTo>
                  <a:lnTo>
                    <a:pt x="3766" y="9563"/>
                  </a:lnTo>
                  <a:lnTo>
                    <a:pt x="3850" y="9563"/>
                  </a:lnTo>
                  <a:lnTo>
                    <a:pt x="3871" y="9500"/>
                  </a:lnTo>
                  <a:lnTo>
                    <a:pt x="3850" y="9458"/>
                  </a:lnTo>
                  <a:lnTo>
                    <a:pt x="3829" y="9333"/>
                  </a:lnTo>
                  <a:lnTo>
                    <a:pt x="3620" y="9249"/>
                  </a:lnTo>
                  <a:lnTo>
                    <a:pt x="3578" y="9186"/>
                  </a:lnTo>
                  <a:lnTo>
                    <a:pt x="3641" y="9040"/>
                  </a:lnTo>
                  <a:lnTo>
                    <a:pt x="3724" y="8977"/>
                  </a:lnTo>
                  <a:lnTo>
                    <a:pt x="3766" y="8956"/>
                  </a:lnTo>
                  <a:lnTo>
                    <a:pt x="3745" y="9019"/>
                  </a:lnTo>
                  <a:lnTo>
                    <a:pt x="3745" y="9145"/>
                  </a:lnTo>
                  <a:lnTo>
                    <a:pt x="3787" y="9165"/>
                  </a:lnTo>
                  <a:lnTo>
                    <a:pt x="3850" y="9145"/>
                  </a:lnTo>
                  <a:lnTo>
                    <a:pt x="3871" y="9124"/>
                  </a:lnTo>
                  <a:lnTo>
                    <a:pt x="3955" y="9145"/>
                  </a:lnTo>
                  <a:lnTo>
                    <a:pt x="3996" y="9186"/>
                  </a:lnTo>
                  <a:lnTo>
                    <a:pt x="4059" y="9165"/>
                  </a:lnTo>
                  <a:lnTo>
                    <a:pt x="4101" y="9165"/>
                  </a:lnTo>
                  <a:lnTo>
                    <a:pt x="4080" y="9228"/>
                  </a:lnTo>
                  <a:lnTo>
                    <a:pt x="3976" y="9249"/>
                  </a:lnTo>
                  <a:lnTo>
                    <a:pt x="3976" y="9270"/>
                  </a:lnTo>
                  <a:lnTo>
                    <a:pt x="3996" y="9291"/>
                  </a:lnTo>
                  <a:lnTo>
                    <a:pt x="4080" y="9270"/>
                  </a:lnTo>
                  <a:lnTo>
                    <a:pt x="4206" y="9186"/>
                  </a:lnTo>
                  <a:lnTo>
                    <a:pt x="4499" y="9228"/>
                  </a:lnTo>
                  <a:lnTo>
                    <a:pt x="4666" y="9186"/>
                  </a:lnTo>
                  <a:lnTo>
                    <a:pt x="4603" y="9165"/>
                  </a:lnTo>
                  <a:lnTo>
                    <a:pt x="4582" y="9061"/>
                  </a:lnTo>
                  <a:lnTo>
                    <a:pt x="4603" y="8935"/>
                  </a:lnTo>
                  <a:lnTo>
                    <a:pt x="4729" y="8873"/>
                  </a:lnTo>
                  <a:lnTo>
                    <a:pt x="4833" y="8914"/>
                  </a:lnTo>
                  <a:lnTo>
                    <a:pt x="4875" y="9019"/>
                  </a:lnTo>
                  <a:lnTo>
                    <a:pt x="4833" y="9124"/>
                  </a:lnTo>
                  <a:lnTo>
                    <a:pt x="4896" y="9186"/>
                  </a:lnTo>
                  <a:lnTo>
                    <a:pt x="4980" y="9186"/>
                  </a:lnTo>
                  <a:lnTo>
                    <a:pt x="5043" y="9061"/>
                  </a:lnTo>
                  <a:lnTo>
                    <a:pt x="4980" y="8852"/>
                  </a:lnTo>
                  <a:lnTo>
                    <a:pt x="5001" y="8726"/>
                  </a:lnTo>
                  <a:lnTo>
                    <a:pt x="5126" y="8621"/>
                  </a:lnTo>
                  <a:lnTo>
                    <a:pt x="5210" y="8621"/>
                  </a:lnTo>
                  <a:lnTo>
                    <a:pt x="5231" y="8559"/>
                  </a:lnTo>
                  <a:lnTo>
                    <a:pt x="5189" y="8496"/>
                  </a:lnTo>
                  <a:lnTo>
                    <a:pt x="5210" y="8349"/>
                  </a:lnTo>
                  <a:lnTo>
                    <a:pt x="5294" y="8308"/>
                  </a:lnTo>
                  <a:lnTo>
                    <a:pt x="5398" y="8329"/>
                  </a:lnTo>
                  <a:lnTo>
                    <a:pt x="5419" y="8391"/>
                  </a:lnTo>
                  <a:lnTo>
                    <a:pt x="5357" y="8454"/>
                  </a:lnTo>
                  <a:lnTo>
                    <a:pt x="5336" y="8621"/>
                  </a:lnTo>
                  <a:lnTo>
                    <a:pt x="5357" y="8956"/>
                  </a:lnTo>
                  <a:lnTo>
                    <a:pt x="5419" y="8998"/>
                  </a:lnTo>
                  <a:lnTo>
                    <a:pt x="5503" y="8935"/>
                  </a:lnTo>
                  <a:lnTo>
                    <a:pt x="5545" y="8831"/>
                  </a:lnTo>
                  <a:lnTo>
                    <a:pt x="5649" y="8831"/>
                  </a:lnTo>
                  <a:lnTo>
                    <a:pt x="5754" y="8726"/>
                  </a:lnTo>
                  <a:lnTo>
                    <a:pt x="5817" y="8580"/>
                  </a:lnTo>
                  <a:lnTo>
                    <a:pt x="5775" y="8475"/>
                  </a:lnTo>
                  <a:lnTo>
                    <a:pt x="5921" y="8370"/>
                  </a:lnTo>
                  <a:lnTo>
                    <a:pt x="5880" y="8287"/>
                  </a:lnTo>
                  <a:lnTo>
                    <a:pt x="5838" y="8224"/>
                  </a:lnTo>
                  <a:lnTo>
                    <a:pt x="5712" y="8057"/>
                  </a:lnTo>
                  <a:lnTo>
                    <a:pt x="5649" y="7910"/>
                  </a:lnTo>
                  <a:lnTo>
                    <a:pt x="5629" y="7638"/>
                  </a:lnTo>
                  <a:lnTo>
                    <a:pt x="5670" y="7324"/>
                  </a:lnTo>
                  <a:lnTo>
                    <a:pt x="5670" y="7115"/>
                  </a:lnTo>
                  <a:lnTo>
                    <a:pt x="5566" y="6717"/>
                  </a:lnTo>
                  <a:lnTo>
                    <a:pt x="5440" y="6529"/>
                  </a:lnTo>
                  <a:lnTo>
                    <a:pt x="5440" y="6383"/>
                  </a:lnTo>
                  <a:lnTo>
                    <a:pt x="5461" y="6194"/>
                  </a:lnTo>
                  <a:lnTo>
                    <a:pt x="5649" y="6111"/>
                  </a:lnTo>
                  <a:lnTo>
                    <a:pt x="5733" y="6111"/>
                  </a:lnTo>
                  <a:lnTo>
                    <a:pt x="5775" y="6194"/>
                  </a:lnTo>
                  <a:lnTo>
                    <a:pt x="5817" y="6132"/>
                  </a:lnTo>
                  <a:lnTo>
                    <a:pt x="5775" y="6006"/>
                  </a:lnTo>
                  <a:lnTo>
                    <a:pt x="5754" y="5922"/>
                  </a:lnTo>
                  <a:lnTo>
                    <a:pt x="5733" y="5880"/>
                  </a:lnTo>
                  <a:lnTo>
                    <a:pt x="5712" y="5776"/>
                  </a:lnTo>
                  <a:lnTo>
                    <a:pt x="5712" y="5713"/>
                  </a:lnTo>
                  <a:lnTo>
                    <a:pt x="5712" y="5650"/>
                  </a:lnTo>
                  <a:lnTo>
                    <a:pt x="5754" y="5567"/>
                  </a:lnTo>
                  <a:lnTo>
                    <a:pt x="5754" y="5546"/>
                  </a:lnTo>
                  <a:lnTo>
                    <a:pt x="5754" y="5462"/>
                  </a:lnTo>
                  <a:lnTo>
                    <a:pt x="5733" y="5399"/>
                  </a:lnTo>
                  <a:lnTo>
                    <a:pt x="5733" y="5274"/>
                  </a:lnTo>
                  <a:lnTo>
                    <a:pt x="5754" y="5190"/>
                  </a:lnTo>
                  <a:lnTo>
                    <a:pt x="5712" y="5127"/>
                  </a:lnTo>
                  <a:lnTo>
                    <a:pt x="5670" y="4876"/>
                  </a:lnTo>
                  <a:lnTo>
                    <a:pt x="5566" y="4709"/>
                  </a:lnTo>
                  <a:lnTo>
                    <a:pt x="5545" y="4709"/>
                  </a:lnTo>
                  <a:lnTo>
                    <a:pt x="5503" y="4667"/>
                  </a:lnTo>
                  <a:lnTo>
                    <a:pt x="5503" y="4437"/>
                  </a:lnTo>
                  <a:lnTo>
                    <a:pt x="5398" y="4332"/>
                  </a:lnTo>
                  <a:lnTo>
                    <a:pt x="5147" y="4081"/>
                  </a:lnTo>
                  <a:lnTo>
                    <a:pt x="5105" y="3976"/>
                  </a:lnTo>
                  <a:lnTo>
                    <a:pt x="5043" y="3788"/>
                  </a:lnTo>
                  <a:lnTo>
                    <a:pt x="5043" y="3600"/>
                  </a:lnTo>
                  <a:lnTo>
                    <a:pt x="5043" y="3558"/>
                  </a:lnTo>
                  <a:lnTo>
                    <a:pt x="4980" y="3600"/>
                  </a:lnTo>
                  <a:lnTo>
                    <a:pt x="4917" y="3600"/>
                  </a:lnTo>
                  <a:lnTo>
                    <a:pt x="4896" y="3579"/>
                  </a:lnTo>
                  <a:lnTo>
                    <a:pt x="4896" y="3558"/>
                  </a:lnTo>
                  <a:cubicBezTo>
                    <a:pt x="4854" y="3474"/>
                    <a:pt x="4812" y="3412"/>
                    <a:pt x="4750" y="3349"/>
                  </a:cubicBezTo>
                  <a:lnTo>
                    <a:pt x="4792" y="3265"/>
                  </a:lnTo>
                  <a:lnTo>
                    <a:pt x="4854" y="3160"/>
                  </a:lnTo>
                  <a:lnTo>
                    <a:pt x="4812" y="3077"/>
                  </a:lnTo>
                  <a:lnTo>
                    <a:pt x="4687" y="3077"/>
                  </a:lnTo>
                  <a:lnTo>
                    <a:pt x="4540" y="3056"/>
                  </a:lnTo>
                  <a:lnTo>
                    <a:pt x="4394" y="2888"/>
                  </a:lnTo>
                  <a:lnTo>
                    <a:pt x="4268" y="2930"/>
                  </a:lnTo>
                  <a:lnTo>
                    <a:pt x="4122" y="2847"/>
                  </a:lnTo>
                  <a:lnTo>
                    <a:pt x="4101" y="2763"/>
                  </a:lnTo>
                  <a:lnTo>
                    <a:pt x="4101" y="2658"/>
                  </a:lnTo>
                  <a:lnTo>
                    <a:pt x="4185" y="2575"/>
                  </a:lnTo>
                  <a:lnTo>
                    <a:pt x="4268" y="2575"/>
                  </a:lnTo>
                  <a:lnTo>
                    <a:pt x="4415" y="2679"/>
                  </a:lnTo>
                  <a:lnTo>
                    <a:pt x="4478" y="2721"/>
                  </a:lnTo>
                  <a:lnTo>
                    <a:pt x="4603" y="2533"/>
                  </a:lnTo>
                  <a:lnTo>
                    <a:pt x="4729" y="2428"/>
                  </a:lnTo>
                  <a:lnTo>
                    <a:pt x="4833" y="2428"/>
                  </a:lnTo>
                  <a:lnTo>
                    <a:pt x="4896" y="2470"/>
                  </a:lnTo>
                  <a:lnTo>
                    <a:pt x="4959" y="2512"/>
                  </a:lnTo>
                  <a:lnTo>
                    <a:pt x="5064" y="2470"/>
                  </a:lnTo>
                  <a:lnTo>
                    <a:pt x="5168" y="2575"/>
                  </a:lnTo>
                  <a:lnTo>
                    <a:pt x="5336" y="2721"/>
                  </a:lnTo>
                  <a:lnTo>
                    <a:pt x="5524" y="2784"/>
                  </a:lnTo>
                  <a:lnTo>
                    <a:pt x="5691" y="2847"/>
                  </a:lnTo>
                  <a:lnTo>
                    <a:pt x="5754" y="2930"/>
                  </a:lnTo>
                  <a:lnTo>
                    <a:pt x="5859" y="2972"/>
                  </a:lnTo>
                  <a:lnTo>
                    <a:pt x="5859" y="2888"/>
                  </a:lnTo>
                  <a:lnTo>
                    <a:pt x="5880" y="2784"/>
                  </a:lnTo>
                  <a:lnTo>
                    <a:pt x="5859" y="2658"/>
                  </a:lnTo>
                  <a:lnTo>
                    <a:pt x="5880" y="2470"/>
                  </a:lnTo>
                  <a:lnTo>
                    <a:pt x="5942" y="2240"/>
                  </a:lnTo>
                  <a:lnTo>
                    <a:pt x="6089" y="2031"/>
                  </a:lnTo>
                  <a:lnTo>
                    <a:pt x="6193" y="2010"/>
                  </a:lnTo>
                  <a:lnTo>
                    <a:pt x="6298" y="2031"/>
                  </a:lnTo>
                  <a:lnTo>
                    <a:pt x="6465" y="2031"/>
                  </a:lnTo>
                  <a:lnTo>
                    <a:pt x="6465" y="1989"/>
                  </a:lnTo>
                  <a:lnTo>
                    <a:pt x="6528" y="1926"/>
                  </a:lnTo>
                  <a:lnTo>
                    <a:pt x="6591" y="1947"/>
                  </a:lnTo>
                  <a:lnTo>
                    <a:pt x="6675" y="1947"/>
                  </a:lnTo>
                  <a:lnTo>
                    <a:pt x="6717" y="1905"/>
                  </a:lnTo>
                  <a:lnTo>
                    <a:pt x="6737" y="1821"/>
                  </a:lnTo>
                  <a:lnTo>
                    <a:pt x="6842" y="1779"/>
                  </a:lnTo>
                  <a:lnTo>
                    <a:pt x="6926" y="1717"/>
                  </a:lnTo>
                  <a:lnTo>
                    <a:pt x="6926" y="1612"/>
                  </a:lnTo>
                  <a:lnTo>
                    <a:pt x="6989" y="1591"/>
                  </a:lnTo>
                  <a:lnTo>
                    <a:pt x="7009" y="1507"/>
                  </a:lnTo>
                  <a:lnTo>
                    <a:pt x="6926" y="1507"/>
                  </a:lnTo>
                  <a:lnTo>
                    <a:pt x="6863" y="1591"/>
                  </a:lnTo>
                  <a:lnTo>
                    <a:pt x="6800" y="1675"/>
                  </a:lnTo>
                  <a:lnTo>
                    <a:pt x="6717" y="1675"/>
                  </a:lnTo>
                  <a:lnTo>
                    <a:pt x="6717" y="1612"/>
                  </a:lnTo>
                  <a:lnTo>
                    <a:pt x="6717" y="1528"/>
                  </a:lnTo>
                  <a:lnTo>
                    <a:pt x="6612" y="1403"/>
                  </a:lnTo>
                  <a:lnTo>
                    <a:pt x="6486" y="1319"/>
                  </a:lnTo>
                  <a:lnTo>
                    <a:pt x="6445" y="1277"/>
                  </a:lnTo>
                  <a:lnTo>
                    <a:pt x="6445" y="1110"/>
                  </a:lnTo>
                  <a:lnTo>
                    <a:pt x="6486" y="943"/>
                  </a:lnTo>
                  <a:lnTo>
                    <a:pt x="6486" y="838"/>
                  </a:lnTo>
                  <a:lnTo>
                    <a:pt x="6465" y="775"/>
                  </a:lnTo>
                  <a:lnTo>
                    <a:pt x="6445" y="796"/>
                  </a:lnTo>
                  <a:lnTo>
                    <a:pt x="6403" y="901"/>
                  </a:lnTo>
                  <a:lnTo>
                    <a:pt x="6298" y="1047"/>
                  </a:lnTo>
                  <a:lnTo>
                    <a:pt x="6131" y="1173"/>
                  </a:lnTo>
                  <a:lnTo>
                    <a:pt x="5963" y="1194"/>
                  </a:lnTo>
                  <a:lnTo>
                    <a:pt x="5901" y="1173"/>
                  </a:lnTo>
                  <a:lnTo>
                    <a:pt x="5838" y="1194"/>
                  </a:lnTo>
                  <a:lnTo>
                    <a:pt x="5733" y="1089"/>
                  </a:lnTo>
                  <a:lnTo>
                    <a:pt x="5608" y="1068"/>
                  </a:lnTo>
                  <a:lnTo>
                    <a:pt x="5419" y="984"/>
                  </a:lnTo>
                  <a:lnTo>
                    <a:pt x="5315" y="880"/>
                  </a:lnTo>
                  <a:lnTo>
                    <a:pt x="5210" y="859"/>
                  </a:lnTo>
                  <a:lnTo>
                    <a:pt x="5147" y="775"/>
                  </a:lnTo>
                  <a:lnTo>
                    <a:pt x="5001" y="671"/>
                  </a:lnTo>
                  <a:lnTo>
                    <a:pt x="4729" y="419"/>
                  </a:lnTo>
                  <a:lnTo>
                    <a:pt x="4645" y="252"/>
                  </a:lnTo>
                  <a:lnTo>
                    <a:pt x="4499" y="231"/>
                  </a:lnTo>
                  <a:lnTo>
                    <a:pt x="4310" y="64"/>
                  </a:lnTo>
                  <a:lnTo>
                    <a:pt x="426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5" name="Google Shape;2005;p66"/>
            <p:cNvSpPr/>
            <p:nvPr/>
          </p:nvSpPr>
          <p:spPr>
            <a:xfrm>
              <a:off x="4580490" y="2850992"/>
              <a:ext cx="28661" cy="38087"/>
            </a:xfrm>
            <a:custGeom>
              <a:avLst/>
              <a:gdLst/>
              <a:ahLst/>
              <a:cxnLst/>
              <a:rect l="l" t="t" r="r" b="b"/>
              <a:pathLst>
                <a:path w="2407" h="3349" extrusionOk="0">
                  <a:moveTo>
                    <a:pt x="1256" y="1"/>
                  </a:moveTo>
                  <a:lnTo>
                    <a:pt x="1005" y="126"/>
                  </a:lnTo>
                  <a:lnTo>
                    <a:pt x="628" y="189"/>
                  </a:lnTo>
                  <a:lnTo>
                    <a:pt x="419" y="377"/>
                  </a:lnTo>
                  <a:lnTo>
                    <a:pt x="210" y="419"/>
                  </a:lnTo>
                  <a:lnTo>
                    <a:pt x="21" y="586"/>
                  </a:lnTo>
                  <a:lnTo>
                    <a:pt x="0" y="712"/>
                  </a:lnTo>
                  <a:lnTo>
                    <a:pt x="0" y="733"/>
                  </a:lnTo>
                  <a:lnTo>
                    <a:pt x="105" y="649"/>
                  </a:lnTo>
                  <a:lnTo>
                    <a:pt x="293" y="691"/>
                  </a:lnTo>
                  <a:lnTo>
                    <a:pt x="210" y="712"/>
                  </a:lnTo>
                  <a:lnTo>
                    <a:pt x="419" y="921"/>
                  </a:lnTo>
                  <a:lnTo>
                    <a:pt x="565" y="1130"/>
                  </a:lnTo>
                  <a:lnTo>
                    <a:pt x="649" y="1130"/>
                  </a:lnTo>
                  <a:lnTo>
                    <a:pt x="607" y="1214"/>
                  </a:lnTo>
                  <a:lnTo>
                    <a:pt x="712" y="1319"/>
                  </a:lnTo>
                  <a:lnTo>
                    <a:pt x="733" y="1423"/>
                  </a:lnTo>
                  <a:lnTo>
                    <a:pt x="544" y="1361"/>
                  </a:lnTo>
                  <a:lnTo>
                    <a:pt x="524" y="1277"/>
                  </a:lnTo>
                  <a:lnTo>
                    <a:pt x="461" y="1381"/>
                  </a:lnTo>
                  <a:lnTo>
                    <a:pt x="398" y="1361"/>
                  </a:lnTo>
                  <a:lnTo>
                    <a:pt x="252" y="1549"/>
                  </a:lnTo>
                  <a:lnTo>
                    <a:pt x="524" y="1653"/>
                  </a:lnTo>
                  <a:lnTo>
                    <a:pt x="607" y="1633"/>
                  </a:lnTo>
                  <a:lnTo>
                    <a:pt x="649" y="1758"/>
                  </a:lnTo>
                  <a:lnTo>
                    <a:pt x="649" y="1988"/>
                  </a:lnTo>
                  <a:lnTo>
                    <a:pt x="712" y="2051"/>
                  </a:lnTo>
                  <a:lnTo>
                    <a:pt x="754" y="2009"/>
                  </a:lnTo>
                  <a:lnTo>
                    <a:pt x="858" y="2197"/>
                  </a:lnTo>
                  <a:lnTo>
                    <a:pt x="670" y="2323"/>
                  </a:lnTo>
                  <a:lnTo>
                    <a:pt x="670" y="2386"/>
                  </a:lnTo>
                  <a:lnTo>
                    <a:pt x="754" y="2469"/>
                  </a:lnTo>
                  <a:lnTo>
                    <a:pt x="754" y="2574"/>
                  </a:lnTo>
                  <a:lnTo>
                    <a:pt x="670" y="2595"/>
                  </a:lnTo>
                  <a:lnTo>
                    <a:pt x="670" y="2700"/>
                  </a:lnTo>
                  <a:lnTo>
                    <a:pt x="733" y="2804"/>
                  </a:lnTo>
                  <a:lnTo>
                    <a:pt x="670" y="2804"/>
                  </a:lnTo>
                  <a:lnTo>
                    <a:pt x="816" y="3097"/>
                  </a:lnTo>
                  <a:lnTo>
                    <a:pt x="879" y="3097"/>
                  </a:lnTo>
                  <a:lnTo>
                    <a:pt x="921" y="3223"/>
                  </a:lnTo>
                  <a:lnTo>
                    <a:pt x="963" y="3244"/>
                  </a:lnTo>
                  <a:lnTo>
                    <a:pt x="963" y="3348"/>
                  </a:lnTo>
                  <a:lnTo>
                    <a:pt x="1047" y="3306"/>
                  </a:lnTo>
                  <a:lnTo>
                    <a:pt x="1047" y="3139"/>
                  </a:lnTo>
                  <a:lnTo>
                    <a:pt x="1088" y="3223"/>
                  </a:lnTo>
                  <a:lnTo>
                    <a:pt x="1172" y="3118"/>
                  </a:lnTo>
                  <a:lnTo>
                    <a:pt x="1444" y="2888"/>
                  </a:lnTo>
                  <a:lnTo>
                    <a:pt x="1549" y="2846"/>
                  </a:lnTo>
                  <a:lnTo>
                    <a:pt x="1570" y="2909"/>
                  </a:lnTo>
                  <a:lnTo>
                    <a:pt x="1653" y="2825"/>
                  </a:lnTo>
                  <a:lnTo>
                    <a:pt x="1695" y="2825"/>
                  </a:lnTo>
                  <a:lnTo>
                    <a:pt x="1758" y="2930"/>
                  </a:lnTo>
                  <a:lnTo>
                    <a:pt x="1863" y="2909"/>
                  </a:lnTo>
                  <a:lnTo>
                    <a:pt x="1905" y="2951"/>
                  </a:lnTo>
                  <a:lnTo>
                    <a:pt x="1967" y="2909"/>
                  </a:lnTo>
                  <a:lnTo>
                    <a:pt x="1925" y="2825"/>
                  </a:lnTo>
                  <a:lnTo>
                    <a:pt x="2072" y="2741"/>
                  </a:lnTo>
                  <a:lnTo>
                    <a:pt x="2197" y="2741"/>
                  </a:lnTo>
                  <a:lnTo>
                    <a:pt x="2344" y="2532"/>
                  </a:lnTo>
                  <a:lnTo>
                    <a:pt x="2323" y="2490"/>
                  </a:lnTo>
                  <a:lnTo>
                    <a:pt x="2407" y="2428"/>
                  </a:lnTo>
                  <a:lnTo>
                    <a:pt x="2344" y="1988"/>
                  </a:lnTo>
                  <a:lnTo>
                    <a:pt x="2323" y="1988"/>
                  </a:lnTo>
                  <a:lnTo>
                    <a:pt x="2281" y="2009"/>
                  </a:lnTo>
                  <a:lnTo>
                    <a:pt x="2281" y="1884"/>
                  </a:lnTo>
                  <a:lnTo>
                    <a:pt x="2197" y="1486"/>
                  </a:lnTo>
                  <a:lnTo>
                    <a:pt x="2114" y="1381"/>
                  </a:lnTo>
                  <a:lnTo>
                    <a:pt x="2114" y="1130"/>
                  </a:lnTo>
                  <a:lnTo>
                    <a:pt x="1779" y="712"/>
                  </a:lnTo>
                  <a:lnTo>
                    <a:pt x="1465" y="398"/>
                  </a:lnTo>
                  <a:lnTo>
                    <a:pt x="125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6" name="Google Shape;2006;p66"/>
            <p:cNvSpPr/>
            <p:nvPr/>
          </p:nvSpPr>
          <p:spPr>
            <a:xfrm>
              <a:off x="4566534" y="2807208"/>
              <a:ext cx="32650" cy="53553"/>
            </a:xfrm>
            <a:custGeom>
              <a:avLst/>
              <a:gdLst/>
              <a:ahLst/>
              <a:cxnLst/>
              <a:rect l="l" t="t" r="r" b="b"/>
              <a:pathLst>
                <a:path w="2742" h="4709" extrusionOk="0">
                  <a:moveTo>
                    <a:pt x="2260" y="1"/>
                  </a:moveTo>
                  <a:lnTo>
                    <a:pt x="2177" y="42"/>
                  </a:lnTo>
                  <a:lnTo>
                    <a:pt x="2177" y="168"/>
                  </a:lnTo>
                  <a:lnTo>
                    <a:pt x="2177" y="273"/>
                  </a:lnTo>
                  <a:lnTo>
                    <a:pt x="2240" y="377"/>
                  </a:lnTo>
                  <a:lnTo>
                    <a:pt x="2177" y="482"/>
                  </a:lnTo>
                  <a:lnTo>
                    <a:pt x="2093" y="482"/>
                  </a:lnTo>
                  <a:lnTo>
                    <a:pt x="1988" y="607"/>
                  </a:lnTo>
                  <a:lnTo>
                    <a:pt x="1988" y="733"/>
                  </a:lnTo>
                  <a:lnTo>
                    <a:pt x="1737" y="921"/>
                  </a:lnTo>
                  <a:lnTo>
                    <a:pt x="1612" y="921"/>
                  </a:lnTo>
                  <a:lnTo>
                    <a:pt x="1528" y="1005"/>
                  </a:lnTo>
                  <a:lnTo>
                    <a:pt x="1633" y="1089"/>
                  </a:lnTo>
                  <a:lnTo>
                    <a:pt x="1779" y="1214"/>
                  </a:lnTo>
                  <a:lnTo>
                    <a:pt x="1779" y="1298"/>
                  </a:lnTo>
                  <a:lnTo>
                    <a:pt x="1716" y="1444"/>
                  </a:lnTo>
                  <a:lnTo>
                    <a:pt x="1570" y="1423"/>
                  </a:lnTo>
                  <a:lnTo>
                    <a:pt x="1319" y="1444"/>
                  </a:lnTo>
                  <a:lnTo>
                    <a:pt x="1193" y="1402"/>
                  </a:lnTo>
                  <a:lnTo>
                    <a:pt x="1089" y="1444"/>
                  </a:lnTo>
                  <a:lnTo>
                    <a:pt x="1005" y="1361"/>
                  </a:lnTo>
                  <a:lnTo>
                    <a:pt x="942" y="1319"/>
                  </a:lnTo>
                  <a:lnTo>
                    <a:pt x="838" y="1151"/>
                  </a:lnTo>
                  <a:lnTo>
                    <a:pt x="691" y="1298"/>
                  </a:lnTo>
                  <a:lnTo>
                    <a:pt x="691" y="1465"/>
                  </a:lnTo>
                  <a:lnTo>
                    <a:pt x="691" y="1528"/>
                  </a:lnTo>
                  <a:lnTo>
                    <a:pt x="649" y="1633"/>
                  </a:lnTo>
                  <a:lnTo>
                    <a:pt x="566" y="1926"/>
                  </a:lnTo>
                  <a:lnTo>
                    <a:pt x="461" y="1967"/>
                  </a:lnTo>
                  <a:lnTo>
                    <a:pt x="356" y="2156"/>
                  </a:lnTo>
                  <a:lnTo>
                    <a:pt x="210" y="2260"/>
                  </a:lnTo>
                  <a:lnTo>
                    <a:pt x="210" y="2365"/>
                  </a:lnTo>
                  <a:lnTo>
                    <a:pt x="147" y="2511"/>
                  </a:lnTo>
                  <a:lnTo>
                    <a:pt x="1" y="2616"/>
                  </a:lnTo>
                  <a:lnTo>
                    <a:pt x="1" y="2972"/>
                  </a:lnTo>
                  <a:lnTo>
                    <a:pt x="22" y="3014"/>
                  </a:lnTo>
                  <a:lnTo>
                    <a:pt x="43" y="2993"/>
                  </a:lnTo>
                  <a:lnTo>
                    <a:pt x="84" y="3202"/>
                  </a:lnTo>
                  <a:lnTo>
                    <a:pt x="168" y="3139"/>
                  </a:lnTo>
                  <a:lnTo>
                    <a:pt x="168" y="3034"/>
                  </a:lnTo>
                  <a:lnTo>
                    <a:pt x="315" y="3118"/>
                  </a:lnTo>
                  <a:lnTo>
                    <a:pt x="356" y="3202"/>
                  </a:lnTo>
                  <a:lnTo>
                    <a:pt x="545" y="3181"/>
                  </a:lnTo>
                  <a:lnTo>
                    <a:pt x="587" y="3097"/>
                  </a:lnTo>
                  <a:lnTo>
                    <a:pt x="670" y="3097"/>
                  </a:lnTo>
                  <a:lnTo>
                    <a:pt x="649" y="3181"/>
                  </a:lnTo>
                  <a:lnTo>
                    <a:pt x="566" y="3223"/>
                  </a:lnTo>
                  <a:lnTo>
                    <a:pt x="649" y="3348"/>
                  </a:lnTo>
                  <a:lnTo>
                    <a:pt x="524" y="3558"/>
                  </a:lnTo>
                  <a:lnTo>
                    <a:pt x="524" y="3851"/>
                  </a:lnTo>
                  <a:lnTo>
                    <a:pt x="545" y="3913"/>
                  </a:lnTo>
                  <a:lnTo>
                    <a:pt x="775" y="3913"/>
                  </a:lnTo>
                  <a:lnTo>
                    <a:pt x="880" y="3851"/>
                  </a:lnTo>
                  <a:lnTo>
                    <a:pt x="754" y="3955"/>
                  </a:lnTo>
                  <a:lnTo>
                    <a:pt x="608" y="3955"/>
                  </a:lnTo>
                  <a:lnTo>
                    <a:pt x="545" y="4143"/>
                  </a:lnTo>
                  <a:lnTo>
                    <a:pt x="524" y="4374"/>
                  </a:lnTo>
                  <a:lnTo>
                    <a:pt x="482" y="4478"/>
                  </a:lnTo>
                  <a:lnTo>
                    <a:pt x="545" y="4478"/>
                  </a:lnTo>
                  <a:lnTo>
                    <a:pt x="649" y="4436"/>
                  </a:lnTo>
                  <a:lnTo>
                    <a:pt x="775" y="4478"/>
                  </a:lnTo>
                  <a:lnTo>
                    <a:pt x="670" y="4646"/>
                  </a:lnTo>
                  <a:lnTo>
                    <a:pt x="691" y="4708"/>
                  </a:lnTo>
                  <a:lnTo>
                    <a:pt x="838" y="4604"/>
                  </a:lnTo>
                  <a:lnTo>
                    <a:pt x="900" y="4667"/>
                  </a:lnTo>
                  <a:lnTo>
                    <a:pt x="1005" y="4541"/>
                  </a:lnTo>
                  <a:lnTo>
                    <a:pt x="963" y="4478"/>
                  </a:lnTo>
                  <a:lnTo>
                    <a:pt x="1047" y="4436"/>
                  </a:lnTo>
                  <a:lnTo>
                    <a:pt x="1172" y="4562"/>
                  </a:lnTo>
                  <a:lnTo>
                    <a:pt x="1193" y="4436"/>
                  </a:lnTo>
                  <a:lnTo>
                    <a:pt x="1382" y="4269"/>
                  </a:lnTo>
                  <a:lnTo>
                    <a:pt x="1591" y="4227"/>
                  </a:lnTo>
                  <a:lnTo>
                    <a:pt x="1800" y="4039"/>
                  </a:lnTo>
                  <a:lnTo>
                    <a:pt x="2177" y="3976"/>
                  </a:lnTo>
                  <a:lnTo>
                    <a:pt x="2428" y="3851"/>
                  </a:lnTo>
                  <a:lnTo>
                    <a:pt x="2344" y="3725"/>
                  </a:lnTo>
                  <a:lnTo>
                    <a:pt x="1926" y="3495"/>
                  </a:lnTo>
                  <a:lnTo>
                    <a:pt x="1884" y="3390"/>
                  </a:lnTo>
                  <a:lnTo>
                    <a:pt x="1654" y="3348"/>
                  </a:lnTo>
                  <a:lnTo>
                    <a:pt x="1612" y="3202"/>
                  </a:lnTo>
                  <a:lnTo>
                    <a:pt x="1654" y="3118"/>
                  </a:lnTo>
                  <a:lnTo>
                    <a:pt x="1633" y="2993"/>
                  </a:lnTo>
                  <a:lnTo>
                    <a:pt x="1633" y="2867"/>
                  </a:lnTo>
                  <a:lnTo>
                    <a:pt x="1800" y="2762"/>
                  </a:lnTo>
                  <a:lnTo>
                    <a:pt x="1821" y="2616"/>
                  </a:lnTo>
                  <a:lnTo>
                    <a:pt x="1947" y="2574"/>
                  </a:lnTo>
                  <a:lnTo>
                    <a:pt x="2051" y="2574"/>
                  </a:lnTo>
                  <a:lnTo>
                    <a:pt x="2093" y="2490"/>
                  </a:lnTo>
                  <a:lnTo>
                    <a:pt x="2156" y="2449"/>
                  </a:lnTo>
                  <a:lnTo>
                    <a:pt x="2135" y="2344"/>
                  </a:lnTo>
                  <a:lnTo>
                    <a:pt x="2428" y="2051"/>
                  </a:lnTo>
                  <a:lnTo>
                    <a:pt x="2407" y="1988"/>
                  </a:lnTo>
                  <a:lnTo>
                    <a:pt x="2553" y="1863"/>
                  </a:lnTo>
                  <a:lnTo>
                    <a:pt x="2574" y="1737"/>
                  </a:lnTo>
                  <a:lnTo>
                    <a:pt x="2512" y="1654"/>
                  </a:lnTo>
                  <a:lnTo>
                    <a:pt x="2512" y="1361"/>
                  </a:lnTo>
                  <a:lnTo>
                    <a:pt x="2365" y="1256"/>
                  </a:lnTo>
                  <a:lnTo>
                    <a:pt x="2365" y="1110"/>
                  </a:lnTo>
                  <a:lnTo>
                    <a:pt x="2449" y="817"/>
                  </a:lnTo>
                  <a:lnTo>
                    <a:pt x="2449" y="691"/>
                  </a:lnTo>
                  <a:lnTo>
                    <a:pt x="2532" y="691"/>
                  </a:lnTo>
                  <a:lnTo>
                    <a:pt x="2721" y="482"/>
                  </a:lnTo>
                  <a:lnTo>
                    <a:pt x="2742" y="482"/>
                  </a:lnTo>
                  <a:lnTo>
                    <a:pt x="2637" y="356"/>
                  </a:lnTo>
                  <a:lnTo>
                    <a:pt x="2616" y="293"/>
                  </a:lnTo>
                  <a:lnTo>
                    <a:pt x="2428" y="273"/>
                  </a:lnTo>
                  <a:lnTo>
                    <a:pt x="2365" y="189"/>
                  </a:lnTo>
                  <a:lnTo>
                    <a:pt x="2365" y="84"/>
                  </a:lnTo>
                  <a:lnTo>
                    <a:pt x="226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7" name="Google Shape;2007;p66"/>
            <p:cNvSpPr/>
            <p:nvPr/>
          </p:nvSpPr>
          <p:spPr>
            <a:xfrm>
              <a:off x="4301938" y="2737722"/>
              <a:ext cx="211787" cy="95438"/>
            </a:xfrm>
            <a:custGeom>
              <a:avLst/>
              <a:gdLst/>
              <a:ahLst/>
              <a:cxnLst/>
              <a:rect l="l" t="t" r="r" b="b"/>
              <a:pathLst>
                <a:path w="17786" h="8392" extrusionOk="0">
                  <a:moveTo>
                    <a:pt x="5232" y="1"/>
                  </a:moveTo>
                  <a:lnTo>
                    <a:pt x="5169" y="85"/>
                  </a:lnTo>
                  <a:lnTo>
                    <a:pt x="5169" y="147"/>
                  </a:lnTo>
                  <a:lnTo>
                    <a:pt x="5190" y="252"/>
                  </a:lnTo>
                  <a:lnTo>
                    <a:pt x="5169" y="336"/>
                  </a:lnTo>
                  <a:lnTo>
                    <a:pt x="5085" y="336"/>
                  </a:lnTo>
                  <a:lnTo>
                    <a:pt x="5002" y="357"/>
                  </a:lnTo>
                  <a:lnTo>
                    <a:pt x="4918" y="461"/>
                  </a:lnTo>
                  <a:lnTo>
                    <a:pt x="4918" y="545"/>
                  </a:lnTo>
                  <a:lnTo>
                    <a:pt x="4813" y="670"/>
                  </a:lnTo>
                  <a:lnTo>
                    <a:pt x="4813" y="963"/>
                  </a:lnTo>
                  <a:lnTo>
                    <a:pt x="4855" y="1089"/>
                  </a:lnTo>
                  <a:lnTo>
                    <a:pt x="5023" y="1152"/>
                  </a:lnTo>
                  <a:lnTo>
                    <a:pt x="5085" y="1214"/>
                  </a:lnTo>
                  <a:lnTo>
                    <a:pt x="5190" y="1256"/>
                  </a:lnTo>
                  <a:lnTo>
                    <a:pt x="5211" y="1340"/>
                  </a:lnTo>
                  <a:lnTo>
                    <a:pt x="5190" y="1507"/>
                  </a:lnTo>
                  <a:lnTo>
                    <a:pt x="5190" y="1696"/>
                  </a:lnTo>
                  <a:lnTo>
                    <a:pt x="5295" y="1779"/>
                  </a:lnTo>
                  <a:lnTo>
                    <a:pt x="5378" y="1863"/>
                  </a:lnTo>
                  <a:lnTo>
                    <a:pt x="5232" y="2010"/>
                  </a:lnTo>
                  <a:lnTo>
                    <a:pt x="5043" y="2030"/>
                  </a:lnTo>
                  <a:lnTo>
                    <a:pt x="4960" y="2010"/>
                  </a:lnTo>
                  <a:lnTo>
                    <a:pt x="4918" y="2072"/>
                  </a:lnTo>
                  <a:lnTo>
                    <a:pt x="4813" y="2072"/>
                  </a:lnTo>
                  <a:lnTo>
                    <a:pt x="4709" y="2010"/>
                  </a:lnTo>
                  <a:lnTo>
                    <a:pt x="4479" y="2010"/>
                  </a:lnTo>
                  <a:lnTo>
                    <a:pt x="4374" y="2030"/>
                  </a:lnTo>
                  <a:lnTo>
                    <a:pt x="4290" y="1989"/>
                  </a:lnTo>
                  <a:lnTo>
                    <a:pt x="4186" y="1968"/>
                  </a:lnTo>
                  <a:lnTo>
                    <a:pt x="4081" y="1968"/>
                  </a:lnTo>
                  <a:lnTo>
                    <a:pt x="3955" y="2072"/>
                  </a:lnTo>
                  <a:lnTo>
                    <a:pt x="3851" y="2093"/>
                  </a:lnTo>
                  <a:lnTo>
                    <a:pt x="3767" y="2135"/>
                  </a:lnTo>
                  <a:lnTo>
                    <a:pt x="3558" y="2030"/>
                  </a:lnTo>
                  <a:lnTo>
                    <a:pt x="3453" y="1968"/>
                  </a:lnTo>
                  <a:lnTo>
                    <a:pt x="3181" y="1800"/>
                  </a:lnTo>
                  <a:lnTo>
                    <a:pt x="3139" y="1717"/>
                  </a:lnTo>
                  <a:lnTo>
                    <a:pt x="3118" y="1612"/>
                  </a:lnTo>
                  <a:lnTo>
                    <a:pt x="3077" y="1549"/>
                  </a:lnTo>
                  <a:lnTo>
                    <a:pt x="2888" y="1549"/>
                  </a:lnTo>
                  <a:lnTo>
                    <a:pt x="2805" y="1591"/>
                  </a:lnTo>
                  <a:lnTo>
                    <a:pt x="2700" y="1591"/>
                  </a:lnTo>
                  <a:lnTo>
                    <a:pt x="2658" y="1612"/>
                  </a:lnTo>
                  <a:lnTo>
                    <a:pt x="2512" y="1612"/>
                  </a:lnTo>
                  <a:lnTo>
                    <a:pt x="2470" y="1549"/>
                  </a:lnTo>
                  <a:lnTo>
                    <a:pt x="2428" y="1486"/>
                  </a:lnTo>
                  <a:lnTo>
                    <a:pt x="2365" y="1382"/>
                  </a:lnTo>
                  <a:lnTo>
                    <a:pt x="2344" y="1382"/>
                  </a:lnTo>
                  <a:lnTo>
                    <a:pt x="2261" y="1445"/>
                  </a:lnTo>
                  <a:lnTo>
                    <a:pt x="2030" y="1445"/>
                  </a:lnTo>
                  <a:lnTo>
                    <a:pt x="1905" y="1466"/>
                  </a:lnTo>
                  <a:lnTo>
                    <a:pt x="1717" y="1486"/>
                  </a:lnTo>
                  <a:lnTo>
                    <a:pt x="1633" y="1549"/>
                  </a:lnTo>
                  <a:lnTo>
                    <a:pt x="1549" y="1675"/>
                  </a:lnTo>
                  <a:lnTo>
                    <a:pt x="1466" y="1717"/>
                  </a:lnTo>
                  <a:lnTo>
                    <a:pt x="1298" y="1675"/>
                  </a:lnTo>
                  <a:lnTo>
                    <a:pt x="1256" y="1717"/>
                  </a:lnTo>
                  <a:lnTo>
                    <a:pt x="1256" y="1800"/>
                  </a:lnTo>
                  <a:lnTo>
                    <a:pt x="1319" y="1863"/>
                  </a:lnTo>
                  <a:lnTo>
                    <a:pt x="1256" y="1884"/>
                  </a:lnTo>
                  <a:lnTo>
                    <a:pt x="1193" y="2010"/>
                  </a:lnTo>
                  <a:lnTo>
                    <a:pt x="1110" y="2030"/>
                  </a:lnTo>
                  <a:lnTo>
                    <a:pt x="1005" y="2114"/>
                  </a:lnTo>
                  <a:lnTo>
                    <a:pt x="1005" y="2198"/>
                  </a:lnTo>
                  <a:lnTo>
                    <a:pt x="838" y="2282"/>
                  </a:lnTo>
                  <a:lnTo>
                    <a:pt x="817" y="2386"/>
                  </a:lnTo>
                  <a:lnTo>
                    <a:pt x="796" y="2512"/>
                  </a:lnTo>
                  <a:lnTo>
                    <a:pt x="608" y="2554"/>
                  </a:lnTo>
                  <a:lnTo>
                    <a:pt x="503" y="2658"/>
                  </a:lnTo>
                  <a:lnTo>
                    <a:pt x="482" y="2742"/>
                  </a:lnTo>
                  <a:lnTo>
                    <a:pt x="210" y="2721"/>
                  </a:lnTo>
                  <a:lnTo>
                    <a:pt x="105" y="2763"/>
                  </a:lnTo>
                  <a:lnTo>
                    <a:pt x="1" y="2972"/>
                  </a:lnTo>
                  <a:lnTo>
                    <a:pt x="1" y="3014"/>
                  </a:lnTo>
                  <a:lnTo>
                    <a:pt x="43" y="3056"/>
                  </a:lnTo>
                  <a:lnTo>
                    <a:pt x="43" y="3181"/>
                  </a:lnTo>
                  <a:lnTo>
                    <a:pt x="64" y="3223"/>
                  </a:lnTo>
                  <a:lnTo>
                    <a:pt x="105" y="3286"/>
                  </a:lnTo>
                  <a:lnTo>
                    <a:pt x="147" y="3286"/>
                  </a:lnTo>
                  <a:lnTo>
                    <a:pt x="147" y="3244"/>
                  </a:lnTo>
                  <a:lnTo>
                    <a:pt x="168" y="3244"/>
                  </a:lnTo>
                  <a:lnTo>
                    <a:pt x="189" y="3286"/>
                  </a:lnTo>
                  <a:lnTo>
                    <a:pt x="189" y="3370"/>
                  </a:lnTo>
                  <a:lnTo>
                    <a:pt x="210" y="3453"/>
                  </a:lnTo>
                  <a:lnTo>
                    <a:pt x="294" y="3495"/>
                  </a:lnTo>
                  <a:lnTo>
                    <a:pt x="336" y="3537"/>
                  </a:lnTo>
                  <a:lnTo>
                    <a:pt x="461" y="3642"/>
                  </a:lnTo>
                  <a:lnTo>
                    <a:pt x="566" y="3704"/>
                  </a:lnTo>
                  <a:lnTo>
                    <a:pt x="629" y="3788"/>
                  </a:lnTo>
                  <a:lnTo>
                    <a:pt x="629" y="3851"/>
                  </a:lnTo>
                  <a:lnTo>
                    <a:pt x="670" y="3914"/>
                  </a:lnTo>
                  <a:lnTo>
                    <a:pt x="796" y="3997"/>
                  </a:lnTo>
                  <a:lnTo>
                    <a:pt x="838" y="3997"/>
                  </a:lnTo>
                  <a:lnTo>
                    <a:pt x="859" y="3914"/>
                  </a:lnTo>
                  <a:lnTo>
                    <a:pt x="901" y="3872"/>
                  </a:lnTo>
                  <a:lnTo>
                    <a:pt x="1026" y="3809"/>
                  </a:lnTo>
                  <a:lnTo>
                    <a:pt x="1131" y="3809"/>
                  </a:lnTo>
                  <a:lnTo>
                    <a:pt x="1152" y="3872"/>
                  </a:lnTo>
                  <a:lnTo>
                    <a:pt x="1235" y="3976"/>
                  </a:lnTo>
                  <a:lnTo>
                    <a:pt x="1319" y="3997"/>
                  </a:lnTo>
                  <a:lnTo>
                    <a:pt x="1361" y="3976"/>
                  </a:lnTo>
                  <a:lnTo>
                    <a:pt x="1424" y="3914"/>
                  </a:lnTo>
                  <a:lnTo>
                    <a:pt x="1528" y="3914"/>
                  </a:lnTo>
                  <a:lnTo>
                    <a:pt x="1612" y="3955"/>
                  </a:lnTo>
                  <a:lnTo>
                    <a:pt x="1654" y="4018"/>
                  </a:lnTo>
                  <a:lnTo>
                    <a:pt x="1738" y="4060"/>
                  </a:lnTo>
                  <a:lnTo>
                    <a:pt x="1842" y="4123"/>
                  </a:lnTo>
                  <a:lnTo>
                    <a:pt x="1884" y="4207"/>
                  </a:lnTo>
                  <a:lnTo>
                    <a:pt x="1905" y="4311"/>
                  </a:lnTo>
                  <a:lnTo>
                    <a:pt x="1947" y="4416"/>
                  </a:lnTo>
                  <a:lnTo>
                    <a:pt x="1989" y="4499"/>
                  </a:lnTo>
                  <a:lnTo>
                    <a:pt x="2051" y="4604"/>
                  </a:lnTo>
                  <a:lnTo>
                    <a:pt x="2135" y="4646"/>
                  </a:lnTo>
                  <a:lnTo>
                    <a:pt x="2198" y="4709"/>
                  </a:lnTo>
                  <a:lnTo>
                    <a:pt x="2282" y="4834"/>
                  </a:lnTo>
                  <a:lnTo>
                    <a:pt x="2344" y="4897"/>
                  </a:lnTo>
                  <a:lnTo>
                    <a:pt x="2344" y="5023"/>
                  </a:lnTo>
                  <a:lnTo>
                    <a:pt x="2302" y="5106"/>
                  </a:lnTo>
                  <a:lnTo>
                    <a:pt x="2344" y="5232"/>
                  </a:lnTo>
                  <a:lnTo>
                    <a:pt x="2407" y="5315"/>
                  </a:lnTo>
                  <a:lnTo>
                    <a:pt x="2365" y="5420"/>
                  </a:lnTo>
                  <a:lnTo>
                    <a:pt x="2282" y="5483"/>
                  </a:lnTo>
                  <a:lnTo>
                    <a:pt x="2261" y="5546"/>
                  </a:lnTo>
                  <a:lnTo>
                    <a:pt x="2261" y="5629"/>
                  </a:lnTo>
                  <a:lnTo>
                    <a:pt x="2282" y="5734"/>
                  </a:lnTo>
                  <a:lnTo>
                    <a:pt x="2407" y="5901"/>
                  </a:lnTo>
                  <a:lnTo>
                    <a:pt x="2512" y="5985"/>
                  </a:lnTo>
                  <a:lnTo>
                    <a:pt x="3098" y="6111"/>
                  </a:lnTo>
                  <a:lnTo>
                    <a:pt x="3349" y="6090"/>
                  </a:lnTo>
                  <a:lnTo>
                    <a:pt x="3516" y="6090"/>
                  </a:lnTo>
                  <a:lnTo>
                    <a:pt x="3558" y="6048"/>
                  </a:lnTo>
                  <a:lnTo>
                    <a:pt x="3600" y="6048"/>
                  </a:lnTo>
                  <a:lnTo>
                    <a:pt x="3976" y="6111"/>
                  </a:lnTo>
                  <a:lnTo>
                    <a:pt x="4165" y="6257"/>
                  </a:lnTo>
                  <a:lnTo>
                    <a:pt x="4227" y="6299"/>
                  </a:lnTo>
                  <a:lnTo>
                    <a:pt x="4332" y="6320"/>
                  </a:lnTo>
                  <a:lnTo>
                    <a:pt x="4437" y="6320"/>
                  </a:lnTo>
                  <a:lnTo>
                    <a:pt x="4646" y="6487"/>
                  </a:lnTo>
                  <a:lnTo>
                    <a:pt x="4792" y="6571"/>
                  </a:lnTo>
                  <a:lnTo>
                    <a:pt x="5023" y="6571"/>
                  </a:lnTo>
                  <a:lnTo>
                    <a:pt x="5043" y="6675"/>
                  </a:lnTo>
                  <a:lnTo>
                    <a:pt x="5085" y="6738"/>
                  </a:lnTo>
                  <a:lnTo>
                    <a:pt x="5127" y="6738"/>
                  </a:lnTo>
                  <a:lnTo>
                    <a:pt x="5211" y="6780"/>
                  </a:lnTo>
                  <a:lnTo>
                    <a:pt x="5315" y="6885"/>
                  </a:lnTo>
                  <a:lnTo>
                    <a:pt x="5315" y="6948"/>
                  </a:lnTo>
                  <a:lnTo>
                    <a:pt x="5378" y="7115"/>
                  </a:lnTo>
                  <a:lnTo>
                    <a:pt x="5483" y="7240"/>
                  </a:lnTo>
                  <a:lnTo>
                    <a:pt x="5608" y="7408"/>
                  </a:lnTo>
                  <a:lnTo>
                    <a:pt x="5650" y="7533"/>
                  </a:lnTo>
                  <a:lnTo>
                    <a:pt x="5797" y="7784"/>
                  </a:lnTo>
                  <a:lnTo>
                    <a:pt x="5901" y="7826"/>
                  </a:lnTo>
                  <a:lnTo>
                    <a:pt x="6006" y="7784"/>
                  </a:lnTo>
                  <a:lnTo>
                    <a:pt x="6236" y="7764"/>
                  </a:lnTo>
                  <a:lnTo>
                    <a:pt x="6487" y="7784"/>
                  </a:lnTo>
                  <a:lnTo>
                    <a:pt x="6843" y="7764"/>
                  </a:lnTo>
                  <a:lnTo>
                    <a:pt x="7324" y="7826"/>
                  </a:lnTo>
                  <a:lnTo>
                    <a:pt x="7596" y="7784"/>
                  </a:lnTo>
                  <a:lnTo>
                    <a:pt x="7784" y="7722"/>
                  </a:lnTo>
                  <a:lnTo>
                    <a:pt x="7826" y="7659"/>
                  </a:lnTo>
                  <a:lnTo>
                    <a:pt x="7889" y="7617"/>
                  </a:lnTo>
                  <a:lnTo>
                    <a:pt x="7952" y="7638"/>
                  </a:lnTo>
                  <a:lnTo>
                    <a:pt x="8328" y="7638"/>
                  </a:lnTo>
                  <a:lnTo>
                    <a:pt x="8747" y="7659"/>
                  </a:lnTo>
                  <a:lnTo>
                    <a:pt x="8872" y="7680"/>
                  </a:lnTo>
                  <a:lnTo>
                    <a:pt x="9082" y="7868"/>
                  </a:lnTo>
                  <a:lnTo>
                    <a:pt x="9458" y="8036"/>
                  </a:lnTo>
                  <a:lnTo>
                    <a:pt x="9814" y="8161"/>
                  </a:lnTo>
                  <a:lnTo>
                    <a:pt x="9981" y="8182"/>
                  </a:lnTo>
                  <a:lnTo>
                    <a:pt x="10191" y="8287"/>
                  </a:lnTo>
                  <a:lnTo>
                    <a:pt x="10358" y="8266"/>
                  </a:lnTo>
                  <a:lnTo>
                    <a:pt x="10630" y="8182"/>
                  </a:lnTo>
                  <a:lnTo>
                    <a:pt x="10651" y="8287"/>
                  </a:lnTo>
                  <a:lnTo>
                    <a:pt x="10651" y="8349"/>
                  </a:lnTo>
                  <a:lnTo>
                    <a:pt x="10797" y="8391"/>
                  </a:lnTo>
                  <a:lnTo>
                    <a:pt x="10944" y="8391"/>
                  </a:lnTo>
                  <a:lnTo>
                    <a:pt x="11049" y="8287"/>
                  </a:lnTo>
                  <a:lnTo>
                    <a:pt x="11300" y="8098"/>
                  </a:lnTo>
                  <a:lnTo>
                    <a:pt x="11467" y="7931"/>
                  </a:lnTo>
                  <a:lnTo>
                    <a:pt x="11781" y="7826"/>
                  </a:lnTo>
                  <a:lnTo>
                    <a:pt x="12199" y="7659"/>
                  </a:lnTo>
                  <a:lnTo>
                    <a:pt x="12367" y="7617"/>
                  </a:lnTo>
                  <a:lnTo>
                    <a:pt x="12555" y="7554"/>
                  </a:lnTo>
                  <a:lnTo>
                    <a:pt x="12806" y="7533"/>
                  </a:lnTo>
                  <a:lnTo>
                    <a:pt x="12953" y="7533"/>
                  </a:lnTo>
                  <a:lnTo>
                    <a:pt x="13120" y="7408"/>
                  </a:lnTo>
                  <a:lnTo>
                    <a:pt x="13266" y="7303"/>
                  </a:lnTo>
                  <a:lnTo>
                    <a:pt x="13392" y="7303"/>
                  </a:lnTo>
                  <a:lnTo>
                    <a:pt x="13580" y="7240"/>
                  </a:lnTo>
                  <a:lnTo>
                    <a:pt x="13685" y="7240"/>
                  </a:lnTo>
                  <a:lnTo>
                    <a:pt x="13769" y="7031"/>
                  </a:lnTo>
                  <a:lnTo>
                    <a:pt x="13894" y="6801"/>
                  </a:lnTo>
                  <a:lnTo>
                    <a:pt x="14166" y="6508"/>
                  </a:lnTo>
                  <a:lnTo>
                    <a:pt x="14229" y="6403"/>
                  </a:lnTo>
                  <a:lnTo>
                    <a:pt x="14292" y="6299"/>
                  </a:lnTo>
                  <a:lnTo>
                    <a:pt x="14292" y="6215"/>
                  </a:lnTo>
                  <a:lnTo>
                    <a:pt x="14062" y="6090"/>
                  </a:lnTo>
                  <a:lnTo>
                    <a:pt x="13790" y="5901"/>
                  </a:lnTo>
                  <a:lnTo>
                    <a:pt x="13810" y="5839"/>
                  </a:lnTo>
                  <a:lnTo>
                    <a:pt x="13790" y="5692"/>
                  </a:lnTo>
                  <a:lnTo>
                    <a:pt x="13790" y="5462"/>
                  </a:lnTo>
                  <a:lnTo>
                    <a:pt x="13894" y="5336"/>
                  </a:lnTo>
                  <a:lnTo>
                    <a:pt x="14020" y="5232"/>
                  </a:lnTo>
                  <a:lnTo>
                    <a:pt x="14229" y="5169"/>
                  </a:lnTo>
                  <a:lnTo>
                    <a:pt x="14396" y="5211"/>
                  </a:lnTo>
                  <a:lnTo>
                    <a:pt x="14522" y="5274"/>
                  </a:lnTo>
                  <a:lnTo>
                    <a:pt x="14710" y="5357"/>
                  </a:lnTo>
                  <a:lnTo>
                    <a:pt x="14836" y="5378"/>
                  </a:lnTo>
                  <a:lnTo>
                    <a:pt x="14961" y="5441"/>
                  </a:lnTo>
                  <a:lnTo>
                    <a:pt x="15024" y="5441"/>
                  </a:lnTo>
                  <a:lnTo>
                    <a:pt x="15045" y="5336"/>
                  </a:lnTo>
                  <a:lnTo>
                    <a:pt x="15129" y="5253"/>
                  </a:lnTo>
                  <a:lnTo>
                    <a:pt x="15254" y="5148"/>
                  </a:lnTo>
                  <a:lnTo>
                    <a:pt x="15359" y="5064"/>
                  </a:lnTo>
                  <a:lnTo>
                    <a:pt x="15463" y="4855"/>
                  </a:lnTo>
                  <a:lnTo>
                    <a:pt x="15547" y="4813"/>
                  </a:lnTo>
                  <a:lnTo>
                    <a:pt x="15673" y="4834"/>
                  </a:lnTo>
                  <a:lnTo>
                    <a:pt x="15840" y="4834"/>
                  </a:lnTo>
                  <a:lnTo>
                    <a:pt x="16070" y="4646"/>
                  </a:lnTo>
                  <a:lnTo>
                    <a:pt x="16196" y="4625"/>
                  </a:lnTo>
                  <a:lnTo>
                    <a:pt x="16259" y="4541"/>
                  </a:lnTo>
                  <a:lnTo>
                    <a:pt x="16259" y="4437"/>
                  </a:lnTo>
                  <a:lnTo>
                    <a:pt x="16279" y="4269"/>
                  </a:lnTo>
                  <a:lnTo>
                    <a:pt x="16384" y="4102"/>
                  </a:lnTo>
                  <a:lnTo>
                    <a:pt x="16426" y="4018"/>
                  </a:lnTo>
                  <a:lnTo>
                    <a:pt x="16489" y="4060"/>
                  </a:lnTo>
                  <a:lnTo>
                    <a:pt x="16551" y="4018"/>
                  </a:lnTo>
                  <a:lnTo>
                    <a:pt x="16614" y="3976"/>
                  </a:lnTo>
                  <a:lnTo>
                    <a:pt x="16614" y="3872"/>
                  </a:lnTo>
                  <a:lnTo>
                    <a:pt x="16677" y="3851"/>
                  </a:lnTo>
                  <a:lnTo>
                    <a:pt x="16782" y="3914"/>
                  </a:lnTo>
                  <a:lnTo>
                    <a:pt x="16844" y="3872"/>
                  </a:lnTo>
                  <a:lnTo>
                    <a:pt x="17012" y="3746"/>
                  </a:lnTo>
                  <a:lnTo>
                    <a:pt x="17116" y="3600"/>
                  </a:lnTo>
                  <a:lnTo>
                    <a:pt x="17221" y="3579"/>
                  </a:lnTo>
                  <a:lnTo>
                    <a:pt x="17367" y="3662"/>
                  </a:lnTo>
                  <a:lnTo>
                    <a:pt x="17451" y="3600"/>
                  </a:lnTo>
                  <a:lnTo>
                    <a:pt x="17556" y="3579"/>
                  </a:lnTo>
                  <a:lnTo>
                    <a:pt x="17598" y="3642"/>
                  </a:lnTo>
                  <a:lnTo>
                    <a:pt x="17723" y="3662"/>
                  </a:lnTo>
                  <a:lnTo>
                    <a:pt x="17744" y="3579"/>
                  </a:lnTo>
                  <a:lnTo>
                    <a:pt x="17744" y="3495"/>
                  </a:lnTo>
                  <a:lnTo>
                    <a:pt x="17786" y="3453"/>
                  </a:lnTo>
                  <a:lnTo>
                    <a:pt x="17786" y="3349"/>
                  </a:lnTo>
                  <a:lnTo>
                    <a:pt x="17765" y="3265"/>
                  </a:lnTo>
                  <a:lnTo>
                    <a:pt x="17744" y="3160"/>
                  </a:lnTo>
                  <a:lnTo>
                    <a:pt x="17535" y="3014"/>
                  </a:lnTo>
                  <a:lnTo>
                    <a:pt x="17367" y="2805"/>
                  </a:lnTo>
                  <a:lnTo>
                    <a:pt x="17158" y="2616"/>
                  </a:lnTo>
                  <a:lnTo>
                    <a:pt x="17012" y="2428"/>
                  </a:lnTo>
                  <a:lnTo>
                    <a:pt x="16740" y="2344"/>
                  </a:lnTo>
                  <a:lnTo>
                    <a:pt x="16698" y="2407"/>
                  </a:lnTo>
                  <a:lnTo>
                    <a:pt x="16531" y="2449"/>
                  </a:lnTo>
                  <a:lnTo>
                    <a:pt x="16531" y="2554"/>
                  </a:lnTo>
                  <a:lnTo>
                    <a:pt x="16531" y="2700"/>
                  </a:lnTo>
                  <a:lnTo>
                    <a:pt x="16405" y="2909"/>
                  </a:lnTo>
                  <a:lnTo>
                    <a:pt x="16300" y="2805"/>
                  </a:lnTo>
                  <a:lnTo>
                    <a:pt x="16028" y="2742"/>
                  </a:lnTo>
                  <a:lnTo>
                    <a:pt x="15798" y="2742"/>
                  </a:lnTo>
                  <a:lnTo>
                    <a:pt x="15631" y="2909"/>
                  </a:lnTo>
                  <a:lnTo>
                    <a:pt x="15359" y="2763"/>
                  </a:lnTo>
                  <a:lnTo>
                    <a:pt x="15254" y="2595"/>
                  </a:lnTo>
                  <a:lnTo>
                    <a:pt x="15338" y="2323"/>
                  </a:lnTo>
                  <a:lnTo>
                    <a:pt x="15317" y="2219"/>
                  </a:lnTo>
                  <a:lnTo>
                    <a:pt x="15359" y="2030"/>
                  </a:lnTo>
                  <a:lnTo>
                    <a:pt x="15338" y="1863"/>
                  </a:lnTo>
                  <a:lnTo>
                    <a:pt x="15463" y="963"/>
                  </a:lnTo>
                  <a:lnTo>
                    <a:pt x="15463" y="942"/>
                  </a:lnTo>
                  <a:lnTo>
                    <a:pt x="15422" y="880"/>
                  </a:lnTo>
                  <a:lnTo>
                    <a:pt x="15212" y="838"/>
                  </a:lnTo>
                  <a:lnTo>
                    <a:pt x="14982" y="859"/>
                  </a:lnTo>
                  <a:lnTo>
                    <a:pt x="14982" y="922"/>
                  </a:lnTo>
                  <a:lnTo>
                    <a:pt x="14857" y="984"/>
                  </a:lnTo>
                  <a:lnTo>
                    <a:pt x="14752" y="984"/>
                  </a:lnTo>
                  <a:lnTo>
                    <a:pt x="14710" y="942"/>
                  </a:lnTo>
                  <a:lnTo>
                    <a:pt x="14606" y="1026"/>
                  </a:lnTo>
                  <a:lnTo>
                    <a:pt x="14501" y="963"/>
                  </a:lnTo>
                  <a:lnTo>
                    <a:pt x="14438" y="880"/>
                  </a:lnTo>
                  <a:lnTo>
                    <a:pt x="14313" y="775"/>
                  </a:lnTo>
                  <a:lnTo>
                    <a:pt x="14208" y="775"/>
                  </a:lnTo>
                  <a:lnTo>
                    <a:pt x="14020" y="838"/>
                  </a:lnTo>
                  <a:lnTo>
                    <a:pt x="13999" y="775"/>
                  </a:lnTo>
                  <a:lnTo>
                    <a:pt x="13894" y="775"/>
                  </a:lnTo>
                  <a:lnTo>
                    <a:pt x="13790" y="859"/>
                  </a:lnTo>
                  <a:lnTo>
                    <a:pt x="13769" y="984"/>
                  </a:lnTo>
                  <a:lnTo>
                    <a:pt x="13685" y="1068"/>
                  </a:lnTo>
                  <a:lnTo>
                    <a:pt x="13559" y="1131"/>
                  </a:lnTo>
                  <a:lnTo>
                    <a:pt x="13476" y="1256"/>
                  </a:lnTo>
                  <a:lnTo>
                    <a:pt x="13476" y="1298"/>
                  </a:lnTo>
                  <a:lnTo>
                    <a:pt x="13455" y="1403"/>
                  </a:lnTo>
                  <a:lnTo>
                    <a:pt x="13350" y="1507"/>
                  </a:lnTo>
                  <a:lnTo>
                    <a:pt x="12973" y="1507"/>
                  </a:lnTo>
                  <a:lnTo>
                    <a:pt x="12869" y="1612"/>
                  </a:lnTo>
                  <a:lnTo>
                    <a:pt x="12743" y="1612"/>
                  </a:lnTo>
                  <a:lnTo>
                    <a:pt x="12534" y="1758"/>
                  </a:lnTo>
                  <a:lnTo>
                    <a:pt x="12429" y="1905"/>
                  </a:lnTo>
                  <a:lnTo>
                    <a:pt x="12367" y="1905"/>
                  </a:lnTo>
                  <a:lnTo>
                    <a:pt x="12283" y="1863"/>
                  </a:lnTo>
                  <a:lnTo>
                    <a:pt x="12137" y="1863"/>
                  </a:lnTo>
                  <a:lnTo>
                    <a:pt x="12095" y="1884"/>
                  </a:lnTo>
                  <a:lnTo>
                    <a:pt x="11927" y="1905"/>
                  </a:lnTo>
                  <a:lnTo>
                    <a:pt x="11593" y="1905"/>
                  </a:lnTo>
                  <a:lnTo>
                    <a:pt x="11362" y="1863"/>
                  </a:lnTo>
                  <a:lnTo>
                    <a:pt x="11090" y="1884"/>
                  </a:lnTo>
                  <a:lnTo>
                    <a:pt x="11028" y="1884"/>
                  </a:lnTo>
                  <a:lnTo>
                    <a:pt x="10923" y="1758"/>
                  </a:lnTo>
                  <a:lnTo>
                    <a:pt x="10839" y="1758"/>
                  </a:lnTo>
                  <a:lnTo>
                    <a:pt x="10756" y="1696"/>
                  </a:lnTo>
                  <a:lnTo>
                    <a:pt x="10651" y="1612"/>
                  </a:lnTo>
                  <a:lnTo>
                    <a:pt x="10609" y="1445"/>
                  </a:lnTo>
                  <a:lnTo>
                    <a:pt x="10525" y="1382"/>
                  </a:lnTo>
                  <a:lnTo>
                    <a:pt x="10421" y="1403"/>
                  </a:lnTo>
                  <a:lnTo>
                    <a:pt x="10232" y="1403"/>
                  </a:lnTo>
                  <a:lnTo>
                    <a:pt x="10044" y="1340"/>
                  </a:lnTo>
                  <a:lnTo>
                    <a:pt x="9919" y="1173"/>
                  </a:lnTo>
                  <a:lnTo>
                    <a:pt x="9521" y="1173"/>
                  </a:lnTo>
                  <a:lnTo>
                    <a:pt x="9396" y="1089"/>
                  </a:lnTo>
                  <a:lnTo>
                    <a:pt x="9270" y="1131"/>
                  </a:lnTo>
                  <a:lnTo>
                    <a:pt x="9103" y="1152"/>
                  </a:lnTo>
                  <a:lnTo>
                    <a:pt x="8977" y="1194"/>
                  </a:lnTo>
                  <a:lnTo>
                    <a:pt x="8768" y="1214"/>
                  </a:lnTo>
                  <a:lnTo>
                    <a:pt x="8580" y="1277"/>
                  </a:lnTo>
                  <a:lnTo>
                    <a:pt x="8517" y="1382"/>
                  </a:lnTo>
                  <a:lnTo>
                    <a:pt x="8433" y="1403"/>
                  </a:lnTo>
                  <a:lnTo>
                    <a:pt x="8349" y="1382"/>
                  </a:lnTo>
                  <a:lnTo>
                    <a:pt x="8266" y="1382"/>
                  </a:lnTo>
                  <a:lnTo>
                    <a:pt x="8182" y="1445"/>
                  </a:lnTo>
                  <a:lnTo>
                    <a:pt x="8015" y="1445"/>
                  </a:lnTo>
                  <a:lnTo>
                    <a:pt x="7952" y="1466"/>
                  </a:lnTo>
                  <a:lnTo>
                    <a:pt x="7889" y="1466"/>
                  </a:lnTo>
                  <a:lnTo>
                    <a:pt x="7722" y="1361"/>
                  </a:lnTo>
                  <a:lnTo>
                    <a:pt x="7533" y="1340"/>
                  </a:lnTo>
                  <a:lnTo>
                    <a:pt x="7512" y="1256"/>
                  </a:lnTo>
                  <a:lnTo>
                    <a:pt x="7387" y="1152"/>
                  </a:lnTo>
                  <a:lnTo>
                    <a:pt x="7324" y="1152"/>
                  </a:lnTo>
                  <a:lnTo>
                    <a:pt x="7261" y="1089"/>
                  </a:lnTo>
                  <a:lnTo>
                    <a:pt x="7261" y="984"/>
                  </a:lnTo>
                  <a:lnTo>
                    <a:pt x="7199" y="859"/>
                  </a:lnTo>
                  <a:lnTo>
                    <a:pt x="7136" y="817"/>
                  </a:lnTo>
                  <a:lnTo>
                    <a:pt x="7136" y="691"/>
                  </a:lnTo>
                  <a:lnTo>
                    <a:pt x="7094" y="629"/>
                  </a:lnTo>
                  <a:lnTo>
                    <a:pt x="7094" y="566"/>
                  </a:lnTo>
                  <a:lnTo>
                    <a:pt x="7052" y="461"/>
                  </a:lnTo>
                  <a:lnTo>
                    <a:pt x="6947" y="440"/>
                  </a:lnTo>
                  <a:lnTo>
                    <a:pt x="6696" y="440"/>
                  </a:lnTo>
                  <a:lnTo>
                    <a:pt x="6592" y="419"/>
                  </a:lnTo>
                  <a:lnTo>
                    <a:pt x="6529" y="398"/>
                  </a:lnTo>
                  <a:lnTo>
                    <a:pt x="6383" y="357"/>
                  </a:lnTo>
                  <a:lnTo>
                    <a:pt x="6341" y="315"/>
                  </a:lnTo>
                  <a:lnTo>
                    <a:pt x="6257" y="252"/>
                  </a:lnTo>
                  <a:lnTo>
                    <a:pt x="5901" y="252"/>
                  </a:lnTo>
                  <a:lnTo>
                    <a:pt x="5755" y="210"/>
                  </a:lnTo>
                  <a:lnTo>
                    <a:pt x="5734" y="168"/>
                  </a:lnTo>
                  <a:lnTo>
                    <a:pt x="5567" y="105"/>
                  </a:lnTo>
                  <a:lnTo>
                    <a:pt x="5441" y="43"/>
                  </a:lnTo>
                  <a:lnTo>
                    <a:pt x="537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8" name="Google Shape;2008;p66"/>
            <p:cNvSpPr/>
            <p:nvPr/>
          </p:nvSpPr>
          <p:spPr>
            <a:xfrm>
              <a:off x="4718522" y="3165089"/>
              <a:ext cx="67277" cy="54986"/>
            </a:xfrm>
            <a:custGeom>
              <a:avLst/>
              <a:gdLst/>
              <a:ahLst/>
              <a:cxnLst/>
              <a:rect l="l" t="t" r="r" b="b"/>
              <a:pathLst>
                <a:path w="5650" h="4835" extrusionOk="0">
                  <a:moveTo>
                    <a:pt x="126" y="1"/>
                  </a:moveTo>
                  <a:lnTo>
                    <a:pt x="42" y="2156"/>
                  </a:lnTo>
                  <a:lnTo>
                    <a:pt x="21" y="2323"/>
                  </a:lnTo>
                  <a:lnTo>
                    <a:pt x="21" y="2407"/>
                  </a:lnTo>
                  <a:lnTo>
                    <a:pt x="21" y="2470"/>
                  </a:lnTo>
                  <a:lnTo>
                    <a:pt x="0" y="3872"/>
                  </a:lnTo>
                  <a:lnTo>
                    <a:pt x="168" y="3872"/>
                  </a:lnTo>
                  <a:lnTo>
                    <a:pt x="251" y="3892"/>
                  </a:lnTo>
                  <a:lnTo>
                    <a:pt x="356" y="3872"/>
                  </a:lnTo>
                  <a:lnTo>
                    <a:pt x="732" y="3872"/>
                  </a:lnTo>
                  <a:lnTo>
                    <a:pt x="753" y="3934"/>
                  </a:lnTo>
                  <a:lnTo>
                    <a:pt x="837" y="3997"/>
                  </a:lnTo>
                  <a:lnTo>
                    <a:pt x="942" y="4039"/>
                  </a:lnTo>
                  <a:lnTo>
                    <a:pt x="1046" y="3955"/>
                  </a:lnTo>
                  <a:lnTo>
                    <a:pt x="1256" y="3892"/>
                  </a:lnTo>
                  <a:lnTo>
                    <a:pt x="1276" y="3851"/>
                  </a:lnTo>
                  <a:lnTo>
                    <a:pt x="1318" y="3892"/>
                  </a:lnTo>
                  <a:lnTo>
                    <a:pt x="1381" y="3830"/>
                  </a:lnTo>
                  <a:lnTo>
                    <a:pt x="1360" y="3662"/>
                  </a:lnTo>
                  <a:lnTo>
                    <a:pt x="1214" y="3558"/>
                  </a:lnTo>
                  <a:lnTo>
                    <a:pt x="1046" y="3474"/>
                  </a:lnTo>
                  <a:lnTo>
                    <a:pt x="900" y="3453"/>
                  </a:lnTo>
                  <a:lnTo>
                    <a:pt x="858" y="3411"/>
                  </a:lnTo>
                  <a:lnTo>
                    <a:pt x="753" y="3369"/>
                  </a:lnTo>
                  <a:lnTo>
                    <a:pt x="732" y="3369"/>
                  </a:lnTo>
                  <a:lnTo>
                    <a:pt x="670" y="3328"/>
                  </a:lnTo>
                  <a:lnTo>
                    <a:pt x="649" y="3202"/>
                  </a:lnTo>
                  <a:lnTo>
                    <a:pt x="544" y="3056"/>
                  </a:lnTo>
                  <a:lnTo>
                    <a:pt x="440" y="3014"/>
                  </a:lnTo>
                  <a:lnTo>
                    <a:pt x="419" y="2930"/>
                  </a:lnTo>
                  <a:lnTo>
                    <a:pt x="335" y="2846"/>
                  </a:lnTo>
                  <a:lnTo>
                    <a:pt x="419" y="2909"/>
                  </a:lnTo>
                  <a:lnTo>
                    <a:pt x="440" y="3014"/>
                  </a:lnTo>
                  <a:lnTo>
                    <a:pt x="523" y="3014"/>
                  </a:lnTo>
                  <a:lnTo>
                    <a:pt x="649" y="3097"/>
                  </a:lnTo>
                  <a:lnTo>
                    <a:pt x="670" y="3202"/>
                  </a:lnTo>
                  <a:lnTo>
                    <a:pt x="670" y="3328"/>
                  </a:lnTo>
                  <a:lnTo>
                    <a:pt x="732" y="3328"/>
                  </a:lnTo>
                  <a:lnTo>
                    <a:pt x="879" y="3348"/>
                  </a:lnTo>
                  <a:lnTo>
                    <a:pt x="963" y="3432"/>
                  </a:lnTo>
                  <a:lnTo>
                    <a:pt x="1151" y="3432"/>
                  </a:lnTo>
                  <a:lnTo>
                    <a:pt x="1297" y="3369"/>
                  </a:lnTo>
                  <a:lnTo>
                    <a:pt x="1423" y="3411"/>
                  </a:lnTo>
                  <a:lnTo>
                    <a:pt x="1507" y="3348"/>
                  </a:lnTo>
                  <a:lnTo>
                    <a:pt x="1486" y="3328"/>
                  </a:lnTo>
                  <a:lnTo>
                    <a:pt x="1402" y="3244"/>
                  </a:lnTo>
                  <a:lnTo>
                    <a:pt x="1360" y="3160"/>
                  </a:lnTo>
                  <a:lnTo>
                    <a:pt x="1276" y="3202"/>
                  </a:lnTo>
                  <a:lnTo>
                    <a:pt x="1256" y="3118"/>
                  </a:lnTo>
                  <a:lnTo>
                    <a:pt x="1297" y="3160"/>
                  </a:lnTo>
                  <a:lnTo>
                    <a:pt x="1423" y="3139"/>
                  </a:lnTo>
                  <a:lnTo>
                    <a:pt x="1507" y="3244"/>
                  </a:lnTo>
                  <a:lnTo>
                    <a:pt x="1611" y="3244"/>
                  </a:lnTo>
                  <a:lnTo>
                    <a:pt x="1569" y="3202"/>
                  </a:lnTo>
                  <a:lnTo>
                    <a:pt x="1569" y="3118"/>
                  </a:lnTo>
                  <a:lnTo>
                    <a:pt x="1611" y="3056"/>
                  </a:lnTo>
                  <a:lnTo>
                    <a:pt x="1611" y="3014"/>
                  </a:lnTo>
                  <a:lnTo>
                    <a:pt x="1611" y="2930"/>
                  </a:lnTo>
                  <a:lnTo>
                    <a:pt x="1528" y="2825"/>
                  </a:lnTo>
                  <a:lnTo>
                    <a:pt x="1528" y="2804"/>
                  </a:lnTo>
                  <a:lnTo>
                    <a:pt x="1632" y="2846"/>
                  </a:lnTo>
                  <a:lnTo>
                    <a:pt x="1674" y="2909"/>
                  </a:lnTo>
                  <a:lnTo>
                    <a:pt x="1779" y="3014"/>
                  </a:lnTo>
                  <a:lnTo>
                    <a:pt x="1883" y="3035"/>
                  </a:lnTo>
                  <a:lnTo>
                    <a:pt x="1883" y="2993"/>
                  </a:lnTo>
                  <a:lnTo>
                    <a:pt x="1841" y="2909"/>
                  </a:lnTo>
                  <a:lnTo>
                    <a:pt x="1883" y="2930"/>
                  </a:lnTo>
                  <a:lnTo>
                    <a:pt x="1904" y="3035"/>
                  </a:lnTo>
                  <a:lnTo>
                    <a:pt x="1946" y="3035"/>
                  </a:lnTo>
                  <a:lnTo>
                    <a:pt x="1946" y="2951"/>
                  </a:lnTo>
                  <a:lnTo>
                    <a:pt x="1925" y="2888"/>
                  </a:lnTo>
                  <a:lnTo>
                    <a:pt x="1946" y="2784"/>
                  </a:lnTo>
                  <a:lnTo>
                    <a:pt x="2009" y="2825"/>
                  </a:lnTo>
                  <a:lnTo>
                    <a:pt x="2155" y="2888"/>
                  </a:lnTo>
                  <a:lnTo>
                    <a:pt x="2197" y="2951"/>
                  </a:lnTo>
                  <a:lnTo>
                    <a:pt x="2260" y="2993"/>
                  </a:lnTo>
                  <a:lnTo>
                    <a:pt x="2323" y="2951"/>
                  </a:lnTo>
                  <a:lnTo>
                    <a:pt x="2365" y="2993"/>
                  </a:lnTo>
                  <a:lnTo>
                    <a:pt x="2427" y="2930"/>
                  </a:lnTo>
                  <a:lnTo>
                    <a:pt x="2427" y="3014"/>
                  </a:lnTo>
                  <a:lnTo>
                    <a:pt x="2427" y="3097"/>
                  </a:lnTo>
                  <a:lnTo>
                    <a:pt x="2469" y="3097"/>
                  </a:lnTo>
                  <a:lnTo>
                    <a:pt x="2553" y="3160"/>
                  </a:lnTo>
                  <a:lnTo>
                    <a:pt x="2867" y="3244"/>
                  </a:lnTo>
                  <a:lnTo>
                    <a:pt x="2950" y="3307"/>
                  </a:lnTo>
                  <a:lnTo>
                    <a:pt x="3055" y="3411"/>
                  </a:lnTo>
                  <a:lnTo>
                    <a:pt x="3076" y="3558"/>
                  </a:lnTo>
                  <a:lnTo>
                    <a:pt x="3243" y="3746"/>
                  </a:lnTo>
                  <a:lnTo>
                    <a:pt x="3264" y="3830"/>
                  </a:lnTo>
                  <a:lnTo>
                    <a:pt x="3369" y="3872"/>
                  </a:lnTo>
                  <a:lnTo>
                    <a:pt x="3453" y="3955"/>
                  </a:lnTo>
                  <a:lnTo>
                    <a:pt x="3473" y="4039"/>
                  </a:lnTo>
                  <a:lnTo>
                    <a:pt x="3725" y="4290"/>
                  </a:lnTo>
                  <a:lnTo>
                    <a:pt x="3725" y="4374"/>
                  </a:lnTo>
                  <a:lnTo>
                    <a:pt x="3829" y="4457"/>
                  </a:lnTo>
                  <a:lnTo>
                    <a:pt x="3997" y="4499"/>
                  </a:lnTo>
                  <a:lnTo>
                    <a:pt x="4080" y="4478"/>
                  </a:lnTo>
                  <a:lnTo>
                    <a:pt x="4122" y="4478"/>
                  </a:lnTo>
                  <a:lnTo>
                    <a:pt x="4206" y="4520"/>
                  </a:lnTo>
                  <a:lnTo>
                    <a:pt x="4394" y="4499"/>
                  </a:lnTo>
                  <a:lnTo>
                    <a:pt x="4520" y="4562"/>
                  </a:lnTo>
                  <a:lnTo>
                    <a:pt x="4624" y="4520"/>
                  </a:lnTo>
                  <a:lnTo>
                    <a:pt x="4771" y="4562"/>
                  </a:lnTo>
                  <a:lnTo>
                    <a:pt x="4875" y="4604"/>
                  </a:lnTo>
                  <a:lnTo>
                    <a:pt x="5022" y="4583"/>
                  </a:lnTo>
                  <a:lnTo>
                    <a:pt x="5064" y="4667"/>
                  </a:lnTo>
                  <a:lnTo>
                    <a:pt x="5168" y="4667"/>
                  </a:lnTo>
                  <a:lnTo>
                    <a:pt x="5189" y="4688"/>
                  </a:lnTo>
                  <a:lnTo>
                    <a:pt x="5126" y="4729"/>
                  </a:lnTo>
                  <a:lnTo>
                    <a:pt x="5252" y="4771"/>
                  </a:lnTo>
                  <a:lnTo>
                    <a:pt x="5378" y="4834"/>
                  </a:lnTo>
                  <a:lnTo>
                    <a:pt x="5503" y="4813"/>
                  </a:lnTo>
                  <a:lnTo>
                    <a:pt x="5545" y="4729"/>
                  </a:lnTo>
                  <a:lnTo>
                    <a:pt x="5398" y="4667"/>
                  </a:lnTo>
                  <a:lnTo>
                    <a:pt x="5357" y="4667"/>
                  </a:lnTo>
                  <a:lnTo>
                    <a:pt x="5357" y="4604"/>
                  </a:lnTo>
                  <a:lnTo>
                    <a:pt x="5461" y="4583"/>
                  </a:lnTo>
                  <a:lnTo>
                    <a:pt x="5545" y="4604"/>
                  </a:lnTo>
                  <a:lnTo>
                    <a:pt x="5650" y="4562"/>
                  </a:lnTo>
                  <a:lnTo>
                    <a:pt x="5440" y="4499"/>
                  </a:lnTo>
                  <a:lnTo>
                    <a:pt x="5168" y="4478"/>
                  </a:lnTo>
                  <a:lnTo>
                    <a:pt x="5043" y="4395"/>
                  </a:lnTo>
                  <a:lnTo>
                    <a:pt x="4980" y="4311"/>
                  </a:lnTo>
                  <a:lnTo>
                    <a:pt x="5126" y="4269"/>
                  </a:lnTo>
                  <a:lnTo>
                    <a:pt x="5189" y="4269"/>
                  </a:lnTo>
                  <a:lnTo>
                    <a:pt x="5252" y="4248"/>
                  </a:lnTo>
                  <a:lnTo>
                    <a:pt x="5168" y="4185"/>
                  </a:lnTo>
                  <a:lnTo>
                    <a:pt x="4959" y="4185"/>
                  </a:lnTo>
                  <a:lnTo>
                    <a:pt x="4771" y="4164"/>
                  </a:lnTo>
                  <a:lnTo>
                    <a:pt x="4708" y="4081"/>
                  </a:lnTo>
                  <a:lnTo>
                    <a:pt x="4708" y="3997"/>
                  </a:lnTo>
                  <a:lnTo>
                    <a:pt x="4771" y="3934"/>
                  </a:lnTo>
                  <a:lnTo>
                    <a:pt x="4813" y="3851"/>
                  </a:lnTo>
                  <a:lnTo>
                    <a:pt x="4750" y="3788"/>
                  </a:lnTo>
                  <a:lnTo>
                    <a:pt x="4666" y="3788"/>
                  </a:lnTo>
                  <a:lnTo>
                    <a:pt x="4624" y="3830"/>
                  </a:lnTo>
                  <a:lnTo>
                    <a:pt x="4541" y="3788"/>
                  </a:lnTo>
                  <a:lnTo>
                    <a:pt x="4457" y="3830"/>
                  </a:lnTo>
                  <a:lnTo>
                    <a:pt x="4352" y="3683"/>
                  </a:lnTo>
                  <a:lnTo>
                    <a:pt x="4352" y="3537"/>
                  </a:lnTo>
                  <a:lnTo>
                    <a:pt x="4248" y="3516"/>
                  </a:lnTo>
                  <a:lnTo>
                    <a:pt x="4143" y="3244"/>
                  </a:lnTo>
                  <a:lnTo>
                    <a:pt x="4101" y="3223"/>
                  </a:lnTo>
                  <a:lnTo>
                    <a:pt x="4080" y="3139"/>
                  </a:lnTo>
                  <a:lnTo>
                    <a:pt x="3934" y="3139"/>
                  </a:lnTo>
                  <a:lnTo>
                    <a:pt x="3871" y="3097"/>
                  </a:lnTo>
                  <a:lnTo>
                    <a:pt x="3808" y="2951"/>
                  </a:lnTo>
                  <a:lnTo>
                    <a:pt x="3683" y="2825"/>
                  </a:lnTo>
                  <a:lnTo>
                    <a:pt x="3662" y="2700"/>
                  </a:lnTo>
                  <a:lnTo>
                    <a:pt x="3578" y="2616"/>
                  </a:lnTo>
                  <a:lnTo>
                    <a:pt x="3494" y="2512"/>
                  </a:lnTo>
                  <a:lnTo>
                    <a:pt x="3515" y="2470"/>
                  </a:lnTo>
                  <a:lnTo>
                    <a:pt x="3766" y="2491"/>
                  </a:lnTo>
                  <a:lnTo>
                    <a:pt x="3976" y="2386"/>
                  </a:lnTo>
                  <a:lnTo>
                    <a:pt x="4017" y="2281"/>
                  </a:lnTo>
                  <a:lnTo>
                    <a:pt x="3997" y="2156"/>
                  </a:lnTo>
                  <a:lnTo>
                    <a:pt x="3829" y="1988"/>
                  </a:lnTo>
                  <a:lnTo>
                    <a:pt x="3704" y="1968"/>
                  </a:lnTo>
                  <a:lnTo>
                    <a:pt x="3662" y="1988"/>
                  </a:lnTo>
                  <a:lnTo>
                    <a:pt x="3557" y="1947"/>
                  </a:lnTo>
                  <a:lnTo>
                    <a:pt x="3348" y="1842"/>
                  </a:lnTo>
                  <a:lnTo>
                    <a:pt x="3243" y="1737"/>
                  </a:lnTo>
                  <a:lnTo>
                    <a:pt x="3097" y="1758"/>
                  </a:lnTo>
                  <a:lnTo>
                    <a:pt x="2846" y="1654"/>
                  </a:lnTo>
                  <a:lnTo>
                    <a:pt x="2825" y="1570"/>
                  </a:lnTo>
                  <a:lnTo>
                    <a:pt x="2867" y="1444"/>
                  </a:lnTo>
                  <a:lnTo>
                    <a:pt x="2888" y="1340"/>
                  </a:lnTo>
                  <a:lnTo>
                    <a:pt x="2825" y="1235"/>
                  </a:lnTo>
                  <a:lnTo>
                    <a:pt x="2616" y="1026"/>
                  </a:lnTo>
                  <a:lnTo>
                    <a:pt x="2553" y="1026"/>
                  </a:lnTo>
                  <a:lnTo>
                    <a:pt x="2511" y="1047"/>
                  </a:lnTo>
                  <a:lnTo>
                    <a:pt x="2448" y="963"/>
                  </a:lnTo>
                  <a:lnTo>
                    <a:pt x="2344" y="900"/>
                  </a:lnTo>
                  <a:lnTo>
                    <a:pt x="2323" y="817"/>
                  </a:lnTo>
                  <a:lnTo>
                    <a:pt x="2197" y="796"/>
                  </a:lnTo>
                  <a:lnTo>
                    <a:pt x="2134" y="712"/>
                  </a:lnTo>
                  <a:lnTo>
                    <a:pt x="2092" y="712"/>
                  </a:lnTo>
                  <a:lnTo>
                    <a:pt x="1988" y="649"/>
                  </a:lnTo>
                  <a:lnTo>
                    <a:pt x="1841" y="649"/>
                  </a:lnTo>
                  <a:lnTo>
                    <a:pt x="1716" y="545"/>
                  </a:lnTo>
                  <a:lnTo>
                    <a:pt x="1590" y="524"/>
                  </a:lnTo>
                  <a:lnTo>
                    <a:pt x="1381" y="398"/>
                  </a:lnTo>
                  <a:lnTo>
                    <a:pt x="1067" y="377"/>
                  </a:lnTo>
                  <a:lnTo>
                    <a:pt x="963" y="315"/>
                  </a:lnTo>
                  <a:lnTo>
                    <a:pt x="879" y="231"/>
                  </a:lnTo>
                  <a:lnTo>
                    <a:pt x="837" y="231"/>
                  </a:lnTo>
                  <a:lnTo>
                    <a:pt x="795" y="273"/>
                  </a:lnTo>
                  <a:lnTo>
                    <a:pt x="565" y="189"/>
                  </a:lnTo>
                  <a:lnTo>
                    <a:pt x="523" y="126"/>
                  </a:lnTo>
                  <a:lnTo>
                    <a:pt x="419" y="84"/>
                  </a:lnTo>
                  <a:lnTo>
                    <a:pt x="23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09" name="Google Shape;2009;p66"/>
            <p:cNvSpPr/>
            <p:nvPr/>
          </p:nvSpPr>
          <p:spPr>
            <a:xfrm>
              <a:off x="4567785" y="3016610"/>
              <a:ext cx="54822" cy="91389"/>
            </a:xfrm>
            <a:custGeom>
              <a:avLst/>
              <a:gdLst/>
              <a:ahLst/>
              <a:cxnLst/>
              <a:rect l="l" t="t" r="r" b="b"/>
              <a:pathLst>
                <a:path w="4604" h="8036" extrusionOk="0">
                  <a:moveTo>
                    <a:pt x="586" y="0"/>
                  </a:moveTo>
                  <a:lnTo>
                    <a:pt x="440" y="63"/>
                  </a:lnTo>
                  <a:lnTo>
                    <a:pt x="419" y="189"/>
                  </a:lnTo>
                  <a:lnTo>
                    <a:pt x="314" y="419"/>
                  </a:lnTo>
                  <a:lnTo>
                    <a:pt x="335" y="565"/>
                  </a:lnTo>
                  <a:lnTo>
                    <a:pt x="335" y="795"/>
                  </a:lnTo>
                  <a:lnTo>
                    <a:pt x="251" y="1088"/>
                  </a:lnTo>
                  <a:lnTo>
                    <a:pt x="210" y="1214"/>
                  </a:lnTo>
                  <a:lnTo>
                    <a:pt x="272" y="1402"/>
                  </a:lnTo>
                  <a:lnTo>
                    <a:pt x="272" y="1465"/>
                  </a:lnTo>
                  <a:lnTo>
                    <a:pt x="210" y="1528"/>
                  </a:lnTo>
                  <a:lnTo>
                    <a:pt x="105" y="1507"/>
                  </a:lnTo>
                  <a:lnTo>
                    <a:pt x="21" y="1402"/>
                  </a:lnTo>
                  <a:lnTo>
                    <a:pt x="0" y="1528"/>
                  </a:lnTo>
                  <a:lnTo>
                    <a:pt x="21" y="1653"/>
                  </a:lnTo>
                  <a:lnTo>
                    <a:pt x="105" y="1653"/>
                  </a:lnTo>
                  <a:lnTo>
                    <a:pt x="126" y="1716"/>
                  </a:lnTo>
                  <a:lnTo>
                    <a:pt x="63" y="1779"/>
                  </a:lnTo>
                  <a:lnTo>
                    <a:pt x="126" y="1946"/>
                  </a:lnTo>
                  <a:lnTo>
                    <a:pt x="210" y="2093"/>
                  </a:lnTo>
                  <a:lnTo>
                    <a:pt x="210" y="2302"/>
                  </a:lnTo>
                  <a:lnTo>
                    <a:pt x="251" y="2344"/>
                  </a:lnTo>
                  <a:lnTo>
                    <a:pt x="314" y="2302"/>
                  </a:lnTo>
                  <a:lnTo>
                    <a:pt x="356" y="2344"/>
                  </a:lnTo>
                  <a:lnTo>
                    <a:pt x="356" y="2448"/>
                  </a:lnTo>
                  <a:lnTo>
                    <a:pt x="461" y="2595"/>
                  </a:lnTo>
                  <a:lnTo>
                    <a:pt x="544" y="2595"/>
                  </a:lnTo>
                  <a:lnTo>
                    <a:pt x="628" y="2511"/>
                  </a:lnTo>
                  <a:lnTo>
                    <a:pt x="565" y="2448"/>
                  </a:lnTo>
                  <a:lnTo>
                    <a:pt x="565" y="2365"/>
                  </a:lnTo>
                  <a:lnTo>
                    <a:pt x="691" y="2365"/>
                  </a:lnTo>
                  <a:lnTo>
                    <a:pt x="795" y="2448"/>
                  </a:lnTo>
                  <a:lnTo>
                    <a:pt x="670" y="2595"/>
                  </a:lnTo>
                  <a:lnTo>
                    <a:pt x="628" y="2679"/>
                  </a:lnTo>
                  <a:lnTo>
                    <a:pt x="628" y="2762"/>
                  </a:lnTo>
                  <a:lnTo>
                    <a:pt x="628" y="2888"/>
                  </a:lnTo>
                  <a:lnTo>
                    <a:pt x="691" y="3013"/>
                  </a:lnTo>
                  <a:lnTo>
                    <a:pt x="733" y="2909"/>
                  </a:lnTo>
                  <a:lnTo>
                    <a:pt x="795" y="2888"/>
                  </a:lnTo>
                  <a:lnTo>
                    <a:pt x="858" y="2992"/>
                  </a:lnTo>
                  <a:lnTo>
                    <a:pt x="795" y="3097"/>
                  </a:lnTo>
                  <a:lnTo>
                    <a:pt x="795" y="3097"/>
                  </a:lnTo>
                  <a:lnTo>
                    <a:pt x="879" y="3076"/>
                  </a:lnTo>
                  <a:lnTo>
                    <a:pt x="963" y="3013"/>
                  </a:lnTo>
                  <a:cubicBezTo>
                    <a:pt x="963" y="3097"/>
                    <a:pt x="963" y="3181"/>
                    <a:pt x="984" y="3244"/>
                  </a:cubicBezTo>
                  <a:lnTo>
                    <a:pt x="900" y="3181"/>
                  </a:lnTo>
                  <a:lnTo>
                    <a:pt x="775" y="3202"/>
                  </a:lnTo>
                  <a:lnTo>
                    <a:pt x="649" y="3139"/>
                  </a:lnTo>
                  <a:lnTo>
                    <a:pt x="544" y="3202"/>
                  </a:lnTo>
                  <a:lnTo>
                    <a:pt x="565" y="3244"/>
                  </a:lnTo>
                  <a:lnTo>
                    <a:pt x="649" y="3244"/>
                  </a:lnTo>
                  <a:lnTo>
                    <a:pt x="670" y="3390"/>
                  </a:lnTo>
                  <a:lnTo>
                    <a:pt x="754" y="3411"/>
                  </a:lnTo>
                  <a:lnTo>
                    <a:pt x="816" y="3516"/>
                  </a:lnTo>
                  <a:lnTo>
                    <a:pt x="816" y="3704"/>
                  </a:lnTo>
                  <a:lnTo>
                    <a:pt x="900" y="3746"/>
                  </a:lnTo>
                  <a:lnTo>
                    <a:pt x="900" y="3850"/>
                  </a:lnTo>
                  <a:lnTo>
                    <a:pt x="1005" y="3976"/>
                  </a:lnTo>
                  <a:lnTo>
                    <a:pt x="1109" y="4018"/>
                  </a:lnTo>
                  <a:lnTo>
                    <a:pt x="1214" y="3934"/>
                  </a:lnTo>
                  <a:lnTo>
                    <a:pt x="1214" y="3850"/>
                  </a:lnTo>
                  <a:lnTo>
                    <a:pt x="1277" y="3829"/>
                  </a:lnTo>
                  <a:lnTo>
                    <a:pt x="1277" y="3725"/>
                  </a:lnTo>
                  <a:lnTo>
                    <a:pt x="1214" y="3641"/>
                  </a:lnTo>
                  <a:lnTo>
                    <a:pt x="1277" y="3557"/>
                  </a:lnTo>
                  <a:lnTo>
                    <a:pt x="1277" y="3453"/>
                  </a:lnTo>
                  <a:lnTo>
                    <a:pt x="1172" y="3411"/>
                  </a:lnTo>
                  <a:lnTo>
                    <a:pt x="1109" y="3348"/>
                  </a:lnTo>
                  <a:cubicBezTo>
                    <a:pt x="1130" y="3306"/>
                    <a:pt x="1130" y="3223"/>
                    <a:pt x="1130" y="3181"/>
                  </a:cubicBezTo>
                  <a:lnTo>
                    <a:pt x="1235" y="3097"/>
                  </a:lnTo>
                  <a:lnTo>
                    <a:pt x="1214" y="3013"/>
                  </a:lnTo>
                  <a:lnTo>
                    <a:pt x="1277" y="2930"/>
                  </a:lnTo>
                  <a:lnTo>
                    <a:pt x="1402" y="2930"/>
                  </a:lnTo>
                  <a:lnTo>
                    <a:pt x="1632" y="3034"/>
                  </a:lnTo>
                  <a:lnTo>
                    <a:pt x="1695" y="3118"/>
                  </a:lnTo>
                  <a:lnTo>
                    <a:pt x="1821" y="3202"/>
                  </a:lnTo>
                  <a:lnTo>
                    <a:pt x="1904" y="3327"/>
                  </a:lnTo>
                  <a:lnTo>
                    <a:pt x="1863" y="3306"/>
                  </a:lnTo>
                  <a:cubicBezTo>
                    <a:pt x="1800" y="3264"/>
                    <a:pt x="1716" y="3264"/>
                    <a:pt x="1632" y="3264"/>
                  </a:cubicBezTo>
                  <a:lnTo>
                    <a:pt x="1653" y="3244"/>
                  </a:lnTo>
                  <a:lnTo>
                    <a:pt x="1611" y="3139"/>
                  </a:lnTo>
                  <a:lnTo>
                    <a:pt x="1507" y="3097"/>
                  </a:lnTo>
                  <a:lnTo>
                    <a:pt x="1444" y="3181"/>
                  </a:lnTo>
                  <a:lnTo>
                    <a:pt x="1486" y="3244"/>
                  </a:lnTo>
                  <a:lnTo>
                    <a:pt x="1528" y="3285"/>
                  </a:lnTo>
                  <a:cubicBezTo>
                    <a:pt x="1507" y="3285"/>
                    <a:pt x="1486" y="3306"/>
                    <a:pt x="1444" y="3306"/>
                  </a:cubicBezTo>
                  <a:lnTo>
                    <a:pt x="1444" y="3327"/>
                  </a:lnTo>
                  <a:lnTo>
                    <a:pt x="1591" y="3327"/>
                  </a:lnTo>
                  <a:lnTo>
                    <a:pt x="1611" y="3348"/>
                  </a:lnTo>
                  <a:lnTo>
                    <a:pt x="1611" y="3327"/>
                  </a:lnTo>
                  <a:cubicBezTo>
                    <a:pt x="1695" y="3327"/>
                    <a:pt x="1758" y="3348"/>
                    <a:pt x="1842" y="3390"/>
                  </a:cubicBezTo>
                  <a:cubicBezTo>
                    <a:pt x="1850" y="3393"/>
                    <a:pt x="1858" y="3394"/>
                    <a:pt x="1866" y="3394"/>
                  </a:cubicBezTo>
                  <a:cubicBezTo>
                    <a:pt x="1915" y="3394"/>
                    <a:pt x="1946" y="3342"/>
                    <a:pt x="1946" y="3306"/>
                  </a:cubicBezTo>
                  <a:lnTo>
                    <a:pt x="1967" y="3327"/>
                  </a:lnTo>
                  <a:lnTo>
                    <a:pt x="2030" y="3327"/>
                  </a:lnTo>
                  <a:lnTo>
                    <a:pt x="2009" y="3139"/>
                  </a:lnTo>
                  <a:lnTo>
                    <a:pt x="1863" y="2930"/>
                  </a:lnTo>
                  <a:lnTo>
                    <a:pt x="1904" y="2888"/>
                  </a:lnTo>
                  <a:lnTo>
                    <a:pt x="1946" y="2888"/>
                  </a:lnTo>
                  <a:lnTo>
                    <a:pt x="2030" y="2971"/>
                  </a:lnTo>
                  <a:lnTo>
                    <a:pt x="2114" y="2992"/>
                  </a:lnTo>
                  <a:lnTo>
                    <a:pt x="2176" y="3118"/>
                  </a:lnTo>
                  <a:lnTo>
                    <a:pt x="2344" y="3181"/>
                  </a:lnTo>
                  <a:lnTo>
                    <a:pt x="2386" y="3285"/>
                  </a:lnTo>
                  <a:lnTo>
                    <a:pt x="2386" y="3411"/>
                  </a:lnTo>
                  <a:lnTo>
                    <a:pt x="2469" y="3432"/>
                  </a:lnTo>
                  <a:lnTo>
                    <a:pt x="2595" y="3599"/>
                  </a:lnTo>
                  <a:lnTo>
                    <a:pt x="2699" y="3557"/>
                  </a:lnTo>
                  <a:lnTo>
                    <a:pt x="2699" y="3516"/>
                  </a:lnTo>
                  <a:lnTo>
                    <a:pt x="2804" y="3536"/>
                  </a:lnTo>
                  <a:lnTo>
                    <a:pt x="2804" y="3599"/>
                  </a:lnTo>
                  <a:lnTo>
                    <a:pt x="2741" y="3641"/>
                  </a:lnTo>
                  <a:cubicBezTo>
                    <a:pt x="2741" y="3641"/>
                    <a:pt x="2699" y="3641"/>
                    <a:pt x="2699" y="3662"/>
                  </a:cubicBezTo>
                  <a:cubicBezTo>
                    <a:pt x="2783" y="3913"/>
                    <a:pt x="2992" y="4060"/>
                    <a:pt x="3223" y="4122"/>
                  </a:cubicBezTo>
                  <a:lnTo>
                    <a:pt x="3285" y="4122"/>
                  </a:lnTo>
                  <a:lnTo>
                    <a:pt x="3411" y="4269"/>
                  </a:lnTo>
                  <a:lnTo>
                    <a:pt x="3432" y="4290"/>
                  </a:lnTo>
                  <a:lnTo>
                    <a:pt x="3432" y="4332"/>
                  </a:lnTo>
                  <a:cubicBezTo>
                    <a:pt x="3432" y="4352"/>
                    <a:pt x="3411" y="4394"/>
                    <a:pt x="3411" y="4436"/>
                  </a:cubicBezTo>
                  <a:lnTo>
                    <a:pt x="3411" y="4436"/>
                  </a:lnTo>
                  <a:cubicBezTo>
                    <a:pt x="3411" y="4436"/>
                    <a:pt x="3411" y="4394"/>
                    <a:pt x="3453" y="4394"/>
                  </a:cubicBezTo>
                  <a:lnTo>
                    <a:pt x="3495" y="4436"/>
                  </a:lnTo>
                  <a:lnTo>
                    <a:pt x="3599" y="4478"/>
                  </a:lnTo>
                  <a:lnTo>
                    <a:pt x="3620" y="4562"/>
                  </a:lnTo>
                  <a:lnTo>
                    <a:pt x="3808" y="4562"/>
                  </a:lnTo>
                  <a:lnTo>
                    <a:pt x="3829" y="4583"/>
                  </a:lnTo>
                  <a:lnTo>
                    <a:pt x="3871" y="4562"/>
                  </a:lnTo>
                  <a:lnTo>
                    <a:pt x="3913" y="4583"/>
                  </a:lnTo>
                  <a:lnTo>
                    <a:pt x="3871" y="4499"/>
                  </a:lnTo>
                  <a:lnTo>
                    <a:pt x="3829" y="4394"/>
                  </a:lnTo>
                  <a:lnTo>
                    <a:pt x="3788" y="4352"/>
                  </a:lnTo>
                  <a:lnTo>
                    <a:pt x="3788" y="4185"/>
                  </a:lnTo>
                  <a:lnTo>
                    <a:pt x="3767" y="3976"/>
                  </a:lnTo>
                  <a:lnTo>
                    <a:pt x="3767" y="3934"/>
                  </a:lnTo>
                  <a:lnTo>
                    <a:pt x="3704" y="3913"/>
                  </a:lnTo>
                  <a:lnTo>
                    <a:pt x="3599" y="3767"/>
                  </a:lnTo>
                  <a:lnTo>
                    <a:pt x="3557" y="3662"/>
                  </a:lnTo>
                  <a:lnTo>
                    <a:pt x="3474" y="3662"/>
                  </a:lnTo>
                  <a:lnTo>
                    <a:pt x="3453" y="3704"/>
                  </a:lnTo>
                  <a:lnTo>
                    <a:pt x="3390" y="3662"/>
                  </a:lnTo>
                  <a:lnTo>
                    <a:pt x="3348" y="3662"/>
                  </a:lnTo>
                  <a:lnTo>
                    <a:pt x="3285" y="3725"/>
                  </a:lnTo>
                  <a:lnTo>
                    <a:pt x="3097" y="3725"/>
                  </a:lnTo>
                  <a:lnTo>
                    <a:pt x="3055" y="3704"/>
                  </a:lnTo>
                  <a:lnTo>
                    <a:pt x="3055" y="3767"/>
                  </a:lnTo>
                  <a:lnTo>
                    <a:pt x="3055" y="3808"/>
                  </a:lnTo>
                  <a:cubicBezTo>
                    <a:pt x="2992" y="3767"/>
                    <a:pt x="2972" y="3746"/>
                    <a:pt x="2930" y="3725"/>
                  </a:cubicBezTo>
                  <a:lnTo>
                    <a:pt x="2951" y="3620"/>
                  </a:lnTo>
                  <a:lnTo>
                    <a:pt x="2951" y="3536"/>
                  </a:lnTo>
                  <a:lnTo>
                    <a:pt x="2992" y="3495"/>
                  </a:lnTo>
                  <a:lnTo>
                    <a:pt x="2951" y="3432"/>
                  </a:lnTo>
                  <a:lnTo>
                    <a:pt x="2846" y="3432"/>
                  </a:lnTo>
                  <a:lnTo>
                    <a:pt x="2762" y="3390"/>
                  </a:lnTo>
                  <a:lnTo>
                    <a:pt x="2658" y="3390"/>
                  </a:lnTo>
                  <a:lnTo>
                    <a:pt x="2658" y="3306"/>
                  </a:lnTo>
                  <a:lnTo>
                    <a:pt x="2574" y="3097"/>
                  </a:lnTo>
                  <a:lnTo>
                    <a:pt x="2553" y="2992"/>
                  </a:lnTo>
                  <a:lnTo>
                    <a:pt x="2616" y="2971"/>
                  </a:lnTo>
                  <a:lnTo>
                    <a:pt x="2658" y="2992"/>
                  </a:lnTo>
                  <a:lnTo>
                    <a:pt x="2741" y="2992"/>
                  </a:lnTo>
                  <a:lnTo>
                    <a:pt x="2720" y="2971"/>
                  </a:lnTo>
                  <a:lnTo>
                    <a:pt x="2616" y="2888"/>
                  </a:lnTo>
                  <a:lnTo>
                    <a:pt x="2469" y="2888"/>
                  </a:lnTo>
                  <a:lnTo>
                    <a:pt x="2427" y="2783"/>
                  </a:lnTo>
                  <a:lnTo>
                    <a:pt x="2365" y="2825"/>
                  </a:lnTo>
                  <a:lnTo>
                    <a:pt x="2365" y="2930"/>
                  </a:lnTo>
                  <a:lnTo>
                    <a:pt x="2302" y="2992"/>
                  </a:lnTo>
                  <a:lnTo>
                    <a:pt x="2239" y="2930"/>
                  </a:lnTo>
                  <a:lnTo>
                    <a:pt x="2260" y="2804"/>
                  </a:lnTo>
                  <a:lnTo>
                    <a:pt x="2197" y="2679"/>
                  </a:lnTo>
                  <a:lnTo>
                    <a:pt x="2009" y="2574"/>
                  </a:lnTo>
                  <a:lnTo>
                    <a:pt x="1904" y="2574"/>
                  </a:lnTo>
                  <a:lnTo>
                    <a:pt x="1737" y="2699"/>
                  </a:lnTo>
                  <a:lnTo>
                    <a:pt x="1716" y="2783"/>
                  </a:lnTo>
                  <a:lnTo>
                    <a:pt x="1632" y="2804"/>
                  </a:lnTo>
                  <a:lnTo>
                    <a:pt x="1507" y="2762"/>
                  </a:lnTo>
                  <a:lnTo>
                    <a:pt x="1465" y="2658"/>
                  </a:lnTo>
                  <a:lnTo>
                    <a:pt x="1381" y="2574"/>
                  </a:lnTo>
                  <a:lnTo>
                    <a:pt x="1381" y="2448"/>
                  </a:lnTo>
                  <a:lnTo>
                    <a:pt x="1423" y="2365"/>
                  </a:lnTo>
                  <a:lnTo>
                    <a:pt x="1360" y="2281"/>
                  </a:lnTo>
                  <a:lnTo>
                    <a:pt x="1088" y="2239"/>
                  </a:lnTo>
                  <a:lnTo>
                    <a:pt x="1026" y="2176"/>
                  </a:lnTo>
                  <a:lnTo>
                    <a:pt x="1067" y="2051"/>
                  </a:lnTo>
                  <a:lnTo>
                    <a:pt x="1109" y="1967"/>
                  </a:lnTo>
                  <a:lnTo>
                    <a:pt x="1109" y="1842"/>
                  </a:lnTo>
                  <a:lnTo>
                    <a:pt x="1172" y="1737"/>
                  </a:lnTo>
                  <a:lnTo>
                    <a:pt x="1360" y="1549"/>
                  </a:lnTo>
                  <a:lnTo>
                    <a:pt x="1423" y="1507"/>
                  </a:lnTo>
                  <a:lnTo>
                    <a:pt x="1402" y="1570"/>
                  </a:lnTo>
                  <a:lnTo>
                    <a:pt x="1402" y="1632"/>
                  </a:lnTo>
                  <a:lnTo>
                    <a:pt x="1507" y="1465"/>
                  </a:lnTo>
                  <a:lnTo>
                    <a:pt x="1486" y="1339"/>
                  </a:lnTo>
                  <a:lnTo>
                    <a:pt x="1549" y="1193"/>
                  </a:lnTo>
                  <a:lnTo>
                    <a:pt x="1611" y="921"/>
                  </a:lnTo>
                  <a:lnTo>
                    <a:pt x="1549" y="837"/>
                  </a:lnTo>
                  <a:lnTo>
                    <a:pt x="1528" y="691"/>
                  </a:lnTo>
                  <a:lnTo>
                    <a:pt x="1465" y="649"/>
                  </a:lnTo>
                  <a:lnTo>
                    <a:pt x="1360" y="482"/>
                  </a:lnTo>
                  <a:lnTo>
                    <a:pt x="1381" y="251"/>
                  </a:lnTo>
                  <a:lnTo>
                    <a:pt x="1381" y="189"/>
                  </a:lnTo>
                  <a:lnTo>
                    <a:pt x="1381" y="105"/>
                  </a:lnTo>
                  <a:lnTo>
                    <a:pt x="1298" y="0"/>
                  </a:lnTo>
                  <a:lnTo>
                    <a:pt x="1256" y="42"/>
                  </a:lnTo>
                  <a:lnTo>
                    <a:pt x="1256" y="84"/>
                  </a:lnTo>
                  <a:lnTo>
                    <a:pt x="1172" y="168"/>
                  </a:lnTo>
                  <a:lnTo>
                    <a:pt x="1005" y="168"/>
                  </a:lnTo>
                  <a:lnTo>
                    <a:pt x="984" y="210"/>
                  </a:lnTo>
                  <a:lnTo>
                    <a:pt x="900" y="168"/>
                  </a:lnTo>
                  <a:lnTo>
                    <a:pt x="795" y="63"/>
                  </a:lnTo>
                  <a:lnTo>
                    <a:pt x="586" y="0"/>
                  </a:lnTo>
                  <a:close/>
                  <a:moveTo>
                    <a:pt x="1842" y="4060"/>
                  </a:moveTo>
                  <a:lnTo>
                    <a:pt x="1716" y="4080"/>
                  </a:lnTo>
                  <a:lnTo>
                    <a:pt x="1695" y="4164"/>
                  </a:lnTo>
                  <a:lnTo>
                    <a:pt x="1821" y="4227"/>
                  </a:lnTo>
                  <a:lnTo>
                    <a:pt x="1883" y="4248"/>
                  </a:lnTo>
                  <a:lnTo>
                    <a:pt x="1883" y="4352"/>
                  </a:lnTo>
                  <a:lnTo>
                    <a:pt x="1842" y="4457"/>
                  </a:lnTo>
                  <a:lnTo>
                    <a:pt x="1842" y="4666"/>
                  </a:lnTo>
                  <a:lnTo>
                    <a:pt x="1800" y="4792"/>
                  </a:lnTo>
                  <a:lnTo>
                    <a:pt x="1842" y="4980"/>
                  </a:lnTo>
                  <a:lnTo>
                    <a:pt x="1904" y="4959"/>
                  </a:lnTo>
                  <a:lnTo>
                    <a:pt x="1925" y="4896"/>
                  </a:lnTo>
                  <a:lnTo>
                    <a:pt x="2051" y="4813"/>
                  </a:lnTo>
                  <a:cubicBezTo>
                    <a:pt x="2093" y="4813"/>
                    <a:pt x="2114" y="4855"/>
                    <a:pt x="2135" y="4855"/>
                  </a:cubicBezTo>
                  <a:lnTo>
                    <a:pt x="2114" y="4959"/>
                  </a:lnTo>
                  <a:lnTo>
                    <a:pt x="2197" y="5001"/>
                  </a:lnTo>
                  <a:lnTo>
                    <a:pt x="2260" y="4917"/>
                  </a:lnTo>
                  <a:cubicBezTo>
                    <a:pt x="2323" y="4959"/>
                    <a:pt x="2344" y="5001"/>
                    <a:pt x="2407" y="5022"/>
                  </a:cubicBezTo>
                  <a:lnTo>
                    <a:pt x="2407" y="5106"/>
                  </a:lnTo>
                  <a:lnTo>
                    <a:pt x="2344" y="5231"/>
                  </a:lnTo>
                  <a:lnTo>
                    <a:pt x="2155" y="5294"/>
                  </a:lnTo>
                  <a:lnTo>
                    <a:pt x="2114" y="5378"/>
                  </a:lnTo>
                  <a:lnTo>
                    <a:pt x="2135" y="5545"/>
                  </a:lnTo>
                  <a:lnTo>
                    <a:pt x="2218" y="5545"/>
                  </a:lnTo>
                  <a:lnTo>
                    <a:pt x="2344" y="5629"/>
                  </a:lnTo>
                  <a:lnTo>
                    <a:pt x="2448" y="5629"/>
                  </a:lnTo>
                  <a:lnTo>
                    <a:pt x="2448" y="5754"/>
                  </a:lnTo>
                  <a:lnTo>
                    <a:pt x="2532" y="5817"/>
                  </a:lnTo>
                  <a:lnTo>
                    <a:pt x="2637" y="5754"/>
                  </a:lnTo>
                  <a:lnTo>
                    <a:pt x="2637" y="5650"/>
                  </a:lnTo>
                  <a:lnTo>
                    <a:pt x="2574" y="5587"/>
                  </a:lnTo>
                  <a:cubicBezTo>
                    <a:pt x="2616" y="5545"/>
                    <a:pt x="2637" y="5545"/>
                    <a:pt x="2658" y="5524"/>
                  </a:cubicBezTo>
                  <a:lnTo>
                    <a:pt x="2658" y="5503"/>
                  </a:lnTo>
                  <a:lnTo>
                    <a:pt x="2679" y="5587"/>
                  </a:lnTo>
                  <a:lnTo>
                    <a:pt x="2762" y="5482"/>
                  </a:lnTo>
                  <a:lnTo>
                    <a:pt x="2804" y="5231"/>
                  </a:lnTo>
                  <a:lnTo>
                    <a:pt x="2972" y="5064"/>
                  </a:lnTo>
                  <a:lnTo>
                    <a:pt x="2992" y="4959"/>
                  </a:lnTo>
                  <a:lnTo>
                    <a:pt x="2972" y="4855"/>
                  </a:lnTo>
                  <a:lnTo>
                    <a:pt x="3034" y="4771"/>
                  </a:lnTo>
                  <a:lnTo>
                    <a:pt x="3034" y="4750"/>
                  </a:lnTo>
                  <a:cubicBezTo>
                    <a:pt x="3087" y="4760"/>
                    <a:pt x="3128" y="4766"/>
                    <a:pt x="3170" y="4766"/>
                  </a:cubicBezTo>
                  <a:cubicBezTo>
                    <a:pt x="3212" y="4766"/>
                    <a:pt x="3254" y="4760"/>
                    <a:pt x="3306" y="4750"/>
                  </a:cubicBezTo>
                  <a:cubicBezTo>
                    <a:pt x="3348" y="4750"/>
                    <a:pt x="3369" y="4708"/>
                    <a:pt x="3369" y="4687"/>
                  </a:cubicBezTo>
                  <a:lnTo>
                    <a:pt x="3411" y="4750"/>
                  </a:lnTo>
                  <a:lnTo>
                    <a:pt x="3411" y="4896"/>
                  </a:lnTo>
                  <a:lnTo>
                    <a:pt x="3411" y="4917"/>
                  </a:lnTo>
                  <a:cubicBezTo>
                    <a:pt x="3390" y="4959"/>
                    <a:pt x="3390" y="4980"/>
                    <a:pt x="3411" y="4980"/>
                  </a:cubicBezTo>
                  <a:cubicBezTo>
                    <a:pt x="3453" y="5001"/>
                    <a:pt x="3453" y="5022"/>
                    <a:pt x="3474" y="5085"/>
                  </a:cubicBezTo>
                  <a:lnTo>
                    <a:pt x="3474" y="5189"/>
                  </a:lnTo>
                  <a:lnTo>
                    <a:pt x="3557" y="5231"/>
                  </a:lnTo>
                  <a:cubicBezTo>
                    <a:pt x="3599" y="5336"/>
                    <a:pt x="3683" y="5482"/>
                    <a:pt x="3704" y="5608"/>
                  </a:cubicBezTo>
                  <a:cubicBezTo>
                    <a:pt x="3716" y="5632"/>
                    <a:pt x="3750" y="5643"/>
                    <a:pt x="3780" y="5643"/>
                  </a:cubicBezTo>
                  <a:cubicBezTo>
                    <a:pt x="3801" y="5643"/>
                    <a:pt x="3821" y="5637"/>
                    <a:pt x="3829" y="5629"/>
                  </a:cubicBezTo>
                  <a:lnTo>
                    <a:pt x="3871" y="5754"/>
                  </a:lnTo>
                  <a:lnTo>
                    <a:pt x="3871" y="5838"/>
                  </a:lnTo>
                  <a:lnTo>
                    <a:pt x="3788" y="5733"/>
                  </a:lnTo>
                  <a:lnTo>
                    <a:pt x="3725" y="5733"/>
                  </a:lnTo>
                  <a:lnTo>
                    <a:pt x="3725" y="5901"/>
                  </a:lnTo>
                  <a:lnTo>
                    <a:pt x="3704" y="5943"/>
                  </a:lnTo>
                  <a:lnTo>
                    <a:pt x="3620" y="5901"/>
                  </a:lnTo>
                  <a:lnTo>
                    <a:pt x="3495" y="5838"/>
                  </a:lnTo>
                  <a:lnTo>
                    <a:pt x="3453" y="6068"/>
                  </a:lnTo>
                  <a:lnTo>
                    <a:pt x="3495" y="6110"/>
                  </a:lnTo>
                  <a:lnTo>
                    <a:pt x="3495" y="6173"/>
                  </a:lnTo>
                  <a:lnTo>
                    <a:pt x="3411" y="6215"/>
                  </a:lnTo>
                  <a:lnTo>
                    <a:pt x="3369" y="6068"/>
                  </a:lnTo>
                  <a:lnTo>
                    <a:pt x="3244" y="6131"/>
                  </a:lnTo>
                  <a:lnTo>
                    <a:pt x="3181" y="6340"/>
                  </a:lnTo>
                  <a:lnTo>
                    <a:pt x="3055" y="6424"/>
                  </a:lnTo>
                  <a:lnTo>
                    <a:pt x="2951" y="6445"/>
                  </a:lnTo>
                  <a:lnTo>
                    <a:pt x="2846" y="6549"/>
                  </a:lnTo>
                  <a:lnTo>
                    <a:pt x="2972" y="6361"/>
                  </a:lnTo>
                  <a:lnTo>
                    <a:pt x="2972" y="6173"/>
                  </a:lnTo>
                  <a:lnTo>
                    <a:pt x="2825" y="6047"/>
                  </a:lnTo>
                  <a:lnTo>
                    <a:pt x="2741" y="6047"/>
                  </a:lnTo>
                  <a:lnTo>
                    <a:pt x="2658" y="6152"/>
                  </a:lnTo>
                  <a:lnTo>
                    <a:pt x="2532" y="6215"/>
                  </a:lnTo>
                  <a:lnTo>
                    <a:pt x="2469" y="6319"/>
                  </a:lnTo>
                  <a:lnTo>
                    <a:pt x="2532" y="6424"/>
                  </a:lnTo>
                  <a:lnTo>
                    <a:pt x="2365" y="6445"/>
                  </a:lnTo>
                  <a:lnTo>
                    <a:pt x="2260" y="6424"/>
                  </a:lnTo>
                  <a:lnTo>
                    <a:pt x="2197" y="6487"/>
                  </a:lnTo>
                  <a:lnTo>
                    <a:pt x="2093" y="6529"/>
                  </a:lnTo>
                  <a:lnTo>
                    <a:pt x="1988" y="6654"/>
                  </a:lnTo>
                  <a:lnTo>
                    <a:pt x="2009" y="6738"/>
                  </a:lnTo>
                  <a:lnTo>
                    <a:pt x="1988" y="6884"/>
                  </a:lnTo>
                  <a:lnTo>
                    <a:pt x="1904" y="7052"/>
                  </a:lnTo>
                  <a:lnTo>
                    <a:pt x="2030" y="7177"/>
                  </a:lnTo>
                  <a:lnTo>
                    <a:pt x="2093" y="7093"/>
                  </a:lnTo>
                  <a:lnTo>
                    <a:pt x="2155" y="6863"/>
                  </a:lnTo>
                  <a:lnTo>
                    <a:pt x="2239" y="6801"/>
                  </a:lnTo>
                  <a:lnTo>
                    <a:pt x="2302" y="6675"/>
                  </a:lnTo>
                  <a:lnTo>
                    <a:pt x="2344" y="6654"/>
                  </a:lnTo>
                  <a:lnTo>
                    <a:pt x="2427" y="6738"/>
                  </a:lnTo>
                  <a:lnTo>
                    <a:pt x="2407" y="6863"/>
                  </a:lnTo>
                  <a:lnTo>
                    <a:pt x="2427" y="6884"/>
                  </a:lnTo>
                  <a:lnTo>
                    <a:pt x="2469" y="6863"/>
                  </a:lnTo>
                  <a:lnTo>
                    <a:pt x="2532" y="6884"/>
                  </a:lnTo>
                  <a:lnTo>
                    <a:pt x="2532" y="6780"/>
                  </a:lnTo>
                  <a:lnTo>
                    <a:pt x="2574" y="6759"/>
                  </a:lnTo>
                  <a:lnTo>
                    <a:pt x="2637" y="6780"/>
                  </a:lnTo>
                  <a:lnTo>
                    <a:pt x="2616" y="6863"/>
                  </a:lnTo>
                  <a:lnTo>
                    <a:pt x="2658" y="6863"/>
                  </a:lnTo>
                  <a:lnTo>
                    <a:pt x="2762" y="6947"/>
                  </a:lnTo>
                  <a:lnTo>
                    <a:pt x="2825" y="6947"/>
                  </a:lnTo>
                  <a:lnTo>
                    <a:pt x="2762" y="6863"/>
                  </a:lnTo>
                  <a:lnTo>
                    <a:pt x="2783" y="6801"/>
                  </a:lnTo>
                  <a:lnTo>
                    <a:pt x="2762" y="6759"/>
                  </a:lnTo>
                  <a:lnTo>
                    <a:pt x="2825" y="6696"/>
                  </a:lnTo>
                  <a:lnTo>
                    <a:pt x="2867" y="6696"/>
                  </a:lnTo>
                  <a:lnTo>
                    <a:pt x="2972" y="6801"/>
                  </a:lnTo>
                  <a:lnTo>
                    <a:pt x="3076" y="6842"/>
                  </a:lnTo>
                  <a:lnTo>
                    <a:pt x="3181" y="6905"/>
                  </a:lnTo>
                  <a:lnTo>
                    <a:pt x="3202" y="7010"/>
                  </a:lnTo>
                  <a:lnTo>
                    <a:pt x="3306" y="7093"/>
                  </a:lnTo>
                  <a:lnTo>
                    <a:pt x="3202" y="7073"/>
                  </a:lnTo>
                  <a:lnTo>
                    <a:pt x="3160" y="7093"/>
                  </a:lnTo>
                  <a:lnTo>
                    <a:pt x="3160" y="7156"/>
                  </a:lnTo>
                  <a:lnTo>
                    <a:pt x="3097" y="7219"/>
                  </a:lnTo>
                  <a:lnTo>
                    <a:pt x="3160" y="7282"/>
                  </a:lnTo>
                  <a:lnTo>
                    <a:pt x="3160" y="7365"/>
                  </a:lnTo>
                  <a:lnTo>
                    <a:pt x="3139" y="7428"/>
                  </a:lnTo>
                  <a:lnTo>
                    <a:pt x="3202" y="7533"/>
                  </a:lnTo>
                  <a:lnTo>
                    <a:pt x="3244" y="7637"/>
                  </a:lnTo>
                  <a:lnTo>
                    <a:pt x="3348" y="7784"/>
                  </a:lnTo>
                  <a:lnTo>
                    <a:pt x="3474" y="7784"/>
                  </a:lnTo>
                  <a:lnTo>
                    <a:pt x="3578" y="7847"/>
                  </a:lnTo>
                  <a:lnTo>
                    <a:pt x="3704" y="7909"/>
                  </a:lnTo>
                  <a:lnTo>
                    <a:pt x="3808" y="7847"/>
                  </a:lnTo>
                  <a:lnTo>
                    <a:pt x="3829" y="7805"/>
                  </a:lnTo>
                  <a:lnTo>
                    <a:pt x="3892" y="7742"/>
                  </a:lnTo>
                  <a:lnTo>
                    <a:pt x="3913" y="7805"/>
                  </a:lnTo>
                  <a:lnTo>
                    <a:pt x="3871" y="7889"/>
                  </a:lnTo>
                  <a:lnTo>
                    <a:pt x="3892" y="7993"/>
                  </a:lnTo>
                  <a:lnTo>
                    <a:pt x="3913" y="8035"/>
                  </a:lnTo>
                  <a:lnTo>
                    <a:pt x="3997" y="7993"/>
                  </a:lnTo>
                  <a:lnTo>
                    <a:pt x="4143" y="7784"/>
                  </a:lnTo>
                  <a:lnTo>
                    <a:pt x="4143" y="7637"/>
                  </a:lnTo>
                  <a:lnTo>
                    <a:pt x="4101" y="7575"/>
                  </a:lnTo>
                  <a:lnTo>
                    <a:pt x="4039" y="7407"/>
                  </a:lnTo>
                  <a:lnTo>
                    <a:pt x="3934" y="7324"/>
                  </a:lnTo>
                  <a:lnTo>
                    <a:pt x="3976" y="7219"/>
                  </a:lnTo>
                  <a:lnTo>
                    <a:pt x="4101" y="6989"/>
                  </a:lnTo>
                  <a:lnTo>
                    <a:pt x="4185" y="6947"/>
                  </a:lnTo>
                  <a:lnTo>
                    <a:pt x="4248" y="7052"/>
                  </a:lnTo>
                  <a:lnTo>
                    <a:pt x="4290" y="7156"/>
                  </a:lnTo>
                  <a:lnTo>
                    <a:pt x="4332" y="7219"/>
                  </a:lnTo>
                  <a:lnTo>
                    <a:pt x="4332" y="7324"/>
                  </a:lnTo>
                  <a:lnTo>
                    <a:pt x="4394" y="7512"/>
                  </a:lnTo>
                  <a:lnTo>
                    <a:pt x="4415" y="7596"/>
                  </a:lnTo>
                  <a:lnTo>
                    <a:pt x="4415" y="7512"/>
                  </a:lnTo>
                  <a:lnTo>
                    <a:pt x="4415" y="7386"/>
                  </a:lnTo>
                  <a:lnTo>
                    <a:pt x="4352" y="7219"/>
                  </a:lnTo>
                  <a:lnTo>
                    <a:pt x="4394" y="7156"/>
                  </a:lnTo>
                  <a:lnTo>
                    <a:pt x="4436" y="7156"/>
                  </a:lnTo>
                  <a:lnTo>
                    <a:pt x="4499" y="7219"/>
                  </a:lnTo>
                  <a:lnTo>
                    <a:pt x="4499" y="7156"/>
                  </a:lnTo>
                  <a:lnTo>
                    <a:pt x="4541" y="7156"/>
                  </a:lnTo>
                  <a:lnTo>
                    <a:pt x="4604" y="6989"/>
                  </a:lnTo>
                  <a:lnTo>
                    <a:pt x="4562" y="6801"/>
                  </a:lnTo>
                  <a:lnTo>
                    <a:pt x="4499" y="6696"/>
                  </a:lnTo>
                  <a:lnTo>
                    <a:pt x="4436" y="6591"/>
                  </a:lnTo>
                  <a:lnTo>
                    <a:pt x="4436" y="6466"/>
                  </a:lnTo>
                  <a:lnTo>
                    <a:pt x="4415" y="6340"/>
                  </a:lnTo>
                  <a:lnTo>
                    <a:pt x="4352" y="6424"/>
                  </a:lnTo>
                  <a:lnTo>
                    <a:pt x="4352" y="6277"/>
                  </a:lnTo>
                  <a:lnTo>
                    <a:pt x="4352" y="6215"/>
                  </a:lnTo>
                  <a:lnTo>
                    <a:pt x="4311" y="6215"/>
                  </a:lnTo>
                  <a:lnTo>
                    <a:pt x="4227" y="6131"/>
                  </a:lnTo>
                  <a:lnTo>
                    <a:pt x="4248" y="6068"/>
                  </a:lnTo>
                  <a:lnTo>
                    <a:pt x="4332" y="6068"/>
                  </a:lnTo>
                  <a:lnTo>
                    <a:pt x="4332" y="5922"/>
                  </a:lnTo>
                  <a:lnTo>
                    <a:pt x="4248" y="5796"/>
                  </a:lnTo>
                  <a:lnTo>
                    <a:pt x="4248" y="5712"/>
                  </a:lnTo>
                  <a:lnTo>
                    <a:pt x="4185" y="5796"/>
                  </a:lnTo>
                  <a:lnTo>
                    <a:pt x="4080" y="5692"/>
                  </a:lnTo>
                  <a:lnTo>
                    <a:pt x="3913" y="5545"/>
                  </a:lnTo>
                  <a:lnTo>
                    <a:pt x="3892" y="5440"/>
                  </a:lnTo>
                  <a:lnTo>
                    <a:pt x="3871" y="5440"/>
                  </a:lnTo>
                  <a:lnTo>
                    <a:pt x="3767" y="5420"/>
                  </a:lnTo>
                  <a:lnTo>
                    <a:pt x="3767" y="5503"/>
                  </a:lnTo>
                  <a:cubicBezTo>
                    <a:pt x="3725" y="5482"/>
                    <a:pt x="3725" y="5420"/>
                    <a:pt x="3704" y="5399"/>
                  </a:cubicBezTo>
                  <a:lnTo>
                    <a:pt x="3704" y="5315"/>
                  </a:lnTo>
                  <a:lnTo>
                    <a:pt x="3662" y="5210"/>
                  </a:lnTo>
                  <a:lnTo>
                    <a:pt x="3662" y="5273"/>
                  </a:lnTo>
                  <a:cubicBezTo>
                    <a:pt x="3620" y="5231"/>
                    <a:pt x="3620" y="5210"/>
                    <a:pt x="3599" y="5189"/>
                  </a:cubicBezTo>
                  <a:lnTo>
                    <a:pt x="3683" y="5168"/>
                  </a:lnTo>
                  <a:lnTo>
                    <a:pt x="3683" y="5085"/>
                  </a:lnTo>
                  <a:lnTo>
                    <a:pt x="3578" y="4896"/>
                  </a:lnTo>
                  <a:lnTo>
                    <a:pt x="3495" y="4855"/>
                  </a:lnTo>
                  <a:lnTo>
                    <a:pt x="3474" y="4666"/>
                  </a:lnTo>
                  <a:lnTo>
                    <a:pt x="3411" y="4562"/>
                  </a:lnTo>
                  <a:cubicBezTo>
                    <a:pt x="3411" y="4541"/>
                    <a:pt x="3411" y="4541"/>
                    <a:pt x="3453" y="4499"/>
                  </a:cubicBezTo>
                  <a:cubicBezTo>
                    <a:pt x="3474" y="4478"/>
                    <a:pt x="3453" y="4457"/>
                    <a:pt x="3411" y="4436"/>
                  </a:cubicBezTo>
                  <a:lnTo>
                    <a:pt x="3390" y="4457"/>
                  </a:lnTo>
                  <a:lnTo>
                    <a:pt x="3411" y="4457"/>
                  </a:lnTo>
                  <a:lnTo>
                    <a:pt x="3411" y="4478"/>
                  </a:lnTo>
                  <a:cubicBezTo>
                    <a:pt x="3411" y="4478"/>
                    <a:pt x="3390" y="4478"/>
                    <a:pt x="3390" y="4499"/>
                  </a:cubicBezTo>
                  <a:lnTo>
                    <a:pt x="3390" y="4541"/>
                  </a:lnTo>
                  <a:lnTo>
                    <a:pt x="3306" y="4562"/>
                  </a:lnTo>
                  <a:lnTo>
                    <a:pt x="3202" y="4499"/>
                  </a:lnTo>
                  <a:lnTo>
                    <a:pt x="3139" y="4499"/>
                  </a:lnTo>
                  <a:lnTo>
                    <a:pt x="3181" y="4604"/>
                  </a:lnTo>
                  <a:lnTo>
                    <a:pt x="3181" y="4666"/>
                  </a:lnTo>
                  <a:cubicBezTo>
                    <a:pt x="3097" y="4687"/>
                    <a:pt x="3055" y="4708"/>
                    <a:pt x="2972" y="4750"/>
                  </a:cubicBezTo>
                  <a:lnTo>
                    <a:pt x="2972" y="4583"/>
                  </a:lnTo>
                  <a:lnTo>
                    <a:pt x="2930" y="4604"/>
                  </a:lnTo>
                  <a:lnTo>
                    <a:pt x="2888" y="4750"/>
                  </a:lnTo>
                  <a:lnTo>
                    <a:pt x="2888" y="4792"/>
                  </a:lnTo>
                  <a:lnTo>
                    <a:pt x="2783" y="4980"/>
                  </a:lnTo>
                  <a:lnTo>
                    <a:pt x="2783" y="5106"/>
                  </a:lnTo>
                  <a:lnTo>
                    <a:pt x="2741" y="5273"/>
                  </a:lnTo>
                  <a:lnTo>
                    <a:pt x="2658" y="5378"/>
                  </a:lnTo>
                  <a:lnTo>
                    <a:pt x="2658" y="5482"/>
                  </a:lnTo>
                  <a:cubicBezTo>
                    <a:pt x="2646" y="5459"/>
                    <a:pt x="2622" y="5443"/>
                    <a:pt x="2599" y="5443"/>
                  </a:cubicBezTo>
                  <a:cubicBezTo>
                    <a:pt x="2580" y="5443"/>
                    <a:pt x="2562" y="5454"/>
                    <a:pt x="2553" y="5482"/>
                  </a:cubicBezTo>
                  <a:lnTo>
                    <a:pt x="2553" y="5315"/>
                  </a:lnTo>
                  <a:lnTo>
                    <a:pt x="2637" y="4980"/>
                  </a:lnTo>
                  <a:lnTo>
                    <a:pt x="2741" y="4876"/>
                  </a:lnTo>
                  <a:lnTo>
                    <a:pt x="2741" y="4771"/>
                  </a:lnTo>
                  <a:lnTo>
                    <a:pt x="2658" y="4687"/>
                  </a:lnTo>
                  <a:lnTo>
                    <a:pt x="2616" y="4708"/>
                  </a:lnTo>
                  <a:lnTo>
                    <a:pt x="2532" y="4687"/>
                  </a:lnTo>
                  <a:lnTo>
                    <a:pt x="2448" y="4750"/>
                  </a:lnTo>
                  <a:lnTo>
                    <a:pt x="2448" y="4855"/>
                  </a:lnTo>
                  <a:cubicBezTo>
                    <a:pt x="2427" y="4792"/>
                    <a:pt x="2365" y="4708"/>
                    <a:pt x="2323" y="4666"/>
                  </a:cubicBezTo>
                  <a:lnTo>
                    <a:pt x="2427" y="4583"/>
                  </a:lnTo>
                  <a:lnTo>
                    <a:pt x="2469" y="4457"/>
                  </a:lnTo>
                  <a:lnTo>
                    <a:pt x="2532" y="4394"/>
                  </a:lnTo>
                  <a:lnTo>
                    <a:pt x="2553" y="4290"/>
                  </a:lnTo>
                  <a:lnTo>
                    <a:pt x="2511" y="4227"/>
                  </a:lnTo>
                  <a:lnTo>
                    <a:pt x="2427" y="4269"/>
                  </a:lnTo>
                  <a:lnTo>
                    <a:pt x="2344" y="4373"/>
                  </a:lnTo>
                  <a:lnTo>
                    <a:pt x="2260" y="4269"/>
                  </a:lnTo>
                  <a:lnTo>
                    <a:pt x="2197" y="4248"/>
                  </a:lnTo>
                  <a:lnTo>
                    <a:pt x="2009" y="4248"/>
                  </a:lnTo>
                  <a:lnTo>
                    <a:pt x="2030" y="4185"/>
                  </a:lnTo>
                  <a:lnTo>
                    <a:pt x="1946" y="4164"/>
                  </a:lnTo>
                  <a:lnTo>
                    <a:pt x="1842" y="406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0" name="Google Shape;2010;p66"/>
            <p:cNvSpPr/>
            <p:nvPr/>
          </p:nvSpPr>
          <p:spPr>
            <a:xfrm>
              <a:off x="4595934" y="3205063"/>
              <a:ext cx="26673" cy="13340"/>
            </a:xfrm>
            <a:custGeom>
              <a:avLst/>
              <a:gdLst/>
              <a:ahLst/>
              <a:cxnLst/>
              <a:rect l="l" t="t" r="r" b="b"/>
              <a:pathLst>
                <a:path w="2240" h="1173" extrusionOk="0">
                  <a:moveTo>
                    <a:pt x="2177" y="1"/>
                  </a:moveTo>
                  <a:lnTo>
                    <a:pt x="1968" y="43"/>
                  </a:lnTo>
                  <a:lnTo>
                    <a:pt x="1821" y="43"/>
                  </a:lnTo>
                  <a:lnTo>
                    <a:pt x="1675" y="64"/>
                  </a:lnTo>
                  <a:lnTo>
                    <a:pt x="1570" y="64"/>
                  </a:lnTo>
                  <a:lnTo>
                    <a:pt x="1424" y="105"/>
                  </a:lnTo>
                  <a:lnTo>
                    <a:pt x="1193" y="105"/>
                  </a:lnTo>
                  <a:lnTo>
                    <a:pt x="1005" y="252"/>
                  </a:lnTo>
                  <a:lnTo>
                    <a:pt x="880" y="315"/>
                  </a:lnTo>
                  <a:lnTo>
                    <a:pt x="817" y="336"/>
                  </a:lnTo>
                  <a:lnTo>
                    <a:pt x="712" y="357"/>
                  </a:lnTo>
                  <a:lnTo>
                    <a:pt x="628" y="377"/>
                  </a:lnTo>
                  <a:lnTo>
                    <a:pt x="482" y="419"/>
                  </a:lnTo>
                  <a:lnTo>
                    <a:pt x="398" y="482"/>
                  </a:lnTo>
                  <a:lnTo>
                    <a:pt x="377" y="524"/>
                  </a:lnTo>
                  <a:lnTo>
                    <a:pt x="252" y="587"/>
                  </a:lnTo>
                  <a:lnTo>
                    <a:pt x="210" y="733"/>
                  </a:lnTo>
                  <a:lnTo>
                    <a:pt x="105" y="880"/>
                  </a:lnTo>
                  <a:lnTo>
                    <a:pt x="84" y="942"/>
                  </a:lnTo>
                  <a:lnTo>
                    <a:pt x="147" y="984"/>
                  </a:lnTo>
                  <a:lnTo>
                    <a:pt x="147" y="1047"/>
                  </a:lnTo>
                  <a:lnTo>
                    <a:pt x="84" y="1047"/>
                  </a:lnTo>
                  <a:lnTo>
                    <a:pt x="43" y="1005"/>
                  </a:lnTo>
                  <a:lnTo>
                    <a:pt x="1" y="1110"/>
                  </a:lnTo>
                  <a:lnTo>
                    <a:pt x="63" y="1173"/>
                  </a:lnTo>
                  <a:lnTo>
                    <a:pt x="252" y="1152"/>
                  </a:lnTo>
                  <a:lnTo>
                    <a:pt x="419" y="1047"/>
                  </a:lnTo>
                  <a:lnTo>
                    <a:pt x="503" y="1005"/>
                  </a:lnTo>
                  <a:lnTo>
                    <a:pt x="608" y="1005"/>
                  </a:lnTo>
                  <a:lnTo>
                    <a:pt x="712" y="942"/>
                  </a:lnTo>
                  <a:lnTo>
                    <a:pt x="796" y="838"/>
                  </a:lnTo>
                  <a:lnTo>
                    <a:pt x="1005" y="670"/>
                  </a:lnTo>
                  <a:lnTo>
                    <a:pt x="1047" y="587"/>
                  </a:lnTo>
                  <a:lnTo>
                    <a:pt x="1110" y="566"/>
                  </a:lnTo>
                  <a:lnTo>
                    <a:pt x="1131" y="566"/>
                  </a:lnTo>
                  <a:lnTo>
                    <a:pt x="1235" y="461"/>
                  </a:lnTo>
                  <a:lnTo>
                    <a:pt x="1340" y="440"/>
                  </a:lnTo>
                  <a:lnTo>
                    <a:pt x="1444" y="440"/>
                  </a:lnTo>
                  <a:lnTo>
                    <a:pt x="1675" y="419"/>
                  </a:lnTo>
                  <a:lnTo>
                    <a:pt x="1842" y="315"/>
                  </a:lnTo>
                  <a:lnTo>
                    <a:pt x="2030" y="252"/>
                  </a:lnTo>
                  <a:lnTo>
                    <a:pt x="2051" y="168"/>
                  </a:lnTo>
                  <a:lnTo>
                    <a:pt x="2135" y="168"/>
                  </a:lnTo>
                  <a:lnTo>
                    <a:pt x="2240" y="105"/>
                  </a:lnTo>
                  <a:lnTo>
                    <a:pt x="2240" y="43"/>
                  </a:lnTo>
                  <a:lnTo>
                    <a:pt x="217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011" name="Google Shape;2011;p66"/>
            <p:cNvGrpSpPr/>
            <p:nvPr/>
          </p:nvGrpSpPr>
          <p:grpSpPr>
            <a:xfrm>
              <a:off x="4403342" y="3107749"/>
              <a:ext cx="316680" cy="101374"/>
              <a:chOff x="5068275" y="3161675"/>
              <a:chExt cx="664875" cy="222850"/>
            </a:xfrm>
          </p:grpSpPr>
          <p:sp>
            <p:nvSpPr>
              <p:cNvPr id="2012" name="Google Shape;2012;p66"/>
              <p:cNvSpPr/>
              <p:nvPr/>
            </p:nvSpPr>
            <p:spPr>
              <a:xfrm>
                <a:off x="5408300" y="3224425"/>
                <a:ext cx="96775" cy="107800"/>
              </a:xfrm>
              <a:custGeom>
                <a:avLst/>
                <a:gdLst/>
                <a:ahLst/>
                <a:cxnLst/>
                <a:rect l="l" t="t" r="r" b="b"/>
                <a:pathLst>
                  <a:path w="3871" h="4312" extrusionOk="0">
                    <a:moveTo>
                      <a:pt x="3620" y="1"/>
                    </a:moveTo>
                    <a:lnTo>
                      <a:pt x="3515" y="43"/>
                    </a:lnTo>
                    <a:lnTo>
                      <a:pt x="3494" y="147"/>
                    </a:lnTo>
                    <a:lnTo>
                      <a:pt x="3390" y="231"/>
                    </a:lnTo>
                    <a:lnTo>
                      <a:pt x="3390" y="294"/>
                    </a:lnTo>
                    <a:lnTo>
                      <a:pt x="3285" y="357"/>
                    </a:lnTo>
                    <a:lnTo>
                      <a:pt x="3181" y="398"/>
                    </a:lnTo>
                    <a:lnTo>
                      <a:pt x="3139" y="461"/>
                    </a:lnTo>
                    <a:lnTo>
                      <a:pt x="2992" y="503"/>
                    </a:lnTo>
                    <a:lnTo>
                      <a:pt x="2720" y="440"/>
                    </a:lnTo>
                    <a:lnTo>
                      <a:pt x="2469" y="419"/>
                    </a:lnTo>
                    <a:lnTo>
                      <a:pt x="2448" y="503"/>
                    </a:lnTo>
                    <a:lnTo>
                      <a:pt x="2406" y="503"/>
                    </a:lnTo>
                    <a:lnTo>
                      <a:pt x="2260" y="398"/>
                    </a:lnTo>
                    <a:lnTo>
                      <a:pt x="2092" y="398"/>
                    </a:lnTo>
                    <a:lnTo>
                      <a:pt x="1988" y="357"/>
                    </a:lnTo>
                    <a:lnTo>
                      <a:pt x="1820" y="336"/>
                    </a:lnTo>
                    <a:lnTo>
                      <a:pt x="1737" y="398"/>
                    </a:lnTo>
                    <a:lnTo>
                      <a:pt x="1674" y="336"/>
                    </a:lnTo>
                    <a:lnTo>
                      <a:pt x="1569" y="231"/>
                    </a:lnTo>
                    <a:lnTo>
                      <a:pt x="1381" y="210"/>
                    </a:lnTo>
                    <a:lnTo>
                      <a:pt x="1276" y="210"/>
                    </a:lnTo>
                    <a:lnTo>
                      <a:pt x="1276" y="336"/>
                    </a:lnTo>
                    <a:lnTo>
                      <a:pt x="1193" y="398"/>
                    </a:lnTo>
                    <a:lnTo>
                      <a:pt x="1151" y="503"/>
                    </a:lnTo>
                    <a:lnTo>
                      <a:pt x="1067" y="566"/>
                    </a:lnTo>
                    <a:lnTo>
                      <a:pt x="900" y="524"/>
                    </a:lnTo>
                    <a:lnTo>
                      <a:pt x="774" y="545"/>
                    </a:lnTo>
                    <a:lnTo>
                      <a:pt x="712" y="608"/>
                    </a:lnTo>
                    <a:lnTo>
                      <a:pt x="753" y="650"/>
                    </a:lnTo>
                    <a:lnTo>
                      <a:pt x="586" y="775"/>
                    </a:lnTo>
                    <a:lnTo>
                      <a:pt x="586" y="942"/>
                    </a:lnTo>
                    <a:lnTo>
                      <a:pt x="628" y="1047"/>
                    </a:lnTo>
                    <a:lnTo>
                      <a:pt x="628" y="1235"/>
                    </a:lnTo>
                    <a:lnTo>
                      <a:pt x="586" y="1298"/>
                    </a:lnTo>
                    <a:lnTo>
                      <a:pt x="649" y="1445"/>
                    </a:lnTo>
                    <a:lnTo>
                      <a:pt x="670" y="1549"/>
                    </a:lnTo>
                    <a:lnTo>
                      <a:pt x="628" y="1486"/>
                    </a:lnTo>
                    <a:lnTo>
                      <a:pt x="565" y="1403"/>
                    </a:lnTo>
                    <a:lnTo>
                      <a:pt x="523" y="1445"/>
                    </a:lnTo>
                    <a:lnTo>
                      <a:pt x="440" y="1507"/>
                    </a:lnTo>
                    <a:lnTo>
                      <a:pt x="335" y="1570"/>
                    </a:lnTo>
                    <a:lnTo>
                      <a:pt x="314" y="1675"/>
                    </a:lnTo>
                    <a:lnTo>
                      <a:pt x="335" y="1800"/>
                    </a:lnTo>
                    <a:lnTo>
                      <a:pt x="314" y="1905"/>
                    </a:lnTo>
                    <a:lnTo>
                      <a:pt x="335" y="2135"/>
                    </a:lnTo>
                    <a:lnTo>
                      <a:pt x="314" y="2198"/>
                    </a:lnTo>
                    <a:lnTo>
                      <a:pt x="272" y="2303"/>
                    </a:lnTo>
                    <a:lnTo>
                      <a:pt x="188" y="2323"/>
                    </a:lnTo>
                    <a:lnTo>
                      <a:pt x="188" y="2449"/>
                    </a:lnTo>
                    <a:lnTo>
                      <a:pt x="63" y="2554"/>
                    </a:lnTo>
                    <a:lnTo>
                      <a:pt x="42" y="2721"/>
                    </a:lnTo>
                    <a:lnTo>
                      <a:pt x="42" y="2763"/>
                    </a:lnTo>
                    <a:lnTo>
                      <a:pt x="0" y="2826"/>
                    </a:lnTo>
                    <a:lnTo>
                      <a:pt x="63" y="3035"/>
                    </a:lnTo>
                    <a:lnTo>
                      <a:pt x="126" y="3139"/>
                    </a:lnTo>
                    <a:lnTo>
                      <a:pt x="168" y="3119"/>
                    </a:lnTo>
                    <a:lnTo>
                      <a:pt x="251" y="3119"/>
                    </a:lnTo>
                    <a:lnTo>
                      <a:pt x="335" y="3056"/>
                    </a:lnTo>
                    <a:lnTo>
                      <a:pt x="377" y="3077"/>
                    </a:lnTo>
                    <a:lnTo>
                      <a:pt x="419" y="3223"/>
                    </a:lnTo>
                    <a:lnTo>
                      <a:pt x="523" y="3495"/>
                    </a:lnTo>
                    <a:lnTo>
                      <a:pt x="481" y="3558"/>
                    </a:lnTo>
                    <a:lnTo>
                      <a:pt x="440" y="3704"/>
                    </a:lnTo>
                    <a:lnTo>
                      <a:pt x="356" y="3851"/>
                    </a:lnTo>
                    <a:lnTo>
                      <a:pt x="356" y="4081"/>
                    </a:lnTo>
                    <a:lnTo>
                      <a:pt x="356" y="4269"/>
                    </a:lnTo>
                    <a:lnTo>
                      <a:pt x="440" y="4269"/>
                    </a:lnTo>
                    <a:lnTo>
                      <a:pt x="523" y="4311"/>
                    </a:lnTo>
                    <a:lnTo>
                      <a:pt x="628" y="4311"/>
                    </a:lnTo>
                    <a:lnTo>
                      <a:pt x="670" y="4269"/>
                    </a:lnTo>
                    <a:lnTo>
                      <a:pt x="774" y="4290"/>
                    </a:lnTo>
                    <a:lnTo>
                      <a:pt x="879" y="4269"/>
                    </a:lnTo>
                    <a:lnTo>
                      <a:pt x="963" y="4311"/>
                    </a:lnTo>
                    <a:lnTo>
                      <a:pt x="984" y="4227"/>
                    </a:lnTo>
                    <a:lnTo>
                      <a:pt x="963" y="4102"/>
                    </a:lnTo>
                    <a:lnTo>
                      <a:pt x="879" y="4060"/>
                    </a:lnTo>
                    <a:lnTo>
                      <a:pt x="858" y="3914"/>
                    </a:lnTo>
                    <a:lnTo>
                      <a:pt x="942" y="3809"/>
                    </a:lnTo>
                    <a:lnTo>
                      <a:pt x="963" y="3600"/>
                    </a:lnTo>
                    <a:lnTo>
                      <a:pt x="942" y="3432"/>
                    </a:lnTo>
                    <a:lnTo>
                      <a:pt x="879" y="3391"/>
                    </a:lnTo>
                    <a:lnTo>
                      <a:pt x="1004" y="3223"/>
                    </a:lnTo>
                    <a:lnTo>
                      <a:pt x="1046" y="3056"/>
                    </a:lnTo>
                    <a:lnTo>
                      <a:pt x="1004" y="2909"/>
                    </a:lnTo>
                    <a:lnTo>
                      <a:pt x="942" y="2826"/>
                    </a:lnTo>
                    <a:lnTo>
                      <a:pt x="942" y="2763"/>
                    </a:lnTo>
                    <a:lnTo>
                      <a:pt x="1067" y="2700"/>
                    </a:lnTo>
                    <a:lnTo>
                      <a:pt x="1088" y="2616"/>
                    </a:lnTo>
                    <a:lnTo>
                      <a:pt x="1214" y="2595"/>
                    </a:lnTo>
                    <a:lnTo>
                      <a:pt x="1318" y="2637"/>
                    </a:lnTo>
                    <a:lnTo>
                      <a:pt x="1318" y="2700"/>
                    </a:lnTo>
                    <a:lnTo>
                      <a:pt x="1381" y="2763"/>
                    </a:lnTo>
                    <a:lnTo>
                      <a:pt x="1381" y="2909"/>
                    </a:lnTo>
                    <a:lnTo>
                      <a:pt x="1276" y="3014"/>
                    </a:lnTo>
                    <a:lnTo>
                      <a:pt x="1276" y="3119"/>
                    </a:lnTo>
                    <a:lnTo>
                      <a:pt x="1318" y="3223"/>
                    </a:lnTo>
                    <a:lnTo>
                      <a:pt x="1402" y="3244"/>
                    </a:lnTo>
                    <a:lnTo>
                      <a:pt x="1486" y="3328"/>
                    </a:lnTo>
                    <a:lnTo>
                      <a:pt x="1611" y="3391"/>
                    </a:lnTo>
                    <a:lnTo>
                      <a:pt x="1632" y="3495"/>
                    </a:lnTo>
                    <a:lnTo>
                      <a:pt x="1590" y="3495"/>
                    </a:lnTo>
                    <a:lnTo>
                      <a:pt x="1569" y="3704"/>
                    </a:lnTo>
                    <a:lnTo>
                      <a:pt x="1590" y="3851"/>
                    </a:lnTo>
                    <a:lnTo>
                      <a:pt x="1674" y="3872"/>
                    </a:lnTo>
                    <a:lnTo>
                      <a:pt x="1737" y="3851"/>
                    </a:lnTo>
                    <a:lnTo>
                      <a:pt x="1883" y="3893"/>
                    </a:lnTo>
                    <a:lnTo>
                      <a:pt x="1946" y="3872"/>
                    </a:lnTo>
                    <a:lnTo>
                      <a:pt x="1946" y="3851"/>
                    </a:lnTo>
                    <a:lnTo>
                      <a:pt x="1925" y="3746"/>
                    </a:lnTo>
                    <a:lnTo>
                      <a:pt x="2030" y="3663"/>
                    </a:lnTo>
                    <a:lnTo>
                      <a:pt x="2113" y="3642"/>
                    </a:lnTo>
                    <a:lnTo>
                      <a:pt x="2260" y="3558"/>
                    </a:lnTo>
                    <a:lnTo>
                      <a:pt x="2427" y="3579"/>
                    </a:lnTo>
                    <a:lnTo>
                      <a:pt x="2511" y="3495"/>
                    </a:lnTo>
                    <a:lnTo>
                      <a:pt x="2532" y="3537"/>
                    </a:lnTo>
                    <a:lnTo>
                      <a:pt x="2616" y="3537"/>
                    </a:lnTo>
                    <a:lnTo>
                      <a:pt x="2657" y="3453"/>
                    </a:lnTo>
                    <a:lnTo>
                      <a:pt x="2657" y="3391"/>
                    </a:lnTo>
                    <a:lnTo>
                      <a:pt x="2511" y="3370"/>
                    </a:lnTo>
                    <a:lnTo>
                      <a:pt x="2448" y="3391"/>
                    </a:lnTo>
                    <a:lnTo>
                      <a:pt x="2281" y="3391"/>
                    </a:lnTo>
                    <a:lnTo>
                      <a:pt x="2281" y="3328"/>
                    </a:lnTo>
                    <a:lnTo>
                      <a:pt x="2239" y="3328"/>
                    </a:lnTo>
                    <a:lnTo>
                      <a:pt x="2239" y="3244"/>
                    </a:lnTo>
                    <a:lnTo>
                      <a:pt x="2197" y="3244"/>
                    </a:lnTo>
                    <a:lnTo>
                      <a:pt x="2134" y="3265"/>
                    </a:lnTo>
                    <a:lnTo>
                      <a:pt x="2134" y="3223"/>
                    </a:lnTo>
                    <a:lnTo>
                      <a:pt x="2030" y="3181"/>
                    </a:lnTo>
                    <a:lnTo>
                      <a:pt x="2009" y="3119"/>
                    </a:lnTo>
                    <a:lnTo>
                      <a:pt x="2051" y="3035"/>
                    </a:lnTo>
                    <a:lnTo>
                      <a:pt x="2092" y="2972"/>
                    </a:lnTo>
                    <a:lnTo>
                      <a:pt x="2134" y="3014"/>
                    </a:lnTo>
                    <a:lnTo>
                      <a:pt x="2134" y="3014"/>
                    </a:lnTo>
                    <a:lnTo>
                      <a:pt x="2113" y="2930"/>
                    </a:lnTo>
                    <a:lnTo>
                      <a:pt x="2155" y="2930"/>
                    </a:lnTo>
                    <a:lnTo>
                      <a:pt x="2197" y="2867"/>
                    </a:lnTo>
                    <a:lnTo>
                      <a:pt x="2134" y="2826"/>
                    </a:lnTo>
                    <a:lnTo>
                      <a:pt x="2051" y="2805"/>
                    </a:lnTo>
                    <a:lnTo>
                      <a:pt x="2092" y="2742"/>
                    </a:lnTo>
                    <a:lnTo>
                      <a:pt x="2051" y="2658"/>
                    </a:lnTo>
                    <a:lnTo>
                      <a:pt x="1988" y="2616"/>
                    </a:lnTo>
                    <a:lnTo>
                      <a:pt x="1904" y="2616"/>
                    </a:lnTo>
                    <a:lnTo>
                      <a:pt x="1883" y="2491"/>
                    </a:lnTo>
                    <a:lnTo>
                      <a:pt x="1716" y="2323"/>
                    </a:lnTo>
                    <a:lnTo>
                      <a:pt x="1611" y="2240"/>
                    </a:lnTo>
                    <a:lnTo>
                      <a:pt x="1569" y="2135"/>
                    </a:lnTo>
                    <a:lnTo>
                      <a:pt x="1569" y="2093"/>
                    </a:lnTo>
                    <a:lnTo>
                      <a:pt x="1611" y="2093"/>
                    </a:lnTo>
                    <a:lnTo>
                      <a:pt x="1632" y="2177"/>
                    </a:lnTo>
                    <a:lnTo>
                      <a:pt x="1737" y="2177"/>
                    </a:lnTo>
                    <a:lnTo>
                      <a:pt x="1841" y="2093"/>
                    </a:lnTo>
                    <a:lnTo>
                      <a:pt x="1883" y="2010"/>
                    </a:lnTo>
                    <a:lnTo>
                      <a:pt x="2092" y="1926"/>
                    </a:lnTo>
                    <a:lnTo>
                      <a:pt x="2260" y="1800"/>
                    </a:lnTo>
                    <a:lnTo>
                      <a:pt x="2344" y="1675"/>
                    </a:lnTo>
                    <a:lnTo>
                      <a:pt x="2448" y="1612"/>
                    </a:lnTo>
                    <a:lnTo>
                      <a:pt x="2448" y="1549"/>
                    </a:lnTo>
                    <a:lnTo>
                      <a:pt x="2574" y="1507"/>
                    </a:lnTo>
                    <a:lnTo>
                      <a:pt x="2678" y="1570"/>
                    </a:lnTo>
                    <a:lnTo>
                      <a:pt x="2762" y="1591"/>
                    </a:lnTo>
                    <a:lnTo>
                      <a:pt x="2867" y="1445"/>
                    </a:lnTo>
                    <a:lnTo>
                      <a:pt x="2867" y="1361"/>
                    </a:lnTo>
                    <a:lnTo>
                      <a:pt x="2741" y="1298"/>
                    </a:lnTo>
                    <a:lnTo>
                      <a:pt x="2469" y="1340"/>
                    </a:lnTo>
                    <a:lnTo>
                      <a:pt x="2364" y="1403"/>
                    </a:lnTo>
                    <a:lnTo>
                      <a:pt x="2197" y="1403"/>
                    </a:lnTo>
                    <a:lnTo>
                      <a:pt x="2113" y="1445"/>
                    </a:lnTo>
                    <a:lnTo>
                      <a:pt x="2009" y="1549"/>
                    </a:lnTo>
                    <a:lnTo>
                      <a:pt x="1820" y="1549"/>
                    </a:lnTo>
                    <a:lnTo>
                      <a:pt x="1716" y="1486"/>
                    </a:lnTo>
                    <a:lnTo>
                      <a:pt x="1611" y="1466"/>
                    </a:lnTo>
                    <a:lnTo>
                      <a:pt x="1507" y="1591"/>
                    </a:lnTo>
                    <a:lnTo>
                      <a:pt x="1423" y="1800"/>
                    </a:lnTo>
                    <a:lnTo>
                      <a:pt x="1297" y="1863"/>
                    </a:lnTo>
                    <a:lnTo>
                      <a:pt x="1193" y="1821"/>
                    </a:lnTo>
                    <a:lnTo>
                      <a:pt x="1172" y="1779"/>
                    </a:lnTo>
                    <a:lnTo>
                      <a:pt x="1004" y="1612"/>
                    </a:lnTo>
                    <a:lnTo>
                      <a:pt x="858" y="1486"/>
                    </a:lnTo>
                    <a:lnTo>
                      <a:pt x="774" y="1277"/>
                    </a:lnTo>
                    <a:lnTo>
                      <a:pt x="795" y="1047"/>
                    </a:lnTo>
                    <a:lnTo>
                      <a:pt x="879" y="838"/>
                    </a:lnTo>
                    <a:lnTo>
                      <a:pt x="984" y="733"/>
                    </a:lnTo>
                    <a:lnTo>
                      <a:pt x="1109" y="670"/>
                    </a:lnTo>
                    <a:lnTo>
                      <a:pt x="1276" y="754"/>
                    </a:lnTo>
                    <a:lnTo>
                      <a:pt x="1465" y="775"/>
                    </a:lnTo>
                    <a:lnTo>
                      <a:pt x="1674" y="670"/>
                    </a:lnTo>
                    <a:lnTo>
                      <a:pt x="1820" y="670"/>
                    </a:lnTo>
                    <a:lnTo>
                      <a:pt x="1883" y="754"/>
                    </a:lnTo>
                    <a:lnTo>
                      <a:pt x="1988" y="754"/>
                    </a:lnTo>
                    <a:lnTo>
                      <a:pt x="2051" y="712"/>
                    </a:lnTo>
                    <a:lnTo>
                      <a:pt x="2281" y="733"/>
                    </a:lnTo>
                    <a:lnTo>
                      <a:pt x="2427" y="733"/>
                    </a:lnTo>
                    <a:lnTo>
                      <a:pt x="2448" y="712"/>
                    </a:lnTo>
                    <a:lnTo>
                      <a:pt x="2574" y="712"/>
                    </a:lnTo>
                    <a:lnTo>
                      <a:pt x="2678" y="754"/>
                    </a:lnTo>
                    <a:lnTo>
                      <a:pt x="2720" y="817"/>
                    </a:lnTo>
                    <a:lnTo>
                      <a:pt x="2825" y="859"/>
                    </a:lnTo>
                    <a:lnTo>
                      <a:pt x="3264" y="754"/>
                    </a:lnTo>
                    <a:lnTo>
                      <a:pt x="3453" y="629"/>
                    </a:lnTo>
                    <a:lnTo>
                      <a:pt x="3494" y="524"/>
                    </a:lnTo>
                    <a:lnTo>
                      <a:pt x="3578" y="524"/>
                    </a:lnTo>
                    <a:lnTo>
                      <a:pt x="3620" y="440"/>
                    </a:lnTo>
                    <a:lnTo>
                      <a:pt x="3704" y="398"/>
                    </a:lnTo>
                    <a:lnTo>
                      <a:pt x="3766" y="294"/>
                    </a:lnTo>
                    <a:lnTo>
                      <a:pt x="3808" y="210"/>
                    </a:lnTo>
                    <a:lnTo>
                      <a:pt x="3871" y="147"/>
                    </a:lnTo>
                    <a:lnTo>
                      <a:pt x="3808" y="106"/>
                    </a:lnTo>
                    <a:lnTo>
                      <a:pt x="3787" y="43"/>
                    </a:lnTo>
                    <a:lnTo>
                      <a:pt x="362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3" name="Google Shape;2013;p66"/>
              <p:cNvSpPr/>
              <p:nvPr/>
            </p:nvSpPr>
            <p:spPr>
              <a:xfrm>
                <a:off x="5587700" y="3253200"/>
                <a:ext cx="145450" cy="131325"/>
              </a:xfrm>
              <a:custGeom>
                <a:avLst/>
                <a:gdLst/>
                <a:ahLst/>
                <a:cxnLst/>
                <a:rect l="l" t="t" r="r" b="b"/>
                <a:pathLst>
                  <a:path w="5818" h="5253" extrusionOk="0">
                    <a:moveTo>
                      <a:pt x="922" y="1"/>
                    </a:moveTo>
                    <a:lnTo>
                      <a:pt x="775" y="22"/>
                    </a:lnTo>
                    <a:lnTo>
                      <a:pt x="712" y="84"/>
                    </a:lnTo>
                    <a:lnTo>
                      <a:pt x="566" y="189"/>
                    </a:lnTo>
                    <a:lnTo>
                      <a:pt x="482" y="210"/>
                    </a:lnTo>
                    <a:lnTo>
                      <a:pt x="398" y="294"/>
                    </a:lnTo>
                    <a:lnTo>
                      <a:pt x="252" y="294"/>
                    </a:lnTo>
                    <a:lnTo>
                      <a:pt x="147" y="356"/>
                    </a:lnTo>
                    <a:lnTo>
                      <a:pt x="189" y="440"/>
                    </a:lnTo>
                    <a:lnTo>
                      <a:pt x="168" y="524"/>
                    </a:lnTo>
                    <a:lnTo>
                      <a:pt x="43" y="608"/>
                    </a:lnTo>
                    <a:lnTo>
                      <a:pt x="1" y="670"/>
                    </a:lnTo>
                    <a:lnTo>
                      <a:pt x="147" y="712"/>
                    </a:lnTo>
                    <a:lnTo>
                      <a:pt x="252" y="649"/>
                    </a:lnTo>
                    <a:lnTo>
                      <a:pt x="273" y="608"/>
                    </a:lnTo>
                    <a:lnTo>
                      <a:pt x="315" y="670"/>
                    </a:lnTo>
                    <a:lnTo>
                      <a:pt x="503" y="754"/>
                    </a:lnTo>
                    <a:lnTo>
                      <a:pt x="566" y="859"/>
                    </a:lnTo>
                    <a:lnTo>
                      <a:pt x="524" y="921"/>
                    </a:lnTo>
                    <a:lnTo>
                      <a:pt x="566" y="1047"/>
                    </a:lnTo>
                    <a:lnTo>
                      <a:pt x="691" y="1131"/>
                    </a:lnTo>
                    <a:lnTo>
                      <a:pt x="796" y="1152"/>
                    </a:lnTo>
                    <a:lnTo>
                      <a:pt x="901" y="1131"/>
                    </a:lnTo>
                    <a:lnTo>
                      <a:pt x="984" y="1172"/>
                    </a:lnTo>
                    <a:lnTo>
                      <a:pt x="1026" y="1131"/>
                    </a:lnTo>
                    <a:lnTo>
                      <a:pt x="1110" y="1152"/>
                    </a:lnTo>
                    <a:lnTo>
                      <a:pt x="1298" y="1131"/>
                    </a:lnTo>
                    <a:lnTo>
                      <a:pt x="1340" y="1152"/>
                    </a:lnTo>
                    <a:lnTo>
                      <a:pt x="1424" y="1131"/>
                    </a:lnTo>
                    <a:lnTo>
                      <a:pt x="1361" y="1068"/>
                    </a:lnTo>
                    <a:lnTo>
                      <a:pt x="1654" y="1089"/>
                    </a:lnTo>
                    <a:lnTo>
                      <a:pt x="1717" y="1172"/>
                    </a:lnTo>
                    <a:lnTo>
                      <a:pt x="1675" y="1298"/>
                    </a:lnTo>
                    <a:lnTo>
                      <a:pt x="1633" y="1277"/>
                    </a:lnTo>
                    <a:lnTo>
                      <a:pt x="1549" y="1361"/>
                    </a:lnTo>
                    <a:lnTo>
                      <a:pt x="1507" y="1465"/>
                    </a:lnTo>
                    <a:lnTo>
                      <a:pt x="1445" y="1361"/>
                    </a:lnTo>
                    <a:lnTo>
                      <a:pt x="1256" y="1277"/>
                    </a:lnTo>
                    <a:lnTo>
                      <a:pt x="1194" y="1298"/>
                    </a:lnTo>
                    <a:lnTo>
                      <a:pt x="1131" y="1465"/>
                    </a:lnTo>
                    <a:lnTo>
                      <a:pt x="1026" y="1507"/>
                    </a:lnTo>
                    <a:lnTo>
                      <a:pt x="922" y="1465"/>
                    </a:lnTo>
                    <a:lnTo>
                      <a:pt x="817" y="1465"/>
                    </a:lnTo>
                    <a:lnTo>
                      <a:pt x="775" y="1403"/>
                    </a:lnTo>
                    <a:lnTo>
                      <a:pt x="629" y="1444"/>
                    </a:lnTo>
                    <a:lnTo>
                      <a:pt x="566" y="1507"/>
                    </a:lnTo>
                    <a:lnTo>
                      <a:pt x="608" y="1570"/>
                    </a:lnTo>
                    <a:lnTo>
                      <a:pt x="733" y="1591"/>
                    </a:lnTo>
                    <a:lnTo>
                      <a:pt x="838" y="1654"/>
                    </a:lnTo>
                    <a:lnTo>
                      <a:pt x="901" y="1779"/>
                    </a:lnTo>
                    <a:lnTo>
                      <a:pt x="942" y="1821"/>
                    </a:lnTo>
                    <a:lnTo>
                      <a:pt x="1005" y="1800"/>
                    </a:lnTo>
                    <a:lnTo>
                      <a:pt x="1026" y="1884"/>
                    </a:lnTo>
                    <a:lnTo>
                      <a:pt x="1026" y="1968"/>
                    </a:lnTo>
                    <a:lnTo>
                      <a:pt x="984" y="1988"/>
                    </a:lnTo>
                    <a:lnTo>
                      <a:pt x="942" y="2072"/>
                    </a:lnTo>
                    <a:lnTo>
                      <a:pt x="1047" y="2240"/>
                    </a:lnTo>
                    <a:lnTo>
                      <a:pt x="1152" y="2281"/>
                    </a:lnTo>
                    <a:lnTo>
                      <a:pt x="1256" y="2240"/>
                    </a:lnTo>
                    <a:lnTo>
                      <a:pt x="1403" y="2114"/>
                    </a:lnTo>
                    <a:lnTo>
                      <a:pt x="1361" y="2009"/>
                    </a:lnTo>
                    <a:lnTo>
                      <a:pt x="1466" y="1863"/>
                    </a:lnTo>
                    <a:lnTo>
                      <a:pt x="1507" y="1821"/>
                    </a:lnTo>
                    <a:lnTo>
                      <a:pt x="1528" y="1758"/>
                    </a:lnTo>
                    <a:lnTo>
                      <a:pt x="1570" y="1612"/>
                    </a:lnTo>
                    <a:lnTo>
                      <a:pt x="1633" y="1507"/>
                    </a:lnTo>
                    <a:lnTo>
                      <a:pt x="1633" y="1654"/>
                    </a:lnTo>
                    <a:lnTo>
                      <a:pt x="1549" y="1716"/>
                    </a:lnTo>
                    <a:lnTo>
                      <a:pt x="1612" y="1863"/>
                    </a:lnTo>
                    <a:lnTo>
                      <a:pt x="1654" y="1988"/>
                    </a:lnTo>
                    <a:lnTo>
                      <a:pt x="1717" y="2072"/>
                    </a:lnTo>
                    <a:lnTo>
                      <a:pt x="1738" y="2009"/>
                    </a:lnTo>
                    <a:lnTo>
                      <a:pt x="1779" y="2009"/>
                    </a:lnTo>
                    <a:lnTo>
                      <a:pt x="1842" y="2030"/>
                    </a:lnTo>
                    <a:lnTo>
                      <a:pt x="1842" y="2135"/>
                    </a:lnTo>
                    <a:lnTo>
                      <a:pt x="1884" y="2093"/>
                    </a:lnTo>
                    <a:lnTo>
                      <a:pt x="1947" y="2093"/>
                    </a:lnTo>
                    <a:lnTo>
                      <a:pt x="1968" y="2135"/>
                    </a:lnTo>
                    <a:lnTo>
                      <a:pt x="2051" y="2177"/>
                    </a:lnTo>
                    <a:lnTo>
                      <a:pt x="2156" y="2135"/>
                    </a:lnTo>
                    <a:lnTo>
                      <a:pt x="2240" y="2135"/>
                    </a:lnTo>
                    <a:lnTo>
                      <a:pt x="2240" y="2177"/>
                    </a:lnTo>
                    <a:lnTo>
                      <a:pt x="2093" y="2177"/>
                    </a:lnTo>
                    <a:lnTo>
                      <a:pt x="2093" y="2281"/>
                    </a:lnTo>
                    <a:lnTo>
                      <a:pt x="2240" y="2302"/>
                    </a:lnTo>
                    <a:lnTo>
                      <a:pt x="2240" y="2323"/>
                    </a:lnTo>
                    <a:lnTo>
                      <a:pt x="2261" y="2386"/>
                    </a:lnTo>
                    <a:lnTo>
                      <a:pt x="2407" y="2449"/>
                    </a:lnTo>
                    <a:lnTo>
                      <a:pt x="2575" y="2449"/>
                    </a:lnTo>
                    <a:lnTo>
                      <a:pt x="2930" y="2553"/>
                    </a:lnTo>
                    <a:lnTo>
                      <a:pt x="3286" y="2658"/>
                    </a:lnTo>
                    <a:lnTo>
                      <a:pt x="3391" y="2658"/>
                    </a:lnTo>
                    <a:lnTo>
                      <a:pt x="3537" y="2721"/>
                    </a:lnTo>
                    <a:lnTo>
                      <a:pt x="3558" y="2825"/>
                    </a:lnTo>
                    <a:lnTo>
                      <a:pt x="3725" y="2867"/>
                    </a:lnTo>
                    <a:lnTo>
                      <a:pt x="3830" y="2867"/>
                    </a:lnTo>
                    <a:lnTo>
                      <a:pt x="3914" y="2825"/>
                    </a:lnTo>
                    <a:lnTo>
                      <a:pt x="3914" y="2825"/>
                    </a:lnTo>
                    <a:lnTo>
                      <a:pt x="3830" y="2951"/>
                    </a:lnTo>
                    <a:lnTo>
                      <a:pt x="3851" y="2972"/>
                    </a:lnTo>
                    <a:lnTo>
                      <a:pt x="3935" y="2951"/>
                    </a:lnTo>
                    <a:lnTo>
                      <a:pt x="3955" y="3014"/>
                    </a:lnTo>
                    <a:lnTo>
                      <a:pt x="4081" y="2972"/>
                    </a:lnTo>
                    <a:lnTo>
                      <a:pt x="4018" y="3035"/>
                    </a:lnTo>
                    <a:lnTo>
                      <a:pt x="4060" y="3076"/>
                    </a:lnTo>
                    <a:lnTo>
                      <a:pt x="4039" y="3139"/>
                    </a:lnTo>
                    <a:lnTo>
                      <a:pt x="4081" y="3181"/>
                    </a:lnTo>
                    <a:lnTo>
                      <a:pt x="4186" y="3160"/>
                    </a:lnTo>
                    <a:lnTo>
                      <a:pt x="4081" y="3265"/>
                    </a:lnTo>
                    <a:lnTo>
                      <a:pt x="4081" y="3328"/>
                    </a:lnTo>
                    <a:lnTo>
                      <a:pt x="4227" y="3453"/>
                    </a:lnTo>
                    <a:lnTo>
                      <a:pt x="4186" y="3558"/>
                    </a:lnTo>
                    <a:lnTo>
                      <a:pt x="4227" y="3641"/>
                    </a:lnTo>
                    <a:lnTo>
                      <a:pt x="4332" y="3704"/>
                    </a:lnTo>
                    <a:lnTo>
                      <a:pt x="4479" y="3809"/>
                    </a:lnTo>
                    <a:lnTo>
                      <a:pt x="4499" y="3872"/>
                    </a:lnTo>
                    <a:lnTo>
                      <a:pt x="4374" y="3872"/>
                    </a:lnTo>
                    <a:lnTo>
                      <a:pt x="4353" y="3955"/>
                    </a:lnTo>
                    <a:lnTo>
                      <a:pt x="4437" y="4018"/>
                    </a:lnTo>
                    <a:lnTo>
                      <a:pt x="4541" y="4081"/>
                    </a:lnTo>
                    <a:lnTo>
                      <a:pt x="4667" y="4060"/>
                    </a:lnTo>
                    <a:lnTo>
                      <a:pt x="4751" y="4081"/>
                    </a:lnTo>
                    <a:lnTo>
                      <a:pt x="4688" y="4081"/>
                    </a:lnTo>
                    <a:lnTo>
                      <a:pt x="4562" y="4123"/>
                    </a:lnTo>
                    <a:lnTo>
                      <a:pt x="4499" y="4102"/>
                    </a:lnTo>
                    <a:lnTo>
                      <a:pt x="4458" y="4123"/>
                    </a:lnTo>
                    <a:lnTo>
                      <a:pt x="4499" y="4206"/>
                    </a:lnTo>
                    <a:lnTo>
                      <a:pt x="4583" y="4227"/>
                    </a:lnTo>
                    <a:lnTo>
                      <a:pt x="4562" y="4395"/>
                    </a:lnTo>
                    <a:lnTo>
                      <a:pt x="4541" y="4416"/>
                    </a:lnTo>
                    <a:lnTo>
                      <a:pt x="4541" y="4499"/>
                    </a:lnTo>
                    <a:lnTo>
                      <a:pt x="4499" y="4583"/>
                    </a:lnTo>
                    <a:lnTo>
                      <a:pt x="4458" y="4604"/>
                    </a:lnTo>
                    <a:lnTo>
                      <a:pt x="4541" y="4709"/>
                    </a:lnTo>
                    <a:lnTo>
                      <a:pt x="4667" y="4625"/>
                    </a:lnTo>
                    <a:lnTo>
                      <a:pt x="4709" y="4688"/>
                    </a:lnTo>
                    <a:lnTo>
                      <a:pt x="4792" y="4688"/>
                    </a:lnTo>
                    <a:lnTo>
                      <a:pt x="4897" y="4625"/>
                    </a:lnTo>
                    <a:lnTo>
                      <a:pt x="5064" y="4625"/>
                    </a:lnTo>
                    <a:lnTo>
                      <a:pt x="5127" y="4583"/>
                    </a:lnTo>
                    <a:lnTo>
                      <a:pt x="5169" y="4478"/>
                    </a:lnTo>
                    <a:lnTo>
                      <a:pt x="5169" y="4583"/>
                    </a:lnTo>
                    <a:lnTo>
                      <a:pt x="5106" y="4688"/>
                    </a:lnTo>
                    <a:lnTo>
                      <a:pt x="5127" y="4750"/>
                    </a:lnTo>
                    <a:lnTo>
                      <a:pt x="5190" y="4792"/>
                    </a:lnTo>
                    <a:lnTo>
                      <a:pt x="5316" y="4897"/>
                    </a:lnTo>
                    <a:lnTo>
                      <a:pt x="5295" y="4939"/>
                    </a:lnTo>
                    <a:lnTo>
                      <a:pt x="5336" y="5022"/>
                    </a:lnTo>
                    <a:lnTo>
                      <a:pt x="5504" y="5211"/>
                    </a:lnTo>
                    <a:lnTo>
                      <a:pt x="5629" y="5232"/>
                    </a:lnTo>
                    <a:lnTo>
                      <a:pt x="5692" y="5253"/>
                    </a:lnTo>
                    <a:lnTo>
                      <a:pt x="5713" y="3851"/>
                    </a:lnTo>
                    <a:lnTo>
                      <a:pt x="5713" y="3788"/>
                    </a:lnTo>
                    <a:lnTo>
                      <a:pt x="5713" y="3704"/>
                    </a:lnTo>
                    <a:lnTo>
                      <a:pt x="5734" y="3537"/>
                    </a:lnTo>
                    <a:lnTo>
                      <a:pt x="5818" y="1382"/>
                    </a:lnTo>
                    <a:lnTo>
                      <a:pt x="5713" y="1403"/>
                    </a:lnTo>
                    <a:lnTo>
                      <a:pt x="5629" y="1382"/>
                    </a:lnTo>
                    <a:lnTo>
                      <a:pt x="5629" y="1298"/>
                    </a:lnTo>
                    <a:lnTo>
                      <a:pt x="5650" y="1256"/>
                    </a:lnTo>
                    <a:lnTo>
                      <a:pt x="5546" y="1193"/>
                    </a:lnTo>
                    <a:lnTo>
                      <a:pt x="5441" y="1193"/>
                    </a:lnTo>
                    <a:lnTo>
                      <a:pt x="5316" y="1172"/>
                    </a:lnTo>
                    <a:lnTo>
                      <a:pt x="5232" y="1152"/>
                    </a:lnTo>
                    <a:lnTo>
                      <a:pt x="5169" y="1172"/>
                    </a:lnTo>
                    <a:lnTo>
                      <a:pt x="4813" y="1026"/>
                    </a:lnTo>
                    <a:lnTo>
                      <a:pt x="4667" y="984"/>
                    </a:lnTo>
                    <a:lnTo>
                      <a:pt x="4562" y="963"/>
                    </a:lnTo>
                    <a:lnTo>
                      <a:pt x="4458" y="880"/>
                    </a:lnTo>
                    <a:lnTo>
                      <a:pt x="4248" y="838"/>
                    </a:lnTo>
                    <a:lnTo>
                      <a:pt x="4060" y="754"/>
                    </a:lnTo>
                    <a:lnTo>
                      <a:pt x="3976" y="670"/>
                    </a:lnTo>
                    <a:lnTo>
                      <a:pt x="3830" y="649"/>
                    </a:lnTo>
                    <a:lnTo>
                      <a:pt x="3537" y="838"/>
                    </a:lnTo>
                    <a:lnTo>
                      <a:pt x="3537" y="880"/>
                    </a:lnTo>
                    <a:lnTo>
                      <a:pt x="3600" y="984"/>
                    </a:lnTo>
                    <a:lnTo>
                      <a:pt x="3558" y="1068"/>
                    </a:lnTo>
                    <a:lnTo>
                      <a:pt x="3391" y="1089"/>
                    </a:lnTo>
                    <a:lnTo>
                      <a:pt x="3286" y="1131"/>
                    </a:lnTo>
                    <a:lnTo>
                      <a:pt x="3223" y="1131"/>
                    </a:lnTo>
                    <a:lnTo>
                      <a:pt x="3181" y="1089"/>
                    </a:lnTo>
                    <a:lnTo>
                      <a:pt x="3119" y="1172"/>
                    </a:lnTo>
                    <a:lnTo>
                      <a:pt x="3119" y="1277"/>
                    </a:lnTo>
                    <a:lnTo>
                      <a:pt x="2993" y="1340"/>
                    </a:lnTo>
                    <a:lnTo>
                      <a:pt x="2888" y="1361"/>
                    </a:lnTo>
                    <a:lnTo>
                      <a:pt x="2805" y="1465"/>
                    </a:lnTo>
                    <a:lnTo>
                      <a:pt x="2805" y="1612"/>
                    </a:lnTo>
                    <a:lnTo>
                      <a:pt x="2763" y="1654"/>
                    </a:lnTo>
                    <a:lnTo>
                      <a:pt x="2700" y="1696"/>
                    </a:lnTo>
                    <a:lnTo>
                      <a:pt x="2658" y="1800"/>
                    </a:lnTo>
                    <a:lnTo>
                      <a:pt x="2554" y="1821"/>
                    </a:lnTo>
                    <a:lnTo>
                      <a:pt x="2449" y="1821"/>
                    </a:lnTo>
                    <a:lnTo>
                      <a:pt x="2386" y="1779"/>
                    </a:lnTo>
                    <a:lnTo>
                      <a:pt x="2261" y="1675"/>
                    </a:lnTo>
                    <a:lnTo>
                      <a:pt x="2240" y="1570"/>
                    </a:lnTo>
                    <a:lnTo>
                      <a:pt x="2177" y="1591"/>
                    </a:lnTo>
                    <a:lnTo>
                      <a:pt x="2156" y="1465"/>
                    </a:lnTo>
                    <a:lnTo>
                      <a:pt x="2156" y="1361"/>
                    </a:lnTo>
                    <a:lnTo>
                      <a:pt x="2072" y="1298"/>
                    </a:lnTo>
                    <a:lnTo>
                      <a:pt x="2031" y="1382"/>
                    </a:lnTo>
                    <a:lnTo>
                      <a:pt x="2051" y="1507"/>
                    </a:lnTo>
                    <a:lnTo>
                      <a:pt x="1989" y="1507"/>
                    </a:lnTo>
                    <a:lnTo>
                      <a:pt x="1926" y="1444"/>
                    </a:lnTo>
                    <a:lnTo>
                      <a:pt x="1863" y="1298"/>
                    </a:lnTo>
                    <a:lnTo>
                      <a:pt x="1842" y="1047"/>
                    </a:lnTo>
                    <a:lnTo>
                      <a:pt x="1821" y="880"/>
                    </a:lnTo>
                    <a:lnTo>
                      <a:pt x="1863" y="775"/>
                    </a:lnTo>
                    <a:lnTo>
                      <a:pt x="1947" y="670"/>
                    </a:lnTo>
                    <a:lnTo>
                      <a:pt x="1884" y="566"/>
                    </a:lnTo>
                    <a:lnTo>
                      <a:pt x="1821" y="503"/>
                    </a:lnTo>
                    <a:lnTo>
                      <a:pt x="1821" y="335"/>
                    </a:lnTo>
                    <a:lnTo>
                      <a:pt x="1842" y="294"/>
                    </a:lnTo>
                    <a:lnTo>
                      <a:pt x="1779" y="231"/>
                    </a:lnTo>
                    <a:lnTo>
                      <a:pt x="1612" y="210"/>
                    </a:lnTo>
                    <a:lnTo>
                      <a:pt x="1424" y="231"/>
                    </a:lnTo>
                    <a:lnTo>
                      <a:pt x="1235" y="105"/>
                    </a:lnTo>
                    <a:lnTo>
                      <a:pt x="92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4" name="Google Shape;2014;p66"/>
              <p:cNvSpPr/>
              <p:nvPr/>
            </p:nvSpPr>
            <p:spPr>
              <a:xfrm>
                <a:off x="5268100" y="3181025"/>
                <a:ext cx="143350" cy="129750"/>
              </a:xfrm>
              <a:custGeom>
                <a:avLst/>
                <a:gdLst/>
                <a:ahLst/>
                <a:cxnLst/>
                <a:rect l="l" t="t" r="r" b="b"/>
                <a:pathLst>
                  <a:path w="5734" h="5190" extrusionOk="0">
                    <a:moveTo>
                      <a:pt x="4060" y="0"/>
                    </a:moveTo>
                    <a:lnTo>
                      <a:pt x="3955" y="147"/>
                    </a:lnTo>
                    <a:lnTo>
                      <a:pt x="3955" y="209"/>
                    </a:lnTo>
                    <a:lnTo>
                      <a:pt x="3892" y="314"/>
                    </a:lnTo>
                    <a:lnTo>
                      <a:pt x="3892" y="398"/>
                    </a:lnTo>
                    <a:lnTo>
                      <a:pt x="3767" y="837"/>
                    </a:lnTo>
                    <a:lnTo>
                      <a:pt x="3579" y="1109"/>
                    </a:lnTo>
                    <a:lnTo>
                      <a:pt x="3516" y="1360"/>
                    </a:lnTo>
                    <a:lnTo>
                      <a:pt x="3265" y="1716"/>
                    </a:lnTo>
                    <a:lnTo>
                      <a:pt x="3307" y="1779"/>
                    </a:lnTo>
                    <a:lnTo>
                      <a:pt x="3014" y="1842"/>
                    </a:lnTo>
                    <a:lnTo>
                      <a:pt x="2783" y="1967"/>
                    </a:lnTo>
                    <a:lnTo>
                      <a:pt x="2637" y="1967"/>
                    </a:lnTo>
                    <a:lnTo>
                      <a:pt x="2595" y="1883"/>
                    </a:lnTo>
                    <a:lnTo>
                      <a:pt x="2470" y="1842"/>
                    </a:lnTo>
                    <a:lnTo>
                      <a:pt x="2177" y="1842"/>
                    </a:lnTo>
                    <a:lnTo>
                      <a:pt x="2093" y="1925"/>
                    </a:lnTo>
                    <a:lnTo>
                      <a:pt x="1758" y="2051"/>
                    </a:lnTo>
                    <a:lnTo>
                      <a:pt x="1444" y="2030"/>
                    </a:lnTo>
                    <a:lnTo>
                      <a:pt x="1361" y="2072"/>
                    </a:lnTo>
                    <a:lnTo>
                      <a:pt x="1235" y="2051"/>
                    </a:lnTo>
                    <a:lnTo>
                      <a:pt x="1214" y="2134"/>
                    </a:lnTo>
                    <a:lnTo>
                      <a:pt x="1047" y="2176"/>
                    </a:lnTo>
                    <a:lnTo>
                      <a:pt x="942" y="2155"/>
                    </a:lnTo>
                    <a:lnTo>
                      <a:pt x="921" y="2051"/>
                    </a:lnTo>
                    <a:lnTo>
                      <a:pt x="796" y="1946"/>
                    </a:lnTo>
                    <a:lnTo>
                      <a:pt x="754" y="1883"/>
                    </a:lnTo>
                    <a:lnTo>
                      <a:pt x="566" y="1758"/>
                    </a:lnTo>
                    <a:lnTo>
                      <a:pt x="440" y="1549"/>
                    </a:lnTo>
                    <a:lnTo>
                      <a:pt x="377" y="1570"/>
                    </a:lnTo>
                    <a:lnTo>
                      <a:pt x="314" y="1653"/>
                    </a:lnTo>
                    <a:lnTo>
                      <a:pt x="168" y="1842"/>
                    </a:lnTo>
                    <a:lnTo>
                      <a:pt x="84" y="1988"/>
                    </a:lnTo>
                    <a:lnTo>
                      <a:pt x="84" y="2072"/>
                    </a:lnTo>
                    <a:lnTo>
                      <a:pt x="105" y="2155"/>
                    </a:lnTo>
                    <a:lnTo>
                      <a:pt x="84" y="2239"/>
                    </a:lnTo>
                    <a:lnTo>
                      <a:pt x="1" y="2281"/>
                    </a:lnTo>
                    <a:lnTo>
                      <a:pt x="22" y="2490"/>
                    </a:lnTo>
                    <a:lnTo>
                      <a:pt x="210" y="2699"/>
                    </a:lnTo>
                    <a:lnTo>
                      <a:pt x="231" y="2804"/>
                    </a:lnTo>
                    <a:lnTo>
                      <a:pt x="189" y="2762"/>
                    </a:lnTo>
                    <a:lnTo>
                      <a:pt x="168" y="2804"/>
                    </a:lnTo>
                    <a:lnTo>
                      <a:pt x="210" y="2930"/>
                    </a:lnTo>
                    <a:lnTo>
                      <a:pt x="335" y="2971"/>
                    </a:lnTo>
                    <a:lnTo>
                      <a:pt x="419" y="2971"/>
                    </a:lnTo>
                    <a:lnTo>
                      <a:pt x="607" y="2909"/>
                    </a:lnTo>
                    <a:lnTo>
                      <a:pt x="733" y="2825"/>
                    </a:lnTo>
                    <a:lnTo>
                      <a:pt x="838" y="2867"/>
                    </a:lnTo>
                    <a:lnTo>
                      <a:pt x="733" y="2867"/>
                    </a:lnTo>
                    <a:lnTo>
                      <a:pt x="607" y="2971"/>
                    </a:lnTo>
                    <a:lnTo>
                      <a:pt x="398" y="3013"/>
                    </a:lnTo>
                    <a:lnTo>
                      <a:pt x="314" y="3097"/>
                    </a:lnTo>
                    <a:lnTo>
                      <a:pt x="210" y="3097"/>
                    </a:lnTo>
                    <a:lnTo>
                      <a:pt x="210" y="3139"/>
                    </a:lnTo>
                    <a:lnTo>
                      <a:pt x="335" y="3181"/>
                    </a:lnTo>
                    <a:lnTo>
                      <a:pt x="503" y="3243"/>
                    </a:lnTo>
                    <a:lnTo>
                      <a:pt x="649" y="3411"/>
                    </a:lnTo>
                    <a:lnTo>
                      <a:pt x="712" y="3515"/>
                    </a:lnTo>
                    <a:lnTo>
                      <a:pt x="733" y="3620"/>
                    </a:lnTo>
                    <a:lnTo>
                      <a:pt x="649" y="3746"/>
                    </a:lnTo>
                    <a:lnTo>
                      <a:pt x="566" y="3829"/>
                    </a:lnTo>
                    <a:lnTo>
                      <a:pt x="607" y="3871"/>
                    </a:lnTo>
                    <a:lnTo>
                      <a:pt x="712" y="3955"/>
                    </a:lnTo>
                    <a:lnTo>
                      <a:pt x="733" y="4227"/>
                    </a:lnTo>
                    <a:lnTo>
                      <a:pt x="733" y="4352"/>
                    </a:lnTo>
                    <a:lnTo>
                      <a:pt x="817" y="4499"/>
                    </a:lnTo>
                    <a:lnTo>
                      <a:pt x="858" y="4499"/>
                    </a:lnTo>
                    <a:lnTo>
                      <a:pt x="963" y="4436"/>
                    </a:lnTo>
                    <a:lnTo>
                      <a:pt x="1005" y="4499"/>
                    </a:lnTo>
                    <a:lnTo>
                      <a:pt x="1130" y="4499"/>
                    </a:lnTo>
                    <a:lnTo>
                      <a:pt x="1214" y="4541"/>
                    </a:lnTo>
                    <a:lnTo>
                      <a:pt x="1361" y="4541"/>
                    </a:lnTo>
                    <a:lnTo>
                      <a:pt x="1444" y="4457"/>
                    </a:lnTo>
                    <a:lnTo>
                      <a:pt x="1528" y="4499"/>
                    </a:lnTo>
                    <a:lnTo>
                      <a:pt x="1591" y="4457"/>
                    </a:lnTo>
                    <a:lnTo>
                      <a:pt x="1654" y="4352"/>
                    </a:lnTo>
                    <a:lnTo>
                      <a:pt x="1654" y="4290"/>
                    </a:lnTo>
                    <a:lnTo>
                      <a:pt x="1674" y="4373"/>
                    </a:lnTo>
                    <a:lnTo>
                      <a:pt x="1654" y="4478"/>
                    </a:lnTo>
                    <a:lnTo>
                      <a:pt x="1695" y="4603"/>
                    </a:lnTo>
                    <a:lnTo>
                      <a:pt x="1737" y="4792"/>
                    </a:lnTo>
                    <a:lnTo>
                      <a:pt x="1695" y="4896"/>
                    </a:lnTo>
                    <a:lnTo>
                      <a:pt x="1779" y="4896"/>
                    </a:lnTo>
                    <a:lnTo>
                      <a:pt x="1905" y="4750"/>
                    </a:lnTo>
                    <a:lnTo>
                      <a:pt x="1988" y="4708"/>
                    </a:lnTo>
                    <a:lnTo>
                      <a:pt x="2051" y="4771"/>
                    </a:lnTo>
                    <a:lnTo>
                      <a:pt x="2114" y="4750"/>
                    </a:lnTo>
                    <a:lnTo>
                      <a:pt x="2135" y="4687"/>
                    </a:lnTo>
                    <a:lnTo>
                      <a:pt x="2302" y="4687"/>
                    </a:lnTo>
                    <a:lnTo>
                      <a:pt x="2386" y="4583"/>
                    </a:lnTo>
                    <a:lnTo>
                      <a:pt x="2428" y="4583"/>
                    </a:lnTo>
                    <a:lnTo>
                      <a:pt x="2532" y="4645"/>
                    </a:lnTo>
                    <a:lnTo>
                      <a:pt x="2616" y="4583"/>
                    </a:lnTo>
                    <a:lnTo>
                      <a:pt x="2658" y="4645"/>
                    </a:lnTo>
                    <a:lnTo>
                      <a:pt x="2658" y="4750"/>
                    </a:lnTo>
                    <a:lnTo>
                      <a:pt x="2721" y="4792"/>
                    </a:lnTo>
                    <a:lnTo>
                      <a:pt x="2825" y="4813"/>
                    </a:lnTo>
                    <a:lnTo>
                      <a:pt x="2804" y="4750"/>
                    </a:lnTo>
                    <a:lnTo>
                      <a:pt x="2825" y="4666"/>
                    </a:lnTo>
                    <a:lnTo>
                      <a:pt x="2888" y="4750"/>
                    </a:lnTo>
                    <a:lnTo>
                      <a:pt x="2993" y="4771"/>
                    </a:lnTo>
                    <a:lnTo>
                      <a:pt x="3035" y="4750"/>
                    </a:lnTo>
                    <a:lnTo>
                      <a:pt x="3097" y="4813"/>
                    </a:lnTo>
                    <a:lnTo>
                      <a:pt x="3139" y="4792"/>
                    </a:lnTo>
                    <a:lnTo>
                      <a:pt x="3160" y="4855"/>
                    </a:lnTo>
                    <a:lnTo>
                      <a:pt x="3223" y="4917"/>
                    </a:lnTo>
                    <a:lnTo>
                      <a:pt x="3181" y="5022"/>
                    </a:lnTo>
                    <a:lnTo>
                      <a:pt x="3244" y="5189"/>
                    </a:lnTo>
                    <a:lnTo>
                      <a:pt x="3348" y="5168"/>
                    </a:lnTo>
                    <a:lnTo>
                      <a:pt x="3579" y="5064"/>
                    </a:lnTo>
                    <a:lnTo>
                      <a:pt x="3746" y="5022"/>
                    </a:lnTo>
                    <a:lnTo>
                      <a:pt x="3955" y="4896"/>
                    </a:lnTo>
                    <a:lnTo>
                      <a:pt x="4060" y="4666"/>
                    </a:lnTo>
                    <a:lnTo>
                      <a:pt x="4060" y="4583"/>
                    </a:lnTo>
                    <a:lnTo>
                      <a:pt x="4102" y="4457"/>
                    </a:lnTo>
                    <a:lnTo>
                      <a:pt x="4143" y="4478"/>
                    </a:lnTo>
                    <a:lnTo>
                      <a:pt x="4185" y="4478"/>
                    </a:lnTo>
                    <a:lnTo>
                      <a:pt x="4269" y="4290"/>
                    </a:lnTo>
                    <a:lnTo>
                      <a:pt x="4227" y="4269"/>
                    </a:lnTo>
                    <a:lnTo>
                      <a:pt x="4185" y="4227"/>
                    </a:lnTo>
                    <a:lnTo>
                      <a:pt x="4185" y="4164"/>
                    </a:lnTo>
                    <a:lnTo>
                      <a:pt x="4206" y="4185"/>
                    </a:lnTo>
                    <a:lnTo>
                      <a:pt x="4290" y="4227"/>
                    </a:lnTo>
                    <a:lnTo>
                      <a:pt x="4353" y="4143"/>
                    </a:lnTo>
                    <a:lnTo>
                      <a:pt x="4311" y="4059"/>
                    </a:lnTo>
                    <a:lnTo>
                      <a:pt x="4269" y="4059"/>
                    </a:lnTo>
                    <a:lnTo>
                      <a:pt x="4206" y="4039"/>
                    </a:lnTo>
                    <a:lnTo>
                      <a:pt x="4290" y="3976"/>
                    </a:lnTo>
                    <a:lnTo>
                      <a:pt x="4290" y="3871"/>
                    </a:lnTo>
                    <a:lnTo>
                      <a:pt x="4143" y="3871"/>
                    </a:lnTo>
                    <a:lnTo>
                      <a:pt x="4185" y="3808"/>
                    </a:lnTo>
                    <a:lnTo>
                      <a:pt x="4164" y="3746"/>
                    </a:lnTo>
                    <a:lnTo>
                      <a:pt x="4164" y="3746"/>
                    </a:lnTo>
                    <a:lnTo>
                      <a:pt x="4227" y="3767"/>
                    </a:lnTo>
                    <a:lnTo>
                      <a:pt x="4353" y="3725"/>
                    </a:lnTo>
                    <a:lnTo>
                      <a:pt x="4374" y="3620"/>
                    </a:lnTo>
                    <a:lnTo>
                      <a:pt x="4457" y="3515"/>
                    </a:lnTo>
                    <a:lnTo>
                      <a:pt x="4478" y="3390"/>
                    </a:lnTo>
                    <a:lnTo>
                      <a:pt x="4457" y="3306"/>
                    </a:lnTo>
                    <a:lnTo>
                      <a:pt x="4499" y="3348"/>
                    </a:lnTo>
                    <a:lnTo>
                      <a:pt x="4562" y="3453"/>
                    </a:lnTo>
                    <a:lnTo>
                      <a:pt x="4625" y="3348"/>
                    </a:lnTo>
                    <a:lnTo>
                      <a:pt x="4708" y="3243"/>
                    </a:lnTo>
                    <a:lnTo>
                      <a:pt x="4667" y="3097"/>
                    </a:lnTo>
                    <a:lnTo>
                      <a:pt x="4813" y="2971"/>
                    </a:lnTo>
                    <a:lnTo>
                      <a:pt x="4834" y="2783"/>
                    </a:lnTo>
                    <a:lnTo>
                      <a:pt x="4897" y="2699"/>
                    </a:lnTo>
                    <a:lnTo>
                      <a:pt x="4918" y="2469"/>
                    </a:lnTo>
                    <a:lnTo>
                      <a:pt x="4980" y="2406"/>
                    </a:lnTo>
                    <a:lnTo>
                      <a:pt x="4980" y="2344"/>
                    </a:lnTo>
                    <a:lnTo>
                      <a:pt x="5106" y="2197"/>
                    </a:lnTo>
                    <a:lnTo>
                      <a:pt x="5148" y="2281"/>
                    </a:lnTo>
                    <a:lnTo>
                      <a:pt x="5190" y="2239"/>
                    </a:lnTo>
                    <a:lnTo>
                      <a:pt x="5148" y="2072"/>
                    </a:lnTo>
                    <a:lnTo>
                      <a:pt x="5148" y="2072"/>
                    </a:lnTo>
                    <a:lnTo>
                      <a:pt x="5336" y="2260"/>
                    </a:lnTo>
                    <a:lnTo>
                      <a:pt x="5462" y="2260"/>
                    </a:lnTo>
                    <a:lnTo>
                      <a:pt x="5545" y="2197"/>
                    </a:lnTo>
                    <a:lnTo>
                      <a:pt x="5629" y="2239"/>
                    </a:lnTo>
                    <a:lnTo>
                      <a:pt x="5713" y="2197"/>
                    </a:lnTo>
                    <a:lnTo>
                      <a:pt x="5734" y="2093"/>
                    </a:lnTo>
                    <a:lnTo>
                      <a:pt x="5629" y="2072"/>
                    </a:lnTo>
                    <a:lnTo>
                      <a:pt x="5608" y="2030"/>
                    </a:lnTo>
                    <a:lnTo>
                      <a:pt x="5503" y="1883"/>
                    </a:lnTo>
                    <a:lnTo>
                      <a:pt x="5420" y="1883"/>
                    </a:lnTo>
                    <a:lnTo>
                      <a:pt x="5190" y="1674"/>
                    </a:lnTo>
                    <a:lnTo>
                      <a:pt x="5106" y="1632"/>
                    </a:lnTo>
                    <a:lnTo>
                      <a:pt x="5085" y="1528"/>
                    </a:lnTo>
                    <a:lnTo>
                      <a:pt x="5022" y="1465"/>
                    </a:lnTo>
                    <a:lnTo>
                      <a:pt x="5043" y="1423"/>
                    </a:lnTo>
                    <a:lnTo>
                      <a:pt x="5190" y="1360"/>
                    </a:lnTo>
                    <a:lnTo>
                      <a:pt x="5231" y="1256"/>
                    </a:lnTo>
                    <a:lnTo>
                      <a:pt x="5148" y="1193"/>
                    </a:lnTo>
                    <a:lnTo>
                      <a:pt x="4980" y="1005"/>
                    </a:lnTo>
                    <a:lnTo>
                      <a:pt x="4918" y="879"/>
                    </a:lnTo>
                    <a:lnTo>
                      <a:pt x="4834" y="795"/>
                    </a:lnTo>
                    <a:lnTo>
                      <a:pt x="4876" y="712"/>
                    </a:lnTo>
                    <a:lnTo>
                      <a:pt x="4918" y="691"/>
                    </a:lnTo>
                    <a:lnTo>
                      <a:pt x="4918" y="628"/>
                    </a:lnTo>
                    <a:lnTo>
                      <a:pt x="4876" y="607"/>
                    </a:lnTo>
                    <a:lnTo>
                      <a:pt x="4750" y="482"/>
                    </a:lnTo>
                    <a:lnTo>
                      <a:pt x="4813" y="461"/>
                    </a:lnTo>
                    <a:lnTo>
                      <a:pt x="4939" y="482"/>
                    </a:lnTo>
                    <a:lnTo>
                      <a:pt x="5085" y="461"/>
                    </a:lnTo>
                    <a:lnTo>
                      <a:pt x="4980" y="314"/>
                    </a:lnTo>
                    <a:lnTo>
                      <a:pt x="4834" y="272"/>
                    </a:lnTo>
                    <a:lnTo>
                      <a:pt x="4897" y="209"/>
                    </a:lnTo>
                    <a:lnTo>
                      <a:pt x="4876" y="168"/>
                    </a:lnTo>
                    <a:lnTo>
                      <a:pt x="4939" y="147"/>
                    </a:lnTo>
                    <a:lnTo>
                      <a:pt x="4939" y="105"/>
                    </a:lnTo>
                    <a:lnTo>
                      <a:pt x="4813" y="84"/>
                    </a:lnTo>
                    <a:lnTo>
                      <a:pt x="4667" y="84"/>
                    </a:lnTo>
                    <a:lnTo>
                      <a:pt x="4604" y="42"/>
                    </a:lnTo>
                    <a:lnTo>
                      <a:pt x="4164" y="42"/>
                    </a:lnTo>
                    <a:lnTo>
                      <a:pt x="406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5" name="Google Shape;2015;p66"/>
              <p:cNvSpPr/>
              <p:nvPr/>
            </p:nvSpPr>
            <p:spPr>
              <a:xfrm>
                <a:off x="5068275" y="3161675"/>
                <a:ext cx="431050" cy="221800"/>
              </a:xfrm>
              <a:custGeom>
                <a:avLst/>
                <a:gdLst/>
                <a:ahLst/>
                <a:cxnLst/>
                <a:rect l="l" t="t" r="r" b="b"/>
                <a:pathLst>
                  <a:path w="17242" h="8872" extrusionOk="0">
                    <a:moveTo>
                      <a:pt x="16991" y="8202"/>
                    </a:moveTo>
                    <a:lnTo>
                      <a:pt x="16886" y="8265"/>
                    </a:lnTo>
                    <a:lnTo>
                      <a:pt x="16928" y="8286"/>
                    </a:lnTo>
                    <a:lnTo>
                      <a:pt x="16907" y="8307"/>
                    </a:lnTo>
                    <a:cubicBezTo>
                      <a:pt x="16886" y="8307"/>
                      <a:pt x="16823" y="8349"/>
                      <a:pt x="16802" y="8349"/>
                    </a:cubicBezTo>
                    <a:lnTo>
                      <a:pt x="16802" y="8307"/>
                    </a:lnTo>
                    <a:lnTo>
                      <a:pt x="16782" y="8349"/>
                    </a:lnTo>
                    <a:cubicBezTo>
                      <a:pt x="16677" y="8370"/>
                      <a:pt x="16572" y="8370"/>
                      <a:pt x="16489" y="8390"/>
                    </a:cubicBezTo>
                    <a:lnTo>
                      <a:pt x="16593" y="8286"/>
                    </a:lnTo>
                    <a:lnTo>
                      <a:pt x="16551" y="8265"/>
                    </a:lnTo>
                    <a:lnTo>
                      <a:pt x="16468" y="8307"/>
                    </a:lnTo>
                    <a:lnTo>
                      <a:pt x="16384" y="8307"/>
                    </a:lnTo>
                    <a:lnTo>
                      <a:pt x="16342" y="8349"/>
                    </a:lnTo>
                    <a:lnTo>
                      <a:pt x="16363" y="8390"/>
                    </a:lnTo>
                    <a:lnTo>
                      <a:pt x="16300" y="8453"/>
                    </a:lnTo>
                    <a:lnTo>
                      <a:pt x="16196" y="8453"/>
                    </a:lnTo>
                    <a:lnTo>
                      <a:pt x="16258" y="8495"/>
                    </a:lnTo>
                    <a:lnTo>
                      <a:pt x="16384" y="8474"/>
                    </a:lnTo>
                    <a:lnTo>
                      <a:pt x="16447" y="8411"/>
                    </a:lnTo>
                    <a:cubicBezTo>
                      <a:pt x="16489" y="8411"/>
                      <a:pt x="16551" y="8411"/>
                      <a:pt x="16614" y="8390"/>
                    </a:cubicBezTo>
                    <a:lnTo>
                      <a:pt x="16614" y="8390"/>
                    </a:lnTo>
                    <a:lnTo>
                      <a:pt x="16593" y="8411"/>
                    </a:lnTo>
                    <a:lnTo>
                      <a:pt x="16677" y="8411"/>
                    </a:lnTo>
                    <a:lnTo>
                      <a:pt x="16719" y="8474"/>
                    </a:lnTo>
                    <a:lnTo>
                      <a:pt x="16802" y="8370"/>
                    </a:lnTo>
                    <a:cubicBezTo>
                      <a:pt x="16823" y="8370"/>
                      <a:pt x="16886" y="8349"/>
                      <a:pt x="16907" y="8349"/>
                    </a:cubicBezTo>
                    <a:lnTo>
                      <a:pt x="16907" y="8370"/>
                    </a:lnTo>
                    <a:lnTo>
                      <a:pt x="17012" y="8390"/>
                    </a:lnTo>
                    <a:lnTo>
                      <a:pt x="17200" y="8307"/>
                    </a:lnTo>
                    <a:lnTo>
                      <a:pt x="17242" y="8244"/>
                    </a:lnTo>
                    <a:lnTo>
                      <a:pt x="17200" y="8202"/>
                    </a:lnTo>
                    <a:lnTo>
                      <a:pt x="17033" y="8244"/>
                    </a:lnTo>
                    <a:lnTo>
                      <a:pt x="16991" y="8202"/>
                    </a:lnTo>
                    <a:close/>
                    <a:moveTo>
                      <a:pt x="16070" y="8411"/>
                    </a:moveTo>
                    <a:lnTo>
                      <a:pt x="16007" y="8443"/>
                    </a:lnTo>
                    <a:lnTo>
                      <a:pt x="16007" y="8443"/>
                    </a:lnTo>
                    <a:cubicBezTo>
                      <a:pt x="16026" y="8475"/>
                      <a:pt x="16037" y="8501"/>
                      <a:pt x="16036" y="8525"/>
                    </a:cubicBezTo>
                    <a:lnTo>
                      <a:pt x="16036" y="8525"/>
                    </a:lnTo>
                    <a:lnTo>
                      <a:pt x="16049" y="8474"/>
                    </a:lnTo>
                    <a:lnTo>
                      <a:pt x="16133" y="8453"/>
                    </a:lnTo>
                    <a:lnTo>
                      <a:pt x="16196" y="8453"/>
                    </a:lnTo>
                    <a:lnTo>
                      <a:pt x="16237" y="8411"/>
                    </a:lnTo>
                    <a:close/>
                    <a:moveTo>
                      <a:pt x="16036" y="8525"/>
                    </a:moveTo>
                    <a:lnTo>
                      <a:pt x="16028" y="8558"/>
                    </a:lnTo>
                    <a:cubicBezTo>
                      <a:pt x="16034" y="8547"/>
                      <a:pt x="16036" y="8536"/>
                      <a:pt x="16036" y="8525"/>
                    </a:cubicBezTo>
                    <a:close/>
                    <a:moveTo>
                      <a:pt x="105" y="0"/>
                    </a:moveTo>
                    <a:lnTo>
                      <a:pt x="22" y="42"/>
                    </a:lnTo>
                    <a:lnTo>
                      <a:pt x="1" y="105"/>
                    </a:lnTo>
                    <a:lnTo>
                      <a:pt x="22" y="251"/>
                    </a:lnTo>
                    <a:lnTo>
                      <a:pt x="168" y="565"/>
                    </a:lnTo>
                    <a:lnTo>
                      <a:pt x="252" y="628"/>
                    </a:lnTo>
                    <a:lnTo>
                      <a:pt x="524" y="879"/>
                    </a:lnTo>
                    <a:lnTo>
                      <a:pt x="587" y="879"/>
                    </a:lnTo>
                    <a:lnTo>
                      <a:pt x="754" y="1067"/>
                    </a:lnTo>
                    <a:lnTo>
                      <a:pt x="838" y="1088"/>
                    </a:lnTo>
                    <a:lnTo>
                      <a:pt x="900" y="1067"/>
                    </a:lnTo>
                    <a:lnTo>
                      <a:pt x="1089" y="1214"/>
                    </a:lnTo>
                    <a:lnTo>
                      <a:pt x="1298" y="1528"/>
                    </a:lnTo>
                    <a:lnTo>
                      <a:pt x="1507" y="1716"/>
                    </a:lnTo>
                    <a:lnTo>
                      <a:pt x="1570" y="1716"/>
                    </a:lnTo>
                    <a:lnTo>
                      <a:pt x="1570" y="1883"/>
                    </a:lnTo>
                    <a:lnTo>
                      <a:pt x="1612" y="1925"/>
                    </a:lnTo>
                    <a:lnTo>
                      <a:pt x="1633" y="2092"/>
                    </a:lnTo>
                    <a:lnTo>
                      <a:pt x="1716" y="2155"/>
                    </a:lnTo>
                    <a:lnTo>
                      <a:pt x="1842" y="2155"/>
                    </a:lnTo>
                    <a:lnTo>
                      <a:pt x="2009" y="2344"/>
                    </a:lnTo>
                    <a:lnTo>
                      <a:pt x="2093" y="2406"/>
                    </a:lnTo>
                    <a:lnTo>
                      <a:pt x="2156" y="2406"/>
                    </a:lnTo>
                    <a:lnTo>
                      <a:pt x="2198" y="2448"/>
                    </a:lnTo>
                    <a:lnTo>
                      <a:pt x="2135" y="2532"/>
                    </a:lnTo>
                    <a:lnTo>
                      <a:pt x="2219" y="2616"/>
                    </a:lnTo>
                    <a:lnTo>
                      <a:pt x="2261" y="2762"/>
                    </a:lnTo>
                    <a:lnTo>
                      <a:pt x="2261" y="2783"/>
                    </a:lnTo>
                    <a:lnTo>
                      <a:pt x="2365" y="3097"/>
                    </a:lnTo>
                    <a:lnTo>
                      <a:pt x="2428" y="3264"/>
                    </a:lnTo>
                    <a:lnTo>
                      <a:pt x="2574" y="3306"/>
                    </a:lnTo>
                    <a:lnTo>
                      <a:pt x="2763" y="3411"/>
                    </a:lnTo>
                    <a:lnTo>
                      <a:pt x="2763" y="3515"/>
                    </a:lnTo>
                    <a:lnTo>
                      <a:pt x="2888" y="3787"/>
                    </a:lnTo>
                    <a:lnTo>
                      <a:pt x="3035" y="3892"/>
                    </a:lnTo>
                    <a:lnTo>
                      <a:pt x="3056" y="4185"/>
                    </a:lnTo>
                    <a:lnTo>
                      <a:pt x="3265" y="4561"/>
                    </a:lnTo>
                    <a:lnTo>
                      <a:pt x="3265" y="4729"/>
                    </a:lnTo>
                    <a:lnTo>
                      <a:pt x="3307" y="4875"/>
                    </a:lnTo>
                    <a:lnTo>
                      <a:pt x="3516" y="5043"/>
                    </a:lnTo>
                    <a:lnTo>
                      <a:pt x="3725" y="5294"/>
                    </a:lnTo>
                    <a:lnTo>
                      <a:pt x="3788" y="5440"/>
                    </a:lnTo>
                    <a:lnTo>
                      <a:pt x="3934" y="5461"/>
                    </a:lnTo>
                    <a:lnTo>
                      <a:pt x="3997" y="5545"/>
                    </a:lnTo>
                    <a:lnTo>
                      <a:pt x="4123" y="5608"/>
                    </a:lnTo>
                    <a:lnTo>
                      <a:pt x="4144" y="5775"/>
                    </a:lnTo>
                    <a:lnTo>
                      <a:pt x="4290" y="5859"/>
                    </a:lnTo>
                    <a:lnTo>
                      <a:pt x="4437" y="6005"/>
                    </a:lnTo>
                    <a:lnTo>
                      <a:pt x="4709" y="6173"/>
                    </a:lnTo>
                    <a:lnTo>
                      <a:pt x="4750" y="6298"/>
                    </a:lnTo>
                    <a:lnTo>
                      <a:pt x="4918" y="6361"/>
                    </a:lnTo>
                    <a:lnTo>
                      <a:pt x="5253" y="6633"/>
                    </a:lnTo>
                    <a:lnTo>
                      <a:pt x="5274" y="6779"/>
                    </a:lnTo>
                    <a:lnTo>
                      <a:pt x="5357" y="6800"/>
                    </a:lnTo>
                    <a:lnTo>
                      <a:pt x="5441" y="6926"/>
                    </a:lnTo>
                    <a:lnTo>
                      <a:pt x="5483" y="6884"/>
                    </a:lnTo>
                    <a:lnTo>
                      <a:pt x="5483" y="6779"/>
                    </a:lnTo>
                    <a:lnTo>
                      <a:pt x="5462" y="6717"/>
                    </a:lnTo>
                    <a:lnTo>
                      <a:pt x="5462" y="6675"/>
                    </a:lnTo>
                    <a:lnTo>
                      <a:pt x="5566" y="6696"/>
                    </a:lnTo>
                    <a:lnTo>
                      <a:pt x="5797" y="6905"/>
                    </a:lnTo>
                    <a:lnTo>
                      <a:pt x="5859" y="6884"/>
                    </a:lnTo>
                    <a:lnTo>
                      <a:pt x="5859" y="6717"/>
                    </a:lnTo>
                    <a:lnTo>
                      <a:pt x="5901" y="6633"/>
                    </a:lnTo>
                    <a:lnTo>
                      <a:pt x="5985" y="6675"/>
                    </a:lnTo>
                    <a:cubicBezTo>
                      <a:pt x="5985" y="6696"/>
                      <a:pt x="6006" y="6696"/>
                      <a:pt x="6006" y="6717"/>
                    </a:cubicBezTo>
                    <a:lnTo>
                      <a:pt x="6090" y="6842"/>
                    </a:lnTo>
                    <a:lnTo>
                      <a:pt x="6110" y="6842"/>
                    </a:lnTo>
                    <a:cubicBezTo>
                      <a:pt x="6173" y="6905"/>
                      <a:pt x="6215" y="6989"/>
                      <a:pt x="6278" y="7030"/>
                    </a:cubicBezTo>
                    <a:lnTo>
                      <a:pt x="6236" y="7051"/>
                    </a:lnTo>
                    <a:lnTo>
                      <a:pt x="6236" y="7198"/>
                    </a:lnTo>
                    <a:lnTo>
                      <a:pt x="6194" y="7323"/>
                    </a:lnTo>
                    <a:lnTo>
                      <a:pt x="6069" y="7344"/>
                    </a:lnTo>
                    <a:lnTo>
                      <a:pt x="6069" y="7449"/>
                    </a:lnTo>
                    <a:lnTo>
                      <a:pt x="5985" y="7470"/>
                    </a:lnTo>
                    <a:lnTo>
                      <a:pt x="5922" y="7428"/>
                    </a:lnTo>
                    <a:lnTo>
                      <a:pt x="5880" y="7428"/>
                    </a:lnTo>
                    <a:lnTo>
                      <a:pt x="5880" y="7512"/>
                    </a:lnTo>
                    <a:lnTo>
                      <a:pt x="5964" y="7554"/>
                    </a:lnTo>
                    <a:lnTo>
                      <a:pt x="6194" y="7554"/>
                    </a:lnTo>
                    <a:lnTo>
                      <a:pt x="6320" y="7512"/>
                    </a:lnTo>
                    <a:lnTo>
                      <a:pt x="6382" y="7616"/>
                    </a:lnTo>
                    <a:lnTo>
                      <a:pt x="6445" y="7658"/>
                    </a:lnTo>
                    <a:lnTo>
                      <a:pt x="6529" y="7637"/>
                    </a:lnTo>
                    <a:lnTo>
                      <a:pt x="6613" y="7637"/>
                    </a:lnTo>
                    <a:lnTo>
                      <a:pt x="6550" y="7679"/>
                    </a:lnTo>
                    <a:lnTo>
                      <a:pt x="6466" y="7826"/>
                    </a:lnTo>
                    <a:lnTo>
                      <a:pt x="6529" y="7867"/>
                    </a:lnTo>
                    <a:lnTo>
                      <a:pt x="6696" y="7888"/>
                    </a:lnTo>
                    <a:lnTo>
                      <a:pt x="6822" y="7951"/>
                    </a:lnTo>
                    <a:lnTo>
                      <a:pt x="6926" y="7888"/>
                    </a:lnTo>
                    <a:lnTo>
                      <a:pt x="6989" y="7951"/>
                    </a:lnTo>
                    <a:lnTo>
                      <a:pt x="7178" y="7951"/>
                    </a:lnTo>
                    <a:lnTo>
                      <a:pt x="7366" y="8077"/>
                    </a:lnTo>
                    <a:lnTo>
                      <a:pt x="7638" y="8160"/>
                    </a:lnTo>
                    <a:lnTo>
                      <a:pt x="7743" y="8035"/>
                    </a:lnTo>
                    <a:lnTo>
                      <a:pt x="7805" y="8035"/>
                    </a:lnTo>
                    <a:lnTo>
                      <a:pt x="7889" y="8139"/>
                    </a:lnTo>
                    <a:lnTo>
                      <a:pt x="7994" y="8160"/>
                    </a:lnTo>
                    <a:lnTo>
                      <a:pt x="8077" y="8077"/>
                    </a:lnTo>
                    <a:lnTo>
                      <a:pt x="8140" y="8077"/>
                    </a:lnTo>
                    <a:lnTo>
                      <a:pt x="8287" y="8181"/>
                    </a:lnTo>
                    <a:lnTo>
                      <a:pt x="8454" y="8181"/>
                    </a:lnTo>
                    <a:lnTo>
                      <a:pt x="8747" y="8370"/>
                    </a:lnTo>
                    <a:lnTo>
                      <a:pt x="9061" y="8474"/>
                    </a:lnTo>
                    <a:lnTo>
                      <a:pt x="9186" y="8390"/>
                    </a:lnTo>
                    <a:lnTo>
                      <a:pt x="9395" y="8390"/>
                    </a:lnTo>
                    <a:lnTo>
                      <a:pt x="9521" y="8495"/>
                    </a:lnTo>
                    <a:lnTo>
                      <a:pt x="9647" y="8390"/>
                    </a:lnTo>
                    <a:lnTo>
                      <a:pt x="9793" y="8411"/>
                    </a:lnTo>
                    <a:lnTo>
                      <a:pt x="9960" y="8495"/>
                    </a:lnTo>
                    <a:lnTo>
                      <a:pt x="10149" y="8495"/>
                    </a:lnTo>
                    <a:lnTo>
                      <a:pt x="10295" y="8411"/>
                    </a:lnTo>
                    <a:lnTo>
                      <a:pt x="10379" y="8411"/>
                    </a:lnTo>
                    <a:lnTo>
                      <a:pt x="10483" y="8516"/>
                    </a:lnTo>
                    <a:lnTo>
                      <a:pt x="10609" y="8558"/>
                    </a:lnTo>
                    <a:lnTo>
                      <a:pt x="10776" y="8683"/>
                    </a:lnTo>
                    <a:lnTo>
                      <a:pt x="10902" y="8662"/>
                    </a:lnTo>
                    <a:lnTo>
                      <a:pt x="10986" y="8725"/>
                    </a:lnTo>
                    <a:lnTo>
                      <a:pt x="11048" y="8704"/>
                    </a:lnTo>
                    <a:lnTo>
                      <a:pt x="11028" y="8516"/>
                    </a:lnTo>
                    <a:lnTo>
                      <a:pt x="10965" y="8474"/>
                    </a:lnTo>
                    <a:lnTo>
                      <a:pt x="11007" y="8453"/>
                    </a:lnTo>
                    <a:cubicBezTo>
                      <a:pt x="11132" y="8453"/>
                      <a:pt x="11237" y="8474"/>
                      <a:pt x="11341" y="8495"/>
                    </a:cubicBezTo>
                    <a:lnTo>
                      <a:pt x="11467" y="8579"/>
                    </a:lnTo>
                    <a:lnTo>
                      <a:pt x="11488" y="8662"/>
                    </a:lnTo>
                    <a:lnTo>
                      <a:pt x="11551" y="8579"/>
                    </a:lnTo>
                    <a:lnTo>
                      <a:pt x="11634" y="8516"/>
                    </a:lnTo>
                    <a:cubicBezTo>
                      <a:pt x="11697" y="8579"/>
                      <a:pt x="11781" y="8600"/>
                      <a:pt x="11864" y="8621"/>
                    </a:cubicBezTo>
                    <a:lnTo>
                      <a:pt x="11844" y="8662"/>
                    </a:lnTo>
                    <a:lnTo>
                      <a:pt x="11864" y="8704"/>
                    </a:lnTo>
                    <a:lnTo>
                      <a:pt x="12053" y="8767"/>
                    </a:lnTo>
                    <a:lnTo>
                      <a:pt x="12157" y="8704"/>
                    </a:lnTo>
                    <a:lnTo>
                      <a:pt x="12220" y="8725"/>
                    </a:lnTo>
                    <a:lnTo>
                      <a:pt x="12220" y="8704"/>
                    </a:lnTo>
                    <a:cubicBezTo>
                      <a:pt x="12262" y="8725"/>
                      <a:pt x="12304" y="8725"/>
                      <a:pt x="12325" y="8767"/>
                    </a:cubicBezTo>
                    <a:lnTo>
                      <a:pt x="12388" y="8809"/>
                    </a:lnTo>
                    <a:lnTo>
                      <a:pt x="12492" y="8872"/>
                    </a:lnTo>
                    <a:lnTo>
                      <a:pt x="12597" y="8830"/>
                    </a:lnTo>
                    <a:lnTo>
                      <a:pt x="12680" y="8830"/>
                    </a:lnTo>
                    <a:lnTo>
                      <a:pt x="12722" y="8872"/>
                    </a:lnTo>
                    <a:lnTo>
                      <a:pt x="12848" y="8809"/>
                    </a:lnTo>
                    <a:lnTo>
                      <a:pt x="12911" y="8725"/>
                    </a:lnTo>
                    <a:lnTo>
                      <a:pt x="13015" y="8767"/>
                    </a:lnTo>
                    <a:lnTo>
                      <a:pt x="13141" y="8704"/>
                    </a:lnTo>
                    <a:lnTo>
                      <a:pt x="13245" y="8725"/>
                    </a:lnTo>
                    <a:lnTo>
                      <a:pt x="13371" y="8621"/>
                    </a:lnTo>
                    <a:lnTo>
                      <a:pt x="13413" y="8704"/>
                    </a:lnTo>
                    <a:lnTo>
                      <a:pt x="13517" y="8683"/>
                    </a:lnTo>
                    <a:lnTo>
                      <a:pt x="13664" y="8704"/>
                    </a:lnTo>
                    <a:lnTo>
                      <a:pt x="13580" y="8662"/>
                    </a:lnTo>
                    <a:lnTo>
                      <a:pt x="13894" y="8662"/>
                    </a:lnTo>
                    <a:lnTo>
                      <a:pt x="13936" y="8683"/>
                    </a:lnTo>
                    <a:lnTo>
                      <a:pt x="13936" y="8662"/>
                    </a:lnTo>
                    <a:lnTo>
                      <a:pt x="14166" y="8662"/>
                    </a:lnTo>
                    <a:lnTo>
                      <a:pt x="14250" y="8683"/>
                    </a:lnTo>
                    <a:lnTo>
                      <a:pt x="14313" y="8683"/>
                    </a:lnTo>
                    <a:lnTo>
                      <a:pt x="14396" y="8704"/>
                    </a:lnTo>
                    <a:lnTo>
                      <a:pt x="14480" y="8683"/>
                    </a:lnTo>
                    <a:lnTo>
                      <a:pt x="14564" y="8683"/>
                    </a:lnTo>
                    <a:lnTo>
                      <a:pt x="14626" y="8725"/>
                    </a:lnTo>
                    <a:lnTo>
                      <a:pt x="14731" y="8683"/>
                    </a:lnTo>
                    <a:lnTo>
                      <a:pt x="14794" y="8704"/>
                    </a:lnTo>
                    <a:lnTo>
                      <a:pt x="14877" y="8704"/>
                    </a:lnTo>
                    <a:lnTo>
                      <a:pt x="14898" y="8683"/>
                    </a:lnTo>
                    <a:lnTo>
                      <a:pt x="15024" y="8621"/>
                    </a:lnTo>
                    <a:lnTo>
                      <a:pt x="15212" y="8662"/>
                    </a:lnTo>
                    <a:lnTo>
                      <a:pt x="15359" y="8579"/>
                    </a:lnTo>
                    <a:lnTo>
                      <a:pt x="15547" y="8579"/>
                    </a:lnTo>
                    <a:lnTo>
                      <a:pt x="15631" y="8600"/>
                    </a:lnTo>
                    <a:lnTo>
                      <a:pt x="15652" y="8579"/>
                    </a:lnTo>
                    <a:cubicBezTo>
                      <a:pt x="15683" y="8589"/>
                      <a:pt x="15714" y="8594"/>
                      <a:pt x="15748" y="8594"/>
                    </a:cubicBezTo>
                    <a:cubicBezTo>
                      <a:pt x="15782" y="8594"/>
                      <a:pt x="15819" y="8589"/>
                      <a:pt x="15861" y="8579"/>
                    </a:cubicBezTo>
                    <a:cubicBezTo>
                      <a:pt x="15882" y="8579"/>
                      <a:pt x="15924" y="8558"/>
                      <a:pt x="15945" y="8516"/>
                    </a:cubicBezTo>
                    <a:lnTo>
                      <a:pt x="15986" y="8453"/>
                    </a:lnTo>
                    <a:lnTo>
                      <a:pt x="16007" y="8443"/>
                    </a:lnTo>
                    <a:lnTo>
                      <a:pt x="16007" y="8443"/>
                    </a:lnTo>
                    <a:cubicBezTo>
                      <a:pt x="16001" y="8433"/>
                      <a:pt x="15994" y="8423"/>
                      <a:pt x="15986" y="8411"/>
                    </a:cubicBezTo>
                    <a:lnTo>
                      <a:pt x="16049" y="8390"/>
                    </a:lnTo>
                    <a:lnTo>
                      <a:pt x="16091" y="8286"/>
                    </a:lnTo>
                    <a:lnTo>
                      <a:pt x="16091" y="8181"/>
                    </a:lnTo>
                    <a:lnTo>
                      <a:pt x="15965" y="8139"/>
                    </a:lnTo>
                    <a:lnTo>
                      <a:pt x="15861" y="8202"/>
                    </a:lnTo>
                    <a:lnTo>
                      <a:pt x="15924" y="8244"/>
                    </a:lnTo>
                    <a:lnTo>
                      <a:pt x="15840" y="8349"/>
                    </a:lnTo>
                    <a:lnTo>
                      <a:pt x="15735" y="8370"/>
                    </a:lnTo>
                    <a:lnTo>
                      <a:pt x="15714" y="8390"/>
                    </a:lnTo>
                    <a:lnTo>
                      <a:pt x="15673" y="8390"/>
                    </a:lnTo>
                    <a:cubicBezTo>
                      <a:pt x="15652" y="8390"/>
                      <a:pt x="15631" y="8411"/>
                      <a:pt x="15610" y="8453"/>
                    </a:cubicBezTo>
                    <a:lnTo>
                      <a:pt x="15526" y="8453"/>
                    </a:lnTo>
                    <a:lnTo>
                      <a:pt x="15442" y="8390"/>
                    </a:lnTo>
                    <a:lnTo>
                      <a:pt x="15296" y="8390"/>
                    </a:lnTo>
                    <a:lnTo>
                      <a:pt x="15149" y="8453"/>
                    </a:lnTo>
                    <a:lnTo>
                      <a:pt x="15003" y="8349"/>
                    </a:lnTo>
                    <a:lnTo>
                      <a:pt x="14836" y="8307"/>
                    </a:lnTo>
                    <a:lnTo>
                      <a:pt x="14773" y="8349"/>
                    </a:lnTo>
                    <a:lnTo>
                      <a:pt x="14626" y="8265"/>
                    </a:lnTo>
                    <a:lnTo>
                      <a:pt x="14354" y="8307"/>
                    </a:lnTo>
                    <a:lnTo>
                      <a:pt x="14166" y="8411"/>
                    </a:lnTo>
                    <a:lnTo>
                      <a:pt x="14166" y="8453"/>
                    </a:lnTo>
                    <a:lnTo>
                      <a:pt x="13999" y="8453"/>
                    </a:lnTo>
                    <a:lnTo>
                      <a:pt x="13894" y="8411"/>
                    </a:lnTo>
                    <a:lnTo>
                      <a:pt x="13894" y="8474"/>
                    </a:lnTo>
                    <a:cubicBezTo>
                      <a:pt x="13852" y="8474"/>
                      <a:pt x="13769" y="8474"/>
                      <a:pt x="13727" y="8495"/>
                    </a:cubicBezTo>
                    <a:lnTo>
                      <a:pt x="13685" y="8453"/>
                    </a:lnTo>
                    <a:lnTo>
                      <a:pt x="13685" y="8370"/>
                    </a:lnTo>
                    <a:lnTo>
                      <a:pt x="13559" y="8349"/>
                    </a:lnTo>
                    <a:lnTo>
                      <a:pt x="13580" y="8453"/>
                    </a:lnTo>
                    <a:lnTo>
                      <a:pt x="13538" y="8474"/>
                    </a:lnTo>
                    <a:lnTo>
                      <a:pt x="13538" y="8370"/>
                    </a:lnTo>
                    <a:lnTo>
                      <a:pt x="13434" y="8286"/>
                    </a:lnTo>
                    <a:lnTo>
                      <a:pt x="13329" y="8349"/>
                    </a:lnTo>
                    <a:lnTo>
                      <a:pt x="13224" y="8265"/>
                    </a:lnTo>
                    <a:lnTo>
                      <a:pt x="13120" y="8202"/>
                    </a:lnTo>
                    <a:lnTo>
                      <a:pt x="12994" y="8286"/>
                    </a:lnTo>
                    <a:lnTo>
                      <a:pt x="12994" y="8349"/>
                    </a:lnTo>
                    <a:lnTo>
                      <a:pt x="13224" y="8411"/>
                    </a:lnTo>
                    <a:lnTo>
                      <a:pt x="13308" y="8495"/>
                    </a:lnTo>
                    <a:lnTo>
                      <a:pt x="13162" y="8495"/>
                    </a:lnTo>
                    <a:lnTo>
                      <a:pt x="13162" y="8516"/>
                    </a:lnTo>
                    <a:lnTo>
                      <a:pt x="13099" y="8579"/>
                    </a:lnTo>
                    <a:lnTo>
                      <a:pt x="13057" y="8579"/>
                    </a:lnTo>
                    <a:cubicBezTo>
                      <a:pt x="13094" y="8560"/>
                      <a:pt x="13098" y="8492"/>
                      <a:pt x="13055" y="8492"/>
                    </a:cubicBezTo>
                    <a:cubicBezTo>
                      <a:pt x="13049" y="8492"/>
                      <a:pt x="13043" y="8493"/>
                      <a:pt x="13036" y="8495"/>
                    </a:cubicBezTo>
                    <a:lnTo>
                      <a:pt x="12952" y="8495"/>
                    </a:lnTo>
                    <a:lnTo>
                      <a:pt x="12932" y="8390"/>
                    </a:lnTo>
                    <a:lnTo>
                      <a:pt x="12848" y="8370"/>
                    </a:lnTo>
                    <a:lnTo>
                      <a:pt x="12743" y="8390"/>
                    </a:lnTo>
                    <a:lnTo>
                      <a:pt x="12639" y="8370"/>
                    </a:lnTo>
                    <a:lnTo>
                      <a:pt x="12492" y="8411"/>
                    </a:lnTo>
                    <a:lnTo>
                      <a:pt x="12408" y="8516"/>
                    </a:lnTo>
                    <a:lnTo>
                      <a:pt x="12388" y="8600"/>
                    </a:lnTo>
                    <a:lnTo>
                      <a:pt x="12283" y="8600"/>
                    </a:lnTo>
                    <a:lnTo>
                      <a:pt x="12283" y="8579"/>
                    </a:lnTo>
                    <a:lnTo>
                      <a:pt x="12283" y="8558"/>
                    </a:lnTo>
                    <a:lnTo>
                      <a:pt x="12304" y="8558"/>
                    </a:lnTo>
                    <a:cubicBezTo>
                      <a:pt x="12325" y="8558"/>
                      <a:pt x="12304" y="8516"/>
                      <a:pt x="12304" y="8516"/>
                    </a:cubicBezTo>
                    <a:lnTo>
                      <a:pt x="12325" y="8495"/>
                    </a:lnTo>
                    <a:lnTo>
                      <a:pt x="12367" y="8370"/>
                    </a:lnTo>
                    <a:lnTo>
                      <a:pt x="12178" y="8307"/>
                    </a:lnTo>
                    <a:lnTo>
                      <a:pt x="12053" y="8390"/>
                    </a:lnTo>
                    <a:lnTo>
                      <a:pt x="12011" y="8516"/>
                    </a:lnTo>
                    <a:cubicBezTo>
                      <a:pt x="11885" y="8495"/>
                      <a:pt x="11781" y="8474"/>
                      <a:pt x="11676" y="8453"/>
                    </a:cubicBezTo>
                    <a:lnTo>
                      <a:pt x="11781" y="8411"/>
                    </a:lnTo>
                    <a:lnTo>
                      <a:pt x="11802" y="8349"/>
                    </a:lnTo>
                    <a:lnTo>
                      <a:pt x="11676" y="8181"/>
                    </a:lnTo>
                    <a:lnTo>
                      <a:pt x="11530" y="8160"/>
                    </a:lnTo>
                    <a:lnTo>
                      <a:pt x="11362" y="8202"/>
                    </a:lnTo>
                    <a:lnTo>
                      <a:pt x="11237" y="8181"/>
                    </a:lnTo>
                    <a:lnTo>
                      <a:pt x="11111" y="8202"/>
                    </a:lnTo>
                    <a:lnTo>
                      <a:pt x="11111" y="8244"/>
                    </a:lnTo>
                    <a:cubicBezTo>
                      <a:pt x="11069" y="8244"/>
                      <a:pt x="11069" y="8244"/>
                      <a:pt x="11048" y="8202"/>
                    </a:cubicBezTo>
                    <a:lnTo>
                      <a:pt x="11069" y="8056"/>
                    </a:lnTo>
                    <a:lnTo>
                      <a:pt x="11028" y="7972"/>
                    </a:lnTo>
                    <a:lnTo>
                      <a:pt x="10923" y="7951"/>
                    </a:lnTo>
                    <a:lnTo>
                      <a:pt x="10902" y="7930"/>
                    </a:lnTo>
                    <a:lnTo>
                      <a:pt x="10797" y="7930"/>
                    </a:lnTo>
                    <a:lnTo>
                      <a:pt x="10714" y="7972"/>
                    </a:lnTo>
                    <a:lnTo>
                      <a:pt x="10609" y="7972"/>
                    </a:lnTo>
                    <a:lnTo>
                      <a:pt x="10525" y="7930"/>
                    </a:lnTo>
                    <a:lnTo>
                      <a:pt x="10400" y="7972"/>
                    </a:lnTo>
                    <a:lnTo>
                      <a:pt x="10274" y="7930"/>
                    </a:lnTo>
                    <a:lnTo>
                      <a:pt x="10191" y="7846"/>
                    </a:lnTo>
                    <a:lnTo>
                      <a:pt x="10191" y="7763"/>
                    </a:lnTo>
                    <a:lnTo>
                      <a:pt x="10086" y="7595"/>
                    </a:lnTo>
                    <a:lnTo>
                      <a:pt x="10086" y="7449"/>
                    </a:lnTo>
                    <a:lnTo>
                      <a:pt x="9939" y="7449"/>
                    </a:lnTo>
                    <a:lnTo>
                      <a:pt x="9856" y="7470"/>
                    </a:lnTo>
                    <a:lnTo>
                      <a:pt x="9772" y="7386"/>
                    </a:lnTo>
                    <a:lnTo>
                      <a:pt x="9667" y="7386"/>
                    </a:lnTo>
                    <a:lnTo>
                      <a:pt x="9542" y="7282"/>
                    </a:lnTo>
                    <a:lnTo>
                      <a:pt x="9458" y="7240"/>
                    </a:lnTo>
                    <a:lnTo>
                      <a:pt x="9354" y="7261"/>
                    </a:lnTo>
                    <a:lnTo>
                      <a:pt x="9270" y="7261"/>
                    </a:lnTo>
                    <a:lnTo>
                      <a:pt x="9144" y="7114"/>
                    </a:lnTo>
                    <a:lnTo>
                      <a:pt x="9040" y="7114"/>
                    </a:lnTo>
                    <a:lnTo>
                      <a:pt x="9019" y="7344"/>
                    </a:lnTo>
                    <a:lnTo>
                      <a:pt x="8935" y="7449"/>
                    </a:lnTo>
                    <a:lnTo>
                      <a:pt x="8684" y="7491"/>
                    </a:lnTo>
                    <a:lnTo>
                      <a:pt x="8370" y="7449"/>
                    </a:lnTo>
                    <a:lnTo>
                      <a:pt x="8015" y="7449"/>
                    </a:lnTo>
                    <a:lnTo>
                      <a:pt x="7805" y="7365"/>
                    </a:lnTo>
                    <a:lnTo>
                      <a:pt x="7763" y="7323"/>
                    </a:lnTo>
                    <a:lnTo>
                      <a:pt x="7784" y="7219"/>
                    </a:lnTo>
                    <a:lnTo>
                      <a:pt x="7701" y="7072"/>
                    </a:lnTo>
                    <a:lnTo>
                      <a:pt x="7450" y="7051"/>
                    </a:lnTo>
                    <a:lnTo>
                      <a:pt x="7240" y="7010"/>
                    </a:lnTo>
                    <a:lnTo>
                      <a:pt x="7136" y="6926"/>
                    </a:lnTo>
                    <a:lnTo>
                      <a:pt x="6947" y="6926"/>
                    </a:lnTo>
                    <a:lnTo>
                      <a:pt x="6906" y="6968"/>
                    </a:lnTo>
                    <a:lnTo>
                      <a:pt x="6843" y="7030"/>
                    </a:lnTo>
                    <a:lnTo>
                      <a:pt x="6759" y="6947"/>
                    </a:lnTo>
                    <a:lnTo>
                      <a:pt x="6592" y="6926"/>
                    </a:lnTo>
                    <a:lnTo>
                      <a:pt x="6487" y="6926"/>
                    </a:lnTo>
                    <a:cubicBezTo>
                      <a:pt x="6403" y="6842"/>
                      <a:pt x="6320" y="6758"/>
                      <a:pt x="6278" y="6654"/>
                    </a:cubicBezTo>
                    <a:lnTo>
                      <a:pt x="6278" y="6486"/>
                    </a:lnTo>
                    <a:lnTo>
                      <a:pt x="6320" y="6173"/>
                    </a:lnTo>
                    <a:lnTo>
                      <a:pt x="6278" y="5963"/>
                    </a:lnTo>
                    <a:lnTo>
                      <a:pt x="6382" y="5712"/>
                    </a:lnTo>
                    <a:lnTo>
                      <a:pt x="6320" y="5649"/>
                    </a:lnTo>
                    <a:lnTo>
                      <a:pt x="6320" y="5461"/>
                    </a:lnTo>
                    <a:lnTo>
                      <a:pt x="6424" y="5398"/>
                    </a:lnTo>
                    <a:lnTo>
                      <a:pt x="6487" y="5336"/>
                    </a:lnTo>
                    <a:lnTo>
                      <a:pt x="6445" y="5231"/>
                    </a:lnTo>
                    <a:lnTo>
                      <a:pt x="6382" y="5168"/>
                    </a:lnTo>
                    <a:lnTo>
                      <a:pt x="6278" y="5085"/>
                    </a:lnTo>
                    <a:lnTo>
                      <a:pt x="6215" y="4959"/>
                    </a:lnTo>
                    <a:lnTo>
                      <a:pt x="6131" y="4938"/>
                    </a:lnTo>
                    <a:lnTo>
                      <a:pt x="6110" y="4854"/>
                    </a:lnTo>
                    <a:lnTo>
                      <a:pt x="6006" y="4813"/>
                    </a:lnTo>
                    <a:lnTo>
                      <a:pt x="5818" y="4833"/>
                    </a:lnTo>
                    <a:lnTo>
                      <a:pt x="5713" y="4813"/>
                    </a:lnTo>
                    <a:lnTo>
                      <a:pt x="5692" y="4624"/>
                    </a:lnTo>
                    <a:lnTo>
                      <a:pt x="5608" y="4520"/>
                    </a:lnTo>
                    <a:lnTo>
                      <a:pt x="5546" y="4561"/>
                    </a:lnTo>
                    <a:lnTo>
                      <a:pt x="5587" y="4457"/>
                    </a:lnTo>
                    <a:lnTo>
                      <a:pt x="5483" y="4415"/>
                    </a:lnTo>
                    <a:lnTo>
                      <a:pt x="5462" y="4122"/>
                    </a:lnTo>
                    <a:lnTo>
                      <a:pt x="5336" y="4185"/>
                    </a:lnTo>
                    <a:lnTo>
                      <a:pt x="5274" y="4122"/>
                    </a:lnTo>
                    <a:lnTo>
                      <a:pt x="5043" y="4122"/>
                    </a:lnTo>
                    <a:lnTo>
                      <a:pt x="4855" y="3996"/>
                    </a:lnTo>
                    <a:lnTo>
                      <a:pt x="4855" y="3892"/>
                    </a:lnTo>
                    <a:lnTo>
                      <a:pt x="4960" y="3850"/>
                    </a:lnTo>
                    <a:lnTo>
                      <a:pt x="5085" y="3766"/>
                    </a:lnTo>
                    <a:lnTo>
                      <a:pt x="5002" y="3704"/>
                    </a:lnTo>
                    <a:lnTo>
                      <a:pt x="4876" y="3745"/>
                    </a:lnTo>
                    <a:lnTo>
                      <a:pt x="4813" y="3704"/>
                    </a:lnTo>
                    <a:lnTo>
                      <a:pt x="4667" y="3766"/>
                    </a:lnTo>
                    <a:lnTo>
                      <a:pt x="4750" y="3683"/>
                    </a:lnTo>
                    <a:lnTo>
                      <a:pt x="4876" y="3578"/>
                    </a:lnTo>
                    <a:lnTo>
                      <a:pt x="5064" y="3557"/>
                    </a:lnTo>
                    <a:lnTo>
                      <a:pt x="5043" y="3432"/>
                    </a:lnTo>
                    <a:lnTo>
                      <a:pt x="4855" y="3222"/>
                    </a:lnTo>
                    <a:lnTo>
                      <a:pt x="4750" y="3222"/>
                    </a:lnTo>
                    <a:lnTo>
                      <a:pt x="4625" y="3285"/>
                    </a:lnTo>
                    <a:lnTo>
                      <a:pt x="4478" y="3369"/>
                    </a:lnTo>
                    <a:lnTo>
                      <a:pt x="4332" y="3369"/>
                    </a:lnTo>
                    <a:lnTo>
                      <a:pt x="4416" y="3348"/>
                    </a:lnTo>
                    <a:lnTo>
                      <a:pt x="4457" y="3285"/>
                    </a:lnTo>
                    <a:lnTo>
                      <a:pt x="4520" y="3264"/>
                    </a:lnTo>
                    <a:lnTo>
                      <a:pt x="4562" y="3180"/>
                    </a:lnTo>
                    <a:lnTo>
                      <a:pt x="4541" y="3097"/>
                    </a:lnTo>
                    <a:lnTo>
                      <a:pt x="4416" y="3055"/>
                    </a:lnTo>
                    <a:lnTo>
                      <a:pt x="4206" y="3055"/>
                    </a:lnTo>
                    <a:lnTo>
                      <a:pt x="4081" y="2929"/>
                    </a:lnTo>
                    <a:lnTo>
                      <a:pt x="4081" y="2846"/>
                    </a:lnTo>
                    <a:lnTo>
                      <a:pt x="4039" y="2678"/>
                    </a:lnTo>
                    <a:lnTo>
                      <a:pt x="3809" y="2448"/>
                    </a:lnTo>
                    <a:lnTo>
                      <a:pt x="3725" y="2427"/>
                    </a:lnTo>
                    <a:lnTo>
                      <a:pt x="3662" y="2448"/>
                    </a:lnTo>
                    <a:lnTo>
                      <a:pt x="3558" y="2364"/>
                    </a:lnTo>
                    <a:lnTo>
                      <a:pt x="3516" y="2155"/>
                    </a:lnTo>
                    <a:lnTo>
                      <a:pt x="3369" y="2009"/>
                    </a:lnTo>
                    <a:lnTo>
                      <a:pt x="3160" y="1883"/>
                    </a:lnTo>
                    <a:lnTo>
                      <a:pt x="3035" y="1883"/>
                    </a:lnTo>
                    <a:lnTo>
                      <a:pt x="2993" y="1925"/>
                    </a:lnTo>
                    <a:lnTo>
                      <a:pt x="2930" y="1883"/>
                    </a:lnTo>
                    <a:lnTo>
                      <a:pt x="2888" y="1716"/>
                    </a:lnTo>
                    <a:lnTo>
                      <a:pt x="2825" y="1800"/>
                    </a:lnTo>
                    <a:lnTo>
                      <a:pt x="2763" y="1716"/>
                    </a:lnTo>
                    <a:lnTo>
                      <a:pt x="2763" y="1528"/>
                    </a:lnTo>
                    <a:lnTo>
                      <a:pt x="2658" y="1402"/>
                    </a:lnTo>
                    <a:lnTo>
                      <a:pt x="2533" y="1381"/>
                    </a:lnTo>
                    <a:lnTo>
                      <a:pt x="2470" y="1297"/>
                    </a:lnTo>
                    <a:lnTo>
                      <a:pt x="2135" y="1088"/>
                    </a:lnTo>
                    <a:lnTo>
                      <a:pt x="2030" y="1088"/>
                    </a:lnTo>
                    <a:lnTo>
                      <a:pt x="1905" y="942"/>
                    </a:lnTo>
                    <a:lnTo>
                      <a:pt x="1779" y="900"/>
                    </a:lnTo>
                    <a:lnTo>
                      <a:pt x="1737" y="837"/>
                    </a:lnTo>
                    <a:lnTo>
                      <a:pt x="1716" y="649"/>
                    </a:lnTo>
                    <a:lnTo>
                      <a:pt x="1612" y="586"/>
                    </a:lnTo>
                    <a:lnTo>
                      <a:pt x="1528" y="460"/>
                    </a:lnTo>
                    <a:lnTo>
                      <a:pt x="1486" y="439"/>
                    </a:lnTo>
                    <a:lnTo>
                      <a:pt x="1403" y="272"/>
                    </a:lnTo>
                    <a:lnTo>
                      <a:pt x="1277" y="230"/>
                    </a:lnTo>
                    <a:lnTo>
                      <a:pt x="1152" y="230"/>
                    </a:lnTo>
                    <a:lnTo>
                      <a:pt x="1068" y="251"/>
                    </a:lnTo>
                    <a:lnTo>
                      <a:pt x="1005" y="209"/>
                    </a:lnTo>
                    <a:lnTo>
                      <a:pt x="859" y="209"/>
                    </a:lnTo>
                    <a:lnTo>
                      <a:pt x="670" y="251"/>
                    </a:lnTo>
                    <a:lnTo>
                      <a:pt x="587" y="209"/>
                    </a:lnTo>
                    <a:lnTo>
                      <a:pt x="336" y="21"/>
                    </a:lnTo>
                    <a:lnTo>
                      <a:pt x="10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16" name="Google Shape;2016;p66"/>
            <p:cNvSpPr/>
            <p:nvPr/>
          </p:nvSpPr>
          <p:spPr>
            <a:xfrm>
              <a:off x="4437231" y="3100607"/>
              <a:ext cx="29912" cy="37370"/>
            </a:xfrm>
            <a:custGeom>
              <a:avLst/>
              <a:gdLst/>
              <a:ahLst/>
              <a:cxnLst/>
              <a:rect l="l" t="t" r="r" b="b"/>
              <a:pathLst>
                <a:path w="2512" h="3286" extrusionOk="0">
                  <a:moveTo>
                    <a:pt x="126" y="0"/>
                  </a:moveTo>
                  <a:lnTo>
                    <a:pt x="42" y="84"/>
                  </a:lnTo>
                  <a:lnTo>
                    <a:pt x="0" y="210"/>
                  </a:lnTo>
                  <a:lnTo>
                    <a:pt x="126" y="419"/>
                  </a:lnTo>
                  <a:lnTo>
                    <a:pt x="189" y="879"/>
                  </a:lnTo>
                  <a:lnTo>
                    <a:pt x="251" y="1047"/>
                  </a:lnTo>
                  <a:lnTo>
                    <a:pt x="314" y="1172"/>
                  </a:lnTo>
                  <a:lnTo>
                    <a:pt x="314" y="1360"/>
                  </a:lnTo>
                  <a:lnTo>
                    <a:pt x="251" y="1402"/>
                  </a:lnTo>
                  <a:lnTo>
                    <a:pt x="293" y="1507"/>
                  </a:lnTo>
                  <a:lnTo>
                    <a:pt x="356" y="1611"/>
                  </a:lnTo>
                  <a:lnTo>
                    <a:pt x="335" y="1674"/>
                  </a:lnTo>
                  <a:lnTo>
                    <a:pt x="419" y="1758"/>
                  </a:lnTo>
                  <a:lnTo>
                    <a:pt x="565" y="1863"/>
                  </a:lnTo>
                  <a:lnTo>
                    <a:pt x="649" y="2009"/>
                  </a:lnTo>
                  <a:lnTo>
                    <a:pt x="754" y="2072"/>
                  </a:lnTo>
                  <a:lnTo>
                    <a:pt x="837" y="2176"/>
                  </a:lnTo>
                  <a:lnTo>
                    <a:pt x="754" y="2281"/>
                  </a:lnTo>
                  <a:lnTo>
                    <a:pt x="733" y="2344"/>
                  </a:lnTo>
                  <a:lnTo>
                    <a:pt x="816" y="2407"/>
                  </a:lnTo>
                  <a:lnTo>
                    <a:pt x="1005" y="2490"/>
                  </a:lnTo>
                  <a:lnTo>
                    <a:pt x="1193" y="2616"/>
                  </a:lnTo>
                  <a:lnTo>
                    <a:pt x="1172" y="2720"/>
                  </a:lnTo>
                  <a:lnTo>
                    <a:pt x="1339" y="2867"/>
                  </a:lnTo>
                  <a:lnTo>
                    <a:pt x="1486" y="2867"/>
                  </a:lnTo>
                  <a:lnTo>
                    <a:pt x="1528" y="2909"/>
                  </a:lnTo>
                  <a:lnTo>
                    <a:pt x="1611" y="3013"/>
                  </a:lnTo>
                  <a:lnTo>
                    <a:pt x="1800" y="3118"/>
                  </a:lnTo>
                  <a:lnTo>
                    <a:pt x="1988" y="3139"/>
                  </a:lnTo>
                  <a:lnTo>
                    <a:pt x="2051" y="3223"/>
                  </a:lnTo>
                  <a:lnTo>
                    <a:pt x="2197" y="3264"/>
                  </a:lnTo>
                  <a:lnTo>
                    <a:pt x="2218" y="3244"/>
                  </a:lnTo>
                  <a:lnTo>
                    <a:pt x="2281" y="3285"/>
                  </a:lnTo>
                  <a:lnTo>
                    <a:pt x="2386" y="3223"/>
                  </a:lnTo>
                  <a:lnTo>
                    <a:pt x="2386" y="3181"/>
                  </a:lnTo>
                  <a:lnTo>
                    <a:pt x="2344" y="3181"/>
                  </a:lnTo>
                  <a:lnTo>
                    <a:pt x="2386" y="3118"/>
                  </a:lnTo>
                  <a:lnTo>
                    <a:pt x="2323" y="3076"/>
                  </a:lnTo>
                  <a:lnTo>
                    <a:pt x="2407" y="3118"/>
                  </a:lnTo>
                  <a:lnTo>
                    <a:pt x="2407" y="3181"/>
                  </a:lnTo>
                  <a:lnTo>
                    <a:pt x="2407" y="3223"/>
                  </a:lnTo>
                  <a:lnTo>
                    <a:pt x="2511" y="3244"/>
                  </a:lnTo>
                  <a:lnTo>
                    <a:pt x="2511" y="3118"/>
                  </a:lnTo>
                  <a:lnTo>
                    <a:pt x="2386" y="2846"/>
                  </a:lnTo>
                  <a:lnTo>
                    <a:pt x="2344" y="2846"/>
                  </a:lnTo>
                  <a:lnTo>
                    <a:pt x="2344" y="2804"/>
                  </a:lnTo>
                  <a:lnTo>
                    <a:pt x="2323" y="2762"/>
                  </a:lnTo>
                  <a:lnTo>
                    <a:pt x="2281" y="2741"/>
                  </a:lnTo>
                  <a:lnTo>
                    <a:pt x="2239" y="2553"/>
                  </a:lnTo>
                  <a:lnTo>
                    <a:pt x="2281" y="2511"/>
                  </a:lnTo>
                  <a:lnTo>
                    <a:pt x="2239" y="2448"/>
                  </a:lnTo>
                  <a:lnTo>
                    <a:pt x="2176" y="2448"/>
                  </a:lnTo>
                  <a:lnTo>
                    <a:pt x="2009" y="2344"/>
                  </a:lnTo>
                  <a:lnTo>
                    <a:pt x="1967" y="2197"/>
                  </a:lnTo>
                  <a:lnTo>
                    <a:pt x="1967" y="1904"/>
                  </a:lnTo>
                  <a:lnTo>
                    <a:pt x="1904" y="1821"/>
                  </a:lnTo>
                  <a:lnTo>
                    <a:pt x="1904" y="1716"/>
                  </a:lnTo>
                  <a:lnTo>
                    <a:pt x="1925" y="1674"/>
                  </a:lnTo>
                  <a:lnTo>
                    <a:pt x="1904" y="1381"/>
                  </a:lnTo>
                  <a:lnTo>
                    <a:pt x="1967" y="1339"/>
                  </a:lnTo>
                  <a:lnTo>
                    <a:pt x="1904" y="1088"/>
                  </a:lnTo>
                  <a:lnTo>
                    <a:pt x="1779" y="879"/>
                  </a:lnTo>
                  <a:lnTo>
                    <a:pt x="1360" y="461"/>
                  </a:lnTo>
                  <a:lnTo>
                    <a:pt x="1277" y="314"/>
                  </a:lnTo>
                  <a:lnTo>
                    <a:pt x="1235" y="335"/>
                  </a:lnTo>
                  <a:lnTo>
                    <a:pt x="1172" y="398"/>
                  </a:lnTo>
                  <a:lnTo>
                    <a:pt x="1088" y="398"/>
                  </a:lnTo>
                  <a:lnTo>
                    <a:pt x="1067" y="419"/>
                  </a:lnTo>
                  <a:lnTo>
                    <a:pt x="1067" y="523"/>
                  </a:lnTo>
                  <a:lnTo>
                    <a:pt x="984" y="565"/>
                  </a:lnTo>
                  <a:lnTo>
                    <a:pt x="921" y="523"/>
                  </a:lnTo>
                  <a:lnTo>
                    <a:pt x="816" y="523"/>
                  </a:lnTo>
                  <a:lnTo>
                    <a:pt x="670" y="628"/>
                  </a:lnTo>
                  <a:lnTo>
                    <a:pt x="523" y="607"/>
                  </a:lnTo>
                  <a:lnTo>
                    <a:pt x="523" y="523"/>
                  </a:lnTo>
                  <a:lnTo>
                    <a:pt x="607" y="440"/>
                  </a:lnTo>
                  <a:lnTo>
                    <a:pt x="607" y="251"/>
                  </a:lnTo>
                  <a:lnTo>
                    <a:pt x="544" y="189"/>
                  </a:lnTo>
                  <a:lnTo>
                    <a:pt x="419" y="189"/>
                  </a:lnTo>
                  <a:lnTo>
                    <a:pt x="398" y="126"/>
                  </a:lnTo>
                  <a:lnTo>
                    <a:pt x="231" y="84"/>
                  </a:lnTo>
                  <a:lnTo>
                    <a:pt x="12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7" name="Google Shape;2017;p66"/>
            <p:cNvSpPr/>
            <p:nvPr/>
          </p:nvSpPr>
          <p:spPr>
            <a:xfrm>
              <a:off x="4503746" y="3099174"/>
              <a:ext cx="65289" cy="42135"/>
            </a:xfrm>
            <a:custGeom>
              <a:avLst/>
              <a:gdLst/>
              <a:ahLst/>
              <a:cxnLst/>
              <a:rect l="l" t="t" r="r" b="b"/>
              <a:pathLst>
                <a:path w="5483" h="3705" extrusionOk="0">
                  <a:moveTo>
                    <a:pt x="4186" y="1"/>
                  </a:moveTo>
                  <a:lnTo>
                    <a:pt x="4144" y="22"/>
                  </a:lnTo>
                  <a:lnTo>
                    <a:pt x="4165" y="126"/>
                  </a:lnTo>
                  <a:lnTo>
                    <a:pt x="4039" y="252"/>
                  </a:lnTo>
                  <a:lnTo>
                    <a:pt x="3976" y="231"/>
                  </a:lnTo>
                  <a:lnTo>
                    <a:pt x="4039" y="126"/>
                  </a:lnTo>
                  <a:lnTo>
                    <a:pt x="4018" y="43"/>
                  </a:lnTo>
                  <a:lnTo>
                    <a:pt x="3935" y="43"/>
                  </a:lnTo>
                  <a:lnTo>
                    <a:pt x="3851" y="273"/>
                  </a:lnTo>
                  <a:lnTo>
                    <a:pt x="3767" y="315"/>
                  </a:lnTo>
                  <a:lnTo>
                    <a:pt x="3642" y="587"/>
                  </a:lnTo>
                  <a:lnTo>
                    <a:pt x="3642" y="754"/>
                  </a:lnTo>
                  <a:lnTo>
                    <a:pt x="3432" y="963"/>
                  </a:lnTo>
                  <a:lnTo>
                    <a:pt x="3328" y="963"/>
                  </a:lnTo>
                  <a:lnTo>
                    <a:pt x="3140" y="1005"/>
                  </a:lnTo>
                  <a:lnTo>
                    <a:pt x="3098" y="1089"/>
                  </a:lnTo>
                  <a:lnTo>
                    <a:pt x="3181" y="1089"/>
                  </a:lnTo>
                  <a:lnTo>
                    <a:pt x="3119" y="1152"/>
                  </a:lnTo>
                  <a:lnTo>
                    <a:pt x="3181" y="1173"/>
                  </a:lnTo>
                  <a:lnTo>
                    <a:pt x="3307" y="1152"/>
                  </a:lnTo>
                  <a:lnTo>
                    <a:pt x="3244" y="1214"/>
                  </a:lnTo>
                  <a:lnTo>
                    <a:pt x="3181" y="1277"/>
                  </a:lnTo>
                  <a:lnTo>
                    <a:pt x="3140" y="1298"/>
                  </a:lnTo>
                  <a:lnTo>
                    <a:pt x="3140" y="1319"/>
                  </a:lnTo>
                  <a:lnTo>
                    <a:pt x="3223" y="1528"/>
                  </a:lnTo>
                  <a:lnTo>
                    <a:pt x="3181" y="1633"/>
                  </a:lnTo>
                  <a:lnTo>
                    <a:pt x="3098" y="1591"/>
                  </a:lnTo>
                  <a:lnTo>
                    <a:pt x="3098" y="1465"/>
                  </a:lnTo>
                  <a:lnTo>
                    <a:pt x="3077" y="1361"/>
                  </a:lnTo>
                  <a:lnTo>
                    <a:pt x="3035" y="1361"/>
                  </a:lnTo>
                  <a:lnTo>
                    <a:pt x="3035" y="1319"/>
                  </a:lnTo>
                  <a:lnTo>
                    <a:pt x="2993" y="1319"/>
                  </a:lnTo>
                  <a:lnTo>
                    <a:pt x="2930" y="1424"/>
                  </a:lnTo>
                  <a:lnTo>
                    <a:pt x="2972" y="1675"/>
                  </a:lnTo>
                  <a:lnTo>
                    <a:pt x="2909" y="1717"/>
                  </a:lnTo>
                  <a:lnTo>
                    <a:pt x="2805" y="1612"/>
                  </a:lnTo>
                  <a:lnTo>
                    <a:pt x="2700" y="1465"/>
                  </a:lnTo>
                  <a:lnTo>
                    <a:pt x="2658" y="1465"/>
                  </a:lnTo>
                  <a:lnTo>
                    <a:pt x="2554" y="1403"/>
                  </a:lnTo>
                  <a:lnTo>
                    <a:pt x="2470" y="1507"/>
                  </a:lnTo>
                  <a:lnTo>
                    <a:pt x="2470" y="1633"/>
                  </a:lnTo>
                  <a:lnTo>
                    <a:pt x="2344" y="1779"/>
                  </a:lnTo>
                  <a:lnTo>
                    <a:pt x="2261" y="1884"/>
                  </a:lnTo>
                  <a:lnTo>
                    <a:pt x="2093" y="2030"/>
                  </a:lnTo>
                  <a:lnTo>
                    <a:pt x="2072" y="2135"/>
                  </a:lnTo>
                  <a:lnTo>
                    <a:pt x="1926" y="2323"/>
                  </a:lnTo>
                  <a:lnTo>
                    <a:pt x="1779" y="2449"/>
                  </a:lnTo>
                  <a:lnTo>
                    <a:pt x="1319" y="2554"/>
                  </a:lnTo>
                  <a:lnTo>
                    <a:pt x="1256" y="2574"/>
                  </a:lnTo>
                  <a:lnTo>
                    <a:pt x="1298" y="2742"/>
                  </a:lnTo>
                  <a:lnTo>
                    <a:pt x="1340" y="2784"/>
                  </a:lnTo>
                  <a:lnTo>
                    <a:pt x="1256" y="2763"/>
                  </a:lnTo>
                  <a:lnTo>
                    <a:pt x="1173" y="2826"/>
                  </a:lnTo>
                  <a:lnTo>
                    <a:pt x="1047" y="2846"/>
                  </a:lnTo>
                  <a:lnTo>
                    <a:pt x="984" y="2888"/>
                  </a:lnTo>
                  <a:lnTo>
                    <a:pt x="943" y="3035"/>
                  </a:lnTo>
                  <a:lnTo>
                    <a:pt x="943" y="3181"/>
                  </a:lnTo>
                  <a:lnTo>
                    <a:pt x="838" y="3349"/>
                  </a:lnTo>
                  <a:lnTo>
                    <a:pt x="838" y="3370"/>
                  </a:lnTo>
                  <a:lnTo>
                    <a:pt x="629" y="3349"/>
                  </a:lnTo>
                  <a:lnTo>
                    <a:pt x="399" y="3265"/>
                  </a:lnTo>
                  <a:lnTo>
                    <a:pt x="210" y="3265"/>
                  </a:lnTo>
                  <a:lnTo>
                    <a:pt x="168" y="3181"/>
                  </a:lnTo>
                  <a:lnTo>
                    <a:pt x="64" y="3056"/>
                  </a:lnTo>
                  <a:lnTo>
                    <a:pt x="1" y="3077"/>
                  </a:lnTo>
                  <a:lnTo>
                    <a:pt x="127" y="3286"/>
                  </a:lnTo>
                  <a:lnTo>
                    <a:pt x="315" y="3411"/>
                  </a:lnTo>
                  <a:lnTo>
                    <a:pt x="357" y="3474"/>
                  </a:lnTo>
                  <a:lnTo>
                    <a:pt x="482" y="3579"/>
                  </a:lnTo>
                  <a:lnTo>
                    <a:pt x="503" y="3683"/>
                  </a:lnTo>
                  <a:lnTo>
                    <a:pt x="608" y="3704"/>
                  </a:lnTo>
                  <a:lnTo>
                    <a:pt x="775" y="3662"/>
                  </a:lnTo>
                  <a:lnTo>
                    <a:pt x="796" y="3579"/>
                  </a:lnTo>
                  <a:lnTo>
                    <a:pt x="922" y="3600"/>
                  </a:lnTo>
                  <a:lnTo>
                    <a:pt x="1005" y="3558"/>
                  </a:lnTo>
                  <a:lnTo>
                    <a:pt x="1319" y="3579"/>
                  </a:lnTo>
                  <a:lnTo>
                    <a:pt x="1654" y="3453"/>
                  </a:lnTo>
                  <a:lnTo>
                    <a:pt x="1738" y="3370"/>
                  </a:lnTo>
                  <a:lnTo>
                    <a:pt x="2031" y="3370"/>
                  </a:lnTo>
                  <a:lnTo>
                    <a:pt x="2156" y="3411"/>
                  </a:lnTo>
                  <a:lnTo>
                    <a:pt x="2198" y="3495"/>
                  </a:lnTo>
                  <a:lnTo>
                    <a:pt x="2344" y="3495"/>
                  </a:lnTo>
                  <a:lnTo>
                    <a:pt x="2575" y="3370"/>
                  </a:lnTo>
                  <a:lnTo>
                    <a:pt x="2868" y="3307"/>
                  </a:lnTo>
                  <a:lnTo>
                    <a:pt x="2826" y="3244"/>
                  </a:lnTo>
                  <a:lnTo>
                    <a:pt x="3077" y="2888"/>
                  </a:lnTo>
                  <a:lnTo>
                    <a:pt x="3140" y="2637"/>
                  </a:lnTo>
                  <a:lnTo>
                    <a:pt x="3328" y="2365"/>
                  </a:lnTo>
                  <a:lnTo>
                    <a:pt x="3453" y="1926"/>
                  </a:lnTo>
                  <a:lnTo>
                    <a:pt x="3453" y="1842"/>
                  </a:lnTo>
                  <a:lnTo>
                    <a:pt x="3516" y="1737"/>
                  </a:lnTo>
                  <a:lnTo>
                    <a:pt x="3516" y="1675"/>
                  </a:lnTo>
                  <a:lnTo>
                    <a:pt x="3621" y="1528"/>
                  </a:lnTo>
                  <a:lnTo>
                    <a:pt x="3725" y="1570"/>
                  </a:lnTo>
                  <a:lnTo>
                    <a:pt x="4165" y="1570"/>
                  </a:lnTo>
                  <a:lnTo>
                    <a:pt x="4228" y="1612"/>
                  </a:lnTo>
                  <a:lnTo>
                    <a:pt x="4374" y="1612"/>
                  </a:lnTo>
                  <a:lnTo>
                    <a:pt x="4500" y="1633"/>
                  </a:lnTo>
                  <a:lnTo>
                    <a:pt x="4500" y="1591"/>
                  </a:lnTo>
                  <a:lnTo>
                    <a:pt x="4667" y="1675"/>
                  </a:lnTo>
                  <a:lnTo>
                    <a:pt x="4751" y="1696"/>
                  </a:lnTo>
                  <a:lnTo>
                    <a:pt x="4876" y="1633"/>
                  </a:lnTo>
                  <a:lnTo>
                    <a:pt x="5023" y="1612"/>
                  </a:lnTo>
                  <a:lnTo>
                    <a:pt x="5023" y="1528"/>
                  </a:lnTo>
                  <a:lnTo>
                    <a:pt x="4876" y="1403"/>
                  </a:lnTo>
                  <a:lnTo>
                    <a:pt x="4876" y="1277"/>
                  </a:lnTo>
                  <a:lnTo>
                    <a:pt x="4918" y="1214"/>
                  </a:lnTo>
                  <a:lnTo>
                    <a:pt x="5169" y="1256"/>
                  </a:lnTo>
                  <a:lnTo>
                    <a:pt x="5357" y="1193"/>
                  </a:lnTo>
                  <a:lnTo>
                    <a:pt x="5483" y="1089"/>
                  </a:lnTo>
                  <a:lnTo>
                    <a:pt x="5441" y="1005"/>
                  </a:lnTo>
                  <a:lnTo>
                    <a:pt x="5357" y="1005"/>
                  </a:lnTo>
                  <a:lnTo>
                    <a:pt x="5232" y="984"/>
                  </a:lnTo>
                  <a:lnTo>
                    <a:pt x="5127" y="880"/>
                  </a:lnTo>
                  <a:lnTo>
                    <a:pt x="5023" y="901"/>
                  </a:lnTo>
                  <a:lnTo>
                    <a:pt x="4897" y="775"/>
                  </a:lnTo>
                  <a:lnTo>
                    <a:pt x="4813" y="775"/>
                  </a:lnTo>
                  <a:lnTo>
                    <a:pt x="4709" y="859"/>
                  </a:lnTo>
                  <a:lnTo>
                    <a:pt x="4667" y="796"/>
                  </a:lnTo>
                  <a:lnTo>
                    <a:pt x="4792" y="691"/>
                  </a:lnTo>
                  <a:lnTo>
                    <a:pt x="4709" y="629"/>
                  </a:lnTo>
                  <a:lnTo>
                    <a:pt x="4688" y="649"/>
                  </a:lnTo>
                  <a:lnTo>
                    <a:pt x="4604" y="754"/>
                  </a:lnTo>
                  <a:lnTo>
                    <a:pt x="4562" y="670"/>
                  </a:lnTo>
                  <a:lnTo>
                    <a:pt x="4500" y="670"/>
                  </a:lnTo>
                  <a:lnTo>
                    <a:pt x="4500" y="482"/>
                  </a:lnTo>
                  <a:lnTo>
                    <a:pt x="4604" y="461"/>
                  </a:lnTo>
                  <a:lnTo>
                    <a:pt x="4604" y="377"/>
                  </a:lnTo>
                  <a:lnTo>
                    <a:pt x="4458" y="273"/>
                  </a:lnTo>
                  <a:lnTo>
                    <a:pt x="4437" y="336"/>
                  </a:lnTo>
                  <a:lnTo>
                    <a:pt x="4290" y="231"/>
                  </a:lnTo>
                  <a:lnTo>
                    <a:pt x="4290" y="64"/>
                  </a:lnTo>
                  <a:lnTo>
                    <a:pt x="418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8" name="Google Shape;2018;p66"/>
            <p:cNvSpPr/>
            <p:nvPr/>
          </p:nvSpPr>
          <p:spPr>
            <a:xfrm>
              <a:off x="4442708" y="2983061"/>
              <a:ext cx="56823" cy="104945"/>
            </a:xfrm>
            <a:custGeom>
              <a:avLst/>
              <a:gdLst/>
              <a:ahLst/>
              <a:cxnLst/>
              <a:rect l="l" t="t" r="r" b="b"/>
              <a:pathLst>
                <a:path w="4772" h="9228" extrusionOk="0">
                  <a:moveTo>
                    <a:pt x="1821" y="0"/>
                  </a:moveTo>
                  <a:lnTo>
                    <a:pt x="1737" y="84"/>
                  </a:lnTo>
                  <a:lnTo>
                    <a:pt x="1591" y="84"/>
                  </a:lnTo>
                  <a:lnTo>
                    <a:pt x="1465" y="126"/>
                  </a:lnTo>
                  <a:lnTo>
                    <a:pt x="1507" y="314"/>
                  </a:lnTo>
                  <a:lnTo>
                    <a:pt x="1298" y="398"/>
                  </a:lnTo>
                  <a:lnTo>
                    <a:pt x="1193" y="314"/>
                  </a:lnTo>
                  <a:lnTo>
                    <a:pt x="1026" y="377"/>
                  </a:lnTo>
                  <a:lnTo>
                    <a:pt x="1026" y="440"/>
                  </a:lnTo>
                  <a:lnTo>
                    <a:pt x="900" y="502"/>
                  </a:lnTo>
                  <a:lnTo>
                    <a:pt x="879" y="419"/>
                  </a:lnTo>
                  <a:lnTo>
                    <a:pt x="796" y="419"/>
                  </a:lnTo>
                  <a:lnTo>
                    <a:pt x="733" y="502"/>
                  </a:lnTo>
                  <a:lnTo>
                    <a:pt x="607" y="398"/>
                  </a:lnTo>
                  <a:lnTo>
                    <a:pt x="524" y="440"/>
                  </a:lnTo>
                  <a:lnTo>
                    <a:pt x="503" y="544"/>
                  </a:lnTo>
                  <a:lnTo>
                    <a:pt x="419" y="544"/>
                  </a:lnTo>
                  <a:lnTo>
                    <a:pt x="377" y="523"/>
                  </a:lnTo>
                  <a:lnTo>
                    <a:pt x="398" y="440"/>
                  </a:lnTo>
                  <a:lnTo>
                    <a:pt x="315" y="419"/>
                  </a:lnTo>
                  <a:lnTo>
                    <a:pt x="189" y="481"/>
                  </a:lnTo>
                  <a:lnTo>
                    <a:pt x="147" y="523"/>
                  </a:lnTo>
                  <a:lnTo>
                    <a:pt x="105" y="586"/>
                  </a:lnTo>
                  <a:lnTo>
                    <a:pt x="63" y="607"/>
                  </a:lnTo>
                  <a:lnTo>
                    <a:pt x="1" y="628"/>
                  </a:lnTo>
                  <a:lnTo>
                    <a:pt x="63" y="712"/>
                  </a:lnTo>
                  <a:lnTo>
                    <a:pt x="252" y="795"/>
                  </a:lnTo>
                  <a:lnTo>
                    <a:pt x="356" y="942"/>
                  </a:lnTo>
                  <a:lnTo>
                    <a:pt x="461" y="1025"/>
                  </a:lnTo>
                  <a:lnTo>
                    <a:pt x="482" y="1151"/>
                  </a:lnTo>
                  <a:lnTo>
                    <a:pt x="419" y="1235"/>
                  </a:lnTo>
                  <a:lnTo>
                    <a:pt x="628" y="1423"/>
                  </a:lnTo>
                  <a:lnTo>
                    <a:pt x="733" y="1632"/>
                  </a:lnTo>
                  <a:lnTo>
                    <a:pt x="984" y="1632"/>
                  </a:lnTo>
                  <a:lnTo>
                    <a:pt x="1131" y="1674"/>
                  </a:lnTo>
                  <a:lnTo>
                    <a:pt x="1256" y="1590"/>
                  </a:lnTo>
                  <a:lnTo>
                    <a:pt x="1423" y="1590"/>
                  </a:lnTo>
                  <a:lnTo>
                    <a:pt x="1507" y="1695"/>
                  </a:lnTo>
                  <a:lnTo>
                    <a:pt x="1654" y="1737"/>
                  </a:lnTo>
                  <a:lnTo>
                    <a:pt x="1675" y="1841"/>
                  </a:lnTo>
                  <a:lnTo>
                    <a:pt x="1654" y="1946"/>
                  </a:lnTo>
                  <a:lnTo>
                    <a:pt x="1842" y="1988"/>
                  </a:lnTo>
                  <a:lnTo>
                    <a:pt x="1842" y="2072"/>
                  </a:lnTo>
                  <a:lnTo>
                    <a:pt x="1758" y="2092"/>
                  </a:lnTo>
                  <a:lnTo>
                    <a:pt x="1675" y="2302"/>
                  </a:lnTo>
                  <a:lnTo>
                    <a:pt x="1633" y="2385"/>
                  </a:lnTo>
                  <a:lnTo>
                    <a:pt x="1507" y="2385"/>
                  </a:lnTo>
                  <a:lnTo>
                    <a:pt x="1340" y="2469"/>
                  </a:lnTo>
                  <a:lnTo>
                    <a:pt x="1256" y="2469"/>
                  </a:lnTo>
                  <a:lnTo>
                    <a:pt x="1256" y="2532"/>
                  </a:lnTo>
                  <a:lnTo>
                    <a:pt x="1403" y="2699"/>
                  </a:lnTo>
                  <a:lnTo>
                    <a:pt x="1319" y="2783"/>
                  </a:lnTo>
                  <a:lnTo>
                    <a:pt x="1340" y="2846"/>
                  </a:lnTo>
                  <a:lnTo>
                    <a:pt x="1423" y="2846"/>
                  </a:lnTo>
                  <a:lnTo>
                    <a:pt x="1507" y="3013"/>
                  </a:lnTo>
                  <a:lnTo>
                    <a:pt x="1675" y="3013"/>
                  </a:lnTo>
                  <a:lnTo>
                    <a:pt x="1863" y="3118"/>
                  </a:lnTo>
                  <a:lnTo>
                    <a:pt x="1968" y="3118"/>
                  </a:lnTo>
                  <a:lnTo>
                    <a:pt x="2114" y="3327"/>
                  </a:lnTo>
                  <a:lnTo>
                    <a:pt x="2281" y="3411"/>
                  </a:lnTo>
                  <a:lnTo>
                    <a:pt x="2407" y="3557"/>
                  </a:lnTo>
                  <a:lnTo>
                    <a:pt x="2386" y="3641"/>
                  </a:lnTo>
                  <a:lnTo>
                    <a:pt x="2574" y="3850"/>
                  </a:lnTo>
                  <a:lnTo>
                    <a:pt x="2616" y="3976"/>
                  </a:lnTo>
                  <a:lnTo>
                    <a:pt x="2700" y="4038"/>
                  </a:lnTo>
                  <a:lnTo>
                    <a:pt x="2825" y="4038"/>
                  </a:lnTo>
                  <a:lnTo>
                    <a:pt x="2909" y="4143"/>
                  </a:lnTo>
                  <a:lnTo>
                    <a:pt x="2909" y="4206"/>
                  </a:lnTo>
                  <a:lnTo>
                    <a:pt x="2993" y="4289"/>
                  </a:lnTo>
                  <a:lnTo>
                    <a:pt x="3035" y="4289"/>
                  </a:lnTo>
                  <a:lnTo>
                    <a:pt x="3118" y="4310"/>
                  </a:lnTo>
                  <a:lnTo>
                    <a:pt x="3097" y="4415"/>
                  </a:lnTo>
                  <a:lnTo>
                    <a:pt x="3139" y="4478"/>
                  </a:lnTo>
                  <a:lnTo>
                    <a:pt x="3286" y="4478"/>
                  </a:lnTo>
                  <a:lnTo>
                    <a:pt x="3348" y="4582"/>
                  </a:lnTo>
                  <a:lnTo>
                    <a:pt x="3411" y="4603"/>
                  </a:lnTo>
                  <a:lnTo>
                    <a:pt x="3516" y="4561"/>
                  </a:lnTo>
                  <a:lnTo>
                    <a:pt x="3558" y="4624"/>
                  </a:lnTo>
                  <a:lnTo>
                    <a:pt x="3495" y="4708"/>
                  </a:lnTo>
                  <a:lnTo>
                    <a:pt x="3453" y="4875"/>
                  </a:lnTo>
                  <a:lnTo>
                    <a:pt x="3516" y="4938"/>
                  </a:lnTo>
                  <a:lnTo>
                    <a:pt x="3600" y="4938"/>
                  </a:lnTo>
                  <a:lnTo>
                    <a:pt x="3600" y="5105"/>
                  </a:lnTo>
                  <a:lnTo>
                    <a:pt x="3432" y="5231"/>
                  </a:lnTo>
                  <a:lnTo>
                    <a:pt x="3453" y="5357"/>
                  </a:lnTo>
                  <a:lnTo>
                    <a:pt x="3495" y="5440"/>
                  </a:lnTo>
                  <a:lnTo>
                    <a:pt x="3516" y="5629"/>
                  </a:lnTo>
                  <a:lnTo>
                    <a:pt x="3411" y="5670"/>
                  </a:lnTo>
                  <a:lnTo>
                    <a:pt x="3390" y="5670"/>
                  </a:lnTo>
                  <a:lnTo>
                    <a:pt x="3453" y="5859"/>
                  </a:lnTo>
                  <a:lnTo>
                    <a:pt x="3558" y="5921"/>
                  </a:lnTo>
                  <a:lnTo>
                    <a:pt x="3662" y="6152"/>
                  </a:lnTo>
                  <a:lnTo>
                    <a:pt x="3641" y="6340"/>
                  </a:lnTo>
                  <a:lnTo>
                    <a:pt x="3662" y="6445"/>
                  </a:lnTo>
                  <a:lnTo>
                    <a:pt x="3641" y="6591"/>
                  </a:lnTo>
                  <a:lnTo>
                    <a:pt x="3662" y="6717"/>
                  </a:lnTo>
                  <a:lnTo>
                    <a:pt x="3558" y="6905"/>
                  </a:lnTo>
                  <a:lnTo>
                    <a:pt x="3495" y="6926"/>
                  </a:lnTo>
                  <a:lnTo>
                    <a:pt x="3453" y="7010"/>
                  </a:lnTo>
                  <a:lnTo>
                    <a:pt x="3307" y="7072"/>
                  </a:lnTo>
                  <a:lnTo>
                    <a:pt x="3139" y="7177"/>
                  </a:lnTo>
                  <a:lnTo>
                    <a:pt x="3076" y="7282"/>
                  </a:lnTo>
                  <a:lnTo>
                    <a:pt x="2867" y="7282"/>
                  </a:lnTo>
                  <a:lnTo>
                    <a:pt x="2763" y="7344"/>
                  </a:lnTo>
                  <a:lnTo>
                    <a:pt x="2784" y="7554"/>
                  </a:lnTo>
                  <a:lnTo>
                    <a:pt x="2909" y="7595"/>
                  </a:lnTo>
                  <a:lnTo>
                    <a:pt x="3014" y="7700"/>
                  </a:lnTo>
                  <a:lnTo>
                    <a:pt x="2993" y="7763"/>
                  </a:lnTo>
                  <a:lnTo>
                    <a:pt x="3035" y="7909"/>
                  </a:lnTo>
                  <a:lnTo>
                    <a:pt x="2867" y="7909"/>
                  </a:lnTo>
                  <a:lnTo>
                    <a:pt x="2825" y="7826"/>
                  </a:lnTo>
                  <a:lnTo>
                    <a:pt x="2721" y="7763"/>
                  </a:lnTo>
                  <a:lnTo>
                    <a:pt x="2449" y="7826"/>
                  </a:lnTo>
                  <a:lnTo>
                    <a:pt x="2386" y="7805"/>
                  </a:lnTo>
                  <a:lnTo>
                    <a:pt x="2260" y="7805"/>
                  </a:lnTo>
                  <a:lnTo>
                    <a:pt x="2198" y="7951"/>
                  </a:lnTo>
                  <a:lnTo>
                    <a:pt x="2072" y="7972"/>
                  </a:lnTo>
                  <a:lnTo>
                    <a:pt x="1968" y="8118"/>
                  </a:lnTo>
                  <a:lnTo>
                    <a:pt x="1988" y="8139"/>
                  </a:lnTo>
                  <a:lnTo>
                    <a:pt x="1988" y="8244"/>
                  </a:lnTo>
                  <a:lnTo>
                    <a:pt x="1988" y="8265"/>
                  </a:lnTo>
                  <a:lnTo>
                    <a:pt x="2093" y="8286"/>
                  </a:lnTo>
                  <a:lnTo>
                    <a:pt x="2156" y="8265"/>
                  </a:lnTo>
                  <a:lnTo>
                    <a:pt x="2198" y="8286"/>
                  </a:lnTo>
                  <a:lnTo>
                    <a:pt x="2281" y="8265"/>
                  </a:lnTo>
                  <a:lnTo>
                    <a:pt x="2407" y="8286"/>
                  </a:lnTo>
                  <a:lnTo>
                    <a:pt x="2491" y="8265"/>
                  </a:lnTo>
                  <a:lnTo>
                    <a:pt x="2449" y="8328"/>
                  </a:lnTo>
                  <a:lnTo>
                    <a:pt x="2281" y="8453"/>
                  </a:lnTo>
                  <a:lnTo>
                    <a:pt x="2198" y="8579"/>
                  </a:lnTo>
                  <a:lnTo>
                    <a:pt x="2198" y="8767"/>
                  </a:lnTo>
                  <a:lnTo>
                    <a:pt x="2177" y="8851"/>
                  </a:lnTo>
                  <a:lnTo>
                    <a:pt x="2240" y="8851"/>
                  </a:lnTo>
                  <a:lnTo>
                    <a:pt x="2198" y="8872"/>
                  </a:lnTo>
                  <a:lnTo>
                    <a:pt x="2198" y="9018"/>
                  </a:lnTo>
                  <a:lnTo>
                    <a:pt x="2281" y="9081"/>
                  </a:lnTo>
                  <a:lnTo>
                    <a:pt x="2344" y="9060"/>
                  </a:lnTo>
                  <a:lnTo>
                    <a:pt x="2344" y="9060"/>
                  </a:lnTo>
                  <a:lnTo>
                    <a:pt x="2281" y="9123"/>
                  </a:lnTo>
                  <a:lnTo>
                    <a:pt x="2177" y="9165"/>
                  </a:lnTo>
                  <a:lnTo>
                    <a:pt x="2072" y="9227"/>
                  </a:lnTo>
                  <a:lnTo>
                    <a:pt x="2240" y="9227"/>
                  </a:lnTo>
                  <a:lnTo>
                    <a:pt x="2470" y="9123"/>
                  </a:lnTo>
                  <a:lnTo>
                    <a:pt x="2470" y="9102"/>
                  </a:lnTo>
                  <a:lnTo>
                    <a:pt x="2491" y="9102"/>
                  </a:lnTo>
                  <a:lnTo>
                    <a:pt x="2574" y="9018"/>
                  </a:lnTo>
                  <a:lnTo>
                    <a:pt x="2595" y="8914"/>
                  </a:lnTo>
                  <a:lnTo>
                    <a:pt x="2616" y="8851"/>
                  </a:lnTo>
                  <a:lnTo>
                    <a:pt x="2700" y="8872"/>
                  </a:lnTo>
                  <a:lnTo>
                    <a:pt x="2721" y="8851"/>
                  </a:lnTo>
                  <a:lnTo>
                    <a:pt x="2867" y="8746"/>
                  </a:lnTo>
                  <a:lnTo>
                    <a:pt x="2909" y="8746"/>
                  </a:lnTo>
                  <a:lnTo>
                    <a:pt x="2930" y="8683"/>
                  </a:lnTo>
                  <a:lnTo>
                    <a:pt x="2993" y="8662"/>
                  </a:lnTo>
                  <a:lnTo>
                    <a:pt x="2972" y="8600"/>
                  </a:lnTo>
                  <a:lnTo>
                    <a:pt x="2972" y="8579"/>
                  </a:lnTo>
                  <a:lnTo>
                    <a:pt x="2930" y="8495"/>
                  </a:lnTo>
                  <a:lnTo>
                    <a:pt x="2993" y="8495"/>
                  </a:lnTo>
                  <a:lnTo>
                    <a:pt x="3035" y="8558"/>
                  </a:lnTo>
                  <a:lnTo>
                    <a:pt x="3097" y="8579"/>
                  </a:lnTo>
                  <a:lnTo>
                    <a:pt x="3139" y="8537"/>
                  </a:lnTo>
                  <a:lnTo>
                    <a:pt x="3139" y="8453"/>
                  </a:lnTo>
                  <a:lnTo>
                    <a:pt x="3035" y="8349"/>
                  </a:lnTo>
                  <a:lnTo>
                    <a:pt x="3160" y="8453"/>
                  </a:lnTo>
                  <a:lnTo>
                    <a:pt x="3244" y="8390"/>
                  </a:lnTo>
                  <a:lnTo>
                    <a:pt x="3223" y="8286"/>
                  </a:lnTo>
                  <a:lnTo>
                    <a:pt x="3244" y="8244"/>
                  </a:lnTo>
                  <a:lnTo>
                    <a:pt x="3097" y="8181"/>
                  </a:lnTo>
                  <a:lnTo>
                    <a:pt x="3160" y="8181"/>
                  </a:lnTo>
                  <a:lnTo>
                    <a:pt x="3223" y="8160"/>
                  </a:lnTo>
                  <a:lnTo>
                    <a:pt x="3223" y="8139"/>
                  </a:lnTo>
                  <a:lnTo>
                    <a:pt x="3139" y="8077"/>
                  </a:lnTo>
                  <a:lnTo>
                    <a:pt x="3244" y="8118"/>
                  </a:lnTo>
                  <a:lnTo>
                    <a:pt x="3286" y="8077"/>
                  </a:lnTo>
                  <a:lnTo>
                    <a:pt x="3307" y="8014"/>
                  </a:lnTo>
                  <a:lnTo>
                    <a:pt x="3307" y="8077"/>
                  </a:lnTo>
                  <a:lnTo>
                    <a:pt x="3286" y="8160"/>
                  </a:lnTo>
                  <a:lnTo>
                    <a:pt x="3307" y="8160"/>
                  </a:lnTo>
                  <a:lnTo>
                    <a:pt x="3411" y="8139"/>
                  </a:lnTo>
                  <a:lnTo>
                    <a:pt x="3495" y="8181"/>
                  </a:lnTo>
                  <a:lnTo>
                    <a:pt x="3620" y="8160"/>
                  </a:lnTo>
                  <a:lnTo>
                    <a:pt x="3872" y="8014"/>
                  </a:lnTo>
                  <a:lnTo>
                    <a:pt x="3955" y="7951"/>
                  </a:lnTo>
                  <a:lnTo>
                    <a:pt x="4060" y="7951"/>
                  </a:lnTo>
                  <a:lnTo>
                    <a:pt x="4060" y="7846"/>
                  </a:lnTo>
                  <a:lnTo>
                    <a:pt x="4164" y="7763"/>
                  </a:lnTo>
                  <a:lnTo>
                    <a:pt x="4269" y="7721"/>
                  </a:lnTo>
                  <a:lnTo>
                    <a:pt x="4395" y="7595"/>
                  </a:lnTo>
                  <a:lnTo>
                    <a:pt x="4457" y="7554"/>
                  </a:lnTo>
                  <a:lnTo>
                    <a:pt x="4478" y="7428"/>
                  </a:lnTo>
                  <a:lnTo>
                    <a:pt x="4541" y="7407"/>
                  </a:lnTo>
                  <a:lnTo>
                    <a:pt x="4604" y="7323"/>
                  </a:lnTo>
                  <a:lnTo>
                    <a:pt x="4583" y="7282"/>
                  </a:lnTo>
                  <a:lnTo>
                    <a:pt x="4604" y="7177"/>
                  </a:lnTo>
                  <a:lnTo>
                    <a:pt x="4541" y="7072"/>
                  </a:lnTo>
                  <a:lnTo>
                    <a:pt x="4646" y="6989"/>
                  </a:lnTo>
                  <a:lnTo>
                    <a:pt x="4646" y="6905"/>
                  </a:lnTo>
                  <a:lnTo>
                    <a:pt x="4688" y="6884"/>
                  </a:lnTo>
                  <a:lnTo>
                    <a:pt x="4688" y="6821"/>
                  </a:lnTo>
                  <a:lnTo>
                    <a:pt x="4646" y="6758"/>
                  </a:lnTo>
                  <a:lnTo>
                    <a:pt x="4646" y="6675"/>
                  </a:lnTo>
                  <a:lnTo>
                    <a:pt x="4688" y="6654"/>
                  </a:lnTo>
                  <a:lnTo>
                    <a:pt x="4709" y="6696"/>
                  </a:lnTo>
                  <a:lnTo>
                    <a:pt x="4709" y="6717"/>
                  </a:lnTo>
                  <a:lnTo>
                    <a:pt x="4729" y="6717"/>
                  </a:lnTo>
                  <a:lnTo>
                    <a:pt x="4771" y="6654"/>
                  </a:lnTo>
                  <a:lnTo>
                    <a:pt x="4688" y="6507"/>
                  </a:lnTo>
                  <a:lnTo>
                    <a:pt x="4667" y="6445"/>
                  </a:lnTo>
                  <a:lnTo>
                    <a:pt x="4604" y="6403"/>
                  </a:lnTo>
                  <a:lnTo>
                    <a:pt x="4604" y="6361"/>
                  </a:lnTo>
                  <a:lnTo>
                    <a:pt x="4583" y="6194"/>
                  </a:lnTo>
                  <a:lnTo>
                    <a:pt x="4604" y="6173"/>
                  </a:lnTo>
                  <a:lnTo>
                    <a:pt x="4562" y="6068"/>
                  </a:lnTo>
                  <a:lnTo>
                    <a:pt x="4583" y="6026"/>
                  </a:lnTo>
                  <a:lnTo>
                    <a:pt x="4583" y="5921"/>
                  </a:lnTo>
                  <a:lnTo>
                    <a:pt x="4541" y="5859"/>
                  </a:lnTo>
                  <a:lnTo>
                    <a:pt x="4499" y="5670"/>
                  </a:lnTo>
                  <a:lnTo>
                    <a:pt x="4457" y="5649"/>
                  </a:lnTo>
                  <a:lnTo>
                    <a:pt x="4437" y="5440"/>
                  </a:lnTo>
                  <a:lnTo>
                    <a:pt x="4332" y="5315"/>
                  </a:lnTo>
                  <a:lnTo>
                    <a:pt x="4353" y="5252"/>
                  </a:lnTo>
                  <a:lnTo>
                    <a:pt x="4332" y="5210"/>
                  </a:lnTo>
                  <a:lnTo>
                    <a:pt x="4332" y="5147"/>
                  </a:lnTo>
                  <a:lnTo>
                    <a:pt x="4185" y="5022"/>
                  </a:lnTo>
                  <a:lnTo>
                    <a:pt x="4185" y="4938"/>
                  </a:lnTo>
                  <a:lnTo>
                    <a:pt x="4164" y="4938"/>
                  </a:lnTo>
                  <a:lnTo>
                    <a:pt x="4144" y="4833"/>
                  </a:lnTo>
                  <a:lnTo>
                    <a:pt x="4060" y="4708"/>
                  </a:lnTo>
                  <a:lnTo>
                    <a:pt x="3809" y="4499"/>
                  </a:lnTo>
                  <a:lnTo>
                    <a:pt x="3746" y="4394"/>
                  </a:lnTo>
                  <a:lnTo>
                    <a:pt x="3453" y="4185"/>
                  </a:lnTo>
                  <a:lnTo>
                    <a:pt x="3139" y="4038"/>
                  </a:lnTo>
                  <a:lnTo>
                    <a:pt x="3139" y="3976"/>
                  </a:lnTo>
                  <a:lnTo>
                    <a:pt x="3014" y="3934"/>
                  </a:lnTo>
                  <a:lnTo>
                    <a:pt x="2784" y="3745"/>
                  </a:lnTo>
                  <a:lnTo>
                    <a:pt x="2763" y="3662"/>
                  </a:lnTo>
                  <a:lnTo>
                    <a:pt x="2721" y="3536"/>
                  </a:lnTo>
                  <a:lnTo>
                    <a:pt x="2721" y="3473"/>
                  </a:lnTo>
                  <a:lnTo>
                    <a:pt x="2721" y="3432"/>
                  </a:lnTo>
                  <a:lnTo>
                    <a:pt x="2679" y="3306"/>
                  </a:lnTo>
                  <a:lnTo>
                    <a:pt x="2595" y="3306"/>
                  </a:lnTo>
                  <a:lnTo>
                    <a:pt x="2470" y="3139"/>
                  </a:lnTo>
                  <a:lnTo>
                    <a:pt x="2281" y="3055"/>
                  </a:lnTo>
                  <a:lnTo>
                    <a:pt x="2177" y="3034"/>
                  </a:lnTo>
                  <a:lnTo>
                    <a:pt x="2281" y="2992"/>
                  </a:lnTo>
                  <a:lnTo>
                    <a:pt x="2281" y="2929"/>
                  </a:lnTo>
                  <a:lnTo>
                    <a:pt x="2177" y="2825"/>
                  </a:lnTo>
                  <a:lnTo>
                    <a:pt x="2240" y="2720"/>
                  </a:lnTo>
                  <a:lnTo>
                    <a:pt x="2281" y="2532"/>
                  </a:lnTo>
                  <a:lnTo>
                    <a:pt x="2260" y="2490"/>
                  </a:lnTo>
                  <a:lnTo>
                    <a:pt x="2198" y="2490"/>
                  </a:lnTo>
                  <a:lnTo>
                    <a:pt x="2198" y="2385"/>
                  </a:lnTo>
                  <a:lnTo>
                    <a:pt x="2260" y="2323"/>
                  </a:lnTo>
                  <a:lnTo>
                    <a:pt x="2281" y="2218"/>
                  </a:lnTo>
                  <a:lnTo>
                    <a:pt x="2344" y="2197"/>
                  </a:lnTo>
                  <a:lnTo>
                    <a:pt x="2365" y="2155"/>
                  </a:lnTo>
                  <a:lnTo>
                    <a:pt x="2386" y="2176"/>
                  </a:lnTo>
                  <a:lnTo>
                    <a:pt x="2449" y="2176"/>
                  </a:lnTo>
                  <a:lnTo>
                    <a:pt x="2553" y="2051"/>
                  </a:lnTo>
                  <a:lnTo>
                    <a:pt x="2574" y="2051"/>
                  </a:lnTo>
                  <a:lnTo>
                    <a:pt x="2616" y="1988"/>
                  </a:lnTo>
                  <a:lnTo>
                    <a:pt x="2574" y="1904"/>
                  </a:lnTo>
                  <a:lnTo>
                    <a:pt x="2595" y="1883"/>
                  </a:lnTo>
                  <a:lnTo>
                    <a:pt x="2595" y="1800"/>
                  </a:lnTo>
                  <a:lnTo>
                    <a:pt x="2595" y="1737"/>
                  </a:lnTo>
                  <a:lnTo>
                    <a:pt x="2574" y="1674"/>
                  </a:lnTo>
                  <a:lnTo>
                    <a:pt x="2616" y="1632"/>
                  </a:lnTo>
                  <a:lnTo>
                    <a:pt x="2616" y="1548"/>
                  </a:lnTo>
                  <a:lnTo>
                    <a:pt x="2679" y="1548"/>
                  </a:lnTo>
                  <a:lnTo>
                    <a:pt x="2700" y="1590"/>
                  </a:lnTo>
                  <a:lnTo>
                    <a:pt x="2721" y="1590"/>
                  </a:lnTo>
                  <a:lnTo>
                    <a:pt x="2804" y="1548"/>
                  </a:lnTo>
                  <a:lnTo>
                    <a:pt x="2888" y="1528"/>
                  </a:lnTo>
                  <a:lnTo>
                    <a:pt x="2930" y="1548"/>
                  </a:lnTo>
                  <a:lnTo>
                    <a:pt x="2972" y="1528"/>
                  </a:lnTo>
                  <a:lnTo>
                    <a:pt x="3014" y="1465"/>
                  </a:lnTo>
                  <a:lnTo>
                    <a:pt x="2993" y="1381"/>
                  </a:lnTo>
                  <a:lnTo>
                    <a:pt x="3014" y="1339"/>
                  </a:lnTo>
                  <a:lnTo>
                    <a:pt x="3118" y="1318"/>
                  </a:lnTo>
                  <a:lnTo>
                    <a:pt x="3223" y="1339"/>
                  </a:lnTo>
                  <a:lnTo>
                    <a:pt x="3328" y="1256"/>
                  </a:lnTo>
                  <a:lnTo>
                    <a:pt x="3390" y="1256"/>
                  </a:lnTo>
                  <a:lnTo>
                    <a:pt x="3432" y="1235"/>
                  </a:lnTo>
                  <a:lnTo>
                    <a:pt x="3495" y="1172"/>
                  </a:lnTo>
                  <a:lnTo>
                    <a:pt x="3453" y="1130"/>
                  </a:lnTo>
                  <a:lnTo>
                    <a:pt x="3348" y="1067"/>
                  </a:lnTo>
                  <a:lnTo>
                    <a:pt x="3286" y="1109"/>
                  </a:lnTo>
                  <a:lnTo>
                    <a:pt x="3223" y="1046"/>
                  </a:lnTo>
                  <a:lnTo>
                    <a:pt x="3118" y="1109"/>
                  </a:lnTo>
                  <a:lnTo>
                    <a:pt x="3014" y="1025"/>
                  </a:lnTo>
                  <a:lnTo>
                    <a:pt x="2888" y="1004"/>
                  </a:lnTo>
                  <a:lnTo>
                    <a:pt x="2867" y="900"/>
                  </a:lnTo>
                  <a:lnTo>
                    <a:pt x="2616" y="816"/>
                  </a:lnTo>
                  <a:lnTo>
                    <a:pt x="2595" y="712"/>
                  </a:lnTo>
                  <a:lnTo>
                    <a:pt x="2512" y="691"/>
                  </a:lnTo>
                  <a:lnTo>
                    <a:pt x="2574" y="481"/>
                  </a:lnTo>
                  <a:lnTo>
                    <a:pt x="2679" y="440"/>
                  </a:lnTo>
                  <a:lnTo>
                    <a:pt x="2679" y="335"/>
                  </a:lnTo>
                  <a:lnTo>
                    <a:pt x="2595" y="272"/>
                  </a:lnTo>
                  <a:lnTo>
                    <a:pt x="2449" y="314"/>
                  </a:lnTo>
                  <a:lnTo>
                    <a:pt x="2386" y="272"/>
                  </a:lnTo>
                  <a:lnTo>
                    <a:pt x="2114" y="272"/>
                  </a:lnTo>
                  <a:lnTo>
                    <a:pt x="2072" y="188"/>
                  </a:lnTo>
                  <a:lnTo>
                    <a:pt x="1947" y="168"/>
                  </a:lnTo>
                  <a:lnTo>
                    <a:pt x="1947" y="84"/>
                  </a:lnTo>
                  <a:lnTo>
                    <a:pt x="182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19" name="Google Shape;2019;p66"/>
            <p:cNvSpPr/>
            <p:nvPr/>
          </p:nvSpPr>
          <p:spPr>
            <a:xfrm>
              <a:off x="4450186" y="3045644"/>
              <a:ext cx="36139" cy="29750"/>
            </a:xfrm>
            <a:custGeom>
              <a:avLst/>
              <a:gdLst/>
              <a:ahLst/>
              <a:cxnLst/>
              <a:rect l="l" t="t" r="r" b="b"/>
              <a:pathLst>
                <a:path w="3035" h="2616" extrusionOk="0">
                  <a:moveTo>
                    <a:pt x="2407" y="0"/>
                  </a:moveTo>
                  <a:lnTo>
                    <a:pt x="2239" y="42"/>
                  </a:lnTo>
                  <a:lnTo>
                    <a:pt x="2135" y="126"/>
                  </a:lnTo>
                  <a:lnTo>
                    <a:pt x="2260" y="251"/>
                  </a:lnTo>
                  <a:lnTo>
                    <a:pt x="2239" y="356"/>
                  </a:lnTo>
                  <a:lnTo>
                    <a:pt x="2260" y="460"/>
                  </a:lnTo>
                  <a:lnTo>
                    <a:pt x="2260" y="544"/>
                  </a:lnTo>
                  <a:lnTo>
                    <a:pt x="2072" y="481"/>
                  </a:lnTo>
                  <a:lnTo>
                    <a:pt x="1967" y="314"/>
                  </a:lnTo>
                  <a:lnTo>
                    <a:pt x="1821" y="314"/>
                  </a:lnTo>
                  <a:lnTo>
                    <a:pt x="1758" y="230"/>
                  </a:lnTo>
                  <a:lnTo>
                    <a:pt x="1632" y="126"/>
                  </a:lnTo>
                  <a:lnTo>
                    <a:pt x="1549" y="167"/>
                  </a:lnTo>
                  <a:lnTo>
                    <a:pt x="1444" y="105"/>
                  </a:lnTo>
                  <a:lnTo>
                    <a:pt x="1298" y="126"/>
                  </a:lnTo>
                  <a:lnTo>
                    <a:pt x="1151" y="63"/>
                  </a:lnTo>
                  <a:lnTo>
                    <a:pt x="1026" y="63"/>
                  </a:lnTo>
                  <a:lnTo>
                    <a:pt x="879" y="146"/>
                  </a:lnTo>
                  <a:lnTo>
                    <a:pt x="816" y="105"/>
                  </a:lnTo>
                  <a:lnTo>
                    <a:pt x="670" y="105"/>
                  </a:lnTo>
                  <a:lnTo>
                    <a:pt x="398" y="167"/>
                  </a:lnTo>
                  <a:lnTo>
                    <a:pt x="272" y="167"/>
                  </a:lnTo>
                  <a:lnTo>
                    <a:pt x="168" y="335"/>
                  </a:lnTo>
                  <a:lnTo>
                    <a:pt x="105" y="523"/>
                  </a:lnTo>
                  <a:lnTo>
                    <a:pt x="42" y="649"/>
                  </a:lnTo>
                  <a:lnTo>
                    <a:pt x="0" y="858"/>
                  </a:lnTo>
                  <a:lnTo>
                    <a:pt x="63" y="1088"/>
                  </a:lnTo>
                  <a:lnTo>
                    <a:pt x="168" y="1151"/>
                  </a:lnTo>
                  <a:lnTo>
                    <a:pt x="210" y="1255"/>
                  </a:lnTo>
                  <a:lnTo>
                    <a:pt x="189" y="1486"/>
                  </a:lnTo>
                  <a:lnTo>
                    <a:pt x="189" y="1569"/>
                  </a:lnTo>
                  <a:lnTo>
                    <a:pt x="272" y="1632"/>
                  </a:lnTo>
                  <a:lnTo>
                    <a:pt x="272" y="1779"/>
                  </a:lnTo>
                  <a:lnTo>
                    <a:pt x="356" y="1820"/>
                  </a:lnTo>
                  <a:lnTo>
                    <a:pt x="356" y="1925"/>
                  </a:lnTo>
                  <a:lnTo>
                    <a:pt x="419" y="2051"/>
                  </a:lnTo>
                  <a:lnTo>
                    <a:pt x="482" y="2030"/>
                  </a:lnTo>
                  <a:lnTo>
                    <a:pt x="523" y="2113"/>
                  </a:lnTo>
                  <a:lnTo>
                    <a:pt x="503" y="2218"/>
                  </a:lnTo>
                  <a:lnTo>
                    <a:pt x="565" y="2260"/>
                  </a:lnTo>
                  <a:lnTo>
                    <a:pt x="565" y="2364"/>
                  </a:lnTo>
                  <a:lnTo>
                    <a:pt x="733" y="2364"/>
                  </a:lnTo>
                  <a:lnTo>
                    <a:pt x="733" y="2260"/>
                  </a:lnTo>
                  <a:lnTo>
                    <a:pt x="795" y="2218"/>
                  </a:lnTo>
                  <a:lnTo>
                    <a:pt x="837" y="2155"/>
                  </a:lnTo>
                  <a:lnTo>
                    <a:pt x="837" y="2239"/>
                  </a:lnTo>
                  <a:lnTo>
                    <a:pt x="900" y="2323"/>
                  </a:lnTo>
                  <a:lnTo>
                    <a:pt x="879" y="2406"/>
                  </a:lnTo>
                  <a:lnTo>
                    <a:pt x="816" y="2469"/>
                  </a:lnTo>
                  <a:lnTo>
                    <a:pt x="837" y="2553"/>
                  </a:lnTo>
                  <a:lnTo>
                    <a:pt x="879" y="2574"/>
                  </a:lnTo>
                  <a:lnTo>
                    <a:pt x="921" y="2574"/>
                  </a:lnTo>
                  <a:lnTo>
                    <a:pt x="1026" y="2511"/>
                  </a:lnTo>
                  <a:lnTo>
                    <a:pt x="1026" y="2469"/>
                  </a:lnTo>
                  <a:lnTo>
                    <a:pt x="1088" y="2532"/>
                  </a:lnTo>
                  <a:lnTo>
                    <a:pt x="1214" y="2553"/>
                  </a:lnTo>
                  <a:lnTo>
                    <a:pt x="1235" y="2532"/>
                  </a:lnTo>
                  <a:lnTo>
                    <a:pt x="1340" y="2615"/>
                  </a:lnTo>
                  <a:lnTo>
                    <a:pt x="1444" y="2469"/>
                  </a:lnTo>
                  <a:lnTo>
                    <a:pt x="1570" y="2448"/>
                  </a:lnTo>
                  <a:lnTo>
                    <a:pt x="1632" y="2302"/>
                  </a:lnTo>
                  <a:lnTo>
                    <a:pt x="1758" y="2302"/>
                  </a:lnTo>
                  <a:lnTo>
                    <a:pt x="1821" y="2323"/>
                  </a:lnTo>
                  <a:lnTo>
                    <a:pt x="2093" y="2260"/>
                  </a:lnTo>
                  <a:lnTo>
                    <a:pt x="2197" y="2323"/>
                  </a:lnTo>
                  <a:lnTo>
                    <a:pt x="2239" y="2406"/>
                  </a:lnTo>
                  <a:lnTo>
                    <a:pt x="2407" y="2406"/>
                  </a:lnTo>
                  <a:lnTo>
                    <a:pt x="2365" y="2260"/>
                  </a:lnTo>
                  <a:lnTo>
                    <a:pt x="2386" y="2197"/>
                  </a:lnTo>
                  <a:lnTo>
                    <a:pt x="2281" y="2092"/>
                  </a:lnTo>
                  <a:lnTo>
                    <a:pt x="2156" y="2051"/>
                  </a:lnTo>
                  <a:lnTo>
                    <a:pt x="2135" y="1841"/>
                  </a:lnTo>
                  <a:lnTo>
                    <a:pt x="2239" y="1779"/>
                  </a:lnTo>
                  <a:lnTo>
                    <a:pt x="2448" y="1779"/>
                  </a:lnTo>
                  <a:lnTo>
                    <a:pt x="2511" y="1674"/>
                  </a:lnTo>
                  <a:lnTo>
                    <a:pt x="2679" y="1569"/>
                  </a:lnTo>
                  <a:lnTo>
                    <a:pt x="2825" y="1507"/>
                  </a:lnTo>
                  <a:lnTo>
                    <a:pt x="2867" y="1423"/>
                  </a:lnTo>
                  <a:lnTo>
                    <a:pt x="2930" y="1402"/>
                  </a:lnTo>
                  <a:lnTo>
                    <a:pt x="3034" y="1214"/>
                  </a:lnTo>
                  <a:lnTo>
                    <a:pt x="3013" y="1088"/>
                  </a:lnTo>
                  <a:lnTo>
                    <a:pt x="3034" y="942"/>
                  </a:lnTo>
                  <a:lnTo>
                    <a:pt x="3013" y="837"/>
                  </a:lnTo>
                  <a:lnTo>
                    <a:pt x="3034" y="649"/>
                  </a:lnTo>
                  <a:lnTo>
                    <a:pt x="2930" y="418"/>
                  </a:lnTo>
                  <a:lnTo>
                    <a:pt x="2825" y="356"/>
                  </a:lnTo>
                  <a:lnTo>
                    <a:pt x="2762" y="167"/>
                  </a:lnTo>
                  <a:lnTo>
                    <a:pt x="2679" y="167"/>
                  </a:lnTo>
                  <a:lnTo>
                    <a:pt x="2574" y="126"/>
                  </a:lnTo>
                  <a:lnTo>
                    <a:pt x="2469" y="105"/>
                  </a:lnTo>
                  <a:lnTo>
                    <a:pt x="240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0" name="Google Shape;2020;p66"/>
            <p:cNvSpPr/>
            <p:nvPr/>
          </p:nvSpPr>
          <p:spPr>
            <a:xfrm>
              <a:off x="4429753" y="2990191"/>
              <a:ext cx="55822" cy="61650"/>
            </a:xfrm>
            <a:custGeom>
              <a:avLst/>
              <a:gdLst/>
              <a:ahLst/>
              <a:cxnLst/>
              <a:rect l="l" t="t" r="r" b="b"/>
              <a:pathLst>
                <a:path w="4688" h="5421" extrusionOk="0">
                  <a:moveTo>
                    <a:pt x="879" y="1"/>
                  </a:moveTo>
                  <a:lnTo>
                    <a:pt x="879" y="85"/>
                  </a:lnTo>
                  <a:lnTo>
                    <a:pt x="817" y="126"/>
                  </a:lnTo>
                  <a:lnTo>
                    <a:pt x="817" y="336"/>
                  </a:lnTo>
                  <a:lnTo>
                    <a:pt x="859" y="440"/>
                  </a:lnTo>
                  <a:lnTo>
                    <a:pt x="859" y="587"/>
                  </a:lnTo>
                  <a:lnTo>
                    <a:pt x="879" y="733"/>
                  </a:lnTo>
                  <a:lnTo>
                    <a:pt x="775" y="712"/>
                  </a:lnTo>
                  <a:lnTo>
                    <a:pt x="649" y="754"/>
                  </a:lnTo>
                  <a:lnTo>
                    <a:pt x="587" y="649"/>
                  </a:lnTo>
                  <a:lnTo>
                    <a:pt x="524" y="608"/>
                  </a:lnTo>
                  <a:lnTo>
                    <a:pt x="419" y="712"/>
                  </a:lnTo>
                  <a:lnTo>
                    <a:pt x="252" y="733"/>
                  </a:lnTo>
                  <a:lnTo>
                    <a:pt x="231" y="838"/>
                  </a:lnTo>
                  <a:lnTo>
                    <a:pt x="189" y="942"/>
                  </a:lnTo>
                  <a:lnTo>
                    <a:pt x="231" y="1026"/>
                  </a:lnTo>
                  <a:lnTo>
                    <a:pt x="105" y="1110"/>
                  </a:lnTo>
                  <a:lnTo>
                    <a:pt x="43" y="1110"/>
                  </a:lnTo>
                  <a:lnTo>
                    <a:pt x="1" y="1256"/>
                  </a:lnTo>
                  <a:lnTo>
                    <a:pt x="43" y="1382"/>
                  </a:lnTo>
                  <a:lnTo>
                    <a:pt x="210" y="1361"/>
                  </a:lnTo>
                  <a:lnTo>
                    <a:pt x="315" y="1486"/>
                  </a:lnTo>
                  <a:lnTo>
                    <a:pt x="335" y="1675"/>
                  </a:lnTo>
                  <a:lnTo>
                    <a:pt x="252" y="1758"/>
                  </a:lnTo>
                  <a:lnTo>
                    <a:pt x="335" y="1884"/>
                  </a:lnTo>
                  <a:lnTo>
                    <a:pt x="440" y="1947"/>
                  </a:lnTo>
                  <a:lnTo>
                    <a:pt x="524" y="1863"/>
                  </a:lnTo>
                  <a:lnTo>
                    <a:pt x="733" y="1863"/>
                  </a:lnTo>
                  <a:lnTo>
                    <a:pt x="754" y="1968"/>
                  </a:lnTo>
                  <a:lnTo>
                    <a:pt x="670" y="2093"/>
                  </a:lnTo>
                  <a:lnTo>
                    <a:pt x="754" y="2198"/>
                  </a:lnTo>
                  <a:lnTo>
                    <a:pt x="733" y="2281"/>
                  </a:lnTo>
                  <a:lnTo>
                    <a:pt x="670" y="2386"/>
                  </a:lnTo>
                  <a:lnTo>
                    <a:pt x="733" y="2512"/>
                  </a:lnTo>
                  <a:lnTo>
                    <a:pt x="733" y="2721"/>
                  </a:lnTo>
                  <a:lnTo>
                    <a:pt x="733" y="3014"/>
                  </a:lnTo>
                  <a:lnTo>
                    <a:pt x="879" y="2930"/>
                  </a:lnTo>
                  <a:lnTo>
                    <a:pt x="1047" y="2909"/>
                  </a:lnTo>
                  <a:lnTo>
                    <a:pt x="1047" y="2784"/>
                  </a:lnTo>
                  <a:lnTo>
                    <a:pt x="1235" y="2700"/>
                  </a:lnTo>
                  <a:lnTo>
                    <a:pt x="1444" y="2805"/>
                  </a:lnTo>
                  <a:lnTo>
                    <a:pt x="1549" y="2805"/>
                  </a:lnTo>
                  <a:lnTo>
                    <a:pt x="1633" y="2930"/>
                  </a:lnTo>
                  <a:lnTo>
                    <a:pt x="1884" y="2909"/>
                  </a:lnTo>
                  <a:lnTo>
                    <a:pt x="2009" y="2637"/>
                  </a:lnTo>
                  <a:lnTo>
                    <a:pt x="2198" y="2595"/>
                  </a:lnTo>
                  <a:lnTo>
                    <a:pt x="2449" y="2679"/>
                  </a:lnTo>
                  <a:lnTo>
                    <a:pt x="2532" y="2826"/>
                  </a:lnTo>
                  <a:lnTo>
                    <a:pt x="2804" y="3014"/>
                  </a:lnTo>
                  <a:lnTo>
                    <a:pt x="2930" y="3118"/>
                  </a:lnTo>
                  <a:lnTo>
                    <a:pt x="2972" y="3244"/>
                  </a:lnTo>
                  <a:lnTo>
                    <a:pt x="2972" y="3328"/>
                  </a:lnTo>
                  <a:lnTo>
                    <a:pt x="2930" y="3411"/>
                  </a:lnTo>
                  <a:lnTo>
                    <a:pt x="2972" y="3537"/>
                  </a:lnTo>
                  <a:lnTo>
                    <a:pt x="2972" y="3725"/>
                  </a:lnTo>
                  <a:lnTo>
                    <a:pt x="2951" y="3788"/>
                  </a:lnTo>
                  <a:lnTo>
                    <a:pt x="3056" y="3872"/>
                  </a:lnTo>
                  <a:lnTo>
                    <a:pt x="3160" y="3997"/>
                  </a:lnTo>
                  <a:lnTo>
                    <a:pt x="3286" y="3997"/>
                  </a:lnTo>
                  <a:lnTo>
                    <a:pt x="3369" y="4060"/>
                  </a:lnTo>
                  <a:lnTo>
                    <a:pt x="3348" y="4102"/>
                  </a:lnTo>
                  <a:lnTo>
                    <a:pt x="3495" y="4206"/>
                  </a:lnTo>
                  <a:lnTo>
                    <a:pt x="3495" y="4290"/>
                  </a:lnTo>
                  <a:lnTo>
                    <a:pt x="3474" y="4416"/>
                  </a:lnTo>
                  <a:lnTo>
                    <a:pt x="3474" y="4499"/>
                  </a:lnTo>
                  <a:lnTo>
                    <a:pt x="3453" y="4604"/>
                  </a:lnTo>
                  <a:lnTo>
                    <a:pt x="3474" y="4688"/>
                  </a:lnTo>
                  <a:lnTo>
                    <a:pt x="3474" y="4897"/>
                  </a:lnTo>
                  <a:lnTo>
                    <a:pt x="3390" y="4981"/>
                  </a:lnTo>
                  <a:lnTo>
                    <a:pt x="3348" y="5002"/>
                  </a:lnTo>
                  <a:lnTo>
                    <a:pt x="3474" y="5106"/>
                  </a:lnTo>
                  <a:lnTo>
                    <a:pt x="3537" y="5190"/>
                  </a:lnTo>
                  <a:lnTo>
                    <a:pt x="3683" y="5190"/>
                  </a:lnTo>
                  <a:lnTo>
                    <a:pt x="3788" y="5357"/>
                  </a:lnTo>
                  <a:lnTo>
                    <a:pt x="3976" y="5420"/>
                  </a:lnTo>
                  <a:lnTo>
                    <a:pt x="3976" y="5336"/>
                  </a:lnTo>
                  <a:lnTo>
                    <a:pt x="3955" y="5232"/>
                  </a:lnTo>
                  <a:lnTo>
                    <a:pt x="3976" y="5127"/>
                  </a:lnTo>
                  <a:lnTo>
                    <a:pt x="3851" y="5002"/>
                  </a:lnTo>
                  <a:lnTo>
                    <a:pt x="3955" y="4918"/>
                  </a:lnTo>
                  <a:lnTo>
                    <a:pt x="4123" y="4876"/>
                  </a:lnTo>
                  <a:lnTo>
                    <a:pt x="4185" y="4981"/>
                  </a:lnTo>
                  <a:lnTo>
                    <a:pt x="4290" y="5002"/>
                  </a:lnTo>
                  <a:lnTo>
                    <a:pt x="4395" y="5043"/>
                  </a:lnTo>
                  <a:lnTo>
                    <a:pt x="4499" y="5043"/>
                  </a:lnTo>
                  <a:lnTo>
                    <a:pt x="4604" y="5002"/>
                  </a:lnTo>
                  <a:lnTo>
                    <a:pt x="4583" y="4813"/>
                  </a:lnTo>
                  <a:lnTo>
                    <a:pt x="4541" y="4730"/>
                  </a:lnTo>
                  <a:lnTo>
                    <a:pt x="4520" y="4604"/>
                  </a:lnTo>
                  <a:lnTo>
                    <a:pt x="4688" y="4478"/>
                  </a:lnTo>
                  <a:lnTo>
                    <a:pt x="4688" y="4311"/>
                  </a:lnTo>
                  <a:lnTo>
                    <a:pt x="4604" y="4311"/>
                  </a:lnTo>
                  <a:lnTo>
                    <a:pt x="4541" y="4248"/>
                  </a:lnTo>
                  <a:lnTo>
                    <a:pt x="4583" y="4081"/>
                  </a:lnTo>
                  <a:lnTo>
                    <a:pt x="4646" y="3997"/>
                  </a:lnTo>
                  <a:lnTo>
                    <a:pt x="4604" y="3934"/>
                  </a:lnTo>
                  <a:lnTo>
                    <a:pt x="4499" y="3976"/>
                  </a:lnTo>
                  <a:lnTo>
                    <a:pt x="4436" y="3955"/>
                  </a:lnTo>
                  <a:lnTo>
                    <a:pt x="4374" y="3851"/>
                  </a:lnTo>
                  <a:lnTo>
                    <a:pt x="4227" y="3851"/>
                  </a:lnTo>
                  <a:lnTo>
                    <a:pt x="4185" y="3788"/>
                  </a:lnTo>
                  <a:lnTo>
                    <a:pt x="4206" y="3683"/>
                  </a:lnTo>
                  <a:lnTo>
                    <a:pt x="4123" y="3662"/>
                  </a:lnTo>
                  <a:lnTo>
                    <a:pt x="4081" y="3662"/>
                  </a:lnTo>
                  <a:lnTo>
                    <a:pt x="3997" y="3579"/>
                  </a:lnTo>
                  <a:lnTo>
                    <a:pt x="3997" y="3516"/>
                  </a:lnTo>
                  <a:lnTo>
                    <a:pt x="3913" y="3411"/>
                  </a:lnTo>
                  <a:lnTo>
                    <a:pt x="3788" y="3411"/>
                  </a:lnTo>
                  <a:lnTo>
                    <a:pt x="3704" y="3349"/>
                  </a:lnTo>
                  <a:lnTo>
                    <a:pt x="3662" y="3223"/>
                  </a:lnTo>
                  <a:lnTo>
                    <a:pt x="3474" y="3014"/>
                  </a:lnTo>
                  <a:lnTo>
                    <a:pt x="3495" y="2930"/>
                  </a:lnTo>
                  <a:lnTo>
                    <a:pt x="3369" y="2784"/>
                  </a:lnTo>
                  <a:lnTo>
                    <a:pt x="3202" y="2700"/>
                  </a:lnTo>
                  <a:lnTo>
                    <a:pt x="3056" y="2491"/>
                  </a:lnTo>
                  <a:lnTo>
                    <a:pt x="2951" y="2491"/>
                  </a:lnTo>
                  <a:lnTo>
                    <a:pt x="2763" y="2386"/>
                  </a:lnTo>
                  <a:lnTo>
                    <a:pt x="2595" y="2386"/>
                  </a:lnTo>
                  <a:lnTo>
                    <a:pt x="2511" y="2219"/>
                  </a:lnTo>
                  <a:lnTo>
                    <a:pt x="2428" y="2219"/>
                  </a:lnTo>
                  <a:lnTo>
                    <a:pt x="2407" y="2156"/>
                  </a:lnTo>
                  <a:lnTo>
                    <a:pt x="2491" y="2072"/>
                  </a:lnTo>
                  <a:lnTo>
                    <a:pt x="2344" y="1905"/>
                  </a:lnTo>
                  <a:lnTo>
                    <a:pt x="2344" y="1842"/>
                  </a:lnTo>
                  <a:lnTo>
                    <a:pt x="2428" y="1842"/>
                  </a:lnTo>
                  <a:lnTo>
                    <a:pt x="2595" y="1758"/>
                  </a:lnTo>
                  <a:lnTo>
                    <a:pt x="2721" y="1758"/>
                  </a:lnTo>
                  <a:lnTo>
                    <a:pt x="2763" y="1675"/>
                  </a:lnTo>
                  <a:lnTo>
                    <a:pt x="2846" y="1465"/>
                  </a:lnTo>
                  <a:lnTo>
                    <a:pt x="2930" y="1445"/>
                  </a:lnTo>
                  <a:lnTo>
                    <a:pt x="2930" y="1361"/>
                  </a:lnTo>
                  <a:lnTo>
                    <a:pt x="2742" y="1319"/>
                  </a:lnTo>
                  <a:lnTo>
                    <a:pt x="2763" y="1214"/>
                  </a:lnTo>
                  <a:lnTo>
                    <a:pt x="2742" y="1110"/>
                  </a:lnTo>
                  <a:lnTo>
                    <a:pt x="2595" y="1068"/>
                  </a:lnTo>
                  <a:lnTo>
                    <a:pt x="2511" y="963"/>
                  </a:lnTo>
                  <a:lnTo>
                    <a:pt x="2344" y="963"/>
                  </a:lnTo>
                  <a:lnTo>
                    <a:pt x="2219" y="1047"/>
                  </a:lnTo>
                  <a:lnTo>
                    <a:pt x="2072" y="1005"/>
                  </a:lnTo>
                  <a:lnTo>
                    <a:pt x="1821" y="1005"/>
                  </a:lnTo>
                  <a:lnTo>
                    <a:pt x="1716" y="796"/>
                  </a:lnTo>
                  <a:lnTo>
                    <a:pt x="1507" y="608"/>
                  </a:lnTo>
                  <a:lnTo>
                    <a:pt x="1570" y="524"/>
                  </a:lnTo>
                  <a:lnTo>
                    <a:pt x="1549" y="398"/>
                  </a:lnTo>
                  <a:lnTo>
                    <a:pt x="1444" y="315"/>
                  </a:lnTo>
                  <a:lnTo>
                    <a:pt x="1340" y="168"/>
                  </a:lnTo>
                  <a:lnTo>
                    <a:pt x="1151" y="85"/>
                  </a:lnTo>
                  <a:lnTo>
                    <a:pt x="108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1" name="Google Shape;2021;p66"/>
            <p:cNvSpPr/>
            <p:nvPr/>
          </p:nvSpPr>
          <p:spPr>
            <a:xfrm>
              <a:off x="4413309" y="3004475"/>
              <a:ext cx="58061" cy="103285"/>
            </a:xfrm>
            <a:custGeom>
              <a:avLst/>
              <a:gdLst/>
              <a:ahLst/>
              <a:cxnLst/>
              <a:rect l="l" t="t" r="r" b="b"/>
              <a:pathLst>
                <a:path w="4876" h="9082" extrusionOk="0">
                  <a:moveTo>
                    <a:pt x="1361" y="0"/>
                  </a:moveTo>
                  <a:lnTo>
                    <a:pt x="1193" y="21"/>
                  </a:lnTo>
                  <a:lnTo>
                    <a:pt x="1068" y="63"/>
                  </a:lnTo>
                  <a:lnTo>
                    <a:pt x="1068" y="126"/>
                  </a:lnTo>
                  <a:lnTo>
                    <a:pt x="1110" y="209"/>
                  </a:lnTo>
                  <a:lnTo>
                    <a:pt x="1089" y="293"/>
                  </a:lnTo>
                  <a:lnTo>
                    <a:pt x="921" y="272"/>
                  </a:lnTo>
                  <a:lnTo>
                    <a:pt x="859" y="314"/>
                  </a:lnTo>
                  <a:lnTo>
                    <a:pt x="859" y="481"/>
                  </a:lnTo>
                  <a:lnTo>
                    <a:pt x="838" y="523"/>
                  </a:lnTo>
                  <a:lnTo>
                    <a:pt x="691" y="523"/>
                  </a:lnTo>
                  <a:lnTo>
                    <a:pt x="566" y="628"/>
                  </a:lnTo>
                  <a:lnTo>
                    <a:pt x="335" y="544"/>
                  </a:lnTo>
                  <a:lnTo>
                    <a:pt x="252" y="691"/>
                  </a:lnTo>
                  <a:lnTo>
                    <a:pt x="273" y="858"/>
                  </a:lnTo>
                  <a:lnTo>
                    <a:pt x="210" y="942"/>
                  </a:lnTo>
                  <a:lnTo>
                    <a:pt x="210" y="1130"/>
                  </a:lnTo>
                  <a:lnTo>
                    <a:pt x="231" y="1214"/>
                  </a:lnTo>
                  <a:lnTo>
                    <a:pt x="126" y="1277"/>
                  </a:lnTo>
                  <a:lnTo>
                    <a:pt x="1" y="1360"/>
                  </a:lnTo>
                  <a:lnTo>
                    <a:pt x="1" y="1444"/>
                  </a:lnTo>
                  <a:lnTo>
                    <a:pt x="63" y="1465"/>
                  </a:lnTo>
                  <a:lnTo>
                    <a:pt x="168" y="1653"/>
                  </a:lnTo>
                  <a:lnTo>
                    <a:pt x="252" y="1737"/>
                  </a:lnTo>
                  <a:lnTo>
                    <a:pt x="315" y="1800"/>
                  </a:lnTo>
                  <a:lnTo>
                    <a:pt x="440" y="1904"/>
                  </a:lnTo>
                  <a:lnTo>
                    <a:pt x="587" y="2197"/>
                  </a:lnTo>
                  <a:lnTo>
                    <a:pt x="670" y="2260"/>
                  </a:lnTo>
                  <a:lnTo>
                    <a:pt x="754" y="2386"/>
                  </a:lnTo>
                  <a:lnTo>
                    <a:pt x="754" y="2511"/>
                  </a:lnTo>
                  <a:lnTo>
                    <a:pt x="879" y="2574"/>
                  </a:lnTo>
                  <a:lnTo>
                    <a:pt x="879" y="2699"/>
                  </a:lnTo>
                  <a:lnTo>
                    <a:pt x="775" y="2741"/>
                  </a:lnTo>
                  <a:lnTo>
                    <a:pt x="754" y="2825"/>
                  </a:lnTo>
                  <a:lnTo>
                    <a:pt x="796" y="3118"/>
                  </a:lnTo>
                  <a:lnTo>
                    <a:pt x="775" y="3222"/>
                  </a:lnTo>
                  <a:lnTo>
                    <a:pt x="670" y="3264"/>
                  </a:lnTo>
                  <a:lnTo>
                    <a:pt x="754" y="3474"/>
                  </a:lnTo>
                  <a:lnTo>
                    <a:pt x="754" y="3578"/>
                  </a:lnTo>
                  <a:lnTo>
                    <a:pt x="900" y="3766"/>
                  </a:lnTo>
                  <a:lnTo>
                    <a:pt x="1089" y="3892"/>
                  </a:lnTo>
                  <a:lnTo>
                    <a:pt x="1256" y="4059"/>
                  </a:lnTo>
                  <a:lnTo>
                    <a:pt x="1298" y="4311"/>
                  </a:lnTo>
                  <a:lnTo>
                    <a:pt x="1277" y="4394"/>
                  </a:lnTo>
                  <a:lnTo>
                    <a:pt x="1298" y="4520"/>
                  </a:lnTo>
                  <a:lnTo>
                    <a:pt x="1277" y="4624"/>
                  </a:lnTo>
                  <a:lnTo>
                    <a:pt x="1361" y="4708"/>
                  </a:lnTo>
                  <a:lnTo>
                    <a:pt x="1382" y="4896"/>
                  </a:lnTo>
                  <a:lnTo>
                    <a:pt x="1424" y="5001"/>
                  </a:lnTo>
                  <a:lnTo>
                    <a:pt x="1403" y="5147"/>
                  </a:lnTo>
                  <a:lnTo>
                    <a:pt x="1486" y="5294"/>
                  </a:lnTo>
                  <a:lnTo>
                    <a:pt x="1486" y="5461"/>
                  </a:lnTo>
                  <a:lnTo>
                    <a:pt x="1403" y="5524"/>
                  </a:lnTo>
                  <a:lnTo>
                    <a:pt x="1277" y="5880"/>
                  </a:lnTo>
                  <a:lnTo>
                    <a:pt x="1152" y="5963"/>
                  </a:lnTo>
                  <a:lnTo>
                    <a:pt x="1152" y="6131"/>
                  </a:lnTo>
                  <a:lnTo>
                    <a:pt x="1089" y="6194"/>
                  </a:lnTo>
                  <a:lnTo>
                    <a:pt x="1068" y="6298"/>
                  </a:lnTo>
                  <a:lnTo>
                    <a:pt x="1047" y="6487"/>
                  </a:lnTo>
                  <a:lnTo>
                    <a:pt x="1089" y="6487"/>
                  </a:lnTo>
                  <a:lnTo>
                    <a:pt x="1005" y="6591"/>
                  </a:lnTo>
                  <a:lnTo>
                    <a:pt x="1047" y="6654"/>
                  </a:lnTo>
                  <a:lnTo>
                    <a:pt x="963" y="6779"/>
                  </a:lnTo>
                  <a:lnTo>
                    <a:pt x="1047" y="6779"/>
                  </a:lnTo>
                  <a:lnTo>
                    <a:pt x="984" y="6863"/>
                  </a:lnTo>
                  <a:lnTo>
                    <a:pt x="921" y="6863"/>
                  </a:lnTo>
                  <a:lnTo>
                    <a:pt x="921" y="7072"/>
                  </a:lnTo>
                  <a:lnTo>
                    <a:pt x="859" y="7114"/>
                  </a:lnTo>
                  <a:lnTo>
                    <a:pt x="879" y="7282"/>
                  </a:lnTo>
                  <a:lnTo>
                    <a:pt x="859" y="7324"/>
                  </a:lnTo>
                  <a:lnTo>
                    <a:pt x="879" y="7533"/>
                  </a:lnTo>
                  <a:lnTo>
                    <a:pt x="921" y="7616"/>
                  </a:lnTo>
                  <a:lnTo>
                    <a:pt x="1005" y="7616"/>
                  </a:lnTo>
                  <a:lnTo>
                    <a:pt x="984" y="7512"/>
                  </a:lnTo>
                  <a:lnTo>
                    <a:pt x="1110" y="7449"/>
                  </a:lnTo>
                  <a:lnTo>
                    <a:pt x="1089" y="7512"/>
                  </a:lnTo>
                  <a:lnTo>
                    <a:pt x="1172" y="7554"/>
                  </a:lnTo>
                  <a:lnTo>
                    <a:pt x="1172" y="7637"/>
                  </a:lnTo>
                  <a:lnTo>
                    <a:pt x="1277" y="7658"/>
                  </a:lnTo>
                  <a:lnTo>
                    <a:pt x="1319" y="7868"/>
                  </a:lnTo>
                  <a:lnTo>
                    <a:pt x="1424" y="7868"/>
                  </a:lnTo>
                  <a:lnTo>
                    <a:pt x="1570" y="8035"/>
                  </a:lnTo>
                  <a:lnTo>
                    <a:pt x="1570" y="8119"/>
                  </a:lnTo>
                  <a:lnTo>
                    <a:pt x="1675" y="8140"/>
                  </a:lnTo>
                  <a:lnTo>
                    <a:pt x="1696" y="8244"/>
                  </a:lnTo>
                  <a:lnTo>
                    <a:pt x="1779" y="8244"/>
                  </a:lnTo>
                  <a:lnTo>
                    <a:pt x="1779" y="8286"/>
                  </a:lnTo>
                  <a:lnTo>
                    <a:pt x="1716" y="8370"/>
                  </a:lnTo>
                  <a:lnTo>
                    <a:pt x="1716" y="8391"/>
                  </a:lnTo>
                  <a:lnTo>
                    <a:pt x="1968" y="8579"/>
                  </a:lnTo>
                  <a:lnTo>
                    <a:pt x="2009" y="8663"/>
                  </a:lnTo>
                  <a:lnTo>
                    <a:pt x="2051" y="8537"/>
                  </a:lnTo>
                  <a:lnTo>
                    <a:pt x="2135" y="8453"/>
                  </a:lnTo>
                  <a:lnTo>
                    <a:pt x="2240" y="8537"/>
                  </a:lnTo>
                  <a:lnTo>
                    <a:pt x="2407" y="8579"/>
                  </a:lnTo>
                  <a:lnTo>
                    <a:pt x="2428" y="8642"/>
                  </a:lnTo>
                  <a:lnTo>
                    <a:pt x="2553" y="8642"/>
                  </a:lnTo>
                  <a:lnTo>
                    <a:pt x="2616" y="8704"/>
                  </a:lnTo>
                  <a:lnTo>
                    <a:pt x="2616" y="8893"/>
                  </a:lnTo>
                  <a:lnTo>
                    <a:pt x="2532" y="8976"/>
                  </a:lnTo>
                  <a:lnTo>
                    <a:pt x="2532" y="9060"/>
                  </a:lnTo>
                  <a:lnTo>
                    <a:pt x="2679" y="9081"/>
                  </a:lnTo>
                  <a:lnTo>
                    <a:pt x="2825" y="8976"/>
                  </a:lnTo>
                  <a:lnTo>
                    <a:pt x="2930" y="8976"/>
                  </a:lnTo>
                  <a:lnTo>
                    <a:pt x="2993" y="9018"/>
                  </a:lnTo>
                  <a:lnTo>
                    <a:pt x="3076" y="8976"/>
                  </a:lnTo>
                  <a:lnTo>
                    <a:pt x="3076" y="8872"/>
                  </a:lnTo>
                  <a:lnTo>
                    <a:pt x="3097" y="8851"/>
                  </a:lnTo>
                  <a:lnTo>
                    <a:pt x="3076" y="8788"/>
                  </a:lnTo>
                  <a:lnTo>
                    <a:pt x="2972" y="8704"/>
                  </a:lnTo>
                  <a:lnTo>
                    <a:pt x="2930" y="8642"/>
                  </a:lnTo>
                  <a:lnTo>
                    <a:pt x="2846" y="8474"/>
                  </a:lnTo>
                  <a:lnTo>
                    <a:pt x="2742" y="8432"/>
                  </a:lnTo>
                  <a:lnTo>
                    <a:pt x="2637" y="8432"/>
                  </a:lnTo>
                  <a:lnTo>
                    <a:pt x="2574" y="8453"/>
                  </a:lnTo>
                  <a:lnTo>
                    <a:pt x="2491" y="8391"/>
                  </a:lnTo>
                  <a:lnTo>
                    <a:pt x="2344" y="8244"/>
                  </a:lnTo>
                  <a:lnTo>
                    <a:pt x="2260" y="8160"/>
                  </a:lnTo>
                  <a:lnTo>
                    <a:pt x="2260" y="8056"/>
                  </a:lnTo>
                  <a:lnTo>
                    <a:pt x="2219" y="8035"/>
                  </a:lnTo>
                  <a:lnTo>
                    <a:pt x="2198" y="8140"/>
                  </a:lnTo>
                  <a:lnTo>
                    <a:pt x="2030" y="8056"/>
                  </a:lnTo>
                  <a:lnTo>
                    <a:pt x="2051" y="7972"/>
                  </a:lnTo>
                  <a:lnTo>
                    <a:pt x="2135" y="7930"/>
                  </a:lnTo>
                  <a:lnTo>
                    <a:pt x="2156" y="7951"/>
                  </a:lnTo>
                  <a:lnTo>
                    <a:pt x="2198" y="7930"/>
                  </a:lnTo>
                  <a:lnTo>
                    <a:pt x="2219" y="7868"/>
                  </a:lnTo>
                  <a:lnTo>
                    <a:pt x="2156" y="7637"/>
                  </a:lnTo>
                  <a:lnTo>
                    <a:pt x="2114" y="7616"/>
                  </a:lnTo>
                  <a:lnTo>
                    <a:pt x="2114" y="7533"/>
                  </a:lnTo>
                  <a:lnTo>
                    <a:pt x="2030" y="7428"/>
                  </a:lnTo>
                  <a:lnTo>
                    <a:pt x="2009" y="7344"/>
                  </a:lnTo>
                  <a:lnTo>
                    <a:pt x="2009" y="7386"/>
                  </a:lnTo>
                  <a:lnTo>
                    <a:pt x="2009" y="7449"/>
                  </a:lnTo>
                  <a:lnTo>
                    <a:pt x="1947" y="7449"/>
                  </a:lnTo>
                  <a:lnTo>
                    <a:pt x="1884" y="7324"/>
                  </a:lnTo>
                  <a:lnTo>
                    <a:pt x="1821" y="7303"/>
                  </a:lnTo>
                  <a:lnTo>
                    <a:pt x="1842" y="7177"/>
                  </a:lnTo>
                  <a:lnTo>
                    <a:pt x="1800" y="7114"/>
                  </a:lnTo>
                  <a:lnTo>
                    <a:pt x="1779" y="6989"/>
                  </a:lnTo>
                  <a:lnTo>
                    <a:pt x="1716" y="6926"/>
                  </a:lnTo>
                  <a:lnTo>
                    <a:pt x="1633" y="6926"/>
                  </a:lnTo>
                  <a:lnTo>
                    <a:pt x="1612" y="6905"/>
                  </a:lnTo>
                  <a:lnTo>
                    <a:pt x="1570" y="6968"/>
                  </a:lnTo>
                  <a:lnTo>
                    <a:pt x="1528" y="7010"/>
                  </a:lnTo>
                  <a:lnTo>
                    <a:pt x="1486" y="7031"/>
                  </a:lnTo>
                  <a:lnTo>
                    <a:pt x="1424" y="6989"/>
                  </a:lnTo>
                  <a:lnTo>
                    <a:pt x="1486" y="6884"/>
                  </a:lnTo>
                  <a:lnTo>
                    <a:pt x="1382" y="6717"/>
                  </a:lnTo>
                  <a:lnTo>
                    <a:pt x="1382" y="6654"/>
                  </a:lnTo>
                  <a:lnTo>
                    <a:pt x="1361" y="6507"/>
                  </a:lnTo>
                  <a:lnTo>
                    <a:pt x="1361" y="6466"/>
                  </a:lnTo>
                  <a:lnTo>
                    <a:pt x="1403" y="6382"/>
                  </a:lnTo>
                  <a:lnTo>
                    <a:pt x="1382" y="6361"/>
                  </a:lnTo>
                  <a:lnTo>
                    <a:pt x="1319" y="6361"/>
                  </a:lnTo>
                  <a:lnTo>
                    <a:pt x="1382" y="6256"/>
                  </a:lnTo>
                  <a:lnTo>
                    <a:pt x="1382" y="6131"/>
                  </a:lnTo>
                  <a:lnTo>
                    <a:pt x="1507" y="5943"/>
                  </a:lnTo>
                  <a:lnTo>
                    <a:pt x="1528" y="5503"/>
                  </a:lnTo>
                  <a:lnTo>
                    <a:pt x="1612" y="5399"/>
                  </a:lnTo>
                  <a:lnTo>
                    <a:pt x="1633" y="5252"/>
                  </a:lnTo>
                  <a:lnTo>
                    <a:pt x="1716" y="5147"/>
                  </a:lnTo>
                  <a:lnTo>
                    <a:pt x="1737" y="5001"/>
                  </a:lnTo>
                  <a:lnTo>
                    <a:pt x="1696" y="4980"/>
                  </a:lnTo>
                  <a:lnTo>
                    <a:pt x="1716" y="4896"/>
                  </a:lnTo>
                  <a:lnTo>
                    <a:pt x="1716" y="4771"/>
                  </a:lnTo>
                  <a:lnTo>
                    <a:pt x="1779" y="4666"/>
                  </a:lnTo>
                  <a:lnTo>
                    <a:pt x="1779" y="4562"/>
                  </a:lnTo>
                  <a:lnTo>
                    <a:pt x="1675" y="4520"/>
                  </a:lnTo>
                  <a:lnTo>
                    <a:pt x="1696" y="4457"/>
                  </a:lnTo>
                  <a:lnTo>
                    <a:pt x="1696" y="4415"/>
                  </a:lnTo>
                  <a:lnTo>
                    <a:pt x="1800" y="4415"/>
                  </a:lnTo>
                  <a:lnTo>
                    <a:pt x="1821" y="4394"/>
                  </a:lnTo>
                  <a:lnTo>
                    <a:pt x="1884" y="4415"/>
                  </a:lnTo>
                  <a:lnTo>
                    <a:pt x="1926" y="4415"/>
                  </a:lnTo>
                  <a:lnTo>
                    <a:pt x="2030" y="4373"/>
                  </a:lnTo>
                  <a:lnTo>
                    <a:pt x="2051" y="4394"/>
                  </a:lnTo>
                  <a:lnTo>
                    <a:pt x="2135" y="4394"/>
                  </a:lnTo>
                  <a:lnTo>
                    <a:pt x="2219" y="4415"/>
                  </a:lnTo>
                  <a:lnTo>
                    <a:pt x="2260" y="4499"/>
                  </a:lnTo>
                  <a:lnTo>
                    <a:pt x="2219" y="4520"/>
                  </a:lnTo>
                  <a:lnTo>
                    <a:pt x="2219" y="4687"/>
                  </a:lnTo>
                  <a:lnTo>
                    <a:pt x="2260" y="4792"/>
                  </a:lnTo>
                  <a:lnTo>
                    <a:pt x="2240" y="4813"/>
                  </a:lnTo>
                  <a:lnTo>
                    <a:pt x="2198" y="4917"/>
                  </a:lnTo>
                  <a:lnTo>
                    <a:pt x="2302" y="4896"/>
                  </a:lnTo>
                  <a:lnTo>
                    <a:pt x="2365" y="4917"/>
                  </a:lnTo>
                  <a:lnTo>
                    <a:pt x="2470" y="4896"/>
                  </a:lnTo>
                  <a:lnTo>
                    <a:pt x="2616" y="4917"/>
                  </a:lnTo>
                  <a:lnTo>
                    <a:pt x="2658" y="4980"/>
                  </a:lnTo>
                  <a:lnTo>
                    <a:pt x="2658" y="4938"/>
                  </a:lnTo>
                  <a:lnTo>
                    <a:pt x="2658" y="4917"/>
                  </a:lnTo>
                  <a:lnTo>
                    <a:pt x="2721" y="4875"/>
                  </a:lnTo>
                  <a:lnTo>
                    <a:pt x="2784" y="4896"/>
                  </a:lnTo>
                  <a:lnTo>
                    <a:pt x="2951" y="5043"/>
                  </a:lnTo>
                  <a:lnTo>
                    <a:pt x="3014" y="5085"/>
                  </a:lnTo>
                  <a:lnTo>
                    <a:pt x="3014" y="5127"/>
                  </a:lnTo>
                  <a:lnTo>
                    <a:pt x="3076" y="5127"/>
                  </a:lnTo>
                  <a:lnTo>
                    <a:pt x="3181" y="5231"/>
                  </a:lnTo>
                  <a:lnTo>
                    <a:pt x="3202" y="5252"/>
                  </a:lnTo>
                  <a:lnTo>
                    <a:pt x="3244" y="5252"/>
                  </a:lnTo>
                  <a:lnTo>
                    <a:pt x="3244" y="5189"/>
                  </a:lnTo>
                  <a:lnTo>
                    <a:pt x="3286" y="5189"/>
                  </a:lnTo>
                  <a:lnTo>
                    <a:pt x="3286" y="5106"/>
                  </a:lnTo>
                  <a:lnTo>
                    <a:pt x="3307" y="4875"/>
                  </a:lnTo>
                  <a:lnTo>
                    <a:pt x="3265" y="4771"/>
                  </a:lnTo>
                  <a:lnTo>
                    <a:pt x="3160" y="4708"/>
                  </a:lnTo>
                  <a:lnTo>
                    <a:pt x="3097" y="4478"/>
                  </a:lnTo>
                  <a:lnTo>
                    <a:pt x="3139" y="4269"/>
                  </a:lnTo>
                  <a:lnTo>
                    <a:pt x="3202" y="4143"/>
                  </a:lnTo>
                  <a:lnTo>
                    <a:pt x="3265" y="3955"/>
                  </a:lnTo>
                  <a:lnTo>
                    <a:pt x="3369" y="3787"/>
                  </a:lnTo>
                  <a:lnTo>
                    <a:pt x="3495" y="3787"/>
                  </a:lnTo>
                  <a:lnTo>
                    <a:pt x="3767" y="3725"/>
                  </a:lnTo>
                  <a:lnTo>
                    <a:pt x="3913" y="3725"/>
                  </a:lnTo>
                  <a:lnTo>
                    <a:pt x="3976" y="3766"/>
                  </a:lnTo>
                  <a:lnTo>
                    <a:pt x="4123" y="3683"/>
                  </a:lnTo>
                  <a:lnTo>
                    <a:pt x="4248" y="3683"/>
                  </a:lnTo>
                  <a:lnTo>
                    <a:pt x="4395" y="3746"/>
                  </a:lnTo>
                  <a:lnTo>
                    <a:pt x="4541" y="3725"/>
                  </a:lnTo>
                  <a:lnTo>
                    <a:pt x="4646" y="3787"/>
                  </a:lnTo>
                  <a:lnTo>
                    <a:pt x="4771" y="3725"/>
                  </a:lnTo>
                  <a:lnTo>
                    <a:pt x="4855" y="3641"/>
                  </a:lnTo>
                  <a:lnTo>
                    <a:pt x="4855" y="3432"/>
                  </a:lnTo>
                  <a:lnTo>
                    <a:pt x="4834" y="3348"/>
                  </a:lnTo>
                  <a:lnTo>
                    <a:pt x="4855" y="3243"/>
                  </a:lnTo>
                  <a:lnTo>
                    <a:pt x="4855" y="3160"/>
                  </a:lnTo>
                  <a:lnTo>
                    <a:pt x="4876" y="3034"/>
                  </a:lnTo>
                  <a:lnTo>
                    <a:pt x="4876" y="2950"/>
                  </a:lnTo>
                  <a:lnTo>
                    <a:pt x="4729" y="2846"/>
                  </a:lnTo>
                  <a:lnTo>
                    <a:pt x="4750" y="2804"/>
                  </a:lnTo>
                  <a:lnTo>
                    <a:pt x="4667" y="2741"/>
                  </a:lnTo>
                  <a:lnTo>
                    <a:pt x="4541" y="2741"/>
                  </a:lnTo>
                  <a:lnTo>
                    <a:pt x="4437" y="2616"/>
                  </a:lnTo>
                  <a:lnTo>
                    <a:pt x="4332" y="2532"/>
                  </a:lnTo>
                  <a:lnTo>
                    <a:pt x="4353" y="2469"/>
                  </a:lnTo>
                  <a:lnTo>
                    <a:pt x="4353" y="2281"/>
                  </a:lnTo>
                  <a:lnTo>
                    <a:pt x="4311" y="2155"/>
                  </a:lnTo>
                  <a:lnTo>
                    <a:pt x="4353" y="2072"/>
                  </a:lnTo>
                  <a:lnTo>
                    <a:pt x="4353" y="1988"/>
                  </a:lnTo>
                  <a:lnTo>
                    <a:pt x="4311" y="1862"/>
                  </a:lnTo>
                  <a:lnTo>
                    <a:pt x="4185" y="1758"/>
                  </a:lnTo>
                  <a:lnTo>
                    <a:pt x="3913" y="1570"/>
                  </a:lnTo>
                  <a:lnTo>
                    <a:pt x="3830" y="1423"/>
                  </a:lnTo>
                  <a:lnTo>
                    <a:pt x="3579" y="1339"/>
                  </a:lnTo>
                  <a:lnTo>
                    <a:pt x="3390" y="1381"/>
                  </a:lnTo>
                  <a:lnTo>
                    <a:pt x="3265" y="1653"/>
                  </a:lnTo>
                  <a:lnTo>
                    <a:pt x="3014" y="1674"/>
                  </a:lnTo>
                  <a:lnTo>
                    <a:pt x="2930" y="1549"/>
                  </a:lnTo>
                  <a:lnTo>
                    <a:pt x="2825" y="1549"/>
                  </a:lnTo>
                  <a:lnTo>
                    <a:pt x="2616" y="1444"/>
                  </a:lnTo>
                  <a:lnTo>
                    <a:pt x="2428" y="1528"/>
                  </a:lnTo>
                  <a:lnTo>
                    <a:pt x="2428" y="1653"/>
                  </a:lnTo>
                  <a:lnTo>
                    <a:pt x="2260" y="1674"/>
                  </a:lnTo>
                  <a:lnTo>
                    <a:pt x="2114" y="1758"/>
                  </a:lnTo>
                  <a:lnTo>
                    <a:pt x="2114" y="1465"/>
                  </a:lnTo>
                  <a:lnTo>
                    <a:pt x="2114" y="1256"/>
                  </a:lnTo>
                  <a:lnTo>
                    <a:pt x="2051" y="1130"/>
                  </a:lnTo>
                  <a:lnTo>
                    <a:pt x="2114" y="1025"/>
                  </a:lnTo>
                  <a:lnTo>
                    <a:pt x="2135" y="942"/>
                  </a:lnTo>
                  <a:lnTo>
                    <a:pt x="2051" y="837"/>
                  </a:lnTo>
                  <a:lnTo>
                    <a:pt x="2135" y="712"/>
                  </a:lnTo>
                  <a:lnTo>
                    <a:pt x="2114" y="607"/>
                  </a:lnTo>
                  <a:lnTo>
                    <a:pt x="1905" y="607"/>
                  </a:lnTo>
                  <a:lnTo>
                    <a:pt x="1821" y="691"/>
                  </a:lnTo>
                  <a:lnTo>
                    <a:pt x="1716" y="628"/>
                  </a:lnTo>
                  <a:lnTo>
                    <a:pt x="1633" y="502"/>
                  </a:lnTo>
                  <a:lnTo>
                    <a:pt x="1716" y="419"/>
                  </a:lnTo>
                  <a:lnTo>
                    <a:pt x="1696" y="230"/>
                  </a:lnTo>
                  <a:lnTo>
                    <a:pt x="1591" y="105"/>
                  </a:lnTo>
                  <a:lnTo>
                    <a:pt x="1424" y="126"/>
                  </a:lnTo>
                  <a:lnTo>
                    <a:pt x="138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2" name="Google Shape;2022;p66"/>
            <p:cNvSpPr/>
            <p:nvPr/>
          </p:nvSpPr>
          <p:spPr>
            <a:xfrm>
              <a:off x="4375443" y="2948079"/>
              <a:ext cx="61050" cy="131125"/>
            </a:xfrm>
            <a:custGeom>
              <a:avLst/>
              <a:gdLst/>
              <a:ahLst/>
              <a:cxnLst/>
              <a:rect l="l" t="t" r="r" b="b"/>
              <a:pathLst>
                <a:path w="5127" h="11530" extrusionOk="0">
                  <a:moveTo>
                    <a:pt x="2407" y="0"/>
                  </a:moveTo>
                  <a:lnTo>
                    <a:pt x="2302" y="42"/>
                  </a:lnTo>
                  <a:lnTo>
                    <a:pt x="2344" y="63"/>
                  </a:lnTo>
                  <a:lnTo>
                    <a:pt x="2365" y="147"/>
                  </a:lnTo>
                  <a:lnTo>
                    <a:pt x="2260" y="251"/>
                  </a:lnTo>
                  <a:lnTo>
                    <a:pt x="2260" y="419"/>
                  </a:lnTo>
                  <a:lnTo>
                    <a:pt x="2281" y="523"/>
                  </a:lnTo>
                  <a:lnTo>
                    <a:pt x="2155" y="461"/>
                  </a:lnTo>
                  <a:lnTo>
                    <a:pt x="2072" y="377"/>
                  </a:lnTo>
                  <a:lnTo>
                    <a:pt x="1925" y="482"/>
                  </a:lnTo>
                  <a:lnTo>
                    <a:pt x="1716" y="544"/>
                  </a:lnTo>
                  <a:lnTo>
                    <a:pt x="1653" y="691"/>
                  </a:lnTo>
                  <a:lnTo>
                    <a:pt x="1528" y="858"/>
                  </a:lnTo>
                  <a:lnTo>
                    <a:pt x="1402" y="900"/>
                  </a:lnTo>
                  <a:lnTo>
                    <a:pt x="1214" y="1193"/>
                  </a:lnTo>
                  <a:lnTo>
                    <a:pt x="1193" y="1360"/>
                  </a:lnTo>
                  <a:lnTo>
                    <a:pt x="1235" y="1402"/>
                  </a:lnTo>
                  <a:lnTo>
                    <a:pt x="1151" y="1632"/>
                  </a:lnTo>
                  <a:lnTo>
                    <a:pt x="1005" y="1904"/>
                  </a:lnTo>
                  <a:lnTo>
                    <a:pt x="1005" y="2009"/>
                  </a:lnTo>
                  <a:lnTo>
                    <a:pt x="1130" y="2051"/>
                  </a:lnTo>
                  <a:lnTo>
                    <a:pt x="1005" y="2365"/>
                  </a:lnTo>
                  <a:lnTo>
                    <a:pt x="942" y="2616"/>
                  </a:lnTo>
                  <a:lnTo>
                    <a:pt x="879" y="2825"/>
                  </a:lnTo>
                  <a:lnTo>
                    <a:pt x="712" y="2825"/>
                  </a:lnTo>
                  <a:lnTo>
                    <a:pt x="607" y="2783"/>
                  </a:lnTo>
                  <a:lnTo>
                    <a:pt x="502" y="2783"/>
                  </a:lnTo>
                  <a:lnTo>
                    <a:pt x="565" y="3076"/>
                  </a:lnTo>
                  <a:lnTo>
                    <a:pt x="565" y="3202"/>
                  </a:lnTo>
                  <a:lnTo>
                    <a:pt x="565" y="3411"/>
                  </a:lnTo>
                  <a:lnTo>
                    <a:pt x="419" y="3411"/>
                  </a:lnTo>
                  <a:lnTo>
                    <a:pt x="440" y="3578"/>
                  </a:lnTo>
                  <a:lnTo>
                    <a:pt x="419" y="3704"/>
                  </a:lnTo>
                  <a:lnTo>
                    <a:pt x="440" y="3808"/>
                  </a:lnTo>
                  <a:lnTo>
                    <a:pt x="398" y="4018"/>
                  </a:lnTo>
                  <a:lnTo>
                    <a:pt x="314" y="4039"/>
                  </a:lnTo>
                  <a:lnTo>
                    <a:pt x="272" y="4018"/>
                  </a:lnTo>
                  <a:lnTo>
                    <a:pt x="251" y="4122"/>
                  </a:lnTo>
                  <a:lnTo>
                    <a:pt x="251" y="4206"/>
                  </a:lnTo>
                  <a:lnTo>
                    <a:pt x="251" y="4332"/>
                  </a:lnTo>
                  <a:lnTo>
                    <a:pt x="189" y="4457"/>
                  </a:lnTo>
                  <a:lnTo>
                    <a:pt x="147" y="4436"/>
                  </a:lnTo>
                  <a:lnTo>
                    <a:pt x="42" y="4562"/>
                  </a:lnTo>
                  <a:lnTo>
                    <a:pt x="0" y="4666"/>
                  </a:lnTo>
                  <a:lnTo>
                    <a:pt x="0" y="4729"/>
                  </a:lnTo>
                  <a:lnTo>
                    <a:pt x="84" y="4834"/>
                  </a:lnTo>
                  <a:lnTo>
                    <a:pt x="105" y="4980"/>
                  </a:lnTo>
                  <a:lnTo>
                    <a:pt x="377" y="5231"/>
                  </a:lnTo>
                  <a:lnTo>
                    <a:pt x="377" y="5231"/>
                  </a:lnTo>
                  <a:lnTo>
                    <a:pt x="314" y="5127"/>
                  </a:lnTo>
                  <a:lnTo>
                    <a:pt x="314" y="5064"/>
                  </a:lnTo>
                  <a:lnTo>
                    <a:pt x="398" y="5148"/>
                  </a:lnTo>
                  <a:lnTo>
                    <a:pt x="523" y="5148"/>
                  </a:lnTo>
                  <a:lnTo>
                    <a:pt x="419" y="5231"/>
                  </a:lnTo>
                  <a:lnTo>
                    <a:pt x="440" y="5273"/>
                  </a:lnTo>
                  <a:lnTo>
                    <a:pt x="565" y="5273"/>
                  </a:lnTo>
                  <a:lnTo>
                    <a:pt x="565" y="5189"/>
                  </a:lnTo>
                  <a:lnTo>
                    <a:pt x="586" y="5273"/>
                  </a:lnTo>
                  <a:lnTo>
                    <a:pt x="691" y="5273"/>
                  </a:lnTo>
                  <a:lnTo>
                    <a:pt x="733" y="5357"/>
                  </a:lnTo>
                  <a:lnTo>
                    <a:pt x="921" y="5399"/>
                  </a:lnTo>
                  <a:lnTo>
                    <a:pt x="1026" y="5566"/>
                  </a:lnTo>
                  <a:lnTo>
                    <a:pt x="1026" y="5671"/>
                  </a:lnTo>
                  <a:lnTo>
                    <a:pt x="942" y="5692"/>
                  </a:lnTo>
                  <a:lnTo>
                    <a:pt x="900" y="5608"/>
                  </a:lnTo>
                  <a:lnTo>
                    <a:pt x="816" y="5671"/>
                  </a:lnTo>
                  <a:lnTo>
                    <a:pt x="900" y="5754"/>
                  </a:lnTo>
                  <a:lnTo>
                    <a:pt x="921" y="5775"/>
                  </a:lnTo>
                  <a:lnTo>
                    <a:pt x="900" y="5796"/>
                  </a:lnTo>
                  <a:lnTo>
                    <a:pt x="795" y="5775"/>
                  </a:lnTo>
                  <a:lnTo>
                    <a:pt x="774" y="5671"/>
                  </a:lnTo>
                  <a:lnTo>
                    <a:pt x="670" y="5671"/>
                  </a:lnTo>
                  <a:lnTo>
                    <a:pt x="670" y="5712"/>
                  </a:lnTo>
                  <a:lnTo>
                    <a:pt x="795" y="5817"/>
                  </a:lnTo>
                  <a:lnTo>
                    <a:pt x="795" y="5880"/>
                  </a:lnTo>
                  <a:lnTo>
                    <a:pt x="900" y="6005"/>
                  </a:lnTo>
                  <a:lnTo>
                    <a:pt x="1109" y="6068"/>
                  </a:lnTo>
                  <a:lnTo>
                    <a:pt x="1088" y="5880"/>
                  </a:lnTo>
                  <a:lnTo>
                    <a:pt x="1026" y="5775"/>
                  </a:lnTo>
                  <a:lnTo>
                    <a:pt x="1151" y="5859"/>
                  </a:lnTo>
                  <a:lnTo>
                    <a:pt x="1151" y="5964"/>
                  </a:lnTo>
                  <a:lnTo>
                    <a:pt x="1214" y="6068"/>
                  </a:lnTo>
                  <a:lnTo>
                    <a:pt x="1298" y="6131"/>
                  </a:lnTo>
                  <a:lnTo>
                    <a:pt x="1319" y="6298"/>
                  </a:lnTo>
                  <a:lnTo>
                    <a:pt x="1402" y="6382"/>
                  </a:lnTo>
                  <a:lnTo>
                    <a:pt x="1360" y="6403"/>
                  </a:lnTo>
                  <a:lnTo>
                    <a:pt x="1402" y="6445"/>
                  </a:lnTo>
                  <a:lnTo>
                    <a:pt x="1465" y="6487"/>
                  </a:lnTo>
                  <a:lnTo>
                    <a:pt x="1465" y="6717"/>
                  </a:lnTo>
                  <a:lnTo>
                    <a:pt x="1570" y="6947"/>
                  </a:lnTo>
                  <a:lnTo>
                    <a:pt x="1632" y="7010"/>
                  </a:lnTo>
                  <a:lnTo>
                    <a:pt x="1486" y="7114"/>
                  </a:lnTo>
                  <a:lnTo>
                    <a:pt x="1402" y="7658"/>
                  </a:lnTo>
                  <a:lnTo>
                    <a:pt x="1444" y="7784"/>
                  </a:lnTo>
                  <a:lnTo>
                    <a:pt x="1423" y="7847"/>
                  </a:lnTo>
                  <a:lnTo>
                    <a:pt x="1444" y="7889"/>
                  </a:lnTo>
                  <a:lnTo>
                    <a:pt x="1528" y="7742"/>
                  </a:lnTo>
                  <a:lnTo>
                    <a:pt x="1653" y="7637"/>
                  </a:lnTo>
                  <a:lnTo>
                    <a:pt x="1716" y="7470"/>
                  </a:lnTo>
                  <a:lnTo>
                    <a:pt x="1716" y="7658"/>
                  </a:lnTo>
                  <a:lnTo>
                    <a:pt x="1549" y="7805"/>
                  </a:lnTo>
                  <a:lnTo>
                    <a:pt x="1549" y="7972"/>
                  </a:lnTo>
                  <a:lnTo>
                    <a:pt x="1632" y="7951"/>
                  </a:lnTo>
                  <a:lnTo>
                    <a:pt x="1632" y="7868"/>
                  </a:lnTo>
                  <a:lnTo>
                    <a:pt x="1779" y="7784"/>
                  </a:lnTo>
                  <a:lnTo>
                    <a:pt x="1863" y="7868"/>
                  </a:lnTo>
                  <a:lnTo>
                    <a:pt x="1925" y="7868"/>
                  </a:lnTo>
                  <a:lnTo>
                    <a:pt x="1925" y="7805"/>
                  </a:lnTo>
                  <a:lnTo>
                    <a:pt x="1946" y="7847"/>
                  </a:lnTo>
                  <a:lnTo>
                    <a:pt x="1988" y="7847"/>
                  </a:lnTo>
                  <a:lnTo>
                    <a:pt x="2009" y="7805"/>
                  </a:lnTo>
                  <a:lnTo>
                    <a:pt x="2135" y="7805"/>
                  </a:lnTo>
                  <a:lnTo>
                    <a:pt x="2365" y="7658"/>
                  </a:lnTo>
                  <a:lnTo>
                    <a:pt x="2386" y="7575"/>
                  </a:lnTo>
                  <a:lnTo>
                    <a:pt x="2448" y="7596"/>
                  </a:lnTo>
                  <a:lnTo>
                    <a:pt x="2511" y="7596"/>
                  </a:lnTo>
                  <a:lnTo>
                    <a:pt x="2658" y="7533"/>
                  </a:lnTo>
                  <a:lnTo>
                    <a:pt x="2574" y="7491"/>
                  </a:lnTo>
                  <a:lnTo>
                    <a:pt x="2574" y="7470"/>
                  </a:lnTo>
                  <a:lnTo>
                    <a:pt x="2511" y="7365"/>
                  </a:lnTo>
                  <a:lnTo>
                    <a:pt x="2574" y="7365"/>
                  </a:lnTo>
                  <a:lnTo>
                    <a:pt x="2616" y="7449"/>
                  </a:lnTo>
                  <a:lnTo>
                    <a:pt x="2720" y="7470"/>
                  </a:lnTo>
                  <a:lnTo>
                    <a:pt x="2888" y="7345"/>
                  </a:lnTo>
                  <a:lnTo>
                    <a:pt x="2867" y="7282"/>
                  </a:lnTo>
                  <a:lnTo>
                    <a:pt x="2909" y="7240"/>
                  </a:lnTo>
                  <a:lnTo>
                    <a:pt x="2909" y="7114"/>
                  </a:lnTo>
                  <a:lnTo>
                    <a:pt x="2867" y="7052"/>
                  </a:lnTo>
                  <a:lnTo>
                    <a:pt x="2867" y="7010"/>
                  </a:lnTo>
                  <a:lnTo>
                    <a:pt x="2888" y="6947"/>
                  </a:lnTo>
                  <a:lnTo>
                    <a:pt x="2804" y="6863"/>
                  </a:lnTo>
                  <a:lnTo>
                    <a:pt x="2909" y="6947"/>
                  </a:lnTo>
                  <a:lnTo>
                    <a:pt x="2909" y="7010"/>
                  </a:lnTo>
                  <a:lnTo>
                    <a:pt x="2992" y="7010"/>
                  </a:lnTo>
                  <a:lnTo>
                    <a:pt x="2992" y="7073"/>
                  </a:lnTo>
                  <a:lnTo>
                    <a:pt x="3118" y="7282"/>
                  </a:lnTo>
                  <a:lnTo>
                    <a:pt x="3181" y="7365"/>
                  </a:lnTo>
                  <a:lnTo>
                    <a:pt x="3202" y="7491"/>
                  </a:lnTo>
                  <a:lnTo>
                    <a:pt x="3306" y="7491"/>
                  </a:lnTo>
                  <a:lnTo>
                    <a:pt x="3390" y="7470"/>
                  </a:lnTo>
                  <a:lnTo>
                    <a:pt x="3411" y="7386"/>
                  </a:lnTo>
                  <a:lnTo>
                    <a:pt x="3411" y="7470"/>
                  </a:lnTo>
                  <a:lnTo>
                    <a:pt x="3390" y="7533"/>
                  </a:lnTo>
                  <a:lnTo>
                    <a:pt x="3432" y="7658"/>
                  </a:lnTo>
                  <a:lnTo>
                    <a:pt x="3432" y="7700"/>
                  </a:lnTo>
                  <a:lnTo>
                    <a:pt x="3411" y="7742"/>
                  </a:lnTo>
                  <a:lnTo>
                    <a:pt x="3432" y="7847"/>
                  </a:lnTo>
                  <a:lnTo>
                    <a:pt x="3495" y="7889"/>
                  </a:lnTo>
                  <a:lnTo>
                    <a:pt x="3536" y="8307"/>
                  </a:lnTo>
                  <a:lnTo>
                    <a:pt x="3578" y="8328"/>
                  </a:lnTo>
                  <a:lnTo>
                    <a:pt x="3578" y="8516"/>
                  </a:lnTo>
                  <a:lnTo>
                    <a:pt x="3725" y="8600"/>
                  </a:lnTo>
                  <a:lnTo>
                    <a:pt x="3704" y="8642"/>
                  </a:lnTo>
                  <a:lnTo>
                    <a:pt x="3704" y="8788"/>
                  </a:lnTo>
                  <a:lnTo>
                    <a:pt x="3767" y="8851"/>
                  </a:lnTo>
                  <a:lnTo>
                    <a:pt x="3767" y="9123"/>
                  </a:lnTo>
                  <a:lnTo>
                    <a:pt x="3829" y="9228"/>
                  </a:lnTo>
                  <a:lnTo>
                    <a:pt x="3829" y="9332"/>
                  </a:lnTo>
                  <a:lnTo>
                    <a:pt x="3850" y="9311"/>
                  </a:lnTo>
                  <a:lnTo>
                    <a:pt x="3871" y="9123"/>
                  </a:lnTo>
                  <a:lnTo>
                    <a:pt x="3955" y="9249"/>
                  </a:lnTo>
                  <a:lnTo>
                    <a:pt x="3976" y="9374"/>
                  </a:lnTo>
                  <a:lnTo>
                    <a:pt x="4059" y="9458"/>
                  </a:lnTo>
                  <a:lnTo>
                    <a:pt x="4080" y="9793"/>
                  </a:lnTo>
                  <a:lnTo>
                    <a:pt x="4164" y="9855"/>
                  </a:lnTo>
                  <a:lnTo>
                    <a:pt x="4185" y="9960"/>
                  </a:lnTo>
                  <a:lnTo>
                    <a:pt x="4143" y="10002"/>
                  </a:lnTo>
                  <a:lnTo>
                    <a:pt x="4164" y="10169"/>
                  </a:lnTo>
                  <a:lnTo>
                    <a:pt x="4227" y="10253"/>
                  </a:lnTo>
                  <a:lnTo>
                    <a:pt x="4290" y="10316"/>
                  </a:lnTo>
                  <a:lnTo>
                    <a:pt x="4227" y="10399"/>
                  </a:lnTo>
                  <a:lnTo>
                    <a:pt x="4269" y="10567"/>
                  </a:lnTo>
                  <a:lnTo>
                    <a:pt x="4248" y="10609"/>
                  </a:lnTo>
                  <a:lnTo>
                    <a:pt x="4227" y="10630"/>
                  </a:lnTo>
                  <a:lnTo>
                    <a:pt x="4185" y="10797"/>
                  </a:lnTo>
                  <a:lnTo>
                    <a:pt x="4227" y="10818"/>
                  </a:lnTo>
                  <a:lnTo>
                    <a:pt x="4227" y="10922"/>
                  </a:lnTo>
                  <a:lnTo>
                    <a:pt x="4143" y="11027"/>
                  </a:lnTo>
                  <a:lnTo>
                    <a:pt x="4101" y="11048"/>
                  </a:lnTo>
                  <a:lnTo>
                    <a:pt x="4059" y="11048"/>
                  </a:lnTo>
                  <a:lnTo>
                    <a:pt x="4059" y="11111"/>
                  </a:lnTo>
                  <a:lnTo>
                    <a:pt x="4101" y="11194"/>
                  </a:lnTo>
                  <a:lnTo>
                    <a:pt x="4101" y="11341"/>
                  </a:lnTo>
                  <a:lnTo>
                    <a:pt x="4164" y="11529"/>
                  </a:lnTo>
                  <a:lnTo>
                    <a:pt x="4185" y="11341"/>
                  </a:lnTo>
                  <a:lnTo>
                    <a:pt x="4248" y="11236"/>
                  </a:lnTo>
                  <a:lnTo>
                    <a:pt x="4248" y="11257"/>
                  </a:lnTo>
                  <a:lnTo>
                    <a:pt x="4269" y="11153"/>
                  </a:lnTo>
                  <a:lnTo>
                    <a:pt x="4332" y="11090"/>
                  </a:lnTo>
                  <a:lnTo>
                    <a:pt x="4332" y="10922"/>
                  </a:lnTo>
                  <a:lnTo>
                    <a:pt x="4457" y="10839"/>
                  </a:lnTo>
                  <a:lnTo>
                    <a:pt x="4583" y="10483"/>
                  </a:lnTo>
                  <a:lnTo>
                    <a:pt x="4666" y="10420"/>
                  </a:lnTo>
                  <a:lnTo>
                    <a:pt x="4666" y="10253"/>
                  </a:lnTo>
                  <a:lnTo>
                    <a:pt x="4583" y="10106"/>
                  </a:lnTo>
                  <a:lnTo>
                    <a:pt x="4604" y="9960"/>
                  </a:lnTo>
                  <a:lnTo>
                    <a:pt x="4562" y="9855"/>
                  </a:lnTo>
                  <a:lnTo>
                    <a:pt x="4541" y="9667"/>
                  </a:lnTo>
                  <a:lnTo>
                    <a:pt x="4457" y="9583"/>
                  </a:lnTo>
                  <a:lnTo>
                    <a:pt x="4478" y="9479"/>
                  </a:lnTo>
                  <a:lnTo>
                    <a:pt x="4457" y="9353"/>
                  </a:lnTo>
                  <a:lnTo>
                    <a:pt x="4478" y="9270"/>
                  </a:lnTo>
                  <a:lnTo>
                    <a:pt x="4436" y="9018"/>
                  </a:lnTo>
                  <a:lnTo>
                    <a:pt x="4269" y="8851"/>
                  </a:lnTo>
                  <a:lnTo>
                    <a:pt x="4080" y="8725"/>
                  </a:lnTo>
                  <a:lnTo>
                    <a:pt x="3934" y="8537"/>
                  </a:lnTo>
                  <a:lnTo>
                    <a:pt x="3934" y="8433"/>
                  </a:lnTo>
                  <a:lnTo>
                    <a:pt x="3850" y="8223"/>
                  </a:lnTo>
                  <a:lnTo>
                    <a:pt x="3955" y="8181"/>
                  </a:lnTo>
                  <a:lnTo>
                    <a:pt x="3976" y="8077"/>
                  </a:lnTo>
                  <a:lnTo>
                    <a:pt x="3934" y="7784"/>
                  </a:lnTo>
                  <a:lnTo>
                    <a:pt x="3955" y="7700"/>
                  </a:lnTo>
                  <a:lnTo>
                    <a:pt x="4059" y="7658"/>
                  </a:lnTo>
                  <a:lnTo>
                    <a:pt x="4059" y="7533"/>
                  </a:lnTo>
                  <a:lnTo>
                    <a:pt x="3934" y="7470"/>
                  </a:lnTo>
                  <a:lnTo>
                    <a:pt x="3934" y="7345"/>
                  </a:lnTo>
                  <a:lnTo>
                    <a:pt x="3850" y="7219"/>
                  </a:lnTo>
                  <a:lnTo>
                    <a:pt x="3767" y="7156"/>
                  </a:lnTo>
                  <a:lnTo>
                    <a:pt x="3620" y="6863"/>
                  </a:lnTo>
                  <a:lnTo>
                    <a:pt x="3495" y="6759"/>
                  </a:lnTo>
                  <a:lnTo>
                    <a:pt x="3432" y="6696"/>
                  </a:lnTo>
                  <a:lnTo>
                    <a:pt x="3348" y="6612"/>
                  </a:lnTo>
                  <a:lnTo>
                    <a:pt x="3243" y="6424"/>
                  </a:lnTo>
                  <a:lnTo>
                    <a:pt x="3181" y="6403"/>
                  </a:lnTo>
                  <a:lnTo>
                    <a:pt x="3181" y="6319"/>
                  </a:lnTo>
                  <a:lnTo>
                    <a:pt x="3306" y="6236"/>
                  </a:lnTo>
                  <a:lnTo>
                    <a:pt x="3411" y="6173"/>
                  </a:lnTo>
                  <a:lnTo>
                    <a:pt x="3390" y="6089"/>
                  </a:lnTo>
                  <a:lnTo>
                    <a:pt x="3390" y="5901"/>
                  </a:lnTo>
                  <a:lnTo>
                    <a:pt x="3453" y="5817"/>
                  </a:lnTo>
                  <a:lnTo>
                    <a:pt x="3432" y="5650"/>
                  </a:lnTo>
                  <a:lnTo>
                    <a:pt x="3515" y="5503"/>
                  </a:lnTo>
                  <a:lnTo>
                    <a:pt x="3746" y="5587"/>
                  </a:lnTo>
                  <a:lnTo>
                    <a:pt x="3871" y="5482"/>
                  </a:lnTo>
                  <a:lnTo>
                    <a:pt x="4018" y="5482"/>
                  </a:lnTo>
                  <a:lnTo>
                    <a:pt x="4039" y="5440"/>
                  </a:lnTo>
                  <a:lnTo>
                    <a:pt x="4039" y="5273"/>
                  </a:lnTo>
                  <a:lnTo>
                    <a:pt x="4101" y="5231"/>
                  </a:lnTo>
                  <a:lnTo>
                    <a:pt x="4269" y="5252"/>
                  </a:lnTo>
                  <a:lnTo>
                    <a:pt x="4290" y="5168"/>
                  </a:lnTo>
                  <a:lnTo>
                    <a:pt x="4248" y="5085"/>
                  </a:lnTo>
                  <a:lnTo>
                    <a:pt x="4248" y="5022"/>
                  </a:lnTo>
                  <a:lnTo>
                    <a:pt x="4373" y="4980"/>
                  </a:lnTo>
                  <a:lnTo>
                    <a:pt x="4541" y="4959"/>
                  </a:lnTo>
                  <a:lnTo>
                    <a:pt x="4562" y="4959"/>
                  </a:lnTo>
                  <a:lnTo>
                    <a:pt x="4604" y="4813"/>
                  </a:lnTo>
                  <a:lnTo>
                    <a:pt x="4666" y="4813"/>
                  </a:lnTo>
                  <a:lnTo>
                    <a:pt x="4792" y="4729"/>
                  </a:lnTo>
                  <a:lnTo>
                    <a:pt x="4750" y="4645"/>
                  </a:lnTo>
                  <a:lnTo>
                    <a:pt x="4792" y="4541"/>
                  </a:lnTo>
                  <a:lnTo>
                    <a:pt x="4813" y="4436"/>
                  </a:lnTo>
                  <a:lnTo>
                    <a:pt x="4980" y="4415"/>
                  </a:lnTo>
                  <a:lnTo>
                    <a:pt x="5085" y="4311"/>
                  </a:lnTo>
                  <a:lnTo>
                    <a:pt x="5127" y="4290"/>
                  </a:lnTo>
                  <a:lnTo>
                    <a:pt x="5127" y="4143"/>
                  </a:lnTo>
                  <a:lnTo>
                    <a:pt x="5022" y="4122"/>
                  </a:lnTo>
                  <a:lnTo>
                    <a:pt x="4771" y="4227"/>
                  </a:lnTo>
                  <a:lnTo>
                    <a:pt x="4624" y="4227"/>
                  </a:lnTo>
                  <a:lnTo>
                    <a:pt x="4562" y="4311"/>
                  </a:lnTo>
                  <a:lnTo>
                    <a:pt x="4436" y="4248"/>
                  </a:lnTo>
                  <a:lnTo>
                    <a:pt x="4394" y="4122"/>
                  </a:lnTo>
                  <a:lnTo>
                    <a:pt x="4436" y="3997"/>
                  </a:lnTo>
                  <a:lnTo>
                    <a:pt x="4352" y="3892"/>
                  </a:lnTo>
                  <a:lnTo>
                    <a:pt x="4269" y="3976"/>
                  </a:lnTo>
                  <a:lnTo>
                    <a:pt x="4227" y="3913"/>
                  </a:lnTo>
                  <a:lnTo>
                    <a:pt x="4039" y="3913"/>
                  </a:lnTo>
                  <a:lnTo>
                    <a:pt x="3955" y="3934"/>
                  </a:lnTo>
                  <a:lnTo>
                    <a:pt x="3934" y="3871"/>
                  </a:lnTo>
                  <a:lnTo>
                    <a:pt x="4039" y="3767"/>
                  </a:lnTo>
                  <a:lnTo>
                    <a:pt x="4185" y="3578"/>
                  </a:lnTo>
                  <a:lnTo>
                    <a:pt x="4164" y="3495"/>
                  </a:lnTo>
                  <a:lnTo>
                    <a:pt x="4227" y="3390"/>
                  </a:lnTo>
                  <a:lnTo>
                    <a:pt x="4227" y="3306"/>
                  </a:lnTo>
                  <a:lnTo>
                    <a:pt x="4101" y="3244"/>
                  </a:lnTo>
                  <a:lnTo>
                    <a:pt x="3955" y="3244"/>
                  </a:lnTo>
                  <a:lnTo>
                    <a:pt x="3934" y="3285"/>
                  </a:lnTo>
                  <a:lnTo>
                    <a:pt x="3871" y="3202"/>
                  </a:lnTo>
                  <a:lnTo>
                    <a:pt x="3913" y="3160"/>
                  </a:lnTo>
                  <a:lnTo>
                    <a:pt x="3767" y="3139"/>
                  </a:lnTo>
                  <a:lnTo>
                    <a:pt x="3704" y="3055"/>
                  </a:lnTo>
                  <a:lnTo>
                    <a:pt x="3725" y="2951"/>
                  </a:lnTo>
                  <a:lnTo>
                    <a:pt x="3704" y="2846"/>
                  </a:lnTo>
                  <a:lnTo>
                    <a:pt x="3557" y="2867"/>
                  </a:lnTo>
                  <a:lnTo>
                    <a:pt x="3495" y="2825"/>
                  </a:lnTo>
                  <a:lnTo>
                    <a:pt x="3515" y="2741"/>
                  </a:lnTo>
                  <a:lnTo>
                    <a:pt x="3495" y="2658"/>
                  </a:lnTo>
                  <a:lnTo>
                    <a:pt x="3223" y="2720"/>
                  </a:lnTo>
                  <a:lnTo>
                    <a:pt x="3097" y="2825"/>
                  </a:lnTo>
                  <a:lnTo>
                    <a:pt x="3034" y="2679"/>
                  </a:lnTo>
                  <a:lnTo>
                    <a:pt x="3055" y="2532"/>
                  </a:lnTo>
                  <a:lnTo>
                    <a:pt x="2992" y="2469"/>
                  </a:lnTo>
                  <a:lnTo>
                    <a:pt x="2930" y="2407"/>
                  </a:lnTo>
                  <a:lnTo>
                    <a:pt x="2825" y="2344"/>
                  </a:lnTo>
                  <a:lnTo>
                    <a:pt x="2825" y="2239"/>
                  </a:lnTo>
                  <a:lnTo>
                    <a:pt x="2888" y="2155"/>
                  </a:lnTo>
                  <a:lnTo>
                    <a:pt x="2825" y="2093"/>
                  </a:lnTo>
                  <a:lnTo>
                    <a:pt x="2888" y="2009"/>
                  </a:lnTo>
                  <a:lnTo>
                    <a:pt x="2971" y="1904"/>
                  </a:lnTo>
                  <a:lnTo>
                    <a:pt x="3034" y="1925"/>
                  </a:lnTo>
                  <a:lnTo>
                    <a:pt x="3097" y="1883"/>
                  </a:lnTo>
                  <a:lnTo>
                    <a:pt x="3034" y="1779"/>
                  </a:lnTo>
                  <a:lnTo>
                    <a:pt x="3055" y="1695"/>
                  </a:lnTo>
                  <a:lnTo>
                    <a:pt x="3118" y="1674"/>
                  </a:lnTo>
                  <a:lnTo>
                    <a:pt x="3139" y="1570"/>
                  </a:lnTo>
                  <a:lnTo>
                    <a:pt x="3243" y="1507"/>
                  </a:lnTo>
                  <a:lnTo>
                    <a:pt x="3285" y="1423"/>
                  </a:lnTo>
                  <a:lnTo>
                    <a:pt x="3285" y="1319"/>
                  </a:lnTo>
                  <a:lnTo>
                    <a:pt x="3306" y="1067"/>
                  </a:lnTo>
                  <a:lnTo>
                    <a:pt x="3285" y="900"/>
                  </a:lnTo>
                  <a:lnTo>
                    <a:pt x="3202" y="691"/>
                  </a:lnTo>
                  <a:lnTo>
                    <a:pt x="3202" y="544"/>
                  </a:lnTo>
                  <a:lnTo>
                    <a:pt x="3097" y="419"/>
                  </a:lnTo>
                  <a:lnTo>
                    <a:pt x="2992" y="419"/>
                  </a:lnTo>
                  <a:lnTo>
                    <a:pt x="2971" y="251"/>
                  </a:lnTo>
                  <a:lnTo>
                    <a:pt x="2825" y="147"/>
                  </a:lnTo>
                  <a:lnTo>
                    <a:pt x="2783" y="0"/>
                  </a:lnTo>
                  <a:lnTo>
                    <a:pt x="2616" y="0"/>
                  </a:lnTo>
                  <a:lnTo>
                    <a:pt x="2532" y="42"/>
                  </a:lnTo>
                  <a:lnTo>
                    <a:pt x="240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3" name="Google Shape;2023;p66"/>
            <p:cNvSpPr/>
            <p:nvPr/>
          </p:nvSpPr>
          <p:spPr>
            <a:xfrm>
              <a:off x="4343054" y="2959975"/>
              <a:ext cx="35389" cy="43557"/>
            </a:xfrm>
            <a:custGeom>
              <a:avLst/>
              <a:gdLst/>
              <a:ahLst/>
              <a:cxnLst/>
              <a:rect l="l" t="t" r="r" b="b"/>
              <a:pathLst>
                <a:path w="2972" h="3830" extrusionOk="0">
                  <a:moveTo>
                    <a:pt x="209" y="1"/>
                  </a:moveTo>
                  <a:lnTo>
                    <a:pt x="189" y="63"/>
                  </a:lnTo>
                  <a:lnTo>
                    <a:pt x="147" y="63"/>
                  </a:lnTo>
                  <a:lnTo>
                    <a:pt x="147" y="147"/>
                  </a:lnTo>
                  <a:lnTo>
                    <a:pt x="189" y="210"/>
                  </a:lnTo>
                  <a:lnTo>
                    <a:pt x="147" y="356"/>
                  </a:lnTo>
                  <a:lnTo>
                    <a:pt x="21" y="482"/>
                  </a:lnTo>
                  <a:lnTo>
                    <a:pt x="0" y="628"/>
                  </a:lnTo>
                  <a:lnTo>
                    <a:pt x="293" y="733"/>
                  </a:lnTo>
                  <a:lnTo>
                    <a:pt x="398" y="670"/>
                  </a:lnTo>
                  <a:lnTo>
                    <a:pt x="523" y="691"/>
                  </a:lnTo>
                  <a:lnTo>
                    <a:pt x="502" y="754"/>
                  </a:lnTo>
                  <a:lnTo>
                    <a:pt x="544" y="900"/>
                  </a:lnTo>
                  <a:lnTo>
                    <a:pt x="481" y="963"/>
                  </a:lnTo>
                  <a:lnTo>
                    <a:pt x="398" y="942"/>
                  </a:lnTo>
                  <a:lnTo>
                    <a:pt x="314" y="984"/>
                  </a:lnTo>
                  <a:lnTo>
                    <a:pt x="272" y="1151"/>
                  </a:lnTo>
                  <a:lnTo>
                    <a:pt x="168" y="1172"/>
                  </a:lnTo>
                  <a:lnTo>
                    <a:pt x="168" y="1402"/>
                  </a:lnTo>
                  <a:lnTo>
                    <a:pt x="293" y="1570"/>
                  </a:lnTo>
                  <a:lnTo>
                    <a:pt x="419" y="1612"/>
                  </a:lnTo>
                  <a:lnTo>
                    <a:pt x="586" y="1800"/>
                  </a:lnTo>
                  <a:lnTo>
                    <a:pt x="586" y="1988"/>
                  </a:lnTo>
                  <a:lnTo>
                    <a:pt x="628" y="2114"/>
                  </a:lnTo>
                  <a:lnTo>
                    <a:pt x="607" y="2218"/>
                  </a:lnTo>
                  <a:lnTo>
                    <a:pt x="628" y="2407"/>
                  </a:lnTo>
                  <a:lnTo>
                    <a:pt x="816" y="2637"/>
                  </a:lnTo>
                  <a:lnTo>
                    <a:pt x="816" y="2783"/>
                  </a:lnTo>
                  <a:lnTo>
                    <a:pt x="837" y="2888"/>
                  </a:lnTo>
                  <a:lnTo>
                    <a:pt x="879" y="3076"/>
                  </a:lnTo>
                  <a:lnTo>
                    <a:pt x="921" y="3055"/>
                  </a:lnTo>
                  <a:lnTo>
                    <a:pt x="984" y="3160"/>
                  </a:lnTo>
                  <a:lnTo>
                    <a:pt x="1005" y="3202"/>
                  </a:lnTo>
                  <a:lnTo>
                    <a:pt x="1046" y="3202"/>
                  </a:lnTo>
                  <a:lnTo>
                    <a:pt x="1067" y="3139"/>
                  </a:lnTo>
                  <a:lnTo>
                    <a:pt x="1130" y="3097"/>
                  </a:lnTo>
                  <a:lnTo>
                    <a:pt x="1214" y="3160"/>
                  </a:lnTo>
                  <a:lnTo>
                    <a:pt x="1214" y="3181"/>
                  </a:lnTo>
                  <a:lnTo>
                    <a:pt x="1256" y="3160"/>
                  </a:lnTo>
                  <a:lnTo>
                    <a:pt x="1298" y="3055"/>
                  </a:lnTo>
                  <a:lnTo>
                    <a:pt x="1214" y="2930"/>
                  </a:lnTo>
                  <a:lnTo>
                    <a:pt x="1256" y="2888"/>
                  </a:lnTo>
                  <a:lnTo>
                    <a:pt x="1256" y="2783"/>
                  </a:lnTo>
                  <a:lnTo>
                    <a:pt x="1318" y="2721"/>
                  </a:lnTo>
                  <a:lnTo>
                    <a:pt x="1318" y="2742"/>
                  </a:lnTo>
                  <a:lnTo>
                    <a:pt x="1256" y="2951"/>
                  </a:lnTo>
                  <a:lnTo>
                    <a:pt x="1339" y="3055"/>
                  </a:lnTo>
                  <a:lnTo>
                    <a:pt x="1423" y="2930"/>
                  </a:lnTo>
                  <a:lnTo>
                    <a:pt x="1507" y="2888"/>
                  </a:lnTo>
                  <a:lnTo>
                    <a:pt x="1507" y="2888"/>
                  </a:lnTo>
                  <a:lnTo>
                    <a:pt x="1465" y="2951"/>
                  </a:lnTo>
                  <a:lnTo>
                    <a:pt x="1423" y="2972"/>
                  </a:lnTo>
                  <a:lnTo>
                    <a:pt x="1360" y="3076"/>
                  </a:lnTo>
                  <a:lnTo>
                    <a:pt x="1465" y="3139"/>
                  </a:lnTo>
                  <a:lnTo>
                    <a:pt x="1549" y="2951"/>
                  </a:lnTo>
                  <a:lnTo>
                    <a:pt x="1653" y="2930"/>
                  </a:lnTo>
                  <a:lnTo>
                    <a:pt x="1674" y="2762"/>
                  </a:lnTo>
                  <a:lnTo>
                    <a:pt x="1590" y="2637"/>
                  </a:lnTo>
                  <a:lnTo>
                    <a:pt x="1528" y="2616"/>
                  </a:lnTo>
                  <a:lnTo>
                    <a:pt x="1632" y="2553"/>
                  </a:lnTo>
                  <a:lnTo>
                    <a:pt x="1653" y="2511"/>
                  </a:lnTo>
                  <a:lnTo>
                    <a:pt x="1570" y="2365"/>
                  </a:lnTo>
                  <a:lnTo>
                    <a:pt x="1549" y="2156"/>
                  </a:lnTo>
                  <a:lnTo>
                    <a:pt x="1590" y="2344"/>
                  </a:lnTo>
                  <a:lnTo>
                    <a:pt x="1716" y="2449"/>
                  </a:lnTo>
                  <a:lnTo>
                    <a:pt x="1779" y="2428"/>
                  </a:lnTo>
                  <a:lnTo>
                    <a:pt x="1779" y="2470"/>
                  </a:lnTo>
                  <a:lnTo>
                    <a:pt x="1988" y="2574"/>
                  </a:lnTo>
                  <a:lnTo>
                    <a:pt x="2093" y="2511"/>
                  </a:lnTo>
                  <a:lnTo>
                    <a:pt x="2155" y="2532"/>
                  </a:lnTo>
                  <a:lnTo>
                    <a:pt x="2155" y="2470"/>
                  </a:lnTo>
                  <a:lnTo>
                    <a:pt x="2197" y="2470"/>
                  </a:lnTo>
                  <a:lnTo>
                    <a:pt x="2365" y="2888"/>
                  </a:lnTo>
                  <a:lnTo>
                    <a:pt x="2448" y="2951"/>
                  </a:lnTo>
                  <a:lnTo>
                    <a:pt x="2448" y="3034"/>
                  </a:lnTo>
                  <a:lnTo>
                    <a:pt x="2406" y="3160"/>
                  </a:lnTo>
                  <a:lnTo>
                    <a:pt x="2469" y="3181"/>
                  </a:lnTo>
                  <a:lnTo>
                    <a:pt x="2406" y="3348"/>
                  </a:lnTo>
                  <a:lnTo>
                    <a:pt x="2448" y="3369"/>
                  </a:lnTo>
                  <a:lnTo>
                    <a:pt x="2511" y="3306"/>
                  </a:lnTo>
                  <a:lnTo>
                    <a:pt x="2553" y="3265"/>
                  </a:lnTo>
                  <a:lnTo>
                    <a:pt x="2553" y="3265"/>
                  </a:lnTo>
                  <a:lnTo>
                    <a:pt x="2511" y="3369"/>
                  </a:lnTo>
                  <a:lnTo>
                    <a:pt x="2490" y="3411"/>
                  </a:lnTo>
                  <a:lnTo>
                    <a:pt x="2553" y="3495"/>
                  </a:lnTo>
                  <a:lnTo>
                    <a:pt x="2637" y="3620"/>
                  </a:lnTo>
                  <a:lnTo>
                    <a:pt x="2720" y="3830"/>
                  </a:lnTo>
                  <a:lnTo>
                    <a:pt x="2762" y="3830"/>
                  </a:lnTo>
                  <a:lnTo>
                    <a:pt x="2720" y="3683"/>
                  </a:lnTo>
                  <a:lnTo>
                    <a:pt x="2720" y="3620"/>
                  </a:lnTo>
                  <a:lnTo>
                    <a:pt x="2762" y="3516"/>
                  </a:lnTo>
                  <a:lnTo>
                    <a:pt x="2867" y="3390"/>
                  </a:lnTo>
                  <a:lnTo>
                    <a:pt x="2909" y="3411"/>
                  </a:lnTo>
                  <a:lnTo>
                    <a:pt x="2971" y="3286"/>
                  </a:lnTo>
                  <a:lnTo>
                    <a:pt x="2971" y="3160"/>
                  </a:lnTo>
                  <a:lnTo>
                    <a:pt x="2930" y="3139"/>
                  </a:lnTo>
                  <a:lnTo>
                    <a:pt x="2909" y="3076"/>
                  </a:lnTo>
                  <a:lnTo>
                    <a:pt x="2909" y="3034"/>
                  </a:lnTo>
                  <a:lnTo>
                    <a:pt x="2888" y="2972"/>
                  </a:lnTo>
                  <a:lnTo>
                    <a:pt x="2867" y="2888"/>
                  </a:lnTo>
                  <a:lnTo>
                    <a:pt x="2804" y="2742"/>
                  </a:lnTo>
                  <a:lnTo>
                    <a:pt x="2783" y="2511"/>
                  </a:lnTo>
                  <a:lnTo>
                    <a:pt x="2720" y="2428"/>
                  </a:lnTo>
                  <a:lnTo>
                    <a:pt x="2720" y="2302"/>
                  </a:lnTo>
                  <a:lnTo>
                    <a:pt x="2699" y="2135"/>
                  </a:lnTo>
                  <a:lnTo>
                    <a:pt x="2637" y="2051"/>
                  </a:lnTo>
                  <a:lnTo>
                    <a:pt x="2595" y="2009"/>
                  </a:lnTo>
                  <a:lnTo>
                    <a:pt x="2511" y="2009"/>
                  </a:lnTo>
                  <a:lnTo>
                    <a:pt x="2448" y="1946"/>
                  </a:lnTo>
                  <a:lnTo>
                    <a:pt x="2386" y="2009"/>
                  </a:lnTo>
                  <a:lnTo>
                    <a:pt x="2406" y="2051"/>
                  </a:lnTo>
                  <a:lnTo>
                    <a:pt x="2386" y="2114"/>
                  </a:lnTo>
                  <a:lnTo>
                    <a:pt x="2386" y="2156"/>
                  </a:lnTo>
                  <a:lnTo>
                    <a:pt x="2344" y="2239"/>
                  </a:lnTo>
                  <a:lnTo>
                    <a:pt x="2365" y="2302"/>
                  </a:lnTo>
                  <a:lnTo>
                    <a:pt x="2365" y="2365"/>
                  </a:lnTo>
                  <a:lnTo>
                    <a:pt x="2281" y="2365"/>
                  </a:lnTo>
                  <a:lnTo>
                    <a:pt x="2197" y="2260"/>
                  </a:lnTo>
                  <a:lnTo>
                    <a:pt x="2093" y="2156"/>
                  </a:lnTo>
                  <a:lnTo>
                    <a:pt x="2093" y="2114"/>
                  </a:lnTo>
                  <a:lnTo>
                    <a:pt x="2030" y="2051"/>
                  </a:lnTo>
                  <a:lnTo>
                    <a:pt x="1967" y="1905"/>
                  </a:lnTo>
                  <a:lnTo>
                    <a:pt x="1967" y="1821"/>
                  </a:lnTo>
                  <a:lnTo>
                    <a:pt x="2030" y="1800"/>
                  </a:lnTo>
                  <a:lnTo>
                    <a:pt x="2051" y="1716"/>
                  </a:lnTo>
                  <a:lnTo>
                    <a:pt x="2155" y="1633"/>
                  </a:lnTo>
                  <a:lnTo>
                    <a:pt x="2176" y="1695"/>
                  </a:lnTo>
                  <a:lnTo>
                    <a:pt x="2260" y="1695"/>
                  </a:lnTo>
                  <a:lnTo>
                    <a:pt x="2302" y="1633"/>
                  </a:lnTo>
                  <a:lnTo>
                    <a:pt x="2302" y="1570"/>
                  </a:lnTo>
                  <a:lnTo>
                    <a:pt x="2365" y="1528"/>
                  </a:lnTo>
                  <a:lnTo>
                    <a:pt x="2448" y="1319"/>
                  </a:lnTo>
                  <a:lnTo>
                    <a:pt x="2469" y="1193"/>
                  </a:lnTo>
                  <a:lnTo>
                    <a:pt x="2511" y="1068"/>
                  </a:lnTo>
                  <a:lnTo>
                    <a:pt x="2469" y="1047"/>
                  </a:lnTo>
                  <a:lnTo>
                    <a:pt x="2365" y="942"/>
                  </a:lnTo>
                  <a:lnTo>
                    <a:pt x="2302" y="963"/>
                  </a:lnTo>
                  <a:lnTo>
                    <a:pt x="2260" y="942"/>
                  </a:lnTo>
                  <a:lnTo>
                    <a:pt x="2176" y="942"/>
                  </a:lnTo>
                  <a:lnTo>
                    <a:pt x="1967" y="963"/>
                  </a:lnTo>
                  <a:lnTo>
                    <a:pt x="1779" y="942"/>
                  </a:lnTo>
                  <a:lnTo>
                    <a:pt x="1423" y="942"/>
                  </a:lnTo>
                  <a:lnTo>
                    <a:pt x="1298" y="879"/>
                  </a:lnTo>
                  <a:lnTo>
                    <a:pt x="1193" y="900"/>
                  </a:lnTo>
                  <a:lnTo>
                    <a:pt x="1067" y="858"/>
                  </a:lnTo>
                  <a:lnTo>
                    <a:pt x="1067" y="775"/>
                  </a:lnTo>
                  <a:lnTo>
                    <a:pt x="1026" y="649"/>
                  </a:lnTo>
                  <a:lnTo>
                    <a:pt x="1026" y="565"/>
                  </a:lnTo>
                  <a:lnTo>
                    <a:pt x="1005" y="440"/>
                  </a:lnTo>
                  <a:lnTo>
                    <a:pt x="921" y="314"/>
                  </a:lnTo>
                  <a:lnTo>
                    <a:pt x="879" y="314"/>
                  </a:lnTo>
                  <a:lnTo>
                    <a:pt x="837" y="356"/>
                  </a:lnTo>
                  <a:lnTo>
                    <a:pt x="733" y="314"/>
                  </a:lnTo>
                  <a:lnTo>
                    <a:pt x="691" y="252"/>
                  </a:lnTo>
                  <a:lnTo>
                    <a:pt x="607" y="168"/>
                  </a:lnTo>
                  <a:lnTo>
                    <a:pt x="544" y="168"/>
                  </a:lnTo>
                  <a:lnTo>
                    <a:pt x="523" y="252"/>
                  </a:lnTo>
                  <a:lnTo>
                    <a:pt x="607" y="314"/>
                  </a:lnTo>
                  <a:lnTo>
                    <a:pt x="544" y="335"/>
                  </a:lnTo>
                  <a:lnTo>
                    <a:pt x="419" y="314"/>
                  </a:lnTo>
                  <a:lnTo>
                    <a:pt x="356" y="210"/>
                  </a:lnTo>
                  <a:lnTo>
                    <a:pt x="356" y="147"/>
                  </a:lnTo>
                  <a:lnTo>
                    <a:pt x="272" y="42"/>
                  </a:lnTo>
                  <a:lnTo>
                    <a:pt x="20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4" name="Google Shape;2024;p66"/>
            <p:cNvSpPr/>
            <p:nvPr/>
          </p:nvSpPr>
          <p:spPr>
            <a:xfrm>
              <a:off x="3793178" y="2712975"/>
              <a:ext cx="26423" cy="30945"/>
            </a:xfrm>
            <a:custGeom>
              <a:avLst/>
              <a:gdLst/>
              <a:ahLst/>
              <a:cxnLst/>
              <a:rect l="l" t="t" r="r" b="b"/>
              <a:pathLst>
                <a:path w="2219" h="2721" extrusionOk="0">
                  <a:moveTo>
                    <a:pt x="1298" y="1"/>
                  </a:moveTo>
                  <a:lnTo>
                    <a:pt x="1152" y="168"/>
                  </a:lnTo>
                  <a:lnTo>
                    <a:pt x="984" y="231"/>
                  </a:lnTo>
                  <a:lnTo>
                    <a:pt x="880" y="231"/>
                  </a:lnTo>
                  <a:lnTo>
                    <a:pt x="817" y="336"/>
                  </a:lnTo>
                  <a:lnTo>
                    <a:pt x="754" y="482"/>
                  </a:lnTo>
                  <a:lnTo>
                    <a:pt x="649" y="545"/>
                  </a:lnTo>
                  <a:lnTo>
                    <a:pt x="524" y="545"/>
                  </a:lnTo>
                  <a:lnTo>
                    <a:pt x="357" y="649"/>
                  </a:lnTo>
                  <a:lnTo>
                    <a:pt x="315" y="629"/>
                  </a:lnTo>
                  <a:lnTo>
                    <a:pt x="231" y="629"/>
                  </a:lnTo>
                  <a:lnTo>
                    <a:pt x="210" y="754"/>
                  </a:lnTo>
                  <a:lnTo>
                    <a:pt x="126" y="838"/>
                  </a:lnTo>
                  <a:lnTo>
                    <a:pt x="189" y="901"/>
                  </a:lnTo>
                  <a:lnTo>
                    <a:pt x="231" y="859"/>
                  </a:lnTo>
                  <a:lnTo>
                    <a:pt x="357" y="1005"/>
                  </a:lnTo>
                  <a:lnTo>
                    <a:pt x="336" y="838"/>
                  </a:lnTo>
                  <a:lnTo>
                    <a:pt x="357" y="754"/>
                  </a:lnTo>
                  <a:lnTo>
                    <a:pt x="545" y="629"/>
                  </a:lnTo>
                  <a:lnTo>
                    <a:pt x="566" y="649"/>
                  </a:lnTo>
                  <a:lnTo>
                    <a:pt x="670" y="629"/>
                  </a:lnTo>
                  <a:lnTo>
                    <a:pt x="817" y="649"/>
                  </a:lnTo>
                  <a:lnTo>
                    <a:pt x="859" y="629"/>
                  </a:lnTo>
                  <a:lnTo>
                    <a:pt x="859" y="629"/>
                  </a:lnTo>
                  <a:cubicBezTo>
                    <a:pt x="859" y="649"/>
                    <a:pt x="838" y="649"/>
                    <a:pt x="838" y="691"/>
                  </a:cubicBezTo>
                  <a:lnTo>
                    <a:pt x="754" y="712"/>
                  </a:lnTo>
                  <a:lnTo>
                    <a:pt x="670" y="712"/>
                  </a:lnTo>
                  <a:lnTo>
                    <a:pt x="629" y="733"/>
                  </a:lnTo>
                  <a:lnTo>
                    <a:pt x="733" y="859"/>
                  </a:lnTo>
                  <a:lnTo>
                    <a:pt x="691" y="921"/>
                  </a:lnTo>
                  <a:lnTo>
                    <a:pt x="775" y="1026"/>
                  </a:lnTo>
                  <a:lnTo>
                    <a:pt x="775" y="1047"/>
                  </a:lnTo>
                  <a:lnTo>
                    <a:pt x="691" y="1026"/>
                  </a:lnTo>
                  <a:lnTo>
                    <a:pt x="587" y="1047"/>
                  </a:lnTo>
                  <a:lnTo>
                    <a:pt x="566" y="1005"/>
                  </a:lnTo>
                  <a:lnTo>
                    <a:pt x="629" y="942"/>
                  </a:lnTo>
                  <a:lnTo>
                    <a:pt x="566" y="838"/>
                  </a:lnTo>
                  <a:lnTo>
                    <a:pt x="545" y="838"/>
                  </a:lnTo>
                  <a:lnTo>
                    <a:pt x="461" y="963"/>
                  </a:lnTo>
                  <a:lnTo>
                    <a:pt x="524" y="1047"/>
                  </a:lnTo>
                  <a:lnTo>
                    <a:pt x="419" y="1131"/>
                  </a:lnTo>
                  <a:lnTo>
                    <a:pt x="336" y="1047"/>
                  </a:lnTo>
                  <a:lnTo>
                    <a:pt x="231" y="1047"/>
                  </a:lnTo>
                  <a:lnTo>
                    <a:pt x="147" y="1026"/>
                  </a:lnTo>
                  <a:lnTo>
                    <a:pt x="64" y="1110"/>
                  </a:lnTo>
                  <a:lnTo>
                    <a:pt x="210" y="1173"/>
                  </a:lnTo>
                  <a:lnTo>
                    <a:pt x="210" y="1277"/>
                  </a:lnTo>
                  <a:lnTo>
                    <a:pt x="126" y="1235"/>
                  </a:lnTo>
                  <a:lnTo>
                    <a:pt x="64" y="1256"/>
                  </a:lnTo>
                  <a:lnTo>
                    <a:pt x="105" y="1424"/>
                  </a:lnTo>
                  <a:lnTo>
                    <a:pt x="168" y="1465"/>
                  </a:lnTo>
                  <a:lnTo>
                    <a:pt x="168" y="1591"/>
                  </a:lnTo>
                  <a:lnTo>
                    <a:pt x="231" y="1675"/>
                  </a:lnTo>
                  <a:lnTo>
                    <a:pt x="64" y="1758"/>
                  </a:lnTo>
                  <a:lnTo>
                    <a:pt x="1" y="1905"/>
                  </a:lnTo>
                  <a:lnTo>
                    <a:pt x="64" y="1968"/>
                  </a:lnTo>
                  <a:lnTo>
                    <a:pt x="168" y="1905"/>
                  </a:lnTo>
                  <a:lnTo>
                    <a:pt x="315" y="2051"/>
                  </a:lnTo>
                  <a:lnTo>
                    <a:pt x="336" y="2219"/>
                  </a:lnTo>
                  <a:lnTo>
                    <a:pt x="273" y="2261"/>
                  </a:lnTo>
                  <a:lnTo>
                    <a:pt x="315" y="2323"/>
                  </a:lnTo>
                  <a:lnTo>
                    <a:pt x="461" y="2323"/>
                  </a:lnTo>
                  <a:lnTo>
                    <a:pt x="608" y="2533"/>
                  </a:lnTo>
                  <a:lnTo>
                    <a:pt x="649" y="2574"/>
                  </a:lnTo>
                  <a:lnTo>
                    <a:pt x="754" y="2533"/>
                  </a:lnTo>
                  <a:lnTo>
                    <a:pt x="775" y="2470"/>
                  </a:lnTo>
                  <a:lnTo>
                    <a:pt x="691" y="2386"/>
                  </a:lnTo>
                  <a:lnTo>
                    <a:pt x="649" y="2386"/>
                  </a:lnTo>
                  <a:lnTo>
                    <a:pt x="649" y="2302"/>
                  </a:lnTo>
                  <a:lnTo>
                    <a:pt x="733" y="2261"/>
                  </a:lnTo>
                  <a:lnTo>
                    <a:pt x="733" y="2177"/>
                  </a:lnTo>
                  <a:lnTo>
                    <a:pt x="670" y="2135"/>
                  </a:lnTo>
                  <a:lnTo>
                    <a:pt x="670" y="2072"/>
                  </a:lnTo>
                  <a:lnTo>
                    <a:pt x="754" y="2009"/>
                  </a:lnTo>
                  <a:cubicBezTo>
                    <a:pt x="775" y="2051"/>
                    <a:pt x="817" y="2093"/>
                    <a:pt x="838" y="2135"/>
                  </a:cubicBezTo>
                  <a:lnTo>
                    <a:pt x="838" y="2177"/>
                  </a:lnTo>
                  <a:lnTo>
                    <a:pt x="880" y="2302"/>
                  </a:lnTo>
                  <a:lnTo>
                    <a:pt x="984" y="2407"/>
                  </a:lnTo>
                  <a:lnTo>
                    <a:pt x="1089" y="2407"/>
                  </a:lnTo>
                  <a:lnTo>
                    <a:pt x="1152" y="2449"/>
                  </a:lnTo>
                  <a:lnTo>
                    <a:pt x="1256" y="2428"/>
                  </a:lnTo>
                  <a:cubicBezTo>
                    <a:pt x="1277" y="2428"/>
                    <a:pt x="1298" y="2428"/>
                    <a:pt x="1298" y="2407"/>
                  </a:cubicBezTo>
                  <a:cubicBezTo>
                    <a:pt x="1319" y="2407"/>
                    <a:pt x="1319" y="2428"/>
                    <a:pt x="1361" y="2428"/>
                  </a:cubicBezTo>
                  <a:lnTo>
                    <a:pt x="1361" y="2449"/>
                  </a:lnTo>
                  <a:lnTo>
                    <a:pt x="1298" y="2533"/>
                  </a:lnTo>
                  <a:lnTo>
                    <a:pt x="1319" y="2595"/>
                  </a:lnTo>
                  <a:lnTo>
                    <a:pt x="1382" y="2512"/>
                  </a:lnTo>
                  <a:lnTo>
                    <a:pt x="1403" y="2449"/>
                  </a:lnTo>
                  <a:cubicBezTo>
                    <a:pt x="1445" y="2491"/>
                    <a:pt x="1486" y="2512"/>
                    <a:pt x="1507" y="2553"/>
                  </a:cubicBezTo>
                  <a:lnTo>
                    <a:pt x="1507" y="2595"/>
                  </a:lnTo>
                  <a:lnTo>
                    <a:pt x="1465" y="2616"/>
                  </a:lnTo>
                  <a:lnTo>
                    <a:pt x="1507" y="2658"/>
                  </a:lnTo>
                  <a:lnTo>
                    <a:pt x="1675" y="2721"/>
                  </a:lnTo>
                  <a:lnTo>
                    <a:pt x="1821" y="2700"/>
                  </a:lnTo>
                  <a:lnTo>
                    <a:pt x="1884" y="2616"/>
                  </a:lnTo>
                  <a:lnTo>
                    <a:pt x="1905" y="2700"/>
                  </a:lnTo>
                  <a:lnTo>
                    <a:pt x="1926" y="2721"/>
                  </a:lnTo>
                  <a:lnTo>
                    <a:pt x="1926" y="2616"/>
                  </a:lnTo>
                  <a:lnTo>
                    <a:pt x="1968" y="2574"/>
                  </a:lnTo>
                  <a:cubicBezTo>
                    <a:pt x="2009" y="2533"/>
                    <a:pt x="2030" y="2512"/>
                    <a:pt x="2030" y="2470"/>
                  </a:cubicBezTo>
                  <a:lnTo>
                    <a:pt x="2093" y="2386"/>
                  </a:lnTo>
                  <a:lnTo>
                    <a:pt x="2177" y="2344"/>
                  </a:lnTo>
                  <a:lnTo>
                    <a:pt x="2135" y="2302"/>
                  </a:lnTo>
                  <a:lnTo>
                    <a:pt x="2072" y="2323"/>
                  </a:lnTo>
                  <a:lnTo>
                    <a:pt x="2009" y="2407"/>
                  </a:lnTo>
                  <a:lnTo>
                    <a:pt x="2009" y="2386"/>
                  </a:lnTo>
                  <a:cubicBezTo>
                    <a:pt x="1989" y="2344"/>
                    <a:pt x="1989" y="2344"/>
                    <a:pt x="1989" y="2323"/>
                  </a:cubicBezTo>
                  <a:lnTo>
                    <a:pt x="2009" y="2302"/>
                  </a:lnTo>
                  <a:lnTo>
                    <a:pt x="2009" y="2219"/>
                  </a:lnTo>
                  <a:lnTo>
                    <a:pt x="2135" y="2177"/>
                  </a:lnTo>
                  <a:lnTo>
                    <a:pt x="2198" y="2114"/>
                  </a:lnTo>
                  <a:lnTo>
                    <a:pt x="2177" y="2051"/>
                  </a:lnTo>
                  <a:lnTo>
                    <a:pt x="2072" y="1968"/>
                  </a:lnTo>
                  <a:lnTo>
                    <a:pt x="2072" y="1905"/>
                  </a:lnTo>
                  <a:lnTo>
                    <a:pt x="2198" y="1863"/>
                  </a:lnTo>
                  <a:lnTo>
                    <a:pt x="2219" y="1737"/>
                  </a:lnTo>
                  <a:lnTo>
                    <a:pt x="2219" y="1591"/>
                  </a:lnTo>
                  <a:lnTo>
                    <a:pt x="2198" y="1486"/>
                  </a:lnTo>
                  <a:lnTo>
                    <a:pt x="2072" y="1486"/>
                  </a:lnTo>
                  <a:lnTo>
                    <a:pt x="1905" y="1528"/>
                  </a:lnTo>
                  <a:lnTo>
                    <a:pt x="1863" y="1633"/>
                  </a:lnTo>
                  <a:lnTo>
                    <a:pt x="1905" y="1675"/>
                  </a:lnTo>
                  <a:lnTo>
                    <a:pt x="1989" y="1737"/>
                  </a:lnTo>
                  <a:lnTo>
                    <a:pt x="1989" y="1779"/>
                  </a:lnTo>
                  <a:lnTo>
                    <a:pt x="1926" y="1758"/>
                  </a:lnTo>
                  <a:lnTo>
                    <a:pt x="1905" y="1779"/>
                  </a:lnTo>
                  <a:lnTo>
                    <a:pt x="1800" y="1696"/>
                  </a:lnTo>
                  <a:lnTo>
                    <a:pt x="1800" y="1654"/>
                  </a:lnTo>
                  <a:lnTo>
                    <a:pt x="1758" y="1570"/>
                  </a:lnTo>
                  <a:lnTo>
                    <a:pt x="1696" y="1591"/>
                  </a:lnTo>
                  <a:lnTo>
                    <a:pt x="1654" y="1675"/>
                  </a:lnTo>
                  <a:lnTo>
                    <a:pt x="1570" y="1696"/>
                  </a:lnTo>
                  <a:lnTo>
                    <a:pt x="1591" y="1779"/>
                  </a:lnTo>
                  <a:lnTo>
                    <a:pt x="1654" y="1863"/>
                  </a:lnTo>
                  <a:lnTo>
                    <a:pt x="1654" y="1989"/>
                  </a:lnTo>
                  <a:lnTo>
                    <a:pt x="1717" y="2072"/>
                  </a:lnTo>
                  <a:lnTo>
                    <a:pt x="1800" y="2072"/>
                  </a:lnTo>
                  <a:lnTo>
                    <a:pt x="1926" y="2093"/>
                  </a:lnTo>
                  <a:lnTo>
                    <a:pt x="1968" y="2156"/>
                  </a:lnTo>
                  <a:lnTo>
                    <a:pt x="1905" y="2198"/>
                  </a:lnTo>
                  <a:lnTo>
                    <a:pt x="1968" y="2261"/>
                  </a:lnTo>
                  <a:cubicBezTo>
                    <a:pt x="1926" y="2281"/>
                    <a:pt x="1926" y="2323"/>
                    <a:pt x="1926" y="2365"/>
                  </a:cubicBezTo>
                  <a:lnTo>
                    <a:pt x="1905" y="2386"/>
                  </a:lnTo>
                  <a:lnTo>
                    <a:pt x="1863" y="2386"/>
                  </a:lnTo>
                  <a:lnTo>
                    <a:pt x="1779" y="2407"/>
                  </a:lnTo>
                  <a:lnTo>
                    <a:pt x="1675" y="2261"/>
                  </a:lnTo>
                  <a:lnTo>
                    <a:pt x="1612" y="2281"/>
                  </a:lnTo>
                  <a:cubicBezTo>
                    <a:pt x="1591" y="2261"/>
                    <a:pt x="1570" y="2261"/>
                    <a:pt x="1549" y="2219"/>
                  </a:cubicBezTo>
                  <a:lnTo>
                    <a:pt x="1549" y="2198"/>
                  </a:lnTo>
                  <a:lnTo>
                    <a:pt x="1465" y="2114"/>
                  </a:lnTo>
                  <a:lnTo>
                    <a:pt x="1465" y="2177"/>
                  </a:lnTo>
                  <a:cubicBezTo>
                    <a:pt x="1465" y="2177"/>
                    <a:pt x="1445" y="2177"/>
                    <a:pt x="1445" y="2156"/>
                  </a:cubicBezTo>
                  <a:cubicBezTo>
                    <a:pt x="1403" y="2156"/>
                    <a:pt x="1403" y="2156"/>
                    <a:pt x="1382" y="2177"/>
                  </a:cubicBezTo>
                  <a:lnTo>
                    <a:pt x="1403" y="2093"/>
                  </a:lnTo>
                  <a:lnTo>
                    <a:pt x="1382" y="2009"/>
                  </a:lnTo>
                  <a:lnTo>
                    <a:pt x="1298" y="1863"/>
                  </a:lnTo>
                  <a:lnTo>
                    <a:pt x="1235" y="1863"/>
                  </a:lnTo>
                  <a:lnTo>
                    <a:pt x="1089" y="1779"/>
                  </a:lnTo>
                  <a:lnTo>
                    <a:pt x="1026" y="1612"/>
                  </a:lnTo>
                  <a:lnTo>
                    <a:pt x="1047" y="1654"/>
                  </a:lnTo>
                  <a:lnTo>
                    <a:pt x="1173" y="1591"/>
                  </a:lnTo>
                  <a:lnTo>
                    <a:pt x="1173" y="1445"/>
                  </a:lnTo>
                  <a:lnTo>
                    <a:pt x="1131" y="1340"/>
                  </a:lnTo>
                  <a:lnTo>
                    <a:pt x="1193" y="1256"/>
                  </a:lnTo>
                  <a:lnTo>
                    <a:pt x="1298" y="1235"/>
                  </a:lnTo>
                  <a:lnTo>
                    <a:pt x="1382" y="1298"/>
                  </a:lnTo>
                  <a:lnTo>
                    <a:pt x="1445" y="1277"/>
                  </a:lnTo>
                  <a:lnTo>
                    <a:pt x="1486" y="1298"/>
                  </a:lnTo>
                  <a:lnTo>
                    <a:pt x="1507" y="1256"/>
                  </a:lnTo>
                  <a:lnTo>
                    <a:pt x="1549" y="1152"/>
                  </a:lnTo>
                  <a:lnTo>
                    <a:pt x="1445" y="1047"/>
                  </a:lnTo>
                  <a:lnTo>
                    <a:pt x="1382" y="1110"/>
                  </a:lnTo>
                  <a:lnTo>
                    <a:pt x="1256" y="1110"/>
                  </a:lnTo>
                  <a:lnTo>
                    <a:pt x="1193" y="1026"/>
                  </a:lnTo>
                  <a:lnTo>
                    <a:pt x="1152" y="921"/>
                  </a:lnTo>
                  <a:lnTo>
                    <a:pt x="1089" y="921"/>
                  </a:lnTo>
                  <a:lnTo>
                    <a:pt x="1152" y="859"/>
                  </a:lnTo>
                  <a:lnTo>
                    <a:pt x="1152" y="754"/>
                  </a:lnTo>
                  <a:lnTo>
                    <a:pt x="1131" y="754"/>
                  </a:lnTo>
                  <a:cubicBezTo>
                    <a:pt x="1131" y="733"/>
                    <a:pt x="1152" y="712"/>
                    <a:pt x="1152" y="691"/>
                  </a:cubicBezTo>
                  <a:lnTo>
                    <a:pt x="1173" y="691"/>
                  </a:lnTo>
                  <a:lnTo>
                    <a:pt x="1277" y="503"/>
                  </a:lnTo>
                  <a:lnTo>
                    <a:pt x="1256" y="377"/>
                  </a:lnTo>
                  <a:lnTo>
                    <a:pt x="1277" y="315"/>
                  </a:lnTo>
                  <a:lnTo>
                    <a:pt x="1256" y="210"/>
                  </a:lnTo>
                  <a:lnTo>
                    <a:pt x="1340" y="64"/>
                  </a:lnTo>
                  <a:lnTo>
                    <a:pt x="129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5" name="Google Shape;2025;p66"/>
            <p:cNvSpPr/>
            <p:nvPr/>
          </p:nvSpPr>
          <p:spPr>
            <a:xfrm>
              <a:off x="3772256" y="2560208"/>
              <a:ext cx="138282" cy="153495"/>
            </a:xfrm>
            <a:custGeom>
              <a:avLst/>
              <a:gdLst/>
              <a:ahLst/>
              <a:cxnLst/>
              <a:rect l="l" t="t" r="r" b="b"/>
              <a:pathLst>
                <a:path w="11613" h="13497" extrusionOk="0">
                  <a:moveTo>
                    <a:pt x="9792" y="1"/>
                  </a:moveTo>
                  <a:lnTo>
                    <a:pt x="9709" y="64"/>
                  </a:lnTo>
                  <a:lnTo>
                    <a:pt x="9709" y="126"/>
                  </a:lnTo>
                  <a:lnTo>
                    <a:pt x="9792" y="231"/>
                  </a:lnTo>
                  <a:lnTo>
                    <a:pt x="9730" y="273"/>
                  </a:lnTo>
                  <a:lnTo>
                    <a:pt x="9688" y="273"/>
                  </a:lnTo>
                  <a:lnTo>
                    <a:pt x="9604" y="168"/>
                  </a:lnTo>
                  <a:lnTo>
                    <a:pt x="9541" y="231"/>
                  </a:lnTo>
                  <a:lnTo>
                    <a:pt x="9520" y="336"/>
                  </a:lnTo>
                  <a:lnTo>
                    <a:pt x="9541" y="357"/>
                  </a:lnTo>
                  <a:lnTo>
                    <a:pt x="9625" y="357"/>
                  </a:lnTo>
                  <a:lnTo>
                    <a:pt x="9688" y="419"/>
                  </a:lnTo>
                  <a:lnTo>
                    <a:pt x="9646" y="440"/>
                  </a:lnTo>
                  <a:lnTo>
                    <a:pt x="9604" y="482"/>
                  </a:lnTo>
                  <a:lnTo>
                    <a:pt x="9604" y="566"/>
                  </a:lnTo>
                  <a:lnTo>
                    <a:pt x="9520" y="587"/>
                  </a:lnTo>
                  <a:lnTo>
                    <a:pt x="9520" y="670"/>
                  </a:lnTo>
                  <a:lnTo>
                    <a:pt x="9541" y="691"/>
                  </a:lnTo>
                  <a:lnTo>
                    <a:pt x="9479" y="754"/>
                  </a:lnTo>
                  <a:lnTo>
                    <a:pt x="9520" y="859"/>
                  </a:lnTo>
                  <a:lnTo>
                    <a:pt x="9479" y="901"/>
                  </a:lnTo>
                  <a:lnTo>
                    <a:pt x="9416" y="859"/>
                  </a:lnTo>
                  <a:lnTo>
                    <a:pt x="9332" y="901"/>
                  </a:lnTo>
                  <a:lnTo>
                    <a:pt x="9332" y="942"/>
                  </a:lnTo>
                  <a:lnTo>
                    <a:pt x="9269" y="984"/>
                  </a:lnTo>
                  <a:lnTo>
                    <a:pt x="9228" y="880"/>
                  </a:lnTo>
                  <a:lnTo>
                    <a:pt x="9332" y="670"/>
                  </a:lnTo>
                  <a:lnTo>
                    <a:pt x="9269" y="649"/>
                  </a:lnTo>
                  <a:lnTo>
                    <a:pt x="9269" y="587"/>
                  </a:lnTo>
                  <a:lnTo>
                    <a:pt x="9311" y="545"/>
                  </a:lnTo>
                  <a:lnTo>
                    <a:pt x="9311" y="357"/>
                  </a:lnTo>
                  <a:lnTo>
                    <a:pt x="9290" y="315"/>
                  </a:lnTo>
                  <a:lnTo>
                    <a:pt x="9228" y="315"/>
                  </a:lnTo>
                  <a:lnTo>
                    <a:pt x="9102" y="545"/>
                  </a:lnTo>
                  <a:lnTo>
                    <a:pt x="9081" y="670"/>
                  </a:lnTo>
                  <a:lnTo>
                    <a:pt x="8956" y="880"/>
                  </a:lnTo>
                  <a:lnTo>
                    <a:pt x="8893" y="1005"/>
                  </a:lnTo>
                  <a:lnTo>
                    <a:pt x="8956" y="1068"/>
                  </a:lnTo>
                  <a:lnTo>
                    <a:pt x="8914" y="1193"/>
                  </a:lnTo>
                  <a:lnTo>
                    <a:pt x="8767" y="1361"/>
                  </a:lnTo>
                  <a:lnTo>
                    <a:pt x="8704" y="1382"/>
                  </a:lnTo>
                  <a:lnTo>
                    <a:pt x="8704" y="1298"/>
                  </a:lnTo>
                  <a:lnTo>
                    <a:pt x="8663" y="1214"/>
                  </a:lnTo>
                  <a:lnTo>
                    <a:pt x="8767" y="1068"/>
                  </a:lnTo>
                  <a:lnTo>
                    <a:pt x="8746" y="963"/>
                  </a:lnTo>
                  <a:lnTo>
                    <a:pt x="8788" y="880"/>
                  </a:lnTo>
                  <a:lnTo>
                    <a:pt x="8746" y="775"/>
                  </a:lnTo>
                  <a:lnTo>
                    <a:pt x="8893" y="587"/>
                  </a:lnTo>
                  <a:lnTo>
                    <a:pt x="8914" y="482"/>
                  </a:lnTo>
                  <a:lnTo>
                    <a:pt x="8956" y="461"/>
                  </a:lnTo>
                  <a:lnTo>
                    <a:pt x="8956" y="419"/>
                  </a:lnTo>
                  <a:lnTo>
                    <a:pt x="8851" y="419"/>
                  </a:lnTo>
                  <a:lnTo>
                    <a:pt x="8767" y="315"/>
                  </a:lnTo>
                  <a:lnTo>
                    <a:pt x="8704" y="336"/>
                  </a:lnTo>
                  <a:lnTo>
                    <a:pt x="8746" y="440"/>
                  </a:lnTo>
                  <a:lnTo>
                    <a:pt x="8663" y="482"/>
                  </a:lnTo>
                  <a:lnTo>
                    <a:pt x="8663" y="419"/>
                  </a:lnTo>
                  <a:lnTo>
                    <a:pt x="8579" y="336"/>
                  </a:lnTo>
                  <a:lnTo>
                    <a:pt x="8495" y="315"/>
                  </a:lnTo>
                  <a:lnTo>
                    <a:pt x="8432" y="336"/>
                  </a:lnTo>
                  <a:lnTo>
                    <a:pt x="8453" y="482"/>
                  </a:lnTo>
                  <a:lnTo>
                    <a:pt x="8391" y="545"/>
                  </a:lnTo>
                  <a:lnTo>
                    <a:pt x="8349" y="482"/>
                  </a:lnTo>
                  <a:lnTo>
                    <a:pt x="8286" y="461"/>
                  </a:lnTo>
                  <a:lnTo>
                    <a:pt x="8244" y="482"/>
                  </a:lnTo>
                  <a:lnTo>
                    <a:pt x="8265" y="545"/>
                  </a:lnTo>
                  <a:lnTo>
                    <a:pt x="8391" y="608"/>
                  </a:lnTo>
                  <a:lnTo>
                    <a:pt x="8432" y="733"/>
                  </a:lnTo>
                  <a:lnTo>
                    <a:pt x="8391" y="775"/>
                  </a:lnTo>
                  <a:lnTo>
                    <a:pt x="8349" y="691"/>
                  </a:lnTo>
                  <a:lnTo>
                    <a:pt x="8265" y="775"/>
                  </a:lnTo>
                  <a:lnTo>
                    <a:pt x="8265" y="838"/>
                  </a:lnTo>
                  <a:lnTo>
                    <a:pt x="8286" y="880"/>
                  </a:lnTo>
                  <a:lnTo>
                    <a:pt x="8265" y="901"/>
                  </a:lnTo>
                  <a:lnTo>
                    <a:pt x="8160" y="859"/>
                  </a:lnTo>
                  <a:lnTo>
                    <a:pt x="8119" y="859"/>
                  </a:lnTo>
                  <a:lnTo>
                    <a:pt x="8035" y="963"/>
                  </a:lnTo>
                  <a:lnTo>
                    <a:pt x="7951" y="1005"/>
                  </a:lnTo>
                  <a:lnTo>
                    <a:pt x="7951" y="1047"/>
                  </a:lnTo>
                  <a:lnTo>
                    <a:pt x="8014" y="1068"/>
                  </a:lnTo>
                  <a:lnTo>
                    <a:pt x="7909" y="1131"/>
                  </a:lnTo>
                  <a:lnTo>
                    <a:pt x="7868" y="1214"/>
                  </a:lnTo>
                  <a:lnTo>
                    <a:pt x="7972" y="1319"/>
                  </a:lnTo>
                  <a:lnTo>
                    <a:pt x="7909" y="1382"/>
                  </a:lnTo>
                  <a:lnTo>
                    <a:pt x="7972" y="1424"/>
                  </a:lnTo>
                  <a:lnTo>
                    <a:pt x="8035" y="1466"/>
                  </a:lnTo>
                  <a:lnTo>
                    <a:pt x="7972" y="1507"/>
                  </a:lnTo>
                  <a:lnTo>
                    <a:pt x="7847" y="1507"/>
                  </a:lnTo>
                  <a:lnTo>
                    <a:pt x="7805" y="1361"/>
                  </a:lnTo>
                  <a:lnTo>
                    <a:pt x="7742" y="1319"/>
                  </a:lnTo>
                  <a:lnTo>
                    <a:pt x="7805" y="1277"/>
                  </a:lnTo>
                  <a:lnTo>
                    <a:pt x="7721" y="1214"/>
                  </a:lnTo>
                  <a:lnTo>
                    <a:pt x="7491" y="1214"/>
                  </a:lnTo>
                  <a:lnTo>
                    <a:pt x="7303" y="1089"/>
                  </a:lnTo>
                  <a:lnTo>
                    <a:pt x="7240" y="1089"/>
                  </a:lnTo>
                  <a:lnTo>
                    <a:pt x="7198" y="1131"/>
                  </a:lnTo>
                  <a:lnTo>
                    <a:pt x="7177" y="1068"/>
                  </a:lnTo>
                  <a:lnTo>
                    <a:pt x="7072" y="1173"/>
                  </a:lnTo>
                  <a:lnTo>
                    <a:pt x="6968" y="1173"/>
                  </a:lnTo>
                  <a:lnTo>
                    <a:pt x="6968" y="1214"/>
                  </a:lnTo>
                  <a:lnTo>
                    <a:pt x="7093" y="1382"/>
                  </a:lnTo>
                  <a:lnTo>
                    <a:pt x="7177" y="1382"/>
                  </a:lnTo>
                  <a:lnTo>
                    <a:pt x="7219" y="1424"/>
                  </a:lnTo>
                  <a:lnTo>
                    <a:pt x="7344" y="1424"/>
                  </a:lnTo>
                  <a:lnTo>
                    <a:pt x="7303" y="1528"/>
                  </a:lnTo>
                  <a:lnTo>
                    <a:pt x="7303" y="1633"/>
                  </a:lnTo>
                  <a:lnTo>
                    <a:pt x="7407" y="1779"/>
                  </a:lnTo>
                  <a:lnTo>
                    <a:pt x="7386" y="1842"/>
                  </a:lnTo>
                  <a:lnTo>
                    <a:pt x="7303" y="1800"/>
                  </a:lnTo>
                  <a:lnTo>
                    <a:pt x="7219" y="1654"/>
                  </a:lnTo>
                  <a:lnTo>
                    <a:pt x="7114" y="1612"/>
                  </a:lnTo>
                  <a:lnTo>
                    <a:pt x="7072" y="1528"/>
                  </a:lnTo>
                  <a:lnTo>
                    <a:pt x="7031" y="1633"/>
                  </a:lnTo>
                  <a:lnTo>
                    <a:pt x="6968" y="1717"/>
                  </a:lnTo>
                  <a:lnTo>
                    <a:pt x="6926" y="1591"/>
                  </a:lnTo>
                  <a:lnTo>
                    <a:pt x="6863" y="1633"/>
                  </a:lnTo>
                  <a:lnTo>
                    <a:pt x="6863" y="1717"/>
                  </a:lnTo>
                  <a:lnTo>
                    <a:pt x="6759" y="1800"/>
                  </a:lnTo>
                  <a:lnTo>
                    <a:pt x="6759" y="1884"/>
                  </a:lnTo>
                  <a:lnTo>
                    <a:pt x="6884" y="1947"/>
                  </a:lnTo>
                  <a:lnTo>
                    <a:pt x="6926" y="2051"/>
                  </a:lnTo>
                  <a:lnTo>
                    <a:pt x="6821" y="2030"/>
                  </a:lnTo>
                  <a:lnTo>
                    <a:pt x="6779" y="1989"/>
                  </a:lnTo>
                  <a:lnTo>
                    <a:pt x="6696" y="2114"/>
                  </a:lnTo>
                  <a:lnTo>
                    <a:pt x="6675" y="2177"/>
                  </a:lnTo>
                  <a:lnTo>
                    <a:pt x="6549" y="2302"/>
                  </a:lnTo>
                  <a:lnTo>
                    <a:pt x="6549" y="2219"/>
                  </a:lnTo>
                  <a:lnTo>
                    <a:pt x="6654" y="2156"/>
                  </a:lnTo>
                  <a:lnTo>
                    <a:pt x="6591" y="2093"/>
                  </a:lnTo>
                  <a:lnTo>
                    <a:pt x="6696" y="1926"/>
                  </a:lnTo>
                  <a:lnTo>
                    <a:pt x="6612" y="1612"/>
                  </a:lnTo>
                  <a:lnTo>
                    <a:pt x="6549" y="1654"/>
                  </a:lnTo>
                  <a:lnTo>
                    <a:pt x="6403" y="1842"/>
                  </a:lnTo>
                  <a:lnTo>
                    <a:pt x="6403" y="2010"/>
                  </a:lnTo>
                  <a:lnTo>
                    <a:pt x="6445" y="2051"/>
                  </a:lnTo>
                  <a:lnTo>
                    <a:pt x="6340" y="2156"/>
                  </a:lnTo>
                  <a:lnTo>
                    <a:pt x="6340" y="2051"/>
                  </a:lnTo>
                  <a:lnTo>
                    <a:pt x="6382" y="1947"/>
                  </a:lnTo>
                  <a:lnTo>
                    <a:pt x="6340" y="1800"/>
                  </a:lnTo>
                  <a:lnTo>
                    <a:pt x="6277" y="1779"/>
                  </a:lnTo>
                  <a:lnTo>
                    <a:pt x="6173" y="1842"/>
                  </a:lnTo>
                  <a:lnTo>
                    <a:pt x="6089" y="1989"/>
                  </a:lnTo>
                  <a:lnTo>
                    <a:pt x="6152" y="2114"/>
                  </a:lnTo>
                  <a:lnTo>
                    <a:pt x="6152" y="2177"/>
                  </a:lnTo>
                  <a:lnTo>
                    <a:pt x="6298" y="2323"/>
                  </a:lnTo>
                  <a:lnTo>
                    <a:pt x="6340" y="2407"/>
                  </a:lnTo>
                  <a:lnTo>
                    <a:pt x="6277" y="2512"/>
                  </a:lnTo>
                  <a:lnTo>
                    <a:pt x="6235" y="2344"/>
                  </a:lnTo>
                  <a:lnTo>
                    <a:pt x="6131" y="2302"/>
                  </a:lnTo>
                  <a:lnTo>
                    <a:pt x="6047" y="2114"/>
                  </a:lnTo>
                  <a:lnTo>
                    <a:pt x="5984" y="2093"/>
                  </a:lnTo>
                  <a:lnTo>
                    <a:pt x="5859" y="2135"/>
                  </a:lnTo>
                  <a:lnTo>
                    <a:pt x="5838" y="2219"/>
                  </a:lnTo>
                  <a:lnTo>
                    <a:pt x="5984" y="2323"/>
                  </a:lnTo>
                  <a:lnTo>
                    <a:pt x="6047" y="2323"/>
                  </a:lnTo>
                  <a:lnTo>
                    <a:pt x="6089" y="2365"/>
                  </a:lnTo>
                  <a:lnTo>
                    <a:pt x="5984" y="2344"/>
                  </a:lnTo>
                  <a:lnTo>
                    <a:pt x="5880" y="2407"/>
                  </a:lnTo>
                  <a:lnTo>
                    <a:pt x="5963" y="2512"/>
                  </a:lnTo>
                  <a:lnTo>
                    <a:pt x="5838" y="2428"/>
                  </a:lnTo>
                  <a:lnTo>
                    <a:pt x="5838" y="2302"/>
                  </a:lnTo>
                  <a:lnTo>
                    <a:pt x="5775" y="2261"/>
                  </a:lnTo>
                  <a:lnTo>
                    <a:pt x="5754" y="2156"/>
                  </a:lnTo>
                  <a:lnTo>
                    <a:pt x="5712" y="2219"/>
                  </a:lnTo>
                  <a:lnTo>
                    <a:pt x="5671" y="2365"/>
                  </a:lnTo>
                  <a:lnTo>
                    <a:pt x="5733" y="2428"/>
                  </a:lnTo>
                  <a:lnTo>
                    <a:pt x="5712" y="2554"/>
                  </a:lnTo>
                  <a:lnTo>
                    <a:pt x="5629" y="2512"/>
                  </a:lnTo>
                  <a:lnTo>
                    <a:pt x="5545" y="2533"/>
                  </a:lnTo>
                  <a:lnTo>
                    <a:pt x="5419" y="2658"/>
                  </a:lnTo>
                  <a:lnTo>
                    <a:pt x="5440" y="2679"/>
                  </a:lnTo>
                  <a:lnTo>
                    <a:pt x="5524" y="2658"/>
                  </a:lnTo>
                  <a:lnTo>
                    <a:pt x="5608" y="2763"/>
                  </a:lnTo>
                  <a:lnTo>
                    <a:pt x="5503" y="2763"/>
                  </a:lnTo>
                  <a:lnTo>
                    <a:pt x="5440" y="2826"/>
                  </a:lnTo>
                  <a:lnTo>
                    <a:pt x="5503" y="2846"/>
                  </a:lnTo>
                  <a:lnTo>
                    <a:pt x="5461" y="2888"/>
                  </a:lnTo>
                  <a:lnTo>
                    <a:pt x="5357" y="2930"/>
                  </a:lnTo>
                  <a:lnTo>
                    <a:pt x="5357" y="2972"/>
                  </a:lnTo>
                  <a:lnTo>
                    <a:pt x="5399" y="2993"/>
                  </a:lnTo>
                  <a:lnTo>
                    <a:pt x="5336" y="2993"/>
                  </a:lnTo>
                  <a:lnTo>
                    <a:pt x="5294" y="2951"/>
                  </a:lnTo>
                  <a:lnTo>
                    <a:pt x="5210" y="2972"/>
                  </a:lnTo>
                  <a:lnTo>
                    <a:pt x="5127" y="3077"/>
                  </a:lnTo>
                  <a:lnTo>
                    <a:pt x="5147" y="3139"/>
                  </a:lnTo>
                  <a:lnTo>
                    <a:pt x="5127" y="3160"/>
                  </a:lnTo>
                  <a:lnTo>
                    <a:pt x="5022" y="3160"/>
                  </a:lnTo>
                  <a:lnTo>
                    <a:pt x="4938" y="3265"/>
                  </a:lnTo>
                  <a:lnTo>
                    <a:pt x="5043" y="3307"/>
                  </a:lnTo>
                  <a:lnTo>
                    <a:pt x="5315" y="3223"/>
                  </a:lnTo>
                  <a:lnTo>
                    <a:pt x="5357" y="3265"/>
                  </a:lnTo>
                  <a:lnTo>
                    <a:pt x="5461" y="3202"/>
                  </a:lnTo>
                  <a:lnTo>
                    <a:pt x="5524" y="3202"/>
                  </a:lnTo>
                  <a:lnTo>
                    <a:pt x="5524" y="3286"/>
                  </a:lnTo>
                  <a:lnTo>
                    <a:pt x="5461" y="3370"/>
                  </a:lnTo>
                  <a:lnTo>
                    <a:pt x="5440" y="3516"/>
                  </a:lnTo>
                  <a:lnTo>
                    <a:pt x="5419" y="3558"/>
                  </a:lnTo>
                  <a:lnTo>
                    <a:pt x="5357" y="3495"/>
                  </a:lnTo>
                  <a:lnTo>
                    <a:pt x="5336" y="3411"/>
                  </a:lnTo>
                  <a:lnTo>
                    <a:pt x="5252" y="3453"/>
                  </a:lnTo>
                  <a:lnTo>
                    <a:pt x="5210" y="3390"/>
                  </a:lnTo>
                  <a:lnTo>
                    <a:pt x="5106" y="3390"/>
                  </a:lnTo>
                  <a:lnTo>
                    <a:pt x="5127" y="3453"/>
                  </a:lnTo>
                  <a:lnTo>
                    <a:pt x="5106" y="3495"/>
                  </a:lnTo>
                  <a:lnTo>
                    <a:pt x="5022" y="3453"/>
                  </a:lnTo>
                  <a:lnTo>
                    <a:pt x="4938" y="3474"/>
                  </a:lnTo>
                  <a:lnTo>
                    <a:pt x="5043" y="3516"/>
                  </a:lnTo>
                  <a:lnTo>
                    <a:pt x="5085" y="3600"/>
                  </a:lnTo>
                  <a:lnTo>
                    <a:pt x="5022" y="3621"/>
                  </a:lnTo>
                  <a:lnTo>
                    <a:pt x="5001" y="3683"/>
                  </a:lnTo>
                  <a:lnTo>
                    <a:pt x="5001" y="3746"/>
                  </a:lnTo>
                  <a:lnTo>
                    <a:pt x="4980" y="3809"/>
                  </a:lnTo>
                  <a:lnTo>
                    <a:pt x="4938" y="3725"/>
                  </a:lnTo>
                  <a:lnTo>
                    <a:pt x="4938" y="3621"/>
                  </a:lnTo>
                  <a:lnTo>
                    <a:pt x="4875" y="3558"/>
                  </a:lnTo>
                  <a:lnTo>
                    <a:pt x="4792" y="3621"/>
                  </a:lnTo>
                  <a:lnTo>
                    <a:pt x="4708" y="3662"/>
                  </a:lnTo>
                  <a:lnTo>
                    <a:pt x="4666" y="3579"/>
                  </a:lnTo>
                  <a:lnTo>
                    <a:pt x="4687" y="3516"/>
                  </a:lnTo>
                  <a:lnTo>
                    <a:pt x="4624" y="3516"/>
                  </a:lnTo>
                  <a:lnTo>
                    <a:pt x="4520" y="3621"/>
                  </a:lnTo>
                  <a:lnTo>
                    <a:pt x="4603" y="3704"/>
                  </a:lnTo>
                  <a:lnTo>
                    <a:pt x="4729" y="3704"/>
                  </a:lnTo>
                  <a:lnTo>
                    <a:pt x="4834" y="3746"/>
                  </a:lnTo>
                  <a:lnTo>
                    <a:pt x="4792" y="3830"/>
                  </a:lnTo>
                  <a:lnTo>
                    <a:pt x="4583" y="3893"/>
                  </a:lnTo>
                  <a:lnTo>
                    <a:pt x="4520" y="3830"/>
                  </a:lnTo>
                  <a:lnTo>
                    <a:pt x="4457" y="3830"/>
                  </a:lnTo>
                  <a:lnTo>
                    <a:pt x="4394" y="3934"/>
                  </a:lnTo>
                  <a:lnTo>
                    <a:pt x="4478" y="4018"/>
                  </a:lnTo>
                  <a:lnTo>
                    <a:pt x="4394" y="4102"/>
                  </a:lnTo>
                  <a:lnTo>
                    <a:pt x="4478" y="4102"/>
                  </a:lnTo>
                  <a:lnTo>
                    <a:pt x="4583" y="3976"/>
                  </a:lnTo>
                  <a:lnTo>
                    <a:pt x="4687" y="3976"/>
                  </a:lnTo>
                  <a:lnTo>
                    <a:pt x="4729" y="4039"/>
                  </a:lnTo>
                  <a:lnTo>
                    <a:pt x="4583" y="4081"/>
                  </a:lnTo>
                  <a:lnTo>
                    <a:pt x="4562" y="4186"/>
                  </a:lnTo>
                  <a:lnTo>
                    <a:pt x="4603" y="4248"/>
                  </a:lnTo>
                  <a:lnTo>
                    <a:pt x="4729" y="4332"/>
                  </a:lnTo>
                  <a:lnTo>
                    <a:pt x="4729" y="4416"/>
                  </a:lnTo>
                  <a:lnTo>
                    <a:pt x="4666" y="4353"/>
                  </a:lnTo>
                  <a:lnTo>
                    <a:pt x="4583" y="4353"/>
                  </a:lnTo>
                  <a:lnTo>
                    <a:pt x="4499" y="4248"/>
                  </a:lnTo>
                  <a:lnTo>
                    <a:pt x="4457" y="4248"/>
                  </a:lnTo>
                  <a:lnTo>
                    <a:pt x="4373" y="4332"/>
                  </a:lnTo>
                  <a:lnTo>
                    <a:pt x="4457" y="4395"/>
                  </a:lnTo>
                  <a:lnTo>
                    <a:pt x="4352" y="4416"/>
                  </a:lnTo>
                  <a:lnTo>
                    <a:pt x="4248" y="4499"/>
                  </a:lnTo>
                  <a:lnTo>
                    <a:pt x="4248" y="4541"/>
                  </a:lnTo>
                  <a:lnTo>
                    <a:pt x="4352" y="4604"/>
                  </a:lnTo>
                  <a:lnTo>
                    <a:pt x="4457" y="4541"/>
                  </a:lnTo>
                  <a:lnTo>
                    <a:pt x="4499" y="4604"/>
                  </a:lnTo>
                  <a:lnTo>
                    <a:pt x="4603" y="4562"/>
                  </a:lnTo>
                  <a:lnTo>
                    <a:pt x="4624" y="4646"/>
                  </a:lnTo>
                  <a:lnTo>
                    <a:pt x="4708" y="4709"/>
                  </a:lnTo>
                  <a:lnTo>
                    <a:pt x="4708" y="4751"/>
                  </a:lnTo>
                  <a:lnTo>
                    <a:pt x="4562" y="4667"/>
                  </a:lnTo>
                  <a:lnTo>
                    <a:pt x="4415" y="4667"/>
                  </a:lnTo>
                  <a:lnTo>
                    <a:pt x="4373" y="4709"/>
                  </a:lnTo>
                  <a:lnTo>
                    <a:pt x="4206" y="4730"/>
                  </a:lnTo>
                  <a:lnTo>
                    <a:pt x="4206" y="4792"/>
                  </a:lnTo>
                  <a:lnTo>
                    <a:pt x="4143" y="4855"/>
                  </a:lnTo>
                  <a:lnTo>
                    <a:pt x="4080" y="4834"/>
                  </a:lnTo>
                  <a:lnTo>
                    <a:pt x="3955" y="4918"/>
                  </a:lnTo>
                  <a:lnTo>
                    <a:pt x="3871" y="4918"/>
                  </a:lnTo>
                  <a:lnTo>
                    <a:pt x="3850" y="4960"/>
                  </a:lnTo>
                  <a:lnTo>
                    <a:pt x="3955" y="4981"/>
                  </a:lnTo>
                  <a:lnTo>
                    <a:pt x="3997" y="5064"/>
                  </a:lnTo>
                  <a:lnTo>
                    <a:pt x="3934" y="5127"/>
                  </a:lnTo>
                  <a:lnTo>
                    <a:pt x="3871" y="5085"/>
                  </a:lnTo>
                  <a:lnTo>
                    <a:pt x="3850" y="5127"/>
                  </a:lnTo>
                  <a:lnTo>
                    <a:pt x="3934" y="5169"/>
                  </a:lnTo>
                  <a:lnTo>
                    <a:pt x="3892" y="5232"/>
                  </a:lnTo>
                  <a:lnTo>
                    <a:pt x="3787" y="5190"/>
                  </a:lnTo>
                  <a:lnTo>
                    <a:pt x="3766" y="5169"/>
                  </a:lnTo>
                  <a:lnTo>
                    <a:pt x="3746" y="5190"/>
                  </a:lnTo>
                  <a:lnTo>
                    <a:pt x="3829" y="5274"/>
                  </a:lnTo>
                  <a:lnTo>
                    <a:pt x="3766" y="5295"/>
                  </a:lnTo>
                  <a:lnTo>
                    <a:pt x="3787" y="5378"/>
                  </a:lnTo>
                  <a:lnTo>
                    <a:pt x="3850" y="5378"/>
                  </a:lnTo>
                  <a:lnTo>
                    <a:pt x="3787" y="5399"/>
                  </a:lnTo>
                  <a:lnTo>
                    <a:pt x="3725" y="5441"/>
                  </a:lnTo>
                  <a:lnTo>
                    <a:pt x="3662" y="5378"/>
                  </a:lnTo>
                  <a:lnTo>
                    <a:pt x="3662" y="5462"/>
                  </a:lnTo>
                  <a:lnTo>
                    <a:pt x="3641" y="5504"/>
                  </a:lnTo>
                  <a:lnTo>
                    <a:pt x="3683" y="5546"/>
                  </a:lnTo>
                  <a:lnTo>
                    <a:pt x="3850" y="5587"/>
                  </a:lnTo>
                  <a:lnTo>
                    <a:pt x="3871" y="5671"/>
                  </a:lnTo>
                  <a:lnTo>
                    <a:pt x="3934" y="5671"/>
                  </a:lnTo>
                  <a:lnTo>
                    <a:pt x="4039" y="5650"/>
                  </a:lnTo>
                  <a:lnTo>
                    <a:pt x="3955" y="5692"/>
                  </a:lnTo>
                  <a:lnTo>
                    <a:pt x="3955" y="5755"/>
                  </a:lnTo>
                  <a:lnTo>
                    <a:pt x="3850" y="5755"/>
                  </a:lnTo>
                  <a:lnTo>
                    <a:pt x="3829" y="5713"/>
                  </a:lnTo>
                  <a:lnTo>
                    <a:pt x="3662" y="5713"/>
                  </a:lnTo>
                  <a:lnTo>
                    <a:pt x="3557" y="5818"/>
                  </a:lnTo>
                  <a:lnTo>
                    <a:pt x="3578" y="5839"/>
                  </a:lnTo>
                  <a:lnTo>
                    <a:pt x="3683" y="5839"/>
                  </a:lnTo>
                  <a:lnTo>
                    <a:pt x="3725" y="5922"/>
                  </a:lnTo>
                  <a:lnTo>
                    <a:pt x="3766" y="5985"/>
                  </a:lnTo>
                  <a:lnTo>
                    <a:pt x="3766" y="6069"/>
                  </a:lnTo>
                  <a:lnTo>
                    <a:pt x="3683" y="6006"/>
                  </a:lnTo>
                  <a:lnTo>
                    <a:pt x="3641" y="6006"/>
                  </a:lnTo>
                  <a:lnTo>
                    <a:pt x="3578" y="6069"/>
                  </a:lnTo>
                  <a:lnTo>
                    <a:pt x="3578" y="6131"/>
                  </a:lnTo>
                  <a:lnTo>
                    <a:pt x="3557" y="6173"/>
                  </a:lnTo>
                  <a:lnTo>
                    <a:pt x="3620" y="6215"/>
                  </a:lnTo>
                  <a:lnTo>
                    <a:pt x="3641" y="6299"/>
                  </a:lnTo>
                  <a:lnTo>
                    <a:pt x="3578" y="6299"/>
                  </a:lnTo>
                  <a:lnTo>
                    <a:pt x="3515" y="6236"/>
                  </a:lnTo>
                  <a:lnTo>
                    <a:pt x="3474" y="6278"/>
                  </a:lnTo>
                  <a:lnTo>
                    <a:pt x="3474" y="6341"/>
                  </a:lnTo>
                  <a:lnTo>
                    <a:pt x="3578" y="6362"/>
                  </a:lnTo>
                  <a:lnTo>
                    <a:pt x="3578" y="6424"/>
                  </a:lnTo>
                  <a:lnTo>
                    <a:pt x="3578" y="6508"/>
                  </a:lnTo>
                  <a:lnTo>
                    <a:pt x="3453" y="6403"/>
                  </a:lnTo>
                  <a:lnTo>
                    <a:pt x="3411" y="6445"/>
                  </a:lnTo>
                  <a:lnTo>
                    <a:pt x="3411" y="6529"/>
                  </a:lnTo>
                  <a:lnTo>
                    <a:pt x="3432" y="6529"/>
                  </a:lnTo>
                  <a:lnTo>
                    <a:pt x="3432" y="6634"/>
                  </a:lnTo>
                  <a:lnTo>
                    <a:pt x="3474" y="6738"/>
                  </a:lnTo>
                  <a:lnTo>
                    <a:pt x="3536" y="6738"/>
                  </a:lnTo>
                  <a:lnTo>
                    <a:pt x="3578" y="6634"/>
                  </a:lnTo>
                  <a:lnTo>
                    <a:pt x="3641" y="6634"/>
                  </a:lnTo>
                  <a:lnTo>
                    <a:pt x="3578" y="6759"/>
                  </a:lnTo>
                  <a:lnTo>
                    <a:pt x="3536" y="6801"/>
                  </a:lnTo>
                  <a:lnTo>
                    <a:pt x="3432" y="6885"/>
                  </a:lnTo>
                  <a:lnTo>
                    <a:pt x="3348" y="6885"/>
                  </a:lnTo>
                  <a:lnTo>
                    <a:pt x="3264" y="6927"/>
                  </a:lnTo>
                  <a:lnTo>
                    <a:pt x="3264" y="6968"/>
                  </a:lnTo>
                  <a:lnTo>
                    <a:pt x="3202" y="7031"/>
                  </a:lnTo>
                  <a:lnTo>
                    <a:pt x="3118" y="7073"/>
                  </a:lnTo>
                  <a:lnTo>
                    <a:pt x="3202" y="7136"/>
                  </a:lnTo>
                  <a:lnTo>
                    <a:pt x="3160" y="7157"/>
                  </a:lnTo>
                  <a:lnTo>
                    <a:pt x="3013" y="7178"/>
                  </a:lnTo>
                  <a:lnTo>
                    <a:pt x="2950" y="7261"/>
                  </a:lnTo>
                  <a:lnTo>
                    <a:pt x="2950" y="7324"/>
                  </a:lnTo>
                  <a:lnTo>
                    <a:pt x="3055" y="7345"/>
                  </a:lnTo>
                  <a:lnTo>
                    <a:pt x="2992" y="7387"/>
                  </a:lnTo>
                  <a:lnTo>
                    <a:pt x="2930" y="7492"/>
                  </a:lnTo>
                  <a:lnTo>
                    <a:pt x="2846" y="7492"/>
                  </a:lnTo>
                  <a:lnTo>
                    <a:pt x="2825" y="7408"/>
                  </a:lnTo>
                  <a:lnTo>
                    <a:pt x="2783" y="7366"/>
                  </a:lnTo>
                  <a:lnTo>
                    <a:pt x="2741" y="7408"/>
                  </a:lnTo>
                  <a:lnTo>
                    <a:pt x="2678" y="7408"/>
                  </a:lnTo>
                  <a:lnTo>
                    <a:pt x="2699" y="7492"/>
                  </a:lnTo>
                  <a:lnTo>
                    <a:pt x="2637" y="7554"/>
                  </a:lnTo>
                  <a:lnTo>
                    <a:pt x="2637" y="7596"/>
                  </a:lnTo>
                  <a:lnTo>
                    <a:pt x="2678" y="7659"/>
                  </a:lnTo>
                  <a:lnTo>
                    <a:pt x="2532" y="7659"/>
                  </a:lnTo>
                  <a:lnTo>
                    <a:pt x="2490" y="7680"/>
                  </a:lnTo>
                  <a:lnTo>
                    <a:pt x="2490" y="7805"/>
                  </a:lnTo>
                  <a:lnTo>
                    <a:pt x="2386" y="7868"/>
                  </a:lnTo>
                  <a:lnTo>
                    <a:pt x="2406" y="7910"/>
                  </a:lnTo>
                  <a:lnTo>
                    <a:pt x="2386" y="8015"/>
                  </a:lnTo>
                  <a:lnTo>
                    <a:pt x="2302" y="8098"/>
                  </a:lnTo>
                  <a:lnTo>
                    <a:pt x="2197" y="8182"/>
                  </a:lnTo>
                  <a:lnTo>
                    <a:pt x="2218" y="8224"/>
                  </a:lnTo>
                  <a:lnTo>
                    <a:pt x="2365" y="8161"/>
                  </a:lnTo>
                  <a:lnTo>
                    <a:pt x="2406" y="8161"/>
                  </a:lnTo>
                  <a:lnTo>
                    <a:pt x="2406" y="8224"/>
                  </a:lnTo>
                  <a:lnTo>
                    <a:pt x="2323" y="8266"/>
                  </a:lnTo>
                  <a:lnTo>
                    <a:pt x="2323" y="8370"/>
                  </a:lnTo>
                  <a:lnTo>
                    <a:pt x="2386" y="8454"/>
                  </a:lnTo>
                  <a:lnTo>
                    <a:pt x="2511" y="8391"/>
                  </a:lnTo>
                  <a:lnTo>
                    <a:pt x="2637" y="8370"/>
                  </a:lnTo>
                  <a:lnTo>
                    <a:pt x="2804" y="8203"/>
                  </a:lnTo>
                  <a:lnTo>
                    <a:pt x="2804" y="8119"/>
                  </a:lnTo>
                  <a:lnTo>
                    <a:pt x="2720" y="8161"/>
                  </a:lnTo>
                  <a:lnTo>
                    <a:pt x="2804" y="8056"/>
                  </a:lnTo>
                  <a:lnTo>
                    <a:pt x="2825" y="7910"/>
                  </a:lnTo>
                  <a:lnTo>
                    <a:pt x="2846" y="7910"/>
                  </a:lnTo>
                  <a:lnTo>
                    <a:pt x="2909" y="7868"/>
                  </a:lnTo>
                  <a:lnTo>
                    <a:pt x="3013" y="7889"/>
                  </a:lnTo>
                  <a:lnTo>
                    <a:pt x="3055" y="7889"/>
                  </a:lnTo>
                  <a:lnTo>
                    <a:pt x="2909" y="7994"/>
                  </a:lnTo>
                  <a:lnTo>
                    <a:pt x="2909" y="8056"/>
                  </a:lnTo>
                  <a:lnTo>
                    <a:pt x="3055" y="8098"/>
                  </a:lnTo>
                  <a:lnTo>
                    <a:pt x="3013" y="8182"/>
                  </a:lnTo>
                  <a:lnTo>
                    <a:pt x="2930" y="8182"/>
                  </a:lnTo>
                  <a:lnTo>
                    <a:pt x="2783" y="8370"/>
                  </a:lnTo>
                  <a:lnTo>
                    <a:pt x="2888" y="8412"/>
                  </a:lnTo>
                  <a:lnTo>
                    <a:pt x="2804" y="8496"/>
                  </a:lnTo>
                  <a:lnTo>
                    <a:pt x="2825" y="8600"/>
                  </a:lnTo>
                  <a:lnTo>
                    <a:pt x="2720" y="8580"/>
                  </a:lnTo>
                  <a:lnTo>
                    <a:pt x="2637" y="8496"/>
                  </a:lnTo>
                  <a:lnTo>
                    <a:pt x="2511" y="8496"/>
                  </a:lnTo>
                  <a:lnTo>
                    <a:pt x="2427" y="8538"/>
                  </a:lnTo>
                  <a:lnTo>
                    <a:pt x="2427" y="8642"/>
                  </a:lnTo>
                  <a:lnTo>
                    <a:pt x="2365" y="8705"/>
                  </a:lnTo>
                  <a:lnTo>
                    <a:pt x="2260" y="8747"/>
                  </a:lnTo>
                  <a:lnTo>
                    <a:pt x="2260" y="8747"/>
                  </a:lnTo>
                  <a:lnTo>
                    <a:pt x="2323" y="8684"/>
                  </a:lnTo>
                  <a:lnTo>
                    <a:pt x="2386" y="8642"/>
                  </a:lnTo>
                  <a:lnTo>
                    <a:pt x="2302" y="8538"/>
                  </a:lnTo>
                  <a:lnTo>
                    <a:pt x="2302" y="8433"/>
                  </a:lnTo>
                  <a:lnTo>
                    <a:pt x="2218" y="8328"/>
                  </a:lnTo>
                  <a:lnTo>
                    <a:pt x="2155" y="8328"/>
                  </a:lnTo>
                  <a:lnTo>
                    <a:pt x="2093" y="8412"/>
                  </a:lnTo>
                  <a:lnTo>
                    <a:pt x="1988" y="8412"/>
                  </a:lnTo>
                  <a:lnTo>
                    <a:pt x="1988" y="8454"/>
                  </a:lnTo>
                  <a:lnTo>
                    <a:pt x="2155" y="8454"/>
                  </a:lnTo>
                  <a:lnTo>
                    <a:pt x="1988" y="8600"/>
                  </a:lnTo>
                  <a:lnTo>
                    <a:pt x="1883" y="8580"/>
                  </a:lnTo>
                  <a:lnTo>
                    <a:pt x="1800" y="8580"/>
                  </a:lnTo>
                  <a:lnTo>
                    <a:pt x="1695" y="8684"/>
                  </a:lnTo>
                  <a:lnTo>
                    <a:pt x="1758" y="8705"/>
                  </a:lnTo>
                  <a:lnTo>
                    <a:pt x="1842" y="8684"/>
                  </a:lnTo>
                  <a:lnTo>
                    <a:pt x="1862" y="8705"/>
                  </a:lnTo>
                  <a:lnTo>
                    <a:pt x="1737" y="8789"/>
                  </a:lnTo>
                  <a:lnTo>
                    <a:pt x="1674" y="8831"/>
                  </a:lnTo>
                  <a:lnTo>
                    <a:pt x="1632" y="8789"/>
                  </a:lnTo>
                  <a:lnTo>
                    <a:pt x="1549" y="8789"/>
                  </a:lnTo>
                  <a:lnTo>
                    <a:pt x="1549" y="8831"/>
                  </a:lnTo>
                  <a:lnTo>
                    <a:pt x="1674" y="8914"/>
                  </a:lnTo>
                  <a:lnTo>
                    <a:pt x="1800" y="8914"/>
                  </a:lnTo>
                  <a:lnTo>
                    <a:pt x="1779" y="8977"/>
                  </a:lnTo>
                  <a:lnTo>
                    <a:pt x="1862" y="9019"/>
                  </a:lnTo>
                  <a:lnTo>
                    <a:pt x="1842" y="9103"/>
                  </a:lnTo>
                  <a:lnTo>
                    <a:pt x="1695" y="9040"/>
                  </a:lnTo>
                  <a:lnTo>
                    <a:pt x="1695" y="8956"/>
                  </a:lnTo>
                  <a:lnTo>
                    <a:pt x="1590" y="8956"/>
                  </a:lnTo>
                  <a:lnTo>
                    <a:pt x="1486" y="8893"/>
                  </a:lnTo>
                  <a:lnTo>
                    <a:pt x="1465" y="8810"/>
                  </a:lnTo>
                  <a:lnTo>
                    <a:pt x="1444" y="8810"/>
                  </a:lnTo>
                  <a:lnTo>
                    <a:pt x="1423" y="8914"/>
                  </a:lnTo>
                  <a:lnTo>
                    <a:pt x="1528" y="9040"/>
                  </a:lnTo>
                  <a:lnTo>
                    <a:pt x="1632" y="9124"/>
                  </a:lnTo>
                  <a:lnTo>
                    <a:pt x="1695" y="9124"/>
                  </a:lnTo>
                  <a:lnTo>
                    <a:pt x="1758" y="9165"/>
                  </a:lnTo>
                  <a:lnTo>
                    <a:pt x="1653" y="9165"/>
                  </a:lnTo>
                  <a:lnTo>
                    <a:pt x="1486" y="9124"/>
                  </a:lnTo>
                  <a:lnTo>
                    <a:pt x="1360" y="8956"/>
                  </a:lnTo>
                  <a:lnTo>
                    <a:pt x="1277" y="8977"/>
                  </a:lnTo>
                  <a:lnTo>
                    <a:pt x="1214" y="8935"/>
                  </a:lnTo>
                  <a:lnTo>
                    <a:pt x="1067" y="8935"/>
                  </a:lnTo>
                  <a:lnTo>
                    <a:pt x="1026" y="8893"/>
                  </a:lnTo>
                  <a:lnTo>
                    <a:pt x="963" y="8935"/>
                  </a:lnTo>
                  <a:lnTo>
                    <a:pt x="1005" y="9019"/>
                  </a:lnTo>
                  <a:lnTo>
                    <a:pt x="942" y="9061"/>
                  </a:lnTo>
                  <a:lnTo>
                    <a:pt x="1026" y="9165"/>
                  </a:lnTo>
                  <a:lnTo>
                    <a:pt x="1214" y="9124"/>
                  </a:lnTo>
                  <a:lnTo>
                    <a:pt x="1235" y="9144"/>
                  </a:lnTo>
                  <a:lnTo>
                    <a:pt x="1151" y="9207"/>
                  </a:lnTo>
                  <a:lnTo>
                    <a:pt x="1214" y="9228"/>
                  </a:lnTo>
                  <a:lnTo>
                    <a:pt x="1339" y="9165"/>
                  </a:lnTo>
                  <a:lnTo>
                    <a:pt x="1423" y="9165"/>
                  </a:lnTo>
                  <a:lnTo>
                    <a:pt x="1381" y="9228"/>
                  </a:lnTo>
                  <a:lnTo>
                    <a:pt x="1214" y="9312"/>
                  </a:lnTo>
                  <a:lnTo>
                    <a:pt x="1151" y="9375"/>
                  </a:lnTo>
                  <a:lnTo>
                    <a:pt x="1026" y="9354"/>
                  </a:lnTo>
                  <a:lnTo>
                    <a:pt x="942" y="9228"/>
                  </a:lnTo>
                  <a:lnTo>
                    <a:pt x="900" y="9228"/>
                  </a:lnTo>
                  <a:lnTo>
                    <a:pt x="837" y="9270"/>
                  </a:lnTo>
                  <a:lnTo>
                    <a:pt x="753" y="9207"/>
                  </a:lnTo>
                  <a:lnTo>
                    <a:pt x="691" y="9249"/>
                  </a:lnTo>
                  <a:lnTo>
                    <a:pt x="628" y="9228"/>
                  </a:lnTo>
                  <a:lnTo>
                    <a:pt x="544" y="9270"/>
                  </a:lnTo>
                  <a:lnTo>
                    <a:pt x="586" y="9333"/>
                  </a:lnTo>
                  <a:lnTo>
                    <a:pt x="753" y="9354"/>
                  </a:lnTo>
                  <a:lnTo>
                    <a:pt x="858" y="9416"/>
                  </a:lnTo>
                  <a:lnTo>
                    <a:pt x="1005" y="9479"/>
                  </a:lnTo>
                  <a:lnTo>
                    <a:pt x="963" y="9584"/>
                  </a:lnTo>
                  <a:lnTo>
                    <a:pt x="1026" y="9668"/>
                  </a:lnTo>
                  <a:lnTo>
                    <a:pt x="921" y="9688"/>
                  </a:lnTo>
                  <a:lnTo>
                    <a:pt x="900" y="9668"/>
                  </a:lnTo>
                  <a:lnTo>
                    <a:pt x="900" y="9500"/>
                  </a:lnTo>
                  <a:lnTo>
                    <a:pt x="795" y="9479"/>
                  </a:lnTo>
                  <a:lnTo>
                    <a:pt x="691" y="9479"/>
                  </a:lnTo>
                  <a:lnTo>
                    <a:pt x="733" y="9563"/>
                  </a:lnTo>
                  <a:lnTo>
                    <a:pt x="712" y="9626"/>
                  </a:lnTo>
                  <a:lnTo>
                    <a:pt x="586" y="9542"/>
                  </a:lnTo>
                  <a:lnTo>
                    <a:pt x="481" y="9668"/>
                  </a:lnTo>
                  <a:lnTo>
                    <a:pt x="586" y="9730"/>
                  </a:lnTo>
                  <a:lnTo>
                    <a:pt x="502" y="9751"/>
                  </a:lnTo>
                  <a:lnTo>
                    <a:pt x="440" y="9772"/>
                  </a:lnTo>
                  <a:lnTo>
                    <a:pt x="398" y="9668"/>
                  </a:lnTo>
                  <a:lnTo>
                    <a:pt x="230" y="9647"/>
                  </a:lnTo>
                  <a:lnTo>
                    <a:pt x="293" y="9772"/>
                  </a:lnTo>
                  <a:lnTo>
                    <a:pt x="209" y="9793"/>
                  </a:lnTo>
                  <a:lnTo>
                    <a:pt x="189" y="9688"/>
                  </a:lnTo>
                  <a:lnTo>
                    <a:pt x="105" y="9626"/>
                  </a:lnTo>
                  <a:lnTo>
                    <a:pt x="63" y="9647"/>
                  </a:lnTo>
                  <a:lnTo>
                    <a:pt x="63" y="9688"/>
                  </a:lnTo>
                  <a:lnTo>
                    <a:pt x="168" y="9793"/>
                  </a:lnTo>
                  <a:lnTo>
                    <a:pt x="105" y="9856"/>
                  </a:lnTo>
                  <a:lnTo>
                    <a:pt x="168" y="9898"/>
                  </a:lnTo>
                  <a:lnTo>
                    <a:pt x="293" y="9877"/>
                  </a:lnTo>
                  <a:lnTo>
                    <a:pt x="481" y="9898"/>
                  </a:lnTo>
                  <a:lnTo>
                    <a:pt x="586" y="9981"/>
                  </a:lnTo>
                  <a:lnTo>
                    <a:pt x="733" y="9981"/>
                  </a:lnTo>
                  <a:lnTo>
                    <a:pt x="795" y="9940"/>
                  </a:lnTo>
                  <a:lnTo>
                    <a:pt x="858" y="9940"/>
                  </a:lnTo>
                  <a:lnTo>
                    <a:pt x="753" y="10023"/>
                  </a:lnTo>
                  <a:lnTo>
                    <a:pt x="607" y="10023"/>
                  </a:lnTo>
                  <a:lnTo>
                    <a:pt x="544" y="10065"/>
                  </a:lnTo>
                  <a:lnTo>
                    <a:pt x="377" y="9960"/>
                  </a:lnTo>
                  <a:lnTo>
                    <a:pt x="272" y="9981"/>
                  </a:lnTo>
                  <a:lnTo>
                    <a:pt x="209" y="9981"/>
                  </a:lnTo>
                  <a:lnTo>
                    <a:pt x="126" y="10023"/>
                  </a:lnTo>
                  <a:lnTo>
                    <a:pt x="0" y="10065"/>
                  </a:lnTo>
                  <a:lnTo>
                    <a:pt x="0" y="10107"/>
                  </a:lnTo>
                  <a:lnTo>
                    <a:pt x="189" y="10191"/>
                  </a:lnTo>
                  <a:lnTo>
                    <a:pt x="105" y="10274"/>
                  </a:lnTo>
                  <a:lnTo>
                    <a:pt x="209" y="10295"/>
                  </a:lnTo>
                  <a:lnTo>
                    <a:pt x="272" y="10253"/>
                  </a:lnTo>
                  <a:lnTo>
                    <a:pt x="419" y="10253"/>
                  </a:lnTo>
                  <a:lnTo>
                    <a:pt x="314" y="10316"/>
                  </a:lnTo>
                  <a:lnTo>
                    <a:pt x="126" y="10316"/>
                  </a:lnTo>
                  <a:lnTo>
                    <a:pt x="105" y="10358"/>
                  </a:lnTo>
                  <a:lnTo>
                    <a:pt x="63" y="10358"/>
                  </a:lnTo>
                  <a:lnTo>
                    <a:pt x="63" y="10379"/>
                  </a:lnTo>
                  <a:lnTo>
                    <a:pt x="126" y="10400"/>
                  </a:lnTo>
                  <a:lnTo>
                    <a:pt x="189" y="10400"/>
                  </a:lnTo>
                  <a:lnTo>
                    <a:pt x="105" y="10463"/>
                  </a:lnTo>
                  <a:lnTo>
                    <a:pt x="63" y="10484"/>
                  </a:lnTo>
                  <a:lnTo>
                    <a:pt x="63" y="10525"/>
                  </a:lnTo>
                  <a:lnTo>
                    <a:pt x="105" y="10546"/>
                  </a:lnTo>
                  <a:lnTo>
                    <a:pt x="168" y="10630"/>
                  </a:lnTo>
                  <a:lnTo>
                    <a:pt x="293" y="10630"/>
                  </a:lnTo>
                  <a:lnTo>
                    <a:pt x="335" y="10588"/>
                  </a:lnTo>
                  <a:lnTo>
                    <a:pt x="523" y="10546"/>
                  </a:lnTo>
                  <a:lnTo>
                    <a:pt x="649" y="10588"/>
                  </a:lnTo>
                  <a:lnTo>
                    <a:pt x="691" y="10609"/>
                  </a:lnTo>
                  <a:lnTo>
                    <a:pt x="753" y="10546"/>
                  </a:lnTo>
                  <a:lnTo>
                    <a:pt x="753" y="10484"/>
                  </a:lnTo>
                  <a:lnTo>
                    <a:pt x="837" y="10463"/>
                  </a:lnTo>
                  <a:lnTo>
                    <a:pt x="858" y="10525"/>
                  </a:lnTo>
                  <a:lnTo>
                    <a:pt x="963" y="10525"/>
                  </a:lnTo>
                  <a:lnTo>
                    <a:pt x="1067" y="10421"/>
                  </a:lnTo>
                  <a:lnTo>
                    <a:pt x="1130" y="10463"/>
                  </a:lnTo>
                  <a:lnTo>
                    <a:pt x="1130" y="10505"/>
                  </a:lnTo>
                  <a:lnTo>
                    <a:pt x="1046" y="10525"/>
                  </a:lnTo>
                  <a:lnTo>
                    <a:pt x="1151" y="10588"/>
                  </a:lnTo>
                  <a:lnTo>
                    <a:pt x="1214" y="10525"/>
                  </a:lnTo>
                  <a:lnTo>
                    <a:pt x="1214" y="10463"/>
                  </a:lnTo>
                  <a:lnTo>
                    <a:pt x="1277" y="10358"/>
                  </a:lnTo>
                  <a:lnTo>
                    <a:pt x="1256" y="10421"/>
                  </a:lnTo>
                  <a:lnTo>
                    <a:pt x="1339" y="10525"/>
                  </a:lnTo>
                  <a:lnTo>
                    <a:pt x="1277" y="10609"/>
                  </a:lnTo>
                  <a:lnTo>
                    <a:pt x="1130" y="10672"/>
                  </a:lnTo>
                  <a:lnTo>
                    <a:pt x="1046" y="10714"/>
                  </a:lnTo>
                  <a:lnTo>
                    <a:pt x="1109" y="10735"/>
                  </a:lnTo>
                  <a:lnTo>
                    <a:pt x="1046" y="10839"/>
                  </a:lnTo>
                  <a:lnTo>
                    <a:pt x="921" y="10839"/>
                  </a:lnTo>
                  <a:lnTo>
                    <a:pt x="921" y="10797"/>
                  </a:lnTo>
                  <a:lnTo>
                    <a:pt x="963" y="10735"/>
                  </a:lnTo>
                  <a:lnTo>
                    <a:pt x="942" y="10630"/>
                  </a:lnTo>
                  <a:lnTo>
                    <a:pt x="837" y="10609"/>
                  </a:lnTo>
                  <a:lnTo>
                    <a:pt x="733" y="10735"/>
                  </a:lnTo>
                  <a:lnTo>
                    <a:pt x="712" y="10797"/>
                  </a:lnTo>
                  <a:lnTo>
                    <a:pt x="628" y="10693"/>
                  </a:lnTo>
                  <a:lnTo>
                    <a:pt x="523" y="10672"/>
                  </a:lnTo>
                  <a:lnTo>
                    <a:pt x="419" y="10693"/>
                  </a:lnTo>
                  <a:lnTo>
                    <a:pt x="335" y="10672"/>
                  </a:lnTo>
                  <a:lnTo>
                    <a:pt x="209" y="10735"/>
                  </a:lnTo>
                  <a:lnTo>
                    <a:pt x="126" y="10735"/>
                  </a:lnTo>
                  <a:lnTo>
                    <a:pt x="63" y="10693"/>
                  </a:lnTo>
                  <a:lnTo>
                    <a:pt x="21" y="10693"/>
                  </a:lnTo>
                  <a:lnTo>
                    <a:pt x="63" y="10797"/>
                  </a:lnTo>
                  <a:lnTo>
                    <a:pt x="21" y="10839"/>
                  </a:lnTo>
                  <a:lnTo>
                    <a:pt x="84" y="10902"/>
                  </a:lnTo>
                  <a:lnTo>
                    <a:pt x="168" y="10881"/>
                  </a:lnTo>
                  <a:lnTo>
                    <a:pt x="209" y="10818"/>
                  </a:lnTo>
                  <a:lnTo>
                    <a:pt x="293" y="10818"/>
                  </a:lnTo>
                  <a:lnTo>
                    <a:pt x="209" y="10902"/>
                  </a:lnTo>
                  <a:lnTo>
                    <a:pt x="209" y="11007"/>
                  </a:lnTo>
                  <a:lnTo>
                    <a:pt x="168" y="11049"/>
                  </a:lnTo>
                  <a:lnTo>
                    <a:pt x="84" y="11007"/>
                  </a:lnTo>
                  <a:lnTo>
                    <a:pt x="126" y="11132"/>
                  </a:lnTo>
                  <a:lnTo>
                    <a:pt x="189" y="11195"/>
                  </a:lnTo>
                  <a:lnTo>
                    <a:pt x="335" y="11007"/>
                  </a:lnTo>
                  <a:lnTo>
                    <a:pt x="481" y="11049"/>
                  </a:lnTo>
                  <a:lnTo>
                    <a:pt x="419" y="11111"/>
                  </a:lnTo>
                  <a:lnTo>
                    <a:pt x="419" y="11195"/>
                  </a:lnTo>
                  <a:lnTo>
                    <a:pt x="293" y="11258"/>
                  </a:lnTo>
                  <a:lnTo>
                    <a:pt x="314" y="11300"/>
                  </a:lnTo>
                  <a:lnTo>
                    <a:pt x="398" y="11321"/>
                  </a:lnTo>
                  <a:lnTo>
                    <a:pt x="377" y="11404"/>
                  </a:lnTo>
                  <a:lnTo>
                    <a:pt x="419" y="11467"/>
                  </a:lnTo>
                  <a:lnTo>
                    <a:pt x="377" y="11572"/>
                  </a:lnTo>
                  <a:lnTo>
                    <a:pt x="419" y="11572"/>
                  </a:lnTo>
                  <a:lnTo>
                    <a:pt x="502" y="11446"/>
                  </a:lnTo>
                  <a:lnTo>
                    <a:pt x="586" y="11425"/>
                  </a:lnTo>
                  <a:lnTo>
                    <a:pt x="607" y="11300"/>
                  </a:lnTo>
                  <a:lnTo>
                    <a:pt x="816" y="11216"/>
                  </a:lnTo>
                  <a:lnTo>
                    <a:pt x="921" y="11216"/>
                  </a:lnTo>
                  <a:lnTo>
                    <a:pt x="1005" y="11195"/>
                  </a:lnTo>
                  <a:lnTo>
                    <a:pt x="942" y="11237"/>
                  </a:lnTo>
                  <a:lnTo>
                    <a:pt x="837" y="11321"/>
                  </a:lnTo>
                  <a:lnTo>
                    <a:pt x="837" y="11446"/>
                  </a:lnTo>
                  <a:lnTo>
                    <a:pt x="858" y="11530"/>
                  </a:lnTo>
                  <a:lnTo>
                    <a:pt x="795" y="11467"/>
                  </a:lnTo>
                  <a:lnTo>
                    <a:pt x="753" y="11341"/>
                  </a:lnTo>
                  <a:lnTo>
                    <a:pt x="712" y="11341"/>
                  </a:lnTo>
                  <a:lnTo>
                    <a:pt x="628" y="11467"/>
                  </a:lnTo>
                  <a:lnTo>
                    <a:pt x="586" y="11509"/>
                  </a:lnTo>
                  <a:lnTo>
                    <a:pt x="691" y="11530"/>
                  </a:lnTo>
                  <a:lnTo>
                    <a:pt x="586" y="11655"/>
                  </a:lnTo>
                  <a:lnTo>
                    <a:pt x="502" y="11655"/>
                  </a:lnTo>
                  <a:lnTo>
                    <a:pt x="481" y="11739"/>
                  </a:lnTo>
                  <a:lnTo>
                    <a:pt x="523" y="11760"/>
                  </a:lnTo>
                  <a:lnTo>
                    <a:pt x="691" y="11760"/>
                  </a:lnTo>
                  <a:lnTo>
                    <a:pt x="733" y="11823"/>
                  </a:lnTo>
                  <a:lnTo>
                    <a:pt x="607" y="11844"/>
                  </a:lnTo>
                  <a:lnTo>
                    <a:pt x="586" y="11885"/>
                  </a:lnTo>
                  <a:lnTo>
                    <a:pt x="544" y="11969"/>
                  </a:lnTo>
                  <a:lnTo>
                    <a:pt x="440" y="11885"/>
                  </a:lnTo>
                  <a:lnTo>
                    <a:pt x="398" y="11927"/>
                  </a:lnTo>
                  <a:lnTo>
                    <a:pt x="377" y="12032"/>
                  </a:lnTo>
                  <a:lnTo>
                    <a:pt x="335" y="11885"/>
                  </a:lnTo>
                  <a:lnTo>
                    <a:pt x="272" y="11948"/>
                  </a:lnTo>
                  <a:lnTo>
                    <a:pt x="168" y="12074"/>
                  </a:lnTo>
                  <a:lnTo>
                    <a:pt x="209" y="12178"/>
                  </a:lnTo>
                  <a:lnTo>
                    <a:pt x="335" y="12367"/>
                  </a:lnTo>
                  <a:lnTo>
                    <a:pt x="398" y="12262"/>
                  </a:lnTo>
                  <a:lnTo>
                    <a:pt x="419" y="12283"/>
                  </a:lnTo>
                  <a:lnTo>
                    <a:pt x="502" y="12262"/>
                  </a:lnTo>
                  <a:lnTo>
                    <a:pt x="481" y="12199"/>
                  </a:lnTo>
                  <a:lnTo>
                    <a:pt x="523" y="12095"/>
                  </a:lnTo>
                  <a:lnTo>
                    <a:pt x="649" y="12178"/>
                  </a:lnTo>
                  <a:lnTo>
                    <a:pt x="607" y="12241"/>
                  </a:lnTo>
                  <a:lnTo>
                    <a:pt x="649" y="12304"/>
                  </a:lnTo>
                  <a:lnTo>
                    <a:pt x="628" y="12388"/>
                  </a:lnTo>
                  <a:lnTo>
                    <a:pt x="586" y="12450"/>
                  </a:lnTo>
                  <a:lnTo>
                    <a:pt x="628" y="12597"/>
                  </a:lnTo>
                  <a:lnTo>
                    <a:pt x="691" y="12555"/>
                  </a:lnTo>
                  <a:lnTo>
                    <a:pt x="816" y="12513"/>
                  </a:lnTo>
                  <a:lnTo>
                    <a:pt x="900" y="12597"/>
                  </a:lnTo>
                  <a:lnTo>
                    <a:pt x="753" y="12597"/>
                  </a:lnTo>
                  <a:lnTo>
                    <a:pt x="712" y="12639"/>
                  </a:lnTo>
                  <a:lnTo>
                    <a:pt x="753" y="12722"/>
                  </a:lnTo>
                  <a:lnTo>
                    <a:pt x="753" y="12785"/>
                  </a:lnTo>
                  <a:lnTo>
                    <a:pt x="544" y="12618"/>
                  </a:lnTo>
                  <a:lnTo>
                    <a:pt x="481" y="12639"/>
                  </a:lnTo>
                  <a:lnTo>
                    <a:pt x="419" y="12597"/>
                  </a:lnTo>
                  <a:lnTo>
                    <a:pt x="314" y="12597"/>
                  </a:lnTo>
                  <a:lnTo>
                    <a:pt x="314" y="12701"/>
                  </a:lnTo>
                  <a:lnTo>
                    <a:pt x="272" y="12764"/>
                  </a:lnTo>
                  <a:lnTo>
                    <a:pt x="419" y="12994"/>
                  </a:lnTo>
                  <a:lnTo>
                    <a:pt x="523" y="13015"/>
                  </a:lnTo>
                  <a:lnTo>
                    <a:pt x="691" y="13141"/>
                  </a:lnTo>
                  <a:lnTo>
                    <a:pt x="900" y="13245"/>
                  </a:lnTo>
                  <a:lnTo>
                    <a:pt x="921" y="13308"/>
                  </a:lnTo>
                  <a:lnTo>
                    <a:pt x="858" y="13329"/>
                  </a:lnTo>
                  <a:lnTo>
                    <a:pt x="963" y="13413"/>
                  </a:lnTo>
                  <a:lnTo>
                    <a:pt x="1026" y="13392"/>
                  </a:lnTo>
                  <a:lnTo>
                    <a:pt x="1005" y="13287"/>
                  </a:lnTo>
                  <a:lnTo>
                    <a:pt x="1067" y="13287"/>
                  </a:lnTo>
                  <a:lnTo>
                    <a:pt x="1151" y="13329"/>
                  </a:lnTo>
                  <a:lnTo>
                    <a:pt x="1130" y="13350"/>
                  </a:lnTo>
                  <a:lnTo>
                    <a:pt x="1235" y="13497"/>
                  </a:lnTo>
                  <a:lnTo>
                    <a:pt x="1277" y="13434"/>
                  </a:lnTo>
                  <a:lnTo>
                    <a:pt x="1339" y="13455"/>
                  </a:lnTo>
                  <a:lnTo>
                    <a:pt x="1444" y="13413"/>
                  </a:lnTo>
                  <a:lnTo>
                    <a:pt x="1570" y="13308"/>
                  </a:lnTo>
                  <a:lnTo>
                    <a:pt x="1632" y="13287"/>
                  </a:lnTo>
                  <a:lnTo>
                    <a:pt x="1653" y="13225"/>
                  </a:lnTo>
                  <a:lnTo>
                    <a:pt x="1674" y="13245"/>
                  </a:lnTo>
                  <a:lnTo>
                    <a:pt x="1695" y="13329"/>
                  </a:lnTo>
                  <a:lnTo>
                    <a:pt x="1779" y="13329"/>
                  </a:lnTo>
                  <a:lnTo>
                    <a:pt x="1988" y="13120"/>
                  </a:lnTo>
                  <a:lnTo>
                    <a:pt x="1967" y="13078"/>
                  </a:lnTo>
                  <a:lnTo>
                    <a:pt x="1883" y="12932"/>
                  </a:lnTo>
                  <a:lnTo>
                    <a:pt x="2051" y="13036"/>
                  </a:lnTo>
                  <a:lnTo>
                    <a:pt x="2155" y="12911"/>
                  </a:lnTo>
                  <a:lnTo>
                    <a:pt x="2114" y="12890"/>
                  </a:lnTo>
                  <a:lnTo>
                    <a:pt x="2197" y="12827"/>
                  </a:lnTo>
                  <a:lnTo>
                    <a:pt x="2176" y="12764"/>
                  </a:lnTo>
                  <a:lnTo>
                    <a:pt x="2281" y="12701"/>
                  </a:lnTo>
                  <a:lnTo>
                    <a:pt x="2386" y="12681"/>
                  </a:lnTo>
                  <a:lnTo>
                    <a:pt x="2386" y="12597"/>
                  </a:lnTo>
                  <a:lnTo>
                    <a:pt x="2302" y="12492"/>
                  </a:lnTo>
                  <a:lnTo>
                    <a:pt x="2323" y="12409"/>
                  </a:lnTo>
                  <a:lnTo>
                    <a:pt x="2260" y="12304"/>
                  </a:lnTo>
                  <a:lnTo>
                    <a:pt x="2155" y="12241"/>
                  </a:lnTo>
                  <a:lnTo>
                    <a:pt x="2176" y="12157"/>
                  </a:lnTo>
                  <a:lnTo>
                    <a:pt x="2218" y="12178"/>
                  </a:lnTo>
                  <a:lnTo>
                    <a:pt x="2323" y="12304"/>
                  </a:lnTo>
                  <a:lnTo>
                    <a:pt x="2386" y="12471"/>
                  </a:lnTo>
                  <a:lnTo>
                    <a:pt x="2406" y="12492"/>
                  </a:lnTo>
                  <a:lnTo>
                    <a:pt x="2490" y="12513"/>
                  </a:lnTo>
                  <a:lnTo>
                    <a:pt x="2469" y="12576"/>
                  </a:lnTo>
                  <a:lnTo>
                    <a:pt x="2511" y="12639"/>
                  </a:lnTo>
                  <a:lnTo>
                    <a:pt x="2616" y="12597"/>
                  </a:lnTo>
                  <a:lnTo>
                    <a:pt x="2595" y="12513"/>
                  </a:lnTo>
                  <a:lnTo>
                    <a:pt x="2532" y="12492"/>
                  </a:lnTo>
                  <a:lnTo>
                    <a:pt x="2595" y="12409"/>
                  </a:lnTo>
                  <a:lnTo>
                    <a:pt x="2678" y="12492"/>
                  </a:lnTo>
                  <a:lnTo>
                    <a:pt x="2699" y="12555"/>
                  </a:lnTo>
                  <a:lnTo>
                    <a:pt x="2825" y="12409"/>
                  </a:lnTo>
                  <a:lnTo>
                    <a:pt x="2846" y="12283"/>
                  </a:lnTo>
                  <a:lnTo>
                    <a:pt x="2825" y="12178"/>
                  </a:lnTo>
                  <a:lnTo>
                    <a:pt x="2741" y="12157"/>
                  </a:lnTo>
                  <a:lnTo>
                    <a:pt x="2720" y="12074"/>
                  </a:lnTo>
                  <a:lnTo>
                    <a:pt x="2783" y="12053"/>
                  </a:lnTo>
                  <a:lnTo>
                    <a:pt x="2783" y="11990"/>
                  </a:lnTo>
                  <a:lnTo>
                    <a:pt x="2825" y="11990"/>
                  </a:lnTo>
                  <a:lnTo>
                    <a:pt x="2888" y="11948"/>
                  </a:lnTo>
                  <a:lnTo>
                    <a:pt x="2825" y="11865"/>
                  </a:lnTo>
                  <a:lnTo>
                    <a:pt x="2825" y="11760"/>
                  </a:lnTo>
                  <a:lnTo>
                    <a:pt x="2909" y="11718"/>
                  </a:lnTo>
                  <a:lnTo>
                    <a:pt x="2992" y="11781"/>
                  </a:lnTo>
                  <a:lnTo>
                    <a:pt x="2930" y="11885"/>
                  </a:lnTo>
                  <a:lnTo>
                    <a:pt x="2950" y="12032"/>
                  </a:lnTo>
                  <a:lnTo>
                    <a:pt x="2930" y="12095"/>
                  </a:lnTo>
                  <a:lnTo>
                    <a:pt x="2992" y="12199"/>
                  </a:lnTo>
                  <a:lnTo>
                    <a:pt x="3013" y="12283"/>
                  </a:lnTo>
                  <a:lnTo>
                    <a:pt x="3118" y="12409"/>
                  </a:lnTo>
                  <a:lnTo>
                    <a:pt x="3264" y="12409"/>
                  </a:lnTo>
                  <a:lnTo>
                    <a:pt x="3327" y="12450"/>
                  </a:lnTo>
                  <a:lnTo>
                    <a:pt x="3264" y="12492"/>
                  </a:lnTo>
                  <a:lnTo>
                    <a:pt x="3348" y="12555"/>
                  </a:lnTo>
                  <a:lnTo>
                    <a:pt x="3432" y="12639"/>
                  </a:lnTo>
                  <a:lnTo>
                    <a:pt x="3474" y="12555"/>
                  </a:lnTo>
                  <a:lnTo>
                    <a:pt x="3453" y="12178"/>
                  </a:lnTo>
                  <a:lnTo>
                    <a:pt x="3369" y="12032"/>
                  </a:lnTo>
                  <a:lnTo>
                    <a:pt x="3432" y="11948"/>
                  </a:lnTo>
                  <a:lnTo>
                    <a:pt x="3515" y="11885"/>
                  </a:lnTo>
                  <a:lnTo>
                    <a:pt x="3432" y="11781"/>
                  </a:lnTo>
                  <a:lnTo>
                    <a:pt x="3474" y="11718"/>
                  </a:lnTo>
                  <a:lnTo>
                    <a:pt x="3662" y="11676"/>
                  </a:lnTo>
                  <a:lnTo>
                    <a:pt x="3683" y="11593"/>
                  </a:lnTo>
                  <a:lnTo>
                    <a:pt x="3683" y="11467"/>
                  </a:lnTo>
                  <a:lnTo>
                    <a:pt x="3766" y="11321"/>
                  </a:lnTo>
                  <a:lnTo>
                    <a:pt x="3683" y="11195"/>
                  </a:lnTo>
                  <a:lnTo>
                    <a:pt x="3662" y="10923"/>
                  </a:lnTo>
                  <a:lnTo>
                    <a:pt x="3536" y="10714"/>
                  </a:lnTo>
                  <a:lnTo>
                    <a:pt x="3557" y="10609"/>
                  </a:lnTo>
                  <a:lnTo>
                    <a:pt x="3829" y="10525"/>
                  </a:lnTo>
                  <a:lnTo>
                    <a:pt x="3829" y="10358"/>
                  </a:lnTo>
                  <a:lnTo>
                    <a:pt x="3871" y="10212"/>
                  </a:lnTo>
                  <a:lnTo>
                    <a:pt x="3662" y="10002"/>
                  </a:lnTo>
                  <a:lnTo>
                    <a:pt x="3515" y="9898"/>
                  </a:lnTo>
                  <a:lnTo>
                    <a:pt x="3515" y="9688"/>
                  </a:lnTo>
                  <a:lnTo>
                    <a:pt x="3536" y="9479"/>
                  </a:lnTo>
                  <a:lnTo>
                    <a:pt x="3515" y="9249"/>
                  </a:lnTo>
                  <a:lnTo>
                    <a:pt x="3453" y="9103"/>
                  </a:lnTo>
                  <a:lnTo>
                    <a:pt x="3515" y="8914"/>
                  </a:lnTo>
                  <a:lnTo>
                    <a:pt x="3453" y="8621"/>
                  </a:lnTo>
                  <a:lnTo>
                    <a:pt x="3411" y="8308"/>
                  </a:lnTo>
                  <a:lnTo>
                    <a:pt x="3453" y="8077"/>
                  </a:lnTo>
                  <a:lnTo>
                    <a:pt x="3578" y="7847"/>
                  </a:lnTo>
                  <a:lnTo>
                    <a:pt x="3683" y="7764"/>
                  </a:lnTo>
                  <a:lnTo>
                    <a:pt x="3850" y="7784"/>
                  </a:lnTo>
                  <a:lnTo>
                    <a:pt x="4059" y="7805"/>
                  </a:lnTo>
                  <a:lnTo>
                    <a:pt x="4164" y="7680"/>
                  </a:lnTo>
                  <a:lnTo>
                    <a:pt x="4143" y="7450"/>
                  </a:lnTo>
                  <a:lnTo>
                    <a:pt x="4080" y="7366"/>
                  </a:lnTo>
                  <a:lnTo>
                    <a:pt x="4080" y="7240"/>
                  </a:lnTo>
                  <a:lnTo>
                    <a:pt x="4290" y="6738"/>
                  </a:lnTo>
                  <a:lnTo>
                    <a:pt x="4290" y="6487"/>
                  </a:lnTo>
                  <a:lnTo>
                    <a:pt x="4352" y="6215"/>
                  </a:lnTo>
                  <a:lnTo>
                    <a:pt x="4394" y="6069"/>
                  </a:lnTo>
                  <a:lnTo>
                    <a:pt x="4394" y="5901"/>
                  </a:lnTo>
                  <a:lnTo>
                    <a:pt x="4311" y="5818"/>
                  </a:lnTo>
                  <a:lnTo>
                    <a:pt x="4311" y="5692"/>
                  </a:lnTo>
                  <a:lnTo>
                    <a:pt x="4499" y="5587"/>
                  </a:lnTo>
                  <a:lnTo>
                    <a:pt x="4708" y="5567"/>
                  </a:lnTo>
                  <a:lnTo>
                    <a:pt x="4792" y="5483"/>
                  </a:lnTo>
                  <a:lnTo>
                    <a:pt x="4813" y="5357"/>
                  </a:lnTo>
                  <a:lnTo>
                    <a:pt x="4980" y="5064"/>
                  </a:lnTo>
                  <a:lnTo>
                    <a:pt x="5127" y="4855"/>
                  </a:lnTo>
                  <a:lnTo>
                    <a:pt x="5189" y="4730"/>
                  </a:lnTo>
                  <a:lnTo>
                    <a:pt x="5106" y="4541"/>
                  </a:lnTo>
                  <a:lnTo>
                    <a:pt x="5043" y="4458"/>
                  </a:lnTo>
                  <a:lnTo>
                    <a:pt x="5043" y="4206"/>
                  </a:lnTo>
                  <a:lnTo>
                    <a:pt x="5127" y="4186"/>
                  </a:lnTo>
                  <a:lnTo>
                    <a:pt x="5189" y="4081"/>
                  </a:lnTo>
                  <a:lnTo>
                    <a:pt x="5231" y="3934"/>
                  </a:lnTo>
                  <a:lnTo>
                    <a:pt x="5315" y="3893"/>
                  </a:lnTo>
                  <a:lnTo>
                    <a:pt x="5399" y="3704"/>
                  </a:lnTo>
                  <a:lnTo>
                    <a:pt x="5524" y="3600"/>
                  </a:lnTo>
                  <a:lnTo>
                    <a:pt x="5629" y="3683"/>
                  </a:lnTo>
                  <a:lnTo>
                    <a:pt x="5712" y="3725"/>
                  </a:lnTo>
                  <a:lnTo>
                    <a:pt x="5754" y="3725"/>
                  </a:lnTo>
                  <a:lnTo>
                    <a:pt x="5859" y="3621"/>
                  </a:lnTo>
                  <a:lnTo>
                    <a:pt x="5775" y="3516"/>
                  </a:lnTo>
                  <a:lnTo>
                    <a:pt x="5859" y="3474"/>
                  </a:lnTo>
                  <a:lnTo>
                    <a:pt x="5859" y="3390"/>
                  </a:lnTo>
                  <a:lnTo>
                    <a:pt x="5880" y="3349"/>
                  </a:lnTo>
                  <a:lnTo>
                    <a:pt x="5775" y="3181"/>
                  </a:lnTo>
                  <a:lnTo>
                    <a:pt x="5838" y="3160"/>
                  </a:lnTo>
                  <a:lnTo>
                    <a:pt x="6026" y="3160"/>
                  </a:lnTo>
                  <a:lnTo>
                    <a:pt x="6152" y="3077"/>
                  </a:lnTo>
                  <a:lnTo>
                    <a:pt x="6340" y="3139"/>
                  </a:lnTo>
                  <a:lnTo>
                    <a:pt x="6445" y="3202"/>
                  </a:lnTo>
                  <a:lnTo>
                    <a:pt x="6570" y="3223"/>
                  </a:lnTo>
                  <a:lnTo>
                    <a:pt x="6654" y="3286"/>
                  </a:lnTo>
                  <a:lnTo>
                    <a:pt x="6696" y="3265"/>
                  </a:lnTo>
                  <a:lnTo>
                    <a:pt x="6759" y="3307"/>
                  </a:lnTo>
                  <a:lnTo>
                    <a:pt x="6759" y="3160"/>
                  </a:lnTo>
                  <a:lnTo>
                    <a:pt x="6696" y="3077"/>
                  </a:lnTo>
                  <a:lnTo>
                    <a:pt x="6717" y="2888"/>
                  </a:lnTo>
                  <a:lnTo>
                    <a:pt x="6800" y="2846"/>
                  </a:lnTo>
                  <a:lnTo>
                    <a:pt x="6779" y="2700"/>
                  </a:lnTo>
                  <a:lnTo>
                    <a:pt x="6696" y="2658"/>
                  </a:lnTo>
                  <a:lnTo>
                    <a:pt x="6675" y="2554"/>
                  </a:lnTo>
                  <a:lnTo>
                    <a:pt x="6675" y="2554"/>
                  </a:lnTo>
                  <a:lnTo>
                    <a:pt x="6800" y="2616"/>
                  </a:lnTo>
                  <a:lnTo>
                    <a:pt x="6926" y="2574"/>
                  </a:lnTo>
                  <a:lnTo>
                    <a:pt x="6989" y="2554"/>
                  </a:lnTo>
                  <a:lnTo>
                    <a:pt x="7010" y="2533"/>
                  </a:lnTo>
                  <a:lnTo>
                    <a:pt x="7072" y="2533"/>
                  </a:lnTo>
                  <a:lnTo>
                    <a:pt x="7093" y="2512"/>
                  </a:lnTo>
                  <a:lnTo>
                    <a:pt x="7072" y="2428"/>
                  </a:lnTo>
                  <a:lnTo>
                    <a:pt x="7093" y="2323"/>
                  </a:lnTo>
                  <a:lnTo>
                    <a:pt x="7177" y="2261"/>
                  </a:lnTo>
                  <a:lnTo>
                    <a:pt x="7282" y="2261"/>
                  </a:lnTo>
                  <a:lnTo>
                    <a:pt x="7344" y="2407"/>
                  </a:lnTo>
                  <a:lnTo>
                    <a:pt x="7616" y="2616"/>
                  </a:lnTo>
                  <a:lnTo>
                    <a:pt x="7637" y="2742"/>
                  </a:lnTo>
                  <a:lnTo>
                    <a:pt x="7742" y="2846"/>
                  </a:lnTo>
                  <a:lnTo>
                    <a:pt x="7909" y="2930"/>
                  </a:lnTo>
                  <a:lnTo>
                    <a:pt x="8160" y="2930"/>
                  </a:lnTo>
                  <a:lnTo>
                    <a:pt x="8328" y="2784"/>
                  </a:lnTo>
                  <a:lnTo>
                    <a:pt x="8391" y="2700"/>
                  </a:lnTo>
                  <a:lnTo>
                    <a:pt x="8495" y="2700"/>
                  </a:lnTo>
                  <a:lnTo>
                    <a:pt x="8704" y="2846"/>
                  </a:lnTo>
                  <a:lnTo>
                    <a:pt x="8851" y="2867"/>
                  </a:lnTo>
                  <a:lnTo>
                    <a:pt x="8893" y="2742"/>
                  </a:lnTo>
                  <a:lnTo>
                    <a:pt x="8976" y="2679"/>
                  </a:lnTo>
                  <a:lnTo>
                    <a:pt x="9060" y="2616"/>
                  </a:lnTo>
                  <a:lnTo>
                    <a:pt x="9165" y="2616"/>
                  </a:lnTo>
                  <a:lnTo>
                    <a:pt x="9269" y="2554"/>
                  </a:lnTo>
                  <a:lnTo>
                    <a:pt x="9311" y="2470"/>
                  </a:lnTo>
                  <a:lnTo>
                    <a:pt x="9269" y="2365"/>
                  </a:lnTo>
                  <a:lnTo>
                    <a:pt x="9207" y="2219"/>
                  </a:lnTo>
                  <a:lnTo>
                    <a:pt x="9228" y="1905"/>
                  </a:lnTo>
                  <a:lnTo>
                    <a:pt x="9290" y="1821"/>
                  </a:lnTo>
                  <a:lnTo>
                    <a:pt x="9228" y="1717"/>
                  </a:lnTo>
                  <a:lnTo>
                    <a:pt x="9290" y="1696"/>
                  </a:lnTo>
                  <a:lnTo>
                    <a:pt x="9395" y="1570"/>
                  </a:lnTo>
                  <a:lnTo>
                    <a:pt x="9374" y="1507"/>
                  </a:lnTo>
                  <a:lnTo>
                    <a:pt x="9500" y="1424"/>
                  </a:lnTo>
                  <a:lnTo>
                    <a:pt x="9646" y="1486"/>
                  </a:lnTo>
                  <a:lnTo>
                    <a:pt x="9730" y="1466"/>
                  </a:lnTo>
                  <a:lnTo>
                    <a:pt x="9730" y="1403"/>
                  </a:lnTo>
                  <a:lnTo>
                    <a:pt x="9813" y="1298"/>
                  </a:lnTo>
                  <a:lnTo>
                    <a:pt x="10065" y="1298"/>
                  </a:lnTo>
                  <a:lnTo>
                    <a:pt x="10169" y="1382"/>
                  </a:lnTo>
                  <a:lnTo>
                    <a:pt x="10316" y="1528"/>
                  </a:lnTo>
                  <a:lnTo>
                    <a:pt x="10378" y="1633"/>
                  </a:lnTo>
                  <a:lnTo>
                    <a:pt x="10525" y="1654"/>
                  </a:lnTo>
                  <a:lnTo>
                    <a:pt x="10692" y="1696"/>
                  </a:lnTo>
                  <a:lnTo>
                    <a:pt x="10755" y="1800"/>
                  </a:lnTo>
                  <a:lnTo>
                    <a:pt x="10860" y="1905"/>
                  </a:lnTo>
                  <a:lnTo>
                    <a:pt x="10839" y="2030"/>
                  </a:lnTo>
                  <a:lnTo>
                    <a:pt x="10734" y="2177"/>
                  </a:lnTo>
                  <a:lnTo>
                    <a:pt x="10755" y="2428"/>
                  </a:lnTo>
                  <a:lnTo>
                    <a:pt x="10839" y="2428"/>
                  </a:lnTo>
                  <a:lnTo>
                    <a:pt x="10839" y="2219"/>
                  </a:lnTo>
                  <a:lnTo>
                    <a:pt x="10985" y="2051"/>
                  </a:lnTo>
                  <a:lnTo>
                    <a:pt x="11111" y="2030"/>
                  </a:lnTo>
                  <a:lnTo>
                    <a:pt x="11194" y="1926"/>
                  </a:lnTo>
                  <a:lnTo>
                    <a:pt x="11194" y="1779"/>
                  </a:lnTo>
                  <a:lnTo>
                    <a:pt x="11299" y="1738"/>
                  </a:lnTo>
                  <a:lnTo>
                    <a:pt x="11404" y="1800"/>
                  </a:lnTo>
                  <a:lnTo>
                    <a:pt x="11487" y="1717"/>
                  </a:lnTo>
                  <a:lnTo>
                    <a:pt x="11487" y="1591"/>
                  </a:lnTo>
                  <a:lnTo>
                    <a:pt x="11425" y="1591"/>
                  </a:lnTo>
                  <a:lnTo>
                    <a:pt x="11362" y="1507"/>
                  </a:lnTo>
                  <a:lnTo>
                    <a:pt x="11299" y="1507"/>
                  </a:lnTo>
                  <a:lnTo>
                    <a:pt x="11278" y="1528"/>
                  </a:lnTo>
                  <a:lnTo>
                    <a:pt x="11278" y="1612"/>
                  </a:lnTo>
                  <a:lnTo>
                    <a:pt x="11215" y="1570"/>
                  </a:lnTo>
                  <a:lnTo>
                    <a:pt x="11194" y="1507"/>
                  </a:lnTo>
                  <a:lnTo>
                    <a:pt x="11153" y="1507"/>
                  </a:lnTo>
                  <a:lnTo>
                    <a:pt x="11153" y="1570"/>
                  </a:lnTo>
                  <a:lnTo>
                    <a:pt x="11111" y="1696"/>
                  </a:lnTo>
                  <a:lnTo>
                    <a:pt x="11090" y="1654"/>
                  </a:lnTo>
                  <a:lnTo>
                    <a:pt x="11048" y="1591"/>
                  </a:lnTo>
                  <a:lnTo>
                    <a:pt x="10964" y="1633"/>
                  </a:lnTo>
                  <a:lnTo>
                    <a:pt x="10943" y="1696"/>
                  </a:lnTo>
                  <a:lnTo>
                    <a:pt x="10901" y="1612"/>
                  </a:lnTo>
                  <a:lnTo>
                    <a:pt x="10881" y="1486"/>
                  </a:lnTo>
                  <a:lnTo>
                    <a:pt x="10839" y="1486"/>
                  </a:lnTo>
                  <a:lnTo>
                    <a:pt x="10776" y="1361"/>
                  </a:lnTo>
                  <a:lnTo>
                    <a:pt x="10734" y="1319"/>
                  </a:lnTo>
                  <a:lnTo>
                    <a:pt x="10650" y="1319"/>
                  </a:lnTo>
                  <a:lnTo>
                    <a:pt x="10567" y="1298"/>
                  </a:lnTo>
                  <a:lnTo>
                    <a:pt x="10420" y="1277"/>
                  </a:lnTo>
                  <a:lnTo>
                    <a:pt x="10357" y="1193"/>
                  </a:lnTo>
                  <a:lnTo>
                    <a:pt x="10378" y="1173"/>
                  </a:lnTo>
                  <a:lnTo>
                    <a:pt x="10546" y="1214"/>
                  </a:lnTo>
                  <a:lnTo>
                    <a:pt x="10692" y="1193"/>
                  </a:lnTo>
                  <a:lnTo>
                    <a:pt x="10797" y="1214"/>
                  </a:lnTo>
                  <a:lnTo>
                    <a:pt x="11048" y="1256"/>
                  </a:lnTo>
                  <a:lnTo>
                    <a:pt x="11194" y="1193"/>
                  </a:lnTo>
                  <a:lnTo>
                    <a:pt x="11299" y="984"/>
                  </a:lnTo>
                  <a:lnTo>
                    <a:pt x="11508" y="942"/>
                  </a:lnTo>
                  <a:lnTo>
                    <a:pt x="11613" y="859"/>
                  </a:lnTo>
                  <a:lnTo>
                    <a:pt x="11613" y="838"/>
                  </a:lnTo>
                  <a:lnTo>
                    <a:pt x="11529" y="796"/>
                  </a:lnTo>
                  <a:lnTo>
                    <a:pt x="11508" y="754"/>
                  </a:lnTo>
                  <a:lnTo>
                    <a:pt x="11425" y="733"/>
                  </a:lnTo>
                  <a:lnTo>
                    <a:pt x="11320" y="754"/>
                  </a:lnTo>
                  <a:lnTo>
                    <a:pt x="11194" y="608"/>
                  </a:lnTo>
                  <a:lnTo>
                    <a:pt x="11111" y="608"/>
                  </a:lnTo>
                  <a:lnTo>
                    <a:pt x="11006" y="733"/>
                  </a:lnTo>
                  <a:lnTo>
                    <a:pt x="10964" y="733"/>
                  </a:lnTo>
                  <a:lnTo>
                    <a:pt x="10943" y="691"/>
                  </a:lnTo>
                  <a:lnTo>
                    <a:pt x="11048" y="649"/>
                  </a:lnTo>
                  <a:lnTo>
                    <a:pt x="11048" y="566"/>
                  </a:lnTo>
                  <a:lnTo>
                    <a:pt x="10943" y="524"/>
                  </a:lnTo>
                  <a:lnTo>
                    <a:pt x="10901" y="482"/>
                  </a:lnTo>
                  <a:lnTo>
                    <a:pt x="10839" y="482"/>
                  </a:lnTo>
                  <a:lnTo>
                    <a:pt x="10776" y="608"/>
                  </a:lnTo>
                  <a:lnTo>
                    <a:pt x="10734" y="608"/>
                  </a:lnTo>
                  <a:lnTo>
                    <a:pt x="10734" y="524"/>
                  </a:lnTo>
                  <a:lnTo>
                    <a:pt x="10671" y="545"/>
                  </a:lnTo>
                  <a:lnTo>
                    <a:pt x="10650" y="587"/>
                  </a:lnTo>
                  <a:lnTo>
                    <a:pt x="10588" y="587"/>
                  </a:lnTo>
                  <a:lnTo>
                    <a:pt x="10567" y="545"/>
                  </a:lnTo>
                  <a:lnTo>
                    <a:pt x="10650" y="482"/>
                  </a:lnTo>
                  <a:lnTo>
                    <a:pt x="10650" y="419"/>
                  </a:lnTo>
                  <a:lnTo>
                    <a:pt x="10546" y="357"/>
                  </a:lnTo>
                  <a:lnTo>
                    <a:pt x="10420" y="357"/>
                  </a:lnTo>
                  <a:lnTo>
                    <a:pt x="10357" y="377"/>
                  </a:lnTo>
                  <a:lnTo>
                    <a:pt x="10337" y="545"/>
                  </a:lnTo>
                  <a:lnTo>
                    <a:pt x="10253" y="587"/>
                  </a:lnTo>
                  <a:lnTo>
                    <a:pt x="10253" y="649"/>
                  </a:lnTo>
                  <a:lnTo>
                    <a:pt x="10316" y="796"/>
                  </a:lnTo>
                  <a:lnTo>
                    <a:pt x="10316" y="880"/>
                  </a:lnTo>
                  <a:lnTo>
                    <a:pt x="10253" y="942"/>
                  </a:lnTo>
                  <a:lnTo>
                    <a:pt x="10211" y="838"/>
                  </a:lnTo>
                  <a:lnTo>
                    <a:pt x="10127" y="838"/>
                  </a:lnTo>
                  <a:lnTo>
                    <a:pt x="10127" y="859"/>
                  </a:lnTo>
                  <a:lnTo>
                    <a:pt x="10023" y="838"/>
                  </a:lnTo>
                  <a:lnTo>
                    <a:pt x="9897" y="901"/>
                  </a:lnTo>
                  <a:lnTo>
                    <a:pt x="9897" y="901"/>
                  </a:lnTo>
                  <a:lnTo>
                    <a:pt x="10002" y="754"/>
                  </a:lnTo>
                  <a:lnTo>
                    <a:pt x="10065" y="733"/>
                  </a:lnTo>
                  <a:lnTo>
                    <a:pt x="10127" y="608"/>
                  </a:lnTo>
                  <a:lnTo>
                    <a:pt x="10127" y="566"/>
                  </a:lnTo>
                  <a:lnTo>
                    <a:pt x="10065" y="566"/>
                  </a:lnTo>
                  <a:lnTo>
                    <a:pt x="9960" y="649"/>
                  </a:lnTo>
                  <a:lnTo>
                    <a:pt x="9897" y="649"/>
                  </a:lnTo>
                  <a:lnTo>
                    <a:pt x="9918" y="587"/>
                  </a:lnTo>
                  <a:lnTo>
                    <a:pt x="10002" y="524"/>
                  </a:lnTo>
                  <a:lnTo>
                    <a:pt x="10002" y="482"/>
                  </a:lnTo>
                  <a:lnTo>
                    <a:pt x="9897" y="461"/>
                  </a:lnTo>
                  <a:lnTo>
                    <a:pt x="9855" y="419"/>
                  </a:lnTo>
                  <a:lnTo>
                    <a:pt x="9960" y="377"/>
                  </a:lnTo>
                  <a:lnTo>
                    <a:pt x="10002" y="419"/>
                  </a:lnTo>
                  <a:lnTo>
                    <a:pt x="10127" y="419"/>
                  </a:lnTo>
                  <a:lnTo>
                    <a:pt x="10169" y="231"/>
                  </a:lnTo>
                  <a:lnTo>
                    <a:pt x="10169" y="168"/>
                  </a:lnTo>
                  <a:lnTo>
                    <a:pt x="10044" y="210"/>
                  </a:lnTo>
                  <a:lnTo>
                    <a:pt x="10002" y="147"/>
                  </a:lnTo>
                  <a:lnTo>
                    <a:pt x="10023" y="64"/>
                  </a:lnTo>
                  <a:lnTo>
                    <a:pt x="10002" y="1"/>
                  </a:lnTo>
                  <a:lnTo>
                    <a:pt x="9918" y="64"/>
                  </a:lnTo>
                  <a:lnTo>
                    <a:pt x="9855" y="64"/>
                  </a:lnTo>
                  <a:lnTo>
                    <a:pt x="979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6" name="Google Shape;2026;p66"/>
            <p:cNvSpPr/>
            <p:nvPr/>
          </p:nvSpPr>
          <p:spPr>
            <a:xfrm>
              <a:off x="3810372" y="2589242"/>
              <a:ext cx="68528" cy="147786"/>
            </a:xfrm>
            <a:custGeom>
              <a:avLst/>
              <a:gdLst/>
              <a:ahLst/>
              <a:cxnLst/>
              <a:rect l="l" t="t" r="r" b="b"/>
              <a:pathLst>
                <a:path w="5755" h="12995" extrusionOk="0">
                  <a:moveTo>
                    <a:pt x="3788" y="1"/>
                  </a:moveTo>
                  <a:lnTo>
                    <a:pt x="3725" y="21"/>
                  </a:lnTo>
                  <a:lnTo>
                    <a:pt x="3599" y="63"/>
                  </a:lnTo>
                  <a:lnTo>
                    <a:pt x="3474" y="1"/>
                  </a:lnTo>
                  <a:lnTo>
                    <a:pt x="3474" y="1"/>
                  </a:lnTo>
                  <a:lnTo>
                    <a:pt x="3495" y="105"/>
                  </a:lnTo>
                  <a:lnTo>
                    <a:pt x="3578" y="147"/>
                  </a:lnTo>
                  <a:lnTo>
                    <a:pt x="3599" y="293"/>
                  </a:lnTo>
                  <a:lnTo>
                    <a:pt x="3516" y="335"/>
                  </a:lnTo>
                  <a:lnTo>
                    <a:pt x="3495" y="524"/>
                  </a:lnTo>
                  <a:lnTo>
                    <a:pt x="3558" y="607"/>
                  </a:lnTo>
                  <a:lnTo>
                    <a:pt x="3558" y="754"/>
                  </a:lnTo>
                  <a:lnTo>
                    <a:pt x="3495" y="712"/>
                  </a:lnTo>
                  <a:lnTo>
                    <a:pt x="3453" y="733"/>
                  </a:lnTo>
                  <a:lnTo>
                    <a:pt x="3369" y="670"/>
                  </a:lnTo>
                  <a:lnTo>
                    <a:pt x="3244" y="649"/>
                  </a:lnTo>
                  <a:lnTo>
                    <a:pt x="3139" y="586"/>
                  </a:lnTo>
                  <a:lnTo>
                    <a:pt x="2951" y="524"/>
                  </a:lnTo>
                  <a:lnTo>
                    <a:pt x="2825" y="607"/>
                  </a:lnTo>
                  <a:lnTo>
                    <a:pt x="2637" y="607"/>
                  </a:lnTo>
                  <a:lnTo>
                    <a:pt x="2574" y="628"/>
                  </a:lnTo>
                  <a:lnTo>
                    <a:pt x="2679" y="796"/>
                  </a:lnTo>
                  <a:lnTo>
                    <a:pt x="2658" y="837"/>
                  </a:lnTo>
                  <a:lnTo>
                    <a:pt x="2658" y="921"/>
                  </a:lnTo>
                  <a:lnTo>
                    <a:pt x="2574" y="963"/>
                  </a:lnTo>
                  <a:lnTo>
                    <a:pt x="2658" y="1068"/>
                  </a:lnTo>
                  <a:lnTo>
                    <a:pt x="2553" y="1172"/>
                  </a:lnTo>
                  <a:lnTo>
                    <a:pt x="2511" y="1172"/>
                  </a:lnTo>
                  <a:lnTo>
                    <a:pt x="2428" y="1130"/>
                  </a:lnTo>
                  <a:lnTo>
                    <a:pt x="2323" y="1047"/>
                  </a:lnTo>
                  <a:lnTo>
                    <a:pt x="2198" y="1151"/>
                  </a:lnTo>
                  <a:lnTo>
                    <a:pt x="2114" y="1340"/>
                  </a:lnTo>
                  <a:lnTo>
                    <a:pt x="2030" y="1381"/>
                  </a:lnTo>
                  <a:lnTo>
                    <a:pt x="1988" y="1528"/>
                  </a:lnTo>
                  <a:lnTo>
                    <a:pt x="1926" y="1633"/>
                  </a:lnTo>
                  <a:lnTo>
                    <a:pt x="1842" y="1653"/>
                  </a:lnTo>
                  <a:lnTo>
                    <a:pt x="1842" y="1905"/>
                  </a:lnTo>
                  <a:lnTo>
                    <a:pt x="1905" y="1988"/>
                  </a:lnTo>
                  <a:lnTo>
                    <a:pt x="1988" y="2177"/>
                  </a:lnTo>
                  <a:lnTo>
                    <a:pt x="1926" y="2302"/>
                  </a:lnTo>
                  <a:lnTo>
                    <a:pt x="1779" y="2511"/>
                  </a:lnTo>
                  <a:lnTo>
                    <a:pt x="1612" y="2804"/>
                  </a:lnTo>
                  <a:lnTo>
                    <a:pt x="1591" y="2930"/>
                  </a:lnTo>
                  <a:lnTo>
                    <a:pt x="1507" y="3014"/>
                  </a:lnTo>
                  <a:lnTo>
                    <a:pt x="1298" y="3034"/>
                  </a:lnTo>
                  <a:lnTo>
                    <a:pt x="1110" y="3139"/>
                  </a:lnTo>
                  <a:lnTo>
                    <a:pt x="1110" y="3265"/>
                  </a:lnTo>
                  <a:lnTo>
                    <a:pt x="1193" y="3348"/>
                  </a:lnTo>
                  <a:lnTo>
                    <a:pt x="1193" y="3516"/>
                  </a:lnTo>
                  <a:lnTo>
                    <a:pt x="1151" y="3662"/>
                  </a:lnTo>
                  <a:lnTo>
                    <a:pt x="1089" y="3934"/>
                  </a:lnTo>
                  <a:lnTo>
                    <a:pt x="1089" y="4185"/>
                  </a:lnTo>
                  <a:lnTo>
                    <a:pt x="879" y="4687"/>
                  </a:lnTo>
                  <a:lnTo>
                    <a:pt x="879" y="4813"/>
                  </a:lnTo>
                  <a:lnTo>
                    <a:pt x="942" y="4897"/>
                  </a:lnTo>
                  <a:lnTo>
                    <a:pt x="963" y="5127"/>
                  </a:lnTo>
                  <a:lnTo>
                    <a:pt x="858" y="5252"/>
                  </a:lnTo>
                  <a:lnTo>
                    <a:pt x="649" y="5231"/>
                  </a:lnTo>
                  <a:lnTo>
                    <a:pt x="482" y="5211"/>
                  </a:lnTo>
                  <a:lnTo>
                    <a:pt x="377" y="5294"/>
                  </a:lnTo>
                  <a:lnTo>
                    <a:pt x="252" y="5524"/>
                  </a:lnTo>
                  <a:lnTo>
                    <a:pt x="210" y="5755"/>
                  </a:lnTo>
                  <a:lnTo>
                    <a:pt x="252" y="6068"/>
                  </a:lnTo>
                  <a:lnTo>
                    <a:pt x="314" y="6361"/>
                  </a:lnTo>
                  <a:lnTo>
                    <a:pt x="252" y="6550"/>
                  </a:lnTo>
                  <a:lnTo>
                    <a:pt x="314" y="6696"/>
                  </a:lnTo>
                  <a:lnTo>
                    <a:pt x="335" y="6926"/>
                  </a:lnTo>
                  <a:lnTo>
                    <a:pt x="314" y="7135"/>
                  </a:lnTo>
                  <a:lnTo>
                    <a:pt x="314" y="7345"/>
                  </a:lnTo>
                  <a:lnTo>
                    <a:pt x="461" y="7449"/>
                  </a:lnTo>
                  <a:lnTo>
                    <a:pt x="670" y="7659"/>
                  </a:lnTo>
                  <a:lnTo>
                    <a:pt x="628" y="7805"/>
                  </a:lnTo>
                  <a:lnTo>
                    <a:pt x="628" y="7972"/>
                  </a:lnTo>
                  <a:lnTo>
                    <a:pt x="356" y="8056"/>
                  </a:lnTo>
                  <a:lnTo>
                    <a:pt x="335" y="8161"/>
                  </a:lnTo>
                  <a:lnTo>
                    <a:pt x="461" y="8370"/>
                  </a:lnTo>
                  <a:lnTo>
                    <a:pt x="482" y="8642"/>
                  </a:lnTo>
                  <a:lnTo>
                    <a:pt x="565" y="8768"/>
                  </a:lnTo>
                  <a:lnTo>
                    <a:pt x="482" y="8914"/>
                  </a:lnTo>
                  <a:lnTo>
                    <a:pt x="482" y="9040"/>
                  </a:lnTo>
                  <a:lnTo>
                    <a:pt x="461" y="9123"/>
                  </a:lnTo>
                  <a:lnTo>
                    <a:pt x="273" y="9165"/>
                  </a:lnTo>
                  <a:lnTo>
                    <a:pt x="231" y="9228"/>
                  </a:lnTo>
                  <a:lnTo>
                    <a:pt x="314" y="9332"/>
                  </a:lnTo>
                  <a:lnTo>
                    <a:pt x="231" y="9395"/>
                  </a:lnTo>
                  <a:lnTo>
                    <a:pt x="168" y="9479"/>
                  </a:lnTo>
                  <a:lnTo>
                    <a:pt x="252" y="9625"/>
                  </a:lnTo>
                  <a:lnTo>
                    <a:pt x="273" y="10002"/>
                  </a:lnTo>
                  <a:lnTo>
                    <a:pt x="231" y="10086"/>
                  </a:lnTo>
                  <a:lnTo>
                    <a:pt x="147" y="10002"/>
                  </a:lnTo>
                  <a:lnTo>
                    <a:pt x="63" y="9939"/>
                  </a:lnTo>
                  <a:lnTo>
                    <a:pt x="63" y="9960"/>
                  </a:lnTo>
                  <a:lnTo>
                    <a:pt x="1" y="10023"/>
                  </a:lnTo>
                  <a:lnTo>
                    <a:pt x="21" y="10253"/>
                  </a:lnTo>
                  <a:lnTo>
                    <a:pt x="42" y="10337"/>
                  </a:lnTo>
                  <a:lnTo>
                    <a:pt x="63" y="10525"/>
                  </a:lnTo>
                  <a:lnTo>
                    <a:pt x="147" y="10546"/>
                  </a:lnTo>
                  <a:lnTo>
                    <a:pt x="168" y="10588"/>
                  </a:lnTo>
                  <a:lnTo>
                    <a:pt x="147" y="10734"/>
                  </a:lnTo>
                  <a:lnTo>
                    <a:pt x="273" y="10672"/>
                  </a:lnTo>
                  <a:lnTo>
                    <a:pt x="210" y="10567"/>
                  </a:lnTo>
                  <a:lnTo>
                    <a:pt x="231" y="10483"/>
                  </a:lnTo>
                  <a:lnTo>
                    <a:pt x="273" y="10483"/>
                  </a:lnTo>
                  <a:lnTo>
                    <a:pt x="252" y="10546"/>
                  </a:lnTo>
                  <a:lnTo>
                    <a:pt x="335" y="10588"/>
                  </a:lnTo>
                  <a:lnTo>
                    <a:pt x="377" y="10672"/>
                  </a:lnTo>
                  <a:lnTo>
                    <a:pt x="252" y="10755"/>
                  </a:lnTo>
                  <a:lnTo>
                    <a:pt x="231" y="10860"/>
                  </a:lnTo>
                  <a:lnTo>
                    <a:pt x="273" y="10944"/>
                  </a:lnTo>
                  <a:lnTo>
                    <a:pt x="252" y="11069"/>
                  </a:lnTo>
                  <a:lnTo>
                    <a:pt x="210" y="11111"/>
                  </a:lnTo>
                  <a:lnTo>
                    <a:pt x="273" y="11216"/>
                  </a:lnTo>
                  <a:lnTo>
                    <a:pt x="356" y="11257"/>
                  </a:lnTo>
                  <a:lnTo>
                    <a:pt x="440" y="11383"/>
                  </a:lnTo>
                  <a:lnTo>
                    <a:pt x="482" y="11425"/>
                  </a:lnTo>
                  <a:lnTo>
                    <a:pt x="586" y="11634"/>
                  </a:lnTo>
                  <a:lnTo>
                    <a:pt x="586" y="11801"/>
                  </a:lnTo>
                  <a:lnTo>
                    <a:pt x="733" y="11843"/>
                  </a:lnTo>
                  <a:lnTo>
                    <a:pt x="754" y="11948"/>
                  </a:lnTo>
                  <a:lnTo>
                    <a:pt x="858" y="12094"/>
                  </a:lnTo>
                  <a:lnTo>
                    <a:pt x="984" y="12011"/>
                  </a:lnTo>
                  <a:lnTo>
                    <a:pt x="1005" y="12136"/>
                  </a:lnTo>
                  <a:lnTo>
                    <a:pt x="942" y="12304"/>
                  </a:lnTo>
                  <a:lnTo>
                    <a:pt x="775" y="12325"/>
                  </a:lnTo>
                  <a:lnTo>
                    <a:pt x="754" y="12366"/>
                  </a:lnTo>
                  <a:lnTo>
                    <a:pt x="838" y="12429"/>
                  </a:lnTo>
                  <a:lnTo>
                    <a:pt x="858" y="12534"/>
                  </a:lnTo>
                  <a:lnTo>
                    <a:pt x="984" y="12555"/>
                  </a:lnTo>
                  <a:lnTo>
                    <a:pt x="1047" y="12848"/>
                  </a:lnTo>
                  <a:lnTo>
                    <a:pt x="963" y="12952"/>
                  </a:lnTo>
                  <a:lnTo>
                    <a:pt x="1005" y="12994"/>
                  </a:lnTo>
                  <a:lnTo>
                    <a:pt x="1151" y="12994"/>
                  </a:lnTo>
                  <a:lnTo>
                    <a:pt x="1423" y="12931"/>
                  </a:lnTo>
                  <a:lnTo>
                    <a:pt x="1570" y="12973"/>
                  </a:lnTo>
                  <a:lnTo>
                    <a:pt x="1695" y="12869"/>
                  </a:lnTo>
                  <a:lnTo>
                    <a:pt x="1674" y="12764"/>
                  </a:lnTo>
                  <a:lnTo>
                    <a:pt x="1612" y="12701"/>
                  </a:lnTo>
                  <a:lnTo>
                    <a:pt x="1695" y="12534"/>
                  </a:lnTo>
                  <a:lnTo>
                    <a:pt x="1884" y="12513"/>
                  </a:lnTo>
                  <a:lnTo>
                    <a:pt x="1905" y="12325"/>
                  </a:lnTo>
                  <a:lnTo>
                    <a:pt x="1926" y="12408"/>
                  </a:lnTo>
                  <a:lnTo>
                    <a:pt x="2135" y="12450"/>
                  </a:lnTo>
                  <a:lnTo>
                    <a:pt x="2260" y="12366"/>
                  </a:lnTo>
                  <a:lnTo>
                    <a:pt x="2365" y="12429"/>
                  </a:lnTo>
                  <a:lnTo>
                    <a:pt x="2449" y="12513"/>
                  </a:lnTo>
                  <a:lnTo>
                    <a:pt x="2553" y="12345"/>
                  </a:lnTo>
                  <a:lnTo>
                    <a:pt x="2616" y="12115"/>
                  </a:lnTo>
                  <a:lnTo>
                    <a:pt x="2679" y="12032"/>
                  </a:lnTo>
                  <a:lnTo>
                    <a:pt x="2721" y="11739"/>
                  </a:lnTo>
                  <a:lnTo>
                    <a:pt x="2762" y="11634"/>
                  </a:lnTo>
                  <a:lnTo>
                    <a:pt x="2658" y="11571"/>
                  </a:lnTo>
                  <a:lnTo>
                    <a:pt x="2679" y="11467"/>
                  </a:lnTo>
                  <a:lnTo>
                    <a:pt x="2783" y="11320"/>
                  </a:lnTo>
                  <a:lnTo>
                    <a:pt x="2679" y="11216"/>
                  </a:lnTo>
                  <a:lnTo>
                    <a:pt x="2783" y="11111"/>
                  </a:lnTo>
                  <a:lnTo>
                    <a:pt x="2658" y="11048"/>
                  </a:lnTo>
                  <a:lnTo>
                    <a:pt x="2721" y="10965"/>
                  </a:lnTo>
                  <a:lnTo>
                    <a:pt x="2658" y="10839"/>
                  </a:lnTo>
                  <a:lnTo>
                    <a:pt x="2762" y="10881"/>
                  </a:lnTo>
                  <a:lnTo>
                    <a:pt x="2930" y="10860"/>
                  </a:lnTo>
                  <a:lnTo>
                    <a:pt x="2783" y="10755"/>
                  </a:lnTo>
                  <a:lnTo>
                    <a:pt x="2846" y="10609"/>
                  </a:lnTo>
                  <a:lnTo>
                    <a:pt x="2846" y="10546"/>
                  </a:lnTo>
                  <a:lnTo>
                    <a:pt x="2658" y="10483"/>
                  </a:lnTo>
                  <a:lnTo>
                    <a:pt x="2888" y="10483"/>
                  </a:lnTo>
                  <a:lnTo>
                    <a:pt x="2762" y="10358"/>
                  </a:lnTo>
                  <a:lnTo>
                    <a:pt x="2679" y="10358"/>
                  </a:lnTo>
                  <a:lnTo>
                    <a:pt x="2742" y="10274"/>
                  </a:lnTo>
                  <a:lnTo>
                    <a:pt x="2783" y="10274"/>
                  </a:lnTo>
                  <a:lnTo>
                    <a:pt x="2825" y="10316"/>
                  </a:lnTo>
                  <a:lnTo>
                    <a:pt x="2888" y="10232"/>
                  </a:lnTo>
                  <a:lnTo>
                    <a:pt x="2867" y="10148"/>
                  </a:lnTo>
                  <a:lnTo>
                    <a:pt x="2972" y="10232"/>
                  </a:lnTo>
                  <a:lnTo>
                    <a:pt x="2993" y="10128"/>
                  </a:lnTo>
                  <a:lnTo>
                    <a:pt x="3076" y="10023"/>
                  </a:lnTo>
                  <a:lnTo>
                    <a:pt x="3160" y="10023"/>
                  </a:lnTo>
                  <a:lnTo>
                    <a:pt x="3139" y="9939"/>
                  </a:lnTo>
                  <a:lnTo>
                    <a:pt x="3181" y="9897"/>
                  </a:lnTo>
                  <a:lnTo>
                    <a:pt x="3202" y="9939"/>
                  </a:lnTo>
                  <a:lnTo>
                    <a:pt x="3181" y="10044"/>
                  </a:lnTo>
                  <a:lnTo>
                    <a:pt x="3265" y="10044"/>
                  </a:lnTo>
                  <a:lnTo>
                    <a:pt x="3369" y="9897"/>
                  </a:lnTo>
                  <a:lnTo>
                    <a:pt x="3453" y="9897"/>
                  </a:lnTo>
                  <a:lnTo>
                    <a:pt x="3516" y="9835"/>
                  </a:lnTo>
                  <a:lnTo>
                    <a:pt x="3495" y="9730"/>
                  </a:lnTo>
                  <a:lnTo>
                    <a:pt x="3411" y="9646"/>
                  </a:lnTo>
                  <a:lnTo>
                    <a:pt x="3286" y="9625"/>
                  </a:lnTo>
                  <a:lnTo>
                    <a:pt x="3181" y="9688"/>
                  </a:lnTo>
                  <a:lnTo>
                    <a:pt x="3139" y="9646"/>
                  </a:lnTo>
                  <a:lnTo>
                    <a:pt x="3055" y="9709"/>
                  </a:lnTo>
                  <a:lnTo>
                    <a:pt x="2972" y="9604"/>
                  </a:lnTo>
                  <a:lnTo>
                    <a:pt x="2846" y="9563"/>
                  </a:lnTo>
                  <a:lnTo>
                    <a:pt x="2762" y="9521"/>
                  </a:lnTo>
                  <a:lnTo>
                    <a:pt x="2616" y="9542"/>
                  </a:lnTo>
                  <a:lnTo>
                    <a:pt x="2616" y="9604"/>
                  </a:lnTo>
                  <a:lnTo>
                    <a:pt x="2553" y="9542"/>
                  </a:lnTo>
                  <a:lnTo>
                    <a:pt x="2407" y="9542"/>
                  </a:lnTo>
                  <a:lnTo>
                    <a:pt x="2365" y="9500"/>
                  </a:lnTo>
                  <a:lnTo>
                    <a:pt x="2470" y="9479"/>
                  </a:lnTo>
                  <a:lnTo>
                    <a:pt x="2553" y="9521"/>
                  </a:lnTo>
                  <a:lnTo>
                    <a:pt x="2637" y="9395"/>
                  </a:lnTo>
                  <a:lnTo>
                    <a:pt x="2679" y="9437"/>
                  </a:lnTo>
                  <a:lnTo>
                    <a:pt x="2783" y="9416"/>
                  </a:lnTo>
                  <a:lnTo>
                    <a:pt x="2825" y="9332"/>
                  </a:lnTo>
                  <a:lnTo>
                    <a:pt x="2930" y="9374"/>
                  </a:lnTo>
                  <a:lnTo>
                    <a:pt x="2972" y="9416"/>
                  </a:lnTo>
                  <a:lnTo>
                    <a:pt x="3034" y="9416"/>
                  </a:lnTo>
                  <a:lnTo>
                    <a:pt x="3055" y="9332"/>
                  </a:lnTo>
                  <a:lnTo>
                    <a:pt x="3097" y="9416"/>
                  </a:lnTo>
                  <a:lnTo>
                    <a:pt x="3244" y="9437"/>
                  </a:lnTo>
                  <a:lnTo>
                    <a:pt x="3202" y="9521"/>
                  </a:lnTo>
                  <a:lnTo>
                    <a:pt x="3306" y="9563"/>
                  </a:lnTo>
                  <a:lnTo>
                    <a:pt x="3474" y="9542"/>
                  </a:lnTo>
                  <a:lnTo>
                    <a:pt x="3495" y="9416"/>
                  </a:lnTo>
                  <a:lnTo>
                    <a:pt x="3662" y="9270"/>
                  </a:lnTo>
                  <a:lnTo>
                    <a:pt x="3725" y="9102"/>
                  </a:lnTo>
                  <a:lnTo>
                    <a:pt x="3599" y="8977"/>
                  </a:lnTo>
                  <a:lnTo>
                    <a:pt x="3599" y="8893"/>
                  </a:lnTo>
                  <a:lnTo>
                    <a:pt x="3453" y="8788"/>
                  </a:lnTo>
                  <a:lnTo>
                    <a:pt x="3474" y="8747"/>
                  </a:lnTo>
                  <a:lnTo>
                    <a:pt x="3265" y="8579"/>
                  </a:lnTo>
                  <a:lnTo>
                    <a:pt x="3244" y="8475"/>
                  </a:lnTo>
                  <a:lnTo>
                    <a:pt x="3160" y="8391"/>
                  </a:lnTo>
                  <a:lnTo>
                    <a:pt x="3055" y="8516"/>
                  </a:lnTo>
                  <a:lnTo>
                    <a:pt x="2993" y="8433"/>
                  </a:lnTo>
                  <a:lnTo>
                    <a:pt x="2951" y="8454"/>
                  </a:lnTo>
                  <a:lnTo>
                    <a:pt x="2951" y="8349"/>
                  </a:lnTo>
                  <a:lnTo>
                    <a:pt x="2867" y="8349"/>
                  </a:lnTo>
                  <a:lnTo>
                    <a:pt x="2825" y="8244"/>
                  </a:lnTo>
                  <a:lnTo>
                    <a:pt x="2742" y="8182"/>
                  </a:lnTo>
                  <a:lnTo>
                    <a:pt x="2825" y="8077"/>
                  </a:lnTo>
                  <a:lnTo>
                    <a:pt x="2762" y="7952"/>
                  </a:lnTo>
                  <a:lnTo>
                    <a:pt x="2825" y="7931"/>
                  </a:lnTo>
                  <a:lnTo>
                    <a:pt x="2825" y="7847"/>
                  </a:lnTo>
                  <a:lnTo>
                    <a:pt x="2742" y="7826"/>
                  </a:lnTo>
                  <a:lnTo>
                    <a:pt x="2825" y="7721"/>
                  </a:lnTo>
                  <a:lnTo>
                    <a:pt x="2783" y="7533"/>
                  </a:lnTo>
                  <a:lnTo>
                    <a:pt x="2825" y="7512"/>
                  </a:lnTo>
                  <a:lnTo>
                    <a:pt x="2867" y="7554"/>
                  </a:lnTo>
                  <a:lnTo>
                    <a:pt x="2888" y="7449"/>
                  </a:lnTo>
                  <a:lnTo>
                    <a:pt x="2825" y="7345"/>
                  </a:lnTo>
                  <a:lnTo>
                    <a:pt x="2846" y="7198"/>
                  </a:lnTo>
                  <a:lnTo>
                    <a:pt x="2825" y="7073"/>
                  </a:lnTo>
                  <a:lnTo>
                    <a:pt x="2846" y="7010"/>
                  </a:lnTo>
                  <a:lnTo>
                    <a:pt x="2825" y="6884"/>
                  </a:lnTo>
                  <a:lnTo>
                    <a:pt x="2679" y="6696"/>
                  </a:lnTo>
                  <a:lnTo>
                    <a:pt x="2679" y="6696"/>
                  </a:lnTo>
                  <a:lnTo>
                    <a:pt x="2783" y="6759"/>
                  </a:lnTo>
                  <a:lnTo>
                    <a:pt x="2951" y="6717"/>
                  </a:lnTo>
                  <a:lnTo>
                    <a:pt x="3055" y="6571"/>
                  </a:lnTo>
                  <a:lnTo>
                    <a:pt x="2993" y="6466"/>
                  </a:lnTo>
                  <a:lnTo>
                    <a:pt x="3034" y="6403"/>
                  </a:lnTo>
                  <a:lnTo>
                    <a:pt x="3139" y="6424"/>
                  </a:lnTo>
                  <a:lnTo>
                    <a:pt x="3286" y="6299"/>
                  </a:lnTo>
                  <a:lnTo>
                    <a:pt x="3286" y="6236"/>
                  </a:lnTo>
                  <a:lnTo>
                    <a:pt x="3202" y="6236"/>
                  </a:lnTo>
                  <a:lnTo>
                    <a:pt x="3265" y="6131"/>
                  </a:lnTo>
                  <a:lnTo>
                    <a:pt x="3348" y="6047"/>
                  </a:lnTo>
                  <a:lnTo>
                    <a:pt x="3390" y="6089"/>
                  </a:lnTo>
                  <a:lnTo>
                    <a:pt x="3453" y="6089"/>
                  </a:lnTo>
                  <a:lnTo>
                    <a:pt x="3474" y="5964"/>
                  </a:lnTo>
                  <a:lnTo>
                    <a:pt x="3516" y="5964"/>
                  </a:lnTo>
                  <a:lnTo>
                    <a:pt x="3558" y="6047"/>
                  </a:lnTo>
                  <a:lnTo>
                    <a:pt x="3620" y="5964"/>
                  </a:lnTo>
                  <a:lnTo>
                    <a:pt x="3620" y="5838"/>
                  </a:lnTo>
                  <a:lnTo>
                    <a:pt x="3683" y="5734"/>
                  </a:lnTo>
                  <a:lnTo>
                    <a:pt x="3788" y="5734"/>
                  </a:lnTo>
                  <a:lnTo>
                    <a:pt x="3788" y="5817"/>
                  </a:lnTo>
                  <a:lnTo>
                    <a:pt x="3871" y="5817"/>
                  </a:lnTo>
                  <a:lnTo>
                    <a:pt x="3913" y="5713"/>
                  </a:lnTo>
                  <a:lnTo>
                    <a:pt x="4039" y="5629"/>
                  </a:lnTo>
                  <a:lnTo>
                    <a:pt x="4018" y="5524"/>
                  </a:lnTo>
                  <a:lnTo>
                    <a:pt x="4018" y="5420"/>
                  </a:lnTo>
                  <a:lnTo>
                    <a:pt x="4102" y="5503"/>
                  </a:lnTo>
                  <a:lnTo>
                    <a:pt x="4206" y="5378"/>
                  </a:lnTo>
                  <a:lnTo>
                    <a:pt x="4290" y="5378"/>
                  </a:lnTo>
                  <a:lnTo>
                    <a:pt x="4395" y="5190"/>
                  </a:lnTo>
                  <a:lnTo>
                    <a:pt x="4395" y="5001"/>
                  </a:lnTo>
                  <a:lnTo>
                    <a:pt x="4457" y="4897"/>
                  </a:lnTo>
                  <a:lnTo>
                    <a:pt x="4541" y="4897"/>
                  </a:lnTo>
                  <a:lnTo>
                    <a:pt x="4646" y="4771"/>
                  </a:lnTo>
                  <a:lnTo>
                    <a:pt x="4562" y="4771"/>
                  </a:lnTo>
                  <a:lnTo>
                    <a:pt x="4499" y="4666"/>
                  </a:lnTo>
                  <a:lnTo>
                    <a:pt x="4562" y="4625"/>
                  </a:lnTo>
                  <a:lnTo>
                    <a:pt x="4541" y="4562"/>
                  </a:lnTo>
                  <a:lnTo>
                    <a:pt x="4436" y="4562"/>
                  </a:lnTo>
                  <a:lnTo>
                    <a:pt x="4332" y="4457"/>
                  </a:lnTo>
                  <a:lnTo>
                    <a:pt x="4457" y="4415"/>
                  </a:lnTo>
                  <a:lnTo>
                    <a:pt x="4436" y="4332"/>
                  </a:lnTo>
                  <a:lnTo>
                    <a:pt x="4520" y="4164"/>
                  </a:lnTo>
                  <a:lnTo>
                    <a:pt x="4541" y="4081"/>
                  </a:lnTo>
                  <a:lnTo>
                    <a:pt x="4499" y="3997"/>
                  </a:lnTo>
                  <a:lnTo>
                    <a:pt x="4415" y="3997"/>
                  </a:lnTo>
                  <a:lnTo>
                    <a:pt x="4395" y="3934"/>
                  </a:lnTo>
                  <a:lnTo>
                    <a:pt x="4415" y="3892"/>
                  </a:lnTo>
                  <a:lnTo>
                    <a:pt x="4499" y="3934"/>
                  </a:lnTo>
                  <a:lnTo>
                    <a:pt x="4520" y="3955"/>
                  </a:lnTo>
                  <a:lnTo>
                    <a:pt x="4541" y="3955"/>
                  </a:lnTo>
                  <a:lnTo>
                    <a:pt x="4541" y="3871"/>
                  </a:lnTo>
                  <a:lnTo>
                    <a:pt x="4436" y="3850"/>
                  </a:lnTo>
                  <a:lnTo>
                    <a:pt x="4541" y="3788"/>
                  </a:lnTo>
                  <a:lnTo>
                    <a:pt x="4625" y="3788"/>
                  </a:lnTo>
                  <a:lnTo>
                    <a:pt x="4729" y="3725"/>
                  </a:lnTo>
                  <a:lnTo>
                    <a:pt x="4646" y="3662"/>
                  </a:lnTo>
                  <a:lnTo>
                    <a:pt x="4562" y="3516"/>
                  </a:lnTo>
                  <a:lnTo>
                    <a:pt x="4646" y="3537"/>
                  </a:lnTo>
                  <a:lnTo>
                    <a:pt x="4708" y="3620"/>
                  </a:lnTo>
                  <a:lnTo>
                    <a:pt x="4813" y="3578"/>
                  </a:lnTo>
                  <a:lnTo>
                    <a:pt x="4834" y="3474"/>
                  </a:lnTo>
                  <a:lnTo>
                    <a:pt x="4855" y="3369"/>
                  </a:lnTo>
                  <a:lnTo>
                    <a:pt x="4918" y="3327"/>
                  </a:lnTo>
                  <a:lnTo>
                    <a:pt x="4980" y="3453"/>
                  </a:lnTo>
                  <a:lnTo>
                    <a:pt x="5064" y="3348"/>
                  </a:lnTo>
                  <a:lnTo>
                    <a:pt x="5127" y="3453"/>
                  </a:lnTo>
                  <a:lnTo>
                    <a:pt x="5190" y="3474"/>
                  </a:lnTo>
                  <a:lnTo>
                    <a:pt x="5252" y="3369"/>
                  </a:lnTo>
                  <a:lnTo>
                    <a:pt x="5357" y="3432"/>
                  </a:lnTo>
                  <a:lnTo>
                    <a:pt x="5483" y="3348"/>
                  </a:lnTo>
                  <a:lnTo>
                    <a:pt x="5545" y="3432"/>
                  </a:lnTo>
                  <a:lnTo>
                    <a:pt x="5671" y="3432"/>
                  </a:lnTo>
                  <a:lnTo>
                    <a:pt x="5713" y="3369"/>
                  </a:lnTo>
                  <a:lnTo>
                    <a:pt x="5755" y="3411"/>
                  </a:lnTo>
                  <a:lnTo>
                    <a:pt x="5755" y="3265"/>
                  </a:lnTo>
                  <a:lnTo>
                    <a:pt x="5671" y="3202"/>
                  </a:lnTo>
                  <a:lnTo>
                    <a:pt x="5587" y="2993"/>
                  </a:lnTo>
                  <a:lnTo>
                    <a:pt x="5462" y="2951"/>
                  </a:lnTo>
                  <a:lnTo>
                    <a:pt x="5399" y="2762"/>
                  </a:lnTo>
                  <a:lnTo>
                    <a:pt x="5462" y="2700"/>
                  </a:lnTo>
                  <a:lnTo>
                    <a:pt x="5462" y="2490"/>
                  </a:lnTo>
                  <a:lnTo>
                    <a:pt x="5441" y="2386"/>
                  </a:lnTo>
                  <a:lnTo>
                    <a:pt x="5462" y="2302"/>
                  </a:lnTo>
                  <a:lnTo>
                    <a:pt x="5399" y="2093"/>
                  </a:lnTo>
                  <a:lnTo>
                    <a:pt x="5357" y="1988"/>
                  </a:lnTo>
                  <a:lnTo>
                    <a:pt x="5336" y="1842"/>
                  </a:lnTo>
                  <a:lnTo>
                    <a:pt x="5378" y="1758"/>
                  </a:lnTo>
                  <a:lnTo>
                    <a:pt x="5357" y="1633"/>
                  </a:lnTo>
                  <a:lnTo>
                    <a:pt x="5190" y="1591"/>
                  </a:lnTo>
                  <a:lnTo>
                    <a:pt x="5190" y="1486"/>
                  </a:lnTo>
                  <a:lnTo>
                    <a:pt x="5252" y="1361"/>
                  </a:lnTo>
                  <a:lnTo>
                    <a:pt x="5190" y="1172"/>
                  </a:lnTo>
                  <a:lnTo>
                    <a:pt x="5252" y="1068"/>
                  </a:lnTo>
                  <a:lnTo>
                    <a:pt x="5190" y="1005"/>
                  </a:lnTo>
                  <a:lnTo>
                    <a:pt x="5127" y="1005"/>
                  </a:lnTo>
                  <a:lnTo>
                    <a:pt x="5022" y="858"/>
                  </a:lnTo>
                  <a:lnTo>
                    <a:pt x="4939" y="858"/>
                  </a:lnTo>
                  <a:lnTo>
                    <a:pt x="4876" y="754"/>
                  </a:lnTo>
                  <a:lnTo>
                    <a:pt x="4771" y="628"/>
                  </a:lnTo>
                  <a:lnTo>
                    <a:pt x="4708" y="607"/>
                  </a:lnTo>
                  <a:lnTo>
                    <a:pt x="4604" y="545"/>
                  </a:lnTo>
                  <a:lnTo>
                    <a:pt x="4395" y="524"/>
                  </a:lnTo>
                  <a:lnTo>
                    <a:pt x="4227" y="419"/>
                  </a:lnTo>
                  <a:lnTo>
                    <a:pt x="4018" y="189"/>
                  </a:lnTo>
                  <a:lnTo>
                    <a:pt x="3892" y="105"/>
                  </a:lnTo>
                  <a:lnTo>
                    <a:pt x="378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7" name="Google Shape;2027;p66"/>
            <p:cNvSpPr/>
            <p:nvPr/>
          </p:nvSpPr>
          <p:spPr>
            <a:xfrm>
              <a:off x="3883127" y="2693471"/>
              <a:ext cx="27411" cy="23803"/>
            </a:xfrm>
            <a:custGeom>
              <a:avLst/>
              <a:gdLst/>
              <a:ahLst/>
              <a:cxnLst/>
              <a:rect l="l" t="t" r="r" b="b"/>
              <a:pathLst>
                <a:path w="2302" h="2093" extrusionOk="0">
                  <a:moveTo>
                    <a:pt x="1026" y="0"/>
                  </a:moveTo>
                  <a:lnTo>
                    <a:pt x="1026" y="63"/>
                  </a:lnTo>
                  <a:lnTo>
                    <a:pt x="942" y="63"/>
                  </a:lnTo>
                  <a:lnTo>
                    <a:pt x="942" y="105"/>
                  </a:lnTo>
                  <a:lnTo>
                    <a:pt x="1005" y="167"/>
                  </a:lnTo>
                  <a:lnTo>
                    <a:pt x="900" y="230"/>
                  </a:lnTo>
                  <a:lnTo>
                    <a:pt x="837" y="209"/>
                  </a:lnTo>
                  <a:lnTo>
                    <a:pt x="628" y="209"/>
                  </a:lnTo>
                  <a:lnTo>
                    <a:pt x="607" y="147"/>
                  </a:lnTo>
                  <a:lnTo>
                    <a:pt x="586" y="251"/>
                  </a:lnTo>
                  <a:lnTo>
                    <a:pt x="481" y="230"/>
                  </a:lnTo>
                  <a:lnTo>
                    <a:pt x="335" y="272"/>
                  </a:lnTo>
                  <a:lnTo>
                    <a:pt x="335" y="356"/>
                  </a:lnTo>
                  <a:lnTo>
                    <a:pt x="272" y="356"/>
                  </a:lnTo>
                  <a:lnTo>
                    <a:pt x="84" y="439"/>
                  </a:lnTo>
                  <a:lnTo>
                    <a:pt x="0" y="544"/>
                  </a:lnTo>
                  <a:lnTo>
                    <a:pt x="21" y="900"/>
                  </a:lnTo>
                  <a:lnTo>
                    <a:pt x="84" y="900"/>
                  </a:lnTo>
                  <a:lnTo>
                    <a:pt x="126" y="879"/>
                  </a:lnTo>
                  <a:lnTo>
                    <a:pt x="230" y="900"/>
                  </a:lnTo>
                  <a:lnTo>
                    <a:pt x="189" y="983"/>
                  </a:lnTo>
                  <a:lnTo>
                    <a:pt x="105" y="983"/>
                  </a:lnTo>
                  <a:lnTo>
                    <a:pt x="105" y="1151"/>
                  </a:lnTo>
                  <a:lnTo>
                    <a:pt x="209" y="1276"/>
                  </a:lnTo>
                  <a:lnTo>
                    <a:pt x="377" y="1423"/>
                  </a:lnTo>
                  <a:lnTo>
                    <a:pt x="419" y="1423"/>
                  </a:lnTo>
                  <a:lnTo>
                    <a:pt x="419" y="1318"/>
                  </a:lnTo>
                  <a:lnTo>
                    <a:pt x="544" y="1214"/>
                  </a:lnTo>
                  <a:lnTo>
                    <a:pt x="586" y="1318"/>
                  </a:lnTo>
                  <a:lnTo>
                    <a:pt x="523" y="1611"/>
                  </a:lnTo>
                  <a:lnTo>
                    <a:pt x="523" y="1695"/>
                  </a:lnTo>
                  <a:lnTo>
                    <a:pt x="586" y="1674"/>
                  </a:lnTo>
                  <a:lnTo>
                    <a:pt x="754" y="1569"/>
                  </a:lnTo>
                  <a:lnTo>
                    <a:pt x="900" y="1507"/>
                  </a:lnTo>
                  <a:lnTo>
                    <a:pt x="1046" y="1632"/>
                  </a:lnTo>
                  <a:lnTo>
                    <a:pt x="1130" y="1611"/>
                  </a:lnTo>
                  <a:lnTo>
                    <a:pt x="1151" y="1507"/>
                  </a:lnTo>
                  <a:lnTo>
                    <a:pt x="1235" y="1590"/>
                  </a:lnTo>
                  <a:lnTo>
                    <a:pt x="1277" y="1674"/>
                  </a:lnTo>
                  <a:lnTo>
                    <a:pt x="1339" y="1674"/>
                  </a:lnTo>
                  <a:lnTo>
                    <a:pt x="1528" y="1779"/>
                  </a:lnTo>
                  <a:lnTo>
                    <a:pt x="1570" y="1925"/>
                  </a:lnTo>
                  <a:lnTo>
                    <a:pt x="1695" y="1967"/>
                  </a:lnTo>
                  <a:lnTo>
                    <a:pt x="1779" y="2092"/>
                  </a:lnTo>
                  <a:lnTo>
                    <a:pt x="1988" y="2009"/>
                  </a:lnTo>
                  <a:lnTo>
                    <a:pt x="2155" y="2030"/>
                  </a:lnTo>
                  <a:lnTo>
                    <a:pt x="2260" y="1904"/>
                  </a:lnTo>
                  <a:lnTo>
                    <a:pt x="2218" y="1800"/>
                  </a:lnTo>
                  <a:lnTo>
                    <a:pt x="2302" y="1716"/>
                  </a:lnTo>
                  <a:lnTo>
                    <a:pt x="2302" y="1611"/>
                  </a:lnTo>
                  <a:lnTo>
                    <a:pt x="2051" y="1109"/>
                  </a:lnTo>
                  <a:lnTo>
                    <a:pt x="2093" y="691"/>
                  </a:lnTo>
                  <a:lnTo>
                    <a:pt x="2155" y="649"/>
                  </a:lnTo>
                  <a:lnTo>
                    <a:pt x="2197" y="481"/>
                  </a:lnTo>
                  <a:lnTo>
                    <a:pt x="2281" y="356"/>
                  </a:lnTo>
                  <a:lnTo>
                    <a:pt x="2302" y="335"/>
                  </a:lnTo>
                  <a:lnTo>
                    <a:pt x="2302" y="314"/>
                  </a:lnTo>
                  <a:lnTo>
                    <a:pt x="2260" y="230"/>
                  </a:lnTo>
                  <a:lnTo>
                    <a:pt x="2218" y="272"/>
                  </a:lnTo>
                  <a:lnTo>
                    <a:pt x="1758" y="251"/>
                  </a:lnTo>
                  <a:lnTo>
                    <a:pt x="1570" y="126"/>
                  </a:lnTo>
                  <a:lnTo>
                    <a:pt x="1339" y="126"/>
                  </a:lnTo>
                  <a:lnTo>
                    <a:pt x="1235" y="63"/>
                  </a:lnTo>
                  <a:lnTo>
                    <a:pt x="1130" y="105"/>
                  </a:lnTo>
                  <a:lnTo>
                    <a:pt x="102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8" name="Google Shape;2028;p66"/>
            <p:cNvSpPr/>
            <p:nvPr/>
          </p:nvSpPr>
          <p:spPr>
            <a:xfrm>
              <a:off x="3870422" y="2710598"/>
              <a:ext cx="43605" cy="22620"/>
            </a:xfrm>
            <a:custGeom>
              <a:avLst/>
              <a:gdLst/>
              <a:ahLst/>
              <a:cxnLst/>
              <a:rect l="l" t="t" r="r" b="b"/>
              <a:pathLst>
                <a:path w="3662" h="1989" extrusionOk="0">
                  <a:moveTo>
                    <a:pt x="1967" y="1"/>
                  </a:moveTo>
                  <a:lnTo>
                    <a:pt x="1821" y="63"/>
                  </a:lnTo>
                  <a:lnTo>
                    <a:pt x="1653" y="168"/>
                  </a:lnTo>
                  <a:lnTo>
                    <a:pt x="1590" y="189"/>
                  </a:lnTo>
                  <a:lnTo>
                    <a:pt x="1590" y="314"/>
                  </a:lnTo>
                  <a:lnTo>
                    <a:pt x="1653" y="586"/>
                  </a:lnTo>
                  <a:lnTo>
                    <a:pt x="1590" y="754"/>
                  </a:lnTo>
                  <a:lnTo>
                    <a:pt x="1402" y="963"/>
                  </a:lnTo>
                  <a:lnTo>
                    <a:pt x="1256" y="963"/>
                  </a:lnTo>
                  <a:lnTo>
                    <a:pt x="1130" y="838"/>
                  </a:lnTo>
                  <a:lnTo>
                    <a:pt x="1130" y="733"/>
                  </a:lnTo>
                  <a:lnTo>
                    <a:pt x="837" y="440"/>
                  </a:lnTo>
                  <a:lnTo>
                    <a:pt x="837" y="294"/>
                  </a:lnTo>
                  <a:lnTo>
                    <a:pt x="774" y="294"/>
                  </a:lnTo>
                  <a:lnTo>
                    <a:pt x="670" y="398"/>
                  </a:lnTo>
                  <a:lnTo>
                    <a:pt x="523" y="419"/>
                  </a:lnTo>
                  <a:lnTo>
                    <a:pt x="460" y="461"/>
                  </a:lnTo>
                  <a:lnTo>
                    <a:pt x="335" y="461"/>
                  </a:lnTo>
                  <a:lnTo>
                    <a:pt x="251" y="607"/>
                  </a:lnTo>
                  <a:lnTo>
                    <a:pt x="293" y="733"/>
                  </a:lnTo>
                  <a:lnTo>
                    <a:pt x="230" y="712"/>
                  </a:lnTo>
                  <a:lnTo>
                    <a:pt x="230" y="921"/>
                  </a:lnTo>
                  <a:lnTo>
                    <a:pt x="84" y="1110"/>
                  </a:lnTo>
                  <a:lnTo>
                    <a:pt x="84" y="1214"/>
                  </a:lnTo>
                  <a:lnTo>
                    <a:pt x="84" y="1319"/>
                  </a:lnTo>
                  <a:lnTo>
                    <a:pt x="0" y="1382"/>
                  </a:lnTo>
                  <a:lnTo>
                    <a:pt x="42" y="1674"/>
                  </a:lnTo>
                  <a:lnTo>
                    <a:pt x="126" y="1737"/>
                  </a:lnTo>
                  <a:lnTo>
                    <a:pt x="126" y="1758"/>
                  </a:lnTo>
                  <a:lnTo>
                    <a:pt x="230" y="1737"/>
                  </a:lnTo>
                  <a:lnTo>
                    <a:pt x="251" y="1591"/>
                  </a:lnTo>
                  <a:lnTo>
                    <a:pt x="440" y="1465"/>
                  </a:lnTo>
                  <a:lnTo>
                    <a:pt x="670" y="1382"/>
                  </a:lnTo>
                  <a:lnTo>
                    <a:pt x="879" y="1423"/>
                  </a:lnTo>
                  <a:lnTo>
                    <a:pt x="1025" y="1423"/>
                  </a:lnTo>
                  <a:lnTo>
                    <a:pt x="1088" y="1465"/>
                  </a:lnTo>
                  <a:lnTo>
                    <a:pt x="1235" y="1382"/>
                  </a:lnTo>
                  <a:lnTo>
                    <a:pt x="1339" y="1361"/>
                  </a:lnTo>
                  <a:lnTo>
                    <a:pt x="1360" y="1444"/>
                  </a:lnTo>
                  <a:lnTo>
                    <a:pt x="1465" y="1444"/>
                  </a:lnTo>
                  <a:lnTo>
                    <a:pt x="1548" y="1549"/>
                  </a:lnTo>
                  <a:lnTo>
                    <a:pt x="1716" y="1549"/>
                  </a:lnTo>
                  <a:lnTo>
                    <a:pt x="1779" y="1570"/>
                  </a:lnTo>
                  <a:lnTo>
                    <a:pt x="1967" y="1444"/>
                  </a:lnTo>
                  <a:lnTo>
                    <a:pt x="2176" y="1549"/>
                  </a:lnTo>
                  <a:lnTo>
                    <a:pt x="2344" y="1570"/>
                  </a:lnTo>
                  <a:lnTo>
                    <a:pt x="2511" y="1758"/>
                  </a:lnTo>
                  <a:lnTo>
                    <a:pt x="2637" y="1758"/>
                  </a:lnTo>
                  <a:lnTo>
                    <a:pt x="2762" y="1946"/>
                  </a:lnTo>
                  <a:lnTo>
                    <a:pt x="2929" y="1967"/>
                  </a:lnTo>
                  <a:lnTo>
                    <a:pt x="2971" y="1988"/>
                  </a:lnTo>
                  <a:lnTo>
                    <a:pt x="3160" y="1905"/>
                  </a:lnTo>
                  <a:lnTo>
                    <a:pt x="3390" y="1884"/>
                  </a:lnTo>
                  <a:lnTo>
                    <a:pt x="3432" y="1737"/>
                  </a:lnTo>
                  <a:lnTo>
                    <a:pt x="3536" y="1674"/>
                  </a:lnTo>
                  <a:lnTo>
                    <a:pt x="3578" y="1570"/>
                  </a:lnTo>
                  <a:lnTo>
                    <a:pt x="3662" y="1549"/>
                  </a:lnTo>
                  <a:lnTo>
                    <a:pt x="3662" y="1382"/>
                  </a:lnTo>
                  <a:lnTo>
                    <a:pt x="3578" y="1277"/>
                  </a:lnTo>
                  <a:lnTo>
                    <a:pt x="3494" y="1110"/>
                  </a:lnTo>
                  <a:lnTo>
                    <a:pt x="3473" y="1047"/>
                  </a:lnTo>
                  <a:lnTo>
                    <a:pt x="3390" y="921"/>
                  </a:lnTo>
                  <a:lnTo>
                    <a:pt x="3432" y="838"/>
                  </a:lnTo>
                  <a:lnTo>
                    <a:pt x="3369" y="733"/>
                  </a:lnTo>
                  <a:lnTo>
                    <a:pt x="3327" y="712"/>
                  </a:lnTo>
                  <a:lnTo>
                    <a:pt x="3348" y="649"/>
                  </a:lnTo>
                  <a:lnTo>
                    <a:pt x="3348" y="545"/>
                  </a:lnTo>
                  <a:lnTo>
                    <a:pt x="3055" y="503"/>
                  </a:lnTo>
                  <a:lnTo>
                    <a:pt x="2846" y="586"/>
                  </a:lnTo>
                  <a:lnTo>
                    <a:pt x="2762" y="461"/>
                  </a:lnTo>
                  <a:lnTo>
                    <a:pt x="2637" y="419"/>
                  </a:lnTo>
                  <a:lnTo>
                    <a:pt x="2595" y="273"/>
                  </a:lnTo>
                  <a:lnTo>
                    <a:pt x="2406" y="168"/>
                  </a:lnTo>
                  <a:lnTo>
                    <a:pt x="2344" y="168"/>
                  </a:lnTo>
                  <a:lnTo>
                    <a:pt x="2302" y="84"/>
                  </a:lnTo>
                  <a:lnTo>
                    <a:pt x="2218" y="1"/>
                  </a:lnTo>
                  <a:lnTo>
                    <a:pt x="2197" y="105"/>
                  </a:lnTo>
                  <a:lnTo>
                    <a:pt x="2113" y="126"/>
                  </a:lnTo>
                  <a:lnTo>
                    <a:pt x="196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29" name="Google Shape;2029;p66"/>
            <p:cNvSpPr/>
            <p:nvPr/>
          </p:nvSpPr>
          <p:spPr>
            <a:xfrm>
              <a:off x="3871910" y="2726065"/>
              <a:ext cx="33901" cy="23803"/>
            </a:xfrm>
            <a:custGeom>
              <a:avLst/>
              <a:gdLst/>
              <a:ahLst/>
              <a:cxnLst/>
              <a:rect l="l" t="t" r="r" b="b"/>
              <a:pathLst>
                <a:path w="2847" h="2093" extrusionOk="0">
                  <a:moveTo>
                    <a:pt x="1214" y="1"/>
                  </a:moveTo>
                  <a:lnTo>
                    <a:pt x="1110" y="22"/>
                  </a:lnTo>
                  <a:lnTo>
                    <a:pt x="963" y="105"/>
                  </a:lnTo>
                  <a:lnTo>
                    <a:pt x="900" y="63"/>
                  </a:lnTo>
                  <a:lnTo>
                    <a:pt x="754" y="63"/>
                  </a:lnTo>
                  <a:lnTo>
                    <a:pt x="545" y="22"/>
                  </a:lnTo>
                  <a:lnTo>
                    <a:pt x="315" y="105"/>
                  </a:lnTo>
                  <a:lnTo>
                    <a:pt x="126" y="231"/>
                  </a:lnTo>
                  <a:lnTo>
                    <a:pt x="105" y="377"/>
                  </a:lnTo>
                  <a:lnTo>
                    <a:pt x="1" y="398"/>
                  </a:lnTo>
                  <a:lnTo>
                    <a:pt x="1" y="586"/>
                  </a:lnTo>
                  <a:lnTo>
                    <a:pt x="63" y="712"/>
                  </a:lnTo>
                  <a:lnTo>
                    <a:pt x="1" y="796"/>
                  </a:lnTo>
                  <a:lnTo>
                    <a:pt x="22" y="817"/>
                  </a:lnTo>
                  <a:lnTo>
                    <a:pt x="231" y="754"/>
                  </a:lnTo>
                  <a:lnTo>
                    <a:pt x="398" y="1005"/>
                  </a:lnTo>
                  <a:lnTo>
                    <a:pt x="524" y="1047"/>
                  </a:lnTo>
                  <a:lnTo>
                    <a:pt x="733" y="1005"/>
                  </a:lnTo>
                  <a:lnTo>
                    <a:pt x="817" y="1047"/>
                  </a:lnTo>
                  <a:lnTo>
                    <a:pt x="838" y="1151"/>
                  </a:lnTo>
                  <a:lnTo>
                    <a:pt x="921" y="1172"/>
                  </a:lnTo>
                  <a:lnTo>
                    <a:pt x="963" y="1235"/>
                  </a:lnTo>
                  <a:lnTo>
                    <a:pt x="921" y="1340"/>
                  </a:lnTo>
                  <a:lnTo>
                    <a:pt x="921" y="1549"/>
                  </a:lnTo>
                  <a:lnTo>
                    <a:pt x="1047" y="1528"/>
                  </a:lnTo>
                  <a:lnTo>
                    <a:pt x="1172" y="1633"/>
                  </a:lnTo>
                  <a:lnTo>
                    <a:pt x="1256" y="1633"/>
                  </a:lnTo>
                  <a:lnTo>
                    <a:pt x="1319" y="1863"/>
                  </a:lnTo>
                  <a:lnTo>
                    <a:pt x="1319" y="1988"/>
                  </a:lnTo>
                  <a:lnTo>
                    <a:pt x="1361" y="2093"/>
                  </a:lnTo>
                  <a:lnTo>
                    <a:pt x="1486" y="2009"/>
                  </a:lnTo>
                  <a:lnTo>
                    <a:pt x="1696" y="1947"/>
                  </a:lnTo>
                  <a:lnTo>
                    <a:pt x="1863" y="2009"/>
                  </a:lnTo>
                  <a:lnTo>
                    <a:pt x="2009" y="1947"/>
                  </a:lnTo>
                  <a:lnTo>
                    <a:pt x="2114" y="1947"/>
                  </a:lnTo>
                  <a:lnTo>
                    <a:pt x="2051" y="1779"/>
                  </a:lnTo>
                  <a:lnTo>
                    <a:pt x="2219" y="1758"/>
                  </a:lnTo>
                  <a:lnTo>
                    <a:pt x="2281" y="1633"/>
                  </a:lnTo>
                  <a:lnTo>
                    <a:pt x="2386" y="1570"/>
                  </a:lnTo>
                  <a:lnTo>
                    <a:pt x="2407" y="1654"/>
                  </a:lnTo>
                  <a:lnTo>
                    <a:pt x="2532" y="1654"/>
                  </a:lnTo>
                  <a:lnTo>
                    <a:pt x="2532" y="1528"/>
                  </a:lnTo>
                  <a:lnTo>
                    <a:pt x="2386" y="1444"/>
                  </a:lnTo>
                  <a:lnTo>
                    <a:pt x="2428" y="1277"/>
                  </a:lnTo>
                  <a:lnTo>
                    <a:pt x="2512" y="1256"/>
                  </a:lnTo>
                  <a:lnTo>
                    <a:pt x="2616" y="1068"/>
                  </a:lnTo>
                  <a:lnTo>
                    <a:pt x="2825" y="963"/>
                  </a:lnTo>
                  <a:lnTo>
                    <a:pt x="2825" y="858"/>
                  </a:lnTo>
                  <a:lnTo>
                    <a:pt x="2721" y="817"/>
                  </a:lnTo>
                  <a:lnTo>
                    <a:pt x="2846" y="628"/>
                  </a:lnTo>
                  <a:lnTo>
                    <a:pt x="2804" y="607"/>
                  </a:lnTo>
                  <a:lnTo>
                    <a:pt x="2637" y="586"/>
                  </a:lnTo>
                  <a:lnTo>
                    <a:pt x="2512" y="398"/>
                  </a:lnTo>
                  <a:lnTo>
                    <a:pt x="2386" y="398"/>
                  </a:lnTo>
                  <a:lnTo>
                    <a:pt x="2219" y="210"/>
                  </a:lnTo>
                  <a:lnTo>
                    <a:pt x="2051" y="189"/>
                  </a:lnTo>
                  <a:lnTo>
                    <a:pt x="1842" y="84"/>
                  </a:lnTo>
                  <a:lnTo>
                    <a:pt x="1654" y="210"/>
                  </a:lnTo>
                  <a:lnTo>
                    <a:pt x="1591" y="189"/>
                  </a:lnTo>
                  <a:lnTo>
                    <a:pt x="1423" y="189"/>
                  </a:lnTo>
                  <a:lnTo>
                    <a:pt x="1340" y="84"/>
                  </a:lnTo>
                  <a:lnTo>
                    <a:pt x="1235" y="84"/>
                  </a:lnTo>
                  <a:lnTo>
                    <a:pt x="121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0" name="Google Shape;2030;p66"/>
            <p:cNvSpPr/>
            <p:nvPr/>
          </p:nvSpPr>
          <p:spPr>
            <a:xfrm>
              <a:off x="3888104" y="2727737"/>
              <a:ext cx="57573" cy="42601"/>
            </a:xfrm>
            <a:custGeom>
              <a:avLst/>
              <a:gdLst/>
              <a:ahLst/>
              <a:cxnLst/>
              <a:rect l="l" t="t" r="r" b="b"/>
              <a:pathLst>
                <a:path w="4835" h="3746" extrusionOk="0">
                  <a:moveTo>
                    <a:pt x="2470" y="0"/>
                  </a:moveTo>
                  <a:lnTo>
                    <a:pt x="2323" y="84"/>
                  </a:lnTo>
                  <a:lnTo>
                    <a:pt x="2219" y="42"/>
                  </a:lnTo>
                  <a:lnTo>
                    <a:pt x="2093" y="63"/>
                  </a:lnTo>
                  <a:lnTo>
                    <a:pt x="2051" y="167"/>
                  </a:lnTo>
                  <a:lnTo>
                    <a:pt x="1947" y="230"/>
                  </a:lnTo>
                  <a:lnTo>
                    <a:pt x="1905" y="377"/>
                  </a:lnTo>
                  <a:lnTo>
                    <a:pt x="1675" y="398"/>
                  </a:lnTo>
                  <a:lnTo>
                    <a:pt x="1486" y="481"/>
                  </a:lnTo>
                  <a:lnTo>
                    <a:pt x="1361" y="670"/>
                  </a:lnTo>
                  <a:lnTo>
                    <a:pt x="1465" y="711"/>
                  </a:lnTo>
                  <a:lnTo>
                    <a:pt x="1465" y="816"/>
                  </a:lnTo>
                  <a:lnTo>
                    <a:pt x="1256" y="921"/>
                  </a:lnTo>
                  <a:lnTo>
                    <a:pt x="1152" y="1109"/>
                  </a:lnTo>
                  <a:lnTo>
                    <a:pt x="1068" y="1130"/>
                  </a:lnTo>
                  <a:lnTo>
                    <a:pt x="1026" y="1297"/>
                  </a:lnTo>
                  <a:lnTo>
                    <a:pt x="1172" y="1381"/>
                  </a:lnTo>
                  <a:lnTo>
                    <a:pt x="1172" y="1507"/>
                  </a:lnTo>
                  <a:lnTo>
                    <a:pt x="1047" y="1507"/>
                  </a:lnTo>
                  <a:lnTo>
                    <a:pt x="1026" y="1423"/>
                  </a:lnTo>
                  <a:lnTo>
                    <a:pt x="921" y="1486"/>
                  </a:lnTo>
                  <a:lnTo>
                    <a:pt x="859" y="1611"/>
                  </a:lnTo>
                  <a:lnTo>
                    <a:pt x="691" y="1632"/>
                  </a:lnTo>
                  <a:lnTo>
                    <a:pt x="754" y="1800"/>
                  </a:lnTo>
                  <a:lnTo>
                    <a:pt x="649" y="1800"/>
                  </a:lnTo>
                  <a:lnTo>
                    <a:pt x="503" y="1862"/>
                  </a:lnTo>
                  <a:lnTo>
                    <a:pt x="336" y="1800"/>
                  </a:lnTo>
                  <a:lnTo>
                    <a:pt x="126" y="1862"/>
                  </a:lnTo>
                  <a:lnTo>
                    <a:pt x="1" y="1946"/>
                  </a:lnTo>
                  <a:lnTo>
                    <a:pt x="22" y="2009"/>
                  </a:lnTo>
                  <a:lnTo>
                    <a:pt x="126" y="2260"/>
                  </a:lnTo>
                  <a:lnTo>
                    <a:pt x="210" y="2385"/>
                  </a:lnTo>
                  <a:lnTo>
                    <a:pt x="231" y="2532"/>
                  </a:lnTo>
                  <a:lnTo>
                    <a:pt x="294" y="2574"/>
                  </a:lnTo>
                  <a:lnTo>
                    <a:pt x="294" y="2950"/>
                  </a:lnTo>
                  <a:lnTo>
                    <a:pt x="189" y="2992"/>
                  </a:lnTo>
                  <a:lnTo>
                    <a:pt x="105" y="3118"/>
                  </a:lnTo>
                  <a:lnTo>
                    <a:pt x="126" y="3306"/>
                  </a:lnTo>
                  <a:lnTo>
                    <a:pt x="273" y="3494"/>
                  </a:lnTo>
                  <a:lnTo>
                    <a:pt x="273" y="3536"/>
                  </a:lnTo>
                  <a:lnTo>
                    <a:pt x="336" y="3536"/>
                  </a:lnTo>
                  <a:lnTo>
                    <a:pt x="524" y="3620"/>
                  </a:lnTo>
                  <a:lnTo>
                    <a:pt x="628" y="3578"/>
                  </a:lnTo>
                  <a:lnTo>
                    <a:pt x="1047" y="3515"/>
                  </a:lnTo>
                  <a:lnTo>
                    <a:pt x="1235" y="3515"/>
                  </a:lnTo>
                  <a:lnTo>
                    <a:pt x="1340" y="3411"/>
                  </a:lnTo>
                  <a:lnTo>
                    <a:pt x="1424" y="3411"/>
                  </a:lnTo>
                  <a:lnTo>
                    <a:pt x="1549" y="3494"/>
                  </a:lnTo>
                  <a:lnTo>
                    <a:pt x="1884" y="3536"/>
                  </a:lnTo>
                  <a:lnTo>
                    <a:pt x="2009" y="3620"/>
                  </a:lnTo>
                  <a:lnTo>
                    <a:pt x="2051" y="3683"/>
                  </a:lnTo>
                  <a:lnTo>
                    <a:pt x="2260" y="3599"/>
                  </a:lnTo>
                  <a:lnTo>
                    <a:pt x="2365" y="3683"/>
                  </a:lnTo>
                  <a:lnTo>
                    <a:pt x="2428" y="3683"/>
                  </a:lnTo>
                  <a:lnTo>
                    <a:pt x="2470" y="3620"/>
                  </a:lnTo>
                  <a:lnTo>
                    <a:pt x="2637" y="3641"/>
                  </a:lnTo>
                  <a:lnTo>
                    <a:pt x="2721" y="3704"/>
                  </a:lnTo>
                  <a:lnTo>
                    <a:pt x="2909" y="3599"/>
                  </a:lnTo>
                  <a:lnTo>
                    <a:pt x="3056" y="3599"/>
                  </a:lnTo>
                  <a:lnTo>
                    <a:pt x="3097" y="3724"/>
                  </a:lnTo>
                  <a:lnTo>
                    <a:pt x="3202" y="3745"/>
                  </a:lnTo>
                  <a:lnTo>
                    <a:pt x="3307" y="3620"/>
                  </a:lnTo>
                  <a:lnTo>
                    <a:pt x="3411" y="3599"/>
                  </a:lnTo>
                  <a:lnTo>
                    <a:pt x="3516" y="3683"/>
                  </a:lnTo>
                  <a:lnTo>
                    <a:pt x="3662" y="3620"/>
                  </a:lnTo>
                  <a:lnTo>
                    <a:pt x="3767" y="3704"/>
                  </a:lnTo>
                  <a:lnTo>
                    <a:pt x="3893" y="3704"/>
                  </a:lnTo>
                  <a:lnTo>
                    <a:pt x="3893" y="3494"/>
                  </a:lnTo>
                  <a:lnTo>
                    <a:pt x="3997" y="3285"/>
                  </a:lnTo>
                  <a:lnTo>
                    <a:pt x="4165" y="3264"/>
                  </a:lnTo>
                  <a:lnTo>
                    <a:pt x="4395" y="3201"/>
                  </a:lnTo>
                  <a:lnTo>
                    <a:pt x="4416" y="3201"/>
                  </a:lnTo>
                  <a:lnTo>
                    <a:pt x="4416" y="3055"/>
                  </a:lnTo>
                  <a:lnTo>
                    <a:pt x="4290" y="2908"/>
                  </a:lnTo>
                  <a:lnTo>
                    <a:pt x="4311" y="2762"/>
                  </a:lnTo>
                  <a:lnTo>
                    <a:pt x="4185" y="2574"/>
                  </a:lnTo>
                  <a:lnTo>
                    <a:pt x="4185" y="2427"/>
                  </a:lnTo>
                  <a:lnTo>
                    <a:pt x="4248" y="2344"/>
                  </a:lnTo>
                  <a:lnTo>
                    <a:pt x="4374" y="2448"/>
                  </a:lnTo>
                  <a:lnTo>
                    <a:pt x="4667" y="2427"/>
                  </a:lnTo>
                  <a:lnTo>
                    <a:pt x="4771" y="2218"/>
                  </a:lnTo>
                  <a:lnTo>
                    <a:pt x="4834" y="2155"/>
                  </a:lnTo>
                  <a:lnTo>
                    <a:pt x="4688" y="2051"/>
                  </a:lnTo>
                  <a:lnTo>
                    <a:pt x="4688" y="1946"/>
                  </a:lnTo>
                  <a:lnTo>
                    <a:pt x="4457" y="1758"/>
                  </a:lnTo>
                  <a:lnTo>
                    <a:pt x="4269" y="1716"/>
                  </a:lnTo>
                  <a:lnTo>
                    <a:pt x="4206" y="1527"/>
                  </a:lnTo>
                  <a:lnTo>
                    <a:pt x="4102" y="1423"/>
                  </a:lnTo>
                  <a:lnTo>
                    <a:pt x="3955" y="1214"/>
                  </a:lnTo>
                  <a:lnTo>
                    <a:pt x="3872" y="1046"/>
                  </a:lnTo>
                  <a:lnTo>
                    <a:pt x="3746" y="921"/>
                  </a:lnTo>
                  <a:lnTo>
                    <a:pt x="3746" y="753"/>
                  </a:lnTo>
                  <a:lnTo>
                    <a:pt x="3662" y="649"/>
                  </a:lnTo>
                  <a:lnTo>
                    <a:pt x="3683" y="481"/>
                  </a:lnTo>
                  <a:lnTo>
                    <a:pt x="3662" y="356"/>
                  </a:lnTo>
                  <a:lnTo>
                    <a:pt x="3411" y="272"/>
                  </a:lnTo>
                  <a:lnTo>
                    <a:pt x="3328" y="272"/>
                  </a:lnTo>
                  <a:lnTo>
                    <a:pt x="3265" y="167"/>
                  </a:lnTo>
                  <a:lnTo>
                    <a:pt x="3097" y="230"/>
                  </a:lnTo>
                  <a:lnTo>
                    <a:pt x="2930" y="356"/>
                  </a:lnTo>
                  <a:lnTo>
                    <a:pt x="2825" y="147"/>
                  </a:lnTo>
                  <a:lnTo>
                    <a:pt x="2721" y="147"/>
                  </a:lnTo>
                  <a:lnTo>
                    <a:pt x="2574" y="188"/>
                  </a:lnTo>
                  <a:lnTo>
                    <a:pt x="247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1" name="Google Shape;2031;p66"/>
            <p:cNvSpPr/>
            <p:nvPr/>
          </p:nvSpPr>
          <p:spPr>
            <a:xfrm>
              <a:off x="3848488" y="2796972"/>
              <a:ext cx="39628" cy="24519"/>
            </a:xfrm>
            <a:custGeom>
              <a:avLst/>
              <a:gdLst/>
              <a:ahLst/>
              <a:cxnLst/>
              <a:rect l="l" t="t" r="r" b="b"/>
              <a:pathLst>
                <a:path w="3328" h="2156" extrusionOk="0">
                  <a:moveTo>
                    <a:pt x="2993" y="1"/>
                  </a:moveTo>
                  <a:lnTo>
                    <a:pt x="2867" y="64"/>
                  </a:lnTo>
                  <a:lnTo>
                    <a:pt x="2679" y="43"/>
                  </a:lnTo>
                  <a:lnTo>
                    <a:pt x="2449" y="43"/>
                  </a:lnTo>
                  <a:lnTo>
                    <a:pt x="2302" y="22"/>
                  </a:lnTo>
                  <a:lnTo>
                    <a:pt x="2135" y="43"/>
                  </a:lnTo>
                  <a:lnTo>
                    <a:pt x="2030" y="210"/>
                  </a:lnTo>
                  <a:lnTo>
                    <a:pt x="1926" y="273"/>
                  </a:lnTo>
                  <a:lnTo>
                    <a:pt x="1926" y="377"/>
                  </a:lnTo>
                  <a:lnTo>
                    <a:pt x="1758" y="210"/>
                  </a:lnTo>
                  <a:lnTo>
                    <a:pt x="1549" y="357"/>
                  </a:lnTo>
                  <a:lnTo>
                    <a:pt x="1403" y="419"/>
                  </a:lnTo>
                  <a:lnTo>
                    <a:pt x="1403" y="545"/>
                  </a:lnTo>
                  <a:lnTo>
                    <a:pt x="1089" y="566"/>
                  </a:lnTo>
                  <a:lnTo>
                    <a:pt x="880" y="629"/>
                  </a:lnTo>
                  <a:lnTo>
                    <a:pt x="691" y="587"/>
                  </a:lnTo>
                  <a:lnTo>
                    <a:pt x="294" y="357"/>
                  </a:lnTo>
                  <a:lnTo>
                    <a:pt x="294" y="440"/>
                  </a:lnTo>
                  <a:lnTo>
                    <a:pt x="315" y="566"/>
                  </a:lnTo>
                  <a:lnTo>
                    <a:pt x="294" y="670"/>
                  </a:lnTo>
                  <a:lnTo>
                    <a:pt x="64" y="670"/>
                  </a:lnTo>
                  <a:lnTo>
                    <a:pt x="43" y="733"/>
                  </a:lnTo>
                  <a:lnTo>
                    <a:pt x="147" y="838"/>
                  </a:lnTo>
                  <a:lnTo>
                    <a:pt x="85" y="984"/>
                  </a:lnTo>
                  <a:lnTo>
                    <a:pt x="64" y="1089"/>
                  </a:lnTo>
                  <a:lnTo>
                    <a:pt x="147" y="1193"/>
                  </a:lnTo>
                  <a:lnTo>
                    <a:pt x="43" y="1298"/>
                  </a:lnTo>
                  <a:lnTo>
                    <a:pt x="1" y="1298"/>
                  </a:lnTo>
                  <a:lnTo>
                    <a:pt x="168" y="1486"/>
                  </a:lnTo>
                  <a:lnTo>
                    <a:pt x="189" y="1675"/>
                  </a:lnTo>
                  <a:lnTo>
                    <a:pt x="273" y="1696"/>
                  </a:lnTo>
                  <a:lnTo>
                    <a:pt x="524" y="1905"/>
                  </a:lnTo>
                  <a:lnTo>
                    <a:pt x="629" y="1947"/>
                  </a:lnTo>
                  <a:lnTo>
                    <a:pt x="733" y="2030"/>
                  </a:lnTo>
                  <a:lnTo>
                    <a:pt x="1026" y="2093"/>
                  </a:lnTo>
                  <a:lnTo>
                    <a:pt x="1235" y="2156"/>
                  </a:lnTo>
                  <a:lnTo>
                    <a:pt x="1340" y="2030"/>
                  </a:lnTo>
                  <a:lnTo>
                    <a:pt x="1403" y="2051"/>
                  </a:lnTo>
                  <a:lnTo>
                    <a:pt x="1466" y="1989"/>
                  </a:lnTo>
                  <a:lnTo>
                    <a:pt x="1612" y="1926"/>
                  </a:lnTo>
                  <a:lnTo>
                    <a:pt x="1717" y="1926"/>
                  </a:lnTo>
                  <a:lnTo>
                    <a:pt x="1738" y="1884"/>
                  </a:lnTo>
                  <a:lnTo>
                    <a:pt x="1863" y="1779"/>
                  </a:lnTo>
                  <a:lnTo>
                    <a:pt x="1968" y="1800"/>
                  </a:lnTo>
                  <a:lnTo>
                    <a:pt x="2072" y="1821"/>
                  </a:lnTo>
                  <a:lnTo>
                    <a:pt x="2156" y="1842"/>
                  </a:lnTo>
                  <a:lnTo>
                    <a:pt x="2282" y="1717"/>
                  </a:lnTo>
                  <a:lnTo>
                    <a:pt x="2386" y="1696"/>
                  </a:lnTo>
                  <a:lnTo>
                    <a:pt x="2449" y="1591"/>
                  </a:lnTo>
                  <a:lnTo>
                    <a:pt x="2595" y="1612"/>
                  </a:lnTo>
                  <a:lnTo>
                    <a:pt x="2700" y="1507"/>
                  </a:lnTo>
                  <a:lnTo>
                    <a:pt x="2679" y="1403"/>
                  </a:lnTo>
                  <a:lnTo>
                    <a:pt x="2888" y="1089"/>
                  </a:lnTo>
                  <a:lnTo>
                    <a:pt x="3014" y="754"/>
                  </a:lnTo>
                  <a:lnTo>
                    <a:pt x="3118" y="524"/>
                  </a:lnTo>
                  <a:lnTo>
                    <a:pt x="3286" y="482"/>
                  </a:lnTo>
                  <a:lnTo>
                    <a:pt x="3328" y="357"/>
                  </a:lnTo>
                  <a:lnTo>
                    <a:pt x="3307" y="336"/>
                  </a:lnTo>
                  <a:lnTo>
                    <a:pt x="3286" y="231"/>
                  </a:lnTo>
                  <a:lnTo>
                    <a:pt x="3118" y="126"/>
                  </a:lnTo>
                  <a:lnTo>
                    <a:pt x="299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2" name="Google Shape;2032;p66"/>
            <p:cNvSpPr/>
            <p:nvPr/>
          </p:nvSpPr>
          <p:spPr>
            <a:xfrm>
              <a:off x="3851727" y="2789842"/>
              <a:ext cx="34151" cy="14284"/>
            </a:xfrm>
            <a:custGeom>
              <a:avLst/>
              <a:gdLst/>
              <a:ahLst/>
              <a:cxnLst/>
              <a:rect l="l" t="t" r="r" b="b"/>
              <a:pathLst>
                <a:path w="2868" h="1256" extrusionOk="0">
                  <a:moveTo>
                    <a:pt x="2240" y="0"/>
                  </a:moveTo>
                  <a:lnTo>
                    <a:pt x="2177" y="21"/>
                  </a:lnTo>
                  <a:lnTo>
                    <a:pt x="2093" y="105"/>
                  </a:lnTo>
                  <a:lnTo>
                    <a:pt x="2010" y="42"/>
                  </a:lnTo>
                  <a:lnTo>
                    <a:pt x="1884" y="42"/>
                  </a:lnTo>
                  <a:lnTo>
                    <a:pt x="1779" y="21"/>
                  </a:lnTo>
                  <a:lnTo>
                    <a:pt x="1696" y="42"/>
                  </a:lnTo>
                  <a:lnTo>
                    <a:pt x="1612" y="147"/>
                  </a:lnTo>
                  <a:lnTo>
                    <a:pt x="1507" y="168"/>
                  </a:lnTo>
                  <a:lnTo>
                    <a:pt x="1486" y="147"/>
                  </a:lnTo>
                  <a:lnTo>
                    <a:pt x="1235" y="126"/>
                  </a:lnTo>
                  <a:lnTo>
                    <a:pt x="1089" y="230"/>
                  </a:lnTo>
                  <a:lnTo>
                    <a:pt x="942" y="251"/>
                  </a:lnTo>
                  <a:lnTo>
                    <a:pt x="775" y="419"/>
                  </a:lnTo>
                  <a:lnTo>
                    <a:pt x="566" y="440"/>
                  </a:lnTo>
                  <a:lnTo>
                    <a:pt x="336" y="523"/>
                  </a:lnTo>
                  <a:lnTo>
                    <a:pt x="294" y="460"/>
                  </a:lnTo>
                  <a:lnTo>
                    <a:pt x="147" y="481"/>
                  </a:lnTo>
                  <a:lnTo>
                    <a:pt x="22" y="565"/>
                  </a:lnTo>
                  <a:lnTo>
                    <a:pt x="1" y="565"/>
                  </a:lnTo>
                  <a:lnTo>
                    <a:pt x="1" y="753"/>
                  </a:lnTo>
                  <a:lnTo>
                    <a:pt x="22" y="984"/>
                  </a:lnTo>
                  <a:lnTo>
                    <a:pt x="419" y="1214"/>
                  </a:lnTo>
                  <a:lnTo>
                    <a:pt x="608" y="1256"/>
                  </a:lnTo>
                  <a:lnTo>
                    <a:pt x="817" y="1193"/>
                  </a:lnTo>
                  <a:lnTo>
                    <a:pt x="1131" y="1172"/>
                  </a:lnTo>
                  <a:lnTo>
                    <a:pt x="1131" y="1046"/>
                  </a:lnTo>
                  <a:lnTo>
                    <a:pt x="1277" y="984"/>
                  </a:lnTo>
                  <a:lnTo>
                    <a:pt x="1486" y="837"/>
                  </a:lnTo>
                  <a:lnTo>
                    <a:pt x="1654" y="1004"/>
                  </a:lnTo>
                  <a:lnTo>
                    <a:pt x="1654" y="900"/>
                  </a:lnTo>
                  <a:lnTo>
                    <a:pt x="1758" y="837"/>
                  </a:lnTo>
                  <a:lnTo>
                    <a:pt x="1863" y="670"/>
                  </a:lnTo>
                  <a:lnTo>
                    <a:pt x="2030" y="649"/>
                  </a:lnTo>
                  <a:lnTo>
                    <a:pt x="2177" y="670"/>
                  </a:lnTo>
                  <a:lnTo>
                    <a:pt x="2407" y="670"/>
                  </a:lnTo>
                  <a:lnTo>
                    <a:pt x="2595" y="691"/>
                  </a:lnTo>
                  <a:lnTo>
                    <a:pt x="2742" y="628"/>
                  </a:lnTo>
                  <a:lnTo>
                    <a:pt x="2763" y="419"/>
                  </a:lnTo>
                  <a:lnTo>
                    <a:pt x="2867" y="147"/>
                  </a:lnTo>
                  <a:lnTo>
                    <a:pt x="2637" y="21"/>
                  </a:lnTo>
                  <a:lnTo>
                    <a:pt x="2407" y="21"/>
                  </a:lnTo>
                  <a:lnTo>
                    <a:pt x="2344" y="42"/>
                  </a:lnTo>
                  <a:lnTo>
                    <a:pt x="224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3" name="Google Shape;2033;p66"/>
            <p:cNvSpPr/>
            <p:nvPr/>
          </p:nvSpPr>
          <p:spPr>
            <a:xfrm>
              <a:off x="3869672" y="2845760"/>
              <a:ext cx="12967" cy="23803"/>
            </a:xfrm>
            <a:custGeom>
              <a:avLst/>
              <a:gdLst/>
              <a:ahLst/>
              <a:cxnLst/>
              <a:rect l="l" t="t" r="r" b="b"/>
              <a:pathLst>
                <a:path w="1089" h="2093" extrusionOk="0">
                  <a:moveTo>
                    <a:pt x="419" y="0"/>
                  </a:moveTo>
                  <a:lnTo>
                    <a:pt x="314" y="126"/>
                  </a:lnTo>
                  <a:lnTo>
                    <a:pt x="272" y="21"/>
                  </a:lnTo>
                  <a:lnTo>
                    <a:pt x="210" y="21"/>
                  </a:lnTo>
                  <a:lnTo>
                    <a:pt x="84" y="147"/>
                  </a:lnTo>
                  <a:lnTo>
                    <a:pt x="0" y="314"/>
                  </a:lnTo>
                  <a:lnTo>
                    <a:pt x="0" y="544"/>
                  </a:lnTo>
                  <a:lnTo>
                    <a:pt x="189" y="628"/>
                  </a:lnTo>
                  <a:lnTo>
                    <a:pt x="168" y="691"/>
                  </a:lnTo>
                  <a:lnTo>
                    <a:pt x="105" y="733"/>
                  </a:lnTo>
                  <a:lnTo>
                    <a:pt x="63" y="984"/>
                  </a:lnTo>
                  <a:lnTo>
                    <a:pt x="105" y="1172"/>
                  </a:lnTo>
                  <a:lnTo>
                    <a:pt x="63" y="1277"/>
                  </a:lnTo>
                  <a:lnTo>
                    <a:pt x="63" y="1423"/>
                  </a:lnTo>
                  <a:lnTo>
                    <a:pt x="147" y="1528"/>
                  </a:lnTo>
                  <a:lnTo>
                    <a:pt x="84" y="1674"/>
                  </a:lnTo>
                  <a:lnTo>
                    <a:pt x="147" y="1716"/>
                  </a:lnTo>
                  <a:lnTo>
                    <a:pt x="377" y="1737"/>
                  </a:lnTo>
                  <a:lnTo>
                    <a:pt x="482" y="2009"/>
                  </a:lnTo>
                  <a:lnTo>
                    <a:pt x="565" y="2093"/>
                  </a:lnTo>
                  <a:lnTo>
                    <a:pt x="628" y="2030"/>
                  </a:lnTo>
                  <a:lnTo>
                    <a:pt x="712" y="1883"/>
                  </a:lnTo>
                  <a:lnTo>
                    <a:pt x="733" y="1737"/>
                  </a:lnTo>
                  <a:lnTo>
                    <a:pt x="942" y="1674"/>
                  </a:lnTo>
                  <a:lnTo>
                    <a:pt x="1047" y="1507"/>
                  </a:lnTo>
                  <a:lnTo>
                    <a:pt x="1088" y="1360"/>
                  </a:lnTo>
                  <a:lnTo>
                    <a:pt x="942" y="1256"/>
                  </a:lnTo>
                  <a:lnTo>
                    <a:pt x="900" y="1109"/>
                  </a:lnTo>
                  <a:lnTo>
                    <a:pt x="795" y="963"/>
                  </a:lnTo>
                  <a:lnTo>
                    <a:pt x="775" y="753"/>
                  </a:lnTo>
                  <a:lnTo>
                    <a:pt x="795" y="544"/>
                  </a:lnTo>
                  <a:lnTo>
                    <a:pt x="775" y="481"/>
                  </a:lnTo>
                  <a:lnTo>
                    <a:pt x="775" y="335"/>
                  </a:lnTo>
                  <a:lnTo>
                    <a:pt x="712" y="230"/>
                  </a:lnTo>
                  <a:lnTo>
                    <a:pt x="607" y="147"/>
                  </a:lnTo>
                  <a:lnTo>
                    <a:pt x="565" y="147"/>
                  </a:lnTo>
                  <a:lnTo>
                    <a:pt x="482" y="21"/>
                  </a:lnTo>
                  <a:lnTo>
                    <a:pt x="41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4" name="Google Shape;2034;p66"/>
            <p:cNvSpPr/>
            <p:nvPr/>
          </p:nvSpPr>
          <p:spPr>
            <a:xfrm>
              <a:off x="3863444" y="2836958"/>
              <a:ext cx="12467" cy="15000"/>
            </a:xfrm>
            <a:custGeom>
              <a:avLst/>
              <a:gdLst/>
              <a:ahLst/>
              <a:cxnLst/>
              <a:rect l="l" t="t" r="r" b="b"/>
              <a:pathLst>
                <a:path w="1047" h="1319" extrusionOk="0">
                  <a:moveTo>
                    <a:pt x="293" y="0"/>
                  </a:moveTo>
                  <a:lnTo>
                    <a:pt x="210" y="63"/>
                  </a:lnTo>
                  <a:lnTo>
                    <a:pt x="210" y="167"/>
                  </a:lnTo>
                  <a:lnTo>
                    <a:pt x="314" y="209"/>
                  </a:lnTo>
                  <a:lnTo>
                    <a:pt x="356" y="293"/>
                  </a:lnTo>
                  <a:lnTo>
                    <a:pt x="272" y="356"/>
                  </a:lnTo>
                  <a:lnTo>
                    <a:pt x="189" y="356"/>
                  </a:lnTo>
                  <a:lnTo>
                    <a:pt x="147" y="481"/>
                  </a:lnTo>
                  <a:lnTo>
                    <a:pt x="147" y="628"/>
                  </a:lnTo>
                  <a:lnTo>
                    <a:pt x="84" y="732"/>
                  </a:lnTo>
                  <a:lnTo>
                    <a:pt x="0" y="795"/>
                  </a:lnTo>
                  <a:lnTo>
                    <a:pt x="63" y="837"/>
                  </a:lnTo>
                  <a:lnTo>
                    <a:pt x="168" y="879"/>
                  </a:lnTo>
                  <a:lnTo>
                    <a:pt x="377" y="1151"/>
                  </a:lnTo>
                  <a:lnTo>
                    <a:pt x="398" y="1235"/>
                  </a:lnTo>
                  <a:lnTo>
                    <a:pt x="523" y="1318"/>
                  </a:lnTo>
                  <a:lnTo>
                    <a:pt x="523" y="1088"/>
                  </a:lnTo>
                  <a:lnTo>
                    <a:pt x="607" y="921"/>
                  </a:lnTo>
                  <a:lnTo>
                    <a:pt x="733" y="795"/>
                  </a:lnTo>
                  <a:lnTo>
                    <a:pt x="795" y="795"/>
                  </a:lnTo>
                  <a:lnTo>
                    <a:pt x="837" y="900"/>
                  </a:lnTo>
                  <a:lnTo>
                    <a:pt x="942" y="774"/>
                  </a:lnTo>
                  <a:lnTo>
                    <a:pt x="984" y="711"/>
                  </a:lnTo>
                  <a:lnTo>
                    <a:pt x="1046" y="628"/>
                  </a:lnTo>
                  <a:lnTo>
                    <a:pt x="1046" y="502"/>
                  </a:lnTo>
                  <a:lnTo>
                    <a:pt x="900" y="481"/>
                  </a:lnTo>
                  <a:lnTo>
                    <a:pt x="816" y="398"/>
                  </a:lnTo>
                  <a:lnTo>
                    <a:pt x="691" y="398"/>
                  </a:lnTo>
                  <a:lnTo>
                    <a:pt x="628" y="314"/>
                  </a:lnTo>
                  <a:lnTo>
                    <a:pt x="628" y="251"/>
                  </a:lnTo>
                  <a:lnTo>
                    <a:pt x="502" y="105"/>
                  </a:lnTo>
                  <a:lnTo>
                    <a:pt x="502" y="146"/>
                  </a:lnTo>
                  <a:lnTo>
                    <a:pt x="398" y="84"/>
                  </a:lnTo>
                  <a:lnTo>
                    <a:pt x="29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5" name="Google Shape;2035;p66"/>
            <p:cNvSpPr/>
            <p:nvPr/>
          </p:nvSpPr>
          <p:spPr>
            <a:xfrm>
              <a:off x="3844761" y="2824346"/>
              <a:ext cx="25923" cy="21665"/>
            </a:xfrm>
            <a:custGeom>
              <a:avLst/>
              <a:gdLst/>
              <a:ahLst/>
              <a:cxnLst/>
              <a:rect l="l" t="t" r="r" b="b"/>
              <a:pathLst>
                <a:path w="2177" h="1905" extrusionOk="0">
                  <a:moveTo>
                    <a:pt x="105" y="0"/>
                  </a:moveTo>
                  <a:lnTo>
                    <a:pt x="63" y="42"/>
                  </a:lnTo>
                  <a:lnTo>
                    <a:pt x="63" y="167"/>
                  </a:lnTo>
                  <a:lnTo>
                    <a:pt x="0" y="230"/>
                  </a:lnTo>
                  <a:lnTo>
                    <a:pt x="42" y="314"/>
                  </a:lnTo>
                  <a:lnTo>
                    <a:pt x="84" y="314"/>
                  </a:lnTo>
                  <a:lnTo>
                    <a:pt x="209" y="439"/>
                  </a:lnTo>
                  <a:lnTo>
                    <a:pt x="251" y="544"/>
                  </a:lnTo>
                  <a:lnTo>
                    <a:pt x="314" y="649"/>
                  </a:lnTo>
                  <a:lnTo>
                    <a:pt x="272" y="670"/>
                  </a:lnTo>
                  <a:lnTo>
                    <a:pt x="293" y="753"/>
                  </a:lnTo>
                  <a:lnTo>
                    <a:pt x="774" y="1151"/>
                  </a:lnTo>
                  <a:lnTo>
                    <a:pt x="1151" y="1611"/>
                  </a:lnTo>
                  <a:lnTo>
                    <a:pt x="1109" y="1695"/>
                  </a:lnTo>
                  <a:lnTo>
                    <a:pt x="1193" y="1716"/>
                  </a:lnTo>
                  <a:lnTo>
                    <a:pt x="1402" y="1737"/>
                  </a:lnTo>
                  <a:lnTo>
                    <a:pt x="1465" y="1716"/>
                  </a:lnTo>
                  <a:lnTo>
                    <a:pt x="1569" y="1904"/>
                  </a:lnTo>
                  <a:lnTo>
                    <a:pt x="1653" y="1841"/>
                  </a:lnTo>
                  <a:lnTo>
                    <a:pt x="1716" y="1737"/>
                  </a:lnTo>
                  <a:lnTo>
                    <a:pt x="1716" y="1590"/>
                  </a:lnTo>
                  <a:lnTo>
                    <a:pt x="1758" y="1465"/>
                  </a:lnTo>
                  <a:lnTo>
                    <a:pt x="1841" y="1465"/>
                  </a:lnTo>
                  <a:lnTo>
                    <a:pt x="1925" y="1402"/>
                  </a:lnTo>
                  <a:lnTo>
                    <a:pt x="1883" y="1318"/>
                  </a:lnTo>
                  <a:lnTo>
                    <a:pt x="1779" y="1276"/>
                  </a:lnTo>
                  <a:lnTo>
                    <a:pt x="1779" y="1172"/>
                  </a:lnTo>
                  <a:lnTo>
                    <a:pt x="1862" y="1109"/>
                  </a:lnTo>
                  <a:lnTo>
                    <a:pt x="1967" y="1193"/>
                  </a:lnTo>
                  <a:lnTo>
                    <a:pt x="2071" y="1255"/>
                  </a:lnTo>
                  <a:lnTo>
                    <a:pt x="2134" y="1193"/>
                  </a:lnTo>
                  <a:lnTo>
                    <a:pt x="1988" y="1046"/>
                  </a:lnTo>
                  <a:lnTo>
                    <a:pt x="1988" y="900"/>
                  </a:lnTo>
                  <a:lnTo>
                    <a:pt x="2051" y="879"/>
                  </a:lnTo>
                  <a:lnTo>
                    <a:pt x="2155" y="942"/>
                  </a:lnTo>
                  <a:lnTo>
                    <a:pt x="2176" y="858"/>
                  </a:lnTo>
                  <a:lnTo>
                    <a:pt x="2134" y="795"/>
                  </a:lnTo>
                  <a:lnTo>
                    <a:pt x="2030" y="774"/>
                  </a:lnTo>
                  <a:lnTo>
                    <a:pt x="1862" y="649"/>
                  </a:lnTo>
                  <a:lnTo>
                    <a:pt x="1862" y="565"/>
                  </a:lnTo>
                  <a:lnTo>
                    <a:pt x="1967" y="419"/>
                  </a:lnTo>
                  <a:lnTo>
                    <a:pt x="1988" y="251"/>
                  </a:lnTo>
                  <a:lnTo>
                    <a:pt x="1925" y="251"/>
                  </a:lnTo>
                  <a:lnTo>
                    <a:pt x="1862" y="272"/>
                  </a:lnTo>
                  <a:lnTo>
                    <a:pt x="1820" y="230"/>
                  </a:lnTo>
                  <a:lnTo>
                    <a:pt x="1653" y="230"/>
                  </a:lnTo>
                  <a:lnTo>
                    <a:pt x="1548" y="126"/>
                  </a:lnTo>
                  <a:lnTo>
                    <a:pt x="1465" y="147"/>
                  </a:lnTo>
                  <a:lnTo>
                    <a:pt x="1339" y="105"/>
                  </a:lnTo>
                  <a:lnTo>
                    <a:pt x="1214" y="126"/>
                  </a:lnTo>
                  <a:lnTo>
                    <a:pt x="1193" y="63"/>
                  </a:lnTo>
                  <a:lnTo>
                    <a:pt x="1088" y="126"/>
                  </a:lnTo>
                  <a:lnTo>
                    <a:pt x="942" y="63"/>
                  </a:lnTo>
                  <a:lnTo>
                    <a:pt x="900" y="126"/>
                  </a:lnTo>
                  <a:lnTo>
                    <a:pt x="837" y="21"/>
                  </a:lnTo>
                  <a:lnTo>
                    <a:pt x="732" y="0"/>
                  </a:lnTo>
                  <a:lnTo>
                    <a:pt x="690" y="42"/>
                  </a:lnTo>
                  <a:lnTo>
                    <a:pt x="607" y="0"/>
                  </a:lnTo>
                  <a:lnTo>
                    <a:pt x="565" y="63"/>
                  </a:lnTo>
                  <a:lnTo>
                    <a:pt x="481" y="42"/>
                  </a:lnTo>
                  <a:lnTo>
                    <a:pt x="377" y="63"/>
                  </a:lnTo>
                  <a:lnTo>
                    <a:pt x="377" y="147"/>
                  </a:lnTo>
                  <a:lnTo>
                    <a:pt x="293" y="167"/>
                  </a:lnTo>
                  <a:lnTo>
                    <a:pt x="251" y="105"/>
                  </a:lnTo>
                  <a:lnTo>
                    <a:pt x="10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6" name="Google Shape;2036;p66"/>
            <p:cNvSpPr/>
            <p:nvPr/>
          </p:nvSpPr>
          <p:spPr>
            <a:xfrm>
              <a:off x="3830555" y="2811734"/>
              <a:ext cx="20195" cy="12146"/>
            </a:xfrm>
            <a:custGeom>
              <a:avLst/>
              <a:gdLst/>
              <a:ahLst/>
              <a:cxnLst/>
              <a:rect l="l" t="t" r="r" b="b"/>
              <a:pathLst>
                <a:path w="1696" h="1068" extrusionOk="0">
                  <a:moveTo>
                    <a:pt x="1507" y="0"/>
                  </a:moveTo>
                  <a:lnTo>
                    <a:pt x="1381" y="63"/>
                  </a:lnTo>
                  <a:lnTo>
                    <a:pt x="1130" y="209"/>
                  </a:lnTo>
                  <a:lnTo>
                    <a:pt x="1067" y="188"/>
                  </a:lnTo>
                  <a:lnTo>
                    <a:pt x="984" y="209"/>
                  </a:lnTo>
                  <a:lnTo>
                    <a:pt x="858" y="272"/>
                  </a:lnTo>
                  <a:lnTo>
                    <a:pt x="733" y="272"/>
                  </a:lnTo>
                  <a:lnTo>
                    <a:pt x="607" y="314"/>
                  </a:lnTo>
                  <a:lnTo>
                    <a:pt x="523" y="230"/>
                  </a:lnTo>
                  <a:lnTo>
                    <a:pt x="251" y="230"/>
                  </a:lnTo>
                  <a:lnTo>
                    <a:pt x="147" y="209"/>
                  </a:lnTo>
                  <a:lnTo>
                    <a:pt x="21" y="419"/>
                  </a:lnTo>
                  <a:lnTo>
                    <a:pt x="84" y="502"/>
                  </a:lnTo>
                  <a:lnTo>
                    <a:pt x="0" y="628"/>
                  </a:lnTo>
                  <a:lnTo>
                    <a:pt x="21" y="816"/>
                  </a:lnTo>
                  <a:lnTo>
                    <a:pt x="42" y="816"/>
                  </a:lnTo>
                  <a:lnTo>
                    <a:pt x="147" y="858"/>
                  </a:lnTo>
                  <a:lnTo>
                    <a:pt x="147" y="942"/>
                  </a:lnTo>
                  <a:lnTo>
                    <a:pt x="42" y="963"/>
                  </a:lnTo>
                  <a:lnTo>
                    <a:pt x="42" y="1067"/>
                  </a:lnTo>
                  <a:lnTo>
                    <a:pt x="251" y="1067"/>
                  </a:lnTo>
                  <a:lnTo>
                    <a:pt x="398" y="963"/>
                  </a:lnTo>
                  <a:lnTo>
                    <a:pt x="523" y="921"/>
                  </a:lnTo>
                  <a:lnTo>
                    <a:pt x="733" y="1025"/>
                  </a:lnTo>
                  <a:lnTo>
                    <a:pt x="858" y="1025"/>
                  </a:lnTo>
                  <a:lnTo>
                    <a:pt x="879" y="816"/>
                  </a:lnTo>
                  <a:lnTo>
                    <a:pt x="1067" y="732"/>
                  </a:lnTo>
                  <a:lnTo>
                    <a:pt x="1088" y="586"/>
                  </a:lnTo>
                  <a:lnTo>
                    <a:pt x="1444" y="398"/>
                  </a:lnTo>
                  <a:lnTo>
                    <a:pt x="1695" y="398"/>
                  </a:lnTo>
                  <a:lnTo>
                    <a:pt x="1674" y="188"/>
                  </a:lnTo>
                  <a:lnTo>
                    <a:pt x="150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7" name="Google Shape;2037;p66"/>
            <p:cNvSpPr/>
            <p:nvPr/>
          </p:nvSpPr>
          <p:spPr>
            <a:xfrm>
              <a:off x="3804645" y="2793401"/>
              <a:ext cx="47594" cy="21903"/>
            </a:xfrm>
            <a:custGeom>
              <a:avLst/>
              <a:gdLst/>
              <a:ahLst/>
              <a:cxnLst/>
              <a:rect l="l" t="t" r="r" b="b"/>
              <a:pathLst>
                <a:path w="3997" h="1926" extrusionOk="0">
                  <a:moveTo>
                    <a:pt x="2846" y="1"/>
                  </a:moveTo>
                  <a:lnTo>
                    <a:pt x="2804" y="106"/>
                  </a:lnTo>
                  <a:lnTo>
                    <a:pt x="2741" y="147"/>
                  </a:lnTo>
                  <a:lnTo>
                    <a:pt x="2720" y="252"/>
                  </a:lnTo>
                  <a:lnTo>
                    <a:pt x="2574" y="252"/>
                  </a:lnTo>
                  <a:lnTo>
                    <a:pt x="2511" y="315"/>
                  </a:lnTo>
                  <a:lnTo>
                    <a:pt x="2218" y="147"/>
                  </a:lnTo>
                  <a:lnTo>
                    <a:pt x="2155" y="147"/>
                  </a:lnTo>
                  <a:lnTo>
                    <a:pt x="2114" y="252"/>
                  </a:lnTo>
                  <a:lnTo>
                    <a:pt x="2114" y="357"/>
                  </a:lnTo>
                  <a:lnTo>
                    <a:pt x="2051" y="357"/>
                  </a:lnTo>
                  <a:lnTo>
                    <a:pt x="1967" y="461"/>
                  </a:lnTo>
                  <a:lnTo>
                    <a:pt x="1842" y="545"/>
                  </a:lnTo>
                  <a:lnTo>
                    <a:pt x="1674" y="733"/>
                  </a:lnTo>
                  <a:lnTo>
                    <a:pt x="1674" y="796"/>
                  </a:lnTo>
                  <a:lnTo>
                    <a:pt x="1842" y="880"/>
                  </a:lnTo>
                  <a:lnTo>
                    <a:pt x="1863" y="984"/>
                  </a:lnTo>
                  <a:lnTo>
                    <a:pt x="1779" y="1047"/>
                  </a:lnTo>
                  <a:lnTo>
                    <a:pt x="1653" y="963"/>
                  </a:lnTo>
                  <a:lnTo>
                    <a:pt x="1528" y="984"/>
                  </a:lnTo>
                  <a:lnTo>
                    <a:pt x="1381" y="963"/>
                  </a:lnTo>
                  <a:lnTo>
                    <a:pt x="1319" y="963"/>
                  </a:lnTo>
                  <a:lnTo>
                    <a:pt x="1130" y="1089"/>
                  </a:lnTo>
                  <a:lnTo>
                    <a:pt x="1026" y="1110"/>
                  </a:lnTo>
                  <a:lnTo>
                    <a:pt x="942" y="1089"/>
                  </a:lnTo>
                  <a:lnTo>
                    <a:pt x="837" y="1110"/>
                  </a:lnTo>
                  <a:lnTo>
                    <a:pt x="754" y="1047"/>
                  </a:lnTo>
                  <a:lnTo>
                    <a:pt x="440" y="1047"/>
                  </a:lnTo>
                  <a:lnTo>
                    <a:pt x="440" y="1110"/>
                  </a:lnTo>
                  <a:lnTo>
                    <a:pt x="419" y="1173"/>
                  </a:lnTo>
                  <a:lnTo>
                    <a:pt x="272" y="1152"/>
                  </a:lnTo>
                  <a:lnTo>
                    <a:pt x="189" y="1047"/>
                  </a:lnTo>
                  <a:lnTo>
                    <a:pt x="84" y="1089"/>
                  </a:lnTo>
                  <a:lnTo>
                    <a:pt x="21" y="1110"/>
                  </a:lnTo>
                  <a:lnTo>
                    <a:pt x="0" y="1110"/>
                  </a:lnTo>
                  <a:lnTo>
                    <a:pt x="63" y="1173"/>
                  </a:lnTo>
                  <a:lnTo>
                    <a:pt x="63" y="1256"/>
                  </a:lnTo>
                  <a:lnTo>
                    <a:pt x="105" y="1298"/>
                  </a:lnTo>
                  <a:lnTo>
                    <a:pt x="105" y="1403"/>
                  </a:lnTo>
                  <a:lnTo>
                    <a:pt x="210" y="1403"/>
                  </a:lnTo>
                  <a:lnTo>
                    <a:pt x="293" y="1382"/>
                  </a:lnTo>
                  <a:lnTo>
                    <a:pt x="398" y="1507"/>
                  </a:lnTo>
                  <a:lnTo>
                    <a:pt x="502" y="1403"/>
                  </a:lnTo>
                  <a:lnTo>
                    <a:pt x="586" y="1403"/>
                  </a:lnTo>
                  <a:lnTo>
                    <a:pt x="628" y="1507"/>
                  </a:lnTo>
                  <a:lnTo>
                    <a:pt x="837" y="1591"/>
                  </a:lnTo>
                  <a:lnTo>
                    <a:pt x="1130" y="1403"/>
                  </a:lnTo>
                  <a:lnTo>
                    <a:pt x="1256" y="1424"/>
                  </a:lnTo>
                  <a:lnTo>
                    <a:pt x="1444" y="1424"/>
                  </a:lnTo>
                  <a:lnTo>
                    <a:pt x="1444" y="1528"/>
                  </a:lnTo>
                  <a:lnTo>
                    <a:pt x="1737" y="1717"/>
                  </a:lnTo>
                  <a:lnTo>
                    <a:pt x="2072" y="1779"/>
                  </a:lnTo>
                  <a:lnTo>
                    <a:pt x="2260" y="1738"/>
                  </a:lnTo>
                  <a:lnTo>
                    <a:pt x="2323" y="1821"/>
                  </a:lnTo>
                  <a:lnTo>
                    <a:pt x="2427" y="1842"/>
                  </a:lnTo>
                  <a:lnTo>
                    <a:pt x="2699" y="1842"/>
                  </a:lnTo>
                  <a:lnTo>
                    <a:pt x="2783" y="1926"/>
                  </a:lnTo>
                  <a:lnTo>
                    <a:pt x="2909" y="1884"/>
                  </a:lnTo>
                  <a:lnTo>
                    <a:pt x="3034" y="1884"/>
                  </a:lnTo>
                  <a:lnTo>
                    <a:pt x="3160" y="1821"/>
                  </a:lnTo>
                  <a:lnTo>
                    <a:pt x="3243" y="1800"/>
                  </a:lnTo>
                  <a:lnTo>
                    <a:pt x="3306" y="1821"/>
                  </a:lnTo>
                  <a:lnTo>
                    <a:pt x="3557" y="1675"/>
                  </a:lnTo>
                  <a:lnTo>
                    <a:pt x="3683" y="1612"/>
                  </a:lnTo>
                  <a:lnTo>
                    <a:pt x="3725" y="1612"/>
                  </a:lnTo>
                  <a:lnTo>
                    <a:pt x="3829" y="1507"/>
                  </a:lnTo>
                  <a:lnTo>
                    <a:pt x="3746" y="1403"/>
                  </a:lnTo>
                  <a:lnTo>
                    <a:pt x="3767" y="1298"/>
                  </a:lnTo>
                  <a:lnTo>
                    <a:pt x="3829" y="1152"/>
                  </a:lnTo>
                  <a:lnTo>
                    <a:pt x="3725" y="1047"/>
                  </a:lnTo>
                  <a:lnTo>
                    <a:pt x="3746" y="984"/>
                  </a:lnTo>
                  <a:lnTo>
                    <a:pt x="3976" y="984"/>
                  </a:lnTo>
                  <a:lnTo>
                    <a:pt x="3997" y="880"/>
                  </a:lnTo>
                  <a:lnTo>
                    <a:pt x="3976" y="754"/>
                  </a:lnTo>
                  <a:lnTo>
                    <a:pt x="3976" y="671"/>
                  </a:lnTo>
                  <a:lnTo>
                    <a:pt x="3955" y="440"/>
                  </a:lnTo>
                  <a:lnTo>
                    <a:pt x="3955" y="252"/>
                  </a:lnTo>
                  <a:lnTo>
                    <a:pt x="3725" y="210"/>
                  </a:lnTo>
                  <a:lnTo>
                    <a:pt x="3641" y="127"/>
                  </a:lnTo>
                  <a:lnTo>
                    <a:pt x="3474" y="147"/>
                  </a:lnTo>
                  <a:lnTo>
                    <a:pt x="3327" y="147"/>
                  </a:lnTo>
                  <a:lnTo>
                    <a:pt x="3160" y="43"/>
                  </a:lnTo>
                  <a:lnTo>
                    <a:pt x="2951" y="43"/>
                  </a:lnTo>
                  <a:lnTo>
                    <a:pt x="284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8" name="Google Shape;2038;p66"/>
            <p:cNvSpPr/>
            <p:nvPr/>
          </p:nvSpPr>
          <p:spPr>
            <a:xfrm>
              <a:off x="3831556" y="2741054"/>
              <a:ext cx="63038" cy="50699"/>
            </a:xfrm>
            <a:custGeom>
              <a:avLst/>
              <a:gdLst/>
              <a:ahLst/>
              <a:cxnLst/>
              <a:rect l="l" t="t" r="r" b="b"/>
              <a:pathLst>
                <a:path w="5294" h="4458" extrusionOk="0">
                  <a:moveTo>
                    <a:pt x="1883" y="1"/>
                  </a:moveTo>
                  <a:lnTo>
                    <a:pt x="1632" y="105"/>
                  </a:lnTo>
                  <a:lnTo>
                    <a:pt x="1486" y="105"/>
                  </a:lnTo>
                  <a:lnTo>
                    <a:pt x="1318" y="147"/>
                  </a:lnTo>
                  <a:lnTo>
                    <a:pt x="1214" y="315"/>
                  </a:lnTo>
                  <a:lnTo>
                    <a:pt x="1046" y="315"/>
                  </a:lnTo>
                  <a:lnTo>
                    <a:pt x="942" y="398"/>
                  </a:lnTo>
                  <a:lnTo>
                    <a:pt x="942" y="524"/>
                  </a:lnTo>
                  <a:lnTo>
                    <a:pt x="753" y="524"/>
                  </a:lnTo>
                  <a:lnTo>
                    <a:pt x="481" y="670"/>
                  </a:lnTo>
                  <a:lnTo>
                    <a:pt x="314" y="670"/>
                  </a:lnTo>
                  <a:lnTo>
                    <a:pt x="251" y="796"/>
                  </a:lnTo>
                  <a:lnTo>
                    <a:pt x="209" y="963"/>
                  </a:lnTo>
                  <a:lnTo>
                    <a:pt x="147" y="984"/>
                  </a:lnTo>
                  <a:lnTo>
                    <a:pt x="167" y="1047"/>
                  </a:lnTo>
                  <a:lnTo>
                    <a:pt x="126" y="1047"/>
                  </a:lnTo>
                  <a:lnTo>
                    <a:pt x="167" y="1298"/>
                  </a:lnTo>
                  <a:lnTo>
                    <a:pt x="147" y="1486"/>
                  </a:lnTo>
                  <a:lnTo>
                    <a:pt x="0" y="1570"/>
                  </a:lnTo>
                  <a:lnTo>
                    <a:pt x="0" y="1633"/>
                  </a:lnTo>
                  <a:lnTo>
                    <a:pt x="167" y="1842"/>
                  </a:lnTo>
                  <a:lnTo>
                    <a:pt x="147" y="1947"/>
                  </a:lnTo>
                  <a:lnTo>
                    <a:pt x="230" y="2051"/>
                  </a:lnTo>
                  <a:lnTo>
                    <a:pt x="230" y="2135"/>
                  </a:lnTo>
                  <a:lnTo>
                    <a:pt x="272" y="2261"/>
                  </a:lnTo>
                  <a:lnTo>
                    <a:pt x="230" y="2365"/>
                  </a:lnTo>
                  <a:lnTo>
                    <a:pt x="335" y="2616"/>
                  </a:lnTo>
                  <a:lnTo>
                    <a:pt x="419" y="2658"/>
                  </a:lnTo>
                  <a:lnTo>
                    <a:pt x="481" y="2742"/>
                  </a:lnTo>
                  <a:lnTo>
                    <a:pt x="481" y="3056"/>
                  </a:lnTo>
                  <a:lnTo>
                    <a:pt x="460" y="3097"/>
                  </a:lnTo>
                  <a:lnTo>
                    <a:pt x="523" y="3181"/>
                  </a:lnTo>
                  <a:lnTo>
                    <a:pt x="565" y="3139"/>
                  </a:lnTo>
                  <a:lnTo>
                    <a:pt x="649" y="3160"/>
                  </a:lnTo>
                  <a:lnTo>
                    <a:pt x="732" y="3097"/>
                  </a:lnTo>
                  <a:lnTo>
                    <a:pt x="963" y="3160"/>
                  </a:lnTo>
                  <a:lnTo>
                    <a:pt x="942" y="3202"/>
                  </a:lnTo>
                  <a:lnTo>
                    <a:pt x="1046" y="3307"/>
                  </a:lnTo>
                  <a:lnTo>
                    <a:pt x="1151" y="3307"/>
                  </a:lnTo>
                  <a:lnTo>
                    <a:pt x="1214" y="3390"/>
                  </a:lnTo>
                  <a:lnTo>
                    <a:pt x="1172" y="3495"/>
                  </a:lnTo>
                  <a:lnTo>
                    <a:pt x="1193" y="3579"/>
                  </a:lnTo>
                  <a:lnTo>
                    <a:pt x="1255" y="3600"/>
                  </a:lnTo>
                  <a:lnTo>
                    <a:pt x="1255" y="3704"/>
                  </a:lnTo>
                  <a:lnTo>
                    <a:pt x="1318" y="3725"/>
                  </a:lnTo>
                  <a:lnTo>
                    <a:pt x="1381" y="3683"/>
                  </a:lnTo>
                  <a:lnTo>
                    <a:pt x="1465" y="3683"/>
                  </a:lnTo>
                  <a:lnTo>
                    <a:pt x="1318" y="3516"/>
                  </a:lnTo>
                  <a:lnTo>
                    <a:pt x="1381" y="3474"/>
                  </a:lnTo>
                  <a:lnTo>
                    <a:pt x="1632" y="3621"/>
                  </a:lnTo>
                  <a:lnTo>
                    <a:pt x="1820" y="3600"/>
                  </a:lnTo>
                  <a:lnTo>
                    <a:pt x="1779" y="3704"/>
                  </a:lnTo>
                  <a:lnTo>
                    <a:pt x="1904" y="3809"/>
                  </a:lnTo>
                  <a:lnTo>
                    <a:pt x="2134" y="3767"/>
                  </a:lnTo>
                  <a:lnTo>
                    <a:pt x="2302" y="3809"/>
                  </a:lnTo>
                  <a:lnTo>
                    <a:pt x="2636" y="4081"/>
                  </a:lnTo>
                  <a:lnTo>
                    <a:pt x="2762" y="4248"/>
                  </a:lnTo>
                  <a:lnTo>
                    <a:pt x="2846" y="4248"/>
                  </a:lnTo>
                  <a:lnTo>
                    <a:pt x="2888" y="4206"/>
                  </a:lnTo>
                  <a:lnTo>
                    <a:pt x="3055" y="4206"/>
                  </a:lnTo>
                  <a:lnTo>
                    <a:pt x="3139" y="4290"/>
                  </a:lnTo>
                  <a:lnTo>
                    <a:pt x="3180" y="4437"/>
                  </a:lnTo>
                  <a:lnTo>
                    <a:pt x="3201" y="4458"/>
                  </a:lnTo>
                  <a:lnTo>
                    <a:pt x="3306" y="4437"/>
                  </a:lnTo>
                  <a:lnTo>
                    <a:pt x="3390" y="4332"/>
                  </a:lnTo>
                  <a:lnTo>
                    <a:pt x="3473" y="4311"/>
                  </a:lnTo>
                  <a:lnTo>
                    <a:pt x="3578" y="4332"/>
                  </a:lnTo>
                  <a:lnTo>
                    <a:pt x="3704" y="4332"/>
                  </a:lnTo>
                  <a:lnTo>
                    <a:pt x="3787" y="4395"/>
                  </a:lnTo>
                  <a:lnTo>
                    <a:pt x="3871" y="4311"/>
                  </a:lnTo>
                  <a:lnTo>
                    <a:pt x="3934" y="4290"/>
                  </a:lnTo>
                  <a:lnTo>
                    <a:pt x="4038" y="4332"/>
                  </a:lnTo>
                  <a:lnTo>
                    <a:pt x="4101" y="4311"/>
                  </a:lnTo>
                  <a:lnTo>
                    <a:pt x="4331" y="4311"/>
                  </a:lnTo>
                  <a:lnTo>
                    <a:pt x="4561" y="4437"/>
                  </a:lnTo>
                  <a:lnTo>
                    <a:pt x="4708" y="4458"/>
                  </a:lnTo>
                  <a:lnTo>
                    <a:pt x="4708" y="4290"/>
                  </a:lnTo>
                  <a:lnTo>
                    <a:pt x="4666" y="4123"/>
                  </a:lnTo>
                  <a:lnTo>
                    <a:pt x="5043" y="3725"/>
                  </a:lnTo>
                  <a:lnTo>
                    <a:pt x="5064" y="3558"/>
                  </a:lnTo>
                  <a:lnTo>
                    <a:pt x="5168" y="3474"/>
                  </a:lnTo>
                  <a:lnTo>
                    <a:pt x="5252" y="3474"/>
                  </a:lnTo>
                  <a:lnTo>
                    <a:pt x="5294" y="3286"/>
                  </a:lnTo>
                  <a:lnTo>
                    <a:pt x="5252" y="3202"/>
                  </a:lnTo>
                  <a:lnTo>
                    <a:pt x="5231" y="3139"/>
                  </a:lnTo>
                  <a:lnTo>
                    <a:pt x="5273" y="3056"/>
                  </a:lnTo>
                  <a:lnTo>
                    <a:pt x="5147" y="2972"/>
                  </a:lnTo>
                  <a:lnTo>
                    <a:pt x="5064" y="2825"/>
                  </a:lnTo>
                  <a:lnTo>
                    <a:pt x="5022" y="2742"/>
                  </a:lnTo>
                  <a:lnTo>
                    <a:pt x="4980" y="2470"/>
                  </a:lnTo>
                  <a:lnTo>
                    <a:pt x="5022" y="2365"/>
                  </a:lnTo>
                  <a:lnTo>
                    <a:pt x="5022" y="2323"/>
                  </a:lnTo>
                  <a:lnTo>
                    <a:pt x="4875" y="2135"/>
                  </a:lnTo>
                  <a:lnTo>
                    <a:pt x="4854" y="1947"/>
                  </a:lnTo>
                  <a:lnTo>
                    <a:pt x="4938" y="1821"/>
                  </a:lnTo>
                  <a:lnTo>
                    <a:pt x="5043" y="1779"/>
                  </a:lnTo>
                  <a:lnTo>
                    <a:pt x="5043" y="1403"/>
                  </a:lnTo>
                  <a:lnTo>
                    <a:pt x="4980" y="1361"/>
                  </a:lnTo>
                  <a:lnTo>
                    <a:pt x="4959" y="1214"/>
                  </a:lnTo>
                  <a:lnTo>
                    <a:pt x="4875" y="1089"/>
                  </a:lnTo>
                  <a:lnTo>
                    <a:pt x="4771" y="838"/>
                  </a:lnTo>
                  <a:lnTo>
                    <a:pt x="4750" y="775"/>
                  </a:lnTo>
                  <a:lnTo>
                    <a:pt x="4708" y="670"/>
                  </a:lnTo>
                  <a:lnTo>
                    <a:pt x="4708" y="545"/>
                  </a:lnTo>
                  <a:lnTo>
                    <a:pt x="4645" y="315"/>
                  </a:lnTo>
                  <a:lnTo>
                    <a:pt x="4561" y="315"/>
                  </a:lnTo>
                  <a:lnTo>
                    <a:pt x="4436" y="210"/>
                  </a:lnTo>
                  <a:lnTo>
                    <a:pt x="4310" y="231"/>
                  </a:lnTo>
                  <a:lnTo>
                    <a:pt x="3683" y="273"/>
                  </a:lnTo>
                  <a:lnTo>
                    <a:pt x="2950" y="231"/>
                  </a:lnTo>
                  <a:lnTo>
                    <a:pt x="2867" y="252"/>
                  </a:lnTo>
                  <a:lnTo>
                    <a:pt x="2678" y="440"/>
                  </a:lnTo>
                  <a:lnTo>
                    <a:pt x="2511" y="482"/>
                  </a:lnTo>
                  <a:lnTo>
                    <a:pt x="2469" y="440"/>
                  </a:lnTo>
                  <a:lnTo>
                    <a:pt x="2636" y="356"/>
                  </a:lnTo>
                  <a:lnTo>
                    <a:pt x="2783" y="210"/>
                  </a:lnTo>
                  <a:lnTo>
                    <a:pt x="2741" y="210"/>
                  </a:lnTo>
                  <a:lnTo>
                    <a:pt x="2616" y="315"/>
                  </a:lnTo>
                  <a:lnTo>
                    <a:pt x="2406" y="398"/>
                  </a:lnTo>
                  <a:lnTo>
                    <a:pt x="2134" y="356"/>
                  </a:lnTo>
                  <a:lnTo>
                    <a:pt x="2092" y="210"/>
                  </a:lnTo>
                  <a:lnTo>
                    <a:pt x="2134" y="126"/>
                  </a:lnTo>
                  <a:lnTo>
                    <a:pt x="2260" y="126"/>
                  </a:lnTo>
                  <a:lnTo>
                    <a:pt x="2323" y="168"/>
                  </a:lnTo>
                  <a:lnTo>
                    <a:pt x="2323" y="126"/>
                  </a:lnTo>
                  <a:lnTo>
                    <a:pt x="2155" y="43"/>
                  </a:lnTo>
                  <a:lnTo>
                    <a:pt x="188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39" name="Google Shape;2039;p66"/>
            <p:cNvSpPr/>
            <p:nvPr/>
          </p:nvSpPr>
          <p:spPr>
            <a:xfrm>
              <a:off x="3819089" y="2776036"/>
              <a:ext cx="50345" cy="20948"/>
            </a:xfrm>
            <a:custGeom>
              <a:avLst/>
              <a:gdLst/>
              <a:ahLst/>
              <a:cxnLst/>
              <a:rect l="l" t="t" r="r" b="b"/>
              <a:pathLst>
                <a:path w="4228" h="1842" extrusionOk="0">
                  <a:moveTo>
                    <a:pt x="1403" y="1"/>
                  </a:moveTo>
                  <a:lnTo>
                    <a:pt x="1319" y="63"/>
                  </a:lnTo>
                  <a:lnTo>
                    <a:pt x="1152" y="21"/>
                  </a:lnTo>
                  <a:lnTo>
                    <a:pt x="1152" y="126"/>
                  </a:lnTo>
                  <a:lnTo>
                    <a:pt x="1068" y="189"/>
                  </a:lnTo>
                  <a:lnTo>
                    <a:pt x="984" y="168"/>
                  </a:lnTo>
                  <a:lnTo>
                    <a:pt x="775" y="168"/>
                  </a:lnTo>
                  <a:lnTo>
                    <a:pt x="733" y="273"/>
                  </a:lnTo>
                  <a:lnTo>
                    <a:pt x="587" y="273"/>
                  </a:lnTo>
                  <a:lnTo>
                    <a:pt x="482" y="398"/>
                  </a:lnTo>
                  <a:lnTo>
                    <a:pt x="378" y="398"/>
                  </a:lnTo>
                  <a:lnTo>
                    <a:pt x="168" y="586"/>
                  </a:lnTo>
                  <a:lnTo>
                    <a:pt x="106" y="545"/>
                  </a:lnTo>
                  <a:lnTo>
                    <a:pt x="22" y="503"/>
                  </a:lnTo>
                  <a:lnTo>
                    <a:pt x="1" y="524"/>
                  </a:lnTo>
                  <a:lnTo>
                    <a:pt x="1" y="628"/>
                  </a:lnTo>
                  <a:lnTo>
                    <a:pt x="147" y="712"/>
                  </a:lnTo>
                  <a:lnTo>
                    <a:pt x="252" y="900"/>
                  </a:lnTo>
                  <a:lnTo>
                    <a:pt x="252" y="1047"/>
                  </a:lnTo>
                  <a:lnTo>
                    <a:pt x="273" y="1130"/>
                  </a:lnTo>
                  <a:lnTo>
                    <a:pt x="378" y="1172"/>
                  </a:lnTo>
                  <a:lnTo>
                    <a:pt x="587" y="1319"/>
                  </a:lnTo>
                  <a:lnTo>
                    <a:pt x="691" y="1382"/>
                  </a:lnTo>
                  <a:lnTo>
                    <a:pt x="942" y="1674"/>
                  </a:lnTo>
                  <a:lnTo>
                    <a:pt x="1005" y="1674"/>
                  </a:lnTo>
                  <a:lnTo>
                    <a:pt x="1298" y="1842"/>
                  </a:lnTo>
                  <a:lnTo>
                    <a:pt x="1361" y="1779"/>
                  </a:lnTo>
                  <a:lnTo>
                    <a:pt x="1507" y="1779"/>
                  </a:lnTo>
                  <a:lnTo>
                    <a:pt x="1528" y="1674"/>
                  </a:lnTo>
                  <a:lnTo>
                    <a:pt x="1591" y="1633"/>
                  </a:lnTo>
                  <a:lnTo>
                    <a:pt x="1633" y="1528"/>
                  </a:lnTo>
                  <a:lnTo>
                    <a:pt x="1738" y="1570"/>
                  </a:lnTo>
                  <a:lnTo>
                    <a:pt x="1947" y="1570"/>
                  </a:lnTo>
                  <a:lnTo>
                    <a:pt x="2114" y="1674"/>
                  </a:lnTo>
                  <a:lnTo>
                    <a:pt x="2261" y="1674"/>
                  </a:lnTo>
                  <a:lnTo>
                    <a:pt x="2428" y="1654"/>
                  </a:lnTo>
                  <a:lnTo>
                    <a:pt x="2512" y="1737"/>
                  </a:lnTo>
                  <a:lnTo>
                    <a:pt x="2742" y="1779"/>
                  </a:lnTo>
                  <a:lnTo>
                    <a:pt x="2763" y="1779"/>
                  </a:lnTo>
                  <a:lnTo>
                    <a:pt x="2888" y="1695"/>
                  </a:lnTo>
                  <a:lnTo>
                    <a:pt x="3035" y="1674"/>
                  </a:lnTo>
                  <a:lnTo>
                    <a:pt x="3077" y="1737"/>
                  </a:lnTo>
                  <a:lnTo>
                    <a:pt x="3307" y="1654"/>
                  </a:lnTo>
                  <a:lnTo>
                    <a:pt x="3516" y="1633"/>
                  </a:lnTo>
                  <a:lnTo>
                    <a:pt x="3683" y="1465"/>
                  </a:lnTo>
                  <a:lnTo>
                    <a:pt x="3830" y="1444"/>
                  </a:lnTo>
                  <a:lnTo>
                    <a:pt x="3976" y="1340"/>
                  </a:lnTo>
                  <a:lnTo>
                    <a:pt x="4227" y="1361"/>
                  </a:lnTo>
                  <a:lnTo>
                    <a:pt x="4186" y="1214"/>
                  </a:lnTo>
                  <a:lnTo>
                    <a:pt x="4102" y="1130"/>
                  </a:lnTo>
                  <a:lnTo>
                    <a:pt x="3935" y="1130"/>
                  </a:lnTo>
                  <a:lnTo>
                    <a:pt x="3893" y="1172"/>
                  </a:lnTo>
                  <a:lnTo>
                    <a:pt x="3809" y="1172"/>
                  </a:lnTo>
                  <a:lnTo>
                    <a:pt x="3683" y="1005"/>
                  </a:lnTo>
                  <a:lnTo>
                    <a:pt x="3349" y="733"/>
                  </a:lnTo>
                  <a:lnTo>
                    <a:pt x="3181" y="691"/>
                  </a:lnTo>
                  <a:lnTo>
                    <a:pt x="2951" y="733"/>
                  </a:lnTo>
                  <a:lnTo>
                    <a:pt x="2826" y="628"/>
                  </a:lnTo>
                  <a:lnTo>
                    <a:pt x="2867" y="524"/>
                  </a:lnTo>
                  <a:lnTo>
                    <a:pt x="2679" y="545"/>
                  </a:lnTo>
                  <a:lnTo>
                    <a:pt x="2428" y="398"/>
                  </a:lnTo>
                  <a:lnTo>
                    <a:pt x="2365" y="440"/>
                  </a:lnTo>
                  <a:lnTo>
                    <a:pt x="2512" y="607"/>
                  </a:lnTo>
                  <a:lnTo>
                    <a:pt x="2428" y="607"/>
                  </a:lnTo>
                  <a:lnTo>
                    <a:pt x="2365" y="649"/>
                  </a:lnTo>
                  <a:lnTo>
                    <a:pt x="2302" y="628"/>
                  </a:lnTo>
                  <a:lnTo>
                    <a:pt x="2302" y="524"/>
                  </a:lnTo>
                  <a:lnTo>
                    <a:pt x="2240" y="503"/>
                  </a:lnTo>
                  <a:lnTo>
                    <a:pt x="2219" y="419"/>
                  </a:lnTo>
                  <a:lnTo>
                    <a:pt x="2261" y="314"/>
                  </a:lnTo>
                  <a:lnTo>
                    <a:pt x="2198" y="231"/>
                  </a:lnTo>
                  <a:lnTo>
                    <a:pt x="2093" y="231"/>
                  </a:lnTo>
                  <a:lnTo>
                    <a:pt x="1989" y="126"/>
                  </a:lnTo>
                  <a:lnTo>
                    <a:pt x="2010" y="84"/>
                  </a:lnTo>
                  <a:lnTo>
                    <a:pt x="1779" y="21"/>
                  </a:lnTo>
                  <a:lnTo>
                    <a:pt x="1696" y="84"/>
                  </a:lnTo>
                  <a:lnTo>
                    <a:pt x="1612" y="63"/>
                  </a:lnTo>
                  <a:lnTo>
                    <a:pt x="1570" y="105"/>
                  </a:lnTo>
                  <a:lnTo>
                    <a:pt x="1507" y="21"/>
                  </a:lnTo>
                  <a:lnTo>
                    <a:pt x="1486" y="63"/>
                  </a:lnTo>
                  <a:lnTo>
                    <a:pt x="140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0" name="Google Shape;2040;p66"/>
            <p:cNvSpPr/>
            <p:nvPr/>
          </p:nvSpPr>
          <p:spPr>
            <a:xfrm>
              <a:off x="3779972" y="2741293"/>
              <a:ext cx="57323" cy="65449"/>
            </a:xfrm>
            <a:custGeom>
              <a:avLst/>
              <a:gdLst/>
              <a:ahLst/>
              <a:cxnLst/>
              <a:rect l="l" t="t" r="r" b="b"/>
              <a:pathLst>
                <a:path w="4814" h="5755" extrusionOk="0">
                  <a:moveTo>
                    <a:pt x="1340" y="1"/>
                  </a:moveTo>
                  <a:lnTo>
                    <a:pt x="1340" y="22"/>
                  </a:lnTo>
                  <a:lnTo>
                    <a:pt x="1340" y="126"/>
                  </a:lnTo>
                  <a:lnTo>
                    <a:pt x="1424" y="189"/>
                  </a:lnTo>
                  <a:lnTo>
                    <a:pt x="1466" y="189"/>
                  </a:lnTo>
                  <a:lnTo>
                    <a:pt x="1466" y="252"/>
                  </a:lnTo>
                  <a:lnTo>
                    <a:pt x="1612" y="377"/>
                  </a:lnTo>
                  <a:lnTo>
                    <a:pt x="1507" y="419"/>
                  </a:lnTo>
                  <a:lnTo>
                    <a:pt x="1403" y="419"/>
                  </a:lnTo>
                  <a:lnTo>
                    <a:pt x="1403" y="524"/>
                  </a:lnTo>
                  <a:lnTo>
                    <a:pt x="1507" y="461"/>
                  </a:lnTo>
                  <a:lnTo>
                    <a:pt x="1507" y="628"/>
                  </a:lnTo>
                  <a:lnTo>
                    <a:pt x="1612" y="670"/>
                  </a:lnTo>
                  <a:lnTo>
                    <a:pt x="1528" y="754"/>
                  </a:lnTo>
                  <a:lnTo>
                    <a:pt x="1528" y="838"/>
                  </a:lnTo>
                  <a:lnTo>
                    <a:pt x="1612" y="880"/>
                  </a:lnTo>
                  <a:lnTo>
                    <a:pt x="1738" y="880"/>
                  </a:lnTo>
                  <a:lnTo>
                    <a:pt x="1926" y="1068"/>
                  </a:lnTo>
                  <a:lnTo>
                    <a:pt x="2156" y="1172"/>
                  </a:lnTo>
                  <a:lnTo>
                    <a:pt x="1926" y="1131"/>
                  </a:lnTo>
                  <a:lnTo>
                    <a:pt x="1738" y="942"/>
                  </a:lnTo>
                  <a:lnTo>
                    <a:pt x="1612" y="963"/>
                  </a:lnTo>
                  <a:lnTo>
                    <a:pt x="1507" y="942"/>
                  </a:lnTo>
                  <a:lnTo>
                    <a:pt x="1424" y="942"/>
                  </a:lnTo>
                  <a:lnTo>
                    <a:pt x="1340" y="1068"/>
                  </a:lnTo>
                  <a:lnTo>
                    <a:pt x="1361" y="1152"/>
                  </a:lnTo>
                  <a:lnTo>
                    <a:pt x="1361" y="1340"/>
                  </a:lnTo>
                  <a:lnTo>
                    <a:pt x="1424" y="1444"/>
                  </a:lnTo>
                  <a:lnTo>
                    <a:pt x="1298" y="1277"/>
                  </a:lnTo>
                  <a:lnTo>
                    <a:pt x="1319" y="1152"/>
                  </a:lnTo>
                  <a:lnTo>
                    <a:pt x="1235" y="1068"/>
                  </a:lnTo>
                  <a:lnTo>
                    <a:pt x="1194" y="1089"/>
                  </a:lnTo>
                  <a:lnTo>
                    <a:pt x="1194" y="1172"/>
                  </a:lnTo>
                  <a:lnTo>
                    <a:pt x="1235" y="1277"/>
                  </a:lnTo>
                  <a:lnTo>
                    <a:pt x="1152" y="1361"/>
                  </a:lnTo>
                  <a:lnTo>
                    <a:pt x="1089" y="1235"/>
                  </a:lnTo>
                  <a:lnTo>
                    <a:pt x="1089" y="1089"/>
                  </a:lnTo>
                  <a:lnTo>
                    <a:pt x="942" y="1026"/>
                  </a:lnTo>
                  <a:lnTo>
                    <a:pt x="880" y="1047"/>
                  </a:lnTo>
                  <a:lnTo>
                    <a:pt x="608" y="1131"/>
                  </a:lnTo>
                  <a:lnTo>
                    <a:pt x="587" y="1235"/>
                  </a:lnTo>
                  <a:lnTo>
                    <a:pt x="629" y="1340"/>
                  </a:lnTo>
                  <a:lnTo>
                    <a:pt x="775" y="1361"/>
                  </a:lnTo>
                  <a:lnTo>
                    <a:pt x="796" y="1465"/>
                  </a:lnTo>
                  <a:lnTo>
                    <a:pt x="796" y="1486"/>
                  </a:lnTo>
                  <a:lnTo>
                    <a:pt x="733" y="1507"/>
                  </a:lnTo>
                  <a:lnTo>
                    <a:pt x="733" y="1591"/>
                  </a:lnTo>
                  <a:lnTo>
                    <a:pt x="691" y="1696"/>
                  </a:lnTo>
                  <a:lnTo>
                    <a:pt x="691" y="1800"/>
                  </a:lnTo>
                  <a:lnTo>
                    <a:pt x="608" y="1863"/>
                  </a:lnTo>
                  <a:lnTo>
                    <a:pt x="503" y="1800"/>
                  </a:lnTo>
                  <a:lnTo>
                    <a:pt x="461" y="1926"/>
                  </a:lnTo>
                  <a:lnTo>
                    <a:pt x="482" y="1988"/>
                  </a:lnTo>
                  <a:lnTo>
                    <a:pt x="608" y="1988"/>
                  </a:lnTo>
                  <a:lnTo>
                    <a:pt x="670" y="2030"/>
                  </a:lnTo>
                  <a:lnTo>
                    <a:pt x="629" y="2114"/>
                  </a:lnTo>
                  <a:lnTo>
                    <a:pt x="608" y="2240"/>
                  </a:lnTo>
                  <a:lnTo>
                    <a:pt x="524" y="2302"/>
                  </a:lnTo>
                  <a:lnTo>
                    <a:pt x="608" y="2407"/>
                  </a:lnTo>
                  <a:lnTo>
                    <a:pt x="524" y="2449"/>
                  </a:lnTo>
                  <a:lnTo>
                    <a:pt x="378" y="2407"/>
                  </a:lnTo>
                  <a:lnTo>
                    <a:pt x="210" y="2449"/>
                  </a:lnTo>
                  <a:lnTo>
                    <a:pt x="168" y="2553"/>
                  </a:lnTo>
                  <a:lnTo>
                    <a:pt x="85" y="2658"/>
                  </a:lnTo>
                  <a:lnTo>
                    <a:pt x="105" y="2825"/>
                  </a:lnTo>
                  <a:lnTo>
                    <a:pt x="85" y="3035"/>
                  </a:lnTo>
                  <a:lnTo>
                    <a:pt x="43" y="3139"/>
                  </a:lnTo>
                  <a:lnTo>
                    <a:pt x="43" y="3160"/>
                  </a:lnTo>
                  <a:lnTo>
                    <a:pt x="1" y="3244"/>
                  </a:lnTo>
                  <a:lnTo>
                    <a:pt x="85" y="3432"/>
                  </a:lnTo>
                  <a:lnTo>
                    <a:pt x="85" y="3474"/>
                  </a:lnTo>
                  <a:lnTo>
                    <a:pt x="168" y="3579"/>
                  </a:lnTo>
                  <a:lnTo>
                    <a:pt x="85" y="3746"/>
                  </a:lnTo>
                  <a:lnTo>
                    <a:pt x="147" y="3746"/>
                  </a:lnTo>
                  <a:lnTo>
                    <a:pt x="273" y="3913"/>
                  </a:lnTo>
                  <a:lnTo>
                    <a:pt x="294" y="4060"/>
                  </a:lnTo>
                  <a:lnTo>
                    <a:pt x="357" y="4102"/>
                  </a:lnTo>
                  <a:lnTo>
                    <a:pt x="357" y="4290"/>
                  </a:lnTo>
                  <a:lnTo>
                    <a:pt x="461" y="4374"/>
                  </a:lnTo>
                  <a:lnTo>
                    <a:pt x="461" y="4437"/>
                  </a:lnTo>
                  <a:lnTo>
                    <a:pt x="566" y="4520"/>
                  </a:lnTo>
                  <a:lnTo>
                    <a:pt x="629" y="4478"/>
                  </a:lnTo>
                  <a:lnTo>
                    <a:pt x="733" y="4478"/>
                  </a:lnTo>
                  <a:lnTo>
                    <a:pt x="817" y="4520"/>
                  </a:lnTo>
                  <a:lnTo>
                    <a:pt x="922" y="4478"/>
                  </a:lnTo>
                  <a:lnTo>
                    <a:pt x="1047" y="4541"/>
                  </a:lnTo>
                  <a:lnTo>
                    <a:pt x="1152" y="4541"/>
                  </a:lnTo>
                  <a:lnTo>
                    <a:pt x="1298" y="4625"/>
                  </a:lnTo>
                  <a:lnTo>
                    <a:pt x="1152" y="4750"/>
                  </a:lnTo>
                  <a:lnTo>
                    <a:pt x="1089" y="4918"/>
                  </a:lnTo>
                  <a:lnTo>
                    <a:pt x="1089" y="5022"/>
                  </a:lnTo>
                  <a:lnTo>
                    <a:pt x="1005" y="5106"/>
                  </a:lnTo>
                  <a:lnTo>
                    <a:pt x="942" y="5273"/>
                  </a:lnTo>
                  <a:lnTo>
                    <a:pt x="942" y="5441"/>
                  </a:lnTo>
                  <a:lnTo>
                    <a:pt x="1047" y="5525"/>
                  </a:lnTo>
                  <a:lnTo>
                    <a:pt x="1110" y="5629"/>
                  </a:lnTo>
                  <a:lnTo>
                    <a:pt x="1214" y="5650"/>
                  </a:lnTo>
                  <a:lnTo>
                    <a:pt x="1319" y="5587"/>
                  </a:lnTo>
                  <a:lnTo>
                    <a:pt x="1445" y="5650"/>
                  </a:lnTo>
                  <a:lnTo>
                    <a:pt x="1507" y="5566"/>
                  </a:lnTo>
                  <a:lnTo>
                    <a:pt x="1466" y="5525"/>
                  </a:lnTo>
                  <a:lnTo>
                    <a:pt x="1612" y="5462"/>
                  </a:lnTo>
                  <a:lnTo>
                    <a:pt x="1633" y="5566"/>
                  </a:lnTo>
                  <a:lnTo>
                    <a:pt x="1717" y="5587"/>
                  </a:lnTo>
                  <a:lnTo>
                    <a:pt x="1758" y="5545"/>
                  </a:lnTo>
                  <a:lnTo>
                    <a:pt x="1842" y="5545"/>
                  </a:lnTo>
                  <a:lnTo>
                    <a:pt x="1989" y="5671"/>
                  </a:lnTo>
                  <a:lnTo>
                    <a:pt x="2072" y="5692"/>
                  </a:lnTo>
                  <a:lnTo>
                    <a:pt x="2093" y="5692"/>
                  </a:lnTo>
                  <a:lnTo>
                    <a:pt x="2156" y="5671"/>
                  </a:lnTo>
                  <a:lnTo>
                    <a:pt x="2261" y="5629"/>
                  </a:lnTo>
                  <a:lnTo>
                    <a:pt x="2344" y="5734"/>
                  </a:lnTo>
                  <a:lnTo>
                    <a:pt x="2491" y="5755"/>
                  </a:lnTo>
                  <a:lnTo>
                    <a:pt x="2512" y="5692"/>
                  </a:lnTo>
                  <a:lnTo>
                    <a:pt x="2512" y="5629"/>
                  </a:lnTo>
                  <a:lnTo>
                    <a:pt x="2826" y="5629"/>
                  </a:lnTo>
                  <a:lnTo>
                    <a:pt x="2909" y="5692"/>
                  </a:lnTo>
                  <a:lnTo>
                    <a:pt x="3014" y="5671"/>
                  </a:lnTo>
                  <a:lnTo>
                    <a:pt x="3098" y="5692"/>
                  </a:lnTo>
                  <a:lnTo>
                    <a:pt x="3202" y="5671"/>
                  </a:lnTo>
                  <a:lnTo>
                    <a:pt x="3391" y="5545"/>
                  </a:lnTo>
                  <a:lnTo>
                    <a:pt x="3453" y="5545"/>
                  </a:lnTo>
                  <a:lnTo>
                    <a:pt x="3600" y="5566"/>
                  </a:lnTo>
                  <a:lnTo>
                    <a:pt x="3725" y="5545"/>
                  </a:lnTo>
                  <a:lnTo>
                    <a:pt x="3851" y="5629"/>
                  </a:lnTo>
                  <a:lnTo>
                    <a:pt x="3935" y="5566"/>
                  </a:lnTo>
                  <a:lnTo>
                    <a:pt x="3914" y="5462"/>
                  </a:lnTo>
                  <a:lnTo>
                    <a:pt x="3746" y="5378"/>
                  </a:lnTo>
                  <a:lnTo>
                    <a:pt x="3746" y="5315"/>
                  </a:lnTo>
                  <a:lnTo>
                    <a:pt x="3914" y="5127"/>
                  </a:lnTo>
                  <a:lnTo>
                    <a:pt x="4039" y="5043"/>
                  </a:lnTo>
                  <a:lnTo>
                    <a:pt x="4123" y="4939"/>
                  </a:lnTo>
                  <a:lnTo>
                    <a:pt x="4186" y="4939"/>
                  </a:lnTo>
                  <a:lnTo>
                    <a:pt x="4186" y="4834"/>
                  </a:lnTo>
                  <a:lnTo>
                    <a:pt x="4227" y="4729"/>
                  </a:lnTo>
                  <a:lnTo>
                    <a:pt x="3976" y="4437"/>
                  </a:lnTo>
                  <a:lnTo>
                    <a:pt x="3872" y="4374"/>
                  </a:lnTo>
                  <a:lnTo>
                    <a:pt x="3663" y="4227"/>
                  </a:lnTo>
                  <a:lnTo>
                    <a:pt x="3558" y="4185"/>
                  </a:lnTo>
                  <a:lnTo>
                    <a:pt x="3537" y="4102"/>
                  </a:lnTo>
                  <a:lnTo>
                    <a:pt x="3537" y="3955"/>
                  </a:lnTo>
                  <a:lnTo>
                    <a:pt x="3432" y="3767"/>
                  </a:lnTo>
                  <a:lnTo>
                    <a:pt x="3286" y="3683"/>
                  </a:lnTo>
                  <a:lnTo>
                    <a:pt x="3286" y="3579"/>
                  </a:lnTo>
                  <a:lnTo>
                    <a:pt x="3307" y="3558"/>
                  </a:lnTo>
                  <a:lnTo>
                    <a:pt x="3391" y="3600"/>
                  </a:lnTo>
                  <a:lnTo>
                    <a:pt x="3453" y="3641"/>
                  </a:lnTo>
                  <a:lnTo>
                    <a:pt x="3663" y="3453"/>
                  </a:lnTo>
                  <a:lnTo>
                    <a:pt x="3767" y="3453"/>
                  </a:lnTo>
                  <a:lnTo>
                    <a:pt x="3872" y="3328"/>
                  </a:lnTo>
                  <a:lnTo>
                    <a:pt x="4018" y="3328"/>
                  </a:lnTo>
                  <a:lnTo>
                    <a:pt x="4060" y="3223"/>
                  </a:lnTo>
                  <a:lnTo>
                    <a:pt x="4269" y="3223"/>
                  </a:lnTo>
                  <a:lnTo>
                    <a:pt x="4353" y="3244"/>
                  </a:lnTo>
                  <a:lnTo>
                    <a:pt x="4437" y="3181"/>
                  </a:lnTo>
                  <a:lnTo>
                    <a:pt x="4437" y="3076"/>
                  </a:lnTo>
                  <a:lnTo>
                    <a:pt x="4604" y="3118"/>
                  </a:lnTo>
                  <a:lnTo>
                    <a:pt x="4688" y="3056"/>
                  </a:lnTo>
                  <a:lnTo>
                    <a:pt x="4771" y="3118"/>
                  </a:lnTo>
                  <a:lnTo>
                    <a:pt x="4792" y="3076"/>
                  </a:lnTo>
                  <a:lnTo>
                    <a:pt x="4813" y="3035"/>
                  </a:lnTo>
                  <a:lnTo>
                    <a:pt x="4813" y="2721"/>
                  </a:lnTo>
                  <a:lnTo>
                    <a:pt x="4751" y="2637"/>
                  </a:lnTo>
                  <a:lnTo>
                    <a:pt x="4667" y="2595"/>
                  </a:lnTo>
                  <a:lnTo>
                    <a:pt x="4562" y="2344"/>
                  </a:lnTo>
                  <a:lnTo>
                    <a:pt x="4604" y="2240"/>
                  </a:lnTo>
                  <a:lnTo>
                    <a:pt x="4562" y="2114"/>
                  </a:lnTo>
                  <a:lnTo>
                    <a:pt x="4562" y="2030"/>
                  </a:lnTo>
                  <a:lnTo>
                    <a:pt x="4479" y="1926"/>
                  </a:lnTo>
                  <a:lnTo>
                    <a:pt x="4499" y="1821"/>
                  </a:lnTo>
                  <a:lnTo>
                    <a:pt x="4332" y="1612"/>
                  </a:lnTo>
                  <a:lnTo>
                    <a:pt x="4332" y="1549"/>
                  </a:lnTo>
                  <a:lnTo>
                    <a:pt x="4479" y="1465"/>
                  </a:lnTo>
                  <a:lnTo>
                    <a:pt x="4499" y="1277"/>
                  </a:lnTo>
                  <a:lnTo>
                    <a:pt x="4458" y="1026"/>
                  </a:lnTo>
                  <a:lnTo>
                    <a:pt x="4353" y="1026"/>
                  </a:lnTo>
                  <a:lnTo>
                    <a:pt x="4269" y="963"/>
                  </a:lnTo>
                  <a:lnTo>
                    <a:pt x="4165" y="963"/>
                  </a:lnTo>
                  <a:lnTo>
                    <a:pt x="4060" y="880"/>
                  </a:lnTo>
                  <a:lnTo>
                    <a:pt x="4081" y="775"/>
                  </a:lnTo>
                  <a:lnTo>
                    <a:pt x="4039" y="670"/>
                  </a:lnTo>
                  <a:lnTo>
                    <a:pt x="3914" y="712"/>
                  </a:lnTo>
                  <a:lnTo>
                    <a:pt x="3767" y="545"/>
                  </a:lnTo>
                  <a:lnTo>
                    <a:pt x="3663" y="545"/>
                  </a:lnTo>
                  <a:lnTo>
                    <a:pt x="3621" y="461"/>
                  </a:lnTo>
                  <a:lnTo>
                    <a:pt x="3558" y="503"/>
                  </a:lnTo>
                  <a:lnTo>
                    <a:pt x="3432" y="524"/>
                  </a:lnTo>
                  <a:lnTo>
                    <a:pt x="3328" y="608"/>
                  </a:lnTo>
                  <a:lnTo>
                    <a:pt x="3286" y="545"/>
                  </a:lnTo>
                  <a:lnTo>
                    <a:pt x="3349" y="503"/>
                  </a:lnTo>
                  <a:lnTo>
                    <a:pt x="3349" y="524"/>
                  </a:lnTo>
                  <a:lnTo>
                    <a:pt x="3411" y="461"/>
                  </a:lnTo>
                  <a:lnTo>
                    <a:pt x="3516" y="419"/>
                  </a:lnTo>
                  <a:lnTo>
                    <a:pt x="3391" y="419"/>
                  </a:lnTo>
                  <a:lnTo>
                    <a:pt x="3328" y="440"/>
                  </a:lnTo>
                  <a:lnTo>
                    <a:pt x="3307" y="503"/>
                  </a:lnTo>
                  <a:lnTo>
                    <a:pt x="3202" y="545"/>
                  </a:lnTo>
                  <a:lnTo>
                    <a:pt x="3202" y="608"/>
                  </a:lnTo>
                  <a:lnTo>
                    <a:pt x="2993" y="628"/>
                  </a:lnTo>
                  <a:lnTo>
                    <a:pt x="2909" y="733"/>
                  </a:lnTo>
                  <a:lnTo>
                    <a:pt x="2888" y="838"/>
                  </a:lnTo>
                  <a:lnTo>
                    <a:pt x="2763" y="838"/>
                  </a:lnTo>
                  <a:lnTo>
                    <a:pt x="2721" y="775"/>
                  </a:lnTo>
                  <a:lnTo>
                    <a:pt x="2616" y="754"/>
                  </a:lnTo>
                  <a:lnTo>
                    <a:pt x="2574" y="775"/>
                  </a:lnTo>
                  <a:lnTo>
                    <a:pt x="2407" y="733"/>
                  </a:lnTo>
                  <a:lnTo>
                    <a:pt x="2512" y="670"/>
                  </a:lnTo>
                  <a:lnTo>
                    <a:pt x="2595" y="670"/>
                  </a:lnTo>
                  <a:lnTo>
                    <a:pt x="2679" y="608"/>
                  </a:lnTo>
                  <a:lnTo>
                    <a:pt x="2679" y="503"/>
                  </a:lnTo>
                  <a:lnTo>
                    <a:pt x="2616" y="461"/>
                  </a:lnTo>
                  <a:lnTo>
                    <a:pt x="2512" y="545"/>
                  </a:lnTo>
                  <a:lnTo>
                    <a:pt x="2491" y="566"/>
                  </a:lnTo>
                  <a:lnTo>
                    <a:pt x="2365" y="461"/>
                  </a:lnTo>
                  <a:lnTo>
                    <a:pt x="2302" y="419"/>
                  </a:lnTo>
                  <a:lnTo>
                    <a:pt x="2261" y="440"/>
                  </a:lnTo>
                  <a:lnTo>
                    <a:pt x="2240" y="524"/>
                  </a:lnTo>
                  <a:lnTo>
                    <a:pt x="2135" y="566"/>
                  </a:lnTo>
                  <a:lnTo>
                    <a:pt x="2093" y="461"/>
                  </a:lnTo>
                  <a:lnTo>
                    <a:pt x="2030" y="440"/>
                  </a:lnTo>
                  <a:lnTo>
                    <a:pt x="1968" y="377"/>
                  </a:lnTo>
                  <a:lnTo>
                    <a:pt x="2051" y="335"/>
                  </a:lnTo>
                  <a:lnTo>
                    <a:pt x="2093" y="210"/>
                  </a:lnTo>
                  <a:lnTo>
                    <a:pt x="1989" y="189"/>
                  </a:lnTo>
                  <a:lnTo>
                    <a:pt x="1863" y="84"/>
                  </a:lnTo>
                  <a:lnTo>
                    <a:pt x="1758" y="84"/>
                  </a:lnTo>
                  <a:lnTo>
                    <a:pt x="1717" y="43"/>
                  </a:lnTo>
                  <a:lnTo>
                    <a:pt x="150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1" name="Google Shape;2041;p66"/>
            <p:cNvSpPr/>
            <p:nvPr/>
          </p:nvSpPr>
          <p:spPr>
            <a:xfrm>
              <a:off x="3764778" y="2755577"/>
              <a:ext cx="24672" cy="21426"/>
            </a:xfrm>
            <a:custGeom>
              <a:avLst/>
              <a:gdLst/>
              <a:ahLst/>
              <a:cxnLst/>
              <a:rect l="l" t="t" r="r" b="b"/>
              <a:pathLst>
                <a:path w="2072" h="1884" extrusionOk="0">
                  <a:moveTo>
                    <a:pt x="1695" y="0"/>
                  </a:moveTo>
                  <a:lnTo>
                    <a:pt x="1549" y="21"/>
                  </a:lnTo>
                  <a:lnTo>
                    <a:pt x="1444" y="126"/>
                  </a:lnTo>
                  <a:lnTo>
                    <a:pt x="1340" y="84"/>
                  </a:lnTo>
                  <a:lnTo>
                    <a:pt x="1277" y="126"/>
                  </a:lnTo>
                  <a:lnTo>
                    <a:pt x="1130" y="126"/>
                  </a:lnTo>
                  <a:lnTo>
                    <a:pt x="1005" y="251"/>
                  </a:lnTo>
                  <a:lnTo>
                    <a:pt x="796" y="398"/>
                  </a:lnTo>
                  <a:lnTo>
                    <a:pt x="754" y="335"/>
                  </a:lnTo>
                  <a:lnTo>
                    <a:pt x="628" y="398"/>
                  </a:lnTo>
                  <a:lnTo>
                    <a:pt x="628" y="544"/>
                  </a:lnTo>
                  <a:lnTo>
                    <a:pt x="524" y="628"/>
                  </a:lnTo>
                  <a:lnTo>
                    <a:pt x="545" y="753"/>
                  </a:lnTo>
                  <a:lnTo>
                    <a:pt x="524" y="879"/>
                  </a:lnTo>
                  <a:lnTo>
                    <a:pt x="482" y="984"/>
                  </a:lnTo>
                  <a:lnTo>
                    <a:pt x="440" y="1046"/>
                  </a:lnTo>
                  <a:lnTo>
                    <a:pt x="335" y="1130"/>
                  </a:lnTo>
                  <a:lnTo>
                    <a:pt x="335" y="1193"/>
                  </a:lnTo>
                  <a:lnTo>
                    <a:pt x="482" y="1339"/>
                  </a:lnTo>
                  <a:lnTo>
                    <a:pt x="607" y="1360"/>
                  </a:lnTo>
                  <a:lnTo>
                    <a:pt x="482" y="1360"/>
                  </a:lnTo>
                  <a:lnTo>
                    <a:pt x="419" y="1402"/>
                  </a:lnTo>
                  <a:lnTo>
                    <a:pt x="377" y="1444"/>
                  </a:lnTo>
                  <a:lnTo>
                    <a:pt x="419" y="1507"/>
                  </a:lnTo>
                  <a:lnTo>
                    <a:pt x="503" y="1507"/>
                  </a:lnTo>
                  <a:lnTo>
                    <a:pt x="503" y="1569"/>
                  </a:lnTo>
                  <a:lnTo>
                    <a:pt x="398" y="1569"/>
                  </a:lnTo>
                  <a:lnTo>
                    <a:pt x="293" y="1486"/>
                  </a:lnTo>
                  <a:lnTo>
                    <a:pt x="189" y="1444"/>
                  </a:lnTo>
                  <a:lnTo>
                    <a:pt x="105" y="1465"/>
                  </a:lnTo>
                  <a:lnTo>
                    <a:pt x="126" y="1507"/>
                  </a:lnTo>
                  <a:lnTo>
                    <a:pt x="210" y="1548"/>
                  </a:lnTo>
                  <a:lnTo>
                    <a:pt x="314" y="1611"/>
                  </a:lnTo>
                  <a:lnTo>
                    <a:pt x="335" y="1590"/>
                  </a:lnTo>
                  <a:lnTo>
                    <a:pt x="440" y="1674"/>
                  </a:lnTo>
                  <a:lnTo>
                    <a:pt x="335" y="1611"/>
                  </a:lnTo>
                  <a:lnTo>
                    <a:pt x="273" y="1653"/>
                  </a:lnTo>
                  <a:lnTo>
                    <a:pt x="105" y="1590"/>
                  </a:lnTo>
                  <a:lnTo>
                    <a:pt x="1" y="1590"/>
                  </a:lnTo>
                  <a:lnTo>
                    <a:pt x="84" y="1611"/>
                  </a:lnTo>
                  <a:lnTo>
                    <a:pt x="126" y="1695"/>
                  </a:lnTo>
                  <a:lnTo>
                    <a:pt x="210" y="1695"/>
                  </a:lnTo>
                  <a:lnTo>
                    <a:pt x="293" y="1758"/>
                  </a:lnTo>
                  <a:lnTo>
                    <a:pt x="335" y="1695"/>
                  </a:lnTo>
                  <a:lnTo>
                    <a:pt x="440" y="1674"/>
                  </a:lnTo>
                  <a:lnTo>
                    <a:pt x="482" y="1653"/>
                  </a:lnTo>
                  <a:lnTo>
                    <a:pt x="545" y="1653"/>
                  </a:lnTo>
                  <a:lnTo>
                    <a:pt x="586" y="1548"/>
                  </a:lnTo>
                  <a:lnTo>
                    <a:pt x="796" y="1548"/>
                  </a:lnTo>
                  <a:lnTo>
                    <a:pt x="837" y="1611"/>
                  </a:lnTo>
                  <a:lnTo>
                    <a:pt x="942" y="1611"/>
                  </a:lnTo>
                  <a:lnTo>
                    <a:pt x="1005" y="1695"/>
                  </a:lnTo>
                  <a:lnTo>
                    <a:pt x="1151" y="1695"/>
                  </a:lnTo>
                  <a:lnTo>
                    <a:pt x="1214" y="1779"/>
                  </a:lnTo>
                  <a:lnTo>
                    <a:pt x="1214" y="1862"/>
                  </a:lnTo>
                  <a:lnTo>
                    <a:pt x="1319" y="1883"/>
                  </a:lnTo>
                  <a:lnTo>
                    <a:pt x="1361" y="1779"/>
                  </a:lnTo>
                  <a:lnTo>
                    <a:pt x="1381" y="1569"/>
                  </a:lnTo>
                  <a:lnTo>
                    <a:pt x="1361" y="1402"/>
                  </a:lnTo>
                  <a:lnTo>
                    <a:pt x="1444" y="1297"/>
                  </a:lnTo>
                  <a:lnTo>
                    <a:pt x="1486" y="1193"/>
                  </a:lnTo>
                  <a:lnTo>
                    <a:pt x="1654" y="1151"/>
                  </a:lnTo>
                  <a:lnTo>
                    <a:pt x="1800" y="1193"/>
                  </a:lnTo>
                  <a:lnTo>
                    <a:pt x="1884" y="1151"/>
                  </a:lnTo>
                  <a:lnTo>
                    <a:pt x="1800" y="1046"/>
                  </a:lnTo>
                  <a:lnTo>
                    <a:pt x="1884" y="984"/>
                  </a:lnTo>
                  <a:lnTo>
                    <a:pt x="1905" y="858"/>
                  </a:lnTo>
                  <a:lnTo>
                    <a:pt x="1946" y="774"/>
                  </a:lnTo>
                  <a:lnTo>
                    <a:pt x="1884" y="732"/>
                  </a:lnTo>
                  <a:lnTo>
                    <a:pt x="1758" y="732"/>
                  </a:lnTo>
                  <a:lnTo>
                    <a:pt x="1737" y="670"/>
                  </a:lnTo>
                  <a:lnTo>
                    <a:pt x="1779" y="544"/>
                  </a:lnTo>
                  <a:lnTo>
                    <a:pt x="1884" y="607"/>
                  </a:lnTo>
                  <a:lnTo>
                    <a:pt x="1967" y="544"/>
                  </a:lnTo>
                  <a:lnTo>
                    <a:pt x="1967" y="440"/>
                  </a:lnTo>
                  <a:lnTo>
                    <a:pt x="2009" y="335"/>
                  </a:lnTo>
                  <a:lnTo>
                    <a:pt x="2009" y="251"/>
                  </a:lnTo>
                  <a:lnTo>
                    <a:pt x="2072" y="230"/>
                  </a:lnTo>
                  <a:lnTo>
                    <a:pt x="2072" y="209"/>
                  </a:lnTo>
                  <a:lnTo>
                    <a:pt x="1967" y="147"/>
                  </a:lnTo>
                  <a:lnTo>
                    <a:pt x="1863" y="84"/>
                  </a:lnTo>
                  <a:lnTo>
                    <a:pt x="169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2" name="Google Shape;2042;p66"/>
            <p:cNvSpPr/>
            <p:nvPr/>
          </p:nvSpPr>
          <p:spPr>
            <a:xfrm>
              <a:off x="3762540" y="2773181"/>
              <a:ext cx="19445" cy="15956"/>
            </a:xfrm>
            <a:custGeom>
              <a:avLst/>
              <a:gdLst/>
              <a:ahLst/>
              <a:cxnLst/>
              <a:rect l="l" t="t" r="r" b="b"/>
              <a:pathLst>
                <a:path w="1633" h="1403" extrusionOk="0">
                  <a:moveTo>
                    <a:pt x="774" y="0"/>
                  </a:moveTo>
                  <a:lnTo>
                    <a:pt x="733" y="105"/>
                  </a:lnTo>
                  <a:lnTo>
                    <a:pt x="670" y="105"/>
                  </a:lnTo>
                  <a:lnTo>
                    <a:pt x="628" y="126"/>
                  </a:lnTo>
                  <a:lnTo>
                    <a:pt x="523" y="147"/>
                  </a:lnTo>
                  <a:lnTo>
                    <a:pt x="481" y="210"/>
                  </a:lnTo>
                  <a:lnTo>
                    <a:pt x="398" y="147"/>
                  </a:lnTo>
                  <a:lnTo>
                    <a:pt x="314" y="147"/>
                  </a:lnTo>
                  <a:lnTo>
                    <a:pt x="272" y="63"/>
                  </a:lnTo>
                  <a:lnTo>
                    <a:pt x="189" y="42"/>
                  </a:lnTo>
                  <a:lnTo>
                    <a:pt x="84" y="126"/>
                  </a:lnTo>
                  <a:lnTo>
                    <a:pt x="0" y="272"/>
                  </a:lnTo>
                  <a:lnTo>
                    <a:pt x="63" y="335"/>
                  </a:lnTo>
                  <a:lnTo>
                    <a:pt x="84" y="524"/>
                  </a:lnTo>
                  <a:lnTo>
                    <a:pt x="209" y="565"/>
                  </a:lnTo>
                  <a:lnTo>
                    <a:pt x="251" y="670"/>
                  </a:lnTo>
                  <a:lnTo>
                    <a:pt x="398" y="796"/>
                  </a:lnTo>
                  <a:lnTo>
                    <a:pt x="481" y="796"/>
                  </a:lnTo>
                  <a:lnTo>
                    <a:pt x="565" y="858"/>
                  </a:lnTo>
                  <a:lnTo>
                    <a:pt x="628" y="879"/>
                  </a:lnTo>
                  <a:lnTo>
                    <a:pt x="628" y="1047"/>
                  </a:lnTo>
                  <a:lnTo>
                    <a:pt x="774" y="1109"/>
                  </a:lnTo>
                  <a:lnTo>
                    <a:pt x="816" y="1068"/>
                  </a:lnTo>
                  <a:lnTo>
                    <a:pt x="900" y="1068"/>
                  </a:lnTo>
                  <a:lnTo>
                    <a:pt x="942" y="1109"/>
                  </a:lnTo>
                  <a:lnTo>
                    <a:pt x="1025" y="1151"/>
                  </a:lnTo>
                  <a:lnTo>
                    <a:pt x="1151" y="1298"/>
                  </a:lnTo>
                  <a:lnTo>
                    <a:pt x="1256" y="1319"/>
                  </a:lnTo>
                  <a:lnTo>
                    <a:pt x="1360" y="1402"/>
                  </a:lnTo>
                  <a:lnTo>
                    <a:pt x="1423" y="1361"/>
                  </a:lnTo>
                  <a:lnTo>
                    <a:pt x="1507" y="1361"/>
                  </a:lnTo>
                  <a:lnTo>
                    <a:pt x="1507" y="1298"/>
                  </a:lnTo>
                  <a:lnTo>
                    <a:pt x="1444" y="1256"/>
                  </a:lnTo>
                  <a:lnTo>
                    <a:pt x="1444" y="1172"/>
                  </a:lnTo>
                  <a:lnTo>
                    <a:pt x="1423" y="1109"/>
                  </a:lnTo>
                  <a:lnTo>
                    <a:pt x="1465" y="1047"/>
                  </a:lnTo>
                  <a:lnTo>
                    <a:pt x="1528" y="942"/>
                  </a:lnTo>
                  <a:lnTo>
                    <a:pt x="1549" y="942"/>
                  </a:lnTo>
                  <a:lnTo>
                    <a:pt x="1632" y="775"/>
                  </a:lnTo>
                  <a:lnTo>
                    <a:pt x="1549" y="670"/>
                  </a:lnTo>
                  <a:lnTo>
                    <a:pt x="1549" y="628"/>
                  </a:lnTo>
                  <a:lnTo>
                    <a:pt x="1465" y="440"/>
                  </a:lnTo>
                  <a:lnTo>
                    <a:pt x="1507" y="356"/>
                  </a:lnTo>
                  <a:lnTo>
                    <a:pt x="1507" y="335"/>
                  </a:lnTo>
                  <a:lnTo>
                    <a:pt x="1402" y="314"/>
                  </a:lnTo>
                  <a:lnTo>
                    <a:pt x="1402" y="231"/>
                  </a:lnTo>
                  <a:lnTo>
                    <a:pt x="1339" y="147"/>
                  </a:lnTo>
                  <a:lnTo>
                    <a:pt x="1193" y="147"/>
                  </a:lnTo>
                  <a:lnTo>
                    <a:pt x="1130" y="63"/>
                  </a:lnTo>
                  <a:lnTo>
                    <a:pt x="1025" y="63"/>
                  </a:lnTo>
                  <a:lnTo>
                    <a:pt x="984"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3" name="Google Shape;2043;p66"/>
            <p:cNvSpPr/>
            <p:nvPr/>
          </p:nvSpPr>
          <p:spPr>
            <a:xfrm>
              <a:off x="3779484" y="2783894"/>
              <a:ext cx="4739" cy="6425"/>
            </a:xfrm>
            <a:custGeom>
              <a:avLst/>
              <a:gdLst/>
              <a:ahLst/>
              <a:cxnLst/>
              <a:rect l="l" t="t" r="r" b="b"/>
              <a:pathLst>
                <a:path w="398" h="565" extrusionOk="0">
                  <a:moveTo>
                    <a:pt x="105" y="0"/>
                  </a:moveTo>
                  <a:lnTo>
                    <a:pt x="42" y="105"/>
                  </a:lnTo>
                  <a:lnTo>
                    <a:pt x="0" y="167"/>
                  </a:lnTo>
                  <a:lnTo>
                    <a:pt x="21" y="230"/>
                  </a:lnTo>
                  <a:lnTo>
                    <a:pt x="21" y="314"/>
                  </a:lnTo>
                  <a:lnTo>
                    <a:pt x="84" y="356"/>
                  </a:lnTo>
                  <a:lnTo>
                    <a:pt x="84" y="419"/>
                  </a:lnTo>
                  <a:lnTo>
                    <a:pt x="105" y="419"/>
                  </a:lnTo>
                  <a:lnTo>
                    <a:pt x="146" y="523"/>
                  </a:lnTo>
                  <a:lnTo>
                    <a:pt x="314" y="565"/>
                  </a:lnTo>
                  <a:lnTo>
                    <a:pt x="398" y="544"/>
                  </a:lnTo>
                  <a:lnTo>
                    <a:pt x="398" y="356"/>
                  </a:lnTo>
                  <a:lnTo>
                    <a:pt x="335" y="314"/>
                  </a:lnTo>
                  <a:lnTo>
                    <a:pt x="314" y="167"/>
                  </a:lnTo>
                  <a:lnTo>
                    <a:pt x="188"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4" name="Google Shape;2044;p66"/>
            <p:cNvSpPr/>
            <p:nvPr/>
          </p:nvSpPr>
          <p:spPr>
            <a:xfrm>
              <a:off x="3681319" y="2737017"/>
              <a:ext cx="27661" cy="34982"/>
            </a:xfrm>
            <a:custGeom>
              <a:avLst/>
              <a:gdLst/>
              <a:ahLst/>
              <a:cxnLst/>
              <a:rect l="l" t="t" r="r" b="b"/>
              <a:pathLst>
                <a:path w="2323" h="3076" extrusionOk="0">
                  <a:moveTo>
                    <a:pt x="1737" y="0"/>
                  </a:moveTo>
                  <a:lnTo>
                    <a:pt x="1779" y="84"/>
                  </a:lnTo>
                  <a:lnTo>
                    <a:pt x="1653" y="84"/>
                  </a:lnTo>
                  <a:lnTo>
                    <a:pt x="1674" y="209"/>
                  </a:lnTo>
                  <a:lnTo>
                    <a:pt x="1590" y="314"/>
                  </a:lnTo>
                  <a:lnTo>
                    <a:pt x="1590" y="230"/>
                  </a:lnTo>
                  <a:lnTo>
                    <a:pt x="1653" y="188"/>
                  </a:lnTo>
                  <a:lnTo>
                    <a:pt x="1590" y="84"/>
                  </a:lnTo>
                  <a:lnTo>
                    <a:pt x="1528" y="105"/>
                  </a:lnTo>
                  <a:lnTo>
                    <a:pt x="1569" y="167"/>
                  </a:lnTo>
                  <a:lnTo>
                    <a:pt x="1465" y="188"/>
                  </a:lnTo>
                  <a:lnTo>
                    <a:pt x="1423" y="147"/>
                  </a:lnTo>
                  <a:lnTo>
                    <a:pt x="1256" y="167"/>
                  </a:lnTo>
                  <a:lnTo>
                    <a:pt x="1256" y="230"/>
                  </a:lnTo>
                  <a:lnTo>
                    <a:pt x="1214" y="230"/>
                  </a:lnTo>
                  <a:lnTo>
                    <a:pt x="1172" y="356"/>
                  </a:lnTo>
                  <a:lnTo>
                    <a:pt x="1256" y="377"/>
                  </a:lnTo>
                  <a:lnTo>
                    <a:pt x="1235" y="419"/>
                  </a:lnTo>
                  <a:lnTo>
                    <a:pt x="1151" y="419"/>
                  </a:lnTo>
                  <a:lnTo>
                    <a:pt x="1151" y="481"/>
                  </a:lnTo>
                  <a:lnTo>
                    <a:pt x="1046" y="502"/>
                  </a:lnTo>
                  <a:lnTo>
                    <a:pt x="1067" y="586"/>
                  </a:lnTo>
                  <a:lnTo>
                    <a:pt x="1214" y="586"/>
                  </a:lnTo>
                  <a:lnTo>
                    <a:pt x="1172" y="607"/>
                  </a:lnTo>
                  <a:lnTo>
                    <a:pt x="1276" y="586"/>
                  </a:lnTo>
                  <a:lnTo>
                    <a:pt x="1360" y="586"/>
                  </a:lnTo>
                  <a:lnTo>
                    <a:pt x="1235" y="711"/>
                  </a:lnTo>
                  <a:lnTo>
                    <a:pt x="1046" y="795"/>
                  </a:lnTo>
                  <a:lnTo>
                    <a:pt x="1130" y="837"/>
                  </a:lnTo>
                  <a:lnTo>
                    <a:pt x="942" y="879"/>
                  </a:lnTo>
                  <a:lnTo>
                    <a:pt x="858" y="837"/>
                  </a:lnTo>
                  <a:lnTo>
                    <a:pt x="795" y="921"/>
                  </a:lnTo>
                  <a:lnTo>
                    <a:pt x="753" y="816"/>
                  </a:lnTo>
                  <a:lnTo>
                    <a:pt x="502" y="753"/>
                  </a:lnTo>
                  <a:lnTo>
                    <a:pt x="502" y="816"/>
                  </a:lnTo>
                  <a:lnTo>
                    <a:pt x="335" y="753"/>
                  </a:lnTo>
                  <a:lnTo>
                    <a:pt x="314" y="942"/>
                  </a:lnTo>
                  <a:lnTo>
                    <a:pt x="398" y="879"/>
                  </a:lnTo>
                  <a:lnTo>
                    <a:pt x="419" y="942"/>
                  </a:lnTo>
                  <a:lnTo>
                    <a:pt x="440" y="984"/>
                  </a:lnTo>
                  <a:lnTo>
                    <a:pt x="481" y="1088"/>
                  </a:lnTo>
                  <a:lnTo>
                    <a:pt x="419" y="1088"/>
                  </a:lnTo>
                  <a:lnTo>
                    <a:pt x="398" y="1025"/>
                  </a:lnTo>
                  <a:lnTo>
                    <a:pt x="272" y="1025"/>
                  </a:lnTo>
                  <a:lnTo>
                    <a:pt x="419" y="1130"/>
                  </a:lnTo>
                  <a:lnTo>
                    <a:pt x="544" y="1109"/>
                  </a:lnTo>
                  <a:lnTo>
                    <a:pt x="586" y="1214"/>
                  </a:lnTo>
                  <a:lnTo>
                    <a:pt x="440" y="1235"/>
                  </a:lnTo>
                  <a:lnTo>
                    <a:pt x="419" y="1276"/>
                  </a:lnTo>
                  <a:lnTo>
                    <a:pt x="440" y="1339"/>
                  </a:lnTo>
                  <a:lnTo>
                    <a:pt x="293" y="1360"/>
                  </a:lnTo>
                  <a:lnTo>
                    <a:pt x="335" y="1444"/>
                  </a:lnTo>
                  <a:lnTo>
                    <a:pt x="272" y="1465"/>
                  </a:lnTo>
                  <a:lnTo>
                    <a:pt x="377" y="1528"/>
                  </a:lnTo>
                  <a:lnTo>
                    <a:pt x="419" y="1507"/>
                  </a:lnTo>
                  <a:lnTo>
                    <a:pt x="398" y="1548"/>
                  </a:lnTo>
                  <a:lnTo>
                    <a:pt x="523" y="1528"/>
                  </a:lnTo>
                  <a:lnTo>
                    <a:pt x="544" y="1674"/>
                  </a:lnTo>
                  <a:lnTo>
                    <a:pt x="858" y="1674"/>
                  </a:lnTo>
                  <a:lnTo>
                    <a:pt x="753" y="1758"/>
                  </a:lnTo>
                  <a:lnTo>
                    <a:pt x="691" y="1737"/>
                  </a:lnTo>
                  <a:lnTo>
                    <a:pt x="586" y="1925"/>
                  </a:lnTo>
                  <a:lnTo>
                    <a:pt x="628" y="1925"/>
                  </a:lnTo>
                  <a:lnTo>
                    <a:pt x="523" y="2051"/>
                  </a:lnTo>
                  <a:lnTo>
                    <a:pt x="335" y="2176"/>
                  </a:lnTo>
                  <a:lnTo>
                    <a:pt x="419" y="2176"/>
                  </a:lnTo>
                  <a:lnTo>
                    <a:pt x="523" y="2134"/>
                  </a:lnTo>
                  <a:lnTo>
                    <a:pt x="586" y="2155"/>
                  </a:lnTo>
                  <a:lnTo>
                    <a:pt x="732" y="2155"/>
                  </a:lnTo>
                  <a:lnTo>
                    <a:pt x="816" y="2072"/>
                  </a:lnTo>
                  <a:lnTo>
                    <a:pt x="816" y="2092"/>
                  </a:lnTo>
                  <a:lnTo>
                    <a:pt x="942" y="2134"/>
                  </a:lnTo>
                  <a:lnTo>
                    <a:pt x="691" y="2176"/>
                  </a:lnTo>
                  <a:lnTo>
                    <a:pt x="502" y="2197"/>
                  </a:lnTo>
                  <a:lnTo>
                    <a:pt x="440" y="2281"/>
                  </a:lnTo>
                  <a:lnTo>
                    <a:pt x="314" y="2302"/>
                  </a:lnTo>
                  <a:lnTo>
                    <a:pt x="377" y="2364"/>
                  </a:lnTo>
                  <a:lnTo>
                    <a:pt x="335" y="2406"/>
                  </a:lnTo>
                  <a:lnTo>
                    <a:pt x="398" y="2448"/>
                  </a:lnTo>
                  <a:lnTo>
                    <a:pt x="293" y="2469"/>
                  </a:lnTo>
                  <a:lnTo>
                    <a:pt x="209" y="2385"/>
                  </a:lnTo>
                  <a:lnTo>
                    <a:pt x="188" y="2448"/>
                  </a:lnTo>
                  <a:lnTo>
                    <a:pt x="168" y="2406"/>
                  </a:lnTo>
                  <a:lnTo>
                    <a:pt x="0" y="2490"/>
                  </a:lnTo>
                  <a:lnTo>
                    <a:pt x="21" y="2511"/>
                  </a:lnTo>
                  <a:lnTo>
                    <a:pt x="398" y="2511"/>
                  </a:lnTo>
                  <a:lnTo>
                    <a:pt x="272" y="2595"/>
                  </a:lnTo>
                  <a:lnTo>
                    <a:pt x="105" y="2657"/>
                  </a:lnTo>
                  <a:lnTo>
                    <a:pt x="63" y="2762"/>
                  </a:lnTo>
                  <a:lnTo>
                    <a:pt x="168" y="2762"/>
                  </a:lnTo>
                  <a:lnTo>
                    <a:pt x="188" y="2825"/>
                  </a:lnTo>
                  <a:lnTo>
                    <a:pt x="440" y="2762"/>
                  </a:lnTo>
                  <a:lnTo>
                    <a:pt x="440" y="2762"/>
                  </a:lnTo>
                  <a:lnTo>
                    <a:pt x="230" y="2888"/>
                  </a:lnTo>
                  <a:lnTo>
                    <a:pt x="168" y="2929"/>
                  </a:lnTo>
                  <a:lnTo>
                    <a:pt x="314" y="2929"/>
                  </a:lnTo>
                  <a:lnTo>
                    <a:pt x="502" y="2825"/>
                  </a:lnTo>
                  <a:lnTo>
                    <a:pt x="481" y="2908"/>
                  </a:lnTo>
                  <a:lnTo>
                    <a:pt x="314" y="2992"/>
                  </a:lnTo>
                  <a:lnTo>
                    <a:pt x="419" y="2992"/>
                  </a:lnTo>
                  <a:lnTo>
                    <a:pt x="398" y="3034"/>
                  </a:lnTo>
                  <a:lnTo>
                    <a:pt x="398" y="3034"/>
                  </a:lnTo>
                  <a:lnTo>
                    <a:pt x="523" y="3013"/>
                  </a:lnTo>
                  <a:lnTo>
                    <a:pt x="607" y="3076"/>
                  </a:lnTo>
                  <a:lnTo>
                    <a:pt x="795" y="3034"/>
                  </a:lnTo>
                  <a:lnTo>
                    <a:pt x="963" y="2992"/>
                  </a:lnTo>
                  <a:lnTo>
                    <a:pt x="1130" y="2888"/>
                  </a:lnTo>
                  <a:lnTo>
                    <a:pt x="1067" y="2783"/>
                  </a:lnTo>
                  <a:lnTo>
                    <a:pt x="1172" y="2783"/>
                  </a:lnTo>
                  <a:lnTo>
                    <a:pt x="1151" y="2867"/>
                  </a:lnTo>
                  <a:lnTo>
                    <a:pt x="1256" y="2867"/>
                  </a:lnTo>
                  <a:lnTo>
                    <a:pt x="1360" y="2720"/>
                  </a:lnTo>
                  <a:lnTo>
                    <a:pt x="1444" y="2762"/>
                  </a:lnTo>
                  <a:lnTo>
                    <a:pt x="1465" y="2657"/>
                  </a:lnTo>
                  <a:lnTo>
                    <a:pt x="1800" y="2595"/>
                  </a:lnTo>
                  <a:lnTo>
                    <a:pt x="1841" y="2511"/>
                  </a:lnTo>
                  <a:lnTo>
                    <a:pt x="1862" y="2616"/>
                  </a:lnTo>
                  <a:lnTo>
                    <a:pt x="1946" y="2553"/>
                  </a:lnTo>
                  <a:lnTo>
                    <a:pt x="2009" y="2574"/>
                  </a:lnTo>
                  <a:lnTo>
                    <a:pt x="2176" y="2574"/>
                  </a:lnTo>
                  <a:lnTo>
                    <a:pt x="2072" y="2406"/>
                  </a:lnTo>
                  <a:lnTo>
                    <a:pt x="2155" y="2385"/>
                  </a:lnTo>
                  <a:lnTo>
                    <a:pt x="2218" y="2281"/>
                  </a:lnTo>
                  <a:lnTo>
                    <a:pt x="2218" y="2176"/>
                  </a:lnTo>
                  <a:lnTo>
                    <a:pt x="2302" y="2072"/>
                  </a:lnTo>
                  <a:lnTo>
                    <a:pt x="2323" y="1967"/>
                  </a:lnTo>
                  <a:lnTo>
                    <a:pt x="2302" y="1716"/>
                  </a:lnTo>
                  <a:lnTo>
                    <a:pt x="2218" y="1674"/>
                  </a:lnTo>
                  <a:lnTo>
                    <a:pt x="2302" y="1632"/>
                  </a:lnTo>
                  <a:lnTo>
                    <a:pt x="2302" y="1507"/>
                  </a:lnTo>
                  <a:lnTo>
                    <a:pt x="2218" y="1402"/>
                  </a:lnTo>
                  <a:lnTo>
                    <a:pt x="2260" y="1256"/>
                  </a:lnTo>
                  <a:lnTo>
                    <a:pt x="2176" y="1214"/>
                  </a:lnTo>
                  <a:lnTo>
                    <a:pt x="2197" y="1130"/>
                  </a:lnTo>
                  <a:lnTo>
                    <a:pt x="2281" y="1151"/>
                  </a:lnTo>
                  <a:lnTo>
                    <a:pt x="2281" y="1151"/>
                  </a:lnTo>
                  <a:lnTo>
                    <a:pt x="2155" y="1088"/>
                  </a:lnTo>
                  <a:lnTo>
                    <a:pt x="2072" y="1046"/>
                  </a:lnTo>
                  <a:lnTo>
                    <a:pt x="1967" y="837"/>
                  </a:lnTo>
                  <a:lnTo>
                    <a:pt x="1800" y="732"/>
                  </a:lnTo>
                  <a:lnTo>
                    <a:pt x="1737" y="795"/>
                  </a:lnTo>
                  <a:lnTo>
                    <a:pt x="1695" y="942"/>
                  </a:lnTo>
                  <a:lnTo>
                    <a:pt x="1632" y="984"/>
                  </a:lnTo>
                  <a:lnTo>
                    <a:pt x="1360" y="732"/>
                  </a:lnTo>
                  <a:lnTo>
                    <a:pt x="1486" y="502"/>
                  </a:lnTo>
                  <a:lnTo>
                    <a:pt x="1632" y="481"/>
                  </a:lnTo>
                  <a:lnTo>
                    <a:pt x="1653" y="377"/>
                  </a:lnTo>
                  <a:lnTo>
                    <a:pt x="1737" y="356"/>
                  </a:lnTo>
                  <a:lnTo>
                    <a:pt x="1779" y="272"/>
                  </a:lnTo>
                  <a:lnTo>
                    <a:pt x="1737" y="293"/>
                  </a:lnTo>
                  <a:lnTo>
                    <a:pt x="1737" y="293"/>
                  </a:lnTo>
                  <a:lnTo>
                    <a:pt x="1841" y="188"/>
                  </a:lnTo>
                  <a:lnTo>
                    <a:pt x="1946" y="147"/>
                  </a:lnTo>
                  <a:lnTo>
                    <a:pt x="1841" y="84"/>
                  </a:lnTo>
                  <a:lnTo>
                    <a:pt x="173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045" name="Google Shape;2045;p66"/>
            <p:cNvGrpSpPr/>
            <p:nvPr/>
          </p:nvGrpSpPr>
          <p:grpSpPr>
            <a:xfrm>
              <a:off x="3697513" y="2707266"/>
              <a:ext cx="59549" cy="79733"/>
              <a:chOff x="3586375" y="2281300"/>
              <a:chExt cx="125025" cy="175275"/>
            </a:xfrm>
          </p:grpSpPr>
          <p:sp>
            <p:nvSpPr>
              <p:cNvPr id="2046" name="Google Shape;2046;p66"/>
              <p:cNvSpPr/>
              <p:nvPr/>
            </p:nvSpPr>
            <p:spPr>
              <a:xfrm>
                <a:off x="3609900" y="2281300"/>
                <a:ext cx="101500" cy="175275"/>
              </a:xfrm>
              <a:custGeom>
                <a:avLst/>
                <a:gdLst/>
                <a:ahLst/>
                <a:cxnLst/>
                <a:rect l="l" t="t" r="r" b="b"/>
                <a:pathLst>
                  <a:path w="4060" h="7011" extrusionOk="0">
                    <a:moveTo>
                      <a:pt x="1340" y="1"/>
                    </a:moveTo>
                    <a:lnTo>
                      <a:pt x="1277" y="63"/>
                    </a:lnTo>
                    <a:lnTo>
                      <a:pt x="1235" y="42"/>
                    </a:lnTo>
                    <a:lnTo>
                      <a:pt x="1110" y="84"/>
                    </a:lnTo>
                    <a:lnTo>
                      <a:pt x="1026" y="84"/>
                    </a:lnTo>
                    <a:lnTo>
                      <a:pt x="921" y="105"/>
                    </a:lnTo>
                    <a:lnTo>
                      <a:pt x="859" y="105"/>
                    </a:lnTo>
                    <a:lnTo>
                      <a:pt x="838" y="168"/>
                    </a:lnTo>
                    <a:lnTo>
                      <a:pt x="838" y="105"/>
                    </a:lnTo>
                    <a:lnTo>
                      <a:pt x="796" y="84"/>
                    </a:lnTo>
                    <a:lnTo>
                      <a:pt x="712" y="168"/>
                    </a:lnTo>
                    <a:lnTo>
                      <a:pt x="733" y="105"/>
                    </a:lnTo>
                    <a:lnTo>
                      <a:pt x="608" y="42"/>
                    </a:lnTo>
                    <a:lnTo>
                      <a:pt x="587" y="105"/>
                    </a:lnTo>
                    <a:lnTo>
                      <a:pt x="524" y="168"/>
                    </a:lnTo>
                    <a:lnTo>
                      <a:pt x="545" y="231"/>
                    </a:lnTo>
                    <a:lnTo>
                      <a:pt x="524" y="231"/>
                    </a:lnTo>
                    <a:lnTo>
                      <a:pt x="524" y="314"/>
                    </a:lnTo>
                    <a:lnTo>
                      <a:pt x="419" y="356"/>
                    </a:lnTo>
                    <a:lnTo>
                      <a:pt x="482" y="419"/>
                    </a:lnTo>
                    <a:lnTo>
                      <a:pt x="440" y="503"/>
                    </a:lnTo>
                    <a:lnTo>
                      <a:pt x="398" y="503"/>
                    </a:lnTo>
                    <a:lnTo>
                      <a:pt x="503" y="607"/>
                    </a:lnTo>
                    <a:lnTo>
                      <a:pt x="545" y="670"/>
                    </a:lnTo>
                    <a:lnTo>
                      <a:pt x="419" y="607"/>
                    </a:lnTo>
                    <a:lnTo>
                      <a:pt x="398" y="670"/>
                    </a:lnTo>
                    <a:lnTo>
                      <a:pt x="315" y="587"/>
                    </a:lnTo>
                    <a:lnTo>
                      <a:pt x="294" y="628"/>
                    </a:lnTo>
                    <a:lnTo>
                      <a:pt x="315" y="691"/>
                    </a:lnTo>
                    <a:lnTo>
                      <a:pt x="294" y="733"/>
                    </a:lnTo>
                    <a:lnTo>
                      <a:pt x="273" y="628"/>
                    </a:lnTo>
                    <a:lnTo>
                      <a:pt x="210" y="733"/>
                    </a:lnTo>
                    <a:lnTo>
                      <a:pt x="273" y="796"/>
                    </a:lnTo>
                    <a:lnTo>
                      <a:pt x="210" y="817"/>
                    </a:lnTo>
                    <a:lnTo>
                      <a:pt x="294" y="900"/>
                    </a:lnTo>
                    <a:lnTo>
                      <a:pt x="336" y="900"/>
                    </a:lnTo>
                    <a:lnTo>
                      <a:pt x="294" y="942"/>
                    </a:lnTo>
                    <a:lnTo>
                      <a:pt x="210" y="900"/>
                    </a:lnTo>
                    <a:lnTo>
                      <a:pt x="210" y="1026"/>
                    </a:lnTo>
                    <a:lnTo>
                      <a:pt x="210" y="1047"/>
                    </a:lnTo>
                    <a:lnTo>
                      <a:pt x="377" y="1026"/>
                    </a:lnTo>
                    <a:lnTo>
                      <a:pt x="273" y="1089"/>
                    </a:lnTo>
                    <a:lnTo>
                      <a:pt x="273" y="1110"/>
                    </a:lnTo>
                    <a:lnTo>
                      <a:pt x="294" y="1131"/>
                    </a:lnTo>
                    <a:lnTo>
                      <a:pt x="377" y="1110"/>
                    </a:lnTo>
                    <a:lnTo>
                      <a:pt x="336" y="1131"/>
                    </a:lnTo>
                    <a:lnTo>
                      <a:pt x="398" y="1151"/>
                    </a:lnTo>
                    <a:lnTo>
                      <a:pt x="398" y="1151"/>
                    </a:lnTo>
                    <a:lnTo>
                      <a:pt x="315" y="1131"/>
                    </a:lnTo>
                    <a:lnTo>
                      <a:pt x="294" y="1151"/>
                    </a:lnTo>
                    <a:lnTo>
                      <a:pt x="294" y="1214"/>
                    </a:lnTo>
                    <a:lnTo>
                      <a:pt x="315" y="1235"/>
                    </a:lnTo>
                    <a:lnTo>
                      <a:pt x="273" y="1256"/>
                    </a:lnTo>
                    <a:lnTo>
                      <a:pt x="231" y="1319"/>
                    </a:lnTo>
                    <a:lnTo>
                      <a:pt x="294" y="1319"/>
                    </a:lnTo>
                    <a:lnTo>
                      <a:pt x="294" y="1361"/>
                    </a:lnTo>
                    <a:lnTo>
                      <a:pt x="210" y="1340"/>
                    </a:lnTo>
                    <a:lnTo>
                      <a:pt x="189" y="1403"/>
                    </a:lnTo>
                    <a:lnTo>
                      <a:pt x="210" y="1444"/>
                    </a:lnTo>
                    <a:lnTo>
                      <a:pt x="189" y="1465"/>
                    </a:lnTo>
                    <a:lnTo>
                      <a:pt x="168" y="1528"/>
                    </a:lnTo>
                    <a:lnTo>
                      <a:pt x="63" y="1528"/>
                    </a:lnTo>
                    <a:lnTo>
                      <a:pt x="1" y="1549"/>
                    </a:lnTo>
                    <a:lnTo>
                      <a:pt x="63" y="1570"/>
                    </a:lnTo>
                    <a:lnTo>
                      <a:pt x="126" y="1570"/>
                    </a:lnTo>
                    <a:lnTo>
                      <a:pt x="189" y="1612"/>
                    </a:lnTo>
                    <a:lnTo>
                      <a:pt x="168" y="1633"/>
                    </a:lnTo>
                    <a:lnTo>
                      <a:pt x="105" y="1633"/>
                    </a:lnTo>
                    <a:lnTo>
                      <a:pt x="189" y="1716"/>
                    </a:lnTo>
                    <a:lnTo>
                      <a:pt x="210" y="1716"/>
                    </a:lnTo>
                    <a:lnTo>
                      <a:pt x="273" y="1737"/>
                    </a:lnTo>
                    <a:lnTo>
                      <a:pt x="503" y="1507"/>
                    </a:lnTo>
                    <a:lnTo>
                      <a:pt x="482" y="1570"/>
                    </a:lnTo>
                    <a:lnTo>
                      <a:pt x="503" y="1612"/>
                    </a:lnTo>
                    <a:lnTo>
                      <a:pt x="419" y="1633"/>
                    </a:lnTo>
                    <a:lnTo>
                      <a:pt x="377" y="1758"/>
                    </a:lnTo>
                    <a:lnTo>
                      <a:pt x="377" y="1779"/>
                    </a:lnTo>
                    <a:lnTo>
                      <a:pt x="315" y="1947"/>
                    </a:lnTo>
                    <a:lnTo>
                      <a:pt x="336" y="1947"/>
                    </a:lnTo>
                    <a:lnTo>
                      <a:pt x="294" y="2135"/>
                    </a:lnTo>
                    <a:lnTo>
                      <a:pt x="294" y="2239"/>
                    </a:lnTo>
                    <a:lnTo>
                      <a:pt x="231" y="2281"/>
                    </a:lnTo>
                    <a:lnTo>
                      <a:pt x="294" y="2323"/>
                    </a:lnTo>
                    <a:lnTo>
                      <a:pt x="315" y="2302"/>
                    </a:lnTo>
                    <a:lnTo>
                      <a:pt x="231" y="2449"/>
                    </a:lnTo>
                    <a:lnTo>
                      <a:pt x="231" y="2595"/>
                    </a:lnTo>
                    <a:lnTo>
                      <a:pt x="189" y="2658"/>
                    </a:lnTo>
                    <a:lnTo>
                      <a:pt x="189" y="2700"/>
                    </a:lnTo>
                    <a:lnTo>
                      <a:pt x="315" y="2700"/>
                    </a:lnTo>
                    <a:lnTo>
                      <a:pt x="294" y="2595"/>
                    </a:lnTo>
                    <a:lnTo>
                      <a:pt x="336" y="2491"/>
                    </a:lnTo>
                    <a:lnTo>
                      <a:pt x="336" y="2407"/>
                    </a:lnTo>
                    <a:lnTo>
                      <a:pt x="398" y="2323"/>
                    </a:lnTo>
                    <a:lnTo>
                      <a:pt x="336" y="2135"/>
                    </a:lnTo>
                    <a:lnTo>
                      <a:pt x="398" y="2135"/>
                    </a:lnTo>
                    <a:lnTo>
                      <a:pt x="545" y="1947"/>
                    </a:lnTo>
                    <a:lnTo>
                      <a:pt x="440" y="2135"/>
                    </a:lnTo>
                    <a:lnTo>
                      <a:pt x="419" y="2239"/>
                    </a:lnTo>
                    <a:lnTo>
                      <a:pt x="482" y="2260"/>
                    </a:lnTo>
                    <a:lnTo>
                      <a:pt x="482" y="2198"/>
                    </a:lnTo>
                    <a:lnTo>
                      <a:pt x="545" y="2135"/>
                    </a:lnTo>
                    <a:lnTo>
                      <a:pt x="587" y="2260"/>
                    </a:lnTo>
                    <a:lnTo>
                      <a:pt x="628" y="2135"/>
                    </a:lnTo>
                    <a:lnTo>
                      <a:pt x="628" y="2030"/>
                    </a:lnTo>
                    <a:lnTo>
                      <a:pt x="691" y="1988"/>
                    </a:lnTo>
                    <a:lnTo>
                      <a:pt x="649" y="2135"/>
                    </a:lnTo>
                    <a:lnTo>
                      <a:pt x="754" y="2198"/>
                    </a:lnTo>
                    <a:lnTo>
                      <a:pt x="649" y="2177"/>
                    </a:lnTo>
                    <a:lnTo>
                      <a:pt x="628" y="2323"/>
                    </a:lnTo>
                    <a:lnTo>
                      <a:pt x="649" y="2449"/>
                    </a:lnTo>
                    <a:lnTo>
                      <a:pt x="712" y="2470"/>
                    </a:lnTo>
                    <a:lnTo>
                      <a:pt x="754" y="2574"/>
                    </a:lnTo>
                    <a:lnTo>
                      <a:pt x="649" y="2658"/>
                    </a:lnTo>
                    <a:lnTo>
                      <a:pt x="587" y="2909"/>
                    </a:lnTo>
                    <a:lnTo>
                      <a:pt x="587" y="3014"/>
                    </a:lnTo>
                    <a:lnTo>
                      <a:pt x="503" y="2972"/>
                    </a:lnTo>
                    <a:lnTo>
                      <a:pt x="503" y="3097"/>
                    </a:lnTo>
                    <a:lnTo>
                      <a:pt x="628" y="3244"/>
                    </a:lnTo>
                    <a:lnTo>
                      <a:pt x="587" y="3097"/>
                    </a:lnTo>
                    <a:lnTo>
                      <a:pt x="649" y="3076"/>
                    </a:lnTo>
                    <a:lnTo>
                      <a:pt x="859" y="3223"/>
                    </a:lnTo>
                    <a:lnTo>
                      <a:pt x="859" y="3097"/>
                    </a:lnTo>
                    <a:lnTo>
                      <a:pt x="796" y="3035"/>
                    </a:lnTo>
                    <a:lnTo>
                      <a:pt x="838" y="3014"/>
                    </a:lnTo>
                    <a:lnTo>
                      <a:pt x="1005" y="3118"/>
                    </a:lnTo>
                    <a:lnTo>
                      <a:pt x="1131" y="3118"/>
                    </a:lnTo>
                    <a:lnTo>
                      <a:pt x="1131" y="3076"/>
                    </a:lnTo>
                    <a:lnTo>
                      <a:pt x="1235" y="3076"/>
                    </a:lnTo>
                    <a:lnTo>
                      <a:pt x="1256" y="2972"/>
                    </a:lnTo>
                    <a:lnTo>
                      <a:pt x="1549" y="2993"/>
                    </a:lnTo>
                    <a:lnTo>
                      <a:pt x="1361" y="3014"/>
                    </a:lnTo>
                    <a:lnTo>
                      <a:pt x="1235" y="3348"/>
                    </a:lnTo>
                    <a:lnTo>
                      <a:pt x="1382" y="3620"/>
                    </a:lnTo>
                    <a:lnTo>
                      <a:pt x="1444" y="3558"/>
                    </a:lnTo>
                    <a:lnTo>
                      <a:pt x="1444" y="3704"/>
                    </a:lnTo>
                    <a:lnTo>
                      <a:pt x="1549" y="3600"/>
                    </a:lnTo>
                    <a:lnTo>
                      <a:pt x="1654" y="3600"/>
                    </a:lnTo>
                    <a:lnTo>
                      <a:pt x="1633" y="3746"/>
                    </a:lnTo>
                    <a:lnTo>
                      <a:pt x="1654" y="3767"/>
                    </a:lnTo>
                    <a:lnTo>
                      <a:pt x="1549" y="3851"/>
                    </a:lnTo>
                    <a:lnTo>
                      <a:pt x="1570" y="4018"/>
                    </a:lnTo>
                    <a:lnTo>
                      <a:pt x="1528" y="4123"/>
                    </a:lnTo>
                    <a:lnTo>
                      <a:pt x="1570" y="4227"/>
                    </a:lnTo>
                    <a:lnTo>
                      <a:pt x="1654" y="4290"/>
                    </a:lnTo>
                    <a:lnTo>
                      <a:pt x="1737" y="4290"/>
                    </a:lnTo>
                    <a:lnTo>
                      <a:pt x="1675" y="4332"/>
                    </a:lnTo>
                    <a:lnTo>
                      <a:pt x="1591" y="4332"/>
                    </a:lnTo>
                    <a:lnTo>
                      <a:pt x="1549" y="4248"/>
                    </a:lnTo>
                    <a:lnTo>
                      <a:pt x="1465" y="4269"/>
                    </a:lnTo>
                    <a:lnTo>
                      <a:pt x="1528" y="4353"/>
                    </a:lnTo>
                    <a:lnTo>
                      <a:pt x="1591" y="4395"/>
                    </a:lnTo>
                    <a:lnTo>
                      <a:pt x="1486" y="4374"/>
                    </a:lnTo>
                    <a:lnTo>
                      <a:pt x="1424" y="4290"/>
                    </a:lnTo>
                    <a:lnTo>
                      <a:pt x="1235" y="4353"/>
                    </a:lnTo>
                    <a:lnTo>
                      <a:pt x="1152" y="4353"/>
                    </a:lnTo>
                    <a:lnTo>
                      <a:pt x="963" y="4436"/>
                    </a:lnTo>
                    <a:lnTo>
                      <a:pt x="859" y="4583"/>
                    </a:lnTo>
                    <a:lnTo>
                      <a:pt x="733" y="4667"/>
                    </a:lnTo>
                    <a:lnTo>
                      <a:pt x="691" y="4750"/>
                    </a:lnTo>
                    <a:lnTo>
                      <a:pt x="817" y="4750"/>
                    </a:lnTo>
                    <a:lnTo>
                      <a:pt x="817" y="4688"/>
                    </a:lnTo>
                    <a:lnTo>
                      <a:pt x="1026" y="4646"/>
                    </a:lnTo>
                    <a:lnTo>
                      <a:pt x="1005" y="4750"/>
                    </a:lnTo>
                    <a:lnTo>
                      <a:pt x="1068" y="4813"/>
                    </a:lnTo>
                    <a:lnTo>
                      <a:pt x="1005" y="4876"/>
                    </a:lnTo>
                    <a:lnTo>
                      <a:pt x="1026" y="4960"/>
                    </a:lnTo>
                    <a:lnTo>
                      <a:pt x="1068" y="4960"/>
                    </a:lnTo>
                    <a:lnTo>
                      <a:pt x="942" y="5190"/>
                    </a:lnTo>
                    <a:lnTo>
                      <a:pt x="859" y="5232"/>
                    </a:lnTo>
                    <a:lnTo>
                      <a:pt x="754" y="5294"/>
                    </a:lnTo>
                    <a:lnTo>
                      <a:pt x="733" y="5294"/>
                    </a:lnTo>
                    <a:lnTo>
                      <a:pt x="608" y="5378"/>
                    </a:lnTo>
                    <a:lnTo>
                      <a:pt x="524" y="5378"/>
                    </a:lnTo>
                    <a:lnTo>
                      <a:pt x="398" y="5483"/>
                    </a:lnTo>
                    <a:lnTo>
                      <a:pt x="503" y="5483"/>
                    </a:lnTo>
                    <a:lnTo>
                      <a:pt x="503" y="5545"/>
                    </a:lnTo>
                    <a:lnTo>
                      <a:pt x="419" y="5608"/>
                    </a:lnTo>
                    <a:lnTo>
                      <a:pt x="545" y="5629"/>
                    </a:lnTo>
                    <a:lnTo>
                      <a:pt x="524" y="5650"/>
                    </a:lnTo>
                    <a:lnTo>
                      <a:pt x="587" y="5692"/>
                    </a:lnTo>
                    <a:lnTo>
                      <a:pt x="649" y="5650"/>
                    </a:lnTo>
                    <a:lnTo>
                      <a:pt x="754" y="5608"/>
                    </a:lnTo>
                    <a:lnTo>
                      <a:pt x="900" y="5545"/>
                    </a:lnTo>
                    <a:lnTo>
                      <a:pt x="921" y="5629"/>
                    </a:lnTo>
                    <a:lnTo>
                      <a:pt x="1026" y="5650"/>
                    </a:lnTo>
                    <a:lnTo>
                      <a:pt x="942" y="5692"/>
                    </a:lnTo>
                    <a:lnTo>
                      <a:pt x="921" y="5734"/>
                    </a:lnTo>
                    <a:lnTo>
                      <a:pt x="1068" y="5734"/>
                    </a:lnTo>
                    <a:lnTo>
                      <a:pt x="1068" y="5713"/>
                    </a:lnTo>
                    <a:lnTo>
                      <a:pt x="1152" y="5692"/>
                    </a:lnTo>
                    <a:lnTo>
                      <a:pt x="1256" y="5796"/>
                    </a:lnTo>
                    <a:lnTo>
                      <a:pt x="1319" y="5859"/>
                    </a:lnTo>
                    <a:lnTo>
                      <a:pt x="1486" y="5859"/>
                    </a:lnTo>
                    <a:lnTo>
                      <a:pt x="1549" y="5796"/>
                    </a:lnTo>
                    <a:lnTo>
                      <a:pt x="1633" y="5755"/>
                    </a:lnTo>
                    <a:lnTo>
                      <a:pt x="1758" y="5713"/>
                    </a:lnTo>
                    <a:lnTo>
                      <a:pt x="1800" y="5650"/>
                    </a:lnTo>
                    <a:lnTo>
                      <a:pt x="1905" y="5608"/>
                    </a:lnTo>
                    <a:lnTo>
                      <a:pt x="1758" y="5755"/>
                    </a:lnTo>
                    <a:lnTo>
                      <a:pt x="1633" y="5901"/>
                    </a:lnTo>
                    <a:lnTo>
                      <a:pt x="1633" y="6048"/>
                    </a:lnTo>
                    <a:lnTo>
                      <a:pt x="1528" y="6048"/>
                    </a:lnTo>
                    <a:lnTo>
                      <a:pt x="1444" y="6068"/>
                    </a:lnTo>
                    <a:lnTo>
                      <a:pt x="1361" y="6027"/>
                    </a:lnTo>
                    <a:lnTo>
                      <a:pt x="1131" y="6006"/>
                    </a:lnTo>
                    <a:lnTo>
                      <a:pt x="963" y="6048"/>
                    </a:lnTo>
                    <a:lnTo>
                      <a:pt x="963" y="6131"/>
                    </a:lnTo>
                    <a:lnTo>
                      <a:pt x="900" y="6215"/>
                    </a:lnTo>
                    <a:lnTo>
                      <a:pt x="796" y="6215"/>
                    </a:lnTo>
                    <a:lnTo>
                      <a:pt x="796" y="6382"/>
                    </a:lnTo>
                    <a:lnTo>
                      <a:pt x="691" y="6487"/>
                    </a:lnTo>
                    <a:lnTo>
                      <a:pt x="649" y="6550"/>
                    </a:lnTo>
                    <a:lnTo>
                      <a:pt x="545" y="6550"/>
                    </a:lnTo>
                    <a:lnTo>
                      <a:pt x="524" y="6675"/>
                    </a:lnTo>
                    <a:lnTo>
                      <a:pt x="482" y="6675"/>
                    </a:lnTo>
                    <a:lnTo>
                      <a:pt x="440" y="6738"/>
                    </a:lnTo>
                    <a:lnTo>
                      <a:pt x="315" y="6843"/>
                    </a:lnTo>
                    <a:lnTo>
                      <a:pt x="231" y="6801"/>
                    </a:lnTo>
                    <a:lnTo>
                      <a:pt x="168" y="6864"/>
                    </a:lnTo>
                    <a:lnTo>
                      <a:pt x="168" y="6968"/>
                    </a:lnTo>
                    <a:lnTo>
                      <a:pt x="273" y="6968"/>
                    </a:lnTo>
                    <a:lnTo>
                      <a:pt x="273" y="6885"/>
                    </a:lnTo>
                    <a:lnTo>
                      <a:pt x="377" y="6905"/>
                    </a:lnTo>
                    <a:lnTo>
                      <a:pt x="419" y="7010"/>
                    </a:lnTo>
                    <a:lnTo>
                      <a:pt x="503" y="6968"/>
                    </a:lnTo>
                    <a:lnTo>
                      <a:pt x="482" y="6905"/>
                    </a:lnTo>
                    <a:lnTo>
                      <a:pt x="524" y="6843"/>
                    </a:lnTo>
                    <a:lnTo>
                      <a:pt x="545" y="6864"/>
                    </a:lnTo>
                    <a:lnTo>
                      <a:pt x="628" y="6801"/>
                    </a:lnTo>
                    <a:lnTo>
                      <a:pt x="649" y="6801"/>
                    </a:lnTo>
                    <a:lnTo>
                      <a:pt x="712" y="6696"/>
                    </a:lnTo>
                    <a:lnTo>
                      <a:pt x="817" y="6759"/>
                    </a:lnTo>
                    <a:lnTo>
                      <a:pt x="900" y="6696"/>
                    </a:lnTo>
                    <a:lnTo>
                      <a:pt x="963" y="6738"/>
                    </a:lnTo>
                    <a:lnTo>
                      <a:pt x="1005" y="6696"/>
                    </a:lnTo>
                    <a:lnTo>
                      <a:pt x="1047" y="6759"/>
                    </a:lnTo>
                    <a:lnTo>
                      <a:pt x="1110" y="6759"/>
                    </a:lnTo>
                    <a:lnTo>
                      <a:pt x="1172" y="6801"/>
                    </a:lnTo>
                    <a:lnTo>
                      <a:pt x="1277" y="6801"/>
                    </a:lnTo>
                    <a:lnTo>
                      <a:pt x="1256" y="6759"/>
                    </a:lnTo>
                    <a:lnTo>
                      <a:pt x="1340" y="6738"/>
                    </a:lnTo>
                    <a:lnTo>
                      <a:pt x="1361" y="6654"/>
                    </a:lnTo>
                    <a:lnTo>
                      <a:pt x="1340" y="6571"/>
                    </a:lnTo>
                    <a:lnTo>
                      <a:pt x="1382" y="6487"/>
                    </a:lnTo>
                    <a:lnTo>
                      <a:pt x="1444" y="6487"/>
                    </a:lnTo>
                    <a:lnTo>
                      <a:pt x="1465" y="6445"/>
                    </a:lnTo>
                    <a:lnTo>
                      <a:pt x="1675" y="6424"/>
                    </a:lnTo>
                    <a:lnTo>
                      <a:pt x="1779" y="6424"/>
                    </a:lnTo>
                    <a:lnTo>
                      <a:pt x="1905" y="6487"/>
                    </a:lnTo>
                    <a:lnTo>
                      <a:pt x="2093" y="6487"/>
                    </a:lnTo>
                    <a:lnTo>
                      <a:pt x="2177" y="6529"/>
                    </a:lnTo>
                    <a:lnTo>
                      <a:pt x="2198" y="6445"/>
                    </a:lnTo>
                    <a:lnTo>
                      <a:pt x="2323" y="6361"/>
                    </a:lnTo>
                    <a:lnTo>
                      <a:pt x="2407" y="6382"/>
                    </a:lnTo>
                    <a:lnTo>
                      <a:pt x="2512" y="6320"/>
                    </a:lnTo>
                    <a:lnTo>
                      <a:pt x="2616" y="6340"/>
                    </a:lnTo>
                    <a:lnTo>
                      <a:pt x="2637" y="6320"/>
                    </a:lnTo>
                    <a:lnTo>
                      <a:pt x="2721" y="6278"/>
                    </a:lnTo>
                    <a:lnTo>
                      <a:pt x="2721" y="6320"/>
                    </a:lnTo>
                    <a:lnTo>
                      <a:pt x="2804" y="6361"/>
                    </a:lnTo>
                    <a:lnTo>
                      <a:pt x="2888" y="6320"/>
                    </a:lnTo>
                    <a:lnTo>
                      <a:pt x="3056" y="6320"/>
                    </a:lnTo>
                    <a:lnTo>
                      <a:pt x="3202" y="6278"/>
                    </a:lnTo>
                    <a:lnTo>
                      <a:pt x="3307" y="6320"/>
                    </a:lnTo>
                    <a:lnTo>
                      <a:pt x="3349" y="6340"/>
                    </a:lnTo>
                    <a:lnTo>
                      <a:pt x="3453" y="6257"/>
                    </a:lnTo>
                    <a:lnTo>
                      <a:pt x="3537" y="6236"/>
                    </a:lnTo>
                    <a:lnTo>
                      <a:pt x="3621" y="6152"/>
                    </a:lnTo>
                    <a:lnTo>
                      <a:pt x="3683" y="6152"/>
                    </a:lnTo>
                    <a:lnTo>
                      <a:pt x="3746" y="6173"/>
                    </a:lnTo>
                    <a:lnTo>
                      <a:pt x="3725" y="6110"/>
                    </a:lnTo>
                    <a:lnTo>
                      <a:pt x="3851" y="6027"/>
                    </a:lnTo>
                    <a:lnTo>
                      <a:pt x="3955" y="6006"/>
                    </a:lnTo>
                    <a:lnTo>
                      <a:pt x="3955" y="5922"/>
                    </a:lnTo>
                    <a:lnTo>
                      <a:pt x="3934" y="5859"/>
                    </a:lnTo>
                    <a:lnTo>
                      <a:pt x="3955" y="5796"/>
                    </a:lnTo>
                    <a:lnTo>
                      <a:pt x="3788" y="5796"/>
                    </a:lnTo>
                    <a:lnTo>
                      <a:pt x="3683" y="5838"/>
                    </a:lnTo>
                    <a:lnTo>
                      <a:pt x="3641" y="5838"/>
                    </a:lnTo>
                    <a:lnTo>
                      <a:pt x="3537" y="5817"/>
                    </a:lnTo>
                    <a:lnTo>
                      <a:pt x="3474" y="5796"/>
                    </a:lnTo>
                    <a:lnTo>
                      <a:pt x="3537" y="5755"/>
                    </a:lnTo>
                    <a:lnTo>
                      <a:pt x="3558" y="5755"/>
                    </a:lnTo>
                    <a:lnTo>
                      <a:pt x="3558" y="5734"/>
                    </a:lnTo>
                    <a:lnTo>
                      <a:pt x="3474" y="5713"/>
                    </a:lnTo>
                    <a:lnTo>
                      <a:pt x="3411" y="5734"/>
                    </a:lnTo>
                    <a:lnTo>
                      <a:pt x="3516" y="5650"/>
                    </a:lnTo>
                    <a:lnTo>
                      <a:pt x="3579" y="5692"/>
                    </a:lnTo>
                    <a:lnTo>
                      <a:pt x="3662" y="5629"/>
                    </a:lnTo>
                    <a:lnTo>
                      <a:pt x="3641" y="5545"/>
                    </a:lnTo>
                    <a:lnTo>
                      <a:pt x="3558" y="5545"/>
                    </a:lnTo>
                    <a:lnTo>
                      <a:pt x="3621" y="5504"/>
                    </a:lnTo>
                    <a:lnTo>
                      <a:pt x="3662" y="5441"/>
                    </a:lnTo>
                    <a:lnTo>
                      <a:pt x="3725" y="5504"/>
                    </a:lnTo>
                    <a:lnTo>
                      <a:pt x="3788" y="5441"/>
                    </a:lnTo>
                    <a:lnTo>
                      <a:pt x="3851" y="5399"/>
                    </a:lnTo>
                    <a:lnTo>
                      <a:pt x="3788" y="5378"/>
                    </a:lnTo>
                    <a:lnTo>
                      <a:pt x="3830" y="5336"/>
                    </a:lnTo>
                    <a:lnTo>
                      <a:pt x="3725" y="5336"/>
                    </a:lnTo>
                    <a:lnTo>
                      <a:pt x="3767" y="5273"/>
                    </a:lnTo>
                    <a:lnTo>
                      <a:pt x="3830" y="5294"/>
                    </a:lnTo>
                    <a:lnTo>
                      <a:pt x="3851" y="5315"/>
                    </a:lnTo>
                    <a:lnTo>
                      <a:pt x="3893" y="5232"/>
                    </a:lnTo>
                    <a:lnTo>
                      <a:pt x="3976" y="5211"/>
                    </a:lnTo>
                    <a:lnTo>
                      <a:pt x="3976" y="5064"/>
                    </a:lnTo>
                    <a:lnTo>
                      <a:pt x="4060" y="4897"/>
                    </a:lnTo>
                    <a:lnTo>
                      <a:pt x="3997" y="4813"/>
                    </a:lnTo>
                    <a:lnTo>
                      <a:pt x="3976" y="4688"/>
                    </a:lnTo>
                    <a:lnTo>
                      <a:pt x="3767" y="4541"/>
                    </a:lnTo>
                    <a:lnTo>
                      <a:pt x="3349" y="4541"/>
                    </a:lnTo>
                    <a:lnTo>
                      <a:pt x="3328" y="4667"/>
                    </a:lnTo>
                    <a:lnTo>
                      <a:pt x="3307" y="4708"/>
                    </a:lnTo>
                    <a:lnTo>
                      <a:pt x="3202" y="4646"/>
                    </a:lnTo>
                    <a:lnTo>
                      <a:pt x="3097" y="4604"/>
                    </a:lnTo>
                    <a:lnTo>
                      <a:pt x="3265" y="4436"/>
                    </a:lnTo>
                    <a:lnTo>
                      <a:pt x="3265" y="4332"/>
                    </a:lnTo>
                    <a:lnTo>
                      <a:pt x="3139" y="4123"/>
                    </a:lnTo>
                    <a:lnTo>
                      <a:pt x="3097" y="4123"/>
                    </a:lnTo>
                    <a:lnTo>
                      <a:pt x="2951" y="4039"/>
                    </a:lnTo>
                    <a:lnTo>
                      <a:pt x="2909" y="3955"/>
                    </a:lnTo>
                    <a:lnTo>
                      <a:pt x="2846" y="3976"/>
                    </a:lnTo>
                    <a:lnTo>
                      <a:pt x="2825" y="3976"/>
                    </a:lnTo>
                    <a:lnTo>
                      <a:pt x="2742" y="3955"/>
                    </a:lnTo>
                    <a:lnTo>
                      <a:pt x="2825" y="3955"/>
                    </a:lnTo>
                    <a:lnTo>
                      <a:pt x="2930" y="3934"/>
                    </a:lnTo>
                    <a:lnTo>
                      <a:pt x="2993" y="3955"/>
                    </a:lnTo>
                    <a:lnTo>
                      <a:pt x="3014" y="4018"/>
                    </a:lnTo>
                    <a:lnTo>
                      <a:pt x="3139" y="4018"/>
                    </a:lnTo>
                    <a:lnTo>
                      <a:pt x="2993" y="3830"/>
                    </a:lnTo>
                    <a:lnTo>
                      <a:pt x="2909" y="3725"/>
                    </a:lnTo>
                    <a:lnTo>
                      <a:pt x="2951" y="3641"/>
                    </a:lnTo>
                    <a:lnTo>
                      <a:pt x="2993" y="3641"/>
                    </a:lnTo>
                    <a:lnTo>
                      <a:pt x="2909" y="3600"/>
                    </a:lnTo>
                    <a:lnTo>
                      <a:pt x="2888" y="3537"/>
                    </a:lnTo>
                    <a:lnTo>
                      <a:pt x="2846" y="3537"/>
                    </a:lnTo>
                    <a:lnTo>
                      <a:pt x="2784" y="3348"/>
                    </a:lnTo>
                    <a:lnTo>
                      <a:pt x="2616" y="3307"/>
                    </a:lnTo>
                    <a:lnTo>
                      <a:pt x="2428" y="3244"/>
                    </a:lnTo>
                    <a:lnTo>
                      <a:pt x="2428" y="3181"/>
                    </a:lnTo>
                    <a:lnTo>
                      <a:pt x="2386" y="3139"/>
                    </a:lnTo>
                    <a:lnTo>
                      <a:pt x="2323" y="2930"/>
                    </a:lnTo>
                    <a:lnTo>
                      <a:pt x="2260" y="2825"/>
                    </a:lnTo>
                    <a:lnTo>
                      <a:pt x="2198" y="2574"/>
                    </a:lnTo>
                    <a:lnTo>
                      <a:pt x="2156" y="2470"/>
                    </a:lnTo>
                    <a:lnTo>
                      <a:pt x="2093" y="2470"/>
                    </a:lnTo>
                    <a:lnTo>
                      <a:pt x="1947" y="2239"/>
                    </a:lnTo>
                    <a:lnTo>
                      <a:pt x="1842" y="2198"/>
                    </a:lnTo>
                    <a:lnTo>
                      <a:pt x="1758" y="2156"/>
                    </a:lnTo>
                    <a:lnTo>
                      <a:pt x="1654" y="2093"/>
                    </a:lnTo>
                    <a:lnTo>
                      <a:pt x="1591" y="2156"/>
                    </a:lnTo>
                    <a:lnTo>
                      <a:pt x="1486" y="2198"/>
                    </a:lnTo>
                    <a:lnTo>
                      <a:pt x="1361" y="2177"/>
                    </a:lnTo>
                    <a:lnTo>
                      <a:pt x="1277" y="2177"/>
                    </a:lnTo>
                    <a:lnTo>
                      <a:pt x="1172" y="2156"/>
                    </a:lnTo>
                    <a:lnTo>
                      <a:pt x="1152" y="2072"/>
                    </a:lnTo>
                    <a:lnTo>
                      <a:pt x="1152" y="2072"/>
                    </a:lnTo>
                    <a:lnTo>
                      <a:pt x="1214" y="2093"/>
                    </a:lnTo>
                    <a:lnTo>
                      <a:pt x="1340" y="2135"/>
                    </a:lnTo>
                    <a:lnTo>
                      <a:pt x="1465" y="2093"/>
                    </a:lnTo>
                    <a:lnTo>
                      <a:pt x="1486" y="1988"/>
                    </a:lnTo>
                    <a:lnTo>
                      <a:pt x="1591" y="1988"/>
                    </a:lnTo>
                    <a:lnTo>
                      <a:pt x="1696" y="1926"/>
                    </a:lnTo>
                    <a:lnTo>
                      <a:pt x="1591" y="1884"/>
                    </a:lnTo>
                    <a:lnTo>
                      <a:pt x="1591" y="1800"/>
                    </a:lnTo>
                    <a:lnTo>
                      <a:pt x="1549" y="1779"/>
                    </a:lnTo>
                    <a:lnTo>
                      <a:pt x="1424" y="1863"/>
                    </a:lnTo>
                    <a:lnTo>
                      <a:pt x="1382" y="1842"/>
                    </a:lnTo>
                    <a:lnTo>
                      <a:pt x="1486" y="1758"/>
                    </a:lnTo>
                    <a:lnTo>
                      <a:pt x="1633" y="1758"/>
                    </a:lnTo>
                    <a:lnTo>
                      <a:pt x="1696" y="1716"/>
                    </a:lnTo>
                    <a:lnTo>
                      <a:pt x="1696" y="1633"/>
                    </a:lnTo>
                    <a:lnTo>
                      <a:pt x="1758" y="1612"/>
                    </a:lnTo>
                    <a:lnTo>
                      <a:pt x="1842" y="1444"/>
                    </a:lnTo>
                    <a:lnTo>
                      <a:pt x="1884" y="1403"/>
                    </a:lnTo>
                    <a:lnTo>
                      <a:pt x="1884" y="1340"/>
                    </a:lnTo>
                    <a:lnTo>
                      <a:pt x="1947" y="1235"/>
                    </a:lnTo>
                    <a:lnTo>
                      <a:pt x="1905" y="1214"/>
                    </a:lnTo>
                    <a:lnTo>
                      <a:pt x="1968" y="1047"/>
                    </a:lnTo>
                    <a:lnTo>
                      <a:pt x="2072" y="984"/>
                    </a:lnTo>
                    <a:lnTo>
                      <a:pt x="2072" y="900"/>
                    </a:lnTo>
                    <a:lnTo>
                      <a:pt x="1905" y="754"/>
                    </a:lnTo>
                    <a:lnTo>
                      <a:pt x="1884" y="796"/>
                    </a:lnTo>
                    <a:lnTo>
                      <a:pt x="1675" y="796"/>
                    </a:lnTo>
                    <a:lnTo>
                      <a:pt x="1528" y="754"/>
                    </a:lnTo>
                    <a:lnTo>
                      <a:pt x="1486" y="817"/>
                    </a:lnTo>
                    <a:lnTo>
                      <a:pt x="1424" y="817"/>
                    </a:lnTo>
                    <a:lnTo>
                      <a:pt x="1340" y="754"/>
                    </a:lnTo>
                    <a:lnTo>
                      <a:pt x="1256" y="796"/>
                    </a:lnTo>
                    <a:lnTo>
                      <a:pt x="1256" y="817"/>
                    </a:lnTo>
                    <a:lnTo>
                      <a:pt x="1172" y="838"/>
                    </a:lnTo>
                    <a:lnTo>
                      <a:pt x="1068" y="900"/>
                    </a:lnTo>
                    <a:lnTo>
                      <a:pt x="1047" y="900"/>
                    </a:lnTo>
                    <a:lnTo>
                      <a:pt x="963" y="942"/>
                    </a:lnTo>
                    <a:lnTo>
                      <a:pt x="942" y="921"/>
                    </a:lnTo>
                    <a:lnTo>
                      <a:pt x="1047" y="817"/>
                    </a:lnTo>
                    <a:lnTo>
                      <a:pt x="1131" y="691"/>
                    </a:lnTo>
                    <a:lnTo>
                      <a:pt x="1131" y="691"/>
                    </a:lnTo>
                    <a:lnTo>
                      <a:pt x="1068" y="712"/>
                    </a:lnTo>
                    <a:lnTo>
                      <a:pt x="963" y="691"/>
                    </a:lnTo>
                    <a:lnTo>
                      <a:pt x="1026" y="670"/>
                    </a:lnTo>
                    <a:lnTo>
                      <a:pt x="1047" y="587"/>
                    </a:lnTo>
                    <a:lnTo>
                      <a:pt x="1277" y="419"/>
                    </a:lnTo>
                    <a:lnTo>
                      <a:pt x="1340" y="294"/>
                    </a:lnTo>
                    <a:lnTo>
                      <a:pt x="1424" y="273"/>
                    </a:lnTo>
                    <a:lnTo>
                      <a:pt x="1444" y="168"/>
                    </a:lnTo>
                    <a:lnTo>
                      <a:pt x="1424" y="147"/>
                    </a:lnTo>
                    <a:lnTo>
                      <a:pt x="1465" y="63"/>
                    </a:lnTo>
                    <a:lnTo>
                      <a:pt x="144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47" name="Google Shape;2047;p66"/>
              <p:cNvSpPr/>
              <p:nvPr/>
            </p:nvSpPr>
            <p:spPr>
              <a:xfrm>
                <a:off x="3586375" y="2350350"/>
                <a:ext cx="31925" cy="25125"/>
              </a:xfrm>
              <a:custGeom>
                <a:avLst/>
                <a:gdLst/>
                <a:ahLst/>
                <a:cxnLst/>
                <a:rect l="l" t="t" r="r" b="b"/>
                <a:pathLst>
                  <a:path w="1277" h="1005" extrusionOk="0">
                    <a:moveTo>
                      <a:pt x="732" y="1"/>
                    </a:moveTo>
                    <a:lnTo>
                      <a:pt x="628" y="63"/>
                    </a:lnTo>
                    <a:lnTo>
                      <a:pt x="544" y="63"/>
                    </a:lnTo>
                    <a:lnTo>
                      <a:pt x="523" y="126"/>
                    </a:lnTo>
                    <a:lnTo>
                      <a:pt x="419" y="126"/>
                    </a:lnTo>
                    <a:lnTo>
                      <a:pt x="377" y="210"/>
                    </a:lnTo>
                    <a:lnTo>
                      <a:pt x="293" y="231"/>
                    </a:lnTo>
                    <a:lnTo>
                      <a:pt x="272" y="335"/>
                    </a:lnTo>
                    <a:lnTo>
                      <a:pt x="126" y="356"/>
                    </a:lnTo>
                    <a:lnTo>
                      <a:pt x="0" y="586"/>
                    </a:lnTo>
                    <a:lnTo>
                      <a:pt x="272" y="838"/>
                    </a:lnTo>
                    <a:lnTo>
                      <a:pt x="335" y="796"/>
                    </a:lnTo>
                    <a:lnTo>
                      <a:pt x="377" y="649"/>
                    </a:lnTo>
                    <a:lnTo>
                      <a:pt x="440" y="586"/>
                    </a:lnTo>
                    <a:lnTo>
                      <a:pt x="607" y="691"/>
                    </a:lnTo>
                    <a:lnTo>
                      <a:pt x="712" y="900"/>
                    </a:lnTo>
                    <a:lnTo>
                      <a:pt x="795" y="942"/>
                    </a:lnTo>
                    <a:lnTo>
                      <a:pt x="921" y="1005"/>
                    </a:lnTo>
                    <a:lnTo>
                      <a:pt x="942" y="1005"/>
                    </a:lnTo>
                    <a:lnTo>
                      <a:pt x="942" y="942"/>
                    </a:lnTo>
                    <a:lnTo>
                      <a:pt x="1004" y="942"/>
                    </a:lnTo>
                    <a:lnTo>
                      <a:pt x="1067" y="858"/>
                    </a:lnTo>
                    <a:lnTo>
                      <a:pt x="1067" y="775"/>
                    </a:lnTo>
                    <a:lnTo>
                      <a:pt x="1214" y="796"/>
                    </a:lnTo>
                    <a:lnTo>
                      <a:pt x="1235" y="691"/>
                    </a:lnTo>
                    <a:lnTo>
                      <a:pt x="1151" y="691"/>
                    </a:lnTo>
                    <a:lnTo>
                      <a:pt x="1172" y="586"/>
                    </a:lnTo>
                    <a:lnTo>
                      <a:pt x="1151" y="545"/>
                    </a:lnTo>
                    <a:lnTo>
                      <a:pt x="1214" y="524"/>
                    </a:lnTo>
                    <a:lnTo>
                      <a:pt x="1277" y="733"/>
                    </a:lnTo>
                    <a:lnTo>
                      <a:pt x="1235" y="461"/>
                    </a:lnTo>
                    <a:lnTo>
                      <a:pt x="1109" y="461"/>
                    </a:lnTo>
                    <a:lnTo>
                      <a:pt x="1172" y="419"/>
                    </a:lnTo>
                    <a:lnTo>
                      <a:pt x="1004" y="147"/>
                    </a:lnTo>
                    <a:lnTo>
                      <a:pt x="1004" y="42"/>
                    </a:lnTo>
                    <a:lnTo>
                      <a:pt x="921" y="21"/>
                    </a:lnTo>
                    <a:lnTo>
                      <a:pt x="73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48" name="Google Shape;2048;p66"/>
            <p:cNvSpPr/>
            <p:nvPr/>
          </p:nvSpPr>
          <p:spPr>
            <a:xfrm>
              <a:off x="4037841" y="3224817"/>
              <a:ext cx="52333" cy="93527"/>
            </a:xfrm>
            <a:custGeom>
              <a:avLst/>
              <a:gdLst/>
              <a:ahLst/>
              <a:cxnLst/>
              <a:rect l="l" t="t" r="r" b="b"/>
              <a:pathLst>
                <a:path w="4395" h="8224" extrusionOk="0">
                  <a:moveTo>
                    <a:pt x="3914" y="1"/>
                  </a:moveTo>
                  <a:lnTo>
                    <a:pt x="3746" y="168"/>
                  </a:lnTo>
                  <a:lnTo>
                    <a:pt x="3809" y="252"/>
                  </a:lnTo>
                  <a:lnTo>
                    <a:pt x="3704" y="293"/>
                  </a:lnTo>
                  <a:lnTo>
                    <a:pt x="3600" y="252"/>
                  </a:lnTo>
                  <a:lnTo>
                    <a:pt x="3537" y="252"/>
                  </a:lnTo>
                  <a:lnTo>
                    <a:pt x="3621" y="377"/>
                  </a:lnTo>
                  <a:lnTo>
                    <a:pt x="3621" y="419"/>
                  </a:lnTo>
                  <a:lnTo>
                    <a:pt x="3704" y="503"/>
                  </a:lnTo>
                  <a:lnTo>
                    <a:pt x="3704" y="524"/>
                  </a:lnTo>
                  <a:lnTo>
                    <a:pt x="3600" y="670"/>
                  </a:lnTo>
                  <a:lnTo>
                    <a:pt x="3600" y="817"/>
                  </a:lnTo>
                  <a:lnTo>
                    <a:pt x="3516" y="921"/>
                  </a:lnTo>
                  <a:lnTo>
                    <a:pt x="3432" y="900"/>
                  </a:lnTo>
                  <a:lnTo>
                    <a:pt x="3328" y="1026"/>
                  </a:lnTo>
                  <a:lnTo>
                    <a:pt x="3328" y="1109"/>
                  </a:lnTo>
                  <a:lnTo>
                    <a:pt x="3244" y="1151"/>
                  </a:lnTo>
                  <a:lnTo>
                    <a:pt x="3181" y="1130"/>
                  </a:lnTo>
                  <a:lnTo>
                    <a:pt x="3181" y="1005"/>
                  </a:lnTo>
                  <a:lnTo>
                    <a:pt x="3118" y="984"/>
                  </a:lnTo>
                  <a:lnTo>
                    <a:pt x="3035" y="1047"/>
                  </a:lnTo>
                  <a:lnTo>
                    <a:pt x="3035" y="1193"/>
                  </a:lnTo>
                  <a:lnTo>
                    <a:pt x="3139" y="1298"/>
                  </a:lnTo>
                  <a:lnTo>
                    <a:pt x="3181" y="1340"/>
                  </a:lnTo>
                  <a:lnTo>
                    <a:pt x="3139" y="1402"/>
                  </a:lnTo>
                  <a:lnTo>
                    <a:pt x="3077" y="1361"/>
                  </a:lnTo>
                  <a:lnTo>
                    <a:pt x="2930" y="1402"/>
                  </a:lnTo>
                  <a:lnTo>
                    <a:pt x="2993" y="1507"/>
                  </a:lnTo>
                  <a:lnTo>
                    <a:pt x="3098" y="1549"/>
                  </a:lnTo>
                  <a:lnTo>
                    <a:pt x="3098" y="1612"/>
                  </a:lnTo>
                  <a:lnTo>
                    <a:pt x="3077" y="1674"/>
                  </a:lnTo>
                  <a:lnTo>
                    <a:pt x="2993" y="1612"/>
                  </a:lnTo>
                  <a:lnTo>
                    <a:pt x="2909" y="1633"/>
                  </a:lnTo>
                  <a:lnTo>
                    <a:pt x="2888" y="1716"/>
                  </a:lnTo>
                  <a:lnTo>
                    <a:pt x="2721" y="1842"/>
                  </a:lnTo>
                  <a:lnTo>
                    <a:pt x="2721" y="1716"/>
                  </a:lnTo>
                  <a:lnTo>
                    <a:pt x="2763" y="1674"/>
                  </a:lnTo>
                  <a:lnTo>
                    <a:pt x="2721" y="1612"/>
                  </a:lnTo>
                  <a:lnTo>
                    <a:pt x="2616" y="1716"/>
                  </a:lnTo>
                  <a:lnTo>
                    <a:pt x="2679" y="1758"/>
                  </a:lnTo>
                  <a:lnTo>
                    <a:pt x="2658" y="1821"/>
                  </a:lnTo>
                  <a:lnTo>
                    <a:pt x="2512" y="1884"/>
                  </a:lnTo>
                  <a:lnTo>
                    <a:pt x="2574" y="1988"/>
                  </a:lnTo>
                  <a:lnTo>
                    <a:pt x="2658" y="2030"/>
                  </a:lnTo>
                  <a:lnTo>
                    <a:pt x="2658" y="2072"/>
                  </a:lnTo>
                  <a:lnTo>
                    <a:pt x="2574" y="2093"/>
                  </a:lnTo>
                  <a:lnTo>
                    <a:pt x="2470" y="2156"/>
                  </a:lnTo>
                  <a:lnTo>
                    <a:pt x="2470" y="2072"/>
                  </a:lnTo>
                  <a:lnTo>
                    <a:pt x="2407" y="2072"/>
                  </a:lnTo>
                  <a:lnTo>
                    <a:pt x="2470" y="1967"/>
                  </a:lnTo>
                  <a:lnTo>
                    <a:pt x="2407" y="1946"/>
                  </a:lnTo>
                  <a:lnTo>
                    <a:pt x="2198" y="2135"/>
                  </a:lnTo>
                  <a:lnTo>
                    <a:pt x="2177" y="2281"/>
                  </a:lnTo>
                  <a:lnTo>
                    <a:pt x="2198" y="2365"/>
                  </a:lnTo>
                  <a:lnTo>
                    <a:pt x="2156" y="2407"/>
                  </a:lnTo>
                  <a:lnTo>
                    <a:pt x="2093" y="2386"/>
                  </a:lnTo>
                  <a:lnTo>
                    <a:pt x="2051" y="2365"/>
                  </a:lnTo>
                  <a:lnTo>
                    <a:pt x="2051" y="2197"/>
                  </a:lnTo>
                  <a:lnTo>
                    <a:pt x="1989" y="2197"/>
                  </a:lnTo>
                  <a:lnTo>
                    <a:pt x="1863" y="2344"/>
                  </a:lnTo>
                  <a:lnTo>
                    <a:pt x="1717" y="2239"/>
                  </a:lnTo>
                  <a:lnTo>
                    <a:pt x="1675" y="2281"/>
                  </a:lnTo>
                  <a:lnTo>
                    <a:pt x="1633" y="2281"/>
                  </a:lnTo>
                  <a:lnTo>
                    <a:pt x="1654" y="2449"/>
                  </a:lnTo>
                  <a:lnTo>
                    <a:pt x="1612" y="2449"/>
                  </a:lnTo>
                  <a:lnTo>
                    <a:pt x="1549" y="2469"/>
                  </a:lnTo>
                  <a:lnTo>
                    <a:pt x="1549" y="2365"/>
                  </a:lnTo>
                  <a:lnTo>
                    <a:pt x="1507" y="2344"/>
                  </a:lnTo>
                  <a:lnTo>
                    <a:pt x="1445" y="2449"/>
                  </a:lnTo>
                  <a:lnTo>
                    <a:pt x="1403" y="2344"/>
                  </a:lnTo>
                  <a:lnTo>
                    <a:pt x="1152" y="2553"/>
                  </a:lnTo>
                  <a:lnTo>
                    <a:pt x="1110" y="2553"/>
                  </a:lnTo>
                  <a:lnTo>
                    <a:pt x="1047" y="2511"/>
                  </a:lnTo>
                  <a:lnTo>
                    <a:pt x="921" y="2511"/>
                  </a:lnTo>
                  <a:lnTo>
                    <a:pt x="880" y="2595"/>
                  </a:lnTo>
                  <a:lnTo>
                    <a:pt x="901" y="2783"/>
                  </a:lnTo>
                  <a:lnTo>
                    <a:pt x="733" y="3034"/>
                  </a:lnTo>
                  <a:lnTo>
                    <a:pt x="733" y="3097"/>
                  </a:lnTo>
                  <a:lnTo>
                    <a:pt x="587" y="3244"/>
                  </a:lnTo>
                  <a:lnTo>
                    <a:pt x="587" y="3327"/>
                  </a:lnTo>
                  <a:lnTo>
                    <a:pt x="670" y="3411"/>
                  </a:lnTo>
                  <a:lnTo>
                    <a:pt x="587" y="3516"/>
                  </a:lnTo>
                  <a:lnTo>
                    <a:pt x="629" y="3704"/>
                  </a:lnTo>
                  <a:lnTo>
                    <a:pt x="629" y="3830"/>
                  </a:lnTo>
                  <a:lnTo>
                    <a:pt x="796" y="4143"/>
                  </a:lnTo>
                  <a:lnTo>
                    <a:pt x="796" y="4227"/>
                  </a:lnTo>
                  <a:lnTo>
                    <a:pt x="880" y="4332"/>
                  </a:lnTo>
                  <a:lnTo>
                    <a:pt x="880" y="4374"/>
                  </a:lnTo>
                  <a:lnTo>
                    <a:pt x="796" y="4457"/>
                  </a:lnTo>
                  <a:lnTo>
                    <a:pt x="817" y="4541"/>
                  </a:lnTo>
                  <a:lnTo>
                    <a:pt x="775" y="4792"/>
                  </a:lnTo>
                  <a:lnTo>
                    <a:pt x="670" y="4876"/>
                  </a:lnTo>
                  <a:lnTo>
                    <a:pt x="629" y="5022"/>
                  </a:lnTo>
                  <a:lnTo>
                    <a:pt x="566" y="5064"/>
                  </a:lnTo>
                  <a:lnTo>
                    <a:pt x="524" y="5127"/>
                  </a:lnTo>
                  <a:lnTo>
                    <a:pt x="419" y="5231"/>
                  </a:lnTo>
                  <a:lnTo>
                    <a:pt x="419" y="5441"/>
                  </a:lnTo>
                  <a:lnTo>
                    <a:pt x="357" y="5524"/>
                  </a:lnTo>
                  <a:lnTo>
                    <a:pt x="168" y="5545"/>
                  </a:lnTo>
                  <a:lnTo>
                    <a:pt x="147" y="5608"/>
                  </a:lnTo>
                  <a:lnTo>
                    <a:pt x="147" y="5796"/>
                  </a:lnTo>
                  <a:lnTo>
                    <a:pt x="43" y="5943"/>
                  </a:lnTo>
                  <a:lnTo>
                    <a:pt x="43" y="6068"/>
                  </a:lnTo>
                  <a:lnTo>
                    <a:pt x="1" y="6173"/>
                  </a:lnTo>
                  <a:lnTo>
                    <a:pt x="43" y="6236"/>
                  </a:lnTo>
                  <a:lnTo>
                    <a:pt x="43" y="6424"/>
                  </a:lnTo>
                  <a:lnTo>
                    <a:pt x="189" y="6591"/>
                  </a:lnTo>
                  <a:lnTo>
                    <a:pt x="168" y="6738"/>
                  </a:lnTo>
                  <a:lnTo>
                    <a:pt x="189" y="6843"/>
                  </a:lnTo>
                  <a:lnTo>
                    <a:pt x="273" y="6863"/>
                  </a:lnTo>
                  <a:lnTo>
                    <a:pt x="294" y="6863"/>
                  </a:lnTo>
                  <a:lnTo>
                    <a:pt x="273" y="6884"/>
                  </a:lnTo>
                  <a:lnTo>
                    <a:pt x="147" y="6905"/>
                  </a:lnTo>
                  <a:lnTo>
                    <a:pt x="147" y="7052"/>
                  </a:lnTo>
                  <a:lnTo>
                    <a:pt x="168" y="7219"/>
                  </a:lnTo>
                  <a:lnTo>
                    <a:pt x="147" y="7470"/>
                  </a:lnTo>
                  <a:lnTo>
                    <a:pt x="189" y="7512"/>
                  </a:lnTo>
                  <a:lnTo>
                    <a:pt x="189" y="7596"/>
                  </a:lnTo>
                  <a:lnTo>
                    <a:pt x="273" y="7638"/>
                  </a:lnTo>
                  <a:lnTo>
                    <a:pt x="357" y="7742"/>
                  </a:lnTo>
                  <a:lnTo>
                    <a:pt x="398" y="7784"/>
                  </a:lnTo>
                  <a:lnTo>
                    <a:pt x="461" y="7847"/>
                  </a:lnTo>
                  <a:lnTo>
                    <a:pt x="524" y="7951"/>
                  </a:lnTo>
                  <a:lnTo>
                    <a:pt x="608" y="7931"/>
                  </a:lnTo>
                  <a:lnTo>
                    <a:pt x="629" y="7951"/>
                  </a:lnTo>
                  <a:lnTo>
                    <a:pt x="733" y="7993"/>
                  </a:lnTo>
                  <a:lnTo>
                    <a:pt x="817" y="8119"/>
                  </a:lnTo>
                  <a:lnTo>
                    <a:pt x="901" y="8140"/>
                  </a:lnTo>
                  <a:lnTo>
                    <a:pt x="901" y="8161"/>
                  </a:lnTo>
                  <a:lnTo>
                    <a:pt x="921" y="8223"/>
                  </a:lnTo>
                  <a:lnTo>
                    <a:pt x="1005" y="8161"/>
                  </a:lnTo>
                  <a:lnTo>
                    <a:pt x="1131" y="8161"/>
                  </a:lnTo>
                  <a:lnTo>
                    <a:pt x="1256" y="8098"/>
                  </a:lnTo>
                  <a:lnTo>
                    <a:pt x="1361" y="7951"/>
                  </a:lnTo>
                  <a:lnTo>
                    <a:pt x="1737" y="7931"/>
                  </a:lnTo>
                  <a:lnTo>
                    <a:pt x="1842" y="7951"/>
                  </a:lnTo>
                  <a:lnTo>
                    <a:pt x="2030" y="7889"/>
                  </a:lnTo>
                  <a:lnTo>
                    <a:pt x="2093" y="7784"/>
                  </a:lnTo>
                  <a:lnTo>
                    <a:pt x="2177" y="7742"/>
                  </a:lnTo>
                  <a:lnTo>
                    <a:pt x="2240" y="7596"/>
                  </a:lnTo>
                  <a:lnTo>
                    <a:pt x="2344" y="7428"/>
                  </a:lnTo>
                  <a:lnTo>
                    <a:pt x="2344" y="7324"/>
                  </a:lnTo>
                  <a:lnTo>
                    <a:pt x="2449" y="7261"/>
                  </a:lnTo>
                  <a:lnTo>
                    <a:pt x="2449" y="7094"/>
                  </a:lnTo>
                  <a:lnTo>
                    <a:pt x="2407" y="7073"/>
                  </a:lnTo>
                  <a:lnTo>
                    <a:pt x="2491" y="6989"/>
                  </a:lnTo>
                  <a:lnTo>
                    <a:pt x="2554" y="6801"/>
                  </a:lnTo>
                  <a:lnTo>
                    <a:pt x="2512" y="6780"/>
                  </a:lnTo>
                  <a:lnTo>
                    <a:pt x="2574" y="6780"/>
                  </a:lnTo>
                  <a:lnTo>
                    <a:pt x="2679" y="6591"/>
                  </a:lnTo>
                  <a:lnTo>
                    <a:pt x="2763" y="6236"/>
                  </a:lnTo>
                  <a:lnTo>
                    <a:pt x="2805" y="6027"/>
                  </a:lnTo>
                  <a:lnTo>
                    <a:pt x="2909" y="5922"/>
                  </a:lnTo>
                  <a:lnTo>
                    <a:pt x="2972" y="5692"/>
                  </a:lnTo>
                  <a:lnTo>
                    <a:pt x="3118" y="5420"/>
                  </a:lnTo>
                  <a:lnTo>
                    <a:pt x="3286" y="4959"/>
                  </a:lnTo>
                  <a:lnTo>
                    <a:pt x="3390" y="4792"/>
                  </a:lnTo>
                  <a:lnTo>
                    <a:pt x="3390" y="4583"/>
                  </a:lnTo>
                  <a:lnTo>
                    <a:pt x="3495" y="4374"/>
                  </a:lnTo>
                  <a:lnTo>
                    <a:pt x="3516" y="4269"/>
                  </a:lnTo>
                  <a:lnTo>
                    <a:pt x="3642" y="4060"/>
                  </a:lnTo>
                  <a:lnTo>
                    <a:pt x="3704" y="3746"/>
                  </a:lnTo>
                  <a:lnTo>
                    <a:pt x="3746" y="3516"/>
                  </a:lnTo>
                  <a:lnTo>
                    <a:pt x="3809" y="3453"/>
                  </a:lnTo>
                  <a:lnTo>
                    <a:pt x="3830" y="3286"/>
                  </a:lnTo>
                  <a:lnTo>
                    <a:pt x="3809" y="3202"/>
                  </a:lnTo>
                  <a:lnTo>
                    <a:pt x="3830" y="3076"/>
                  </a:lnTo>
                  <a:lnTo>
                    <a:pt x="3934" y="2888"/>
                  </a:lnTo>
                  <a:lnTo>
                    <a:pt x="3934" y="2804"/>
                  </a:lnTo>
                  <a:lnTo>
                    <a:pt x="4018" y="2700"/>
                  </a:lnTo>
                  <a:lnTo>
                    <a:pt x="3976" y="2574"/>
                  </a:lnTo>
                  <a:lnTo>
                    <a:pt x="3934" y="2511"/>
                  </a:lnTo>
                  <a:lnTo>
                    <a:pt x="3976" y="2449"/>
                  </a:lnTo>
                  <a:lnTo>
                    <a:pt x="3976" y="2281"/>
                  </a:lnTo>
                  <a:lnTo>
                    <a:pt x="3934" y="2260"/>
                  </a:lnTo>
                  <a:lnTo>
                    <a:pt x="3934" y="2135"/>
                  </a:lnTo>
                  <a:lnTo>
                    <a:pt x="4018" y="2072"/>
                  </a:lnTo>
                  <a:lnTo>
                    <a:pt x="4060" y="2135"/>
                  </a:lnTo>
                  <a:lnTo>
                    <a:pt x="4081" y="2260"/>
                  </a:lnTo>
                  <a:lnTo>
                    <a:pt x="4186" y="2386"/>
                  </a:lnTo>
                  <a:lnTo>
                    <a:pt x="4269" y="2386"/>
                  </a:lnTo>
                  <a:lnTo>
                    <a:pt x="4290" y="2302"/>
                  </a:lnTo>
                  <a:lnTo>
                    <a:pt x="4332" y="2239"/>
                  </a:lnTo>
                  <a:lnTo>
                    <a:pt x="4353" y="2177"/>
                  </a:lnTo>
                  <a:lnTo>
                    <a:pt x="4353" y="2072"/>
                  </a:lnTo>
                  <a:lnTo>
                    <a:pt x="4395" y="2051"/>
                  </a:lnTo>
                  <a:lnTo>
                    <a:pt x="4374" y="1925"/>
                  </a:lnTo>
                  <a:lnTo>
                    <a:pt x="4269" y="1779"/>
                  </a:lnTo>
                  <a:lnTo>
                    <a:pt x="4248" y="1674"/>
                  </a:lnTo>
                  <a:lnTo>
                    <a:pt x="4269" y="1633"/>
                  </a:lnTo>
                  <a:lnTo>
                    <a:pt x="4269" y="1507"/>
                  </a:lnTo>
                  <a:lnTo>
                    <a:pt x="4248" y="1340"/>
                  </a:lnTo>
                  <a:lnTo>
                    <a:pt x="4269" y="1256"/>
                  </a:lnTo>
                  <a:lnTo>
                    <a:pt x="4269" y="984"/>
                  </a:lnTo>
                  <a:lnTo>
                    <a:pt x="4186" y="879"/>
                  </a:lnTo>
                  <a:lnTo>
                    <a:pt x="4186" y="607"/>
                  </a:lnTo>
                  <a:lnTo>
                    <a:pt x="4144" y="524"/>
                  </a:lnTo>
                  <a:lnTo>
                    <a:pt x="4081" y="524"/>
                  </a:lnTo>
                  <a:lnTo>
                    <a:pt x="3976" y="398"/>
                  </a:lnTo>
                  <a:lnTo>
                    <a:pt x="3976" y="293"/>
                  </a:lnTo>
                  <a:lnTo>
                    <a:pt x="3872" y="252"/>
                  </a:lnTo>
                  <a:lnTo>
                    <a:pt x="3934" y="147"/>
                  </a:lnTo>
                  <a:lnTo>
                    <a:pt x="391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049" name="Google Shape;2049;p66"/>
            <p:cNvGrpSpPr/>
            <p:nvPr/>
          </p:nvGrpSpPr>
          <p:grpSpPr>
            <a:xfrm>
              <a:off x="4513224" y="3221724"/>
              <a:ext cx="274563" cy="280321"/>
              <a:chOff x="5298975" y="3412225"/>
              <a:chExt cx="576450" cy="616225"/>
            </a:xfrm>
          </p:grpSpPr>
          <p:sp>
            <p:nvSpPr>
              <p:cNvPr id="2050" name="Google Shape;2050;p66"/>
              <p:cNvSpPr/>
              <p:nvPr/>
            </p:nvSpPr>
            <p:spPr>
              <a:xfrm>
                <a:off x="5298975" y="3412225"/>
                <a:ext cx="576450" cy="515275"/>
              </a:xfrm>
              <a:custGeom>
                <a:avLst/>
                <a:gdLst/>
                <a:ahLst/>
                <a:cxnLst/>
                <a:rect l="l" t="t" r="r" b="b"/>
                <a:pathLst>
                  <a:path w="23058" h="20611" extrusionOk="0">
                    <a:moveTo>
                      <a:pt x="18015" y="1"/>
                    </a:moveTo>
                    <a:lnTo>
                      <a:pt x="17890" y="42"/>
                    </a:lnTo>
                    <a:lnTo>
                      <a:pt x="17806" y="147"/>
                    </a:lnTo>
                    <a:lnTo>
                      <a:pt x="17806" y="335"/>
                    </a:lnTo>
                    <a:lnTo>
                      <a:pt x="17764" y="524"/>
                    </a:lnTo>
                    <a:lnTo>
                      <a:pt x="17764" y="565"/>
                    </a:lnTo>
                    <a:lnTo>
                      <a:pt x="17722" y="670"/>
                    </a:lnTo>
                    <a:lnTo>
                      <a:pt x="17660" y="670"/>
                    </a:lnTo>
                    <a:lnTo>
                      <a:pt x="17597" y="858"/>
                    </a:lnTo>
                    <a:lnTo>
                      <a:pt x="17492" y="1005"/>
                    </a:lnTo>
                    <a:lnTo>
                      <a:pt x="17576" y="1089"/>
                    </a:lnTo>
                    <a:lnTo>
                      <a:pt x="17681" y="1172"/>
                    </a:lnTo>
                    <a:lnTo>
                      <a:pt x="17618" y="1214"/>
                    </a:lnTo>
                    <a:lnTo>
                      <a:pt x="17555" y="1193"/>
                    </a:lnTo>
                    <a:lnTo>
                      <a:pt x="17492" y="1319"/>
                    </a:lnTo>
                    <a:lnTo>
                      <a:pt x="17450" y="1423"/>
                    </a:lnTo>
                    <a:lnTo>
                      <a:pt x="17513" y="1570"/>
                    </a:lnTo>
                    <a:lnTo>
                      <a:pt x="17513" y="1674"/>
                    </a:lnTo>
                    <a:lnTo>
                      <a:pt x="17450" y="1633"/>
                    </a:lnTo>
                    <a:lnTo>
                      <a:pt x="17367" y="1674"/>
                    </a:lnTo>
                    <a:lnTo>
                      <a:pt x="17304" y="1946"/>
                    </a:lnTo>
                    <a:lnTo>
                      <a:pt x="17367" y="2156"/>
                    </a:lnTo>
                    <a:lnTo>
                      <a:pt x="17346" y="2365"/>
                    </a:lnTo>
                    <a:lnTo>
                      <a:pt x="17388" y="2511"/>
                    </a:lnTo>
                    <a:lnTo>
                      <a:pt x="17388" y="2679"/>
                    </a:lnTo>
                    <a:lnTo>
                      <a:pt x="17262" y="2783"/>
                    </a:lnTo>
                    <a:lnTo>
                      <a:pt x="17262" y="2867"/>
                    </a:lnTo>
                    <a:lnTo>
                      <a:pt x="17157" y="3097"/>
                    </a:lnTo>
                    <a:lnTo>
                      <a:pt x="17137" y="3411"/>
                    </a:lnTo>
                    <a:lnTo>
                      <a:pt x="17032" y="3558"/>
                    </a:lnTo>
                    <a:lnTo>
                      <a:pt x="17074" y="3662"/>
                    </a:lnTo>
                    <a:lnTo>
                      <a:pt x="16990" y="3830"/>
                    </a:lnTo>
                    <a:lnTo>
                      <a:pt x="16885" y="3934"/>
                    </a:lnTo>
                    <a:lnTo>
                      <a:pt x="16885" y="4143"/>
                    </a:lnTo>
                    <a:lnTo>
                      <a:pt x="16718" y="4290"/>
                    </a:lnTo>
                    <a:lnTo>
                      <a:pt x="16341" y="4436"/>
                    </a:lnTo>
                    <a:lnTo>
                      <a:pt x="16195" y="4332"/>
                    </a:lnTo>
                    <a:lnTo>
                      <a:pt x="16028" y="4311"/>
                    </a:lnTo>
                    <a:lnTo>
                      <a:pt x="15944" y="4227"/>
                    </a:lnTo>
                    <a:lnTo>
                      <a:pt x="15818" y="4102"/>
                    </a:lnTo>
                    <a:lnTo>
                      <a:pt x="15818" y="4039"/>
                    </a:lnTo>
                    <a:lnTo>
                      <a:pt x="15776" y="3997"/>
                    </a:lnTo>
                    <a:lnTo>
                      <a:pt x="15735" y="3871"/>
                    </a:lnTo>
                    <a:lnTo>
                      <a:pt x="15609" y="3830"/>
                    </a:lnTo>
                    <a:lnTo>
                      <a:pt x="15484" y="3788"/>
                    </a:lnTo>
                    <a:lnTo>
                      <a:pt x="15316" y="3788"/>
                    </a:lnTo>
                    <a:lnTo>
                      <a:pt x="15149" y="3683"/>
                    </a:lnTo>
                    <a:lnTo>
                      <a:pt x="15107" y="3578"/>
                    </a:lnTo>
                    <a:lnTo>
                      <a:pt x="14981" y="3411"/>
                    </a:lnTo>
                    <a:lnTo>
                      <a:pt x="14835" y="3390"/>
                    </a:lnTo>
                    <a:lnTo>
                      <a:pt x="14688" y="3306"/>
                    </a:lnTo>
                    <a:lnTo>
                      <a:pt x="14688" y="3244"/>
                    </a:lnTo>
                    <a:lnTo>
                      <a:pt x="14626" y="3244"/>
                    </a:lnTo>
                    <a:lnTo>
                      <a:pt x="14563" y="3181"/>
                    </a:lnTo>
                    <a:lnTo>
                      <a:pt x="14437" y="3181"/>
                    </a:lnTo>
                    <a:lnTo>
                      <a:pt x="14333" y="3160"/>
                    </a:lnTo>
                    <a:lnTo>
                      <a:pt x="14354" y="3097"/>
                    </a:lnTo>
                    <a:lnTo>
                      <a:pt x="14207" y="2993"/>
                    </a:lnTo>
                    <a:lnTo>
                      <a:pt x="14165" y="2867"/>
                    </a:lnTo>
                    <a:lnTo>
                      <a:pt x="14040" y="2721"/>
                    </a:lnTo>
                    <a:lnTo>
                      <a:pt x="13935" y="2721"/>
                    </a:lnTo>
                    <a:lnTo>
                      <a:pt x="13810" y="2553"/>
                    </a:lnTo>
                    <a:lnTo>
                      <a:pt x="13810" y="2428"/>
                    </a:lnTo>
                    <a:lnTo>
                      <a:pt x="13914" y="2239"/>
                    </a:lnTo>
                    <a:lnTo>
                      <a:pt x="13935" y="2114"/>
                    </a:lnTo>
                    <a:lnTo>
                      <a:pt x="14061" y="2030"/>
                    </a:lnTo>
                    <a:lnTo>
                      <a:pt x="14103" y="1884"/>
                    </a:lnTo>
                    <a:lnTo>
                      <a:pt x="14144" y="1779"/>
                    </a:lnTo>
                    <a:lnTo>
                      <a:pt x="14040" y="1821"/>
                    </a:lnTo>
                    <a:lnTo>
                      <a:pt x="13956" y="1674"/>
                    </a:lnTo>
                    <a:lnTo>
                      <a:pt x="14061" y="1591"/>
                    </a:lnTo>
                    <a:lnTo>
                      <a:pt x="14040" y="1486"/>
                    </a:lnTo>
                    <a:lnTo>
                      <a:pt x="14124" y="1486"/>
                    </a:lnTo>
                    <a:lnTo>
                      <a:pt x="14165" y="1465"/>
                    </a:lnTo>
                    <a:lnTo>
                      <a:pt x="14228" y="1486"/>
                    </a:lnTo>
                    <a:lnTo>
                      <a:pt x="14333" y="1507"/>
                    </a:lnTo>
                    <a:lnTo>
                      <a:pt x="14458" y="1465"/>
                    </a:lnTo>
                    <a:lnTo>
                      <a:pt x="14521" y="1319"/>
                    </a:lnTo>
                    <a:lnTo>
                      <a:pt x="14416" y="1256"/>
                    </a:lnTo>
                    <a:lnTo>
                      <a:pt x="14479" y="1172"/>
                    </a:lnTo>
                    <a:lnTo>
                      <a:pt x="14563" y="1193"/>
                    </a:lnTo>
                    <a:lnTo>
                      <a:pt x="14626" y="1005"/>
                    </a:lnTo>
                    <a:lnTo>
                      <a:pt x="14688" y="963"/>
                    </a:lnTo>
                    <a:lnTo>
                      <a:pt x="14772" y="858"/>
                    </a:lnTo>
                    <a:lnTo>
                      <a:pt x="14772" y="796"/>
                    </a:lnTo>
                    <a:lnTo>
                      <a:pt x="14668" y="754"/>
                    </a:lnTo>
                    <a:lnTo>
                      <a:pt x="14584" y="837"/>
                    </a:lnTo>
                    <a:lnTo>
                      <a:pt x="14521" y="796"/>
                    </a:lnTo>
                    <a:lnTo>
                      <a:pt x="14521" y="586"/>
                    </a:lnTo>
                    <a:lnTo>
                      <a:pt x="14416" y="649"/>
                    </a:lnTo>
                    <a:lnTo>
                      <a:pt x="14270" y="796"/>
                    </a:lnTo>
                    <a:lnTo>
                      <a:pt x="14333" y="837"/>
                    </a:lnTo>
                    <a:lnTo>
                      <a:pt x="14333" y="900"/>
                    </a:lnTo>
                    <a:lnTo>
                      <a:pt x="14249" y="963"/>
                    </a:lnTo>
                    <a:lnTo>
                      <a:pt x="14144" y="900"/>
                    </a:lnTo>
                    <a:lnTo>
                      <a:pt x="14124" y="837"/>
                    </a:lnTo>
                    <a:lnTo>
                      <a:pt x="14103" y="775"/>
                    </a:lnTo>
                    <a:lnTo>
                      <a:pt x="14040" y="858"/>
                    </a:lnTo>
                    <a:lnTo>
                      <a:pt x="13956" y="879"/>
                    </a:lnTo>
                    <a:lnTo>
                      <a:pt x="13956" y="796"/>
                    </a:lnTo>
                    <a:lnTo>
                      <a:pt x="14040" y="733"/>
                    </a:lnTo>
                    <a:lnTo>
                      <a:pt x="14061" y="670"/>
                    </a:lnTo>
                    <a:lnTo>
                      <a:pt x="13998" y="691"/>
                    </a:lnTo>
                    <a:lnTo>
                      <a:pt x="13914" y="775"/>
                    </a:lnTo>
                    <a:lnTo>
                      <a:pt x="13789" y="837"/>
                    </a:lnTo>
                    <a:lnTo>
                      <a:pt x="13789" y="858"/>
                    </a:lnTo>
                    <a:lnTo>
                      <a:pt x="13705" y="879"/>
                    </a:lnTo>
                    <a:lnTo>
                      <a:pt x="13684" y="837"/>
                    </a:lnTo>
                    <a:lnTo>
                      <a:pt x="13538" y="837"/>
                    </a:lnTo>
                    <a:lnTo>
                      <a:pt x="13538" y="775"/>
                    </a:lnTo>
                    <a:lnTo>
                      <a:pt x="13475" y="649"/>
                    </a:lnTo>
                    <a:lnTo>
                      <a:pt x="13412" y="649"/>
                    </a:lnTo>
                    <a:lnTo>
                      <a:pt x="13287" y="691"/>
                    </a:lnTo>
                    <a:lnTo>
                      <a:pt x="13182" y="670"/>
                    </a:lnTo>
                    <a:lnTo>
                      <a:pt x="13119" y="691"/>
                    </a:lnTo>
                    <a:lnTo>
                      <a:pt x="13077" y="628"/>
                    </a:lnTo>
                    <a:lnTo>
                      <a:pt x="13015" y="628"/>
                    </a:lnTo>
                    <a:lnTo>
                      <a:pt x="12973" y="482"/>
                    </a:lnTo>
                    <a:lnTo>
                      <a:pt x="12847" y="545"/>
                    </a:lnTo>
                    <a:lnTo>
                      <a:pt x="12701" y="524"/>
                    </a:lnTo>
                    <a:lnTo>
                      <a:pt x="12575" y="461"/>
                    </a:lnTo>
                    <a:lnTo>
                      <a:pt x="12575" y="377"/>
                    </a:lnTo>
                    <a:lnTo>
                      <a:pt x="12491" y="273"/>
                    </a:lnTo>
                    <a:lnTo>
                      <a:pt x="12450" y="273"/>
                    </a:lnTo>
                    <a:lnTo>
                      <a:pt x="12450" y="335"/>
                    </a:lnTo>
                    <a:lnTo>
                      <a:pt x="12282" y="377"/>
                    </a:lnTo>
                    <a:lnTo>
                      <a:pt x="12240" y="273"/>
                    </a:lnTo>
                    <a:lnTo>
                      <a:pt x="12136" y="252"/>
                    </a:lnTo>
                    <a:lnTo>
                      <a:pt x="11968" y="168"/>
                    </a:lnTo>
                    <a:lnTo>
                      <a:pt x="11968" y="210"/>
                    </a:lnTo>
                    <a:lnTo>
                      <a:pt x="11906" y="147"/>
                    </a:lnTo>
                    <a:lnTo>
                      <a:pt x="11801" y="231"/>
                    </a:lnTo>
                    <a:lnTo>
                      <a:pt x="11906" y="314"/>
                    </a:lnTo>
                    <a:lnTo>
                      <a:pt x="11864" y="335"/>
                    </a:lnTo>
                    <a:lnTo>
                      <a:pt x="11968" y="356"/>
                    </a:lnTo>
                    <a:lnTo>
                      <a:pt x="12073" y="335"/>
                    </a:lnTo>
                    <a:lnTo>
                      <a:pt x="12240" y="461"/>
                    </a:lnTo>
                    <a:lnTo>
                      <a:pt x="12240" y="545"/>
                    </a:lnTo>
                    <a:lnTo>
                      <a:pt x="12261" y="733"/>
                    </a:lnTo>
                    <a:lnTo>
                      <a:pt x="12136" y="733"/>
                    </a:lnTo>
                    <a:lnTo>
                      <a:pt x="12115" y="858"/>
                    </a:lnTo>
                    <a:lnTo>
                      <a:pt x="12052" y="775"/>
                    </a:lnTo>
                    <a:lnTo>
                      <a:pt x="11968" y="754"/>
                    </a:lnTo>
                    <a:lnTo>
                      <a:pt x="11864" y="837"/>
                    </a:lnTo>
                    <a:lnTo>
                      <a:pt x="11550" y="837"/>
                    </a:lnTo>
                    <a:lnTo>
                      <a:pt x="11424" y="733"/>
                    </a:lnTo>
                    <a:lnTo>
                      <a:pt x="11403" y="775"/>
                    </a:lnTo>
                    <a:lnTo>
                      <a:pt x="11278" y="837"/>
                    </a:lnTo>
                    <a:lnTo>
                      <a:pt x="11299" y="942"/>
                    </a:lnTo>
                    <a:lnTo>
                      <a:pt x="11194" y="900"/>
                    </a:lnTo>
                    <a:lnTo>
                      <a:pt x="11215" y="1068"/>
                    </a:lnTo>
                    <a:lnTo>
                      <a:pt x="11173" y="1005"/>
                    </a:lnTo>
                    <a:lnTo>
                      <a:pt x="11027" y="963"/>
                    </a:lnTo>
                    <a:lnTo>
                      <a:pt x="10985" y="1047"/>
                    </a:lnTo>
                    <a:lnTo>
                      <a:pt x="11027" y="1109"/>
                    </a:lnTo>
                    <a:lnTo>
                      <a:pt x="11027" y="1172"/>
                    </a:lnTo>
                    <a:lnTo>
                      <a:pt x="10880" y="1109"/>
                    </a:lnTo>
                    <a:lnTo>
                      <a:pt x="10818" y="1193"/>
                    </a:lnTo>
                    <a:lnTo>
                      <a:pt x="10880" y="1256"/>
                    </a:lnTo>
                    <a:lnTo>
                      <a:pt x="10797" y="1298"/>
                    </a:lnTo>
                    <a:lnTo>
                      <a:pt x="10713" y="1361"/>
                    </a:lnTo>
                    <a:lnTo>
                      <a:pt x="10713" y="1402"/>
                    </a:lnTo>
                    <a:lnTo>
                      <a:pt x="10797" y="1507"/>
                    </a:lnTo>
                    <a:lnTo>
                      <a:pt x="10818" y="1570"/>
                    </a:lnTo>
                    <a:lnTo>
                      <a:pt x="10818" y="1570"/>
                    </a:lnTo>
                    <a:lnTo>
                      <a:pt x="10713" y="1507"/>
                    </a:lnTo>
                    <a:lnTo>
                      <a:pt x="10650" y="1591"/>
                    </a:lnTo>
                    <a:lnTo>
                      <a:pt x="10546" y="1591"/>
                    </a:lnTo>
                    <a:lnTo>
                      <a:pt x="10462" y="1737"/>
                    </a:lnTo>
                    <a:lnTo>
                      <a:pt x="10357" y="1925"/>
                    </a:lnTo>
                    <a:lnTo>
                      <a:pt x="10274" y="1946"/>
                    </a:lnTo>
                    <a:lnTo>
                      <a:pt x="10253" y="2114"/>
                    </a:lnTo>
                    <a:lnTo>
                      <a:pt x="10148" y="2156"/>
                    </a:lnTo>
                    <a:lnTo>
                      <a:pt x="10232" y="2239"/>
                    </a:lnTo>
                    <a:lnTo>
                      <a:pt x="10441" y="2260"/>
                    </a:lnTo>
                    <a:lnTo>
                      <a:pt x="10357" y="2302"/>
                    </a:lnTo>
                    <a:lnTo>
                      <a:pt x="10294" y="2365"/>
                    </a:lnTo>
                    <a:lnTo>
                      <a:pt x="10546" y="2449"/>
                    </a:lnTo>
                    <a:lnTo>
                      <a:pt x="10462" y="2511"/>
                    </a:lnTo>
                    <a:lnTo>
                      <a:pt x="10294" y="2469"/>
                    </a:lnTo>
                    <a:lnTo>
                      <a:pt x="10253" y="2407"/>
                    </a:lnTo>
                    <a:lnTo>
                      <a:pt x="10253" y="2407"/>
                    </a:lnTo>
                    <a:lnTo>
                      <a:pt x="10274" y="2469"/>
                    </a:lnTo>
                    <a:lnTo>
                      <a:pt x="10357" y="2553"/>
                    </a:lnTo>
                    <a:lnTo>
                      <a:pt x="10357" y="2679"/>
                    </a:lnTo>
                    <a:lnTo>
                      <a:pt x="10462" y="2825"/>
                    </a:lnTo>
                    <a:lnTo>
                      <a:pt x="10294" y="2679"/>
                    </a:lnTo>
                    <a:lnTo>
                      <a:pt x="10232" y="2532"/>
                    </a:lnTo>
                    <a:lnTo>
                      <a:pt x="10127" y="2511"/>
                    </a:lnTo>
                    <a:lnTo>
                      <a:pt x="10085" y="2574"/>
                    </a:lnTo>
                    <a:lnTo>
                      <a:pt x="10064" y="2658"/>
                    </a:lnTo>
                    <a:lnTo>
                      <a:pt x="10043" y="2574"/>
                    </a:lnTo>
                    <a:lnTo>
                      <a:pt x="9813" y="2428"/>
                    </a:lnTo>
                    <a:lnTo>
                      <a:pt x="9625" y="2449"/>
                    </a:lnTo>
                    <a:lnTo>
                      <a:pt x="9667" y="2511"/>
                    </a:lnTo>
                    <a:lnTo>
                      <a:pt x="9625" y="2574"/>
                    </a:lnTo>
                    <a:lnTo>
                      <a:pt x="9562" y="2532"/>
                    </a:lnTo>
                    <a:lnTo>
                      <a:pt x="9520" y="2532"/>
                    </a:lnTo>
                    <a:lnTo>
                      <a:pt x="9458" y="2574"/>
                    </a:lnTo>
                    <a:lnTo>
                      <a:pt x="9541" y="2721"/>
                    </a:lnTo>
                    <a:lnTo>
                      <a:pt x="9520" y="2762"/>
                    </a:lnTo>
                    <a:lnTo>
                      <a:pt x="9499" y="2721"/>
                    </a:lnTo>
                    <a:lnTo>
                      <a:pt x="9437" y="2741"/>
                    </a:lnTo>
                    <a:lnTo>
                      <a:pt x="9437" y="2783"/>
                    </a:lnTo>
                    <a:lnTo>
                      <a:pt x="9332" y="2846"/>
                    </a:lnTo>
                    <a:lnTo>
                      <a:pt x="9186" y="2888"/>
                    </a:lnTo>
                    <a:lnTo>
                      <a:pt x="9311" y="2825"/>
                    </a:lnTo>
                    <a:lnTo>
                      <a:pt x="9395" y="2721"/>
                    </a:lnTo>
                    <a:lnTo>
                      <a:pt x="9395" y="2532"/>
                    </a:lnTo>
                    <a:lnTo>
                      <a:pt x="9458" y="2428"/>
                    </a:lnTo>
                    <a:lnTo>
                      <a:pt x="9416" y="2344"/>
                    </a:lnTo>
                    <a:lnTo>
                      <a:pt x="9311" y="2323"/>
                    </a:lnTo>
                    <a:lnTo>
                      <a:pt x="9144" y="2030"/>
                    </a:lnTo>
                    <a:lnTo>
                      <a:pt x="9081" y="1905"/>
                    </a:lnTo>
                    <a:lnTo>
                      <a:pt x="8893" y="1842"/>
                    </a:lnTo>
                    <a:lnTo>
                      <a:pt x="8788" y="1800"/>
                    </a:lnTo>
                    <a:lnTo>
                      <a:pt x="8725" y="1821"/>
                    </a:lnTo>
                    <a:lnTo>
                      <a:pt x="8788" y="1884"/>
                    </a:lnTo>
                    <a:lnTo>
                      <a:pt x="8704" y="1905"/>
                    </a:lnTo>
                    <a:lnTo>
                      <a:pt x="8621" y="2030"/>
                    </a:lnTo>
                    <a:lnTo>
                      <a:pt x="8558" y="2009"/>
                    </a:lnTo>
                    <a:lnTo>
                      <a:pt x="8579" y="1946"/>
                    </a:lnTo>
                    <a:lnTo>
                      <a:pt x="8474" y="1988"/>
                    </a:lnTo>
                    <a:lnTo>
                      <a:pt x="8453" y="2051"/>
                    </a:lnTo>
                    <a:lnTo>
                      <a:pt x="8370" y="1884"/>
                    </a:lnTo>
                    <a:lnTo>
                      <a:pt x="8307" y="1884"/>
                    </a:lnTo>
                    <a:lnTo>
                      <a:pt x="8286" y="1946"/>
                    </a:lnTo>
                    <a:lnTo>
                      <a:pt x="8370" y="2009"/>
                    </a:lnTo>
                    <a:lnTo>
                      <a:pt x="8265" y="2093"/>
                    </a:lnTo>
                    <a:lnTo>
                      <a:pt x="8202" y="2218"/>
                    </a:lnTo>
                    <a:lnTo>
                      <a:pt x="8265" y="2260"/>
                    </a:lnTo>
                    <a:lnTo>
                      <a:pt x="8139" y="2344"/>
                    </a:lnTo>
                    <a:lnTo>
                      <a:pt x="8077" y="2260"/>
                    </a:lnTo>
                    <a:lnTo>
                      <a:pt x="8035" y="2260"/>
                    </a:lnTo>
                    <a:lnTo>
                      <a:pt x="7993" y="2197"/>
                    </a:lnTo>
                    <a:lnTo>
                      <a:pt x="8077" y="2114"/>
                    </a:lnTo>
                    <a:lnTo>
                      <a:pt x="7993" y="2114"/>
                    </a:lnTo>
                    <a:lnTo>
                      <a:pt x="7951" y="2239"/>
                    </a:lnTo>
                    <a:lnTo>
                      <a:pt x="7846" y="2260"/>
                    </a:lnTo>
                    <a:lnTo>
                      <a:pt x="7784" y="2323"/>
                    </a:lnTo>
                    <a:lnTo>
                      <a:pt x="7763" y="2449"/>
                    </a:lnTo>
                    <a:lnTo>
                      <a:pt x="7951" y="2511"/>
                    </a:lnTo>
                    <a:lnTo>
                      <a:pt x="7784" y="2637"/>
                    </a:lnTo>
                    <a:lnTo>
                      <a:pt x="7679" y="2574"/>
                    </a:lnTo>
                    <a:lnTo>
                      <a:pt x="7533" y="2658"/>
                    </a:lnTo>
                    <a:lnTo>
                      <a:pt x="7554" y="2741"/>
                    </a:lnTo>
                    <a:lnTo>
                      <a:pt x="7742" y="2762"/>
                    </a:lnTo>
                    <a:lnTo>
                      <a:pt x="7658" y="2846"/>
                    </a:lnTo>
                    <a:lnTo>
                      <a:pt x="7574" y="2867"/>
                    </a:lnTo>
                    <a:lnTo>
                      <a:pt x="7470" y="2741"/>
                    </a:lnTo>
                    <a:lnTo>
                      <a:pt x="7365" y="2846"/>
                    </a:lnTo>
                    <a:lnTo>
                      <a:pt x="7261" y="2867"/>
                    </a:lnTo>
                    <a:lnTo>
                      <a:pt x="7302" y="2951"/>
                    </a:lnTo>
                    <a:lnTo>
                      <a:pt x="7323" y="3034"/>
                    </a:lnTo>
                    <a:lnTo>
                      <a:pt x="7323" y="3097"/>
                    </a:lnTo>
                    <a:lnTo>
                      <a:pt x="7407" y="3076"/>
                    </a:lnTo>
                    <a:lnTo>
                      <a:pt x="7323" y="3181"/>
                    </a:lnTo>
                    <a:lnTo>
                      <a:pt x="7365" y="3286"/>
                    </a:lnTo>
                    <a:lnTo>
                      <a:pt x="7261" y="3306"/>
                    </a:lnTo>
                    <a:lnTo>
                      <a:pt x="7219" y="3390"/>
                    </a:lnTo>
                    <a:lnTo>
                      <a:pt x="7407" y="3453"/>
                    </a:lnTo>
                    <a:lnTo>
                      <a:pt x="7302" y="3495"/>
                    </a:lnTo>
                    <a:lnTo>
                      <a:pt x="7261" y="3558"/>
                    </a:lnTo>
                    <a:lnTo>
                      <a:pt x="7135" y="3516"/>
                    </a:lnTo>
                    <a:lnTo>
                      <a:pt x="7093" y="3453"/>
                    </a:lnTo>
                    <a:lnTo>
                      <a:pt x="7009" y="3390"/>
                    </a:lnTo>
                    <a:lnTo>
                      <a:pt x="6905" y="3474"/>
                    </a:lnTo>
                    <a:lnTo>
                      <a:pt x="6884" y="3369"/>
                    </a:lnTo>
                    <a:lnTo>
                      <a:pt x="6779" y="3306"/>
                    </a:lnTo>
                    <a:lnTo>
                      <a:pt x="6696" y="3369"/>
                    </a:lnTo>
                    <a:lnTo>
                      <a:pt x="6821" y="3474"/>
                    </a:lnTo>
                    <a:lnTo>
                      <a:pt x="6779" y="3495"/>
                    </a:lnTo>
                    <a:lnTo>
                      <a:pt x="6717" y="3599"/>
                    </a:lnTo>
                    <a:lnTo>
                      <a:pt x="6821" y="3704"/>
                    </a:lnTo>
                    <a:lnTo>
                      <a:pt x="6947" y="3704"/>
                    </a:lnTo>
                    <a:lnTo>
                      <a:pt x="6905" y="3809"/>
                    </a:lnTo>
                    <a:lnTo>
                      <a:pt x="6905" y="3913"/>
                    </a:lnTo>
                    <a:lnTo>
                      <a:pt x="6842" y="3871"/>
                    </a:lnTo>
                    <a:lnTo>
                      <a:pt x="6779" y="3871"/>
                    </a:lnTo>
                    <a:lnTo>
                      <a:pt x="6800" y="3997"/>
                    </a:lnTo>
                    <a:lnTo>
                      <a:pt x="6737" y="4122"/>
                    </a:lnTo>
                    <a:lnTo>
                      <a:pt x="6737" y="4248"/>
                    </a:lnTo>
                    <a:lnTo>
                      <a:pt x="6570" y="3871"/>
                    </a:lnTo>
                    <a:lnTo>
                      <a:pt x="6424" y="3620"/>
                    </a:lnTo>
                    <a:lnTo>
                      <a:pt x="6382" y="3558"/>
                    </a:lnTo>
                    <a:lnTo>
                      <a:pt x="6403" y="3390"/>
                    </a:lnTo>
                    <a:lnTo>
                      <a:pt x="6361" y="3474"/>
                    </a:lnTo>
                    <a:lnTo>
                      <a:pt x="6214" y="3558"/>
                    </a:lnTo>
                    <a:lnTo>
                      <a:pt x="6193" y="3704"/>
                    </a:lnTo>
                    <a:lnTo>
                      <a:pt x="6110" y="3725"/>
                    </a:lnTo>
                    <a:lnTo>
                      <a:pt x="6089" y="3809"/>
                    </a:lnTo>
                    <a:lnTo>
                      <a:pt x="5984" y="3788"/>
                    </a:lnTo>
                    <a:lnTo>
                      <a:pt x="5901" y="3892"/>
                    </a:lnTo>
                    <a:lnTo>
                      <a:pt x="5838" y="3976"/>
                    </a:lnTo>
                    <a:lnTo>
                      <a:pt x="5859" y="4102"/>
                    </a:lnTo>
                    <a:lnTo>
                      <a:pt x="5859" y="4415"/>
                    </a:lnTo>
                    <a:lnTo>
                      <a:pt x="5901" y="4436"/>
                    </a:lnTo>
                    <a:lnTo>
                      <a:pt x="5901" y="4541"/>
                    </a:lnTo>
                    <a:lnTo>
                      <a:pt x="5796" y="4604"/>
                    </a:lnTo>
                    <a:lnTo>
                      <a:pt x="5733" y="4708"/>
                    </a:lnTo>
                    <a:lnTo>
                      <a:pt x="5566" y="4750"/>
                    </a:lnTo>
                    <a:lnTo>
                      <a:pt x="5587" y="4834"/>
                    </a:lnTo>
                    <a:lnTo>
                      <a:pt x="5461" y="4918"/>
                    </a:lnTo>
                    <a:lnTo>
                      <a:pt x="5461" y="5064"/>
                    </a:lnTo>
                    <a:lnTo>
                      <a:pt x="5377" y="5127"/>
                    </a:lnTo>
                    <a:lnTo>
                      <a:pt x="5210" y="5378"/>
                    </a:lnTo>
                    <a:lnTo>
                      <a:pt x="4854" y="5587"/>
                    </a:lnTo>
                    <a:lnTo>
                      <a:pt x="4561" y="5608"/>
                    </a:lnTo>
                    <a:lnTo>
                      <a:pt x="4436" y="5650"/>
                    </a:lnTo>
                    <a:lnTo>
                      <a:pt x="4268" y="5671"/>
                    </a:lnTo>
                    <a:lnTo>
                      <a:pt x="4122" y="5692"/>
                    </a:lnTo>
                    <a:lnTo>
                      <a:pt x="3996" y="5671"/>
                    </a:lnTo>
                    <a:lnTo>
                      <a:pt x="3808" y="5754"/>
                    </a:lnTo>
                    <a:lnTo>
                      <a:pt x="3787" y="5859"/>
                    </a:lnTo>
                    <a:lnTo>
                      <a:pt x="3683" y="5901"/>
                    </a:lnTo>
                    <a:lnTo>
                      <a:pt x="3285" y="5880"/>
                    </a:lnTo>
                    <a:lnTo>
                      <a:pt x="3222" y="5922"/>
                    </a:lnTo>
                    <a:lnTo>
                      <a:pt x="3160" y="6027"/>
                    </a:lnTo>
                    <a:lnTo>
                      <a:pt x="2929" y="6131"/>
                    </a:lnTo>
                    <a:lnTo>
                      <a:pt x="2762" y="6131"/>
                    </a:lnTo>
                    <a:lnTo>
                      <a:pt x="2657" y="6089"/>
                    </a:lnTo>
                    <a:lnTo>
                      <a:pt x="2553" y="6110"/>
                    </a:lnTo>
                    <a:lnTo>
                      <a:pt x="2532" y="6027"/>
                    </a:lnTo>
                    <a:lnTo>
                      <a:pt x="2427" y="6089"/>
                    </a:lnTo>
                    <a:lnTo>
                      <a:pt x="2344" y="6215"/>
                    </a:lnTo>
                    <a:lnTo>
                      <a:pt x="2113" y="6278"/>
                    </a:lnTo>
                    <a:lnTo>
                      <a:pt x="2092" y="6319"/>
                    </a:lnTo>
                    <a:lnTo>
                      <a:pt x="2009" y="6319"/>
                    </a:lnTo>
                    <a:lnTo>
                      <a:pt x="1820" y="6487"/>
                    </a:lnTo>
                    <a:lnTo>
                      <a:pt x="1569" y="6612"/>
                    </a:lnTo>
                    <a:lnTo>
                      <a:pt x="1255" y="6717"/>
                    </a:lnTo>
                    <a:lnTo>
                      <a:pt x="1088" y="6905"/>
                    </a:lnTo>
                    <a:lnTo>
                      <a:pt x="1088" y="7115"/>
                    </a:lnTo>
                    <a:lnTo>
                      <a:pt x="963" y="7219"/>
                    </a:lnTo>
                    <a:lnTo>
                      <a:pt x="879" y="7156"/>
                    </a:lnTo>
                    <a:lnTo>
                      <a:pt x="900" y="7073"/>
                    </a:lnTo>
                    <a:lnTo>
                      <a:pt x="900" y="7010"/>
                    </a:lnTo>
                    <a:lnTo>
                      <a:pt x="963" y="6843"/>
                    </a:lnTo>
                    <a:lnTo>
                      <a:pt x="963" y="6738"/>
                    </a:lnTo>
                    <a:lnTo>
                      <a:pt x="774" y="6863"/>
                    </a:lnTo>
                    <a:lnTo>
                      <a:pt x="732" y="7052"/>
                    </a:lnTo>
                    <a:lnTo>
                      <a:pt x="607" y="7282"/>
                    </a:lnTo>
                    <a:lnTo>
                      <a:pt x="711" y="7470"/>
                    </a:lnTo>
                    <a:lnTo>
                      <a:pt x="628" y="7638"/>
                    </a:lnTo>
                    <a:lnTo>
                      <a:pt x="649" y="7889"/>
                    </a:lnTo>
                    <a:lnTo>
                      <a:pt x="419" y="8161"/>
                    </a:lnTo>
                    <a:lnTo>
                      <a:pt x="335" y="8537"/>
                    </a:lnTo>
                    <a:lnTo>
                      <a:pt x="377" y="8726"/>
                    </a:lnTo>
                    <a:lnTo>
                      <a:pt x="356" y="9019"/>
                    </a:lnTo>
                    <a:lnTo>
                      <a:pt x="565" y="9353"/>
                    </a:lnTo>
                    <a:lnTo>
                      <a:pt x="565" y="9479"/>
                    </a:lnTo>
                    <a:lnTo>
                      <a:pt x="649" y="9584"/>
                    </a:lnTo>
                    <a:lnTo>
                      <a:pt x="565" y="9751"/>
                    </a:lnTo>
                    <a:lnTo>
                      <a:pt x="628" y="9897"/>
                    </a:lnTo>
                    <a:lnTo>
                      <a:pt x="502" y="9960"/>
                    </a:lnTo>
                    <a:lnTo>
                      <a:pt x="439" y="9856"/>
                    </a:lnTo>
                    <a:lnTo>
                      <a:pt x="439" y="9667"/>
                    </a:lnTo>
                    <a:lnTo>
                      <a:pt x="356" y="9772"/>
                    </a:lnTo>
                    <a:lnTo>
                      <a:pt x="335" y="9730"/>
                    </a:lnTo>
                    <a:lnTo>
                      <a:pt x="335" y="9542"/>
                    </a:lnTo>
                    <a:lnTo>
                      <a:pt x="230" y="9312"/>
                    </a:lnTo>
                    <a:lnTo>
                      <a:pt x="147" y="9416"/>
                    </a:lnTo>
                    <a:lnTo>
                      <a:pt x="188" y="9667"/>
                    </a:lnTo>
                    <a:lnTo>
                      <a:pt x="335" y="9835"/>
                    </a:lnTo>
                    <a:lnTo>
                      <a:pt x="439" y="10023"/>
                    </a:lnTo>
                    <a:lnTo>
                      <a:pt x="293" y="10065"/>
                    </a:lnTo>
                    <a:lnTo>
                      <a:pt x="147" y="9897"/>
                    </a:lnTo>
                    <a:lnTo>
                      <a:pt x="126" y="9688"/>
                    </a:lnTo>
                    <a:lnTo>
                      <a:pt x="84" y="9772"/>
                    </a:lnTo>
                    <a:lnTo>
                      <a:pt x="0" y="9835"/>
                    </a:lnTo>
                    <a:lnTo>
                      <a:pt x="105" y="10002"/>
                    </a:lnTo>
                    <a:lnTo>
                      <a:pt x="314" y="10253"/>
                    </a:lnTo>
                    <a:lnTo>
                      <a:pt x="419" y="10588"/>
                    </a:lnTo>
                    <a:lnTo>
                      <a:pt x="377" y="11153"/>
                    </a:lnTo>
                    <a:lnTo>
                      <a:pt x="460" y="11257"/>
                    </a:lnTo>
                    <a:lnTo>
                      <a:pt x="544" y="11592"/>
                    </a:lnTo>
                    <a:lnTo>
                      <a:pt x="711" y="12032"/>
                    </a:lnTo>
                    <a:lnTo>
                      <a:pt x="649" y="12178"/>
                    </a:lnTo>
                    <a:lnTo>
                      <a:pt x="670" y="12827"/>
                    </a:lnTo>
                    <a:lnTo>
                      <a:pt x="649" y="12910"/>
                    </a:lnTo>
                    <a:lnTo>
                      <a:pt x="711" y="13099"/>
                    </a:lnTo>
                    <a:lnTo>
                      <a:pt x="711" y="13308"/>
                    </a:lnTo>
                    <a:lnTo>
                      <a:pt x="837" y="13559"/>
                    </a:lnTo>
                    <a:lnTo>
                      <a:pt x="837" y="13726"/>
                    </a:lnTo>
                    <a:lnTo>
                      <a:pt x="732" y="13810"/>
                    </a:lnTo>
                    <a:lnTo>
                      <a:pt x="774" y="13852"/>
                    </a:lnTo>
                    <a:lnTo>
                      <a:pt x="732" y="14019"/>
                    </a:lnTo>
                    <a:lnTo>
                      <a:pt x="711" y="14270"/>
                    </a:lnTo>
                    <a:lnTo>
                      <a:pt x="628" y="14354"/>
                    </a:lnTo>
                    <a:lnTo>
                      <a:pt x="649" y="14438"/>
                    </a:lnTo>
                    <a:lnTo>
                      <a:pt x="628" y="14584"/>
                    </a:lnTo>
                    <a:lnTo>
                      <a:pt x="523" y="14668"/>
                    </a:lnTo>
                    <a:lnTo>
                      <a:pt x="544" y="14793"/>
                    </a:lnTo>
                    <a:lnTo>
                      <a:pt x="335" y="14961"/>
                    </a:lnTo>
                    <a:lnTo>
                      <a:pt x="251" y="14877"/>
                    </a:lnTo>
                    <a:lnTo>
                      <a:pt x="126" y="15086"/>
                    </a:lnTo>
                    <a:lnTo>
                      <a:pt x="126" y="15442"/>
                    </a:lnTo>
                    <a:lnTo>
                      <a:pt x="209" y="15526"/>
                    </a:lnTo>
                    <a:lnTo>
                      <a:pt x="293" y="15526"/>
                    </a:lnTo>
                    <a:lnTo>
                      <a:pt x="544" y="15756"/>
                    </a:lnTo>
                    <a:lnTo>
                      <a:pt x="544" y="15861"/>
                    </a:lnTo>
                    <a:lnTo>
                      <a:pt x="565" y="15923"/>
                    </a:lnTo>
                    <a:lnTo>
                      <a:pt x="711" y="15944"/>
                    </a:lnTo>
                    <a:lnTo>
                      <a:pt x="753" y="16007"/>
                    </a:lnTo>
                    <a:lnTo>
                      <a:pt x="942" y="16028"/>
                    </a:lnTo>
                    <a:lnTo>
                      <a:pt x="983" y="16028"/>
                    </a:lnTo>
                    <a:lnTo>
                      <a:pt x="1025" y="16070"/>
                    </a:lnTo>
                    <a:lnTo>
                      <a:pt x="1151" y="16070"/>
                    </a:lnTo>
                    <a:lnTo>
                      <a:pt x="1297" y="16049"/>
                    </a:lnTo>
                    <a:lnTo>
                      <a:pt x="1339" y="16133"/>
                    </a:lnTo>
                    <a:lnTo>
                      <a:pt x="1402" y="16070"/>
                    </a:lnTo>
                    <a:lnTo>
                      <a:pt x="1423" y="16112"/>
                    </a:lnTo>
                    <a:lnTo>
                      <a:pt x="1611" y="16070"/>
                    </a:lnTo>
                    <a:lnTo>
                      <a:pt x="1758" y="16070"/>
                    </a:lnTo>
                    <a:lnTo>
                      <a:pt x="1779" y="16007"/>
                    </a:lnTo>
                    <a:lnTo>
                      <a:pt x="1862" y="15965"/>
                    </a:lnTo>
                    <a:lnTo>
                      <a:pt x="1946" y="15840"/>
                    </a:lnTo>
                    <a:lnTo>
                      <a:pt x="2113" y="15861"/>
                    </a:lnTo>
                    <a:lnTo>
                      <a:pt x="2113" y="15756"/>
                    </a:lnTo>
                    <a:lnTo>
                      <a:pt x="2218" y="15693"/>
                    </a:lnTo>
                    <a:lnTo>
                      <a:pt x="2323" y="15693"/>
                    </a:lnTo>
                    <a:lnTo>
                      <a:pt x="2406" y="15777"/>
                    </a:lnTo>
                    <a:lnTo>
                      <a:pt x="2511" y="15651"/>
                    </a:lnTo>
                    <a:lnTo>
                      <a:pt x="2532" y="15693"/>
                    </a:lnTo>
                    <a:lnTo>
                      <a:pt x="2616" y="15651"/>
                    </a:lnTo>
                    <a:lnTo>
                      <a:pt x="2636" y="15526"/>
                    </a:lnTo>
                    <a:lnTo>
                      <a:pt x="2950" y="15317"/>
                    </a:lnTo>
                    <a:lnTo>
                      <a:pt x="3076" y="15338"/>
                    </a:lnTo>
                    <a:lnTo>
                      <a:pt x="3160" y="15379"/>
                    </a:lnTo>
                    <a:lnTo>
                      <a:pt x="3264" y="15317"/>
                    </a:lnTo>
                    <a:lnTo>
                      <a:pt x="3557" y="15233"/>
                    </a:lnTo>
                    <a:lnTo>
                      <a:pt x="3599" y="15317"/>
                    </a:lnTo>
                    <a:lnTo>
                      <a:pt x="3787" y="15254"/>
                    </a:lnTo>
                    <a:lnTo>
                      <a:pt x="3850" y="15296"/>
                    </a:lnTo>
                    <a:lnTo>
                      <a:pt x="3955" y="15317"/>
                    </a:lnTo>
                    <a:lnTo>
                      <a:pt x="4038" y="15254"/>
                    </a:lnTo>
                    <a:lnTo>
                      <a:pt x="4101" y="15400"/>
                    </a:lnTo>
                    <a:lnTo>
                      <a:pt x="4185" y="15400"/>
                    </a:lnTo>
                    <a:lnTo>
                      <a:pt x="4268" y="15338"/>
                    </a:lnTo>
                    <a:lnTo>
                      <a:pt x="4310" y="15400"/>
                    </a:lnTo>
                    <a:lnTo>
                      <a:pt x="4415" y="15338"/>
                    </a:lnTo>
                    <a:lnTo>
                      <a:pt x="4624" y="15338"/>
                    </a:lnTo>
                    <a:lnTo>
                      <a:pt x="4624" y="15442"/>
                    </a:lnTo>
                    <a:lnTo>
                      <a:pt x="4645" y="15442"/>
                    </a:lnTo>
                    <a:lnTo>
                      <a:pt x="4792" y="15338"/>
                    </a:lnTo>
                    <a:lnTo>
                      <a:pt x="4917" y="15379"/>
                    </a:lnTo>
                    <a:lnTo>
                      <a:pt x="5064" y="15254"/>
                    </a:lnTo>
                    <a:lnTo>
                      <a:pt x="5126" y="15128"/>
                    </a:lnTo>
                    <a:lnTo>
                      <a:pt x="5168" y="15107"/>
                    </a:lnTo>
                    <a:lnTo>
                      <a:pt x="5315" y="14982"/>
                    </a:lnTo>
                    <a:lnTo>
                      <a:pt x="5377" y="14773"/>
                    </a:lnTo>
                    <a:lnTo>
                      <a:pt x="5524" y="14668"/>
                    </a:lnTo>
                    <a:lnTo>
                      <a:pt x="5670" y="14647"/>
                    </a:lnTo>
                    <a:lnTo>
                      <a:pt x="5754" y="14668"/>
                    </a:lnTo>
                    <a:lnTo>
                      <a:pt x="5984" y="14584"/>
                    </a:lnTo>
                    <a:lnTo>
                      <a:pt x="6277" y="14396"/>
                    </a:lnTo>
                    <a:lnTo>
                      <a:pt x="6486" y="14208"/>
                    </a:lnTo>
                    <a:lnTo>
                      <a:pt x="6570" y="14187"/>
                    </a:lnTo>
                    <a:lnTo>
                      <a:pt x="6737" y="14187"/>
                    </a:lnTo>
                    <a:lnTo>
                      <a:pt x="6905" y="14249"/>
                    </a:lnTo>
                    <a:lnTo>
                      <a:pt x="7051" y="14270"/>
                    </a:lnTo>
                    <a:lnTo>
                      <a:pt x="7198" y="14208"/>
                    </a:lnTo>
                    <a:lnTo>
                      <a:pt x="7407" y="14249"/>
                    </a:lnTo>
                    <a:lnTo>
                      <a:pt x="7742" y="14145"/>
                    </a:lnTo>
                    <a:lnTo>
                      <a:pt x="7930" y="14082"/>
                    </a:lnTo>
                    <a:lnTo>
                      <a:pt x="8056" y="13977"/>
                    </a:lnTo>
                    <a:lnTo>
                      <a:pt x="8139" y="13977"/>
                    </a:lnTo>
                    <a:lnTo>
                      <a:pt x="8307" y="13852"/>
                    </a:lnTo>
                    <a:lnTo>
                      <a:pt x="8558" y="13852"/>
                    </a:lnTo>
                    <a:lnTo>
                      <a:pt x="9186" y="13810"/>
                    </a:lnTo>
                    <a:lnTo>
                      <a:pt x="9395" y="13852"/>
                    </a:lnTo>
                    <a:lnTo>
                      <a:pt x="9520" y="13852"/>
                    </a:lnTo>
                    <a:lnTo>
                      <a:pt x="9709" y="13810"/>
                    </a:lnTo>
                    <a:lnTo>
                      <a:pt x="9834" y="13831"/>
                    </a:lnTo>
                    <a:lnTo>
                      <a:pt x="10022" y="13977"/>
                    </a:lnTo>
                    <a:lnTo>
                      <a:pt x="10148" y="14208"/>
                    </a:lnTo>
                    <a:lnTo>
                      <a:pt x="10253" y="14249"/>
                    </a:lnTo>
                    <a:lnTo>
                      <a:pt x="10336" y="14187"/>
                    </a:lnTo>
                    <a:lnTo>
                      <a:pt x="10378" y="14166"/>
                    </a:lnTo>
                    <a:lnTo>
                      <a:pt x="10441" y="14208"/>
                    </a:lnTo>
                    <a:lnTo>
                      <a:pt x="10504" y="14187"/>
                    </a:lnTo>
                    <a:lnTo>
                      <a:pt x="10650" y="14208"/>
                    </a:lnTo>
                    <a:lnTo>
                      <a:pt x="10755" y="14354"/>
                    </a:lnTo>
                    <a:lnTo>
                      <a:pt x="10880" y="14375"/>
                    </a:lnTo>
                    <a:lnTo>
                      <a:pt x="10964" y="14354"/>
                    </a:lnTo>
                    <a:lnTo>
                      <a:pt x="11194" y="14542"/>
                    </a:lnTo>
                    <a:lnTo>
                      <a:pt x="11194" y="14647"/>
                    </a:lnTo>
                    <a:lnTo>
                      <a:pt x="11278" y="14647"/>
                    </a:lnTo>
                    <a:lnTo>
                      <a:pt x="11341" y="14731"/>
                    </a:lnTo>
                    <a:lnTo>
                      <a:pt x="11320" y="14814"/>
                    </a:lnTo>
                    <a:lnTo>
                      <a:pt x="11215" y="14814"/>
                    </a:lnTo>
                    <a:lnTo>
                      <a:pt x="11194" y="14898"/>
                    </a:lnTo>
                    <a:lnTo>
                      <a:pt x="11299" y="15107"/>
                    </a:lnTo>
                    <a:lnTo>
                      <a:pt x="11403" y="15128"/>
                    </a:lnTo>
                    <a:lnTo>
                      <a:pt x="11508" y="15254"/>
                    </a:lnTo>
                    <a:lnTo>
                      <a:pt x="11550" y="15421"/>
                    </a:lnTo>
                    <a:lnTo>
                      <a:pt x="11529" y="15526"/>
                    </a:lnTo>
                    <a:lnTo>
                      <a:pt x="11655" y="15819"/>
                    </a:lnTo>
                    <a:lnTo>
                      <a:pt x="11613" y="15944"/>
                    </a:lnTo>
                    <a:lnTo>
                      <a:pt x="11655" y="16007"/>
                    </a:lnTo>
                    <a:lnTo>
                      <a:pt x="11634" y="16154"/>
                    </a:lnTo>
                    <a:lnTo>
                      <a:pt x="11613" y="16237"/>
                    </a:lnTo>
                    <a:lnTo>
                      <a:pt x="11529" y="16216"/>
                    </a:lnTo>
                    <a:lnTo>
                      <a:pt x="11508" y="16237"/>
                    </a:lnTo>
                    <a:lnTo>
                      <a:pt x="11592" y="16363"/>
                    </a:lnTo>
                    <a:lnTo>
                      <a:pt x="11655" y="16384"/>
                    </a:lnTo>
                    <a:lnTo>
                      <a:pt x="11717" y="16530"/>
                    </a:lnTo>
                    <a:lnTo>
                      <a:pt x="11822" y="16488"/>
                    </a:lnTo>
                    <a:lnTo>
                      <a:pt x="11927" y="16572"/>
                    </a:lnTo>
                    <a:lnTo>
                      <a:pt x="11927" y="16467"/>
                    </a:lnTo>
                    <a:lnTo>
                      <a:pt x="11864" y="16363"/>
                    </a:lnTo>
                    <a:lnTo>
                      <a:pt x="11927" y="16300"/>
                    </a:lnTo>
                    <a:lnTo>
                      <a:pt x="11968" y="16174"/>
                    </a:lnTo>
                    <a:lnTo>
                      <a:pt x="12073" y="16174"/>
                    </a:lnTo>
                    <a:lnTo>
                      <a:pt x="12136" y="16070"/>
                    </a:lnTo>
                    <a:lnTo>
                      <a:pt x="12240" y="16028"/>
                    </a:lnTo>
                    <a:lnTo>
                      <a:pt x="12261" y="15923"/>
                    </a:lnTo>
                    <a:lnTo>
                      <a:pt x="12366" y="15777"/>
                    </a:lnTo>
                    <a:lnTo>
                      <a:pt x="12596" y="15693"/>
                    </a:lnTo>
                    <a:lnTo>
                      <a:pt x="12638" y="15610"/>
                    </a:lnTo>
                    <a:lnTo>
                      <a:pt x="12680" y="15610"/>
                    </a:lnTo>
                    <a:lnTo>
                      <a:pt x="12868" y="15505"/>
                    </a:lnTo>
                    <a:lnTo>
                      <a:pt x="12910" y="15338"/>
                    </a:lnTo>
                    <a:lnTo>
                      <a:pt x="13077" y="15107"/>
                    </a:lnTo>
                    <a:lnTo>
                      <a:pt x="13224" y="15086"/>
                    </a:lnTo>
                    <a:lnTo>
                      <a:pt x="13307" y="14982"/>
                    </a:lnTo>
                    <a:lnTo>
                      <a:pt x="13266" y="14856"/>
                    </a:lnTo>
                    <a:lnTo>
                      <a:pt x="13287" y="14710"/>
                    </a:lnTo>
                    <a:lnTo>
                      <a:pt x="13370" y="14877"/>
                    </a:lnTo>
                    <a:lnTo>
                      <a:pt x="13370" y="15024"/>
                    </a:lnTo>
                    <a:lnTo>
                      <a:pt x="13370" y="15191"/>
                    </a:lnTo>
                    <a:lnTo>
                      <a:pt x="13287" y="15254"/>
                    </a:lnTo>
                    <a:lnTo>
                      <a:pt x="13266" y="15547"/>
                    </a:lnTo>
                    <a:lnTo>
                      <a:pt x="13015" y="15714"/>
                    </a:lnTo>
                    <a:lnTo>
                      <a:pt x="12973" y="15840"/>
                    </a:lnTo>
                    <a:lnTo>
                      <a:pt x="12910" y="15923"/>
                    </a:lnTo>
                    <a:lnTo>
                      <a:pt x="12910" y="16070"/>
                    </a:lnTo>
                    <a:lnTo>
                      <a:pt x="12784" y="16258"/>
                    </a:lnTo>
                    <a:lnTo>
                      <a:pt x="12805" y="16300"/>
                    </a:lnTo>
                    <a:lnTo>
                      <a:pt x="12743" y="16593"/>
                    </a:lnTo>
                    <a:lnTo>
                      <a:pt x="12450" y="16572"/>
                    </a:lnTo>
                    <a:lnTo>
                      <a:pt x="12387" y="16739"/>
                    </a:lnTo>
                    <a:lnTo>
                      <a:pt x="12324" y="16823"/>
                    </a:lnTo>
                    <a:lnTo>
                      <a:pt x="12324" y="16886"/>
                    </a:lnTo>
                    <a:lnTo>
                      <a:pt x="12491" y="16823"/>
                    </a:lnTo>
                    <a:lnTo>
                      <a:pt x="12659" y="16760"/>
                    </a:lnTo>
                    <a:lnTo>
                      <a:pt x="12868" y="16823"/>
                    </a:lnTo>
                    <a:lnTo>
                      <a:pt x="13056" y="16530"/>
                    </a:lnTo>
                    <a:lnTo>
                      <a:pt x="13098" y="16216"/>
                    </a:lnTo>
                    <a:lnTo>
                      <a:pt x="13266" y="16049"/>
                    </a:lnTo>
                    <a:lnTo>
                      <a:pt x="13307" y="16112"/>
                    </a:lnTo>
                    <a:lnTo>
                      <a:pt x="13307" y="16384"/>
                    </a:lnTo>
                    <a:lnTo>
                      <a:pt x="13370" y="16551"/>
                    </a:lnTo>
                    <a:lnTo>
                      <a:pt x="13307" y="16551"/>
                    </a:lnTo>
                    <a:lnTo>
                      <a:pt x="13328" y="16823"/>
                    </a:lnTo>
                    <a:lnTo>
                      <a:pt x="13203" y="17074"/>
                    </a:lnTo>
                    <a:lnTo>
                      <a:pt x="12994" y="17158"/>
                    </a:lnTo>
                    <a:lnTo>
                      <a:pt x="13015" y="17221"/>
                    </a:lnTo>
                    <a:lnTo>
                      <a:pt x="13161" y="17200"/>
                    </a:lnTo>
                    <a:lnTo>
                      <a:pt x="13307" y="17221"/>
                    </a:lnTo>
                    <a:lnTo>
                      <a:pt x="13391" y="17158"/>
                    </a:lnTo>
                    <a:lnTo>
                      <a:pt x="13496" y="17116"/>
                    </a:lnTo>
                    <a:lnTo>
                      <a:pt x="13600" y="17011"/>
                    </a:lnTo>
                    <a:lnTo>
                      <a:pt x="13705" y="17053"/>
                    </a:lnTo>
                    <a:lnTo>
                      <a:pt x="13789" y="17053"/>
                    </a:lnTo>
                    <a:lnTo>
                      <a:pt x="13705" y="17158"/>
                    </a:lnTo>
                    <a:lnTo>
                      <a:pt x="13642" y="17221"/>
                    </a:lnTo>
                    <a:lnTo>
                      <a:pt x="13538" y="17221"/>
                    </a:lnTo>
                    <a:lnTo>
                      <a:pt x="13517" y="17283"/>
                    </a:lnTo>
                    <a:lnTo>
                      <a:pt x="13621" y="17430"/>
                    </a:lnTo>
                    <a:lnTo>
                      <a:pt x="13684" y="17576"/>
                    </a:lnTo>
                    <a:lnTo>
                      <a:pt x="13747" y="17744"/>
                    </a:lnTo>
                    <a:lnTo>
                      <a:pt x="13747" y="17953"/>
                    </a:lnTo>
                    <a:lnTo>
                      <a:pt x="13726" y="18225"/>
                    </a:lnTo>
                    <a:lnTo>
                      <a:pt x="13600" y="18371"/>
                    </a:lnTo>
                    <a:lnTo>
                      <a:pt x="13621" y="18455"/>
                    </a:lnTo>
                    <a:lnTo>
                      <a:pt x="13600" y="18664"/>
                    </a:lnTo>
                    <a:lnTo>
                      <a:pt x="13705" y="18748"/>
                    </a:lnTo>
                    <a:lnTo>
                      <a:pt x="13789" y="18895"/>
                    </a:lnTo>
                    <a:lnTo>
                      <a:pt x="13810" y="19083"/>
                    </a:lnTo>
                    <a:lnTo>
                      <a:pt x="14019" y="19355"/>
                    </a:lnTo>
                    <a:lnTo>
                      <a:pt x="14165" y="19397"/>
                    </a:lnTo>
                    <a:lnTo>
                      <a:pt x="14270" y="19480"/>
                    </a:lnTo>
                    <a:lnTo>
                      <a:pt x="14333" y="19606"/>
                    </a:lnTo>
                    <a:lnTo>
                      <a:pt x="14437" y="19627"/>
                    </a:lnTo>
                    <a:lnTo>
                      <a:pt x="14458" y="19585"/>
                    </a:lnTo>
                    <a:lnTo>
                      <a:pt x="14542" y="19564"/>
                    </a:lnTo>
                    <a:lnTo>
                      <a:pt x="14688" y="19585"/>
                    </a:lnTo>
                    <a:lnTo>
                      <a:pt x="14835" y="19731"/>
                    </a:lnTo>
                    <a:lnTo>
                      <a:pt x="14960" y="19773"/>
                    </a:lnTo>
                    <a:lnTo>
                      <a:pt x="15086" y="19899"/>
                    </a:lnTo>
                    <a:lnTo>
                      <a:pt x="15107" y="20003"/>
                    </a:lnTo>
                    <a:lnTo>
                      <a:pt x="15212" y="20045"/>
                    </a:lnTo>
                    <a:lnTo>
                      <a:pt x="15358" y="20192"/>
                    </a:lnTo>
                    <a:lnTo>
                      <a:pt x="15421" y="20192"/>
                    </a:lnTo>
                    <a:lnTo>
                      <a:pt x="15463" y="20108"/>
                    </a:lnTo>
                    <a:lnTo>
                      <a:pt x="15693" y="20003"/>
                    </a:lnTo>
                    <a:lnTo>
                      <a:pt x="15776" y="19899"/>
                    </a:lnTo>
                    <a:lnTo>
                      <a:pt x="15902" y="19899"/>
                    </a:lnTo>
                    <a:lnTo>
                      <a:pt x="16048" y="19773"/>
                    </a:lnTo>
                    <a:lnTo>
                      <a:pt x="16153" y="19773"/>
                    </a:lnTo>
                    <a:lnTo>
                      <a:pt x="16195" y="19711"/>
                    </a:lnTo>
                    <a:lnTo>
                      <a:pt x="16153" y="19669"/>
                    </a:lnTo>
                    <a:lnTo>
                      <a:pt x="16048" y="19627"/>
                    </a:lnTo>
                    <a:lnTo>
                      <a:pt x="16090" y="19564"/>
                    </a:lnTo>
                    <a:lnTo>
                      <a:pt x="16320" y="19397"/>
                    </a:lnTo>
                    <a:lnTo>
                      <a:pt x="16509" y="19522"/>
                    </a:lnTo>
                    <a:lnTo>
                      <a:pt x="16509" y="19669"/>
                    </a:lnTo>
                    <a:lnTo>
                      <a:pt x="16258" y="19794"/>
                    </a:lnTo>
                    <a:lnTo>
                      <a:pt x="16320" y="19899"/>
                    </a:lnTo>
                    <a:lnTo>
                      <a:pt x="16404" y="19920"/>
                    </a:lnTo>
                    <a:lnTo>
                      <a:pt x="16467" y="19815"/>
                    </a:lnTo>
                    <a:lnTo>
                      <a:pt x="16572" y="19731"/>
                    </a:lnTo>
                    <a:lnTo>
                      <a:pt x="16676" y="19815"/>
                    </a:lnTo>
                    <a:lnTo>
                      <a:pt x="16676" y="19920"/>
                    </a:lnTo>
                    <a:lnTo>
                      <a:pt x="16613" y="19920"/>
                    </a:lnTo>
                    <a:lnTo>
                      <a:pt x="16509" y="20003"/>
                    </a:lnTo>
                    <a:lnTo>
                      <a:pt x="16655" y="20192"/>
                    </a:lnTo>
                    <a:lnTo>
                      <a:pt x="16676" y="20401"/>
                    </a:lnTo>
                    <a:lnTo>
                      <a:pt x="16760" y="20338"/>
                    </a:lnTo>
                    <a:lnTo>
                      <a:pt x="16844" y="20359"/>
                    </a:lnTo>
                    <a:lnTo>
                      <a:pt x="16844" y="20464"/>
                    </a:lnTo>
                    <a:lnTo>
                      <a:pt x="16927" y="20610"/>
                    </a:lnTo>
                    <a:lnTo>
                      <a:pt x="16990" y="20443"/>
                    </a:lnTo>
                    <a:lnTo>
                      <a:pt x="16990" y="20296"/>
                    </a:lnTo>
                    <a:lnTo>
                      <a:pt x="16885" y="20359"/>
                    </a:lnTo>
                    <a:lnTo>
                      <a:pt x="16885" y="20317"/>
                    </a:lnTo>
                    <a:lnTo>
                      <a:pt x="16948" y="20234"/>
                    </a:lnTo>
                    <a:lnTo>
                      <a:pt x="17241" y="20234"/>
                    </a:lnTo>
                    <a:lnTo>
                      <a:pt x="17262" y="20296"/>
                    </a:lnTo>
                    <a:lnTo>
                      <a:pt x="17304" y="20234"/>
                    </a:lnTo>
                    <a:lnTo>
                      <a:pt x="17450" y="20024"/>
                    </a:lnTo>
                    <a:lnTo>
                      <a:pt x="17764" y="19836"/>
                    </a:lnTo>
                    <a:lnTo>
                      <a:pt x="17911" y="19711"/>
                    </a:lnTo>
                    <a:lnTo>
                      <a:pt x="17827" y="19711"/>
                    </a:lnTo>
                    <a:lnTo>
                      <a:pt x="17764" y="19731"/>
                    </a:lnTo>
                    <a:lnTo>
                      <a:pt x="17785" y="19711"/>
                    </a:lnTo>
                    <a:lnTo>
                      <a:pt x="17681" y="19669"/>
                    </a:lnTo>
                    <a:lnTo>
                      <a:pt x="17932" y="19669"/>
                    </a:lnTo>
                    <a:lnTo>
                      <a:pt x="18183" y="19606"/>
                    </a:lnTo>
                    <a:lnTo>
                      <a:pt x="18622" y="19501"/>
                    </a:lnTo>
                    <a:lnTo>
                      <a:pt x="18957" y="19585"/>
                    </a:lnTo>
                    <a:lnTo>
                      <a:pt x="19124" y="19501"/>
                    </a:lnTo>
                    <a:lnTo>
                      <a:pt x="19124" y="19397"/>
                    </a:lnTo>
                    <a:lnTo>
                      <a:pt x="19229" y="19397"/>
                    </a:lnTo>
                    <a:lnTo>
                      <a:pt x="19333" y="19313"/>
                    </a:lnTo>
                    <a:lnTo>
                      <a:pt x="19438" y="19104"/>
                    </a:lnTo>
                    <a:lnTo>
                      <a:pt x="19375" y="18895"/>
                    </a:lnTo>
                    <a:lnTo>
                      <a:pt x="19375" y="18769"/>
                    </a:lnTo>
                    <a:lnTo>
                      <a:pt x="19585" y="18560"/>
                    </a:lnTo>
                    <a:lnTo>
                      <a:pt x="19585" y="18225"/>
                    </a:lnTo>
                    <a:lnTo>
                      <a:pt x="19668" y="18099"/>
                    </a:lnTo>
                    <a:lnTo>
                      <a:pt x="19710" y="17869"/>
                    </a:lnTo>
                    <a:lnTo>
                      <a:pt x="19815" y="17827"/>
                    </a:lnTo>
                    <a:lnTo>
                      <a:pt x="19815" y="17702"/>
                    </a:lnTo>
                    <a:lnTo>
                      <a:pt x="20170" y="17283"/>
                    </a:lnTo>
                    <a:lnTo>
                      <a:pt x="20275" y="17262"/>
                    </a:lnTo>
                    <a:lnTo>
                      <a:pt x="20317" y="17011"/>
                    </a:lnTo>
                    <a:lnTo>
                      <a:pt x="20442" y="16823"/>
                    </a:lnTo>
                    <a:lnTo>
                      <a:pt x="20547" y="16593"/>
                    </a:lnTo>
                    <a:lnTo>
                      <a:pt x="20694" y="16446"/>
                    </a:lnTo>
                    <a:lnTo>
                      <a:pt x="20652" y="16342"/>
                    </a:lnTo>
                    <a:lnTo>
                      <a:pt x="20756" y="16258"/>
                    </a:lnTo>
                    <a:lnTo>
                      <a:pt x="20861" y="16049"/>
                    </a:lnTo>
                    <a:lnTo>
                      <a:pt x="20798" y="15965"/>
                    </a:lnTo>
                    <a:lnTo>
                      <a:pt x="20966" y="15902"/>
                    </a:lnTo>
                    <a:lnTo>
                      <a:pt x="21070" y="15714"/>
                    </a:lnTo>
                    <a:lnTo>
                      <a:pt x="21154" y="15630"/>
                    </a:lnTo>
                    <a:lnTo>
                      <a:pt x="21258" y="15442"/>
                    </a:lnTo>
                    <a:lnTo>
                      <a:pt x="21426" y="15400"/>
                    </a:lnTo>
                    <a:lnTo>
                      <a:pt x="21530" y="15338"/>
                    </a:lnTo>
                    <a:lnTo>
                      <a:pt x="21342" y="15338"/>
                    </a:lnTo>
                    <a:lnTo>
                      <a:pt x="21384" y="15296"/>
                    </a:lnTo>
                    <a:lnTo>
                      <a:pt x="21593" y="15254"/>
                    </a:lnTo>
                    <a:lnTo>
                      <a:pt x="21782" y="15170"/>
                    </a:lnTo>
                    <a:lnTo>
                      <a:pt x="21802" y="15003"/>
                    </a:lnTo>
                    <a:lnTo>
                      <a:pt x="21782" y="14961"/>
                    </a:lnTo>
                    <a:lnTo>
                      <a:pt x="21802" y="14814"/>
                    </a:lnTo>
                    <a:lnTo>
                      <a:pt x="22012" y="14689"/>
                    </a:lnTo>
                    <a:lnTo>
                      <a:pt x="22012" y="14563"/>
                    </a:lnTo>
                    <a:lnTo>
                      <a:pt x="22158" y="14501"/>
                    </a:lnTo>
                    <a:lnTo>
                      <a:pt x="22284" y="14291"/>
                    </a:lnTo>
                    <a:lnTo>
                      <a:pt x="22263" y="14187"/>
                    </a:lnTo>
                    <a:lnTo>
                      <a:pt x="22305" y="14019"/>
                    </a:lnTo>
                    <a:lnTo>
                      <a:pt x="22284" y="13957"/>
                    </a:lnTo>
                    <a:lnTo>
                      <a:pt x="22284" y="13852"/>
                    </a:lnTo>
                    <a:lnTo>
                      <a:pt x="22430" y="13496"/>
                    </a:lnTo>
                    <a:lnTo>
                      <a:pt x="22493" y="13287"/>
                    </a:lnTo>
                    <a:lnTo>
                      <a:pt x="22702" y="12910"/>
                    </a:lnTo>
                    <a:lnTo>
                      <a:pt x="22702" y="12785"/>
                    </a:lnTo>
                    <a:lnTo>
                      <a:pt x="22807" y="12492"/>
                    </a:lnTo>
                    <a:lnTo>
                      <a:pt x="22953" y="12366"/>
                    </a:lnTo>
                    <a:lnTo>
                      <a:pt x="23016" y="12199"/>
                    </a:lnTo>
                    <a:lnTo>
                      <a:pt x="22953" y="12053"/>
                    </a:lnTo>
                    <a:lnTo>
                      <a:pt x="23058" y="11927"/>
                    </a:lnTo>
                    <a:lnTo>
                      <a:pt x="22995" y="11655"/>
                    </a:lnTo>
                    <a:lnTo>
                      <a:pt x="22995" y="11529"/>
                    </a:lnTo>
                    <a:lnTo>
                      <a:pt x="22911" y="11320"/>
                    </a:lnTo>
                    <a:lnTo>
                      <a:pt x="22891" y="11236"/>
                    </a:lnTo>
                    <a:lnTo>
                      <a:pt x="22849" y="11111"/>
                    </a:lnTo>
                    <a:lnTo>
                      <a:pt x="22911" y="11069"/>
                    </a:lnTo>
                    <a:lnTo>
                      <a:pt x="22911" y="10923"/>
                    </a:lnTo>
                    <a:lnTo>
                      <a:pt x="23016" y="10776"/>
                    </a:lnTo>
                    <a:lnTo>
                      <a:pt x="23016" y="10713"/>
                    </a:lnTo>
                    <a:lnTo>
                      <a:pt x="22995" y="10379"/>
                    </a:lnTo>
                    <a:lnTo>
                      <a:pt x="23058" y="10253"/>
                    </a:lnTo>
                    <a:lnTo>
                      <a:pt x="23016" y="10190"/>
                    </a:lnTo>
                    <a:lnTo>
                      <a:pt x="22995" y="10065"/>
                    </a:lnTo>
                    <a:lnTo>
                      <a:pt x="22995" y="9856"/>
                    </a:lnTo>
                    <a:lnTo>
                      <a:pt x="22932" y="9835"/>
                    </a:lnTo>
                    <a:lnTo>
                      <a:pt x="22995" y="9688"/>
                    </a:lnTo>
                    <a:lnTo>
                      <a:pt x="22891" y="9667"/>
                    </a:lnTo>
                    <a:lnTo>
                      <a:pt x="22828" y="9542"/>
                    </a:lnTo>
                    <a:lnTo>
                      <a:pt x="22828" y="9416"/>
                    </a:lnTo>
                    <a:lnTo>
                      <a:pt x="22702" y="9312"/>
                    </a:lnTo>
                    <a:lnTo>
                      <a:pt x="22619" y="9144"/>
                    </a:lnTo>
                    <a:lnTo>
                      <a:pt x="22598" y="8956"/>
                    </a:lnTo>
                    <a:lnTo>
                      <a:pt x="22514" y="8830"/>
                    </a:lnTo>
                    <a:lnTo>
                      <a:pt x="22430" y="8830"/>
                    </a:lnTo>
                    <a:lnTo>
                      <a:pt x="22367" y="8851"/>
                    </a:lnTo>
                    <a:lnTo>
                      <a:pt x="22284" y="8809"/>
                    </a:lnTo>
                    <a:lnTo>
                      <a:pt x="22263" y="8642"/>
                    </a:lnTo>
                    <a:lnTo>
                      <a:pt x="22200" y="8621"/>
                    </a:lnTo>
                    <a:lnTo>
                      <a:pt x="22179" y="8537"/>
                    </a:lnTo>
                    <a:lnTo>
                      <a:pt x="22054" y="8412"/>
                    </a:lnTo>
                    <a:lnTo>
                      <a:pt x="21970" y="8370"/>
                    </a:lnTo>
                    <a:lnTo>
                      <a:pt x="22012" y="8265"/>
                    </a:lnTo>
                    <a:lnTo>
                      <a:pt x="21949" y="8119"/>
                    </a:lnTo>
                    <a:lnTo>
                      <a:pt x="22054" y="7993"/>
                    </a:lnTo>
                    <a:lnTo>
                      <a:pt x="22074" y="7805"/>
                    </a:lnTo>
                    <a:lnTo>
                      <a:pt x="22012" y="7742"/>
                    </a:lnTo>
                    <a:lnTo>
                      <a:pt x="22054" y="7638"/>
                    </a:lnTo>
                    <a:lnTo>
                      <a:pt x="21970" y="7575"/>
                    </a:lnTo>
                    <a:lnTo>
                      <a:pt x="21949" y="7638"/>
                    </a:lnTo>
                    <a:lnTo>
                      <a:pt x="21991" y="7679"/>
                    </a:lnTo>
                    <a:lnTo>
                      <a:pt x="21949" y="7763"/>
                    </a:lnTo>
                    <a:lnTo>
                      <a:pt x="21677" y="7533"/>
                    </a:lnTo>
                    <a:lnTo>
                      <a:pt x="21635" y="7366"/>
                    </a:lnTo>
                    <a:lnTo>
                      <a:pt x="21572" y="7387"/>
                    </a:lnTo>
                    <a:lnTo>
                      <a:pt x="21572" y="7470"/>
                    </a:lnTo>
                    <a:lnTo>
                      <a:pt x="21551" y="7575"/>
                    </a:lnTo>
                    <a:lnTo>
                      <a:pt x="21593" y="7763"/>
                    </a:lnTo>
                    <a:lnTo>
                      <a:pt x="21468" y="7596"/>
                    </a:lnTo>
                    <a:lnTo>
                      <a:pt x="21426" y="7659"/>
                    </a:lnTo>
                    <a:lnTo>
                      <a:pt x="21426" y="7554"/>
                    </a:lnTo>
                    <a:lnTo>
                      <a:pt x="21363" y="7470"/>
                    </a:lnTo>
                    <a:lnTo>
                      <a:pt x="21342" y="7135"/>
                    </a:lnTo>
                    <a:lnTo>
                      <a:pt x="21384" y="7115"/>
                    </a:lnTo>
                    <a:lnTo>
                      <a:pt x="21384" y="7031"/>
                    </a:lnTo>
                    <a:lnTo>
                      <a:pt x="21279" y="6947"/>
                    </a:lnTo>
                    <a:lnTo>
                      <a:pt x="21321" y="6863"/>
                    </a:lnTo>
                    <a:lnTo>
                      <a:pt x="21238" y="6801"/>
                    </a:lnTo>
                    <a:lnTo>
                      <a:pt x="21258" y="6696"/>
                    </a:lnTo>
                    <a:lnTo>
                      <a:pt x="21070" y="6529"/>
                    </a:lnTo>
                    <a:lnTo>
                      <a:pt x="21028" y="6424"/>
                    </a:lnTo>
                    <a:lnTo>
                      <a:pt x="21028" y="6299"/>
                    </a:lnTo>
                    <a:lnTo>
                      <a:pt x="21133" y="6319"/>
                    </a:lnTo>
                    <a:lnTo>
                      <a:pt x="21133" y="6194"/>
                    </a:lnTo>
                    <a:lnTo>
                      <a:pt x="21028" y="6027"/>
                    </a:lnTo>
                    <a:lnTo>
                      <a:pt x="20966" y="6068"/>
                    </a:lnTo>
                    <a:lnTo>
                      <a:pt x="20861" y="6068"/>
                    </a:lnTo>
                    <a:lnTo>
                      <a:pt x="20756" y="5880"/>
                    </a:lnTo>
                    <a:lnTo>
                      <a:pt x="20694" y="5880"/>
                    </a:lnTo>
                    <a:lnTo>
                      <a:pt x="20589" y="5796"/>
                    </a:lnTo>
                    <a:lnTo>
                      <a:pt x="20505" y="5859"/>
                    </a:lnTo>
                    <a:lnTo>
                      <a:pt x="20484" y="5796"/>
                    </a:lnTo>
                    <a:lnTo>
                      <a:pt x="20338" y="5754"/>
                    </a:lnTo>
                    <a:lnTo>
                      <a:pt x="20275" y="5817"/>
                    </a:lnTo>
                    <a:lnTo>
                      <a:pt x="20317" y="5713"/>
                    </a:lnTo>
                    <a:lnTo>
                      <a:pt x="20442" y="5692"/>
                    </a:lnTo>
                    <a:lnTo>
                      <a:pt x="20442" y="5608"/>
                    </a:lnTo>
                    <a:lnTo>
                      <a:pt x="20422" y="5545"/>
                    </a:lnTo>
                    <a:lnTo>
                      <a:pt x="20296" y="5566"/>
                    </a:lnTo>
                    <a:lnTo>
                      <a:pt x="20191" y="5545"/>
                    </a:lnTo>
                    <a:lnTo>
                      <a:pt x="20170" y="5482"/>
                    </a:lnTo>
                    <a:lnTo>
                      <a:pt x="20087" y="5482"/>
                    </a:lnTo>
                    <a:lnTo>
                      <a:pt x="19857" y="5336"/>
                    </a:lnTo>
                    <a:lnTo>
                      <a:pt x="19752" y="5127"/>
                    </a:lnTo>
                    <a:lnTo>
                      <a:pt x="19710" y="4918"/>
                    </a:lnTo>
                    <a:lnTo>
                      <a:pt x="19668" y="4771"/>
                    </a:lnTo>
                    <a:lnTo>
                      <a:pt x="19668" y="4666"/>
                    </a:lnTo>
                    <a:lnTo>
                      <a:pt x="19710" y="4646"/>
                    </a:lnTo>
                    <a:lnTo>
                      <a:pt x="19773" y="4415"/>
                    </a:lnTo>
                    <a:lnTo>
                      <a:pt x="19689" y="4122"/>
                    </a:lnTo>
                    <a:lnTo>
                      <a:pt x="19647" y="3976"/>
                    </a:lnTo>
                    <a:lnTo>
                      <a:pt x="19689" y="3934"/>
                    </a:lnTo>
                    <a:lnTo>
                      <a:pt x="19606" y="3892"/>
                    </a:lnTo>
                    <a:lnTo>
                      <a:pt x="19543" y="3892"/>
                    </a:lnTo>
                    <a:lnTo>
                      <a:pt x="19438" y="3662"/>
                    </a:lnTo>
                    <a:lnTo>
                      <a:pt x="19438" y="3369"/>
                    </a:lnTo>
                    <a:lnTo>
                      <a:pt x="19459" y="3348"/>
                    </a:lnTo>
                    <a:lnTo>
                      <a:pt x="19459" y="3265"/>
                    </a:lnTo>
                    <a:lnTo>
                      <a:pt x="19396" y="3202"/>
                    </a:lnTo>
                    <a:lnTo>
                      <a:pt x="19375" y="2846"/>
                    </a:lnTo>
                    <a:lnTo>
                      <a:pt x="19438" y="2762"/>
                    </a:lnTo>
                    <a:lnTo>
                      <a:pt x="19375" y="2637"/>
                    </a:lnTo>
                    <a:lnTo>
                      <a:pt x="19438" y="2616"/>
                    </a:lnTo>
                    <a:lnTo>
                      <a:pt x="19438" y="2532"/>
                    </a:lnTo>
                    <a:lnTo>
                      <a:pt x="19250" y="2323"/>
                    </a:lnTo>
                    <a:lnTo>
                      <a:pt x="19124" y="2260"/>
                    </a:lnTo>
                    <a:lnTo>
                      <a:pt x="19145" y="2218"/>
                    </a:lnTo>
                    <a:lnTo>
                      <a:pt x="19020" y="2093"/>
                    </a:lnTo>
                    <a:lnTo>
                      <a:pt x="18915" y="2156"/>
                    </a:lnTo>
                    <a:lnTo>
                      <a:pt x="18852" y="2114"/>
                    </a:lnTo>
                    <a:lnTo>
                      <a:pt x="18769" y="2239"/>
                    </a:lnTo>
                    <a:lnTo>
                      <a:pt x="18706" y="2239"/>
                    </a:lnTo>
                    <a:lnTo>
                      <a:pt x="18559" y="2051"/>
                    </a:lnTo>
                    <a:lnTo>
                      <a:pt x="18601" y="1988"/>
                    </a:lnTo>
                    <a:lnTo>
                      <a:pt x="18517" y="1800"/>
                    </a:lnTo>
                    <a:lnTo>
                      <a:pt x="18538" y="1591"/>
                    </a:lnTo>
                    <a:lnTo>
                      <a:pt x="18517" y="1319"/>
                    </a:lnTo>
                    <a:lnTo>
                      <a:pt x="18497" y="1361"/>
                    </a:lnTo>
                    <a:lnTo>
                      <a:pt x="18434" y="1256"/>
                    </a:lnTo>
                    <a:lnTo>
                      <a:pt x="18497" y="1151"/>
                    </a:lnTo>
                    <a:lnTo>
                      <a:pt x="18413" y="1047"/>
                    </a:lnTo>
                    <a:lnTo>
                      <a:pt x="18392" y="942"/>
                    </a:lnTo>
                    <a:lnTo>
                      <a:pt x="18329" y="900"/>
                    </a:lnTo>
                    <a:lnTo>
                      <a:pt x="18329" y="754"/>
                    </a:lnTo>
                    <a:lnTo>
                      <a:pt x="18413" y="670"/>
                    </a:lnTo>
                    <a:lnTo>
                      <a:pt x="18329" y="649"/>
                    </a:lnTo>
                    <a:lnTo>
                      <a:pt x="18225" y="670"/>
                    </a:lnTo>
                    <a:lnTo>
                      <a:pt x="18141" y="586"/>
                    </a:lnTo>
                    <a:lnTo>
                      <a:pt x="18204" y="314"/>
                    </a:lnTo>
                    <a:lnTo>
                      <a:pt x="18183" y="252"/>
                    </a:lnTo>
                    <a:lnTo>
                      <a:pt x="18120" y="105"/>
                    </a:lnTo>
                    <a:lnTo>
                      <a:pt x="18015" y="63"/>
                    </a:lnTo>
                    <a:lnTo>
                      <a:pt x="1801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sp>
            <p:nvSpPr>
              <p:cNvPr id="2051" name="Google Shape;2051;p66"/>
              <p:cNvSpPr/>
              <p:nvPr/>
            </p:nvSpPr>
            <p:spPr>
              <a:xfrm>
                <a:off x="5683950" y="3957275"/>
                <a:ext cx="54950" cy="71175"/>
              </a:xfrm>
              <a:custGeom>
                <a:avLst/>
                <a:gdLst/>
                <a:ahLst/>
                <a:cxnLst/>
                <a:rect l="l" t="t" r="r" b="b"/>
                <a:pathLst>
                  <a:path w="2198" h="2847" extrusionOk="0">
                    <a:moveTo>
                      <a:pt x="168" y="1"/>
                    </a:moveTo>
                    <a:lnTo>
                      <a:pt x="126" y="64"/>
                    </a:lnTo>
                    <a:lnTo>
                      <a:pt x="126" y="189"/>
                    </a:lnTo>
                    <a:lnTo>
                      <a:pt x="105" y="210"/>
                    </a:lnTo>
                    <a:lnTo>
                      <a:pt x="105" y="336"/>
                    </a:lnTo>
                    <a:lnTo>
                      <a:pt x="126" y="587"/>
                    </a:lnTo>
                    <a:lnTo>
                      <a:pt x="105" y="733"/>
                    </a:lnTo>
                    <a:lnTo>
                      <a:pt x="126" y="1005"/>
                    </a:lnTo>
                    <a:lnTo>
                      <a:pt x="168" y="1214"/>
                    </a:lnTo>
                    <a:lnTo>
                      <a:pt x="126" y="1361"/>
                    </a:lnTo>
                    <a:lnTo>
                      <a:pt x="189" y="1382"/>
                    </a:lnTo>
                    <a:lnTo>
                      <a:pt x="189" y="1466"/>
                    </a:lnTo>
                    <a:lnTo>
                      <a:pt x="294" y="1570"/>
                    </a:lnTo>
                    <a:lnTo>
                      <a:pt x="168" y="1570"/>
                    </a:lnTo>
                    <a:lnTo>
                      <a:pt x="64" y="1466"/>
                    </a:lnTo>
                    <a:lnTo>
                      <a:pt x="1" y="1570"/>
                    </a:lnTo>
                    <a:lnTo>
                      <a:pt x="1" y="1779"/>
                    </a:lnTo>
                    <a:lnTo>
                      <a:pt x="85" y="1842"/>
                    </a:lnTo>
                    <a:lnTo>
                      <a:pt x="64" y="1884"/>
                    </a:lnTo>
                    <a:lnTo>
                      <a:pt x="64" y="2198"/>
                    </a:lnTo>
                    <a:lnTo>
                      <a:pt x="105" y="2261"/>
                    </a:lnTo>
                    <a:lnTo>
                      <a:pt x="85" y="2303"/>
                    </a:lnTo>
                    <a:lnTo>
                      <a:pt x="105" y="2470"/>
                    </a:lnTo>
                    <a:lnTo>
                      <a:pt x="210" y="2491"/>
                    </a:lnTo>
                    <a:lnTo>
                      <a:pt x="168" y="2575"/>
                    </a:lnTo>
                    <a:lnTo>
                      <a:pt x="168" y="2700"/>
                    </a:lnTo>
                    <a:lnTo>
                      <a:pt x="210" y="2721"/>
                    </a:lnTo>
                    <a:lnTo>
                      <a:pt x="315" y="2700"/>
                    </a:lnTo>
                    <a:lnTo>
                      <a:pt x="398" y="2784"/>
                    </a:lnTo>
                    <a:lnTo>
                      <a:pt x="503" y="2637"/>
                    </a:lnTo>
                    <a:lnTo>
                      <a:pt x="503" y="2742"/>
                    </a:lnTo>
                    <a:lnTo>
                      <a:pt x="545" y="2847"/>
                    </a:lnTo>
                    <a:lnTo>
                      <a:pt x="649" y="2847"/>
                    </a:lnTo>
                    <a:lnTo>
                      <a:pt x="754" y="2700"/>
                    </a:lnTo>
                    <a:lnTo>
                      <a:pt x="796" y="2595"/>
                    </a:lnTo>
                    <a:lnTo>
                      <a:pt x="838" y="2407"/>
                    </a:lnTo>
                    <a:lnTo>
                      <a:pt x="921" y="2491"/>
                    </a:lnTo>
                    <a:lnTo>
                      <a:pt x="942" y="2428"/>
                    </a:lnTo>
                    <a:lnTo>
                      <a:pt x="1047" y="2365"/>
                    </a:lnTo>
                    <a:lnTo>
                      <a:pt x="1110" y="2219"/>
                    </a:lnTo>
                    <a:lnTo>
                      <a:pt x="1110" y="2365"/>
                    </a:lnTo>
                    <a:lnTo>
                      <a:pt x="1173" y="2386"/>
                    </a:lnTo>
                    <a:lnTo>
                      <a:pt x="1235" y="2282"/>
                    </a:lnTo>
                    <a:lnTo>
                      <a:pt x="1340" y="2261"/>
                    </a:lnTo>
                    <a:lnTo>
                      <a:pt x="1382" y="2303"/>
                    </a:lnTo>
                    <a:lnTo>
                      <a:pt x="1361" y="2407"/>
                    </a:lnTo>
                    <a:lnTo>
                      <a:pt x="1256" y="2365"/>
                    </a:lnTo>
                    <a:lnTo>
                      <a:pt x="1256" y="2512"/>
                    </a:lnTo>
                    <a:lnTo>
                      <a:pt x="1361" y="2470"/>
                    </a:lnTo>
                    <a:lnTo>
                      <a:pt x="1424" y="2491"/>
                    </a:lnTo>
                    <a:lnTo>
                      <a:pt x="1549" y="2303"/>
                    </a:lnTo>
                    <a:lnTo>
                      <a:pt x="1549" y="2219"/>
                    </a:lnTo>
                    <a:lnTo>
                      <a:pt x="1466" y="2177"/>
                    </a:lnTo>
                    <a:lnTo>
                      <a:pt x="1549" y="2072"/>
                    </a:lnTo>
                    <a:lnTo>
                      <a:pt x="1549" y="1947"/>
                    </a:lnTo>
                    <a:lnTo>
                      <a:pt x="1633" y="1947"/>
                    </a:lnTo>
                    <a:lnTo>
                      <a:pt x="1675" y="1884"/>
                    </a:lnTo>
                    <a:lnTo>
                      <a:pt x="1675" y="1633"/>
                    </a:lnTo>
                    <a:lnTo>
                      <a:pt x="1758" y="1570"/>
                    </a:lnTo>
                    <a:lnTo>
                      <a:pt x="1800" y="1466"/>
                    </a:lnTo>
                    <a:lnTo>
                      <a:pt x="1842" y="1633"/>
                    </a:lnTo>
                    <a:lnTo>
                      <a:pt x="1863" y="1696"/>
                    </a:lnTo>
                    <a:lnTo>
                      <a:pt x="1905" y="1570"/>
                    </a:lnTo>
                    <a:lnTo>
                      <a:pt x="1905" y="1466"/>
                    </a:lnTo>
                    <a:lnTo>
                      <a:pt x="1947" y="1424"/>
                    </a:lnTo>
                    <a:lnTo>
                      <a:pt x="1905" y="1256"/>
                    </a:lnTo>
                    <a:lnTo>
                      <a:pt x="1989" y="1131"/>
                    </a:lnTo>
                    <a:lnTo>
                      <a:pt x="1989" y="922"/>
                    </a:lnTo>
                    <a:lnTo>
                      <a:pt x="2093" y="796"/>
                    </a:lnTo>
                    <a:lnTo>
                      <a:pt x="2156" y="503"/>
                    </a:lnTo>
                    <a:lnTo>
                      <a:pt x="2198" y="398"/>
                    </a:lnTo>
                    <a:lnTo>
                      <a:pt x="2072" y="294"/>
                    </a:lnTo>
                    <a:lnTo>
                      <a:pt x="1947" y="294"/>
                    </a:lnTo>
                    <a:lnTo>
                      <a:pt x="1947" y="315"/>
                    </a:lnTo>
                    <a:lnTo>
                      <a:pt x="1884" y="419"/>
                    </a:lnTo>
                    <a:lnTo>
                      <a:pt x="1863" y="398"/>
                    </a:lnTo>
                    <a:lnTo>
                      <a:pt x="1800" y="398"/>
                    </a:lnTo>
                    <a:lnTo>
                      <a:pt x="1738" y="440"/>
                    </a:lnTo>
                    <a:lnTo>
                      <a:pt x="1675" y="503"/>
                    </a:lnTo>
                    <a:lnTo>
                      <a:pt x="1340" y="482"/>
                    </a:lnTo>
                    <a:lnTo>
                      <a:pt x="1256" y="524"/>
                    </a:lnTo>
                    <a:lnTo>
                      <a:pt x="1256" y="629"/>
                    </a:lnTo>
                    <a:lnTo>
                      <a:pt x="1173" y="545"/>
                    </a:lnTo>
                    <a:lnTo>
                      <a:pt x="1068" y="545"/>
                    </a:lnTo>
                    <a:lnTo>
                      <a:pt x="1005" y="608"/>
                    </a:lnTo>
                    <a:lnTo>
                      <a:pt x="901" y="524"/>
                    </a:lnTo>
                    <a:lnTo>
                      <a:pt x="733" y="398"/>
                    </a:lnTo>
                    <a:lnTo>
                      <a:pt x="524" y="294"/>
                    </a:lnTo>
                    <a:lnTo>
                      <a:pt x="524" y="106"/>
                    </a:lnTo>
                    <a:lnTo>
                      <a:pt x="482" y="168"/>
                    </a:lnTo>
                    <a:lnTo>
                      <a:pt x="440" y="210"/>
                    </a:lnTo>
                    <a:lnTo>
                      <a:pt x="377" y="126"/>
                    </a:lnTo>
                    <a:lnTo>
                      <a:pt x="273" y="85"/>
                    </a:lnTo>
                    <a:lnTo>
                      <a:pt x="16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2052" name="Google Shape;2052;p66"/>
            <p:cNvGrpSpPr/>
            <p:nvPr/>
          </p:nvGrpSpPr>
          <p:grpSpPr>
            <a:xfrm>
              <a:off x="4824403" y="3421846"/>
              <a:ext cx="110132" cy="130647"/>
              <a:chOff x="5952300" y="3852150"/>
              <a:chExt cx="231225" cy="287200"/>
            </a:xfrm>
          </p:grpSpPr>
          <p:sp>
            <p:nvSpPr>
              <p:cNvPr id="2053" name="Google Shape;2053;p66"/>
              <p:cNvSpPr/>
              <p:nvPr/>
            </p:nvSpPr>
            <p:spPr>
              <a:xfrm>
                <a:off x="5952300" y="3996525"/>
                <a:ext cx="145450" cy="142825"/>
              </a:xfrm>
              <a:custGeom>
                <a:avLst/>
                <a:gdLst/>
                <a:ahLst/>
                <a:cxnLst/>
                <a:rect l="l" t="t" r="r" b="b"/>
                <a:pathLst>
                  <a:path w="5818" h="5713" extrusionOk="0">
                    <a:moveTo>
                      <a:pt x="5064" y="0"/>
                    </a:moveTo>
                    <a:lnTo>
                      <a:pt x="4918" y="105"/>
                    </a:lnTo>
                    <a:lnTo>
                      <a:pt x="4834" y="126"/>
                    </a:lnTo>
                    <a:lnTo>
                      <a:pt x="4729" y="209"/>
                    </a:lnTo>
                    <a:lnTo>
                      <a:pt x="4729" y="377"/>
                    </a:lnTo>
                    <a:lnTo>
                      <a:pt x="4625" y="628"/>
                    </a:lnTo>
                    <a:lnTo>
                      <a:pt x="4520" y="753"/>
                    </a:lnTo>
                    <a:lnTo>
                      <a:pt x="4457" y="774"/>
                    </a:lnTo>
                    <a:lnTo>
                      <a:pt x="4332" y="942"/>
                    </a:lnTo>
                    <a:lnTo>
                      <a:pt x="4290" y="1025"/>
                    </a:lnTo>
                    <a:lnTo>
                      <a:pt x="4185" y="1067"/>
                    </a:lnTo>
                    <a:lnTo>
                      <a:pt x="4081" y="1046"/>
                    </a:lnTo>
                    <a:lnTo>
                      <a:pt x="3976" y="1130"/>
                    </a:lnTo>
                    <a:lnTo>
                      <a:pt x="3934" y="1235"/>
                    </a:lnTo>
                    <a:lnTo>
                      <a:pt x="3934" y="1339"/>
                    </a:lnTo>
                    <a:lnTo>
                      <a:pt x="3892" y="1360"/>
                    </a:lnTo>
                    <a:lnTo>
                      <a:pt x="3788" y="1465"/>
                    </a:lnTo>
                    <a:lnTo>
                      <a:pt x="3788" y="1590"/>
                    </a:lnTo>
                    <a:lnTo>
                      <a:pt x="3725" y="1674"/>
                    </a:lnTo>
                    <a:lnTo>
                      <a:pt x="3704" y="1758"/>
                    </a:lnTo>
                    <a:lnTo>
                      <a:pt x="3495" y="2009"/>
                    </a:lnTo>
                    <a:lnTo>
                      <a:pt x="3286" y="2176"/>
                    </a:lnTo>
                    <a:lnTo>
                      <a:pt x="3160" y="2197"/>
                    </a:lnTo>
                    <a:lnTo>
                      <a:pt x="2993" y="2281"/>
                    </a:lnTo>
                    <a:lnTo>
                      <a:pt x="2993" y="2344"/>
                    </a:lnTo>
                    <a:lnTo>
                      <a:pt x="2888" y="2344"/>
                    </a:lnTo>
                    <a:lnTo>
                      <a:pt x="2679" y="2469"/>
                    </a:lnTo>
                    <a:lnTo>
                      <a:pt x="2512" y="2616"/>
                    </a:lnTo>
                    <a:lnTo>
                      <a:pt x="2407" y="2637"/>
                    </a:lnTo>
                    <a:lnTo>
                      <a:pt x="2198" y="2783"/>
                    </a:lnTo>
                    <a:lnTo>
                      <a:pt x="2156" y="2846"/>
                    </a:lnTo>
                    <a:lnTo>
                      <a:pt x="2219" y="2929"/>
                    </a:lnTo>
                    <a:lnTo>
                      <a:pt x="2219" y="3055"/>
                    </a:lnTo>
                    <a:lnTo>
                      <a:pt x="2114" y="2950"/>
                    </a:lnTo>
                    <a:lnTo>
                      <a:pt x="2093" y="2929"/>
                    </a:lnTo>
                    <a:lnTo>
                      <a:pt x="1988" y="2950"/>
                    </a:lnTo>
                    <a:lnTo>
                      <a:pt x="1884" y="2992"/>
                    </a:lnTo>
                    <a:lnTo>
                      <a:pt x="1821" y="2950"/>
                    </a:lnTo>
                    <a:lnTo>
                      <a:pt x="1737" y="2950"/>
                    </a:lnTo>
                    <a:lnTo>
                      <a:pt x="1570" y="3118"/>
                    </a:lnTo>
                    <a:lnTo>
                      <a:pt x="1507" y="3201"/>
                    </a:lnTo>
                    <a:lnTo>
                      <a:pt x="1361" y="3327"/>
                    </a:lnTo>
                    <a:lnTo>
                      <a:pt x="1277" y="3348"/>
                    </a:lnTo>
                    <a:lnTo>
                      <a:pt x="1172" y="3453"/>
                    </a:lnTo>
                    <a:lnTo>
                      <a:pt x="1151" y="3620"/>
                    </a:lnTo>
                    <a:lnTo>
                      <a:pt x="1110" y="3536"/>
                    </a:lnTo>
                    <a:lnTo>
                      <a:pt x="1068" y="3473"/>
                    </a:lnTo>
                    <a:lnTo>
                      <a:pt x="1005" y="3557"/>
                    </a:lnTo>
                    <a:lnTo>
                      <a:pt x="942" y="3620"/>
                    </a:lnTo>
                    <a:lnTo>
                      <a:pt x="942" y="3746"/>
                    </a:lnTo>
                    <a:lnTo>
                      <a:pt x="879" y="3787"/>
                    </a:lnTo>
                    <a:lnTo>
                      <a:pt x="838" y="3766"/>
                    </a:lnTo>
                    <a:lnTo>
                      <a:pt x="670" y="3955"/>
                    </a:lnTo>
                    <a:lnTo>
                      <a:pt x="628" y="3955"/>
                    </a:lnTo>
                    <a:lnTo>
                      <a:pt x="566" y="4038"/>
                    </a:lnTo>
                    <a:lnTo>
                      <a:pt x="566" y="4206"/>
                    </a:lnTo>
                    <a:lnTo>
                      <a:pt x="524" y="4269"/>
                    </a:lnTo>
                    <a:lnTo>
                      <a:pt x="461" y="4164"/>
                    </a:lnTo>
                    <a:lnTo>
                      <a:pt x="419" y="4164"/>
                    </a:lnTo>
                    <a:lnTo>
                      <a:pt x="377" y="4206"/>
                    </a:lnTo>
                    <a:lnTo>
                      <a:pt x="335" y="4248"/>
                    </a:lnTo>
                    <a:lnTo>
                      <a:pt x="252" y="4415"/>
                    </a:lnTo>
                    <a:lnTo>
                      <a:pt x="252" y="4478"/>
                    </a:lnTo>
                    <a:lnTo>
                      <a:pt x="335" y="4582"/>
                    </a:lnTo>
                    <a:lnTo>
                      <a:pt x="377" y="4624"/>
                    </a:lnTo>
                    <a:lnTo>
                      <a:pt x="335" y="4666"/>
                    </a:lnTo>
                    <a:lnTo>
                      <a:pt x="252" y="4666"/>
                    </a:lnTo>
                    <a:lnTo>
                      <a:pt x="126" y="4687"/>
                    </a:lnTo>
                    <a:lnTo>
                      <a:pt x="1" y="4813"/>
                    </a:lnTo>
                    <a:lnTo>
                      <a:pt x="43" y="4834"/>
                    </a:lnTo>
                    <a:lnTo>
                      <a:pt x="126" y="4834"/>
                    </a:lnTo>
                    <a:lnTo>
                      <a:pt x="43" y="4896"/>
                    </a:lnTo>
                    <a:lnTo>
                      <a:pt x="43" y="5001"/>
                    </a:lnTo>
                    <a:lnTo>
                      <a:pt x="126" y="5085"/>
                    </a:lnTo>
                    <a:lnTo>
                      <a:pt x="168" y="5106"/>
                    </a:lnTo>
                    <a:lnTo>
                      <a:pt x="315" y="5106"/>
                    </a:lnTo>
                    <a:lnTo>
                      <a:pt x="335" y="5147"/>
                    </a:lnTo>
                    <a:lnTo>
                      <a:pt x="356" y="5147"/>
                    </a:lnTo>
                    <a:lnTo>
                      <a:pt x="377" y="5085"/>
                    </a:lnTo>
                    <a:lnTo>
                      <a:pt x="440" y="5085"/>
                    </a:lnTo>
                    <a:lnTo>
                      <a:pt x="524" y="5126"/>
                    </a:lnTo>
                    <a:lnTo>
                      <a:pt x="566" y="5210"/>
                    </a:lnTo>
                    <a:lnTo>
                      <a:pt x="545" y="5252"/>
                    </a:lnTo>
                    <a:lnTo>
                      <a:pt x="587" y="5315"/>
                    </a:lnTo>
                    <a:lnTo>
                      <a:pt x="670" y="5315"/>
                    </a:lnTo>
                    <a:lnTo>
                      <a:pt x="733" y="5336"/>
                    </a:lnTo>
                    <a:lnTo>
                      <a:pt x="754" y="5461"/>
                    </a:lnTo>
                    <a:lnTo>
                      <a:pt x="859" y="5545"/>
                    </a:lnTo>
                    <a:lnTo>
                      <a:pt x="942" y="5608"/>
                    </a:lnTo>
                    <a:lnTo>
                      <a:pt x="838" y="5670"/>
                    </a:lnTo>
                    <a:lnTo>
                      <a:pt x="879" y="5670"/>
                    </a:lnTo>
                    <a:lnTo>
                      <a:pt x="1005" y="5629"/>
                    </a:lnTo>
                    <a:lnTo>
                      <a:pt x="1005" y="5670"/>
                    </a:lnTo>
                    <a:lnTo>
                      <a:pt x="1110" y="5712"/>
                    </a:lnTo>
                    <a:lnTo>
                      <a:pt x="1256" y="5670"/>
                    </a:lnTo>
                    <a:lnTo>
                      <a:pt x="1465" y="5608"/>
                    </a:lnTo>
                    <a:lnTo>
                      <a:pt x="1612" y="5461"/>
                    </a:lnTo>
                    <a:lnTo>
                      <a:pt x="1737" y="5419"/>
                    </a:lnTo>
                    <a:lnTo>
                      <a:pt x="1737" y="5357"/>
                    </a:lnTo>
                    <a:lnTo>
                      <a:pt x="1716" y="5252"/>
                    </a:lnTo>
                    <a:lnTo>
                      <a:pt x="1800" y="5315"/>
                    </a:lnTo>
                    <a:lnTo>
                      <a:pt x="1779" y="5398"/>
                    </a:lnTo>
                    <a:lnTo>
                      <a:pt x="1905" y="5336"/>
                    </a:lnTo>
                    <a:lnTo>
                      <a:pt x="1926" y="5210"/>
                    </a:lnTo>
                    <a:lnTo>
                      <a:pt x="2009" y="5106"/>
                    </a:lnTo>
                    <a:lnTo>
                      <a:pt x="2198" y="5022"/>
                    </a:lnTo>
                    <a:lnTo>
                      <a:pt x="2323" y="5022"/>
                    </a:lnTo>
                    <a:lnTo>
                      <a:pt x="2365" y="5001"/>
                    </a:lnTo>
                    <a:lnTo>
                      <a:pt x="2365" y="4959"/>
                    </a:lnTo>
                    <a:lnTo>
                      <a:pt x="2260" y="4959"/>
                    </a:lnTo>
                    <a:lnTo>
                      <a:pt x="2323" y="4938"/>
                    </a:lnTo>
                    <a:lnTo>
                      <a:pt x="2344" y="4917"/>
                    </a:lnTo>
                    <a:lnTo>
                      <a:pt x="2323" y="4896"/>
                    </a:lnTo>
                    <a:lnTo>
                      <a:pt x="2449" y="4729"/>
                    </a:lnTo>
                    <a:lnTo>
                      <a:pt x="2532" y="4582"/>
                    </a:lnTo>
                    <a:lnTo>
                      <a:pt x="2574" y="4415"/>
                    </a:lnTo>
                    <a:lnTo>
                      <a:pt x="2658" y="4310"/>
                    </a:lnTo>
                    <a:lnTo>
                      <a:pt x="2930" y="4143"/>
                    </a:lnTo>
                    <a:lnTo>
                      <a:pt x="2972" y="4038"/>
                    </a:lnTo>
                    <a:lnTo>
                      <a:pt x="2993" y="3913"/>
                    </a:lnTo>
                    <a:lnTo>
                      <a:pt x="3097" y="3746"/>
                    </a:lnTo>
                    <a:lnTo>
                      <a:pt x="3160" y="3641"/>
                    </a:lnTo>
                    <a:lnTo>
                      <a:pt x="3181" y="3536"/>
                    </a:lnTo>
                    <a:lnTo>
                      <a:pt x="3265" y="3432"/>
                    </a:lnTo>
                    <a:lnTo>
                      <a:pt x="3369" y="3369"/>
                    </a:lnTo>
                    <a:lnTo>
                      <a:pt x="3390" y="3264"/>
                    </a:lnTo>
                    <a:lnTo>
                      <a:pt x="3474" y="3348"/>
                    </a:lnTo>
                    <a:lnTo>
                      <a:pt x="3516" y="3348"/>
                    </a:lnTo>
                    <a:lnTo>
                      <a:pt x="3558" y="3243"/>
                    </a:lnTo>
                    <a:lnTo>
                      <a:pt x="3662" y="3243"/>
                    </a:lnTo>
                    <a:lnTo>
                      <a:pt x="3725" y="3222"/>
                    </a:lnTo>
                    <a:lnTo>
                      <a:pt x="3788" y="3139"/>
                    </a:lnTo>
                    <a:lnTo>
                      <a:pt x="3788" y="3034"/>
                    </a:lnTo>
                    <a:lnTo>
                      <a:pt x="3704" y="2950"/>
                    </a:lnTo>
                    <a:lnTo>
                      <a:pt x="3704" y="2950"/>
                    </a:lnTo>
                    <a:lnTo>
                      <a:pt x="3809" y="3013"/>
                    </a:lnTo>
                    <a:lnTo>
                      <a:pt x="3830" y="3139"/>
                    </a:lnTo>
                    <a:lnTo>
                      <a:pt x="3892" y="3139"/>
                    </a:lnTo>
                    <a:lnTo>
                      <a:pt x="3976" y="3118"/>
                    </a:lnTo>
                    <a:lnTo>
                      <a:pt x="3976" y="3055"/>
                    </a:lnTo>
                    <a:lnTo>
                      <a:pt x="4039" y="3013"/>
                    </a:lnTo>
                    <a:lnTo>
                      <a:pt x="4123" y="3034"/>
                    </a:lnTo>
                    <a:lnTo>
                      <a:pt x="4123" y="3097"/>
                    </a:lnTo>
                    <a:lnTo>
                      <a:pt x="4018" y="3139"/>
                    </a:lnTo>
                    <a:lnTo>
                      <a:pt x="4123" y="3139"/>
                    </a:lnTo>
                    <a:lnTo>
                      <a:pt x="4227" y="3160"/>
                    </a:lnTo>
                    <a:lnTo>
                      <a:pt x="4248" y="3118"/>
                    </a:lnTo>
                    <a:lnTo>
                      <a:pt x="4248" y="3034"/>
                    </a:lnTo>
                    <a:lnTo>
                      <a:pt x="4290" y="2992"/>
                    </a:lnTo>
                    <a:lnTo>
                      <a:pt x="4311" y="3013"/>
                    </a:lnTo>
                    <a:lnTo>
                      <a:pt x="4311" y="3139"/>
                    </a:lnTo>
                    <a:lnTo>
                      <a:pt x="4332" y="3160"/>
                    </a:lnTo>
                    <a:lnTo>
                      <a:pt x="4395" y="3118"/>
                    </a:lnTo>
                    <a:lnTo>
                      <a:pt x="4416" y="2950"/>
                    </a:lnTo>
                    <a:lnTo>
                      <a:pt x="4353" y="2867"/>
                    </a:lnTo>
                    <a:lnTo>
                      <a:pt x="4290" y="2867"/>
                    </a:lnTo>
                    <a:lnTo>
                      <a:pt x="4311" y="2825"/>
                    </a:lnTo>
                    <a:lnTo>
                      <a:pt x="4311" y="2699"/>
                    </a:lnTo>
                    <a:lnTo>
                      <a:pt x="4332" y="2511"/>
                    </a:lnTo>
                    <a:lnTo>
                      <a:pt x="4416" y="2490"/>
                    </a:lnTo>
                    <a:lnTo>
                      <a:pt x="4562" y="2427"/>
                    </a:lnTo>
                    <a:lnTo>
                      <a:pt x="4750" y="2323"/>
                    </a:lnTo>
                    <a:lnTo>
                      <a:pt x="4771" y="2260"/>
                    </a:lnTo>
                    <a:lnTo>
                      <a:pt x="4918" y="2093"/>
                    </a:lnTo>
                    <a:lnTo>
                      <a:pt x="4918" y="1988"/>
                    </a:lnTo>
                    <a:lnTo>
                      <a:pt x="5043" y="1862"/>
                    </a:lnTo>
                    <a:lnTo>
                      <a:pt x="5127" y="1883"/>
                    </a:lnTo>
                    <a:lnTo>
                      <a:pt x="5127" y="1821"/>
                    </a:lnTo>
                    <a:lnTo>
                      <a:pt x="5336" y="1632"/>
                    </a:lnTo>
                    <a:lnTo>
                      <a:pt x="5336" y="1549"/>
                    </a:lnTo>
                    <a:lnTo>
                      <a:pt x="5650" y="1277"/>
                    </a:lnTo>
                    <a:lnTo>
                      <a:pt x="5755" y="1235"/>
                    </a:lnTo>
                    <a:lnTo>
                      <a:pt x="5692" y="1214"/>
                    </a:lnTo>
                    <a:lnTo>
                      <a:pt x="5671" y="1109"/>
                    </a:lnTo>
                    <a:lnTo>
                      <a:pt x="5608" y="1005"/>
                    </a:lnTo>
                    <a:lnTo>
                      <a:pt x="5650" y="900"/>
                    </a:lnTo>
                    <a:lnTo>
                      <a:pt x="5671" y="774"/>
                    </a:lnTo>
                    <a:lnTo>
                      <a:pt x="5692" y="816"/>
                    </a:lnTo>
                    <a:lnTo>
                      <a:pt x="5797" y="649"/>
                    </a:lnTo>
                    <a:lnTo>
                      <a:pt x="5713" y="691"/>
                    </a:lnTo>
                    <a:lnTo>
                      <a:pt x="5650" y="691"/>
                    </a:lnTo>
                    <a:lnTo>
                      <a:pt x="5755" y="628"/>
                    </a:lnTo>
                    <a:lnTo>
                      <a:pt x="5817" y="502"/>
                    </a:lnTo>
                    <a:lnTo>
                      <a:pt x="5797" y="502"/>
                    </a:lnTo>
                    <a:lnTo>
                      <a:pt x="5797" y="419"/>
                    </a:lnTo>
                    <a:lnTo>
                      <a:pt x="5713" y="419"/>
                    </a:lnTo>
                    <a:lnTo>
                      <a:pt x="5650" y="544"/>
                    </a:lnTo>
                    <a:lnTo>
                      <a:pt x="5671" y="586"/>
                    </a:lnTo>
                    <a:lnTo>
                      <a:pt x="5713" y="607"/>
                    </a:lnTo>
                    <a:lnTo>
                      <a:pt x="5608" y="649"/>
                    </a:lnTo>
                    <a:lnTo>
                      <a:pt x="5566" y="607"/>
                    </a:lnTo>
                    <a:lnTo>
                      <a:pt x="5566" y="544"/>
                    </a:lnTo>
                    <a:lnTo>
                      <a:pt x="5504" y="544"/>
                    </a:lnTo>
                    <a:lnTo>
                      <a:pt x="5441" y="523"/>
                    </a:lnTo>
                    <a:lnTo>
                      <a:pt x="5378" y="586"/>
                    </a:lnTo>
                    <a:lnTo>
                      <a:pt x="5294" y="691"/>
                    </a:lnTo>
                    <a:lnTo>
                      <a:pt x="5232" y="628"/>
                    </a:lnTo>
                    <a:lnTo>
                      <a:pt x="5169" y="481"/>
                    </a:lnTo>
                    <a:lnTo>
                      <a:pt x="5232" y="440"/>
                    </a:lnTo>
                    <a:lnTo>
                      <a:pt x="5273" y="377"/>
                    </a:lnTo>
                    <a:lnTo>
                      <a:pt x="5273" y="314"/>
                    </a:lnTo>
                    <a:lnTo>
                      <a:pt x="5252" y="293"/>
                    </a:lnTo>
                    <a:lnTo>
                      <a:pt x="5273" y="251"/>
                    </a:lnTo>
                    <a:lnTo>
                      <a:pt x="5232" y="209"/>
                    </a:lnTo>
                    <a:lnTo>
                      <a:pt x="5169" y="251"/>
                    </a:lnTo>
                    <a:lnTo>
                      <a:pt x="5127" y="230"/>
                    </a:lnTo>
                    <a:lnTo>
                      <a:pt x="5064" y="188"/>
                    </a:lnTo>
                    <a:lnTo>
                      <a:pt x="5085" y="105"/>
                    </a:lnTo>
                    <a:lnTo>
                      <a:pt x="516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4" name="Google Shape;2054;p66"/>
              <p:cNvSpPr/>
              <p:nvPr/>
            </p:nvSpPr>
            <p:spPr>
              <a:xfrm>
                <a:off x="6101375" y="3852150"/>
                <a:ext cx="82150" cy="171075"/>
              </a:xfrm>
              <a:custGeom>
                <a:avLst/>
                <a:gdLst/>
                <a:ahLst/>
                <a:cxnLst/>
                <a:rect l="l" t="t" r="r" b="b"/>
                <a:pathLst>
                  <a:path w="3286" h="6843" extrusionOk="0">
                    <a:moveTo>
                      <a:pt x="880" y="0"/>
                    </a:moveTo>
                    <a:lnTo>
                      <a:pt x="796" y="21"/>
                    </a:lnTo>
                    <a:lnTo>
                      <a:pt x="650" y="21"/>
                    </a:lnTo>
                    <a:lnTo>
                      <a:pt x="650" y="42"/>
                    </a:lnTo>
                    <a:lnTo>
                      <a:pt x="733" y="126"/>
                    </a:lnTo>
                    <a:lnTo>
                      <a:pt x="859" y="440"/>
                    </a:lnTo>
                    <a:lnTo>
                      <a:pt x="859" y="544"/>
                    </a:lnTo>
                    <a:lnTo>
                      <a:pt x="859" y="733"/>
                    </a:lnTo>
                    <a:lnTo>
                      <a:pt x="796" y="774"/>
                    </a:lnTo>
                    <a:lnTo>
                      <a:pt x="754" y="774"/>
                    </a:lnTo>
                    <a:lnTo>
                      <a:pt x="754" y="795"/>
                    </a:lnTo>
                    <a:lnTo>
                      <a:pt x="796" y="1046"/>
                    </a:lnTo>
                    <a:lnTo>
                      <a:pt x="838" y="1067"/>
                    </a:lnTo>
                    <a:lnTo>
                      <a:pt x="942" y="1026"/>
                    </a:lnTo>
                    <a:lnTo>
                      <a:pt x="1047" y="1026"/>
                    </a:lnTo>
                    <a:lnTo>
                      <a:pt x="963" y="1046"/>
                    </a:lnTo>
                    <a:lnTo>
                      <a:pt x="880" y="1151"/>
                    </a:lnTo>
                    <a:lnTo>
                      <a:pt x="901" y="1277"/>
                    </a:lnTo>
                    <a:lnTo>
                      <a:pt x="984" y="1444"/>
                    </a:lnTo>
                    <a:lnTo>
                      <a:pt x="1005" y="1716"/>
                    </a:lnTo>
                    <a:lnTo>
                      <a:pt x="1005" y="1904"/>
                    </a:lnTo>
                    <a:lnTo>
                      <a:pt x="1005" y="2030"/>
                    </a:lnTo>
                    <a:lnTo>
                      <a:pt x="1068" y="2009"/>
                    </a:lnTo>
                    <a:lnTo>
                      <a:pt x="1089" y="1904"/>
                    </a:lnTo>
                    <a:lnTo>
                      <a:pt x="1068" y="1821"/>
                    </a:lnTo>
                    <a:lnTo>
                      <a:pt x="1089" y="1800"/>
                    </a:lnTo>
                    <a:lnTo>
                      <a:pt x="1152" y="1842"/>
                    </a:lnTo>
                    <a:lnTo>
                      <a:pt x="1152" y="1967"/>
                    </a:lnTo>
                    <a:lnTo>
                      <a:pt x="1194" y="1967"/>
                    </a:lnTo>
                    <a:lnTo>
                      <a:pt x="1214" y="1904"/>
                    </a:lnTo>
                    <a:lnTo>
                      <a:pt x="1194" y="1842"/>
                    </a:lnTo>
                    <a:lnTo>
                      <a:pt x="1214" y="1842"/>
                    </a:lnTo>
                    <a:lnTo>
                      <a:pt x="1256" y="1925"/>
                    </a:lnTo>
                    <a:lnTo>
                      <a:pt x="1173" y="2030"/>
                    </a:lnTo>
                    <a:lnTo>
                      <a:pt x="1152" y="2134"/>
                    </a:lnTo>
                    <a:lnTo>
                      <a:pt x="1152" y="2197"/>
                    </a:lnTo>
                    <a:lnTo>
                      <a:pt x="1110" y="2218"/>
                    </a:lnTo>
                    <a:lnTo>
                      <a:pt x="1068" y="2134"/>
                    </a:lnTo>
                    <a:lnTo>
                      <a:pt x="1005" y="2134"/>
                    </a:lnTo>
                    <a:lnTo>
                      <a:pt x="1047" y="2323"/>
                    </a:lnTo>
                    <a:lnTo>
                      <a:pt x="1110" y="2532"/>
                    </a:lnTo>
                    <a:lnTo>
                      <a:pt x="1173" y="2553"/>
                    </a:lnTo>
                    <a:lnTo>
                      <a:pt x="1194" y="2532"/>
                    </a:lnTo>
                    <a:lnTo>
                      <a:pt x="1256" y="2616"/>
                    </a:lnTo>
                    <a:lnTo>
                      <a:pt x="1256" y="2658"/>
                    </a:lnTo>
                    <a:lnTo>
                      <a:pt x="1298" y="2699"/>
                    </a:lnTo>
                    <a:lnTo>
                      <a:pt x="1194" y="2762"/>
                    </a:lnTo>
                    <a:lnTo>
                      <a:pt x="1194" y="2825"/>
                    </a:lnTo>
                    <a:lnTo>
                      <a:pt x="1214" y="2867"/>
                    </a:lnTo>
                    <a:lnTo>
                      <a:pt x="1194" y="2950"/>
                    </a:lnTo>
                    <a:lnTo>
                      <a:pt x="1110" y="3139"/>
                    </a:lnTo>
                    <a:lnTo>
                      <a:pt x="1152" y="3243"/>
                    </a:lnTo>
                    <a:lnTo>
                      <a:pt x="1089" y="3264"/>
                    </a:lnTo>
                    <a:lnTo>
                      <a:pt x="1173" y="3348"/>
                    </a:lnTo>
                    <a:lnTo>
                      <a:pt x="1152" y="3369"/>
                    </a:lnTo>
                    <a:lnTo>
                      <a:pt x="1068" y="3369"/>
                    </a:lnTo>
                    <a:lnTo>
                      <a:pt x="1005" y="3474"/>
                    </a:lnTo>
                    <a:lnTo>
                      <a:pt x="1005" y="3536"/>
                    </a:lnTo>
                    <a:lnTo>
                      <a:pt x="1068" y="3599"/>
                    </a:lnTo>
                    <a:lnTo>
                      <a:pt x="1005" y="3641"/>
                    </a:lnTo>
                    <a:lnTo>
                      <a:pt x="942" y="3641"/>
                    </a:lnTo>
                    <a:lnTo>
                      <a:pt x="880" y="3767"/>
                    </a:lnTo>
                    <a:lnTo>
                      <a:pt x="796" y="4164"/>
                    </a:lnTo>
                    <a:lnTo>
                      <a:pt x="796" y="4269"/>
                    </a:lnTo>
                    <a:lnTo>
                      <a:pt x="733" y="4331"/>
                    </a:lnTo>
                    <a:lnTo>
                      <a:pt x="629" y="4331"/>
                    </a:lnTo>
                    <a:lnTo>
                      <a:pt x="545" y="4290"/>
                    </a:lnTo>
                    <a:lnTo>
                      <a:pt x="419" y="4311"/>
                    </a:lnTo>
                    <a:lnTo>
                      <a:pt x="210" y="4415"/>
                    </a:lnTo>
                    <a:lnTo>
                      <a:pt x="106" y="4520"/>
                    </a:lnTo>
                    <a:lnTo>
                      <a:pt x="64" y="4645"/>
                    </a:lnTo>
                    <a:lnTo>
                      <a:pt x="106" y="4834"/>
                    </a:lnTo>
                    <a:lnTo>
                      <a:pt x="210" y="4917"/>
                    </a:lnTo>
                    <a:lnTo>
                      <a:pt x="357" y="5022"/>
                    </a:lnTo>
                    <a:lnTo>
                      <a:pt x="440" y="5168"/>
                    </a:lnTo>
                    <a:lnTo>
                      <a:pt x="587" y="5231"/>
                    </a:lnTo>
                    <a:lnTo>
                      <a:pt x="650" y="5273"/>
                    </a:lnTo>
                    <a:lnTo>
                      <a:pt x="670" y="5545"/>
                    </a:lnTo>
                    <a:lnTo>
                      <a:pt x="691" y="5566"/>
                    </a:lnTo>
                    <a:lnTo>
                      <a:pt x="670" y="5587"/>
                    </a:lnTo>
                    <a:lnTo>
                      <a:pt x="670" y="5733"/>
                    </a:lnTo>
                    <a:lnTo>
                      <a:pt x="629" y="5838"/>
                    </a:lnTo>
                    <a:lnTo>
                      <a:pt x="378" y="6110"/>
                    </a:lnTo>
                    <a:lnTo>
                      <a:pt x="231" y="6277"/>
                    </a:lnTo>
                    <a:lnTo>
                      <a:pt x="43" y="6424"/>
                    </a:lnTo>
                    <a:lnTo>
                      <a:pt x="1" y="6508"/>
                    </a:lnTo>
                    <a:lnTo>
                      <a:pt x="22" y="6549"/>
                    </a:lnTo>
                    <a:lnTo>
                      <a:pt x="126" y="6591"/>
                    </a:lnTo>
                    <a:lnTo>
                      <a:pt x="147" y="6528"/>
                    </a:lnTo>
                    <a:lnTo>
                      <a:pt x="210" y="6528"/>
                    </a:lnTo>
                    <a:lnTo>
                      <a:pt x="210" y="6612"/>
                    </a:lnTo>
                    <a:lnTo>
                      <a:pt x="210" y="6675"/>
                    </a:lnTo>
                    <a:lnTo>
                      <a:pt x="231" y="6696"/>
                    </a:lnTo>
                    <a:lnTo>
                      <a:pt x="273" y="6675"/>
                    </a:lnTo>
                    <a:lnTo>
                      <a:pt x="315" y="6717"/>
                    </a:lnTo>
                    <a:lnTo>
                      <a:pt x="315" y="6800"/>
                    </a:lnTo>
                    <a:lnTo>
                      <a:pt x="336" y="6842"/>
                    </a:lnTo>
                    <a:lnTo>
                      <a:pt x="419" y="6821"/>
                    </a:lnTo>
                    <a:lnTo>
                      <a:pt x="629" y="6675"/>
                    </a:lnTo>
                    <a:lnTo>
                      <a:pt x="796" y="6528"/>
                    </a:lnTo>
                    <a:lnTo>
                      <a:pt x="984" y="6361"/>
                    </a:lnTo>
                    <a:lnTo>
                      <a:pt x="1152" y="6173"/>
                    </a:lnTo>
                    <a:lnTo>
                      <a:pt x="1319" y="5901"/>
                    </a:lnTo>
                    <a:lnTo>
                      <a:pt x="1424" y="5859"/>
                    </a:lnTo>
                    <a:lnTo>
                      <a:pt x="1507" y="5859"/>
                    </a:lnTo>
                    <a:lnTo>
                      <a:pt x="1570" y="5775"/>
                    </a:lnTo>
                    <a:lnTo>
                      <a:pt x="1570" y="5691"/>
                    </a:lnTo>
                    <a:lnTo>
                      <a:pt x="1612" y="5650"/>
                    </a:lnTo>
                    <a:lnTo>
                      <a:pt x="1717" y="5587"/>
                    </a:lnTo>
                    <a:lnTo>
                      <a:pt x="1800" y="5357"/>
                    </a:lnTo>
                    <a:lnTo>
                      <a:pt x="1905" y="5210"/>
                    </a:lnTo>
                    <a:lnTo>
                      <a:pt x="1905" y="5147"/>
                    </a:lnTo>
                    <a:lnTo>
                      <a:pt x="1989" y="5106"/>
                    </a:lnTo>
                    <a:lnTo>
                      <a:pt x="1884" y="4980"/>
                    </a:lnTo>
                    <a:lnTo>
                      <a:pt x="1717" y="4980"/>
                    </a:lnTo>
                    <a:lnTo>
                      <a:pt x="1800" y="4938"/>
                    </a:lnTo>
                    <a:lnTo>
                      <a:pt x="1884" y="4917"/>
                    </a:lnTo>
                    <a:lnTo>
                      <a:pt x="2114" y="4624"/>
                    </a:lnTo>
                    <a:lnTo>
                      <a:pt x="2240" y="4603"/>
                    </a:lnTo>
                    <a:lnTo>
                      <a:pt x="2428" y="4624"/>
                    </a:lnTo>
                    <a:lnTo>
                      <a:pt x="2512" y="4624"/>
                    </a:lnTo>
                    <a:lnTo>
                      <a:pt x="2512" y="4708"/>
                    </a:lnTo>
                    <a:lnTo>
                      <a:pt x="2512" y="4792"/>
                    </a:lnTo>
                    <a:lnTo>
                      <a:pt x="2616" y="4708"/>
                    </a:lnTo>
                    <a:lnTo>
                      <a:pt x="2679" y="4645"/>
                    </a:lnTo>
                    <a:lnTo>
                      <a:pt x="2533" y="4603"/>
                    </a:lnTo>
                    <a:lnTo>
                      <a:pt x="2554" y="4499"/>
                    </a:lnTo>
                    <a:lnTo>
                      <a:pt x="2637" y="4311"/>
                    </a:lnTo>
                    <a:lnTo>
                      <a:pt x="2679" y="4227"/>
                    </a:lnTo>
                    <a:lnTo>
                      <a:pt x="2784" y="4227"/>
                    </a:lnTo>
                    <a:lnTo>
                      <a:pt x="2826" y="4290"/>
                    </a:lnTo>
                    <a:lnTo>
                      <a:pt x="2867" y="4227"/>
                    </a:lnTo>
                    <a:lnTo>
                      <a:pt x="2930" y="4122"/>
                    </a:lnTo>
                    <a:lnTo>
                      <a:pt x="3077" y="3892"/>
                    </a:lnTo>
                    <a:lnTo>
                      <a:pt x="3077" y="3808"/>
                    </a:lnTo>
                    <a:lnTo>
                      <a:pt x="3077" y="3746"/>
                    </a:lnTo>
                    <a:lnTo>
                      <a:pt x="3098" y="3599"/>
                    </a:lnTo>
                    <a:lnTo>
                      <a:pt x="3202" y="3495"/>
                    </a:lnTo>
                    <a:lnTo>
                      <a:pt x="3286" y="3453"/>
                    </a:lnTo>
                    <a:lnTo>
                      <a:pt x="3286" y="3411"/>
                    </a:lnTo>
                    <a:lnTo>
                      <a:pt x="3160" y="3369"/>
                    </a:lnTo>
                    <a:lnTo>
                      <a:pt x="3098" y="3285"/>
                    </a:lnTo>
                    <a:lnTo>
                      <a:pt x="3139" y="3285"/>
                    </a:lnTo>
                    <a:lnTo>
                      <a:pt x="3160" y="3243"/>
                    </a:lnTo>
                    <a:lnTo>
                      <a:pt x="3035" y="3222"/>
                    </a:lnTo>
                    <a:lnTo>
                      <a:pt x="2888" y="3327"/>
                    </a:lnTo>
                    <a:lnTo>
                      <a:pt x="2679" y="3536"/>
                    </a:lnTo>
                    <a:lnTo>
                      <a:pt x="2554" y="3536"/>
                    </a:lnTo>
                    <a:lnTo>
                      <a:pt x="2470" y="3578"/>
                    </a:lnTo>
                    <a:lnTo>
                      <a:pt x="2365" y="3536"/>
                    </a:lnTo>
                    <a:lnTo>
                      <a:pt x="2135" y="3285"/>
                    </a:lnTo>
                    <a:lnTo>
                      <a:pt x="2051" y="3285"/>
                    </a:lnTo>
                    <a:lnTo>
                      <a:pt x="1989" y="3181"/>
                    </a:lnTo>
                    <a:lnTo>
                      <a:pt x="1947" y="3118"/>
                    </a:lnTo>
                    <a:lnTo>
                      <a:pt x="2010" y="3034"/>
                    </a:lnTo>
                    <a:lnTo>
                      <a:pt x="2030" y="2888"/>
                    </a:lnTo>
                    <a:lnTo>
                      <a:pt x="1926" y="2720"/>
                    </a:lnTo>
                    <a:lnTo>
                      <a:pt x="1926" y="2637"/>
                    </a:lnTo>
                    <a:lnTo>
                      <a:pt x="1905" y="2595"/>
                    </a:lnTo>
                    <a:lnTo>
                      <a:pt x="1905" y="2448"/>
                    </a:lnTo>
                    <a:lnTo>
                      <a:pt x="1947" y="2365"/>
                    </a:lnTo>
                    <a:lnTo>
                      <a:pt x="1884" y="2365"/>
                    </a:lnTo>
                    <a:lnTo>
                      <a:pt x="1884" y="2239"/>
                    </a:lnTo>
                    <a:lnTo>
                      <a:pt x="1842" y="2176"/>
                    </a:lnTo>
                    <a:lnTo>
                      <a:pt x="1800" y="2197"/>
                    </a:lnTo>
                    <a:lnTo>
                      <a:pt x="1717" y="2134"/>
                    </a:lnTo>
                    <a:lnTo>
                      <a:pt x="1675" y="2197"/>
                    </a:lnTo>
                    <a:lnTo>
                      <a:pt x="1779" y="2281"/>
                    </a:lnTo>
                    <a:lnTo>
                      <a:pt x="1738" y="2365"/>
                    </a:lnTo>
                    <a:lnTo>
                      <a:pt x="1779" y="2427"/>
                    </a:lnTo>
                    <a:lnTo>
                      <a:pt x="1696" y="2511"/>
                    </a:lnTo>
                    <a:lnTo>
                      <a:pt x="1696" y="2595"/>
                    </a:lnTo>
                    <a:lnTo>
                      <a:pt x="1779" y="2699"/>
                    </a:lnTo>
                    <a:lnTo>
                      <a:pt x="1779" y="2741"/>
                    </a:lnTo>
                    <a:lnTo>
                      <a:pt x="1675" y="2762"/>
                    </a:lnTo>
                    <a:lnTo>
                      <a:pt x="1612" y="2720"/>
                    </a:lnTo>
                    <a:lnTo>
                      <a:pt x="1591" y="2616"/>
                    </a:lnTo>
                    <a:lnTo>
                      <a:pt x="1486" y="2595"/>
                    </a:lnTo>
                    <a:lnTo>
                      <a:pt x="1486" y="2532"/>
                    </a:lnTo>
                    <a:lnTo>
                      <a:pt x="1382" y="2511"/>
                    </a:lnTo>
                    <a:lnTo>
                      <a:pt x="1319" y="2511"/>
                    </a:lnTo>
                    <a:lnTo>
                      <a:pt x="1298" y="2448"/>
                    </a:lnTo>
                    <a:lnTo>
                      <a:pt x="1403" y="2406"/>
                    </a:lnTo>
                    <a:lnTo>
                      <a:pt x="1424" y="2323"/>
                    </a:lnTo>
                    <a:lnTo>
                      <a:pt x="1319" y="2239"/>
                    </a:lnTo>
                    <a:lnTo>
                      <a:pt x="1403" y="2114"/>
                    </a:lnTo>
                    <a:lnTo>
                      <a:pt x="1486" y="2093"/>
                    </a:lnTo>
                    <a:lnTo>
                      <a:pt x="1507" y="1988"/>
                    </a:lnTo>
                    <a:lnTo>
                      <a:pt x="1486" y="1904"/>
                    </a:lnTo>
                    <a:lnTo>
                      <a:pt x="1507" y="1821"/>
                    </a:lnTo>
                    <a:lnTo>
                      <a:pt x="1466" y="1758"/>
                    </a:lnTo>
                    <a:lnTo>
                      <a:pt x="1486" y="1611"/>
                    </a:lnTo>
                    <a:lnTo>
                      <a:pt x="1361" y="1507"/>
                    </a:lnTo>
                    <a:lnTo>
                      <a:pt x="1361" y="1465"/>
                    </a:lnTo>
                    <a:lnTo>
                      <a:pt x="1424" y="1507"/>
                    </a:lnTo>
                    <a:lnTo>
                      <a:pt x="1528" y="1486"/>
                    </a:lnTo>
                    <a:lnTo>
                      <a:pt x="1570" y="1360"/>
                    </a:lnTo>
                    <a:lnTo>
                      <a:pt x="1591" y="1318"/>
                    </a:lnTo>
                    <a:lnTo>
                      <a:pt x="1591" y="1151"/>
                    </a:lnTo>
                    <a:lnTo>
                      <a:pt x="1570" y="1026"/>
                    </a:lnTo>
                    <a:lnTo>
                      <a:pt x="1570" y="921"/>
                    </a:lnTo>
                    <a:lnTo>
                      <a:pt x="1507" y="942"/>
                    </a:lnTo>
                    <a:lnTo>
                      <a:pt x="1382" y="984"/>
                    </a:lnTo>
                    <a:lnTo>
                      <a:pt x="1277" y="879"/>
                    </a:lnTo>
                    <a:lnTo>
                      <a:pt x="1361" y="837"/>
                    </a:lnTo>
                    <a:lnTo>
                      <a:pt x="1277" y="774"/>
                    </a:lnTo>
                    <a:lnTo>
                      <a:pt x="1214" y="754"/>
                    </a:lnTo>
                    <a:lnTo>
                      <a:pt x="1277" y="712"/>
                    </a:lnTo>
                    <a:lnTo>
                      <a:pt x="1361" y="649"/>
                    </a:lnTo>
                    <a:lnTo>
                      <a:pt x="1361" y="607"/>
                    </a:lnTo>
                    <a:lnTo>
                      <a:pt x="1256" y="565"/>
                    </a:lnTo>
                    <a:lnTo>
                      <a:pt x="1173" y="502"/>
                    </a:lnTo>
                    <a:lnTo>
                      <a:pt x="1089" y="544"/>
                    </a:lnTo>
                    <a:lnTo>
                      <a:pt x="1089" y="440"/>
                    </a:lnTo>
                    <a:lnTo>
                      <a:pt x="1110" y="440"/>
                    </a:lnTo>
                    <a:lnTo>
                      <a:pt x="1173" y="356"/>
                    </a:lnTo>
                    <a:lnTo>
                      <a:pt x="1110" y="356"/>
                    </a:lnTo>
                    <a:lnTo>
                      <a:pt x="1047" y="398"/>
                    </a:lnTo>
                    <a:lnTo>
                      <a:pt x="1047" y="461"/>
                    </a:lnTo>
                    <a:lnTo>
                      <a:pt x="1005" y="544"/>
                    </a:lnTo>
                    <a:lnTo>
                      <a:pt x="942" y="523"/>
                    </a:lnTo>
                    <a:lnTo>
                      <a:pt x="963" y="419"/>
                    </a:lnTo>
                    <a:lnTo>
                      <a:pt x="901" y="335"/>
                    </a:lnTo>
                    <a:lnTo>
                      <a:pt x="880" y="209"/>
                    </a:lnTo>
                    <a:lnTo>
                      <a:pt x="880" y="105"/>
                    </a:lnTo>
                    <a:lnTo>
                      <a:pt x="880" y="42"/>
                    </a:lnTo>
                    <a:lnTo>
                      <a:pt x="942" y="42"/>
                    </a:lnTo>
                    <a:lnTo>
                      <a:pt x="88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55" name="Google Shape;2055;p66"/>
            <p:cNvSpPr/>
            <p:nvPr/>
          </p:nvSpPr>
          <p:spPr>
            <a:xfrm>
              <a:off x="3608564" y="2619698"/>
              <a:ext cx="60550" cy="35232"/>
            </a:xfrm>
            <a:custGeom>
              <a:avLst/>
              <a:gdLst/>
              <a:ahLst/>
              <a:cxnLst/>
              <a:rect l="l" t="t" r="r" b="b"/>
              <a:pathLst>
                <a:path w="5085" h="3098" extrusionOk="0">
                  <a:moveTo>
                    <a:pt x="900" y="1"/>
                  </a:moveTo>
                  <a:lnTo>
                    <a:pt x="733" y="22"/>
                  </a:lnTo>
                  <a:lnTo>
                    <a:pt x="733" y="64"/>
                  </a:lnTo>
                  <a:lnTo>
                    <a:pt x="775" y="126"/>
                  </a:lnTo>
                  <a:lnTo>
                    <a:pt x="837" y="126"/>
                  </a:lnTo>
                  <a:lnTo>
                    <a:pt x="858" y="64"/>
                  </a:lnTo>
                  <a:lnTo>
                    <a:pt x="942" y="64"/>
                  </a:lnTo>
                  <a:lnTo>
                    <a:pt x="984" y="126"/>
                  </a:lnTo>
                  <a:lnTo>
                    <a:pt x="1088" y="147"/>
                  </a:lnTo>
                  <a:lnTo>
                    <a:pt x="1047" y="210"/>
                  </a:lnTo>
                  <a:lnTo>
                    <a:pt x="942" y="168"/>
                  </a:lnTo>
                  <a:lnTo>
                    <a:pt x="837" y="168"/>
                  </a:lnTo>
                  <a:lnTo>
                    <a:pt x="858" y="231"/>
                  </a:lnTo>
                  <a:lnTo>
                    <a:pt x="1005" y="315"/>
                  </a:lnTo>
                  <a:lnTo>
                    <a:pt x="1109" y="440"/>
                  </a:lnTo>
                  <a:lnTo>
                    <a:pt x="1088" y="524"/>
                  </a:lnTo>
                  <a:lnTo>
                    <a:pt x="1047" y="545"/>
                  </a:lnTo>
                  <a:lnTo>
                    <a:pt x="1047" y="461"/>
                  </a:lnTo>
                  <a:lnTo>
                    <a:pt x="900" y="377"/>
                  </a:lnTo>
                  <a:lnTo>
                    <a:pt x="837" y="461"/>
                  </a:lnTo>
                  <a:lnTo>
                    <a:pt x="775" y="440"/>
                  </a:lnTo>
                  <a:lnTo>
                    <a:pt x="796" y="356"/>
                  </a:lnTo>
                  <a:lnTo>
                    <a:pt x="691" y="252"/>
                  </a:lnTo>
                  <a:lnTo>
                    <a:pt x="586" y="210"/>
                  </a:lnTo>
                  <a:lnTo>
                    <a:pt x="524" y="252"/>
                  </a:lnTo>
                  <a:lnTo>
                    <a:pt x="586" y="356"/>
                  </a:lnTo>
                  <a:lnTo>
                    <a:pt x="565" y="419"/>
                  </a:lnTo>
                  <a:lnTo>
                    <a:pt x="524" y="315"/>
                  </a:lnTo>
                  <a:lnTo>
                    <a:pt x="419" y="273"/>
                  </a:lnTo>
                  <a:lnTo>
                    <a:pt x="377" y="356"/>
                  </a:lnTo>
                  <a:lnTo>
                    <a:pt x="461" y="440"/>
                  </a:lnTo>
                  <a:lnTo>
                    <a:pt x="524" y="482"/>
                  </a:lnTo>
                  <a:lnTo>
                    <a:pt x="565" y="545"/>
                  </a:lnTo>
                  <a:lnTo>
                    <a:pt x="461" y="482"/>
                  </a:lnTo>
                  <a:lnTo>
                    <a:pt x="356" y="545"/>
                  </a:lnTo>
                  <a:lnTo>
                    <a:pt x="419" y="608"/>
                  </a:lnTo>
                  <a:lnTo>
                    <a:pt x="565" y="670"/>
                  </a:lnTo>
                  <a:lnTo>
                    <a:pt x="482" y="670"/>
                  </a:lnTo>
                  <a:lnTo>
                    <a:pt x="461" y="733"/>
                  </a:lnTo>
                  <a:lnTo>
                    <a:pt x="482" y="775"/>
                  </a:lnTo>
                  <a:lnTo>
                    <a:pt x="461" y="775"/>
                  </a:lnTo>
                  <a:lnTo>
                    <a:pt x="272" y="649"/>
                  </a:lnTo>
                  <a:lnTo>
                    <a:pt x="231" y="608"/>
                  </a:lnTo>
                  <a:lnTo>
                    <a:pt x="168" y="670"/>
                  </a:lnTo>
                  <a:lnTo>
                    <a:pt x="252" y="796"/>
                  </a:lnTo>
                  <a:lnTo>
                    <a:pt x="314" y="880"/>
                  </a:lnTo>
                  <a:lnTo>
                    <a:pt x="252" y="900"/>
                  </a:lnTo>
                  <a:lnTo>
                    <a:pt x="147" y="775"/>
                  </a:lnTo>
                  <a:lnTo>
                    <a:pt x="63" y="754"/>
                  </a:lnTo>
                  <a:lnTo>
                    <a:pt x="0" y="859"/>
                  </a:lnTo>
                  <a:lnTo>
                    <a:pt x="126" y="900"/>
                  </a:lnTo>
                  <a:lnTo>
                    <a:pt x="231" y="1005"/>
                  </a:lnTo>
                  <a:lnTo>
                    <a:pt x="356" y="1047"/>
                  </a:lnTo>
                  <a:lnTo>
                    <a:pt x="440" y="942"/>
                  </a:lnTo>
                  <a:lnTo>
                    <a:pt x="565" y="900"/>
                  </a:lnTo>
                  <a:lnTo>
                    <a:pt x="628" y="796"/>
                  </a:lnTo>
                  <a:lnTo>
                    <a:pt x="649" y="859"/>
                  </a:lnTo>
                  <a:lnTo>
                    <a:pt x="649" y="900"/>
                  </a:lnTo>
                  <a:lnTo>
                    <a:pt x="691" y="900"/>
                  </a:lnTo>
                  <a:lnTo>
                    <a:pt x="775" y="880"/>
                  </a:lnTo>
                  <a:lnTo>
                    <a:pt x="796" y="984"/>
                  </a:lnTo>
                  <a:lnTo>
                    <a:pt x="858" y="984"/>
                  </a:lnTo>
                  <a:lnTo>
                    <a:pt x="942" y="900"/>
                  </a:lnTo>
                  <a:lnTo>
                    <a:pt x="963" y="859"/>
                  </a:lnTo>
                  <a:lnTo>
                    <a:pt x="984" y="963"/>
                  </a:lnTo>
                  <a:lnTo>
                    <a:pt x="1005" y="963"/>
                  </a:lnTo>
                  <a:lnTo>
                    <a:pt x="1151" y="859"/>
                  </a:lnTo>
                  <a:lnTo>
                    <a:pt x="1109" y="900"/>
                  </a:lnTo>
                  <a:lnTo>
                    <a:pt x="1088" y="1005"/>
                  </a:lnTo>
                  <a:lnTo>
                    <a:pt x="1151" y="1047"/>
                  </a:lnTo>
                  <a:lnTo>
                    <a:pt x="1214" y="984"/>
                  </a:lnTo>
                  <a:lnTo>
                    <a:pt x="1360" y="1068"/>
                  </a:lnTo>
                  <a:lnTo>
                    <a:pt x="1277" y="1089"/>
                  </a:lnTo>
                  <a:lnTo>
                    <a:pt x="1193" y="1089"/>
                  </a:lnTo>
                  <a:lnTo>
                    <a:pt x="1109" y="1131"/>
                  </a:lnTo>
                  <a:lnTo>
                    <a:pt x="1047" y="1131"/>
                  </a:lnTo>
                  <a:lnTo>
                    <a:pt x="879" y="1214"/>
                  </a:lnTo>
                  <a:lnTo>
                    <a:pt x="879" y="1256"/>
                  </a:lnTo>
                  <a:lnTo>
                    <a:pt x="1068" y="1298"/>
                  </a:lnTo>
                  <a:lnTo>
                    <a:pt x="1172" y="1298"/>
                  </a:lnTo>
                  <a:lnTo>
                    <a:pt x="1214" y="1214"/>
                  </a:lnTo>
                  <a:lnTo>
                    <a:pt x="1277" y="1193"/>
                  </a:lnTo>
                  <a:lnTo>
                    <a:pt x="1277" y="1298"/>
                  </a:lnTo>
                  <a:lnTo>
                    <a:pt x="1193" y="1382"/>
                  </a:lnTo>
                  <a:lnTo>
                    <a:pt x="1005" y="1403"/>
                  </a:lnTo>
                  <a:lnTo>
                    <a:pt x="942" y="1382"/>
                  </a:lnTo>
                  <a:lnTo>
                    <a:pt x="858" y="1486"/>
                  </a:lnTo>
                  <a:lnTo>
                    <a:pt x="796" y="1403"/>
                  </a:lnTo>
                  <a:lnTo>
                    <a:pt x="775" y="1382"/>
                  </a:lnTo>
                  <a:lnTo>
                    <a:pt x="775" y="1319"/>
                  </a:lnTo>
                  <a:lnTo>
                    <a:pt x="691" y="1319"/>
                  </a:lnTo>
                  <a:lnTo>
                    <a:pt x="691" y="1361"/>
                  </a:lnTo>
                  <a:lnTo>
                    <a:pt x="691" y="1382"/>
                  </a:lnTo>
                  <a:lnTo>
                    <a:pt x="628" y="1465"/>
                  </a:lnTo>
                  <a:lnTo>
                    <a:pt x="544" y="1403"/>
                  </a:lnTo>
                  <a:lnTo>
                    <a:pt x="461" y="1424"/>
                  </a:lnTo>
                  <a:lnTo>
                    <a:pt x="356" y="1486"/>
                  </a:lnTo>
                  <a:lnTo>
                    <a:pt x="252" y="1424"/>
                  </a:lnTo>
                  <a:lnTo>
                    <a:pt x="168" y="1465"/>
                  </a:lnTo>
                  <a:lnTo>
                    <a:pt x="126" y="1465"/>
                  </a:lnTo>
                  <a:lnTo>
                    <a:pt x="168" y="1591"/>
                  </a:lnTo>
                  <a:lnTo>
                    <a:pt x="231" y="1654"/>
                  </a:lnTo>
                  <a:lnTo>
                    <a:pt x="377" y="1696"/>
                  </a:lnTo>
                  <a:lnTo>
                    <a:pt x="377" y="1633"/>
                  </a:lnTo>
                  <a:lnTo>
                    <a:pt x="565" y="1696"/>
                  </a:lnTo>
                  <a:lnTo>
                    <a:pt x="900" y="1696"/>
                  </a:lnTo>
                  <a:lnTo>
                    <a:pt x="900" y="1737"/>
                  </a:lnTo>
                  <a:lnTo>
                    <a:pt x="837" y="1800"/>
                  </a:lnTo>
                  <a:lnTo>
                    <a:pt x="837" y="1842"/>
                  </a:lnTo>
                  <a:lnTo>
                    <a:pt x="942" y="1926"/>
                  </a:lnTo>
                  <a:lnTo>
                    <a:pt x="963" y="2009"/>
                  </a:lnTo>
                  <a:lnTo>
                    <a:pt x="1005" y="2009"/>
                  </a:lnTo>
                  <a:lnTo>
                    <a:pt x="1172" y="1905"/>
                  </a:lnTo>
                  <a:lnTo>
                    <a:pt x="1151" y="1988"/>
                  </a:lnTo>
                  <a:lnTo>
                    <a:pt x="1047" y="2030"/>
                  </a:lnTo>
                  <a:lnTo>
                    <a:pt x="984" y="2135"/>
                  </a:lnTo>
                  <a:lnTo>
                    <a:pt x="1068" y="2177"/>
                  </a:lnTo>
                  <a:lnTo>
                    <a:pt x="1214" y="2051"/>
                  </a:lnTo>
                  <a:lnTo>
                    <a:pt x="1360" y="2114"/>
                  </a:lnTo>
                  <a:lnTo>
                    <a:pt x="1381" y="2156"/>
                  </a:lnTo>
                  <a:lnTo>
                    <a:pt x="1298" y="2114"/>
                  </a:lnTo>
                  <a:lnTo>
                    <a:pt x="1193" y="2156"/>
                  </a:lnTo>
                  <a:lnTo>
                    <a:pt x="1109" y="2240"/>
                  </a:lnTo>
                  <a:lnTo>
                    <a:pt x="984" y="2240"/>
                  </a:lnTo>
                  <a:lnTo>
                    <a:pt x="984" y="2323"/>
                  </a:lnTo>
                  <a:lnTo>
                    <a:pt x="942" y="2365"/>
                  </a:lnTo>
                  <a:lnTo>
                    <a:pt x="879" y="2365"/>
                  </a:lnTo>
                  <a:lnTo>
                    <a:pt x="796" y="2407"/>
                  </a:lnTo>
                  <a:lnTo>
                    <a:pt x="775" y="2344"/>
                  </a:lnTo>
                  <a:lnTo>
                    <a:pt x="670" y="2261"/>
                  </a:lnTo>
                  <a:lnTo>
                    <a:pt x="670" y="2323"/>
                  </a:lnTo>
                  <a:lnTo>
                    <a:pt x="628" y="2323"/>
                  </a:lnTo>
                  <a:lnTo>
                    <a:pt x="649" y="2449"/>
                  </a:lnTo>
                  <a:lnTo>
                    <a:pt x="691" y="2470"/>
                  </a:lnTo>
                  <a:lnTo>
                    <a:pt x="670" y="2512"/>
                  </a:lnTo>
                  <a:lnTo>
                    <a:pt x="649" y="2700"/>
                  </a:lnTo>
                  <a:lnTo>
                    <a:pt x="775" y="2679"/>
                  </a:lnTo>
                  <a:lnTo>
                    <a:pt x="837" y="2658"/>
                  </a:lnTo>
                  <a:lnTo>
                    <a:pt x="900" y="2700"/>
                  </a:lnTo>
                  <a:lnTo>
                    <a:pt x="1088" y="2742"/>
                  </a:lnTo>
                  <a:lnTo>
                    <a:pt x="1214" y="2637"/>
                  </a:lnTo>
                  <a:lnTo>
                    <a:pt x="1360" y="2679"/>
                  </a:lnTo>
                  <a:lnTo>
                    <a:pt x="1423" y="2637"/>
                  </a:lnTo>
                  <a:lnTo>
                    <a:pt x="1465" y="2679"/>
                  </a:lnTo>
                  <a:lnTo>
                    <a:pt x="1528" y="2700"/>
                  </a:lnTo>
                  <a:lnTo>
                    <a:pt x="1632" y="2679"/>
                  </a:lnTo>
                  <a:lnTo>
                    <a:pt x="1632" y="2784"/>
                  </a:lnTo>
                  <a:lnTo>
                    <a:pt x="1779" y="2930"/>
                  </a:lnTo>
                  <a:lnTo>
                    <a:pt x="1842" y="2972"/>
                  </a:lnTo>
                  <a:lnTo>
                    <a:pt x="1946" y="2888"/>
                  </a:lnTo>
                  <a:lnTo>
                    <a:pt x="2051" y="2888"/>
                  </a:lnTo>
                  <a:lnTo>
                    <a:pt x="2239" y="3077"/>
                  </a:lnTo>
                  <a:lnTo>
                    <a:pt x="2469" y="3077"/>
                  </a:lnTo>
                  <a:lnTo>
                    <a:pt x="2574" y="3097"/>
                  </a:lnTo>
                  <a:lnTo>
                    <a:pt x="2741" y="3056"/>
                  </a:lnTo>
                  <a:lnTo>
                    <a:pt x="2721" y="2951"/>
                  </a:lnTo>
                  <a:lnTo>
                    <a:pt x="2741" y="2867"/>
                  </a:lnTo>
                  <a:lnTo>
                    <a:pt x="2762" y="2951"/>
                  </a:lnTo>
                  <a:lnTo>
                    <a:pt x="2888" y="2972"/>
                  </a:lnTo>
                  <a:lnTo>
                    <a:pt x="3034" y="2867"/>
                  </a:lnTo>
                  <a:lnTo>
                    <a:pt x="3034" y="2700"/>
                  </a:lnTo>
                  <a:lnTo>
                    <a:pt x="3181" y="2700"/>
                  </a:lnTo>
                  <a:lnTo>
                    <a:pt x="3139" y="2763"/>
                  </a:lnTo>
                  <a:lnTo>
                    <a:pt x="3181" y="2846"/>
                  </a:lnTo>
                  <a:lnTo>
                    <a:pt x="3202" y="2763"/>
                  </a:lnTo>
                  <a:lnTo>
                    <a:pt x="3306" y="2763"/>
                  </a:lnTo>
                  <a:lnTo>
                    <a:pt x="3411" y="2637"/>
                  </a:lnTo>
                  <a:lnTo>
                    <a:pt x="3474" y="2658"/>
                  </a:lnTo>
                  <a:lnTo>
                    <a:pt x="3495" y="2637"/>
                  </a:lnTo>
                  <a:lnTo>
                    <a:pt x="3599" y="2658"/>
                  </a:lnTo>
                  <a:lnTo>
                    <a:pt x="3599" y="2679"/>
                  </a:lnTo>
                  <a:lnTo>
                    <a:pt x="3662" y="2658"/>
                  </a:lnTo>
                  <a:lnTo>
                    <a:pt x="3892" y="2449"/>
                  </a:lnTo>
                  <a:lnTo>
                    <a:pt x="3976" y="2323"/>
                  </a:lnTo>
                  <a:lnTo>
                    <a:pt x="4248" y="2261"/>
                  </a:lnTo>
                  <a:lnTo>
                    <a:pt x="4332" y="2177"/>
                  </a:lnTo>
                  <a:lnTo>
                    <a:pt x="4290" y="2135"/>
                  </a:lnTo>
                  <a:lnTo>
                    <a:pt x="4311" y="2051"/>
                  </a:lnTo>
                  <a:lnTo>
                    <a:pt x="4353" y="2051"/>
                  </a:lnTo>
                  <a:lnTo>
                    <a:pt x="4394" y="2156"/>
                  </a:lnTo>
                  <a:lnTo>
                    <a:pt x="4541" y="2177"/>
                  </a:lnTo>
                  <a:lnTo>
                    <a:pt x="4625" y="2114"/>
                  </a:lnTo>
                  <a:lnTo>
                    <a:pt x="4625" y="2030"/>
                  </a:lnTo>
                  <a:lnTo>
                    <a:pt x="4604" y="2009"/>
                  </a:lnTo>
                  <a:lnTo>
                    <a:pt x="4604" y="1926"/>
                  </a:lnTo>
                  <a:lnTo>
                    <a:pt x="4666" y="1905"/>
                  </a:lnTo>
                  <a:lnTo>
                    <a:pt x="4625" y="1779"/>
                  </a:lnTo>
                  <a:lnTo>
                    <a:pt x="4666" y="1716"/>
                  </a:lnTo>
                  <a:lnTo>
                    <a:pt x="4771" y="1779"/>
                  </a:lnTo>
                  <a:lnTo>
                    <a:pt x="4771" y="1884"/>
                  </a:lnTo>
                  <a:lnTo>
                    <a:pt x="4876" y="1842"/>
                  </a:lnTo>
                  <a:lnTo>
                    <a:pt x="4938" y="1716"/>
                  </a:lnTo>
                  <a:lnTo>
                    <a:pt x="4917" y="1612"/>
                  </a:lnTo>
                  <a:lnTo>
                    <a:pt x="4813" y="1507"/>
                  </a:lnTo>
                  <a:lnTo>
                    <a:pt x="4813" y="1403"/>
                  </a:lnTo>
                  <a:lnTo>
                    <a:pt x="4855" y="1361"/>
                  </a:lnTo>
                  <a:lnTo>
                    <a:pt x="4855" y="1256"/>
                  </a:lnTo>
                  <a:lnTo>
                    <a:pt x="4959" y="1193"/>
                  </a:lnTo>
                  <a:lnTo>
                    <a:pt x="5043" y="1193"/>
                  </a:lnTo>
                  <a:lnTo>
                    <a:pt x="5085" y="1110"/>
                  </a:lnTo>
                  <a:lnTo>
                    <a:pt x="5022" y="1005"/>
                  </a:lnTo>
                  <a:lnTo>
                    <a:pt x="4771" y="984"/>
                  </a:lnTo>
                  <a:lnTo>
                    <a:pt x="4708" y="1068"/>
                  </a:lnTo>
                  <a:lnTo>
                    <a:pt x="4750" y="963"/>
                  </a:lnTo>
                  <a:lnTo>
                    <a:pt x="4750" y="859"/>
                  </a:lnTo>
                  <a:lnTo>
                    <a:pt x="4625" y="859"/>
                  </a:lnTo>
                  <a:lnTo>
                    <a:pt x="4604" y="880"/>
                  </a:lnTo>
                  <a:lnTo>
                    <a:pt x="4541" y="775"/>
                  </a:lnTo>
                  <a:lnTo>
                    <a:pt x="4625" y="670"/>
                  </a:lnTo>
                  <a:lnTo>
                    <a:pt x="4708" y="649"/>
                  </a:lnTo>
                  <a:lnTo>
                    <a:pt x="4708" y="482"/>
                  </a:lnTo>
                  <a:lnTo>
                    <a:pt x="4645" y="461"/>
                  </a:lnTo>
                  <a:lnTo>
                    <a:pt x="4562" y="545"/>
                  </a:lnTo>
                  <a:lnTo>
                    <a:pt x="4457" y="482"/>
                  </a:lnTo>
                  <a:lnTo>
                    <a:pt x="4415" y="377"/>
                  </a:lnTo>
                  <a:lnTo>
                    <a:pt x="4520" y="336"/>
                  </a:lnTo>
                  <a:lnTo>
                    <a:pt x="4541" y="252"/>
                  </a:lnTo>
                  <a:lnTo>
                    <a:pt x="4604" y="210"/>
                  </a:lnTo>
                  <a:lnTo>
                    <a:pt x="4708" y="168"/>
                  </a:lnTo>
                  <a:lnTo>
                    <a:pt x="4562" y="126"/>
                  </a:lnTo>
                  <a:lnTo>
                    <a:pt x="4499" y="147"/>
                  </a:lnTo>
                  <a:lnTo>
                    <a:pt x="4311" y="336"/>
                  </a:lnTo>
                  <a:lnTo>
                    <a:pt x="4290" y="419"/>
                  </a:lnTo>
                  <a:lnTo>
                    <a:pt x="4206" y="440"/>
                  </a:lnTo>
                  <a:lnTo>
                    <a:pt x="4122" y="315"/>
                  </a:lnTo>
                  <a:lnTo>
                    <a:pt x="4185" y="252"/>
                  </a:lnTo>
                  <a:lnTo>
                    <a:pt x="4122" y="210"/>
                  </a:lnTo>
                  <a:lnTo>
                    <a:pt x="4101" y="84"/>
                  </a:lnTo>
                  <a:lnTo>
                    <a:pt x="3997" y="64"/>
                  </a:lnTo>
                  <a:lnTo>
                    <a:pt x="3913" y="126"/>
                  </a:lnTo>
                  <a:lnTo>
                    <a:pt x="3829" y="84"/>
                  </a:lnTo>
                  <a:lnTo>
                    <a:pt x="3788" y="168"/>
                  </a:lnTo>
                  <a:lnTo>
                    <a:pt x="3829" y="315"/>
                  </a:lnTo>
                  <a:lnTo>
                    <a:pt x="3788" y="377"/>
                  </a:lnTo>
                  <a:lnTo>
                    <a:pt x="3683" y="377"/>
                  </a:lnTo>
                  <a:lnTo>
                    <a:pt x="3578" y="440"/>
                  </a:lnTo>
                  <a:lnTo>
                    <a:pt x="3557" y="336"/>
                  </a:lnTo>
                  <a:lnTo>
                    <a:pt x="3495" y="315"/>
                  </a:lnTo>
                  <a:lnTo>
                    <a:pt x="3453" y="377"/>
                  </a:lnTo>
                  <a:lnTo>
                    <a:pt x="3369" y="545"/>
                  </a:lnTo>
                  <a:lnTo>
                    <a:pt x="3265" y="545"/>
                  </a:lnTo>
                  <a:lnTo>
                    <a:pt x="3160" y="356"/>
                  </a:lnTo>
                  <a:lnTo>
                    <a:pt x="3076" y="356"/>
                  </a:lnTo>
                  <a:lnTo>
                    <a:pt x="3034" y="336"/>
                  </a:lnTo>
                  <a:lnTo>
                    <a:pt x="2951" y="356"/>
                  </a:lnTo>
                  <a:lnTo>
                    <a:pt x="2888" y="545"/>
                  </a:lnTo>
                  <a:lnTo>
                    <a:pt x="2993" y="754"/>
                  </a:lnTo>
                  <a:lnTo>
                    <a:pt x="2888" y="1047"/>
                  </a:lnTo>
                  <a:lnTo>
                    <a:pt x="2930" y="775"/>
                  </a:lnTo>
                  <a:lnTo>
                    <a:pt x="2825" y="608"/>
                  </a:lnTo>
                  <a:lnTo>
                    <a:pt x="2825" y="524"/>
                  </a:lnTo>
                  <a:lnTo>
                    <a:pt x="2762" y="482"/>
                  </a:lnTo>
                  <a:lnTo>
                    <a:pt x="2783" y="356"/>
                  </a:lnTo>
                  <a:lnTo>
                    <a:pt x="2658" y="273"/>
                  </a:lnTo>
                  <a:lnTo>
                    <a:pt x="2448" y="440"/>
                  </a:lnTo>
                  <a:lnTo>
                    <a:pt x="2428" y="566"/>
                  </a:lnTo>
                  <a:lnTo>
                    <a:pt x="2448" y="649"/>
                  </a:lnTo>
                  <a:lnTo>
                    <a:pt x="2344" y="796"/>
                  </a:lnTo>
                  <a:lnTo>
                    <a:pt x="2260" y="796"/>
                  </a:lnTo>
                  <a:lnTo>
                    <a:pt x="2260" y="649"/>
                  </a:lnTo>
                  <a:lnTo>
                    <a:pt x="2156" y="587"/>
                  </a:lnTo>
                  <a:lnTo>
                    <a:pt x="2156" y="356"/>
                  </a:lnTo>
                  <a:lnTo>
                    <a:pt x="2093" y="315"/>
                  </a:lnTo>
                  <a:lnTo>
                    <a:pt x="1925" y="440"/>
                  </a:lnTo>
                  <a:lnTo>
                    <a:pt x="1946" y="691"/>
                  </a:lnTo>
                  <a:lnTo>
                    <a:pt x="2009" y="775"/>
                  </a:lnTo>
                  <a:lnTo>
                    <a:pt x="2009" y="963"/>
                  </a:lnTo>
                  <a:lnTo>
                    <a:pt x="1925" y="1047"/>
                  </a:lnTo>
                  <a:lnTo>
                    <a:pt x="1842" y="1047"/>
                  </a:lnTo>
                  <a:lnTo>
                    <a:pt x="1821" y="900"/>
                  </a:lnTo>
                  <a:lnTo>
                    <a:pt x="1716" y="963"/>
                  </a:lnTo>
                  <a:lnTo>
                    <a:pt x="1674" y="1110"/>
                  </a:lnTo>
                  <a:lnTo>
                    <a:pt x="1612" y="1131"/>
                  </a:lnTo>
                  <a:lnTo>
                    <a:pt x="1591" y="1319"/>
                  </a:lnTo>
                  <a:lnTo>
                    <a:pt x="1507" y="1131"/>
                  </a:lnTo>
                  <a:lnTo>
                    <a:pt x="1423" y="1131"/>
                  </a:lnTo>
                  <a:lnTo>
                    <a:pt x="1465" y="1068"/>
                  </a:lnTo>
                  <a:lnTo>
                    <a:pt x="1528" y="963"/>
                  </a:lnTo>
                  <a:lnTo>
                    <a:pt x="1528" y="859"/>
                  </a:lnTo>
                  <a:lnTo>
                    <a:pt x="1402" y="859"/>
                  </a:lnTo>
                  <a:lnTo>
                    <a:pt x="1465" y="775"/>
                  </a:lnTo>
                  <a:lnTo>
                    <a:pt x="1402" y="649"/>
                  </a:lnTo>
                  <a:lnTo>
                    <a:pt x="1486" y="691"/>
                  </a:lnTo>
                  <a:lnTo>
                    <a:pt x="1570" y="608"/>
                  </a:lnTo>
                  <a:lnTo>
                    <a:pt x="1528" y="545"/>
                  </a:lnTo>
                  <a:lnTo>
                    <a:pt x="1423" y="482"/>
                  </a:lnTo>
                  <a:lnTo>
                    <a:pt x="1528" y="440"/>
                  </a:lnTo>
                  <a:lnTo>
                    <a:pt x="1465" y="336"/>
                  </a:lnTo>
                  <a:lnTo>
                    <a:pt x="1381" y="377"/>
                  </a:lnTo>
                  <a:lnTo>
                    <a:pt x="1319" y="315"/>
                  </a:lnTo>
                  <a:lnTo>
                    <a:pt x="1193" y="231"/>
                  </a:lnTo>
                  <a:lnTo>
                    <a:pt x="1193" y="126"/>
                  </a:lnTo>
                  <a:lnTo>
                    <a:pt x="1109" y="22"/>
                  </a:lnTo>
                  <a:lnTo>
                    <a:pt x="1005" y="43"/>
                  </a:lnTo>
                  <a:lnTo>
                    <a:pt x="90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6" name="Google Shape;2056;p66"/>
            <p:cNvSpPr/>
            <p:nvPr/>
          </p:nvSpPr>
          <p:spPr>
            <a:xfrm>
              <a:off x="4188328" y="2704412"/>
              <a:ext cx="421823" cy="300791"/>
            </a:xfrm>
            <a:custGeom>
              <a:avLst/>
              <a:gdLst/>
              <a:ahLst/>
              <a:cxnLst/>
              <a:rect l="l" t="t" r="r" b="b"/>
              <a:pathLst>
                <a:path w="35425" h="26449" extrusionOk="0">
                  <a:moveTo>
                    <a:pt x="27390" y="1"/>
                  </a:moveTo>
                  <a:lnTo>
                    <a:pt x="27369" y="21"/>
                  </a:lnTo>
                  <a:lnTo>
                    <a:pt x="27180" y="42"/>
                  </a:lnTo>
                  <a:lnTo>
                    <a:pt x="27139" y="126"/>
                  </a:lnTo>
                  <a:lnTo>
                    <a:pt x="27097" y="126"/>
                  </a:lnTo>
                  <a:lnTo>
                    <a:pt x="27055" y="189"/>
                  </a:lnTo>
                  <a:lnTo>
                    <a:pt x="26867" y="189"/>
                  </a:lnTo>
                  <a:lnTo>
                    <a:pt x="26741" y="147"/>
                  </a:lnTo>
                  <a:lnTo>
                    <a:pt x="26678" y="231"/>
                  </a:lnTo>
                  <a:lnTo>
                    <a:pt x="26574" y="231"/>
                  </a:lnTo>
                  <a:lnTo>
                    <a:pt x="26532" y="335"/>
                  </a:lnTo>
                  <a:lnTo>
                    <a:pt x="26448" y="356"/>
                  </a:lnTo>
                  <a:lnTo>
                    <a:pt x="26344" y="356"/>
                  </a:lnTo>
                  <a:lnTo>
                    <a:pt x="26260" y="398"/>
                  </a:lnTo>
                  <a:lnTo>
                    <a:pt x="26176" y="419"/>
                  </a:lnTo>
                  <a:lnTo>
                    <a:pt x="26051" y="419"/>
                  </a:lnTo>
                  <a:lnTo>
                    <a:pt x="25967" y="461"/>
                  </a:lnTo>
                  <a:lnTo>
                    <a:pt x="25967" y="545"/>
                  </a:lnTo>
                  <a:lnTo>
                    <a:pt x="25904" y="649"/>
                  </a:lnTo>
                  <a:lnTo>
                    <a:pt x="25862" y="754"/>
                  </a:lnTo>
                  <a:lnTo>
                    <a:pt x="25820" y="817"/>
                  </a:lnTo>
                  <a:lnTo>
                    <a:pt x="25820" y="858"/>
                  </a:lnTo>
                  <a:lnTo>
                    <a:pt x="25800" y="921"/>
                  </a:lnTo>
                  <a:lnTo>
                    <a:pt x="25800" y="1068"/>
                  </a:lnTo>
                  <a:lnTo>
                    <a:pt x="25820" y="1089"/>
                  </a:lnTo>
                  <a:lnTo>
                    <a:pt x="25862" y="1130"/>
                  </a:lnTo>
                  <a:lnTo>
                    <a:pt x="26009" y="1047"/>
                  </a:lnTo>
                  <a:lnTo>
                    <a:pt x="26072" y="984"/>
                  </a:lnTo>
                  <a:lnTo>
                    <a:pt x="26155" y="1005"/>
                  </a:lnTo>
                  <a:lnTo>
                    <a:pt x="26239" y="1151"/>
                  </a:lnTo>
                  <a:lnTo>
                    <a:pt x="26281" y="1256"/>
                  </a:lnTo>
                  <a:lnTo>
                    <a:pt x="26364" y="1340"/>
                  </a:lnTo>
                  <a:lnTo>
                    <a:pt x="26364" y="1402"/>
                  </a:lnTo>
                  <a:lnTo>
                    <a:pt x="26385" y="1486"/>
                  </a:lnTo>
                  <a:lnTo>
                    <a:pt x="26385" y="1612"/>
                  </a:lnTo>
                  <a:lnTo>
                    <a:pt x="26323" y="1674"/>
                  </a:lnTo>
                  <a:lnTo>
                    <a:pt x="26239" y="1779"/>
                  </a:lnTo>
                  <a:lnTo>
                    <a:pt x="26218" y="1926"/>
                  </a:lnTo>
                  <a:lnTo>
                    <a:pt x="26134" y="1988"/>
                  </a:lnTo>
                  <a:lnTo>
                    <a:pt x="26072" y="2093"/>
                  </a:lnTo>
                  <a:lnTo>
                    <a:pt x="26051" y="2198"/>
                  </a:lnTo>
                  <a:lnTo>
                    <a:pt x="26134" y="2281"/>
                  </a:lnTo>
                  <a:lnTo>
                    <a:pt x="26092" y="2344"/>
                  </a:lnTo>
                  <a:lnTo>
                    <a:pt x="26134" y="2490"/>
                  </a:lnTo>
                  <a:lnTo>
                    <a:pt x="26176" y="2532"/>
                  </a:lnTo>
                  <a:lnTo>
                    <a:pt x="26176" y="2658"/>
                  </a:lnTo>
                  <a:lnTo>
                    <a:pt x="26092" y="2700"/>
                  </a:lnTo>
                  <a:lnTo>
                    <a:pt x="26072" y="2742"/>
                  </a:lnTo>
                  <a:lnTo>
                    <a:pt x="26134" y="2846"/>
                  </a:lnTo>
                  <a:lnTo>
                    <a:pt x="26134" y="3034"/>
                  </a:lnTo>
                  <a:lnTo>
                    <a:pt x="26092" y="3076"/>
                  </a:lnTo>
                  <a:lnTo>
                    <a:pt x="26092" y="3244"/>
                  </a:lnTo>
                  <a:lnTo>
                    <a:pt x="26155" y="3244"/>
                  </a:lnTo>
                  <a:lnTo>
                    <a:pt x="26218" y="3265"/>
                  </a:lnTo>
                  <a:lnTo>
                    <a:pt x="26260" y="3244"/>
                  </a:lnTo>
                  <a:lnTo>
                    <a:pt x="26281" y="3265"/>
                  </a:lnTo>
                  <a:lnTo>
                    <a:pt x="26323" y="3390"/>
                  </a:lnTo>
                  <a:lnTo>
                    <a:pt x="26281" y="3495"/>
                  </a:lnTo>
                  <a:lnTo>
                    <a:pt x="26218" y="3578"/>
                  </a:lnTo>
                  <a:lnTo>
                    <a:pt x="26009" y="3620"/>
                  </a:lnTo>
                  <a:lnTo>
                    <a:pt x="25862" y="3704"/>
                  </a:lnTo>
                  <a:lnTo>
                    <a:pt x="25569" y="3976"/>
                  </a:lnTo>
                  <a:lnTo>
                    <a:pt x="25527" y="3997"/>
                  </a:lnTo>
                  <a:lnTo>
                    <a:pt x="25444" y="3913"/>
                  </a:lnTo>
                  <a:lnTo>
                    <a:pt x="25276" y="3892"/>
                  </a:lnTo>
                  <a:lnTo>
                    <a:pt x="25172" y="3913"/>
                  </a:lnTo>
                  <a:lnTo>
                    <a:pt x="25130" y="3871"/>
                  </a:lnTo>
                  <a:lnTo>
                    <a:pt x="25004" y="3871"/>
                  </a:lnTo>
                  <a:lnTo>
                    <a:pt x="25004" y="3892"/>
                  </a:lnTo>
                  <a:lnTo>
                    <a:pt x="24879" y="4792"/>
                  </a:lnTo>
                  <a:lnTo>
                    <a:pt x="24900" y="4959"/>
                  </a:lnTo>
                  <a:lnTo>
                    <a:pt x="24858" y="5148"/>
                  </a:lnTo>
                  <a:lnTo>
                    <a:pt x="24879" y="5252"/>
                  </a:lnTo>
                  <a:lnTo>
                    <a:pt x="24795" y="5524"/>
                  </a:lnTo>
                  <a:lnTo>
                    <a:pt x="24900" y="5692"/>
                  </a:lnTo>
                  <a:lnTo>
                    <a:pt x="25172" y="5838"/>
                  </a:lnTo>
                  <a:lnTo>
                    <a:pt x="25339" y="5671"/>
                  </a:lnTo>
                  <a:lnTo>
                    <a:pt x="25569" y="5671"/>
                  </a:lnTo>
                  <a:lnTo>
                    <a:pt x="25841" y="5734"/>
                  </a:lnTo>
                  <a:lnTo>
                    <a:pt x="25946" y="5838"/>
                  </a:lnTo>
                  <a:lnTo>
                    <a:pt x="26072" y="5629"/>
                  </a:lnTo>
                  <a:lnTo>
                    <a:pt x="26072" y="5483"/>
                  </a:lnTo>
                  <a:lnTo>
                    <a:pt x="26072" y="5378"/>
                  </a:lnTo>
                  <a:lnTo>
                    <a:pt x="26239" y="5336"/>
                  </a:lnTo>
                  <a:lnTo>
                    <a:pt x="26281" y="5273"/>
                  </a:lnTo>
                  <a:lnTo>
                    <a:pt x="26553" y="5357"/>
                  </a:lnTo>
                  <a:lnTo>
                    <a:pt x="26699" y="5545"/>
                  </a:lnTo>
                  <a:lnTo>
                    <a:pt x="26908" y="5734"/>
                  </a:lnTo>
                  <a:lnTo>
                    <a:pt x="27076" y="5943"/>
                  </a:lnTo>
                  <a:lnTo>
                    <a:pt x="27285" y="6089"/>
                  </a:lnTo>
                  <a:lnTo>
                    <a:pt x="27306" y="6194"/>
                  </a:lnTo>
                  <a:lnTo>
                    <a:pt x="27327" y="6278"/>
                  </a:lnTo>
                  <a:lnTo>
                    <a:pt x="27327" y="6382"/>
                  </a:lnTo>
                  <a:lnTo>
                    <a:pt x="27285" y="6424"/>
                  </a:lnTo>
                  <a:lnTo>
                    <a:pt x="27285" y="6508"/>
                  </a:lnTo>
                  <a:lnTo>
                    <a:pt x="27264" y="6591"/>
                  </a:lnTo>
                  <a:lnTo>
                    <a:pt x="27139" y="6571"/>
                  </a:lnTo>
                  <a:lnTo>
                    <a:pt x="27097" y="6508"/>
                  </a:lnTo>
                  <a:lnTo>
                    <a:pt x="26992" y="6529"/>
                  </a:lnTo>
                  <a:lnTo>
                    <a:pt x="26908" y="6591"/>
                  </a:lnTo>
                  <a:lnTo>
                    <a:pt x="26762" y="6508"/>
                  </a:lnTo>
                  <a:lnTo>
                    <a:pt x="26657" y="6529"/>
                  </a:lnTo>
                  <a:lnTo>
                    <a:pt x="26553" y="6675"/>
                  </a:lnTo>
                  <a:lnTo>
                    <a:pt x="26385" y="6801"/>
                  </a:lnTo>
                  <a:lnTo>
                    <a:pt x="26323" y="6843"/>
                  </a:lnTo>
                  <a:lnTo>
                    <a:pt x="26218" y="6780"/>
                  </a:lnTo>
                  <a:lnTo>
                    <a:pt x="26155" y="6801"/>
                  </a:lnTo>
                  <a:lnTo>
                    <a:pt x="26155" y="6905"/>
                  </a:lnTo>
                  <a:lnTo>
                    <a:pt x="26092" y="6947"/>
                  </a:lnTo>
                  <a:lnTo>
                    <a:pt x="26030" y="6989"/>
                  </a:lnTo>
                  <a:lnTo>
                    <a:pt x="25967" y="6947"/>
                  </a:lnTo>
                  <a:lnTo>
                    <a:pt x="25925" y="7031"/>
                  </a:lnTo>
                  <a:lnTo>
                    <a:pt x="25820" y="7198"/>
                  </a:lnTo>
                  <a:lnTo>
                    <a:pt x="25800" y="7366"/>
                  </a:lnTo>
                  <a:lnTo>
                    <a:pt x="25800" y="7470"/>
                  </a:lnTo>
                  <a:lnTo>
                    <a:pt x="25737" y="7554"/>
                  </a:lnTo>
                  <a:lnTo>
                    <a:pt x="25611" y="7575"/>
                  </a:lnTo>
                  <a:lnTo>
                    <a:pt x="25381" y="7763"/>
                  </a:lnTo>
                  <a:lnTo>
                    <a:pt x="25214" y="7763"/>
                  </a:lnTo>
                  <a:lnTo>
                    <a:pt x="25088" y="7742"/>
                  </a:lnTo>
                  <a:lnTo>
                    <a:pt x="25004" y="7784"/>
                  </a:lnTo>
                  <a:lnTo>
                    <a:pt x="24900" y="7993"/>
                  </a:lnTo>
                  <a:lnTo>
                    <a:pt x="24795" y="8077"/>
                  </a:lnTo>
                  <a:lnTo>
                    <a:pt x="24670" y="8182"/>
                  </a:lnTo>
                  <a:lnTo>
                    <a:pt x="24586" y="8265"/>
                  </a:lnTo>
                  <a:lnTo>
                    <a:pt x="24565" y="8370"/>
                  </a:lnTo>
                  <a:lnTo>
                    <a:pt x="24502" y="8370"/>
                  </a:lnTo>
                  <a:lnTo>
                    <a:pt x="24377" y="8307"/>
                  </a:lnTo>
                  <a:lnTo>
                    <a:pt x="24251" y="8286"/>
                  </a:lnTo>
                  <a:lnTo>
                    <a:pt x="24063" y="8203"/>
                  </a:lnTo>
                  <a:lnTo>
                    <a:pt x="23937" y="8140"/>
                  </a:lnTo>
                  <a:lnTo>
                    <a:pt x="23770" y="8098"/>
                  </a:lnTo>
                  <a:lnTo>
                    <a:pt x="23561" y="8161"/>
                  </a:lnTo>
                  <a:lnTo>
                    <a:pt x="23435" y="8265"/>
                  </a:lnTo>
                  <a:lnTo>
                    <a:pt x="23331" y="8391"/>
                  </a:lnTo>
                  <a:lnTo>
                    <a:pt x="23331" y="8621"/>
                  </a:lnTo>
                  <a:lnTo>
                    <a:pt x="23351" y="8768"/>
                  </a:lnTo>
                  <a:lnTo>
                    <a:pt x="23331" y="8830"/>
                  </a:lnTo>
                  <a:lnTo>
                    <a:pt x="23603" y="9019"/>
                  </a:lnTo>
                  <a:lnTo>
                    <a:pt x="23833" y="9144"/>
                  </a:lnTo>
                  <a:lnTo>
                    <a:pt x="23833" y="9228"/>
                  </a:lnTo>
                  <a:lnTo>
                    <a:pt x="23770" y="9332"/>
                  </a:lnTo>
                  <a:lnTo>
                    <a:pt x="23707" y="9437"/>
                  </a:lnTo>
                  <a:lnTo>
                    <a:pt x="23435" y="9730"/>
                  </a:lnTo>
                  <a:lnTo>
                    <a:pt x="23310" y="9960"/>
                  </a:lnTo>
                  <a:lnTo>
                    <a:pt x="23226" y="10169"/>
                  </a:lnTo>
                  <a:lnTo>
                    <a:pt x="23121" y="10169"/>
                  </a:lnTo>
                  <a:lnTo>
                    <a:pt x="22933" y="10232"/>
                  </a:lnTo>
                  <a:lnTo>
                    <a:pt x="22807" y="10232"/>
                  </a:lnTo>
                  <a:lnTo>
                    <a:pt x="22661" y="10337"/>
                  </a:lnTo>
                  <a:lnTo>
                    <a:pt x="22494" y="10462"/>
                  </a:lnTo>
                  <a:lnTo>
                    <a:pt x="22347" y="10462"/>
                  </a:lnTo>
                  <a:lnTo>
                    <a:pt x="22096" y="10483"/>
                  </a:lnTo>
                  <a:lnTo>
                    <a:pt x="21908" y="10546"/>
                  </a:lnTo>
                  <a:lnTo>
                    <a:pt x="21740" y="10588"/>
                  </a:lnTo>
                  <a:lnTo>
                    <a:pt x="21322" y="10755"/>
                  </a:lnTo>
                  <a:lnTo>
                    <a:pt x="21008" y="10860"/>
                  </a:lnTo>
                  <a:lnTo>
                    <a:pt x="20841" y="11027"/>
                  </a:lnTo>
                  <a:lnTo>
                    <a:pt x="20590" y="11216"/>
                  </a:lnTo>
                  <a:lnTo>
                    <a:pt x="20485" y="11320"/>
                  </a:lnTo>
                  <a:lnTo>
                    <a:pt x="20338" y="11320"/>
                  </a:lnTo>
                  <a:lnTo>
                    <a:pt x="20192" y="11278"/>
                  </a:lnTo>
                  <a:lnTo>
                    <a:pt x="20192" y="11216"/>
                  </a:lnTo>
                  <a:lnTo>
                    <a:pt x="20171" y="11111"/>
                  </a:lnTo>
                  <a:lnTo>
                    <a:pt x="19899" y="11195"/>
                  </a:lnTo>
                  <a:lnTo>
                    <a:pt x="19732" y="11216"/>
                  </a:lnTo>
                  <a:lnTo>
                    <a:pt x="19522" y="11111"/>
                  </a:lnTo>
                  <a:lnTo>
                    <a:pt x="19355" y="11090"/>
                  </a:lnTo>
                  <a:lnTo>
                    <a:pt x="18999" y="10965"/>
                  </a:lnTo>
                  <a:lnTo>
                    <a:pt x="18623" y="10797"/>
                  </a:lnTo>
                  <a:lnTo>
                    <a:pt x="18413" y="10609"/>
                  </a:lnTo>
                  <a:lnTo>
                    <a:pt x="18288" y="10588"/>
                  </a:lnTo>
                  <a:lnTo>
                    <a:pt x="17869" y="10567"/>
                  </a:lnTo>
                  <a:lnTo>
                    <a:pt x="17493" y="10567"/>
                  </a:lnTo>
                  <a:lnTo>
                    <a:pt x="17430" y="10546"/>
                  </a:lnTo>
                  <a:lnTo>
                    <a:pt x="17367" y="10588"/>
                  </a:lnTo>
                  <a:lnTo>
                    <a:pt x="17325" y="10651"/>
                  </a:lnTo>
                  <a:lnTo>
                    <a:pt x="17137" y="10713"/>
                  </a:lnTo>
                  <a:lnTo>
                    <a:pt x="16865" y="10755"/>
                  </a:lnTo>
                  <a:lnTo>
                    <a:pt x="16384" y="10693"/>
                  </a:lnTo>
                  <a:lnTo>
                    <a:pt x="16028" y="10713"/>
                  </a:lnTo>
                  <a:lnTo>
                    <a:pt x="15777" y="10693"/>
                  </a:lnTo>
                  <a:lnTo>
                    <a:pt x="15547" y="10713"/>
                  </a:lnTo>
                  <a:lnTo>
                    <a:pt x="15442" y="10755"/>
                  </a:lnTo>
                  <a:lnTo>
                    <a:pt x="15338" y="10713"/>
                  </a:lnTo>
                  <a:lnTo>
                    <a:pt x="15191" y="10462"/>
                  </a:lnTo>
                  <a:lnTo>
                    <a:pt x="15149" y="10337"/>
                  </a:lnTo>
                  <a:lnTo>
                    <a:pt x="15024" y="10169"/>
                  </a:lnTo>
                  <a:lnTo>
                    <a:pt x="14919" y="10044"/>
                  </a:lnTo>
                  <a:lnTo>
                    <a:pt x="14856" y="9877"/>
                  </a:lnTo>
                  <a:lnTo>
                    <a:pt x="14856" y="9814"/>
                  </a:lnTo>
                  <a:lnTo>
                    <a:pt x="14752" y="9709"/>
                  </a:lnTo>
                  <a:lnTo>
                    <a:pt x="14668" y="9667"/>
                  </a:lnTo>
                  <a:lnTo>
                    <a:pt x="14626" y="9667"/>
                  </a:lnTo>
                  <a:lnTo>
                    <a:pt x="14584" y="9604"/>
                  </a:lnTo>
                  <a:lnTo>
                    <a:pt x="14564" y="9500"/>
                  </a:lnTo>
                  <a:lnTo>
                    <a:pt x="14333" y="9500"/>
                  </a:lnTo>
                  <a:lnTo>
                    <a:pt x="14187" y="9416"/>
                  </a:lnTo>
                  <a:lnTo>
                    <a:pt x="13978" y="9249"/>
                  </a:lnTo>
                  <a:lnTo>
                    <a:pt x="13873" y="9249"/>
                  </a:lnTo>
                  <a:lnTo>
                    <a:pt x="13768" y="9228"/>
                  </a:lnTo>
                  <a:lnTo>
                    <a:pt x="13706" y="9186"/>
                  </a:lnTo>
                  <a:lnTo>
                    <a:pt x="13517" y="9040"/>
                  </a:lnTo>
                  <a:lnTo>
                    <a:pt x="13141" y="8977"/>
                  </a:lnTo>
                  <a:lnTo>
                    <a:pt x="13099" y="8977"/>
                  </a:lnTo>
                  <a:lnTo>
                    <a:pt x="13057" y="9019"/>
                  </a:lnTo>
                  <a:lnTo>
                    <a:pt x="12890" y="9019"/>
                  </a:lnTo>
                  <a:lnTo>
                    <a:pt x="12639" y="9040"/>
                  </a:lnTo>
                  <a:lnTo>
                    <a:pt x="12053" y="8914"/>
                  </a:lnTo>
                  <a:lnTo>
                    <a:pt x="11948" y="8830"/>
                  </a:lnTo>
                  <a:lnTo>
                    <a:pt x="11823" y="8663"/>
                  </a:lnTo>
                  <a:lnTo>
                    <a:pt x="11802" y="8558"/>
                  </a:lnTo>
                  <a:lnTo>
                    <a:pt x="11802" y="8475"/>
                  </a:lnTo>
                  <a:lnTo>
                    <a:pt x="11823" y="8412"/>
                  </a:lnTo>
                  <a:lnTo>
                    <a:pt x="11906" y="8349"/>
                  </a:lnTo>
                  <a:lnTo>
                    <a:pt x="11948" y="8244"/>
                  </a:lnTo>
                  <a:lnTo>
                    <a:pt x="11885" y="8161"/>
                  </a:lnTo>
                  <a:lnTo>
                    <a:pt x="11843" y="8035"/>
                  </a:lnTo>
                  <a:lnTo>
                    <a:pt x="11885" y="7952"/>
                  </a:lnTo>
                  <a:lnTo>
                    <a:pt x="11885" y="7826"/>
                  </a:lnTo>
                  <a:lnTo>
                    <a:pt x="11823" y="7763"/>
                  </a:lnTo>
                  <a:lnTo>
                    <a:pt x="11739" y="7638"/>
                  </a:lnTo>
                  <a:lnTo>
                    <a:pt x="11676" y="7575"/>
                  </a:lnTo>
                  <a:lnTo>
                    <a:pt x="11592" y="7533"/>
                  </a:lnTo>
                  <a:lnTo>
                    <a:pt x="11530" y="7428"/>
                  </a:lnTo>
                  <a:lnTo>
                    <a:pt x="11488" y="7345"/>
                  </a:lnTo>
                  <a:lnTo>
                    <a:pt x="11446" y="7240"/>
                  </a:lnTo>
                  <a:lnTo>
                    <a:pt x="11425" y="7136"/>
                  </a:lnTo>
                  <a:lnTo>
                    <a:pt x="11383" y="7052"/>
                  </a:lnTo>
                  <a:lnTo>
                    <a:pt x="11279" y="6989"/>
                  </a:lnTo>
                  <a:lnTo>
                    <a:pt x="11195" y="6947"/>
                  </a:lnTo>
                  <a:lnTo>
                    <a:pt x="11153" y="6884"/>
                  </a:lnTo>
                  <a:lnTo>
                    <a:pt x="11069" y="6843"/>
                  </a:lnTo>
                  <a:lnTo>
                    <a:pt x="10965" y="6843"/>
                  </a:lnTo>
                  <a:lnTo>
                    <a:pt x="10902" y="6905"/>
                  </a:lnTo>
                  <a:lnTo>
                    <a:pt x="10860" y="6926"/>
                  </a:lnTo>
                  <a:lnTo>
                    <a:pt x="10776" y="6905"/>
                  </a:lnTo>
                  <a:lnTo>
                    <a:pt x="10693" y="6801"/>
                  </a:lnTo>
                  <a:lnTo>
                    <a:pt x="10672" y="6738"/>
                  </a:lnTo>
                  <a:lnTo>
                    <a:pt x="10567" y="6738"/>
                  </a:lnTo>
                  <a:lnTo>
                    <a:pt x="10442" y="6801"/>
                  </a:lnTo>
                  <a:lnTo>
                    <a:pt x="10400" y="6843"/>
                  </a:lnTo>
                  <a:lnTo>
                    <a:pt x="10379" y="6926"/>
                  </a:lnTo>
                  <a:lnTo>
                    <a:pt x="10337" y="6926"/>
                  </a:lnTo>
                  <a:lnTo>
                    <a:pt x="10211" y="6843"/>
                  </a:lnTo>
                  <a:lnTo>
                    <a:pt x="10170" y="6780"/>
                  </a:lnTo>
                  <a:lnTo>
                    <a:pt x="10170" y="6717"/>
                  </a:lnTo>
                  <a:lnTo>
                    <a:pt x="10107" y="6633"/>
                  </a:lnTo>
                  <a:lnTo>
                    <a:pt x="10002" y="6571"/>
                  </a:lnTo>
                  <a:lnTo>
                    <a:pt x="9877" y="6466"/>
                  </a:lnTo>
                  <a:lnTo>
                    <a:pt x="9835" y="6424"/>
                  </a:lnTo>
                  <a:lnTo>
                    <a:pt x="9751" y="6382"/>
                  </a:lnTo>
                  <a:lnTo>
                    <a:pt x="9730" y="6299"/>
                  </a:lnTo>
                  <a:lnTo>
                    <a:pt x="9730" y="6215"/>
                  </a:lnTo>
                  <a:lnTo>
                    <a:pt x="9709" y="6173"/>
                  </a:lnTo>
                  <a:lnTo>
                    <a:pt x="9688" y="6173"/>
                  </a:lnTo>
                  <a:lnTo>
                    <a:pt x="9688" y="6215"/>
                  </a:lnTo>
                  <a:lnTo>
                    <a:pt x="9646" y="6215"/>
                  </a:lnTo>
                  <a:lnTo>
                    <a:pt x="9605" y="6152"/>
                  </a:lnTo>
                  <a:lnTo>
                    <a:pt x="9584" y="6110"/>
                  </a:lnTo>
                  <a:lnTo>
                    <a:pt x="9584" y="5985"/>
                  </a:lnTo>
                  <a:lnTo>
                    <a:pt x="9542" y="5943"/>
                  </a:lnTo>
                  <a:lnTo>
                    <a:pt x="9521" y="5943"/>
                  </a:lnTo>
                  <a:lnTo>
                    <a:pt x="9395" y="5880"/>
                  </a:lnTo>
                  <a:lnTo>
                    <a:pt x="9312" y="5880"/>
                  </a:lnTo>
                  <a:lnTo>
                    <a:pt x="9333" y="5901"/>
                  </a:lnTo>
                  <a:lnTo>
                    <a:pt x="9228" y="6006"/>
                  </a:lnTo>
                  <a:lnTo>
                    <a:pt x="9123" y="6068"/>
                  </a:lnTo>
                  <a:lnTo>
                    <a:pt x="8998" y="6215"/>
                  </a:lnTo>
                  <a:lnTo>
                    <a:pt x="8977" y="6319"/>
                  </a:lnTo>
                  <a:lnTo>
                    <a:pt x="9019" y="6382"/>
                  </a:lnTo>
                  <a:lnTo>
                    <a:pt x="8956" y="6508"/>
                  </a:lnTo>
                  <a:lnTo>
                    <a:pt x="8768" y="6571"/>
                  </a:lnTo>
                  <a:lnTo>
                    <a:pt x="8684" y="6633"/>
                  </a:lnTo>
                  <a:lnTo>
                    <a:pt x="8663" y="6780"/>
                  </a:lnTo>
                  <a:lnTo>
                    <a:pt x="8663" y="7010"/>
                  </a:lnTo>
                  <a:lnTo>
                    <a:pt x="8768" y="7240"/>
                  </a:lnTo>
                  <a:lnTo>
                    <a:pt x="8872" y="7408"/>
                  </a:lnTo>
                  <a:lnTo>
                    <a:pt x="8872" y="7470"/>
                  </a:lnTo>
                  <a:lnTo>
                    <a:pt x="8705" y="7638"/>
                  </a:lnTo>
                  <a:lnTo>
                    <a:pt x="8579" y="7680"/>
                  </a:lnTo>
                  <a:lnTo>
                    <a:pt x="8496" y="7784"/>
                  </a:lnTo>
                  <a:lnTo>
                    <a:pt x="8433" y="7826"/>
                  </a:lnTo>
                  <a:lnTo>
                    <a:pt x="8349" y="7826"/>
                  </a:lnTo>
                  <a:lnTo>
                    <a:pt x="8307" y="7742"/>
                  </a:lnTo>
                  <a:lnTo>
                    <a:pt x="8245" y="7742"/>
                  </a:lnTo>
                  <a:lnTo>
                    <a:pt x="8014" y="7784"/>
                  </a:lnTo>
                  <a:lnTo>
                    <a:pt x="7847" y="7763"/>
                  </a:lnTo>
                  <a:lnTo>
                    <a:pt x="7638" y="7680"/>
                  </a:lnTo>
                  <a:lnTo>
                    <a:pt x="7429" y="7680"/>
                  </a:lnTo>
                  <a:lnTo>
                    <a:pt x="7387" y="7952"/>
                  </a:lnTo>
                  <a:lnTo>
                    <a:pt x="7324" y="8098"/>
                  </a:lnTo>
                  <a:lnTo>
                    <a:pt x="7324" y="8244"/>
                  </a:lnTo>
                  <a:lnTo>
                    <a:pt x="7261" y="8579"/>
                  </a:lnTo>
                  <a:lnTo>
                    <a:pt x="7261" y="8830"/>
                  </a:lnTo>
                  <a:lnTo>
                    <a:pt x="7240" y="8914"/>
                  </a:lnTo>
                  <a:lnTo>
                    <a:pt x="7303" y="8977"/>
                  </a:lnTo>
                  <a:lnTo>
                    <a:pt x="7429" y="9019"/>
                  </a:lnTo>
                  <a:lnTo>
                    <a:pt x="7387" y="9144"/>
                  </a:lnTo>
                  <a:lnTo>
                    <a:pt x="7387" y="9228"/>
                  </a:lnTo>
                  <a:lnTo>
                    <a:pt x="7303" y="9228"/>
                  </a:lnTo>
                  <a:lnTo>
                    <a:pt x="7219" y="9291"/>
                  </a:lnTo>
                  <a:lnTo>
                    <a:pt x="7136" y="9291"/>
                  </a:lnTo>
                  <a:lnTo>
                    <a:pt x="7073" y="9228"/>
                  </a:lnTo>
                  <a:lnTo>
                    <a:pt x="6989" y="9249"/>
                  </a:lnTo>
                  <a:lnTo>
                    <a:pt x="6864" y="9291"/>
                  </a:lnTo>
                  <a:lnTo>
                    <a:pt x="6592" y="9332"/>
                  </a:lnTo>
                  <a:lnTo>
                    <a:pt x="6445" y="9416"/>
                  </a:lnTo>
                  <a:lnTo>
                    <a:pt x="6341" y="9416"/>
                  </a:lnTo>
                  <a:lnTo>
                    <a:pt x="6278" y="9353"/>
                  </a:lnTo>
                  <a:lnTo>
                    <a:pt x="6173" y="9416"/>
                  </a:lnTo>
                  <a:lnTo>
                    <a:pt x="6069" y="9521"/>
                  </a:lnTo>
                  <a:lnTo>
                    <a:pt x="6069" y="9604"/>
                  </a:lnTo>
                  <a:lnTo>
                    <a:pt x="6173" y="9667"/>
                  </a:lnTo>
                  <a:lnTo>
                    <a:pt x="6341" y="9646"/>
                  </a:lnTo>
                  <a:lnTo>
                    <a:pt x="6466" y="9667"/>
                  </a:lnTo>
                  <a:lnTo>
                    <a:pt x="6466" y="9730"/>
                  </a:lnTo>
                  <a:lnTo>
                    <a:pt x="6382" y="9814"/>
                  </a:lnTo>
                  <a:lnTo>
                    <a:pt x="6445" y="9981"/>
                  </a:lnTo>
                  <a:lnTo>
                    <a:pt x="6445" y="10065"/>
                  </a:lnTo>
                  <a:lnTo>
                    <a:pt x="6487" y="10149"/>
                  </a:lnTo>
                  <a:lnTo>
                    <a:pt x="6508" y="10253"/>
                  </a:lnTo>
                  <a:lnTo>
                    <a:pt x="6613" y="10441"/>
                  </a:lnTo>
                  <a:lnTo>
                    <a:pt x="6654" y="10546"/>
                  </a:lnTo>
                  <a:lnTo>
                    <a:pt x="6780" y="10609"/>
                  </a:lnTo>
                  <a:lnTo>
                    <a:pt x="6822" y="10860"/>
                  </a:lnTo>
                  <a:lnTo>
                    <a:pt x="6738" y="10923"/>
                  </a:lnTo>
                  <a:lnTo>
                    <a:pt x="6696" y="11027"/>
                  </a:lnTo>
                  <a:lnTo>
                    <a:pt x="6801" y="11132"/>
                  </a:lnTo>
                  <a:lnTo>
                    <a:pt x="6738" y="11174"/>
                  </a:lnTo>
                  <a:lnTo>
                    <a:pt x="6738" y="11216"/>
                  </a:lnTo>
                  <a:lnTo>
                    <a:pt x="6613" y="11299"/>
                  </a:lnTo>
                  <a:lnTo>
                    <a:pt x="6654" y="11446"/>
                  </a:lnTo>
                  <a:lnTo>
                    <a:pt x="6508" y="11509"/>
                  </a:lnTo>
                  <a:lnTo>
                    <a:pt x="6278" y="11446"/>
                  </a:lnTo>
                  <a:lnTo>
                    <a:pt x="6027" y="11174"/>
                  </a:lnTo>
                  <a:lnTo>
                    <a:pt x="5922" y="11195"/>
                  </a:lnTo>
                  <a:lnTo>
                    <a:pt x="5671" y="11090"/>
                  </a:lnTo>
                  <a:lnTo>
                    <a:pt x="5336" y="11090"/>
                  </a:lnTo>
                  <a:lnTo>
                    <a:pt x="5148" y="11132"/>
                  </a:lnTo>
                  <a:lnTo>
                    <a:pt x="4876" y="11069"/>
                  </a:lnTo>
                  <a:lnTo>
                    <a:pt x="4583" y="11132"/>
                  </a:lnTo>
                  <a:lnTo>
                    <a:pt x="4457" y="11132"/>
                  </a:lnTo>
                  <a:lnTo>
                    <a:pt x="4311" y="11111"/>
                  </a:lnTo>
                  <a:lnTo>
                    <a:pt x="4206" y="11195"/>
                  </a:lnTo>
                  <a:lnTo>
                    <a:pt x="4102" y="11237"/>
                  </a:lnTo>
                  <a:lnTo>
                    <a:pt x="3767" y="11195"/>
                  </a:lnTo>
                  <a:lnTo>
                    <a:pt x="3558" y="11132"/>
                  </a:lnTo>
                  <a:lnTo>
                    <a:pt x="3432" y="11069"/>
                  </a:lnTo>
                  <a:lnTo>
                    <a:pt x="3244" y="11069"/>
                  </a:lnTo>
                  <a:lnTo>
                    <a:pt x="3202" y="11111"/>
                  </a:lnTo>
                  <a:lnTo>
                    <a:pt x="3035" y="11090"/>
                  </a:lnTo>
                  <a:lnTo>
                    <a:pt x="2930" y="11069"/>
                  </a:lnTo>
                  <a:lnTo>
                    <a:pt x="2888" y="11111"/>
                  </a:lnTo>
                  <a:lnTo>
                    <a:pt x="2888" y="11237"/>
                  </a:lnTo>
                  <a:lnTo>
                    <a:pt x="2909" y="11383"/>
                  </a:lnTo>
                  <a:lnTo>
                    <a:pt x="2930" y="11509"/>
                  </a:lnTo>
                  <a:lnTo>
                    <a:pt x="2742" y="11550"/>
                  </a:lnTo>
                  <a:lnTo>
                    <a:pt x="2386" y="11550"/>
                  </a:lnTo>
                  <a:lnTo>
                    <a:pt x="1968" y="11509"/>
                  </a:lnTo>
                  <a:lnTo>
                    <a:pt x="1863" y="11446"/>
                  </a:lnTo>
                  <a:lnTo>
                    <a:pt x="1675" y="11425"/>
                  </a:lnTo>
                  <a:lnTo>
                    <a:pt x="1570" y="11550"/>
                  </a:lnTo>
                  <a:lnTo>
                    <a:pt x="1591" y="11613"/>
                  </a:lnTo>
                  <a:lnTo>
                    <a:pt x="1465" y="11697"/>
                  </a:lnTo>
                  <a:lnTo>
                    <a:pt x="1465" y="11739"/>
                  </a:lnTo>
                  <a:lnTo>
                    <a:pt x="1507" y="11739"/>
                  </a:lnTo>
                  <a:lnTo>
                    <a:pt x="1507" y="11864"/>
                  </a:lnTo>
                  <a:lnTo>
                    <a:pt x="1340" y="12157"/>
                  </a:lnTo>
                  <a:lnTo>
                    <a:pt x="1256" y="12283"/>
                  </a:lnTo>
                  <a:lnTo>
                    <a:pt x="1361" y="12366"/>
                  </a:lnTo>
                  <a:lnTo>
                    <a:pt x="1633" y="12450"/>
                  </a:lnTo>
                  <a:lnTo>
                    <a:pt x="1737" y="12555"/>
                  </a:lnTo>
                  <a:lnTo>
                    <a:pt x="1842" y="12576"/>
                  </a:lnTo>
                  <a:lnTo>
                    <a:pt x="1947" y="12471"/>
                  </a:lnTo>
                  <a:lnTo>
                    <a:pt x="1947" y="12325"/>
                  </a:lnTo>
                  <a:lnTo>
                    <a:pt x="2009" y="12325"/>
                  </a:lnTo>
                  <a:lnTo>
                    <a:pt x="2302" y="12555"/>
                  </a:lnTo>
                  <a:lnTo>
                    <a:pt x="2323" y="12659"/>
                  </a:lnTo>
                  <a:lnTo>
                    <a:pt x="2177" y="12848"/>
                  </a:lnTo>
                  <a:lnTo>
                    <a:pt x="1968" y="12848"/>
                  </a:lnTo>
                  <a:lnTo>
                    <a:pt x="1675" y="12890"/>
                  </a:lnTo>
                  <a:lnTo>
                    <a:pt x="1654" y="12785"/>
                  </a:lnTo>
                  <a:lnTo>
                    <a:pt x="1507" y="12659"/>
                  </a:lnTo>
                  <a:lnTo>
                    <a:pt x="1340" y="12869"/>
                  </a:lnTo>
                  <a:lnTo>
                    <a:pt x="1235" y="12848"/>
                  </a:lnTo>
                  <a:lnTo>
                    <a:pt x="1068" y="12973"/>
                  </a:lnTo>
                  <a:lnTo>
                    <a:pt x="921" y="13015"/>
                  </a:lnTo>
                  <a:lnTo>
                    <a:pt x="921" y="13162"/>
                  </a:lnTo>
                  <a:lnTo>
                    <a:pt x="1110" y="13224"/>
                  </a:lnTo>
                  <a:lnTo>
                    <a:pt x="1068" y="13371"/>
                  </a:lnTo>
                  <a:lnTo>
                    <a:pt x="900" y="13434"/>
                  </a:lnTo>
                  <a:lnTo>
                    <a:pt x="628" y="13496"/>
                  </a:lnTo>
                  <a:lnTo>
                    <a:pt x="691" y="13538"/>
                  </a:lnTo>
                  <a:lnTo>
                    <a:pt x="733" y="13622"/>
                  </a:lnTo>
                  <a:lnTo>
                    <a:pt x="503" y="13706"/>
                  </a:lnTo>
                  <a:lnTo>
                    <a:pt x="503" y="13831"/>
                  </a:lnTo>
                  <a:lnTo>
                    <a:pt x="398" y="13852"/>
                  </a:lnTo>
                  <a:lnTo>
                    <a:pt x="126" y="13831"/>
                  </a:lnTo>
                  <a:lnTo>
                    <a:pt x="1" y="13936"/>
                  </a:lnTo>
                  <a:lnTo>
                    <a:pt x="1" y="14103"/>
                  </a:lnTo>
                  <a:lnTo>
                    <a:pt x="168" y="14333"/>
                  </a:lnTo>
                  <a:lnTo>
                    <a:pt x="273" y="14270"/>
                  </a:lnTo>
                  <a:lnTo>
                    <a:pt x="419" y="14250"/>
                  </a:lnTo>
                  <a:lnTo>
                    <a:pt x="440" y="14375"/>
                  </a:lnTo>
                  <a:lnTo>
                    <a:pt x="398" y="14522"/>
                  </a:lnTo>
                  <a:lnTo>
                    <a:pt x="461" y="14668"/>
                  </a:lnTo>
                  <a:lnTo>
                    <a:pt x="587" y="14731"/>
                  </a:lnTo>
                  <a:lnTo>
                    <a:pt x="607" y="14877"/>
                  </a:lnTo>
                  <a:lnTo>
                    <a:pt x="545" y="14940"/>
                  </a:lnTo>
                  <a:lnTo>
                    <a:pt x="419" y="15212"/>
                  </a:lnTo>
                  <a:lnTo>
                    <a:pt x="377" y="15589"/>
                  </a:lnTo>
                  <a:lnTo>
                    <a:pt x="335" y="15526"/>
                  </a:lnTo>
                  <a:lnTo>
                    <a:pt x="440" y="15693"/>
                  </a:lnTo>
                  <a:lnTo>
                    <a:pt x="545" y="15714"/>
                  </a:lnTo>
                  <a:lnTo>
                    <a:pt x="733" y="15693"/>
                  </a:lnTo>
                  <a:lnTo>
                    <a:pt x="859" y="15610"/>
                  </a:lnTo>
                  <a:lnTo>
                    <a:pt x="921" y="15526"/>
                  </a:lnTo>
                  <a:lnTo>
                    <a:pt x="984" y="15505"/>
                  </a:lnTo>
                  <a:lnTo>
                    <a:pt x="1047" y="15463"/>
                  </a:lnTo>
                  <a:lnTo>
                    <a:pt x="1110" y="15484"/>
                  </a:lnTo>
                  <a:lnTo>
                    <a:pt x="1172" y="15568"/>
                  </a:lnTo>
                  <a:lnTo>
                    <a:pt x="1361" y="15589"/>
                  </a:lnTo>
                  <a:lnTo>
                    <a:pt x="1361" y="15505"/>
                  </a:lnTo>
                  <a:lnTo>
                    <a:pt x="1319" y="15463"/>
                  </a:lnTo>
                  <a:lnTo>
                    <a:pt x="1319" y="15358"/>
                  </a:lnTo>
                  <a:lnTo>
                    <a:pt x="1444" y="15317"/>
                  </a:lnTo>
                  <a:lnTo>
                    <a:pt x="1486" y="15275"/>
                  </a:lnTo>
                  <a:lnTo>
                    <a:pt x="1549" y="15275"/>
                  </a:lnTo>
                  <a:lnTo>
                    <a:pt x="1570" y="15317"/>
                  </a:lnTo>
                  <a:lnTo>
                    <a:pt x="1695" y="15317"/>
                  </a:lnTo>
                  <a:lnTo>
                    <a:pt x="1779" y="15191"/>
                  </a:lnTo>
                  <a:lnTo>
                    <a:pt x="1758" y="15045"/>
                  </a:lnTo>
                  <a:lnTo>
                    <a:pt x="1779" y="14961"/>
                  </a:lnTo>
                  <a:lnTo>
                    <a:pt x="1863" y="14898"/>
                  </a:lnTo>
                  <a:lnTo>
                    <a:pt x="1884" y="14731"/>
                  </a:lnTo>
                  <a:lnTo>
                    <a:pt x="1947" y="14626"/>
                  </a:lnTo>
                  <a:lnTo>
                    <a:pt x="2072" y="14626"/>
                  </a:lnTo>
                  <a:lnTo>
                    <a:pt x="2177" y="14689"/>
                  </a:lnTo>
                  <a:lnTo>
                    <a:pt x="2281" y="14752"/>
                  </a:lnTo>
                  <a:lnTo>
                    <a:pt x="2281" y="14835"/>
                  </a:lnTo>
                  <a:lnTo>
                    <a:pt x="2260" y="14982"/>
                  </a:lnTo>
                  <a:lnTo>
                    <a:pt x="2281" y="15086"/>
                  </a:lnTo>
                  <a:lnTo>
                    <a:pt x="2386" y="15086"/>
                  </a:lnTo>
                  <a:lnTo>
                    <a:pt x="2428" y="15191"/>
                  </a:lnTo>
                  <a:lnTo>
                    <a:pt x="2407" y="15317"/>
                  </a:lnTo>
                  <a:lnTo>
                    <a:pt x="2428" y="15463"/>
                  </a:lnTo>
                  <a:lnTo>
                    <a:pt x="2428" y="15672"/>
                  </a:lnTo>
                  <a:lnTo>
                    <a:pt x="2532" y="15798"/>
                  </a:lnTo>
                  <a:lnTo>
                    <a:pt x="2532" y="15882"/>
                  </a:lnTo>
                  <a:lnTo>
                    <a:pt x="2637" y="15903"/>
                  </a:lnTo>
                  <a:lnTo>
                    <a:pt x="2784" y="15903"/>
                  </a:lnTo>
                  <a:lnTo>
                    <a:pt x="2888" y="15819"/>
                  </a:lnTo>
                  <a:lnTo>
                    <a:pt x="2909" y="15777"/>
                  </a:lnTo>
                  <a:lnTo>
                    <a:pt x="3076" y="15693"/>
                  </a:lnTo>
                  <a:lnTo>
                    <a:pt x="3202" y="15610"/>
                  </a:lnTo>
                  <a:lnTo>
                    <a:pt x="3223" y="15484"/>
                  </a:lnTo>
                  <a:lnTo>
                    <a:pt x="3307" y="15421"/>
                  </a:lnTo>
                  <a:lnTo>
                    <a:pt x="3558" y="15275"/>
                  </a:lnTo>
                  <a:lnTo>
                    <a:pt x="3725" y="15212"/>
                  </a:lnTo>
                  <a:lnTo>
                    <a:pt x="3746" y="15358"/>
                  </a:lnTo>
                  <a:lnTo>
                    <a:pt x="3976" y="15317"/>
                  </a:lnTo>
                  <a:lnTo>
                    <a:pt x="4039" y="15212"/>
                  </a:lnTo>
                  <a:lnTo>
                    <a:pt x="4290" y="15212"/>
                  </a:lnTo>
                  <a:lnTo>
                    <a:pt x="4311" y="15317"/>
                  </a:lnTo>
                  <a:lnTo>
                    <a:pt x="4123" y="15484"/>
                  </a:lnTo>
                  <a:lnTo>
                    <a:pt x="4248" y="15505"/>
                  </a:lnTo>
                  <a:lnTo>
                    <a:pt x="4290" y="15463"/>
                  </a:lnTo>
                  <a:lnTo>
                    <a:pt x="4374" y="15463"/>
                  </a:lnTo>
                  <a:lnTo>
                    <a:pt x="4478" y="15526"/>
                  </a:lnTo>
                  <a:lnTo>
                    <a:pt x="4520" y="15505"/>
                  </a:lnTo>
                  <a:lnTo>
                    <a:pt x="4625" y="15505"/>
                  </a:lnTo>
                  <a:lnTo>
                    <a:pt x="4688" y="15463"/>
                  </a:lnTo>
                  <a:lnTo>
                    <a:pt x="4729" y="15400"/>
                  </a:lnTo>
                  <a:lnTo>
                    <a:pt x="4813" y="15400"/>
                  </a:lnTo>
                  <a:lnTo>
                    <a:pt x="4897" y="15484"/>
                  </a:lnTo>
                  <a:lnTo>
                    <a:pt x="4981" y="15672"/>
                  </a:lnTo>
                  <a:lnTo>
                    <a:pt x="5232" y="16049"/>
                  </a:lnTo>
                  <a:lnTo>
                    <a:pt x="5357" y="16133"/>
                  </a:lnTo>
                  <a:lnTo>
                    <a:pt x="5399" y="16300"/>
                  </a:lnTo>
                  <a:lnTo>
                    <a:pt x="5462" y="16363"/>
                  </a:lnTo>
                  <a:lnTo>
                    <a:pt x="5545" y="16447"/>
                  </a:lnTo>
                  <a:lnTo>
                    <a:pt x="5776" y="16467"/>
                  </a:lnTo>
                  <a:lnTo>
                    <a:pt x="5985" y="16467"/>
                  </a:lnTo>
                  <a:lnTo>
                    <a:pt x="6089" y="16509"/>
                  </a:lnTo>
                  <a:lnTo>
                    <a:pt x="6131" y="16635"/>
                  </a:lnTo>
                  <a:lnTo>
                    <a:pt x="6361" y="16719"/>
                  </a:lnTo>
                  <a:lnTo>
                    <a:pt x="6550" y="16823"/>
                  </a:lnTo>
                  <a:lnTo>
                    <a:pt x="6654" y="17095"/>
                  </a:lnTo>
                  <a:lnTo>
                    <a:pt x="6801" y="17263"/>
                  </a:lnTo>
                  <a:lnTo>
                    <a:pt x="6989" y="17367"/>
                  </a:lnTo>
                  <a:lnTo>
                    <a:pt x="7073" y="17514"/>
                  </a:lnTo>
                  <a:lnTo>
                    <a:pt x="7073" y="17786"/>
                  </a:lnTo>
                  <a:lnTo>
                    <a:pt x="7177" y="18037"/>
                  </a:lnTo>
                  <a:lnTo>
                    <a:pt x="7324" y="18079"/>
                  </a:lnTo>
                  <a:lnTo>
                    <a:pt x="7387" y="18330"/>
                  </a:lnTo>
                  <a:lnTo>
                    <a:pt x="7429" y="18539"/>
                  </a:lnTo>
                  <a:lnTo>
                    <a:pt x="7345" y="18664"/>
                  </a:lnTo>
                  <a:lnTo>
                    <a:pt x="7324" y="18602"/>
                  </a:lnTo>
                  <a:lnTo>
                    <a:pt x="7219" y="18539"/>
                  </a:lnTo>
                  <a:lnTo>
                    <a:pt x="7073" y="18727"/>
                  </a:lnTo>
                  <a:lnTo>
                    <a:pt x="7094" y="18811"/>
                  </a:lnTo>
                  <a:lnTo>
                    <a:pt x="7115" y="18874"/>
                  </a:lnTo>
                  <a:lnTo>
                    <a:pt x="7261" y="18957"/>
                  </a:lnTo>
                  <a:lnTo>
                    <a:pt x="7240" y="19188"/>
                  </a:lnTo>
                  <a:lnTo>
                    <a:pt x="7303" y="19292"/>
                  </a:lnTo>
                  <a:lnTo>
                    <a:pt x="7261" y="19376"/>
                  </a:lnTo>
                  <a:lnTo>
                    <a:pt x="7324" y="19397"/>
                  </a:lnTo>
                  <a:lnTo>
                    <a:pt x="7408" y="19501"/>
                  </a:lnTo>
                  <a:lnTo>
                    <a:pt x="7408" y="19606"/>
                  </a:lnTo>
                  <a:lnTo>
                    <a:pt x="7449" y="19606"/>
                  </a:lnTo>
                  <a:lnTo>
                    <a:pt x="7491" y="19752"/>
                  </a:lnTo>
                  <a:lnTo>
                    <a:pt x="7617" y="19794"/>
                  </a:lnTo>
                  <a:lnTo>
                    <a:pt x="7701" y="19690"/>
                  </a:lnTo>
                  <a:lnTo>
                    <a:pt x="7826" y="19690"/>
                  </a:lnTo>
                  <a:lnTo>
                    <a:pt x="7868" y="19773"/>
                  </a:lnTo>
                  <a:lnTo>
                    <a:pt x="8014" y="19794"/>
                  </a:lnTo>
                  <a:lnTo>
                    <a:pt x="8119" y="19899"/>
                  </a:lnTo>
                  <a:lnTo>
                    <a:pt x="8182" y="19920"/>
                  </a:lnTo>
                  <a:lnTo>
                    <a:pt x="8266" y="20087"/>
                  </a:lnTo>
                  <a:lnTo>
                    <a:pt x="8370" y="20087"/>
                  </a:lnTo>
                  <a:lnTo>
                    <a:pt x="8391" y="20192"/>
                  </a:lnTo>
                  <a:lnTo>
                    <a:pt x="8433" y="20171"/>
                  </a:lnTo>
                  <a:lnTo>
                    <a:pt x="8454" y="20129"/>
                  </a:lnTo>
                  <a:lnTo>
                    <a:pt x="8600" y="20213"/>
                  </a:lnTo>
                  <a:lnTo>
                    <a:pt x="8663" y="20296"/>
                  </a:lnTo>
                  <a:lnTo>
                    <a:pt x="8768" y="20296"/>
                  </a:lnTo>
                  <a:lnTo>
                    <a:pt x="8830" y="20317"/>
                  </a:lnTo>
                  <a:lnTo>
                    <a:pt x="8893" y="20213"/>
                  </a:lnTo>
                  <a:lnTo>
                    <a:pt x="9061" y="20192"/>
                  </a:lnTo>
                  <a:lnTo>
                    <a:pt x="9270" y="20276"/>
                  </a:lnTo>
                  <a:lnTo>
                    <a:pt x="9312" y="20338"/>
                  </a:lnTo>
                  <a:lnTo>
                    <a:pt x="9437" y="20338"/>
                  </a:lnTo>
                  <a:lnTo>
                    <a:pt x="9542" y="20401"/>
                  </a:lnTo>
                  <a:lnTo>
                    <a:pt x="9709" y="20589"/>
                  </a:lnTo>
                  <a:lnTo>
                    <a:pt x="9835" y="20589"/>
                  </a:lnTo>
                  <a:lnTo>
                    <a:pt x="9960" y="20652"/>
                  </a:lnTo>
                  <a:lnTo>
                    <a:pt x="10023" y="20715"/>
                  </a:lnTo>
                  <a:lnTo>
                    <a:pt x="10128" y="20840"/>
                  </a:lnTo>
                  <a:lnTo>
                    <a:pt x="10170" y="20966"/>
                  </a:lnTo>
                  <a:lnTo>
                    <a:pt x="10232" y="20945"/>
                  </a:lnTo>
                  <a:lnTo>
                    <a:pt x="10232" y="20757"/>
                  </a:lnTo>
                  <a:lnTo>
                    <a:pt x="10316" y="20715"/>
                  </a:lnTo>
                  <a:lnTo>
                    <a:pt x="10337" y="20757"/>
                  </a:lnTo>
                  <a:lnTo>
                    <a:pt x="10462" y="20757"/>
                  </a:lnTo>
                  <a:lnTo>
                    <a:pt x="10588" y="20840"/>
                  </a:lnTo>
                  <a:lnTo>
                    <a:pt x="10588" y="21008"/>
                  </a:lnTo>
                  <a:lnTo>
                    <a:pt x="10755" y="21133"/>
                  </a:lnTo>
                  <a:lnTo>
                    <a:pt x="10923" y="21071"/>
                  </a:lnTo>
                  <a:lnTo>
                    <a:pt x="11069" y="21071"/>
                  </a:lnTo>
                  <a:lnTo>
                    <a:pt x="11048" y="21322"/>
                  </a:lnTo>
                  <a:lnTo>
                    <a:pt x="11090" y="21468"/>
                  </a:lnTo>
                  <a:lnTo>
                    <a:pt x="11195" y="21447"/>
                  </a:lnTo>
                  <a:lnTo>
                    <a:pt x="11362" y="21531"/>
                  </a:lnTo>
                  <a:lnTo>
                    <a:pt x="11425" y="21447"/>
                  </a:lnTo>
                  <a:lnTo>
                    <a:pt x="11571" y="21426"/>
                  </a:lnTo>
                  <a:lnTo>
                    <a:pt x="11676" y="21322"/>
                  </a:lnTo>
                  <a:lnTo>
                    <a:pt x="11885" y="21322"/>
                  </a:lnTo>
                  <a:lnTo>
                    <a:pt x="12011" y="21384"/>
                  </a:lnTo>
                  <a:lnTo>
                    <a:pt x="12053" y="21531"/>
                  </a:lnTo>
                  <a:lnTo>
                    <a:pt x="12220" y="21594"/>
                  </a:lnTo>
                  <a:lnTo>
                    <a:pt x="12346" y="21761"/>
                  </a:lnTo>
                  <a:lnTo>
                    <a:pt x="12429" y="21782"/>
                  </a:lnTo>
                  <a:lnTo>
                    <a:pt x="12576" y="21740"/>
                  </a:lnTo>
                  <a:lnTo>
                    <a:pt x="12639" y="21761"/>
                  </a:lnTo>
                  <a:lnTo>
                    <a:pt x="12785" y="21698"/>
                  </a:lnTo>
                  <a:lnTo>
                    <a:pt x="12931" y="21698"/>
                  </a:lnTo>
                  <a:lnTo>
                    <a:pt x="13015" y="21594"/>
                  </a:lnTo>
                  <a:lnTo>
                    <a:pt x="13162" y="21594"/>
                  </a:lnTo>
                  <a:lnTo>
                    <a:pt x="13203" y="21698"/>
                  </a:lnTo>
                  <a:lnTo>
                    <a:pt x="13245" y="21866"/>
                  </a:lnTo>
                  <a:lnTo>
                    <a:pt x="13350" y="21949"/>
                  </a:lnTo>
                  <a:lnTo>
                    <a:pt x="13475" y="21887"/>
                  </a:lnTo>
                  <a:lnTo>
                    <a:pt x="13601" y="21636"/>
                  </a:lnTo>
                  <a:lnTo>
                    <a:pt x="13873" y="21468"/>
                  </a:lnTo>
                  <a:lnTo>
                    <a:pt x="14040" y="21447"/>
                  </a:lnTo>
                  <a:lnTo>
                    <a:pt x="14124" y="21552"/>
                  </a:lnTo>
                  <a:lnTo>
                    <a:pt x="14396" y="21573"/>
                  </a:lnTo>
                  <a:lnTo>
                    <a:pt x="14501" y="21636"/>
                  </a:lnTo>
                  <a:lnTo>
                    <a:pt x="14647" y="21552"/>
                  </a:lnTo>
                  <a:lnTo>
                    <a:pt x="14815" y="21573"/>
                  </a:lnTo>
                  <a:lnTo>
                    <a:pt x="14877" y="21677"/>
                  </a:lnTo>
                  <a:lnTo>
                    <a:pt x="14982" y="21677"/>
                  </a:lnTo>
                  <a:lnTo>
                    <a:pt x="15191" y="21636"/>
                  </a:lnTo>
                  <a:lnTo>
                    <a:pt x="15296" y="21636"/>
                  </a:lnTo>
                  <a:lnTo>
                    <a:pt x="15359" y="21468"/>
                  </a:lnTo>
                  <a:lnTo>
                    <a:pt x="15442" y="21426"/>
                  </a:lnTo>
                  <a:lnTo>
                    <a:pt x="15547" y="21447"/>
                  </a:lnTo>
                  <a:lnTo>
                    <a:pt x="15547" y="21364"/>
                  </a:lnTo>
                  <a:lnTo>
                    <a:pt x="15631" y="21343"/>
                  </a:lnTo>
                  <a:lnTo>
                    <a:pt x="15693" y="21217"/>
                  </a:lnTo>
                  <a:lnTo>
                    <a:pt x="15798" y="21112"/>
                  </a:lnTo>
                  <a:lnTo>
                    <a:pt x="15903" y="21071"/>
                  </a:lnTo>
                  <a:lnTo>
                    <a:pt x="16133" y="21029"/>
                  </a:lnTo>
                  <a:lnTo>
                    <a:pt x="16237" y="20861"/>
                  </a:lnTo>
                  <a:lnTo>
                    <a:pt x="16237" y="20736"/>
                  </a:lnTo>
                  <a:lnTo>
                    <a:pt x="16321" y="20736"/>
                  </a:lnTo>
                  <a:lnTo>
                    <a:pt x="16447" y="20631"/>
                  </a:lnTo>
                  <a:lnTo>
                    <a:pt x="16551" y="20799"/>
                  </a:lnTo>
                  <a:lnTo>
                    <a:pt x="16719" y="20736"/>
                  </a:lnTo>
                  <a:lnTo>
                    <a:pt x="16928" y="20820"/>
                  </a:lnTo>
                  <a:lnTo>
                    <a:pt x="17012" y="20757"/>
                  </a:lnTo>
                  <a:lnTo>
                    <a:pt x="16970" y="20652"/>
                  </a:lnTo>
                  <a:lnTo>
                    <a:pt x="17242" y="20506"/>
                  </a:lnTo>
                  <a:lnTo>
                    <a:pt x="17325" y="20527"/>
                  </a:lnTo>
                  <a:lnTo>
                    <a:pt x="17367" y="20610"/>
                  </a:lnTo>
                  <a:lnTo>
                    <a:pt x="17451" y="20610"/>
                  </a:lnTo>
                  <a:lnTo>
                    <a:pt x="17472" y="20652"/>
                  </a:lnTo>
                  <a:lnTo>
                    <a:pt x="17388" y="20820"/>
                  </a:lnTo>
                  <a:lnTo>
                    <a:pt x="17451" y="20903"/>
                  </a:lnTo>
                  <a:lnTo>
                    <a:pt x="17535" y="20903"/>
                  </a:lnTo>
                  <a:lnTo>
                    <a:pt x="17597" y="20861"/>
                  </a:lnTo>
                  <a:lnTo>
                    <a:pt x="17639" y="20945"/>
                  </a:lnTo>
                  <a:lnTo>
                    <a:pt x="17702" y="21050"/>
                  </a:lnTo>
                  <a:lnTo>
                    <a:pt x="17702" y="21133"/>
                  </a:lnTo>
                  <a:lnTo>
                    <a:pt x="17597" y="21238"/>
                  </a:lnTo>
                  <a:lnTo>
                    <a:pt x="17639" y="21343"/>
                  </a:lnTo>
                  <a:lnTo>
                    <a:pt x="17765" y="21364"/>
                  </a:lnTo>
                  <a:lnTo>
                    <a:pt x="17849" y="21322"/>
                  </a:lnTo>
                  <a:lnTo>
                    <a:pt x="17953" y="21364"/>
                  </a:lnTo>
                  <a:lnTo>
                    <a:pt x="18016" y="21468"/>
                  </a:lnTo>
                  <a:lnTo>
                    <a:pt x="18121" y="21426"/>
                  </a:lnTo>
                  <a:lnTo>
                    <a:pt x="18246" y="21468"/>
                  </a:lnTo>
                  <a:lnTo>
                    <a:pt x="18330" y="21426"/>
                  </a:lnTo>
                  <a:lnTo>
                    <a:pt x="18497" y="21426"/>
                  </a:lnTo>
                  <a:lnTo>
                    <a:pt x="18539" y="21573"/>
                  </a:lnTo>
                  <a:lnTo>
                    <a:pt x="18685" y="21677"/>
                  </a:lnTo>
                  <a:lnTo>
                    <a:pt x="18706" y="21845"/>
                  </a:lnTo>
                  <a:lnTo>
                    <a:pt x="18811" y="21845"/>
                  </a:lnTo>
                  <a:lnTo>
                    <a:pt x="18916" y="21970"/>
                  </a:lnTo>
                  <a:lnTo>
                    <a:pt x="18916" y="22117"/>
                  </a:lnTo>
                  <a:lnTo>
                    <a:pt x="18999" y="22326"/>
                  </a:lnTo>
                  <a:lnTo>
                    <a:pt x="19020" y="22493"/>
                  </a:lnTo>
                  <a:lnTo>
                    <a:pt x="18999" y="22745"/>
                  </a:lnTo>
                  <a:lnTo>
                    <a:pt x="18999" y="22849"/>
                  </a:lnTo>
                  <a:lnTo>
                    <a:pt x="18957" y="22933"/>
                  </a:lnTo>
                  <a:lnTo>
                    <a:pt x="18853" y="22996"/>
                  </a:lnTo>
                  <a:lnTo>
                    <a:pt x="18832" y="23100"/>
                  </a:lnTo>
                  <a:lnTo>
                    <a:pt x="18769" y="23121"/>
                  </a:lnTo>
                  <a:lnTo>
                    <a:pt x="18748" y="23205"/>
                  </a:lnTo>
                  <a:lnTo>
                    <a:pt x="18811" y="23309"/>
                  </a:lnTo>
                  <a:lnTo>
                    <a:pt x="18748" y="23351"/>
                  </a:lnTo>
                  <a:lnTo>
                    <a:pt x="18685" y="23330"/>
                  </a:lnTo>
                  <a:lnTo>
                    <a:pt x="18602" y="23435"/>
                  </a:lnTo>
                  <a:lnTo>
                    <a:pt x="18539" y="23519"/>
                  </a:lnTo>
                  <a:lnTo>
                    <a:pt x="18602" y="23581"/>
                  </a:lnTo>
                  <a:lnTo>
                    <a:pt x="18539" y="23665"/>
                  </a:lnTo>
                  <a:lnTo>
                    <a:pt x="18539" y="23770"/>
                  </a:lnTo>
                  <a:lnTo>
                    <a:pt x="18644" y="23833"/>
                  </a:lnTo>
                  <a:lnTo>
                    <a:pt x="18706" y="23895"/>
                  </a:lnTo>
                  <a:lnTo>
                    <a:pt x="18769" y="23958"/>
                  </a:lnTo>
                  <a:lnTo>
                    <a:pt x="18748" y="24105"/>
                  </a:lnTo>
                  <a:lnTo>
                    <a:pt x="18811" y="24251"/>
                  </a:lnTo>
                  <a:lnTo>
                    <a:pt x="18937" y="24146"/>
                  </a:lnTo>
                  <a:lnTo>
                    <a:pt x="19209" y="24084"/>
                  </a:lnTo>
                  <a:lnTo>
                    <a:pt x="19229" y="24167"/>
                  </a:lnTo>
                  <a:lnTo>
                    <a:pt x="19209" y="24251"/>
                  </a:lnTo>
                  <a:lnTo>
                    <a:pt x="19271" y="24293"/>
                  </a:lnTo>
                  <a:lnTo>
                    <a:pt x="19418" y="24272"/>
                  </a:lnTo>
                  <a:lnTo>
                    <a:pt x="19439" y="24377"/>
                  </a:lnTo>
                  <a:lnTo>
                    <a:pt x="19418" y="24481"/>
                  </a:lnTo>
                  <a:lnTo>
                    <a:pt x="19481" y="24565"/>
                  </a:lnTo>
                  <a:lnTo>
                    <a:pt x="19627" y="24586"/>
                  </a:lnTo>
                  <a:lnTo>
                    <a:pt x="19585" y="24628"/>
                  </a:lnTo>
                  <a:lnTo>
                    <a:pt x="19648" y="24711"/>
                  </a:lnTo>
                  <a:lnTo>
                    <a:pt x="19669" y="24670"/>
                  </a:lnTo>
                  <a:lnTo>
                    <a:pt x="19815" y="24670"/>
                  </a:lnTo>
                  <a:lnTo>
                    <a:pt x="19941" y="24732"/>
                  </a:lnTo>
                  <a:lnTo>
                    <a:pt x="19941" y="24816"/>
                  </a:lnTo>
                  <a:lnTo>
                    <a:pt x="19878" y="24921"/>
                  </a:lnTo>
                  <a:lnTo>
                    <a:pt x="19899" y="25004"/>
                  </a:lnTo>
                  <a:lnTo>
                    <a:pt x="19753" y="25193"/>
                  </a:lnTo>
                  <a:lnTo>
                    <a:pt x="19648" y="25297"/>
                  </a:lnTo>
                  <a:lnTo>
                    <a:pt x="19669" y="25360"/>
                  </a:lnTo>
                  <a:lnTo>
                    <a:pt x="19753" y="25339"/>
                  </a:lnTo>
                  <a:lnTo>
                    <a:pt x="19941" y="25339"/>
                  </a:lnTo>
                  <a:lnTo>
                    <a:pt x="19983" y="25402"/>
                  </a:lnTo>
                  <a:lnTo>
                    <a:pt x="20066" y="25318"/>
                  </a:lnTo>
                  <a:lnTo>
                    <a:pt x="20150" y="25423"/>
                  </a:lnTo>
                  <a:lnTo>
                    <a:pt x="20108" y="25548"/>
                  </a:lnTo>
                  <a:lnTo>
                    <a:pt x="20150" y="25674"/>
                  </a:lnTo>
                  <a:lnTo>
                    <a:pt x="20276" y="25737"/>
                  </a:lnTo>
                  <a:lnTo>
                    <a:pt x="20338" y="25653"/>
                  </a:lnTo>
                  <a:lnTo>
                    <a:pt x="20485" y="25653"/>
                  </a:lnTo>
                  <a:lnTo>
                    <a:pt x="20736" y="25548"/>
                  </a:lnTo>
                  <a:lnTo>
                    <a:pt x="20841" y="25569"/>
                  </a:lnTo>
                  <a:lnTo>
                    <a:pt x="20841" y="25716"/>
                  </a:lnTo>
                  <a:lnTo>
                    <a:pt x="20799" y="25737"/>
                  </a:lnTo>
                  <a:lnTo>
                    <a:pt x="20862" y="25778"/>
                  </a:lnTo>
                  <a:lnTo>
                    <a:pt x="20924" y="25883"/>
                  </a:lnTo>
                  <a:lnTo>
                    <a:pt x="21050" y="25841"/>
                  </a:lnTo>
                  <a:lnTo>
                    <a:pt x="21154" y="25862"/>
                  </a:lnTo>
                  <a:lnTo>
                    <a:pt x="21134" y="25716"/>
                  </a:lnTo>
                  <a:lnTo>
                    <a:pt x="21134" y="25569"/>
                  </a:lnTo>
                  <a:lnTo>
                    <a:pt x="21092" y="25465"/>
                  </a:lnTo>
                  <a:lnTo>
                    <a:pt x="21092" y="25255"/>
                  </a:lnTo>
                  <a:lnTo>
                    <a:pt x="21154" y="25214"/>
                  </a:lnTo>
                  <a:lnTo>
                    <a:pt x="21154" y="25130"/>
                  </a:lnTo>
                  <a:lnTo>
                    <a:pt x="21364" y="25130"/>
                  </a:lnTo>
                  <a:lnTo>
                    <a:pt x="21426" y="25109"/>
                  </a:lnTo>
                  <a:lnTo>
                    <a:pt x="21468" y="25088"/>
                  </a:lnTo>
                  <a:lnTo>
                    <a:pt x="21510" y="25025"/>
                  </a:lnTo>
                  <a:lnTo>
                    <a:pt x="21552" y="24983"/>
                  </a:lnTo>
                  <a:lnTo>
                    <a:pt x="21678" y="24921"/>
                  </a:lnTo>
                  <a:lnTo>
                    <a:pt x="21761" y="24942"/>
                  </a:lnTo>
                  <a:lnTo>
                    <a:pt x="21740" y="25025"/>
                  </a:lnTo>
                  <a:lnTo>
                    <a:pt x="21782" y="25046"/>
                  </a:lnTo>
                  <a:lnTo>
                    <a:pt x="21866" y="25046"/>
                  </a:lnTo>
                  <a:lnTo>
                    <a:pt x="21887" y="24942"/>
                  </a:lnTo>
                  <a:lnTo>
                    <a:pt x="21970" y="24900"/>
                  </a:lnTo>
                  <a:lnTo>
                    <a:pt x="22096" y="25004"/>
                  </a:lnTo>
                  <a:lnTo>
                    <a:pt x="22159" y="24921"/>
                  </a:lnTo>
                  <a:lnTo>
                    <a:pt x="22242" y="24921"/>
                  </a:lnTo>
                  <a:lnTo>
                    <a:pt x="22263" y="25004"/>
                  </a:lnTo>
                  <a:lnTo>
                    <a:pt x="22389" y="24942"/>
                  </a:lnTo>
                  <a:lnTo>
                    <a:pt x="22389" y="24879"/>
                  </a:lnTo>
                  <a:lnTo>
                    <a:pt x="22556" y="24816"/>
                  </a:lnTo>
                  <a:lnTo>
                    <a:pt x="22661" y="24900"/>
                  </a:lnTo>
                  <a:lnTo>
                    <a:pt x="22870" y="24816"/>
                  </a:lnTo>
                  <a:lnTo>
                    <a:pt x="22828" y="24628"/>
                  </a:lnTo>
                  <a:lnTo>
                    <a:pt x="22954" y="24586"/>
                  </a:lnTo>
                  <a:lnTo>
                    <a:pt x="23100" y="24586"/>
                  </a:lnTo>
                  <a:lnTo>
                    <a:pt x="23184" y="24502"/>
                  </a:lnTo>
                  <a:lnTo>
                    <a:pt x="23310" y="24586"/>
                  </a:lnTo>
                  <a:lnTo>
                    <a:pt x="23310" y="24670"/>
                  </a:lnTo>
                  <a:lnTo>
                    <a:pt x="23435" y="24690"/>
                  </a:lnTo>
                  <a:lnTo>
                    <a:pt x="23477" y="24774"/>
                  </a:lnTo>
                  <a:lnTo>
                    <a:pt x="23749" y="24774"/>
                  </a:lnTo>
                  <a:lnTo>
                    <a:pt x="23812" y="24816"/>
                  </a:lnTo>
                  <a:lnTo>
                    <a:pt x="23958" y="24774"/>
                  </a:lnTo>
                  <a:lnTo>
                    <a:pt x="24042" y="24837"/>
                  </a:lnTo>
                  <a:lnTo>
                    <a:pt x="24042" y="24942"/>
                  </a:lnTo>
                  <a:lnTo>
                    <a:pt x="23937" y="24983"/>
                  </a:lnTo>
                  <a:lnTo>
                    <a:pt x="23875" y="25193"/>
                  </a:lnTo>
                  <a:lnTo>
                    <a:pt x="23958" y="25214"/>
                  </a:lnTo>
                  <a:lnTo>
                    <a:pt x="23979" y="25318"/>
                  </a:lnTo>
                  <a:lnTo>
                    <a:pt x="24230" y="25402"/>
                  </a:lnTo>
                  <a:lnTo>
                    <a:pt x="24251" y="25506"/>
                  </a:lnTo>
                  <a:lnTo>
                    <a:pt x="24377" y="25527"/>
                  </a:lnTo>
                  <a:lnTo>
                    <a:pt x="24481" y="25611"/>
                  </a:lnTo>
                  <a:lnTo>
                    <a:pt x="24586" y="25548"/>
                  </a:lnTo>
                  <a:lnTo>
                    <a:pt x="24649" y="25611"/>
                  </a:lnTo>
                  <a:lnTo>
                    <a:pt x="24711" y="25569"/>
                  </a:lnTo>
                  <a:lnTo>
                    <a:pt x="24816" y="25632"/>
                  </a:lnTo>
                  <a:lnTo>
                    <a:pt x="24858" y="25632"/>
                  </a:lnTo>
                  <a:lnTo>
                    <a:pt x="24900" y="25611"/>
                  </a:lnTo>
                  <a:lnTo>
                    <a:pt x="24963" y="25653"/>
                  </a:lnTo>
                  <a:lnTo>
                    <a:pt x="25046" y="25611"/>
                  </a:lnTo>
                  <a:lnTo>
                    <a:pt x="25046" y="25548"/>
                  </a:lnTo>
                  <a:lnTo>
                    <a:pt x="25088" y="25423"/>
                  </a:lnTo>
                  <a:lnTo>
                    <a:pt x="25130" y="25527"/>
                  </a:lnTo>
                  <a:lnTo>
                    <a:pt x="25235" y="25653"/>
                  </a:lnTo>
                  <a:lnTo>
                    <a:pt x="25297" y="25632"/>
                  </a:lnTo>
                  <a:lnTo>
                    <a:pt x="25444" y="25737"/>
                  </a:lnTo>
                  <a:lnTo>
                    <a:pt x="25569" y="25737"/>
                  </a:lnTo>
                  <a:lnTo>
                    <a:pt x="25632" y="25632"/>
                  </a:lnTo>
                  <a:lnTo>
                    <a:pt x="25716" y="25716"/>
                  </a:lnTo>
                  <a:lnTo>
                    <a:pt x="25820" y="25674"/>
                  </a:lnTo>
                  <a:lnTo>
                    <a:pt x="25862" y="25716"/>
                  </a:lnTo>
                  <a:lnTo>
                    <a:pt x="25862" y="25737"/>
                  </a:lnTo>
                  <a:lnTo>
                    <a:pt x="25800" y="25758"/>
                  </a:lnTo>
                  <a:lnTo>
                    <a:pt x="25758" y="25862"/>
                  </a:lnTo>
                  <a:lnTo>
                    <a:pt x="25695" y="25967"/>
                  </a:lnTo>
                  <a:lnTo>
                    <a:pt x="25695" y="26030"/>
                  </a:lnTo>
                  <a:lnTo>
                    <a:pt x="25820" y="26197"/>
                  </a:lnTo>
                  <a:lnTo>
                    <a:pt x="25904" y="26260"/>
                  </a:lnTo>
                  <a:lnTo>
                    <a:pt x="25904" y="26302"/>
                  </a:lnTo>
                  <a:lnTo>
                    <a:pt x="25925" y="26448"/>
                  </a:lnTo>
                  <a:lnTo>
                    <a:pt x="25946" y="26406"/>
                  </a:lnTo>
                  <a:lnTo>
                    <a:pt x="26009" y="26343"/>
                  </a:lnTo>
                  <a:lnTo>
                    <a:pt x="26092" y="26364"/>
                  </a:lnTo>
                  <a:lnTo>
                    <a:pt x="26134" y="26385"/>
                  </a:lnTo>
                  <a:lnTo>
                    <a:pt x="26176" y="26385"/>
                  </a:lnTo>
                  <a:lnTo>
                    <a:pt x="26281" y="26281"/>
                  </a:lnTo>
                  <a:lnTo>
                    <a:pt x="26260" y="26239"/>
                  </a:lnTo>
                  <a:lnTo>
                    <a:pt x="26218" y="26197"/>
                  </a:lnTo>
                  <a:lnTo>
                    <a:pt x="26218" y="26176"/>
                  </a:lnTo>
                  <a:lnTo>
                    <a:pt x="26155" y="26071"/>
                  </a:lnTo>
                  <a:lnTo>
                    <a:pt x="26072" y="26071"/>
                  </a:lnTo>
                  <a:lnTo>
                    <a:pt x="26030" y="25967"/>
                  </a:lnTo>
                  <a:lnTo>
                    <a:pt x="26051" y="25925"/>
                  </a:lnTo>
                  <a:lnTo>
                    <a:pt x="26155" y="25841"/>
                  </a:lnTo>
                  <a:lnTo>
                    <a:pt x="26155" y="25758"/>
                  </a:lnTo>
                  <a:lnTo>
                    <a:pt x="26155" y="25716"/>
                  </a:lnTo>
                  <a:lnTo>
                    <a:pt x="26176" y="25716"/>
                  </a:lnTo>
                  <a:lnTo>
                    <a:pt x="26218" y="25653"/>
                  </a:lnTo>
                  <a:lnTo>
                    <a:pt x="26239" y="25716"/>
                  </a:lnTo>
                  <a:lnTo>
                    <a:pt x="26260" y="25737"/>
                  </a:lnTo>
                  <a:lnTo>
                    <a:pt x="26281" y="25737"/>
                  </a:lnTo>
                  <a:lnTo>
                    <a:pt x="26260" y="25758"/>
                  </a:lnTo>
                  <a:lnTo>
                    <a:pt x="26260" y="25778"/>
                  </a:lnTo>
                  <a:lnTo>
                    <a:pt x="26323" y="25778"/>
                  </a:lnTo>
                  <a:lnTo>
                    <a:pt x="26281" y="25820"/>
                  </a:lnTo>
                  <a:lnTo>
                    <a:pt x="26344" y="25841"/>
                  </a:lnTo>
                  <a:lnTo>
                    <a:pt x="26385" y="25758"/>
                  </a:lnTo>
                  <a:lnTo>
                    <a:pt x="26490" y="25737"/>
                  </a:lnTo>
                  <a:lnTo>
                    <a:pt x="26553" y="25653"/>
                  </a:lnTo>
                  <a:lnTo>
                    <a:pt x="26616" y="25716"/>
                  </a:lnTo>
                  <a:lnTo>
                    <a:pt x="26741" y="25653"/>
                  </a:lnTo>
                  <a:lnTo>
                    <a:pt x="26867" y="25611"/>
                  </a:lnTo>
                  <a:lnTo>
                    <a:pt x="26804" y="25527"/>
                  </a:lnTo>
                  <a:lnTo>
                    <a:pt x="26908" y="25527"/>
                  </a:lnTo>
                  <a:lnTo>
                    <a:pt x="27013" y="25465"/>
                  </a:lnTo>
                  <a:lnTo>
                    <a:pt x="27139" y="25527"/>
                  </a:lnTo>
                  <a:lnTo>
                    <a:pt x="27201" y="25506"/>
                  </a:lnTo>
                  <a:lnTo>
                    <a:pt x="27327" y="25444"/>
                  </a:lnTo>
                  <a:lnTo>
                    <a:pt x="27432" y="25339"/>
                  </a:lnTo>
                  <a:lnTo>
                    <a:pt x="27515" y="25234"/>
                  </a:lnTo>
                  <a:lnTo>
                    <a:pt x="27536" y="25193"/>
                  </a:lnTo>
                  <a:lnTo>
                    <a:pt x="27578" y="25214"/>
                  </a:lnTo>
                  <a:lnTo>
                    <a:pt x="27620" y="25255"/>
                  </a:lnTo>
                  <a:lnTo>
                    <a:pt x="27662" y="25214"/>
                  </a:lnTo>
                  <a:lnTo>
                    <a:pt x="27724" y="25130"/>
                  </a:lnTo>
                  <a:lnTo>
                    <a:pt x="27808" y="25088"/>
                  </a:lnTo>
                  <a:lnTo>
                    <a:pt x="27787" y="24942"/>
                  </a:lnTo>
                  <a:lnTo>
                    <a:pt x="27745" y="24837"/>
                  </a:lnTo>
                  <a:lnTo>
                    <a:pt x="27787" y="24774"/>
                  </a:lnTo>
                  <a:lnTo>
                    <a:pt x="27745" y="24690"/>
                  </a:lnTo>
                  <a:lnTo>
                    <a:pt x="27808" y="24732"/>
                  </a:lnTo>
                  <a:lnTo>
                    <a:pt x="27934" y="24816"/>
                  </a:lnTo>
                  <a:lnTo>
                    <a:pt x="27955" y="24900"/>
                  </a:lnTo>
                  <a:lnTo>
                    <a:pt x="28059" y="25004"/>
                  </a:lnTo>
                  <a:lnTo>
                    <a:pt x="28143" y="24983"/>
                  </a:lnTo>
                  <a:lnTo>
                    <a:pt x="28143" y="24983"/>
                  </a:lnTo>
                  <a:lnTo>
                    <a:pt x="28101" y="25046"/>
                  </a:lnTo>
                  <a:lnTo>
                    <a:pt x="28017" y="25109"/>
                  </a:lnTo>
                  <a:lnTo>
                    <a:pt x="28038" y="25151"/>
                  </a:lnTo>
                  <a:lnTo>
                    <a:pt x="28248" y="25046"/>
                  </a:lnTo>
                  <a:lnTo>
                    <a:pt x="28248" y="24921"/>
                  </a:lnTo>
                  <a:lnTo>
                    <a:pt x="28352" y="24900"/>
                  </a:lnTo>
                  <a:lnTo>
                    <a:pt x="28415" y="24837"/>
                  </a:lnTo>
                  <a:lnTo>
                    <a:pt x="28520" y="24900"/>
                  </a:lnTo>
                  <a:lnTo>
                    <a:pt x="28582" y="24879"/>
                  </a:lnTo>
                  <a:lnTo>
                    <a:pt x="28624" y="24795"/>
                  </a:lnTo>
                  <a:lnTo>
                    <a:pt x="28687" y="24795"/>
                  </a:lnTo>
                  <a:lnTo>
                    <a:pt x="28708" y="24711"/>
                  </a:lnTo>
                  <a:lnTo>
                    <a:pt x="28771" y="24795"/>
                  </a:lnTo>
                  <a:lnTo>
                    <a:pt x="28854" y="24900"/>
                  </a:lnTo>
                  <a:lnTo>
                    <a:pt x="28896" y="24837"/>
                  </a:lnTo>
                  <a:lnTo>
                    <a:pt x="28938" y="24732"/>
                  </a:lnTo>
                  <a:lnTo>
                    <a:pt x="28980" y="24732"/>
                  </a:lnTo>
                  <a:lnTo>
                    <a:pt x="29001" y="24774"/>
                  </a:lnTo>
                  <a:lnTo>
                    <a:pt x="29085" y="24774"/>
                  </a:lnTo>
                  <a:lnTo>
                    <a:pt x="29105" y="24711"/>
                  </a:lnTo>
                  <a:lnTo>
                    <a:pt x="29231" y="24711"/>
                  </a:lnTo>
                  <a:lnTo>
                    <a:pt x="29294" y="24628"/>
                  </a:lnTo>
                  <a:lnTo>
                    <a:pt x="29357" y="24586"/>
                  </a:lnTo>
                  <a:lnTo>
                    <a:pt x="29377" y="24670"/>
                  </a:lnTo>
                  <a:lnTo>
                    <a:pt x="29398" y="24607"/>
                  </a:lnTo>
                  <a:lnTo>
                    <a:pt x="29482" y="24607"/>
                  </a:lnTo>
                  <a:lnTo>
                    <a:pt x="29566" y="24586"/>
                  </a:lnTo>
                  <a:lnTo>
                    <a:pt x="29524" y="24502"/>
                  </a:lnTo>
                  <a:lnTo>
                    <a:pt x="29587" y="24418"/>
                  </a:lnTo>
                  <a:lnTo>
                    <a:pt x="29608" y="24293"/>
                  </a:lnTo>
                  <a:lnTo>
                    <a:pt x="29566" y="24188"/>
                  </a:lnTo>
                  <a:lnTo>
                    <a:pt x="29566" y="24188"/>
                  </a:lnTo>
                  <a:lnTo>
                    <a:pt x="29608" y="24209"/>
                  </a:lnTo>
                  <a:lnTo>
                    <a:pt x="29670" y="24146"/>
                  </a:lnTo>
                  <a:lnTo>
                    <a:pt x="29796" y="24105"/>
                  </a:lnTo>
                  <a:lnTo>
                    <a:pt x="29817" y="24167"/>
                  </a:lnTo>
                  <a:lnTo>
                    <a:pt x="29921" y="24167"/>
                  </a:lnTo>
                  <a:lnTo>
                    <a:pt x="29942" y="24042"/>
                  </a:lnTo>
                  <a:lnTo>
                    <a:pt x="30005" y="24042"/>
                  </a:lnTo>
                  <a:lnTo>
                    <a:pt x="30026" y="23958"/>
                  </a:lnTo>
                  <a:lnTo>
                    <a:pt x="30089" y="23958"/>
                  </a:lnTo>
                  <a:lnTo>
                    <a:pt x="30089" y="23979"/>
                  </a:lnTo>
                  <a:lnTo>
                    <a:pt x="30110" y="23979"/>
                  </a:lnTo>
                  <a:lnTo>
                    <a:pt x="30193" y="23874"/>
                  </a:lnTo>
                  <a:lnTo>
                    <a:pt x="30256" y="23958"/>
                  </a:lnTo>
                  <a:lnTo>
                    <a:pt x="30256" y="23833"/>
                  </a:lnTo>
                  <a:lnTo>
                    <a:pt x="30340" y="23833"/>
                  </a:lnTo>
                  <a:lnTo>
                    <a:pt x="30361" y="23728"/>
                  </a:lnTo>
                  <a:lnTo>
                    <a:pt x="30277" y="23686"/>
                  </a:lnTo>
                  <a:lnTo>
                    <a:pt x="30193" y="23749"/>
                  </a:lnTo>
                  <a:lnTo>
                    <a:pt x="30047" y="23623"/>
                  </a:lnTo>
                  <a:lnTo>
                    <a:pt x="30235" y="23623"/>
                  </a:lnTo>
                  <a:lnTo>
                    <a:pt x="30340" y="23477"/>
                  </a:lnTo>
                  <a:lnTo>
                    <a:pt x="30361" y="23540"/>
                  </a:lnTo>
                  <a:lnTo>
                    <a:pt x="30445" y="23477"/>
                  </a:lnTo>
                  <a:lnTo>
                    <a:pt x="30612" y="23581"/>
                  </a:lnTo>
                  <a:lnTo>
                    <a:pt x="30633" y="23456"/>
                  </a:lnTo>
                  <a:lnTo>
                    <a:pt x="30549" y="23435"/>
                  </a:lnTo>
                  <a:lnTo>
                    <a:pt x="30507" y="23372"/>
                  </a:lnTo>
                  <a:lnTo>
                    <a:pt x="30528" y="23309"/>
                  </a:lnTo>
                  <a:lnTo>
                    <a:pt x="30633" y="23372"/>
                  </a:lnTo>
                  <a:lnTo>
                    <a:pt x="30717" y="23309"/>
                  </a:lnTo>
                  <a:lnTo>
                    <a:pt x="30675" y="23268"/>
                  </a:lnTo>
                  <a:lnTo>
                    <a:pt x="30612" y="23268"/>
                  </a:lnTo>
                  <a:lnTo>
                    <a:pt x="30612" y="23163"/>
                  </a:lnTo>
                  <a:lnTo>
                    <a:pt x="30528" y="23121"/>
                  </a:lnTo>
                  <a:lnTo>
                    <a:pt x="30612" y="23100"/>
                  </a:lnTo>
                  <a:lnTo>
                    <a:pt x="30654" y="23142"/>
                  </a:lnTo>
                  <a:lnTo>
                    <a:pt x="30717" y="23142"/>
                  </a:lnTo>
                  <a:lnTo>
                    <a:pt x="30758" y="23205"/>
                  </a:lnTo>
                  <a:lnTo>
                    <a:pt x="30758" y="23121"/>
                  </a:lnTo>
                  <a:lnTo>
                    <a:pt x="30654" y="23037"/>
                  </a:lnTo>
                  <a:lnTo>
                    <a:pt x="30654" y="22933"/>
                  </a:lnTo>
                  <a:lnTo>
                    <a:pt x="30737" y="22933"/>
                  </a:lnTo>
                  <a:lnTo>
                    <a:pt x="30758" y="22891"/>
                  </a:lnTo>
                  <a:lnTo>
                    <a:pt x="30863" y="22954"/>
                  </a:lnTo>
                  <a:lnTo>
                    <a:pt x="30863" y="23037"/>
                  </a:lnTo>
                  <a:lnTo>
                    <a:pt x="30926" y="23037"/>
                  </a:lnTo>
                  <a:lnTo>
                    <a:pt x="30968" y="23121"/>
                  </a:lnTo>
                  <a:lnTo>
                    <a:pt x="30989" y="22996"/>
                  </a:lnTo>
                  <a:lnTo>
                    <a:pt x="30947" y="22912"/>
                  </a:lnTo>
                  <a:lnTo>
                    <a:pt x="30884" y="22912"/>
                  </a:lnTo>
                  <a:lnTo>
                    <a:pt x="30863" y="22828"/>
                  </a:lnTo>
                  <a:lnTo>
                    <a:pt x="30947" y="22828"/>
                  </a:lnTo>
                  <a:lnTo>
                    <a:pt x="30947" y="22745"/>
                  </a:lnTo>
                  <a:lnTo>
                    <a:pt x="30863" y="22724"/>
                  </a:lnTo>
                  <a:lnTo>
                    <a:pt x="30989" y="22598"/>
                  </a:lnTo>
                  <a:lnTo>
                    <a:pt x="30926" y="22535"/>
                  </a:lnTo>
                  <a:lnTo>
                    <a:pt x="30842" y="22535"/>
                  </a:lnTo>
                  <a:lnTo>
                    <a:pt x="30779" y="22598"/>
                  </a:lnTo>
                  <a:lnTo>
                    <a:pt x="30800" y="22493"/>
                  </a:lnTo>
                  <a:lnTo>
                    <a:pt x="30947" y="22410"/>
                  </a:lnTo>
                  <a:lnTo>
                    <a:pt x="31135" y="22326"/>
                  </a:lnTo>
                  <a:lnTo>
                    <a:pt x="31072" y="22263"/>
                  </a:lnTo>
                  <a:lnTo>
                    <a:pt x="30989" y="22326"/>
                  </a:lnTo>
                  <a:lnTo>
                    <a:pt x="30863" y="22201"/>
                  </a:lnTo>
                  <a:lnTo>
                    <a:pt x="30968" y="22201"/>
                  </a:lnTo>
                  <a:lnTo>
                    <a:pt x="30884" y="22096"/>
                  </a:lnTo>
                  <a:lnTo>
                    <a:pt x="30800" y="22096"/>
                  </a:lnTo>
                  <a:lnTo>
                    <a:pt x="30863" y="22054"/>
                  </a:lnTo>
                  <a:lnTo>
                    <a:pt x="30800" y="21991"/>
                  </a:lnTo>
                  <a:lnTo>
                    <a:pt x="30884" y="21991"/>
                  </a:lnTo>
                  <a:lnTo>
                    <a:pt x="30926" y="21908"/>
                  </a:lnTo>
                  <a:lnTo>
                    <a:pt x="31030" y="21908"/>
                  </a:lnTo>
                  <a:lnTo>
                    <a:pt x="30989" y="22012"/>
                  </a:lnTo>
                  <a:lnTo>
                    <a:pt x="31072" y="22012"/>
                  </a:lnTo>
                  <a:lnTo>
                    <a:pt x="31240" y="21866"/>
                  </a:lnTo>
                  <a:lnTo>
                    <a:pt x="31240" y="21782"/>
                  </a:lnTo>
                  <a:lnTo>
                    <a:pt x="31365" y="21803"/>
                  </a:lnTo>
                  <a:lnTo>
                    <a:pt x="31281" y="21698"/>
                  </a:lnTo>
                  <a:lnTo>
                    <a:pt x="31198" y="21698"/>
                  </a:lnTo>
                  <a:lnTo>
                    <a:pt x="31240" y="21594"/>
                  </a:lnTo>
                  <a:lnTo>
                    <a:pt x="31302" y="21677"/>
                  </a:lnTo>
                  <a:lnTo>
                    <a:pt x="31386" y="21636"/>
                  </a:lnTo>
                  <a:lnTo>
                    <a:pt x="31386" y="21531"/>
                  </a:lnTo>
                  <a:lnTo>
                    <a:pt x="31449" y="21489"/>
                  </a:lnTo>
                  <a:lnTo>
                    <a:pt x="31386" y="21426"/>
                  </a:lnTo>
                  <a:lnTo>
                    <a:pt x="31386" y="21343"/>
                  </a:lnTo>
                  <a:lnTo>
                    <a:pt x="31470" y="21322"/>
                  </a:lnTo>
                  <a:lnTo>
                    <a:pt x="31407" y="21238"/>
                  </a:lnTo>
                  <a:lnTo>
                    <a:pt x="31407" y="21175"/>
                  </a:lnTo>
                  <a:lnTo>
                    <a:pt x="31302" y="21112"/>
                  </a:lnTo>
                  <a:lnTo>
                    <a:pt x="31470" y="21154"/>
                  </a:lnTo>
                  <a:lnTo>
                    <a:pt x="31512" y="21112"/>
                  </a:lnTo>
                  <a:lnTo>
                    <a:pt x="31616" y="20903"/>
                  </a:lnTo>
                  <a:lnTo>
                    <a:pt x="31700" y="20903"/>
                  </a:lnTo>
                  <a:lnTo>
                    <a:pt x="31721" y="20966"/>
                  </a:lnTo>
                  <a:lnTo>
                    <a:pt x="31763" y="21029"/>
                  </a:lnTo>
                  <a:lnTo>
                    <a:pt x="31784" y="20924"/>
                  </a:lnTo>
                  <a:lnTo>
                    <a:pt x="31846" y="20861"/>
                  </a:lnTo>
                  <a:lnTo>
                    <a:pt x="31805" y="20736"/>
                  </a:lnTo>
                  <a:lnTo>
                    <a:pt x="31679" y="20736"/>
                  </a:lnTo>
                  <a:lnTo>
                    <a:pt x="31616" y="20694"/>
                  </a:lnTo>
                  <a:lnTo>
                    <a:pt x="31679" y="20652"/>
                  </a:lnTo>
                  <a:lnTo>
                    <a:pt x="31763" y="20652"/>
                  </a:lnTo>
                  <a:lnTo>
                    <a:pt x="31826" y="20610"/>
                  </a:lnTo>
                  <a:lnTo>
                    <a:pt x="31784" y="20548"/>
                  </a:lnTo>
                  <a:lnTo>
                    <a:pt x="31700" y="20506"/>
                  </a:lnTo>
                  <a:lnTo>
                    <a:pt x="31784" y="20443"/>
                  </a:lnTo>
                  <a:lnTo>
                    <a:pt x="31826" y="20443"/>
                  </a:lnTo>
                  <a:lnTo>
                    <a:pt x="31826" y="20401"/>
                  </a:lnTo>
                  <a:lnTo>
                    <a:pt x="31784" y="20338"/>
                  </a:lnTo>
                  <a:lnTo>
                    <a:pt x="31574" y="20338"/>
                  </a:lnTo>
                  <a:lnTo>
                    <a:pt x="31595" y="20296"/>
                  </a:lnTo>
                  <a:lnTo>
                    <a:pt x="31721" y="20192"/>
                  </a:lnTo>
                  <a:lnTo>
                    <a:pt x="31826" y="20213"/>
                  </a:lnTo>
                  <a:lnTo>
                    <a:pt x="31846" y="20192"/>
                  </a:lnTo>
                  <a:lnTo>
                    <a:pt x="31888" y="20129"/>
                  </a:lnTo>
                  <a:lnTo>
                    <a:pt x="31930" y="20192"/>
                  </a:lnTo>
                  <a:lnTo>
                    <a:pt x="31972" y="20213"/>
                  </a:lnTo>
                  <a:lnTo>
                    <a:pt x="32014" y="20171"/>
                  </a:lnTo>
                  <a:lnTo>
                    <a:pt x="31993" y="20087"/>
                  </a:lnTo>
                  <a:lnTo>
                    <a:pt x="31972" y="19920"/>
                  </a:lnTo>
                  <a:lnTo>
                    <a:pt x="31909" y="19878"/>
                  </a:lnTo>
                  <a:lnTo>
                    <a:pt x="31826" y="19962"/>
                  </a:lnTo>
                  <a:lnTo>
                    <a:pt x="31846" y="19983"/>
                  </a:lnTo>
                  <a:lnTo>
                    <a:pt x="31846" y="20024"/>
                  </a:lnTo>
                  <a:lnTo>
                    <a:pt x="31763" y="20004"/>
                  </a:lnTo>
                  <a:lnTo>
                    <a:pt x="31595" y="20129"/>
                  </a:lnTo>
                  <a:lnTo>
                    <a:pt x="31512" y="20108"/>
                  </a:lnTo>
                  <a:lnTo>
                    <a:pt x="31512" y="20004"/>
                  </a:lnTo>
                  <a:lnTo>
                    <a:pt x="31679" y="19983"/>
                  </a:lnTo>
                  <a:lnTo>
                    <a:pt x="31930" y="19752"/>
                  </a:lnTo>
                  <a:lnTo>
                    <a:pt x="31909" y="19711"/>
                  </a:lnTo>
                  <a:lnTo>
                    <a:pt x="31805" y="19711"/>
                  </a:lnTo>
                  <a:lnTo>
                    <a:pt x="31763" y="19648"/>
                  </a:lnTo>
                  <a:lnTo>
                    <a:pt x="31721" y="19690"/>
                  </a:lnTo>
                  <a:lnTo>
                    <a:pt x="31553" y="19460"/>
                  </a:lnTo>
                  <a:lnTo>
                    <a:pt x="31386" y="19439"/>
                  </a:lnTo>
                  <a:lnTo>
                    <a:pt x="31240" y="19585"/>
                  </a:lnTo>
                  <a:lnTo>
                    <a:pt x="31135" y="19564"/>
                  </a:lnTo>
                  <a:lnTo>
                    <a:pt x="31030" y="19397"/>
                  </a:lnTo>
                  <a:lnTo>
                    <a:pt x="30884" y="19439"/>
                  </a:lnTo>
                  <a:lnTo>
                    <a:pt x="30779" y="19501"/>
                  </a:lnTo>
                  <a:lnTo>
                    <a:pt x="30737" y="19606"/>
                  </a:lnTo>
                  <a:lnTo>
                    <a:pt x="30758" y="19480"/>
                  </a:lnTo>
                  <a:lnTo>
                    <a:pt x="30884" y="19376"/>
                  </a:lnTo>
                  <a:lnTo>
                    <a:pt x="30968" y="19376"/>
                  </a:lnTo>
                  <a:lnTo>
                    <a:pt x="31051" y="19334"/>
                  </a:lnTo>
                  <a:lnTo>
                    <a:pt x="31177" y="19376"/>
                  </a:lnTo>
                  <a:lnTo>
                    <a:pt x="31281" y="19355"/>
                  </a:lnTo>
                  <a:lnTo>
                    <a:pt x="31281" y="19250"/>
                  </a:lnTo>
                  <a:lnTo>
                    <a:pt x="31323" y="19188"/>
                  </a:lnTo>
                  <a:lnTo>
                    <a:pt x="31407" y="19188"/>
                  </a:lnTo>
                  <a:lnTo>
                    <a:pt x="31553" y="19041"/>
                  </a:lnTo>
                  <a:lnTo>
                    <a:pt x="31700" y="19020"/>
                  </a:lnTo>
                  <a:lnTo>
                    <a:pt x="31700" y="18936"/>
                  </a:lnTo>
                  <a:lnTo>
                    <a:pt x="31574" y="18727"/>
                  </a:lnTo>
                  <a:lnTo>
                    <a:pt x="31281" y="18539"/>
                  </a:lnTo>
                  <a:lnTo>
                    <a:pt x="31072" y="18413"/>
                  </a:lnTo>
                  <a:lnTo>
                    <a:pt x="30842" y="18204"/>
                  </a:lnTo>
                  <a:lnTo>
                    <a:pt x="30737" y="18204"/>
                  </a:lnTo>
                  <a:lnTo>
                    <a:pt x="30549" y="18330"/>
                  </a:lnTo>
                  <a:lnTo>
                    <a:pt x="30445" y="18309"/>
                  </a:lnTo>
                  <a:lnTo>
                    <a:pt x="30319" y="18183"/>
                  </a:lnTo>
                  <a:lnTo>
                    <a:pt x="30319" y="18099"/>
                  </a:lnTo>
                  <a:lnTo>
                    <a:pt x="30235" y="18079"/>
                  </a:lnTo>
                  <a:lnTo>
                    <a:pt x="30110" y="18120"/>
                  </a:lnTo>
                  <a:lnTo>
                    <a:pt x="29984" y="18120"/>
                  </a:lnTo>
                  <a:lnTo>
                    <a:pt x="29838" y="18141"/>
                  </a:lnTo>
                  <a:lnTo>
                    <a:pt x="29691" y="18351"/>
                  </a:lnTo>
                  <a:lnTo>
                    <a:pt x="29817" y="18099"/>
                  </a:lnTo>
                  <a:lnTo>
                    <a:pt x="29921" y="18037"/>
                  </a:lnTo>
                  <a:lnTo>
                    <a:pt x="29984" y="18079"/>
                  </a:lnTo>
                  <a:lnTo>
                    <a:pt x="30047" y="18079"/>
                  </a:lnTo>
                  <a:lnTo>
                    <a:pt x="30089" y="18016"/>
                  </a:lnTo>
                  <a:lnTo>
                    <a:pt x="30193" y="18079"/>
                  </a:lnTo>
                  <a:lnTo>
                    <a:pt x="30340" y="17995"/>
                  </a:lnTo>
                  <a:lnTo>
                    <a:pt x="30403" y="18183"/>
                  </a:lnTo>
                  <a:lnTo>
                    <a:pt x="30465" y="18225"/>
                  </a:lnTo>
                  <a:lnTo>
                    <a:pt x="30570" y="18225"/>
                  </a:lnTo>
                  <a:lnTo>
                    <a:pt x="30654" y="18120"/>
                  </a:lnTo>
                  <a:lnTo>
                    <a:pt x="30842" y="18141"/>
                  </a:lnTo>
                  <a:lnTo>
                    <a:pt x="30968" y="18246"/>
                  </a:lnTo>
                  <a:lnTo>
                    <a:pt x="31051" y="18246"/>
                  </a:lnTo>
                  <a:lnTo>
                    <a:pt x="31177" y="18351"/>
                  </a:lnTo>
                  <a:lnTo>
                    <a:pt x="31323" y="18288"/>
                  </a:lnTo>
                  <a:lnTo>
                    <a:pt x="31574" y="18351"/>
                  </a:lnTo>
                  <a:lnTo>
                    <a:pt x="31658" y="18330"/>
                  </a:lnTo>
                  <a:lnTo>
                    <a:pt x="31553" y="18141"/>
                  </a:lnTo>
                  <a:lnTo>
                    <a:pt x="31491" y="18120"/>
                  </a:lnTo>
                  <a:lnTo>
                    <a:pt x="31323" y="17974"/>
                  </a:lnTo>
                  <a:lnTo>
                    <a:pt x="31323" y="17911"/>
                  </a:lnTo>
                  <a:lnTo>
                    <a:pt x="31281" y="17869"/>
                  </a:lnTo>
                  <a:lnTo>
                    <a:pt x="31177" y="17890"/>
                  </a:lnTo>
                  <a:lnTo>
                    <a:pt x="31051" y="17827"/>
                  </a:lnTo>
                  <a:lnTo>
                    <a:pt x="30884" y="17597"/>
                  </a:lnTo>
                  <a:lnTo>
                    <a:pt x="30884" y="17451"/>
                  </a:lnTo>
                  <a:lnTo>
                    <a:pt x="30675" y="17283"/>
                  </a:lnTo>
                  <a:lnTo>
                    <a:pt x="30675" y="17095"/>
                  </a:lnTo>
                  <a:lnTo>
                    <a:pt x="30549" y="17074"/>
                  </a:lnTo>
                  <a:lnTo>
                    <a:pt x="30612" y="16949"/>
                  </a:lnTo>
                  <a:lnTo>
                    <a:pt x="30570" y="16928"/>
                  </a:lnTo>
                  <a:lnTo>
                    <a:pt x="30403" y="16572"/>
                  </a:lnTo>
                  <a:lnTo>
                    <a:pt x="30089" y="16405"/>
                  </a:lnTo>
                  <a:lnTo>
                    <a:pt x="30005" y="16447"/>
                  </a:lnTo>
                  <a:lnTo>
                    <a:pt x="30005" y="16363"/>
                  </a:lnTo>
                  <a:lnTo>
                    <a:pt x="29712" y="16237"/>
                  </a:lnTo>
                  <a:lnTo>
                    <a:pt x="29670" y="16237"/>
                  </a:lnTo>
                  <a:lnTo>
                    <a:pt x="29670" y="15944"/>
                  </a:lnTo>
                  <a:lnTo>
                    <a:pt x="29712" y="15735"/>
                  </a:lnTo>
                  <a:lnTo>
                    <a:pt x="29670" y="15610"/>
                  </a:lnTo>
                  <a:lnTo>
                    <a:pt x="29691" y="15463"/>
                  </a:lnTo>
                  <a:lnTo>
                    <a:pt x="29712" y="15484"/>
                  </a:lnTo>
                  <a:lnTo>
                    <a:pt x="29817" y="15463"/>
                  </a:lnTo>
                  <a:lnTo>
                    <a:pt x="29921" y="15296"/>
                  </a:lnTo>
                  <a:lnTo>
                    <a:pt x="29984" y="15317"/>
                  </a:lnTo>
                  <a:lnTo>
                    <a:pt x="30089" y="15191"/>
                  </a:lnTo>
                  <a:lnTo>
                    <a:pt x="29984" y="15149"/>
                  </a:lnTo>
                  <a:lnTo>
                    <a:pt x="29921" y="15066"/>
                  </a:lnTo>
                  <a:lnTo>
                    <a:pt x="30005" y="14961"/>
                  </a:lnTo>
                  <a:lnTo>
                    <a:pt x="30193" y="14982"/>
                  </a:lnTo>
                  <a:lnTo>
                    <a:pt x="30193" y="14856"/>
                  </a:lnTo>
                  <a:lnTo>
                    <a:pt x="30319" y="14835"/>
                  </a:lnTo>
                  <a:lnTo>
                    <a:pt x="30319" y="14731"/>
                  </a:lnTo>
                  <a:lnTo>
                    <a:pt x="30193" y="14647"/>
                  </a:lnTo>
                  <a:lnTo>
                    <a:pt x="30319" y="14647"/>
                  </a:lnTo>
                  <a:lnTo>
                    <a:pt x="30424" y="14689"/>
                  </a:lnTo>
                  <a:lnTo>
                    <a:pt x="30445" y="14647"/>
                  </a:lnTo>
                  <a:lnTo>
                    <a:pt x="30549" y="14647"/>
                  </a:lnTo>
                  <a:lnTo>
                    <a:pt x="30654" y="14563"/>
                  </a:lnTo>
                  <a:lnTo>
                    <a:pt x="30717" y="14563"/>
                  </a:lnTo>
                  <a:lnTo>
                    <a:pt x="30842" y="14375"/>
                  </a:lnTo>
                  <a:lnTo>
                    <a:pt x="30884" y="14459"/>
                  </a:lnTo>
                  <a:lnTo>
                    <a:pt x="30947" y="14417"/>
                  </a:lnTo>
                  <a:lnTo>
                    <a:pt x="30947" y="14459"/>
                  </a:lnTo>
                  <a:lnTo>
                    <a:pt x="31093" y="14563"/>
                  </a:lnTo>
                  <a:lnTo>
                    <a:pt x="31240" y="14438"/>
                  </a:lnTo>
                  <a:lnTo>
                    <a:pt x="31240" y="14375"/>
                  </a:lnTo>
                  <a:lnTo>
                    <a:pt x="31156" y="14354"/>
                  </a:lnTo>
                  <a:lnTo>
                    <a:pt x="31135" y="14250"/>
                  </a:lnTo>
                  <a:lnTo>
                    <a:pt x="31198" y="14208"/>
                  </a:lnTo>
                  <a:lnTo>
                    <a:pt x="31261" y="14208"/>
                  </a:lnTo>
                  <a:lnTo>
                    <a:pt x="31177" y="14061"/>
                  </a:lnTo>
                  <a:lnTo>
                    <a:pt x="31177" y="13998"/>
                  </a:lnTo>
                  <a:lnTo>
                    <a:pt x="31302" y="13957"/>
                  </a:lnTo>
                  <a:lnTo>
                    <a:pt x="31240" y="13936"/>
                  </a:lnTo>
                  <a:lnTo>
                    <a:pt x="31093" y="13957"/>
                  </a:lnTo>
                  <a:lnTo>
                    <a:pt x="30947" y="13957"/>
                  </a:lnTo>
                  <a:lnTo>
                    <a:pt x="30947" y="13915"/>
                  </a:lnTo>
                  <a:lnTo>
                    <a:pt x="30800" y="13915"/>
                  </a:lnTo>
                  <a:lnTo>
                    <a:pt x="30758" y="13957"/>
                  </a:lnTo>
                  <a:lnTo>
                    <a:pt x="30403" y="13998"/>
                  </a:lnTo>
                  <a:lnTo>
                    <a:pt x="30319" y="13915"/>
                  </a:lnTo>
                  <a:lnTo>
                    <a:pt x="30256" y="13894"/>
                  </a:lnTo>
                  <a:lnTo>
                    <a:pt x="30193" y="13789"/>
                  </a:lnTo>
                  <a:lnTo>
                    <a:pt x="30131" y="13747"/>
                  </a:lnTo>
                  <a:lnTo>
                    <a:pt x="30089" y="13706"/>
                  </a:lnTo>
                  <a:lnTo>
                    <a:pt x="29817" y="13831"/>
                  </a:lnTo>
                  <a:lnTo>
                    <a:pt x="29691" y="13831"/>
                  </a:lnTo>
                  <a:lnTo>
                    <a:pt x="29733" y="13894"/>
                  </a:lnTo>
                  <a:lnTo>
                    <a:pt x="29733" y="13998"/>
                  </a:lnTo>
                  <a:lnTo>
                    <a:pt x="29670" y="14040"/>
                  </a:lnTo>
                  <a:lnTo>
                    <a:pt x="29503" y="14103"/>
                  </a:lnTo>
                  <a:lnTo>
                    <a:pt x="29524" y="14124"/>
                  </a:lnTo>
                  <a:lnTo>
                    <a:pt x="29587" y="14208"/>
                  </a:lnTo>
                  <a:lnTo>
                    <a:pt x="29524" y="14312"/>
                  </a:lnTo>
                  <a:lnTo>
                    <a:pt x="29482" y="14354"/>
                  </a:lnTo>
                  <a:lnTo>
                    <a:pt x="29357" y="14312"/>
                  </a:lnTo>
                  <a:lnTo>
                    <a:pt x="29231" y="14375"/>
                  </a:lnTo>
                  <a:lnTo>
                    <a:pt x="29085" y="14354"/>
                  </a:lnTo>
                  <a:lnTo>
                    <a:pt x="28938" y="14061"/>
                  </a:lnTo>
                  <a:lnTo>
                    <a:pt x="28938" y="13915"/>
                  </a:lnTo>
                  <a:lnTo>
                    <a:pt x="28896" y="13810"/>
                  </a:lnTo>
                  <a:lnTo>
                    <a:pt x="28750" y="13810"/>
                  </a:lnTo>
                  <a:lnTo>
                    <a:pt x="28687" y="13831"/>
                  </a:lnTo>
                  <a:lnTo>
                    <a:pt x="28687" y="13789"/>
                  </a:lnTo>
                  <a:lnTo>
                    <a:pt x="28624" y="13789"/>
                  </a:lnTo>
                  <a:lnTo>
                    <a:pt x="28561" y="13852"/>
                  </a:lnTo>
                  <a:lnTo>
                    <a:pt x="28540" y="13789"/>
                  </a:lnTo>
                  <a:lnTo>
                    <a:pt x="28540" y="13831"/>
                  </a:lnTo>
                  <a:lnTo>
                    <a:pt x="28436" y="13706"/>
                  </a:lnTo>
                  <a:lnTo>
                    <a:pt x="28436" y="13622"/>
                  </a:lnTo>
                  <a:lnTo>
                    <a:pt x="28227" y="13496"/>
                  </a:lnTo>
                  <a:lnTo>
                    <a:pt x="28122" y="13413"/>
                  </a:lnTo>
                  <a:lnTo>
                    <a:pt x="28101" y="13287"/>
                  </a:lnTo>
                  <a:lnTo>
                    <a:pt x="28038" y="13162"/>
                  </a:lnTo>
                  <a:lnTo>
                    <a:pt x="28101" y="13099"/>
                  </a:lnTo>
                  <a:lnTo>
                    <a:pt x="28101" y="13057"/>
                  </a:lnTo>
                  <a:lnTo>
                    <a:pt x="28101" y="12994"/>
                  </a:lnTo>
                  <a:lnTo>
                    <a:pt x="28122" y="12869"/>
                  </a:lnTo>
                  <a:lnTo>
                    <a:pt x="28164" y="12806"/>
                  </a:lnTo>
                  <a:lnTo>
                    <a:pt x="28185" y="12764"/>
                  </a:lnTo>
                  <a:lnTo>
                    <a:pt x="28415" y="12848"/>
                  </a:lnTo>
                  <a:lnTo>
                    <a:pt x="28750" y="12848"/>
                  </a:lnTo>
                  <a:lnTo>
                    <a:pt x="28792" y="12701"/>
                  </a:lnTo>
                  <a:lnTo>
                    <a:pt x="28771" y="12659"/>
                  </a:lnTo>
                  <a:lnTo>
                    <a:pt x="28854" y="12659"/>
                  </a:lnTo>
                  <a:lnTo>
                    <a:pt x="28833" y="12492"/>
                  </a:lnTo>
                  <a:lnTo>
                    <a:pt x="28792" y="12471"/>
                  </a:lnTo>
                  <a:lnTo>
                    <a:pt x="28854" y="12429"/>
                  </a:lnTo>
                  <a:lnTo>
                    <a:pt x="28896" y="12136"/>
                  </a:lnTo>
                  <a:lnTo>
                    <a:pt x="29105" y="12011"/>
                  </a:lnTo>
                  <a:lnTo>
                    <a:pt x="29210" y="12011"/>
                  </a:lnTo>
                  <a:lnTo>
                    <a:pt x="29315" y="11843"/>
                  </a:lnTo>
                  <a:lnTo>
                    <a:pt x="29377" y="11843"/>
                  </a:lnTo>
                  <a:lnTo>
                    <a:pt x="29398" y="11613"/>
                  </a:lnTo>
                  <a:lnTo>
                    <a:pt x="29503" y="11488"/>
                  </a:lnTo>
                  <a:lnTo>
                    <a:pt x="29524" y="11341"/>
                  </a:lnTo>
                  <a:lnTo>
                    <a:pt x="29587" y="11320"/>
                  </a:lnTo>
                  <a:lnTo>
                    <a:pt x="29670" y="11195"/>
                  </a:lnTo>
                  <a:lnTo>
                    <a:pt x="29796" y="11195"/>
                  </a:lnTo>
                  <a:lnTo>
                    <a:pt x="29838" y="11216"/>
                  </a:lnTo>
                  <a:lnTo>
                    <a:pt x="29942" y="11216"/>
                  </a:lnTo>
                  <a:lnTo>
                    <a:pt x="29984" y="11111"/>
                  </a:lnTo>
                  <a:lnTo>
                    <a:pt x="30152" y="11320"/>
                  </a:lnTo>
                  <a:lnTo>
                    <a:pt x="30424" y="11488"/>
                  </a:lnTo>
                  <a:lnTo>
                    <a:pt x="30424" y="11592"/>
                  </a:lnTo>
                  <a:lnTo>
                    <a:pt x="30361" y="11613"/>
                  </a:lnTo>
                  <a:lnTo>
                    <a:pt x="30340" y="11697"/>
                  </a:lnTo>
                  <a:lnTo>
                    <a:pt x="30214" y="11843"/>
                  </a:lnTo>
                  <a:lnTo>
                    <a:pt x="30193" y="12011"/>
                  </a:lnTo>
                  <a:lnTo>
                    <a:pt x="30089" y="12011"/>
                  </a:lnTo>
                  <a:lnTo>
                    <a:pt x="30110" y="12032"/>
                  </a:lnTo>
                  <a:lnTo>
                    <a:pt x="30089" y="12178"/>
                  </a:lnTo>
                  <a:lnTo>
                    <a:pt x="30214" y="12325"/>
                  </a:lnTo>
                  <a:lnTo>
                    <a:pt x="30193" y="12387"/>
                  </a:lnTo>
                  <a:lnTo>
                    <a:pt x="30131" y="12429"/>
                  </a:lnTo>
                  <a:lnTo>
                    <a:pt x="30131" y="12471"/>
                  </a:lnTo>
                  <a:lnTo>
                    <a:pt x="30193" y="12555"/>
                  </a:lnTo>
                  <a:lnTo>
                    <a:pt x="30319" y="12492"/>
                  </a:lnTo>
                  <a:lnTo>
                    <a:pt x="30445" y="12387"/>
                  </a:lnTo>
                  <a:lnTo>
                    <a:pt x="30403" y="12492"/>
                  </a:lnTo>
                  <a:lnTo>
                    <a:pt x="30277" y="12576"/>
                  </a:lnTo>
                  <a:lnTo>
                    <a:pt x="30319" y="12638"/>
                  </a:lnTo>
                  <a:lnTo>
                    <a:pt x="30361" y="12659"/>
                  </a:lnTo>
                  <a:lnTo>
                    <a:pt x="30361" y="12701"/>
                  </a:lnTo>
                  <a:lnTo>
                    <a:pt x="30319" y="12743"/>
                  </a:lnTo>
                  <a:lnTo>
                    <a:pt x="30193" y="12743"/>
                  </a:lnTo>
                  <a:lnTo>
                    <a:pt x="30131" y="12806"/>
                  </a:lnTo>
                  <a:lnTo>
                    <a:pt x="30026" y="12806"/>
                  </a:lnTo>
                  <a:lnTo>
                    <a:pt x="29984" y="12890"/>
                  </a:lnTo>
                  <a:lnTo>
                    <a:pt x="30089" y="12973"/>
                  </a:lnTo>
                  <a:lnTo>
                    <a:pt x="30089" y="13057"/>
                  </a:lnTo>
                  <a:lnTo>
                    <a:pt x="30152" y="13057"/>
                  </a:lnTo>
                  <a:lnTo>
                    <a:pt x="30235" y="12952"/>
                  </a:lnTo>
                  <a:lnTo>
                    <a:pt x="30277" y="12952"/>
                  </a:lnTo>
                  <a:lnTo>
                    <a:pt x="30403" y="12806"/>
                  </a:lnTo>
                  <a:lnTo>
                    <a:pt x="30549" y="12743"/>
                  </a:lnTo>
                  <a:lnTo>
                    <a:pt x="30570" y="12701"/>
                  </a:lnTo>
                  <a:lnTo>
                    <a:pt x="30528" y="12576"/>
                  </a:lnTo>
                  <a:lnTo>
                    <a:pt x="30654" y="12471"/>
                  </a:lnTo>
                  <a:lnTo>
                    <a:pt x="30926" y="12283"/>
                  </a:lnTo>
                  <a:lnTo>
                    <a:pt x="30989" y="12283"/>
                  </a:lnTo>
                  <a:lnTo>
                    <a:pt x="31030" y="12178"/>
                  </a:lnTo>
                  <a:lnTo>
                    <a:pt x="31156" y="12178"/>
                  </a:lnTo>
                  <a:lnTo>
                    <a:pt x="31302" y="12053"/>
                  </a:lnTo>
                  <a:lnTo>
                    <a:pt x="31365" y="12115"/>
                  </a:lnTo>
                  <a:lnTo>
                    <a:pt x="31407" y="12115"/>
                  </a:lnTo>
                  <a:lnTo>
                    <a:pt x="31553" y="12073"/>
                  </a:lnTo>
                  <a:lnTo>
                    <a:pt x="31721" y="11906"/>
                  </a:lnTo>
                  <a:lnTo>
                    <a:pt x="31763" y="12011"/>
                  </a:lnTo>
                  <a:lnTo>
                    <a:pt x="31763" y="11655"/>
                  </a:lnTo>
                  <a:lnTo>
                    <a:pt x="31909" y="11550"/>
                  </a:lnTo>
                  <a:lnTo>
                    <a:pt x="31972" y="11404"/>
                  </a:lnTo>
                  <a:lnTo>
                    <a:pt x="31972" y="11299"/>
                  </a:lnTo>
                  <a:lnTo>
                    <a:pt x="32118" y="11195"/>
                  </a:lnTo>
                  <a:lnTo>
                    <a:pt x="32223" y="11006"/>
                  </a:lnTo>
                  <a:lnTo>
                    <a:pt x="32328" y="10965"/>
                  </a:lnTo>
                  <a:lnTo>
                    <a:pt x="32411" y="10672"/>
                  </a:lnTo>
                  <a:lnTo>
                    <a:pt x="32453" y="10567"/>
                  </a:lnTo>
                  <a:lnTo>
                    <a:pt x="32453" y="10504"/>
                  </a:lnTo>
                  <a:lnTo>
                    <a:pt x="32453" y="10337"/>
                  </a:lnTo>
                  <a:lnTo>
                    <a:pt x="32600" y="10190"/>
                  </a:lnTo>
                  <a:lnTo>
                    <a:pt x="32704" y="10358"/>
                  </a:lnTo>
                  <a:lnTo>
                    <a:pt x="32767" y="10400"/>
                  </a:lnTo>
                  <a:lnTo>
                    <a:pt x="32851" y="10483"/>
                  </a:lnTo>
                  <a:lnTo>
                    <a:pt x="32955" y="10441"/>
                  </a:lnTo>
                  <a:lnTo>
                    <a:pt x="33081" y="10483"/>
                  </a:lnTo>
                  <a:lnTo>
                    <a:pt x="33332" y="10462"/>
                  </a:lnTo>
                  <a:lnTo>
                    <a:pt x="33478" y="10483"/>
                  </a:lnTo>
                  <a:lnTo>
                    <a:pt x="33541" y="10337"/>
                  </a:lnTo>
                  <a:lnTo>
                    <a:pt x="33541" y="10253"/>
                  </a:lnTo>
                  <a:lnTo>
                    <a:pt x="33395" y="10128"/>
                  </a:lnTo>
                  <a:lnTo>
                    <a:pt x="33290" y="10044"/>
                  </a:lnTo>
                  <a:lnTo>
                    <a:pt x="33374" y="9960"/>
                  </a:lnTo>
                  <a:lnTo>
                    <a:pt x="33499" y="9960"/>
                  </a:lnTo>
                  <a:lnTo>
                    <a:pt x="33750" y="9772"/>
                  </a:lnTo>
                  <a:lnTo>
                    <a:pt x="33750" y="9646"/>
                  </a:lnTo>
                  <a:lnTo>
                    <a:pt x="33855" y="9521"/>
                  </a:lnTo>
                  <a:lnTo>
                    <a:pt x="33939" y="9521"/>
                  </a:lnTo>
                  <a:lnTo>
                    <a:pt x="34002" y="9416"/>
                  </a:lnTo>
                  <a:lnTo>
                    <a:pt x="33939" y="9312"/>
                  </a:lnTo>
                  <a:lnTo>
                    <a:pt x="33939" y="9207"/>
                  </a:lnTo>
                  <a:lnTo>
                    <a:pt x="33939" y="9081"/>
                  </a:lnTo>
                  <a:lnTo>
                    <a:pt x="34022" y="9040"/>
                  </a:lnTo>
                  <a:lnTo>
                    <a:pt x="34127" y="9123"/>
                  </a:lnTo>
                  <a:lnTo>
                    <a:pt x="34127" y="9228"/>
                  </a:lnTo>
                  <a:lnTo>
                    <a:pt x="34190" y="9312"/>
                  </a:lnTo>
                  <a:lnTo>
                    <a:pt x="34378" y="9332"/>
                  </a:lnTo>
                  <a:lnTo>
                    <a:pt x="34399" y="9395"/>
                  </a:lnTo>
                  <a:lnTo>
                    <a:pt x="34399" y="9353"/>
                  </a:lnTo>
                  <a:lnTo>
                    <a:pt x="34399" y="9291"/>
                  </a:lnTo>
                  <a:lnTo>
                    <a:pt x="34378" y="9249"/>
                  </a:lnTo>
                  <a:lnTo>
                    <a:pt x="34336" y="9144"/>
                  </a:lnTo>
                  <a:lnTo>
                    <a:pt x="34336" y="9123"/>
                  </a:lnTo>
                  <a:lnTo>
                    <a:pt x="34420" y="9081"/>
                  </a:lnTo>
                  <a:lnTo>
                    <a:pt x="34546" y="9102"/>
                  </a:lnTo>
                  <a:lnTo>
                    <a:pt x="34608" y="9081"/>
                  </a:lnTo>
                  <a:lnTo>
                    <a:pt x="34608" y="8977"/>
                  </a:lnTo>
                  <a:lnTo>
                    <a:pt x="34587" y="8914"/>
                  </a:lnTo>
                  <a:lnTo>
                    <a:pt x="34587" y="8830"/>
                  </a:lnTo>
                  <a:lnTo>
                    <a:pt x="34608" y="8788"/>
                  </a:lnTo>
                  <a:lnTo>
                    <a:pt x="34608" y="8684"/>
                  </a:lnTo>
                  <a:lnTo>
                    <a:pt x="34608" y="8579"/>
                  </a:lnTo>
                  <a:lnTo>
                    <a:pt x="34525" y="8516"/>
                  </a:lnTo>
                  <a:lnTo>
                    <a:pt x="34525" y="8349"/>
                  </a:lnTo>
                  <a:lnTo>
                    <a:pt x="34525" y="8244"/>
                  </a:lnTo>
                  <a:lnTo>
                    <a:pt x="34504" y="8098"/>
                  </a:lnTo>
                  <a:lnTo>
                    <a:pt x="34504" y="7993"/>
                  </a:lnTo>
                  <a:lnTo>
                    <a:pt x="34441" y="7889"/>
                  </a:lnTo>
                  <a:lnTo>
                    <a:pt x="34399" y="7826"/>
                  </a:lnTo>
                  <a:lnTo>
                    <a:pt x="34378" y="7742"/>
                  </a:lnTo>
                  <a:lnTo>
                    <a:pt x="34232" y="7533"/>
                  </a:lnTo>
                  <a:lnTo>
                    <a:pt x="34190" y="7428"/>
                  </a:lnTo>
                  <a:lnTo>
                    <a:pt x="34211" y="7366"/>
                  </a:lnTo>
                  <a:lnTo>
                    <a:pt x="34294" y="7345"/>
                  </a:lnTo>
                  <a:lnTo>
                    <a:pt x="34378" y="7324"/>
                  </a:lnTo>
                  <a:lnTo>
                    <a:pt x="34420" y="7261"/>
                  </a:lnTo>
                  <a:lnTo>
                    <a:pt x="34441" y="7198"/>
                  </a:lnTo>
                  <a:lnTo>
                    <a:pt x="34546" y="7010"/>
                  </a:lnTo>
                  <a:lnTo>
                    <a:pt x="34587" y="7010"/>
                  </a:lnTo>
                  <a:lnTo>
                    <a:pt x="34692" y="7031"/>
                  </a:lnTo>
                  <a:lnTo>
                    <a:pt x="34755" y="7052"/>
                  </a:lnTo>
                  <a:lnTo>
                    <a:pt x="35131" y="7115"/>
                  </a:lnTo>
                  <a:lnTo>
                    <a:pt x="35173" y="7136"/>
                  </a:lnTo>
                  <a:lnTo>
                    <a:pt x="35236" y="7136"/>
                  </a:lnTo>
                  <a:lnTo>
                    <a:pt x="35278" y="7094"/>
                  </a:lnTo>
                  <a:lnTo>
                    <a:pt x="35257" y="7010"/>
                  </a:lnTo>
                  <a:lnTo>
                    <a:pt x="35236" y="6926"/>
                  </a:lnTo>
                  <a:lnTo>
                    <a:pt x="35236" y="6884"/>
                  </a:lnTo>
                  <a:lnTo>
                    <a:pt x="35257" y="6822"/>
                  </a:lnTo>
                  <a:lnTo>
                    <a:pt x="35236" y="6780"/>
                  </a:lnTo>
                  <a:lnTo>
                    <a:pt x="35215" y="6696"/>
                  </a:lnTo>
                  <a:lnTo>
                    <a:pt x="35257" y="6591"/>
                  </a:lnTo>
                  <a:lnTo>
                    <a:pt x="35320" y="6571"/>
                  </a:lnTo>
                  <a:lnTo>
                    <a:pt x="35278" y="6466"/>
                  </a:lnTo>
                  <a:lnTo>
                    <a:pt x="35257" y="6403"/>
                  </a:lnTo>
                  <a:lnTo>
                    <a:pt x="35257" y="6382"/>
                  </a:lnTo>
                  <a:lnTo>
                    <a:pt x="35341" y="6319"/>
                  </a:lnTo>
                  <a:lnTo>
                    <a:pt x="35320" y="6278"/>
                  </a:lnTo>
                  <a:lnTo>
                    <a:pt x="35320" y="6215"/>
                  </a:lnTo>
                  <a:lnTo>
                    <a:pt x="35278" y="6152"/>
                  </a:lnTo>
                  <a:lnTo>
                    <a:pt x="35320" y="6068"/>
                  </a:lnTo>
                  <a:lnTo>
                    <a:pt x="35362" y="6047"/>
                  </a:lnTo>
                  <a:lnTo>
                    <a:pt x="35362" y="5985"/>
                  </a:lnTo>
                  <a:lnTo>
                    <a:pt x="35341" y="5943"/>
                  </a:lnTo>
                  <a:lnTo>
                    <a:pt x="35278" y="5796"/>
                  </a:lnTo>
                  <a:lnTo>
                    <a:pt x="35278" y="5671"/>
                  </a:lnTo>
                  <a:lnTo>
                    <a:pt x="35320" y="5650"/>
                  </a:lnTo>
                  <a:lnTo>
                    <a:pt x="35341" y="5629"/>
                  </a:lnTo>
                  <a:lnTo>
                    <a:pt x="35341" y="5587"/>
                  </a:lnTo>
                  <a:lnTo>
                    <a:pt x="35320" y="5545"/>
                  </a:lnTo>
                  <a:lnTo>
                    <a:pt x="35320" y="5483"/>
                  </a:lnTo>
                  <a:lnTo>
                    <a:pt x="35257" y="5441"/>
                  </a:lnTo>
                  <a:lnTo>
                    <a:pt x="35236" y="5378"/>
                  </a:lnTo>
                  <a:lnTo>
                    <a:pt x="35257" y="5315"/>
                  </a:lnTo>
                  <a:lnTo>
                    <a:pt x="35257" y="5231"/>
                  </a:lnTo>
                  <a:lnTo>
                    <a:pt x="35236" y="5169"/>
                  </a:lnTo>
                  <a:lnTo>
                    <a:pt x="35173" y="5127"/>
                  </a:lnTo>
                  <a:lnTo>
                    <a:pt x="35173" y="5064"/>
                  </a:lnTo>
                  <a:lnTo>
                    <a:pt x="35257" y="4959"/>
                  </a:lnTo>
                  <a:lnTo>
                    <a:pt x="35362" y="4939"/>
                  </a:lnTo>
                  <a:lnTo>
                    <a:pt x="35383" y="4918"/>
                  </a:lnTo>
                  <a:lnTo>
                    <a:pt x="35383" y="4813"/>
                  </a:lnTo>
                  <a:lnTo>
                    <a:pt x="35424" y="4687"/>
                  </a:lnTo>
                  <a:lnTo>
                    <a:pt x="35341" y="4646"/>
                  </a:lnTo>
                  <a:lnTo>
                    <a:pt x="35278" y="4583"/>
                  </a:lnTo>
                  <a:lnTo>
                    <a:pt x="35257" y="4499"/>
                  </a:lnTo>
                  <a:lnTo>
                    <a:pt x="35173" y="4395"/>
                  </a:lnTo>
                  <a:lnTo>
                    <a:pt x="35152" y="4332"/>
                  </a:lnTo>
                  <a:lnTo>
                    <a:pt x="35215" y="4290"/>
                  </a:lnTo>
                  <a:lnTo>
                    <a:pt x="35152" y="4185"/>
                  </a:lnTo>
                  <a:lnTo>
                    <a:pt x="35131" y="4123"/>
                  </a:lnTo>
                  <a:lnTo>
                    <a:pt x="35027" y="4102"/>
                  </a:lnTo>
                  <a:lnTo>
                    <a:pt x="34964" y="4081"/>
                  </a:lnTo>
                  <a:lnTo>
                    <a:pt x="34859" y="4018"/>
                  </a:lnTo>
                  <a:lnTo>
                    <a:pt x="34797" y="4081"/>
                  </a:lnTo>
                  <a:lnTo>
                    <a:pt x="34713" y="4102"/>
                  </a:lnTo>
                  <a:lnTo>
                    <a:pt x="34629" y="4143"/>
                  </a:lnTo>
                  <a:lnTo>
                    <a:pt x="34629" y="4227"/>
                  </a:lnTo>
                  <a:lnTo>
                    <a:pt x="34587" y="4269"/>
                  </a:lnTo>
                  <a:lnTo>
                    <a:pt x="34504" y="4269"/>
                  </a:lnTo>
                  <a:lnTo>
                    <a:pt x="34483" y="4395"/>
                  </a:lnTo>
                  <a:lnTo>
                    <a:pt x="34294" y="4395"/>
                  </a:lnTo>
                  <a:lnTo>
                    <a:pt x="34232" y="4478"/>
                  </a:lnTo>
                  <a:lnTo>
                    <a:pt x="34232" y="4583"/>
                  </a:lnTo>
                  <a:lnTo>
                    <a:pt x="34190" y="4604"/>
                  </a:lnTo>
                  <a:lnTo>
                    <a:pt x="34169" y="4729"/>
                  </a:lnTo>
                  <a:lnTo>
                    <a:pt x="34169" y="4792"/>
                  </a:lnTo>
                  <a:lnTo>
                    <a:pt x="34106" y="4813"/>
                  </a:lnTo>
                  <a:lnTo>
                    <a:pt x="34022" y="4897"/>
                  </a:lnTo>
                  <a:lnTo>
                    <a:pt x="33876" y="4918"/>
                  </a:lnTo>
                  <a:lnTo>
                    <a:pt x="33709" y="4918"/>
                  </a:lnTo>
                  <a:lnTo>
                    <a:pt x="33667" y="4939"/>
                  </a:lnTo>
                  <a:lnTo>
                    <a:pt x="33604" y="5001"/>
                  </a:lnTo>
                  <a:lnTo>
                    <a:pt x="33583" y="4918"/>
                  </a:lnTo>
                  <a:lnTo>
                    <a:pt x="33541" y="4834"/>
                  </a:lnTo>
                  <a:lnTo>
                    <a:pt x="33458" y="4834"/>
                  </a:lnTo>
                  <a:lnTo>
                    <a:pt x="33374" y="4897"/>
                  </a:lnTo>
                  <a:lnTo>
                    <a:pt x="33269" y="4918"/>
                  </a:lnTo>
                  <a:lnTo>
                    <a:pt x="33248" y="4834"/>
                  </a:lnTo>
                  <a:lnTo>
                    <a:pt x="33165" y="4729"/>
                  </a:lnTo>
                  <a:lnTo>
                    <a:pt x="33123" y="4708"/>
                  </a:lnTo>
                  <a:lnTo>
                    <a:pt x="32976" y="4583"/>
                  </a:lnTo>
                  <a:lnTo>
                    <a:pt x="32976" y="4478"/>
                  </a:lnTo>
                  <a:lnTo>
                    <a:pt x="33018" y="4436"/>
                  </a:lnTo>
                  <a:lnTo>
                    <a:pt x="33039" y="4332"/>
                  </a:lnTo>
                  <a:lnTo>
                    <a:pt x="33018" y="4227"/>
                  </a:lnTo>
                  <a:lnTo>
                    <a:pt x="32976" y="4123"/>
                  </a:lnTo>
                  <a:lnTo>
                    <a:pt x="32872" y="4143"/>
                  </a:lnTo>
                  <a:lnTo>
                    <a:pt x="32872" y="4081"/>
                  </a:lnTo>
                  <a:lnTo>
                    <a:pt x="32872" y="3997"/>
                  </a:lnTo>
                  <a:lnTo>
                    <a:pt x="32934" y="3913"/>
                  </a:lnTo>
                  <a:lnTo>
                    <a:pt x="32934" y="3871"/>
                  </a:lnTo>
                  <a:lnTo>
                    <a:pt x="32872" y="3851"/>
                  </a:lnTo>
                  <a:lnTo>
                    <a:pt x="32851" y="3851"/>
                  </a:lnTo>
                  <a:lnTo>
                    <a:pt x="32767" y="3892"/>
                  </a:lnTo>
                  <a:lnTo>
                    <a:pt x="32725" y="3892"/>
                  </a:lnTo>
                  <a:lnTo>
                    <a:pt x="32642" y="3913"/>
                  </a:lnTo>
                  <a:lnTo>
                    <a:pt x="32558" y="3892"/>
                  </a:lnTo>
                  <a:lnTo>
                    <a:pt x="32516" y="3871"/>
                  </a:lnTo>
                  <a:lnTo>
                    <a:pt x="32453" y="3851"/>
                  </a:lnTo>
                  <a:lnTo>
                    <a:pt x="32432" y="3809"/>
                  </a:lnTo>
                  <a:lnTo>
                    <a:pt x="32307" y="3767"/>
                  </a:lnTo>
                  <a:lnTo>
                    <a:pt x="32307" y="3704"/>
                  </a:lnTo>
                  <a:lnTo>
                    <a:pt x="32244" y="3662"/>
                  </a:lnTo>
                  <a:lnTo>
                    <a:pt x="32202" y="3662"/>
                  </a:lnTo>
                  <a:lnTo>
                    <a:pt x="32139" y="3599"/>
                  </a:lnTo>
                  <a:lnTo>
                    <a:pt x="32139" y="3558"/>
                  </a:lnTo>
                  <a:lnTo>
                    <a:pt x="32077" y="3558"/>
                  </a:lnTo>
                  <a:lnTo>
                    <a:pt x="32014" y="3474"/>
                  </a:lnTo>
                  <a:lnTo>
                    <a:pt x="31993" y="3432"/>
                  </a:lnTo>
                  <a:lnTo>
                    <a:pt x="31930" y="3369"/>
                  </a:lnTo>
                  <a:lnTo>
                    <a:pt x="31888" y="3369"/>
                  </a:lnTo>
                  <a:lnTo>
                    <a:pt x="31846" y="3453"/>
                  </a:lnTo>
                  <a:lnTo>
                    <a:pt x="31805" y="3432"/>
                  </a:lnTo>
                  <a:lnTo>
                    <a:pt x="31763" y="3453"/>
                  </a:lnTo>
                  <a:lnTo>
                    <a:pt x="31721" y="3495"/>
                  </a:lnTo>
                  <a:lnTo>
                    <a:pt x="31658" y="3453"/>
                  </a:lnTo>
                  <a:lnTo>
                    <a:pt x="31616" y="3390"/>
                  </a:lnTo>
                  <a:lnTo>
                    <a:pt x="31574" y="3369"/>
                  </a:lnTo>
                  <a:lnTo>
                    <a:pt x="31449" y="3369"/>
                  </a:lnTo>
                  <a:lnTo>
                    <a:pt x="31386" y="3348"/>
                  </a:lnTo>
                  <a:lnTo>
                    <a:pt x="31449" y="3286"/>
                  </a:lnTo>
                  <a:lnTo>
                    <a:pt x="31449" y="3244"/>
                  </a:lnTo>
                  <a:lnTo>
                    <a:pt x="31365" y="3244"/>
                  </a:lnTo>
                  <a:lnTo>
                    <a:pt x="31302" y="3286"/>
                  </a:lnTo>
                  <a:lnTo>
                    <a:pt x="31177" y="3286"/>
                  </a:lnTo>
                  <a:lnTo>
                    <a:pt x="31135" y="3327"/>
                  </a:lnTo>
                  <a:lnTo>
                    <a:pt x="31072" y="3265"/>
                  </a:lnTo>
                  <a:lnTo>
                    <a:pt x="31030" y="3286"/>
                  </a:lnTo>
                  <a:lnTo>
                    <a:pt x="30947" y="3286"/>
                  </a:lnTo>
                  <a:lnTo>
                    <a:pt x="30884" y="3223"/>
                  </a:lnTo>
                  <a:lnTo>
                    <a:pt x="30800" y="3181"/>
                  </a:lnTo>
                  <a:lnTo>
                    <a:pt x="30675" y="3055"/>
                  </a:lnTo>
                  <a:lnTo>
                    <a:pt x="30633" y="2930"/>
                  </a:lnTo>
                  <a:lnTo>
                    <a:pt x="30633" y="2846"/>
                  </a:lnTo>
                  <a:lnTo>
                    <a:pt x="30612" y="2742"/>
                  </a:lnTo>
                  <a:lnTo>
                    <a:pt x="30549" y="2742"/>
                  </a:lnTo>
                  <a:lnTo>
                    <a:pt x="30465" y="2721"/>
                  </a:lnTo>
                  <a:lnTo>
                    <a:pt x="30465" y="2574"/>
                  </a:lnTo>
                  <a:lnTo>
                    <a:pt x="30424" y="2553"/>
                  </a:lnTo>
                  <a:lnTo>
                    <a:pt x="30403" y="2428"/>
                  </a:lnTo>
                  <a:lnTo>
                    <a:pt x="30361" y="2323"/>
                  </a:lnTo>
                  <a:lnTo>
                    <a:pt x="30152" y="2198"/>
                  </a:lnTo>
                  <a:lnTo>
                    <a:pt x="30047" y="2030"/>
                  </a:lnTo>
                  <a:lnTo>
                    <a:pt x="30026" y="1988"/>
                  </a:lnTo>
                  <a:lnTo>
                    <a:pt x="29984" y="1884"/>
                  </a:lnTo>
                  <a:lnTo>
                    <a:pt x="29921" y="1905"/>
                  </a:lnTo>
                  <a:lnTo>
                    <a:pt x="29901" y="1905"/>
                  </a:lnTo>
                  <a:lnTo>
                    <a:pt x="29901" y="1821"/>
                  </a:lnTo>
                  <a:lnTo>
                    <a:pt x="29921" y="1779"/>
                  </a:lnTo>
                  <a:lnTo>
                    <a:pt x="29838" y="1716"/>
                  </a:lnTo>
                  <a:lnTo>
                    <a:pt x="29796" y="1612"/>
                  </a:lnTo>
                  <a:lnTo>
                    <a:pt x="29733" y="1591"/>
                  </a:lnTo>
                  <a:lnTo>
                    <a:pt x="29712" y="1507"/>
                  </a:lnTo>
                  <a:lnTo>
                    <a:pt x="29670" y="1444"/>
                  </a:lnTo>
                  <a:lnTo>
                    <a:pt x="29608" y="1340"/>
                  </a:lnTo>
                  <a:lnTo>
                    <a:pt x="29482" y="1256"/>
                  </a:lnTo>
                  <a:lnTo>
                    <a:pt x="29461" y="1193"/>
                  </a:lnTo>
                  <a:lnTo>
                    <a:pt x="29503" y="1130"/>
                  </a:lnTo>
                  <a:lnTo>
                    <a:pt x="29482" y="1047"/>
                  </a:lnTo>
                  <a:lnTo>
                    <a:pt x="29315" y="1047"/>
                  </a:lnTo>
                  <a:lnTo>
                    <a:pt x="29294" y="984"/>
                  </a:lnTo>
                  <a:lnTo>
                    <a:pt x="29294" y="942"/>
                  </a:lnTo>
                  <a:lnTo>
                    <a:pt x="29273" y="879"/>
                  </a:lnTo>
                  <a:lnTo>
                    <a:pt x="29273" y="817"/>
                  </a:lnTo>
                  <a:lnTo>
                    <a:pt x="29231" y="733"/>
                  </a:lnTo>
                  <a:lnTo>
                    <a:pt x="29168" y="712"/>
                  </a:lnTo>
                  <a:lnTo>
                    <a:pt x="29168" y="649"/>
                  </a:lnTo>
                  <a:lnTo>
                    <a:pt x="29147" y="607"/>
                  </a:lnTo>
                  <a:lnTo>
                    <a:pt x="29085" y="628"/>
                  </a:lnTo>
                  <a:lnTo>
                    <a:pt x="28980" y="607"/>
                  </a:lnTo>
                  <a:lnTo>
                    <a:pt x="28959" y="545"/>
                  </a:lnTo>
                  <a:lnTo>
                    <a:pt x="28980" y="482"/>
                  </a:lnTo>
                  <a:lnTo>
                    <a:pt x="28959" y="440"/>
                  </a:lnTo>
                  <a:lnTo>
                    <a:pt x="28875" y="419"/>
                  </a:lnTo>
                  <a:lnTo>
                    <a:pt x="28833" y="461"/>
                  </a:lnTo>
                  <a:lnTo>
                    <a:pt x="28792" y="419"/>
                  </a:lnTo>
                  <a:lnTo>
                    <a:pt x="28750" y="419"/>
                  </a:lnTo>
                  <a:lnTo>
                    <a:pt x="28708" y="356"/>
                  </a:lnTo>
                  <a:lnTo>
                    <a:pt x="28750" y="293"/>
                  </a:lnTo>
                  <a:lnTo>
                    <a:pt x="28687" y="231"/>
                  </a:lnTo>
                  <a:lnTo>
                    <a:pt x="28624" y="210"/>
                  </a:lnTo>
                  <a:lnTo>
                    <a:pt x="28561" y="231"/>
                  </a:lnTo>
                  <a:lnTo>
                    <a:pt x="28520" y="147"/>
                  </a:lnTo>
                  <a:lnTo>
                    <a:pt x="28457" y="189"/>
                  </a:lnTo>
                  <a:lnTo>
                    <a:pt x="28373" y="189"/>
                  </a:lnTo>
                  <a:lnTo>
                    <a:pt x="28331" y="147"/>
                  </a:lnTo>
                  <a:lnTo>
                    <a:pt x="28268" y="189"/>
                  </a:lnTo>
                  <a:lnTo>
                    <a:pt x="28268" y="252"/>
                  </a:lnTo>
                  <a:lnTo>
                    <a:pt x="28248" y="293"/>
                  </a:lnTo>
                  <a:lnTo>
                    <a:pt x="28143" y="231"/>
                  </a:lnTo>
                  <a:lnTo>
                    <a:pt x="28101" y="189"/>
                  </a:lnTo>
                  <a:lnTo>
                    <a:pt x="28017" y="210"/>
                  </a:lnTo>
                  <a:lnTo>
                    <a:pt x="27892" y="210"/>
                  </a:lnTo>
                  <a:lnTo>
                    <a:pt x="27892" y="189"/>
                  </a:lnTo>
                  <a:lnTo>
                    <a:pt x="27808" y="105"/>
                  </a:lnTo>
                  <a:lnTo>
                    <a:pt x="27620" y="84"/>
                  </a:lnTo>
                  <a:lnTo>
                    <a:pt x="27536" y="21"/>
                  </a:lnTo>
                  <a:lnTo>
                    <a:pt x="27432" y="21"/>
                  </a:lnTo>
                  <a:lnTo>
                    <a:pt x="2739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7" name="Google Shape;2057;p66"/>
            <p:cNvSpPr/>
            <p:nvPr/>
          </p:nvSpPr>
          <p:spPr>
            <a:xfrm>
              <a:off x="4442708" y="2990191"/>
              <a:ext cx="762" cy="967"/>
            </a:xfrm>
            <a:custGeom>
              <a:avLst/>
              <a:gdLst/>
              <a:ahLst/>
              <a:cxnLst/>
              <a:rect l="l" t="t" r="r" b="b"/>
              <a:pathLst>
                <a:path w="64" h="85" extrusionOk="0">
                  <a:moveTo>
                    <a:pt x="63" y="85"/>
                  </a:moveTo>
                  <a:lnTo>
                    <a:pt x="1" y="1"/>
                  </a:lnTo>
                  <a:lnTo>
                    <a:pt x="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8" name="Google Shape;2058;p66"/>
            <p:cNvSpPr/>
            <p:nvPr/>
          </p:nvSpPr>
          <p:spPr>
            <a:xfrm>
              <a:off x="4434742" y="2997094"/>
              <a:ext cx="1250" cy="1205"/>
            </a:xfrm>
            <a:custGeom>
              <a:avLst/>
              <a:gdLst/>
              <a:ahLst/>
              <a:cxnLst/>
              <a:rect l="l" t="t" r="r" b="b"/>
              <a:pathLst>
                <a:path w="105" h="106" extrusionOk="0">
                  <a:moveTo>
                    <a:pt x="0" y="105"/>
                  </a:moveTo>
                  <a:lnTo>
                    <a:pt x="105" y="1"/>
                  </a:lnTo>
                  <a:lnTo>
                    <a:pt x="10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59" name="Google Shape;2059;p66"/>
            <p:cNvSpPr/>
            <p:nvPr/>
          </p:nvSpPr>
          <p:spPr>
            <a:xfrm>
              <a:off x="4184339" y="2879787"/>
              <a:ext cx="2512" cy="728"/>
            </a:xfrm>
            <a:custGeom>
              <a:avLst/>
              <a:gdLst/>
              <a:ahLst/>
              <a:cxnLst/>
              <a:rect l="l" t="t" r="r" b="b"/>
              <a:pathLst>
                <a:path w="211" h="64" extrusionOk="0">
                  <a:moveTo>
                    <a:pt x="210" y="0"/>
                  </a:moveTo>
                  <a:lnTo>
                    <a:pt x="1" y="63"/>
                  </a:lnTo>
                  <a:lnTo>
                    <a:pt x="22" y="63"/>
                  </a:lnTo>
                  <a:lnTo>
                    <a:pt x="21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0" name="Google Shape;2060;p66"/>
            <p:cNvSpPr/>
            <p:nvPr/>
          </p:nvSpPr>
          <p:spPr>
            <a:xfrm>
              <a:off x="4038591" y="2720356"/>
              <a:ext cx="260870" cy="130886"/>
            </a:xfrm>
            <a:custGeom>
              <a:avLst/>
              <a:gdLst/>
              <a:ahLst/>
              <a:cxnLst/>
              <a:rect l="l" t="t" r="r" b="b"/>
              <a:pathLst>
                <a:path w="21908" h="11509" extrusionOk="0">
                  <a:moveTo>
                    <a:pt x="10860" y="0"/>
                  </a:moveTo>
                  <a:lnTo>
                    <a:pt x="10755" y="84"/>
                  </a:lnTo>
                  <a:lnTo>
                    <a:pt x="10713" y="189"/>
                  </a:lnTo>
                  <a:lnTo>
                    <a:pt x="10567" y="189"/>
                  </a:lnTo>
                  <a:lnTo>
                    <a:pt x="10483" y="252"/>
                  </a:lnTo>
                  <a:lnTo>
                    <a:pt x="10546" y="314"/>
                  </a:lnTo>
                  <a:lnTo>
                    <a:pt x="10546" y="398"/>
                  </a:lnTo>
                  <a:lnTo>
                    <a:pt x="10400" y="419"/>
                  </a:lnTo>
                  <a:lnTo>
                    <a:pt x="10337" y="419"/>
                  </a:lnTo>
                  <a:lnTo>
                    <a:pt x="10253" y="524"/>
                  </a:lnTo>
                  <a:lnTo>
                    <a:pt x="10128" y="524"/>
                  </a:lnTo>
                  <a:lnTo>
                    <a:pt x="10044" y="586"/>
                  </a:lnTo>
                  <a:lnTo>
                    <a:pt x="9981" y="586"/>
                  </a:lnTo>
                  <a:lnTo>
                    <a:pt x="9751" y="733"/>
                  </a:lnTo>
                  <a:lnTo>
                    <a:pt x="9625" y="796"/>
                  </a:lnTo>
                  <a:lnTo>
                    <a:pt x="9521" y="837"/>
                  </a:lnTo>
                  <a:lnTo>
                    <a:pt x="9437" y="837"/>
                  </a:lnTo>
                  <a:lnTo>
                    <a:pt x="9353" y="775"/>
                  </a:lnTo>
                  <a:lnTo>
                    <a:pt x="9312" y="837"/>
                  </a:lnTo>
                  <a:lnTo>
                    <a:pt x="9291" y="921"/>
                  </a:lnTo>
                  <a:lnTo>
                    <a:pt x="9144" y="921"/>
                  </a:lnTo>
                  <a:lnTo>
                    <a:pt x="9102" y="984"/>
                  </a:lnTo>
                  <a:lnTo>
                    <a:pt x="9102" y="1088"/>
                  </a:lnTo>
                  <a:lnTo>
                    <a:pt x="9040" y="1130"/>
                  </a:lnTo>
                  <a:lnTo>
                    <a:pt x="8977" y="1109"/>
                  </a:lnTo>
                  <a:lnTo>
                    <a:pt x="8893" y="1109"/>
                  </a:lnTo>
                  <a:lnTo>
                    <a:pt x="8789" y="1151"/>
                  </a:lnTo>
                  <a:lnTo>
                    <a:pt x="8663" y="1172"/>
                  </a:lnTo>
                  <a:lnTo>
                    <a:pt x="8496" y="1256"/>
                  </a:lnTo>
                  <a:lnTo>
                    <a:pt x="8475" y="1319"/>
                  </a:lnTo>
                  <a:lnTo>
                    <a:pt x="8307" y="1340"/>
                  </a:lnTo>
                  <a:lnTo>
                    <a:pt x="8182" y="1402"/>
                  </a:lnTo>
                  <a:lnTo>
                    <a:pt x="8035" y="1423"/>
                  </a:lnTo>
                  <a:lnTo>
                    <a:pt x="7847" y="1465"/>
                  </a:lnTo>
                  <a:lnTo>
                    <a:pt x="7826" y="1549"/>
                  </a:lnTo>
                  <a:lnTo>
                    <a:pt x="7763" y="1632"/>
                  </a:lnTo>
                  <a:lnTo>
                    <a:pt x="7721" y="1528"/>
                  </a:lnTo>
                  <a:lnTo>
                    <a:pt x="7617" y="1528"/>
                  </a:lnTo>
                  <a:lnTo>
                    <a:pt x="7512" y="1570"/>
                  </a:lnTo>
                  <a:lnTo>
                    <a:pt x="7512" y="1653"/>
                  </a:lnTo>
                  <a:lnTo>
                    <a:pt x="7449" y="1695"/>
                  </a:lnTo>
                  <a:lnTo>
                    <a:pt x="7345" y="1653"/>
                  </a:lnTo>
                  <a:lnTo>
                    <a:pt x="7219" y="1653"/>
                  </a:lnTo>
                  <a:lnTo>
                    <a:pt x="7198" y="1612"/>
                  </a:lnTo>
                  <a:lnTo>
                    <a:pt x="7115" y="1612"/>
                  </a:lnTo>
                  <a:lnTo>
                    <a:pt x="7031" y="1653"/>
                  </a:lnTo>
                  <a:lnTo>
                    <a:pt x="6926" y="1674"/>
                  </a:lnTo>
                  <a:lnTo>
                    <a:pt x="6884" y="1695"/>
                  </a:lnTo>
                  <a:lnTo>
                    <a:pt x="6926" y="1842"/>
                  </a:lnTo>
                  <a:lnTo>
                    <a:pt x="6884" y="1925"/>
                  </a:lnTo>
                  <a:lnTo>
                    <a:pt x="6989" y="1946"/>
                  </a:lnTo>
                  <a:lnTo>
                    <a:pt x="7136" y="1925"/>
                  </a:lnTo>
                  <a:lnTo>
                    <a:pt x="7198" y="2051"/>
                  </a:lnTo>
                  <a:lnTo>
                    <a:pt x="7031" y="2051"/>
                  </a:lnTo>
                  <a:lnTo>
                    <a:pt x="6989" y="2093"/>
                  </a:lnTo>
                  <a:lnTo>
                    <a:pt x="6989" y="2156"/>
                  </a:lnTo>
                  <a:lnTo>
                    <a:pt x="7136" y="2176"/>
                  </a:lnTo>
                  <a:lnTo>
                    <a:pt x="7240" y="2197"/>
                  </a:lnTo>
                  <a:lnTo>
                    <a:pt x="7324" y="2156"/>
                  </a:lnTo>
                  <a:lnTo>
                    <a:pt x="7408" y="2156"/>
                  </a:lnTo>
                  <a:lnTo>
                    <a:pt x="7512" y="2260"/>
                  </a:lnTo>
                  <a:lnTo>
                    <a:pt x="7617" y="2281"/>
                  </a:lnTo>
                  <a:lnTo>
                    <a:pt x="7617" y="2386"/>
                  </a:lnTo>
                  <a:lnTo>
                    <a:pt x="7554" y="2449"/>
                  </a:lnTo>
                  <a:lnTo>
                    <a:pt x="7449" y="2407"/>
                  </a:lnTo>
                  <a:lnTo>
                    <a:pt x="7219" y="2449"/>
                  </a:lnTo>
                  <a:lnTo>
                    <a:pt x="7094" y="2553"/>
                  </a:lnTo>
                  <a:lnTo>
                    <a:pt x="6947" y="2741"/>
                  </a:lnTo>
                  <a:lnTo>
                    <a:pt x="6947" y="2867"/>
                  </a:lnTo>
                  <a:lnTo>
                    <a:pt x="7031" y="2888"/>
                  </a:lnTo>
                  <a:lnTo>
                    <a:pt x="7052" y="3013"/>
                  </a:lnTo>
                  <a:lnTo>
                    <a:pt x="6989" y="3118"/>
                  </a:lnTo>
                  <a:lnTo>
                    <a:pt x="6947" y="3244"/>
                  </a:lnTo>
                  <a:lnTo>
                    <a:pt x="6843" y="3244"/>
                  </a:lnTo>
                  <a:lnTo>
                    <a:pt x="6843" y="3306"/>
                  </a:lnTo>
                  <a:lnTo>
                    <a:pt x="6884" y="3390"/>
                  </a:lnTo>
                  <a:lnTo>
                    <a:pt x="6884" y="3453"/>
                  </a:lnTo>
                  <a:lnTo>
                    <a:pt x="7031" y="3453"/>
                  </a:lnTo>
                  <a:lnTo>
                    <a:pt x="7115" y="3537"/>
                  </a:lnTo>
                  <a:lnTo>
                    <a:pt x="7240" y="3557"/>
                  </a:lnTo>
                  <a:lnTo>
                    <a:pt x="7240" y="3620"/>
                  </a:lnTo>
                  <a:lnTo>
                    <a:pt x="7366" y="3704"/>
                  </a:lnTo>
                  <a:lnTo>
                    <a:pt x="7533" y="3725"/>
                  </a:lnTo>
                  <a:lnTo>
                    <a:pt x="7575" y="3746"/>
                  </a:lnTo>
                  <a:lnTo>
                    <a:pt x="7617" y="4227"/>
                  </a:lnTo>
                  <a:lnTo>
                    <a:pt x="7554" y="4290"/>
                  </a:lnTo>
                  <a:lnTo>
                    <a:pt x="7366" y="4373"/>
                  </a:lnTo>
                  <a:lnTo>
                    <a:pt x="7219" y="4353"/>
                  </a:lnTo>
                  <a:lnTo>
                    <a:pt x="7031" y="4248"/>
                  </a:lnTo>
                  <a:lnTo>
                    <a:pt x="6947" y="4290"/>
                  </a:lnTo>
                  <a:lnTo>
                    <a:pt x="6947" y="4394"/>
                  </a:lnTo>
                  <a:lnTo>
                    <a:pt x="6905" y="4541"/>
                  </a:lnTo>
                  <a:lnTo>
                    <a:pt x="6780" y="4562"/>
                  </a:lnTo>
                  <a:lnTo>
                    <a:pt x="6571" y="4457"/>
                  </a:lnTo>
                  <a:lnTo>
                    <a:pt x="6403" y="4457"/>
                  </a:lnTo>
                  <a:lnTo>
                    <a:pt x="6320" y="4394"/>
                  </a:lnTo>
                  <a:lnTo>
                    <a:pt x="6278" y="4436"/>
                  </a:lnTo>
                  <a:lnTo>
                    <a:pt x="6173" y="4394"/>
                  </a:lnTo>
                  <a:lnTo>
                    <a:pt x="6048" y="4269"/>
                  </a:lnTo>
                  <a:lnTo>
                    <a:pt x="6152" y="4227"/>
                  </a:lnTo>
                  <a:lnTo>
                    <a:pt x="6173" y="4143"/>
                  </a:lnTo>
                  <a:lnTo>
                    <a:pt x="6089" y="4122"/>
                  </a:lnTo>
                  <a:lnTo>
                    <a:pt x="5964" y="4039"/>
                  </a:lnTo>
                  <a:lnTo>
                    <a:pt x="5880" y="4122"/>
                  </a:lnTo>
                  <a:lnTo>
                    <a:pt x="5755" y="4081"/>
                  </a:lnTo>
                  <a:lnTo>
                    <a:pt x="5671" y="4122"/>
                  </a:lnTo>
                  <a:lnTo>
                    <a:pt x="5692" y="4269"/>
                  </a:lnTo>
                  <a:lnTo>
                    <a:pt x="5545" y="4290"/>
                  </a:lnTo>
                  <a:lnTo>
                    <a:pt x="5483" y="4227"/>
                  </a:lnTo>
                  <a:lnTo>
                    <a:pt x="5336" y="4060"/>
                  </a:lnTo>
                  <a:lnTo>
                    <a:pt x="5211" y="4081"/>
                  </a:lnTo>
                  <a:lnTo>
                    <a:pt x="5148" y="4185"/>
                  </a:lnTo>
                  <a:lnTo>
                    <a:pt x="5064" y="4081"/>
                  </a:lnTo>
                  <a:lnTo>
                    <a:pt x="5001" y="4122"/>
                  </a:lnTo>
                  <a:lnTo>
                    <a:pt x="5001" y="4248"/>
                  </a:lnTo>
                  <a:lnTo>
                    <a:pt x="4855" y="4248"/>
                  </a:lnTo>
                  <a:lnTo>
                    <a:pt x="4834" y="4457"/>
                  </a:lnTo>
                  <a:lnTo>
                    <a:pt x="4708" y="4562"/>
                  </a:lnTo>
                  <a:lnTo>
                    <a:pt x="4625" y="4541"/>
                  </a:lnTo>
                  <a:lnTo>
                    <a:pt x="4541" y="4436"/>
                  </a:lnTo>
                  <a:lnTo>
                    <a:pt x="4332" y="4394"/>
                  </a:lnTo>
                  <a:lnTo>
                    <a:pt x="4269" y="4269"/>
                  </a:lnTo>
                  <a:lnTo>
                    <a:pt x="4123" y="4353"/>
                  </a:lnTo>
                  <a:lnTo>
                    <a:pt x="4164" y="4478"/>
                  </a:lnTo>
                  <a:lnTo>
                    <a:pt x="4081" y="4604"/>
                  </a:lnTo>
                  <a:lnTo>
                    <a:pt x="3997" y="4583"/>
                  </a:lnTo>
                  <a:lnTo>
                    <a:pt x="3997" y="4457"/>
                  </a:lnTo>
                  <a:lnTo>
                    <a:pt x="3955" y="4373"/>
                  </a:lnTo>
                  <a:lnTo>
                    <a:pt x="3871" y="4373"/>
                  </a:lnTo>
                  <a:lnTo>
                    <a:pt x="3704" y="4248"/>
                  </a:lnTo>
                  <a:lnTo>
                    <a:pt x="3599" y="4122"/>
                  </a:lnTo>
                  <a:lnTo>
                    <a:pt x="3474" y="4122"/>
                  </a:lnTo>
                  <a:lnTo>
                    <a:pt x="3369" y="3976"/>
                  </a:lnTo>
                  <a:lnTo>
                    <a:pt x="3286" y="3955"/>
                  </a:lnTo>
                  <a:lnTo>
                    <a:pt x="3244" y="3871"/>
                  </a:lnTo>
                  <a:lnTo>
                    <a:pt x="3160" y="3871"/>
                  </a:lnTo>
                  <a:lnTo>
                    <a:pt x="2951" y="3955"/>
                  </a:lnTo>
                  <a:lnTo>
                    <a:pt x="2825" y="3850"/>
                  </a:lnTo>
                  <a:lnTo>
                    <a:pt x="2742" y="3704"/>
                  </a:lnTo>
                  <a:lnTo>
                    <a:pt x="2637" y="3704"/>
                  </a:lnTo>
                  <a:lnTo>
                    <a:pt x="2532" y="3809"/>
                  </a:lnTo>
                  <a:lnTo>
                    <a:pt x="2407" y="3809"/>
                  </a:lnTo>
                  <a:lnTo>
                    <a:pt x="2407" y="3871"/>
                  </a:lnTo>
                  <a:lnTo>
                    <a:pt x="2323" y="3955"/>
                  </a:lnTo>
                  <a:lnTo>
                    <a:pt x="2323" y="3850"/>
                  </a:lnTo>
                  <a:lnTo>
                    <a:pt x="2239" y="3913"/>
                  </a:lnTo>
                  <a:lnTo>
                    <a:pt x="2218" y="3976"/>
                  </a:lnTo>
                  <a:lnTo>
                    <a:pt x="2114" y="4060"/>
                  </a:lnTo>
                  <a:lnTo>
                    <a:pt x="2030" y="3976"/>
                  </a:lnTo>
                  <a:lnTo>
                    <a:pt x="2114" y="3913"/>
                  </a:lnTo>
                  <a:lnTo>
                    <a:pt x="2135" y="3829"/>
                  </a:lnTo>
                  <a:lnTo>
                    <a:pt x="2009" y="3767"/>
                  </a:lnTo>
                  <a:lnTo>
                    <a:pt x="1821" y="3662"/>
                  </a:lnTo>
                  <a:lnTo>
                    <a:pt x="1800" y="3746"/>
                  </a:lnTo>
                  <a:lnTo>
                    <a:pt x="1821" y="3850"/>
                  </a:lnTo>
                  <a:lnTo>
                    <a:pt x="1821" y="3955"/>
                  </a:lnTo>
                  <a:lnTo>
                    <a:pt x="1695" y="3913"/>
                  </a:lnTo>
                  <a:lnTo>
                    <a:pt x="1612" y="3976"/>
                  </a:lnTo>
                  <a:lnTo>
                    <a:pt x="1570" y="4143"/>
                  </a:lnTo>
                  <a:lnTo>
                    <a:pt x="1486" y="4143"/>
                  </a:lnTo>
                  <a:lnTo>
                    <a:pt x="1298" y="4248"/>
                  </a:lnTo>
                  <a:lnTo>
                    <a:pt x="1277" y="4373"/>
                  </a:lnTo>
                  <a:lnTo>
                    <a:pt x="1361" y="4478"/>
                  </a:lnTo>
                  <a:lnTo>
                    <a:pt x="1361" y="4604"/>
                  </a:lnTo>
                  <a:lnTo>
                    <a:pt x="1172" y="4604"/>
                  </a:lnTo>
                  <a:lnTo>
                    <a:pt x="984" y="4645"/>
                  </a:lnTo>
                  <a:lnTo>
                    <a:pt x="1130" y="5106"/>
                  </a:lnTo>
                  <a:lnTo>
                    <a:pt x="1047" y="5169"/>
                  </a:lnTo>
                  <a:lnTo>
                    <a:pt x="1068" y="5336"/>
                  </a:lnTo>
                  <a:lnTo>
                    <a:pt x="879" y="5336"/>
                  </a:lnTo>
                  <a:lnTo>
                    <a:pt x="733" y="5231"/>
                  </a:lnTo>
                  <a:lnTo>
                    <a:pt x="670" y="5127"/>
                  </a:lnTo>
                  <a:lnTo>
                    <a:pt x="356" y="4876"/>
                  </a:lnTo>
                  <a:lnTo>
                    <a:pt x="294" y="4980"/>
                  </a:lnTo>
                  <a:lnTo>
                    <a:pt x="294" y="5106"/>
                  </a:lnTo>
                  <a:lnTo>
                    <a:pt x="126" y="5315"/>
                  </a:lnTo>
                  <a:lnTo>
                    <a:pt x="22" y="5378"/>
                  </a:lnTo>
                  <a:lnTo>
                    <a:pt x="42" y="5629"/>
                  </a:lnTo>
                  <a:lnTo>
                    <a:pt x="126" y="5734"/>
                  </a:lnTo>
                  <a:lnTo>
                    <a:pt x="105" y="6068"/>
                  </a:lnTo>
                  <a:lnTo>
                    <a:pt x="1" y="6278"/>
                  </a:lnTo>
                  <a:lnTo>
                    <a:pt x="231" y="6382"/>
                  </a:lnTo>
                  <a:lnTo>
                    <a:pt x="335" y="6550"/>
                  </a:lnTo>
                  <a:lnTo>
                    <a:pt x="314" y="6633"/>
                  </a:lnTo>
                  <a:lnTo>
                    <a:pt x="503" y="6780"/>
                  </a:lnTo>
                  <a:lnTo>
                    <a:pt x="545" y="6696"/>
                  </a:lnTo>
                  <a:lnTo>
                    <a:pt x="921" y="6801"/>
                  </a:lnTo>
                  <a:lnTo>
                    <a:pt x="1172" y="7052"/>
                  </a:lnTo>
                  <a:lnTo>
                    <a:pt x="1402" y="7428"/>
                  </a:lnTo>
                  <a:lnTo>
                    <a:pt x="1172" y="7428"/>
                  </a:lnTo>
                  <a:lnTo>
                    <a:pt x="1172" y="7533"/>
                  </a:lnTo>
                  <a:lnTo>
                    <a:pt x="1382" y="7679"/>
                  </a:lnTo>
                  <a:lnTo>
                    <a:pt x="1549" y="7617"/>
                  </a:lnTo>
                  <a:lnTo>
                    <a:pt x="1674" y="7721"/>
                  </a:lnTo>
                  <a:lnTo>
                    <a:pt x="1716" y="7721"/>
                  </a:lnTo>
                  <a:lnTo>
                    <a:pt x="1758" y="7784"/>
                  </a:lnTo>
                  <a:lnTo>
                    <a:pt x="1821" y="7784"/>
                  </a:lnTo>
                  <a:lnTo>
                    <a:pt x="1863" y="7721"/>
                  </a:lnTo>
                  <a:lnTo>
                    <a:pt x="1905" y="7721"/>
                  </a:lnTo>
                  <a:lnTo>
                    <a:pt x="1967" y="7784"/>
                  </a:lnTo>
                  <a:lnTo>
                    <a:pt x="2009" y="7721"/>
                  </a:lnTo>
                  <a:lnTo>
                    <a:pt x="2009" y="7638"/>
                  </a:lnTo>
                  <a:lnTo>
                    <a:pt x="2072" y="7679"/>
                  </a:lnTo>
                  <a:lnTo>
                    <a:pt x="2177" y="7596"/>
                  </a:lnTo>
                  <a:lnTo>
                    <a:pt x="2218" y="7512"/>
                  </a:lnTo>
                  <a:lnTo>
                    <a:pt x="2281" y="7512"/>
                  </a:lnTo>
                  <a:lnTo>
                    <a:pt x="2344" y="7428"/>
                  </a:lnTo>
                  <a:lnTo>
                    <a:pt x="2407" y="7428"/>
                  </a:lnTo>
                  <a:lnTo>
                    <a:pt x="2428" y="7470"/>
                  </a:lnTo>
                  <a:lnTo>
                    <a:pt x="2491" y="7428"/>
                  </a:lnTo>
                  <a:lnTo>
                    <a:pt x="2511" y="7366"/>
                  </a:lnTo>
                  <a:lnTo>
                    <a:pt x="2595" y="7282"/>
                  </a:lnTo>
                  <a:lnTo>
                    <a:pt x="2721" y="7282"/>
                  </a:lnTo>
                  <a:lnTo>
                    <a:pt x="2763" y="7303"/>
                  </a:lnTo>
                  <a:lnTo>
                    <a:pt x="2846" y="7303"/>
                  </a:lnTo>
                  <a:lnTo>
                    <a:pt x="2909" y="7282"/>
                  </a:lnTo>
                  <a:lnTo>
                    <a:pt x="2930" y="7303"/>
                  </a:lnTo>
                  <a:lnTo>
                    <a:pt x="2930" y="7386"/>
                  </a:lnTo>
                  <a:lnTo>
                    <a:pt x="2972" y="7470"/>
                  </a:lnTo>
                  <a:lnTo>
                    <a:pt x="3014" y="7407"/>
                  </a:lnTo>
                  <a:lnTo>
                    <a:pt x="3076" y="7407"/>
                  </a:lnTo>
                  <a:lnTo>
                    <a:pt x="3076" y="7470"/>
                  </a:lnTo>
                  <a:lnTo>
                    <a:pt x="3160" y="7491"/>
                  </a:lnTo>
                  <a:lnTo>
                    <a:pt x="3223" y="7470"/>
                  </a:lnTo>
                  <a:lnTo>
                    <a:pt x="3244" y="7407"/>
                  </a:lnTo>
                  <a:lnTo>
                    <a:pt x="3286" y="7386"/>
                  </a:lnTo>
                  <a:lnTo>
                    <a:pt x="3286" y="7324"/>
                  </a:lnTo>
                  <a:lnTo>
                    <a:pt x="3369" y="7303"/>
                  </a:lnTo>
                  <a:lnTo>
                    <a:pt x="3453" y="7324"/>
                  </a:lnTo>
                  <a:lnTo>
                    <a:pt x="3662" y="7324"/>
                  </a:lnTo>
                  <a:lnTo>
                    <a:pt x="3662" y="7386"/>
                  </a:lnTo>
                  <a:lnTo>
                    <a:pt x="3704" y="7470"/>
                  </a:lnTo>
                  <a:lnTo>
                    <a:pt x="3788" y="7491"/>
                  </a:lnTo>
                  <a:lnTo>
                    <a:pt x="3788" y="7512"/>
                  </a:lnTo>
                  <a:lnTo>
                    <a:pt x="3746" y="7596"/>
                  </a:lnTo>
                  <a:lnTo>
                    <a:pt x="3767" y="7638"/>
                  </a:lnTo>
                  <a:lnTo>
                    <a:pt x="3871" y="7742"/>
                  </a:lnTo>
                  <a:lnTo>
                    <a:pt x="3851" y="7826"/>
                  </a:lnTo>
                  <a:lnTo>
                    <a:pt x="3788" y="7951"/>
                  </a:lnTo>
                  <a:lnTo>
                    <a:pt x="3809" y="8014"/>
                  </a:lnTo>
                  <a:lnTo>
                    <a:pt x="3851" y="8056"/>
                  </a:lnTo>
                  <a:lnTo>
                    <a:pt x="3871" y="8098"/>
                  </a:lnTo>
                  <a:lnTo>
                    <a:pt x="3851" y="8140"/>
                  </a:lnTo>
                  <a:lnTo>
                    <a:pt x="3767" y="8161"/>
                  </a:lnTo>
                  <a:lnTo>
                    <a:pt x="3746" y="8307"/>
                  </a:lnTo>
                  <a:lnTo>
                    <a:pt x="3809" y="8454"/>
                  </a:lnTo>
                  <a:lnTo>
                    <a:pt x="3913" y="8475"/>
                  </a:lnTo>
                  <a:lnTo>
                    <a:pt x="3997" y="8516"/>
                  </a:lnTo>
                  <a:lnTo>
                    <a:pt x="3997" y="8558"/>
                  </a:lnTo>
                  <a:lnTo>
                    <a:pt x="3871" y="8621"/>
                  </a:lnTo>
                  <a:lnTo>
                    <a:pt x="3788" y="8621"/>
                  </a:lnTo>
                  <a:lnTo>
                    <a:pt x="3683" y="8516"/>
                  </a:lnTo>
                  <a:lnTo>
                    <a:pt x="3599" y="8516"/>
                  </a:lnTo>
                  <a:lnTo>
                    <a:pt x="3558" y="8558"/>
                  </a:lnTo>
                  <a:lnTo>
                    <a:pt x="3495" y="8516"/>
                  </a:lnTo>
                  <a:lnTo>
                    <a:pt x="3432" y="8516"/>
                  </a:lnTo>
                  <a:lnTo>
                    <a:pt x="3286" y="8558"/>
                  </a:lnTo>
                  <a:lnTo>
                    <a:pt x="3223" y="8516"/>
                  </a:lnTo>
                  <a:lnTo>
                    <a:pt x="3118" y="8537"/>
                  </a:lnTo>
                  <a:lnTo>
                    <a:pt x="2972" y="8579"/>
                  </a:lnTo>
                  <a:lnTo>
                    <a:pt x="2930" y="8663"/>
                  </a:lnTo>
                  <a:lnTo>
                    <a:pt x="2930" y="8726"/>
                  </a:lnTo>
                  <a:lnTo>
                    <a:pt x="2930" y="8788"/>
                  </a:lnTo>
                  <a:lnTo>
                    <a:pt x="2867" y="8830"/>
                  </a:lnTo>
                  <a:lnTo>
                    <a:pt x="2867" y="8893"/>
                  </a:lnTo>
                  <a:lnTo>
                    <a:pt x="3014" y="9039"/>
                  </a:lnTo>
                  <a:lnTo>
                    <a:pt x="3014" y="9102"/>
                  </a:lnTo>
                  <a:lnTo>
                    <a:pt x="3035" y="9144"/>
                  </a:lnTo>
                  <a:lnTo>
                    <a:pt x="3139" y="9102"/>
                  </a:lnTo>
                  <a:lnTo>
                    <a:pt x="3160" y="9186"/>
                  </a:lnTo>
                  <a:lnTo>
                    <a:pt x="3139" y="9207"/>
                  </a:lnTo>
                  <a:lnTo>
                    <a:pt x="3055" y="9165"/>
                  </a:lnTo>
                  <a:lnTo>
                    <a:pt x="3014" y="9186"/>
                  </a:lnTo>
                  <a:lnTo>
                    <a:pt x="2930" y="9249"/>
                  </a:lnTo>
                  <a:lnTo>
                    <a:pt x="2867" y="9207"/>
                  </a:lnTo>
                  <a:lnTo>
                    <a:pt x="2825" y="9207"/>
                  </a:lnTo>
                  <a:lnTo>
                    <a:pt x="2763" y="9186"/>
                  </a:lnTo>
                  <a:lnTo>
                    <a:pt x="2616" y="9207"/>
                  </a:lnTo>
                  <a:lnTo>
                    <a:pt x="2532" y="9186"/>
                  </a:lnTo>
                  <a:lnTo>
                    <a:pt x="2491" y="9249"/>
                  </a:lnTo>
                  <a:lnTo>
                    <a:pt x="2491" y="9291"/>
                  </a:lnTo>
                  <a:lnTo>
                    <a:pt x="2553" y="9395"/>
                  </a:lnTo>
                  <a:lnTo>
                    <a:pt x="2637" y="9395"/>
                  </a:lnTo>
                  <a:lnTo>
                    <a:pt x="2742" y="9416"/>
                  </a:lnTo>
                  <a:lnTo>
                    <a:pt x="2804" y="9521"/>
                  </a:lnTo>
                  <a:lnTo>
                    <a:pt x="2846" y="9563"/>
                  </a:lnTo>
                  <a:lnTo>
                    <a:pt x="2909" y="9688"/>
                  </a:lnTo>
                  <a:lnTo>
                    <a:pt x="2951" y="9709"/>
                  </a:lnTo>
                  <a:lnTo>
                    <a:pt x="2972" y="9772"/>
                  </a:lnTo>
                  <a:lnTo>
                    <a:pt x="3139" y="9939"/>
                  </a:lnTo>
                  <a:lnTo>
                    <a:pt x="3139" y="10086"/>
                  </a:lnTo>
                  <a:lnTo>
                    <a:pt x="3139" y="10211"/>
                  </a:lnTo>
                  <a:lnTo>
                    <a:pt x="3181" y="10211"/>
                  </a:lnTo>
                  <a:lnTo>
                    <a:pt x="3286" y="10190"/>
                  </a:lnTo>
                  <a:lnTo>
                    <a:pt x="3327" y="10190"/>
                  </a:lnTo>
                  <a:lnTo>
                    <a:pt x="3369" y="10211"/>
                  </a:lnTo>
                  <a:lnTo>
                    <a:pt x="3432" y="10295"/>
                  </a:lnTo>
                  <a:lnTo>
                    <a:pt x="3474" y="10337"/>
                  </a:lnTo>
                  <a:lnTo>
                    <a:pt x="3537" y="10441"/>
                  </a:lnTo>
                  <a:lnTo>
                    <a:pt x="3579" y="10441"/>
                  </a:lnTo>
                  <a:lnTo>
                    <a:pt x="3662" y="10420"/>
                  </a:lnTo>
                  <a:lnTo>
                    <a:pt x="3767" y="10441"/>
                  </a:lnTo>
                  <a:lnTo>
                    <a:pt x="3871" y="10462"/>
                  </a:lnTo>
                  <a:lnTo>
                    <a:pt x="3976" y="10462"/>
                  </a:lnTo>
                  <a:lnTo>
                    <a:pt x="4018" y="10504"/>
                  </a:lnTo>
                  <a:lnTo>
                    <a:pt x="3997" y="10546"/>
                  </a:lnTo>
                  <a:lnTo>
                    <a:pt x="3997" y="10609"/>
                  </a:lnTo>
                  <a:lnTo>
                    <a:pt x="3997" y="10755"/>
                  </a:lnTo>
                  <a:lnTo>
                    <a:pt x="3913" y="10923"/>
                  </a:lnTo>
                  <a:lnTo>
                    <a:pt x="3955" y="11048"/>
                  </a:lnTo>
                  <a:lnTo>
                    <a:pt x="3976" y="11195"/>
                  </a:lnTo>
                  <a:lnTo>
                    <a:pt x="4311" y="10881"/>
                  </a:lnTo>
                  <a:lnTo>
                    <a:pt x="4604" y="10776"/>
                  </a:lnTo>
                  <a:lnTo>
                    <a:pt x="4959" y="10839"/>
                  </a:lnTo>
                  <a:lnTo>
                    <a:pt x="5378" y="11069"/>
                  </a:lnTo>
                  <a:lnTo>
                    <a:pt x="5755" y="11508"/>
                  </a:lnTo>
                  <a:lnTo>
                    <a:pt x="5985" y="11467"/>
                  </a:lnTo>
                  <a:lnTo>
                    <a:pt x="6068" y="11446"/>
                  </a:lnTo>
                  <a:lnTo>
                    <a:pt x="5629" y="8726"/>
                  </a:lnTo>
                  <a:lnTo>
                    <a:pt x="7136" y="8433"/>
                  </a:lnTo>
                  <a:lnTo>
                    <a:pt x="8056" y="9060"/>
                  </a:lnTo>
                  <a:lnTo>
                    <a:pt x="8391" y="9186"/>
                  </a:lnTo>
                  <a:lnTo>
                    <a:pt x="8893" y="9479"/>
                  </a:lnTo>
                  <a:lnTo>
                    <a:pt x="9751" y="9395"/>
                  </a:lnTo>
                  <a:lnTo>
                    <a:pt x="10693" y="9395"/>
                  </a:lnTo>
                  <a:lnTo>
                    <a:pt x="10985" y="9604"/>
                  </a:lnTo>
                  <a:lnTo>
                    <a:pt x="11132" y="9981"/>
                  </a:lnTo>
                  <a:lnTo>
                    <a:pt x="11320" y="9897"/>
                  </a:lnTo>
                  <a:lnTo>
                    <a:pt x="11341" y="10713"/>
                  </a:lnTo>
                  <a:lnTo>
                    <a:pt x="11760" y="10755"/>
                  </a:lnTo>
                  <a:lnTo>
                    <a:pt x="11990" y="11446"/>
                  </a:lnTo>
                  <a:lnTo>
                    <a:pt x="12115" y="11446"/>
                  </a:lnTo>
                  <a:lnTo>
                    <a:pt x="12366" y="11299"/>
                  </a:lnTo>
                  <a:lnTo>
                    <a:pt x="12555" y="11278"/>
                  </a:lnTo>
                  <a:lnTo>
                    <a:pt x="12743" y="11299"/>
                  </a:lnTo>
                  <a:lnTo>
                    <a:pt x="12994" y="11446"/>
                  </a:lnTo>
                  <a:lnTo>
                    <a:pt x="13078" y="11467"/>
                  </a:lnTo>
                  <a:lnTo>
                    <a:pt x="13287" y="11257"/>
                  </a:lnTo>
                  <a:lnTo>
                    <a:pt x="13413" y="11048"/>
                  </a:lnTo>
                  <a:lnTo>
                    <a:pt x="13475" y="10964"/>
                  </a:lnTo>
                  <a:lnTo>
                    <a:pt x="13538" y="10818"/>
                  </a:lnTo>
                  <a:lnTo>
                    <a:pt x="13789" y="10525"/>
                  </a:lnTo>
                  <a:lnTo>
                    <a:pt x="13894" y="10504"/>
                  </a:lnTo>
                  <a:lnTo>
                    <a:pt x="13998" y="10337"/>
                  </a:lnTo>
                  <a:lnTo>
                    <a:pt x="14040" y="10337"/>
                  </a:lnTo>
                  <a:lnTo>
                    <a:pt x="14040" y="10295"/>
                  </a:lnTo>
                  <a:lnTo>
                    <a:pt x="14166" y="10211"/>
                  </a:lnTo>
                  <a:lnTo>
                    <a:pt x="14145" y="10148"/>
                  </a:lnTo>
                  <a:lnTo>
                    <a:pt x="14250" y="10023"/>
                  </a:lnTo>
                  <a:lnTo>
                    <a:pt x="14438" y="10044"/>
                  </a:lnTo>
                  <a:lnTo>
                    <a:pt x="14543" y="10107"/>
                  </a:lnTo>
                  <a:lnTo>
                    <a:pt x="14961" y="10148"/>
                  </a:lnTo>
                  <a:lnTo>
                    <a:pt x="15317" y="10148"/>
                  </a:lnTo>
                  <a:lnTo>
                    <a:pt x="15505" y="10107"/>
                  </a:lnTo>
                  <a:lnTo>
                    <a:pt x="15484" y="9981"/>
                  </a:lnTo>
                  <a:lnTo>
                    <a:pt x="15463" y="9835"/>
                  </a:lnTo>
                  <a:lnTo>
                    <a:pt x="15463" y="9709"/>
                  </a:lnTo>
                  <a:lnTo>
                    <a:pt x="15505" y="9667"/>
                  </a:lnTo>
                  <a:lnTo>
                    <a:pt x="15610" y="9688"/>
                  </a:lnTo>
                  <a:lnTo>
                    <a:pt x="15777" y="9709"/>
                  </a:lnTo>
                  <a:lnTo>
                    <a:pt x="15819" y="9667"/>
                  </a:lnTo>
                  <a:lnTo>
                    <a:pt x="16007" y="9667"/>
                  </a:lnTo>
                  <a:lnTo>
                    <a:pt x="16133" y="9730"/>
                  </a:lnTo>
                  <a:lnTo>
                    <a:pt x="16342" y="9793"/>
                  </a:lnTo>
                  <a:lnTo>
                    <a:pt x="16677" y="9835"/>
                  </a:lnTo>
                  <a:lnTo>
                    <a:pt x="16781" y="9793"/>
                  </a:lnTo>
                  <a:lnTo>
                    <a:pt x="16886" y="9709"/>
                  </a:lnTo>
                  <a:lnTo>
                    <a:pt x="17032" y="9730"/>
                  </a:lnTo>
                  <a:lnTo>
                    <a:pt x="17158" y="9730"/>
                  </a:lnTo>
                  <a:lnTo>
                    <a:pt x="17451" y="9667"/>
                  </a:lnTo>
                  <a:lnTo>
                    <a:pt x="17723" y="9730"/>
                  </a:lnTo>
                  <a:lnTo>
                    <a:pt x="17911" y="9688"/>
                  </a:lnTo>
                  <a:lnTo>
                    <a:pt x="18246" y="9688"/>
                  </a:lnTo>
                  <a:lnTo>
                    <a:pt x="18497" y="9793"/>
                  </a:lnTo>
                  <a:lnTo>
                    <a:pt x="18602" y="9772"/>
                  </a:lnTo>
                  <a:lnTo>
                    <a:pt x="18853" y="10044"/>
                  </a:lnTo>
                  <a:lnTo>
                    <a:pt x="19083" y="10107"/>
                  </a:lnTo>
                  <a:lnTo>
                    <a:pt x="19229" y="10044"/>
                  </a:lnTo>
                  <a:lnTo>
                    <a:pt x="19188" y="9897"/>
                  </a:lnTo>
                  <a:lnTo>
                    <a:pt x="19313" y="9814"/>
                  </a:lnTo>
                  <a:lnTo>
                    <a:pt x="19313" y="9772"/>
                  </a:lnTo>
                  <a:lnTo>
                    <a:pt x="19376" y="9730"/>
                  </a:lnTo>
                  <a:lnTo>
                    <a:pt x="19271" y="9625"/>
                  </a:lnTo>
                  <a:lnTo>
                    <a:pt x="19313" y="9521"/>
                  </a:lnTo>
                  <a:lnTo>
                    <a:pt x="19397" y="9458"/>
                  </a:lnTo>
                  <a:lnTo>
                    <a:pt x="19355" y="9207"/>
                  </a:lnTo>
                  <a:lnTo>
                    <a:pt x="19229" y="9144"/>
                  </a:lnTo>
                  <a:lnTo>
                    <a:pt x="19188" y="9039"/>
                  </a:lnTo>
                  <a:lnTo>
                    <a:pt x="19083" y="8851"/>
                  </a:lnTo>
                  <a:lnTo>
                    <a:pt x="19062" y="8747"/>
                  </a:lnTo>
                  <a:lnTo>
                    <a:pt x="19020" y="8663"/>
                  </a:lnTo>
                  <a:lnTo>
                    <a:pt x="19020" y="8579"/>
                  </a:lnTo>
                  <a:lnTo>
                    <a:pt x="18957" y="8412"/>
                  </a:lnTo>
                  <a:lnTo>
                    <a:pt x="19041" y="8328"/>
                  </a:lnTo>
                  <a:lnTo>
                    <a:pt x="19041" y="8265"/>
                  </a:lnTo>
                  <a:lnTo>
                    <a:pt x="18916" y="8244"/>
                  </a:lnTo>
                  <a:lnTo>
                    <a:pt x="18748" y="8265"/>
                  </a:lnTo>
                  <a:lnTo>
                    <a:pt x="18644" y="8202"/>
                  </a:lnTo>
                  <a:lnTo>
                    <a:pt x="18644" y="8119"/>
                  </a:lnTo>
                  <a:lnTo>
                    <a:pt x="18748" y="8014"/>
                  </a:lnTo>
                  <a:lnTo>
                    <a:pt x="18853" y="7951"/>
                  </a:lnTo>
                  <a:lnTo>
                    <a:pt x="18916" y="8014"/>
                  </a:lnTo>
                  <a:lnTo>
                    <a:pt x="19020" y="8014"/>
                  </a:lnTo>
                  <a:lnTo>
                    <a:pt x="19167" y="7930"/>
                  </a:lnTo>
                  <a:lnTo>
                    <a:pt x="19439" y="7889"/>
                  </a:lnTo>
                  <a:lnTo>
                    <a:pt x="19564" y="7847"/>
                  </a:lnTo>
                  <a:lnTo>
                    <a:pt x="19648" y="7826"/>
                  </a:lnTo>
                  <a:lnTo>
                    <a:pt x="19711" y="7889"/>
                  </a:lnTo>
                  <a:lnTo>
                    <a:pt x="19794" y="7889"/>
                  </a:lnTo>
                  <a:lnTo>
                    <a:pt x="19878" y="7826"/>
                  </a:lnTo>
                  <a:lnTo>
                    <a:pt x="19962" y="7826"/>
                  </a:lnTo>
                  <a:lnTo>
                    <a:pt x="19962" y="7742"/>
                  </a:lnTo>
                  <a:lnTo>
                    <a:pt x="20004" y="7617"/>
                  </a:lnTo>
                  <a:lnTo>
                    <a:pt x="19878" y="7575"/>
                  </a:lnTo>
                  <a:lnTo>
                    <a:pt x="19815" y="7512"/>
                  </a:lnTo>
                  <a:lnTo>
                    <a:pt x="19836" y="7428"/>
                  </a:lnTo>
                  <a:lnTo>
                    <a:pt x="19836" y="7177"/>
                  </a:lnTo>
                  <a:lnTo>
                    <a:pt x="19899" y="6842"/>
                  </a:lnTo>
                  <a:lnTo>
                    <a:pt x="19899" y="6696"/>
                  </a:lnTo>
                  <a:lnTo>
                    <a:pt x="19962" y="6550"/>
                  </a:lnTo>
                  <a:lnTo>
                    <a:pt x="20004" y="6278"/>
                  </a:lnTo>
                  <a:lnTo>
                    <a:pt x="20213" y="6278"/>
                  </a:lnTo>
                  <a:lnTo>
                    <a:pt x="20422" y="6361"/>
                  </a:lnTo>
                  <a:lnTo>
                    <a:pt x="20589" y="6382"/>
                  </a:lnTo>
                  <a:lnTo>
                    <a:pt x="20820" y="6340"/>
                  </a:lnTo>
                  <a:lnTo>
                    <a:pt x="20882" y="6340"/>
                  </a:lnTo>
                  <a:lnTo>
                    <a:pt x="20924" y="6424"/>
                  </a:lnTo>
                  <a:lnTo>
                    <a:pt x="21008" y="6424"/>
                  </a:lnTo>
                  <a:lnTo>
                    <a:pt x="21071" y="6382"/>
                  </a:lnTo>
                  <a:lnTo>
                    <a:pt x="21154" y="6278"/>
                  </a:lnTo>
                  <a:lnTo>
                    <a:pt x="21280" y="6236"/>
                  </a:lnTo>
                  <a:lnTo>
                    <a:pt x="21447" y="6068"/>
                  </a:lnTo>
                  <a:lnTo>
                    <a:pt x="21447" y="6006"/>
                  </a:lnTo>
                  <a:lnTo>
                    <a:pt x="21343" y="5838"/>
                  </a:lnTo>
                  <a:lnTo>
                    <a:pt x="21238" y="5608"/>
                  </a:lnTo>
                  <a:lnTo>
                    <a:pt x="21238" y="5378"/>
                  </a:lnTo>
                  <a:lnTo>
                    <a:pt x="21259" y="5231"/>
                  </a:lnTo>
                  <a:lnTo>
                    <a:pt x="21343" y="5169"/>
                  </a:lnTo>
                  <a:lnTo>
                    <a:pt x="21531" y="5106"/>
                  </a:lnTo>
                  <a:lnTo>
                    <a:pt x="21594" y="4980"/>
                  </a:lnTo>
                  <a:lnTo>
                    <a:pt x="21552" y="4917"/>
                  </a:lnTo>
                  <a:lnTo>
                    <a:pt x="21573" y="4813"/>
                  </a:lnTo>
                  <a:lnTo>
                    <a:pt x="21698" y="4666"/>
                  </a:lnTo>
                  <a:lnTo>
                    <a:pt x="21803" y="4604"/>
                  </a:lnTo>
                  <a:lnTo>
                    <a:pt x="21908" y="4499"/>
                  </a:lnTo>
                  <a:lnTo>
                    <a:pt x="21887" y="4478"/>
                  </a:lnTo>
                  <a:lnTo>
                    <a:pt x="21866" y="4457"/>
                  </a:lnTo>
                  <a:lnTo>
                    <a:pt x="21698" y="4394"/>
                  </a:lnTo>
                  <a:lnTo>
                    <a:pt x="21573" y="4269"/>
                  </a:lnTo>
                  <a:lnTo>
                    <a:pt x="21489" y="4269"/>
                  </a:lnTo>
                  <a:lnTo>
                    <a:pt x="21447" y="4164"/>
                  </a:lnTo>
                  <a:lnTo>
                    <a:pt x="21489" y="4039"/>
                  </a:lnTo>
                  <a:lnTo>
                    <a:pt x="21447" y="3976"/>
                  </a:lnTo>
                  <a:lnTo>
                    <a:pt x="21343" y="4060"/>
                  </a:lnTo>
                  <a:lnTo>
                    <a:pt x="21259" y="4164"/>
                  </a:lnTo>
                  <a:lnTo>
                    <a:pt x="21154" y="4185"/>
                  </a:lnTo>
                  <a:lnTo>
                    <a:pt x="20861" y="4227"/>
                  </a:lnTo>
                  <a:lnTo>
                    <a:pt x="20799" y="4269"/>
                  </a:lnTo>
                  <a:lnTo>
                    <a:pt x="20757" y="4332"/>
                  </a:lnTo>
                  <a:lnTo>
                    <a:pt x="20652" y="4269"/>
                  </a:lnTo>
                  <a:lnTo>
                    <a:pt x="20548" y="4227"/>
                  </a:lnTo>
                  <a:lnTo>
                    <a:pt x="20506" y="4227"/>
                  </a:lnTo>
                  <a:lnTo>
                    <a:pt x="20485" y="4185"/>
                  </a:lnTo>
                  <a:lnTo>
                    <a:pt x="20422" y="4143"/>
                  </a:lnTo>
                  <a:lnTo>
                    <a:pt x="20401" y="4060"/>
                  </a:lnTo>
                  <a:lnTo>
                    <a:pt x="20359" y="3976"/>
                  </a:lnTo>
                  <a:lnTo>
                    <a:pt x="20401" y="3934"/>
                  </a:lnTo>
                  <a:lnTo>
                    <a:pt x="20401" y="3850"/>
                  </a:lnTo>
                  <a:lnTo>
                    <a:pt x="20317" y="3809"/>
                  </a:lnTo>
                  <a:lnTo>
                    <a:pt x="20276" y="3809"/>
                  </a:lnTo>
                  <a:lnTo>
                    <a:pt x="20129" y="3725"/>
                  </a:lnTo>
                  <a:lnTo>
                    <a:pt x="20004" y="3704"/>
                  </a:lnTo>
                  <a:lnTo>
                    <a:pt x="19962" y="3704"/>
                  </a:lnTo>
                  <a:lnTo>
                    <a:pt x="19899" y="3557"/>
                  </a:lnTo>
                  <a:lnTo>
                    <a:pt x="19794" y="3390"/>
                  </a:lnTo>
                  <a:lnTo>
                    <a:pt x="19648" y="3244"/>
                  </a:lnTo>
                  <a:lnTo>
                    <a:pt x="19460" y="3223"/>
                  </a:lnTo>
                  <a:lnTo>
                    <a:pt x="19250" y="3223"/>
                  </a:lnTo>
                  <a:lnTo>
                    <a:pt x="19062" y="3244"/>
                  </a:lnTo>
                  <a:lnTo>
                    <a:pt x="19041" y="3306"/>
                  </a:lnTo>
                  <a:lnTo>
                    <a:pt x="19083" y="3348"/>
                  </a:lnTo>
                  <a:lnTo>
                    <a:pt x="19062" y="3411"/>
                  </a:lnTo>
                  <a:lnTo>
                    <a:pt x="18936" y="3453"/>
                  </a:lnTo>
                  <a:lnTo>
                    <a:pt x="18853" y="3432"/>
                  </a:lnTo>
                  <a:lnTo>
                    <a:pt x="18727" y="3495"/>
                  </a:lnTo>
                  <a:lnTo>
                    <a:pt x="18560" y="3411"/>
                  </a:lnTo>
                  <a:lnTo>
                    <a:pt x="18497" y="3432"/>
                  </a:lnTo>
                  <a:lnTo>
                    <a:pt x="18413" y="3495"/>
                  </a:lnTo>
                  <a:lnTo>
                    <a:pt x="18309" y="3495"/>
                  </a:lnTo>
                  <a:lnTo>
                    <a:pt x="18204" y="3411"/>
                  </a:lnTo>
                  <a:lnTo>
                    <a:pt x="18079" y="3348"/>
                  </a:lnTo>
                  <a:lnTo>
                    <a:pt x="18079" y="3285"/>
                  </a:lnTo>
                  <a:lnTo>
                    <a:pt x="18100" y="3202"/>
                  </a:lnTo>
                  <a:lnTo>
                    <a:pt x="17911" y="3118"/>
                  </a:lnTo>
                  <a:lnTo>
                    <a:pt x="17828" y="3181"/>
                  </a:lnTo>
                  <a:lnTo>
                    <a:pt x="17828" y="3306"/>
                  </a:lnTo>
                  <a:lnTo>
                    <a:pt x="17869" y="3327"/>
                  </a:lnTo>
                  <a:lnTo>
                    <a:pt x="17828" y="3390"/>
                  </a:lnTo>
                  <a:lnTo>
                    <a:pt x="17744" y="3453"/>
                  </a:lnTo>
                  <a:lnTo>
                    <a:pt x="17597" y="3453"/>
                  </a:lnTo>
                  <a:lnTo>
                    <a:pt x="16175" y="1695"/>
                  </a:lnTo>
                  <a:lnTo>
                    <a:pt x="15170" y="921"/>
                  </a:lnTo>
                  <a:lnTo>
                    <a:pt x="15107" y="837"/>
                  </a:lnTo>
                  <a:lnTo>
                    <a:pt x="15191" y="816"/>
                  </a:lnTo>
                  <a:lnTo>
                    <a:pt x="15296" y="712"/>
                  </a:lnTo>
                  <a:lnTo>
                    <a:pt x="15296" y="607"/>
                  </a:lnTo>
                  <a:lnTo>
                    <a:pt x="15254" y="565"/>
                  </a:lnTo>
                  <a:lnTo>
                    <a:pt x="15087" y="607"/>
                  </a:lnTo>
                  <a:lnTo>
                    <a:pt x="14961" y="628"/>
                  </a:lnTo>
                  <a:lnTo>
                    <a:pt x="14877" y="733"/>
                  </a:lnTo>
                  <a:lnTo>
                    <a:pt x="14773" y="775"/>
                  </a:lnTo>
                  <a:lnTo>
                    <a:pt x="14647" y="900"/>
                  </a:lnTo>
                  <a:lnTo>
                    <a:pt x="14647" y="984"/>
                  </a:lnTo>
                  <a:lnTo>
                    <a:pt x="14563" y="1047"/>
                  </a:lnTo>
                  <a:lnTo>
                    <a:pt x="14522" y="1151"/>
                  </a:lnTo>
                  <a:lnTo>
                    <a:pt x="14417" y="1235"/>
                  </a:lnTo>
                  <a:lnTo>
                    <a:pt x="14229" y="1235"/>
                  </a:lnTo>
                  <a:lnTo>
                    <a:pt x="14124" y="1298"/>
                  </a:lnTo>
                  <a:lnTo>
                    <a:pt x="14145" y="1423"/>
                  </a:lnTo>
                  <a:lnTo>
                    <a:pt x="14061" y="1465"/>
                  </a:lnTo>
                  <a:lnTo>
                    <a:pt x="14019" y="1423"/>
                  </a:lnTo>
                  <a:lnTo>
                    <a:pt x="13789" y="1360"/>
                  </a:lnTo>
                  <a:lnTo>
                    <a:pt x="13643" y="1423"/>
                  </a:lnTo>
                  <a:lnTo>
                    <a:pt x="13601" y="1507"/>
                  </a:lnTo>
                  <a:lnTo>
                    <a:pt x="13517" y="1507"/>
                  </a:lnTo>
                  <a:lnTo>
                    <a:pt x="13434" y="1402"/>
                  </a:lnTo>
                  <a:lnTo>
                    <a:pt x="13434" y="1235"/>
                  </a:lnTo>
                  <a:lnTo>
                    <a:pt x="13517" y="1172"/>
                  </a:lnTo>
                  <a:lnTo>
                    <a:pt x="13538" y="1088"/>
                  </a:lnTo>
                  <a:lnTo>
                    <a:pt x="13496" y="1026"/>
                  </a:lnTo>
                  <a:lnTo>
                    <a:pt x="13413" y="1109"/>
                  </a:lnTo>
                  <a:lnTo>
                    <a:pt x="13329" y="1109"/>
                  </a:lnTo>
                  <a:lnTo>
                    <a:pt x="13120" y="1005"/>
                  </a:lnTo>
                  <a:lnTo>
                    <a:pt x="12994" y="1026"/>
                  </a:lnTo>
                  <a:lnTo>
                    <a:pt x="13015" y="1109"/>
                  </a:lnTo>
                  <a:lnTo>
                    <a:pt x="13078" y="1130"/>
                  </a:lnTo>
                  <a:lnTo>
                    <a:pt x="12994" y="1214"/>
                  </a:lnTo>
                  <a:lnTo>
                    <a:pt x="12952" y="1214"/>
                  </a:lnTo>
                  <a:lnTo>
                    <a:pt x="12869" y="1088"/>
                  </a:lnTo>
                  <a:lnTo>
                    <a:pt x="12848" y="900"/>
                  </a:lnTo>
                  <a:lnTo>
                    <a:pt x="12638" y="733"/>
                  </a:lnTo>
                  <a:lnTo>
                    <a:pt x="12597" y="775"/>
                  </a:lnTo>
                  <a:lnTo>
                    <a:pt x="12638" y="900"/>
                  </a:lnTo>
                  <a:lnTo>
                    <a:pt x="12638" y="984"/>
                  </a:lnTo>
                  <a:lnTo>
                    <a:pt x="12555" y="984"/>
                  </a:lnTo>
                  <a:lnTo>
                    <a:pt x="12513" y="879"/>
                  </a:lnTo>
                  <a:lnTo>
                    <a:pt x="12450" y="900"/>
                  </a:lnTo>
                  <a:lnTo>
                    <a:pt x="12429" y="1005"/>
                  </a:lnTo>
                  <a:lnTo>
                    <a:pt x="12366" y="1026"/>
                  </a:lnTo>
                  <a:lnTo>
                    <a:pt x="12262" y="942"/>
                  </a:lnTo>
                  <a:lnTo>
                    <a:pt x="12136" y="1026"/>
                  </a:lnTo>
                  <a:lnTo>
                    <a:pt x="12074" y="984"/>
                  </a:lnTo>
                  <a:lnTo>
                    <a:pt x="12032" y="879"/>
                  </a:lnTo>
                  <a:lnTo>
                    <a:pt x="12115" y="837"/>
                  </a:lnTo>
                  <a:lnTo>
                    <a:pt x="12136" y="796"/>
                  </a:lnTo>
                  <a:lnTo>
                    <a:pt x="12115" y="691"/>
                  </a:lnTo>
                  <a:lnTo>
                    <a:pt x="12136" y="586"/>
                  </a:lnTo>
                  <a:lnTo>
                    <a:pt x="12115" y="524"/>
                  </a:lnTo>
                  <a:lnTo>
                    <a:pt x="12032" y="482"/>
                  </a:lnTo>
                  <a:lnTo>
                    <a:pt x="11948" y="398"/>
                  </a:lnTo>
                  <a:lnTo>
                    <a:pt x="11927" y="272"/>
                  </a:lnTo>
                  <a:lnTo>
                    <a:pt x="11864" y="252"/>
                  </a:lnTo>
                  <a:lnTo>
                    <a:pt x="11822" y="84"/>
                  </a:lnTo>
                  <a:lnTo>
                    <a:pt x="11718" y="84"/>
                  </a:lnTo>
                  <a:lnTo>
                    <a:pt x="11592" y="126"/>
                  </a:lnTo>
                  <a:lnTo>
                    <a:pt x="11446" y="126"/>
                  </a:lnTo>
                  <a:lnTo>
                    <a:pt x="11299" y="42"/>
                  </a:lnTo>
                  <a:lnTo>
                    <a:pt x="11132" y="63"/>
                  </a:lnTo>
                  <a:lnTo>
                    <a:pt x="11006" y="0"/>
                  </a:lnTo>
                  <a:lnTo>
                    <a:pt x="10902" y="42"/>
                  </a:lnTo>
                  <a:lnTo>
                    <a:pt x="1086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1" name="Google Shape;2061;p66"/>
            <p:cNvSpPr/>
            <p:nvPr/>
          </p:nvSpPr>
          <p:spPr>
            <a:xfrm>
              <a:off x="4105619" y="2816249"/>
              <a:ext cx="110383" cy="65688"/>
            </a:xfrm>
            <a:custGeom>
              <a:avLst/>
              <a:gdLst/>
              <a:ahLst/>
              <a:cxnLst/>
              <a:rect l="l" t="t" r="r" b="b"/>
              <a:pathLst>
                <a:path w="9270" h="5776" extrusionOk="0">
                  <a:moveTo>
                    <a:pt x="1507" y="1"/>
                  </a:moveTo>
                  <a:lnTo>
                    <a:pt x="0" y="294"/>
                  </a:lnTo>
                  <a:lnTo>
                    <a:pt x="439" y="3014"/>
                  </a:lnTo>
                  <a:lnTo>
                    <a:pt x="732" y="3014"/>
                  </a:lnTo>
                  <a:lnTo>
                    <a:pt x="963" y="3035"/>
                  </a:lnTo>
                  <a:lnTo>
                    <a:pt x="1004" y="2909"/>
                  </a:lnTo>
                  <a:lnTo>
                    <a:pt x="900" y="2804"/>
                  </a:lnTo>
                  <a:lnTo>
                    <a:pt x="879" y="2595"/>
                  </a:lnTo>
                  <a:lnTo>
                    <a:pt x="983" y="2344"/>
                  </a:lnTo>
                  <a:lnTo>
                    <a:pt x="1172" y="2323"/>
                  </a:lnTo>
                  <a:lnTo>
                    <a:pt x="1276" y="2198"/>
                  </a:lnTo>
                  <a:lnTo>
                    <a:pt x="1402" y="2114"/>
                  </a:lnTo>
                  <a:lnTo>
                    <a:pt x="1527" y="2198"/>
                  </a:lnTo>
                  <a:lnTo>
                    <a:pt x="1611" y="2135"/>
                  </a:lnTo>
                  <a:lnTo>
                    <a:pt x="1507" y="2009"/>
                  </a:lnTo>
                  <a:lnTo>
                    <a:pt x="1779" y="2030"/>
                  </a:lnTo>
                  <a:lnTo>
                    <a:pt x="2155" y="2219"/>
                  </a:lnTo>
                  <a:lnTo>
                    <a:pt x="2511" y="2428"/>
                  </a:lnTo>
                  <a:lnTo>
                    <a:pt x="2532" y="2553"/>
                  </a:lnTo>
                  <a:lnTo>
                    <a:pt x="2971" y="2804"/>
                  </a:lnTo>
                  <a:lnTo>
                    <a:pt x="3306" y="2951"/>
                  </a:lnTo>
                  <a:lnTo>
                    <a:pt x="3390" y="2909"/>
                  </a:lnTo>
                  <a:lnTo>
                    <a:pt x="3515" y="2930"/>
                  </a:lnTo>
                  <a:lnTo>
                    <a:pt x="3766" y="3076"/>
                  </a:lnTo>
                  <a:lnTo>
                    <a:pt x="3871" y="3432"/>
                  </a:lnTo>
                  <a:lnTo>
                    <a:pt x="3976" y="3537"/>
                  </a:lnTo>
                  <a:lnTo>
                    <a:pt x="4017" y="3662"/>
                  </a:lnTo>
                  <a:lnTo>
                    <a:pt x="4143" y="3913"/>
                  </a:lnTo>
                  <a:lnTo>
                    <a:pt x="4352" y="3997"/>
                  </a:lnTo>
                  <a:lnTo>
                    <a:pt x="4729" y="4227"/>
                  </a:lnTo>
                  <a:lnTo>
                    <a:pt x="5126" y="4520"/>
                  </a:lnTo>
                  <a:lnTo>
                    <a:pt x="5545" y="4708"/>
                  </a:lnTo>
                  <a:lnTo>
                    <a:pt x="5921" y="5001"/>
                  </a:lnTo>
                  <a:lnTo>
                    <a:pt x="6235" y="5022"/>
                  </a:lnTo>
                  <a:lnTo>
                    <a:pt x="6319" y="5106"/>
                  </a:lnTo>
                  <a:lnTo>
                    <a:pt x="6403" y="5106"/>
                  </a:lnTo>
                  <a:lnTo>
                    <a:pt x="6612" y="5232"/>
                  </a:lnTo>
                  <a:lnTo>
                    <a:pt x="6612" y="5378"/>
                  </a:lnTo>
                  <a:lnTo>
                    <a:pt x="6633" y="5650"/>
                  </a:lnTo>
                  <a:lnTo>
                    <a:pt x="6821" y="5587"/>
                  </a:lnTo>
                  <a:lnTo>
                    <a:pt x="6926" y="5671"/>
                  </a:lnTo>
                  <a:lnTo>
                    <a:pt x="7009" y="5776"/>
                  </a:lnTo>
                  <a:lnTo>
                    <a:pt x="7072" y="5776"/>
                  </a:lnTo>
                  <a:lnTo>
                    <a:pt x="7177" y="5671"/>
                  </a:lnTo>
                  <a:lnTo>
                    <a:pt x="7281" y="5692"/>
                  </a:lnTo>
                  <a:lnTo>
                    <a:pt x="7323" y="5755"/>
                  </a:lnTo>
                  <a:lnTo>
                    <a:pt x="7365" y="5378"/>
                  </a:lnTo>
                  <a:lnTo>
                    <a:pt x="7491" y="5106"/>
                  </a:lnTo>
                  <a:lnTo>
                    <a:pt x="7553" y="5043"/>
                  </a:lnTo>
                  <a:lnTo>
                    <a:pt x="7533" y="4897"/>
                  </a:lnTo>
                  <a:lnTo>
                    <a:pt x="7407" y="4834"/>
                  </a:lnTo>
                  <a:lnTo>
                    <a:pt x="7344" y="4688"/>
                  </a:lnTo>
                  <a:lnTo>
                    <a:pt x="7386" y="4541"/>
                  </a:lnTo>
                  <a:lnTo>
                    <a:pt x="7365" y="4416"/>
                  </a:lnTo>
                  <a:lnTo>
                    <a:pt x="7219" y="4436"/>
                  </a:lnTo>
                  <a:lnTo>
                    <a:pt x="7114" y="4499"/>
                  </a:lnTo>
                  <a:lnTo>
                    <a:pt x="6947" y="4269"/>
                  </a:lnTo>
                  <a:lnTo>
                    <a:pt x="6947" y="4102"/>
                  </a:lnTo>
                  <a:lnTo>
                    <a:pt x="7072" y="3997"/>
                  </a:lnTo>
                  <a:lnTo>
                    <a:pt x="7344" y="4018"/>
                  </a:lnTo>
                  <a:lnTo>
                    <a:pt x="7449" y="3997"/>
                  </a:lnTo>
                  <a:lnTo>
                    <a:pt x="7449" y="3872"/>
                  </a:lnTo>
                  <a:lnTo>
                    <a:pt x="7679" y="3788"/>
                  </a:lnTo>
                  <a:lnTo>
                    <a:pt x="7637" y="3704"/>
                  </a:lnTo>
                  <a:lnTo>
                    <a:pt x="7574" y="3662"/>
                  </a:lnTo>
                  <a:lnTo>
                    <a:pt x="7846" y="3600"/>
                  </a:lnTo>
                  <a:lnTo>
                    <a:pt x="8014" y="3537"/>
                  </a:lnTo>
                  <a:lnTo>
                    <a:pt x="8056" y="3390"/>
                  </a:lnTo>
                  <a:lnTo>
                    <a:pt x="7867" y="3328"/>
                  </a:lnTo>
                  <a:lnTo>
                    <a:pt x="7867" y="3181"/>
                  </a:lnTo>
                  <a:lnTo>
                    <a:pt x="8014" y="3139"/>
                  </a:lnTo>
                  <a:lnTo>
                    <a:pt x="8181" y="3014"/>
                  </a:lnTo>
                  <a:lnTo>
                    <a:pt x="8286" y="3035"/>
                  </a:lnTo>
                  <a:lnTo>
                    <a:pt x="8453" y="2825"/>
                  </a:lnTo>
                  <a:lnTo>
                    <a:pt x="8600" y="2951"/>
                  </a:lnTo>
                  <a:lnTo>
                    <a:pt x="8621" y="3056"/>
                  </a:lnTo>
                  <a:lnTo>
                    <a:pt x="8914" y="3014"/>
                  </a:lnTo>
                  <a:lnTo>
                    <a:pt x="9123" y="3014"/>
                  </a:lnTo>
                  <a:lnTo>
                    <a:pt x="9269" y="2825"/>
                  </a:lnTo>
                  <a:lnTo>
                    <a:pt x="9248" y="2721"/>
                  </a:lnTo>
                  <a:lnTo>
                    <a:pt x="8955" y="2491"/>
                  </a:lnTo>
                  <a:lnTo>
                    <a:pt x="8893" y="2491"/>
                  </a:lnTo>
                  <a:lnTo>
                    <a:pt x="8893" y="2637"/>
                  </a:lnTo>
                  <a:lnTo>
                    <a:pt x="8788" y="2742"/>
                  </a:lnTo>
                  <a:lnTo>
                    <a:pt x="8683" y="2721"/>
                  </a:lnTo>
                  <a:lnTo>
                    <a:pt x="8579" y="2616"/>
                  </a:lnTo>
                  <a:lnTo>
                    <a:pt x="8307" y="2532"/>
                  </a:lnTo>
                  <a:lnTo>
                    <a:pt x="8202" y="2449"/>
                  </a:lnTo>
                  <a:lnTo>
                    <a:pt x="8286" y="2323"/>
                  </a:lnTo>
                  <a:lnTo>
                    <a:pt x="8453" y="2030"/>
                  </a:lnTo>
                  <a:lnTo>
                    <a:pt x="8453" y="1905"/>
                  </a:lnTo>
                  <a:lnTo>
                    <a:pt x="8369" y="1905"/>
                  </a:lnTo>
                  <a:lnTo>
                    <a:pt x="8265" y="2072"/>
                  </a:lnTo>
                  <a:lnTo>
                    <a:pt x="8160" y="2093"/>
                  </a:lnTo>
                  <a:lnTo>
                    <a:pt x="7909" y="2386"/>
                  </a:lnTo>
                  <a:lnTo>
                    <a:pt x="7846" y="2532"/>
                  </a:lnTo>
                  <a:lnTo>
                    <a:pt x="7784" y="2616"/>
                  </a:lnTo>
                  <a:lnTo>
                    <a:pt x="7658" y="2825"/>
                  </a:lnTo>
                  <a:lnTo>
                    <a:pt x="7449" y="3035"/>
                  </a:lnTo>
                  <a:lnTo>
                    <a:pt x="7365" y="3014"/>
                  </a:lnTo>
                  <a:lnTo>
                    <a:pt x="7114" y="2867"/>
                  </a:lnTo>
                  <a:lnTo>
                    <a:pt x="6926" y="2846"/>
                  </a:lnTo>
                  <a:lnTo>
                    <a:pt x="6737" y="2867"/>
                  </a:lnTo>
                  <a:lnTo>
                    <a:pt x="6486" y="3014"/>
                  </a:lnTo>
                  <a:lnTo>
                    <a:pt x="6361" y="3014"/>
                  </a:lnTo>
                  <a:lnTo>
                    <a:pt x="6131" y="2323"/>
                  </a:lnTo>
                  <a:lnTo>
                    <a:pt x="5712" y="2281"/>
                  </a:lnTo>
                  <a:lnTo>
                    <a:pt x="5691" y="1465"/>
                  </a:lnTo>
                  <a:lnTo>
                    <a:pt x="5503" y="1549"/>
                  </a:lnTo>
                  <a:lnTo>
                    <a:pt x="5356" y="1172"/>
                  </a:lnTo>
                  <a:lnTo>
                    <a:pt x="5064" y="963"/>
                  </a:lnTo>
                  <a:lnTo>
                    <a:pt x="4122" y="963"/>
                  </a:lnTo>
                  <a:lnTo>
                    <a:pt x="3264" y="1047"/>
                  </a:lnTo>
                  <a:lnTo>
                    <a:pt x="2762" y="754"/>
                  </a:lnTo>
                  <a:lnTo>
                    <a:pt x="2427" y="628"/>
                  </a:lnTo>
                  <a:lnTo>
                    <a:pt x="150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2" name="Google Shape;2062;p66"/>
            <p:cNvSpPr/>
            <p:nvPr/>
          </p:nvSpPr>
          <p:spPr>
            <a:xfrm>
              <a:off x="4085936" y="2839096"/>
              <a:ext cx="98666" cy="59262"/>
            </a:xfrm>
            <a:custGeom>
              <a:avLst/>
              <a:gdLst/>
              <a:ahLst/>
              <a:cxnLst/>
              <a:rect l="l" t="t" r="r" b="b"/>
              <a:pathLst>
                <a:path w="8286" h="5211" extrusionOk="0">
                  <a:moveTo>
                    <a:pt x="3160" y="0"/>
                  </a:moveTo>
                  <a:lnTo>
                    <a:pt x="3264" y="126"/>
                  </a:lnTo>
                  <a:lnTo>
                    <a:pt x="3180" y="189"/>
                  </a:lnTo>
                  <a:lnTo>
                    <a:pt x="3055" y="105"/>
                  </a:lnTo>
                  <a:lnTo>
                    <a:pt x="2929" y="189"/>
                  </a:lnTo>
                  <a:lnTo>
                    <a:pt x="2825" y="314"/>
                  </a:lnTo>
                  <a:lnTo>
                    <a:pt x="2636" y="335"/>
                  </a:lnTo>
                  <a:lnTo>
                    <a:pt x="2532" y="586"/>
                  </a:lnTo>
                  <a:lnTo>
                    <a:pt x="2553" y="795"/>
                  </a:lnTo>
                  <a:lnTo>
                    <a:pt x="2657" y="900"/>
                  </a:lnTo>
                  <a:lnTo>
                    <a:pt x="2616" y="1026"/>
                  </a:lnTo>
                  <a:lnTo>
                    <a:pt x="2385" y="1005"/>
                  </a:lnTo>
                  <a:lnTo>
                    <a:pt x="2092" y="1005"/>
                  </a:lnTo>
                  <a:lnTo>
                    <a:pt x="2009" y="1026"/>
                  </a:lnTo>
                  <a:lnTo>
                    <a:pt x="1779" y="1067"/>
                  </a:lnTo>
                  <a:lnTo>
                    <a:pt x="1402" y="628"/>
                  </a:lnTo>
                  <a:lnTo>
                    <a:pt x="983" y="398"/>
                  </a:lnTo>
                  <a:lnTo>
                    <a:pt x="628" y="335"/>
                  </a:lnTo>
                  <a:lnTo>
                    <a:pt x="335" y="440"/>
                  </a:lnTo>
                  <a:lnTo>
                    <a:pt x="0" y="754"/>
                  </a:lnTo>
                  <a:lnTo>
                    <a:pt x="0" y="816"/>
                  </a:lnTo>
                  <a:lnTo>
                    <a:pt x="84" y="900"/>
                  </a:lnTo>
                  <a:lnTo>
                    <a:pt x="126" y="963"/>
                  </a:lnTo>
                  <a:lnTo>
                    <a:pt x="209" y="1047"/>
                  </a:lnTo>
                  <a:lnTo>
                    <a:pt x="251" y="1151"/>
                  </a:lnTo>
                  <a:lnTo>
                    <a:pt x="356" y="1360"/>
                  </a:lnTo>
                  <a:lnTo>
                    <a:pt x="335" y="1528"/>
                  </a:lnTo>
                  <a:lnTo>
                    <a:pt x="293" y="1653"/>
                  </a:lnTo>
                  <a:lnTo>
                    <a:pt x="314" y="1946"/>
                  </a:lnTo>
                  <a:lnTo>
                    <a:pt x="356" y="2009"/>
                  </a:lnTo>
                  <a:lnTo>
                    <a:pt x="398" y="2093"/>
                  </a:lnTo>
                  <a:lnTo>
                    <a:pt x="607" y="2302"/>
                  </a:lnTo>
                  <a:lnTo>
                    <a:pt x="565" y="2218"/>
                  </a:lnTo>
                  <a:lnTo>
                    <a:pt x="523" y="2155"/>
                  </a:lnTo>
                  <a:lnTo>
                    <a:pt x="544" y="2114"/>
                  </a:lnTo>
                  <a:lnTo>
                    <a:pt x="732" y="2155"/>
                  </a:lnTo>
                  <a:lnTo>
                    <a:pt x="816" y="2093"/>
                  </a:lnTo>
                  <a:lnTo>
                    <a:pt x="858" y="2114"/>
                  </a:lnTo>
                  <a:lnTo>
                    <a:pt x="837" y="2260"/>
                  </a:lnTo>
                  <a:lnTo>
                    <a:pt x="858" y="2365"/>
                  </a:lnTo>
                  <a:lnTo>
                    <a:pt x="942" y="2323"/>
                  </a:lnTo>
                  <a:lnTo>
                    <a:pt x="983" y="2427"/>
                  </a:lnTo>
                  <a:lnTo>
                    <a:pt x="963" y="2490"/>
                  </a:lnTo>
                  <a:lnTo>
                    <a:pt x="858" y="2469"/>
                  </a:lnTo>
                  <a:lnTo>
                    <a:pt x="816" y="2469"/>
                  </a:lnTo>
                  <a:lnTo>
                    <a:pt x="753" y="2427"/>
                  </a:lnTo>
                  <a:lnTo>
                    <a:pt x="649" y="2511"/>
                  </a:lnTo>
                  <a:lnTo>
                    <a:pt x="649" y="2616"/>
                  </a:lnTo>
                  <a:lnTo>
                    <a:pt x="732" y="2699"/>
                  </a:lnTo>
                  <a:lnTo>
                    <a:pt x="711" y="2574"/>
                  </a:lnTo>
                  <a:lnTo>
                    <a:pt x="774" y="2574"/>
                  </a:lnTo>
                  <a:lnTo>
                    <a:pt x="837" y="2595"/>
                  </a:lnTo>
                  <a:lnTo>
                    <a:pt x="921" y="2616"/>
                  </a:lnTo>
                  <a:lnTo>
                    <a:pt x="963" y="2720"/>
                  </a:lnTo>
                  <a:lnTo>
                    <a:pt x="1130" y="2804"/>
                  </a:lnTo>
                  <a:lnTo>
                    <a:pt x="1172" y="2909"/>
                  </a:lnTo>
                  <a:lnTo>
                    <a:pt x="1151" y="3097"/>
                  </a:lnTo>
                  <a:lnTo>
                    <a:pt x="1172" y="3160"/>
                  </a:lnTo>
                  <a:lnTo>
                    <a:pt x="1172" y="3453"/>
                  </a:lnTo>
                  <a:lnTo>
                    <a:pt x="1235" y="3662"/>
                  </a:lnTo>
                  <a:lnTo>
                    <a:pt x="1339" y="3955"/>
                  </a:lnTo>
                  <a:lnTo>
                    <a:pt x="1444" y="3871"/>
                  </a:lnTo>
                  <a:lnTo>
                    <a:pt x="1716" y="3871"/>
                  </a:lnTo>
                  <a:lnTo>
                    <a:pt x="1779" y="3725"/>
                  </a:lnTo>
                  <a:lnTo>
                    <a:pt x="1862" y="3620"/>
                  </a:lnTo>
                  <a:lnTo>
                    <a:pt x="1967" y="3620"/>
                  </a:lnTo>
                  <a:lnTo>
                    <a:pt x="2197" y="3411"/>
                  </a:lnTo>
                  <a:lnTo>
                    <a:pt x="2427" y="3348"/>
                  </a:lnTo>
                  <a:lnTo>
                    <a:pt x="2636" y="3411"/>
                  </a:lnTo>
                  <a:lnTo>
                    <a:pt x="2699" y="3264"/>
                  </a:lnTo>
                  <a:lnTo>
                    <a:pt x="2804" y="3243"/>
                  </a:lnTo>
                  <a:lnTo>
                    <a:pt x="2929" y="3306"/>
                  </a:lnTo>
                  <a:lnTo>
                    <a:pt x="3055" y="3264"/>
                  </a:lnTo>
                  <a:lnTo>
                    <a:pt x="3264" y="3453"/>
                  </a:lnTo>
                  <a:lnTo>
                    <a:pt x="3432" y="3515"/>
                  </a:lnTo>
                  <a:lnTo>
                    <a:pt x="3766" y="3725"/>
                  </a:lnTo>
                  <a:lnTo>
                    <a:pt x="3871" y="3725"/>
                  </a:lnTo>
                  <a:lnTo>
                    <a:pt x="3955" y="3641"/>
                  </a:lnTo>
                  <a:lnTo>
                    <a:pt x="4185" y="3746"/>
                  </a:lnTo>
                  <a:lnTo>
                    <a:pt x="4310" y="3767"/>
                  </a:lnTo>
                  <a:lnTo>
                    <a:pt x="4331" y="3934"/>
                  </a:lnTo>
                  <a:lnTo>
                    <a:pt x="4394" y="3976"/>
                  </a:lnTo>
                  <a:lnTo>
                    <a:pt x="4520" y="3955"/>
                  </a:lnTo>
                  <a:lnTo>
                    <a:pt x="4729" y="3997"/>
                  </a:lnTo>
                  <a:lnTo>
                    <a:pt x="4959" y="4311"/>
                  </a:lnTo>
                  <a:lnTo>
                    <a:pt x="5231" y="4352"/>
                  </a:lnTo>
                  <a:lnTo>
                    <a:pt x="5357" y="4394"/>
                  </a:lnTo>
                  <a:lnTo>
                    <a:pt x="5461" y="4562"/>
                  </a:lnTo>
                  <a:lnTo>
                    <a:pt x="5419" y="4666"/>
                  </a:lnTo>
                  <a:lnTo>
                    <a:pt x="5461" y="4792"/>
                  </a:lnTo>
                  <a:lnTo>
                    <a:pt x="5461" y="4876"/>
                  </a:lnTo>
                  <a:lnTo>
                    <a:pt x="5524" y="4980"/>
                  </a:lnTo>
                  <a:lnTo>
                    <a:pt x="5566" y="4938"/>
                  </a:lnTo>
                  <a:lnTo>
                    <a:pt x="5691" y="4980"/>
                  </a:lnTo>
                  <a:lnTo>
                    <a:pt x="5775" y="5043"/>
                  </a:lnTo>
                  <a:lnTo>
                    <a:pt x="5880" y="5043"/>
                  </a:lnTo>
                  <a:lnTo>
                    <a:pt x="5963" y="4980"/>
                  </a:lnTo>
                  <a:lnTo>
                    <a:pt x="6047" y="4980"/>
                  </a:lnTo>
                  <a:lnTo>
                    <a:pt x="6173" y="5085"/>
                  </a:lnTo>
                  <a:lnTo>
                    <a:pt x="6214" y="5148"/>
                  </a:lnTo>
                  <a:lnTo>
                    <a:pt x="6277" y="5210"/>
                  </a:lnTo>
                  <a:lnTo>
                    <a:pt x="6319" y="5148"/>
                  </a:lnTo>
                  <a:lnTo>
                    <a:pt x="6486" y="5127"/>
                  </a:lnTo>
                  <a:lnTo>
                    <a:pt x="6570" y="5022"/>
                  </a:lnTo>
                  <a:lnTo>
                    <a:pt x="6591" y="4938"/>
                  </a:lnTo>
                  <a:lnTo>
                    <a:pt x="6675" y="4896"/>
                  </a:lnTo>
                  <a:lnTo>
                    <a:pt x="6633" y="4813"/>
                  </a:lnTo>
                  <a:lnTo>
                    <a:pt x="6821" y="4708"/>
                  </a:lnTo>
                  <a:lnTo>
                    <a:pt x="7030" y="4666"/>
                  </a:lnTo>
                  <a:lnTo>
                    <a:pt x="7051" y="4604"/>
                  </a:lnTo>
                  <a:lnTo>
                    <a:pt x="7135" y="4520"/>
                  </a:lnTo>
                  <a:lnTo>
                    <a:pt x="7240" y="4499"/>
                  </a:lnTo>
                  <a:lnTo>
                    <a:pt x="7261" y="4373"/>
                  </a:lnTo>
                  <a:lnTo>
                    <a:pt x="7261" y="4206"/>
                  </a:lnTo>
                  <a:lnTo>
                    <a:pt x="7407" y="4080"/>
                  </a:lnTo>
                  <a:lnTo>
                    <a:pt x="7407" y="3955"/>
                  </a:lnTo>
                  <a:lnTo>
                    <a:pt x="7344" y="3892"/>
                  </a:lnTo>
                  <a:lnTo>
                    <a:pt x="7365" y="3850"/>
                  </a:lnTo>
                  <a:lnTo>
                    <a:pt x="7428" y="3829"/>
                  </a:lnTo>
                  <a:lnTo>
                    <a:pt x="7470" y="3767"/>
                  </a:lnTo>
                  <a:lnTo>
                    <a:pt x="7637" y="3725"/>
                  </a:lnTo>
                  <a:lnTo>
                    <a:pt x="7679" y="3725"/>
                  </a:lnTo>
                  <a:lnTo>
                    <a:pt x="7846" y="3620"/>
                  </a:lnTo>
                  <a:lnTo>
                    <a:pt x="7993" y="3557"/>
                  </a:lnTo>
                  <a:lnTo>
                    <a:pt x="8098" y="3641"/>
                  </a:lnTo>
                  <a:lnTo>
                    <a:pt x="8244" y="3620"/>
                  </a:lnTo>
                  <a:lnTo>
                    <a:pt x="8265" y="3641"/>
                  </a:lnTo>
                  <a:lnTo>
                    <a:pt x="8286" y="3641"/>
                  </a:lnTo>
                  <a:lnTo>
                    <a:pt x="8265" y="3369"/>
                  </a:lnTo>
                  <a:lnTo>
                    <a:pt x="8265" y="3223"/>
                  </a:lnTo>
                  <a:lnTo>
                    <a:pt x="8056" y="3097"/>
                  </a:lnTo>
                  <a:lnTo>
                    <a:pt x="7972" y="3097"/>
                  </a:lnTo>
                  <a:lnTo>
                    <a:pt x="7888" y="3013"/>
                  </a:lnTo>
                  <a:lnTo>
                    <a:pt x="7574" y="2992"/>
                  </a:lnTo>
                  <a:lnTo>
                    <a:pt x="7198" y="2699"/>
                  </a:lnTo>
                  <a:lnTo>
                    <a:pt x="6779" y="2511"/>
                  </a:lnTo>
                  <a:lnTo>
                    <a:pt x="6382" y="2218"/>
                  </a:lnTo>
                  <a:lnTo>
                    <a:pt x="6005" y="1988"/>
                  </a:lnTo>
                  <a:lnTo>
                    <a:pt x="5796" y="1904"/>
                  </a:lnTo>
                  <a:lnTo>
                    <a:pt x="5670" y="1653"/>
                  </a:lnTo>
                  <a:lnTo>
                    <a:pt x="5629" y="1528"/>
                  </a:lnTo>
                  <a:lnTo>
                    <a:pt x="5524" y="1423"/>
                  </a:lnTo>
                  <a:lnTo>
                    <a:pt x="5419" y="1067"/>
                  </a:lnTo>
                  <a:lnTo>
                    <a:pt x="5168" y="921"/>
                  </a:lnTo>
                  <a:lnTo>
                    <a:pt x="5043" y="900"/>
                  </a:lnTo>
                  <a:lnTo>
                    <a:pt x="4959" y="942"/>
                  </a:lnTo>
                  <a:lnTo>
                    <a:pt x="4624" y="795"/>
                  </a:lnTo>
                  <a:lnTo>
                    <a:pt x="4185" y="544"/>
                  </a:lnTo>
                  <a:lnTo>
                    <a:pt x="4164" y="419"/>
                  </a:lnTo>
                  <a:lnTo>
                    <a:pt x="3808" y="210"/>
                  </a:lnTo>
                  <a:lnTo>
                    <a:pt x="3432" y="21"/>
                  </a:lnTo>
                  <a:lnTo>
                    <a:pt x="316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063" name="Google Shape;2063;p66"/>
            <p:cNvGrpSpPr/>
            <p:nvPr/>
          </p:nvGrpSpPr>
          <p:grpSpPr>
            <a:xfrm>
              <a:off x="4295710" y="3079670"/>
              <a:ext cx="14968" cy="27135"/>
              <a:chOff x="4842300" y="3099950"/>
              <a:chExt cx="31425" cy="59650"/>
            </a:xfrm>
          </p:grpSpPr>
          <p:sp>
            <p:nvSpPr>
              <p:cNvPr id="2064" name="Google Shape;2064;p66"/>
              <p:cNvSpPr/>
              <p:nvPr/>
            </p:nvSpPr>
            <p:spPr>
              <a:xfrm>
                <a:off x="4842300" y="3122950"/>
                <a:ext cx="2125" cy="6825"/>
              </a:xfrm>
              <a:custGeom>
                <a:avLst/>
                <a:gdLst/>
                <a:ahLst/>
                <a:cxnLst/>
                <a:rect l="l" t="t" r="r" b="b"/>
                <a:pathLst>
                  <a:path w="85" h="273" extrusionOk="0">
                    <a:moveTo>
                      <a:pt x="84" y="1"/>
                    </a:moveTo>
                    <a:lnTo>
                      <a:pt x="1" y="22"/>
                    </a:lnTo>
                    <a:lnTo>
                      <a:pt x="43" y="126"/>
                    </a:lnTo>
                    <a:lnTo>
                      <a:pt x="1" y="273"/>
                    </a:lnTo>
                    <a:lnTo>
                      <a:pt x="64" y="126"/>
                    </a:lnTo>
                    <a:lnTo>
                      <a:pt x="43" y="22"/>
                    </a:lnTo>
                    <a:lnTo>
                      <a:pt x="84" y="22"/>
                    </a:lnTo>
                    <a:lnTo>
                      <a:pt x="8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5" name="Google Shape;2065;p66"/>
              <p:cNvSpPr/>
              <p:nvPr/>
            </p:nvSpPr>
            <p:spPr>
              <a:xfrm>
                <a:off x="4842300" y="3106225"/>
                <a:ext cx="31425" cy="53375"/>
              </a:xfrm>
              <a:custGeom>
                <a:avLst/>
                <a:gdLst/>
                <a:ahLst/>
                <a:cxnLst/>
                <a:rect l="l" t="t" r="r" b="b"/>
                <a:pathLst>
                  <a:path w="1257" h="2135" extrusionOk="0">
                    <a:moveTo>
                      <a:pt x="273" y="0"/>
                    </a:moveTo>
                    <a:lnTo>
                      <a:pt x="273" y="21"/>
                    </a:lnTo>
                    <a:lnTo>
                      <a:pt x="294" y="42"/>
                    </a:lnTo>
                    <a:lnTo>
                      <a:pt x="273" y="63"/>
                    </a:lnTo>
                    <a:lnTo>
                      <a:pt x="252" y="105"/>
                    </a:lnTo>
                    <a:lnTo>
                      <a:pt x="252" y="126"/>
                    </a:lnTo>
                    <a:lnTo>
                      <a:pt x="252" y="209"/>
                    </a:lnTo>
                    <a:lnTo>
                      <a:pt x="189" y="314"/>
                    </a:lnTo>
                    <a:lnTo>
                      <a:pt x="147" y="272"/>
                    </a:lnTo>
                    <a:lnTo>
                      <a:pt x="84" y="230"/>
                    </a:lnTo>
                    <a:lnTo>
                      <a:pt x="1" y="230"/>
                    </a:lnTo>
                    <a:lnTo>
                      <a:pt x="1" y="251"/>
                    </a:lnTo>
                    <a:lnTo>
                      <a:pt x="84" y="272"/>
                    </a:lnTo>
                    <a:lnTo>
                      <a:pt x="105" y="335"/>
                    </a:lnTo>
                    <a:lnTo>
                      <a:pt x="84" y="356"/>
                    </a:lnTo>
                    <a:lnTo>
                      <a:pt x="147" y="461"/>
                    </a:lnTo>
                    <a:lnTo>
                      <a:pt x="147" y="628"/>
                    </a:lnTo>
                    <a:lnTo>
                      <a:pt x="84" y="691"/>
                    </a:lnTo>
                    <a:lnTo>
                      <a:pt x="64" y="942"/>
                    </a:lnTo>
                    <a:lnTo>
                      <a:pt x="84" y="1005"/>
                    </a:lnTo>
                    <a:lnTo>
                      <a:pt x="43" y="1046"/>
                    </a:lnTo>
                    <a:lnTo>
                      <a:pt x="84" y="1277"/>
                    </a:lnTo>
                    <a:lnTo>
                      <a:pt x="84" y="1360"/>
                    </a:lnTo>
                    <a:lnTo>
                      <a:pt x="168" y="1611"/>
                    </a:lnTo>
                    <a:lnTo>
                      <a:pt x="252" y="1925"/>
                    </a:lnTo>
                    <a:lnTo>
                      <a:pt x="315" y="2051"/>
                    </a:lnTo>
                    <a:lnTo>
                      <a:pt x="461" y="2134"/>
                    </a:lnTo>
                    <a:lnTo>
                      <a:pt x="587" y="2113"/>
                    </a:lnTo>
                    <a:lnTo>
                      <a:pt x="775" y="2093"/>
                    </a:lnTo>
                    <a:lnTo>
                      <a:pt x="942" y="2030"/>
                    </a:lnTo>
                    <a:lnTo>
                      <a:pt x="1131" y="1821"/>
                    </a:lnTo>
                    <a:lnTo>
                      <a:pt x="1214" y="1674"/>
                    </a:lnTo>
                    <a:lnTo>
                      <a:pt x="1256" y="1569"/>
                    </a:lnTo>
                    <a:lnTo>
                      <a:pt x="1235" y="1486"/>
                    </a:lnTo>
                    <a:lnTo>
                      <a:pt x="1256" y="1423"/>
                    </a:lnTo>
                    <a:lnTo>
                      <a:pt x="1256" y="1277"/>
                    </a:lnTo>
                    <a:lnTo>
                      <a:pt x="1235" y="1214"/>
                    </a:lnTo>
                    <a:lnTo>
                      <a:pt x="1256" y="1109"/>
                    </a:lnTo>
                    <a:lnTo>
                      <a:pt x="1152" y="1046"/>
                    </a:lnTo>
                    <a:lnTo>
                      <a:pt x="1089" y="795"/>
                    </a:lnTo>
                    <a:lnTo>
                      <a:pt x="1005" y="628"/>
                    </a:lnTo>
                    <a:lnTo>
                      <a:pt x="900" y="628"/>
                    </a:lnTo>
                    <a:lnTo>
                      <a:pt x="900" y="586"/>
                    </a:lnTo>
                    <a:lnTo>
                      <a:pt x="796" y="586"/>
                    </a:lnTo>
                    <a:lnTo>
                      <a:pt x="921" y="544"/>
                    </a:lnTo>
                    <a:lnTo>
                      <a:pt x="900" y="481"/>
                    </a:lnTo>
                    <a:lnTo>
                      <a:pt x="838" y="461"/>
                    </a:lnTo>
                    <a:lnTo>
                      <a:pt x="775" y="335"/>
                    </a:lnTo>
                    <a:lnTo>
                      <a:pt x="712" y="335"/>
                    </a:lnTo>
                    <a:lnTo>
                      <a:pt x="691" y="230"/>
                    </a:lnTo>
                    <a:lnTo>
                      <a:pt x="670" y="168"/>
                    </a:lnTo>
                    <a:lnTo>
                      <a:pt x="670" y="126"/>
                    </a:lnTo>
                    <a:lnTo>
                      <a:pt x="482" y="42"/>
                    </a:lnTo>
                    <a:lnTo>
                      <a:pt x="461" y="105"/>
                    </a:lnTo>
                    <a:lnTo>
                      <a:pt x="377" y="63"/>
                    </a:lnTo>
                    <a:lnTo>
                      <a:pt x="398" y="21"/>
                    </a:lnTo>
                    <a:lnTo>
                      <a:pt x="27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6" name="Google Shape;2066;p66"/>
              <p:cNvSpPr/>
              <p:nvPr/>
            </p:nvSpPr>
            <p:spPr>
              <a:xfrm>
                <a:off x="4844400" y="3099950"/>
                <a:ext cx="5250" cy="4725"/>
              </a:xfrm>
              <a:custGeom>
                <a:avLst/>
                <a:gdLst/>
                <a:ahLst/>
                <a:cxnLst/>
                <a:rect l="l" t="t" r="r" b="b"/>
                <a:pathLst>
                  <a:path w="210" h="189" extrusionOk="0">
                    <a:moveTo>
                      <a:pt x="189" y="0"/>
                    </a:moveTo>
                    <a:lnTo>
                      <a:pt x="0" y="42"/>
                    </a:lnTo>
                    <a:lnTo>
                      <a:pt x="0" y="105"/>
                    </a:lnTo>
                    <a:lnTo>
                      <a:pt x="126" y="188"/>
                    </a:lnTo>
                    <a:lnTo>
                      <a:pt x="126" y="147"/>
                    </a:lnTo>
                    <a:lnTo>
                      <a:pt x="168" y="147"/>
                    </a:lnTo>
                    <a:lnTo>
                      <a:pt x="210" y="42"/>
                    </a:lnTo>
                    <a:lnTo>
                      <a:pt x="18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7" name="Google Shape;2067;p66"/>
              <p:cNvSpPr/>
              <p:nvPr/>
            </p:nvSpPr>
            <p:spPr>
              <a:xfrm>
                <a:off x="4849625" y="3101500"/>
                <a:ext cx="7875" cy="6300"/>
              </a:xfrm>
              <a:custGeom>
                <a:avLst/>
                <a:gdLst/>
                <a:ahLst/>
                <a:cxnLst/>
                <a:rect l="l" t="t" r="r" b="b"/>
                <a:pathLst>
                  <a:path w="315" h="252" extrusionOk="0">
                    <a:moveTo>
                      <a:pt x="43" y="1"/>
                    </a:moveTo>
                    <a:lnTo>
                      <a:pt x="43" y="43"/>
                    </a:lnTo>
                    <a:lnTo>
                      <a:pt x="84" y="85"/>
                    </a:lnTo>
                    <a:lnTo>
                      <a:pt x="1" y="85"/>
                    </a:lnTo>
                    <a:lnTo>
                      <a:pt x="1" y="105"/>
                    </a:lnTo>
                    <a:lnTo>
                      <a:pt x="126" y="147"/>
                    </a:lnTo>
                    <a:lnTo>
                      <a:pt x="189" y="210"/>
                    </a:lnTo>
                    <a:lnTo>
                      <a:pt x="273" y="210"/>
                    </a:lnTo>
                    <a:lnTo>
                      <a:pt x="315" y="252"/>
                    </a:lnTo>
                    <a:lnTo>
                      <a:pt x="294" y="210"/>
                    </a:lnTo>
                    <a:lnTo>
                      <a:pt x="168" y="105"/>
                    </a:lnTo>
                    <a:lnTo>
                      <a:pt x="168" y="22"/>
                    </a:lnTo>
                    <a:lnTo>
                      <a:pt x="4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68" name="Google Shape;2068;p66"/>
            <p:cNvSpPr/>
            <p:nvPr/>
          </p:nvSpPr>
          <p:spPr>
            <a:xfrm>
              <a:off x="4210500" y="2911903"/>
              <a:ext cx="193104" cy="180152"/>
            </a:xfrm>
            <a:custGeom>
              <a:avLst/>
              <a:gdLst/>
              <a:ahLst/>
              <a:cxnLst/>
              <a:rect l="l" t="t" r="r" b="b"/>
              <a:pathLst>
                <a:path w="16217" h="15841" extrusionOk="0">
                  <a:moveTo>
                    <a:pt x="6906" y="15150"/>
                  </a:moveTo>
                  <a:lnTo>
                    <a:pt x="6927" y="15212"/>
                  </a:lnTo>
                  <a:lnTo>
                    <a:pt x="6927" y="15171"/>
                  </a:lnTo>
                  <a:lnTo>
                    <a:pt x="6906" y="15150"/>
                  </a:lnTo>
                  <a:close/>
                  <a:moveTo>
                    <a:pt x="3997" y="1"/>
                  </a:moveTo>
                  <a:lnTo>
                    <a:pt x="3914" y="147"/>
                  </a:lnTo>
                  <a:lnTo>
                    <a:pt x="3788" y="147"/>
                  </a:lnTo>
                  <a:lnTo>
                    <a:pt x="3600" y="294"/>
                  </a:lnTo>
                  <a:lnTo>
                    <a:pt x="3453" y="587"/>
                  </a:lnTo>
                  <a:lnTo>
                    <a:pt x="3391" y="629"/>
                  </a:lnTo>
                  <a:lnTo>
                    <a:pt x="3286" y="733"/>
                  </a:lnTo>
                  <a:lnTo>
                    <a:pt x="3223" y="733"/>
                  </a:lnTo>
                  <a:lnTo>
                    <a:pt x="3119" y="817"/>
                  </a:lnTo>
                  <a:lnTo>
                    <a:pt x="3014" y="838"/>
                  </a:lnTo>
                  <a:lnTo>
                    <a:pt x="2826" y="1026"/>
                  </a:lnTo>
                  <a:lnTo>
                    <a:pt x="2846" y="1089"/>
                  </a:lnTo>
                  <a:lnTo>
                    <a:pt x="2930" y="1298"/>
                  </a:lnTo>
                  <a:lnTo>
                    <a:pt x="2867" y="1570"/>
                  </a:lnTo>
                  <a:lnTo>
                    <a:pt x="2867" y="1717"/>
                  </a:lnTo>
                  <a:lnTo>
                    <a:pt x="2763" y="1779"/>
                  </a:lnTo>
                  <a:lnTo>
                    <a:pt x="2616" y="1968"/>
                  </a:lnTo>
                  <a:lnTo>
                    <a:pt x="2700" y="2031"/>
                  </a:lnTo>
                  <a:lnTo>
                    <a:pt x="2700" y="2135"/>
                  </a:lnTo>
                  <a:lnTo>
                    <a:pt x="2637" y="2261"/>
                  </a:lnTo>
                  <a:lnTo>
                    <a:pt x="2428" y="2365"/>
                  </a:lnTo>
                  <a:lnTo>
                    <a:pt x="2323" y="2554"/>
                  </a:lnTo>
                  <a:lnTo>
                    <a:pt x="2302" y="2721"/>
                  </a:lnTo>
                  <a:lnTo>
                    <a:pt x="2219" y="2867"/>
                  </a:lnTo>
                  <a:lnTo>
                    <a:pt x="1968" y="3035"/>
                  </a:lnTo>
                  <a:lnTo>
                    <a:pt x="1863" y="3391"/>
                  </a:lnTo>
                  <a:lnTo>
                    <a:pt x="1675" y="3600"/>
                  </a:lnTo>
                  <a:lnTo>
                    <a:pt x="1361" y="3600"/>
                  </a:lnTo>
                  <a:lnTo>
                    <a:pt x="1152" y="3725"/>
                  </a:lnTo>
                  <a:lnTo>
                    <a:pt x="1068" y="3704"/>
                  </a:lnTo>
                  <a:lnTo>
                    <a:pt x="1047" y="3600"/>
                  </a:lnTo>
                  <a:lnTo>
                    <a:pt x="922" y="3537"/>
                  </a:lnTo>
                  <a:lnTo>
                    <a:pt x="838" y="3600"/>
                  </a:lnTo>
                  <a:lnTo>
                    <a:pt x="733" y="3642"/>
                  </a:lnTo>
                  <a:lnTo>
                    <a:pt x="691" y="3746"/>
                  </a:lnTo>
                  <a:lnTo>
                    <a:pt x="545" y="3956"/>
                  </a:lnTo>
                  <a:lnTo>
                    <a:pt x="461" y="3976"/>
                  </a:lnTo>
                  <a:lnTo>
                    <a:pt x="357" y="4228"/>
                  </a:lnTo>
                  <a:lnTo>
                    <a:pt x="357" y="4374"/>
                  </a:lnTo>
                  <a:lnTo>
                    <a:pt x="461" y="4353"/>
                  </a:lnTo>
                  <a:lnTo>
                    <a:pt x="608" y="4395"/>
                  </a:lnTo>
                  <a:lnTo>
                    <a:pt x="670" y="4374"/>
                  </a:lnTo>
                  <a:lnTo>
                    <a:pt x="775" y="4374"/>
                  </a:lnTo>
                  <a:lnTo>
                    <a:pt x="859" y="4562"/>
                  </a:lnTo>
                  <a:lnTo>
                    <a:pt x="838" y="4688"/>
                  </a:lnTo>
                  <a:lnTo>
                    <a:pt x="859" y="4897"/>
                  </a:lnTo>
                  <a:lnTo>
                    <a:pt x="1068" y="5023"/>
                  </a:lnTo>
                  <a:lnTo>
                    <a:pt x="1173" y="5023"/>
                  </a:lnTo>
                  <a:lnTo>
                    <a:pt x="1256" y="5085"/>
                  </a:lnTo>
                  <a:lnTo>
                    <a:pt x="1214" y="5169"/>
                  </a:lnTo>
                  <a:lnTo>
                    <a:pt x="1340" y="5316"/>
                  </a:lnTo>
                  <a:lnTo>
                    <a:pt x="1466" y="5692"/>
                  </a:lnTo>
                  <a:lnTo>
                    <a:pt x="1445" y="5755"/>
                  </a:lnTo>
                  <a:lnTo>
                    <a:pt x="1486" y="5818"/>
                  </a:lnTo>
                  <a:lnTo>
                    <a:pt x="1382" y="5860"/>
                  </a:lnTo>
                  <a:lnTo>
                    <a:pt x="1256" y="5943"/>
                  </a:lnTo>
                  <a:lnTo>
                    <a:pt x="1194" y="5860"/>
                  </a:lnTo>
                  <a:lnTo>
                    <a:pt x="1256" y="5797"/>
                  </a:lnTo>
                  <a:lnTo>
                    <a:pt x="1256" y="5797"/>
                  </a:lnTo>
                  <a:lnTo>
                    <a:pt x="1131" y="5818"/>
                  </a:lnTo>
                  <a:lnTo>
                    <a:pt x="1068" y="5860"/>
                  </a:lnTo>
                  <a:lnTo>
                    <a:pt x="838" y="5964"/>
                  </a:lnTo>
                  <a:lnTo>
                    <a:pt x="440" y="5943"/>
                  </a:lnTo>
                  <a:lnTo>
                    <a:pt x="336" y="6006"/>
                  </a:lnTo>
                  <a:lnTo>
                    <a:pt x="252" y="5964"/>
                  </a:lnTo>
                  <a:lnTo>
                    <a:pt x="210" y="6111"/>
                  </a:lnTo>
                  <a:lnTo>
                    <a:pt x="126" y="6132"/>
                  </a:lnTo>
                  <a:lnTo>
                    <a:pt x="22" y="6215"/>
                  </a:lnTo>
                  <a:lnTo>
                    <a:pt x="1" y="6362"/>
                  </a:lnTo>
                  <a:lnTo>
                    <a:pt x="168" y="6257"/>
                  </a:lnTo>
                  <a:lnTo>
                    <a:pt x="336" y="6236"/>
                  </a:lnTo>
                  <a:lnTo>
                    <a:pt x="210" y="6320"/>
                  </a:lnTo>
                  <a:lnTo>
                    <a:pt x="106" y="6445"/>
                  </a:lnTo>
                  <a:lnTo>
                    <a:pt x="85" y="6571"/>
                  </a:lnTo>
                  <a:lnTo>
                    <a:pt x="147" y="6592"/>
                  </a:lnTo>
                  <a:lnTo>
                    <a:pt x="336" y="6780"/>
                  </a:lnTo>
                  <a:lnTo>
                    <a:pt x="691" y="6906"/>
                  </a:lnTo>
                  <a:lnTo>
                    <a:pt x="817" y="6885"/>
                  </a:lnTo>
                  <a:lnTo>
                    <a:pt x="963" y="6885"/>
                  </a:lnTo>
                  <a:lnTo>
                    <a:pt x="1194" y="6780"/>
                  </a:lnTo>
                  <a:lnTo>
                    <a:pt x="1194" y="6738"/>
                  </a:lnTo>
                  <a:lnTo>
                    <a:pt x="1194" y="6697"/>
                  </a:lnTo>
                  <a:lnTo>
                    <a:pt x="1214" y="6697"/>
                  </a:lnTo>
                  <a:lnTo>
                    <a:pt x="1340" y="6738"/>
                  </a:lnTo>
                  <a:lnTo>
                    <a:pt x="1298" y="6843"/>
                  </a:lnTo>
                  <a:lnTo>
                    <a:pt x="1256" y="6843"/>
                  </a:lnTo>
                  <a:lnTo>
                    <a:pt x="1152" y="6989"/>
                  </a:lnTo>
                  <a:lnTo>
                    <a:pt x="1068" y="6989"/>
                  </a:lnTo>
                  <a:lnTo>
                    <a:pt x="838" y="7178"/>
                  </a:lnTo>
                  <a:lnTo>
                    <a:pt x="838" y="7220"/>
                  </a:lnTo>
                  <a:lnTo>
                    <a:pt x="754" y="7199"/>
                  </a:lnTo>
                  <a:lnTo>
                    <a:pt x="733" y="7199"/>
                  </a:lnTo>
                  <a:lnTo>
                    <a:pt x="650" y="7261"/>
                  </a:lnTo>
                  <a:lnTo>
                    <a:pt x="566" y="7220"/>
                  </a:lnTo>
                  <a:lnTo>
                    <a:pt x="566" y="7115"/>
                  </a:lnTo>
                  <a:lnTo>
                    <a:pt x="503" y="7115"/>
                  </a:lnTo>
                  <a:lnTo>
                    <a:pt x="461" y="7094"/>
                  </a:lnTo>
                  <a:lnTo>
                    <a:pt x="419" y="7094"/>
                  </a:lnTo>
                  <a:lnTo>
                    <a:pt x="398" y="7178"/>
                  </a:lnTo>
                  <a:lnTo>
                    <a:pt x="419" y="7261"/>
                  </a:lnTo>
                  <a:lnTo>
                    <a:pt x="650" y="7492"/>
                  </a:lnTo>
                  <a:lnTo>
                    <a:pt x="733" y="7533"/>
                  </a:lnTo>
                  <a:lnTo>
                    <a:pt x="775" y="7533"/>
                  </a:lnTo>
                  <a:lnTo>
                    <a:pt x="817" y="7575"/>
                  </a:lnTo>
                  <a:lnTo>
                    <a:pt x="984" y="7826"/>
                  </a:lnTo>
                  <a:lnTo>
                    <a:pt x="1403" y="8161"/>
                  </a:lnTo>
                  <a:lnTo>
                    <a:pt x="1612" y="8224"/>
                  </a:lnTo>
                  <a:lnTo>
                    <a:pt x="1779" y="8161"/>
                  </a:lnTo>
                  <a:lnTo>
                    <a:pt x="2072" y="7994"/>
                  </a:lnTo>
                  <a:lnTo>
                    <a:pt x="2261" y="7889"/>
                  </a:lnTo>
                  <a:lnTo>
                    <a:pt x="2261" y="7826"/>
                  </a:lnTo>
                  <a:lnTo>
                    <a:pt x="2344" y="7722"/>
                  </a:lnTo>
                  <a:lnTo>
                    <a:pt x="2386" y="7513"/>
                  </a:lnTo>
                  <a:lnTo>
                    <a:pt x="2302" y="7408"/>
                  </a:lnTo>
                  <a:lnTo>
                    <a:pt x="2386" y="7199"/>
                  </a:lnTo>
                  <a:lnTo>
                    <a:pt x="2386" y="7094"/>
                  </a:lnTo>
                  <a:lnTo>
                    <a:pt x="2407" y="7010"/>
                  </a:lnTo>
                  <a:lnTo>
                    <a:pt x="2428" y="7094"/>
                  </a:lnTo>
                  <a:lnTo>
                    <a:pt x="2595" y="7094"/>
                  </a:lnTo>
                  <a:lnTo>
                    <a:pt x="2637" y="7115"/>
                  </a:lnTo>
                  <a:lnTo>
                    <a:pt x="2742" y="7073"/>
                  </a:lnTo>
                  <a:lnTo>
                    <a:pt x="2721" y="7115"/>
                  </a:lnTo>
                  <a:lnTo>
                    <a:pt x="2616" y="7220"/>
                  </a:lnTo>
                  <a:lnTo>
                    <a:pt x="2533" y="7199"/>
                  </a:lnTo>
                  <a:lnTo>
                    <a:pt x="2512" y="7220"/>
                  </a:lnTo>
                  <a:lnTo>
                    <a:pt x="2491" y="7366"/>
                  </a:lnTo>
                  <a:lnTo>
                    <a:pt x="2533" y="7429"/>
                  </a:lnTo>
                  <a:lnTo>
                    <a:pt x="2533" y="7533"/>
                  </a:lnTo>
                  <a:lnTo>
                    <a:pt x="2595" y="7575"/>
                  </a:lnTo>
                  <a:lnTo>
                    <a:pt x="2742" y="7533"/>
                  </a:lnTo>
                  <a:lnTo>
                    <a:pt x="2826" y="7575"/>
                  </a:lnTo>
                  <a:lnTo>
                    <a:pt x="2742" y="7575"/>
                  </a:lnTo>
                  <a:lnTo>
                    <a:pt x="2700" y="7617"/>
                  </a:lnTo>
                  <a:lnTo>
                    <a:pt x="2554" y="7701"/>
                  </a:lnTo>
                  <a:lnTo>
                    <a:pt x="2616" y="7952"/>
                  </a:lnTo>
                  <a:lnTo>
                    <a:pt x="2700" y="8015"/>
                  </a:lnTo>
                  <a:lnTo>
                    <a:pt x="2742" y="8203"/>
                  </a:lnTo>
                  <a:lnTo>
                    <a:pt x="2742" y="8349"/>
                  </a:lnTo>
                  <a:lnTo>
                    <a:pt x="2700" y="8475"/>
                  </a:lnTo>
                  <a:lnTo>
                    <a:pt x="2700" y="8580"/>
                  </a:lnTo>
                  <a:lnTo>
                    <a:pt x="2784" y="8642"/>
                  </a:lnTo>
                  <a:lnTo>
                    <a:pt x="2700" y="8684"/>
                  </a:lnTo>
                  <a:lnTo>
                    <a:pt x="2721" y="8873"/>
                  </a:lnTo>
                  <a:lnTo>
                    <a:pt x="2867" y="9186"/>
                  </a:lnTo>
                  <a:lnTo>
                    <a:pt x="2909" y="9291"/>
                  </a:lnTo>
                  <a:lnTo>
                    <a:pt x="2951" y="9375"/>
                  </a:lnTo>
                  <a:lnTo>
                    <a:pt x="2867" y="9396"/>
                  </a:lnTo>
                  <a:lnTo>
                    <a:pt x="2867" y="9521"/>
                  </a:lnTo>
                  <a:lnTo>
                    <a:pt x="3035" y="9730"/>
                  </a:lnTo>
                  <a:lnTo>
                    <a:pt x="2909" y="9730"/>
                  </a:lnTo>
                  <a:lnTo>
                    <a:pt x="3035" y="9919"/>
                  </a:lnTo>
                  <a:lnTo>
                    <a:pt x="3035" y="10086"/>
                  </a:lnTo>
                  <a:lnTo>
                    <a:pt x="3265" y="10546"/>
                  </a:lnTo>
                  <a:lnTo>
                    <a:pt x="3265" y="10860"/>
                  </a:lnTo>
                  <a:lnTo>
                    <a:pt x="3370" y="11132"/>
                  </a:lnTo>
                  <a:lnTo>
                    <a:pt x="3453" y="11174"/>
                  </a:lnTo>
                  <a:lnTo>
                    <a:pt x="3495" y="11342"/>
                  </a:lnTo>
                  <a:lnTo>
                    <a:pt x="3579" y="11383"/>
                  </a:lnTo>
                  <a:lnTo>
                    <a:pt x="3579" y="11467"/>
                  </a:lnTo>
                  <a:lnTo>
                    <a:pt x="3704" y="11697"/>
                  </a:lnTo>
                  <a:lnTo>
                    <a:pt x="3767" y="11718"/>
                  </a:lnTo>
                  <a:lnTo>
                    <a:pt x="3767" y="11781"/>
                  </a:lnTo>
                  <a:lnTo>
                    <a:pt x="3893" y="11969"/>
                  </a:lnTo>
                  <a:lnTo>
                    <a:pt x="3955" y="11969"/>
                  </a:lnTo>
                  <a:lnTo>
                    <a:pt x="3955" y="12178"/>
                  </a:lnTo>
                  <a:lnTo>
                    <a:pt x="3997" y="12241"/>
                  </a:lnTo>
                  <a:lnTo>
                    <a:pt x="4081" y="12388"/>
                  </a:lnTo>
                  <a:lnTo>
                    <a:pt x="4102" y="12555"/>
                  </a:lnTo>
                  <a:lnTo>
                    <a:pt x="4207" y="12827"/>
                  </a:lnTo>
                  <a:lnTo>
                    <a:pt x="4269" y="12932"/>
                  </a:lnTo>
                  <a:lnTo>
                    <a:pt x="4290" y="13162"/>
                  </a:lnTo>
                  <a:lnTo>
                    <a:pt x="4332" y="13225"/>
                  </a:lnTo>
                  <a:lnTo>
                    <a:pt x="4416" y="13371"/>
                  </a:lnTo>
                  <a:lnTo>
                    <a:pt x="4583" y="13539"/>
                  </a:lnTo>
                  <a:lnTo>
                    <a:pt x="4604" y="13539"/>
                  </a:lnTo>
                  <a:lnTo>
                    <a:pt x="4709" y="13685"/>
                  </a:lnTo>
                  <a:lnTo>
                    <a:pt x="4876" y="13894"/>
                  </a:lnTo>
                  <a:lnTo>
                    <a:pt x="4939" y="14083"/>
                  </a:lnTo>
                  <a:lnTo>
                    <a:pt x="5002" y="14229"/>
                  </a:lnTo>
                  <a:lnTo>
                    <a:pt x="5043" y="14271"/>
                  </a:lnTo>
                  <a:lnTo>
                    <a:pt x="5043" y="14375"/>
                  </a:lnTo>
                  <a:lnTo>
                    <a:pt x="5169" y="14606"/>
                  </a:lnTo>
                  <a:lnTo>
                    <a:pt x="5232" y="14815"/>
                  </a:lnTo>
                  <a:lnTo>
                    <a:pt x="5232" y="15045"/>
                  </a:lnTo>
                  <a:lnTo>
                    <a:pt x="5441" y="15484"/>
                  </a:lnTo>
                  <a:lnTo>
                    <a:pt x="5629" y="15673"/>
                  </a:lnTo>
                  <a:lnTo>
                    <a:pt x="5776" y="15798"/>
                  </a:lnTo>
                  <a:lnTo>
                    <a:pt x="5985" y="15840"/>
                  </a:lnTo>
                  <a:lnTo>
                    <a:pt x="6194" y="15673"/>
                  </a:lnTo>
                  <a:lnTo>
                    <a:pt x="6257" y="15547"/>
                  </a:lnTo>
                  <a:lnTo>
                    <a:pt x="6215" y="15484"/>
                  </a:lnTo>
                  <a:lnTo>
                    <a:pt x="6257" y="15464"/>
                  </a:lnTo>
                  <a:lnTo>
                    <a:pt x="6278" y="15422"/>
                  </a:lnTo>
                  <a:lnTo>
                    <a:pt x="6320" y="15317"/>
                  </a:lnTo>
                  <a:lnTo>
                    <a:pt x="6529" y="15212"/>
                  </a:lnTo>
                  <a:lnTo>
                    <a:pt x="6571" y="15212"/>
                  </a:lnTo>
                  <a:lnTo>
                    <a:pt x="6822" y="15129"/>
                  </a:lnTo>
                  <a:lnTo>
                    <a:pt x="6906" y="15150"/>
                  </a:lnTo>
                  <a:lnTo>
                    <a:pt x="6717" y="15045"/>
                  </a:lnTo>
                  <a:lnTo>
                    <a:pt x="6696" y="14961"/>
                  </a:lnTo>
                  <a:lnTo>
                    <a:pt x="6738" y="14919"/>
                  </a:lnTo>
                  <a:lnTo>
                    <a:pt x="6906" y="14710"/>
                  </a:lnTo>
                  <a:lnTo>
                    <a:pt x="6885" y="14647"/>
                  </a:lnTo>
                  <a:lnTo>
                    <a:pt x="6927" y="14543"/>
                  </a:lnTo>
                  <a:lnTo>
                    <a:pt x="7094" y="14522"/>
                  </a:lnTo>
                  <a:lnTo>
                    <a:pt x="7136" y="14543"/>
                  </a:lnTo>
                  <a:lnTo>
                    <a:pt x="7261" y="14522"/>
                  </a:lnTo>
                  <a:lnTo>
                    <a:pt x="7261" y="14375"/>
                  </a:lnTo>
                  <a:lnTo>
                    <a:pt x="7220" y="13894"/>
                  </a:lnTo>
                  <a:lnTo>
                    <a:pt x="7157" y="13811"/>
                  </a:lnTo>
                  <a:lnTo>
                    <a:pt x="7157" y="13580"/>
                  </a:lnTo>
                  <a:lnTo>
                    <a:pt x="7303" y="13329"/>
                  </a:lnTo>
                  <a:lnTo>
                    <a:pt x="7429" y="12953"/>
                  </a:lnTo>
                  <a:lnTo>
                    <a:pt x="7429" y="12660"/>
                  </a:lnTo>
                  <a:lnTo>
                    <a:pt x="7261" y="12618"/>
                  </a:lnTo>
                  <a:lnTo>
                    <a:pt x="7261" y="12178"/>
                  </a:lnTo>
                  <a:lnTo>
                    <a:pt x="7240" y="12011"/>
                  </a:lnTo>
                  <a:lnTo>
                    <a:pt x="7345" y="11906"/>
                  </a:lnTo>
                  <a:lnTo>
                    <a:pt x="7240" y="11614"/>
                  </a:lnTo>
                  <a:lnTo>
                    <a:pt x="7240" y="11404"/>
                  </a:lnTo>
                  <a:lnTo>
                    <a:pt x="7303" y="11300"/>
                  </a:lnTo>
                  <a:lnTo>
                    <a:pt x="7492" y="11132"/>
                  </a:lnTo>
                  <a:lnTo>
                    <a:pt x="7533" y="11132"/>
                  </a:lnTo>
                  <a:lnTo>
                    <a:pt x="7617" y="11195"/>
                  </a:lnTo>
                  <a:lnTo>
                    <a:pt x="7680" y="11237"/>
                  </a:lnTo>
                  <a:lnTo>
                    <a:pt x="7847" y="11028"/>
                  </a:lnTo>
                  <a:lnTo>
                    <a:pt x="7847" y="10881"/>
                  </a:lnTo>
                  <a:lnTo>
                    <a:pt x="7952" y="10818"/>
                  </a:lnTo>
                  <a:lnTo>
                    <a:pt x="8203" y="10839"/>
                  </a:lnTo>
                  <a:lnTo>
                    <a:pt x="8349" y="10756"/>
                  </a:lnTo>
                  <a:lnTo>
                    <a:pt x="8454" y="10609"/>
                  </a:lnTo>
                  <a:lnTo>
                    <a:pt x="8412" y="10463"/>
                  </a:lnTo>
                  <a:lnTo>
                    <a:pt x="8454" y="10358"/>
                  </a:lnTo>
                  <a:lnTo>
                    <a:pt x="8600" y="10212"/>
                  </a:lnTo>
                  <a:lnTo>
                    <a:pt x="8810" y="10149"/>
                  </a:lnTo>
                  <a:lnTo>
                    <a:pt x="8935" y="10023"/>
                  </a:lnTo>
                  <a:lnTo>
                    <a:pt x="9019" y="9877"/>
                  </a:lnTo>
                  <a:lnTo>
                    <a:pt x="9542" y="9479"/>
                  </a:lnTo>
                  <a:lnTo>
                    <a:pt x="9626" y="9186"/>
                  </a:lnTo>
                  <a:lnTo>
                    <a:pt x="10023" y="8852"/>
                  </a:lnTo>
                  <a:lnTo>
                    <a:pt x="9961" y="8831"/>
                  </a:lnTo>
                  <a:lnTo>
                    <a:pt x="9940" y="8852"/>
                  </a:lnTo>
                  <a:lnTo>
                    <a:pt x="9856" y="8893"/>
                  </a:lnTo>
                  <a:lnTo>
                    <a:pt x="9877" y="8747"/>
                  </a:lnTo>
                  <a:lnTo>
                    <a:pt x="9940" y="8747"/>
                  </a:lnTo>
                  <a:lnTo>
                    <a:pt x="10044" y="8663"/>
                  </a:lnTo>
                  <a:lnTo>
                    <a:pt x="10065" y="8663"/>
                  </a:lnTo>
                  <a:lnTo>
                    <a:pt x="10086" y="8684"/>
                  </a:lnTo>
                  <a:lnTo>
                    <a:pt x="10086" y="8747"/>
                  </a:lnTo>
                  <a:lnTo>
                    <a:pt x="10149" y="8789"/>
                  </a:lnTo>
                  <a:lnTo>
                    <a:pt x="10463" y="8621"/>
                  </a:lnTo>
                  <a:lnTo>
                    <a:pt x="10463" y="8559"/>
                  </a:lnTo>
                  <a:lnTo>
                    <a:pt x="10672" y="8412"/>
                  </a:lnTo>
                  <a:lnTo>
                    <a:pt x="10630" y="8329"/>
                  </a:lnTo>
                  <a:lnTo>
                    <a:pt x="10714" y="8329"/>
                  </a:lnTo>
                  <a:lnTo>
                    <a:pt x="10756" y="8224"/>
                  </a:lnTo>
                  <a:lnTo>
                    <a:pt x="10881" y="8119"/>
                  </a:lnTo>
                  <a:lnTo>
                    <a:pt x="10818" y="8098"/>
                  </a:lnTo>
                  <a:lnTo>
                    <a:pt x="10860" y="8057"/>
                  </a:lnTo>
                  <a:lnTo>
                    <a:pt x="10777" y="7931"/>
                  </a:lnTo>
                  <a:lnTo>
                    <a:pt x="10777" y="7847"/>
                  </a:lnTo>
                  <a:lnTo>
                    <a:pt x="10818" y="7743"/>
                  </a:lnTo>
                  <a:lnTo>
                    <a:pt x="10860" y="7680"/>
                  </a:lnTo>
                  <a:lnTo>
                    <a:pt x="10902" y="7617"/>
                  </a:lnTo>
                  <a:lnTo>
                    <a:pt x="11279" y="7492"/>
                  </a:lnTo>
                  <a:lnTo>
                    <a:pt x="11341" y="7387"/>
                  </a:lnTo>
                  <a:lnTo>
                    <a:pt x="11341" y="7303"/>
                  </a:lnTo>
                  <a:lnTo>
                    <a:pt x="11404" y="7220"/>
                  </a:lnTo>
                  <a:lnTo>
                    <a:pt x="11425" y="7178"/>
                  </a:lnTo>
                  <a:lnTo>
                    <a:pt x="11383" y="7115"/>
                  </a:lnTo>
                  <a:lnTo>
                    <a:pt x="11321" y="7115"/>
                  </a:lnTo>
                  <a:lnTo>
                    <a:pt x="11300" y="7073"/>
                  </a:lnTo>
                  <a:lnTo>
                    <a:pt x="11404" y="7073"/>
                  </a:lnTo>
                  <a:lnTo>
                    <a:pt x="11488" y="7157"/>
                  </a:lnTo>
                  <a:lnTo>
                    <a:pt x="11488" y="7261"/>
                  </a:lnTo>
                  <a:lnTo>
                    <a:pt x="11509" y="7387"/>
                  </a:lnTo>
                  <a:lnTo>
                    <a:pt x="11593" y="7408"/>
                  </a:lnTo>
                  <a:lnTo>
                    <a:pt x="11676" y="7408"/>
                  </a:lnTo>
                  <a:lnTo>
                    <a:pt x="11718" y="7366"/>
                  </a:lnTo>
                  <a:lnTo>
                    <a:pt x="11739" y="7387"/>
                  </a:lnTo>
                  <a:lnTo>
                    <a:pt x="11739" y="7324"/>
                  </a:lnTo>
                  <a:lnTo>
                    <a:pt x="11760" y="7282"/>
                  </a:lnTo>
                  <a:lnTo>
                    <a:pt x="11802" y="7324"/>
                  </a:lnTo>
                  <a:lnTo>
                    <a:pt x="11823" y="7492"/>
                  </a:lnTo>
                  <a:lnTo>
                    <a:pt x="11906" y="7513"/>
                  </a:lnTo>
                  <a:lnTo>
                    <a:pt x="11906" y="7429"/>
                  </a:lnTo>
                  <a:lnTo>
                    <a:pt x="11969" y="7533"/>
                  </a:lnTo>
                  <a:lnTo>
                    <a:pt x="12032" y="7429"/>
                  </a:lnTo>
                  <a:lnTo>
                    <a:pt x="11969" y="7303"/>
                  </a:lnTo>
                  <a:lnTo>
                    <a:pt x="12011" y="7303"/>
                  </a:lnTo>
                  <a:lnTo>
                    <a:pt x="11969" y="7115"/>
                  </a:lnTo>
                  <a:lnTo>
                    <a:pt x="11948" y="7010"/>
                  </a:lnTo>
                  <a:lnTo>
                    <a:pt x="11948" y="6864"/>
                  </a:lnTo>
                  <a:lnTo>
                    <a:pt x="11760" y="6634"/>
                  </a:lnTo>
                  <a:lnTo>
                    <a:pt x="11739" y="6445"/>
                  </a:lnTo>
                  <a:lnTo>
                    <a:pt x="11760" y="6341"/>
                  </a:lnTo>
                  <a:lnTo>
                    <a:pt x="11718" y="6215"/>
                  </a:lnTo>
                  <a:lnTo>
                    <a:pt x="11718" y="6027"/>
                  </a:lnTo>
                  <a:lnTo>
                    <a:pt x="11551" y="5839"/>
                  </a:lnTo>
                  <a:lnTo>
                    <a:pt x="11425" y="5797"/>
                  </a:lnTo>
                  <a:lnTo>
                    <a:pt x="11300" y="5629"/>
                  </a:lnTo>
                  <a:lnTo>
                    <a:pt x="11300" y="5399"/>
                  </a:lnTo>
                  <a:lnTo>
                    <a:pt x="11404" y="5378"/>
                  </a:lnTo>
                  <a:lnTo>
                    <a:pt x="11446" y="5211"/>
                  </a:lnTo>
                  <a:lnTo>
                    <a:pt x="11530" y="5169"/>
                  </a:lnTo>
                  <a:lnTo>
                    <a:pt x="11613" y="5190"/>
                  </a:lnTo>
                  <a:lnTo>
                    <a:pt x="11676" y="5127"/>
                  </a:lnTo>
                  <a:lnTo>
                    <a:pt x="11634" y="4981"/>
                  </a:lnTo>
                  <a:lnTo>
                    <a:pt x="11655" y="4918"/>
                  </a:lnTo>
                  <a:lnTo>
                    <a:pt x="11530" y="4897"/>
                  </a:lnTo>
                  <a:lnTo>
                    <a:pt x="11425" y="4960"/>
                  </a:lnTo>
                  <a:lnTo>
                    <a:pt x="11132" y="4855"/>
                  </a:lnTo>
                  <a:lnTo>
                    <a:pt x="11153" y="4709"/>
                  </a:lnTo>
                  <a:lnTo>
                    <a:pt x="11279" y="4583"/>
                  </a:lnTo>
                  <a:lnTo>
                    <a:pt x="11321" y="4437"/>
                  </a:lnTo>
                  <a:lnTo>
                    <a:pt x="11279" y="4374"/>
                  </a:lnTo>
                  <a:lnTo>
                    <a:pt x="11279" y="4290"/>
                  </a:lnTo>
                  <a:lnTo>
                    <a:pt x="11321" y="4290"/>
                  </a:lnTo>
                  <a:lnTo>
                    <a:pt x="11341" y="4228"/>
                  </a:lnTo>
                  <a:lnTo>
                    <a:pt x="11404" y="4269"/>
                  </a:lnTo>
                  <a:lnTo>
                    <a:pt x="11488" y="4374"/>
                  </a:lnTo>
                  <a:lnTo>
                    <a:pt x="11488" y="4437"/>
                  </a:lnTo>
                  <a:lnTo>
                    <a:pt x="11551" y="4541"/>
                  </a:lnTo>
                  <a:lnTo>
                    <a:pt x="11676" y="4562"/>
                  </a:lnTo>
                  <a:lnTo>
                    <a:pt x="11739" y="4541"/>
                  </a:lnTo>
                  <a:lnTo>
                    <a:pt x="11655" y="4479"/>
                  </a:lnTo>
                  <a:lnTo>
                    <a:pt x="11676" y="4395"/>
                  </a:lnTo>
                  <a:lnTo>
                    <a:pt x="11739" y="4395"/>
                  </a:lnTo>
                  <a:lnTo>
                    <a:pt x="11823" y="4479"/>
                  </a:lnTo>
                  <a:lnTo>
                    <a:pt x="11865" y="4541"/>
                  </a:lnTo>
                  <a:lnTo>
                    <a:pt x="11969" y="4583"/>
                  </a:lnTo>
                  <a:lnTo>
                    <a:pt x="12011" y="4541"/>
                  </a:lnTo>
                  <a:lnTo>
                    <a:pt x="12053" y="4541"/>
                  </a:lnTo>
                  <a:lnTo>
                    <a:pt x="12137" y="4667"/>
                  </a:lnTo>
                  <a:lnTo>
                    <a:pt x="12158" y="4792"/>
                  </a:lnTo>
                  <a:lnTo>
                    <a:pt x="12158" y="4876"/>
                  </a:lnTo>
                  <a:lnTo>
                    <a:pt x="12199" y="5002"/>
                  </a:lnTo>
                  <a:lnTo>
                    <a:pt x="12199" y="5085"/>
                  </a:lnTo>
                  <a:lnTo>
                    <a:pt x="12325" y="5127"/>
                  </a:lnTo>
                  <a:lnTo>
                    <a:pt x="12430" y="5106"/>
                  </a:lnTo>
                  <a:lnTo>
                    <a:pt x="12555" y="5169"/>
                  </a:lnTo>
                  <a:lnTo>
                    <a:pt x="12911" y="5169"/>
                  </a:lnTo>
                  <a:lnTo>
                    <a:pt x="13099" y="5190"/>
                  </a:lnTo>
                  <a:lnTo>
                    <a:pt x="13308" y="5169"/>
                  </a:lnTo>
                  <a:lnTo>
                    <a:pt x="13392" y="5169"/>
                  </a:lnTo>
                  <a:lnTo>
                    <a:pt x="13434" y="5190"/>
                  </a:lnTo>
                  <a:lnTo>
                    <a:pt x="13497" y="5169"/>
                  </a:lnTo>
                  <a:lnTo>
                    <a:pt x="13601" y="5274"/>
                  </a:lnTo>
                  <a:lnTo>
                    <a:pt x="13643" y="5295"/>
                  </a:lnTo>
                  <a:lnTo>
                    <a:pt x="13601" y="5420"/>
                  </a:lnTo>
                  <a:lnTo>
                    <a:pt x="13580" y="5546"/>
                  </a:lnTo>
                  <a:lnTo>
                    <a:pt x="13497" y="5755"/>
                  </a:lnTo>
                  <a:lnTo>
                    <a:pt x="13434" y="5797"/>
                  </a:lnTo>
                  <a:lnTo>
                    <a:pt x="13434" y="5860"/>
                  </a:lnTo>
                  <a:lnTo>
                    <a:pt x="13392" y="5922"/>
                  </a:lnTo>
                  <a:lnTo>
                    <a:pt x="13308" y="5922"/>
                  </a:lnTo>
                  <a:lnTo>
                    <a:pt x="13287" y="5860"/>
                  </a:lnTo>
                  <a:lnTo>
                    <a:pt x="13183" y="5943"/>
                  </a:lnTo>
                  <a:lnTo>
                    <a:pt x="13162" y="6027"/>
                  </a:lnTo>
                  <a:lnTo>
                    <a:pt x="13099" y="6048"/>
                  </a:lnTo>
                  <a:lnTo>
                    <a:pt x="13099" y="6132"/>
                  </a:lnTo>
                  <a:lnTo>
                    <a:pt x="13162" y="6278"/>
                  </a:lnTo>
                  <a:lnTo>
                    <a:pt x="13225" y="6341"/>
                  </a:lnTo>
                  <a:lnTo>
                    <a:pt x="13225" y="6383"/>
                  </a:lnTo>
                  <a:lnTo>
                    <a:pt x="13329" y="6487"/>
                  </a:lnTo>
                  <a:lnTo>
                    <a:pt x="13413" y="6592"/>
                  </a:lnTo>
                  <a:lnTo>
                    <a:pt x="13497" y="6592"/>
                  </a:lnTo>
                  <a:lnTo>
                    <a:pt x="13497" y="6529"/>
                  </a:lnTo>
                  <a:lnTo>
                    <a:pt x="13476" y="6466"/>
                  </a:lnTo>
                  <a:lnTo>
                    <a:pt x="13518" y="6383"/>
                  </a:lnTo>
                  <a:lnTo>
                    <a:pt x="13518" y="6341"/>
                  </a:lnTo>
                  <a:lnTo>
                    <a:pt x="13538" y="6278"/>
                  </a:lnTo>
                  <a:lnTo>
                    <a:pt x="13518" y="6236"/>
                  </a:lnTo>
                  <a:lnTo>
                    <a:pt x="13580" y="6173"/>
                  </a:lnTo>
                  <a:lnTo>
                    <a:pt x="13643" y="6236"/>
                  </a:lnTo>
                  <a:lnTo>
                    <a:pt x="13727" y="6236"/>
                  </a:lnTo>
                  <a:lnTo>
                    <a:pt x="13769" y="6278"/>
                  </a:lnTo>
                  <a:lnTo>
                    <a:pt x="13831" y="6362"/>
                  </a:lnTo>
                  <a:lnTo>
                    <a:pt x="13852" y="6529"/>
                  </a:lnTo>
                  <a:lnTo>
                    <a:pt x="13852" y="6655"/>
                  </a:lnTo>
                  <a:lnTo>
                    <a:pt x="13915" y="6738"/>
                  </a:lnTo>
                  <a:lnTo>
                    <a:pt x="13936" y="6969"/>
                  </a:lnTo>
                  <a:lnTo>
                    <a:pt x="13999" y="7115"/>
                  </a:lnTo>
                  <a:lnTo>
                    <a:pt x="14020" y="7199"/>
                  </a:lnTo>
                  <a:lnTo>
                    <a:pt x="14041" y="7261"/>
                  </a:lnTo>
                  <a:lnTo>
                    <a:pt x="14041" y="7303"/>
                  </a:lnTo>
                  <a:lnTo>
                    <a:pt x="14062" y="7366"/>
                  </a:lnTo>
                  <a:lnTo>
                    <a:pt x="14103" y="7387"/>
                  </a:lnTo>
                  <a:lnTo>
                    <a:pt x="14103" y="7303"/>
                  </a:lnTo>
                  <a:lnTo>
                    <a:pt x="14124" y="7199"/>
                  </a:lnTo>
                  <a:lnTo>
                    <a:pt x="14166" y="7220"/>
                  </a:lnTo>
                  <a:lnTo>
                    <a:pt x="14250" y="7199"/>
                  </a:lnTo>
                  <a:lnTo>
                    <a:pt x="14292" y="6989"/>
                  </a:lnTo>
                  <a:lnTo>
                    <a:pt x="14271" y="6885"/>
                  </a:lnTo>
                  <a:lnTo>
                    <a:pt x="14292" y="6759"/>
                  </a:lnTo>
                  <a:lnTo>
                    <a:pt x="14271" y="6592"/>
                  </a:lnTo>
                  <a:lnTo>
                    <a:pt x="14417" y="6592"/>
                  </a:lnTo>
                  <a:lnTo>
                    <a:pt x="14417" y="6383"/>
                  </a:lnTo>
                  <a:lnTo>
                    <a:pt x="14417" y="6257"/>
                  </a:lnTo>
                  <a:lnTo>
                    <a:pt x="14354" y="5964"/>
                  </a:lnTo>
                  <a:lnTo>
                    <a:pt x="14459" y="5964"/>
                  </a:lnTo>
                  <a:lnTo>
                    <a:pt x="14564" y="6006"/>
                  </a:lnTo>
                  <a:lnTo>
                    <a:pt x="14731" y="6006"/>
                  </a:lnTo>
                  <a:lnTo>
                    <a:pt x="14794" y="5797"/>
                  </a:lnTo>
                  <a:lnTo>
                    <a:pt x="14857" y="5546"/>
                  </a:lnTo>
                  <a:lnTo>
                    <a:pt x="14982" y="5232"/>
                  </a:lnTo>
                  <a:lnTo>
                    <a:pt x="14857" y="5190"/>
                  </a:lnTo>
                  <a:lnTo>
                    <a:pt x="14857" y="5085"/>
                  </a:lnTo>
                  <a:lnTo>
                    <a:pt x="15003" y="4813"/>
                  </a:lnTo>
                  <a:lnTo>
                    <a:pt x="15087" y="4583"/>
                  </a:lnTo>
                  <a:lnTo>
                    <a:pt x="15045" y="4541"/>
                  </a:lnTo>
                  <a:lnTo>
                    <a:pt x="15066" y="4374"/>
                  </a:lnTo>
                  <a:lnTo>
                    <a:pt x="15254" y="4081"/>
                  </a:lnTo>
                  <a:lnTo>
                    <a:pt x="15380" y="4039"/>
                  </a:lnTo>
                  <a:lnTo>
                    <a:pt x="15505" y="3872"/>
                  </a:lnTo>
                  <a:lnTo>
                    <a:pt x="15568" y="3725"/>
                  </a:lnTo>
                  <a:lnTo>
                    <a:pt x="15777" y="3663"/>
                  </a:lnTo>
                  <a:lnTo>
                    <a:pt x="15924" y="3558"/>
                  </a:lnTo>
                  <a:lnTo>
                    <a:pt x="16007" y="3642"/>
                  </a:lnTo>
                  <a:lnTo>
                    <a:pt x="16133" y="3704"/>
                  </a:lnTo>
                  <a:lnTo>
                    <a:pt x="16112" y="3600"/>
                  </a:lnTo>
                  <a:lnTo>
                    <a:pt x="16112" y="3432"/>
                  </a:lnTo>
                  <a:lnTo>
                    <a:pt x="16217" y="3328"/>
                  </a:lnTo>
                  <a:lnTo>
                    <a:pt x="16196" y="3244"/>
                  </a:lnTo>
                  <a:lnTo>
                    <a:pt x="16154" y="3223"/>
                  </a:lnTo>
                  <a:lnTo>
                    <a:pt x="16091" y="3119"/>
                  </a:lnTo>
                  <a:lnTo>
                    <a:pt x="15987" y="3077"/>
                  </a:lnTo>
                  <a:lnTo>
                    <a:pt x="15903" y="3119"/>
                  </a:lnTo>
                  <a:lnTo>
                    <a:pt x="15777" y="3098"/>
                  </a:lnTo>
                  <a:lnTo>
                    <a:pt x="15735" y="2993"/>
                  </a:lnTo>
                  <a:lnTo>
                    <a:pt x="15840" y="2888"/>
                  </a:lnTo>
                  <a:lnTo>
                    <a:pt x="15840" y="2805"/>
                  </a:lnTo>
                  <a:lnTo>
                    <a:pt x="15777" y="2700"/>
                  </a:lnTo>
                  <a:lnTo>
                    <a:pt x="15735" y="2616"/>
                  </a:lnTo>
                  <a:lnTo>
                    <a:pt x="15673" y="2658"/>
                  </a:lnTo>
                  <a:lnTo>
                    <a:pt x="15589" y="2658"/>
                  </a:lnTo>
                  <a:lnTo>
                    <a:pt x="15526" y="2575"/>
                  </a:lnTo>
                  <a:lnTo>
                    <a:pt x="15610" y="2407"/>
                  </a:lnTo>
                  <a:lnTo>
                    <a:pt x="15589" y="2365"/>
                  </a:lnTo>
                  <a:lnTo>
                    <a:pt x="15505" y="2365"/>
                  </a:lnTo>
                  <a:lnTo>
                    <a:pt x="15463" y="2282"/>
                  </a:lnTo>
                  <a:lnTo>
                    <a:pt x="15380" y="2261"/>
                  </a:lnTo>
                  <a:lnTo>
                    <a:pt x="15108" y="2407"/>
                  </a:lnTo>
                  <a:lnTo>
                    <a:pt x="15150" y="2512"/>
                  </a:lnTo>
                  <a:lnTo>
                    <a:pt x="15066" y="2575"/>
                  </a:lnTo>
                  <a:lnTo>
                    <a:pt x="14857" y="2491"/>
                  </a:lnTo>
                  <a:lnTo>
                    <a:pt x="14689" y="2554"/>
                  </a:lnTo>
                  <a:lnTo>
                    <a:pt x="14585" y="2386"/>
                  </a:lnTo>
                  <a:lnTo>
                    <a:pt x="14459" y="2491"/>
                  </a:lnTo>
                  <a:lnTo>
                    <a:pt x="14375" y="2491"/>
                  </a:lnTo>
                  <a:lnTo>
                    <a:pt x="14375" y="2616"/>
                  </a:lnTo>
                  <a:lnTo>
                    <a:pt x="14271" y="2784"/>
                  </a:lnTo>
                  <a:lnTo>
                    <a:pt x="14041" y="2826"/>
                  </a:lnTo>
                  <a:lnTo>
                    <a:pt x="13936" y="2867"/>
                  </a:lnTo>
                  <a:lnTo>
                    <a:pt x="13831" y="2972"/>
                  </a:lnTo>
                  <a:lnTo>
                    <a:pt x="13769" y="3098"/>
                  </a:lnTo>
                  <a:lnTo>
                    <a:pt x="13685" y="3119"/>
                  </a:lnTo>
                  <a:lnTo>
                    <a:pt x="13685" y="3202"/>
                  </a:lnTo>
                  <a:lnTo>
                    <a:pt x="13580" y="3181"/>
                  </a:lnTo>
                  <a:lnTo>
                    <a:pt x="13497" y="3223"/>
                  </a:lnTo>
                  <a:lnTo>
                    <a:pt x="13434" y="3391"/>
                  </a:lnTo>
                  <a:lnTo>
                    <a:pt x="13329" y="3391"/>
                  </a:lnTo>
                  <a:lnTo>
                    <a:pt x="13120" y="3432"/>
                  </a:lnTo>
                  <a:lnTo>
                    <a:pt x="13057" y="3432"/>
                  </a:lnTo>
                  <a:lnTo>
                    <a:pt x="13015" y="3600"/>
                  </a:lnTo>
                  <a:lnTo>
                    <a:pt x="13015" y="3704"/>
                  </a:lnTo>
                  <a:lnTo>
                    <a:pt x="13204" y="3767"/>
                  </a:lnTo>
                  <a:lnTo>
                    <a:pt x="13204" y="3935"/>
                  </a:lnTo>
                  <a:lnTo>
                    <a:pt x="13204" y="4039"/>
                  </a:lnTo>
                  <a:lnTo>
                    <a:pt x="12974" y="4123"/>
                  </a:lnTo>
                  <a:lnTo>
                    <a:pt x="12806" y="4081"/>
                  </a:lnTo>
                  <a:lnTo>
                    <a:pt x="12597" y="4144"/>
                  </a:lnTo>
                  <a:lnTo>
                    <a:pt x="12492" y="4081"/>
                  </a:lnTo>
                  <a:lnTo>
                    <a:pt x="12367" y="4123"/>
                  </a:lnTo>
                  <a:lnTo>
                    <a:pt x="12262" y="4248"/>
                  </a:lnTo>
                  <a:lnTo>
                    <a:pt x="12116" y="4248"/>
                  </a:lnTo>
                  <a:lnTo>
                    <a:pt x="11823" y="4081"/>
                  </a:lnTo>
                  <a:lnTo>
                    <a:pt x="11739" y="4144"/>
                  </a:lnTo>
                  <a:lnTo>
                    <a:pt x="11530" y="4123"/>
                  </a:lnTo>
                  <a:lnTo>
                    <a:pt x="11425" y="3935"/>
                  </a:lnTo>
                  <a:lnTo>
                    <a:pt x="11488" y="3830"/>
                  </a:lnTo>
                  <a:lnTo>
                    <a:pt x="11488" y="3704"/>
                  </a:lnTo>
                  <a:lnTo>
                    <a:pt x="11383" y="3621"/>
                  </a:lnTo>
                  <a:lnTo>
                    <a:pt x="11341" y="3453"/>
                  </a:lnTo>
                  <a:lnTo>
                    <a:pt x="11300" y="3349"/>
                  </a:lnTo>
                  <a:lnTo>
                    <a:pt x="11153" y="3349"/>
                  </a:lnTo>
                  <a:lnTo>
                    <a:pt x="11069" y="3453"/>
                  </a:lnTo>
                  <a:lnTo>
                    <a:pt x="11028" y="3453"/>
                  </a:lnTo>
                  <a:lnTo>
                    <a:pt x="11090" y="3600"/>
                  </a:lnTo>
                  <a:lnTo>
                    <a:pt x="11028" y="3851"/>
                  </a:lnTo>
                  <a:lnTo>
                    <a:pt x="11132" y="4081"/>
                  </a:lnTo>
                  <a:lnTo>
                    <a:pt x="11090" y="4353"/>
                  </a:lnTo>
                  <a:lnTo>
                    <a:pt x="10756" y="4437"/>
                  </a:lnTo>
                  <a:lnTo>
                    <a:pt x="10505" y="4290"/>
                  </a:lnTo>
                  <a:lnTo>
                    <a:pt x="10400" y="4374"/>
                  </a:lnTo>
                  <a:lnTo>
                    <a:pt x="9919" y="4186"/>
                  </a:lnTo>
                  <a:lnTo>
                    <a:pt x="9709" y="4186"/>
                  </a:lnTo>
                  <a:lnTo>
                    <a:pt x="9584" y="4248"/>
                  </a:lnTo>
                  <a:lnTo>
                    <a:pt x="9291" y="4165"/>
                  </a:lnTo>
                  <a:lnTo>
                    <a:pt x="9124" y="4039"/>
                  </a:lnTo>
                  <a:lnTo>
                    <a:pt x="9103" y="3872"/>
                  </a:lnTo>
                  <a:lnTo>
                    <a:pt x="8810" y="3830"/>
                  </a:lnTo>
                  <a:lnTo>
                    <a:pt x="8517" y="3914"/>
                  </a:lnTo>
                  <a:lnTo>
                    <a:pt x="8412" y="3830"/>
                  </a:lnTo>
                  <a:lnTo>
                    <a:pt x="8140" y="3830"/>
                  </a:lnTo>
                  <a:lnTo>
                    <a:pt x="7952" y="3725"/>
                  </a:lnTo>
                  <a:lnTo>
                    <a:pt x="7784" y="3725"/>
                  </a:lnTo>
                  <a:lnTo>
                    <a:pt x="7680" y="3642"/>
                  </a:lnTo>
                  <a:lnTo>
                    <a:pt x="7450" y="3600"/>
                  </a:lnTo>
                  <a:lnTo>
                    <a:pt x="7261" y="3391"/>
                  </a:lnTo>
                  <a:lnTo>
                    <a:pt x="7010" y="3202"/>
                  </a:lnTo>
                  <a:lnTo>
                    <a:pt x="6801" y="3139"/>
                  </a:lnTo>
                  <a:lnTo>
                    <a:pt x="6717" y="3077"/>
                  </a:lnTo>
                  <a:lnTo>
                    <a:pt x="6613" y="3077"/>
                  </a:lnTo>
                  <a:lnTo>
                    <a:pt x="6508" y="2993"/>
                  </a:lnTo>
                  <a:lnTo>
                    <a:pt x="6383" y="2972"/>
                  </a:lnTo>
                  <a:lnTo>
                    <a:pt x="6362" y="2826"/>
                  </a:lnTo>
                  <a:lnTo>
                    <a:pt x="6487" y="2616"/>
                  </a:lnTo>
                  <a:lnTo>
                    <a:pt x="6487" y="2449"/>
                  </a:lnTo>
                  <a:lnTo>
                    <a:pt x="6571" y="2135"/>
                  </a:lnTo>
                  <a:lnTo>
                    <a:pt x="6571" y="1926"/>
                  </a:lnTo>
                  <a:lnTo>
                    <a:pt x="6529" y="1947"/>
                  </a:lnTo>
                  <a:lnTo>
                    <a:pt x="6508" y="1842"/>
                  </a:lnTo>
                  <a:lnTo>
                    <a:pt x="6404" y="1842"/>
                  </a:lnTo>
                  <a:lnTo>
                    <a:pt x="6320" y="1675"/>
                  </a:lnTo>
                  <a:lnTo>
                    <a:pt x="6257" y="1654"/>
                  </a:lnTo>
                  <a:lnTo>
                    <a:pt x="6152" y="1549"/>
                  </a:lnTo>
                  <a:lnTo>
                    <a:pt x="6006" y="1528"/>
                  </a:lnTo>
                  <a:lnTo>
                    <a:pt x="5964" y="1445"/>
                  </a:lnTo>
                  <a:lnTo>
                    <a:pt x="5839" y="1445"/>
                  </a:lnTo>
                  <a:lnTo>
                    <a:pt x="5755" y="1549"/>
                  </a:lnTo>
                  <a:lnTo>
                    <a:pt x="5629" y="1507"/>
                  </a:lnTo>
                  <a:lnTo>
                    <a:pt x="5587" y="1361"/>
                  </a:lnTo>
                  <a:lnTo>
                    <a:pt x="5546" y="1361"/>
                  </a:lnTo>
                  <a:lnTo>
                    <a:pt x="5546" y="1256"/>
                  </a:lnTo>
                  <a:lnTo>
                    <a:pt x="5462" y="1152"/>
                  </a:lnTo>
                  <a:lnTo>
                    <a:pt x="5399" y="1131"/>
                  </a:lnTo>
                  <a:lnTo>
                    <a:pt x="5441" y="1047"/>
                  </a:lnTo>
                  <a:lnTo>
                    <a:pt x="5378" y="943"/>
                  </a:lnTo>
                  <a:lnTo>
                    <a:pt x="5399" y="712"/>
                  </a:lnTo>
                  <a:lnTo>
                    <a:pt x="5253" y="629"/>
                  </a:lnTo>
                  <a:lnTo>
                    <a:pt x="5232" y="566"/>
                  </a:lnTo>
                  <a:lnTo>
                    <a:pt x="5211" y="482"/>
                  </a:lnTo>
                  <a:lnTo>
                    <a:pt x="4960" y="357"/>
                  </a:lnTo>
                  <a:lnTo>
                    <a:pt x="4813" y="357"/>
                  </a:lnTo>
                  <a:lnTo>
                    <a:pt x="4751" y="189"/>
                  </a:lnTo>
                  <a:lnTo>
                    <a:pt x="4604" y="106"/>
                  </a:lnTo>
                  <a:lnTo>
                    <a:pt x="4437" y="210"/>
                  </a:lnTo>
                  <a:lnTo>
                    <a:pt x="412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69" name="Google Shape;2069;p66"/>
            <p:cNvSpPr/>
            <p:nvPr/>
          </p:nvSpPr>
          <p:spPr>
            <a:xfrm>
              <a:off x="4286244" y="2933329"/>
              <a:ext cx="56823" cy="29034"/>
            </a:xfrm>
            <a:custGeom>
              <a:avLst/>
              <a:gdLst/>
              <a:ahLst/>
              <a:cxnLst/>
              <a:rect l="l" t="t" r="r" b="b"/>
              <a:pathLst>
                <a:path w="4772" h="2553" extrusionOk="0">
                  <a:moveTo>
                    <a:pt x="231" y="0"/>
                  </a:moveTo>
                  <a:lnTo>
                    <a:pt x="210" y="42"/>
                  </a:lnTo>
                  <a:lnTo>
                    <a:pt x="210" y="251"/>
                  </a:lnTo>
                  <a:lnTo>
                    <a:pt x="126" y="565"/>
                  </a:lnTo>
                  <a:lnTo>
                    <a:pt x="126" y="732"/>
                  </a:lnTo>
                  <a:lnTo>
                    <a:pt x="1" y="942"/>
                  </a:lnTo>
                  <a:lnTo>
                    <a:pt x="22" y="1088"/>
                  </a:lnTo>
                  <a:lnTo>
                    <a:pt x="147" y="1109"/>
                  </a:lnTo>
                  <a:lnTo>
                    <a:pt x="252" y="1193"/>
                  </a:lnTo>
                  <a:lnTo>
                    <a:pt x="356" y="1193"/>
                  </a:lnTo>
                  <a:lnTo>
                    <a:pt x="440" y="1255"/>
                  </a:lnTo>
                  <a:lnTo>
                    <a:pt x="649" y="1318"/>
                  </a:lnTo>
                  <a:lnTo>
                    <a:pt x="900" y="1507"/>
                  </a:lnTo>
                  <a:lnTo>
                    <a:pt x="1089" y="1716"/>
                  </a:lnTo>
                  <a:lnTo>
                    <a:pt x="1319" y="1758"/>
                  </a:lnTo>
                  <a:lnTo>
                    <a:pt x="1423" y="1841"/>
                  </a:lnTo>
                  <a:lnTo>
                    <a:pt x="1591" y="1841"/>
                  </a:lnTo>
                  <a:lnTo>
                    <a:pt x="1779" y="1946"/>
                  </a:lnTo>
                  <a:lnTo>
                    <a:pt x="2051" y="1946"/>
                  </a:lnTo>
                  <a:lnTo>
                    <a:pt x="2156" y="2030"/>
                  </a:lnTo>
                  <a:lnTo>
                    <a:pt x="2449" y="1946"/>
                  </a:lnTo>
                  <a:lnTo>
                    <a:pt x="2742" y="1988"/>
                  </a:lnTo>
                  <a:lnTo>
                    <a:pt x="2763" y="2155"/>
                  </a:lnTo>
                  <a:lnTo>
                    <a:pt x="2930" y="2281"/>
                  </a:lnTo>
                  <a:lnTo>
                    <a:pt x="3223" y="2364"/>
                  </a:lnTo>
                  <a:lnTo>
                    <a:pt x="3348" y="2302"/>
                  </a:lnTo>
                  <a:lnTo>
                    <a:pt x="3558" y="2302"/>
                  </a:lnTo>
                  <a:lnTo>
                    <a:pt x="4039" y="2490"/>
                  </a:lnTo>
                  <a:lnTo>
                    <a:pt x="4144" y="2406"/>
                  </a:lnTo>
                  <a:lnTo>
                    <a:pt x="4395" y="2553"/>
                  </a:lnTo>
                  <a:lnTo>
                    <a:pt x="4729" y="2469"/>
                  </a:lnTo>
                  <a:lnTo>
                    <a:pt x="4771" y="2197"/>
                  </a:lnTo>
                  <a:lnTo>
                    <a:pt x="4667" y="1967"/>
                  </a:lnTo>
                  <a:lnTo>
                    <a:pt x="4729" y="1716"/>
                  </a:lnTo>
                  <a:lnTo>
                    <a:pt x="4667" y="1569"/>
                  </a:lnTo>
                  <a:lnTo>
                    <a:pt x="4562" y="1569"/>
                  </a:lnTo>
                  <a:lnTo>
                    <a:pt x="4416" y="1632"/>
                  </a:lnTo>
                  <a:lnTo>
                    <a:pt x="4353" y="1611"/>
                  </a:lnTo>
                  <a:lnTo>
                    <a:pt x="4206" y="1653"/>
                  </a:lnTo>
                  <a:lnTo>
                    <a:pt x="4123" y="1632"/>
                  </a:lnTo>
                  <a:lnTo>
                    <a:pt x="3997" y="1465"/>
                  </a:lnTo>
                  <a:lnTo>
                    <a:pt x="3830" y="1402"/>
                  </a:lnTo>
                  <a:lnTo>
                    <a:pt x="3788" y="1255"/>
                  </a:lnTo>
                  <a:lnTo>
                    <a:pt x="3662" y="1193"/>
                  </a:lnTo>
                  <a:lnTo>
                    <a:pt x="3453" y="1193"/>
                  </a:lnTo>
                  <a:lnTo>
                    <a:pt x="3348" y="1297"/>
                  </a:lnTo>
                  <a:lnTo>
                    <a:pt x="3202" y="1318"/>
                  </a:lnTo>
                  <a:lnTo>
                    <a:pt x="3139" y="1402"/>
                  </a:lnTo>
                  <a:lnTo>
                    <a:pt x="2972" y="1318"/>
                  </a:lnTo>
                  <a:lnTo>
                    <a:pt x="2867" y="1339"/>
                  </a:lnTo>
                  <a:lnTo>
                    <a:pt x="2825" y="1193"/>
                  </a:lnTo>
                  <a:lnTo>
                    <a:pt x="2846" y="942"/>
                  </a:lnTo>
                  <a:lnTo>
                    <a:pt x="2700" y="942"/>
                  </a:lnTo>
                  <a:lnTo>
                    <a:pt x="2532" y="1004"/>
                  </a:lnTo>
                  <a:lnTo>
                    <a:pt x="2365" y="879"/>
                  </a:lnTo>
                  <a:lnTo>
                    <a:pt x="2365" y="711"/>
                  </a:lnTo>
                  <a:lnTo>
                    <a:pt x="2239" y="628"/>
                  </a:lnTo>
                  <a:lnTo>
                    <a:pt x="2114" y="628"/>
                  </a:lnTo>
                  <a:lnTo>
                    <a:pt x="2093" y="586"/>
                  </a:lnTo>
                  <a:lnTo>
                    <a:pt x="2009" y="628"/>
                  </a:lnTo>
                  <a:lnTo>
                    <a:pt x="2009" y="816"/>
                  </a:lnTo>
                  <a:lnTo>
                    <a:pt x="1947" y="837"/>
                  </a:lnTo>
                  <a:lnTo>
                    <a:pt x="1905" y="711"/>
                  </a:lnTo>
                  <a:lnTo>
                    <a:pt x="1800" y="586"/>
                  </a:lnTo>
                  <a:lnTo>
                    <a:pt x="1737" y="523"/>
                  </a:lnTo>
                  <a:lnTo>
                    <a:pt x="1612" y="460"/>
                  </a:lnTo>
                  <a:lnTo>
                    <a:pt x="1486" y="460"/>
                  </a:lnTo>
                  <a:lnTo>
                    <a:pt x="1319" y="272"/>
                  </a:lnTo>
                  <a:lnTo>
                    <a:pt x="1214" y="209"/>
                  </a:lnTo>
                  <a:lnTo>
                    <a:pt x="1089" y="209"/>
                  </a:lnTo>
                  <a:lnTo>
                    <a:pt x="1047" y="147"/>
                  </a:lnTo>
                  <a:lnTo>
                    <a:pt x="838" y="63"/>
                  </a:lnTo>
                  <a:lnTo>
                    <a:pt x="670" y="84"/>
                  </a:lnTo>
                  <a:lnTo>
                    <a:pt x="607" y="188"/>
                  </a:lnTo>
                  <a:lnTo>
                    <a:pt x="545" y="167"/>
                  </a:lnTo>
                  <a:lnTo>
                    <a:pt x="440" y="167"/>
                  </a:lnTo>
                  <a:lnTo>
                    <a:pt x="377" y="84"/>
                  </a:lnTo>
                  <a:lnTo>
                    <a:pt x="23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0" name="Google Shape;2070;p66"/>
            <p:cNvSpPr/>
            <p:nvPr/>
          </p:nvSpPr>
          <p:spPr>
            <a:xfrm>
              <a:off x="4155440" y="2884541"/>
              <a:ext cx="95439" cy="100431"/>
            </a:xfrm>
            <a:custGeom>
              <a:avLst/>
              <a:gdLst/>
              <a:ahLst/>
              <a:cxnLst/>
              <a:rect l="l" t="t" r="r" b="b"/>
              <a:pathLst>
                <a:path w="8015" h="8831" extrusionOk="0">
                  <a:moveTo>
                    <a:pt x="5901" y="1"/>
                  </a:moveTo>
                  <a:lnTo>
                    <a:pt x="5713" y="105"/>
                  </a:lnTo>
                  <a:lnTo>
                    <a:pt x="5587" y="252"/>
                  </a:lnTo>
                  <a:lnTo>
                    <a:pt x="5441" y="252"/>
                  </a:lnTo>
                  <a:lnTo>
                    <a:pt x="5315" y="377"/>
                  </a:lnTo>
                  <a:lnTo>
                    <a:pt x="5232" y="482"/>
                  </a:lnTo>
                  <a:lnTo>
                    <a:pt x="5462" y="838"/>
                  </a:lnTo>
                  <a:lnTo>
                    <a:pt x="5483" y="1110"/>
                  </a:lnTo>
                  <a:lnTo>
                    <a:pt x="5232" y="1444"/>
                  </a:lnTo>
                  <a:lnTo>
                    <a:pt x="5357" y="1570"/>
                  </a:lnTo>
                  <a:lnTo>
                    <a:pt x="5357" y="1737"/>
                  </a:lnTo>
                  <a:lnTo>
                    <a:pt x="5190" y="1968"/>
                  </a:lnTo>
                  <a:lnTo>
                    <a:pt x="4981" y="1968"/>
                  </a:lnTo>
                  <a:lnTo>
                    <a:pt x="4771" y="1884"/>
                  </a:lnTo>
                  <a:lnTo>
                    <a:pt x="4646" y="1968"/>
                  </a:lnTo>
                  <a:lnTo>
                    <a:pt x="4709" y="2135"/>
                  </a:lnTo>
                  <a:lnTo>
                    <a:pt x="4834" y="2198"/>
                  </a:lnTo>
                  <a:lnTo>
                    <a:pt x="4876" y="2365"/>
                  </a:lnTo>
                  <a:lnTo>
                    <a:pt x="4855" y="2449"/>
                  </a:lnTo>
                  <a:lnTo>
                    <a:pt x="4730" y="2512"/>
                  </a:lnTo>
                  <a:lnTo>
                    <a:pt x="4604" y="2553"/>
                  </a:lnTo>
                  <a:lnTo>
                    <a:pt x="4562" y="2616"/>
                  </a:lnTo>
                  <a:lnTo>
                    <a:pt x="4541" y="2825"/>
                  </a:lnTo>
                  <a:lnTo>
                    <a:pt x="4499" y="2972"/>
                  </a:lnTo>
                  <a:lnTo>
                    <a:pt x="4499" y="3035"/>
                  </a:lnTo>
                  <a:lnTo>
                    <a:pt x="4457" y="3097"/>
                  </a:lnTo>
                  <a:lnTo>
                    <a:pt x="4499" y="3328"/>
                  </a:lnTo>
                  <a:lnTo>
                    <a:pt x="4395" y="3537"/>
                  </a:lnTo>
                  <a:lnTo>
                    <a:pt x="4248" y="3390"/>
                  </a:lnTo>
                  <a:lnTo>
                    <a:pt x="4206" y="3390"/>
                  </a:lnTo>
                  <a:lnTo>
                    <a:pt x="4185" y="3453"/>
                  </a:lnTo>
                  <a:lnTo>
                    <a:pt x="4039" y="3453"/>
                  </a:lnTo>
                  <a:lnTo>
                    <a:pt x="3997" y="3411"/>
                  </a:lnTo>
                  <a:lnTo>
                    <a:pt x="3830" y="3432"/>
                  </a:lnTo>
                  <a:lnTo>
                    <a:pt x="3809" y="3495"/>
                  </a:lnTo>
                  <a:lnTo>
                    <a:pt x="3600" y="3662"/>
                  </a:lnTo>
                  <a:lnTo>
                    <a:pt x="3683" y="3704"/>
                  </a:lnTo>
                  <a:lnTo>
                    <a:pt x="3621" y="3767"/>
                  </a:lnTo>
                  <a:lnTo>
                    <a:pt x="3411" y="3872"/>
                  </a:lnTo>
                  <a:lnTo>
                    <a:pt x="3349" y="3830"/>
                  </a:lnTo>
                  <a:lnTo>
                    <a:pt x="3202" y="3851"/>
                  </a:lnTo>
                  <a:lnTo>
                    <a:pt x="3160" y="3934"/>
                  </a:lnTo>
                  <a:lnTo>
                    <a:pt x="3139" y="4039"/>
                  </a:lnTo>
                  <a:lnTo>
                    <a:pt x="3035" y="4060"/>
                  </a:lnTo>
                  <a:lnTo>
                    <a:pt x="2951" y="4165"/>
                  </a:lnTo>
                  <a:lnTo>
                    <a:pt x="2951" y="4332"/>
                  </a:lnTo>
                  <a:lnTo>
                    <a:pt x="2993" y="4499"/>
                  </a:lnTo>
                  <a:lnTo>
                    <a:pt x="2993" y="4646"/>
                  </a:lnTo>
                  <a:lnTo>
                    <a:pt x="3035" y="4750"/>
                  </a:lnTo>
                  <a:lnTo>
                    <a:pt x="3035" y="4855"/>
                  </a:lnTo>
                  <a:lnTo>
                    <a:pt x="2784" y="4960"/>
                  </a:lnTo>
                  <a:lnTo>
                    <a:pt x="2574" y="4960"/>
                  </a:lnTo>
                  <a:lnTo>
                    <a:pt x="2407" y="4981"/>
                  </a:lnTo>
                  <a:lnTo>
                    <a:pt x="2093" y="4981"/>
                  </a:lnTo>
                  <a:lnTo>
                    <a:pt x="1905" y="5022"/>
                  </a:lnTo>
                  <a:lnTo>
                    <a:pt x="1821" y="5106"/>
                  </a:lnTo>
                  <a:lnTo>
                    <a:pt x="1633" y="5085"/>
                  </a:lnTo>
                  <a:lnTo>
                    <a:pt x="1465" y="5127"/>
                  </a:lnTo>
                  <a:lnTo>
                    <a:pt x="775" y="5169"/>
                  </a:lnTo>
                  <a:lnTo>
                    <a:pt x="1" y="4918"/>
                  </a:lnTo>
                  <a:lnTo>
                    <a:pt x="273" y="5336"/>
                  </a:lnTo>
                  <a:lnTo>
                    <a:pt x="356" y="5483"/>
                  </a:lnTo>
                  <a:lnTo>
                    <a:pt x="524" y="5629"/>
                  </a:lnTo>
                  <a:lnTo>
                    <a:pt x="649" y="5713"/>
                  </a:lnTo>
                  <a:lnTo>
                    <a:pt x="691" y="5755"/>
                  </a:lnTo>
                  <a:lnTo>
                    <a:pt x="880" y="5797"/>
                  </a:lnTo>
                  <a:lnTo>
                    <a:pt x="984" y="5818"/>
                  </a:lnTo>
                  <a:lnTo>
                    <a:pt x="1005" y="5901"/>
                  </a:lnTo>
                  <a:lnTo>
                    <a:pt x="1172" y="5901"/>
                  </a:lnTo>
                  <a:lnTo>
                    <a:pt x="1172" y="6110"/>
                  </a:lnTo>
                  <a:lnTo>
                    <a:pt x="1214" y="6236"/>
                  </a:lnTo>
                  <a:lnTo>
                    <a:pt x="1214" y="6382"/>
                  </a:lnTo>
                  <a:lnTo>
                    <a:pt x="1256" y="6487"/>
                  </a:lnTo>
                  <a:lnTo>
                    <a:pt x="1403" y="6466"/>
                  </a:lnTo>
                  <a:lnTo>
                    <a:pt x="1528" y="6571"/>
                  </a:lnTo>
                  <a:lnTo>
                    <a:pt x="1570" y="6801"/>
                  </a:lnTo>
                  <a:lnTo>
                    <a:pt x="1486" y="6885"/>
                  </a:lnTo>
                  <a:lnTo>
                    <a:pt x="1319" y="6843"/>
                  </a:lnTo>
                  <a:lnTo>
                    <a:pt x="1068" y="6906"/>
                  </a:lnTo>
                  <a:lnTo>
                    <a:pt x="984" y="6968"/>
                  </a:lnTo>
                  <a:lnTo>
                    <a:pt x="838" y="7052"/>
                  </a:lnTo>
                  <a:lnTo>
                    <a:pt x="754" y="7157"/>
                  </a:lnTo>
                  <a:lnTo>
                    <a:pt x="796" y="7261"/>
                  </a:lnTo>
                  <a:lnTo>
                    <a:pt x="691" y="7387"/>
                  </a:lnTo>
                  <a:lnTo>
                    <a:pt x="754" y="7512"/>
                  </a:lnTo>
                  <a:lnTo>
                    <a:pt x="733" y="7722"/>
                  </a:lnTo>
                  <a:lnTo>
                    <a:pt x="733" y="7805"/>
                  </a:lnTo>
                  <a:lnTo>
                    <a:pt x="796" y="7805"/>
                  </a:lnTo>
                  <a:lnTo>
                    <a:pt x="796" y="7889"/>
                  </a:lnTo>
                  <a:lnTo>
                    <a:pt x="859" y="7910"/>
                  </a:lnTo>
                  <a:lnTo>
                    <a:pt x="1005" y="7805"/>
                  </a:lnTo>
                  <a:lnTo>
                    <a:pt x="1131" y="7805"/>
                  </a:lnTo>
                  <a:lnTo>
                    <a:pt x="1172" y="7847"/>
                  </a:lnTo>
                  <a:lnTo>
                    <a:pt x="1193" y="7826"/>
                  </a:lnTo>
                  <a:lnTo>
                    <a:pt x="1298" y="7784"/>
                  </a:lnTo>
                  <a:lnTo>
                    <a:pt x="1403" y="7784"/>
                  </a:lnTo>
                  <a:lnTo>
                    <a:pt x="1465" y="7805"/>
                  </a:lnTo>
                  <a:lnTo>
                    <a:pt x="1570" y="7784"/>
                  </a:lnTo>
                  <a:lnTo>
                    <a:pt x="1696" y="7784"/>
                  </a:lnTo>
                  <a:lnTo>
                    <a:pt x="1717" y="7722"/>
                  </a:lnTo>
                  <a:lnTo>
                    <a:pt x="1779" y="7638"/>
                  </a:lnTo>
                  <a:lnTo>
                    <a:pt x="1884" y="7722"/>
                  </a:lnTo>
                  <a:lnTo>
                    <a:pt x="1947" y="7722"/>
                  </a:lnTo>
                  <a:lnTo>
                    <a:pt x="1989" y="7701"/>
                  </a:lnTo>
                  <a:lnTo>
                    <a:pt x="2030" y="7701"/>
                  </a:lnTo>
                  <a:lnTo>
                    <a:pt x="2051" y="7784"/>
                  </a:lnTo>
                  <a:lnTo>
                    <a:pt x="2156" y="7784"/>
                  </a:lnTo>
                  <a:lnTo>
                    <a:pt x="2240" y="7826"/>
                  </a:lnTo>
                  <a:lnTo>
                    <a:pt x="2323" y="7826"/>
                  </a:lnTo>
                  <a:lnTo>
                    <a:pt x="2449" y="7701"/>
                  </a:lnTo>
                  <a:lnTo>
                    <a:pt x="2616" y="7701"/>
                  </a:lnTo>
                  <a:lnTo>
                    <a:pt x="2700" y="7722"/>
                  </a:lnTo>
                  <a:lnTo>
                    <a:pt x="2784" y="7680"/>
                  </a:lnTo>
                  <a:lnTo>
                    <a:pt x="2867" y="7680"/>
                  </a:lnTo>
                  <a:lnTo>
                    <a:pt x="2888" y="7617"/>
                  </a:lnTo>
                  <a:lnTo>
                    <a:pt x="2951" y="7638"/>
                  </a:lnTo>
                  <a:lnTo>
                    <a:pt x="3097" y="7680"/>
                  </a:lnTo>
                  <a:lnTo>
                    <a:pt x="3223" y="7617"/>
                  </a:lnTo>
                  <a:lnTo>
                    <a:pt x="3411" y="7617"/>
                  </a:lnTo>
                  <a:lnTo>
                    <a:pt x="3558" y="7722"/>
                  </a:lnTo>
                  <a:lnTo>
                    <a:pt x="3579" y="7847"/>
                  </a:lnTo>
                  <a:lnTo>
                    <a:pt x="3579" y="7931"/>
                  </a:lnTo>
                  <a:lnTo>
                    <a:pt x="3579" y="7952"/>
                  </a:lnTo>
                  <a:lnTo>
                    <a:pt x="3558" y="7952"/>
                  </a:lnTo>
                  <a:lnTo>
                    <a:pt x="3558" y="8014"/>
                  </a:lnTo>
                  <a:lnTo>
                    <a:pt x="3662" y="8014"/>
                  </a:lnTo>
                  <a:lnTo>
                    <a:pt x="3809" y="7931"/>
                  </a:lnTo>
                  <a:lnTo>
                    <a:pt x="3809" y="8056"/>
                  </a:lnTo>
                  <a:lnTo>
                    <a:pt x="3934" y="8203"/>
                  </a:lnTo>
                  <a:lnTo>
                    <a:pt x="3997" y="8412"/>
                  </a:lnTo>
                  <a:lnTo>
                    <a:pt x="3997" y="8433"/>
                  </a:lnTo>
                  <a:lnTo>
                    <a:pt x="3997" y="8517"/>
                  </a:lnTo>
                  <a:lnTo>
                    <a:pt x="3934" y="8538"/>
                  </a:lnTo>
                  <a:lnTo>
                    <a:pt x="4039" y="8538"/>
                  </a:lnTo>
                  <a:lnTo>
                    <a:pt x="4081" y="8663"/>
                  </a:lnTo>
                  <a:lnTo>
                    <a:pt x="4353" y="8663"/>
                  </a:lnTo>
                  <a:lnTo>
                    <a:pt x="4541" y="8747"/>
                  </a:lnTo>
                  <a:lnTo>
                    <a:pt x="4541" y="8831"/>
                  </a:lnTo>
                  <a:lnTo>
                    <a:pt x="4625" y="8768"/>
                  </a:lnTo>
                  <a:lnTo>
                    <a:pt x="4646" y="8621"/>
                  </a:lnTo>
                  <a:lnTo>
                    <a:pt x="4750" y="8538"/>
                  </a:lnTo>
                  <a:lnTo>
                    <a:pt x="4834" y="8517"/>
                  </a:lnTo>
                  <a:lnTo>
                    <a:pt x="4876" y="8370"/>
                  </a:lnTo>
                  <a:lnTo>
                    <a:pt x="4960" y="8412"/>
                  </a:lnTo>
                  <a:lnTo>
                    <a:pt x="5064" y="8349"/>
                  </a:lnTo>
                  <a:lnTo>
                    <a:pt x="5462" y="8370"/>
                  </a:lnTo>
                  <a:lnTo>
                    <a:pt x="5692" y="8266"/>
                  </a:lnTo>
                  <a:lnTo>
                    <a:pt x="5755" y="8224"/>
                  </a:lnTo>
                  <a:lnTo>
                    <a:pt x="5880" y="8203"/>
                  </a:lnTo>
                  <a:lnTo>
                    <a:pt x="5880" y="8203"/>
                  </a:lnTo>
                  <a:lnTo>
                    <a:pt x="5818" y="8266"/>
                  </a:lnTo>
                  <a:lnTo>
                    <a:pt x="5880" y="8349"/>
                  </a:lnTo>
                  <a:lnTo>
                    <a:pt x="6006" y="8266"/>
                  </a:lnTo>
                  <a:lnTo>
                    <a:pt x="6110" y="8224"/>
                  </a:lnTo>
                  <a:lnTo>
                    <a:pt x="6069" y="8161"/>
                  </a:lnTo>
                  <a:lnTo>
                    <a:pt x="6090" y="8098"/>
                  </a:lnTo>
                  <a:lnTo>
                    <a:pt x="5964" y="7722"/>
                  </a:lnTo>
                  <a:lnTo>
                    <a:pt x="5838" y="7575"/>
                  </a:lnTo>
                  <a:lnTo>
                    <a:pt x="5880" y="7491"/>
                  </a:lnTo>
                  <a:lnTo>
                    <a:pt x="5797" y="7429"/>
                  </a:lnTo>
                  <a:lnTo>
                    <a:pt x="5692" y="7429"/>
                  </a:lnTo>
                  <a:lnTo>
                    <a:pt x="5483" y="7303"/>
                  </a:lnTo>
                  <a:lnTo>
                    <a:pt x="5462" y="7094"/>
                  </a:lnTo>
                  <a:lnTo>
                    <a:pt x="5483" y="6968"/>
                  </a:lnTo>
                  <a:lnTo>
                    <a:pt x="5399" y="6780"/>
                  </a:lnTo>
                  <a:lnTo>
                    <a:pt x="5294" y="6780"/>
                  </a:lnTo>
                  <a:lnTo>
                    <a:pt x="5232" y="6801"/>
                  </a:lnTo>
                  <a:lnTo>
                    <a:pt x="5085" y="6759"/>
                  </a:lnTo>
                  <a:lnTo>
                    <a:pt x="4981" y="6780"/>
                  </a:lnTo>
                  <a:lnTo>
                    <a:pt x="4981" y="6634"/>
                  </a:lnTo>
                  <a:lnTo>
                    <a:pt x="5085" y="6382"/>
                  </a:lnTo>
                  <a:lnTo>
                    <a:pt x="5169" y="6362"/>
                  </a:lnTo>
                  <a:lnTo>
                    <a:pt x="5315" y="6152"/>
                  </a:lnTo>
                  <a:lnTo>
                    <a:pt x="5357" y="6048"/>
                  </a:lnTo>
                  <a:lnTo>
                    <a:pt x="5462" y="6006"/>
                  </a:lnTo>
                  <a:lnTo>
                    <a:pt x="5546" y="5943"/>
                  </a:lnTo>
                  <a:lnTo>
                    <a:pt x="5671" y="6006"/>
                  </a:lnTo>
                  <a:lnTo>
                    <a:pt x="5692" y="6110"/>
                  </a:lnTo>
                  <a:lnTo>
                    <a:pt x="5776" y="6131"/>
                  </a:lnTo>
                  <a:lnTo>
                    <a:pt x="5985" y="6006"/>
                  </a:lnTo>
                  <a:lnTo>
                    <a:pt x="6299" y="6006"/>
                  </a:lnTo>
                  <a:lnTo>
                    <a:pt x="6487" y="5797"/>
                  </a:lnTo>
                  <a:lnTo>
                    <a:pt x="6592" y="5441"/>
                  </a:lnTo>
                  <a:lnTo>
                    <a:pt x="6843" y="5273"/>
                  </a:lnTo>
                  <a:lnTo>
                    <a:pt x="6926" y="5127"/>
                  </a:lnTo>
                  <a:lnTo>
                    <a:pt x="6947" y="4960"/>
                  </a:lnTo>
                  <a:lnTo>
                    <a:pt x="7052" y="4771"/>
                  </a:lnTo>
                  <a:lnTo>
                    <a:pt x="7261" y="4667"/>
                  </a:lnTo>
                  <a:lnTo>
                    <a:pt x="7324" y="4541"/>
                  </a:lnTo>
                  <a:lnTo>
                    <a:pt x="7324" y="4437"/>
                  </a:lnTo>
                  <a:lnTo>
                    <a:pt x="7240" y="4374"/>
                  </a:lnTo>
                  <a:lnTo>
                    <a:pt x="7387" y="4185"/>
                  </a:lnTo>
                  <a:lnTo>
                    <a:pt x="7491" y="4123"/>
                  </a:lnTo>
                  <a:lnTo>
                    <a:pt x="7491" y="3976"/>
                  </a:lnTo>
                  <a:lnTo>
                    <a:pt x="7554" y="3704"/>
                  </a:lnTo>
                  <a:lnTo>
                    <a:pt x="7470" y="3495"/>
                  </a:lnTo>
                  <a:lnTo>
                    <a:pt x="7450" y="3432"/>
                  </a:lnTo>
                  <a:lnTo>
                    <a:pt x="7638" y="3244"/>
                  </a:lnTo>
                  <a:lnTo>
                    <a:pt x="7743" y="3223"/>
                  </a:lnTo>
                  <a:lnTo>
                    <a:pt x="7847" y="3139"/>
                  </a:lnTo>
                  <a:lnTo>
                    <a:pt x="7910" y="3139"/>
                  </a:lnTo>
                  <a:lnTo>
                    <a:pt x="8015" y="3035"/>
                  </a:lnTo>
                  <a:lnTo>
                    <a:pt x="8015" y="2909"/>
                  </a:lnTo>
                  <a:lnTo>
                    <a:pt x="7868" y="2867"/>
                  </a:lnTo>
                  <a:lnTo>
                    <a:pt x="7743" y="2909"/>
                  </a:lnTo>
                  <a:lnTo>
                    <a:pt x="7554" y="2888"/>
                  </a:lnTo>
                  <a:lnTo>
                    <a:pt x="7491" y="2721"/>
                  </a:lnTo>
                  <a:lnTo>
                    <a:pt x="7282" y="2658"/>
                  </a:lnTo>
                  <a:lnTo>
                    <a:pt x="7073" y="2595"/>
                  </a:lnTo>
                  <a:lnTo>
                    <a:pt x="6864" y="2407"/>
                  </a:lnTo>
                  <a:lnTo>
                    <a:pt x="6843" y="2240"/>
                  </a:lnTo>
                  <a:lnTo>
                    <a:pt x="6738" y="1863"/>
                  </a:lnTo>
                  <a:lnTo>
                    <a:pt x="6634" y="1675"/>
                  </a:lnTo>
                  <a:lnTo>
                    <a:pt x="6634" y="1507"/>
                  </a:lnTo>
                  <a:lnTo>
                    <a:pt x="6738" y="1465"/>
                  </a:lnTo>
                  <a:lnTo>
                    <a:pt x="6738" y="1340"/>
                  </a:lnTo>
                  <a:lnTo>
                    <a:pt x="6885" y="1235"/>
                  </a:lnTo>
                  <a:lnTo>
                    <a:pt x="6885" y="1110"/>
                  </a:lnTo>
                  <a:lnTo>
                    <a:pt x="6738" y="1047"/>
                  </a:lnTo>
                  <a:lnTo>
                    <a:pt x="6717" y="921"/>
                  </a:lnTo>
                  <a:lnTo>
                    <a:pt x="6550" y="838"/>
                  </a:lnTo>
                  <a:lnTo>
                    <a:pt x="6403" y="712"/>
                  </a:lnTo>
                  <a:lnTo>
                    <a:pt x="6278" y="566"/>
                  </a:lnTo>
                  <a:lnTo>
                    <a:pt x="6173" y="608"/>
                  </a:lnTo>
                  <a:lnTo>
                    <a:pt x="6090" y="628"/>
                  </a:lnTo>
                  <a:lnTo>
                    <a:pt x="6006" y="566"/>
                  </a:lnTo>
                  <a:lnTo>
                    <a:pt x="5985" y="315"/>
                  </a:lnTo>
                  <a:lnTo>
                    <a:pt x="6236" y="147"/>
                  </a:lnTo>
                  <a:lnTo>
                    <a:pt x="6215" y="64"/>
                  </a:lnTo>
                  <a:lnTo>
                    <a:pt x="6027" y="84"/>
                  </a:lnTo>
                  <a:lnTo>
                    <a:pt x="590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1" name="Google Shape;2071;p66"/>
            <p:cNvSpPr/>
            <p:nvPr/>
          </p:nvSpPr>
          <p:spPr>
            <a:xfrm>
              <a:off x="4148462" y="2870746"/>
              <a:ext cx="91200" cy="72579"/>
            </a:xfrm>
            <a:custGeom>
              <a:avLst/>
              <a:gdLst/>
              <a:ahLst/>
              <a:cxnLst/>
              <a:rect l="l" t="t" r="r" b="b"/>
              <a:pathLst>
                <a:path w="7659" h="6382" extrusionOk="0">
                  <a:moveTo>
                    <a:pt x="5295" y="0"/>
                  </a:moveTo>
                  <a:lnTo>
                    <a:pt x="5232" y="105"/>
                  </a:lnTo>
                  <a:lnTo>
                    <a:pt x="5211" y="272"/>
                  </a:lnTo>
                  <a:lnTo>
                    <a:pt x="5127" y="335"/>
                  </a:lnTo>
                  <a:lnTo>
                    <a:pt x="5106" y="419"/>
                  </a:lnTo>
                  <a:lnTo>
                    <a:pt x="5127" y="565"/>
                  </a:lnTo>
                  <a:lnTo>
                    <a:pt x="5043" y="691"/>
                  </a:lnTo>
                  <a:lnTo>
                    <a:pt x="4918" y="691"/>
                  </a:lnTo>
                  <a:lnTo>
                    <a:pt x="4897" y="649"/>
                  </a:lnTo>
                  <a:lnTo>
                    <a:pt x="4834" y="649"/>
                  </a:lnTo>
                  <a:lnTo>
                    <a:pt x="4792" y="691"/>
                  </a:lnTo>
                  <a:lnTo>
                    <a:pt x="4667" y="732"/>
                  </a:lnTo>
                  <a:lnTo>
                    <a:pt x="4667" y="837"/>
                  </a:lnTo>
                  <a:lnTo>
                    <a:pt x="4709" y="879"/>
                  </a:lnTo>
                  <a:lnTo>
                    <a:pt x="4709" y="963"/>
                  </a:lnTo>
                  <a:lnTo>
                    <a:pt x="4520" y="942"/>
                  </a:lnTo>
                  <a:lnTo>
                    <a:pt x="4458" y="858"/>
                  </a:lnTo>
                  <a:lnTo>
                    <a:pt x="4395" y="837"/>
                  </a:lnTo>
                  <a:lnTo>
                    <a:pt x="4332" y="879"/>
                  </a:lnTo>
                  <a:lnTo>
                    <a:pt x="4269" y="900"/>
                  </a:lnTo>
                  <a:lnTo>
                    <a:pt x="4207" y="984"/>
                  </a:lnTo>
                  <a:lnTo>
                    <a:pt x="4081" y="1067"/>
                  </a:lnTo>
                  <a:lnTo>
                    <a:pt x="3893" y="1088"/>
                  </a:lnTo>
                  <a:lnTo>
                    <a:pt x="3788" y="1067"/>
                  </a:lnTo>
                  <a:lnTo>
                    <a:pt x="3683" y="900"/>
                  </a:lnTo>
                  <a:lnTo>
                    <a:pt x="3579" y="879"/>
                  </a:lnTo>
                  <a:lnTo>
                    <a:pt x="3474" y="984"/>
                  </a:lnTo>
                  <a:lnTo>
                    <a:pt x="3411" y="984"/>
                  </a:lnTo>
                  <a:lnTo>
                    <a:pt x="3328" y="879"/>
                  </a:lnTo>
                  <a:lnTo>
                    <a:pt x="3223" y="795"/>
                  </a:lnTo>
                  <a:lnTo>
                    <a:pt x="3014" y="858"/>
                  </a:lnTo>
                  <a:lnTo>
                    <a:pt x="2993" y="837"/>
                  </a:lnTo>
                  <a:lnTo>
                    <a:pt x="2847" y="858"/>
                  </a:lnTo>
                  <a:lnTo>
                    <a:pt x="2742" y="774"/>
                  </a:lnTo>
                  <a:lnTo>
                    <a:pt x="2595" y="837"/>
                  </a:lnTo>
                  <a:lnTo>
                    <a:pt x="2428" y="942"/>
                  </a:lnTo>
                  <a:lnTo>
                    <a:pt x="2386" y="942"/>
                  </a:lnTo>
                  <a:lnTo>
                    <a:pt x="2219" y="984"/>
                  </a:lnTo>
                  <a:lnTo>
                    <a:pt x="2177" y="1046"/>
                  </a:lnTo>
                  <a:lnTo>
                    <a:pt x="2114" y="1067"/>
                  </a:lnTo>
                  <a:lnTo>
                    <a:pt x="2093" y="1109"/>
                  </a:lnTo>
                  <a:lnTo>
                    <a:pt x="2156" y="1172"/>
                  </a:lnTo>
                  <a:lnTo>
                    <a:pt x="2156" y="1297"/>
                  </a:lnTo>
                  <a:lnTo>
                    <a:pt x="2010" y="1423"/>
                  </a:lnTo>
                  <a:lnTo>
                    <a:pt x="2010" y="1590"/>
                  </a:lnTo>
                  <a:lnTo>
                    <a:pt x="1989" y="1716"/>
                  </a:lnTo>
                  <a:lnTo>
                    <a:pt x="1884" y="1737"/>
                  </a:lnTo>
                  <a:lnTo>
                    <a:pt x="1800" y="1821"/>
                  </a:lnTo>
                  <a:lnTo>
                    <a:pt x="1779" y="1883"/>
                  </a:lnTo>
                  <a:lnTo>
                    <a:pt x="1570" y="1925"/>
                  </a:lnTo>
                  <a:lnTo>
                    <a:pt x="1382" y="2030"/>
                  </a:lnTo>
                  <a:lnTo>
                    <a:pt x="1424" y="2113"/>
                  </a:lnTo>
                  <a:lnTo>
                    <a:pt x="1340" y="2155"/>
                  </a:lnTo>
                  <a:lnTo>
                    <a:pt x="1319" y="2239"/>
                  </a:lnTo>
                  <a:lnTo>
                    <a:pt x="1235" y="2344"/>
                  </a:lnTo>
                  <a:lnTo>
                    <a:pt x="1068" y="2365"/>
                  </a:lnTo>
                  <a:lnTo>
                    <a:pt x="1026" y="2427"/>
                  </a:lnTo>
                  <a:lnTo>
                    <a:pt x="963" y="2365"/>
                  </a:lnTo>
                  <a:lnTo>
                    <a:pt x="922" y="2302"/>
                  </a:lnTo>
                  <a:lnTo>
                    <a:pt x="796" y="2197"/>
                  </a:lnTo>
                  <a:lnTo>
                    <a:pt x="712" y="2197"/>
                  </a:lnTo>
                  <a:lnTo>
                    <a:pt x="629" y="2260"/>
                  </a:lnTo>
                  <a:lnTo>
                    <a:pt x="524" y="2260"/>
                  </a:lnTo>
                  <a:lnTo>
                    <a:pt x="440" y="2197"/>
                  </a:lnTo>
                  <a:lnTo>
                    <a:pt x="315" y="2155"/>
                  </a:lnTo>
                  <a:lnTo>
                    <a:pt x="273" y="2197"/>
                  </a:lnTo>
                  <a:lnTo>
                    <a:pt x="273" y="2365"/>
                  </a:lnTo>
                  <a:lnTo>
                    <a:pt x="273" y="2448"/>
                  </a:lnTo>
                  <a:lnTo>
                    <a:pt x="210" y="2532"/>
                  </a:lnTo>
                  <a:lnTo>
                    <a:pt x="294" y="2637"/>
                  </a:lnTo>
                  <a:lnTo>
                    <a:pt x="273" y="2657"/>
                  </a:lnTo>
                  <a:lnTo>
                    <a:pt x="273" y="2741"/>
                  </a:lnTo>
                  <a:lnTo>
                    <a:pt x="126" y="2846"/>
                  </a:lnTo>
                  <a:lnTo>
                    <a:pt x="1" y="2867"/>
                  </a:lnTo>
                  <a:lnTo>
                    <a:pt x="64" y="2950"/>
                  </a:lnTo>
                  <a:lnTo>
                    <a:pt x="168" y="3034"/>
                  </a:lnTo>
                  <a:lnTo>
                    <a:pt x="22" y="3181"/>
                  </a:lnTo>
                  <a:lnTo>
                    <a:pt x="85" y="3181"/>
                  </a:lnTo>
                  <a:lnTo>
                    <a:pt x="106" y="3390"/>
                  </a:lnTo>
                  <a:lnTo>
                    <a:pt x="106" y="3515"/>
                  </a:lnTo>
                  <a:lnTo>
                    <a:pt x="294" y="3557"/>
                  </a:lnTo>
                  <a:lnTo>
                    <a:pt x="336" y="3557"/>
                  </a:lnTo>
                  <a:lnTo>
                    <a:pt x="189" y="3787"/>
                  </a:lnTo>
                  <a:lnTo>
                    <a:pt x="126" y="3934"/>
                  </a:lnTo>
                  <a:lnTo>
                    <a:pt x="294" y="4227"/>
                  </a:lnTo>
                  <a:lnTo>
                    <a:pt x="378" y="4499"/>
                  </a:lnTo>
                  <a:lnTo>
                    <a:pt x="336" y="4562"/>
                  </a:lnTo>
                  <a:lnTo>
                    <a:pt x="398" y="4666"/>
                  </a:lnTo>
                  <a:lnTo>
                    <a:pt x="419" y="4875"/>
                  </a:lnTo>
                  <a:lnTo>
                    <a:pt x="922" y="4917"/>
                  </a:lnTo>
                  <a:lnTo>
                    <a:pt x="1005" y="5085"/>
                  </a:lnTo>
                  <a:lnTo>
                    <a:pt x="1005" y="5252"/>
                  </a:lnTo>
                  <a:lnTo>
                    <a:pt x="1047" y="5482"/>
                  </a:lnTo>
                  <a:lnTo>
                    <a:pt x="1005" y="5566"/>
                  </a:lnTo>
                  <a:lnTo>
                    <a:pt x="587" y="6131"/>
                  </a:lnTo>
                  <a:lnTo>
                    <a:pt x="1361" y="6382"/>
                  </a:lnTo>
                  <a:lnTo>
                    <a:pt x="2051" y="6340"/>
                  </a:lnTo>
                  <a:lnTo>
                    <a:pt x="2219" y="6298"/>
                  </a:lnTo>
                  <a:lnTo>
                    <a:pt x="2407" y="6319"/>
                  </a:lnTo>
                  <a:lnTo>
                    <a:pt x="2491" y="6235"/>
                  </a:lnTo>
                  <a:lnTo>
                    <a:pt x="2679" y="6194"/>
                  </a:lnTo>
                  <a:lnTo>
                    <a:pt x="2993" y="6194"/>
                  </a:lnTo>
                  <a:lnTo>
                    <a:pt x="3160" y="6173"/>
                  </a:lnTo>
                  <a:lnTo>
                    <a:pt x="3370" y="6173"/>
                  </a:lnTo>
                  <a:lnTo>
                    <a:pt x="3621" y="6068"/>
                  </a:lnTo>
                  <a:lnTo>
                    <a:pt x="3621" y="5963"/>
                  </a:lnTo>
                  <a:lnTo>
                    <a:pt x="3579" y="5859"/>
                  </a:lnTo>
                  <a:lnTo>
                    <a:pt x="3579" y="5712"/>
                  </a:lnTo>
                  <a:lnTo>
                    <a:pt x="3537" y="5545"/>
                  </a:lnTo>
                  <a:lnTo>
                    <a:pt x="3537" y="5378"/>
                  </a:lnTo>
                  <a:lnTo>
                    <a:pt x="3621" y="5273"/>
                  </a:lnTo>
                  <a:lnTo>
                    <a:pt x="3725" y="5252"/>
                  </a:lnTo>
                  <a:lnTo>
                    <a:pt x="3746" y="5147"/>
                  </a:lnTo>
                  <a:lnTo>
                    <a:pt x="3788" y="5064"/>
                  </a:lnTo>
                  <a:lnTo>
                    <a:pt x="3935" y="5043"/>
                  </a:lnTo>
                  <a:lnTo>
                    <a:pt x="3997" y="5085"/>
                  </a:lnTo>
                  <a:lnTo>
                    <a:pt x="4207" y="4980"/>
                  </a:lnTo>
                  <a:lnTo>
                    <a:pt x="4269" y="4917"/>
                  </a:lnTo>
                  <a:lnTo>
                    <a:pt x="4186" y="4875"/>
                  </a:lnTo>
                  <a:lnTo>
                    <a:pt x="4395" y="4708"/>
                  </a:lnTo>
                  <a:lnTo>
                    <a:pt x="4416" y="4645"/>
                  </a:lnTo>
                  <a:lnTo>
                    <a:pt x="4583" y="4624"/>
                  </a:lnTo>
                  <a:lnTo>
                    <a:pt x="4625" y="4666"/>
                  </a:lnTo>
                  <a:lnTo>
                    <a:pt x="4771" y="4666"/>
                  </a:lnTo>
                  <a:lnTo>
                    <a:pt x="4792" y="4603"/>
                  </a:lnTo>
                  <a:lnTo>
                    <a:pt x="4834" y="4603"/>
                  </a:lnTo>
                  <a:lnTo>
                    <a:pt x="4981" y="4750"/>
                  </a:lnTo>
                  <a:lnTo>
                    <a:pt x="5085" y="4541"/>
                  </a:lnTo>
                  <a:lnTo>
                    <a:pt x="5043" y="4310"/>
                  </a:lnTo>
                  <a:lnTo>
                    <a:pt x="5085" y="4248"/>
                  </a:lnTo>
                  <a:lnTo>
                    <a:pt x="5085" y="4185"/>
                  </a:lnTo>
                  <a:lnTo>
                    <a:pt x="5127" y="4038"/>
                  </a:lnTo>
                  <a:lnTo>
                    <a:pt x="5148" y="3829"/>
                  </a:lnTo>
                  <a:lnTo>
                    <a:pt x="5190" y="3766"/>
                  </a:lnTo>
                  <a:lnTo>
                    <a:pt x="5316" y="3725"/>
                  </a:lnTo>
                  <a:lnTo>
                    <a:pt x="5441" y="3662"/>
                  </a:lnTo>
                  <a:lnTo>
                    <a:pt x="5462" y="3578"/>
                  </a:lnTo>
                  <a:lnTo>
                    <a:pt x="5420" y="3411"/>
                  </a:lnTo>
                  <a:lnTo>
                    <a:pt x="5295" y="3348"/>
                  </a:lnTo>
                  <a:lnTo>
                    <a:pt x="5232" y="3181"/>
                  </a:lnTo>
                  <a:lnTo>
                    <a:pt x="5357" y="3097"/>
                  </a:lnTo>
                  <a:lnTo>
                    <a:pt x="5567" y="3181"/>
                  </a:lnTo>
                  <a:lnTo>
                    <a:pt x="5776" y="3181"/>
                  </a:lnTo>
                  <a:lnTo>
                    <a:pt x="5943" y="2950"/>
                  </a:lnTo>
                  <a:lnTo>
                    <a:pt x="5943" y="2783"/>
                  </a:lnTo>
                  <a:lnTo>
                    <a:pt x="5818" y="2657"/>
                  </a:lnTo>
                  <a:lnTo>
                    <a:pt x="6069" y="2323"/>
                  </a:lnTo>
                  <a:lnTo>
                    <a:pt x="6048" y="2051"/>
                  </a:lnTo>
                  <a:lnTo>
                    <a:pt x="5818" y="1695"/>
                  </a:lnTo>
                  <a:lnTo>
                    <a:pt x="5901" y="1590"/>
                  </a:lnTo>
                  <a:lnTo>
                    <a:pt x="6027" y="1465"/>
                  </a:lnTo>
                  <a:lnTo>
                    <a:pt x="6173" y="1465"/>
                  </a:lnTo>
                  <a:lnTo>
                    <a:pt x="6299" y="1318"/>
                  </a:lnTo>
                  <a:lnTo>
                    <a:pt x="6487" y="1214"/>
                  </a:lnTo>
                  <a:lnTo>
                    <a:pt x="6613" y="1297"/>
                  </a:lnTo>
                  <a:lnTo>
                    <a:pt x="6801" y="1277"/>
                  </a:lnTo>
                  <a:lnTo>
                    <a:pt x="7199" y="1172"/>
                  </a:lnTo>
                  <a:lnTo>
                    <a:pt x="7450" y="1067"/>
                  </a:lnTo>
                  <a:lnTo>
                    <a:pt x="7596" y="879"/>
                  </a:lnTo>
                  <a:lnTo>
                    <a:pt x="7471" y="858"/>
                  </a:lnTo>
                  <a:lnTo>
                    <a:pt x="7659" y="691"/>
                  </a:lnTo>
                  <a:lnTo>
                    <a:pt x="7638" y="586"/>
                  </a:lnTo>
                  <a:lnTo>
                    <a:pt x="7387" y="586"/>
                  </a:lnTo>
                  <a:lnTo>
                    <a:pt x="7324" y="691"/>
                  </a:lnTo>
                  <a:lnTo>
                    <a:pt x="7094" y="732"/>
                  </a:lnTo>
                  <a:lnTo>
                    <a:pt x="7073" y="586"/>
                  </a:lnTo>
                  <a:lnTo>
                    <a:pt x="6906" y="649"/>
                  </a:lnTo>
                  <a:lnTo>
                    <a:pt x="6655" y="795"/>
                  </a:lnTo>
                  <a:lnTo>
                    <a:pt x="6571" y="858"/>
                  </a:lnTo>
                  <a:lnTo>
                    <a:pt x="6550" y="984"/>
                  </a:lnTo>
                  <a:lnTo>
                    <a:pt x="6424" y="1067"/>
                  </a:lnTo>
                  <a:lnTo>
                    <a:pt x="6257" y="1151"/>
                  </a:lnTo>
                  <a:lnTo>
                    <a:pt x="6236" y="1193"/>
                  </a:lnTo>
                  <a:lnTo>
                    <a:pt x="6132" y="1277"/>
                  </a:lnTo>
                  <a:lnTo>
                    <a:pt x="5985" y="1277"/>
                  </a:lnTo>
                  <a:lnTo>
                    <a:pt x="5880" y="1256"/>
                  </a:lnTo>
                  <a:lnTo>
                    <a:pt x="5880" y="1172"/>
                  </a:lnTo>
                  <a:lnTo>
                    <a:pt x="5776" y="1046"/>
                  </a:lnTo>
                  <a:lnTo>
                    <a:pt x="5776" y="837"/>
                  </a:lnTo>
                  <a:lnTo>
                    <a:pt x="5755" y="691"/>
                  </a:lnTo>
                  <a:lnTo>
                    <a:pt x="5776" y="565"/>
                  </a:lnTo>
                  <a:lnTo>
                    <a:pt x="5734" y="460"/>
                  </a:lnTo>
                  <a:lnTo>
                    <a:pt x="5629" y="460"/>
                  </a:lnTo>
                  <a:lnTo>
                    <a:pt x="5608" y="356"/>
                  </a:lnTo>
                  <a:lnTo>
                    <a:pt x="5629" y="209"/>
                  </a:lnTo>
                  <a:lnTo>
                    <a:pt x="5629" y="126"/>
                  </a:lnTo>
                  <a:lnTo>
                    <a:pt x="5525" y="63"/>
                  </a:lnTo>
                  <a:lnTo>
                    <a:pt x="542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2" name="Google Shape;2072;p66"/>
            <p:cNvSpPr/>
            <p:nvPr/>
          </p:nvSpPr>
          <p:spPr>
            <a:xfrm>
              <a:off x="3884115" y="2761763"/>
              <a:ext cx="113133" cy="67348"/>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3" name="Google Shape;2073;p66"/>
            <p:cNvSpPr/>
            <p:nvPr/>
          </p:nvSpPr>
          <p:spPr>
            <a:xfrm>
              <a:off x="3912027" y="2795073"/>
              <a:ext cx="23684" cy="25236"/>
            </a:xfrm>
            <a:custGeom>
              <a:avLst/>
              <a:gdLst/>
              <a:ahLst/>
              <a:cxnLst/>
              <a:rect l="l" t="t" r="r" b="b"/>
              <a:pathLst>
                <a:path w="1989" h="2219" extrusionOk="0">
                  <a:moveTo>
                    <a:pt x="419" y="0"/>
                  </a:moveTo>
                  <a:lnTo>
                    <a:pt x="398" y="63"/>
                  </a:lnTo>
                  <a:lnTo>
                    <a:pt x="272" y="63"/>
                  </a:lnTo>
                  <a:lnTo>
                    <a:pt x="210" y="105"/>
                  </a:lnTo>
                  <a:lnTo>
                    <a:pt x="105" y="63"/>
                  </a:lnTo>
                  <a:lnTo>
                    <a:pt x="84" y="84"/>
                  </a:lnTo>
                  <a:lnTo>
                    <a:pt x="0" y="63"/>
                  </a:lnTo>
                  <a:lnTo>
                    <a:pt x="42" y="210"/>
                  </a:lnTo>
                  <a:lnTo>
                    <a:pt x="0" y="272"/>
                  </a:lnTo>
                  <a:lnTo>
                    <a:pt x="42" y="419"/>
                  </a:lnTo>
                  <a:lnTo>
                    <a:pt x="251" y="377"/>
                  </a:lnTo>
                  <a:lnTo>
                    <a:pt x="314" y="628"/>
                  </a:lnTo>
                  <a:lnTo>
                    <a:pt x="565" y="837"/>
                  </a:lnTo>
                  <a:lnTo>
                    <a:pt x="586" y="942"/>
                  </a:lnTo>
                  <a:lnTo>
                    <a:pt x="900" y="1214"/>
                  </a:lnTo>
                  <a:lnTo>
                    <a:pt x="921" y="1360"/>
                  </a:lnTo>
                  <a:lnTo>
                    <a:pt x="1026" y="1528"/>
                  </a:lnTo>
                  <a:lnTo>
                    <a:pt x="1005" y="2072"/>
                  </a:lnTo>
                  <a:lnTo>
                    <a:pt x="1088" y="2218"/>
                  </a:lnTo>
                  <a:lnTo>
                    <a:pt x="1151" y="2177"/>
                  </a:lnTo>
                  <a:lnTo>
                    <a:pt x="1256" y="2197"/>
                  </a:lnTo>
                  <a:lnTo>
                    <a:pt x="1256" y="2093"/>
                  </a:lnTo>
                  <a:lnTo>
                    <a:pt x="1360" y="1884"/>
                  </a:lnTo>
                  <a:lnTo>
                    <a:pt x="1423" y="1905"/>
                  </a:lnTo>
                  <a:lnTo>
                    <a:pt x="1423" y="1758"/>
                  </a:lnTo>
                  <a:lnTo>
                    <a:pt x="1444" y="1549"/>
                  </a:lnTo>
                  <a:lnTo>
                    <a:pt x="1549" y="1549"/>
                  </a:lnTo>
                  <a:lnTo>
                    <a:pt x="1716" y="1486"/>
                  </a:lnTo>
                  <a:lnTo>
                    <a:pt x="1779" y="1570"/>
                  </a:lnTo>
                  <a:lnTo>
                    <a:pt x="1967" y="1570"/>
                  </a:lnTo>
                  <a:lnTo>
                    <a:pt x="1988" y="1528"/>
                  </a:lnTo>
                  <a:lnTo>
                    <a:pt x="1925" y="1423"/>
                  </a:lnTo>
                  <a:lnTo>
                    <a:pt x="1946" y="1319"/>
                  </a:lnTo>
                  <a:lnTo>
                    <a:pt x="1925" y="1214"/>
                  </a:lnTo>
                  <a:lnTo>
                    <a:pt x="1758" y="1109"/>
                  </a:lnTo>
                  <a:lnTo>
                    <a:pt x="1612" y="963"/>
                  </a:lnTo>
                  <a:lnTo>
                    <a:pt x="1612" y="921"/>
                  </a:lnTo>
                  <a:lnTo>
                    <a:pt x="1465" y="858"/>
                  </a:lnTo>
                  <a:lnTo>
                    <a:pt x="1465" y="712"/>
                  </a:lnTo>
                  <a:lnTo>
                    <a:pt x="1444" y="524"/>
                  </a:lnTo>
                  <a:lnTo>
                    <a:pt x="1298" y="440"/>
                  </a:lnTo>
                  <a:lnTo>
                    <a:pt x="1109" y="272"/>
                  </a:lnTo>
                  <a:lnTo>
                    <a:pt x="1047" y="272"/>
                  </a:lnTo>
                  <a:lnTo>
                    <a:pt x="1026" y="314"/>
                  </a:lnTo>
                  <a:lnTo>
                    <a:pt x="837" y="314"/>
                  </a:lnTo>
                  <a:lnTo>
                    <a:pt x="670" y="126"/>
                  </a:lnTo>
                  <a:lnTo>
                    <a:pt x="523" y="126"/>
                  </a:lnTo>
                  <a:lnTo>
                    <a:pt x="41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4" name="Google Shape;2074;p66"/>
            <p:cNvSpPr/>
            <p:nvPr/>
          </p:nvSpPr>
          <p:spPr>
            <a:xfrm>
              <a:off x="3874161" y="2799361"/>
              <a:ext cx="60800" cy="37131"/>
            </a:xfrm>
            <a:custGeom>
              <a:avLst/>
              <a:gdLst/>
              <a:ahLst/>
              <a:cxnLst/>
              <a:rect l="l" t="t" r="r" b="b"/>
              <a:pathLst>
                <a:path w="5106" h="3265" extrusionOk="0">
                  <a:moveTo>
                    <a:pt x="3431" y="0"/>
                  </a:moveTo>
                  <a:lnTo>
                    <a:pt x="3076" y="63"/>
                  </a:lnTo>
                  <a:lnTo>
                    <a:pt x="2950" y="147"/>
                  </a:lnTo>
                  <a:lnTo>
                    <a:pt x="2553" y="209"/>
                  </a:lnTo>
                  <a:lnTo>
                    <a:pt x="2448" y="335"/>
                  </a:lnTo>
                  <a:lnTo>
                    <a:pt x="2323" y="335"/>
                  </a:lnTo>
                  <a:lnTo>
                    <a:pt x="2176" y="377"/>
                  </a:lnTo>
                  <a:lnTo>
                    <a:pt x="2030" y="335"/>
                  </a:lnTo>
                  <a:lnTo>
                    <a:pt x="1988" y="230"/>
                  </a:lnTo>
                  <a:lnTo>
                    <a:pt x="1820" y="167"/>
                  </a:lnTo>
                  <a:lnTo>
                    <a:pt x="1674" y="147"/>
                  </a:lnTo>
                  <a:lnTo>
                    <a:pt x="1465" y="42"/>
                  </a:lnTo>
                  <a:lnTo>
                    <a:pt x="1360" y="42"/>
                  </a:lnTo>
                  <a:lnTo>
                    <a:pt x="1276" y="126"/>
                  </a:lnTo>
                  <a:lnTo>
                    <a:pt x="1151" y="126"/>
                  </a:lnTo>
                  <a:lnTo>
                    <a:pt x="1172" y="147"/>
                  </a:lnTo>
                  <a:lnTo>
                    <a:pt x="1130" y="272"/>
                  </a:lnTo>
                  <a:lnTo>
                    <a:pt x="962" y="314"/>
                  </a:lnTo>
                  <a:lnTo>
                    <a:pt x="858" y="544"/>
                  </a:lnTo>
                  <a:lnTo>
                    <a:pt x="732" y="879"/>
                  </a:lnTo>
                  <a:lnTo>
                    <a:pt x="523" y="1193"/>
                  </a:lnTo>
                  <a:lnTo>
                    <a:pt x="544" y="1297"/>
                  </a:lnTo>
                  <a:lnTo>
                    <a:pt x="439" y="1402"/>
                  </a:lnTo>
                  <a:lnTo>
                    <a:pt x="293" y="1381"/>
                  </a:lnTo>
                  <a:lnTo>
                    <a:pt x="230" y="1486"/>
                  </a:lnTo>
                  <a:lnTo>
                    <a:pt x="126" y="1507"/>
                  </a:lnTo>
                  <a:lnTo>
                    <a:pt x="0" y="1632"/>
                  </a:lnTo>
                  <a:lnTo>
                    <a:pt x="126" y="1674"/>
                  </a:lnTo>
                  <a:lnTo>
                    <a:pt x="146" y="1737"/>
                  </a:lnTo>
                  <a:lnTo>
                    <a:pt x="335" y="1946"/>
                  </a:lnTo>
                  <a:lnTo>
                    <a:pt x="356" y="2051"/>
                  </a:lnTo>
                  <a:lnTo>
                    <a:pt x="523" y="2134"/>
                  </a:lnTo>
                  <a:lnTo>
                    <a:pt x="670" y="2260"/>
                  </a:lnTo>
                  <a:lnTo>
                    <a:pt x="607" y="2406"/>
                  </a:lnTo>
                  <a:lnTo>
                    <a:pt x="628" y="2448"/>
                  </a:lnTo>
                  <a:lnTo>
                    <a:pt x="837" y="2532"/>
                  </a:lnTo>
                  <a:lnTo>
                    <a:pt x="879" y="2616"/>
                  </a:lnTo>
                  <a:lnTo>
                    <a:pt x="983" y="2574"/>
                  </a:lnTo>
                  <a:lnTo>
                    <a:pt x="1088" y="2657"/>
                  </a:lnTo>
                  <a:lnTo>
                    <a:pt x="1172" y="2532"/>
                  </a:lnTo>
                  <a:lnTo>
                    <a:pt x="1381" y="2553"/>
                  </a:lnTo>
                  <a:lnTo>
                    <a:pt x="1276" y="2678"/>
                  </a:lnTo>
                  <a:lnTo>
                    <a:pt x="1297" y="2762"/>
                  </a:lnTo>
                  <a:lnTo>
                    <a:pt x="1339" y="2888"/>
                  </a:lnTo>
                  <a:lnTo>
                    <a:pt x="1486" y="2888"/>
                  </a:lnTo>
                  <a:lnTo>
                    <a:pt x="1569" y="2971"/>
                  </a:lnTo>
                  <a:lnTo>
                    <a:pt x="1569" y="3055"/>
                  </a:lnTo>
                  <a:lnTo>
                    <a:pt x="1507" y="3097"/>
                  </a:lnTo>
                  <a:lnTo>
                    <a:pt x="1590" y="3201"/>
                  </a:lnTo>
                  <a:lnTo>
                    <a:pt x="1716" y="3139"/>
                  </a:lnTo>
                  <a:lnTo>
                    <a:pt x="1883" y="3139"/>
                  </a:lnTo>
                  <a:lnTo>
                    <a:pt x="1925" y="3201"/>
                  </a:lnTo>
                  <a:lnTo>
                    <a:pt x="1988" y="3180"/>
                  </a:lnTo>
                  <a:lnTo>
                    <a:pt x="2197" y="3264"/>
                  </a:lnTo>
                  <a:lnTo>
                    <a:pt x="2343" y="3180"/>
                  </a:lnTo>
                  <a:lnTo>
                    <a:pt x="2490" y="3201"/>
                  </a:lnTo>
                  <a:lnTo>
                    <a:pt x="2553" y="3160"/>
                  </a:lnTo>
                  <a:lnTo>
                    <a:pt x="2699" y="3201"/>
                  </a:lnTo>
                  <a:lnTo>
                    <a:pt x="2804" y="3201"/>
                  </a:lnTo>
                  <a:lnTo>
                    <a:pt x="3013" y="3243"/>
                  </a:lnTo>
                  <a:lnTo>
                    <a:pt x="3076" y="3180"/>
                  </a:lnTo>
                  <a:lnTo>
                    <a:pt x="3222" y="3139"/>
                  </a:lnTo>
                  <a:lnTo>
                    <a:pt x="3264" y="3055"/>
                  </a:lnTo>
                  <a:lnTo>
                    <a:pt x="3599" y="2888"/>
                  </a:lnTo>
                  <a:lnTo>
                    <a:pt x="3766" y="2867"/>
                  </a:lnTo>
                  <a:lnTo>
                    <a:pt x="3955" y="2888"/>
                  </a:lnTo>
                  <a:lnTo>
                    <a:pt x="4122" y="2971"/>
                  </a:lnTo>
                  <a:lnTo>
                    <a:pt x="4185" y="3034"/>
                  </a:lnTo>
                  <a:lnTo>
                    <a:pt x="4289" y="2992"/>
                  </a:lnTo>
                  <a:lnTo>
                    <a:pt x="4436" y="3055"/>
                  </a:lnTo>
                  <a:lnTo>
                    <a:pt x="4478" y="3139"/>
                  </a:lnTo>
                  <a:lnTo>
                    <a:pt x="4603" y="3139"/>
                  </a:lnTo>
                  <a:lnTo>
                    <a:pt x="4582" y="2992"/>
                  </a:lnTo>
                  <a:lnTo>
                    <a:pt x="4624" y="2888"/>
                  </a:lnTo>
                  <a:lnTo>
                    <a:pt x="4624" y="2720"/>
                  </a:lnTo>
                  <a:lnTo>
                    <a:pt x="4603" y="2636"/>
                  </a:lnTo>
                  <a:lnTo>
                    <a:pt x="4645" y="2553"/>
                  </a:lnTo>
                  <a:lnTo>
                    <a:pt x="4708" y="2427"/>
                  </a:lnTo>
                  <a:lnTo>
                    <a:pt x="4896" y="2427"/>
                  </a:lnTo>
                  <a:lnTo>
                    <a:pt x="5022" y="2406"/>
                  </a:lnTo>
                  <a:lnTo>
                    <a:pt x="5105" y="2239"/>
                  </a:lnTo>
                  <a:lnTo>
                    <a:pt x="5105" y="2155"/>
                  </a:lnTo>
                  <a:lnTo>
                    <a:pt x="5043" y="2113"/>
                  </a:lnTo>
                  <a:lnTo>
                    <a:pt x="5105" y="2051"/>
                  </a:lnTo>
                  <a:lnTo>
                    <a:pt x="5001" y="1988"/>
                  </a:lnTo>
                  <a:lnTo>
                    <a:pt x="4812" y="1988"/>
                  </a:lnTo>
                  <a:lnTo>
                    <a:pt x="4729" y="2051"/>
                  </a:lnTo>
                  <a:lnTo>
                    <a:pt x="4520" y="2051"/>
                  </a:lnTo>
                  <a:lnTo>
                    <a:pt x="4373" y="2009"/>
                  </a:lnTo>
                  <a:lnTo>
                    <a:pt x="4268" y="1841"/>
                  </a:lnTo>
                  <a:lnTo>
                    <a:pt x="4185" y="1695"/>
                  </a:lnTo>
                  <a:lnTo>
                    <a:pt x="4206" y="1151"/>
                  </a:lnTo>
                  <a:lnTo>
                    <a:pt x="4101" y="983"/>
                  </a:lnTo>
                  <a:lnTo>
                    <a:pt x="4080" y="837"/>
                  </a:lnTo>
                  <a:lnTo>
                    <a:pt x="3766" y="565"/>
                  </a:lnTo>
                  <a:lnTo>
                    <a:pt x="3745" y="460"/>
                  </a:lnTo>
                  <a:lnTo>
                    <a:pt x="3494" y="251"/>
                  </a:lnTo>
                  <a:lnTo>
                    <a:pt x="343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5" name="Google Shape;2075;p66"/>
            <p:cNvSpPr/>
            <p:nvPr/>
          </p:nvSpPr>
          <p:spPr>
            <a:xfrm>
              <a:off x="3889355" y="2831954"/>
              <a:ext cx="39878" cy="24041"/>
            </a:xfrm>
            <a:custGeom>
              <a:avLst/>
              <a:gdLst/>
              <a:ahLst/>
              <a:cxnLst/>
              <a:rect l="l" t="t" r="r" b="b"/>
              <a:pathLst>
                <a:path w="3349" h="2114" extrusionOk="0">
                  <a:moveTo>
                    <a:pt x="2490" y="1"/>
                  </a:moveTo>
                  <a:lnTo>
                    <a:pt x="2323" y="22"/>
                  </a:lnTo>
                  <a:lnTo>
                    <a:pt x="1988" y="189"/>
                  </a:lnTo>
                  <a:lnTo>
                    <a:pt x="1946" y="273"/>
                  </a:lnTo>
                  <a:lnTo>
                    <a:pt x="1800" y="314"/>
                  </a:lnTo>
                  <a:lnTo>
                    <a:pt x="1737" y="377"/>
                  </a:lnTo>
                  <a:lnTo>
                    <a:pt x="1528" y="335"/>
                  </a:lnTo>
                  <a:lnTo>
                    <a:pt x="1423" y="335"/>
                  </a:lnTo>
                  <a:lnTo>
                    <a:pt x="1277" y="294"/>
                  </a:lnTo>
                  <a:lnTo>
                    <a:pt x="1214" y="335"/>
                  </a:lnTo>
                  <a:lnTo>
                    <a:pt x="1067" y="314"/>
                  </a:lnTo>
                  <a:lnTo>
                    <a:pt x="921" y="398"/>
                  </a:lnTo>
                  <a:lnTo>
                    <a:pt x="712" y="314"/>
                  </a:lnTo>
                  <a:lnTo>
                    <a:pt x="649" y="335"/>
                  </a:lnTo>
                  <a:lnTo>
                    <a:pt x="607" y="273"/>
                  </a:lnTo>
                  <a:lnTo>
                    <a:pt x="440" y="273"/>
                  </a:lnTo>
                  <a:lnTo>
                    <a:pt x="314" y="335"/>
                  </a:lnTo>
                  <a:lnTo>
                    <a:pt x="231" y="231"/>
                  </a:lnTo>
                  <a:lnTo>
                    <a:pt x="293" y="189"/>
                  </a:lnTo>
                  <a:lnTo>
                    <a:pt x="293" y="105"/>
                  </a:lnTo>
                  <a:lnTo>
                    <a:pt x="210" y="22"/>
                  </a:lnTo>
                  <a:lnTo>
                    <a:pt x="63" y="22"/>
                  </a:lnTo>
                  <a:lnTo>
                    <a:pt x="84" y="126"/>
                  </a:lnTo>
                  <a:lnTo>
                    <a:pt x="0" y="210"/>
                  </a:lnTo>
                  <a:lnTo>
                    <a:pt x="63" y="440"/>
                  </a:lnTo>
                  <a:lnTo>
                    <a:pt x="231" y="628"/>
                  </a:lnTo>
                  <a:lnTo>
                    <a:pt x="314" y="754"/>
                  </a:lnTo>
                  <a:lnTo>
                    <a:pt x="272" y="900"/>
                  </a:lnTo>
                  <a:lnTo>
                    <a:pt x="63" y="1068"/>
                  </a:lnTo>
                  <a:lnTo>
                    <a:pt x="84" y="1172"/>
                  </a:lnTo>
                  <a:lnTo>
                    <a:pt x="168" y="1277"/>
                  </a:lnTo>
                  <a:lnTo>
                    <a:pt x="105" y="1382"/>
                  </a:lnTo>
                  <a:lnTo>
                    <a:pt x="335" y="1570"/>
                  </a:lnTo>
                  <a:lnTo>
                    <a:pt x="503" y="1842"/>
                  </a:lnTo>
                  <a:lnTo>
                    <a:pt x="523" y="1988"/>
                  </a:lnTo>
                  <a:lnTo>
                    <a:pt x="523" y="2093"/>
                  </a:lnTo>
                  <a:lnTo>
                    <a:pt x="607" y="2114"/>
                  </a:lnTo>
                  <a:lnTo>
                    <a:pt x="795" y="2114"/>
                  </a:lnTo>
                  <a:lnTo>
                    <a:pt x="942" y="2093"/>
                  </a:lnTo>
                  <a:lnTo>
                    <a:pt x="1026" y="1988"/>
                  </a:lnTo>
                  <a:lnTo>
                    <a:pt x="1172" y="2009"/>
                  </a:lnTo>
                  <a:lnTo>
                    <a:pt x="1319" y="2009"/>
                  </a:lnTo>
                  <a:lnTo>
                    <a:pt x="1339" y="2114"/>
                  </a:lnTo>
                  <a:lnTo>
                    <a:pt x="1444" y="2114"/>
                  </a:lnTo>
                  <a:lnTo>
                    <a:pt x="1528" y="2051"/>
                  </a:lnTo>
                  <a:lnTo>
                    <a:pt x="1653" y="2051"/>
                  </a:lnTo>
                  <a:lnTo>
                    <a:pt x="1737" y="2114"/>
                  </a:lnTo>
                  <a:lnTo>
                    <a:pt x="1863" y="2072"/>
                  </a:lnTo>
                  <a:lnTo>
                    <a:pt x="2093" y="2072"/>
                  </a:lnTo>
                  <a:lnTo>
                    <a:pt x="2176" y="2009"/>
                  </a:lnTo>
                  <a:lnTo>
                    <a:pt x="2114" y="1905"/>
                  </a:lnTo>
                  <a:lnTo>
                    <a:pt x="2114" y="1779"/>
                  </a:lnTo>
                  <a:lnTo>
                    <a:pt x="2281" y="1675"/>
                  </a:lnTo>
                  <a:lnTo>
                    <a:pt x="2323" y="1675"/>
                  </a:lnTo>
                  <a:lnTo>
                    <a:pt x="2427" y="1570"/>
                  </a:lnTo>
                  <a:lnTo>
                    <a:pt x="2511" y="1570"/>
                  </a:lnTo>
                  <a:lnTo>
                    <a:pt x="2595" y="1486"/>
                  </a:lnTo>
                  <a:lnTo>
                    <a:pt x="2741" y="1486"/>
                  </a:lnTo>
                  <a:lnTo>
                    <a:pt x="2909" y="1633"/>
                  </a:lnTo>
                  <a:lnTo>
                    <a:pt x="3013" y="1549"/>
                  </a:lnTo>
                  <a:lnTo>
                    <a:pt x="3118" y="1570"/>
                  </a:lnTo>
                  <a:lnTo>
                    <a:pt x="3034" y="1444"/>
                  </a:lnTo>
                  <a:lnTo>
                    <a:pt x="2930" y="1256"/>
                  </a:lnTo>
                  <a:lnTo>
                    <a:pt x="2825" y="1256"/>
                  </a:lnTo>
                  <a:lnTo>
                    <a:pt x="2804" y="1172"/>
                  </a:lnTo>
                  <a:lnTo>
                    <a:pt x="2951" y="1068"/>
                  </a:lnTo>
                  <a:lnTo>
                    <a:pt x="3013" y="942"/>
                  </a:lnTo>
                  <a:lnTo>
                    <a:pt x="2992" y="712"/>
                  </a:lnTo>
                  <a:lnTo>
                    <a:pt x="3139" y="545"/>
                  </a:lnTo>
                  <a:lnTo>
                    <a:pt x="3244" y="586"/>
                  </a:lnTo>
                  <a:lnTo>
                    <a:pt x="3327" y="503"/>
                  </a:lnTo>
                  <a:lnTo>
                    <a:pt x="3348" y="294"/>
                  </a:lnTo>
                  <a:lnTo>
                    <a:pt x="3327" y="273"/>
                  </a:lnTo>
                  <a:lnTo>
                    <a:pt x="3202" y="273"/>
                  </a:lnTo>
                  <a:lnTo>
                    <a:pt x="3160" y="189"/>
                  </a:lnTo>
                  <a:lnTo>
                    <a:pt x="3013" y="126"/>
                  </a:lnTo>
                  <a:lnTo>
                    <a:pt x="2909" y="168"/>
                  </a:lnTo>
                  <a:lnTo>
                    <a:pt x="2846" y="105"/>
                  </a:lnTo>
                  <a:lnTo>
                    <a:pt x="2679" y="22"/>
                  </a:lnTo>
                  <a:lnTo>
                    <a:pt x="249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076" name="Google Shape;2076;p66"/>
            <p:cNvGrpSpPr/>
            <p:nvPr/>
          </p:nvGrpSpPr>
          <p:grpSpPr>
            <a:xfrm>
              <a:off x="3831056" y="2816010"/>
              <a:ext cx="37378" cy="27612"/>
              <a:chOff x="3866750" y="2520350"/>
              <a:chExt cx="78475" cy="60700"/>
            </a:xfrm>
          </p:grpSpPr>
          <p:sp>
            <p:nvSpPr>
              <p:cNvPr id="2077" name="Google Shape;2077;p66"/>
              <p:cNvSpPr/>
              <p:nvPr/>
            </p:nvSpPr>
            <p:spPr>
              <a:xfrm>
                <a:off x="3877200" y="2546500"/>
                <a:ext cx="4725" cy="6300"/>
              </a:xfrm>
              <a:custGeom>
                <a:avLst/>
                <a:gdLst/>
                <a:ahLst/>
                <a:cxnLst/>
                <a:rect l="l" t="t" r="r" b="b"/>
                <a:pathLst>
                  <a:path w="189" h="252" extrusionOk="0">
                    <a:moveTo>
                      <a:pt x="1" y="1"/>
                    </a:moveTo>
                    <a:lnTo>
                      <a:pt x="84" y="126"/>
                    </a:lnTo>
                    <a:lnTo>
                      <a:pt x="63" y="147"/>
                    </a:lnTo>
                    <a:lnTo>
                      <a:pt x="168" y="252"/>
                    </a:lnTo>
                    <a:lnTo>
                      <a:pt x="189" y="252"/>
                    </a:lnTo>
                    <a:lnTo>
                      <a:pt x="168" y="106"/>
                    </a:lnTo>
                    <a:lnTo>
                      <a:pt x="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8" name="Google Shape;2078;p66"/>
              <p:cNvSpPr/>
              <p:nvPr/>
            </p:nvSpPr>
            <p:spPr>
              <a:xfrm>
                <a:off x="3882425" y="2554350"/>
                <a:ext cx="2650" cy="3175"/>
              </a:xfrm>
              <a:custGeom>
                <a:avLst/>
                <a:gdLst/>
                <a:ahLst/>
                <a:cxnLst/>
                <a:rect l="l" t="t" r="r" b="b"/>
                <a:pathLst>
                  <a:path w="106" h="127" extrusionOk="0">
                    <a:moveTo>
                      <a:pt x="1" y="1"/>
                    </a:moveTo>
                    <a:lnTo>
                      <a:pt x="106" y="126"/>
                    </a:lnTo>
                    <a:lnTo>
                      <a:pt x="85" y="43"/>
                    </a:lnTo>
                    <a:lnTo>
                      <a:pt x="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79" name="Google Shape;2079;p66"/>
              <p:cNvSpPr/>
              <p:nvPr/>
            </p:nvSpPr>
            <p:spPr>
              <a:xfrm>
                <a:off x="3866750" y="2520350"/>
                <a:ext cx="78475" cy="60700"/>
              </a:xfrm>
              <a:custGeom>
                <a:avLst/>
                <a:gdLst/>
                <a:ahLst/>
                <a:cxnLst/>
                <a:rect l="l" t="t" r="r" b="b"/>
                <a:pathLst>
                  <a:path w="3139" h="2428" extrusionOk="0">
                    <a:moveTo>
                      <a:pt x="1653" y="1"/>
                    </a:moveTo>
                    <a:lnTo>
                      <a:pt x="1653" y="22"/>
                    </a:lnTo>
                    <a:lnTo>
                      <a:pt x="1402" y="22"/>
                    </a:lnTo>
                    <a:lnTo>
                      <a:pt x="1046" y="210"/>
                    </a:lnTo>
                    <a:lnTo>
                      <a:pt x="1025" y="356"/>
                    </a:lnTo>
                    <a:lnTo>
                      <a:pt x="837" y="440"/>
                    </a:lnTo>
                    <a:lnTo>
                      <a:pt x="816" y="649"/>
                    </a:lnTo>
                    <a:lnTo>
                      <a:pt x="691" y="649"/>
                    </a:lnTo>
                    <a:lnTo>
                      <a:pt x="481" y="545"/>
                    </a:lnTo>
                    <a:lnTo>
                      <a:pt x="356" y="587"/>
                    </a:lnTo>
                    <a:lnTo>
                      <a:pt x="209" y="691"/>
                    </a:lnTo>
                    <a:lnTo>
                      <a:pt x="0" y="691"/>
                    </a:lnTo>
                    <a:lnTo>
                      <a:pt x="0" y="733"/>
                    </a:lnTo>
                    <a:lnTo>
                      <a:pt x="42" y="942"/>
                    </a:lnTo>
                    <a:lnTo>
                      <a:pt x="168" y="1068"/>
                    </a:lnTo>
                    <a:lnTo>
                      <a:pt x="168" y="1110"/>
                    </a:lnTo>
                    <a:lnTo>
                      <a:pt x="209" y="1152"/>
                    </a:lnTo>
                    <a:lnTo>
                      <a:pt x="356" y="942"/>
                    </a:lnTo>
                    <a:lnTo>
                      <a:pt x="377" y="796"/>
                    </a:lnTo>
                    <a:lnTo>
                      <a:pt x="461" y="691"/>
                    </a:lnTo>
                    <a:lnTo>
                      <a:pt x="607" y="691"/>
                    </a:lnTo>
                    <a:lnTo>
                      <a:pt x="628" y="796"/>
                    </a:lnTo>
                    <a:lnTo>
                      <a:pt x="733" y="900"/>
                    </a:lnTo>
                    <a:lnTo>
                      <a:pt x="774" y="1068"/>
                    </a:lnTo>
                    <a:lnTo>
                      <a:pt x="879" y="1256"/>
                    </a:lnTo>
                    <a:lnTo>
                      <a:pt x="1025" y="1403"/>
                    </a:lnTo>
                    <a:lnTo>
                      <a:pt x="1088" y="1403"/>
                    </a:lnTo>
                    <a:lnTo>
                      <a:pt x="1193" y="1507"/>
                    </a:lnTo>
                    <a:lnTo>
                      <a:pt x="1088" y="1486"/>
                    </a:lnTo>
                    <a:lnTo>
                      <a:pt x="1005" y="1507"/>
                    </a:lnTo>
                    <a:lnTo>
                      <a:pt x="942" y="1591"/>
                    </a:lnTo>
                    <a:lnTo>
                      <a:pt x="1005" y="1696"/>
                    </a:lnTo>
                    <a:lnTo>
                      <a:pt x="1130" y="1696"/>
                    </a:lnTo>
                    <a:lnTo>
                      <a:pt x="1256" y="1821"/>
                    </a:lnTo>
                    <a:lnTo>
                      <a:pt x="1360" y="1842"/>
                    </a:lnTo>
                    <a:lnTo>
                      <a:pt x="1423" y="1947"/>
                    </a:lnTo>
                    <a:lnTo>
                      <a:pt x="1465" y="2030"/>
                    </a:lnTo>
                    <a:lnTo>
                      <a:pt x="1611" y="2009"/>
                    </a:lnTo>
                    <a:lnTo>
                      <a:pt x="1862" y="2030"/>
                    </a:lnTo>
                    <a:lnTo>
                      <a:pt x="1988" y="2093"/>
                    </a:lnTo>
                    <a:lnTo>
                      <a:pt x="2281" y="2365"/>
                    </a:lnTo>
                    <a:lnTo>
                      <a:pt x="2197" y="2407"/>
                    </a:lnTo>
                    <a:lnTo>
                      <a:pt x="2072" y="2323"/>
                    </a:lnTo>
                    <a:lnTo>
                      <a:pt x="2155" y="2407"/>
                    </a:lnTo>
                    <a:lnTo>
                      <a:pt x="2260" y="2428"/>
                    </a:lnTo>
                    <a:lnTo>
                      <a:pt x="2302" y="2344"/>
                    </a:lnTo>
                    <a:lnTo>
                      <a:pt x="1925" y="1884"/>
                    </a:lnTo>
                    <a:lnTo>
                      <a:pt x="1444" y="1486"/>
                    </a:lnTo>
                    <a:lnTo>
                      <a:pt x="1423" y="1403"/>
                    </a:lnTo>
                    <a:lnTo>
                      <a:pt x="1465" y="1382"/>
                    </a:lnTo>
                    <a:lnTo>
                      <a:pt x="1402" y="1277"/>
                    </a:lnTo>
                    <a:lnTo>
                      <a:pt x="1360" y="1172"/>
                    </a:lnTo>
                    <a:lnTo>
                      <a:pt x="1235" y="1047"/>
                    </a:lnTo>
                    <a:lnTo>
                      <a:pt x="1193" y="1047"/>
                    </a:lnTo>
                    <a:lnTo>
                      <a:pt x="1151" y="963"/>
                    </a:lnTo>
                    <a:lnTo>
                      <a:pt x="1214" y="900"/>
                    </a:lnTo>
                    <a:lnTo>
                      <a:pt x="1214" y="775"/>
                    </a:lnTo>
                    <a:lnTo>
                      <a:pt x="1256" y="733"/>
                    </a:lnTo>
                    <a:lnTo>
                      <a:pt x="1402" y="838"/>
                    </a:lnTo>
                    <a:lnTo>
                      <a:pt x="1444" y="900"/>
                    </a:lnTo>
                    <a:lnTo>
                      <a:pt x="1528" y="880"/>
                    </a:lnTo>
                    <a:lnTo>
                      <a:pt x="1528" y="796"/>
                    </a:lnTo>
                    <a:lnTo>
                      <a:pt x="1632" y="775"/>
                    </a:lnTo>
                    <a:lnTo>
                      <a:pt x="1716" y="796"/>
                    </a:lnTo>
                    <a:lnTo>
                      <a:pt x="1758" y="733"/>
                    </a:lnTo>
                    <a:lnTo>
                      <a:pt x="1841" y="775"/>
                    </a:lnTo>
                    <a:lnTo>
                      <a:pt x="1883" y="733"/>
                    </a:lnTo>
                    <a:lnTo>
                      <a:pt x="1988" y="754"/>
                    </a:lnTo>
                    <a:lnTo>
                      <a:pt x="2051" y="859"/>
                    </a:lnTo>
                    <a:lnTo>
                      <a:pt x="2093" y="796"/>
                    </a:lnTo>
                    <a:lnTo>
                      <a:pt x="2239" y="859"/>
                    </a:lnTo>
                    <a:lnTo>
                      <a:pt x="2344" y="796"/>
                    </a:lnTo>
                    <a:lnTo>
                      <a:pt x="2365" y="859"/>
                    </a:lnTo>
                    <a:lnTo>
                      <a:pt x="2490" y="838"/>
                    </a:lnTo>
                    <a:lnTo>
                      <a:pt x="2616" y="880"/>
                    </a:lnTo>
                    <a:lnTo>
                      <a:pt x="2699" y="859"/>
                    </a:lnTo>
                    <a:lnTo>
                      <a:pt x="2804" y="963"/>
                    </a:lnTo>
                    <a:lnTo>
                      <a:pt x="2971" y="963"/>
                    </a:lnTo>
                    <a:lnTo>
                      <a:pt x="2992" y="984"/>
                    </a:lnTo>
                    <a:lnTo>
                      <a:pt x="2971" y="880"/>
                    </a:lnTo>
                    <a:lnTo>
                      <a:pt x="3097" y="859"/>
                    </a:lnTo>
                    <a:lnTo>
                      <a:pt x="3139" y="859"/>
                    </a:lnTo>
                    <a:lnTo>
                      <a:pt x="3139" y="796"/>
                    </a:lnTo>
                    <a:lnTo>
                      <a:pt x="3034" y="775"/>
                    </a:lnTo>
                    <a:lnTo>
                      <a:pt x="2971" y="733"/>
                    </a:lnTo>
                    <a:lnTo>
                      <a:pt x="2930" y="566"/>
                    </a:lnTo>
                    <a:lnTo>
                      <a:pt x="2888" y="419"/>
                    </a:lnTo>
                    <a:lnTo>
                      <a:pt x="2804" y="356"/>
                    </a:lnTo>
                    <a:lnTo>
                      <a:pt x="2699" y="482"/>
                    </a:lnTo>
                    <a:lnTo>
                      <a:pt x="2490" y="419"/>
                    </a:lnTo>
                    <a:lnTo>
                      <a:pt x="2197" y="356"/>
                    </a:lnTo>
                    <a:lnTo>
                      <a:pt x="2093" y="273"/>
                    </a:lnTo>
                    <a:lnTo>
                      <a:pt x="1988" y="231"/>
                    </a:lnTo>
                    <a:lnTo>
                      <a:pt x="1737" y="22"/>
                    </a:lnTo>
                    <a:lnTo>
                      <a:pt x="165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0" name="Google Shape;2080;p66"/>
              <p:cNvSpPr/>
              <p:nvPr/>
            </p:nvSpPr>
            <p:spPr>
              <a:xfrm>
                <a:off x="3886100" y="2558550"/>
                <a:ext cx="3675" cy="5250"/>
              </a:xfrm>
              <a:custGeom>
                <a:avLst/>
                <a:gdLst/>
                <a:ahLst/>
                <a:cxnLst/>
                <a:rect l="l" t="t" r="r" b="b"/>
                <a:pathLst>
                  <a:path w="147" h="210" extrusionOk="0">
                    <a:moveTo>
                      <a:pt x="0" y="0"/>
                    </a:moveTo>
                    <a:lnTo>
                      <a:pt x="147" y="209"/>
                    </a:lnTo>
                    <a:lnTo>
                      <a:pt x="126" y="105"/>
                    </a:lnTo>
                    <a:lnTo>
                      <a:pt x="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081" name="Google Shape;2081;p66"/>
            <p:cNvSpPr/>
            <p:nvPr/>
          </p:nvSpPr>
          <p:spPr>
            <a:xfrm>
              <a:off x="3799155" y="2842190"/>
              <a:ext cx="6990" cy="13340"/>
            </a:xfrm>
            <a:custGeom>
              <a:avLst/>
              <a:gdLst/>
              <a:ahLst/>
              <a:cxnLst/>
              <a:rect l="l" t="t" r="r" b="b"/>
              <a:pathLst>
                <a:path w="587" h="1173" extrusionOk="0">
                  <a:moveTo>
                    <a:pt x="461" y="0"/>
                  </a:moveTo>
                  <a:lnTo>
                    <a:pt x="440" y="105"/>
                  </a:lnTo>
                  <a:lnTo>
                    <a:pt x="482" y="147"/>
                  </a:lnTo>
                  <a:lnTo>
                    <a:pt x="461" y="251"/>
                  </a:lnTo>
                  <a:lnTo>
                    <a:pt x="419" y="251"/>
                  </a:lnTo>
                  <a:lnTo>
                    <a:pt x="357" y="210"/>
                  </a:lnTo>
                  <a:lnTo>
                    <a:pt x="273" y="251"/>
                  </a:lnTo>
                  <a:lnTo>
                    <a:pt x="106" y="335"/>
                  </a:lnTo>
                  <a:lnTo>
                    <a:pt x="22" y="461"/>
                  </a:lnTo>
                  <a:lnTo>
                    <a:pt x="106" y="523"/>
                  </a:lnTo>
                  <a:lnTo>
                    <a:pt x="64" y="565"/>
                  </a:lnTo>
                  <a:lnTo>
                    <a:pt x="1" y="565"/>
                  </a:lnTo>
                  <a:lnTo>
                    <a:pt x="22" y="649"/>
                  </a:lnTo>
                  <a:lnTo>
                    <a:pt x="106" y="691"/>
                  </a:lnTo>
                  <a:lnTo>
                    <a:pt x="106" y="754"/>
                  </a:lnTo>
                  <a:lnTo>
                    <a:pt x="64" y="775"/>
                  </a:lnTo>
                  <a:lnTo>
                    <a:pt x="106" y="837"/>
                  </a:lnTo>
                  <a:lnTo>
                    <a:pt x="168" y="879"/>
                  </a:lnTo>
                  <a:lnTo>
                    <a:pt x="168" y="963"/>
                  </a:lnTo>
                  <a:lnTo>
                    <a:pt x="210" y="963"/>
                  </a:lnTo>
                  <a:lnTo>
                    <a:pt x="252" y="1005"/>
                  </a:lnTo>
                  <a:lnTo>
                    <a:pt x="210" y="984"/>
                  </a:lnTo>
                  <a:lnTo>
                    <a:pt x="147" y="1067"/>
                  </a:lnTo>
                  <a:lnTo>
                    <a:pt x="210" y="1109"/>
                  </a:lnTo>
                  <a:lnTo>
                    <a:pt x="357" y="1172"/>
                  </a:lnTo>
                  <a:lnTo>
                    <a:pt x="461" y="1109"/>
                  </a:lnTo>
                  <a:lnTo>
                    <a:pt x="545" y="942"/>
                  </a:lnTo>
                  <a:lnTo>
                    <a:pt x="545" y="795"/>
                  </a:lnTo>
                  <a:lnTo>
                    <a:pt x="587" y="544"/>
                  </a:lnTo>
                  <a:lnTo>
                    <a:pt x="545" y="314"/>
                  </a:lnTo>
                  <a:lnTo>
                    <a:pt x="545" y="147"/>
                  </a:lnTo>
                  <a:lnTo>
                    <a:pt x="524"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2" name="Google Shape;2082;p66"/>
            <p:cNvSpPr/>
            <p:nvPr/>
          </p:nvSpPr>
          <p:spPr>
            <a:xfrm>
              <a:off x="3688535" y="2836242"/>
              <a:ext cx="76506" cy="61161"/>
            </a:xfrm>
            <a:custGeom>
              <a:avLst/>
              <a:gdLst/>
              <a:ahLst/>
              <a:cxnLst/>
              <a:rect l="l" t="t" r="r" b="b"/>
              <a:pathLst>
                <a:path w="6425" h="5378" extrusionOk="0">
                  <a:moveTo>
                    <a:pt x="817" y="0"/>
                  </a:moveTo>
                  <a:lnTo>
                    <a:pt x="733" y="42"/>
                  </a:lnTo>
                  <a:lnTo>
                    <a:pt x="712" y="21"/>
                  </a:lnTo>
                  <a:lnTo>
                    <a:pt x="503" y="126"/>
                  </a:lnTo>
                  <a:lnTo>
                    <a:pt x="524" y="209"/>
                  </a:lnTo>
                  <a:lnTo>
                    <a:pt x="608" y="251"/>
                  </a:lnTo>
                  <a:lnTo>
                    <a:pt x="524" y="335"/>
                  </a:lnTo>
                  <a:lnTo>
                    <a:pt x="336" y="356"/>
                  </a:lnTo>
                  <a:lnTo>
                    <a:pt x="252" y="335"/>
                  </a:lnTo>
                  <a:lnTo>
                    <a:pt x="43" y="419"/>
                  </a:lnTo>
                  <a:lnTo>
                    <a:pt x="1" y="544"/>
                  </a:lnTo>
                  <a:lnTo>
                    <a:pt x="43" y="670"/>
                  </a:lnTo>
                  <a:lnTo>
                    <a:pt x="126" y="649"/>
                  </a:lnTo>
                  <a:lnTo>
                    <a:pt x="126" y="691"/>
                  </a:lnTo>
                  <a:lnTo>
                    <a:pt x="189" y="733"/>
                  </a:lnTo>
                  <a:lnTo>
                    <a:pt x="147" y="879"/>
                  </a:lnTo>
                  <a:lnTo>
                    <a:pt x="210" y="900"/>
                  </a:lnTo>
                  <a:lnTo>
                    <a:pt x="294" y="837"/>
                  </a:lnTo>
                  <a:lnTo>
                    <a:pt x="252" y="963"/>
                  </a:lnTo>
                  <a:lnTo>
                    <a:pt x="315" y="1005"/>
                  </a:lnTo>
                  <a:lnTo>
                    <a:pt x="252" y="1088"/>
                  </a:lnTo>
                  <a:lnTo>
                    <a:pt x="357" y="1109"/>
                  </a:lnTo>
                  <a:lnTo>
                    <a:pt x="231" y="1256"/>
                  </a:lnTo>
                  <a:lnTo>
                    <a:pt x="231" y="1277"/>
                  </a:lnTo>
                  <a:lnTo>
                    <a:pt x="482" y="1214"/>
                  </a:lnTo>
                  <a:lnTo>
                    <a:pt x="587" y="1256"/>
                  </a:lnTo>
                  <a:lnTo>
                    <a:pt x="566" y="1381"/>
                  </a:lnTo>
                  <a:lnTo>
                    <a:pt x="629" y="1465"/>
                  </a:lnTo>
                  <a:lnTo>
                    <a:pt x="796" y="1360"/>
                  </a:lnTo>
                  <a:lnTo>
                    <a:pt x="1110" y="1423"/>
                  </a:lnTo>
                  <a:lnTo>
                    <a:pt x="1214" y="1318"/>
                  </a:lnTo>
                  <a:lnTo>
                    <a:pt x="1486" y="1360"/>
                  </a:lnTo>
                  <a:lnTo>
                    <a:pt x="1507" y="1486"/>
                  </a:lnTo>
                  <a:lnTo>
                    <a:pt x="1612" y="1632"/>
                  </a:lnTo>
                  <a:lnTo>
                    <a:pt x="1591" y="1737"/>
                  </a:lnTo>
                  <a:lnTo>
                    <a:pt x="1445" y="1737"/>
                  </a:lnTo>
                  <a:lnTo>
                    <a:pt x="1235" y="1946"/>
                  </a:lnTo>
                  <a:lnTo>
                    <a:pt x="1256" y="2114"/>
                  </a:lnTo>
                  <a:lnTo>
                    <a:pt x="1235" y="2469"/>
                  </a:lnTo>
                  <a:lnTo>
                    <a:pt x="1089" y="2616"/>
                  </a:lnTo>
                  <a:lnTo>
                    <a:pt x="1194" y="2720"/>
                  </a:lnTo>
                  <a:lnTo>
                    <a:pt x="1047" y="2930"/>
                  </a:lnTo>
                  <a:lnTo>
                    <a:pt x="942" y="2888"/>
                  </a:lnTo>
                  <a:lnTo>
                    <a:pt x="817" y="2930"/>
                  </a:lnTo>
                  <a:lnTo>
                    <a:pt x="963" y="3202"/>
                  </a:lnTo>
                  <a:lnTo>
                    <a:pt x="1089" y="3285"/>
                  </a:lnTo>
                  <a:lnTo>
                    <a:pt x="1089" y="3515"/>
                  </a:lnTo>
                  <a:lnTo>
                    <a:pt x="922" y="3704"/>
                  </a:lnTo>
                  <a:lnTo>
                    <a:pt x="984" y="3871"/>
                  </a:lnTo>
                  <a:lnTo>
                    <a:pt x="1131" y="3871"/>
                  </a:lnTo>
                  <a:lnTo>
                    <a:pt x="1089" y="3976"/>
                  </a:lnTo>
                  <a:lnTo>
                    <a:pt x="963" y="4080"/>
                  </a:lnTo>
                  <a:lnTo>
                    <a:pt x="838" y="4331"/>
                  </a:lnTo>
                  <a:lnTo>
                    <a:pt x="922" y="4457"/>
                  </a:lnTo>
                  <a:lnTo>
                    <a:pt x="922" y="4603"/>
                  </a:lnTo>
                  <a:lnTo>
                    <a:pt x="1026" y="4624"/>
                  </a:lnTo>
                  <a:lnTo>
                    <a:pt x="1173" y="4645"/>
                  </a:lnTo>
                  <a:lnTo>
                    <a:pt x="1403" y="4875"/>
                  </a:lnTo>
                  <a:lnTo>
                    <a:pt x="1382" y="4917"/>
                  </a:lnTo>
                  <a:lnTo>
                    <a:pt x="1486" y="5168"/>
                  </a:lnTo>
                  <a:lnTo>
                    <a:pt x="1675" y="5357"/>
                  </a:lnTo>
                  <a:lnTo>
                    <a:pt x="1842" y="5378"/>
                  </a:lnTo>
                  <a:lnTo>
                    <a:pt x="2010" y="5273"/>
                  </a:lnTo>
                  <a:lnTo>
                    <a:pt x="2010" y="5168"/>
                  </a:lnTo>
                  <a:lnTo>
                    <a:pt x="2093" y="5085"/>
                  </a:lnTo>
                  <a:lnTo>
                    <a:pt x="2303" y="5064"/>
                  </a:lnTo>
                  <a:lnTo>
                    <a:pt x="2470" y="4875"/>
                  </a:lnTo>
                  <a:lnTo>
                    <a:pt x="2679" y="4855"/>
                  </a:lnTo>
                  <a:lnTo>
                    <a:pt x="2784" y="4813"/>
                  </a:lnTo>
                  <a:lnTo>
                    <a:pt x="3035" y="4875"/>
                  </a:lnTo>
                  <a:lnTo>
                    <a:pt x="3181" y="4917"/>
                  </a:lnTo>
                  <a:lnTo>
                    <a:pt x="3202" y="4855"/>
                  </a:lnTo>
                  <a:lnTo>
                    <a:pt x="3307" y="4855"/>
                  </a:lnTo>
                  <a:lnTo>
                    <a:pt x="3411" y="4938"/>
                  </a:lnTo>
                  <a:lnTo>
                    <a:pt x="3495" y="4855"/>
                  </a:lnTo>
                  <a:lnTo>
                    <a:pt x="3558" y="4750"/>
                  </a:lnTo>
                  <a:lnTo>
                    <a:pt x="3663" y="4855"/>
                  </a:lnTo>
                  <a:lnTo>
                    <a:pt x="3788" y="4917"/>
                  </a:lnTo>
                  <a:lnTo>
                    <a:pt x="3914" y="4708"/>
                  </a:lnTo>
                  <a:lnTo>
                    <a:pt x="3914" y="4603"/>
                  </a:lnTo>
                  <a:lnTo>
                    <a:pt x="4248" y="4436"/>
                  </a:lnTo>
                  <a:lnTo>
                    <a:pt x="4458" y="4436"/>
                  </a:lnTo>
                  <a:lnTo>
                    <a:pt x="4520" y="4352"/>
                  </a:lnTo>
                  <a:lnTo>
                    <a:pt x="4458" y="4311"/>
                  </a:lnTo>
                  <a:lnTo>
                    <a:pt x="4499" y="4143"/>
                  </a:lnTo>
                  <a:lnTo>
                    <a:pt x="4667" y="3892"/>
                  </a:lnTo>
                  <a:lnTo>
                    <a:pt x="4667" y="3766"/>
                  </a:lnTo>
                  <a:lnTo>
                    <a:pt x="4855" y="3704"/>
                  </a:lnTo>
                  <a:lnTo>
                    <a:pt x="4981" y="3578"/>
                  </a:lnTo>
                  <a:lnTo>
                    <a:pt x="4855" y="3390"/>
                  </a:lnTo>
                  <a:lnTo>
                    <a:pt x="4771" y="3348"/>
                  </a:lnTo>
                  <a:lnTo>
                    <a:pt x="4751" y="3243"/>
                  </a:lnTo>
                  <a:lnTo>
                    <a:pt x="4646" y="3076"/>
                  </a:lnTo>
                  <a:lnTo>
                    <a:pt x="4730" y="2992"/>
                  </a:lnTo>
                  <a:lnTo>
                    <a:pt x="4960" y="2637"/>
                  </a:lnTo>
                  <a:lnTo>
                    <a:pt x="5064" y="2574"/>
                  </a:lnTo>
                  <a:lnTo>
                    <a:pt x="5232" y="2302"/>
                  </a:lnTo>
                  <a:lnTo>
                    <a:pt x="5274" y="2323"/>
                  </a:lnTo>
                  <a:lnTo>
                    <a:pt x="5253" y="2344"/>
                  </a:lnTo>
                  <a:lnTo>
                    <a:pt x="5253" y="2365"/>
                  </a:lnTo>
                  <a:lnTo>
                    <a:pt x="5336" y="2323"/>
                  </a:lnTo>
                  <a:lnTo>
                    <a:pt x="5357" y="2197"/>
                  </a:lnTo>
                  <a:lnTo>
                    <a:pt x="5295" y="2134"/>
                  </a:lnTo>
                  <a:lnTo>
                    <a:pt x="5441" y="2051"/>
                  </a:lnTo>
                  <a:lnTo>
                    <a:pt x="5567" y="1946"/>
                  </a:lnTo>
                  <a:lnTo>
                    <a:pt x="5776" y="1946"/>
                  </a:lnTo>
                  <a:lnTo>
                    <a:pt x="5964" y="1883"/>
                  </a:lnTo>
                  <a:lnTo>
                    <a:pt x="6069" y="1737"/>
                  </a:lnTo>
                  <a:lnTo>
                    <a:pt x="6278" y="1611"/>
                  </a:lnTo>
                  <a:lnTo>
                    <a:pt x="6320" y="1507"/>
                  </a:lnTo>
                  <a:lnTo>
                    <a:pt x="6341" y="1381"/>
                  </a:lnTo>
                  <a:lnTo>
                    <a:pt x="6320" y="1193"/>
                  </a:lnTo>
                  <a:lnTo>
                    <a:pt x="6424" y="1151"/>
                  </a:lnTo>
                  <a:lnTo>
                    <a:pt x="6424" y="1088"/>
                  </a:lnTo>
                  <a:lnTo>
                    <a:pt x="6341" y="1067"/>
                  </a:lnTo>
                  <a:lnTo>
                    <a:pt x="6215" y="879"/>
                  </a:lnTo>
                  <a:lnTo>
                    <a:pt x="5964" y="900"/>
                  </a:lnTo>
                  <a:lnTo>
                    <a:pt x="5797" y="837"/>
                  </a:lnTo>
                  <a:lnTo>
                    <a:pt x="5629" y="837"/>
                  </a:lnTo>
                  <a:lnTo>
                    <a:pt x="5525" y="774"/>
                  </a:lnTo>
                  <a:lnTo>
                    <a:pt x="5253" y="774"/>
                  </a:lnTo>
                  <a:lnTo>
                    <a:pt x="5148" y="879"/>
                  </a:lnTo>
                  <a:lnTo>
                    <a:pt x="5064" y="837"/>
                  </a:lnTo>
                  <a:lnTo>
                    <a:pt x="4918" y="837"/>
                  </a:lnTo>
                  <a:lnTo>
                    <a:pt x="4792" y="691"/>
                  </a:lnTo>
                  <a:lnTo>
                    <a:pt x="4688" y="753"/>
                  </a:lnTo>
                  <a:lnTo>
                    <a:pt x="4583" y="649"/>
                  </a:lnTo>
                  <a:lnTo>
                    <a:pt x="4332" y="565"/>
                  </a:lnTo>
                  <a:lnTo>
                    <a:pt x="4186" y="586"/>
                  </a:lnTo>
                  <a:lnTo>
                    <a:pt x="4207" y="523"/>
                  </a:lnTo>
                  <a:lnTo>
                    <a:pt x="4186" y="377"/>
                  </a:lnTo>
                  <a:lnTo>
                    <a:pt x="4102" y="377"/>
                  </a:lnTo>
                  <a:lnTo>
                    <a:pt x="4102" y="356"/>
                  </a:lnTo>
                  <a:lnTo>
                    <a:pt x="3997" y="314"/>
                  </a:lnTo>
                  <a:lnTo>
                    <a:pt x="3955" y="335"/>
                  </a:lnTo>
                  <a:lnTo>
                    <a:pt x="3872" y="335"/>
                  </a:lnTo>
                  <a:lnTo>
                    <a:pt x="3809" y="419"/>
                  </a:lnTo>
                  <a:lnTo>
                    <a:pt x="3495" y="230"/>
                  </a:lnTo>
                  <a:lnTo>
                    <a:pt x="3391" y="230"/>
                  </a:lnTo>
                  <a:lnTo>
                    <a:pt x="3286" y="335"/>
                  </a:lnTo>
                  <a:lnTo>
                    <a:pt x="3077" y="272"/>
                  </a:lnTo>
                  <a:lnTo>
                    <a:pt x="3035" y="168"/>
                  </a:lnTo>
                  <a:lnTo>
                    <a:pt x="2826" y="147"/>
                  </a:lnTo>
                  <a:lnTo>
                    <a:pt x="2533" y="272"/>
                  </a:lnTo>
                  <a:lnTo>
                    <a:pt x="2344" y="230"/>
                  </a:lnTo>
                  <a:lnTo>
                    <a:pt x="1926" y="168"/>
                  </a:lnTo>
                  <a:lnTo>
                    <a:pt x="1779" y="105"/>
                  </a:lnTo>
                  <a:lnTo>
                    <a:pt x="1758" y="42"/>
                  </a:lnTo>
                  <a:lnTo>
                    <a:pt x="1570" y="105"/>
                  </a:lnTo>
                  <a:lnTo>
                    <a:pt x="1403" y="147"/>
                  </a:lnTo>
                  <a:lnTo>
                    <a:pt x="1277" y="105"/>
                  </a:lnTo>
                  <a:lnTo>
                    <a:pt x="1173" y="105"/>
                  </a:lnTo>
                  <a:lnTo>
                    <a:pt x="1068" y="168"/>
                  </a:lnTo>
                  <a:lnTo>
                    <a:pt x="942" y="21"/>
                  </a:lnTo>
                  <a:lnTo>
                    <a:pt x="81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3" name="Google Shape;2083;p66"/>
            <p:cNvSpPr/>
            <p:nvPr/>
          </p:nvSpPr>
          <p:spPr>
            <a:xfrm>
              <a:off x="4036603" y="2865264"/>
              <a:ext cx="11967" cy="9064"/>
            </a:xfrm>
            <a:custGeom>
              <a:avLst/>
              <a:gdLst/>
              <a:ahLst/>
              <a:cxnLst/>
              <a:rect l="l" t="t" r="r" b="b"/>
              <a:pathLst>
                <a:path w="1005" h="797" extrusionOk="0">
                  <a:moveTo>
                    <a:pt x="189" y="1"/>
                  </a:moveTo>
                  <a:lnTo>
                    <a:pt x="84" y="64"/>
                  </a:lnTo>
                  <a:lnTo>
                    <a:pt x="0" y="64"/>
                  </a:lnTo>
                  <a:lnTo>
                    <a:pt x="0" y="106"/>
                  </a:lnTo>
                  <a:lnTo>
                    <a:pt x="42" y="106"/>
                  </a:lnTo>
                  <a:lnTo>
                    <a:pt x="105" y="189"/>
                  </a:lnTo>
                  <a:lnTo>
                    <a:pt x="189" y="189"/>
                  </a:lnTo>
                  <a:lnTo>
                    <a:pt x="251" y="294"/>
                  </a:lnTo>
                  <a:lnTo>
                    <a:pt x="209" y="378"/>
                  </a:lnTo>
                  <a:lnTo>
                    <a:pt x="481" y="503"/>
                  </a:lnTo>
                  <a:lnTo>
                    <a:pt x="502" y="629"/>
                  </a:lnTo>
                  <a:lnTo>
                    <a:pt x="670" y="712"/>
                  </a:lnTo>
                  <a:lnTo>
                    <a:pt x="795" y="712"/>
                  </a:lnTo>
                  <a:lnTo>
                    <a:pt x="984" y="796"/>
                  </a:lnTo>
                  <a:lnTo>
                    <a:pt x="1005" y="712"/>
                  </a:lnTo>
                  <a:lnTo>
                    <a:pt x="733" y="315"/>
                  </a:lnTo>
                  <a:lnTo>
                    <a:pt x="586" y="273"/>
                  </a:lnTo>
                  <a:lnTo>
                    <a:pt x="502" y="85"/>
                  </a:lnTo>
                  <a:lnTo>
                    <a:pt x="398" y="85"/>
                  </a:lnTo>
                  <a:lnTo>
                    <a:pt x="356" y="126"/>
                  </a:lnTo>
                  <a:lnTo>
                    <a:pt x="18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4" name="Google Shape;2084;p66"/>
            <p:cNvSpPr/>
            <p:nvPr/>
          </p:nvSpPr>
          <p:spPr>
            <a:xfrm>
              <a:off x="4033614" y="2866458"/>
              <a:ext cx="140532" cy="108039"/>
            </a:xfrm>
            <a:custGeom>
              <a:avLst/>
              <a:gdLst/>
              <a:ahLst/>
              <a:cxnLst/>
              <a:rect l="l" t="t" r="r" b="b"/>
              <a:pathLst>
                <a:path w="11802" h="9500" extrusionOk="0">
                  <a:moveTo>
                    <a:pt x="502" y="1863"/>
                  </a:moveTo>
                  <a:lnTo>
                    <a:pt x="502" y="1884"/>
                  </a:lnTo>
                  <a:lnTo>
                    <a:pt x="506" y="1864"/>
                  </a:lnTo>
                  <a:lnTo>
                    <a:pt x="506" y="1864"/>
                  </a:lnTo>
                  <a:lnTo>
                    <a:pt x="502" y="1863"/>
                  </a:lnTo>
                  <a:close/>
                  <a:moveTo>
                    <a:pt x="251" y="1"/>
                  </a:moveTo>
                  <a:lnTo>
                    <a:pt x="209" y="63"/>
                  </a:lnTo>
                  <a:lnTo>
                    <a:pt x="147" y="210"/>
                  </a:lnTo>
                  <a:lnTo>
                    <a:pt x="0" y="210"/>
                  </a:lnTo>
                  <a:lnTo>
                    <a:pt x="0" y="273"/>
                  </a:lnTo>
                  <a:lnTo>
                    <a:pt x="42" y="398"/>
                  </a:lnTo>
                  <a:lnTo>
                    <a:pt x="105" y="607"/>
                  </a:lnTo>
                  <a:lnTo>
                    <a:pt x="105" y="712"/>
                  </a:lnTo>
                  <a:lnTo>
                    <a:pt x="105" y="858"/>
                  </a:lnTo>
                  <a:lnTo>
                    <a:pt x="230" y="900"/>
                  </a:lnTo>
                  <a:lnTo>
                    <a:pt x="251" y="942"/>
                  </a:lnTo>
                  <a:lnTo>
                    <a:pt x="188" y="1130"/>
                  </a:lnTo>
                  <a:lnTo>
                    <a:pt x="209" y="1277"/>
                  </a:lnTo>
                  <a:lnTo>
                    <a:pt x="188" y="1361"/>
                  </a:lnTo>
                  <a:lnTo>
                    <a:pt x="335" y="1423"/>
                  </a:lnTo>
                  <a:lnTo>
                    <a:pt x="460" y="1654"/>
                  </a:lnTo>
                  <a:lnTo>
                    <a:pt x="523" y="1779"/>
                  </a:lnTo>
                  <a:lnTo>
                    <a:pt x="506" y="1864"/>
                  </a:lnTo>
                  <a:lnTo>
                    <a:pt x="506" y="1864"/>
                  </a:lnTo>
                  <a:lnTo>
                    <a:pt x="607" y="1884"/>
                  </a:lnTo>
                  <a:lnTo>
                    <a:pt x="670" y="2009"/>
                  </a:lnTo>
                  <a:lnTo>
                    <a:pt x="649" y="2114"/>
                  </a:lnTo>
                  <a:lnTo>
                    <a:pt x="712" y="2260"/>
                  </a:lnTo>
                  <a:lnTo>
                    <a:pt x="816" y="2260"/>
                  </a:lnTo>
                  <a:lnTo>
                    <a:pt x="858" y="2365"/>
                  </a:lnTo>
                  <a:lnTo>
                    <a:pt x="921" y="2490"/>
                  </a:lnTo>
                  <a:lnTo>
                    <a:pt x="1025" y="2532"/>
                  </a:lnTo>
                  <a:lnTo>
                    <a:pt x="1088" y="2574"/>
                  </a:lnTo>
                  <a:lnTo>
                    <a:pt x="1297" y="2679"/>
                  </a:lnTo>
                  <a:lnTo>
                    <a:pt x="1381" y="2700"/>
                  </a:lnTo>
                  <a:lnTo>
                    <a:pt x="1507" y="2679"/>
                  </a:lnTo>
                  <a:lnTo>
                    <a:pt x="1590" y="2721"/>
                  </a:lnTo>
                  <a:lnTo>
                    <a:pt x="1653" y="2742"/>
                  </a:lnTo>
                  <a:lnTo>
                    <a:pt x="1590" y="2783"/>
                  </a:lnTo>
                  <a:lnTo>
                    <a:pt x="1486" y="2825"/>
                  </a:lnTo>
                  <a:lnTo>
                    <a:pt x="1402" y="2825"/>
                  </a:lnTo>
                  <a:lnTo>
                    <a:pt x="1444" y="2993"/>
                  </a:lnTo>
                  <a:lnTo>
                    <a:pt x="1486" y="3014"/>
                  </a:lnTo>
                  <a:lnTo>
                    <a:pt x="1486" y="3223"/>
                  </a:lnTo>
                  <a:lnTo>
                    <a:pt x="1402" y="3244"/>
                  </a:lnTo>
                  <a:lnTo>
                    <a:pt x="1339" y="3244"/>
                  </a:lnTo>
                  <a:lnTo>
                    <a:pt x="1297" y="3432"/>
                  </a:lnTo>
                  <a:lnTo>
                    <a:pt x="1256" y="3474"/>
                  </a:lnTo>
                  <a:lnTo>
                    <a:pt x="1256" y="3683"/>
                  </a:lnTo>
                  <a:lnTo>
                    <a:pt x="1235" y="3767"/>
                  </a:lnTo>
                  <a:lnTo>
                    <a:pt x="1256" y="3830"/>
                  </a:lnTo>
                  <a:lnTo>
                    <a:pt x="1193" y="3871"/>
                  </a:lnTo>
                  <a:lnTo>
                    <a:pt x="1193" y="3955"/>
                  </a:lnTo>
                  <a:lnTo>
                    <a:pt x="1276" y="3976"/>
                  </a:lnTo>
                  <a:lnTo>
                    <a:pt x="1360" y="4060"/>
                  </a:lnTo>
                  <a:lnTo>
                    <a:pt x="1465" y="4081"/>
                  </a:lnTo>
                  <a:lnTo>
                    <a:pt x="1486" y="4164"/>
                  </a:lnTo>
                  <a:lnTo>
                    <a:pt x="1611" y="4269"/>
                  </a:lnTo>
                  <a:lnTo>
                    <a:pt x="1569" y="4394"/>
                  </a:lnTo>
                  <a:lnTo>
                    <a:pt x="1590" y="4415"/>
                  </a:lnTo>
                  <a:lnTo>
                    <a:pt x="1590" y="4499"/>
                  </a:lnTo>
                  <a:lnTo>
                    <a:pt x="1695" y="4583"/>
                  </a:lnTo>
                  <a:lnTo>
                    <a:pt x="1758" y="4562"/>
                  </a:lnTo>
                  <a:lnTo>
                    <a:pt x="1862" y="4520"/>
                  </a:lnTo>
                  <a:lnTo>
                    <a:pt x="2302" y="4813"/>
                  </a:lnTo>
                  <a:lnTo>
                    <a:pt x="2344" y="4792"/>
                  </a:lnTo>
                  <a:lnTo>
                    <a:pt x="2427" y="4834"/>
                  </a:lnTo>
                  <a:lnTo>
                    <a:pt x="2532" y="5043"/>
                  </a:lnTo>
                  <a:lnTo>
                    <a:pt x="2636" y="5106"/>
                  </a:lnTo>
                  <a:lnTo>
                    <a:pt x="2762" y="5357"/>
                  </a:lnTo>
                  <a:lnTo>
                    <a:pt x="2636" y="5462"/>
                  </a:lnTo>
                  <a:lnTo>
                    <a:pt x="2636" y="5650"/>
                  </a:lnTo>
                  <a:lnTo>
                    <a:pt x="2657" y="5817"/>
                  </a:lnTo>
                  <a:lnTo>
                    <a:pt x="2846" y="5817"/>
                  </a:lnTo>
                  <a:lnTo>
                    <a:pt x="2909" y="6152"/>
                  </a:lnTo>
                  <a:lnTo>
                    <a:pt x="3013" y="6236"/>
                  </a:lnTo>
                  <a:lnTo>
                    <a:pt x="3118" y="6278"/>
                  </a:lnTo>
                  <a:lnTo>
                    <a:pt x="3160" y="6299"/>
                  </a:lnTo>
                  <a:lnTo>
                    <a:pt x="3222" y="6278"/>
                  </a:lnTo>
                  <a:lnTo>
                    <a:pt x="3222" y="6340"/>
                  </a:lnTo>
                  <a:lnTo>
                    <a:pt x="3285" y="6445"/>
                  </a:lnTo>
                  <a:lnTo>
                    <a:pt x="3369" y="6445"/>
                  </a:lnTo>
                  <a:lnTo>
                    <a:pt x="3432" y="6382"/>
                  </a:lnTo>
                  <a:lnTo>
                    <a:pt x="3453" y="6257"/>
                  </a:lnTo>
                  <a:lnTo>
                    <a:pt x="3348" y="6194"/>
                  </a:lnTo>
                  <a:lnTo>
                    <a:pt x="3494" y="6194"/>
                  </a:lnTo>
                  <a:lnTo>
                    <a:pt x="3536" y="6173"/>
                  </a:lnTo>
                  <a:lnTo>
                    <a:pt x="3494" y="6236"/>
                  </a:lnTo>
                  <a:lnTo>
                    <a:pt x="3494" y="6299"/>
                  </a:lnTo>
                  <a:lnTo>
                    <a:pt x="3641" y="6361"/>
                  </a:lnTo>
                  <a:lnTo>
                    <a:pt x="3683" y="6340"/>
                  </a:lnTo>
                  <a:lnTo>
                    <a:pt x="3745" y="6445"/>
                  </a:lnTo>
                  <a:lnTo>
                    <a:pt x="3787" y="6445"/>
                  </a:lnTo>
                  <a:lnTo>
                    <a:pt x="3976" y="6299"/>
                  </a:lnTo>
                  <a:lnTo>
                    <a:pt x="4017" y="6340"/>
                  </a:lnTo>
                  <a:lnTo>
                    <a:pt x="4164" y="6487"/>
                  </a:lnTo>
                  <a:lnTo>
                    <a:pt x="4164" y="6591"/>
                  </a:lnTo>
                  <a:lnTo>
                    <a:pt x="4373" y="6863"/>
                  </a:lnTo>
                  <a:lnTo>
                    <a:pt x="4394" y="7031"/>
                  </a:lnTo>
                  <a:lnTo>
                    <a:pt x="4436" y="7073"/>
                  </a:lnTo>
                  <a:lnTo>
                    <a:pt x="4541" y="7073"/>
                  </a:lnTo>
                  <a:lnTo>
                    <a:pt x="4603" y="7177"/>
                  </a:lnTo>
                  <a:lnTo>
                    <a:pt x="4541" y="7177"/>
                  </a:lnTo>
                  <a:lnTo>
                    <a:pt x="4520" y="7135"/>
                  </a:lnTo>
                  <a:lnTo>
                    <a:pt x="4499" y="7177"/>
                  </a:lnTo>
                  <a:lnTo>
                    <a:pt x="4603" y="7240"/>
                  </a:lnTo>
                  <a:lnTo>
                    <a:pt x="4645" y="7219"/>
                  </a:lnTo>
                  <a:lnTo>
                    <a:pt x="4687" y="7324"/>
                  </a:lnTo>
                  <a:lnTo>
                    <a:pt x="4833" y="7721"/>
                  </a:lnTo>
                  <a:lnTo>
                    <a:pt x="4959" y="7763"/>
                  </a:lnTo>
                  <a:lnTo>
                    <a:pt x="5168" y="7763"/>
                  </a:lnTo>
                  <a:lnTo>
                    <a:pt x="5315" y="7805"/>
                  </a:lnTo>
                  <a:lnTo>
                    <a:pt x="5377" y="7868"/>
                  </a:lnTo>
                  <a:lnTo>
                    <a:pt x="5566" y="7868"/>
                  </a:lnTo>
                  <a:lnTo>
                    <a:pt x="5587" y="7931"/>
                  </a:lnTo>
                  <a:lnTo>
                    <a:pt x="5691" y="7931"/>
                  </a:lnTo>
                  <a:lnTo>
                    <a:pt x="5733" y="7972"/>
                  </a:lnTo>
                  <a:lnTo>
                    <a:pt x="5649" y="8035"/>
                  </a:lnTo>
                  <a:lnTo>
                    <a:pt x="5796" y="8224"/>
                  </a:lnTo>
                  <a:lnTo>
                    <a:pt x="5963" y="8244"/>
                  </a:lnTo>
                  <a:lnTo>
                    <a:pt x="6047" y="8328"/>
                  </a:lnTo>
                  <a:lnTo>
                    <a:pt x="6152" y="8328"/>
                  </a:lnTo>
                  <a:lnTo>
                    <a:pt x="6319" y="8496"/>
                  </a:lnTo>
                  <a:lnTo>
                    <a:pt x="6403" y="8475"/>
                  </a:lnTo>
                  <a:lnTo>
                    <a:pt x="6528" y="8454"/>
                  </a:lnTo>
                  <a:lnTo>
                    <a:pt x="6717" y="8496"/>
                  </a:lnTo>
                  <a:lnTo>
                    <a:pt x="6947" y="8663"/>
                  </a:lnTo>
                  <a:lnTo>
                    <a:pt x="7135" y="8475"/>
                  </a:lnTo>
                  <a:lnTo>
                    <a:pt x="7407" y="8349"/>
                  </a:lnTo>
                  <a:lnTo>
                    <a:pt x="7407" y="8328"/>
                  </a:lnTo>
                  <a:lnTo>
                    <a:pt x="7533" y="8328"/>
                  </a:lnTo>
                  <a:lnTo>
                    <a:pt x="7679" y="8224"/>
                  </a:lnTo>
                  <a:lnTo>
                    <a:pt x="7784" y="8161"/>
                  </a:lnTo>
                  <a:lnTo>
                    <a:pt x="7993" y="8182"/>
                  </a:lnTo>
                  <a:lnTo>
                    <a:pt x="7993" y="8244"/>
                  </a:lnTo>
                  <a:lnTo>
                    <a:pt x="8056" y="8244"/>
                  </a:lnTo>
                  <a:lnTo>
                    <a:pt x="8056" y="8286"/>
                  </a:lnTo>
                  <a:lnTo>
                    <a:pt x="8160" y="8454"/>
                  </a:lnTo>
                  <a:lnTo>
                    <a:pt x="8244" y="8663"/>
                  </a:lnTo>
                  <a:lnTo>
                    <a:pt x="8349" y="8872"/>
                  </a:lnTo>
                  <a:lnTo>
                    <a:pt x="8349" y="9019"/>
                  </a:lnTo>
                  <a:lnTo>
                    <a:pt x="8411" y="9081"/>
                  </a:lnTo>
                  <a:lnTo>
                    <a:pt x="8453" y="9123"/>
                  </a:lnTo>
                  <a:lnTo>
                    <a:pt x="8872" y="9123"/>
                  </a:lnTo>
                  <a:lnTo>
                    <a:pt x="8976" y="9207"/>
                  </a:lnTo>
                  <a:lnTo>
                    <a:pt x="9102" y="9081"/>
                  </a:lnTo>
                  <a:lnTo>
                    <a:pt x="9144" y="9102"/>
                  </a:lnTo>
                  <a:lnTo>
                    <a:pt x="9311" y="9228"/>
                  </a:lnTo>
                  <a:lnTo>
                    <a:pt x="9625" y="9207"/>
                  </a:lnTo>
                  <a:lnTo>
                    <a:pt x="9813" y="9291"/>
                  </a:lnTo>
                  <a:lnTo>
                    <a:pt x="10064" y="9312"/>
                  </a:lnTo>
                  <a:lnTo>
                    <a:pt x="10169" y="9332"/>
                  </a:lnTo>
                  <a:lnTo>
                    <a:pt x="10232" y="9312"/>
                  </a:lnTo>
                  <a:lnTo>
                    <a:pt x="10295" y="9395"/>
                  </a:lnTo>
                  <a:lnTo>
                    <a:pt x="10315" y="9395"/>
                  </a:lnTo>
                  <a:lnTo>
                    <a:pt x="10357" y="9291"/>
                  </a:lnTo>
                  <a:lnTo>
                    <a:pt x="10441" y="9291"/>
                  </a:lnTo>
                  <a:lnTo>
                    <a:pt x="10483" y="9374"/>
                  </a:lnTo>
                  <a:lnTo>
                    <a:pt x="10608" y="9416"/>
                  </a:lnTo>
                  <a:lnTo>
                    <a:pt x="10818" y="9500"/>
                  </a:lnTo>
                  <a:lnTo>
                    <a:pt x="10901" y="9437"/>
                  </a:lnTo>
                  <a:lnTo>
                    <a:pt x="10922" y="9395"/>
                  </a:lnTo>
                  <a:lnTo>
                    <a:pt x="10964" y="9395"/>
                  </a:lnTo>
                  <a:lnTo>
                    <a:pt x="10964" y="9312"/>
                  </a:lnTo>
                  <a:lnTo>
                    <a:pt x="10985" y="9102"/>
                  </a:lnTo>
                  <a:lnTo>
                    <a:pt x="10922" y="8977"/>
                  </a:lnTo>
                  <a:lnTo>
                    <a:pt x="11027" y="8851"/>
                  </a:lnTo>
                  <a:lnTo>
                    <a:pt x="10985" y="8747"/>
                  </a:lnTo>
                  <a:lnTo>
                    <a:pt x="11069" y="8642"/>
                  </a:lnTo>
                  <a:lnTo>
                    <a:pt x="11215" y="8558"/>
                  </a:lnTo>
                  <a:lnTo>
                    <a:pt x="11299" y="8496"/>
                  </a:lnTo>
                  <a:lnTo>
                    <a:pt x="11550" y="8433"/>
                  </a:lnTo>
                  <a:lnTo>
                    <a:pt x="11717" y="8475"/>
                  </a:lnTo>
                  <a:lnTo>
                    <a:pt x="11801" y="8391"/>
                  </a:lnTo>
                  <a:lnTo>
                    <a:pt x="11759" y="8161"/>
                  </a:lnTo>
                  <a:lnTo>
                    <a:pt x="11634" y="8056"/>
                  </a:lnTo>
                  <a:lnTo>
                    <a:pt x="11487" y="8077"/>
                  </a:lnTo>
                  <a:lnTo>
                    <a:pt x="11445" y="7972"/>
                  </a:lnTo>
                  <a:lnTo>
                    <a:pt x="11445" y="7826"/>
                  </a:lnTo>
                  <a:lnTo>
                    <a:pt x="11403" y="7700"/>
                  </a:lnTo>
                  <a:lnTo>
                    <a:pt x="11403" y="7491"/>
                  </a:lnTo>
                  <a:lnTo>
                    <a:pt x="11236" y="7491"/>
                  </a:lnTo>
                  <a:lnTo>
                    <a:pt x="11215" y="7408"/>
                  </a:lnTo>
                  <a:lnTo>
                    <a:pt x="11111" y="7387"/>
                  </a:lnTo>
                  <a:lnTo>
                    <a:pt x="10922" y="7345"/>
                  </a:lnTo>
                  <a:lnTo>
                    <a:pt x="10880" y="7303"/>
                  </a:lnTo>
                  <a:lnTo>
                    <a:pt x="10755" y="7219"/>
                  </a:lnTo>
                  <a:lnTo>
                    <a:pt x="10587" y="7073"/>
                  </a:lnTo>
                  <a:lnTo>
                    <a:pt x="10504" y="6926"/>
                  </a:lnTo>
                  <a:lnTo>
                    <a:pt x="10232" y="6508"/>
                  </a:lnTo>
                  <a:lnTo>
                    <a:pt x="10650" y="5943"/>
                  </a:lnTo>
                  <a:lnTo>
                    <a:pt x="10692" y="5859"/>
                  </a:lnTo>
                  <a:lnTo>
                    <a:pt x="10650" y="5629"/>
                  </a:lnTo>
                  <a:lnTo>
                    <a:pt x="10650" y="5462"/>
                  </a:lnTo>
                  <a:lnTo>
                    <a:pt x="10567" y="5294"/>
                  </a:lnTo>
                  <a:lnTo>
                    <a:pt x="10064" y="5252"/>
                  </a:lnTo>
                  <a:lnTo>
                    <a:pt x="10043" y="5043"/>
                  </a:lnTo>
                  <a:lnTo>
                    <a:pt x="9981" y="4939"/>
                  </a:lnTo>
                  <a:lnTo>
                    <a:pt x="10023" y="4876"/>
                  </a:lnTo>
                  <a:lnTo>
                    <a:pt x="9939" y="4604"/>
                  </a:lnTo>
                  <a:lnTo>
                    <a:pt x="9771" y="4311"/>
                  </a:lnTo>
                  <a:lnTo>
                    <a:pt x="9834" y="4164"/>
                  </a:lnTo>
                  <a:lnTo>
                    <a:pt x="9981" y="3934"/>
                  </a:lnTo>
                  <a:lnTo>
                    <a:pt x="9939" y="3934"/>
                  </a:lnTo>
                  <a:lnTo>
                    <a:pt x="9751" y="3892"/>
                  </a:lnTo>
                  <a:lnTo>
                    <a:pt x="9751" y="3767"/>
                  </a:lnTo>
                  <a:lnTo>
                    <a:pt x="9730" y="3558"/>
                  </a:lnTo>
                  <a:lnTo>
                    <a:pt x="9667" y="3558"/>
                  </a:lnTo>
                  <a:lnTo>
                    <a:pt x="9813" y="3411"/>
                  </a:lnTo>
                  <a:lnTo>
                    <a:pt x="9709" y="3327"/>
                  </a:lnTo>
                  <a:lnTo>
                    <a:pt x="9646" y="3244"/>
                  </a:lnTo>
                  <a:lnTo>
                    <a:pt x="9771" y="3223"/>
                  </a:lnTo>
                  <a:lnTo>
                    <a:pt x="9918" y="3118"/>
                  </a:lnTo>
                  <a:lnTo>
                    <a:pt x="9918" y="3034"/>
                  </a:lnTo>
                  <a:lnTo>
                    <a:pt x="9939" y="3014"/>
                  </a:lnTo>
                  <a:lnTo>
                    <a:pt x="9855" y="2909"/>
                  </a:lnTo>
                  <a:lnTo>
                    <a:pt x="9918" y="2825"/>
                  </a:lnTo>
                  <a:lnTo>
                    <a:pt x="9918" y="2742"/>
                  </a:lnTo>
                  <a:lnTo>
                    <a:pt x="9918" y="2574"/>
                  </a:lnTo>
                  <a:lnTo>
                    <a:pt x="9855" y="2470"/>
                  </a:lnTo>
                  <a:lnTo>
                    <a:pt x="9855" y="2386"/>
                  </a:lnTo>
                  <a:lnTo>
                    <a:pt x="9813" y="2260"/>
                  </a:lnTo>
                  <a:lnTo>
                    <a:pt x="9855" y="2156"/>
                  </a:lnTo>
                  <a:lnTo>
                    <a:pt x="9751" y="1988"/>
                  </a:lnTo>
                  <a:lnTo>
                    <a:pt x="9625" y="1946"/>
                  </a:lnTo>
                  <a:lnTo>
                    <a:pt x="9353" y="1905"/>
                  </a:lnTo>
                  <a:lnTo>
                    <a:pt x="9123" y="1591"/>
                  </a:lnTo>
                  <a:lnTo>
                    <a:pt x="8914" y="1549"/>
                  </a:lnTo>
                  <a:lnTo>
                    <a:pt x="8788" y="1570"/>
                  </a:lnTo>
                  <a:lnTo>
                    <a:pt x="8725" y="1528"/>
                  </a:lnTo>
                  <a:lnTo>
                    <a:pt x="8704" y="1361"/>
                  </a:lnTo>
                  <a:lnTo>
                    <a:pt x="8579" y="1340"/>
                  </a:lnTo>
                  <a:lnTo>
                    <a:pt x="8349" y="1235"/>
                  </a:lnTo>
                  <a:lnTo>
                    <a:pt x="8265" y="1319"/>
                  </a:lnTo>
                  <a:lnTo>
                    <a:pt x="8160" y="1319"/>
                  </a:lnTo>
                  <a:lnTo>
                    <a:pt x="7826" y="1109"/>
                  </a:lnTo>
                  <a:lnTo>
                    <a:pt x="7658" y="1047"/>
                  </a:lnTo>
                  <a:lnTo>
                    <a:pt x="7449" y="858"/>
                  </a:lnTo>
                  <a:lnTo>
                    <a:pt x="7323" y="900"/>
                  </a:lnTo>
                  <a:lnTo>
                    <a:pt x="7198" y="837"/>
                  </a:lnTo>
                  <a:lnTo>
                    <a:pt x="7093" y="858"/>
                  </a:lnTo>
                  <a:lnTo>
                    <a:pt x="7030" y="1005"/>
                  </a:lnTo>
                  <a:lnTo>
                    <a:pt x="6821" y="942"/>
                  </a:lnTo>
                  <a:lnTo>
                    <a:pt x="6591" y="1005"/>
                  </a:lnTo>
                  <a:lnTo>
                    <a:pt x="6361" y="1214"/>
                  </a:lnTo>
                  <a:lnTo>
                    <a:pt x="6256" y="1214"/>
                  </a:lnTo>
                  <a:lnTo>
                    <a:pt x="6173" y="1319"/>
                  </a:lnTo>
                  <a:lnTo>
                    <a:pt x="6110" y="1465"/>
                  </a:lnTo>
                  <a:lnTo>
                    <a:pt x="5838" y="1465"/>
                  </a:lnTo>
                  <a:lnTo>
                    <a:pt x="5733" y="1549"/>
                  </a:lnTo>
                  <a:lnTo>
                    <a:pt x="5775" y="1695"/>
                  </a:lnTo>
                  <a:lnTo>
                    <a:pt x="5859" y="1842"/>
                  </a:lnTo>
                  <a:lnTo>
                    <a:pt x="5838" y="1967"/>
                  </a:lnTo>
                  <a:lnTo>
                    <a:pt x="5691" y="1967"/>
                  </a:lnTo>
                  <a:lnTo>
                    <a:pt x="5357" y="1905"/>
                  </a:lnTo>
                  <a:lnTo>
                    <a:pt x="5064" y="1967"/>
                  </a:lnTo>
                  <a:lnTo>
                    <a:pt x="4708" y="2072"/>
                  </a:lnTo>
                  <a:lnTo>
                    <a:pt x="4520" y="2072"/>
                  </a:lnTo>
                  <a:lnTo>
                    <a:pt x="4185" y="1967"/>
                  </a:lnTo>
                  <a:lnTo>
                    <a:pt x="4059" y="1967"/>
                  </a:lnTo>
                  <a:lnTo>
                    <a:pt x="3766" y="1842"/>
                  </a:lnTo>
                  <a:lnTo>
                    <a:pt x="3662" y="1737"/>
                  </a:lnTo>
                  <a:lnTo>
                    <a:pt x="3641" y="1591"/>
                  </a:lnTo>
                  <a:lnTo>
                    <a:pt x="3557" y="1591"/>
                  </a:lnTo>
                  <a:lnTo>
                    <a:pt x="3432" y="1528"/>
                  </a:lnTo>
                  <a:lnTo>
                    <a:pt x="3264" y="1570"/>
                  </a:lnTo>
                  <a:lnTo>
                    <a:pt x="3181" y="1528"/>
                  </a:lnTo>
                  <a:lnTo>
                    <a:pt x="3055" y="1528"/>
                  </a:lnTo>
                  <a:lnTo>
                    <a:pt x="2929" y="1423"/>
                  </a:lnTo>
                  <a:lnTo>
                    <a:pt x="2846" y="1381"/>
                  </a:lnTo>
                  <a:lnTo>
                    <a:pt x="2804" y="1340"/>
                  </a:lnTo>
                  <a:lnTo>
                    <a:pt x="2825" y="1214"/>
                  </a:lnTo>
                  <a:lnTo>
                    <a:pt x="2825" y="1068"/>
                  </a:lnTo>
                  <a:lnTo>
                    <a:pt x="2741" y="942"/>
                  </a:lnTo>
                  <a:lnTo>
                    <a:pt x="2741" y="921"/>
                  </a:lnTo>
                  <a:lnTo>
                    <a:pt x="2699" y="942"/>
                  </a:lnTo>
                  <a:lnTo>
                    <a:pt x="2595" y="921"/>
                  </a:lnTo>
                  <a:lnTo>
                    <a:pt x="2553" y="858"/>
                  </a:lnTo>
                  <a:lnTo>
                    <a:pt x="2448" y="817"/>
                  </a:lnTo>
                  <a:lnTo>
                    <a:pt x="2281" y="607"/>
                  </a:lnTo>
                  <a:lnTo>
                    <a:pt x="2448" y="482"/>
                  </a:lnTo>
                  <a:lnTo>
                    <a:pt x="2323" y="398"/>
                  </a:lnTo>
                  <a:lnTo>
                    <a:pt x="2302" y="335"/>
                  </a:lnTo>
                  <a:lnTo>
                    <a:pt x="2344" y="293"/>
                  </a:lnTo>
                  <a:lnTo>
                    <a:pt x="2281" y="210"/>
                  </a:lnTo>
                  <a:lnTo>
                    <a:pt x="2218" y="105"/>
                  </a:lnTo>
                  <a:lnTo>
                    <a:pt x="2176" y="105"/>
                  </a:lnTo>
                  <a:lnTo>
                    <a:pt x="2176" y="84"/>
                  </a:lnTo>
                  <a:lnTo>
                    <a:pt x="2113" y="84"/>
                  </a:lnTo>
                  <a:lnTo>
                    <a:pt x="1988" y="168"/>
                  </a:lnTo>
                  <a:lnTo>
                    <a:pt x="1904" y="168"/>
                  </a:lnTo>
                  <a:lnTo>
                    <a:pt x="1862" y="273"/>
                  </a:lnTo>
                  <a:lnTo>
                    <a:pt x="1779" y="293"/>
                  </a:lnTo>
                  <a:lnTo>
                    <a:pt x="1674" y="419"/>
                  </a:lnTo>
                  <a:lnTo>
                    <a:pt x="1611" y="440"/>
                  </a:lnTo>
                  <a:lnTo>
                    <a:pt x="1569" y="503"/>
                  </a:lnTo>
                  <a:lnTo>
                    <a:pt x="1569" y="545"/>
                  </a:lnTo>
                  <a:lnTo>
                    <a:pt x="1465" y="607"/>
                  </a:lnTo>
                  <a:lnTo>
                    <a:pt x="1381" y="586"/>
                  </a:lnTo>
                  <a:lnTo>
                    <a:pt x="1256" y="607"/>
                  </a:lnTo>
                  <a:lnTo>
                    <a:pt x="1235" y="691"/>
                  </a:lnTo>
                  <a:lnTo>
                    <a:pt x="1046" y="607"/>
                  </a:lnTo>
                  <a:lnTo>
                    <a:pt x="921" y="607"/>
                  </a:lnTo>
                  <a:lnTo>
                    <a:pt x="753" y="524"/>
                  </a:lnTo>
                  <a:lnTo>
                    <a:pt x="732" y="398"/>
                  </a:lnTo>
                  <a:lnTo>
                    <a:pt x="460" y="273"/>
                  </a:lnTo>
                  <a:lnTo>
                    <a:pt x="502" y="189"/>
                  </a:lnTo>
                  <a:lnTo>
                    <a:pt x="440" y="84"/>
                  </a:lnTo>
                  <a:lnTo>
                    <a:pt x="356" y="84"/>
                  </a:lnTo>
                  <a:lnTo>
                    <a:pt x="29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5" name="Google Shape;2085;p66"/>
            <p:cNvSpPr/>
            <p:nvPr/>
          </p:nvSpPr>
          <p:spPr>
            <a:xfrm>
              <a:off x="4026636" y="2853369"/>
              <a:ext cx="24672" cy="20004"/>
            </a:xfrm>
            <a:custGeom>
              <a:avLst/>
              <a:gdLst/>
              <a:ahLst/>
              <a:cxnLst/>
              <a:rect l="l" t="t" r="r" b="b"/>
              <a:pathLst>
                <a:path w="2072" h="1759" extrusionOk="0">
                  <a:moveTo>
                    <a:pt x="419" y="1"/>
                  </a:moveTo>
                  <a:lnTo>
                    <a:pt x="168" y="64"/>
                  </a:lnTo>
                  <a:lnTo>
                    <a:pt x="0" y="105"/>
                  </a:lnTo>
                  <a:lnTo>
                    <a:pt x="84" y="210"/>
                  </a:lnTo>
                  <a:lnTo>
                    <a:pt x="84" y="294"/>
                  </a:lnTo>
                  <a:lnTo>
                    <a:pt x="189" y="315"/>
                  </a:lnTo>
                  <a:lnTo>
                    <a:pt x="272" y="419"/>
                  </a:lnTo>
                  <a:lnTo>
                    <a:pt x="209" y="608"/>
                  </a:lnTo>
                  <a:lnTo>
                    <a:pt x="251" y="838"/>
                  </a:lnTo>
                  <a:lnTo>
                    <a:pt x="398" y="942"/>
                  </a:lnTo>
                  <a:lnTo>
                    <a:pt x="691" y="942"/>
                  </a:lnTo>
                  <a:lnTo>
                    <a:pt x="795" y="1026"/>
                  </a:lnTo>
                  <a:lnTo>
                    <a:pt x="837" y="1110"/>
                  </a:lnTo>
                  <a:lnTo>
                    <a:pt x="921" y="1110"/>
                  </a:lnTo>
                  <a:lnTo>
                    <a:pt x="1026" y="1047"/>
                  </a:lnTo>
                  <a:lnTo>
                    <a:pt x="1193" y="1172"/>
                  </a:lnTo>
                  <a:lnTo>
                    <a:pt x="1235" y="1131"/>
                  </a:lnTo>
                  <a:lnTo>
                    <a:pt x="1339" y="1131"/>
                  </a:lnTo>
                  <a:lnTo>
                    <a:pt x="1423" y="1319"/>
                  </a:lnTo>
                  <a:lnTo>
                    <a:pt x="1570" y="1361"/>
                  </a:lnTo>
                  <a:lnTo>
                    <a:pt x="1842" y="1758"/>
                  </a:lnTo>
                  <a:lnTo>
                    <a:pt x="1967" y="1737"/>
                  </a:lnTo>
                  <a:lnTo>
                    <a:pt x="1967" y="1591"/>
                  </a:lnTo>
                  <a:lnTo>
                    <a:pt x="1988" y="1549"/>
                  </a:lnTo>
                  <a:lnTo>
                    <a:pt x="1925" y="1382"/>
                  </a:lnTo>
                  <a:lnTo>
                    <a:pt x="2072" y="1361"/>
                  </a:lnTo>
                  <a:lnTo>
                    <a:pt x="1946" y="1235"/>
                  </a:lnTo>
                  <a:lnTo>
                    <a:pt x="1758" y="1235"/>
                  </a:lnTo>
                  <a:lnTo>
                    <a:pt x="1507" y="1110"/>
                  </a:lnTo>
                  <a:lnTo>
                    <a:pt x="1423" y="921"/>
                  </a:lnTo>
                  <a:lnTo>
                    <a:pt x="1507" y="838"/>
                  </a:lnTo>
                  <a:lnTo>
                    <a:pt x="1507" y="712"/>
                  </a:lnTo>
                  <a:lnTo>
                    <a:pt x="1256" y="524"/>
                  </a:lnTo>
                  <a:lnTo>
                    <a:pt x="1256" y="419"/>
                  </a:lnTo>
                  <a:lnTo>
                    <a:pt x="1298" y="294"/>
                  </a:lnTo>
                  <a:lnTo>
                    <a:pt x="1193" y="168"/>
                  </a:lnTo>
                  <a:lnTo>
                    <a:pt x="984" y="126"/>
                  </a:lnTo>
                  <a:lnTo>
                    <a:pt x="83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6" name="Google Shape;2086;p66"/>
            <p:cNvSpPr/>
            <p:nvPr/>
          </p:nvSpPr>
          <p:spPr>
            <a:xfrm>
              <a:off x="3915766" y="2848615"/>
              <a:ext cx="124088" cy="48788"/>
            </a:xfrm>
            <a:custGeom>
              <a:avLst/>
              <a:gdLst/>
              <a:ahLst/>
              <a:cxnLst/>
              <a:rect l="l" t="t" r="r" b="b"/>
              <a:pathLst>
                <a:path w="10421" h="4290" extrusionOk="0">
                  <a:moveTo>
                    <a:pt x="4708" y="0"/>
                  </a:moveTo>
                  <a:lnTo>
                    <a:pt x="4562" y="63"/>
                  </a:lnTo>
                  <a:lnTo>
                    <a:pt x="4373" y="63"/>
                  </a:lnTo>
                  <a:lnTo>
                    <a:pt x="4290" y="21"/>
                  </a:lnTo>
                  <a:lnTo>
                    <a:pt x="4185" y="63"/>
                  </a:lnTo>
                  <a:lnTo>
                    <a:pt x="3913" y="63"/>
                  </a:lnTo>
                  <a:lnTo>
                    <a:pt x="3766" y="84"/>
                  </a:lnTo>
                  <a:lnTo>
                    <a:pt x="3494" y="189"/>
                  </a:lnTo>
                  <a:lnTo>
                    <a:pt x="3390" y="210"/>
                  </a:lnTo>
                  <a:lnTo>
                    <a:pt x="3181" y="230"/>
                  </a:lnTo>
                  <a:lnTo>
                    <a:pt x="3097" y="335"/>
                  </a:lnTo>
                  <a:lnTo>
                    <a:pt x="2992" y="377"/>
                  </a:lnTo>
                  <a:lnTo>
                    <a:pt x="2909" y="440"/>
                  </a:lnTo>
                  <a:lnTo>
                    <a:pt x="2867" y="502"/>
                  </a:lnTo>
                  <a:lnTo>
                    <a:pt x="2804" y="628"/>
                  </a:lnTo>
                  <a:lnTo>
                    <a:pt x="2762" y="649"/>
                  </a:lnTo>
                  <a:lnTo>
                    <a:pt x="2762" y="733"/>
                  </a:lnTo>
                  <a:lnTo>
                    <a:pt x="2553" y="733"/>
                  </a:lnTo>
                  <a:lnTo>
                    <a:pt x="2239" y="628"/>
                  </a:lnTo>
                  <a:lnTo>
                    <a:pt x="2155" y="628"/>
                  </a:lnTo>
                  <a:lnTo>
                    <a:pt x="2072" y="691"/>
                  </a:lnTo>
                  <a:lnTo>
                    <a:pt x="1946" y="649"/>
                  </a:lnTo>
                  <a:lnTo>
                    <a:pt x="1779" y="691"/>
                  </a:lnTo>
                  <a:lnTo>
                    <a:pt x="1674" y="649"/>
                  </a:lnTo>
                  <a:lnTo>
                    <a:pt x="1549" y="712"/>
                  </a:lnTo>
                  <a:lnTo>
                    <a:pt x="1528" y="795"/>
                  </a:lnTo>
                  <a:lnTo>
                    <a:pt x="1632" y="942"/>
                  </a:lnTo>
                  <a:lnTo>
                    <a:pt x="1779" y="963"/>
                  </a:lnTo>
                  <a:lnTo>
                    <a:pt x="1925" y="963"/>
                  </a:lnTo>
                  <a:lnTo>
                    <a:pt x="1883" y="1046"/>
                  </a:lnTo>
                  <a:lnTo>
                    <a:pt x="1653" y="1046"/>
                  </a:lnTo>
                  <a:lnTo>
                    <a:pt x="1444" y="1109"/>
                  </a:lnTo>
                  <a:lnTo>
                    <a:pt x="1402" y="1214"/>
                  </a:lnTo>
                  <a:lnTo>
                    <a:pt x="1423" y="1256"/>
                  </a:lnTo>
                  <a:lnTo>
                    <a:pt x="1528" y="1235"/>
                  </a:lnTo>
                  <a:lnTo>
                    <a:pt x="1570" y="1277"/>
                  </a:lnTo>
                  <a:lnTo>
                    <a:pt x="1507" y="1318"/>
                  </a:lnTo>
                  <a:lnTo>
                    <a:pt x="1214" y="1339"/>
                  </a:lnTo>
                  <a:lnTo>
                    <a:pt x="1109" y="1256"/>
                  </a:lnTo>
                  <a:lnTo>
                    <a:pt x="984" y="1339"/>
                  </a:lnTo>
                  <a:lnTo>
                    <a:pt x="900" y="1235"/>
                  </a:lnTo>
                  <a:lnTo>
                    <a:pt x="837" y="1235"/>
                  </a:lnTo>
                  <a:lnTo>
                    <a:pt x="733" y="1339"/>
                  </a:lnTo>
                  <a:lnTo>
                    <a:pt x="628" y="1339"/>
                  </a:lnTo>
                  <a:lnTo>
                    <a:pt x="502" y="1235"/>
                  </a:lnTo>
                  <a:lnTo>
                    <a:pt x="377" y="1235"/>
                  </a:lnTo>
                  <a:lnTo>
                    <a:pt x="105" y="1444"/>
                  </a:lnTo>
                  <a:lnTo>
                    <a:pt x="63" y="1549"/>
                  </a:lnTo>
                  <a:lnTo>
                    <a:pt x="0" y="1653"/>
                  </a:lnTo>
                  <a:lnTo>
                    <a:pt x="63" y="1695"/>
                  </a:lnTo>
                  <a:lnTo>
                    <a:pt x="63" y="1842"/>
                  </a:lnTo>
                  <a:lnTo>
                    <a:pt x="0" y="1883"/>
                  </a:lnTo>
                  <a:lnTo>
                    <a:pt x="63" y="1946"/>
                  </a:lnTo>
                  <a:lnTo>
                    <a:pt x="209" y="1883"/>
                  </a:lnTo>
                  <a:lnTo>
                    <a:pt x="251" y="1904"/>
                  </a:lnTo>
                  <a:lnTo>
                    <a:pt x="377" y="1883"/>
                  </a:lnTo>
                  <a:lnTo>
                    <a:pt x="502" y="1883"/>
                  </a:lnTo>
                  <a:lnTo>
                    <a:pt x="377" y="2009"/>
                  </a:lnTo>
                  <a:lnTo>
                    <a:pt x="398" y="2093"/>
                  </a:lnTo>
                  <a:lnTo>
                    <a:pt x="461" y="2197"/>
                  </a:lnTo>
                  <a:lnTo>
                    <a:pt x="461" y="2281"/>
                  </a:lnTo>
                  <a:lnTo>
                    <a:pt x="419" y="2302"/>
                  </a:lnTo>
                  <a:lnTo>
                    <a:pt x="481" y="2323"/>
                  </a:lnTo>
                  <a:lnTo>
                    <a:pt x="586" y="2281"/>
                  </a:lnTo>
                  <a:lnTo>
                    <a:pt x="586" y="2323"/>
                  </a:lnTo>
                  <a:lnTo>
                    <a:pt x="502" y="2406"/>
                  </a:lnTo>
                  <a:lnTo>
                    <a:pt x="377" y="2490"/>
                  </a:lnTo>
                  <a:lnTo>
                    <a:pt x="419" y="2532"/>
                  </a:lnTo>
                  <a:lnTo>
                    <a:pt x="502" y="2532"/>
                  </a:lnTo>
                  <a:lnTo>
                    <a:pt x="419" y="2595"/>
                  </a:lnTo>
                  <a:lnTo>
                    <a:pt x="377" y="2699"/>
                  </a:lnTo>
                  <a:lnTo>
                    <a:pt x="293" y="2699"/>
                  </a:lnTo>
                  <a:lnTo>
                    <a:pt x="251" y="2532"/>
                  </a:lnTo>
                  <a:lnTo>
                    <a:pt x="189" y="2511"/>
                  </a:lnTo>
                  <a:lnTo>
                    <a:pt x="189" y="2616"/>
                  </a:lnTo>
                  <a:lnTo>
                    <a:pt x="209" y="2720"/>
                  </a:lnTo>
                  <a:lnTo>
                    <a:pt x="168" y="2783"/>
                  </a:lnTo>
                  <a:lnTo>
                    <a:pt x="189" y="2846"/>
                  </a:lnTo>
                  <a:lnTo>
                    <a:pt x="293" y="2930"/>
                  </a:lnTo>
                  <a:lnTo>
                    <a:pt x="293" y="2888"/>
                  </a:lnTo>
                  <a:lnTo>
                    <a:pt x="419" y="2950"/>
                  </a:lnTo>
                  <a:lnTo>
                    <a:pt x="502" y="2950"/>
                  </a:lnTo>
                  <a:lnTo>
                    <a:pt x="628" y="3034"/>
                  </a:lnTo>
                  <a:lnTo>
                    <a:pt x="670" y="3160"/>
                  </a:lnTo>
                  <a:lnTo>
                    <a:pt x="586" y="3243"/>
                  </a:lnTo>
                  <a:lnTo>
                    <a:pt x="670" y="3327"/>
                  </a:lnTo>
                  <a:lnTo>
                    <a:pt x="670" y="3411"/>
                  </a:lnTo>
                  <a:lnTo>
                    <a:pt x="733" y="3411"/>
                  </a:lnTo>
                  <a:lnTo>
                    <a:pt x="879" y="3536"/>
                  </a:lnTo>
                  <a:lnTo>
                    <a:pt x="816" y="3641"/>
                  </a:lnTo>
                  <a:lnTo>
                    <a:pt x="733" y="3620"/>
                  </a:lnTo>
                  <a:lnTo>
                    <a:pt x="712" y="3662"/>
                  </a:lnTo>
                  <a:lnTo>
                    <a:pt x="795" y="3683"/>
                  </a:lnTo>
                  <a:lnTo>
                    <a:pt x="942" y="3662"/>
                  </a:lnTo>
                  <a:lnTo>
                    <a:pt x="1214" y="3662"/>
                  </a:lnTo>
                  <a:lnTo>
                    <a:pt x="1193" y="3725"/>
                  </a:lnTo>
                  <a:lnTo>
                    <a:pt x="1130" y="3767"/>
                  </a:lnTo>
                  <a:lnTo>
                    <a:pt x="1005" y="3829"/>
                  </a:lnTo>
                  <a:lnTo>
                    <a:pt x="816" y="3829"/>
                  </a:lnTo>
                  <a:lnTo>
                    <a:pt x="774" y="3871"/>
                  </a:lnTo>
                  <a:lnTo>
                    <a:pt x="837" y="3892"/>
                  </a:lnTo>
                  <a:lnTo>
                    <a:pt x="942" y="3871"/>
                  </a:lnTo>
                  <a:lnTo>
                    <a:pt x="1088" y="3871"/>
                  </a:lnTo>
                  <a:lnTo>
                    <a:pt x="1130" y="3829"/>
                  </a:lnTo>
                  <a:lnTo>
                    <a:pt x="1130" y="3934"/>
                  </a:lnTo>
                  <a:lnTo>
                    <a:pt x="1151" y="3955"/>
                  </a:lnTo>
                  <a:lnTo>
                    <a:pt x="1235" y="3871"/>
                  </a:lnTo>
                  <a:lnTo>
                    <a:pt x="1318" y="3767"/>
                  </a:lnTo>
                  <a:lnTo>
                    <a:pt x="1402" y="3767"/>
                  </a:lnTo>
                  <a:lnTo>
                    <a:pt x="1444" y="3829"/>
                  </a:lnTo>
                  <a:lnTo>
                    <a:pt x="1528" y="3829"/>
                  </a:lnTo>
                  <a:lnTo>
                    <a:pt x="1632" y="3892"/>
                  </a:lnTo>
                  <a:lnTo>
                    <a:pt x="1674" y="3829"/>
                  </a:lnTo>
                  <a:lnTo>
                    <a:pt x="1758" y="3850"/>
                  </a:lnTo>
                  <a:lnTo>
                    <a:pt x="1758" y="3892"/>
                  </a:lnTo>
                  <a:lnTo>
                    <a:pt x="1716" y="3934"/>
                  </a:lnTo>
                  <a:lnTo>
                    <a:pt x="1758" y="3997"/>
                  </a:lnTo>
                  <a:lnTo>
                    <a:pt x="1779" y="4080"/>
                  </a:lnTo>
                  <a:lnTo>
                    <a:pt x="1883" y="4185"/>
                  </a:lnTo>
                  <a:lnTo>
                    <a:pt x="1946" y="4164"/>
                  </a:lnTo>
                  <a:lnTo>
                    <a:pt x="2072" y="4206"/>
                  </a:lnTo>
                  <a:lnTo>
                    <a:pt x="2197" y="4185"/>
                  </a:lnTo>
                  <a:lnTo>
                    <a:pt x="2281" y="4143"/>
                  </a:lnTo>
                  <a:lnTo>
                    <a:pt x="2386" y="4143"/>
                  </a:lnTo>
                  <a:lnTo>
                    <a:pt x="2469" y="4080"/>
                  </a:lnTo>
                  <a:lnTo>
                    <a:pt x="2574" y="4143"/>
                  </a:lnTo>
                  <a:lnTo>
                    <a:pt x="2616" y="4080"/>
                  </a:lnTo>
                  <a:lnTo>
                    <a:pt x="2616" y="3955"/>
                  </a:lnTo>
                  <a:lnTo>
                    <a:pt x="2658" y="3871"/>
                  </a:lnTo>
                  <a:lnTo>
                    <a:pt x="2616" y="3767"/>
                  </a:lnTo>
                  <a:lnTo>
                    <a:pt x="2867" y="3746"/>
                  </a:lnTo>
                  <a:lnTo>
                    <a:pt x="3076" y="3746"/>
                  </a:lnTo>
                  <a:lnTo>
                    <a:pt x="3348" y="3892"/>
                  </a:lnTo>
                  <a:lnTo>
                    <a:pt x="3453" y="3892"/>
                  </a:lnTo>
                  <a:lnTo>
                    <a:pt x="3641" y="4143"/>
                  </a:lnTo>
                  <a:lnTo>
                    <a:pt x="3808" y="4248"/>
                  </a:lnTo>
                  <a:lnTo>
                    <a:pt x="4331" y="4185"/>
                  </a:lnTo>
                  <a:lnTo>
                    <a:pt x="4478" y="4101"/>
                  </a:lnTo>
                  <a:lnTo>
                    <a:pt x="4541" y="4101"/>
                  </a:lnTo>
                  <a:lnTo>
                    <a:pt x="4562" y="4143"/>
                  </a:lnTo>
                  <a:lnTo>
                    <a:pt x="4603" y="4080"/>
                  </a:lnTo>
                  <a:lnTo>
                    <a:pt x="4645" y="3976"/>
                  </a:lnTo>
                  <a:lnTo>
                    <a:pt x="4896" y="3725"/>
                  </a:lnTo>
                  <a:lnTo>
                    <a:pt x="4959" y="3683"/>
                  </a:lnTo>
                  <a:lnTo>
                    <a:pt x="5189" y="3767"/>
                  </a:lnTo>
                  <a:lnTo>
                    <a:pt x="5336" y="3850"/>
                  </a:lnTo>
                  <a:lnTo>
                    <a:pt x="5524" y="3787"/>
                  </a:lnTo>
                  <a:lnTo>
                    <a:pt x="5524" y="3746"/>
                  </a:lnTo>
                  <a:lnTo>
                    <a:pt x="5650" y="3662"/>
                  </a:lnTo>
                  <a:lnTo>
                    <a:pt x="5754" y="3683"/>
                  </a:lnTo>
                  <a:lnTo>
                    <a:pt x="5754" y="3767"/>
                  </a:lnTo>
                  <a:lnTo>
                    <a:pt x="5691" y="3934"/>
                  </a:lnTo>
                  <a:lnTo>
                    <a:pt x="5545" y="3997"/>
                  </a:lnTo>
                  <a:lnTo>
                    <a:pt x="5587" y="4059"/>
                  </a:lnTo>
                  <a:lnTo>
                    <a:pt x="5691" y="4185"/>
                  </a:lnTo>
                  <a:lnTo>
                    <a:pt x="5650" y="4269"/>
                  </a:lnTo>
                  <a:lnTo>
                    <a:pt x="5754" y="4290"/>
                  </a:lnTo>
                  <a:lnTo>
                    <a:pt x="5901" y="4269"/>
                  </a:lnTo>
                  <a:lnTo>
                    <a:pt x="6005" y="4206"/>
                  </a:lnTo>
                  <a:lnTo>
                    <a:pt x="5963" y="4080"/>
                  </a:lnTo>
                  <a:lnTo>
                    <a:pt x="6047" y="4059"/>
                  </a:lnTo>
                  <a:lnTo>
                    <a:pt x="6047" y="3829"/>
                  </a:lnTo>
                  <a:lnTo>
                    <a:pt x="6110" y="3746"/>
                  </a:lnTo>
                  <a:lnTo>
                    <a:pt x="6256" y="3787"/>
                  </a:lnTo>
                  <a:lnTo>
                    <a:pt x="6361" y="3829"/>
                  </a:lnTo>
                  <a:lnTo>
                    <a:pt x="6654" y="3683"/>
                  </a:lnTo>
                  <a:lnTo>
                    <a:pt x="6696" y="3683"/>
                  </a:lnTo>
                  <a:lnTo>
                    <a:pt x="6780" y="3641"/>
                  </a:lnTo>
                  <a:lnTo>
                    <a:pt x="7093" y="3620"/>
                  </a:lnTo>
                  <a:lnTo>
                    <a:pt x="7198" y="3641"/>
                  </a:lnTo>
                  <a:lnTo>
                    <a:pt x="7261" y="3683"/>
                  </a:lnTo>
                  <a:lnTo>
                    <a:pt x="7428" y="3746"/>
                  </a:lnTo>
                  <a:lnTo>
                    <a:pt x="7700" y="3746"/>
                  </a:lnTo>
                  <a:lnTo>
                    <a:pt x="7721" y="3683"/>
                  </a:lnTo>
                  <a:lnTo>
                    <a:pt x="7888" y="3641"/>
                  </a:lnTo>
                  <a:lnTo>
                    <a:pt x="7951" y="3557"/>
                  </a:lnTo>
                  <a:lnTo>
                    <a:pt x="8160" y="3474"/>
                  </a:lnTo>
                  <a:lnTo>
                    <a:pt x="8307" y="3474"/>
                  </a:lnTo>
                  <a:lnTo>
                    <a:pt x="8432" y="3453"/>
                  </a:lnTo>
                  <a:lnTo>
                    <a:pt x="8725" y="3474"/>
                  </a:lnTo>
                  <a:lnTo>
                    <a:pt x="8956" y="3411"/>
                  </a:lnTo>
                  <a:lnTo>
                    <a:pt x="9102" y="3411"/>
                  </a:lnTo>
                  <a:lnTo>
                    <a:pt x="9165" y="3432"/>
                  </a:lnTo>
                  <a:lnTo>
                    <a:pt x="9311" y="3306"/>
                  </a:lnTo>
                  <a:lnTo>
                    <a:pt x="9458" y="3306"/>
                  </a:lnTo>
                  <a:lnTo>
                    <a:pt x="9500" y="3264"/>
                  </a:lnTo>
                  <a:lnTo>
                    <a:pt x="9730" y="3264"/>
                  </a:lnTo>
                  <a:lnTo>
                    <a:pt x="9939" y="3327"/>
                  </a:lnTo>
                  <a:lnTo>
                    <a:pt x="10085" y="3264"/>
                  </a:lnTo>
                  <a:lnTo>
                    <a:pt x="10148" y="3327"/>
                  </a:lnTo>
                  <a:lnTo>
                    <a:pt x="10148" y="3432"/>
                  </a:lnTo>
                  <a:lnTo>
                    <a:pt x="10253" y="3474"/>
                  </a:lnTo>
                  <a:lnTo>
                    <a:pt x="10399" y="3453"/>
                  </a:lnTo>
                  <a:lnTo>
                    <a:pt x="10420" y="3348"/>
                  </a:lnTo>
                  <a:lnTo>
                    <a:pt x="10357" y="3223"/>
                  </a:lnTo>
                  <a:lnTo>
                    <a:pt x="10232" y="2992"/>
                  </a:lnTo>
                  <a:lnTo>
                    <a:pt x="10085" y="2930"/>
                  </a:lnTo>
                  <a:lnTo>
                    <a:pt x="10106" y="2846"/>
                  </a:lnTo>
                  <a:lnTo>
                    <a:pt x="10085" y="2699"/>
                  </a:lnTo>
                  <a:lnTo>
                    <a:pt x="10148" y="2511"/>
                  </a:lnTo>
                  <a:lnTo>
                    <a:pt x="10127" y="2469"/>
                  </a:lnTo>
                  <a:lnTo>
                    <a:pt x="10002" y="2427"/>
                  </a:lnTo>
                  <a:lnTo>
                    <a:pt x="10002" y="2281"/>
                  </a:lnTo>
                  <a:lnTo>
                    <a:pt x="10002" y="2176"/>
                  </a:lnTo>
                  <a:lnTo>
                    <a:pt x="9939" y="1967"/>
                  </a:lnTo>
                  <a:lnTo>
                    <a:pt x="9897" y="1842"/>
                  </a:lnTo>
                  <a:lnTo>
                    <a:pt x="9897" y="1779"/>
                  </a:lnTo>
                  <a:lnTo>
                    <a:pt x="10044" y="1779"/>
                  </a:lnTo>
                  <a:lnTo>
                    <a:pt x="10106" y="1632"/>
                  </a:lnTo>
                  <a:lnTo>
                    <a:pt x="10148" y="1570"/>
                  </a:lnTo>
                  <a:lnTo>
                    <a:pt x="10148" y="1528"/>
                  </a:lnTo>
                  <a:lnTo>
                    <a:pt x="10106" y="1444"/>
                  </a:lnTo>
                  <a:lnTo>
                    <a:pt x="10002" y="1360"/>
                  </a:lnTo>
                  <a:lnTo>
                    <a:pt x="9709" y="1360"/>
                  </a:lnTo>
                  <a:lnTo>
                    <a:pt x="9562" y="1256"/>
                  </a:lnTo>
                  <a:lnTo>
                    <a:pt x="9520" y="1026"/>
                  </a:lnTo>
                  <a:lnTo>
                    <a:pt x="9583" y="837"/>
                  </a:lnTo>
                  <a:lnTo>
                    <a:pt x="9500" y="733"/>
                  </a:lnTo>
                  <a:lnTo>
                    <a:pt x="9395" y="712"/>
                  </a:lnTo>
                  <a:lnTo>
                    <a:pt x="9395" y="628"/>
                  </a:lnTo>
                  <a:lnTo>
                    <a:pt x="9290" y="523"/>
                  </a:lnTo>
                  <a:lnTo>
                    <a:pt x="9186" y="502"/>
                  </a:lnTo>
                  <a:lnTo>
                    <a:pt x="8956" y="293"/>
                  </a:lnTo>
                  <a:lnTo>
                    <a:pt x="8851" y="272"/>
                  </a:lnTo>
                  <a:lnTo>
                    <a:pt x="8767" y="335"/>
                  </a:lnTo>
                  <a:lnTo>
                    <a:pt x="8725" y="335"/>
                  </a:lnTo>
                  <a:lnTo>
                    <a:pt x="8558" y="293"/>
                  </a:lnTo>
                  <a:lnTo>
                    <a:pt x="8516" y="377"/>
                  </a:lnTo>
                  <a:lnTo>
                    <a:pt x="8432" y="335"/>
                  </a:lnTo>
                  <a:lnTo>
                    <a:pt x="8412" y="230"/>
                  </a:lnTo>
                  <a:lnTo>
                    <a:pt x="8349" y="230"/>
                  </a:lnTo>
                  <a:lnTo>
                    <a:pt x="8328" y="272"/>
                  </a:lnTo>
                  <a:lnTo>
                    <a:pt x="8244" y="419"/>
                  </a:lnTo>
                  <a:lnTo>
                    <a:pt x="8098" y="502"/>
                  </a:lnTo>
                  <a:lnTo>
                    <a:pt x="7909" y="607"/>
                  </a:lnTo>
                  <a:lnTo>
                    <a:pt x="7888" y="691"/>
                  </a:lnTo>
                  <a:lnTo>
                    <a:pt x="7700" y="712"/>
                  </a:lnTo>
                  <a:lnTo>
                    <a:pt x="7616" y="754"/>
                  </a:lnTo>
                  <a:lnTo>
                    <a:pt x="7386" y="712"/>
                  </a:lnTo>
                  <a:lnTo>
                    <a:pt x="7324" y="649"/>
                  </a:lnTo>
                  <a:lnTo>
                    <a:pt x="7219" y="649"/>
                  </a:lnTo>
                  <a:lnTo>
                    <a:pt x="7198" y="628"/>
                  </a:lnTo>
                  <a:lnTo>
                    <a:pt x="7093" y="691"/>
                  </a:lnTo>
                  <a:lnTo>
                    <a:pt x="6884" y="691"/>
                  </a:lnTo>
                  <a:lnTo>
                    <a:pt x="6633" y="795"/>
                  </a:lnTo>
                  <a:lnTo>
                    <a:pt x="6445" y="754"/>
                  </a:lnTo>
                  <a:lnTo>
                    <a:pt x="6319" y="649"/>
                  </a:lnTo>
                  <a:lnTo>
                    <a:pt x="6235" y="712"/>
                  </a:lnTo>
                  <a:lnTo>
                    <a:pt x="6026" y="607"/>
                  </a:lnTo>
                  <a:lnTo>
                    <a:pt x="5901" y="586"/>
                  </a:lnTo>
                  <a:lnTo>
                    <a:pt x="5712" y="440"/>
                  </a:lnTo>
                  <a:lnTo>
                    <a:pt x="5629" y="440"/>
                  </a:lnTo>
                  <a:lnTo>
                    <a:pt x="5587" y="523"/>
                  </a:lnTo>
                  <a:lnTo>
                    <a:pt x="5503" y="502"/>
                  </a:lnTo>
                  <a:lnTo>
                    <a:pt x="5399" y="377"/>
                  </a:lnTo>
                  <a:lnTo>
                    <a:pt x="5378" y="210"/>
                  </a:lnTo>
                  <a:lnTo>
                    <a:pt x="5273" y="126"/>
                  </a:lnTo>
                  <a:lnTo>
                    <a:pt x="5210" y="168"/>
                  </a:lnTo>
                  <a:lnTo>
                    <a:pt x="5085" y="293"/>
                  </a:lnTo>
                  <a:lnTo>
                    <a:pt x="5022" y="272"/>
                  </a:lnTo>
                  <a:lnTo>
                    <a:pt x="4980" y="314"/>
                  </a:lnTo>
                  <a:lnTo>
                    <a:pt x="4771" y="105"/>
                  </a:lnTo>
                  <a:lnTo>
                    <a:pt x="475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7" name="Google Shape;2087;p66"/>
            <p:cNvSpPr/>
            <p:nvPr/>
          </p:nvSpPr>
          <p:spPr>
            <a:xfrm>
              <a:off x="3914265" y="2848854"/>
              <a:ext cx="18945" cy="15956"/>
            </a:xfrm>
            <a:custGeom>
              <a:avLst/>
              <a:gdLst/>
              <a:ahLst/>
              <a:cxnLst/>
              <a:rect l="l" t="t" r="r" b="b"/>
              <a:pathLst>
                <a:path w="1591" h="1403" extrusionOk="0">
                  <a:moveTo>
                    <a:pt x="503" y="0"/>
                  </a:moveTo>
                  <a:lnTo>
                    <a:pt x="419" y="84"/>
                  </a:lnTo>
                  <a:lnTo>
                    <a:pt x="335" y="84"/>
                  </a:lnTo>
                  <a:lnTo>
                    <a:pt x="231" y="189"/>
                  </a:lnTo>
                  <a:lnTo>
                    <a:pt x="210" y="356"/>
                  </a:lnTo>
                  <a:lnTo>
                    <a:pt x="335" y="398"/>
                  </a:lnTo>
                  <a:lnTo>
                    <a:pt x="335" y="523"/>
                  </a:lnTo>
                  <a:lnTo>
                    <a:pt x="189" y="628"/>
                  </a:lnTo>
                  <a:lnTo>
                    <a:pt x="210" y="733"/>
                  </a:lnTo>
                  <a:lnTo>
                    <a:pt x="126" y="879"/>
                  </a:lnTo>
                  <a:lnTo>
                    <a:pt x="1" y="921"/>
                  </a:lnTo>
                  <a:lnTo>
                    <a:pt x="22" y="921"/>
                  </a:lnTo>
                  <a:lnTo>
                    <a:pt x="84" y="1025"/>
                  </a:lnTo>
                  <a:lnTo>
                    <a:pt x="168" y="1088"/>
                  </a:lnTo>
                  <a:lnTo>
                    <a:pt x="231" y="1046"/>
                  </a:lnTo>
                  <a:lnTo>
                    <a:pt x="294" y="1088"/>
                  </a:lnTo>
                  <a:lnTo>
                    <a:pt x="398" y="1046"/>
                  </a:lnTo>
                  <a:lnTo>
                    <a:pt x="294" y="1130"/>
                  </a:lnTo>
                  <a:lnTo>
                    <a:pt x="231" y="1130"/>
                  </a:lnTo>
                  <a:lnTo>
                    <a:pt x="168" y="1318"/>
                  </a:lnTo>
                  <a:lnTo>
                    <a:pt x="189" y="1402"/>
                  </a:lnTo>
                  <a:lnTo>
                    <a:pt x="419" y="1193"/>
                  </a:lnTo>
                  <a:lnTo>
                    <a:pt x="712" y="1025"/>
                  </a:lnTo>
                  <a:lnTo>
                    <a:pt x="796" y="879"/>
                  </a:lnTo>
                  <a:lnTo>
                    <a:pt x="900" y="816"/>
                  </a:lnTo>
                  <a:lnTo>
                    <a:pt x="1110" y="837"/>
                  </a:lnTo>
                  <a:lnTo>
                    <a:pt x="1152" y="795"/>
                  </a:lnTo>
                  <a:lnTo>
                    <a:pt x="1277" y="795"/>
                  </a:lnTo>
                  <a:lnTo>
                    <a:pt x="1361" y="816"/>
                  </a:lnTo>
                  <a:lnTo>
                    <a:pt x="1486" y="837"/>
                  </a:lnTo>
                  <a:lnTo>
                    <a:pt x="1591" y="733"/>
                  </a:lnTo>
                  <a:lnTo>
                    <a:pt x="1591" y="670"/>
                  </a:lnTo>
                  <a:lnTo>
                    <a:pt x="1486" y="607"/>
                  </a:lnTo>
                  <a:lnTo>
                    <a:pt x="1361" y="481"/>
                  </a:lnTo>
                  <a:lnTo>
                    <a:pt x="1235" y="461"/>
                  </a:lnTo>
                  <a:lnTo>
                    <a:pt x="1047" y="293"/>
                  </a:lnTo>
                  <a:lnTo>
                    <a:pt x="1026" y="84"/>
                  </a:lnTo>
                  <a:lnTo>
                    <a:pt x="921" y="63"/>
                  </a:lnTo>
                  <a:lnTo>
                    <a:pt x="817" y="147"/>
                  </a:lnTo>
                  <a:lnTo>
                    <a:pt x="64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8" name="Google Shape;2088;p66"/>
            <p:cNvSpPr/>
            <p:nvPr/>
          </p:nvSpPr>
          <p:spPr>
            <a:xfrm>
              <a:off x="4004703" y="2885735"/>
              <a:ext cx="66539" cy="61161"/>
            </a:xfrm>
            <a:custGeom>
              <a:avLst/>
              <a:gdLst/>
              <a:ahLst/>
              <a:cxnLst/>
              <a:rect l="l" t="t" r="r" b="b"/>
              <a:pathLst>
                <a:path w="5588" h="5378" extrusionOk="0">
                  <a:moveTo>
                    <a:pt x="2031" y="0"/>
                  </a:moveTo>
                  <a:lnTo>
                    <a:pt x="1989" y="42"/>
                  </a:lnTo>
                  <a:lnTo>
                    <a:pt x="1842" y="42"/>
                  </a:lnTo>
                  <a:lnTo>
                    <a:pt x="1696" y="168"/>
                  </a:lnTo>
                  <a:lnTo>
                    <a:pt x="1717" y="189"/>
                  </a:lnTo>
                  <a:lnTo>
                    <a:pt x="1633" y="314"/>
                  </a:lnTo>
                  <a:lnTo>
                    <a:pt x="1591" y="314"/>
                  </a:lnTo>
                  <a:lnTo>
                    <a:pt x="1466" y="419"/>
                  </a:lnTo>
                  <a:lnTo>
                    <a:pt x="1215" y="482"/>
                  </a:lnTo>
                  <a:lnTo>
                    <a:pt x="1110" y="670"/>
                  </a:lnTo>
                  <a:lnTo>
                    <a:pt x="1110" y="837"/>
                  </a:lnTo>
                  <a:lnTo>
                    <a:pt x="1215" y="1047"/>
                  </a:lnTo>
                  <a:lnTo>
                    <a:pt x="1215" y="1235"/>
                  </a:lnTo>
                  <a:lnTo>
                    <a:pt x="1110" y="1444"/>
                  </a:lnTo>
                  <a:lnTo>
                    <a:pt x="1173" y="1549"/>
                  </a:lnTo>
                  <a:lnTo>
                    <a:pt x="1152" y="1716"/>
                  </a:lnTo>
                  <a:lnTo>
                    <a:pt x="1068" y="1842"/>
                  </a:lnTo>
                  <a:lnTo>
                    <a:pt x="1005" y="1925"/>
                  </a:lnTo>
                  <a:lnTo>
                    <a:pt x="1" y="2658"/>
                  </a:lnTo>
                  <a:lnTo>
                    <a:pt x="273" y="3411"/>
                  </a:lnTo>
                  <a:lnTo>
                    <a:pt x="775" y="3453"/>
                  </a:lnTo>
                  <a:lnTo>
                    <a:pt x="3474" y="5336"/>
                  </a:lnTo>
                  <a:lnTo>
                    <a:pt x="4562" y="5378"/>
                  </a:lnTo>
                  <a:lnTo>
                    <a:pt x="4709" y="5106"/>
                  </a:lnTo>
                  <a:lnTo>
                    <a:pt x="4834" y="4855"/>
                  </a:lnTo>
                  <a:lnTo>
                    <a:pt x="5085" y="4708"/>
                  </a:lnTo>
                  <a:lnTo>
                    <a:pt x="5274" y="4792"/>
                  </a:lnTo>
                  <a:lnTo>
                    <a:pt x="5399" y="4750"/>
                  </a:lnTo>
                  <a:lnTo>
                    <a:pt x="5462" y="4771"/>
                  </a:lnTo>
                  <a:lnTo>
                    <a:pt x="5546" y="4645"/>
                  </a:lnTo>
                  <a:lnTo>
                    <a:pt x="5588" y="4604"/>
                  </a:lnTo>
                  <a:lnTo>
                    <a:pt x="5546" y="4583"/>
                  </a:lnTo>
                  <a:lnTo>
                    <a:pt x="5441" y="4541"/>
                  </a:lnTo>
                  <a:lnTo>
                    <a:pt x="5337" y="4457"/>
                  </a:lnTo>
                  <a:lnTo>
                    <a:pt x="5274" y="4122"/>
                  </a:lnTo>
                  <a:lnTo>
                    <a:pt x="5085" y="4122"/>
                  </a:lnTo>
                  <a:lnTo>
                    <a:pt x="5064" y="3955"/>
                  </a:lnTo>
                  <a:lnTo>
                    <a:pt x="5064" y="3767"/>
                  </a:lnTo>
                  <a:lnTo>
                    <a:pt x="5190" y="3662"/>
                  </a:lnTo>
                  <a:lnTo>
                    <a:pt x="5064" y="3411"/>
                  </a:lnTo>
                  <a:lnTo>
                    <a:pt x="4960" y="3348"/>
                  </a:lnTo>
                  <a:lnTo>
                    <a:pt x="4855" y="3139"/>
                  </a:lnTo>
                  <a:lnTo>
                    <a:pt x="4772" y="3097"/>
                  </a:lnTo>
                  <a:lnTo>
                    <a:pt x="4730" y="3118"/>
                  </a:lnTo>
                  <a:lnTo>
                    <a:pt x="4290" y="2825"/>
                  </a:lnTo>
                  <a:lnTo>
                    <a:pt x="4186" y="2867"/>
                  </a:lnTo>
                  <a:lnTo>
                    <a:pt x="4123" y="2888"/>
                  </a:lnTo>
                  <a:lnTo>
                    <a:pt x="4018" y="2804"/>
                  </a:lnTo>
                  <a:lnTo>
                    <a:pt x="4018" y="2720"/>
                  </a:lnTo>
                  <a:lnTo>
                    <a:pt x="3997" y="2699"/>
                  </a:lnTo>
                  <a:lnTo>
                    <a:pt x="4039" y="2574"/>
                  </a:lnTo>
                  <a:lnTo>
                    <a:pt x="3914" y="2469"/>
                  </a:lnTo>
                  <a:lnTo>
                    <a:pt x="3893" y="2386"/>
                  </a:lnTo>
                  <a:lnTo>
                    <a:pt x="3788" y="2365"/>
                  </a:lnTo>
                  <a:lnTo>
                    <a:pt x="3704" y="2281"/>
                  </a:lnTo>
                  <a:lnTo>
                    <a:pt x="3621" y="2260"/>
                  </a:lnTo>
                  <a:lnTo>
                    <a:pt x="3621" y="2176"/>
                  </a:lnTo>
                  <a:lnTo>
                    <a:pt x="3684" y="2135"/>
                  </a:lnTo>
                  <a:lnTo>
                    <a:pt x="3663" y="2072"/>
                  </a:lnTo>
                  <a:lnTo>
                    <a:pt x="3684" y="1988"/>
                  </a:lnTo>
                  <a:lnTo>
                    <a:pt x="3684" y="1779"/>
                  </a:lnTo>
                  <a:lnTo>
                    <a:pt x="3725" y="1737"/>
                  </a:lnTo>
                  <a:lnTo>
                    <a:pt x="3767" y="1549"/>
                  </a:lnTo>
                  <a:lnTo>
                    <a:pt x="3830" y="1549"/>
                  </a:lnTo>
                  <a:lnTo>
                    <a:pt x="3914" y="1528"/>
                  </a:lnTo>
                  <a:lnTo>
                    <a:pt x="3914" y="1319"/>
                  </a:lnTo>
                  <a:lnTo>
                    <a:pt x="3872" y="1298"/>
                  </a:lnTo>
                  <a:lnTo>
                    <a:pt x="3830" y="1130"/>
                  </a:lnTo>
                  <a:lnTo>
                    <a:pt x="3914" y="1130"/>
                  </a:lnTo>
                  <a:lnTo>
                    <a:pt x="4018" y="1088"/>
                  </a:lnTo>
                  <a:lnTo>
                    <a:pt x="4081" y="1047"/>
                  </a:lnTo>
                  <a:lnTo>
                    <a:pt x="4018" y="1026"/>
                  </a:lnTo>
                  <a:lnTo>
                    <a:pt x="3935" y="984"/>
                  </a:lnTo>
                  <a:lnTo>
                    <a:pt x="3809" y="1005"/>
                  </a:lnTo>
                  <a:lnTo>
                    <a:pt x="3725" y="984"/>
                  </a:lnTo>
                  <a:lnTo>
                    <a:pt x="3516" y="879"/>
                  </a:lnTo>
                  <a:lnTo>
                    <a:pt x="3453" y="837"/>
                  </a:lnTo>
                  <a:lnTo>
                    <a:pt x="3349" y="795"/>
                  </a:lnTo>
                  <a:lnTo>
                    <a:pt x="3286" y="670"/>
                  </a:lnTo>
                  <a:lnTo>
                    <a:pt x="3244" y="565"/>
                  </a:lnTo>
                  <a:lnTo>
                    <a:pt x="3140" y="565"/>
                  </a:lnTo>
                  <a:lnTo>
                    <a:pt x="3077" y="419"/>
                  </a:lnTo>
                  <a:lnTo>
                    <a:pt x="3098" y="314"/>
                  </a:lnTo>
                  <a:lnTo>
                    <a:pt x="3035" y="189"/>
                  </a:lnTo>
                  <a:lnTo>
                    <a:pt x="2930" y="168"/>
                  </a:lnTo>
                  <a:lnTo>
                    <a:pt x="2784" y="210"/>
                  </a:lnTo>
                  <a:lnTo>
                    <a:pt x="2679" y="168"/>
                  </a:lnTo>
                  <a:lnTo>
                    <a:pt x="2679" y="63"/>
                  </a:lnTo>
                  <a:lnTo>
                    <a:pt x="2616" y="0"/>
                  </a:lnTo>
                  <a:lnTo>
                    <a:pt x="2470" y="63"/>
                  </a:lnTo>
                  <a:lnTo>
                    <a:pt x="226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89" name="Google Shape;2089;p66"/>
            <p:cNvSpPr/>
            <p:nvPr/>
          </p:nvSpPr>
          <p:spPr>
            <a:xfrm>
              <a:off x="4059025" y="2939277"/>
              <a:ext cx="11967" cy="11668"/>
            </a:xfrm>
            <a:custGeom>
              <a:avLst/>
              <a:gdLst/>
              <a:ahLst/>
              <a:cxnLst/>
              <a:rect l="l" t="t" r="r" b="b"/>
              <a:pathLst>
                <a:path w="1005" h="1026" extrusionOk="0">
                  <a:moveTo>
                    <a:pt x="523" y="0"/>
                  </a:moveTo>
                  <a:lnTo>
                    <a:pt x="272" y="147"/>
                  </a:lnTo>
                  <a:lnTo>
                    <a:pt x="147" y="398"/>
                  </a:lnTo>
                  <a:lnTo>
                    <a:pt x="0" y="670"/>
                  </a:lnTo>
                  <a:lnTo>
                    <a:pt x="84" y="670"/>
                  </a:lnTo>
                  <a:lnTo>
                    <a:pt x="607" y="816"/>
                  </a:lnTo>
                  <a:lnTo>
                    <a:pt x="628" y="1025"/>
                  </a:lnTo>
                  <a:lnTo>
                    <a:pt x="1005" y="879"/>
                  </a:lnTo>
                  <a:lnTo>
                    <a:pt x="942" y="795"/>
                  </a:lnTo>
                  <a:lnTo>
                    <a:pt x="942" y="774"/>
                  </a:lnTo>
                  <a:lnTo>
                    <a:pt x="984" y="774"/>
                  </a:lnTo>
                  <a:lnTo>
                    <a:pt x="921" y="691"/>
                  </a:lnTo>
                  <a:lnTo>
                    <a:pt x="921" y="607"/>
                  </a:lnTo>
                  <a:lnTo>
                    <a:pt x="879" y="502"/>
                  </a:lnTo>
                  <a:lnTo>
                    <a:pt x="837" y="565"/>
                  </a:lnTo>
                  <a:lnTo>
                    <a:pt x="607" y="419"/>
                  </a:lnTo>
                  <a:lnTo>
                    <a:pt x="942" y="356"/>
                  </a:lnTo>
                  <a:lnTo>
                    <a:pt x="900" y="84"/>
                  </a:lnTo>
                  <a:lnTo>
                    <a:pt x="900" y="63"/>
                  </a:lnTo>
                  <a:lnTo>
                    <a:pt x="837" y="42"/>
                  </a:lnTo>
                  <a:lnTo>
                    <a:pt x="712" y="84"/>
                  </a:lnTo>
                  <a:lnTo>
                    <a:pt x="52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0" name="Google Shape;2090;p66"/>
            <p:cNvSpPr/>
            <p:nvPr/>
          </p:nvSpPr>
          <p:spPr>
            <a:xfrm>
              <a:off x="3959359" y="2899768"/>
              <a:ext cx="15468" cy="8347"/>
            </a:xfrm>
            <a:custGeom>
              <a:avLst/>
              <a:gdLst/>
              <a:ahLst/>
              <a:cxnLst/>
              <a:rect l="l" t="t" r="r" b="b"/>
              <a:pathLst>
                <a:path w="1299" h="734" extrusionOk="0">
                  <a:moveTo>
                    <a:pt x="1194" y="1"/>
                  </a:moveTo>
                  <a:lnTo>
                    <a:pt x="1005" y="105"/>
                  </a:lnTo>
                  <a:lnTo>
                    <a:pt x="775" y="210"/>
                  </a:lnTo>
                  <a:lnTo>
                    <a:pt x="608" y="210"/>
                  </a:lnTo>
                  <a:lnTo>
                    <a:pt x="482" y="168"/>
                  </a:lnTo>
                  <a:lnTo>
                    <a:pt x="378" y="168"/>
                  </a:lnTo>
                  <a:lnTo>
                    <a:pt x="378" y="231"/>
                  </a:lnTo>
                  <a:lnTo>
                    <a:pt x="357" y="315"/>
                  </a:lnTo>
                  <a:lnTo>
                    <a:pt x="273" y="336"/>
                  </a:lnTo>
                  <a:lnTo>
                    <a:pt x="147" y="294"/>
                  </a:lnTo>
                  <a:lnTo>
                    <a:pt x="85" y="377"/>
                  </a:lnTo>
                  <a:lnTo>
                    <a:pt x="1" y="398"/>
                  </a:lnTo>
                  <a:lnTo>
                    <a:pt x="1" y="524"/>
                  </a:lnTo>
                  <a:lnTo>
                    <a:pt x="85" y="629"/>
                  </a:lnTo>
                  <a:lnTo>
                    <a:pt x="210" y="712"/>
                  </a:lnTo>
                  <a:lnTo>
                    <a:pt x="378" y="691"/>
                  </a:lnTo>
                  <a:lnTo>
                    <a:pt x="461" y="733"/>
                  </a:lnTo>
                  <a:lnTo>
                    <a:pt x="503" y="691"/>
                  </a:lnTo>
                  <a:lnTo>
                    <a:pt x="629" y="649"/>
                  </a:lnTo>
                  <a:lnTo>
                    <a:pt x="775" y="545"/>
                  </a:lnTo>
                  <a:lnTo>
                    <a:pt x="838" y="503"/>
                  </a:lnTo>
                  <a:lnTo>
                    <a:pt x="1005" y="524"/>
                  </a:lnTo>
                  <a:lnTo>
                    <a:pt x="1005" y="419"/>
                  </a:lnTo>
                  <a:lnTo>
                    <a:pt x="984" y="315"/>
                  </a:lnTo>
                  <a:lnTo>
                    <a:pt x="1110" y="168"/>
                  </a:lnTo>
                  <a:lnTo>
                    <a:pt x="1235" y="85"/>
                  </a:lnTo>
                  <a:lnTo>
                    <a:pt x="1298" y="22"/>
                  </a:lnTo>
                  <a:lnTo>
                    <a:pt x="125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1" name="Google Shape;2091;p66"/>
            <p:cNvSpPr/>
            <p:nvPr/>
          </p:nvSpPr>
          <p:spPr>
            <a:xfrm>
              <a:off x="3982281" y="2887395"/>
              <a:ext cx="42867" cy="36426"/>
            </a:xfrm>
            <a:custGeom>
              <a:avLst/>
              <a:gdLst/>
              <a:ahLst/>
              <a:cxnLst/>
              <a:rect l="l" t="t" r="r" b="b"/>
              <a:pathLst>
                <a:path w="3600" h="3203" extrusionOk="0">
                  <a:moveTo>
                    <a:pt x="3370" y="1"/>
                  </a:moveTo>
                  <a:lnTo>
                    <a:pt x="3139" y="64"/>
                  </a:lnTo>
                  <a:lnTo>
                    <a:pt x="2846" y="43"/>
                  </a:lnTo>
                  <a:lnTo>
                    <a:pt x="2721" y="64"/>
                  </a:lnTo>
                  <a:lnTo>
                    <a:pt x="2574" y="64"/>
                  </a:lnTo>
                  <a:lnTo>
                    <a:pt x="2365" y="147"/>
                  </a:lnTo>
                  <a:lnTo>
                    <a:pt x="2302" y="231"/>
                  </a:lnTo>
                  <a:lnTo>
                    <a:pt x="2135" y="273"/>
                  </a:lnTo>
                  <a:lnTo>
                    <a:pt x="2114" y="336"/>
                  </a:lnTo>
                  <a:lnTo>
                    <a:pt x="1842" y="336"/>
                  </a:lnTo>
                  <a:lnTo>
                    <a:pt x="1675" y="273"/>
                  </a:lnTo>
                  <a:lnTo>
                    <a:pt x="1612" y="231"/>
                  </a:lnTo>
                  <a:lnTo>
                    <a:pt x="1507" y="210"/>
                  </a:lnTo>
                  <a:lnTo>
                    <a:pt x="1194" y="231"/>
                  </a:lnTo>
                  <a:lnTo>
                    <a:pt x="1110" y="273"/>
                  </a:lnTo>
                  <a:lnTo>
                    <a:pt x="1068" y="273"/>
                  </a:lnTo>
                  <a:lnTo>
                    <a:pt x="775" y="419"/>
                  </a:lnTo>
                  <a:lnTo>
                    <a:pt x="670" y="377"/>
                  </a:lnTo>
                  <a:lnTo>
                    <a:pt x="524" y="336"/>
                  </a:lnTo>
                  <a:lnTo>
                    <a:pt x="461" y="419"/>
                  </a:lnTo>
                  <a:lnTo>
                    <a:pt x="461" y="649"/>
                  </a:lnTo>
                  <a:lnTo>
                    <a:pt x="377" y="670"/>
                  </a:lnTo>
                  <a:lnTo>
                    <a:pt x="419" y="796"/>
                  </a:lnTo>
                  <a:lnTo>
                    <a:pt x="315" y="859"/>
                  </a:lnTo>
                  <a:lnTo>
                    <a:pt x="168" y="880"/>
                  </a:lnTo>
                  <a:lnTo>
                    <a:pt x="64" y="859"/>
                  </a:lnTo>
                  <a:lnTo>
                    <a:pt x="1" y="901"/>
                  </a:lnTo>
                  <a:lnTo>
                    <a:pt x="22" y="1068"/>
                  </a:lnTo>
                  <a:lnTo>
                    <a:pt x="105" y="1277"/>
                  </a:lnTo>
                  <a:lnTo>
                    <a:pt x="147" y="1403"/>
                  </a:lnTo>
                  <a:lnTo>
                    <a:pt x="126" y="1528"/>
                  </a:lnTo>
                  <a:lnTo>
                    <a:pt x="105" y="1779"/>
                  </a:lnTo>
                  <a:lnTo>
                    <a:pt x="336" y="1779"/>
                  </a:lnTo>
                  <a:lnTo>
                    <a:pt x="377" y="1905"/>
                  </a:lnTo>
                  <a:lnTo>
                    <a:pt x="482" y="1947"/>
                  </a:lnTo>
                  <a:lnTo>
                    <a:pt x="482" y="2114"/>
                  </a:lnTo>
                  <a:lnTo>
                    <a:pt x="545" y="2198"/>
                  </a:lnTo>
                  <a:lnTo>
                    <a:pt x="461" y="2219"/>
                  </a:lnTo>
                  <a:lnTo>
                    <a:pt x="419" y="2219"/>
                  </a:lnTo>
                  <a:lnTo>
                    <a:pt x="315" y="2302"/>
                  </a:lnTo>
                  <a:lnTo>
                    <a:pt x="252" y="2449"/>
                  </a:lnTo>
                  <a:lnTo>
                    <a:pt x="168" y="2574"/>
                  </a:lnTo>
                  <a:lnTo>
                    <a:pt x="147" y="2574"/>
                  </a:lnTo>
                  <a:lnTo>
                    <a:pt x="168" y="2616"/>
                  </a:lnTo>
                  <a:lnTo>
                    <a:pt x="252" y="2679"/>
                  </a:lnTo>
                  <a:lnTo>
                    <a:pt x="273" y="2888"/>
                  </a:lnTo>
                  <a:lnTo>
                    <a:pt x="252" y="2993"/>
                  </a:lnTo>
                  <a:lnTo>
                    <a:pt x="315" y="2993"/>
                  </a:lnTo>
                  <a:lnTo>
                    <a:pt x="482" y="3077"/>
                  </a:lnTo>
                  <a:lnTo>
                    <a:pt x="629" y="3181"/>
                  </a:lnTo>
                  <a:lnTo>
                    <a:pt x="649" y="3181"/>
                  </a:lnTo>
                  <a:lnTo>
                    <a:pt x="733" y="3202"/>
                  </a:lnTo>
                  <a:lnTo>
                    <a:pt x="1884" y="2512"/>
                  </a:lnTo>
                  <a:lnTo>
                    <a:pt x="2888" y="1779"/>
                  </a:lnTo>
                  <a:lnTo>
                    <a:pt x="2951" y="1696"/>
                  </a:lnTo>
                  <a:lnTo>
                    <a:pt x="3035" y="1570"/>
                  </a:lnTo>
                  <a:lnTo>
                    <a:pt x="3056" y="1403"/>
                  </a:lnTo>
                  <a:lnTo>
                    <a:pt x="2993" y="1298"/>
                  </a:lnTo>
                  <a:lnTo>
                    <a:pt x="3098" y="1089"/>
                  </a:lnTo>
                  <a:lnTo>
                    <a:pt x="3098" y="901"/>
                  </a:lnTo>
                  <a:lnTo>
                    <a:pt x="2993" y="691"/>
                  </a:lnTo>
                  <a:lnTo>
                    <a:pt x="2993" y="524"/>
                  </a:lnTo>
                  <a:lnTo>
                    <a:pt x="3098" y="336"/>
                  </a:lnTo>
                  <a:lnTo>
                    <a:pt x="3349" y="273"/>
                  </a:lnTo>
                  <a:lnTo>
                    <a:pt x="3474" y="168"/>
                  </a:lnTo>
                  <a:lnTo>
                    <a:pt x="3516" y="168"/>
                  </a:lnTo>
                  <a:lnTo>
                    <a:pt x="3600" y="43"/>
                  </a:lnTo>
                  <a:lnTo>
                    <a:pt x="3579" y="22"/>
                  </a:lnTo>
                  <a:lnTo>
                    <a:pt x="351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2" name="Google Shape;2092;p66"/>
            <p:cNvSpPr/>
            <p:nvPr/>
          </p:nvSpPr>
          <p:spPr>
            <a:xfrm>
              <a:off x="3973565" y="2916668"/>
              <a:ext cx="10479" cy="29045"/>
            </a:xfrm>
            <a:custGeom>
              <a:avLst/>
              <a:gdLst/>
              <a:ahLst/>
              <a:cxnLst/>
              <a:rect l="l" t="t" r="r" b="b"/>
              <a:pathLst>
                <a:path w="880" h="2554" extrusionOk="0">
                  <a:moveTo>
                    <a:pt x="837" y="0"/>
                  </a:moveTo>
                  <a:lnTo>
                    <a:pt x="754" y="105"/>
                  </a:lnTo>
                  <a:lnTo>
                    <a:pt x="565" y="147"/>
                  </a:lnTo>
                  <a:lnTo>
                    <a:pt x="524" y="105"/>
                  </a:lnTo>
                  <a:lnTo>
                    <a:pt x="377" y="252"/>
                  </a:lnTo>
                  <a:lnTo>
                    <a:pt x="335" y="670"/>
                  </a:lnTo>
                  <a:lnTo>
                    <a:pt x="168" y="1005"/>
                  </a:lnTo>
                  <a:lnTo>
                    <a:pt x="1" y="1235"/>
                  </a:lnTo>
                  <a:lnTo>
                    <a:pt x="63" y="1256"/>
                  </a:lnTo>
                  <a:lnTo>
                    <a:pt x="168" y="1444"/>
                  </a:lnTo>
                  <a:lnTo>
                    <a:pt x="231" y="1653"/>
                  </a:lnTo>
                  <a:lnTo>
                    <a:pt x="377" y="1884"/>
                  </a:lnTo>
                  <a:lnTo>
                    <a:pt x="524" y="2197"/>
                  </a:lnTo>
                  <a:lnTo>
                    <a:pt x="461" y="2344"/>
                  </a:lnTo>
                  <a:lnTo>
                    <a:pt x="545" y="2553"/>
                  </a:lnTo>
                  <a:lnTo>
                    <a:pt x="628" y="2448"/>
                  </a:lnTo>
                  <a:lnTo>
                    <a:pt x="628" y="2407"/>
                  </a:lnTo>
                  <a:lnTo>
                    <a:pt x="628" y="2344"/>
                  </a:lnTo>
                  <a:lnTo>
                    <a:pt x="670" y="2281"/>
                  </a:lnTo>
                  <a:lnTo>
                    <a:pt x="670" y="2156"/>
                  </a:lnTo>
                  <a:lnTo>
                    <a:pt x="733" y="1988"/>
                  </a:lnTo>
                  <a:lnTo>
                    <a:pt x="691" y="1842"/>
                  </a:lnTo>
                  <a:lnTo>
                    <a:pt x="754" y="1821"/>
                  </a:lnTo>
                  <a:lnTo>
                    <a:pt x="754" y="1674"/>
                  </a:lnTo>
                  <a:lnTo>
                    <a:pt x="775" y="1549"/>
                  </a:lnTo>
                  <a:lnTo>
                    <a:pt x="775" y="1465"/>
                  </a:lnTo>
                  <a:lnTo>
                    <a:pt x="775" y="1214"/>
                  </a:lnTo>
                  <a:lnTo>
                    <a:pt x="754" y="1235"/>
                  </a:lnTo>
                  <a:lnTo>
                    <a:pt x="670" y="1235"/>
                  </a:lnTo>
                  <a:lnTo>
                    <a:pt x="565" y="1298"/>
                  </a:lnTo>
                  <a:lnTo>
                    <a:pt x="524" y="1235"/>
                  </a:lnTo>
                  <a:lnTo>
                    <a:pt x="545" y="1047"/>
                  </a:lnTo>
                  <a:lnTo>
                    <a:pt x="545" y="796"/>
                  </a:lnTo>
                  <a:lnTo>
                    <a:pt x="524" y="712"/>
                  </a:lnTo>
                  <a:lnTo>
                    <a:pt x="545" y="565"/>
                  </a:lnTo>
                  <a:lnTo>
                    <a:pt x="670" y="565"/>
                  </a:lnTo>
                  <a:lnTo>
                    <a:pt x="691" y="670"/>
                  </a:lnTo>
                  <a:lnTo>
                    <a:pt x="754" y="670"/>
                  </a:lnTo>
                  <a:lnTo>
                    <a:pt x="837" y="607"/>
                  </a:lnTo>
                  <a:lnTo>
                    <a:pt x="837" y="524"/>
                  </a:lnTo>
                  <a:lnTo>
                    <a:pt x="796" y="482"/>
                  </a:lnTo>
                  <a:lnTo>
                    <a:pt x="775" y="377"/>
                  </a:lnTo>
                  <a:lnTo>
                    <a:pt x="837" y="210"/>
                  </a:lnTo>
                  <a:lnTo>
                    <a:pt x="858" y="63"/>
                  </a:lnTo>
                  <a:lnTo>
                    <a:pt x="87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3" name="Google Shape;2093;p66"/>
            <p:cNvSpPr/>
            <p:nvPr/>
          </p:nvSpPr>
          <p:spPr>
            <a:xfrm>
              <a:off x="3982781" y="2916668"/>
              <a:ext cx="2751" cy="5959"/>
            </a:xfrm>
            <a:custGeom>
              <a:avLst/>
              <a:gdLst/>
              <a:ahLst/>
              <a:cxnLst/>
              <a:rect l="l" t="t" r="r" b="b"/>
              <a:pathLst>
                <a:path w="231" h="524" extrusionOk="0">
                  <a:moveTo>
                    <a:pt x="105" y="0"/>
                  </a:moveTo>
                  <a:lnTo>
                    <a:pt x="84" y="63"/>
                  </a:lnTo>
                  <a:lnTo>
                    <a:pt x="63" y="210"/>
                  </a:lnTo>
                  <a:lnTo>
                    <a:pt x="1" y="377"/>
                  </a:lnTo>
                  <a:lnTo>
                    <a:pt x="22" y="482"/>
                  </a:lnTo>
                  <a:lnTo>
                    <a:pt x="63" y="524"/>
                  </a:lnTo>
                  <a:lnTo>
                    <a:pt x="84" y="524"/>
                  </a:lnTo>
                  <a:lnTo>
                    <a:pt x="126" y="482"/>
                  </a:lnTo>
                  <a:lnTo>
                    <a:pt x="210" y="419"/>
                  </a:lnTo>
                  <a:lnTo>
                    <a:pt x="231" y="314"/>
                  </a:lnTo>
                  <a:lnTo>
                    <a:pt x="210" y="105"/>
                  </a:lnTo>
                  <a:lnTo>
                    <a:pt x="126" y="42"/>
                  </a:lnTo>
                  <a:lnTo>
                    <a:pt x="10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4" name="Google Shape;2094;p66"/>
            <p:cNvSpPr/>
            <p:nvPr/>
          </p:nvSpPr>
          <p:spPr>
            <a:xfrm>
              <a:off x="3979792" y="2923093"/>
              <a:ext cx="3751" cy="8336"/>
            </a:xfrm>
            <a:custGeom>
              <a:avLst/>
              <a:gdLst/>
              <a:ahLst/>
              <a:cxnLst/>
              <a:rect l="l" t="t" r="r" b="b"/>
              <a:pathLst>
                <a:path w="315" h="733" extrusionOk="0">
                  <a:moveTo>
                    <a:pt x="22" y="0"/>
                  </a:moveTo>
                  <a:lnTo>
                    <a:pt x="1" y="147"/>
                  </a:lnTo>
                  <a:lnTo>
                    <a:pt x="22" y="231"/>
                  </a:lnTo>
                  <a:lnTo>
                    <a:pt x="22" y="482"/>
                  </a:lnTo>
                  <a:lnTo>
                    <a:pt x="1" y="670"/>
                  </a:lnTo>
                  <a:lnTo>
                    <a:pt x="42" y="733"/>
                  </a:lnTo>
                  <a:lnTo>
                    <a:pt x="147" y="670"/>
                  </a:lnTo>
                  <a:lnTo>
                    <a:pt x="231" y="670"/>
                  </a:lnTo>
                  <a:lnTo>
                    <a:pt x="252" y="649"/>
                  </a:lnTo>
                  <a:lnTo>
                    <a:pt x="273" y="440"/>
                  </a:lnTo>
                  <a:lnTo>
                    <a:pt x="273" y="356"/>
                  </a:lnTo>
                  <a:lnTo>
                    <a:pt x="314" y="210"/>
                  </a:lnTo>
                  <a:lnTo>
                    <a:pt x="314" y="147"/>
                  </a:lnTo>
                  <a:lnTo>
                    <a:pt x="314" y="63"/>
                  </a:lnTo>
                  <a:lnTo>
                    <a:pt x="314" y="42"/>
                  </a:lnTo>
                  <a:lnTo>
                    <a:pt x="231" y="105"/>
                  </a:lnTo>
                  <a:lnTo>
                    <a:pt x="168" y="105"/>
                  </a:lnTo>
                  <a:lnTo>
                    <a:pt x="14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5" name="Google Shape;2095;p66"/>
            <p:cNvSpPr/>
            <p:nvPr/>
          </p:nvSpPr>
          <p:spPr>
            <a:xfrm>
              <a:off x="3979792" y="2907627"/>
              <a:ext cx="8978" cy="10713"/>
            </a:xfrm>
            <a:custGeom>
              <a:avLst/>
              <a:gdLst/>
              <a:ahLst/>
              <a:cxnLst/>
              <a:rect l="l" t="t" r="r" b="b"/>
              <a:pathLst>
                <a:path w="754" h="942" extrusionOk="0">
                  <a:moveTo>
                    <a:pt x="314" y="0"/>
                  </a:moveTo>
                  <a:lnTo>
                    <a:pt x="314" y="21"/>
                  </a:lnTo>
                  <a:lnTo>
                    <a:pt x="231" y="21"/>
                  </a:lnTo>
                  <a:lnTo>
                    <a:pt x="210" y="440"/>
                  </a:lnTo>
                  <a:lnTo>
                    <a:pt x="105" y="586"/>
                  </a:lnTo>
                  <a:lnTo>
                    <a:pt x="1" y="733"/>
                  </a:lnTo>
                  <a:lnTo>
                    <a:pt x="1" y="879"/>
                  </a:lnTo>
                  <a:lnTo>
                    <a:pt x="1" y="900"/>
                  </a:lnTo>
                  <a:lnTo>
                    <a:pt x="42" y="942"/>
                  </a:lnTo>
                  <a:lnTo>
                    <a:pt x="231" y="900"/>
                  </a:lnTo>
                  <a:lnTo>
                    <a:pt x="314" y="795"/>
                  </a:lnTo>
                  <a:lnTo>
                    <a:pt x="377" y="795"/>
                  </a:lnTo>
                  <a:lnTo>
                    <a:pt x="461" y="670"/>
                  </a:lnTo>
                  <a:lnTo>
                    <a:pt x="524" y="523"/>
                  </a:lnTo>
                  <a:lnTo>
                    <a:pt x="628" y="440"/>
                  </a:lnTo>
                  <a:lnTo>
                    <a:pt x="670" y="440"/>
                  </a:lnTo>
                  <a:lnTo>
                    <a:pt x="754" y="419"/>
                  </a:lnTo>
                  <a:lnTo>
                    <a:pt x="691" y="335"/>
                  </a:lnTo>
                  <a:lnTo>
                    <a:pt x="691" y="168"/>
                  </a:lnTo>
                  <a:lnTo>
                    <a:pt x="586" y="126"/>
                  </a:lnTo>
                  <a:lnTo>
                    <a:pt x="54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6" name="Google Shape;2096;p66"/>
            <p:cNvSpPr/>
            <p:nvPr/>
          </p:nvSpPr>
          <p:spPr>
            <a:xfrm>
              <a:off x="3980292" y="2915952"/>
              <a:ext cx="27661" cy="32616"/>
            </a:xfrm>
            <a:custGeom>
              <a:avLst/>
              <a:gdLst/>
              <a:ahLst/>
              <a:cxnLst/>
              <a:rect l="l" t="t" r="r" b="b"/>
              <a:pathLst>
                <a:path w="2323" h="2868" extrusionOk="0">
                  <a:moveTo>
                    <a:pt x="2051" y="1"/>
                  </a:moveTo>
                  <a:lnTo>
                    <a:pt x="900" y="691"/>
                  </a:lnTo>
                  <a:lnTo>
                    <a:pt x="816" y="670"/>
                  </a:lnTo>
                  <a:lnTo>
                    <a:pt x="796" y="670"/>
                  </a:lnTo>
                  <a:lnTo>
                    <a:pt x="649" y="566"/>
                  </a:lnTo>
                  <a:lnTo>
                    <a:pt x="482" y="482"/>
                  </a:lnTo>
                  <a:lnTo>
                    <a:pt x="419" y="482"/>
                  </a:lnTo>
                  <a:lnTo>
                    <a:pt x="335" y="545"/>
                  </a:lnTo>
                  <a:lnTo>
                    <a:pt x="293" y="587"/>
                  </a:lnTo>
                  <a:lnTo>
                    <a:pt x="272" y="587"/>
                  </a:lnTo>
                  <a:lnTo>
                    <a:pt x="272" y="670"/>
                  </a:lnTo>
                  <a:lnTo>
                    <a:pt x="272" y="691"/>
                  </a:lnTo>
                  <a:lnTo>
                    <a:pt x="272" y="775"/>
                  </a:lnTo>
                  <a:lnTo>
                    <a:pt x="272" y="838"/>
                  </a:lnTo>
                  <a:lnTo>
                    <a:pt x="231" y="984"/>
                  </a:lnTo>
                  <a:lnTo>
                    <a:pt x="231" y="1068"/>
                  </a:lnTo>
                  <a:lnTo>
                    <a:pt x="210" y="1528"/>
                  </a:lnTo>
                  <a:lnTo>
                    <a:pt x="210" y="1612"/>
                  </a:lnTo>
                  <a:lnTo>
                    <a:pt x="189" y="1737"/>
                  </a:lnTo>
                  <a:lnTo>
                    <a:pt x="189" y="1884"/>
                  </a:lnTo>
                  <a:lnTo>
                    <a:pt x="126" y="1905"/>
                  </a:lnTo>
                  <a:lnTo>
                    <a:pt x="168" y="2051"/>
                  </a:lnTo>
                  <a:lnTo>
                    <a:pt x="105" y="2219"/>
                  </a:lnTo>
                  <a:lnTo>
                    <a:pt x="105" y="2344"/>
                  </a:lnTo>
                  <a:lnTo>
                    <a:pt x="63" y="2407"/>
                  </a:lnTo>
                  <a:lnTo>
                    <a:pt x="63" y="2470"/>
                  </a:lnTo>
                  <a:lnTo>
                    <a:pt x="63" y="2553"/>
                  </a:lnTo>
                  <a:lnTo>
                    <a:pt x="0" y="2679"/>
                  </a:lnTo>
                  <a:lnTo>
                    <a:pt x="0" y="2721"/>
                  </a:lnTo>
                  <a:lnTo>
                    <a:pt x="189" y="2721"/>
                  </a:lnTo>
                  <a:lnTo>
                    <a:pt x="754" y="2867"/>
                  </a:lnTo>
                  <a:lnTo>
                    <a:pt x="1172" y="2449"/>
                  </a:lnTo>
                  <a:lnTo>
                    <a:pt x="1633" y="2407"/>
                  </a:lnTo>
                  <a:lnTo>
                    <a:pt x="1653" y="2219"/>
                  </a:lnTo>
                  <a:lnTo>
                    <a:pt x="1884" y="1926"/>
                  </a:lnTo>
                  <a:lnTo>
                    <a:pt x="1235" y="1214"/>
                  </a:lnTo>
                  <a:lnTo>
                    <a:pt x="2093" y="963"/>
                  </a:lnTo>
                  <a:lnTo>
                    <a:pt x="2302" y="754"/>
                  </a:lnTo>
                  <a:lnTo>
                    <a:pt x="2323" y="754"/>
                  </a:lnTo>
                  <a:lnTo>
                    <a:pt x="205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7" name="Google Shape;2097;p66"/>
            <p:cNvSpPr/>
            <p:nvPr/>
          </p:nvSpPr>
          <p:spPr>
            <a:xfrm>
              <a:off x="3979792" y="2924515"/>
              <a:ext cx="142521" cy="114714"/>
            </a:xfrm>
            <a:custGeom>
              <a:avLst/>
              <a:gdLst/>
              <a:ahLst/>
              <a:cxnLst/>
              <a:rect l="l" t="t" r="r" b="b"/>
              <a:pathLst>
                <a:path w="11969" h="10087" extrusionOk="0">
                  <a:moveTo>
                    <a:pt x="2344" y="1"/>
                  </a:moveTo>
                  <a:lnTo>
                    <a:pt x="2135" y="210"/>
                  </a:lnTo>
                  <a:lnTo>
                    <a:pt x="1277" y="461"/>
                  </a:lnTo>
                  <a:lnTo>
                    <a:pt x="1926" y="1173"/>
                  </a:lnTo>
                  <a:lnTo>
                    <a:pt x="1695" y="1466"/>
                  </a:lnTo>
                  <a:lnTo>
                    <a:pt x="1675" y="1654"/>
                  </a:lnTo>
                  <a:lnTo>
                    <a:pt x="1214" y="1696"/>
                  </a:lnTo>
                  <a:lnTo>
                    <a:pt x="796" y="2114"/>
                  </a:lnTo>
                  <a:lnTo>
                    <a:pt x="231" y="1968"/>
                  </a:lnTo>
                  <a:lnTo>
                    <a:pt x="42" y="1968"/>
                  </a:lnTo>
                  <a:lnTo>
                    <a:pt x="42" y="2177"/>
                  </a:lnTo>
                  <a:lnTo>
                    <a:pt x="42" y="2407"/>
                  </a:lnTo>
                  <a:lnTo>
                    <a:pt x="1" y="2595"/>
                  </a:lnTo>
                  <a:lnTo>
                    <a:pt x="1" y="2637"/>
                  </a:lnTo>
                  <a:lnTo>
                    <a:pt x="63" y="2616"/>
                  </a:lnTo>
                  <a:lnTo>
                    <a:pt x="105" y="2637"/>
                  </a:lnTo>
                  <a:lnTo>
                    <a:pt x="168" y="2595"/>
                  </a:lnTo>
                  <a:lnTo>
                    <a:pt x="314" y="2658"/>
                  </a:lnTo>
                  <a:lnTo>
                    <a:pt x="273" y="2700"/>
                  </a:lnTo>
                  <a:lnTo>
                    <a:pt x="524" y="2972"/>
                  </a:lnTo>
                  <a:lnTo>
                    <a:pt x="545" y="3119"/>
                  </a:lnTo>
                  <a:lnTo>
                    <a:pt x="628" y="3139"/>
                  </a:lnTo>
                  <a:lnTo>
                    <a:pt x="628" y="3244"/>
                  </a:lnTo>
                  <a:lnTo>
                    <a:pt x="754" y="3349"/>
                  </a:lnTo>
                  <a:lnTo>
                    <a:pt x="838" y="3370"/>
                  </a:lnTo>
                  <a:lnTo>
                    <a:pt x="984" y="3663"/>
                  </a:lnTo>
                  <a:lnTo>
                    <a:pt x="984" y="3746"/>
                  </a:lnTo>
                  <a:lnTo>
                    <a:pt x="1047" y="3851"/>
                  </a:lnTo>
                  <a:lnTo>
                    <a:pt x="1110" y="3851"/>
                  </a:lnTo>
                  <a:lnTo>
                    <a:pt x="1151" y="3997"/>
                  </a:lnTo>
                  <a:lnTo>
                    <a:pt x="1193" y="4081"/>
                  </a:lnTo>
                  <a:lnTo>
                    <a:pt x="1319" y="4123"/>
                  </a:lnTo>
                  <a:lnTo>
                    <a:pt x="1423" y="4416"/>
                  </a:lnTo>
                  <a:lnTo>
                    <a:pt x="1528" y="4479"/>
                  </a:lnTo>
                  <a:lnTo>
                    <a:pt x="1570" y="4625"/>
                  </a:lnTo>
                  <a:lnTo>
                    <a:pt x="1528" y="4709"/>
                  </a:lnTo>
                  <a:lnTo>
                    <a:pt x="1528" y="4792"/>
                  </a:lnTo>
                  <a:lnTo>
                    <a:pt x="1633" y="4897"/>
                  </a:lnTo>
                  <a:lnTo>
                    <a:pt x="1633" y="4960"/>
                  </a:lnTo>
                  <a:lnTo>
                    <a:pt x="1716" y="5023"/>
                  </a:lnTo>
                  <a:lnTo>
                    <a:pt x="1821" y="4939"/>
                  </a:lnTo>
                  <a:lnTo>
                    <a:pt x="1926" y="5043"/>
                  </a:lnTo>
                  <a:lnTo>
                    <a:pt x="2114" y="5127"/>
                  </a:lnTo>
                  <a:lnTo>
                    <a:pt x="2260" y="5274"/>
                  </a:lnTo>
                  <a:lnTo>
                    <a:pt x="2323" y="5378"/>
                  </a:lnTo>
                  <a:lnTo>
                    <a:pt x="2344" y="5420"/>
                  </a:lnTo>
                  <a:lnTo>
                    <a:pt x="2365" y="5546"/>
                  </a:lnTo>
                  <a:lnTo>
                    <a:pt x="2428" y="5588"/>
                  </a:lnTo>
                  <a:lnTo>
                    <a:pt x="2470" y="5797"/>
                  </a:lnTo>
                  <a:lnTo>
                    <a:pt x="2574" y="5880"/>
                  </a:lnTo>
                  <a:lnTo>
                    <a:pt x="2637" y="6090"/>
                  </a:lnTo>
                  <a:lnTo>
                    <a:pt x="2658" y="6173"/>
                  </a:lnTo>
                  <a:lnTo>
                    <a:pt x="2616" y="6362"/>
                  </a:lnTo>
                  <a:lnTo>
                    <a:pt x="2574" y="6383"/>
                  </a:lnTo>
                  <a:lnTo>
                    <a:pt x="2616" y="6487"/>
                  </a:lnTo>
                  <a:lnTo>
                    <a:pt x="2658" y="6696"/>
                  </a:lnTo>
                  <a:lnTo>
                    <a:pt x="2679" y="6906"/>
                  </a:lnTo>
                  <a:lnTo>
                    <a:pt x="2783" y="7010"/>
                  </a:lnTo>
                  <a:lnTo>
                    <a:pt x="2825" y="7094"/>
                  </a:lnTo>
                  <a:lnTo>
                    <a:pt x="3097" y="7408"/>
                  </a:lnTo>
                  <a:lnTo>
                    <a:pt x="3202" y="7429"/>
                  </a:lnTo>
                  <a:lnTo>
                    <a:pt x="3307" y="7450"/>
                  </a:lnTo>
                  <a:lnTo>
                    <a:pt x="3390" y="7554"/>
                  </a:lnTo>
                  <a:lnTo>
                    <a:pt x="3474" y="7554"/>
                  </a:lnTo>
                  <a:lnTo>
                    <a:pt x="3620" y="7680"/>
                  </a:lnTo>
                  <a:lnTo>
                    <a:pt x="3620" y="7784"/>
                  </a:lnTo>
                  <a:lnTo>
                    <a:pt x="3788" y="7826"/>
                  </a:lnTo>
                  <a:lnTo>
                    <a:pt x="3767" y="7889"/>
                  </a:lnTo>
                  <a:lnTo>
                    <a:pt x="3830" y="7931"/>
                  </a:lnTo>
                  <a:lnTo>
                    <a:pt x="3976" y="8412"/>
                  </a:lnTo>
                  <a:lnTo>
                    <a:pt x="4102" y="8496"/>
                  </a:lnTo>
                  <a:lnTo>
                    <a:pt x="4102" y="8663"/>
                  </a:lnTo>
                  <a:lnTo>
                    <a:pt x="4541" y="9082"/>
                  </a:lnTo>
                  <a:lnTo>
                    <a:pt x="4604" y="9082"/>
                  </a:lnTo>
                  <a:lnTo>
                    <a:pt x="4646" y="9333"/>
                  </a:lnTo>
                  <a:lnTo>
                    <a:pt x="4834" y="9396"/>
                  </a:lnTo>
                  <a:lnTo>
                    <a:pt x="4939" y="9668"/>
                  </a:lnTo>
                  <a:lnTo>
                    <a:pt x="5043" y="9709"/>
                  </a:lnTo>
                  <a:lnTo>
                    <a:pt x="5127" y="9730"/>
                  </a:lnTo>
                  <a:lnTo>
                    <a:pt x="5169" y="9626"/>
                  </a:lnTo>
                  <a:lnTo>
                    <a:pt x="5336" y="9521"/>
                  </a:lnTo>
                  <a:lnTo>
                    <a:pt x="5232" y="9312"/>
                  </a:lnTo>
                  <a:lnTo>
                    <a:pt x="5294" y="9040"/>
                  </a:lnTo>
                  <a:lnTo>
                    <a:pt x="5462" y="8977"/>
                  </a:lnTo>
                  <a:lnTo>
                    <a:pt x="5650" y="9124"/>
                  </a:lnTo>
                  <a:lnTo>
                    <a:pt x="5985" y="9124"/>
                  </a:lnTo>
                  <a:lnTo>
                    <a:pt x="6487" y="9333"/>
                  </a:lnTo>
                  <a:lnTo>
                    <a:pt x="7010" y="9563"/>
                  </a:lnTo>
                  <a:lnTo>
                    <a:pt x="7031" y="10086"/>
                  </a:lnTo>
                  <a:lnTo>
                    <a:pt x="8077" y="8684"/>
                  </a:lnTo>
                  <a:lnTo>
                    <a:pt x="10253" y="8036"/>
                  </a:lnTo>
                  <a:lnTo>
                    <a:pt x="11885" y="7554"/>
                  </a:lnTo>
                  <a:lnTo>
                    <a:pt x="11969" y="6299"/>
                  </a:lnTo>
                  <a:lnTo>
                    <a:pt x="11843" y="5839"/>
                  </a:lnTo>
                  <a:lnTo>
                    <a:pt x="11655" y="5985"/>
                  </a:lnTo>
                  <a:lnTo>
                    <a:pt x="9960" y="5755"/>
                  </a:lnTo>
                  <a:lnTo>
                    <a:pt x="9835" y="5274"/>
                  </a:lnTo>
                  <a:lnTo>
                    <a:pt x="9688" y="5127"/>
                  </a:lnTo>
                  <a:lnTo>
                    <a:pt x="9688" y="4939"/>
                  </a:lnTo>
                  <a:lnTo>
                    <a:pt x="9688" y="4918"/>
                  </a:lnTo>
                  <a:lnTo>
                    <a:pt x="9667" y="4939"/>
                  </a:lnTo>
                  <a:lnTo>
                    <a:pt x="9625" y="4855"/>
                  </a:lnTo>
                  <a:lnTo>
                    <a:pt x="9625" y="4792"/>
                  </a:lnTo>
                  <a:lnTo>
                    <a:pt x="9667" y="4730"/>
                  </a:lnTo>
                  <a:lnTo>
                    <a:pt x="9563" y="4730"/>
                  </a:lnTo>
                  <a:lnTo>
                    <a:pt x="9563" y="4709"/>
                  </a:lnTo>
                  <a:lnTo>
                    <a:pt x="9458" y="4709"/>
                  </a:lnTo>
                  <a:lnTo>
                    <a:pt x="9270" y="4604"/>
                  </a:lnTo>
                  <a:lnTo>
                    <a:pt x="9249" y="4541"/>
                  </a:lnTo>
                  <a:lnTo>
                    <a:pt x="9228" y="4583"/>
                  </a:lnTo>
                  <a:lnTo>
                    <a:pt x="9123" y="4437"/>
                  </a:lnTo>
                  <a:lnTo>
                    <a:pt x="9102" y="4290"/>
                  </a:lnTo>
                  <a:lnTo>
                    <a:pt x="8809" y="3914"/>
                  </a:lnTo>
                  <a:lnTo>
                    <a:pt x="8726" y="3788"/>
                  </a:lnTo>
                  <a:lnTo>
                    <a:pt x="8809" y="3788"/>
                  </a:lnTo>
                  <a:lnTo>
                    <a:pt x="8809" y="3746"/>
                  </a:lnTo>
                  <a:lnTo>
                    <a:pt x="8705" y="3453"/>
                  </a:lnTo>
                  <a:lnTo>
                    <a:pt x="8705" y="3391"/>
                  </a:lnTo>
                  <a:lnTo>
                    <a:pt x="8621" y="3265"/>
                  </a:lnTo>
                  <a:lnTo>
                    <a:pt x="8579" y="3265"/>
                  </a:lnTo>
                  <a:lnTo>
                    <a:pt x="8391" y="3014"/>
                  </a:lnTo>
                  <a:lnTo>
                    <a:pt x="8307" y="3014"/>
                  </a:lnTo>
                  <a:lnTo>
                    <a:pt x="8224" y="2909"/>
                  </a:lnTo>
                  <a:lnTo>
                    <a:pt x="8224" y="2867"/>
                  </a:lnTo>
                  <a:lnTo>
                    <a:pt x="8286" y="2867"/>
                  </a:lnTo>
                  <a:lnTo>
                    <a:pt x="8307" y="2909"/>
                  </a:lnTo>
                  <a:lnTo>
                    <a:pt x="8286" y="2826"/>
                  </a:lnTo>
                  <a:lnTo>
                    <a:pt x="8182" y="2805"/>
                  </a:lnTo>
                  <a:lnTo>
                    <a:pt x="7973" y="2763"/>
                  </a:lnTo>
                  <a:lnTo>
                    <a:pt x="7868" y="2449"/>
                  </a:lnTo>
                  <a:lnTo>
                    <a:pt x="7805" y="2323"/>
                  </a:lnTo>
                  <a:lnTo>
                    <a:pt x="7742" y="2303"/>
                  </a:lnTo>
                  <a:lnTo>
                    <a:pt x="7742" y="2198"/>
                  </a:lnTo>
                  <a:lnTo>
                    <a:pt x="7701" y="2219"/>
                  </a:lnTo>
                  <a:lnTo>
                    <a:pt x="7659" y="2177"/>
                  </a:lnTo>
                  <a:lnTo>
                    <a:pt x="7282" y="2323"/>
                  </a:lnTo>
                  <a:lnTo>
                    <a:pt x="7261" y="2114"/>
                  </a:lnTo>
                  <a:lnTo>
                    <a:pt x="6738" y="1968"/>
                  </a:lnTo>
                  <a:lnTo>
                    <a:pt x="6654" y="1968"/>
                  </a:lnTo>
                  <a:lnTo>
                    <a:pt x="5566" y="1926"/>
                  </a:lnTo>
                  <a:lnTo>
                    <a:pt x="2867" y="43"/>
                  </a:lnTo>
                  <a:lnTo>
                    <a:pt x="234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sp>
          <p:nvSpPr>
            <p:cNvPr id="2098" name="Google Shape;2098;p66"/>
            <p:cNvSpPr/>
            <p:nvPr/>
          </p:nvSpPr>
          <p:spPr>
            <a:xfrm>
              <a:off x="4089663" y="2967116"/>
              <a:ext cx="5251" cy="10952"/>
            </a:xfrm>
            <a:custGeom>
              <a:avLst/>
              <a:gdLst/>
              <a:ahLst/>
              <a:cxnLst/>
              <a:rect l="l" t="t" r="r" b="b"/>
              <a:pathLst>
                <a:path w="441" h="963" extrusionOk="0">
                  <a:moveTo>
                    <a:pt x="147" y="0"/>
                  </a:moveTo>
                  <a:lnTo>
                    <a:pt x="147" y="42"/>
                  </a:lnTo>
                  <a:lnTo>
                    <a:pt x="106" y="42"/>
                  </a:lnTo>
                  <a:lnTo>
                    <a:pt x="106" y="105"/>
                  </a:lnTo>
                  <a:lnTo>
                    <a:pt x="43" y="126"/>
                  </a:lnTo>
                  <a:lnTo>
                    <a:pt x="85" y="209"/>
                  </a:lnTo>
                  <a:lnTo>
                    <a:pt x="43" y="209"/>
                  </a:lnTo>
                  <a:lnTo>
                    <a:pt x="85" y="377"/>
                  </a:lnTo>
                  <a:lnTo>
                    <a:pt x="43" y="356"/>
                  </a:lnTo>
                  <a:lnTo>
                    <a:pt x="1" y="356"/>
                  </a:lnTo>
                  <a:lnTo>
                    <a:pt x="1" y="544"/>
                  </a:lnTo>
                  <a:lnTo>
                    <a:pt x="22" y="628"/>
                  </a:lnTo>
                  <a:lnTo>
                    <a:pt x="43" y="670"/>
                  </a:lnTo>
                  <a:lnTo>
                    <a:pt x="43" y="795"/>
                  </a:lnTo>
                  <a:lnTo>
                    <a:pt x="22" y="795"/>
                  </a:lnTo>
                  <a:lnTo>
                    <a:pt x="43" y="858"/>
                  </a:lnTo>
                  <a:lnTo>
                    <a:pt x="231" y="963"/>
                  </a:lnTo>
                  <a:lnTo>
                    <a:pt x="336" y="963"/>
                  </a:lnTo>
                  <a:lnTo>
                    <a:pt x="398" y="942"/>
                  </a:lnTo>
                  <a:lnTo>
                    <a:pt x="440" y="670"/>
                  </a:lnTo>
                  <a:lnTo>
                    <a:pt x="398" y="544"/>
                  </a:lnTo>
                  <a:lnTo>
                    <a:pt x="336" y="544"/>
                  </a:lnTo>
                  <a:lnTo>
                    <a:pt x="315" y="356"/>
                  </a:lnTo>
                  <a:lnTo>
                    <a:pt x="336" y="356"/>
                  </a:lnTo>
                  <a:lnTo>
                    <a:pt x="398" y="168"/>
                  </a:lnTo>
                  <a:lnTo>
                    <a:pt x="357" y="126"/>
                  </a:lnTo>
                  <a:lnTo>
                    <a:pt x="315" y="126"/>
                  </a:lnTo>
                  <a:lnTo>
                    <a:pt x="315" y="63"/>
                  </a:lnTo>
                  <a:lnTo>
                    <a:pt x="21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099" name="Google Shape;2099;p66"/>
            <p:cNvSpPr/>
            <p:nvPr/>
          </p:nvSpPr>
          <p:spPr>
            <a:xfrm>
              <a:off x="4095152" y="2967833"/>
              <a:ext cx="32900" cy="24758"/>
            </a:xfrm>
            <a:custGeom>
              <a:avLst/>
              <a:gdLst/>
              <a:ahLst/>
              <a:cxnLst/>
              <a:rect l="l" t="t" r="r" b="b"/>
              <a:pathLst>
                <a:path w="2763" h="2177" extrusionOk="0">
                  <a:moveTo>
                    <a:pt x="2490" y="0"/>
                  </a:moveTo>
                  <a:lnTo>
                    <a:pt x="2490" y="84"/>
                  </a:lnTo>
                  <a:lnTo>
                    <a:pt x="2469" y="146"/>
                  </a:lnTo>
                  <a:lnTo>
                    <a:pt x="2093" y="356"/>
                  </a:lnTo>
                  <a:lnTo>
                    <a:pt x="2093" y="502"/>
                  </a:lnTo>
                  <a:lnTo>
                    <a:pt x="1779" y="795"/>
                  </a:lnTo>
                  <a:lnTo>
                    <a:pt x="1737" y="879"/>
                  </a:lnTo>
                  <a:lnTo>
                    <a:pt x="1779" y="900"/>
                  </a:lnTo>
                  <a:lnTo>
                    <a:pt x="1821" y="983"/>
                  </a:lnTo>
                  <a:lnTo>
                    <a:pt x="1653" y="1130"/>
                  </a:lnTo>
                  <a:lnTo>
                    <a:pt x="1611" y="1046"/>
                  </a:lnTo>
                  <a:lnTo>
                    <a:pt x="1549" y="1088"/>
                  </a:lnTo>
                  <a:lnTo>
                    <a:pt x="1465" y="1088"/>
                  </a:lnTo>
                  <a:lnTo>
                    <a:pt x="1507" y="1193"/>
                  </a:lnTo>
                  <a:lnTo>
                    <a:pt x="1444" y="1193"/>
                  </a:lnTo>
                  <a:lnTo>
                    <a:pt x="1423" y="1234"/>
                  </a:lnTo>
                  <a:lnTo>
                    <a:pt x="1256" y="1255"/>
                  </a:lnTo>
                  <a:lnTo>
                    <a:pt x="1130" y="1297"/>
                  </a:lnTo>
                  <a:lnTo>
                    <a:pt x="1088" y="1214"/>
                  </a:lnTo>
                  <a:lnTo>
                    <a:pt x="837" y="1214"/>
                  </a:lnTo>
                  <a:lnTo>
                    <a:pt x="628" y="1151"/>
                  </a:lnTo>
                  <a:lnTo>
                    <a:pt x="398" y="1339"/>
                  </a:lnTo>
                  <a:lnTo>
                    <a:pt x="314" y="1318"/>
                  </a:lnTo>
                  <a:lnTo>
                    <a:pt x="251" y="1318"/>
                  </a:lnTo>
                  <a:lnTo>
                    <a:pt x="147" y="1360"/>
                  </a:lnTo>
                  <a:lnTo>
                    <a:pt x="105" y="1109"/>
                  </a:lnTo>
                  <a:lnTo>
                    <a:pt x="63" y="1151"/>
                  </a:lnTo>
                  <a:lnTo>
                    <a:pt x="0" y="1130"/>
                  </a:lnTo>
                  <a:lnTo>
                    <a:pt x="0" y="1318"/>
                  </a:lnTo>
                  <a:lnTo>
                    <a:pt x="147" y="1465"/>
                  </a:lnTo>
                  <a:lnTo>
                    <a:pt x="272" y="1946"/>
                  </a:lnTo>
                  <a:lnTo>
                    <a:pt x="1967" y="2176"/>
                  </a:lnTo>
                  <a:lnTo>
                    <a:pt x="2155" y="2030"/>
                  </a:lnTo>
                  <a:lnTo>
                    <a:pt x="2658" y="502"/>
                  </a:lnTo>
                  <a:lnTo>
                    <a:pt x="2762" y="481"/>
                  </a:lnTo>
                  <a:lnTo>
                    <a:pt x="2762" y="314"/>
                  </a:lnTo>
                  <a:lnTo>
                    <a:pt x="2720" y="251"/>
                  </a:lnTo>
                  <a:lnTo>
                    <a:pt x="2678" y="272"/>
                  </a:lnTo>
                  <a:lnTo>
                    <a:pt x="2658" y="251"/>
                  </a:lnTo>
                  <a:lnTo>
                    <a:pt x="2595" y="209"/>
                  </a:lnTo>
                  <a:lnTo>
                    <a:pt x="2574" y="42"/>
                  </a:lnTo>
                  <a:lnTo>
                    <a:pt x="249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0" name="Google Shape;2100;p66"/>
            <p:cNvSpPr/>
            <p:nvPr/>
          </p:nvSpPr>
          <p:spPr>
            <a:xfrm>
              <a:off x="4101380" y="2973303"/>
              <a:ext cx="51583" cy="60684"/>
            </a:xfrm>
            <a:custGeom>
              <a:avLst/>
              <a:gdLst/>
              <a:ahLst/>
              <a:cxnLst/>
              <a:rect l="l" t="t" r="r" b="b"/>
              <a:pathLst>
                <a:path w="4332" h="5336" extrusionOk="0">
                  <a:moveTo>
                    <a:pt x="2239" y="0"/>
                  </a:moveTo>
                  <a:lnTo>
                    <a:pt x="2135" y="21"/>
                  </a:lnTo>
                  <a:lnTo>
                    <a:pt x="1632" y="1549"/>
                  </a:lnTo>
                  <a:lnTo>
                    <a:pt x="1758" y="2009"/>
                  </a:lnTo>
                  <a:lnTo>
                    <a:pt x="1674" y="3264"/>
                  </a:lnTo>
                  <a:lnTo>
                    <a:pt x="42" y="3746"/>
                  </a:lnTo>
                  <a:lnTo>
                    <a:pt x="0" y="4018"/>
                  </a:lnTo>
                  <a:lnTo>
                    <a:pt x="523" y="4708"/>
                  </a:lnTo>
                  <a:lnTo>
                    <a:pt x="461" y="4938"/>
                  </a:lnTo>
                  <a:lnTo>
                    <a:pt x="795" y="5336"/>
                  </a:lnTo>
                  <a:lnTo>
                    <a:pt x="879" y="5315"/>
                  </a:lnTo>
                  <a:lnTo>
                    <a:pt x="900" y="5336"/>
                  </a:lnTo>
                  <a:lnTo>
                    <a:pt x="1005" y="5336"/>
                  </a:lnTo>
                  <a:lnTo>
                    <a:pt x="1088" y="5231"/>
                  </a:lnTo>
                  <a:lnTo>
                    <a:pt x="1214" y="5231"/>
                  </a:lnTo>
                  <a:lnTo>
                    <a:pt x="1423" y="5127"/>
                  </a:lnTo>
                  <a:lnTo>
                    <a:pt x="1528" y="5127"/>
                  </a:lnTo>
                  <a:lnTo>
                    <a:pt x="1632" y="5106"/>
                  </a:lnTo>
                  <a:lnTo>
                    <a:pt x="1716" y="5147"/>
                  </a:lnTo>
                  <a:lnTo>
                    <a:pt x="1779" y="5147"/>
                  </a:lnTo>
                  <a:lnTo>
                    <a:pt x="1925" y="4938"/>
                  </a:lnTo>
                  <a:lnTo>
                    <a:pt x="1925" y="4917"/>
                  </a:lnTo>
                  <a:lnTo>
                    <a:pt x="1946" y="4917"/>
                  </a:lnTo>
                  <a:lnTo>
                    <a:pt x="1946" y="4834"/>
                  </a:lnTo>
                  <a:lnTo>
                    <a:pt x="1883" y="4813"/>
                  </a:lnTo>
                  <a:lnTo>
                    <a:pt x="1925" y="4750"/>
                  </a:lnTo>
                  <a:lnTo>
                    <a:pt x="1883" y="4687"/>
                  </a:lnTo>
                  <a:lnTo>
                    <a:pt x="1967" y="4603"/>
                  </a:lnTo>
                  <a:lnTo>
                    <a:pt x="2030" y="4541"/>
                  </a:lnTo>
                  <a:lnTo>
                    <a:pt x="2239" y="4541"/>
                  </a:lnTo>
                  <a:lnTo>
                    <a:pt x="2365" y="4520"/>
                  </a:lnTo>
                  <a:lnTo>
                    <a:pt x="2448" y="4583"/>
                  </a:lnTo>
                  <a:lnTo>
                    <a:pt x="2553" y="4436"/>
                  </a:lnTo>
                  <a:lnTo>
                    <a:pt x="2595" y="4415"/>
                  </a:lnTo>
                  <a:lnTo>
                    <a:pt x="2595" y="4227"/>
                  </a:lnTo>
                  <a:lnTo>
                    <a:pt x="2804" y="3976"/>
                  </a:lnTo>
                  <a:lnTo>
                    <a:pt x="2930" y="3955"/>
                  </a:lnTo>
                  <a:lnTo>
                    <a:pt x="3013" y="3976"/>
                  </a:lnTo>
                  <a:lnTo>
                    <a:pt x="3076" y="3913"/>
                  </a:lnTo>
                  <a:lnTo>
                    <a:pt x="3348" y="3913"/>
                  </a:lnTo>
                  <a:lnTo>
                    <a:pt x="3390" y="3850"/>
                  </a:lnTo>
                  <a:lnTo>
                    <a:pt x="3327" y="3808"/>
                  </a:lnTo>
                  <a:lnTo>
                    <a:pt x="3285" y="3599"/>
                  </a:lnTo>
                  <a:lnTo>
                    <a:pt x="3306" y="3599"/>
                  </a:lnTo>
                  <a:lnTo>
                    <a:pt x="3244" y="3494"/>
                  </a:lnTo>
                  <a:lnTo>
                    <a:pt x="3223" y="3474"/>
                  </a:lnTo>
                  <a:lnTo>
                    <a:pt x="3244" y="3390"/>
                  </a:lnTo>
                  <a:lnTo>
                    <a:pt x="3244" y="3285"/>
                  </a:lnTo>
                  <a:lnTo>
                    <a:pt x="3348" y="3118"/>
                  </a:lnTo>
                  <a:lnTo>
                    <a:pt x="3432" y="3076"/>
                  </a:lnTo>
                  <a:lnTo>
                    <a:pt x="3390" y="3013"/>
                  </a:lnTo>
                  <a:lnTo>
                    <a:pt x="3411" y="3013"/>
                  </a:lnTo>
                  <a:lnTo>
                    <a:pt x="3495" y="2867"/>
                  </a:lnTo>
                  <a:lnTo>
                    <a:pt x="3536" y="2846"/>
                  </a:lnTo>
                  <a:lnTo>
                    <a:pt x="3599" y="2846"/>
                  </a:lnTo>
                  <a:lnTo>
                    <a:pt x="3557" y="2909"/>
                  </a:lnTo>
                  <a:lnTo>
                    <a:pt x="3536" y="2971"/>
                  </a:lnTo>
                  <a:lnTo>
                    <a:pt x="3620" y="3013"/>
                  </a:lnTo>
                  <a:lnTo>
                    <a:pt x="3662" y="3013"/>
                  </a:lnTo>
                  <a:lnTo>
                    <a:pt x="3746" y="2804"/>
                  </a:lnTo>
                  <a:lnTo>
                    <a:pt x="3808" y="2741"/>
                  </a:lnTo>
                  <a:lnTo>
                    <a:pt x="3871" y="2616"/>
                  </a:lnTo>
                  <a:lnTo>
                    <a:pt x="4018" y="2490"/>
                  </a:lnTo>
                  <a:lnTo>
                    <a:pt x="4227" y="2134"/>
                  </a:lnTo>
                  <a:lnTo>
                    <a:pt x="4248" y="2072"/>
                  </a:lnTo>
                  <a:lnTo>
                    <a:pt x="4248" y="1988"/>
                  </a:lnTo>
                  <a:lnTo>
                    <a:pt x="4290" y="1862"/>
                  </a:lnTo>
                  <a:lnTo>
                    <a:pt x="4332" y="1758"/>
                  </a:lnTo>
                  <a:lnTo>
                    <a:pt x="4269" y="1695"/>
                  </a:lnTo>
                  <a:lnTo>
                    <a:pt x="4164" y="1674"/>
                  </a:lnTo>
                  <a:lnTo>
                    <a:pt x="3955" y="1507"/>
                  </a:lnTo>
                  <a:lnTo>
                    <a:pt x="3913" y="1402"/>
                  </a:lnTo>
                  <a:lnTo>
                    <a:pt x="3808" y="1298"/>
                  </a:lnTo>
                  <a:lnTo>
                    <a:pt x="3767" y="1151"/>
                  </a:lnTo>
                  <a:lnTo>
                    <a:pt x="3599" y="942"/>
                  </a:lnTo>
                  <a:lnTo>
                    <a:pt x="3516" y="942"/>
                  </a:lnTo>
                  <a:lnTo>
                    <a:pt x="3390" y="963"/>
                  </a:lnTo>
                  <a:lnTo>
                    <a:pt x="3118" y="921"/>
                  </a:lnTo>
                  <a:lnTo>
                    <a:pt x="3013" y="942"/>
                  </a:lnTo>
                  <a:lnTo>
                    <a:pt x="2930" y="963"/>
                  </a:lnTo>
                  <a:lnTo>
                    <a:pt x="2804" y="921"/>
                  </a:lnTo>
                  <a:lnTo>
                    <a:pt x="2469" y="649"/>
                  </a:lnTo>
                  <a:lnTo>
                    <a:pt x="2469" y="565"/>
                  </a:lnTo>
                  <a:lnTo>
                    <a:pt x="2260" y="335"/>
                  </a:lnTo>
                  <a:lnTo>
                    <a:pt x="223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1" name="Google Shape;2101;p66"/>
            <p:cNvSpPr/>
            <p:nvPr/>
          </p:nvSpPr>
          <p:spPr>
            <a:xfrm>
              <a:off x="4124802" y="2964728"/>
              <a:ext cx="2751" cy="5971"/>
            </a:xfrm>
            <a:custGeom>
              <a:avLst/>
              <a:gdLst/>
              <a:ahLst/>
              <a:cxnLst/>
              <a:rect l="l" t="t" r="r" b="b"/>
              <a:pathLst>
                <a:path w="231" h="525" extrusionOk="0">
                  <a:moveTo>
                    <a:pt x="209" y="1"/>
                  </a:moveTo>
                  <a:lnTo>
                    <a:pt x="168" y="22"/>
                  </a:lnTo>
                  <a:lnTo>
                    <a:pt x="105" y="22"/>
                  </a:lnTo>
                  <a:lnTo>
                    <a:pt x="84" y="168"/>
                  </a:lnTo>
                  <a:lnTo>
                    <a:pt x="63" y="210"/>
                  </a:lnTo>
                  <a:lnTo>
                    <a:pt x="21" y="168"/>
                  </a:lnTo>
                  <a:lnTo>
                    <a:pt x="0" y="231"/>
                  </a:lnTo>
                  <a:lnTo>
                    <a:pt x="0" y="273"/>
                  </a:lnTo>
                  <a:lnTo>
                    <a:pt x="84" y="315"/>
                  </a:lnTo>
                  <a:lnTo>
                    <a:pt x="105" y="482"/>
                  </a:lnTo>
                  <a:lnTo>
                    <a:pt x="168" y="524"/>
                  </a:lnTo>
                  <a:lnTo>
                    <a:pt x="168" y="440"/>
                  </a:lnTo>
                  <a:lnTo>
                    <a:pt x="209" y="336"/>
                  </a:lnTo>
                  <a:lnTo>
                    <a:pt x="209" y="168"/>
                  </a:lnTo>
                  <a:lnTo>
                    <a:pt x="188" y="168"/>
                  </a:lnTo>
                  <a:lnTo>
                    <a:pt x="209" y="106"/>
                  </a:lnTo>
                  <a:lnTo>
                    <a:pt x="188" y="64"/>
                  </a:lnTo>
                  <a:lnTo>
                    <a:pt x="209" y="43"/>
                  </a:lnTo>
                  <a:lnTo>
                    <a:pt x="230" y="43"/>
                  </a:lnTo>
                  <a:lnTo>
                    <a:pt x="20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2" name="Google Shape;2102;p66"/>
            <p:cNvSpPr/>
            <p:nvPr/>
          </p:nvSpPr>
          <p:spPr>
            <a:xfrm>
              <a:off x="4037591" y="3015893"/>
              <a:ext cx="73267" cy="45456"/>
            </a:xfrm>
            <a:custGeom>
              <a:avLst/>
              <a:gdLst/>
              <a:ahLst/>
              <a:cxnLst/>
              <a:rect l="l" t="t" r="r" b="b"/>
              <a:pathLst>
                <a:path w="6153" h="3997" extrusionOk="0">
                  <a:moveTo>
                    <a:pt x="5399" y="1"/>
                  </a:moveTo>
                  <a:lnTo>
                    <a:pt x="3223" y="649"/>
                  </a:lnTo>
                  <a:lnTo>
                    <a:pt x="2177" y="2051"/>
                  </a:lnTo>
                  <a:lnTo>
                    <a:pt x="2156" y="1528"/>
                  </a:lnTo>
                  <a:lnTo>
                    <a:pt x="1633" y="1298"/>
                  </a:lnTo>
                  <a:lnTo>
                    <a:pt x="1131" y="1089"/>
                  </a:lnTo>
                  <a:lnTo>
                    <a:pt x="796" y="1089"/>
                  </a:lnTo>
                  <a:lnTo>
                    <a:pt x="608" y="942"/>
                  </a:lnTo>
                  <a:lnTo>
                    <a:pt x="440" y="1005"/>
                  </a:lnTo>
                  <a:lnTo>
                    <a:pt x="378" y="1277"/>
                  </a:lnTo>
                  <a:lnTo>
                    <a:pt x="482" y="1486"/>
                  </a:lnTo>
                  <a:lnTo>
                    <a:pt x="315" y="1591"/>
                  </a:lnTo>
                  <a:lnTo>
                    <a:pt x="273" y="1695"/>
                  </a:lnTo>
                  <a:lnTo>
                    <a:pt x="189" y="1674"/>
                  </a:lnTo>
                  <a:lnTo>
                    <a:pt x="85" y="1633"/>
                  </a:lnTo>
                  <a:lnTo>
                    <a:pt x="106" y="1737"/>
                  </a:lnTo>
                  <a:lnTo>
                    <a:pt x="168" y="2030"/>
                  </a:lnTo>
                  <a:lnTo>
                    <a:pt x="168" y="2218"/>
                  </a:lnTo>
                  <a:lnTo>
                    <a:pt x="85" y="2218"/>
                  </a:lnTo>
                  <a:lnTo>
                    <a:pt x="85" y="2260"/>
                  </a:lnTo>
                  <a:lnTo>
                    <a:pt x="1" y="2239"/>
                  </a:lnTo>
                  <a:lnTo>
                    <a:pt x="1" y="2239"/>
                  </a:lnTo>
                  <a:lnTo>
                    <a:pt x="22" y="2344"/>
                  </a:lnTo>
                  <a:lnTo>
                    <a:pt x="106" y="2344"/>
                  </a:lnTo>
                  <a:lnTo>
                    <a:pt x="106" y="2428"/>
                  </a:lnTo>
                  <a:lnTo>
                    <a:pt x="231" y="2616"/>
                  </a:lnTo>
                  <a:lnTo>
                    <a:pt x="315" y="3139"/>
                  </a:lnTo>
                  <a:lnTo>
                    <a:pt x="482" y="3265"/>
                  </a:lnTo>
                  <a:lnTo>
                    <a:pt x="482" y="3453"/>
                  </a:lnTo>
                  <a:lnTo>
                    <a:pt x="419" y="3474"/>
                  </a:lnTo>
                  <a:lnTo>
                    <a:pt x="482" y="3620"/>
                  </a:lnTo>
                  <a:lnTo>
                    <a:pt x="608" y="3767"/>
                  </a:lnTo>
                  <a:lnTo>
                    <a:pt x="608" y="3913"/>
                  </a:lnTo>
                  <a:lnTo>
                    <a:pt x="650" y="3997"/>
                  </a:lnTo>
                  <a:lnTo>
                    <a:pt x="796" y="3997"/>
                  </a:lnTo>
                  <a:lnTo>
                    <a:pt x="817" y="3934"/>
                  </a:lnTo>
                  <a:lnTo>
                    <a:pt x="963" y="3997"/>
                  </a:lnTo>
                  <a:lnTo>
                    <a:pt x="1068" y="3976"/>
                  </a:lnTo>
                  <a:lnTo>
                    <a:pt x="1173" y="3871"/>
                  </a:lnTo>
                  <a:lnTo>
                    <a:pt x="1319" y="3871"/>
                  </a:lnTo>
                  <a:lnTo>
                    <a:pt x="1361" y="3934"/>
                  </a:lnTo>
                  <a:lnTo>
                    <a:pt x="1466" y="3892"/>
                  </a:lnTo>
                  <a:lnTo>
                    <a:pt x="1570" y="3725"/>
                  </a:lnTo>
                  <a:lnTo>
                    <a:pt x="1633" y="3725"/>
                  </a:lnTo>
                  <a:lnTo>
                    <a:pt x="1696" y="3579"/>
                  </a:lnTo>
                  <a:lnTo>
                    <a:pt x="1842" y="3495"/>
                  </a:lnTo>
                  <a:lnTo>
                    <a:pt x="1905" y="3474"/>
                  </a:lnTo>
                  <a:lnTo>
                    <a:pt x="2010" y="3474"/>
                  </a:lnTo>
                  <a:lnTo>
                    <a:pt x="2051" y="3495"/>
                  </a:lnTo>
                  <a:lnTo>
                    <a:pt x="2198" y="3495"/>
                  </a:lnTo>
                  <a:lnTo>
                    <a:pt x="2219" y="3558"/>
                  </a:lnTo>
                  <a:lnTo>
                    <a:pt x="2365" y="3579"/>
                  </a:lnTo>
                  <a:lnTo>
                    <a:pt x="2616" y="3474"/>
                  </a:lnTo>
                  <a:lnTo>
                    <a:pt x="2826" y="3453"/>
                  </a:lnTo>
                  <a:lnTo>
                    <a:pt x="2909" y="3369"/>
                  </a:lnTo>
                  <a:lnTo>
                    <a:pt x="2930" y="3307"/>
                  </a:lnTo>
                  <a:lnTo>
                    <a:pt x="3119" y="3160"/>
                  </a:lnTo>
                  <a:lnTo>
                    <a:pt x="3223" y="3160"/>
                  </a:lnTo>
                  <a:lnTo>
                    <a:pt x="3307" y="3202"/>
                  </a:lnTo>
                  <a:lnTo>
                    <a:pt x="3370" y="3181"/>
                  </a:lnTo>
                  <a:lnTo>
                    <a:pt x="3432" y="3139"/>
                  </a:lnTo>
                  <a:lnTo>
                    <a:pt x="3453" y="3181"/>
                  </a:lnTo>
                  <a:lnTo>
                    <a:pt x="3537" y="3181"/>
                  </a:lnTo>
                  <a:lnTo>
                    <a:pt x="3725" y="3034"/>
                  </a:lnTo>
                  <a:lnTo>
                    <a:pt x="3830" y="2846"/>
                  </a:lnTo>
                  <a:lnTo>
                    <a:pt x="3935" y="2783"/>
                  </a:lnTo>
                  <a:lnTo>
                    <a:pt x="3997" y="2783"/>
                  </a:lnTo>
                  <a:lnTo>
                    <a:pt x="4625" y="2616"/>
                  </a:lnTo>
                  <a:lnTo>
                    <a:pt x="4688" y="2532"/>
                  </a:lnTo>
                  <a:lnTo>
                    <a:pt x="5043" y="2470"/>
                  </a:lnTo>
                  <a:lnTo>
                    <a:pt x="5253" y="2365"/>
                  </a:lnTo>
                  <a:lnTo>
                    <a:pt x="5399" y="2260"/>
                  </a:lnTo>
                  <a:lnTo>
                    <a:pt x="5629" y="2218"/>
                  </a:lnTo>
                  <a:lnTo>
                    <a:pt x="5608" y="2135"/>
                  </a:lnTo>
                  <a:lnTo>
                    <a:pt x="5629" y="2114"/>
                  </a:lnTo>
                  <a:lnTo>
                    <a:pt x="5567" y="2051"/>
                  </a:lnTo>
                  <a:lnTo>
                    <a:pt x="5608" y="1905"/>
                  </a:lnTo>
                  <a:lnTo>
                    <a:pt x="5776" y="1674"/>
                  </a:lnTo>
                  <a:lnTo>
                    <a:pt x="6027" y="1612"/>
                  </a:lnTo>
                  <a:lnTo>
                    <a:pt x="6152" y="1591"/>
                  </a:lnTo>
                  <a:lnTo>
                    <a:pt x="5818" y="1193"/>
                  </a:lnTo>
                  <a:lnTo>
                    <a:pt x="5880" y="963"/>
                  </a:lnTo>
                  <a:lnTo>
                    <a:pt x="5357" y="273"/>
                  </a:lnTo>
                  <a:lnTo>
                    <a:pt x="539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3" name="Google Shape;2103;p66"/>
            <p:cNvSpPr/>
            <p:nvPr/>
          </p:nvSpPr>
          <p:spPr>
            <a:xfrm>
              <a:off x="3911526" y="2929280"/>
              <a:ext cx="85972" cy="69020"/>
            </a:xfrm>
            <a:custGeom>
              <a:avLst/>
              <a:gdLst/>
              <a:ahLst/>
              <a:cxnLst/>
              <a:rect l="l" t="t" r="r" b="b"/>
              <a:pathLst>
                <a:path w="7220" h="6069" extrusionOk="0">
                  <a:moveTo>
                    <a:pt x="503" y="0"/>
                  </a:moveTo>
                  <a:lnTo>
                    <a:pt x="210" y="21"/>
                  </a:lnTo>
                  <a:lnTo>
                    <a:pt x="147" y="21"/>
                  </a:lnTo>
                  <a:lnTo>
                    <a:pt x="126" y="126"/>
                  </a:lnTo>
                  <a:lnTo>
                    <a:pt x="84" y="356"/>
                  </a:lnTo>
                  <a:lnTo>
                    <a:pt x="126" y="523"/>
                  </a:lnTo>
                  <a:lnTo>
                    <a:pt x="126" y="649"/>
                  </a:lnTo>
                  <a:lnTo>
                    <a:pt x="42" y="858"/>
                  </a:lnTo>
                  <a:lnTo>
                    <a:pt x="1" y="1047"/>
                  </a:lnTo>
                  <a:lnTo>
                    <a:pt x="42" y="1193"/>
                  </a:lnTo>
                  <a:lnTo>
                    <a:pt x="126" y="1486"/>
                  </a:lnTo>
                  <a:lnTo>
                    <a:pt x="314" y="6068"/>
                  </a:lnTo>
                  <a:lnTo>
                    <a:pt x="7219" y="6005"/>
                  </a:lnTo>
                  <a:lnTo>
                    <a:pt x="7219" y="5985"/>
                  </a:lnTo>
                  <a:lnTo>
                    <a:pt x="7115" y="5964"/>
                  </a:lnTo>
                  <a:lnTo>
                    <a:pt x="6989" y="5796"/>
                  </a:lnTo>
                  <a:lnTo>
                    <a:pt x="6947" y="5754"/>
                  </a:lnTo>
                  <a:lnTo>
                    <a:pt x="6822" y="5692"/>
                  </a:lnTo>
                  <a:lnTo>
                    <a:pt x="6738" y="5566"/>
                  </a:lnTo>
                  <a:lnTo>
                    <a:pt x="6675" y="5587"/>
                  </a:lnTo>
                  <a:lnTo>
                    <a:pt x="6571" y="5587"/>
                  </a:lnTo>
                  <a:lnTo>
                    <a:pt x="6403" y="5461"/>
                  </a:lnTo>
                  <a:lnTo>
                    <a:pt x="6299" y="5169"/>
                  </a:lnTo>
                  <a:lnTo>
                    <a:pt x="6319" y="5106"/>
                  </a:lnTo>
                  <a:lnTo>
                    <a:pt x="6319" y="4938"/>
                  </a:lnTo>
                  <a:lnTo>
                    <a:pt x="6278" y="4855"/>
                  </a:lnTo>
                  <a:lnTo>
                    <a:pt x="6299" y="4813"/>
                  </a:lnTo>
                  <a:lnTo>
                    <a:pt x="6319" y="4855"/>
                  </a:lnTo>
                  <a:lnTo>
                    <a:pt x="6508" y="4855"/>
                  </a:lnTo>
                  <a:lnTo>
                    <a:pt x="6424" y="4792"/>
                  </a:lnTo>
                  <a:lnTo>
                    <a:pt x="6382" y="4792"/>
                  </a:lnTo>
                  <a:lnTo>
                    <a:pt x="6299" y="4624"/>
                  </a:lnTo>
                  <a:lnTo>
                    <a:pt x="6257" y="4604"/>
                  </a:lnTo>
                  <a:lnTo>
                    <a:pt x="6257" y="4645"/>
                  </a:lnTo>
                  <a:lnTo>
                    <a:pt x="6173" y="4583"/>
                  </a:lnTo>
                  <a:lnTo>
                    <a:pt x="6110" y="4415"/>
                  </a:lnTo>
                  <a:lnTo>
                    <a:pt x="5901" y="4080"/>
                  </a:lnTo>
                  <a:lnTo>
                    <a:pt x="5796" y="4018"/>
                  </a:lnTo>
                  <a:lnTo>
                    <a:pt x="5775" y="3871"/>
                  </a:lnTo>
                  <a:lnTo>
                    <a:pt x="5420" y="3327"/>
                  </a:lnTo>
                  <a:lnTo>
                    <a:pt x="5420" y="3223"/>
                  </a:lnTo>
                  <a:lnTo>
                    <a:pt x="5357" y="3118"/>
                  </a:lnTo>
                  <a:lnTo>
                    <a:pt x="5336" y="2867"/>
                  </a:lnTo>
                  <a:lnTo>
                    <a:pt x="5273" y="2825"/>
                  </a:lnTo>
                  <a:lnTo>
                    <a:pt x="5273" y="2741"/>
                  </a:lnTo>
                  <a:lnTo>
                    <a:pt x="5064" y="2532"/>
                  </a:lnTo>
                  <a:lnTo>
                    <a:pt x="5064" y="2448"/>
                  </a:lnTo>
                  <a:lnTo>
                    <a:pt x="5106" y="2344"/>
                  </a:lnTo>
                  <a:lnTo>
                    <a:pt x="5043" y="2281"/>
                  </a:lnTo>
                  <a:lnTo>
                    <a:pt x="4708" y="1988"/>
                  </a:lnTo>
                  <a:lnTo>
                    <a:pt x="4687" y="1884"/>
                  </a:lnTo>
                  <a:lnTo>
                    <a:pt x="4478" y="1653"/>
                  </a:lnTo>
                  <a:lnTo>
                    <a:pt x="4478" y="1507"/>
                  </a:lnTo>
                  <a:lnTo>
                    <a:pt x="4332" y="1360"/>
                  </a:lnTo>
                  <a:lnTo>
                    <a:pt x="4374" y="1277"/>
                  </a:lnTo>
                  <a:lnTo>
                    <a:pt x="4374" y="1193"/>
                  </a:lnTo>
                  <a:lnTo>
                    <a:pt x="4395" y="1151"/>
                  </a:lnTo>
                  <a:lnTo>
                    <a:pt x="4395" y="1193"/>
                  </a:lnTo>
                  <a:lnTo>
                    <a:pt x="4478" y="1193"/>
                  </a:lnTo>
                  <a:lnTo>
                    <a:pt x="4499" y="1339"/>
                  </a:lnTo>
                  <a:lnTo>
                    <a:pt x="4541" y="1402"/>
                  </a:lnTo>
                  <a:lnTo>
                    <a:pt x="4583" y="1465"/>
                  </a:lnTo>
                  <a:lnTo>
                    <a:pt x="4792" y="1674"/>
                  </a:lnTo>
                  <a:lnTo>
                    <a:pt x="4792" y="1779"/>
                  </a:lnTo>
                  <a:lnTo>
                    <a:pt x="4834" y="1884"/>
                  </a:lnTo>
                  <a:lnTo>
                    <a:pt x="5001" y="1967"/>
                  </a:lnTo>
                  <a:lnTo>
                    <a:pt x="5022" y="2072"/>
                  </a:lnTo>
                  <a:lnTo>
                    <a:pt x="5315" y="2344"/>
                  </a:lnTo>
                  <a:lnTo>
                    <a:pt x="5462" y="2428"/>
                  </a:lnTo>
                  <a:lnTo>
                    <a:pt x="5462" y="2490"/>
                  </a:lnTo>
                  <a:lnTo>
                    <a:pt x="5483" y="2407"/>
                  </a:lnTo>
                  <a:lnTo>
                    <a:pt x="5566" y="2323"/>
                  </a:lnTo>
                  <a:lnTo>
                    <a:pt x="5629" y="2114"/>
                  </a:lnTo>
                  <a:lnTo>
                    <a:pt x="5566" y="2072"/>
                  </a:lnTo>
                  <a:lnTo>
                    <a:pt x="5650" y="1904"/>
                  </a:lnTo>
                  <a:lnTo>
                    <a:pt x="5650" y="1779"/>
                  </a:lnTo>
                  <a:lnTo>
                    <a:pt x="5734" y="1465"/>
                  </a:lnTo>
                  <a:lnTo>
                    <a:pt x="5755" y="1444"/>
                  </a:lnTo>
                  <a:lnTo>
                    <a:pt x="5671" y="1235"/>
                  </a:lnTo>
                  <a:lnTo>
                    <a:pt x="5734" y="1088"/>
                  </a:lnTo>
                  <a:lnTo>
                    <a:pt x="5587" y="775"/>
                  </a:lnTo>
                  <a:lnTo>
                    <a:pt x="5441" y="544"/>
                  </a:lnTo>
                  <a:lnTo>
                    <a:pt x="5378" y="335"/>
                  </a:lnTo>
                  <a:lnTo>
                    <a:pt x="5273" y="147"/>
                  </a:lnTo>
                  <a:lnTo>
                    <a:pt x="5211" y="126"/>
                  </a:lnTo>
                  <a:lnTo>
                    <a:pt x="5127" y="231"/>
                  </a:lnTo>
                  <a:lnTo>
                    <a:pt x="4959" y="293"/>
                  </a:lnTo>
                  <a:lnTo>
                    <a:pt x="4604" y="231"/>
                  </a:lnTo>
                  <a:lnTo>
                    <a:pt x="4311" y="314"/>
                  </a:lnTo>
                  <a:lnTo>
                    <a:pt x="4102" y="147"/>
                  </a:lnTo>
                  <a:lnTo>
                    <a:pt x="4081" y="251"/>
                  </a:lnTo>
                  <a:lnTo>
                    <a:pt x="4164" y="398"/>
                  </a:lnTo>
                  <a:lnTo>
                    <a:pt x="4164" y="461"/>
                  </a:lnTo>
                  <a:lnTo>
                    <a:pt x="4081" y="335"/>
                  </a:lnTo>
                  <a:lnTo>
                    <a:pt x="3976" y="293"/>
                  </a:lnTo>
                  <a:lnTo>
                    <a:pt x="3955" y="189"/>
                  </a:lnTo>
                  <a:lnTo>
                    <a:pt x="3997" y="147"/>
                  </a:lnTo>
                  <a:lnTo>
                    <a:pt x="3955" y="105"/>
                  </a:lnTo>
                  <a:lnTo>
                    <a:pt x="3850" y="105"/>
                  </a:lnTo>
                  <a:lnTo>
                    <a:pt x="3746" y="84"/>
                  </a:lnTo>
                  <a:lnTo>
                    <a:pt x="3537" y="21"/>
                  </a:lnTo>
                  <a:lnTo>
                    <a:pt x="3495" y="42"/>
                  </a:lnTo>
                  <a:lnTo>
                    <a:pt x="3578" y="84"/>
                  </a:lnTo>
                  <a:lnTo>
                    <a:pt x="3599" y="105"/>
                  </a:lnTo>
                  <a:lnTo>
                    <a:pt x="3495" y="126"/>
                  </a:lnTo>
                  <a:lnTo>
                    <a:pt x="3390" y="105"/>
                  </a:lnTo>
                  <a:lnTo>
                    <a:pt x="3265" y="147"/>
                  </a:lnTo>
                  <a:lnTo>
                    <a:pt x="3223" y="126"/>
                  </a:lnTo>
                  <a:lnTo>
                    <a:pt x="3223" y="105"/>
                  </a:lnTo>
                  <a:lnTo>
                    <a:pt x="3348" y="84"/>
                  </a:lnTo>
                  <a:lnTo>
                    <a:pt x="3432" y="42"/>
                  </a:lnTo>
                  <a:lnTo>
                    <a:pt x="3327" y="42"/>
                  </a:lnTo>
                  <a:lnTo>
                    <a:pt x="3139" y="84"/>
                  </a:lnTo>
                  <a:lnTo>
                    <a:pt x="3076" y="126"/>
                  </a:lnTo>
                  <a:lnTo>
                    <a:pt x="2930" y="210"/>
                  </a:lnTo>
                  <a:lnTo>
                    <a:pt x="2846" y="231"/>
                  </a:lnTo>
                  <a:lnTo>
                    <a:pt x="2700" y="293"/>
                  </a:lnTo>
                  <a:lnTo>
                    <a:pt x="2595" y="419"/>
                  </a:lnTo>
                  <a:lnTo>
                    <a:pt x="2553" y="461"/>
                  </a:lnTo>
                  <a:lnTo>
                    <a:pt x="2386" y="461"/>
                  </a:lnTo>
                  <a:lnTo>
                    <a:pt x="2177" y="335"/>
                  </a:lnTo>
                  <a:lnTo>
                    <a:pt x="2009" y="314"/>
                  </a:lnTo>
                  <a:lnTo>
                    <a:pt x="1821" y="335"/>
                  </a:lnTo>
                  <a:lnTo>
                    <a:pt x="1674" y="231"/>
                  </a:lnTo>
                  <a:lnTo>
                    <a:pt x="1591" y="231"/>
                  </a:lnTo>
                  <a:lnTo>
                    <a:pt x="1507" y="251"/>
                  </a:lnTo>
                  <a:lnTo>
                    <a:pt x="1361" y="147"/>
                  </a:lnTo>
                  <a:lnTo>
                    <a:pt x="1172" y="105"/>
                  </a:lnTo>
                  <a:lnTo>
                    <a:pt x="733" y="84"/>
                  </a:lnTo>
                  <a:lnTo>
                    <a:pt x="50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4" name="Google Shape;2104;p66"/>
            <p:cNvSpPr/>
            <p:nvPr/>
          </p:nvSpPr>
          <p:spPr>
            <a:xfrm>
              <a:off x="3896332" y="2997572"/>
              <a:ext cx="113621" cy="124461"/>
            </a:xfrm>
            <a:custGeom>
              <a:avLst/>
              <a:gdLst/>
              <a:ahLst/>
              <a:cxnLst/>
              <a:rect l="l" t="t" r="r" b="b"/>
              <a:pathLst>
                <a:path w="9542" h="10944" extrusionOk="0">
                  <a:moveTo>
                    <a:pt x="8495" y="0"/>
                  </a:moveTo>
                  <a:lnTo>
                    <a:pt x="1590" y="63"/>
                  </a:lnTo>
                  <a:lnTo>
                    <a:pt x="1632" y="1193"/>
                  </a:lnTo>
                  <a:lnTo>
                    <a:pt x="1088" y="1235"/>
                  </a:lnTo>
                  <a:lnTo>
                    <a:pt x="1088" y="1444"/>
                  </a:lnTo>
                  <a:lnTo>
                    <a:pt x="1151" y="3725"/>
                  </a:lnTo>
                  <a:lnTo>
                    <a:pt x="1046" y="3746"/>
                  </a:lnTo>
                  <a:lnTo>
                    <a:pt x="942" y="3829"/>
                  </a:lnTo>
                  <a:lnTo>
                    <a:pt x="837" y="3767"/>
                  </a:lnTo>
                  <a:lnTo>
                    <a:pt x="691" y="3767"/>
                  </a:lnTo>
                  <a:lnTo>
                    <a:pt x="586" y="3850"/>
                  </a:lnTo>
                  <a:lnTo>
                    <a:pt x="586" y="3976"/>
                  </a:lnTo>
                  <a:lnTo>
                    <a:pt x="649" y="4060"/>
                  </a:lnTo>
                  <a:lnTo>
                    <a:pt x="586" y="4185"/>
                  </a:lnTo>
                  <a:lnTo>
                    <a:pt x="377" y="4457"/>
                  </a:lnTo>
                  <a:lnTo>
                    <a:pt x="335" y="4457"/>
                  </a:lnTo>
                  <a:lnTo>
                    <a:pt x="230" y="4541"/>
                  </a:lnTo>
                  <a:lnTo>
                    <a:pt x="251" y="4645"/>
                  </a:lnTo>
                  <a:lnTo>
                    <a:pt x="314" y="4687"/>
                  </a:lnTo>
                  <a:lnTo>
                    <a:pt x="251" y="4813"/>
                  </a:lnTo>
                  <a:lnTo>
                    <a:pt x="126" y="4897"/>
                  </a:lnTo>
                  <a:lnTo>
                    <a:pt x="105" y="4980"/>
                  </a:lnTo>
                  <a:lnTo>
                    <a:pt x="209" y="5022"/>
                  </a:lnTo>
                  <a:lnTo>
                    <a:pt x="230" y="5127"/>
                  </a:lnTo>
                  <a:lnTo>
                    <a:pt x="168" y="5231"/>
                  </a:lnTo>
                  <a:lnTo>
                    <a:pt x="0" y="5420"/>
                  </a:lnTo>
                  <a:lnTo>
                    <a:pt x="0" y="5545"/>
                  </a:lnTo>
                  <a:lnTo>
                    <a:pt x="63" y="5629"/>
                  </a:lnTo>
                  <a:lnTo>
                    <a:pt x="209" y="5524"/>
                  </a:lnTo>
                  <a:lnTo>
                    <a:pt x="251" y="5545"/>
                  </a:lnTo>
                  <a:lnTo>
                    <a:pt x="251" y="5629"/>
                  </a:lnTo>
                  <a:lnTo>
                    <a:pt x="209" y="5692"/>
                  </a:lnTo>
                  <a:lnTo>
                    <a:pt x="272" y="5734"/>
                  </a:lnTo>
                  <a:lnTo>
                    <a:pt x="230" y="5817"/>
                  </a:lnTo>
                  <a:lnTo>
                    <a:pt x="272" y="5922"/>
                  </a:lnTo>
                  <a:lnTo>
                    <a:pt x="272" y="6047"/>
                  </a:lnTo>
                  <a:lnTo>
                    <a:pt x="314" y="6152"/>
                  </a:lnTo>
                  <a:lnTo>
                    <a:pt x="544" y="6236"/>
                  </a:lnTo>
                  <a:lnTo>
                    <a:pt x="586" y="6319"/>
                  </a:lnTo>
                  <a:lnTo>
                    <a:pt x="544" y="6382"/>
                  </a:lnTo>
                  <a:lnTo>
                    <a:pt x="544" y="6466"/>
                  </a:lnTo>
                  <a:lnTo>
                    <a:pt x="523" y="6487"/>
                  </a:lnTo>
                  <a:lnTo>
                    <a:pt x="586" y="6570"/>
                  </a:lnTo>
                  <a:lnTo>
                    <a:pt x="586" y="6654"/>
                  </a:lnTo>
                  <a:lnTo>
                    <a:pt x="544" y="6675"/>
                  </a:lnTo>
                  <a:lnTo>
                    <a:pt x="670" y="6780"/>
                  </a:lnTo>
                  <a:lnTo>
                    <a:pt x="691" y="6863"/>
                  </a:lnTo>
                  <a:lnTo>
                    <a:pt x="858" y="7052"/>
                  </a:lnTo>
                  <a:lnTo>
                    <a:pt x="963" y="7282"/>
                  </a:lnTo>
                  <a:lnTo>
                    <a:pt x="984" y="7366"/>
                  </a:lnTo>
                  <a:lnTo>
                    <a:pt x="963" y="7491"/>
                  </a:lnTo>
                  <a:lnTo>
                    <a:pt x="942" y="7533"/>
                  </a:lnTo>
                  <a:lnTo>
                    <a:pt x="879" y="7638"/>
                  </a:lnTo>
                  <a:lnTo>
                    <a:pt x="879" y="7826"/>
                  </a:lnTo>
                  <a:lnTo>
                    <a:pt x="984" y="7910"/>
                  </a:lnTo>
                  <a:lnTo>
                    <a:pt x="1109" y="7910"/>
                  </a:lnTo>
                  <a:lnTo>
                    <a:pt x="1172" y="7847"/>
                  </a:lnTo>
                  <a:lnTo>
                    <a:pt x="1318" y="7847"/>
                  </a:lnTo>
                  <a:lnTo>
                    <a:pt x="1402" y="7889"/>
                  </a:lnTo>
                  <a:lnTo>
                    <a:pt x="1360" y="7951"/>
                  </a:lnTo>
                  <a:lnTo>
                    <a:pt x="1381" y="8098"/>
                  </a:lnTo>
                  <a:lnTo>
                    <a:pt x="1465" y="8140"/>
                  </a:lnTo>
                  <a:lnTo>
                    <a:pt x="1590" y="8223"/>
                  </a:lnTo>
                  <a:lnTo>
                    <a:pt x="1695" y="8223"/>
                  </a:lnTo>
                  <a:lnTo>
                    <a:pt x="1779" y="8265"/>
                  </a:lnTo>
                  <a:lnTo>
                    <a:pt x="1821" y="8349"/>
                  </a:lnTo>
                  <a:lnTo>
                    <a:pt x="1925" y="8412"/>
                  </a:lnTo>
                  <a:lnTo>
                    <a:pt x="2030" y="8412"/>
                  </a:lnTo>
                  <a:lnTo>
                    <a:pt x="2093" y="8475"/>
                  </a:lnTo>
                  <a:lnTo>
                    <a:pt x="2051" y="8558"/>
                  </a:lnTo>
                  <a:lnTo>
                    <a:pt x="1988" y="8621"/>
                  </a:lnTo>
                  <a:lnTo>
                    <a:pt x="1946" y="8663"/>
                  </a:lnTo>
                  <a:lnTo>
                    <a:pt x="1904" y="8726"/>
                  </a:lnTo>
                  <a:lnTo>
                    <a:pt x="2030" y="8830"/>
                  </a:lnTo>
                  <a:lnTo>
                    <a:pt x="2134" y="8851"/>
                  </a:lnTo>
                  <a:lnTo>
                    <a:pt x="2155" y="8830"/>
                  </a:lnTo>
                  <a:lnTo>
                    <a:pt x="2260" y="8872"/>
                  </a:lnTo>
                  <a:lnTo>
                    <a:pt x="2323" y="8851"/>
                  </a:lnTo>
                  <a:lnTo>
                    <a:pt x="2511" y="8977"/>
                  </a:lnTo>
                  <a:lnTo>
                    <a:pt x="2532" y="9039"/>
                  </a:lnTo>
                  <a:lnTo>
                    <a:pt x="2553" y="9207"/>
                  </a:lnTo>
                  <a:lnTo>
                    <a:pt x="2616" y="9270"/>
                  </a:lnTo>
                  <a:lnTo>
                    <a:pt x="2720" y="9291"/>
                  </a:lnTo>
                  <a:lnTo>
                    <a:pt x="2762" y="9353"/>
                  </a:lnTo>
                  <a:lnTo>
                    <a:pt x="2741" y="9458"/>
                  </a:lnTo>
                  <a:lnTo>
                    <a:pt x="2783" y="9521"/>
                  </a:lnTo>
                  <a:lnTo>
                    <a:pt x="2992" y="9563"/>
                  </a:lnTo>
                  <a:lnTo>
                    <a:pt x="3076" y="9625"/>
                  </a:lnTo>
                  <a:lnTo>
                    <a:pt x="3076" y="9688"/>
                  </a:lnTo>
                  <a:lnTo>
                    <a:pt x="3076" y="9876"/>
                  </a:lnTo>
                  <a:lnTo>
                    <a:pt x="3160" y="9918"/>
                  </a:lnTo>
                  <a:lnTo>
                    <a:pt x="3264" y="9981"/>
                  </a:lnTo>
                  <a:lnTo>
                    <a:pt x="3306" y="10044"/>
                  </a:lnTo>
                  <a:lnTo>
                    <a:pt x="3306" y="10086"/>
                  </a:lnTo>
                  <a:lnTo>
                    <a:pt x="3348" y="10190"/>
                  </a:lnTo>
                  <a:lnTo>
                    <a:pt x="3390" y="10232"/>
                  </a:lnTo>
                  <a:lnTo>
                    <a:pt x="3474" y="10253"/>
                  </a:lnTo>
                  <a:lnTo>
                    <a:pt x="3515" y="10337"/>
                  </a:lnTo>
                  <a:lnTo>
                    <a:pt x="3662" y="10420"/>
                  </a:lnTo>
                  <a:lnTo>
                    <a:pt x="3766" y="10462"/>
                  </a:lnTo>
                  <a:lnTo>
                    <a:pt x="3829" y="10441"/>
                  </a:lnTo>
                  <a:lnTo>
                    <a:pt x="3871" y="10399"/>
                  </a:lnTo>
                  <a:lnTo>
                    <a:pt x="3934" y="10337"/>
                  </a:lnTo>
                  <a:lnTo>
                    <a:pt x="4143" y="10337"/>
                  </a:lnTo>
                  <a:lnTo>
                    <a:pt x="4185" y="10399"/>
                  </a:lnTo>
                  <a:lnTo>
                    <a:pt x="4227" y="10399"/>
                  </a:lnTo>
                  <a:lnTo>
                    <a:pt x="4331" y="10337"/>
                  </a:lnTo>
                  <a:lnTo>
                    <a:pt x="4394" y="10295"/>
                  </a:lnTo>
                  <a:lnTo>
                    <a:pt x="4436" y="10211"/>
                  </a:lnTo>
                  <a:lnTo>
                    <a:pt x="4562" y="10211"/>
                  </a:lnTo>
                  <a:lnTo>
                    <a:pt x="4624" y="10232"/>
                  </a:lnTo>
                  <a:lnTo>
                    <a:pt x="4708" y="10399"/>
                  </a:lnTo>
                  <a:lnTo>
                    <a:pt x="4750" y="10462"/>
                  </a:lnTo>
                  <a:lnTo>
                    <a:pt x="4813" y="10525"/>
                  </a:lnTo>
                  <a:lnTo>
                    <a:pt x="4938" y="10567"/>
                  </a:lnTo>
                  <a:lnTo>
                    <a:pt x="5022" y="10630"/>
                  </a:lnTo>
                  <a:lnTo>
                    <a:pt x="5043" y="10734"/>
                  </a:lnTo>
                  <a:lnTo>
                    <a:pt x="5085" y="10755"/>
                  </a:lnTo>
                  <a:lnTo>
                    <a:pt x="5126" y="10839"/>
                  </a:lnTo>
                  <a:lnTo>
                    <a:pt x="5126" y="10923"/>
                  </a:lnTo>
                  <a:lnTo>
                    <a:pt x="5294" y="10923"/>
                  </a:lnTo>
                  <a:lnTo>
                    <a:pt x="5336" y="10944"/>
                  </a:lnTo>
                  <a:lnTo>
                    <a:pt x="5357" y="10923"/>
                  </a:lnTo>
                  <a:lnTo>
                    <a:pt x="5336" y="10860"/>
                  </a:lnTo>
                  <a:lnTo>
                    <a:pt x="5336" y="10776"/>
                  </a:lnTo>
                  <a:lnTo>
                    <a:pt x="5398" y="10713"/>
                  </a:lnTo>
                  <a:lnTo>
                    <a:pt x="5503" y="10755"/>
                  </a:lnTo>
                  <a:lnTo>
                    <a:pt x="5671" y="10818"/>
                  </a:lnTo>
                  <a:lnTo>
                    <a:pt x="5754" y="10776"/>
                  </a:lnTo>
                  <a:lnTo>
                    <a:pt x="5859" y="10818"/>
                  </a:lnTo>
                  <a:lnTo>
                    <a:pt x="5859" y="10923"/>
                  </a:lnTo>
                  <a:lnTo>
                    <a:pt x="6005" y="10944"/>
                  </a:lnTo>
                  <a:lnTo>
                    <a:pt x="6068" y="10944"/>
                  </a:lnTo>
                  <a:lnTo>
                    <a:pt x="6068" y="10860"/>
                  </a:lnTo>
                  <a:lnTo>
                    <a:pt x="6131" y="10776"/>
                  </a:lnTo>
                  <a:lnTo>
                    <a:pt x="6215" y="10818"/>
                  </a:lnTo>
                  <a:lnTo>
                    <a:pt x="6235" y="10776"/>
                  </a:lnTo>
                  <a:lnTo>
                    <a:pt x="6340" y="10776"/>
                  </a:lnTo>
                  <a:lnTo>
                    <a:pt x="6487" y="10734"/>
                  </a:lnTo>
                  <a:lnTo>
                    <a:pt x="6696" y="10713"/>
                  </a:lnTo>
                  <a:lnTo>
                    <a:pt x="6821" y="10755"/>
                  </a:lnTo>
                  <a:lnTo>
                    <a:pt x="6947" y="10713"/>
                  </a:lnTo>
                  <a:lnTo>
                    <a:pt x="7010" y="10609"/>
                  </a:lnTo>
                  <a:lnTo>
                    <a:pt x="7135" y="10525"/>
                  </a:lnTo>
                  <a:lnTo>
                    <a:pt x="7219" y="10420"/>
                  </a:lnTo>
                  <a:lnTo>
                    <a:pt x="7261" y="10399"/>
                  </a:lnTo>
                  <a:lnTo>
                    <a:pt x="7323" y="10337"/>
                  </a:lnTo>
                  <a:lnTo>
                    <a:pt x="7428" y="10232"/>
                  </a:lnTo>
                  <a:lnTo>
                    <a:pt x="7470" y="10232"/>
                  </a:lnTo>
                  <a:lnTo>
                    <a:pt x="7595" y="10023"/>
                  </a:lnTo>
                  <a:lnTo>
                    <a:pt x="7805" y="9814"/>
                  </a:lnTo>
                  <a:lnTo>
                    <a:pt x="7763" y="9604"/>
                  </a:lnTo>
                  <a:lnTo>
                    <a:pt x="7700" y="9563"/>
                  </a:lnTo>
                  <a:lnTo>
                    <a:pt x="7679" y="9353"/>
                  </a:lnTo>
                  <a:lnTo>
                    <a:pt x="7595" y="9249"/>
                  </a:lnTo>
                  <a:lnTo>
                    <a:pt x="7554" y="9144"/>
                  </a:lnTo>
                  <a:lnTo>
                    <a:pt x="7470" y="9060"/>
                  </a:lnTo>
                  <a:lnTo>
                    <a:pt x="7365" y="9060"/>
                  </a:lnTo>
                  <a:lnTo>
                    <a:pt x="7323" y="8998"/>
                  </a:lnTo>
                  <a:lnTo>
                    <a:pt x="7323" y="8956"/>
                  </a:lnTo>
                  <a:lnTo>
                    <a:pt x="7219" y="8893"/>
                  </a:lnTo>
                  <a:lnTo>
                    <a:pt x="7114" y="8726"/>
                  </a:lnTo>
                  <a:lnTo>
                    <a:pt x="7072" y="8684"/>
                  </a:lnTo>
                  <a:lnTo>
                    <a:pt x="7051" y="8621"/>
                  </a:lnTo>
                  <a:lnTo>
                    <a:pt x="6947" y="8516"/>
                  </a:lnTo>
                  <a:lnTo>
                    <a:pt x="6905" y="8433"/>
                  </a:lnTo>
                  <a:lnTo>
                    <a:pt x="6633" y="8433"/>
                  </a:lnTo>
                  <a:lnTo>
                    <a:pt x="6549" y="8412"/>
                  </a:lnTo>
                  <a:lnTo>
                    <a:pt x="6507" y="8328"/>
                  </a:lnTo>
                  <a:lnTo>
                    <a:pt x="6591" y="8203"/>
                  </a:lnTo>
                  <a:lnTo>
                    <a:pt x="6654" y="8161"/>
                  </a:lnTo>
                  <a:lnTo>
                    <a:pt x="6654" y="8035"/>
                  </a:lnTo>
                  <a:lnTo>
                    <a:pt x="6800" y="8056"/>
                  </a:lnTo>
                  <a:lnTo>
                    <a:pt x="6905" y="8035"/>
                  </a:lnTo>
                  <a:lnTo>
                    <a:pt x="6947" y="8098"/>
                  </a:lnTo>
                  <a:lnTo>
                    <a:pt x="7031" y="8098"/>
                  </a:lnTo>
                  <a:lnTo>
                    <a:pt x="7051" y="8035"/>
                  </a:lnTo>
                  <a:lnTo>
                    <a:pt x="7135" y="7951"/>
                  </a:lnTo>
                  <a:lnTo>
                    <a:pt x="7156" y="7700"/>
                  </a:lnTo>
                  <a:lnTo>
                    <a:pt x="7135" y="7470"/>
                  </a:lnTo>
                  <a:lnTo>
                    <a:pt x="7177" y="7303"/>
                  </a:lnTo>
                  <a:lnTo>
                    <a:pt x="7282" y="7177"/>
                  </a:lnTo>
                  <a:lnTo>
                    <a:pt x="7282" y="7052"/>
                  </a:lnTo>
                  <a:lnTo>
                    <a:pt x="7240" y="6968"/>
                  </a:lnTo>
                  <a:lnTo>
                    <a:pt x="7282" y="6863"/>
                  </a:lnTo>
                  <a:lnTo>
                    <a:pt x="7386" y="6696"/>
                  </a:lnTo>
                  <a:lnTo>
                    <a:pt x="7428" y="6633"/>
                  </a:lnTo>
                  <a:lnTo>
                    <a:pt x="7470" y="6633"/>
                  </a:lnTo>
                  <a:lnTo>
                    <a:pt x="7533" y="6654"/>
                  </a:lnTo>
                  <a:lnTo>
                    <a:pt x="7658" y="6215"/>
                  </a:lnTo>
                  <a:lnTo>
                    <a:pt x="7700" y="6026"/>
                  </a:lnTo>
                  <a:lnTo>
                    <a:pt x="7888" y="5922"/>
                  </a:lnTo>
                  <a:lnTo>
                    <a:pt x="7888" y="5817"/>
                  </a:lnTo>
                  <a:lnTo>
                    <a:pt x="8014" y="5608"/>
                  </a:lnTo>
                  <a:lnTo>
                    <a:pt x="8056" y="5503"/>
                  </a:lnTo>
                  <a:lnTo>
                    <a:pt x="8160" y="5482"/>
                  </a:lnTo>
                  <a:lnTo>
                    <a:pt x="8202" y="5482"/>
                  </a:lnTo>
                  <a:lnTo>
                    <a:pt x="8265" y="5294"/>
                  </a:lnTo>
                  <a:lnTo>
                    <a:pt x="8412" y="5022"/>
                  </a:lnTo>
                  <a:lnTo>
                    <a:pt x="8412" y="4813"/>
                  </a:lnTo>
                  <a:lnTo>
                    <a:pt x="8495" y="4666"/>
                  </a:lnTo>
                  <a:lnTo>
                    <a:pt x="8516" y="4604"/>
                  </a:lnTo>
                  <a:lnTo>
                    <a:pt x="8495" y="4604"/>
                  </a:lnTo>
                  <a:lnTo>
                    <a:pt x="8474" y="4478"/>
                  </a:lnTo>
                  <a:lnTo>
                    <a:pt x="8391" y="4248"/>
                  </a:lnTo>
                  <a:lnTo>
                    <a:pt x="8412" y="4122"/>
                  </a:lnTo>
                  <a:lnTo>
                    <a:pt x="8474" y="4039"/>
                  </a:lnTo>
                  <a:lnTo>
                    <a:pt x="8474" y="3934"/>
                  </a:lnTo>
                  <a:lnTo>
                    <a:pt x="8579" y="3809"/>
                  </a:lnTo>
                  <a:lnTo>
                    <a:pt x="8621" y="3516"/>
                  </a:lnTo>
                  <a:lnTo>
                    <a:pt x="8684" y="3327"/>
                  </a:lnTo>
                  <a:lnTo>
                    <a:pt x="8725" y="3285"/>
                  </a:lnTo>
                  <a:lnTo>
                    <a:pt x="8684" y="3223"/>
                  </a:lnTo>
                  <a:lnTo>
                    <a:pt x="8621" y="3202"/>
                  </a:lnTo>
                  <a:lnTo>
                    <a:pt x="8704" y="3076"/>
                  </a:lnTo>
                  <a:lnTo>
                    <a:pt x="8704" y="2930"/>
                  </a:lnTo>
                  <a:lnTo>
                    <a:pt x="8746" y="2909"/>
                  </a:lnTo>
                  <a:lnTo>
                    <a:pt x="8914" y="2909"/>
                  </a:lnTo>
                  <a:lnTo>
                    <a:pt x="8914" y="2825"/>
                  </a:lnTo>
                  <a:lnTo>
                    <a:pt x="8914" y="2783"/>
                  </a:lnTo>
                  <a:lnTo>
                    <a:pt x="8914" y="2721"/>
                  </a:lnTo>
                  <a:lnTo>
                    <a:pt x="9018" y="2700"/>
                  </a:lnTo>
                  <a:lnTo>
                    <a:pt x="9102" y="2658"/>
                  </a:lnTo>
                  <a:lnTo>
                    <a:pt x="9228" y="2658"/>
                  </a:lnTo>
                  <a:lnTo>
                    <a:pt x="9248" y="2574"/>
                  </a:lnTo>
                  <a:lnTo>
                    <a:pt x="9353" y="2553"/>
                  </a:lnTo>
                  <a:lnTo>
                    <a:pt x="9458" y="2490"/>
                  </a:lnTo>
                  <a:lnTo>
                    <a:pt x="9541" y="2386"/>
                  </a:lnTo>
                  <a:lnTo>
                    <a:pt x="9479" y="2386"/>
                  </a:lnTo>
                  <a:lnTo>
                    <a:pt x="9479" y="2302"/>
                  </a:lnTo>
                  <a:lnTo>
                    <a:pt x="9353" y="2239"/>
                  </a:lnTo>
                  <a:lnTo>
                    <a:pt x="9248" y="2239"/>
                  </a:lnTo>
                  <a:lnTo>
                    <a:pt x="9248" y="2135"/>
                  </a:lnTo>
                  <a:lnTo>
                    <a:pt x="8997" y="1946"/>
                  </a:lnTo>
                  <a:lnTo>
                    <a:pt x="8914" y="1946"/>
                  </a:lnTo>
                  <a:lnTo>
                    <a:pt x="8809" y="1737"/>
                  </a:lnTo>
                  <a:lnTo>
                    <a:pt x="8725" y="1507"/>
                  </a:lnTo>
                  <a:lnTo>
                    <a:pt x="8746" y="1256"/>
                  </a:lnTo>
                  <a:lnTo>
                    <a:pt x="8725" y="1047"/>
                  </a:lnTo>
                  <a:lnTo>
                    <a:pt x="8579" y="628"/>
                  </a:lnTo>
                  <a:lnTo>
                    <a:pt x="8579" y="524"/>
                  </a:lnTo>
                  <a:lnTo>
                    <a:pt x="8600" y="503"/>
                  </a:lnTo>
                  <a:lnTo>
                    <a:pt x="8621" y="565"/>
                  </a:lnTo>
                  <a:lnTo>
                    <a:pt x="8642" y="607"/>
                  </a:lnTo>
                  <a:lnTo>
                    <a:pt x="8684" y="607"/>
                  </a:lnTo>
                  <a:lnTo>
                    <a:pt x="8684" y="565"/>
                  </a:lnTo>
                  <a:lnTo>
                    <a:pt x="8579" y="419"/>
                  </a:lnTo>
                  <a:lnTo>
                    <a:pt x="8516" y="252"/>
                  </a:lnTo>
                  <a:lnTo>
                    <a:pt x="8495" y="210"/>
                  </a:lnTo>
                  <a:lnTo>
                    <a:pt x="8495" y="189"/>
                  </a:lnTo>
                  <a:lnTo>
                    <a:pt x="8495" y="168"/>
                  </a:lnTo>
                  <a:lnTo>
                    <a:pt x="8495" y="147"/>
                  </a:lnTo>
                  <a:lnTo>
                    <a:pt x="8474" y="84"/>
                  </a:lnTo>
                  <a:lnTo>
                    <a:pt x="8495" y="42"/>
                  </a:lnTo>
                  <a:lnTo>
                    <a:pt x="849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5" name="Google Shape;2105;p66"/>
            <p:cNvSpPr/>
            <p:nvPr/>
          </p:nvSpPr>
          <p:spPr>
            <a:xfrm>
              <a:off x="3973815" y="3045871"/>
              <a:ext cx="104655" cy="75923"/>
            </a:xfrm>
            <a:custGeom>
              <a:avLst/>
              <a:gdLst/>
              <a:ahLst/>
              <a:cxnLst/>
              <a:rect l="l" t="t" r="r" b="b"/>
              <a:pathLst>
                <a:path w="8789" h="6676" extrusionOk="0">
                  <a:moveTo>
                    <a:pt x="2511" y="1"/>
                  </a:moveTo>
                  <a:lnTo>
                    <a:pt x="2344" y="336"/>
                  </a:lnTo>
                  <a:lnTo>
                    <a:pt x="2239" y="336"/>
                  </a:lnTo>
                  <a:lnTo>
                    <a:pt x="2218" y="419"/>
                  </a:lnTo>
                  <a:lnTo>
                    <a:pt x="2093" y="398"/>
                  </a:lnTo>
                  <a:lnTo>
                    <a:pt x="2009" y="357"/>
                  </a:lnTo>
                  <a:lnTo>
                    <a:pt x="1988" y="419"/>
                  </a:lnTo>
                  <a:lnTo>
                    <a:pt x="1905" y="566"/>
                  </a:lnTo>
                  <a:lnTo>
                    <a:pt x="1905" y="775"/>
                  </a:lnTo>
                  <a:lnTo>
                    <a:pt x="1758" y="1047"/>
                  </a:lnTo>
                  <a:lnTo>
                    <a:pt x="1695" y="1235"/>
                  </a:lnTo>
                  <a:lnTo>
                    <a:pt x="1653" y="1235"/>
                  </a:lnTo>
                  <a:lnTo>
                    <a:pt x="1549" y="1256"/>
                  </a:lnTo>
                  <a:lnTo>
                    <a:pt x="1507" y="1361"/>
                  </a:lnTo>
                  <a:lnTo>
                    <a:pt x="1381" y="1570"/>
                  </a:lnTo>
                  <a:lnTo>
                    <a:pt x="1381" y="1675"/>
                  </a:lnTo>
                  <a:lnTo>
                    <a:pt x="1193" y="1779"/>
                  </a:lnTo>
                  <a:lnTo>
                    <a:pt x="1151" y="1968"/>
                  </a:lnTo>
                  <a:lnTo>
                    <a:pt x="1026" y="2407"/>
                  </a:lnTo>
                  <a:lnTo>
                    <a:pt x="963" y="2386"/>
                  </a:lnTo>
                  <a:lnTo>
                    <a:pt x="921" y="2386"/>
                  </a:lnTo>
                  <a:lnTo>
                    <a:pt x="879" y="2449"/>
                  </a:lnTo>
                  <a:lnTo>
                    <a:pt x="775" y="2616"/>
                  </a:lnTo>
                  <a:lnTo>
                    <a:pt x="733" y="2721"/>
                  </a:lnTo>
                  <a:lnTo>
                    <a:pt x="775" y="2805"/>
                  </a:lnTo>
                  <a:lnTo>
                    <a:pt x="775" y="2930"/>
                  </a:lnTo>
                  <a:lnTo>
                    <a:pt x="670" y="3056"/>
                  </a:lnTo>
                  <a:lnTo>
                    <a:pt x="628" y="3223"/>
                  </a:lnTo>
                  <a:lnTo>
                    <a:pt x="649" y="3453"/>
                  </a:lnTo>
                  <a:lnTo>
                    <a:pt x="628" y="3704"/>
                  </a:lnTo>
                  <a:lnTo>
                    <a:pt x="544" y="3788"/>
                  </a:lnTo>
                  <a:lnTo>
                    <a:pt x="524" y="3851"/>
                  </a:lnTo>
                  <a:lnTo>
                    <a:pt x="440" y="3851"/>
                  </a:lnTo>
                  <a:lnTo>
                    <a:pt x="398" y="3788"/>
                  </a:lnTo>
                  <a:lnTo>
                    <a:pt x="293" y="3809"/>
                  </a:lnTo>
                  <a:lnTo>
                    <a:pt x="147" y="3788"/>
                  </a:lnTo>
                  <a:lnTo>
                    <a:pt x="147" y="3914"/>
                  </a:lnTo>
                  <a:lnTo>
                    <a:pt x="84" y="3956"/>
                  </a:lnTo>
                  <a:lnTo>
                    <a:pt x="0" y="4081"/>
                  </a:lnTo>
                  <a:lnTo>
                    <a:pt x="42" y="4165"/>
                  </a:lnTo>
                  <a:lnTo>
                    <a:pt x="126" y="4186"/>
                  </a:lnTo>
                  <a:lnTo>
                    <a:pt x="398" y="4186"/>
                  </a:lnTo>
                  <a:lnTo>
                    <a:pt x="440" y="4269"/>
                  </a:lnTo>
                  <a:lnTo>
                    <a:pt x="544" y="4374"/>
                  </a:lnTo>
                  <a:lnTo>
                    <a:pt x="565" y="4437"/>
                  </a:lnTo>
                  <a:lnTo>
                    <a:pt x="607" y="4479"/>
                  </a:lnTo>
                  <a:lnTo>
                    <a:pt x="712" y="4646"/>
                  </a:lnTo>
                  <a:lnTo>
                    <a:pt x="816" y="4709"/>
                  </a:lnTo>
                  <a:lnTo>
                    <a:pt x="816" y="4751"/>
                  </a:lnTo>
                  <a:lnTo>
                    <a:pt x="858" y="4813"/>
                  </a:lnTo>
                  <a:lnTo>
                    <a:pt x="963" y="4813"/>
                  </a:lnTo>
                  <a:lnTo>
                    <a:pt x="1047" y="4897"/>
                  </a:lnTo>
                  <a:lnTo>
                    <a:pt x="1088" y="5002"/>
                  </a:lnTo>
                  <a:lnTo>
                    <a:pt x="1172" y="5106"/>
                  </a:lnTo>
                  <a:lnTo>
                    <a:pt x="1193" y="5316"/>
                  </a:lnTo>
                  <a:lnTo>
                    <a:pt x="1256" y="5357"/>
                  </a:lnTo>
                  <a:lnTo>
                    <a:pt x="1298" y="5567"/>
                  </a:lnTo>
                  <a:lnTo>
                    <a:pt x="1340" y="5525"/>
                  </a:lnTo>
                  <a:lnTo>
                    <a:pt x="1402" y="5629"/>
                  </a:lnTo>
                  <a:lnTo>
                    <a:pt x="1507" y="5588"/>
                  </a:lnTo>
                  <a:lnTo>
                    <a:pt x="1612" y="5629"/>
                  </a:lnTo>
                  <a:lnTo>
                    <a:pt x="1612" y="5964"/>
                  </a:lnTo>
                  <a:lnTo>
                    <a:pt x="1695" y="6069"/>
                  </a:lnTo>
                  <a:lnTo>
                    <a:pt x="1821" y="6090"/>
                  </a:lnTo>
                  <a:lnTo>
                    <a:pt x="1967" y="6048"/>
                  </a:lnTo>
                  <a:lnTo>
                    <a:pt x="2093" y="6090"/>
                  </a:lnTo>
                  <a:lnTo>
                    <a:pt x="2386" y="6069"/>
                  </a:lnTo>
                  <a:lnTo>
                    <a:pt x="2490" y="6152"/>
                  </a:lnTo>
                  <a:lnTo>
                    <a:pt x="2721" y="6383"/>
                  </a:lnTo>
                  <a:lnTo>
                    <a:pt x="2867" y="6466"/>
                  </a:lnTo>
                  <a:lnTo>
                    <a:pt x="2951" y="6571"/>
                  </a:lnTo>
                  <a:lnTo>
                    <a:pt x="3055" y="6613"/>
                  </a:lnTo>
                  <a:lnTo>
                    <a:pt x="3244" y="6613"/>
                  </a:lnTo>
                  <a:lnTo>
                    <a:pt x="3369" y="6676"/>
                  </a:lnTo>
                  <a:lnTo>
                    <a:pt x="3537" y="6634"/>
                  </a:lnTo>
                  <a:lnTo>
                    <a:pt x="3641" y="6676"/>
                  </a:lnTo>
                  <a:lnTo>
                    <a:pt x="3850" y="6676"/>
                  </a:lnTo>
                  <a:lnTo>
                    <a:pt x="3997" y="6424"/>
                  </a:lnTo>
                  <a:lnTo>
                    <a:pt x="4060" y="6362"/>
                  </a:lnTo>
                  <a:lnTo>
                    <a:pt x="4164" y="6299"/>
                  </a:lnTo>
                  <a:lnTo>
                    <a:pt x="4269" y="6299"/>
                  </a:lnTo>
                  <a:lnTo>
                    <a:pt x="4311" y="6278"/>
                  </a:lnTo>
                  <a:lnTo>
                    <a:pt x="4583" y="6257"/>
                  </a:lnTo>
                  <a:lnTo>
                    <a:pt x="4645" y="6278"/>
                  </a:lnTo>
                  <a:lnTo>
                    <a:pt x="4729" y="6404"/>
                  </a:lnTo>
                  <a:lnTo>
                    <a:pt x="4834" y="6466"/>
                  </a:lnTo>
                  <a:lnTo>
                    <a:pt x="5043" y="6424"/>
                  </a:lnTo>
                  <a:lnTo>
                    <a:pt x="5210" y="6424"/>
                  </a:lnTo>
                  <a:lnTo>
                    <a:pt x="5252" y="6320"/>
                  </a:lnTo>
                  <a:lnTo>
                    <a:pt x="5441" y="6257"/>
                  </a:lnTo>
                  <a:lnTo>
                    <a:pt x="5629" y="6215"/>
                  </a:lnTo>
                  <a:lnTo>
                    <a:pt x="5775" y="6152"/>
                  </a:lnTo>
                  <a:lnTo>
                    <a:pt x="5880" y="6069"/>
                  </a:lnTo>
                  <a:lnTo>
                    <a:pt x="5943" y="5964"/>
                  </a:lnTo>
                  <a:lnTo>
                    <a:pt x="6068" y="5880"/>
                  </a:lnTo>
                  <a:lnTo>
                    <a:pt x="6173" y="5880"/>
                  </a:lnTo>
                  <a:lnTo>
                    <a:pt x="6278" y="5797"/>
                  </a:lnTo>
                  <a:lnTo>
                    <a:pt x="7010" y="5797"/>
                  </a:lnTo>
                  <a:lnTo>
                    <a:pt x="8788" y="4018"/>
                  </a:lnTo>
                  <a:lnTo>
                    <a:pt x="8056" y="4018"/>
                  </a:lnTo>
                  <a:lnTo>
                    <a:pt x="6361" y="3495"/>
                  </a:lnTo>
                  <a:lnTo>
                    <a:pt x="6215" y="3370"/>
                  </a:lnTo>
                  <a:lnTo>
                    <a:pt x="6006" y="3349"/>
                  </a:lnTo>
                  <a:lnTo>
                    <a:pt x="5943" y="3160"/>
                  </a:lnTo>
                  <a:lnTo>
                    <a:pt x="5964" y="3014"/>
                  </a:lnTo>
                  <a:lnTo>
                    <a:pt x="5796" y="2930"/>
                  </a:lnTo>
                  <a:lnTo>
                    <a:pt x="5692" y="2616"/>
                  </a:lnTo>
                  <a:lnTo>
                    <a:pt x="5650" y="2386"/>
                  </a:lnTo>
                  <a:lnTo>
                    <a:pt x="5692" y="2323"/>
                  </a:lnTo>
                  <a:lnTo>
                    <a:pt x="5587" y="2282"/>
                  </a:lnTo>
                  <a:lnTo>
                    <a:pt x="5441" y="2303"/>
                  </a:lnTo>
                  <a:lnTo>
                    <a:pt x="5315" y="2386"/>
                  </a:lnTo>
                  <a:lnTo>
                    <a:pt x="5106" y="2386"/>
                  </a:lnTo>
                  <a:lnTo>
                    <a:pt x="5022" y="2323"/>
                  </a:lnTo>
                  <a:lnTo>
                    <a:pt x="5127" y="2198"/>
                  </a:lnTo>
                  <a:lnTo>
                    <a:pt x="5127" y="2093"/>
                  </a:lnTo>
                  <a:lnTo>
                    <a:pt x="5169" y="1989"/>
                  </a:lnTo>
                  <a:lnTo>
                    <a:pt x="5169" y="1821"/>
                  </a:lnTo>
                  <a:lnTo>
                    <a:pt x="5210" y="1717"/>
                  </a:lnTo>
                  <a:lnTo>
                    <a:pt x="5252" y="1591"/>
                  </a:lnTo>
                  <a:lnTo>
                    <a:pt x="5357" y="1570"/>
                  </a:lnTo>
                  <a:lnTo>
                    <a:pt x="5210" y="1361"/>
                  </a:lnTo>
                  <a:lnTo>
                    <a:pt x="5127" y="1361"/>
                  </a:lnTo>
                  <a:lnTo>
                    <a:pt x="5106" y="1277"/>
                  </a:lnTo>
                  <a:lnTo>
                    <a:pt x="5064" y="1173"/>
                  </a:lnTo>
                  <a:lnTo>
                    <a:pt x="4959" y="1026"/>
                  </a:lnTo>
                  <a:lnTo>
                    <a:pt x="4855" y="984"/>
                  </a:lnTo>
                  <a:lnTo>
                    <a:pt x="4687" y="838"/>
                  </a:lnTo>
                  <a:lnTo>
                    <a:pt x="4541" y="733"/>
                  </a:lnTo>
                  <a:lnTo>
                    <a:pt x="4520" y="671"/>
                  </a:lnTo>
                  <a:lnTo>
                    <a:pt x="4415" y="671"/>
                  </a:lnTo>
                  <a:lnTo>
                    <a:pt x="4394" y="629"/>
                  </a:lnTo>
                  <a:lnTo>
                    <a:pt x="4227" y="629"/>
                  </a:lnTo>
                  <a:lnTo>
                    <a:pt x="4185" y="524"/>
                  </a:lnTo>
                  <a:lnTo>
                    <a:pt x="3976" y="336"/>
                  </a:lnTo>
                  <a:lnTo>
                    <a:pt x="3871" y="315"/>
                  </a:lnTo>
                  <a:lnTo>
                    <a:pt x="3788" y="231"/>
                  </a:lnTo>
                  <a:lnTo>
                    <a:pt x="3662" y="210"/>
                  </a:lnTo>
                  <a:lnTo>
                    <a:pt x="3578" y="231"/>
                  </a:lnTo>
                  <a:lnTo>
                    <a:pt x="3557" y="252"/>
                  </a:lnTo>
                  <a:lnTo>
                    <a:pt x="3369" y="106"/>
                  </a:lnTo>
                  <a:lnTo>
                    <a:pt x="3265" y="106"/>
                  </a:lnTo>
                  <a:lnTo>
                    <a:pt x="3223" y="147"/>
                  </a:lnTo>
                  <a:lnTo>
                    <a:pt x="3139" y="85"/>
                  </a:lnTo>
                  <a:lnTo>
                    <a:pt x="3034" y="106"/>
                  </a:lnTo>
                  <a:lnTo>
                    <a:pt x="2930" y="189"/>
                  </a:lnTo>
                  <a:lnTo>
                    <a:pt x="2825" y="189"/>
                  </a:lnTo>
                  <a:lnTo>
                    <a:pt x="2595" y="106"/>
                  </a:lnTo>
                  <a:lnTo>
                    <a:pt x="2553" y="43"/>
                  </a:lnTo>
                  <a:lnTo>
                    <a:pt x="251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6" name="Google Shape;2106;p66"/>
            <p:cNvSpPr/>
            <p:nvPr/>
          </p:nvSpPr>
          <p:spPr>
            <a:xfrm>
              <a:off x="3996236" y="3024695"/>
              <a:ext cx="46106" cy="39042"/>
            </a:xfrm>
            <a:custGeom>
              <a:avLst/>
              <a:gdLst/>
              <a:ahLst/>
              <a:cxnLst/>
              <a:rect l="l" t="t" r="r" b="b"/>
              <a:pathLst>
                <a:path w="3872" h="3433" extrusionOk="0">
                  <a:moveTo>
                    <a:pt x="1151" y="1"/>
                  </a:moveTo>
                  <a:lnTo>
                    <a:pt x="1068" y="105"/>
                  </a:lnTo>
                  <a:lnTo>
                    <a:pt x="963" y="168"/>
                  </a:lnTo>
                  <a:lnTo>
                    <a:pt x="858" y="189"/>
                  </a:lnTo>
                  <a:lnTo>
                    <a:pt x="838" y="273"/>
                  </a:lnTo>
                  <a:lnTo>
                    <a:pt x="712" y="273"/>
                  </a:lnTo>
                  <a:lnTo>
                    <a:pt x="628" y="315"/>
                  </a:lnTo>
                  <a:lnTo>
                    <a:pt x="524" y="336"/>
                  </a:lnTo>
                  <a:lnTo>
                    <a:pt x="524" y="398"/>
                  </a:lnTo>
                  <a:lnTo>
                    <a:pt x="524" y="440"/>
                  </a:lnTo>
                  <a:lnTo>
                    <a:pt x="524" y="524"/>
                  </a:lnTo>
                  <a:lnTo>
                    <a:pt x="356" y="524"/>
                  </a:lnTo>
                  <a:lnTo>
                    <a:pt x="314" y="545"/>
                  </a:lnTo>
                  <a:lnTo>
                    <a:pt x="314" y="691"/>
                  </a:lnTo>
                  <a:lnTo>
                    <a:pt x="231" y="817"/>
                  </a:lnTo>
                  <a:lnTo>
                    <a:pt x="294" y="838"/>
                  </a:lnTo>
                  <a:lnTo>
                    <a:pt x="335" y="900"/>
                  </a:lnTo>
                  <a:lnTo>
                    <a:pt x="294" y="942"/>
                  </a:lnTo>
                  <a:lnTo>
                    <a:pt x="231" y="1131"/>
                  </a:lnTo>
                  <a:lnTo>
                    <a:pt x="189" y="1424"/>
                  </a:lnTo>
                  <a:lnTo>
                    <a:pt x="84" y="1549"/>
                  </a:lnTo>
                  <a:lnTo>
                    <a:pt x="84" y="1654"/>
                  </a:lnTo>
                  <a:lnTo>
                    <a:pt x="22" y="1737"/>
                  </a:lnTo>
                  <a:lnTo>
                    <a:pt x="1" y="1863"/>
                  </a:lnTo>
                  <a:lnTo>
                    <a:pt x="84" y="2093"/>
                  </a:lnTo>
                  <a:lnTo>
                    <a:pt x="105" y="2219"/>
                  </a:lnTo>
                  <a:lnTo>
                    <a:pt x="126" y="2219"/>
                  </a:lnTo>
                  <a:lnTo>
                    <a:pt x="210" y="2260"/>
                  </a:lnTo>
                  <a:lnTo>
                    <a:pt x="335" y="2281"/>
                  </a:lnTo>
                  <a:lnTo>
                    <a:pt x="356" y="2198"/>
                  </a:lnTo>
                  <a:lnTo>
                    <a:pt x="461" y="2198"/>
                  </a:lnTo>
                  <a:lnTo>
                    <a:pt x="628" y="1863"/>
                  </a:lnTo>
                  <a:lnTo>
                    <a:pt x="670" y="1905"/>
                  </a:lnTo>
                  <a:lnTo>
                    <a:pt x="712" y="1968"/>
                  </a:lnTo>
                  <a:lnTo>
                    <a:pt x="942" y="2051"/>
                  </a:lnTo>
                  <a:lnTo>
                    <a:pt x="1047" y="2051"/>
                  </a:lnTo>
                  <a:lnTo>
                    <a:pt x="1151" y="1968"/>
                  </a:lnTo>
                  <a:lnTo>
                    <a:pt x="1256" y="1947"/>
                  </a:lnTo>
                  <a:lnTo>
                    <a:pt x="1340" y="2009"/>
                  </a:lnTo>
                  <a:lnTo>
                    <a:pt x="1382" y="1968"/>
                  </a:lnTo>
                  <a:lnTo>
                    <a:pt x="1486" y="1968"/>
                  </a:lnTo>
                  <a:lnTo>
                    <a:pt x="1674" y="2114"/>
                  </a:lnTo>
                  <a:lnTo>
                    <a:pt x="1695" y="2093"/>
                  </a:lnTo>
                  <a:lnTo>
                    <a:pt x="1779" y="2072"/>
                  </a:lnTo>
                  <a:lnTo>
                    <a:pt x="1905" y="2093"/>
                  </a:lnTo>
                  <a:lnTo>
                    <a:pt x="1988" y="2177"/>
                  </a:lnTo>
                  <a:lnTo>
                    <a:pt x="2093" y="2198"/>
                  </a:lnTo>
                  <a:lnTo>
                    <a:pt x="2302" y="2386"/>
                  </a:lnTo>
                  <a:lnTo>
                    <a:pt x="2344" y="2491"/>
                  </a:lnTo>
                  <a:lnTo>
                    <a:pt x="2511" y="2491"/>
                  </a:lnTo>
                  <a:lnTo>
                    <a:pt x="2532" y="2533"/>
                  </a:lnTo>
                  <a:lnTo>
                    <a:pt x="2637" y="2533"/>
                  </a:lnTo>
                  <a:lnTo>
                    <a:pt x="2658" y="2595"/>
                  </a:lnTo>
                  <a:lnTo>
                    <a:pt x="2804" y="2700"/>
                  </a:lnTo>
                  <a:lnTo>
                    <a:pt x="2972" y="2846"/>
                  </a:lnTo>
                  <a:lnTo>
                    <a:pt x="3076" y="2888"/>
                  </a:lnTo>
                  <a:lnTo>
                    <a:pt x="3181" y="3035"/>
                  </a:lnTo>
                  <a:lnTo>
                    <a:pt x="3223" y="3139"/>
                  </a:lnTo>
                  <a:lnTo>
                    <a:pt x="3244" y="3223"/>
                  </a:lnTo>
                  <a:lnTo>
                    <a:pt x="3327" y="3223"/>
                  </a:lnTo>
                  <a:lnTo>
                    <a:pt x="3474" y="3432"/>
                  </a:lnTo>
                  <a:lnTo>
                    <a:pt x="3599" y="3369"/>
                  </a:lnTo>
                  <a:lnTo>
                    <a:pt x="3662" y="3328"/>
                  </a:lnTo>
                  <a:lnTo>
                    <a:pt x="3746" y="3307"/>
                  </a:lnTo>
                  <a:lnTo>
                    <a:pt x="3871" y="3202"/>
                  </a:lnTo>
                  <a:lnTo>
                    <a:pt x="3809" y="3160"/>
                  </a:lnTo>
                  <a:lnTo>
                    <a:pt x="3809" y="3139"/>
                  </a:lnTo>
                  <a:lnTo>
                    <a:pt x="3767" y="3202"/>
                  </a:lnTo>
                  <a:lnTo>
                    <a:pt x="3683" y="3139"/>
                  </a:lnTo>
                  <a:lnTo>
                    <a:pt x="3641" y="3139"/>
                  </a:lnTo>
                  <a:lnTo>
                    <a:pt x="3579" y="3035"/>
                  </a:lnTo>
                  <a:lnTo>
                    <a:pt x="3599" y="3014"/>
                  </a:lnTo>
                  <a:lnTo>
                    <a:pt x="3537" y="2909"/>
                  </a:lnTo>
                  <a:lnTo>
                    <a:pt x="3453" y="2888"/>
                  </a:lnTo>
                  <a:lnTo>
                    <a:pt x="3348" y="2637"/>
                  </a:lnTo>
                  <a:lnTo>
                    <a:pt x="3327" y="2595"/>
                  </a:lnTo>
                  <a:lnTo>
                    <a:pt x="3327" y="2616"/>
                  </a:lnTo>
                  <a:lnTo>
                    <a:pt x="3265" y="2616"/>
                  </a:lnTo>
                  <a:lnTo>
                    <a:pt x="3181" y="2512"/>
                  </a:lnTo>
                  <a:lnTo>
                    <a:pt x="3055" y="2470"/>
                  </a:lnTo>
                  <a:lnTo>
                    <a:pt x="2972" y="2323"/>
                  </a:lnTo>
                  <a:lnTo>
                    <a:pt x="2804" y="2093"/>
                  </a:lnTo>
                  <a:lnTo>
                    <a:pt x="2742" y="2051"/>
                  </a:lnTo>
                  <a:lnTo>
                    <a:pt x="2595" y="2009"/>
                  </a:lnTo>
                  <a:lnTo>
                    <a:pt x="2532" y="1947"/>
                  </a:lnTo>
                  <a:lnTo>
                    <a:pt x="2428" y="1800"/>
                  </a:lnTo>
                  <a:lnTo>
                    <a:pt x="2344" y="1842"/>
                  </a:lnTo>
                  <a:lnTo>
                    <a:pt x="2218" y="1842"/>
                  </a:lnTo>
                  <a:lnTo>
                    <a:pt x="2177" y="1863"/>
                  </a:lnTo>
                  <a:lnTo>
                    <a:pt x="2114" y="1800"/>
                  </a:lnTo>
                  <a:lnTo>
                    <a:pt x="2009" y="1654"/>
                  </a:lnTo>
                  <a:lnTo>
                    <a:pt x="2072" y="1633"/>
                  </a:lnTo>
                  <a:lnTo>
                    <a:pt x="1967" y="1465"/>
                  </a:lnTo>
                  <a:lnTo>
                    <a:pt x="1905" y="1486"/>
                  </a:lnTo>
                  <a:lnTo>
                    <a:pt x="1905" y="1591"/>
                  </a:lnTo>
                  <a:lnTo>
                    <a:pt x="1926" y="1591"/>
                  </a:lnTo>
                  <a:lnTo>
                    <a:pt x="1926" y="1758"/>
                  </a:lnTo>
                  <a:lnTo>
                    <a:pt x="1821" y="1737"/>
                  </a:lnTo>
                  <a:lnTo>
                    <a:pt x="1800" y="1549"/>
                  </a:lnTo>
                  <a:lnTo>
                    <a:pt x="1758" y="1444"/>
                  </a:lnTo>
                  <a:lnTo>
                    <a:pt x="1674" y="1424"/>
                  </a:lnTo>
                  <a:lnTo>
                    <a:pt x="1674" y="1361"/>
                  </a:lnTo>
                  <a:lnTo>
                    <a:pt x="1654" y="1214"/>
                  </a:lnTo>
                  <a:lnTo>
                    <a:pt x="1591" y="1172"/>
                  </a:lnTo>
                  <a:lnTo>
                    <a:pt x="1507" y="754"/>
                  </a:lnTo>
                  <a:lnTo>
                    <a:pt x="1277" y="126"/>
                  </a:lnTo>
                  <a:lnTo>
                    <a:pt x="115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7" name="Google Shape;2107;p66"/>
            <p:cNvSpPr/>
            <p:nvPr/>
          </p:nvSpPr>
          <p:spPr>
            <a:xfrm>
              <a:off x="4033614" y="3061110"/>
              <a:ext cx="10467" cy="11907"/>
            </a:xfrm>
            <a:custGeom>
              <a:avLst/>
              <a:gdLst/>
              <a:ahLst/>
              <a:cxnLst/>
              <a:rect l="l" t="t" r="r" b="b"/>
              <a:pathLst>
                <a:path w="879" h="1047" extrusionOk="0">
                  <a:moveTo>
                    <a:pt x="732" y="0"/>
                  </a:moveTo>
                  <a:lnTo>
                    <a:pt x="607" y="105"/>
                  </a:lnTo>
                  <a:lnTo>
                    <a:pt x="523" y="126"/>
                  </a:lnTo>
                  <a:lnTo>
                    <a:pt x="460" y="167"/>
                  </a:lnTo>
                  <a:lnTo>
                    <a:pt x="230" y="251"/>
                  </a:lnTo>
                  <a:lnTo>
                    <a:pt x="188" y="377"/>
                  </a:lnTo>
                  <a:lnTo>
                    <a:pt x="147" y="481"/>
                  </a:lnTo>
                  <a:lnTo>
                    <a:pt x="147" y="649"/>
                  </a:lnTo>
                  <a:lnTo>
                    <a:pt x="105" y="753"/>
                  </a:lnTo>
                  <a:lnTo>
                    <a:pt x="105" y="858"/>
                  </a:lnTo>
                  <a:lnTo>
                    <a:pt x="0" y="983"/>
                  </a:lnTo>
                  <a:lnTo>
                    <a:pt x="84" y="1046"/>
                  </a:lnTo>
                  <a:lnTo>
                    <a:pt x="293" y="1046"/>
                  </a:lnTo>
                  <a:lnTo>
                    <a:pt x="419" y="963"/>
                  </a:lnTo>
                  <a:lnTo>
                    <a:pt x="565" y="942"/>
                  </a:lnTo>
                  <a:lnTo>
                    <a:pt x="670" y="983"/>
                  </a:lnTo>
                  <a:lnTo>
                    <a:pt x="670" y="963"/>
                  </a:lnTo>
                  <a:lnTo>
                    <a:pt x="837" y="732"/>
                  </a:lnTo>
                  <a:lnTo>
                    <a:pt x="816" y="670"/>
                  </a:lnTo>
                  <a:lnTo>
                    <a:pt x="649" y="670"/>
                  </a:lnTo>
                  <a:lnTo>
                    <a:pt x="565" y="732"/>
                  </a:lnTo>
                  <a:lnTo>
                    <a:pt x="523" y="691"/>
                  </a:lnTo>
                  <a:lnTo>
                    <a:pt x="460" y="628"/>
                  </a:lnTo>
                  <a:lnTo>
                    <a:pt x="565" y="628"/>
                  </a:lnTo>
                  <a:lnTo>
                    <a:pt x="649" y="544"/>
                  </a:lnTo>
                  <a:lnTo>
                    <a:pt x="732" y="544"/>
                  </a:lnTo>
                  <a:lnTo>
                    <a:pt x="837" y="419"/>
                  </a:lnTo>
                  <a:lnTo>
                    <a:pt x="879" y="377"/>
                  </a:lnTo>
                  <a:lnTo>
                    <a:pt x="858" y="230"/>
                  </a:lnTo>
                  <a:lnTo>
                    <a:pt x="879" y="147"/>
                  </a:lnTo>
                  <a:lnTo>
                    <a:pt x="858" y="147"/>
                  </a:lnTo>
                  <a:lnTo>
                    <a:pt x="732" y="21"/>
                  </a:lnTo>
                  <a:lnTo>
                    <a:pt x="73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8" name="Google Shape;2108;p66"/>
            <p:cNvSpPr/>
            <p:nvPr/>
          </p:nvSpPr>
          <p:spPr>
            <a:xfrm>
              <a:off x="4029125" y="3065864"/>
              <a:ext cx="70516" cy="89240"/>
            </a:xfrm>
            <a:custGeom>
              <a:avLst/>
              <a:gdLst/>
              <a:ahLst/>
              <a:cxnLst/>
              <a:rect l="l" t="t" r="r" b="b"/>
              <a:pathLst>
                <a:path w="5922" h="7847" extrusionOk="0">
                  <a:moveTo>
                    <a:pt x="5587" y="1"/>
                  </a:moveTo>
                  <a:lnTo>
                    <a:pt x="5587" y="21"/>
                  </a:lnTo>
                  <a:lnTo>
                    <a:pt x="5545" y="21"/>
                  </a:lnTo>
                  <a:lnTo>
                    <a:pt x="5482" y="105"/>
                  </a:lnTo>
                  <a:lnTo>
                    <a:pt x="5441" y="210"/>
                  </a:lnTo>
                  <a:lnTo>
                    <a:pt x="5420" y="168"/>
                  </a:lnTo>
                  <a:lnTo>
                    <a:pt x="5315" y="273"/>
                  </a:lnTo>
                  <a:lnTo>
                    <a:pt x="5127" y="314"/>
                  </a:lnTo>
                  <a:lnTo>
                    <a:pt x="5127" y="335"/>
                  </a:lnTo>
                  <a:lnTo>
                    <a:pt x="5085" y="314"/>
                  </a:lnTo>
                  <a:lnTo>
                    <a:pt x="4897" y="335"/>
                  </a:lnTo>
                  <a:lnTo>
                    <a:pt x="4792" y="419"/>
                  </a:lnTo>
                  <a:lnTo>
                    <a:pt x="4499" y="461"/>
                  </a:lnTo>
                  <a:lnTo>
                    <a:pt x="4457" y="461"/>
                  </a:lnTo>
                  <a:lnTo>
                    <a:pt x="4394" y="440"/>
                  </a:lnTo>
                  <a:lnTo>
                    <a:pt x="4227" y="440"/>
                  </a:lnTo>
                  <a:lnTo>
                    <a:pt x="4060" y="524"/>
                  </a:lnTo>
                  <a:lnTo>
                    <a:pt x="3913" y="524"/>
                  </a:lnTo>
                  <a:lnTo>
                    <a:pt x="3830" y="545"/>
                  </a:lnTo>
                  <a:lnTo>
                    <a:pt x="3704" y="482"/>
                  </a:lnTo>
                  <a:lnTo>
                    <a:pt x="3599" y="524"/>
                  </a:lnTo>
                  <a:lnTo>
                    <a:pt x="3244" y="733"/>
                  </a:lnTo>
                  <a:lnTo>
                    <a:pt x="3076" y="754"/>
                  </a:lnTo>
                  <a:lnTo>
                    <a:pt x="2972" y="691"/>
                  </a:lnTo>
                  <a:lnTo>
                    <a:pt x="2909" y="733"/>
                  </a:lnTo>
                  <a:lnTo>
                    <a:pt x="2762" y="733"/>
                  </a:lnTo>
                  <a:lnTo>
                    <a:pt x="2700" y="691"/>
                  </a:lnTo>
                  <a:lnTo>
                    <a:pt x="2658" y="691"/>
                  </a:lnTo>
                  <a:lnTo>
                    <a:pt x="2469" y="858"/>
                  </a:lnTo>
                  <a:lnTo>
                    <a:pt x="2365" y="858"/>
                  </a:lnTo>
                  <a:lnTo>
                    <a:pt x="2239" y="942"/>
                  </a:lnTo>
                  <a:lnTo>
                    <a:pt x="2177" y="1005"/>
                  </a:lnTo>
                  <a:lnTo>
                    <a:pt x="1988" y="1047"/>
                  </a:lnTo>
                  <a:lnTo>
                    <a:pt x="1863" y="984"/>
                  </a:lnTo>
                  <a:lnTo>
                    <a:pt x="1716" y="858"/>
                  </a:lnTo>
                  <a:lnTo>
                    <a:pt x="1653" y="858"/>
                  </a:lnTo>
                  <a:lnTo>
                    <a:pt x="1633" y="754"/>
                  </a:lnTo>
                  <a:lnTo>
                    <a:pt x="1256" y="377"/>
                  </a:lnTo>
                  <a:lnTo>
                    <a:pt x="1235" y="356"/>
                  </a:lnTo>
                  <a:lnTo>
                    <a:pt x="1214" y="314"/>
                  </a:lnTo>
                  <a:lnTo>
                    <a:pt x="1047" y="545"/>
                  </a:lnTo>
                  <a:lnTo>
                    <a:pt x="1005" y="628"/>
                  </a:lnTo>
                  <a:lnTo>
                    <a:pt x="1047" y="858"/>
                  </a:lnTo>
                  <a:lnTo>
                    <a:pt x="1151" y="1172"/>
                  </a:lnTo>
                  <a:lnTo>
                    <a:pt x="1319" y="1256"/>
                  </a:lnTo>
                  <a:lnTo>
                    <a:pt x="1298" y="1402"/>
                  </a:lnTo>
                  <a:lnTo>
                    <a:pt x="1361" y="1591"/>
                  </a:lnTo>
                  <a:lnTo>
                    <a:pt x="1570" y="1612"/>
                  </a:lnTo>
                  <a:lnTo>
                    <a:pt x="1716" y="1737"/>
                  </a:lnTo>
                  <a:lnTo>
                    <a:pt x="3411" y="2260"/>
                  </a:lnTo>
                  <a:lnTo>
                    <a:pt x="4143" y="2260"/>
                  </a:lnTo>
                  <a:lnTo>
                    <a:pt x="2365" y="4039"/>
                  </a:lnTo>
                  <a:lnTo>
                    <a:pt x="1633" y="4039"/>
                  </a:lnTo>
                  <a:lnTo>
                    <a:pt x="1528" y="4122"/>
                  </a:lnTo>
                  <a:lnTo>
                    <a:pt x="1423" y="4122"/>
                  </a:lnTo>
                  <a:lnTo>
                    <a:pt x="1298" y="4206"/>
                  </a:lnTo>
                  <a:lnTo>
                    <a:pt x="1235" y="4311"/>
                  </a:lnTo>
                  <a:lnTo>
                    <a:pt x="1130" y="4394"/>
                  </a:lnTo>
                  <a:lnTo>
                    <a:pt x="984" y="4457"/>
                  </a:lnTo>
                  <a:lnTo>
                    <a:pt x="796" y="4499"/>
                  </a:lnTo>
                  <a:lnTo>
                    <a:pt x="607" y="4562"/>
                  </a:lnTo>
                  <a:lnTo>
                    <a:pt x="565" y="4666"/>
                  </a:lnTo>
                  <a:lnTo>
                    <a:pt x="0" y="5169"/>
                  </a:lnTo>
                  <a:lnTo>
                    <a:pt x="0" y="7449"/>
                  </a:lnTo>
                  <a:lnTo>
                    <a:pt x="419" y="7847"/>
                  </a:lnTo>
                  <a:lnTo>
                    <a:pt x="419" y="7805"/>
                  </a:lnTo>
                  <a:lnTo>
                    <a:pt x="900" y="7261"/>
                  </a:lnTo>
                  <a:lnTo>
                    <a:pt x="942" y="7156"/>
                  </a:lnTo>
                  <a:lnTo>
                    <a:pt x="1089" y="7031"/>
                  </a:lnTo>
                  <a:lnTo>
                    <a:pt x="1193" y="7010"/>
                  </a:lnTo>
                  <a:lnTo>
                    <a:pt x="1235" y="6926"/>
                  </a:lnTo>
                  <a:lnTo>
                    <a:pt x="1298" y="6905"/>
                  </a:lnTo>
                  <a:lnTo>
                    <a:pt x="1633" y="6529"/>
                  </a:lnTo>
                  <a:lnTo>
                    <a:pt x="1716" y="6508"/>
                  </a:lnTo>
                  <a:lnTo>
                    <a:pt x="2093" y="6089"/>
                  </a:lnTo>
                  <a:lnTo>
                    <a:pt x="2302" y="5922"/>
                  </a:lnTo>
                  <a:lnTo>
                    <a:pt x="2469" y="5817"/>
                  </a:lnTo>
                  <a:lnTo>
                    <a:pt x="2658" y="5796"/>
                  </a:lnTo>
                  <a:lnTo>
                    <a:pt x="2930" y="5566"/>
                  </a:lnTo>
                  <a:lnTo>
                    <a:pt x="3558" y="4980"/>
                  </a:lnTo>
                  <a:lnTo>
                    <a:pt x="3871" y="4625"/>
                  </a:lnTo>
                  <a:lnTo>
                    <a:pt x="4060" y="4436"/>
                  </a:lnTo>
                  <a:lnTo>
                    <a:pt x="4081" y="4311"/>
                  </a:lnTo>
                  <a:lnTo>
                    <a:pt x="4478" y="3788"/>
                  </a:lnTo>
                  <a:lnTo>
                    <a:pt x="4478" y="3683"/>
                  </a:lnTo>
                  <a:lnTo>
                    <a:pt x="4687" y="3390"/>
                  </a:lnTo>
                  <a:lnTo>
                    <a:pt x="4708" y="3202"/>
                  </a:lnTo>
                  <a:lnTo>
                    <a:pt x="5022" y="2574"/>
                  </a:lnTo>
                  <a:lnTo>
                    <a:pt x="5106" y="2532"/>
                  </a:lnTo>
                  <a:lnTo>
                    <a:pt x="5064" y="2449"/>
                  </a:lnTo>
                  <a:lnTo>
                    <a:pt x="5064" y="2365"/>
                  </a:lnTo>
                  <a:lnTo>
                    <a:pt x="5190" y="2239"/>
                  </a:lnTo>
                  <a:lnTo>
                    <a:pt x="5231" y="2239"/>
                  </a:lnTo>
                  <a:lnTo>
                    <a:pt x="5315" y="2135"/>
                  </a:lnTo>
                  <a:lnTo>
                    <a:pt x="5441" y="1842"/>
                  </a:lnTo>
                  <a:lnTo>
                    <a:pt x="5650" y="1591"/>
                  </a:lnTo>
                  <a:lnTo>
                    <a:pt x="5650" y="1423"/>
                  </a:lnTo>
                  <a:lnTo>
                    <a:pt x="5692" y="1381"/>
                  </a:lnTo>
                  <a:lnTo>
                    <a:pt x="5713" y="1214"/>
                  </a:lnTo>
                  <a:lnTo>
                    <a:pt x="5650" y="1151"/>
                  </a:lnTo>
                  <a:lnTo>
                    <a:pt x="5734" y="1005"/>
                  </a:lnTo>
                  <a:lnTo>
                    <a:pt x="5796" y="984"/>
                  </a:lnTo>
                  <a:lnTo>
                    <a:pt x="5859" y="984"/>
                  </a:lnTo>
                  <a:lnTo>
                    <a:pt x="5901" y="1005"/>
                  </a:lnTo>
                  <a:lnTo>
                    <a:pt x="5922" y="1005"/>
                  </a:lnTo>
                  <a:lnTo>
                    <a:pt x="5901" y="942"/>
                  </a:lnTo>
                  <a:lnTo>
                    <a:pt x="5838" y="942"/>
                  </a:lnTo>
                  <a:lnTo>
                    <a:pt x="5859" y="963"/>
                  </a:lnTo>
                  <a:lnTo>
                    <a:pt x="5796" y="963"/>
                  </a:lnTo>
                  <a:lnTo>
                    <a:pt x="5817" y="879"/>
                  </a:lnTo>
                  <a:lnTo>
                    <a:pt x="5817" y="775"/>
                  </a:lnTo>
                  <a:lnTo>
                    <a:pt x="5754" y="691"/>
                  </a:lnTo>
                  <a:lnTo>
                    <a:pt x="5817" y="586"/>
                  </a:lnTo>
                  <a:lnTo>
                    <a:pt x="5859" y="545"/>
                  </a:lnTo>
                  <a:lnTo>
                    <a:pt x="5859" y="482"/>
                  </a:lnTo>
                  <a:lnTo>
                    <a:pt x="5796" y="482"/>
                  </a:lnTo>
                  <a:lnTo>
                    <a:pt x="5754" y="440"/>
                  </a:lnTo>
                  <a:lnTo>
                    <a:pt x="5796" y="377"/>
                  </a:lnTo>
                  <a:lnTo>
                    <a:pt x="5796" y="314"/>
                  </a:lnTo>
                  <a:lnTo>
                    <a:pt x="5838" y="210"/>
                  </a:lnTo>
                  <a:lnTo>
                    <a:pt x="5901" y="126"/>
                  </a:lnTo>
                  <a:lnTo>
                    <a:pt x="5859" y="105"/>
                  </a:lnTo>
                  <a:lnTo>
                    <a:pt x="5796" y="105"/>
                  </a:lnTo>
                  <a:lnTo>
                    <a:pt x="5650" y="42"/>
                  </a:lnTo>
                  <a:lnTo>
                    <a:pt x="558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09" name="Google Shape;2109;p66"/>
            <p:cNvSpPr/>
            <p:nvPr/>
          </p:nvSpPr>
          <p:spPr>
            <a:xfrm>
              <a:off x="3978054" y="3108693"/>
              <a:ext cx="57811" cy="66882"/>
            </a:xfrm>
            <a:custGeom>
              <a:avLst/>
              <a:gdLst/>
              <a:ahLst/>
              <a:cxnLst/>
              <a:rect l="l" t="t" r="r" b="b"/>
              <a:pathLst>
                <a:path w="4855" h="5881" extrusionOk="0">
                  <a:moveTo>
                    <a:pt x="984" y="1"/>
                  </a:moveTo>
                  <a:lnTo>
                    <a:pt x="942" y="43"/>
                  </a:lnTo>
                  <a:lnTo>
                    <a:pt x="732" y="252"/>
                  </a:lnTo>
                  <a:lnTo>
                    <a:pt x="607" y="461"/>
                  </a:lnTo>
                  <a:lnTo>
                    <a:pt x="565" y="461"/>
                  </a:lnTo>
                  <a:lnTo>
                    <a:pt x="460" y="566"/>
                  </a:lnTo>
                  <a:lnTo>
                    <a:pt x="398" y="628"/>
                  </a:lnTo>
                  <a:lnTo>
                    <a:pt x="356" y="649"/>
                  </a:lnTo>
                  <a:lnTo>
                    <a:pt x="272" y="754"/>
                  </a:lnTo>
                  <a:lnTo>
                    <a:pt x="293" y="733"/>
                  </a:lnTo>
                  <a:lnTo>
                    <a:pt x="356" y="796"/>
                  </a:lnTo>
                  <a:lnTo>
                    <a:pt x="377" y="963"/>
                  </a:lnTo>
                  <a:lnTo>
                    <a:pt x="419" y="984"/>
                  </a:lnTo>
                  <a:lnTo>
                    <a:pt x="419" y="1089"/>
                  </a:lnTo>
                  <a:lnTo>
                    <a:pt x="502" y="1089"/>
                  </a:lnTo>
                  <a:lnTo>
                    <a:pt x="523" y="1214"/>
                  </a:lnTo>
                  <a:lnTo>
                    <a:pt x="523" y="1361"/>
                  </a:lnTo>
                  <a:lnTo>
                    <a:pt x="670" y="1486"/>
                  </a:lnTo>
                  <a:lnTo>
                    <a:pt x="732" y="1633"/>
                  </a:lnTo>
                  <a:lnTo>
                    <a:pt x="816" y="1696"/>
                  </a:lnTo>
                  <a:lnTo>
                    <a:pt x="900" y="1737"/>
                  </a:lnTo>
                  <a:lnTo>
                    <a:pt x="837" y="1800"/>
                  </a:lnTo>
                  <a:lnTo>
                    <a:pt x="921" y="1884"/>
                  </a:lnTo>
                  <a:lnTo>
                    <a:pt x="942" y="2009"/>
                  </a:lnTo>
                  <a:lnTo>
                    <a:pt x="942" y="2114"/>
                  </a:lnTo>
                  <a:lnTo>
                    <a:pt x="816" y="2261"/>
                  </a:lnTo>
                  <a:lnTo>
                    <a:pt x="816" y="2365"/>
                  </a:lnTo>
                  <a:lnTo>
                    <a:pt x="774" y="2512"/>
                  </a:lnTo>
                  <a:lnTo>
                    <a:pt x="565" y="2512"/>
                  </a:lnTo>
                  <a:lnTo>
                    <a:pt x="565" y="2553"/>
                  </a:lnTo>
                  <a:lnTo>
                    <a:pt x="502" y="2616"/>
                  </a:lnTo>
                  <a:lnTo>
                    <a:pt x="460" y="2721"/>
                  </a:lnTo>
                  <a:lnTo>
                    <a:pt x="377" y="2784"/>
                  </a:lnTo>
                  <a:lnTo>
                    <a:pt x="293" y="2930"/>
                  </a:lnTo>
                  <a:lnTo>
                    <a:pt x="188" y="3056"/>
                  </a:lnTo>
                  <a:lnTo>
                    <a:pt x="168" y="3202"/>
                  </a:lnTo>
                  <a:lnTo>
                    <a:pt x="0" y="3767"/>
                  </a:lnTo>
                  <a:lnTo>
                    <a:pt x="188" y="3767"/>
                  </a:lnTo>
                  <a:lnTo>
                    <a:pt x="2281" y="4981"/>
                  </a:lnTo>
                  <a:lnTo>
                    <a:pt x="2406" y="5169"/>
                  </a:lnTo>
                  <a:lnTo>
                    <a:pt x="2385" y="5253"/>
                  </a:lnTo>
                  <a:lnTo>
                    <a:pt x="2406" y="5294"/>
                  </a:lnTo>
                  <a:lnTo>
                    <a:pt x="2469" y="5378"/>
                  </a:lnTo>
                  <a:lnTo>
                    <a:pt x="3181" y="5880"/>
                  </a:lnTo>
                  <a:lnTo>
                    <a:pt x="3222" y="5880"/>
                  </a:lnTo>
                  <a:lnTo>
                    <a:pt x="3327" y="5818"/>
                  </a:lnTo>
                  <a:lnTo>
                    <a:pt x="3536" y="5546"/>
                  </a:lnTo>
                  <a:lnTo>
                    <a:pt x="3641" y="5357"/>
                  </a:lnTo>
                  <a:lnTo>
                    <a:pt x="3641" y="5232"/>
                  </a:lnTo>
                  <a:lnTo>
                    <a:pt x="3725" y="5085"/>
                  </a:lnTo>
                  <a:lnTo>
                    <a:pt x="3829" y="4939"/>
                  </a:lnTo>
                  <a:lnTo>
                    <a:pt x="3808" y="4918"/>
                  </a:lnTo>
                  <a:lnTo>
                    <a:pt x="3808" y="4855"/>
                  </a:lnTo>
                  <a:lnTo>
                    <a:pt x="3871" y="4750"/>
                  </a:lnTo>
                  <a:lnTo>
                    <a:pt x="3871" y="4730"/>
                  </a:lnTo>
                  <a:lnTo>
                    <a:pt x="3955" y="4709"/>
                  </a:lnTo>
                  <a:lnTo>
                    <a:pt x="4122" y="4709"/>
                  </a:lnTo>
                  <a:lnTo>
                    <a:pt x="4227" y="4541"/>
                  </a:lnTo>
                  <a:lnTo>
                    <a:pt x="4436" y="4458"/>
                  </a:lnTo>
                  <a:lnTo>
                    <a:pt x="4394" y="4416"/>
                  </a:lnTo>
                  <a:lnTo>
                    <a:pt x="4457" y="4332"/>
                  </a:lnTo>
                  <a:lnTo>
                    <a:pt x="4499" y="4332"/>
                  </a:lnTo>
                  <a:lnTo>
                    <a:pt x="4687" y="4102"/>
                  </a:lnTo>
                  <a:lnTo>
                    <a:pt x="4708" y="4081"/>
                  </a:lnTo>
                  <a:lnTo>
                    <a:pt x="4289" y="3683"/>
                  </a:lnTo>
                  <a:lnTo>
                    <a:pt x="4289" y="1403"/>
                  </a:lnTo>
                  <a:lnTo>
                    <a:pt x="4854" y="900"/>
                  </a:lnTo>
                  <a:lnTo>
                    <a:pt x="4687" y="900"/>
                  </a:lnTo>
                  <a:lnTo>
                    <a:pt x="4478" y="942"/>
                  </a:lnTo>
                  <a:lnTo>
                    <a:pt x="4373" y="880"/>
                  </a:lnTo>
                  <a:lnTo>
                    <a:pt x="4289" y="754"/>
                  </a:lnTo>
                  <a:lnTo>
                    <a:pt x="4227" y="733"/>
                  </a:lnTo>
                  <a:lnTo>
                    <a:pt x="3955" y="754"/>
                  </a:lnTo>
                  <a:lnTo>
                    <a:pt x="3913" y="775"/>
                  </a:lnTo>
                  <a:lnTo>
                    <a:pt x="3808" y="775"/>
                  </a:lnTo>
                  <a:lnTo>
                    <a:pt x="3704" y="838"/>
                  </a:lnTo>
                  <a:lnTo>
                    <a:pt x="3641" y="900"/>
                  </a:lnTo>
                  <a:lnTo>
                    <a:pt x="3494" y="1152"/>
                  </a:lnTo>
                  <a:lnTo>
                    <a:pt x="3285" y="1152"/>
                  </a:lnTo>
                  <a:lnTo>
                    <a:pt x="3181" y="1110"/>
                  </a:lnTo>
                  <a:lnTo>
                    <a:pt x="3013" y="1152"/>
                  </a:lnTo>
                  <a:lnTo>
                    <a:pt x="2888" y="1089"/>
                  </a:lnTo>
                  <a:lnTo>
                    <a:pt x="2699" y="1089"/>
                  </a:lnTo>
                  <a:lnTo>
                    <a:pt x="2595" y="1047"/>
                  </a:lnTo>
                  <a:lnTo>
                    <a:pt x="2511" y="942"/>
                  </a:lnTo>
                  <a:lnTo>
                    <a:pt x="2365" y="859"/>
                  </a:lnTo>
                  <a:lnTo>
                    <a:pt x="2134" y="628"/>
                  </a:lnTo>
                  <a:lnTo>
                    <a:pt x="2030" y="545"/>
                  </a:lnTo>
                  <a:lnTo>
                    <a:pt x="1737" y="566"/>
                  </a:lnTo>
                  <a:lnTo>
                    <a:pt x="1611" y="524"/>
                  </a:lnTo>
                  <a:lnTo>
                    <a:pt x="1465" y="566"/>
                  </a:lnTo>
                  <a:lnTo>
                    <a:pt x="1339" y="545"/>
                  </a:lnTo>
                  <a:lnTo>
                    <a:pt x="1256" y="440"/>
                  </a:lnTo>
                  <a:lnTo>
                    <a:pt x="1256" y="105"/>
                  </a:lnTo>
                  <a:lnTo>
                    <a:pt x="1151" y="64"/>
                  </a:lnTo>
                  <a:lnTo>
                    <a:pt x="1046" y="105"/>
                  </a:lnTo>
                  <a:lnTo>
                    <a:pt x="98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sp>
          <p:nvSpPr>
            <p:cNvPr id="2110" name="Google Shape;2110;p66"/>
            <p:cNvSpPr/>
            <p:nvPr/>
          </p:nvSpPr>
          <p:spPr>
            <a:xfrm>
              <a:off x="3963598" y="3151999"/>
              <a:ext cx="5239" cy="11"/>
            </a:xfrm>
            <a:custGeom>
              <a:avLst/>
              <a:gdLst/>
              <a:ahLst/>
              <a:cxnLst/>
              <a:rect l="l" t="t" r="r" b="b"/>
              <a:pathLst>
                <a:path w="440" h="1" extrusionOk="0">
                  <a:moveTo>
                    <a:pt x="1" y="1"/>
                  </a:moveTo>
                  <a:lnTo>
                    <a:pt x="210" y="1"/>
                  </a:lnTo>
                  <a:lnTo>
                    <a:pt x="440" y="1"/>
                  </a:lnTo>
                  <a:lnTo>
                    <a:pt x="2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1" name="Google Shape;2111;p66"/>
            <p:cNvSpPr/>
            <p:nvPr/>
          </p:nvSpPr>
          <p:spPr>
            <a:xfrm>
              <a:off x="3949392" y="3117029"/>
              <a:ext cx="39878" cy="37609"/>
            </a:xfrm>
            <a:custGeom>
              <a:avLst/>
              <a:gdLst/>
              <a:ahLst/>
              <a:cxnLst/>
              <a:rect l="l" t="t" r="r" b="b"/>
              <a:pathLst>
                <a:path w="3349" h="3307" extrusionOk="0">
                  <a:moveTo>
                    <a:pt x="2700" y="0"/>
                  </a:moveTo>
                  <a:lnTo>
                    <a:pt x="2679" y="21"/>
                  </a:lnTo>
                  <a:lnTo>
                    <a:pt x="2554" y="105"/>
                  </a:lnTo>
                  <a:lnTo>
                    <a:pt x="2491" y="209"/>
                  </a:lnTo>
                  <a:lnTo>
                    <a:pt x="2365" y="251"/>
                  </a:lnTo>
                  <a:lnTo>
                    <a:pt x="2240" y="209"/>
                  </a:lnTo>
                  <a:lnTo>
                    <a:pt x="2031" y="230"/>
                  </a:lnTo>
                  <a:lnTo>
                    <a:pt x="1884" y="272"/>
                  </a:lnTo>
                  <a:lnTo>
                    <a:pt x="1779" y="272"/>
                  </a:lnTo>
                  <a:lnTo>
                    <a:pt x="1759" y="314"/>
                  </a:lnTo>
                  <a:lnTo>
                    <a:pt x="1675" y="272"/>
                  </a:lnTo>
                  <a:lnTo>
                    <a:pt x="1612" y="356"/>
                  </a:lnTo>
                  <a:lnTo>
                    <a:pt x="1612" y="440"/>
                  </a:lnTo>
                  <a:lnTo>
                    <a:pt x="1549" y="440"/>
                  </a:lnTo>
                  <a:lnTo>
                    <a:pt x="1403" y="419"/>
                  </a:lnTo>
                  <a:lnTo>
                    <a:pt x="1403" y="314"/>
                  </a:lnTo>
                  <a:lnTo>
                    <a:pt x="1298" y="272"/>
                  </a:lnTo>
                  <a:lnTo>
                    <a:pt x="1215" y="314"/>
                  </a:lnTo>
                  <a:lnTo>
                    <a:pt x="1047" y="251"/>
                  </a:lnTo>
                  <a:lnTo>
                    <a:pt x="942" y="209"/>
                  </a:lnTo>
                  <a:lnTo>
                    <a:pt x="880" y="272"/>
                  </a:lnTo>
                  <a:lnTo>
                    <a:pt x="880" y="356"/>
                  </a:lnTo>
                  <a:lnTo>
                    <a:pt x="901" y="419"/>
                  </a:lnTo>
                  <a:lnTo>
                    <a:pt x="880" y="440"/>
                  </a:lnTo>
                  <a:lnTo>
                    <a:pt x="838" y="544"/>
                  </a:lnTo>
                  <a:lnTo>
                    <a:pt x="796" y="628"/>
                  </a:lnTo>
                  <a:lnTo>
                    <a:pt x="796" y="774"/>
                  </a:lnTo>
                  <a:lnTo>
                    <a:pt x="775" y="984"/>
                  </a:lnTo>
                  <a:lnTo>
                    <a:pt x="733" y="1109"/>
                  </a:lnTo>
                  <a:lnTo>
                    <a:pt x="817" y="1172"/>
                  </a:lnTo>
                  <a:lnTo>
                    <a:pt x="880" y="1256"/>
                  </a:lnTo>
                  <a:lnTo>
                    <a:pt x="922" y="1318"/>
                  </a:lnTo>
                  <a:lnTo>
                    <a:pt x="901" y="1402"/>
                  </a:lnTo>
                  <a:lnTo>
                    <a:pt x="608" y="1800"/>
                  </a:lnTo>
                  <a:lnTo>
                    <a:pt x="419" y="2009"/>
                  </a:lnTo>
                  <a:lnTo>
                    <a:pt x="378" y="2092"/>
                  </a:lnTo>
                  <a:lnTo>
                    <a:pt x="147" y="2511"/>
                  </a:lnTo>
                  <a:lnTo>
                    <a:pt x="106" y="2553"/>
                  </a:lnTo>
                  <a:lnTo>
                    <a:pt x="106" y="2720"/>
                  </a:lnTo>
                  <a:lnTo>
                    <a:pt x="85" y="2929"/>
                  </a:lnTo>
                  <a:lnTo>
                    <a:pt x="1" y="3139"/>
                  </a:lnTo>
                  <a:lnTo>
                    <a:pt x="43" y="3264"/>
                  </a:lnTo>
                  <a:lnTo>
                    <a:pt x="1" y="3285"/>
                  </a:lnTo>
                  <a:lnTo>
                    <a:pt x="43" y="3306"/>
                  </a:lnTo>
                  <a:lnTo>
                    <a:pt x="106" y="3285"/>
                  </a:lnTo>
                  <a:lnTo>
                    <a:pt x="210" y="3201"/>
                  </a:lnTo>
                  <a:lnTo>
                    <a:pt x="273" y="3243"/>
                  </a:lnTo>
                  <a:lnTo>
                    <a:pt x="315" y="3285"/>
                  </a:lnTo>
                  <a:lnTo>
                    <a:pt x="398" y="3285"/>
                  </a:lnTo>
                  <a:lnTo>
                    <a:pt x="461" y="3243"/>
                  </a:lnTo>
                  <a:lnTo>
                    <a:pt x="461" y="3160"/>
                  </a:lnTo>
                  <a:lnTo>
                    <a:pt x="566" y="3160"/>
                  </a:lnTo>
                  <a:lnTo>
                    <a:pt x="566" y="3180"/>
                  </a:lnTo>
                  <a:lnTo>
                    <a:pt x="608" y="3139"/>
                  </a:lnTo>
                  <a:lnTo>
                    <a:pt x="670" y="3139"/>
                  </a:lnTo>
                  <a:lnTo>
                    <a:pt x="712" y="3076"/>
                  </a:lnTo>
                  <a:lnTo>
                    <a:pt x="1633" y="3076"/>
                  </a:lnTo>
                  <a:lnTo>
                    <a:pt x="2407" y="3034"/>
                  </a:lnTo>
                  <a:lnTo>
                    <a:pt x="2575" y="2469"/>
                  </a:lnTo>
                  <a:lnTo>
                    <a:pt x="2595" y="2323"/>
                  </a:lnTo>
                  <a:lnTo>
                    <a:pt x="2700" y="2197"/>
                  </a:lnTo>
                  <a:lnTo>
                    <a:pt x="2784" y="2051"/>
                  </a:lnTo>
                  <a:lnTo>
                    <a:pt x="2867" y="1988"/>
                  </a:lnTo>
                  <a:lnTo>
                    <a:pt x="2909" y="1883"/>
                  </a:lnTo>
                  <a:lnTo>
                    <a:pt x="2972" y="1820"/>
                  </a:lnTo>
                  <a:lnTo>
                    <a:pt x="2972" y="1779"/>
                  </a:lnTo>
                  <a:lnTo>
                    <a:pt x="3181" y="1779"/>
                  </a:lnTo>
                  <a:lnTo>
                    <a:pt x="3223" y="1632"/>
                  </a:lnTo>
                  <a:lnTo>
                    <a:pt x="3223" y="1528"/>
                  </a:lnTo>
                  <a:lnTo>
                    <a:pt x="3349" y="1381"/>
                  </a:lnTo>
                  <a:lnTo>
                    <a:pt x="3349" y="1276"/>
                  </a:lnTo>
                  <a:lnTo>
                    <a:pt x="3328" y="1151"/>
                  </a:lnTo>
                  <a:lnTo>
                    <a:pt x="3244" y="1067"/>
                  </a:lnTo>
                  <a:lnTo>
                    <a:pt x="3307" y="1004"/>
                  </a:lnTo>
                  <a:lnTo>
                    <a:pt x="3223" y="963"/>
                  </a:lnTo>
                  <a:lnTo>
                    <a:pt x="3139" y="900"/>
                  </a:lnTo>
                  <a:lnTo>
                    <a:pt x="3077" y="753"/>
                  </a:lnTo>
                  <a:lnTo>
                    <a:pt x="2930" y="628"/>
                  </a:lnTo>
                  <a:lnTo>
                    <a:pt x="2930" y="481"/>
                  </a:lnTo>
                  <a:lnTo>
                    <a:pt x="2909" y="356"/>
                  </a:lnTo>
                  <a:lnTo>
                    <a:pt x="2826" y="356"/>
                  </a:lnTo>
                  <a:lnTo>
                    <a:pt x="2826" y="251"/>
                  </a:lnTo>
                  <a:lnTo>
                    <a:pt x="2784" y="230"/>
                  </a:lnTo>
                  <a:lnTo>
                    <a:pt x="2763" y="63"/>
                  </a:lnTo>
                  <a:lnTo>
                    <a:pt x="270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2" name="Google Shape;2112;p66"/>
            <p:cNvSpPr/>
            <p:nvPr/>
          </p:nvSpPr>
          <p:spPr>
            <a:xfrm>
              <a:off x="3845999" y="3071334"/>
              <a:ext cx="89711" cy="57841"/>
            </a:xfrm>
            <a:custGeom>
              <a:avLst/>
              <a:gdLst/>
              <a:ahLst/>
              <a:cxnLst/>
              <a:rect l="l" t="t" r="r" b="b"/>
              <a:pathLst>
                <a:path w="7534" h="5086" extrusionOk="0">
                  <a:moveTo>
                    <a:pt x="4750" y="1"/>
                  </a:moveTo>
                  <a:lnTo>
                    <a:pt x="4708" y="64"/>
                  </a:lnTo>
                  <a:lnTo>
                    <a:pt x="4583" y="147"/>
                  </a:lnTo>
                  <a:lnTo>
                    <a:pt x="4499" y="84"/>
                  </a:lnTo>
                  <a:lnTo>
                    <a:pt x="4374" y="84"/>
                  </a:lnTo>
                  <a:lnTo>
                    <a:pt x="4269" y="168"/>
                  </a:lnTo>
                  <a:lnTo>
                    <a:pt x="4123" y="252"/>
                  </a:lnTo>
                  <a:lnTo>
                    <a:pt x="4081" y="315"/>
                  </a:lnTo>
                  <a:lnTo>
                    <a:pt x="4123" y="398"/>
                  </a:lnTo>
                  <a:lnTo>
                    <a:pt x="4039" y="419"/>
                  </a:lnTo>
                  <a:lnTo>
                    <a:pt x="3934" y="587"/>
                  </a:lnTo>
                  <a:lnTo>
                    <a:pt x="3872" y="587"/>
                  </a:lnTo>
                  <a:lnTo>
                    <a:pt x="3830" y="566"/>
                  </a:lnTo>
                  <a:lnTo>
                    <a:pt x="3746" y="670"/>
                  </a:lnTo>
                  <a:lnTo>
                    <a:pt x="3746" y="733"/>
                  </a:lnTo>
                  <a:lnTo>
                    <a:pt x="3662" y="796"/>
                  </a:lnTo>
                  <a:lnTo>
                    <a:pt x="3641" y="900"/>
                  </a:lnTo>
                  <a:lnTo>
                    <a:pt x="3662" y="984"/>
                  </a:lnTo>
                  <a:lnTo>
                    <a:pt x="3641" y="1089"/>
                  </a:lnTo>
                  <a:lnTo>
                    <a:pt x="3537" y="1131"/>
                  </a:lnTo>
                  <a:lnTo>
                    <a:pt x="3432" y="1214"/>
                  </a:lnTo>
                  <a:lnTo>
                    <a:pt x="3202" y="1235"/>
                  </a:lnTo>
                  <a:lnTo>
                    <a:pt x="3035" y="1256"/>
                  </a:lnTo>
                  <a:lnTo>
                    <a:pt x="2909" y="1235"/>
                  </a:lnTo>
                  <a:lnTo>
                    <a:pt x="2804" y="1193"/>
                  </a:lnTo>
                  <a:lnTo>
                    <a:pt x="2679" y="1214"/>
                  </a:lnTo>
                  <a:lnTo>
                    <a:pt x="2595" y="1193"/>
                  </a:lnTo>
                  <a:lnTo>
                    <a:pt x="2511" y="1235"/>
                  </a:lnTo>
                  <a:lnTo>
                    <a:pt x="2491" y="1340"/>
                  </a:lnTo>
                  <a:lnTo>
                    <a:pt x="2595" y="1445"/>
                  </a:lnTo>
                  <a:lnTo>
                    <a:pt x="2658" y="1445"/>
                  </a:lnTo>
                  <a:lnTo>
                    <a:pt x="2679" y="1528"/>
                  </a:lnTo>
                  <a:lnTo>
                    <a:pt x="2511" y="1633"/>
                  </a:lnTo>
                  <a:lnTo>
                    <a:pt x="2449" y="1737"/>
                  </a:lnTo>
                  <a:lnTo>
                    <a:pt x="2281" y="1737"/>
                  </a:lnTo>
                  <a:lnTo>
                    <a:pt x="1947" y="1821"/>
                  </a:lnTo>
                  <a:lnTo>
                    <a:pt x="1821" y="1926"/>
                  </a:lnTo>
                  <a:lnTo>
                    <a:pt x="1633" y="1968"/>
                  </a:lnTo>
                  <a:lnTo>
                    <a:pt x="1507" y="2072"/>
                  </a:lnTo>
                  <a:lnTo>
                    <a:pt x="1403" y="2093"/>
                  </a:lnTo>
                  <a:lnTo>
                    <a:pt x="1340" y="2051"/>
                  </a:lnTo>
                  <a:lnTo>
                    <a:pt x="1298" y="1926"/>
                  </a:lnTo>
                  <a:lnTo>
                    <a:pt x="1235" y="1863"/>
                  </a:lnTo>
                  <a:lnTo>
                    <a:pt x="1151" y="1926"/>
                  </a:lnTo>
                  <a:lnTo>
                    <a:pt x="1151" y="2051"/>
                  </a:lnTo>
                  <a:lnTo>
                    <a:pt x="1110" y="2177"/>
                  </a:lnTo>
                  <a:lnTo>
                    <a:pt x="942" y="2177"/>
                  </a:lnTo>
                  <a:lnTo>
                    <a:pt x="838" y="2198"/>
                  </a:lnTo>
                  <a:lnTo>
                    <a:pt x="733" y="2198"/>
                  </a:lnTo>
                  <a:lnTo>
                    <a:pt x="712" y="2072"/>
                  </a:lnTo>
                  <a:lnTo>
                    <a:pt x="670" y="2030"/>
                  </a:lnTo>
                  <a:lnTo>
                    <a:pt x="670" y="2051"/>
                  </a:lnTo>
                  <a:lnTo>
                    <a:pt x="566" y="2198"/>
                  </a:lnTo>
                  <a:lnTo>
                    <a:pt x="461" y="2240"/>
                  </a:lnTo>
                  <a:lnTo>
                    <a:pt x="398" y="2365"/>
                  </a:lnTo>
                  <a:lnTo>
                    <a:pt x="294" y="2553"/>
                  </a:lnTo>
                  <a:lnTo>
                    <a:pt x="252" y="2679"/>
                  </a:lnTo>
                  <a:lnTo>
                    <a:pt x="147" y="2867"/>
                  </a:lnTo>
                  <a:lnTo>
                    <a:pt x="63" y="2867"/>
                  </a:lnTo>
                  <a:lnTo>
                    <a:pt x="1" y="2930"/>
                  </a:lnTo>
                  <a:lnTo>
                    <a:pt x="42" y="3077"/>
                  </a:lnTo>
                  <a:lnTo>
                    <a:pt x="84" y="3223"/>
                  </a:lnTo>
                  <a:lnTo>
                    <a:pt x="63" y="3349"/>
                  </a:lnTo>
                  <a:lnTo>
                    <a:pt x="84" y="3516"/>
                  </a:lnTo>
                  <a:lnTo>
                    <a:pt x="105" y="3641"/>
                  </a:lnTo>
                  <a:lnTo>
                    <a:pt x="105" y="3872"/>
                  </a:lnTo>
                  <a:lnTo>
                    <a:pt x="168" y="3934"/>
                  </a:lnTo>
                  <a:lnTo>
                    <a:pt x="314" y="4018"/>
                  </a:lnTo>
                  <a:lnTo>
                    <a:pt x="419" y="4123"/>
                  </a:lnTo>
                  <a:lnTo>
                    <a:pt x="461" y="4248"/>
                  </a:lnTo>
                  <a:lnTo>
                    <a:pt x="607" y="4458"/>
                  </a:lnTo>
                  <a:lnTo>
                    <a:pt x="691" y="4604"/>
                  </a:lnTo>
                  <a:lnTo>
                    <a:pt x="775" y="4688"/>
                  </a:lnTo>
                  <a:lnTo>
                    <a:pt x="942" y="4813"/>
                  </a:lnTo>
                  <a:lnTo>
                    <a:pt x="942" y="4960"/>
                  </a:lnTo>
                  <a:lnTo>
                    <a:pt x="942" y="5022"/>
                  </a:lnTo>
                  <a:lnTo>
                    <a:pt x="984" y="5085"/>
                  </a:lnTo>
                  <a:lnTo>
                    <a:pt x="1005" y="5085"/>
                  </a:lnTo>
                  <a:lnTo>
                    <a:pt x="1256" y="4667"/>
                  </a:lnTo>
                  <a:lnTo>
                    <a:pt x="1403" y="4499"/>
                  </a:lnTo>
                  <a:lnTo>
                    <a:pt x="1507" y="4478"/>
                  </a:lnTo>
                  <a:lnTo>
                    <a:pt x="1549" y="4437"/>
                  </a:lnTo>
                  <a:lnTo>
                    <a:pt x="1779" y="4332"/>
                  </a:lnTo>
                  <a:lnTo>
                    <a:pt x="1884" y="4353"/>
                  </a:lnTo>
                  <a:lnTo>
                    <a:pt x="1947" y="4290"/>
                  </a:lnTo>
                  <a:lnTo>
                    <a:pt x="2135" y="4290"/>
                  </a:lnTo>
                  <a:lnTo>
                    <a:pt x="2156" y="4353"/>
                  </a:lnTo>
                  <a:lnTo>
                    <a:pt x="2260" y="4395"/>
                  </a:lnTo>
                  <a:lnTo>
                    <a:pt x="2302" y="4374"/>
                  </a:lnTo>
                  <a:lnTo>
                    <a:pt x="2386" y="4353"/>
                  </a:lnTo>
                  <a:lnTo>
                    <a:pt x="2386" y="4269"/>
                  </a:lnTo>
                  <a:lnTo>
                    <a:pt x="2407" y="4185"/>
                  </a:lnTo>
                  <a:lnTo>
                    <a:pt x="2470" y="4144"/>
                  </a:lnTo>
                  <a:lnTo>
                    <a:pt x="2365" y="4018"/>
                  </a:lnTo>
                  <a:lnTo>
                    <a:pt x="2365" y="3955"/>
                  </a:lnTo>
                  <a:lnTo>
                    <a:pt x="2449" y="3955"/>
                  </a:lnTo>
                  <a:lnTo>
                    <a:pt x="2491" y="3913"/>
                  </a:lnTo>
                  <a:lnTo>
                    <a:pt x="2491" y="3851"/>
                  </a:lnTo>
                  <a:lnTo>
                    <a:pt x="2553" y="3767"/>
                  </a:lnTo>
                  <a:lnTo>
                    <a:pt x="2553" y="3704"/>
                  </a:lnTo>
                  <a:lnTo>
                    <a:pt x="2595" y="3662"/>
                  </a:lnTo>
                  <a:lnTo>
                    <a:pt x="2679" y="3662"/>
                  </a:lnTo>
                  <a:lnTo>
                    <a:pt x="2763" y="3558"/>
                  </a:lnTo>
                  <a:lnTo>
                    <a:pt x="2867" y="3600"/>
                  </a:lnTo>
                  <a:lnTo>
                    <a:pt x="2867" y="3537"/>
                  </a:lnTo>
                  <a:lnTo>
                    <a:pt x="2930" y="3537"/>
                  </a:lnTo>
                  <a:lnTo>
                    <a:pt x="3014" y="3600"/>
                  </a:lnTo>
                  <a:lnTo>
                    <a:pt x="3076" y="3621"/>
                  </a:lnTo>
                  <a:lnTo>
                    <a:pt x="3244" y="3746"/>
                  </a:lnTo>
                  <a:lnTo>
                    <a:pt x="3327" y="3767"/>
                  </a:lnTo>
                  <a:lnTo>
                    <a:pt x="3495" y="3913"/>
                  </a:lnTo>
                  <a:lnTo>
                    <a:pt x="3516" y="3955"/>
                  </a:lnTo>
                  <a:lnTo>
                    <a:pt x="3641" y="3934"/>
                  </a:lnTo>
                  <a:lnTo>
                    <a:pt x="3767" y="4018"/>
                  </a:lnTo>
                  <a:lnTo>
                    <a:pt x="3913" y="4018"/>
                  </a:lnTo>
                  <a:lnTo>
                    <a:pt x="3976" y="4039"/>
                  </a:lnTo>
                  <a:lnTo>
                    <a:pt x="4060" y="3976"/>
                  </a:lnTo>
                  <a:lnTo>
                    <a:pt x="4144" y="3976"/>
                  </a:lnTo>
                  <a:lnTo>
                    <a:pt x="4248" y="4039"/>
                  </a:lnTo>
                  <a:lnTo>
                    <a:pt x="4374" y="4060"/>
                  </a:lnTo>
                  <a:lnTo>
                    <a:pt x="4436" y="4081"/>
                  </a:lnTo>
                  <a:lnTo>
                    <a:pt x="4562" y="4060"/>
                  </a:lnTo>
                  <a:lnTo>
                    <a:pt x="4583" y="4018"/>
                  </a:lnTo>
                  <a:lnTo>
                    <a:pt x="4541" y="3955"/>
                  </a:lnTo>
                  <a:lnTo>
                    <a:pt x="4499" y="3913"/>
                  </a:lnTo>
                  <a:lnTo>
                    <a:pt x="4604" y="3809"/>
                  </a:lnTo>
                  <a:lnTo>
                    <a:pt x="4688" y="3704"/>
                  </a:lnTo>
                  <a:lnTo>
                    <a:pt x="4792" y="3704"/>
                  </a:lnTo>
                  <a:lnTo>
                    <a:pt x="4897" y="3725"/>
                  </a:lnTo>
                  <a:lnTo>
                    <a:pt x="4980" y="3809"/>
                  </a:lnTo>
                  <a:lnTo>
                    <a:pt x="5064" y="3767"/>
                  </a:lnTo>
                  <a:lnTo>
                    <a:pt x="5294" y="3746"/>
                  </a:lnTo>
                  <a:lnTo>
                    <a:pt x="5336" y="3704"/>
                  </a:lnTo>
                  <a:lnTo>
                    <a:pt x="5420" y="3641"/>
                  </a:lnTo>
                  <a:lnTo>
                    <a:pt x="5650" y="3537"/>
                  </a:lnTo>
                  <a:lnTo>
                    <a:pt x="5734" y="3558"/>
                  </a:lnTo>
                  <a:lnTo>
                    <a:pt x="5755" y="3600"/>
                  </a:lnTo>
                  <a:lnTo>
                    <a:pt x="5796" y="3600"/>
                  </a:lnTo>
                  <a:lnTo>
                    <a:pt x="5817" y="3662"/>
                  </a:lnTo>
                  <a:lnTo>
                    <a:pt x="5859" y="3662"/>
                  </a:lnTo>
                  <a:lnTo>
                    <a:pt x="5943" y="3621"/>
                  </a:lnTo>
                  <a:lnTo>
                    <a:pt x="6068" y="3621"/>
                  </a:lnTo>
                  <a:lnTo>
                    <a:pt x="6152" y="3600"/>
                  </a:lnTo>
                  <a:lnTo>
                    <a:pt x="6236" y="3600"/>
                  </a:lnTo>
                  <a:lnTo>
                    <a:pt x="6320" y="3495"/>
                  </a:lnTo>
                  <a:lnTo>
                    <a:pt x="6278" y="3453"/>
                  </a:lnTo>
                  <a:lnTo>
                    <a:pt x="6278" y="3411"/>
                  </a:lnTo>
                  <a:lnTo>
                    <a:pt x="6361" y="3411"/>
                  </a:lnTo>
                  <a:lnTo>
                    <a:pt x="6445" y="3453"/>
                  </a:lnTo>
                  <a:lnTo>
                    <a:pt x="6633" y="3453"/>
                  </a:lnTo>
                  <a:lnTo>
                    <a:pt x="6675" y="3495"/>
                  </a:lnTo>
                  <a:lnTo>
                    <a:pt x="6759" y="3516"/>
                  </a:lnTo>
                  <a:lnTo>
                    <a:pt x="6843" y="3558"/>
                  </a:lnTo>
                  <a:lnTo>
                    <a:pt x="7073" y="3558"/>
                  </a:lnTo>
                  <a:lnTo>
                    <a:pt x="7094" y="3600"/>
                  </a:lnTo>
                  <a:lnTo>
                    <a:pt x="7282" y="3516"/>
                  </a:lnTo>
                  <a:lnTo>
                    <a:pt x="7408" y="3516"/>
                  </a:lnTo>
                  <a:lnTo>
                    <a:pt x="7512" y="3558"/>
                  </a:lnTo>
                  <a:lnTo>
                    <a:pt x="7533" y="3600"/>
                  </a:lnTo>
                  <a:lnTo>
                    <a:pt x="7533" y="3558"/>
                  </a:lnTo>
                  <a:lnTo>
                    <a:pt x="7491" y="3495"/>
                  </a:lnTo>
                  <a:lnTo>
                    <a:pt x="7387" y="3432"/>
                  </a:lnTo>
                  <a:lnTo>
                    <a:pt x="7303" y="3390"/>
                  </a:lnTo>
                  <a:lnTo>
                    <a:pt x="7303" y="3202"/>
                  </a:lnTo>
                  <a:lnTo>
                    <a:pt x="7303" y="3139"/>
                  </a:lnTo>
                  <a:lnTo>
                    <a:pt x="7219" y="3077"/>
                  </a:lnTo>
                  <a:lnTo>
                    <a:pt x="7010" y="3035"/>
                  </a:lnTo>
                  <a:lnTo>
                    <a:pt x="6968" y="2972"/>
                  </a:lnTo>
                  <a:lnTo>
                    <a:pt x="6989" y="2867"/>
                  </a:lnTo>
                  <a:lnTo>
                    <a:pt x="6947" y="2805"/>
                  </a:lnTo>
                  <a:lnTo>
                    <a:pt x="6843" y="2784"/>
                  </a:lnTo>
                  <a:lnTo>
                    <a:pt x="6780" y="2721"/>
                  </a:lnTo>
                  <a:lnTo>
                    <a:pt x="6759" y="2553"/>
                  </a:lnTo>
                  <a:lnTo>
                    <a:pt x="6738" y="2491"/>
                  </a:lnTo>
                  <a:lnTo>
                    <a:pt x="6550" y="2365"/>
                  </a:lnTo>
                  <a:lnTo>
                    <a:pt x="6487" y="2386"/>
                  </a:lnTo>
                  <a:lnTo>
                    <a:pt x="6382" y="2344"/>
                  </a:lnTo>
                  <a:lnTo>
                    <a:pt x="6361" y="2365"/>
                  </a:lnTo>
                  <a:lnTo>
                    <a:pt x="6257" y="2344"/>
                  </a:lnTo>
                  <a:lnTo>
                    <a:pt x="6131" y="2240"/>
                  </a:lnTo>
                  <a:lnTo>
                    <a:pt x="6173" y="2177"/>
                  </a:lnTo>
                  <a:lnTo>
                    <a:pt x="6215" y="2135"/>
                  </a:lnTo>
                  <a:lnTo>
                    <a:pt x="6278" y="2072"/>
                  </a:lnTo>
                  <a:lnTo>
                    <a:pt x="6320" y="1989"/>
                  </a:lnTo>
                  <a:lnTo>
                    <a:pt x="6257" y="1926"/>
                  </a:lnTo>
                  <a:lnTo>
                    <a:pt x="6152" y="1926"/>
                  </a:lnTo>
                  <a:lnTo>
                    <a:pt x="6048" y="1863"/>
                  </a:lnTo>
                  <a:lnTo>
                    <a:pt x="6006" y="1779"/>
                  </a:lnTo>
                  <a:lnTo>
                    <a:pt x="5922" y="1737"/>
                  </a:lnTo>
                  <a:lnTo>
                    <a:pt x="5817" y="1737"/>
                  </a:lnTo>
                  <a:lnTo>
                    <a:pt x="5692" y="1654"/>
                  </a:lnTo>
                  <a:lnTo>
                    <a:pt x="5608" y="1612"/>
                  </a:lnTo>
                  <a:lnTo>
                    <a:pt x="5587" y="1465"/>
                  </a:lnTo>
                  <a:lnTo>
                    <a:pt x="5629" y="1403"/>
                  </a:lnTo>
                  <a:lnTo>
                    <a:pt x="5545" y="1361"/>
                  </a:lnTo>
                  <a:lnTo>
                    <a:pt x="5399" y="1361"/>
                  </a:lnTo>
                  <a:lnTo>
                    <a:pt x="5336" y="1424"/>
                  </a:lnTo>
                  <a:lnTo>
                    <a:pt x="5211" y="1424"/>
                  </a:lnTo>
                  <a:lnTo>
                    <a:pt x="5106" y="1340"/>
                  </a:lnTo>
                  <a:lnTo>
                    <a:pt x="5106" y="1152"/>
                  </a:lnTo>
                  <a:lnTo>
                    <a:pt x="5169" y="1047"/>
                  </a:lnTo>
                  <a:lnTo>
                    <a:pt x="5190" y="1005"/>
                  </a:lnTo>
                  <a:lnTo>
                    <a:pt x="5211" y="880"/>
                  </a:lnTo>
                  <a:lnTo>
                    <a:pt x="5190" y="796"/>
                  </a:lnTo>
                  <a:lnTo>
                    <a:pt x="5085" y="566"/>
                  </a:lnTo>
                  <a:lnTo>
                    <a:pt x="4918" y="377"/>
                  </a:lnTo>
                  <a:lnTo>
                    <a:pt x="4897" y="294"/>
                  </a:lnTo>
                  <a:lnTo>
                    <a:pt x="4771" y="189"/>
                  </a:lnTo>
                  <a:lnTo>
                    <a:pt x="4813" y="168"/>
                  </a:lnTo>
                  <a:lnTo>
                    <a:pt x="4813" y="84"/>
                  </a:lnTo>
                  <a:lnTo>
                    <a:pt x="475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3" name="Google Shape;2113;p66"/>
            <p:cNvSpPr/>
            <p:nvPr/>
          </p:nvSpPr>
          <p:spPr>
            <a:xfrm>
              <a:off x="3809372" y="2919523"/>
              <a:ext cx="106405" cy="94483"/>
            </a:xfrm>
            <a:custGeom>
              <a:avLst/>
              <a:gdLst/>
              <a:ahLst/>
              <a:cxnLst/>
              <a:rect l="l" t="t" r="r" b="b"/>
              <a:pathLst>
                <a:path w="8936" h="8308" extrusionOk="0">
                  <a:moveTo>
                    <a:pt x="1068" y="1"/>
                  </a:moveTo>
                  <a:lnTo>
                    <a:pt x="1047" y="42"/>
                  </a:lnTo>
                  <a:lnTo>
                    <a:pt x="1089" y="252"/>
                  </a:lnTo>
                  <a:lnTo>
                    <a:pt x="1152" y="314"/>
                  </a:lnTo>
                  <a:lnTo>
                    <a:pt x="1026" y="482"/>
                  </a:lnTo>
                  <a:lnTo>
                    <a:pt x="670" y="691"/>
                  </a:lnTo>
                  <a:lnTo>
                    <a:pt x="670" y="775"/>
                  </a:lnTo>
                  <a:lnTo>
                    <a:pt x="566" y="900"/>
                  </a:lnTo>
                  <a:lnTo>
                    <a:pt x="440" y="900"/>
                  </a:lnTo>
                  <a:lnTo>
                    <a:pt x="357" y="963"/>
                  </a:lnTo>
                  <a:lnTo>
                    <a:pt x="357" y="1047"/>
                  </a:lnTo>
                  <a:lnTo>
                    <a:pt x="336" y="1109"/>
                  </a:lnTo>
                  <a:lnTo>
                    <a:pt x="398" y="1298"/>
                  </a:lnTo>
                  <a:lnTo>
                    <a:pt x="398" y="1423"/>
                  </a:lnTo>
                  <a:lnTo>
                    <a:pt x="357" y="1465"/>
                  </a:lnTo>
                  <a:lnTo>
                    <a:pt x="357" y="1507"/>
                  </a:lnTo>
                  <a:lnTo>
                    <a:pt x="336" y="1570"/>
                  </a:lnTo>
                  <a:lnTo>
                    <a:pt x="294" y="1674"/>
                  </a:lnTo>
                  <a:lnTo>
                    <a:pt x="189" y="1716"/>
                  </a:lnTo>
                  <a:lnTo>
                    <a:pt x="147" y="1737"/>
                  </a:lnTo>
                  <a:lnTo>
                    <a:pt x="85" y="1737"/>
                  </a:lnTo>
                  <a:lnTo>
                    <a:pt x="22" y="1800"/>
                  </a:lnTo>
                  <a:lnTo>
                    <a:pt x="22" y="2009"/>
                  </a:lnTo>
                  <a:lnTo>
                    <a:pt x="85" y="2030"/>
                  </a:lnTo>
                  <a:lnTo>
                    <a:pt x="147" y="2156"/>
                  </a:lnTo>
                  <a:lnTo>
                    <a:pt x="147" y="2553"/>
                  </a:lnTo>
                  <a:lnTo>
                    <a:pt x="189" y="2762"/>
                  </a:lnTo>
                  <a:lnTo>
                    <a:pt x="189" y="2825"/>
                  </a:lnTo>
                  <a:lnTo>
                    <a:pt x="189" y="3139"/>
                  </a:lnTo>
                  <a:lnTo>
                    <a:pt x="252" y="3286"/>
                  </a:lnTo>
                  <a:lnTo>
                    <a:pt x="210" y="3599"/>
                  </a:lnTo>
                  <a:lnTo>
                    <a:pt x="189" y="3662"/>
                  </a:lnTo>
                  <a:lnTo>
                    <a:pt x="231" y="3788"/>
                  </a:lnTo>
                  <a:lnTo>
                    <a:pt x="252" y="3997"/>
                  </a:lnTo>
                  <a:lnTo>
                    <a:pt x="210" y="4081"/>
                  </a:lnTo>
                  <a:lnTo>
                    <a:pt x="85" y="4185"/>
                  </a:lnTo>
                  <a:lnTo>
                    <a:pt x="43" y="4227"/>
                  </a:lnTo>
                  <a:lnTo>
                    <a:pt x="1" y="4290"/>
                  </a:lnTo>
                  <a:lnTo>
                    <a:pt x="85" y="4353"/>
                  </a:lnTo>
                  <a:lnTo>
                    <a:pt x="210" y="4541"/>
                  </a:lnTo>
                  <a:lnTo>
                    <a:pt x="315" y="4771"/>
                  </a:lnTo>
                  <a:lnTo>
                    <a:pt x="357" y="4813"/>
                  </a:lnTo>
                  <a:lnTo>
                    <a:pt x="398" y="4938"/>
                  </a:lnTo>
                  <a:lnTo>
                    <a:pt x="357" y="5022"/>
                  </a:lnTo>
                  <a:lnTo>
                    <a:pt x="398" y="5169"/>
                  </a:lnTo>
                  <a:lnTo>
                    <a:pt x="440" y="5252"/>
                  </a:lnTo>
                  <a:lnTo>
                    <a:pt x="461" y="5357"/>
                  </a:lnTo>
                  <a:lnTo>
                    <a:pt x="545" y="5441"/>
                  </a:lnTo>
                  <a:lnTo>
                    <a:pt x="984" y="5441"/>
                  </a:lnTo>
                  <a:lnTo>
                    <a:pt x="1089" y="5503"/>
                  </a:lnTo>
                  <a:lnTo>
                    <a:pt x="1173" y="5650"/>
                  </a:lnTo>
                  <a:lnTo>
                    <a:pt x="1277" y="5880"/>
                  </a:lnTo>
                  <a:lnTo>
                    <a:pt x="1340" y="5922"/>
                  </a:lnTo>
                  <a:lnTo>
                    <a:pt x="1403" y="6006"/>
                  </a:lnTo>
                  <a:lnTo>
                    <a:pt x="1486" y="6089"/>
                  </a:lnTo>
                  <a:lnTo>
                    <a:pt x="2491" y="6319"/>
                  </a:lnTo>
                  <a:lnTo>
                    <a:pt x="2595" y="6424"/>
                  </a:lnTo>
                  <a:lnTo>
                    <a:pt x="3118" y="6215"/>
                  </a:lnTo>
                  <a:lnTo>
                    <a:pt x="3746" y="5964"/>
                  </a:lnTo>
                  <a:lnTo>
                    <a:pt x="8391" y="8307"/>
                  </a:lnTo>
                  <a:lnTo>
                    <a:pt x="8391" y="8098"/>
                  </a:lnTo>
                  <a:lnTo>
                    <a:pt x="8935" y="8056"/>
                  </a:lnTo>
                  <a:lnTo>
                    <a:pt x="8705" y="2344"/>
                  </a:lnTo>
                  <a:lnTo>
                    <a:pt x="8621" y="2051"/>
                  </a:lnTo>
                  <a:lnTo>
                    <a:pt x="8580" y="1905"/>
                  </a:lnTo>
                  <a:lnTo>
                    <a:pt x="8621" y="1716"/>
                  </a:lnTo>
                  <a:lnTo>
                    <a:pt x="8705" y="1507"/>
                  </a:lnTo>
                  <a:lnTo>
                    <a:pt x="8705" y="1381"/>
                  </a:lnTo>
                  <a:lnTo>
                    <a:pt x="8663" y="1214"/>
                  </a:lnTo>
                  <a:lnTo>
                    <a:pt x="8705" y="984"/>
                  </a:lnTo>
                  <a:lnTo>
                    <a:pt x="8726" y="879"/>
                  </a:lnTo>
                  <a:lnTo>
                    <a:pt x="8684" y="733"/>
                  </a:lnTo>
                  <a:lnTo>
                    <a:pt x="8600" y="649"/>
                  </a:lnTo>
                  <a:lnTo>
                    <a:pt x="8496" y="628"/>
                  </a:lnTo>
                  <a:lnTo>
                    <a:pt x="8391" y="649"/>
                  </a:lnTo>
                  <a:lnTo>
                    <a:pt x="7994" y="586"/>
                  </a:lnTo>
                  <a:lnTo>
                    <a:pt x="7931" y="524"/>
                  </a:lnTo>
                  <a:lnTo>
                    <a:pt x="7764" y="524"/>
                  </a:lnTo>
                  <a:lnTo>
                    <a:pt x="7575" y="461"/>
                  </a:lnTo>
                  <a:lnTo>
                    <a:pt x="7533" y="377"/>
                  </a:lnTo>
                  <a:lnTo>
                    <a:pt x="7575" y="356"/>
                  </a:lnTo>
                  <a:lnTo>
                    <a:pt x="7554" y="314"/>
                  </a:lnTo>
                  <a:lnTo>
                    <a:pt x="7324" y="168"/>
                  </a:lnTo>
                  <a:lnTo>
                    <a:pt x="7199" y="168"/>
                  </a:lnTo>
                  <a:lnTo>
                    <a:pt x="7010" y="126"/>
                  </a:lnTo>
                  <a:lnTo>
                    <a:pt x="6948" y="105"/>
                  </a:lnTo>
                  <a:lnTo>
                    <a:pt x="6885" y="147"/>
                  </a:lnTo>
                  <a:lnTo>
                    <a:pt x="6780" y="63"/>
                  </a:lnTo>
                  <a:lnTo>
                    <a:pt x="6717" y="63"/>
                  </a:lnTo>
                  <a:lnTo>
                    <a:pt x="6529" y="168"/>
                  </a:lnTo>
                  <a:lnTo>
                    <a:pt x="6257" y="210"/>
                  </a:lnTo>
                  <a:lnTo>
                    <a:pt x="6006" y="314"/>
                  </a:lnTo>
                  <a:lnTo>
                    <a:pt x="5880" y="440"/>
                  </a:lnTo>
                  <a:lnTo>
                    <a:pt x="5839" y="586"/>
                  </a:lnTo>
                  <a:lnTo>
                    <a:pt x="5776" y="670"/>
                  </a:lnTo>
                  <a:lnTo>
                    <a:pt x="5755" y="963"/>
                  </a:lnTo>
                  <a:lnTo>
                    <a:pt x="5859" y="1109"/>
                  </a:lnTo>
                  <a:lnTo>
                    <a:pt x="5943" y="1361"/>
                  </a:lnTo>
                  <a:lnTo>
                    <a:pt x="5880" y="1486"/>
                  </a:lnTo>
                  <a:lnTo>
                    <a:pt x="5734" y="1633"/>
                  </a:lnTo>
                  <a:lnTo>
                    <a:pt x="5692" y="1695"/>
                  </a:lnTo>
                  <a:lnTo>
                    <a:pt x="5525" y="1842"/>
                  </a:lnTo>
                  <a:lnTo>
                    <a:pt x="5378" y="1905"/>
                  </a:lnTo>
                  <a:lnTo>
                    <a:pt x="5148" y="1800"/>
                  </a:lnTo>
                  <a:lnTo>
                    <a:pt x="4918" y="1612"/>
                  </a:lnTo>
                  <a:lnTo>
                    <a:pt x="4730" y="1486"/>
                  </a:lnTo>
                  <a:lnTo>
                    <a:pt x="4479" y="1319"/>
                  </a:lnTo>
                  <a:lnTo>
                    <a:pt x="4060" y="1172"/>
                  </a:lnTo>
                  <a:lnTo>
                    <a:pt x="3872" y="1151"/>
                  </a:lnTo>
                  <a:lnTo>
                    <a:pt x="3788" y="1172"/>
                  </a:lnTo>
                  <a:lnTo>
                    <a:pt x="3579" y="1172"/>
                  </a:lnTo>
                  <a:lnTo>
                    <a:pt x="3390" y="1068"/>
                  </a:lnTo>
                  <a:lnTo>
                    <a:pt x="3223" y="733"/>
                  </a:lnTo>
                  <a:lnTo>
                    <a:pt x="3223" y="545"/>
                  </a:lnTo>
                  <a:lnTo>
                    <a:pt x="3056" y="356"/>
                  </a:lnTo>
                  <a:lnTo>
                    <a:pt x="2700" y="314"/>
                  </a:lnTo>
                  <a:lnTo>
                    <a:pt x="2512" y="168"/>
                  </a:lnTo>
                  <a:lnTo>
                    <a:pt x="2198" y="168"/>
                  </a:lnTo>
                  <a:lnTo>
                    <a:pt x="2010" y="105"/>
                  </a:lnTo>
                  <a:lnTo>
                    <a:pt x="1591" y="168"/>
                  </a:lnTo>
                  <a:lnTo>
                    <a:pt x="1298" y="126"/>
                  </a:lnTo>
                  <a:lnTo>
                    <a:pt x="1194" y="21"/>
                  </a:lnTo>
                  <a:lnTo>
                    <a:pt x="106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4" name="Google Shape;2114;p66"/>
            <p:cNvSpPr/>
            <p:nvPr/>
          </p:nvSpPr>
          <p:spPr>
            <a:xfrm>
              <a:off x="3795917" y="2888589"/>
              <a:ext cx="27173" cy="50699"/>
            </a:xfrm>
            <a:custGeom>
              <a:avLst/>
              <a:gdLst/>
              <a:ahLst/>
              <a:cxnLst/>
              <a:rect l="l" t="t" r="r" b="b"/>
              <a:pathLst>
                <a:path w="2282" h="4458" extrusionOk="0">
                  <a:moveTo>
                    <a:pt x="1235" y="0"/>
                  </a:moveTo>
                  <a:lnTo>
                    <a:pt x="1110" y="21"/>
                  </a:lnTo>
                  <a:lnTo>
                    <a:pt x="1110" y="105"/>
                  </a:lnTo>
                  <a:lnTo>
                    <a:pt x="1026" y="21"/>
                  </a:lnTo>
                  <a:lnTo>
                    <a:pt x="859" y="42"/>
                  </a:lnTo>
                  <a:lnTo>
                    <a:pt x="650" y="147"/>
                  </a:lnTo>
                  <a:lnTo>
                    <a:pt x="524" y="272"/>
                  </a:lnTo>
                  <a:lnTo>
                    <a:pt x="503" y="356"/>
                  </a:lnTo>
                  <a:lnTo>
                    <a:pt x="524" y="440"/>
                  </a:lnTo>
                  <a:lnTo>
                    <a:pt x="503" y="586"/>
                  </a:lnTo>
                  <a:lnTo>
                    <a:pt x="503" y="775"/>
                  </a:lnTo>
                  <a:lnTo>
                    <a:pt x="399" y="1047"/>
                  </a:lnTo>
                  <a:lnTo>
                    <a:pt x="440" y="1193"/>
                  </a:lnTo>
                  <a:lnTo>
                    <a:pt x="503" y="1298"/>
                  </a:lnTo>
                  <a:lnTo>
                    <a:pt x="524" y="1319"/>
                  </a:lnTo>
                  <a:lnTo>
                    <a:pt x="482" y="1381"/>
                  </a:lnTo>
                  <a:lnTo>
                    <a:pt x="419" y="1465"/>
                  </a:lnTo>
                  <a:lnTo>
                    <a:pt x="503" y="1528"/>
                  </a:lnTo>
                  <a:lnTo>
                    <a:pt x="440" y="1591"/>
                  </a:lnTo>
                  <a:lnTo>
                    <a:pt x="419" y="1800"/>
                  </a:lnTo>
                  <a:lnTo>
                    <a:pt x="336" y="1842"/>
                  </a:lnTo>
                  <a:lnTo>
                    <a:pt x="294" y="1925"/>
                  </a:lnTo>
                  <a:lnTo>
                    <a:pt x="210" y="1946"/>
                  </a:lnTo>
                  <a:lnTo>
                    <a:pt x="85" y="2114"/>
                  </a:lnTo>
                  <a:lnTo>
                    <a:pt x="1" y="2365"/>
                  </a:lnTo>
                  <a:lnTo>
                    <a:pt x="64" y="2407"/>
                  </a:lnTo>
                  <a:lnTo>
                    <a:pt x="106" y="2553"/>
                  </a:lnTo>
                  <a:lnTo>
                    <a:pt x="85" y="2616"/>
                  </a:lnTo>
                  <a:lnTo>
                    <a:pt x="168" y="2741"/>
                  </a:lnTo>
                  <a:lnTo>
                    <a:pt x="210" y="2741"/>
                  </a:lnTo>
                  <a:lnTo>
                    <a:pt x="399" y="2888"/>
                  </a:lnTo>
                  <a:lnTo>
                    <a:pt x="419" y="3034"/>
                  </a:lnTo>
                  <a:lnTo>
                    <a:pt x="545" y="3076"/>
                  </a:lnTo>
                  <a:lnTo>
                    <a:pt x="608" y="3139"/>
                  </a:lnTo>
                  <a:lnTo>
                    <a:pt x="712" y="3160"/>
                  </a:lnTo>
                  <a:lnTo>
                    <a:pt x="838" y="3306"/>
                  </a:lnTo>
                  <a:lnTo>
                    <a:pt x="1215" y="4457"/>
                  </a:lnTo>
                  <a:lnTo>
                    <a:pt x="1277" y="4457"/>
                  </a:lnTo>
                  <a:lnTo>
                    <a:pt x="1319" y="4436"/>
                  </a:lnTo>
                  <a:lnTo>
                    <a:pt x="1424" y="4394"/>
                  </a:lnTo>
                  <a:lnTo>
                    <a:pt x="1466" y="4290"/>
                  </a:lnTo>
                  <a:lnTo>
                    <a:pt x="1487" y="4227"/>
                  </a:lnTo>
                  <a:lnTo>
                    <a:pt x="1487" y="4185"/>
                  </a:lnTo>
                  <a:lnTo>
                    <a:pt x="1528" y="4143"/>
                  </a:lnTo>
                  <a:lnTo>
                    <a:pt x="1528" y="4018"/>
                  </a:lnTo>
                  <a:lnTo>
                    <a:pt x="1466" y="3829"/>
                  </a:lnTo>
                  <a:lnTo>
                    <a:pt x="1487" y="3767"/>
                  </a:lnTo>
                  <a:lnTo>
                    <a:pt x="1487" y="3683"/>
                  </a:lnTo>
                  <a:lnTo>
                    <a:pt x="1570" y="3620"/>
                  </a:lnTo>
                  <a:lnTo>
                    <a:pt x="1696" y="3620"/>
                  </a:lnTo>
                  <a:lnTo>
                    <a:pt x="1800" y="3495"/>
                  </a:lnTo>
                  <a:lnTo>
                    <a:pt x="1800" y="3411"/>
                  </a:lnTo>
                  <a:lnTo>
                    <a:pt x="2156" y="3202"/>
                  </a:lnTo>
                  <a:lnTo>
                    <a:pt x="2282" y="3034"/>
                  </a:lnTo>
                  <a:lnTo>
                    <a:pt x="2219" y="2972"/>
                  </a:lnTo>
                  <a:lnTo>
                    <a:pt x="2177" y="2762"/>
                  </a:lnTo>
                  <a:lnTo>
                    <a:pt x="2198" y="2721"/>
                  </a:lnTo>
                  <a:lnTo>
                    <a:pt x="2156" y="2679"/>
                  </a:lnTo>
                  <a:lnTo>
                    <a:pt x="1968" y="2574"/>
                  </a:lnTo>
                  <a:lnTo>
                    <a:pt x="1947" y="2532"/>
                  </a:lnTo>
                  <a:lnTo>
                    <a:pt x="1947" y="2448"/>
                  </a:lnTo>
                  <a:lnTo>
                    <a:pt x="1863" y="2407"/>
                  </a:lnTo>
                  <a:lnTo>
                    <a:pt x="1842" y="2428"/>
                  </a:lnTo>
                  <a:lnTo>
                    <a:pt x="1842" y="2469"/>
                  </a:lnTo>
                  <a:lnTo>
                    <a:pt x="1779" y="2511"/>
                  </a:lnTo>
                  <a:lnTo>
                    <a:pt x="1696" y="2469"/>
                  </a:lnTo>
                  <a:lnTo>
                    <a:pt x="1675" y="2365"/>
                  </a:lnTo>
                  <a:lnTo>
                    <a:pt x="1591" y="2407"/>
                  </a:lnTo>
                  <a:lnTo>
                    <a:pt x="1424" y="2260"/>
                  </a:lnTo>
                  <a:lnTo>
                    <a:pt x="1340" y="2114"/>
                  </a:lnTo>
                  <a:lnTo>
                    <a:pt x="1382" y="1925"/>
                  </a:lnTo>
                  <a:lnTo>
                    <a:pt x="1675" y="1737"/>
                  </a:lnTo>
                  <a:lnTo>
                    <a:pt x="1842" y="1570"/>
                  </a:lnTo>
                  <a:lnTo>
                    <a:pt x="1884" y="1507"/>
                  </a:lnTo>
                  <a:lnTo>
                    <a:pt x="1842" y="1465"/>
                  </a:lnTo>
                  <a:lnTo>
                    <a:pt x="1884" y="1381"/>
                  </a:lnTo>
                  <a:lnTo>
                    <a:pt x="1863" y="1298"/>
                  </a:lnTo>
                  <a:lnTo>
                    <a:pt x="1842" y="1277"/>
                  </a:lnTo>
                  <a:lnTo>
                    <a:pt x="1842" y="1088"/>
                  </a:lnTo>
                  <a:lnTo>
                    <a:pt x="1654" y="1005"/>
                  </a:lnTo>
                  <a:lnTo>
                    <a:pt x="1528" y="837"/>
                  </a:lnTo>
                  <a:lnTo>
                    <a:pt x="1549" y="670"/>
                  </a:lnTo>
                  <a:lnTo>
                    <a:pt x="1675" y="586"/>
                  </a:lnTo>
                  <a:lnTo>
                    <a:pt x="1696" y="482"/>
                  </a:lnTo>
                  <a:lnTo>
                    <a:pt x="1800" y="314"/>
                  </a:lnTo>
                  <a:lnTo>
                    <a:pt x="1800" y="210"/>
                  </a:lnTo>
                  <a:lnTo>
                    <a:pt x="1759" y="147"/>
                  </a:lnTo>
                  <a:lnTo>
                    <a:pt x="1549" y="335"/>
                  </a:lnTo>
                  <a:lnTo>
                    <a:pt x="1487" y="419"/>
                  </a:lnTo>
                  <a:lnTo>
                    <a:pt x="1424" y="377"/>
                  </a:lnTo>
                  <a:lnTo>
                    <a:pt x="1340" y="168"/>
                  </a:lnTo>
                  <a:lnTo>
                    <a:pt x="1277" y="168"/>
                  </a:lnTo>
                  <a:lnTo>
                    <a:pt x="1277" y="63"/>
                  </a:lnTo>
                  <a:lnTo>
                    <a:pt x="1235"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5" name="Google Shape;2115;p66"/>
            <p:cNvSpPr/>
            <p:nvPr/>
          </p:nvSpPr>
          <p:spPr>
            <a:xfrm>
              <a:off x="3689035" y="2890250"/>
              <a:ext cx="138044" cy="127554"/>
            </a:xfrm>
            <a:custGeom>
              <a:avLst/>
              <a:gdLst/>
              <a:ahLst/>
              <a:cxnLst/>
              <a:rect l="l" t="t" r="r" b="b"/>
              <a:pathLst>
                <a:path w="11593" h="11216" extrusionOk="0">
                  <a:moveTo>
                    <a:pt x="8307" y="1"/>
                  </a:moveTo>
                  <a:lnTo>
                    <a:pt x="8161" y="22"/>
                  </a:lnTo>
                  <a:lnTo>
                    <a:pt x="8140" y="106"/>
                  </a:lnTo>
                  <a:lnTo>
                    <a:pt x="8035" y="126"/>
                  </a:lnTo>
                  <a:lnTo>
                    <a:pt x="7994" y="210"/>
                  </a:lnTo>
                  <a:lnTo>
                    <a:pt x="7910" y="189"/>
                  </a:lnTo>
                  <a:lnTo>
                    <a:pt x="7805" y="189"/>
                  </a:lnTo>
                  <a:lnTo>
                    <a:pt x="7701" y="294"/>
                  </a:lnTo>
                  <a:lnTo>
                    <a:pt x="7575" y="294"/>
                  </a:lnTo>
                  <a:lnTo>
                    <a:pt x="7491" y="168"/>
                  </a:lnTo>
                  <a:lnTo>
                    <a:pt x="7324" y="168"/>
                  </a:lnTo>
                  <a:lnTo>
                    <a:pt x="7261" y="126"/>
                  </a:lnTo>
                  <a:lnTo>
                    <a:pt x="7115" y="168"/>
                  </a:lnTo>
                  <a:lnTo>
                    <a:pt x="6989" y="126"/>
                  </a:lnTo>
                  <a:lnTo>
                    <a:pt x="6947" y="168"/>
                  </a:lnTo>
                  <a:lnTo>
                    <a:pt x="6843" y="106"/>
                  </a:lnTo>
                  <a:lnTo>
                    <a:pt x="6759" y="126"/>
                  </a:lnTo>
                  <a:lnTo>
                    <a:pt x="6696" y="273"/>
                  </a:lnTo>
                  <a:lnTo>
                    <a:pt x="6571" y="273"/>
                  </a:lnTo>
                  <a:lnTo>
                    <a:pt x="6466" y="210"/>
                  </a:lnTo>
                  <a:lnTo>
                    <a:pt x="6320" y="336"/>
                  </a:lnTo>
                  <a:lnTo>
                    <a:pt x="6236" y="336"/>
                  </a:lnTo>
                  <a:lnTo>
                    <a:pt x="6110" y="273"/>
                  </a:lnTo>
                  <a:lnTo>
                    <a:pt x="5964" y="315"/>
                  </a:lnTo>
                  <a:lnTo>
                    <a:pt x="5629" y="315"/>
                  </a:lnTo>
                  <a:lnTo>
                    <a:pt x="5336" y="524"/>
                  </a:lnTo>
                  <a:lnTo>
                    <a:pt x="5190" y="545"/>
                  </a:lnTo>
                  <a:lnTo>
                    <a:pt x="5106" y="545"/>
                  </a:lnTo>
                  <a:lnTo>
                    <a:pt x="4981" y="629"/>
                  </a:lnTo>
                  <a:lnTo>
                    <a:pt x="4960" y="712"/>
                  </a:lnTo>
                  <a:lnTo>
                    <a:pt x="4897" y="817"/>
                  </a:lnTo>
                  <a:lnTo>
                    <a:pt x="4813" y="817"/>
                  </a:lnTo>
                  <a:lnTo>
                    <a:pt x="4792" y="796"/>
                  </a:lnTo>
                  <a:lnTo>
                    <a:pt x="4709" y="796"/>
                  </a:lnTo>
                  <a:lnTo>
                    <a:pt x="4646" y="817"/>
                  </a:lnTo>
                  <a:lnTo>
                    <a:pt x="4604" y="859"/>
                  </a:lnTo>
                  <a:lnTo>
                    <a:pt x="4457" y="901"/>
                  </a:lnTo>
                  <a:lnTo>
                    <a:pt x="4332" y="942"/>
                  </a:lnTo>
                  <a:lnTo>
                    <a:pt x="4248" y="1026"/>
                  </a:lnTo>
                  <a:lnTo>
                    <a:pt x="4227" y="1068"/>
                  </a:lnTo>
                  <a:lnTo>
                    <a:pt x="4123" y="1214"/>
                  </a:lnTo>
                  <a:lnTo>
                    <a:pt x="3934" y="1256"/>
                  </a:lnTo>
                  <a:lnTo>
                    <a:pt x="3767" y="1256"/>
                  </a:lnTo>
                  <a:lnTo>
                    <a:pt x="3830" y="1340"/>
                  </a:lnTo>
                  <a:lnTo>
                    <a:pt x="3851" y="1382"/>
                  </a:lnTo>
                  <a:lnTo>
                    <a:pt x="3913" y="1486"/>
                  </a:lnTo>
                  <a:lnTo>
                    <a:pt x="3934" y="1591"/>
                  </a:lnTo>
                  <a:lnTo>
                    <a:pt x="3955" y="1633"/>
                  </a:lnTo>
                  <a:lnTo>
                    <a:pt x="3955" y="1800"/>
                  </a:lnTo>
                  <a:lnTo>
                    <a:pt x="3955" y="2051"/>
                  </a:lnTo>
                  <a:lnTo>
                    <a:pt x="3976" y="2114"/>
                  </a:lnTo>
                  <a:lnTo>
                    <a:pt x="4039" y="2575"/>
                  </a:lnTo>
                  <a:lnTo>
                    <a:pt x="4123" y="2721"/>
                  </a:lnTo>
                  <a:lnTo>
                    <a:pt x="4144" y="2847"/>
                  </a:lnTo>
                  <a:lnTo>
                    <a:pt x="4227" y="2847"/>
                  </a:lnTo>
                  <a:lnTo>
                    <a:pt x="4269" y="2909"/>
                  </a:lnTo>
                  <a:lnTo>
                    <a:pt x="4353" y="2930"/>
                  </a:lnTo>
                  <a:lnTo>
                    <a:pt x="4395" y="2951"/>
                  </a:lnTo>
                  <a:lnTo>
                    <a:pt x="4332" y="3119"/>
                  </a:lnTo>
                  <a:lnTo>
                    <a:pt x="4353" y="3160"/>
                  </a:lnTo>
                  <a:lnTo>
                    <a:pt x="4269" y="3265"/>
                  </a:lnTo>
                  <a:lnTo>
                    <a:pt x="3600" y="3265"/>
                  </a:lnTo>
                  <a:lnTo>
                    <a:pt x="3453" y="3307"/>
                  </a:lnTo>
                  <a:lnTo>
                    <a:pt x="3307" y="3516"/>
                  </a:lnTo>
                  <a:lnTo>
                    <a:pt x="3202" y="3621"/>
                  </a:lnTo>
                  <a:lnTo>
                    <a:pt x="3118" y="3746"/>
                  </a:lnTo>
                  <a:lnTo>
                    <a:pt x="3139" y="3935"/>
                  </a:lnTo>
                  <a:lnTo>
                    <a:pt x="3097" y="4060"/>
                  </a:lnTo>
                  <a:lnTo>
                    <a:pt x="2700" y="4311"/>
                  </a:lnTo>
                  <a:lnTo>
                    <a:pt x="2072" y="4688"/>
                  </a:lnTo>
                  <a:lnTo>
                    <a:pt x="1612" y="4939"/>
                  </a:lnTo>
                  <a:lnTo>
                    <a:pt x="1361" y="5002"/>
                  </a:lnTo>
                  <a:lnTo>
                    <a:pt x="1152" y="5002"/>
                  </a:lnTo>
                  <a:lnTo>
                    <a:pt x="1047" y="5043"/>
                  </a:lnTo>
                  <a:lnTo>
                    <a:pt x="880" y="5043"/>
                  </a:lnTo>
                  <a:lnTo>
                    <a:pt x="587" y="5106"/>
                  </a:lnTo>
                  <a:lnTo>
                    <a:pt x="398" y="5211"/>
                  </a:lnTo>
                  <a:lnTo>
                    <a:pt x="294" y="5357"/>
                  </a:lnTo>
                  <a:lnTo>
                    <a:pt x="43" y="5546"/>
                  </a:lnTo>
                  <a:lnTo>
                    <a:pt x="43" y="6048"/>
                  </a:lnTo>
                  <a:lnTo>
                    <a:pt x="1" y="6194"/>
                  </a:lnTo>
                  <a:lnTo>
                    <a:pt x="2093" y="7617"/>
                  </a:lnTo>
                  <a:lnTo>
                    <a:pt x="5901" y="10128"/>
                  </a:lnTo>
                  <a:lnTo>
                    <a:pt x="5943" y="10379"/>
                  </a:lnTo>
                  <a:lnTo>
                    <a:pt x="6069" y="10484"/>
                  </a:lnTo>
                  <a:lnTo>
                    <a:pt x="6278" y="10484"/>
                  </a:lnTo>
                  <a:lnTo>
                    <a:pt x="6445" y="10546"/>
                  </a:lnTo>
                  <a:lnTo>
                    <a:pt x="6550" y="10672"/>
                  </a:lnTo>
                  <a:lnTo>
                    <a:pt x="6696" y="10735"/>
                  </a:lnTo>
                  <a:lnTo>
                    <a:pt x="6801" y="10797"/>
                  </a:lnTo>
                  <a:lnTo>
                    <a:pt x="6801" y="10902"/>
                  </a:lnTo>
                  <a:lnTo>
                    <a:pt x="6738" y="11090"/>
                  </a:lnTo>
                  <a:lnTo>
                    <a:pt x="6780" y="11174"/>
                  </a:lnTo>
                  <a:lnTo>
                    <a:pt x="6906" y="11216"/>
                  </a:lnTo>
                  <a:lnTo>
                    <a:pt x="7178" y="11195"/>
                  </a:lnTo>
                  <a:lnTo>
                    <a:pt x="7408" y="11111"/>
                  </a:lnTo>
                  <a:lnTo>
                    <a:pt x="8266" y="10902"/>
                  </a:lnTo>
                  <a:lnTo>
                    <a:pt x="8998" y="10253"/>
                  </a:lnTo>
                  <a:lnTo>
                    <a:pt x="11592" y="8663"/>
                  </a:lnTo>
                  <a:lnTo>
                    <a:pt x="11509" y="8580"/>
                  </a:lnTo>
                  <a:lnTo>
                    <a:pt x="11446" y="8496"/>
                  </a:lnTo>
                  <a:lnTo>
                    <a:pt x="11383" y="8454"/>
                  </a:lnTo>
                  <a:lnTo>
                    <a:pt x="11279" y="8224"/>
                  </a:lnTo>
                  <a:lnTo>
                    <a:pt x="11195" y="8077"/>
                  </a:lnTo>
                  <a:lnTo>
                    <a:pt x="11090" y="8015"/>
                  </a:lnTo>
                  <a:lnTo>
                    <a:pt x="10651" y="8015"/>
                  </a:lnTo>
                  <a:lnTo>
                    <a:pt x="10567" y="7931"/>
                  </a:lnTo>
                  <a:lnTo>
                    <a:pt x="10546" y="7826"/>
                  </a:lnTo>
                  <a:lnTo>
                    <a:pt x="10504" y="7743"/>
                  </a:lnTo>
                  <a:lnTo>
                    <a:pt x="10463" y="7596"/>
                  </a:lnTo>
                  <a:lnTo>
                    <a:pt x="10504" y="7512"/>
                  </a:lnTo>
                  <a:lnTo>
                    <a:pt x="10463" y="7387"/>
                  </a:lnTo>
                  <a:lnTo>
                    <a:pt x="10421" y="7345"/>
                  </a:lnTo>
                  <a:lnTo>
                    <a:pt x="10316" y="7115"/>
                  </a:lnTo>
                  <a:lnTo>
                    <a:pt x="10191" y="6927"/>
                  </a:lnTo>
                  <a:lnTo>
                    <a:pt x="10107" y="6864"/>
                  </a:lnTo>
                  <a:lnTo>
                    <a:pt x="10149" y="6801"/>
                  </a:lnTo>
                  <a:lnTo>
                    <a:pt x="10191" y="6759"/>
                  </a:lnTo>
                  <a:lnTo>
                    <a:pt x="10316" y="6655"/>
                  </a:lnTo>
                  <a:lnTo>
                    <a:pt x="10358" y="6571"/>
                  </a:lnTo>
                  <a:lnTo>
                    <a:pt x="10337" y="6362"/>
                  </a:lnTo>
                  <a:lnTo>
                    <a:pt x="10295" y="6236"/>
                  </a:lnTo>
                  <a:lnTo>
                    <a:pt x="10316" y="6173"/>
                  </a:lnTo>
                  <a:lnTo>
                    <a:pt x="10358" y="5860"/>
                  </a:lnTo>
                  <a:lnTo>
                    <a:pt x="10295" y="5713"/>
                  </a:lnTo>
                  <a:lnTo>
                    <a:pt x="10295" y="5399"/>
                  </a:lnTo>
                  <a:lnTo>
                    <a:pt x="10295" y="5336"/>
                  </a:lnTo>
                  <a:lnTo>
                    <a:pt x="10253" y="5127"/>
                  </a:lnTo>
                  <a:lnTo>
                    <a:pt x="10253" y="4730"/>
                  </a:lnTo>
                  <a:lnTo>
                    <a:pt x="10191" y="4604"/>
                  </a:lnTo>
                  <a:lnTo>
                    <a:pt x="10128" y="4583"/>
                  </a:lnTo>
                  <a:lnTo>
                    <a:pt x="10128" y="4374"/>
                  </a:lnTo>
                  <a:lnTo>
                    <a:pt x="10191" y="4311"/>
                  </a:lnTo>
                  <a:lnTo>
                    <a:pt x="9814" y="3160"/>
                  </a:lnTo>
                  <a:lnTo>
                    <a:pt x="9688" y="3014"/>
                  </a:lnTo>
                  <a:lnTo>
                    <a:pt x="9584" y="2993"/>
                  </a:lnTo>
                  <a:lnTo>
                    <a:pt x="9521" y="2930"/>
                  </a:lnTo>
                  <a:lnTo>
                    <a:pt x="9395" y="2888"/>
                  </a:lnTo>
                  <a:lnTo>
                    <a:pt x="9375" y="2742"/>
                  </a:lnTo>
                  <a:lnTo>
                    <a:pt x="9186" y="2595"/>
                  </a:lnTo>
                  <a:lnTo>
                    <a:pt x="9144" y="2595"/>
                  </a:lnTo>
                  <a:lnTo>
                    <a:pt x="9061" y="2470"/>
                  </a:lnTo>
                  <a:lnTo>
                    <a:pt x="9082" y="2407"/>
                  </a:lnTo>
                  <a:lnTo>
                    <a:pt x="9040" y="2261"/>
                  </a:lnTo>
                  <a:lnTo>
                    <a:pt x="8977" y="2219"/>
                  </a:lnTo>
                  <a:lnTo>
                    <a:pt x="9061" y="1968"/>
                  </a:lnTo>
                  <a:lnTo>
                    <a:pt x="9186" y="1800"/>
                  </a:lnTo>
                  <a:lnTo>
                    <a:pt x="9270" y="1779"/>
                  </a:lnTo>
                  <a:lnTo>
                    <a:pt x="9312" y="1696"/>
                  </a:lnTo>
                  <a:lnTo>
                    <a:pt x="9395" y="1654"/>
                  </a:lnTo>
                  <a:lnTo>
                    <a:pt x="9416" y="1445"/>
                  </a:lnTo>
                  <a:lnTo>
                    <a:pt x="9479" y="1382"/>
                  </a:lnTo>
                  <a:lnTo>
                    <a:pt x="9395" y="1319"/>
                  </a:lnTo>
                  <a:lnTo>
                    <a:pt x="9458" y="1235"/>
                  </a:lnTo>
                  <a:lnTo>
                    <a:pt x="9500" y="1173"/>
                  </a:lnTo>
                  <a:lnTo>
                    <a:pt x="9479" y="1152"/>
                  </a:lnTo>
                  <a:lnTo>
                    <a:pt x="9416" y="1047"/>
                  </a:lnTo>
                  <a:lnTo>
                    <a:pt x="9375" y="901"/>
                  </a:lnTo>
                  <a:lnTo>
                    <a:pt x="9479" y="629"/>
                  </a:lnTo>
                  <a:lnTo>
                    <a:pt x="9479" y="440"/>
                  </a:lnTo>
                  <a:lnTo>
                    <a:pt x="9500" y="294"/>
                  </a:lnTo>
                  <a:lnTo>
                    <a:pt x="9479" y="210"/>
                  </a:lnTo>
                  <a:lnTo>
                    <a:pt x="9500" y="126"/>
                  </a:lnTo>
                  <a:lnTo>
                    <a:pt x="9479" y="106"/>
                  </a:lnTo>
                  <a:lnTo>
                    <a:pt x="9291" y="126"/>
                  </a:lnTo>
                  <a:lnTo>
                    <a:pt x="9207" y="106"/>
                  </a:lnTo>
                  <a:lnTo>
                    <a:pt x="8977" y="189"/>
                  </a:lnTo>
                  <a:lnTo>
                    <a:pt x="8851" y="85"/>
                  </a:lnTo>
                  <a:lnTo>
                    <a:pt x="8684" y="22"/>
                  </a:lnTo>
                  <a:lnTo>
                    <a:pt x="8684" y="85"/>
                  </a:lnTo>
                  <a:lnTo>
                    <a:pt x="8579" y="189"/>
                  </a:lnTo>
                  <a:lnTo>
                    <a:pt x="8370" y="168"/>
                  </a:lnTo>
                  <a:lnTo>
                    <a:pt x="8370" y="64"/>
                  </a:lnTo>
                  <a:lnTo>
                    <a:pt x="830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6" name="Google Shape;2116;p66"/>
            <p:cNvSpPr/>
            <p:nvPr/>
          </p:nvSpPr>
          <p:spPr>
            <a:xfrm>
              <a:off x="3661636" y="2898825"/>
              <a:ext cx="79733" cy="60206"/>
            </a:xfrm>
            <a:custGeom>
              <a:avLst/>
              <a:gdLst/>
              <a:ahLst/>
              <a:cxnLst/>
              <a:rect l="l" t="t" r="r" b="b"/>
              <a:pathLst>
                <a:path w="6696" h="5294" extrusionOk="0">
                  <a:moveTo>
                    <a:pt x="4269" y="0"/>
                  </a:moveTo>
                  <a:lnTo>
                    <a:pt x="4164" y="42"/>
                  </a:lnTo>
                  <a:lnTo>
                    <a:pt x="4122" y="84"/>
                  </a:lnTo>
                  <a:lnTo>
                    <a:pt x="4038" y="84"/>
                  </a:lnTo>
                  <a:lnTo>
                    <a:pt x="3913" y="188"/>
                  </a:lnTo>
                  <a:lnTo>
                    <a:pt x="3871" y="502"/>
                  </a:lnTo>
                  <a:lnTo>
                    <a:pt x="3766" y="691"/>
                  </a:lnTo>
                  <a:lnTo>
                    <a:pt x="3745" y="921"/>
                  </a:lnTo>
                  <a:lnTo>
                    <a:pt x="3662" y="1046"/>
                  </a:lnTo>
                  <a:lnTo>
                    <a:pt x="3411" y="1318"/>
                  </a:lnTo>
                  <a:lnTo>
                    <a:pt x="3327" y="1318"/>
                  </a:lnTo>
                  <a:lnTo>
                    <a:pt x="3222" y="1402"/>
                  </a:lnTo>
                  <a:lnTo>
                    <a:pt x="2992" y="1465"/>
                  </a:lnTo>
                  <a:lnTo>
                    <a:pt x="2825" y="1632"/>
                  </a:lnTo>
                  <a:lnTo>
                    <a:pt x="2783" y="1632"/>
                  </a:lnTo>
                  <a:lnTo>
                    <a:pt x="2553" y="1779"/>
                  </a:lnTo>
                  <a:lnTo>
                    <a:pt x="2406" y="1841"/>
                  </a:lnTo>
                  <a:lnTo>
                    <a:pt x="2344" y="1967"/>
                  </a:lnTo>
                  <a:lnTo>
                    <a:pt x="2072" y="2155"/>
                  </a:lnTo>
                  <a:lnTo>
                    <a:pt x="2155" y="2365"/>
                  </a:lnTo>
                  <a:lnTo>
                    <a:pt x="2155" y="2490"/>
                  </a:lnTo>
                  <a:lnTo>
                    <a:pt x="1925" y="2699"/>
                  </a:lnTo>
                  <a:lnTo>
                    <a:pt x="1758" y="3013"/>
                  </a:lnTo>
                  <a:lnTo>
                    <a:pt x="1758" y="3118"/>
                  </a:lnTo>
                  <a:lnTo>
                    <a:pt x="1862" y="3327"/>
                  </a:lnTo>
                  <a:lnTo>
                    <a:pt x="1779" y="3536"/>
                  </a:lnTo>
                  <a:lnTo>
                    <a:pt x="1841" y="3599"/>
                  </a:lnTo>
                  <a:lnTo>
                    <a:pt x="1883" y="3662"/>
                  </a:lnTo>
                  <a:lnTo>
                    <a:pt x="1862" y="3829"/>
                  </a:lnTo>
                  <a:lnTo>
                    <a:pt x="1507" y="4248"/>
                  </a:lnTo>
                  <a:lnTo>
                    <a:pt x="1444" y="4394"/>
                  </a:lnTo>
                  <a:lnTo>
                    <a:pt x="1297" y="4582"/>
                  </a:lnTo>
                  <a:lnTo>
                    <a:pt x="1109" y="4603"/>
                  </a:lnTo>
                  <a:lnTo>
                    <a:pt x="712" y="4959"/>
                  </a:lnTo>
                  <a:lnTo>
                    <a:pt x="147" y="5064"/>
                  </a:lnTo>
                  <a:lnTo>
                    <a:pt x="0" y="5273"/>
                  </a:lnTo>
                  <a:lnTo>
                    <a:pt x="2344" y="5294"/>
                  </a:lnTo>
                  <a:lnTo>
                    <a:pt x="2344" y="4792"/>
                  </a:lnTo>
                  <a:lnTo>
                    <a:pt x="2595" y="4603"/>
                  </a:lnTo>
                  <a:lnTo>
                    <a:pt x="2699" y="4457"/>
                  </a:lnTo>
                  <a:lnTo>
                    <a:pt x="2888" y="4352"/>
                  </a:lnTo>
                  <a:lnTo>
                    <a:pt x="3181" y="4289"/>
                  </a:lnTo>
                  <a:lnTo>
                    <a:pt x="3348" y="4289"/>
                  </a:lnTo>
                  <a:lnTo>
                    <a:pt x="3453" y="4248"/>
                  </a:lnTo>
                  <a:lnTo>
                    <a:pt x="3662" y="4248"/>
                  </a:lnTo>
                  <a:lnTo>
                    <a:pt x="3913" y="4185"/>
                  </a:lnTo>
                  <a:lnTo>
                    <a:pt x="4373" y="3934"/>
                  </a:lnTo>
                  <a:lnTo>
                    <a:pt x="5001" y="3557"/>
                  </a:lnTo>
                  <a:lnTo>
                    <a:pt x="5398" y="3306"/>
                  </a:lnTo>
                  <a:lnTo>
                    <a:pt x="5440" y="3181"/>
                  </a:lnTo>
                  <a:lnTo>
                    <a:pt x="5419" y="2992"/>
                  </a:lnTo>
                  <a:lnTo>
                    <a:pt x="5503" y="2867"/>
                  </a:lnTo>
                  <a:lnTo>
                    <a:pt x="5608" y="2762"/>
                  </a:lnTo>
                  <a:lnTo>
                    <a:pt x="5754" y="2553"/>
                  </a:lnTo>
                  <a:lnTo>
                    <a:pt x="5901" y="2511"/>
                  </a:lnTo>
                  <a:lnTo>
                    <a:pt x="6570" y="2511"/>
                  </a:lnTo>
                  <a:lnTo>
                    <a:pt x="6654" y="2406"/>
                  </a:lnTo>
                  <a:lnTo>
                    <a:pt x="6633" y="2365"/>
                  </a:lnTo>
                  <a:lnTo>
                    <a:pt x="6696" y="2197"/>
                  </a:lnTo>
                  <a:lnTo>
                    <a:pt x="6654" y="2176"/>
                  </a:lnTo>
                  <a:lnTo>
                    <a:pt x="6570" y="2155"/>
                  </a:lnTo>
                  <a:lnTo>
                    <a:pt x="6528" y="2093"/>
                  </a:lnTo>
                  <a:lnTo>
                    <a:pt x="6445" y="2093"/>
                  </a:lnTo>
                  <a:lnTo>
                    <a:pt x="6424" y="1967"/>
                  </a:lnTo>
                  <a:lnTo>
                    <a:pt x="6340" y="1821"/>
                  </a:lnTo>
                  <a:lnTo>
                    <a:pt x="6277" y="1360"/>
                  </a:lnTo>
                  <a:lnTo>
                    <a:pt x="6256" y="1297"/>
                  </a:lnTo>
                  <a:lnTo>
                    <a:pt x="6256" y="1046"/>
                  </a:lnTo>
                  <a:lnTo>
                    <a:pt x="6256" y="879"/>
                  </a:lnTo>
                  <a:lnTo>
                    <a:pt x="6235" y="837"/>
                  </a:lnTo>
                  <a:lnTo>
                    <a:pt x="6214" y="732"/>
                  </a:lnTo>
                  <a:lnTo>
                    <a:pt x="6152" y="628"/>
                  </a:lnTo>
                  <a:lnTo>
                    <a:pt x="6131" y="586"/>
                  </a:lnTo>
                  <a:lnTo>
                    <a:pt x="6068" y="502"/>
                  </a:lnTo>
                  <a:lnTo>
                    <a:pt x="6005" y="523"/>
                  </a:lnTo>
                  <a:lnTo>
                    <a:pt x="5691" y="502"/>
                  </a:lnTo>
                  <a:lnTo>
                    <a:pt x="5608" y="419"/>
                  </a:lnTo>
                  <a:lnTo>
                    <a:pt x="5587" y="314"/>
                  </a:lnTo>
                  <a:lnTo>
                    <a:pt x="5524" y="293"/>
                  </a:lnTo>
                  <a:lnTo>
                    <a:pt x="5419" y="398"/>
                  </a:lnTo>
                  <a:lnTo>
                    <a:pt x="5231" y="460"/>
                  </a:lnTo>
                  <a:lnTo>
                    <a:pt x="5064" y="398"/>
                  </a:lnTo>
                  <a:lnTo>
                    <a:pt x="4959" y="398"/>
                  </a:lnTo>
                  <a:lnTo>
                    <a:pt x="4854" y="460"/>
                  </a:lnTo>
                  <a:lnTo>
                    <a:pt x="4666" y="481"/>
                  </a:lnTo>
                  <a:lnTo>
                    <a:pt x="4541" y="460"/>
                  </a:lnTo>
                  <a:lnTo>
                    <a:pt x="4373" y="293"/>
                  </a:lnTo>
                  <a:lnTo>
                    <a:pt x="4331" y="251"/>
                  </a:lnTo>
                  <a:lnTo>
                    <a:pt x="4290" y="147"/>
                  </a:lnTo>
                  <a:lnTo>
                    <a:pt x="4290" y="84"/>
                  </a:lnTo>
                  <a:lnTo>
                    <a:pt x="4290" y="42"/>
                  </a:lnTo>
                  <a:lnTo>
                    <a:pt x="426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7" name="Google Shape;2117;p66"/>
            <p:cNvSpPr/>
            <p:nvPr/>
          </p:nvSpPr>
          <p:spPr>
            <a:xfrm>
              <a:off x="3632974" y="2958780"/>
              <a:ext cx="56573" cy="43318"/>
            </a:xfrm>
            <a:custGeom>
              <a:avLst/>
              <a:gdLst/>
              <a:ahLst/>
              <a:cxnLst/>
              <a:rect l="l" t="t" r="r" b="b"/>
              <a:pathLst>
                <a:path w="4751" h="3809" extrusionOk="0">
                  <a:moveTo>
                    <a:pt x="2407" y="1"/>
                  </a:moveTo>
                  <a:lnTo>
                    <a:pt x="2177" y="315"/>
                  </a:lnTo>
                  <a:lnTo>
                    <a:pt x="2177" y="524"/>
                  </a:lnTo>
                  <a:lnTo>
                    <a:pt x="2072" y="545"/>
                  </a:lnTo>
                  <a:lnTo>
                    <a:pt x="1675" y="754"/>
                  </a:lnTo>
                  <a:lnTo>
                    <a:pt x="1633" y="859"/>
                  </a:lnTo>
                  <a:lnTo>
                    <a:pt x="1466" y="942"/>
                  </a:lnTo>
                  <a:lnTo>
                    <a:pt x="1528" y="1089"/>
                  </a:lnTo>
                  <a:lnTo>
                    <a:pt x="1194" y="1612"/>
                  </a:lnTo>
                  <a:lnTo>
                    <a:pt x="1152" y="1779"/>
                  </a:lnTo>
                  <a:lnTo>
                    <a:pt x="901" y="2030"/>
                  </a:lnTo>
                  <a:lnTo>
                    <a:pt x="796" y="2093"/>
                  </a:lnTo>
                  <a:lnTo>
                    <a:pt x="671" y="2365"/>
                  </a:lnTo>
                  <a:lnTo>
                    <a:pt x="671" y="2470"/>
                  </a:lnTo>
                  <a:lnTo>
                    <a:pt x="461" y="2763"/>
                  </a:lnTo>
                  <a:lnTo>
                    <a:pt x="419" y="2847"/>
                  </a:lnTo>
                  <a:lnTo>
                    <a:pt x="503" y="2888"/>
                  </a:lnTo>
                  <a:lnTo>
                    <a:pt x="398" y="2930"/>
                  </a:lnTo>
                  <a:lnTo>
                    <a:pt x="210" y="3265"/>
                  </a:lnTo>
                  <a:lnTo>
                    <a:pt x="147" y="3286"/>
                  </a:lnTo>
                  <a:lnTo>
                    <a:pt x="64" y="3370"/>
                  </a:lnTo>
                  <a:lnTo>
                    <a:pt x="85" y="3495"/>
                  </a:lnTo>
                  <a:lnTo>
                    <a:pt x="1" y="3621"/>
                  </a:lnTo>
                  <a:lnTo>
                    <a:pt x="43" y="3809"/>
                  </a:lnTo>
                  <a:lnTo>
                    <a:pt x="2344" y="3809"/>
                  </a:lnTo>
                  <a:lnTo>
                    <a:pt x="2303" y="2742"/>
                  </a:lnTo>
                  <a:lnTo>
                    <a:pt x="2386" y="2575"/>
                  </a:lnTo>
                  <a:lnTo>
                    <a:pt x="2512" y="2512"/>
                  </a:lnTo>
                  <a:lnTo>
                    <a:pt x="2658" y="2470"/>
                  </a:lnTo>
                  <a:lnTo>
                    <a:pt x="2867" y="2470"/>
                  </a:lnTo>
                  <a:lnTo>
                    <a:pt x="2888" y="963"/>
                  </a:lnTo>
                  <a:lnTo>
                    <a:pt x="4709" y="984"/>
                  </a:lnTo>
                  <a:lnTo>
                    <a:pt x="4709" y="168"/>
                  </a:lnTo>
                  <a:lnTo>
                    <a:pt x="4751" y="22"/>
                  </a:lnTo>
                  <a:lnTo>
                    <a:pt x="2407"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8" name="Google Shape;2118;p66"/>
            <p:cNvSpPr/>
            <p:nvPr/>
          </p:nvSpPr>
          <p:spPr>
            <a:xfrm>
              <a:off x="3632736" y="2960691"/>
              <a:ext cx="81233" cy="85430"/>
            </a:xfrm>
            <a:custGeom>
              <a:avLst/>
              <a:gdLst/>
              <a:ahLst/>
              <a:cxnLst/>
              <a:rect l="l" t="t" r="r" b="b"/>
              <a:pathLst>
                <a:path w="6822" h="7512" extrusionOk="0">
                  <a:moveTo>
                    <a:pt x="4729" y="0"/>
                  </a:moveTo>
                  <a:lnTo>
                    <a:pt x="4729" y="816"/>
                  </a:lnTo>
                  <a:lnTo>
                    <a:pt x="2908" y="795"/>
                  </a:lnTo>
                  <a:lnTo>
                    <a:pt x="2887" y="2302"/>
                  </a:lnTo>
                  <a:lnTo>
                    <a:pt x="2678" y="2302"/>
                  </a:lnTo>
                  <a:lnTo>
                    <a:pt x="2532" y="2344"/>
                  </a:lnTo>
                  <a:lnTo>
                    <a:pt x="2406" y="2407"/>
                  </a:lnTo>
                  <a:lnTo>
                    <a:pt x="2323" y="2574"/>
                  </a:lnTo>
                  <a:lnTo>
                    <a:pt x="2364" y="3641"/>
                  </a:lnTo>
                  <a:lnTo>
                    <a:pt x="63" y="3641"/>
                  </a:lnTo>
                  <a:lnTo>
                    <a:pt x="63" y="3662"/>
                  </a:lnTo>
                  <a:lnTo>
                    <a:pt x="0" y="3808"/>
                  </a:lnTo>
                  <a:lnTo>
                    <a:pt x="0" y="4039"/>
                  </a:lnTo>
                  <a:lnTo>
                    <a:pt x="126" y="3871"/>
                  </a:lnTo>
                  <a:lnTo>
                    <a:pt x="188" y="4018"/>
                  </a:lnTo>
                  <a:lnTo>
                    <a:pt x="209" y="4039"/>
                  </a:lnTo>
                  <a:lnTo>
                    <a:pt x="293" y="3976"/>
                  </a:lnTo>
                  <a:lnTo>
                    <a:pt x="439" y="4248"/>
                  </a:lnTo>
                  <a:lnTo>
                    <a:pt x="398" y="4331"/>
                  </a:lnTo>
                  <a:lnTo>
                    <a:pt x="418" y="4436"/>
                  </a:lnTo>
                  <a:lnTo>
                    <a:pt x="398" y="4645"/>
                  </a:lnTo>
                  <a:lnTo>
                    <a:pt x="314" y="4645"/>
                  </a:lnTo>
                  <a:lnTo>
                    <a:pt x="230" y="4687"/>
                  </a:lnTo>
                  <a:lnTo>
                    <a:pt x="418" y="4917"/>
                  </a:lnTo>
                  <a:lnTo>
                    <a:pt x="523" y="5524"/>
                  </a:lnTo>
                  <a:lnTo>
                    <a:pt x="481" y="5943"/>
                  </a:lnTo>
                  <a:lnTo>
                    <a:pt x="335" y="6131"/>
                  </a:lnTo>
                  <a:lnTo>
                    <a:pt x="272" y="6487"/>
                  </a:lnTo>
                  <a:lnTo>
                    <a:pt x="209" y="6738"/>
                  </a:lnTo>
                  <a:lnTo>
                    <a:pt x="314" y="6654"/>
                  </a:lnTo>
                  <a:lnTo>
                    <a:pt x="398" y="6654"/>
                  </a:lnTo>
                  <a:lnTo>
                    <a:pt x="523" y="6549"/>
                  </a:lnTo>
                  <a:lnTo>
                    <a:pt x="837" y="6487"/>
                  </a:lnTo>
                  <a:lnTo>
                    <a:pt x="1130" y="6382"/>
                  </a:lnTo>
                  <a:lnTo>
                    <a:pt x="1235" y="6382"/>
                  </a:lnTo>
                  <a:lnTo>
                    <a:pt x="1486" y="6466"/>
                  </a:lnTo>
                  <a:lnTo>
                    <a:pt x="1653" y="6487"/>
                  </a:lnTo>
                  <a:lnTo>
                    <a:pt x="1779" y="6654"/>
                  </a:lnTo>
                  <a:lnTo>
                    <a:pt x="1779" y="6738"/>
                  </a:lnTo>
                  <a:lnTo>
                    <a:pt x="1862" y="6759"/>
                  </a:lnTo>
                  <a:lnTo>
                    <a:pt x="1946" y="6696"/>
                  </a:lnTo>
                  <a:lnTo>
                    <a:pt x="1988" y="6738"/>
                  </a:lnTo>
                  <a:lnTo>
                    <a:pt x="2071" y="6738"/>
                  </a:lnTo>
                  <a:lnTo>
                    <a:pt x="2113" y="6780"/>
                  </a:lnTo>
                  <a:lnTo>
                    <a:pt x="2155" y="6905"/>
                  </a:lnTo>
                  <a:lnTo>
                    <a:pt x="2281" y="7010"/>
                  </a:lnTo>
                  <a:lnTo>
                    <a:pt x="2281" y="7156"/>
                  </a:lnTo>
                  <a:lnTo>
                    <a:pt x="2406" y="7177"/>
                  </a:lnTo>
                  <a:lnTo>
                    <a:pt x="2427" y="7303"/>
                  </a:lnTo>
                  <a:lnTo>
                    <a:pt x="2532" y="7324"/>
                  </a:lnTo>
                  <a:lnTo>
                    <a:pt x="2699" y="7428"/>
                  </a:lnTo>
                  <a:lnTo>
                    <a:pt x="2720" y="7512"/>
                  </a:lnTo>
                  <a:lnTo>
                    <a:pt x="2846" y="7407"/>
                  </a:lnTo>
                  <a:lnTo>
                    <a:pt x="3034" y="7407"/>
                  </a:lnTo>
                  <a:lnTo>
                    <a:pt x="3097" y="7261"/>
                  </a:lnTo>
                  <a:lnTo>
                    <a:pt x="3097" y="7177"/>
                  </a:lnTo>
                  <a:lnTo>
                    <a:pt x="3097" y="6947"/>
                  </a:lnTo>
                  <a:lnTo>
                    <a:pt x="3264" y="6884"/>
                  </a:lnTo>
                  <a:lnTo>
                    <a:pt x="3411" y="6884"/>
                  </a:lnTo>
                  <a:lnTo>
                    <a:pt x="3431" y="7052"/>
                  </a:lnTo>
                  <a:lnTo>
                    <a:pt x="3515" y="7219"/>
                  </a:lnTo>
                  <a:lnTo>
                    <a:pt x="3578" y="7282"/>
                  </a:lnTo>
                  <a:lnTo>
                    <a:pt x="3724" y="6989"/>
                  </a:lnTo>
                  <a:lnTo>
                    <a:pt x="3996" y="6863"/>
                  </a:lnTo>
                  <a:lnTo>
                    <a:pt x="4143" y="6905"/>
                  </a:lnTo>
                  <a:lnTo>
                    <a:pt x="4164" y="7093"/>
                  </a:lnTo>
                  <a:lnTo>
                    <a:pt x="4206" y="7156"/>
                  </a:lnTo>
                  <a:lnTo>
                    <a:pt x="4310" y="7052"/>
                  </a:lnTo>
                  <a:lnTo>
                    <a:pt x="4394" y="7052"/>
                  </a:lnTo>
                  <a:lnTo>
                    <a:pt x="4457" y="7114"/>
                  </a:lnTo>
                  <a:lnTo>
                    <a:pt x="4520" y="7156"/>
                  </a:lnTo>
                  <a:lnTo>
                    <a:pt x="6570" y="7156"/>
                  </a:lnTo>
                  <a:lnTo>
                    <a:pt x="6758" y="6633"/>
                  </a:lnTo>
                  <a:lnTo>
                    <a:pt x="6570" y="6528"/>
                  </a:lnTo>
                  <a:lnTo>
                    <a:pt x="6131" y="1423"/>
                  </a:lnTo>
                  <a:lnTo>
                    <a:pt x="6821" y="1423"/>
                  </a:lnTo>
                  <a:lnTo>
                    <a:pt x="472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19" name="Google Shape;2119;p66"/>
            <p:cNvSpPr/>
            <p:nvPr/>
          </p:nvSpPr>
          <p:spPr>
            <a:xfrm>
              <a:off x="3665125" y="2976874"/>
              <a:ext cx="112121" cy="99236"/>
            </a:xfrm>
            <a:custGeom>
              <a:avLst/>
              <a:gdLst/>
              <a:ahLst/>
              <a:cxnLst/>
              <a:rect l="l" t="t" r="r" b="b"/>
              <a:pathLst>
                <a:path w="9416" h="8726" extrusionOk="0">
                  <a:moveTo>
                    <a:pt x="3411" y="0"/>
                  </a:moveTo>
                  <a:lnTo>
                    <a:pt x="3850" y="5105"/>
                  </a:lnTo>
                  <a:lnTo>
                    <a:pt x="4038" y="5210"/>
                  </a:lnTo>
                  <a:lnTo>
                    <a:pt x="3850" y="5733"/>
                  </a:lnTo>
                  <a:lnTo>
                    <a:pt x="1800" y="5733"/>
                  </a:lnTo>
                  <a:lnTo>
                    <a:pt x="1737" y="5691"/>
                  </a:lnTo>
                  <a:lnTo>
                    <a:pt x="1674" y="5629"/>
                  </a:lnTo>
                  <a:lnTo>
                    <a:pt x="1590" y="5629"/>
                  </a:lnTo>
                  <a:lnTo>
                    <a:pt x="1486" y="5733"/>
                  </a:lnTo>
                  <a:lnTo>
                    <a:pt x="1444" y="5670"/>
                  </a:lnTo>
                  <a:lnTo>
                    <a:pt x="1423" y="5482"/>
                  </a:lnTo>
                  <a:lnTo>
                    <a:pt x="1276" y="5440"/>
                  </a:lnTo>
                  <a:lnTo>
                    <a:pt x="1004" y="5566"/>
                  </a:lnTo>
                  <a:lnTo>
                    <a:pt x="858" y="5859"/>
                  </a:lnTo>
                  <a:lnTo>
                    <a:pt x="795" y="5796"/>
                  </a:lnTo>
                  <a:lnTo>
                    <a:pt x="711" y="5629"/>
                  </a:lnTo>
                  <a:lnTo>
                    <a:pt x="691" y="5461"/>
                  </a:lnTo>
                  <a:lnTo>
                    <a:pt x="544" y="5461"/>
                  </a:lnTo>
                  <a:lnTo>
                    <a:pt x="377" y="5524"/>
                  </a:lnTo>
                  <a:lnTo>
                    <a:pt x="377" y="5754"/>
                  </a:lnTo>
                  <a:lnTo>
                    <a:pt x="377" y="5838"/>
                  </a:lnTo>
                  <a:lnTo>
                    <a:pt x="314" y="5984"/>
                  </a:lnTo>
                  <a:lnTo>
                    <a:pt x="126" y="5984"/>
                  </a:lnTo>
                  <a:lnTo>
                    <a:pt x="0" y="6089"/>
                  </a:lnTo>
                  <a:lnTo>
                    <a:pt x="84" y="6173"/>
                  </a:lnTo>
                  <a:lnTo>
                    <a:pt x="84" y="6277"/>
                  </a:lnTo>
                  <a:lnTo>
                    <a:pt x="105" y="6361"/>
                  </a:lnTo>
                  <a:lnTo>
                    <a:pt x="63" y="6591"/>
                  </a:lnTo>
                  <a:lnTo>
                    <a:pt x="84" y="6675"/>
                  </a:lnTo>
                  <a:lnTo>
                    <a:pt x="209" y="6800"/>
                  </a:lnTo>
                  <a:lnTo>
                    <a:pt x="272" y="6926"/>
                  </a:lnTo>
                  <a:lnTo>
                    <a:pt x="335" y="7010"/>
                  </a:lnTo>
                  <a:lnTo>
                    <a:pt x="398" y="6989"/>
                  </a:lnTo>
                  <a:lnTo>
                    <a:pt x="481" y="7030"/>
                  </a:lnTo>
                  <a:lnTo>
                    <a:pt x="502" y="7114"/>
                  </a:lnTo>
                  <a:lnTo>
                    <a:pt x="586" y="7219"/>
                  </a:lnTo>
                  <a:lnTo>
                    <a:pt x="586" y="7261"/>
                  </a:lnTo>
                  <a:lnTo>
                    <a:pt x="523" y="7344"/>
                  </a:lnTo>
                  <a:lnTo>
                    <a:pt x="544" y="7428"/>
                  </a:lnTo>
                  <a:lnTo>
                    <a:pt x="691" y="7512"/>
                  </a:lnTo>
                  <a:lnTo>
                    <a:pt x="691" y="7616"/>
                  </a:lnTo>
                  <a:lnTo>
                    <a:pt x="649" y="7679"/>
                  </a:lnTo>
                  <a:lnTo>
                    <a:pt x="732" y="7721"/>
                  </a:lnTo>
                  <a:lnTo>
                    <a:pt x="837" y="7658"/>
                  </a:lnTo>
                  <a:lnTo>
                    <a:pt x="921" y="7679"/>
                  </a:lnTo>
                  <a:lnTo>
                    <a:pt x="1046" y="7784"/>
                  </a:lnTo>
                  <a:lnTo>
                    <a:pt x="1214" y="7784"/>
                  </a:lnTo>
                  <a:lnTo>
                    <a:pt x="1318" y="7721"/>
                  </a:lnTo>
                  <a:lnTo>
                    <a:pt x="1381" y="7679"/>
                  </a:lnTo>
                  <a:lnTo>
                    <a:pt x="1486" y="7533"/>
                  </a:lnTo>
                  <a:lnTo>
                    <a:pt x="1632" y="7533"/>
                  </a:lnTo>
                  <a:lnTo>
                    <a:pt x="1779" y="7616"/>
                  </a:lnTo>
                  <a:lnTo>
                    <a:pt x="1800" y="7554"/>
                  </a:lnTo>
                  <a:lnTo>
                    <a:pt x="1904" y="7533"/>
                  </a:lnTo>
                  <a:lnTo>
                    <a:pt x="1946" y="7574"/>
                  </a:lnTo>
                  <a:lnTo>
                    <a:pt x="2072" y="7679"/>
                  </a:lnTo>
                  <a:lnTo>
                    <a:pt x="2113" y="7826"/>
                  </a:lnTo>
                  <a:lnTo>
                    <a:pt x="2092" y="7972"/>
                  </a:lnTo>
                  <a:lnTo>
                    <a:pt x="2155" y="8035"/>
                  </a:lnTo>
                  <a:lnTo>
                    <a:pt x="2281" y="8056"/>
                  </a:lnTo>
                  <a:lnTo>
                    <a:pt x="2281" y="8098"/>
                  </a:lnTo>
                  <a:lnTo>
                    <a:pt x="2176" y="8265"/>
                  </a:lnTo>
                  <a:lnTo>
                    <a:pt x="2113" y="8411"/>
                  </a:lnTo>
                  <a:lnTo>
                    <a:pt x="2113" y="8411"/>
                  </a:lnTo>
                  <a:lnTo>
                    <a:pt x="2218" y="8390"/>
                  </a:lnTo>
                  <a:lnTo>
                    <a:pt x="2281" y="8307"/>
                  </a:lnTo>
                  <a:lnTo>
                    <a:pt x="2364" y="8307"/>
                  </a:lnTo>
                  <a:lnTo>
                    <a:pt x="2364" y="8411"/>
                  </a:lnTo>
                  <a:lnTo>
                    <a:pt x="2385" y="8495"/>
                  </a:lnTo>
                  <a:lnTo>
                    <a:pt x="2385" y="8558"/>
                  </a:lnTo>
                  <a:lnTo>
                    <a:pt x="2532" y="8579"/>
                  </a:lnTo>
                  <a:lnTo>
                    <a:pt x="2595" y="8621"/>
                  </a:lnTo>
                  <a:lnTo>
                    <a:pt x="2595" y="8704"/>
                  </a:lnTo>
                  <a:lnTo>
                    <a:pt x="2783" y="8600"/>
                  </a:lnTo>
                  <a:lnTo>
                    <a:pt x="2846" y="8600"/>
                  </a:lnTo>
                  <a:lnTo>
                    <a:pt x="2992" y="8683"/>
                  </a:lnTo>
                  <a:lnTo>
                    <a:pt x="3222" y="8683"/>
                  </a:lnTo>
                  <a:lnTo>
                    <a:pt x="3264" y="8662"/>
                  </a:lnTo>
                  <a:lnTo>
                    <a:pt x="3264" y="8600"/>
                  </a:lnTo>
                  <a:lnTo>
                    <a:pt x="3452" y="8558"/>
                  </a:lnTo>
                  <a:lnTo>
                    <a:pt x="3620" y="8579"/>
                  </a:lnTo>
                  <a:lnTo>
                    <a:pt x="3578" y="8621"/>
                  </a:lnTo>
                  <a:lnTo>
                    <a:pt x="3620" y="8683"/>
                  </a:lnTo>
                  <a:lnTo>
                    <a:pt x="3787" y="8725"/>
                  </a:lnTo>
                  <a:lnTo>
                    <a:pt x="3892" y="8579"/>
                  </a:lnTo>
                  <a:lnTo>
                    <a:pt x="3976" y="8516"/>
                  </a:lnTo>
                  <a:lnTo>
                    <a:pt x="3997" y="8390"/>
                  </a:lnTo>
                  <a:lnTo>
                    <a:pt x="3976" y="8307"/>
                  </a:lnTo>
                  <a:lnTo>
                    <a:pt x="3976" y="8181"/>
                  </a:lnTo>
                  <a:lnTo>
                    <a:pt x="4080" y="8160"/>
                  </a:lnTo>
                  <a:lnTo>
                    <a:pt x="4059" y="7993"/>
                  </a:lnTo>
                  <a:lnTo>
                    <a:pt x="4038" y="7888"/>
                  </a:lnTo>
                  <a:lnTo>
                    <a:pt x="4143" y="7826"/>
                  </a:lnTo>
                  <a:lnTo>
                    <a:pt x="4269" y="7679"/>
                  </a:lnTo>
                  <a:lnTo>
                    <a:pt x="4457" y="7407"/>
                  </a:lnTo>
                  <a:lnTo>
                    <a:pt x="4561" y="7219"/>
                  </a:lnTo>
                  <a:lnTo>
                    <a:pt x="4582" y="7135"/>
                  </a:lnTo>
                  <a:lnTo>
                    <a:pt x="4708" y="6926"/>
                  </a:lnTo>
                  <a:lnTo>
                    <a:pt x="4792" y="6905"/>
                  </a:lnTo>
                  <a:lnTo>
                    <a:pt x="4813" y="6821"/>
                  </a:lnTo>
                  <a:lnTo>
                    <a:pt x="4980" y="6800"/>
                  </a:lnTo>
                  <a:lnTo>
                    <a:pt x="5043" y="6821"/>
                  </a:lnTo>
                  <a:lnTo>
                    <a:pt x="5336" y="6738"/>
                  </a:lnTo>
                  <a:lnTo>
                    <a:pt x="5398" y="6612"/>
                  </a:lnTo>
                  <a:lnTo>
                    <a:pt x="5712" y="6403"/>
                  </a:lnTo>
                  <a:lnTo>
                    <a:pt x="6152" y="6173"/>
                  </a:lnTo>
                  <a:lnTo>
                    <a:pt x="6277" y="6047"/>
                  </a:lnTo>
                  <a:lnTo>
                    <a:pt x="6465" y="5942"/>
                  </a:lnTo>
                  <a:lnTo>
                    <a:pt x="6758" y="5901"/>
                  </a:lnTo>
                  <a:lnTo>
                    <a:pt x="6884" y="5880"/>
                  </a:lnTo>
                  <a:lnTo>
                    <a:pt x="7072" y="5942"/>
                  </a:lnTo>
                  <a:lnTo>
                    <a:pt x="7177" y="5942"/>
                  </a:lnTo>
                  <a:lnTo>
                    <a:pt x="7198" y="5984"/>
                  </a:lnTo>
                  <a:lnTo>
                    <a:pt x="7219" y="5963"/>
                  </a:lnTo>
                  <a:lnTo>
                    <a:pt x="7344" y="5984"/>
                  </a:lnTo>
                  <a:lnTo>
                    <a:pt x="7742" y="5963"/>
                  </a:lnTo>
                  <a:lnTo>
                    <a:pt x="7867" y="5963"/>
                  </a:lnTo>
                  <a:lnTo>
                    <a:pt x="8035" y="5880"/>
                  </a:lnTo>
                  <a:lnTo>
                    <a:pt x="8390" y="5880"/>
                  </a:lnTo>
                  <a:lnTo>
                    <a:pt x="8558" y="5775"/>
                  </a:lnTo>
                  <a:lnTo>
                    <a:pt x="8746" y="5775"/>
                  </a:lnTo>
                  <a:lnTo>
                    <a:pt x="8893" y="5670"/>
                  </a:lnTo>
                  <a:lnTo>
                    <a:pt x="9186" y="5524"/>
                  </a:lnTo>
                  <a:lnTo>
                    <a:pt x="9227" y="5377"/>
                  </a:lnTo>
                  <a:lnTo>
                    <a:pt x="9269" y="5210"/>
                  </a:lnTo>
                  <a:lnTo>
                    <a:pt x="9332" y="5126"/>
                  </a:lnTo>
                  <a:lnTo>
                    <a:pt x="9395" y="4624"/>
                  </a:lnTo>
                  <a:lnTo>
                    <a:pt x="9416" y="3494"/>
                  </a:lnTo>
                  <a:lnTo>
                    <a:pt x="9186" y="3578"/>
                  </a:lnTo>
                  <a:lnTo>
                    <a:pt x="8914" y="3599"/>
                  </a:lnTo>
                  <a:lnTo>
                    <a:pt x="8788" y="3557"/>
                  </a:lnTo>
                  <a:lnTo>
                    <a:pt x="8746" y="3473"/>
                  </a:lnTo>
                  <a:lnTo>
                    <a:pt x="8809" y="3285"/>
                  </a:lnTo>
                  <a:lnTo>
                    <a:pt x="8809" y="3180"/>
                  </a:lnTo>
                  <a:lnTo>
                    <a:pt x="8704" y="3118"/>
                  </a:lnTo>
                  <a:lnTo>
                    <a:pt x="8558" y="3055"/>
                  </a:lnTo>
                  <a:lnTo>
                    <a:pt x="8453" y="2929"/>
                  </a:lnTo>
                  <a:lnTo>
                    <a:pt x="8286" y="2867"/>
                  </a:lnTo>
                  <a:lnTo>
                    <a:pt x="8077" y="2867"/>
                  </a:lnTo>
                  <a:lnTo>
                    <a:pt x="7951" y="2762"/>
                  </a:lnTo>
                  <a:lnTo>
                    <a:pt x="7909" y="2511"/>
                  </a:lnTo>
                  <a:lnTo>
                    <a:pt x="410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0" name="Google Shape;2120;p66"/>
            <p:cNvSpPr/>
            <p:nvPr/>
          </p:nvSpPr>
          <p:spPr>
            <a:xfrm>
              <a:off x="3712457" y="3043733"/>
              <a:ext cx="51833" cy="35948"/>
            </a:xfrm>
            <a:custGeom>
              <a:avLst/>
              <a:gdLst/>
              <a:ahLst/>
              <a:cxnLst/>
              <a:rect l="l" t="t" r="r" b="b"/>
              <a:pathLst>
                <a:path w="4353" h="3161" extrusionOk="0">
                  <a:moveTo>
                    <a:pt x="2909" y="1"/>
                  </a:moveTo>
                  <a:lnTo>
                    <a:pt x="2783" y="22"/>
                  </a:lnTo>
                  <a:lnTo>
                    <a:pt x="2490" y="63"/>
                  </a:lnTo>
                  <a:lnTo>
                    <a:pt x="2302" y="168"/>
                  </a:lnTo>
                  <a:lnTo>
                    <a:pt x="2177" y="294"/>
                  </a:lnTo>
                  <a:lnTo>
                    <a:pt x="1737" y="524"/>
                  </a:lnTo>
                  <a:lnTo>
                    <a:pt x="1423" y="733"/>
                  </a:lnTo>
                  <a:lnTo>
                    <a:pt x="1361" y="859"/>
                  </a:lnTo>
                  <a:lnTo>
                    <a:pt x="1068" y="942"/>
                  </a:lnTo>
                  <a:lnTo>
                    <a:pt x="1005" y="921"/>
                  </a:lnTo>
                  <a:lnTo>
                    <a:pt x="838" y="942"/>
                  </a:lnTo>
                  <a:lnTo>
                    <a:pt x="817" y="1026"/>
                  </a:lnTo>
                  <a:lnTo>
                    <a:pt x="733" y="1047"/>
                  </a:lnTo>
                  <a:lnTo>
                    <a:pt x="607" y="1256"/>
                  </a:lnTo>
                  <a:lnTo>
                    <a:pt x="586" y="1340"/>
                  </a:lnTo>
                  <a:lnTo>
                    <a:pt x="482" y="1528"/>
                  </a:lnTo>
                  <a:lnTo>
                    <a:pt x="294" y="1800"/>
                  </a:lnTo>
                  <a:lnTo>
                    <a:pt x="168" y="1947"/>
                  </a:lnTo>
                  <a:lnTo>
                    <a:pt x="63" y="2009"/>
                  </a:lnTo>
                  <a:lnTo>
                    <a:pt x="84" y="2114"/>
                  </a:lnTo>
                  <a:lnTo>
                    <a:pt x="105" y="2281"/>
                  </a:lnTo>
                  <a:lnTo>
                    <a:pt x="1" y="2302"/>
                  </a:lnTo>
                  <a:lnTo>
                    <a:pt x="1" y="2428"/>
                  </a:lnTo>
                  <a:lnTo>
                    <a:pt x="22" y="2511"/>
                  </a:lnTo>
                  <a:lnTo>
                    <a:pt x="1" y="2637"/>
                  </a:lnTo>
                  <a:lnTo>
                    <a:pt x="22" y="2637"/>
                  </a:lnTo>
                  <a:lnTo>
                    <a:pt x="189" y="2783"/>
                  </a:lnTo>
                  <a:lnTo>
                    <a:pt x="398" y="2888"/>
                  </a:lnTo>
                  <a:lnTo>
                    <a:pt x="503" y="2888"/>
                  </a:lnTo>
                  <a:lnTo>
                    <a:pt x="545" y="2930"/>
                  </a:lnTo>
                  <a:lnTo>
                    <a:pt x="649" y="2930"/>
                  </a:lnTo>
                  <a:lnTo>
                    <a:pt x="754" y="2993"/>
                  </a:lnTo>
                  <a:lnTo>
                    <a:pt x="838" y="3097"/>
                  </a:lnTo>
                  <a:lnTo>
                    <a:pt x="1026" y="3160"/>
                  </a:lnTo>
                  <a:lnTo>
                    <a:pt x="1151" y="3139"/>
                  </a:lnTo>
                  <a:lnTo>
                    <a:pt x="1256" y="3055"/>
                  </a:lnTo>
                  <a:lnTo>
                    <a:pt x="1340" y="3055"/>
                  </a:lnTo>
                  <a:lnTo>
                    <a:pt x="1423" y="3139"/>
                  </a:lnTo>
                  <a:lnTo>
                    <a:pt x="1549" y="3139"/>
                  </a:lnTo>
                  <a:lnTo>
                    <a:pt x="1549" y="2993"/>
                  </a:lnTo>
                  <a:lnTo>
                    <a:pt x="1465" y="2825"/>
                  </a:lnTo>
                  <a:lnTo>
                    <a:pt x="1423" y="2783"/>
                  </a:lnTo>
                  <a:lnTo>
                    <a:pt x="1361" y="2595"/>
                  </a:lnTo>
                  <a:lnTo>
                    <a:pt x="1382" y="2470"/>
                  </a:lnTo>
                  <a:lnTo>
                    <a:pt x="1591" y="2428"/>
                  </a:lnTo>
                  <a:lnTo>
                    <a:pt x="2365" y="2428"/>
                  </a:lnTo>
                  <a:lnTo>
                    <a:pt x="2574" y="2386"/>
                  </a:lnTo>
                  <a:lnTo>
                    <a:pt x="2721" y="2386"/>
                  </a:lnTo>
                  <a:lnTo>
                    <a:pt x="2846" y="2323"/>
                  </a:lnTo>
                  <a:lnTo>
                    <a:pt x="2930" y="2323"/>
                  </a:lnTo>
                  <a:lnTo>
                    <a:pt x="3537" y="2491"/>
                  </a:lnTo>
                  <a:lnTo>
                    <a:pt x="3558" y="2428"/>
                  </a:lnTo>
                  <a:lnTo>
                    <a:pt x="3683" y="2386"/>
                  </a:lnTo>
                  <a:lnTo>
                    <a:pt x="3683" y="2281"/>
                  </a:lnTo>
                  <a:lnTo>
                    <a:pt x="3767" y="2198"/>
                  </a:lnTo>
                  <a:lnTo>
                    <a:pt x="3767" y="2093"/>
                  </a:lnTo>
                  <a:lnTo>
                    <a:pt x="3871" y="2051"/>
                  </a:lnTo>
                  <a:lnTo>
                    <a:pt x="3955" y="2072"/>
                  </a:lnTo>
                  <a:lnTo>
                    <a:pt x="4143" y="1967"/>
                  </a:lnTo>
                  <a:lnTo>
                    <a:pt x="4206" y="1967"/>
                  </a:lnTo>
                  <a:lnTo>
                    <a:pt x="4353" y="1800"/>
                  </a:lnTo>
                  <a:lnTo>
                    <a:pt x="4353" y="1737"/>
                  </a:lnTo>
                  <a:lnTo>
                    <a:pt x="4311" y="1737"/>
                  </a:lnTo>
                  <a:lnTo>
                    <a:pt x="4185" y="1570"/>
                  </a:lnTo>
                  <a:lnTo>
                    <a:pt x="4248" y="1465"/>
                  </a:lnTo>
                  <a:lnTo>
                    <a:pt x="4248" y="1361"/>
                  </a:lnTo>
                  <a:lnTo>
                    <a:pt x="4185" y="1319"/>
                  </a:lnTo>
                  <a:lnTo>
                    <a:pt x="4185" y="1256"/>
                  </a:lnTo>
                  <a:lnTo>
                    <a:pt x="4102" y="1214"/>
                  </a:lnTo>
                  <a:lnTo>
                    <a:pt x="3871" y="1340"/>
                  </a:lnTo>
                  <a:lnTo>
                    <a:pt x="3662" y="1214"/>
                  </a:lnTo>
                  <a:lnTo>
                    <a:pt x="3662" y="963"/>
                  </a:lnTo>
                  <a:lnTo>
                    <a:pt x="3118" y="607"/>
                  </a:lnTo>
                  <a:lnTo>
                    <a:pt x="3118" y="419"/>
                  </a:lnTo>
                  <a:lnTo>
                    <a:pt x="3202" y="314"/>
                  </a:lnTo>
                  <a:lnTo>
                    <a:pt x="3202" y="168"/>
                  </a:lnTo>
                  <a:lnTo>
                    <a:pt x="3223" y="105"/>
                  </a:lnTo>
                  <a:lnTo>
                    <a:pt x="3202" y="63"/>
                  </a:lnTo>
                  <a:lnTo>
                    <a:pt x="3097" y="63"/>
                  </a:lnTo>
                  <a:lnTo>
                    <a:pt x="290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1" name="Google Shape;2121;p66"/>
            <p:cNvSpPr/>
            <p:nvPr/>
          </p:nvSpPr>
          <p:spPr>
            <a:xfrm>
              <a:off x="3628997" y="3033259"/>
              <a:ext cx="44355" cy="30956"/>
            </a:xfrm>
            <a:custGeom>
              <a:avLst/>
              <a:gdLst/>
              <a:ahLst/>
              <a:cxnLst/>
              <a:rect l="l" t="t" r="r" b="b"/>
              <a:pathLst>
                <a:path w="3725" h="2722" extrusionOk="0">
                  <a:moveTo>
                    <a:pt x="1444" y="1"/>
                  </a:moveTo>
                  <a:lnTo>
                    <a:pt x="1151" y="106"/>
                  </a:lnTo>
                  <a:lnTo>
                    <a:pt x="837" y="168"/>
                  </a:lnTo>
                  <a:lnTo>
                    <a:pt x="712" y="273"/>
                  </a:lnTo>
                  <a:lnTo>
                    <a:pt x="628" y="273"/>
                  </a:lnTo>
                  <a:lnTo>
                    <a:pt x="523" y="357"/>
                  </a:lnTo>
                  <a:lnTo>
                    <a:pt x="502" y="524"/>
                  </a:lnTo>
                  <a:lnTo>
                    <a:pt x="377" y="817"/>
                  </a:lnTo>
                  <a:lnTo>
                    <a:pt x="0" y="1131"/>
                  </a:lnTo>
                  <a:lnTo>
                    <a:pt x="188" y="1298"/>
                  </a:lnTo>
                  <a:lnTo>
                    <a:pt x="314" y="1528"/>
                  </a:lnTo>
                  <a:lnTo>
                    <a:pt x="419" y="1528"/>
                  </a:lnTo>
                  <a:lnTo>
                    <a:pt x="419" y="1654"/>
                  </a:lnTo>
                  <a:lnTo>
                    <a:pt x="398" y="1654"/>
                  </a:lnTo>
                  <a:lnTo>
                    <a:pt x="523" y="1759"/>
                  </a:lnTo>
                  <a:lnTo>
                    <a:pt x="440" y="1821"/>
                  </a:lnTo>
                  <a:lnTo>
                    <a:pt x="481" y="1863"/>
                  </a:lnTo>
                  <a:lnTo>
                    <a:pt x="732" y="1863"/>
                  </a:lnTo>
                  <a:lnTo>
                    <a:pt x="795" y="1842"/>
                  </a:lnTo>
                  <a:lnTo>
                    <a:pt x="900" y="1842"/>
                  </a:lnTo>
                  <a:lnTo>
                    <a:pt x="1109" y="1675"/>
                  </a:lnTo>
                  <a:lnTo>
                    <a:pt x="1256" y="1612"/>
                  </a:lnTo>
                  <a:lnTo>
                    <a:pt x="1360" y="1633"/>
                  </a:lnTo>
                  <a:lnTo>
                    <a:pt x="1486" y="1633"/>
                  </a:lnTo>
                  <a:lnTo>
                    <a:pt x="1674" y="1759"/>
                  </a:lnTo>
                  <a:lnTo>
                    <a:pt x="1779" y="1759"/>
                  </a:lnTo>
                  <a:lnTo>
                    <a:pt x="2051" y="1926"/>
                  </a:lnTo>
                  <a:lnTo>
                    <a:pt x="2093" y="1884"/>
                  </a:lnTo>
                  <a:lnTo>
                    <a:pt x="2155" y="1968"/>
                  </a:lnTo>
                  <a:lnTo>
                    <a:pt x="2093" y="2052"/>
                  </a:lnTo>
                  <a:lnTo>
                    <a:pt x="1967" y="2052"/>
                  </a:lnTo>
                  <a:lnTo>
                    <a:pt x="1779" y="1968"/>
                  </a:lnTo>
                  <a:lnTo>
                    <a:pt x="1632" y="1926"/>
                  </a:lnTo>
                  <a:lnTo>
                    <a:pt x="1528" y="1926"/>
                  </a:lnTo>
                  <a:lnTo>
                    <a:pt x="1381" y="1821"/>
                  </a:lnTo>
                  <a:lnTo>
                    <a:pt x="1318" y="1842"/>
                  </a:lnTo>
                  <a:lnTo>
                    <a:pt x="1235" y="1926"/>
                  </a:lnTo>
                  <a:lnTo>
                    <a:pt x="1214" y="1884"/>
                  </a:lnTo>
                  <a:lnTo>
                    <a:pt x="1130" y="1863"/>
                  </a:lnTo>
                  <a:lnTo>
                    <a:pt x="1005" y="1947"/>
                  </a:lnTo>
                  <a:lnTo>
                    <a:pt x="900" y="1968"/>
                  </a:lnTo>
                  <a:lnTo>
                    <a:pt x="795" y="2093"/>
                  </a:lnTo>
                  <a:lnTo>
                    <a:pt x="419" y="2093"/>
                  </a:lnTo>
                  <a:lnTo>
                    <a:pt x="377" y="2156"/>
                  </a:lnTo>
                  <a:lnTo>
                    <a:pt x="377" y="2282"/>
                  </a:lnTo>
                  <a:lnTo>
                    <a:pt x="314" y="2344"/>
                  </a:lnTo>
                  <a:lnTo>
                    <a:pt x="335" y="2386"/>
                  </a:lnTo>
                  <a:lnTo>
                    <a:pt x="481" y="2303"/>
                  </a:lnTo>
                  <a:lnTo>
                    <a:pt x="691" y="2386"/>
                  </a:lnTo>
                  <a:lnTo>
                    <a:pt x="544" y="2470"/>
                  </a:lnTo>
                  <a:lnTo>
                    <a:pt x="502" y="2449"/>
                  </a:lnTo>
                  <a:lnTo>
                    <a:pt x="398" y="2407"/>
                  </a:lnTo>
                  <a:lnTo>
                    <a:pt x="398" y="2407"/>
                  </a:lnTo>
                  <a:lnTo>
                    <a:pt x="440" y="2470"/>
                  </a:lnTo>
                  <a:lnTo>
                    <a:pt x="419" y="2575"/>
                  </a:lnTo>
                  <a:lnTo>
                    <a:pt x="586" y="2616"/>
                  </a:lnTo>
                  <a:lnTo>
                    <a:pt x="753" y="2512"/>
                  </a:lnTo>
                  <a:lnTo>
                    <a:pt x="1151" y="2554"/>
                  </a:lnTo>
                  <a:lnTo>
                    <a:pt x="1256" y="2407"/>
                  </a:lnTo>
                  <a:lnTo>
                    <a:pt x="1465" y="2344"/>
                  </a:lnTo>
                  <a:lnTo>
                    <a:pt x="1988" y="2344"/>
                  </a:lnTo>
                  <a:lnTo>
                    <a:pt x="2113" y="2386"/>
                  </a:lnTo>
                  <a:lnTo>
                    <a:pt x="2113" y="2365"/>
                  </a:lnTo>
                  <a:lnTo>
                    <a:pt x="2260" y="2344"/>
                  </a:lnTo>
                  <a:lnTo>
                    <a:pt x="2595" y="2365"/>
                  </a:lnTo>
                  <a:lnTo>
                    <a:pt x="2825" y="2470"/>
                  </a:lnTo>
                  <a:lnTo>
                    <a:pt x="2929" y="2554"/>
                  </a:lnTo>
                  <a:lnTo>
                    <a:pt x="3118" y="2554"/>
                  </a:lnTo>
                  <a:lnTo>
                    <a:pt x="3306" y="2616"/>
                  </a:lnTo>
                  <a:lnTo>
                    <a:pt x="3411" y="2554"/>
                  </a:lnTo>
                  <a:lnTo>
                    <a:pt x="3515" y="2575"/>
                  </a:lnTo>
                  <a:lnTo>
                    <a:pt x="3557" y="2616"/>
                  </a:lnTo>
                  <a:lnTo>
                    <a:pt x="3683" y="2616"/>
                  </a:lnTo>
                  <a:lnTo>
                    <a:pt x="3683" y="2721"/>
                  </a:lnTo>
                  <a:lnTo>
                    <a:pt x="3725" y="2658"/>
                  </a:lnTo>
                  <a:lnTo>
                    <a:pt x="3725" y="2554"/>
                  </a:lnTo>
                  <a:lnTo>
                    <a:pt x="3578" y="2470"/>
                  </a:lnTo>
                  <a:lnTo>
                    <a:pt x="3557" y="2386"/>
                  </a:lnTo>
                  <a:lnTo>
                    <a:pt x="3620" y="2303"/>
                  </a:lnTo>
                  <a:lnTo>
                    <a:pt x="3620" y="2261"/>
                  </a:lnTo>
                  <a:lnTo>
                    <a:pt x="3536" y="2156"/>
                  </a:lnTo>
                  <a:lnTo>
                    <a:pt x="3515" y="2072"/>
                  </a:lnTo>
                  <a:lnTo>
                    <a:pt x="3432" y="2031"/>
                  </a:lnTo>
                  <a:lnTo>
                    <a:pt x="3369" y="2052"/>
                  </a:lnTo>
                  <a:lnTo>
                    <a:pt x="3306" y="1968"/>
                  </a:lnTo>
                  <a:lnTo>
                    <a:pt x="3243" y="1842"/>
                  </a:lnTo>
                  <a:lnTo>
                    <a:pt x="3118" y="1717"/>
                  </a:lnTo>
                  <a:lnTo>
                    <a:pt x="3097" y="1633"/>
                  </a:lnTo>
                  <a:lnTo>
                    <a:pt x="3139" y="1403"/>
                  </a:lnTo>
                  <a:lnTo>
                    <a:pt x="3118" y="1319"/>
                  </a:lnTo>
                  <a:lnTo>
                    <a:pt x="3118" y="1215"/>
                  </a:lnTo>
                  <a:lnTo>
                    <a:pt x="3034" y="1131"/>
                  </a:lnTo>
                  <a:lnTo>
                    <a:pt x="3013" y="1047"/>
                  </a:lnTo>
                  <a:lnTo>
                    <a:pt x="2846" y="943"/>
                  </a:lnTo>
                  <a:lnTo>
                    <a:pt x="2741" y="922"/>
                  </a:lnTo>
                  <a:lnTo>
                    <a:pt x="2720" y="796"/>
                  </a:lnTo>
                  <a:lnTo>
                    <a:pt x="2595" y="775"/>
                  </a:lnTo>
                  <a:lnTo>
                    <a:pt x="2595" y="629"/>
                  </a:lnTo>
                  <a:lnTo>
                    <a:pt x="2469" y="524"/>
                  </a:lnTo>
                  <a:lnTo>
                    <a:pt x="2427" y="399"/>
                  </a:lnTo>
                  <a:lnTo>
                    <a:pt x="2385" y="357"/>
                  </a:lnTo>
                  <a:lnTo>
                    <a:pt x="2302" y="357"/>
                  </a:lnTo>
                  <a:lnTo>
                    <a:pt x="2260" y="315"/>
                  </a:lnTo>
                  <a:lnTo>
                    <a:pt x="2176" y="378"/>
                  </a:lnTo>
                  <a:lnTo>
                    <a:pt x="2093" y="357"/>
                  </a:lnTo>
                  <a:lnTo>
                    <a:pt x="2093" y="273"/>
                  </a:lnTo>
                  <a:lnTo>
                    <a:pt x="1967" y="106"/>
                  </a:lnTo>
                  <a:lnTo>
                    <a:pt x="1800" y="85"/>
                  </a:lnTo>
                  <a:lnTo>
                    <a:pt x="154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2" name="Google Shape;2122;p66"/>
            <p:cNvSpPr/>
            <p:nvPr/>
          </p:nvSpPr>
          <p:spPr>
            <a:xfrm>
              <a:off x="3633975" y="3059916"/>
              <a:ext cx="21195" cy="12146"/>
            </a:xfrm>
            <a:custGeom>
              <a:avLst/>
              <a:gdLst/>
              <a:ahLst/>
              <a:cxnLst/>
              <a:rect l="l" t="t" r="r" b="b"/>
              <a:pathLst>
                <a:path w="1780" h="1068" extrusionOk="0">
                  <a:moveTo>
                    <a:pt x="1047" y="0"/>
                  </a:moveTo>
                  <a:lnTo>
                    <a:pt x="838" y="63"/>
                  </a:lnTo>
                  <a:lnTo>
                    <a:pt x="733" y="210"/>
                  </a:lnTo>
                  <a:lnTo>
                    <a:pt x="335" y="168"/>
                  </a:lnTo>
                  <a:lnTo>
                    <a:pt x="168" y="272"/>
                  </a:lnTo>
                  <a:lnTo>
                    <a:pt x="1" y="231"/>
                  </a:lnTo>
                  <a:lnTo>
                    <a:pt x="1" y="231"/>
                  </a:lnTo>
                  <a:lnTo>
                    <a:pt x="63" y="314"/>
                  </a:lnTo>
                  <a:lnTo>
                    <a:pt x="273" y="335"/>
                  </a:lnTo>
                  <a:lnTo>
                    <a:pt x="335" y="335"/>
                  </a:lnTo>
                  <a:lnTo>
                    <a:pt x="231" y="419"/>
                  </a:lnTo>
                  <a:lnTo>
                    <a:pt x="335" y="524"/>
                  </a:lnTo>
                  <a:lnTo>
                    <a:pt x="440" y="524"/>
                  </a:lnTo>
                  <a:lnTo>
                    <a:pt x="482" y="586"/>
                  </a:lnTo>
                  <a:lnTo>
                    <a:pt x="545" y="586"/>
                  </a:lnTo>
                  <a:lnTo>
                    <a:pt x="691" y="544"/>
                  </a:lnTo>
                  <a:lnTo>
                    <a:pt x="838" y="524"/>
                  </a:lnTo>
                  <a:lnTo>
                    <a:pt x="1005" y="586"/>
                  </a:lnTo>
                  <a:lnTo>
                    <a:pt x="942" y="649"/>
                  </a:lnTo>
                  <a:lnTo>
                    <a:pt x="649" y="649"/>
                  </a:lnTo>
                  <a:lnTo>
                    <a:pt x="691" y="691"/>
                  </a:lnTo>
                  <a:lnTo>
                    <a:pt x="796" y="691"/>
                  </a:lnTo>
                  <a:lnTo>
                    <a:pt x="838" y="754"/>
                  </a:lnTo>
                  <a:lnTo>
                    <a:pt x="817" y="796"/>
                  </a:lnTo>
                  <a:lnTo>
                    <a:pt x="859" y="796"/>
                  </a:lnTo>
                  <a:lnTo>
                    <a:pt x="733" y="963"/>
                  </a:lnTo>
                  <a:lnTo>
                    <a:pt x="963" y="942"/>
                  </a:lnTo>
                  <a:lnTo>
                    <a:pt x="963" y="1047"/>
                  </a:lnTo>
                  <a:lnTo>
                    <a:pt x="1005" y="1068"/>
                  </a:lnTo>
                  <a:lnTo>
                    <a:pt x="1131" y="1047"/>
                  </a:lnTo>
                  <a:lnTo>
                    <a:pt x="1214" y="879"/>
                  </a:lnTo>
                  <a:lnTo>
                    <a:pt x="1319" y="858"/>
                  </a:lnTo>
                  <a:lnTo>
                    <a:pt x="1465" y="775"/>
                  </a:lnTo>
                  <a:lnTo>
                    <a:pt x="1675" y="733"/>
                  </a:lnTo>
                  <a:lnTo>
                    <a:pt x="1758" y="670"/>
                  </a:lnTo>
                  <a:lnTo>
                    <a:pt x="1779" y="565"/>
                  </a:lnTo>
                  <a:lnTo>
                    <a:pt x="1695" y="482"/>
                  </a:lnTo>
                  <a:lnTo>
                    <a:pt x="1695" y="314"/>
                  </a:lnTo>
                  <a:lnTo>
                    <a:pt x="1737" y="210"/>
                  </a:lnTo>
                  <a:lnTo>
                    <a:pt x="1695" y="42"/>
                  </a:lnTo>
                  <a:lnTo>
                    <a:pt x="1570"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2123" name="Google Shape;2123;p66"/>
            <p:cNvGrpSpPr/>
            <p:nvPr/>
          </p:nvGrpSpPr>
          <p:grpSpPr>
            <a:xfrm>
              <a:off x="3632736" y="3051591"/>
              <a:ext cx="63288" cy="45217"/>
              <a:chOff x="3450375" y="3038225"/>
              <a:chExt cx="132875" cy="99400"/>
            </a:xfrm>
          </p:grpSpPr>
          <p:sp>
            <p:nvSpPr>
              <p:cNvPr id="2124" name="Google Shape;2124;p66"/>
              <p:cNvSpPr/>
              <p:nvPr/>
            </p:nvSpPr>
            <p:spPr>
              <a:xfrm>
                <a:off x="3450375" y="3038225"/>
                <a:ext cx="46050" cy="13625"/>
              </a:xfrm>
              <a:custGeom>
                <a:avLst/>
                <a:gdLst/>
                <a:ahLst/>
                <a:cxnLst/>
                <a:rect l="l" t="t" r="r" b="b"/>
                <a:pathLst>
                  <a:path w="1842" h="545" extrusionOk="0">
                    <a:moveTo>
                      <a:pt x="942" y="0"/>
                    </a:moveTo>
                    <a:lnTo>
                      <a:pt x="795" y="63"/>
                    </a:lnTo>
                    <a:lnTo>
                      <a:pt x="586" y="230"/>
                    </a:lnTo>
                    <a:lnTo>
                      <a:pt x="481" y="230"/>
                    </a:lnTo>
                    <a:lnTo>
                      <a:pt x="418" y="251"/>
                    </a:lnTo>
                    <a:lnTo>
                      <a:pt x="167" y="251"/>
                    </a:lnTo>
                    <a:lnTo>
                      <a:pt x="188" y="335"/>
                    </a:lnTo>
                    <a:lnTo>
                      <a:pt x="314" y="419"/>
                    </a:lnTo>
                    <a:lnTo>
                      <a:pt x="439" y="377"/>
                    </a:lnTo>
                    <a:lnTo>
                      <a:pt x="439" y="377"/>
                    </a:lnTo>
                    <a:lnTo>
                      <a:pt x="377" y="460"/>
                    </a:lnTo>
                    <a:lnTo>
                      <a:pt x="209" y="460"/>
                    </a:lnTo>
                    <a:lnTo>
                      <a:pt x="105" y="314"/>
                    </a:lnTo>
                    <a:lnTo>
                      <a:pt x="0" y="419"/>
                    </a:lnTo>
                    <a:lnTo>
                      <a:pt x="63" y="481"/>
                    </a:lnTo>
                    <a:lnTo>
                      <a:pt x="63" y="544"/>
                    </a:lnTo>
                    <a:lnTo>
                      <a:pt x="105" y="481"/>
                    </a:lnTo>
                    <a:lnTo>
                      <a:pt x="481" y="481"/>
                    </a:lnTo>
                    <a:lnTo>
                      <a:pt x="586" y="356"/>
                    </a:lnTo>
                    <a:lnTo>
                      <a:pt x="691" y="335"/>
                    </a:lnTo>
                    <a:lnTo>
                      <a:pt x="816" y="251"/>
                    </a:lnTo>
                    <a:lnTo>
                      <a:pt x="900" y="272"/>
                    </a:lnTo>
                    <a:lnTo>
                      <a:pt x="921" y="314"/>
                    </a:lnTo>
                    <a:lnTo>
                      <a:pt x="1004" y="230"/>
                    </a:lnTo>
                    <a:lnTo>
                      <a:pt x="1067" y="209"/>
                    </a:lnTo>
                    <a:lnTo>
                      <a:pt x="1214" y="314"/>
                    </a:lnTo>
                    <a:lnTo>
                      <a:pt x="1318" y="314"/>
                    </a:lnTo>
                    <a:lnTo>
                      <a:pt x="1465" y="356"/>
                    </a:lnTo>
                    <a:lnTo>
                      <a:pt x="1653" y="440"/>
                    </a:lnTo>
                    <a:lnTo>
                      <a:pt x="1779" y="440"/>
                    </a:lnTo>
                    <a:lnTo>
                      <a:pt x="1841" y="356"/>
                    </a:lnTo>
                    <a:lnTo>
                      <a:pt x="1779" y="272"/>
                    </a:lnTo>
                    <a:lnTo>
                      <a:pt x="1737" y="314"/>
                    </a:lnTo>
                    <a:lnTo>
                      <a:pt x="1465" y="147"/>
                    </a:lnTo>
                    <a:lnTo>
                      <a:pt x="1360" y="147"/>
                    </a:lnTo>
                    <a:lnTo>
                      <a:pt x="1172" y="21"/>
                    </a:lnTo>
                    <a:lnTo>
                      <a:pt x="1046" y="21"/>
                    </a:lnTo>
                    <a:lnTo>
                      <a:pt x="94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5" name="Google Shape;2125;p66"/>
              <p:cNvSpPr/>
              <p:nvPr/>
            </p:nvSpPr>
            <p:spPr>
              <a:xfrm>
                <a:off x="3481225" y="3056525"/>
                <a:ext cx="102025" cy="81100"/>
              </a:xfrm>
              <a:custGeom>
                <a:avLst/>
                <a:gdLst/>
                <a:ahLst/>
                <a:cxnLst/>
                <a:rect l="l" t="t" r="r" b="b"/>
                <a:pathLst>
                  <a:path w="4081" h="3244" extrusionOk="0">
                    <a:moveTo>
                      <a:pt x="712" y="0"/>
                    </a:moveTo>
                    <a:lnTo>
                      <a:pt x="565" y="21"/>
                    </a:lnTo>
                    <a:lnTo>
                      <a:pt x="565" y="42"/>
                    </a:lnTo>
                    <a:lnTo>
                      <a:pt x="607" y="210"/>
                    </a:lnTo>
                    <a:lnTo>
                      <a:pt x="565" y="314"/>
                    </a:lnTo>
                    <a:lnTo>
                      <a:pt x="565" y="482"/>
                    </a:lnTo>
                    <a:lnTo>
                      <a:pt x="649" y="565"/>
                    </a:lnTo>
                    <a:lnTo>
                      <a:pt x="628" y="670"/>
                    </a:lnTo>
                    <a:lnTo>
                      <a:pt x="545" y="733"/>
                    </a:lnTo>
                    <a:lnTo>
                      <a:pt x="335" y="775"/>
                    </a:lnTo>
                    <a:lnTo>
                      <a:pt x="189" y="858"/>
                    </a:lnTo>
                    <a:lnTo>
                      <a:pt x="84" y="879"/>
                    </a:lnTo>
                    <a:lnTo>
                      <a:pt x="1" y="1046"/>
                    </a:lnTo>
                    <a:lnTo>
                      <a:pt x="21" y="1005"/>
                    </a:lnTo>
                    <a:lnTo>
                      <a:pt x="105" y="1109"/>
                    </a:lnTo>
                    <a:lnTo>
                      <a:pt x="42" y="1319"/>
                    </a:lnTo>
                    <a:lnTo>
                      <a:pt x="189" y="1507"/>
                    </a:lnTo>
                    <a:lnTo>
                      <a:pt x="314" y="1528"/>
                    </a:lnTo>
                    <a:lnTo>
                      <a:pt x="398" y="1570"/>
                    </a:lnTo>
                    <a:lnTo>
                      <a:pt x="440" y="1486"/>
                    </a:lnTo>
                    <a:lnTo>
                      <a:pt x="545" y="1528"/>
                    </a:lnTo>
                    <a:lnTo>
                      <a:pt x="503" y="1570"/>
                    </a:lnTo>
                    <a:lnTo>
                      <a:pt x="503" y="1674"/>
                    </a:lnTo>
                    <a:lnTo>
                      <a:pt x="545" y="1716"/>
                    </a:lnTo>
                    <a:lnTo>
                      <a:pt x="670" y="1716"/>
                    </a:lnTo>
                    <a:lnTo>
                      <a:pt x="733" y="1904"/>
                    </a:lnTo>
                    <a:lnTo>
                      <a:pt x="879" y="1988"/>
                    </a:lnTo>
                    <a:lnTo>
                      <a:pt x="963" y="2051"/>
                    </a:lnTo>
                    <a:lnTo>
                      <a:pt x="1047" y="2030"/>
                    </a:lnTo>
                    <a:lnTo>
                      <a:pt x="1235" y="1946"/>
                    </a:lnTo>
                    <a:lnTo>
                      <a:pt x="1235" y="1884"/>
                    </a:lnTo>
                    <a:lnTo>
                      <a:pt x="1381" y="1716"/>
                    </a:lnTo>
                    <a:lnTo>
                      <a:pt x="1486" y="1632"/>
                    </a:lnTo>
                    <a:lnTo>
                      <a:pt x="1612" y="1570"/>
                    </a:lnTo>
                    <a:lnTo>
                      <a:pt x="2114" y="1570"/>
                    </a:lnTo>
                    <a:lnTo>
                      <a:pt x="2197" y="1716"/>
                    </a:lnTo>
                    <a:lnTo>
                      <a:pt x="2239" y="1821"/>
                    </a:lnTo>
                    <a:lnTo>
                      <a:pt x="2407" y="2093"/>
                    </a:lnTo>
                    <a:lnTo>
                      <a:pt x="2386" y="2156"/>
                    </a:lnTo>
                    <a:lnTo>
                      <a:pt x="2490" y="2260"/>
                    </a:lnTo>
                    <a:lnTo>
                      <a:pt x="2490" y="2365"/>
                    </a:lnTo>
                    <a:lnTo>
                      <a:pt x="2407" y="2407"/>
                    </a:lnTo>
                    <a:lnTo>
                      <a:pt x="2407" y="2511"/>
                    </a:lnTo>
                    <a:lnTo>
                      <a:pt x="2449" y="2532"/>
                    </a:lnTo>
                    <a:lnTo>
                      <a:pt x="2449" y="2574"/>
                    </a:lnTo>
                    <a:lnTo>
                      <a:pt x="2595" y="2532"/>
                    </a:lnTo>
                    <a:lnTo>
                      <a:pt x="2637" y="2532"/>
                    </a:lnTo>
                    <a:lnTo>
                      <a:pt x="2867" y="2449"/>
                    </a:lnTo>
                    <a:lnTo>
                      <a:pt x="3014" y="2511"/>
                    </a:lnTo>
                    <a:lnTo>
                      <a:pt x="3055" y="2637"/>
                    </a:lnTo>
                    <a:lnTo>
                      <a:pt x="3181" y="2721"/>
                    </a:lnTo>
                    <a:lnTo>
                      <a:pt x="3160" y="2930"/>
                    </a:lnTo>
                    <a:lnTo>
                      <a:pt x="3139" y="3055"/>
                    </a:lnTo>
                    <a:lnTo>
                      <a:pt x="3286" y="3202"/>
                    </a:lnTo>
                    <a:lnTo>
                      <a:pt x="3369" y="3202"/>
                    </a:lnTo>
                    <a:lnTo>
                      <a:pt x="3537" y="3076"/>
                    </a:lnTo>
                    <a:lnTo>
                      <a:pt x="3578" y="3076"/>
                    </a:lnTo>
                    <a:lnTo>
                      <a:pt x="3683" y="3181"/>
                    </a:lnTo>
                    <a:lnTo>
                      <a:pt x="3704" y="3244"/>
                    </a:lnTo>
                    <a:lnTo>
                      <a:pt x="3704" y="3202"/>
                    </a:lnTo>
                    <a:lnTo>
                      <a:pt x="3809" y="3181"/>
                    </a:lnTo>
                    <a:lnTo>
                      <a:pt x="3976" y="2846"/>
                    </a:lnTo>
                    <a:lnTo>
                      <a:pt x="3976" y="2721"/>
                    </a:lnTo>
                    <a:lnTo>
                      <a:pt x="3955" y="2658"/>
                    </a:lnTo>
                    <a:lnTo>
                      <a:pt x="3850" y="2553"/>
                    </a:lnTo>
                    <a:lnTo>
                      <a:pt x="3850" y="2469"/>
                    </a:lnTo>
                    <a:lnTo>
                      <a:pt x="3913" y="2428"/>
                    </a:lnTo>
                    <a:lnTo>
                      <a:pt x="3997" y="2449"/>
                    </a:lnTo>
                    <a:lnTo>
                      <a:pt x="4018" y="2365"/>
                    </a:lnTo>
                    <a:lnTo>
                      <a:pt x="3955" y="2239"/>
                    </a:lnTo>
                    <a:lnTo>
                      <a:pt x="3871" y="2218"/>
                    </a:lnTo>
                    <a:lnTo>
                      <a:pt x="3871" y="2009"/>
                    </a:lnTo>
                    <a:lnTo>
                      <a:pt x="3892" y="1925"/>
                    </a:lnTo>
                    <a:lnTo>
                      <a:pt x="3871" y="1674"/>
                    </a:lnTo>
                    <a:lnTo>
                      <a:pt x="3809" y="1612"/>
                    </a:lnTo>
                    <a:lnTo>
                      <a:pt x="3809" y="1507"/>
                    </a:lnTo>
                    <a:lnTo>
                      <a:pt x="4060" y="1423"/>
                    </a:lnTo>
                    <a:lnTo>
                      <a:pt x="4081" y="1402"/>
                    </a:lnTo>
                    <a:lnTo>
                      <a:pt x="4081" y="1319"/>
                    </a:lnTo>
                    <a:lnTo>
                      <a:pt x="4018" y="1277"/>
                    </a:lnTo>
                    <a:lnTo>
                      <a:pt x="3871" y="1256"/>
                    </a:lnTo>
                    <a:lnTo>
                      <a:pt x="3871" y="1193"/>
                    </a:lnTo>
                    <a:lnTo>
                      <a:pt x="3850" y="1109"/>
                    </a:lnTo>
                    <a:lnTo>
                      <a:pt x="3850" y="1005"/>
                    </a:lnTo>
                    <a:lnTo>
                      <a:pt x="3767" y="1005"/>
                    </a:lnTo>
                    <a:lnTo>
                      <a:pt x="3704" y="1088"/>
                    </a:lnTo>
                    <a:lnTo>
                      <a:pt x="3599" y="1109"/>
                    </a:lnTo>
                    <a:lnTo>
                      <a:pt x="3599" y="1109"/>
                    </a:lnTo>
                    <a:lnTo>
                      <a:pt x="3662" y="963"/>
                    </a:lnTo>
                    <a:lnTo>
                      <a:pt x="3767" y="796"/>
                    </a:lnTo>
                    <a:lnTo>
                      <a:pt x="3767" y="754"/>
                    </a:lnTo>
                    <a:lnTo>
                      <a:pt x="3641" y="733"/>
                    </a:lnTo>
                    <a:lnTo>
                      <a:pt x="3578" y="670"/>
                    </a:lnTo>
                    <a:lnTo>
                      <a:pt x="3599" y="524"/>
                    </a:lnTo>
                    <a:lnTo>
                      <a:pt x="3558" y="377"/>
                    </a:lnTo>
                    <a:lnTo>
                      <a:pt x="3432" y="272"/>
                    </a:lnTo>
                    <a:lnTo>
                      <a:pt x="3390" y="231"/>
                    </a:lnTo>
                    <a:lnTo>
                      <a:pt x="3286" y="252"/>
                    </a:lnTo>
                    <a:lnTo>
                      <a:pt x="3265" y="314"/>
                    </a:lnTo>
                    <a:lnTo>
                      <a:pt x="3118" y="231"/>
                    </a:lnTo>
                    <a:lnTo>
                      <a:pt x="2972" y="231"/>
                    </a:lnTo>
                    <a:lnTo>
                      <a:pt x="2867" y="377"/>
                    </a:lnTo>
                    <a:lnTo>
                      <a:pt x="2804" y="419"/>
                    </a:lnTo>
                    <a:lnTo>
                      <a:pt x="2700" y="482"/>
                    </a:lnTo>
                    <a:lnTo>
                      <a:pt x="2532" y="482"/>
                    </a:lnTo>
                    <a:lnTo>
                      <a:pt x="2407" y="377"/>
                    </a:lnTo>
                    <a:lnTo>
                      <a:pt x="2323" y="356"/>
                    </a:lnTo>
                    <a:lnTo>
                      <a:pt x="2218" y="419"/>
                    </a:lnTo>
                    <a:lnTo>
                      <a:pt x="2135" y="377"/>
                    </a:lnTo>
                    <a:lnTo>
                      <a:pt x="2135" y="272"/>
                    </a:lnTo>
                    <a:lnTo>
                      <a:pt x="2009" y="272"/>
                    </a:lnTo>
                    <a:lnTo>
                      <a:pt x="1967" y="231"/>
                    </a:lnTo>
                    <a:lnTo>
                      <a:pt x="1863" y="210"/>
                    </a:lnTo>
                    <a:lnTo>
                      <a:pt x="1758" y="272"/>
                    </a:lnTo>
                    <a:lnTo>
                      <a:pt x="1570" y="210"/>
                    </a:lnTo>
                    <a:lnTo>
                      <a:pt x="1381" y="210"/>
                    </a:lnTo>
                    <a:lnTo>
                      <a:pt x="1277" y="126"/>
                    </a:lnTo>
                    <a:lnTo>
                      <a:pt x="1047" y="21"/>
                    </a:lnTo>
                    <a:lnTo>
                      <a:pt x="71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2126" name="Google Shape;2126;p66"/>
            <p:cNvSpPr/>
            <p:nvPr/>
          </p:nvSpPr>
          <p:spPr>
            <a:xfrm>
              <a:off x="3657897" y="3077759"/>
              <a:ext cx="19195" cy="21903"/>
            </a:xfrm>
            <a:custGeom>
              <a:avLst/>
              <a:gdLst/>
              <a:ahLst/>
              <a:cxnLst/>
              <a:rect l="l" t="t" r="r" b="b"/>
              <a:pathLst>
                <a:path w="1612" h="1926" extrusionOk="0">
                  <a:moveTo>
                    <a:pt x="733" y="1"/>
                  </a:moveTo>
                  <a:lnTo>
                    <a:pt x="607" y="63"/>
                  </a:lnTo>
                  <a:lnTo>
                    <a:pt x="502" y="147"/>
                  </a:lnTo>
                  <a:lnTo>
                    <a:pt x="356" y="315"/>
                  </a:lnTo>
                  <a:lnTo>
                    <a:pt x="356" y="377"/>
                  </a:lnTo>
                  <a:lnTo>
                    <a:pt x="168" y="461"/>
                  </a:lnTo>
                  <a:lnTo>
                    <a:pt x="84" y="482"/>
                  </a:lnTo>
                  <a:lnTo>
                    <a:pt x="42" y="587"/>
                  </a:lnTo>
                  <a:lnTo>
                    <a:pt x="0" y="670"/>
                  </a:lnTo>
                  <a:lnTo>
                    <a:pt x="105" y="733"/>
                  </a:lnTo>
                  <a:lnTo>
                    <a:pt x="42" y="880"/>
                  </a:lnTo>
                  <a:lnTo>
                    <a:pt x="63" y="963"/>
                  </a:lnTo>
                  <a:lnTo>
                    <a:pt x="168" y="984"/>
                  </a:lnTo>
                  <a:lnTo>
                    <a:pt x="251" y="1172"/>
                  </a:lnTo>
                  <a:lnTo>
                    <a:pt x="251" y="1298"/>
                  </a:lnTo>
                  <a:lnTo>
                    <a:pt x="377" y="1424"/>
                  </a:lnTo>
                  <a:lnTo>
                    <a:pt x="482" y="1382"/>
                  </a:lnTo>
                  <a:lnTo>
                    <a:pt x="482" y="1403"/>
                  </a:lnTo>
                  <a:lnTo>
                    <a:pt x="419" y="1507"/>
                  </a:lnTo>
                  <a:lnTo>
                    <a:pt x="502" y="1591"/>
                  </a:lnTo>
                  <a:lnTo>
                    <a:pt x="586" y="1675"/>
                  </a:lnTo>
                  <a:lnTo>
                    <a:pt x="565" y="1737"/>
                  </a:lnTo>
                  <a:lnTo>
                    <a:pt x="691" y="1779"/>
                  </a:lnTo>
                  <a:lnTo>
                    <a:pt x="1005" y="1926"/>
                  </a:lnTo>
                  <a:lnTo>
                    <a:pt x="1046" y="1926"/>
                  </a:lnTo>
                  <a:lnTo>
                    <a:pt x="1088" y="1842"/>
                  </a:lnTo>
                  <a:lnTo>
                    <a:pt x="1151" y="1696"/>
                  </a:lnTo>
                  <a:lnTo>
                    <a:pt x="1298" y="1633"/>
                  </a:lnTo>
                  <a:lnTo>
                    <a:pt x="1402" y="1507"/>
                  </a:lnTo>
                  <a:lnTo>
                    <a:pt x="1402" y="1403"/>
                  </a:lnTo>
                  <a:lnTo>
                    <a:pt x="1444" y="1256"/>
                  </a:lnTo>
                  <a:lnTo>
                    <a:pt x="1528" y="1214"/>
                  </a:lnTo>
                  <a:lnTo>
                    <a:pt x="1528" y="1152"/>
                  </a:lnTo>
                  <a:lnTo>
                    <a:pt x="1549" y="1005"/>
                  </a:lnTo>
                  <a:lnTo>
                    <a:pt x="1570" y="1005"/>
                  </a:lnTo>
                  <a:lnTo>
                    <a:pt x="1570" y="963"/>
                  </a:lnTo>
                  <a:lnTo>
                    <a:pt x="1528" y="942"/>
                  </a:lnTo>
                  <a:lnTo>
                    <a:pt x="1528" y="838"/>
                  </a:lnTo>
                  <a:lnTo>
                    <a:pt x="1611" y="796"/>
                  </a:lnTo>
                  <a:lnTo>
                    <a:pt x="1611" y="691"/>
                  </a:lnTo>
                  <a:lnTo>
                    <a:pt x="1507" y="587"/>
                  </a:lnTo>
                  <a:lnTo>
                    <a:pt x="1528" y="524"/>
                  </a:lnTo>
                  <a:lnTo>
                    <a:pt x="1360" y="252"/>
                  </a:lnTo>
                  <a:lnTo>
                    <a:pt x="1318" y="147"/>
                  </a:lnTo>
                  <a:lnTo>
                    <a:pt x="123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7" name="Google Shape;2127;p66"/>
            <p:cNvSpPr/>
            <p:nvPr/>
          </p:nvSpPr>
          <p:spPr>
            <a:xfrm>
              <a:off x="3670352" y="3087756"/>
              <a:ext cx="27911" cy="28568"/>
            </a:xfrm>
            <a:custGeom>
              <a:avLst/>
              <a:gdLst/>
              <a:ahLst/>
              <a:cxnLst/>
              <a:rect l="l" t="t" r="r" b="b"/>
              <a:pathLst>
                <a:path w="2344" h="2512" extrusionOk="0">
                  <a:moveTo>
                    <a:pt x="942" y="1"/>
                  </a:moveTo>
                  <a:lnTo>
                    <a:pt x="712" y="84"/>
                  </a:lnTo>
                  <a:lnTo>
                    <a:pt x="670" y="84"/>
                  </a:lnTo>
                  <a:lnTo>
                    <a:pt x="524" y="126"/>
                  </a:lnTo>
                  <a:lnTo>
                    <a:pt x="503" y="126"/>
                  </a:lnTo>
                  <a:lnTo>
                    <a:pt x="482" y="273"/>
                  </a:lnTo>
                  <a:lnTo>
                    <a:pt x="482" y="335"/>
                  </a:lnTo>
                  <a:lnTo>
                    <a:pt x="398" y="377"/>
                  </a:lnTo>
                  <a:lnTo>
                    <a:pt x="356" y="524"/>
                  </a:lnTo>
                  <a:lnTo>
                    <a:pt x="356" y="628"/>
                  </a:lnTo>
                  <a:lnTo>
                    <a:pt x="252" y="754"/>
                  </a:lnTo>
                  <a:lnTo>
                    <a:pt x="105" y="817"/>
                  </a:lnTo>
                  <a:lnTo>
                    <a:pt x="42" y="963"/>
                  </a:lnTo>
                  <a:lnTo>
                    <a:pt x="0" y="1047"/>
                  </a:lnTo>
                  <a:lnTo>
                    <a:pt x="168" y="1047"/>
                  </a:lnTo>
                  <a:lnTo>
                    <a:pt x="252" y="1109"/>
                  </a:lnTo>
                  <a:lnTo>
                    <a:pt x="210" y="1172"/>
                  </a:lnTo>
                  <a:lnTo>
                    <a:pt x="293" y="1235"/>
                  </a:lnTo>
                  <a:lnTo>
                    <a:pt x="461" y="1444"/>
                  </a:lnTo>
                  <a:lnTo>
                    <a:pt x="524" y="1444"/>
                  </a:lnTo>
                  <a:lnTo>
                    <a:pt x="775" y="1591"/>
                  </a:lnTo>
                  <a:lnTo>
                    <a:pt x="796" y="1591"/>
                  </a:lnTo>
                  <a:lnTo>
                    <a:pt x="1130" y="1967"/>
                  </a:lnTo>
                  <a:lnTo>
                    <a:pt x="1256" y="1988"/>
                  </a:lnTo>
                  <a:lnTo>
                    <a:pt x="1716" y="2302"/>
                  </a:lnTo>
                  <a:lnTo>
                    <a:pt x="2260" y="2511"/>
                  </a:lnTo>
                  <a:lnTo>
                    <a:pt x="2260" y="2386"/>
                  </a:lnTo>
                  <a:lnTo>
                    <a:pt x="2197" y="2281"/>
                  </a:lnTo>
                  <a:lnTo>
                    <a:pt x="2260" y="2156"/>
                  </a:lnTo>
                  <a:lnTo>
                    <a:pt x="2239" y="2072"/>
                  </a:lnTo>
                  <a:lnTo>
                    <a:pt x="2260" y="1967"/>
                  </a:lnTo>
                  <a:lnTo>
                    <a:pt x="2302" y="1884"/>
                  </a:lnTo>
                  <a:lnTo>
                    <a:pt x="2260" y="1800"/>
                  </a:lnTo>
                  <a:lnTo>
                    <a:pt x="2344" y="1758"/>
                  </a:lnTo>
                  <a:lnTo>
                    <a:pt x="2302" y="1653"/>
                  </a:lnTo>
                  <a:lnTo>
                    <a:pt x="2239" y="1633"/>
                  </a:lnTo>
                  <a:lnTo>
                    <a:pt x="2156" y="1570"/>
                  </a:lnTo>
                  <a:lnTo>
                    <a:pt x="2093" y="1465"/>
                  </a:lnTo>
                  <a:lnTo>
                    <a:pt x="2030" y="1444"/>
                  </a:lnTo>
                  <a:lnTo>
                    <a:pt x="1967" y="1444"/>
                  </a:lnTo>
                  <a:lnTo>
                    <a:pt x="1884" y="1361"/>
                  </a:lnTo>
                  <a:lnTo>
                    <a:pt x="1779" y="1361"/>
                  </a:lnTo>
                  <a:lnTo>
                    <a:pt x="1758" y="1381"/>
                  </a:lnTo>
                  <a:lnTo>
                    <a:pt x="1653" y="1361"/>
                  </a:lnTo>
                  <a:lnTo>
                    <a:pt x="1633" y="1256"/>
                  </a:lnTo>
                  <a:lnTo>
                    <a:pt x="1716" y="1151"/>
                  </a:lnTo>
                  <a:lnTo>
                    <a:pt x="1821" y="942"/>
                  </a:lnTo>
                  <a:lnTo>
                    <a:pt x="1758" y="837"/>
                  </a:lnTo>
                  <a:lnTo>
                    <a:pt x="1779" y="796"/>
                  </a:lnTo>
                  <a:lnTo>
                    <a:pt x="1758" y="733"/>
                  </a:lnTo>
                  <a:lnTo>
                    <a:pt x="1653" y="628"/>
                  </a:lnTo>
                  <a:lnTo>
                    <a:pt x="1612" y="628"/>
                  </a:lnTo>
                  <a:lnTo>
                    <a:pt x="1444" y="754"/>
                  </a:lnTo>
                  <a:lnTo>
                    <a:pt x="1361" y="754"/>
                  </a:lnTo>
                  <a:lnTo>
                    <a:pt x="1214" y="607"/>
                  </a:lnTo>
                  <a:lnTo>
                    <a:pt x="1235" y="482"/>
                  </a:lnTo>
                  <a:lnTo>
                    <a:pt x="1256" y="273"/>
                  </a:lnTo>
                  <a:lnTo>
                    <a:pt x="1130" y="189"/>
                  </a:lnTo>
                  <a:lnTo>
                    <a:pt x="1089" y="63"/>
                  </a:lnTo>
                  <a:lnTo>
                    <a:pt x="94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8" name="Google Shape;2128;p66"/>
            <p:cNvSpPr/>
            <p:nvPr/>
          </p:nvSpPr>
          <p:spPr>
            <a:xfrm>
              <a:off x="3689785" y="3073722"/>
              <a:ext cx="42617" cy="42840"/>
            </a:xfrm>
            <a:custGeom>
              <a:avLst/>
              <a:gdLst/>
              <a:ahLst/>
              <a:cxnLst/>
              <a:rect l="l" t="t" r="r" b="b"/>
              <a:pathLst>
                <a:path w="3579" h="3767" extrusionOk="0">
                  <a:moveTo>
                    <a:pt x="1905" y="0"/>
                  </a:moveTo>
                  <a:lnTo>
                    <a:pt x="1821" y="63"/>
                  </a:lnTo>
                  <a:lnTo>
                    <a:pt x="1716" y="209"/>
                  </a:lnTo>
                  <a:lnTo>
                    <a:pt x="1549" y="167"/>
                  </a:lnTo>
                  <a:lnTo>
                    <a:pt x="1507" y="105"/>
                  </a:lnTo>
                  <a:lnTo>
                    <a:pt x="1549" y="63"/>
                  </a:lnTo>
                  <a:lnTo>
                    <a:pt x="1381" y="42"/>
                  </a:lnTo>
                  <a:lnTo>
                    <a:pt x="1193" y="84"/>
                  </a:lnTo>
                  <a:lnTo>
                    <a:pt x="1193" y="146"/>
                  </a:lnTo>
                  <a:lnTo>
                    <a:pt x="1151" y="167"/>
                  </a:lnTo>
                  <a:lnTo>
                    <a:pt x="921" y="167"/>
                  </a:lnTo>
                  <a:lnTo>
                    <a:pt x="775" y="84"/>
                  </a:lnTo>
                  <a:lnTo>
                    <a:pt x="712" y="84"/>
                  </a:lnTo>
                  <a:lnTo>
                    <a:pt x="503" y="209"/>
                  </a:lnTo>
                  <a:lnTo>
                    <a:pt x="252" y="293"/>
                  </a:lnTo>
                  <a:lnTo>
                    <a:pt x="252" y="398"/>
                  </a:lnTo>
                  <a:lnTo>
                    <a:pt x="314" y="460"/>
                  </a:lnTo>
                  <a:lnTo>
                    <a:pt x="335" y="711"/>
                  </a:lnTo>
                  <a:lnTo>
                    <a:pt x="314" y="795"/>
                  </a:lnTo>
                  <a:lnTo>
                    <a:pt x="314" y="1004"/>
                  </a:lnTo>
                  <a:lnTo>
                    <a:pt x="398" y="1025"/>
                  </a:lnTo>
                  <a:lnTo>
                    <a:pt x="461" y="1151"/>
                  </a:lnTo>
                  <a:lnTo>
                    <a:pt x="440" y="1235"/>
                  </a:lnTo>
                  <a:lnTo>
                    <a:pt x="356" y="1214"/>
                  </a:lnTo>
                  <a:lnTo>
                    <a:pt x="293" y="1255"/>
                  </a:lnTo>
                  <a:lnTo>
                    <a:pt x="293" y="1339"/>
                  </a:lnTo>
                  <a:lnTo>
                    <a:pt x="398" y="1444"/>
                  </a:lnTo>
                  <a:lnTo>
                    <a:pt x="419" y="1507"/>
                  </a:lnTo>
                  <a:lnTo>
                    <a:pt x="419" y="1632"/>
                  </a:lnTo>
                  <a:lnTo>
                    <a:pt x="252" y="1967"/>
                  </a:lnTo>
                  <a:lnTo>
                    <a:pt x="147" y="1988"/>
                  </a:lnTo>
                  <a:lnTo>
                    <a:pt x="147" y="2030"/>
                  </a:lnTo>
                  <a:lnTo>
                    <a:pt x="126" y="2071"/>
                  </a:lnTo>
                  <a:lnTo>
                    <a:pt x="189" y="2176"/>
                  </a:lnTo>
                  <a:lnTo>
                    <a:pt x="84" y="2385"/>
                  </a:lnTo>
                  <a:lnTo>
                    <a:pt x="1" y="2490"/>
                  </a:lnTo>
                  <a:lnTo>
                    <a:pt x="21" y="2595"/>
                  </a:lnTo>
                  <a:lnTo>
                    <a:pt x="126" y="2615"/>
                  </a:lnTo>
                  <a:lnTo>
                    <a:pt x="147" y="2595"/>
                  </a:lnTo>
                  <a:lnTo>
                    <a:pt x="252" y="2595"/>
                  </a:lnTo>
                  <a:lnTo>
                    <a:pt x="335" y="2678"/>
                  </a:lnTo>
                  <a:lnTo>
                    <a:pt x="398" y="2678"/>
                  </a:lnTo>
                  <a:lnTo>
                    <a:pt x="461" y="2699"/>
                  </a:lnTo>
                  <a:lnTo>
                    <a:pt x="524" y="2804"/>
                  </a:lnTo>
                  <a:lnTo>
                    <a:pt x="607" y="2867"/>
                  </a:lnTo>
                  <a:lnTo>
                    <a:pt x="670" y="2887"/>
                  </a:lnTo>
                  <a:lnTo>
                    <a:pt x="712" y="2992"/>
                  </a:lnTo>
                  <a:lnTo>
                    <a:pt x="628" y="3034"/>
                  </a:lnTo>
                  <a:lnTo>
                    <a:pt x="670" y="3118"/>
                  </a:lnTo>
                  <a:lnTo>
                    <a:pt x="628" y="3201"/>
                  </a:lnTo>
                  <a:lnTo>
                    <a:pt x="607" y="3306"/>
                  </a:lnTo>
                  <a:lnTo>
                    <a:pt x="628" y="3390"/>
                  </a:lnTo>
                  <a:lnTo>
                    <a:pt x="565" y="3515"/>
                  </a:lnTo>
                  <a:lnTo>
                    <a:pt x="628" y="3620"/>
                  </a:lnTo>
                  <a:lnTo>
                    <a:pt x="628" y="3745"/>
                  </a:lnTo>
                  <a:lnTo>
                    <a:pt x="712" y="3766"/>
                  </a:lnTo>
                  <a:lnTo>
                    <a:pt x="879" y="3599"/>
                  </a:lnTo>
                  <a:lnTo>
                    <a:pt x="1026" y="3599"/>
                  </a:lnTo>
                  <a:lnTo>
                    <a:pt x="1068" y="3536"/>
                  </a:lnTo>
                  <a:lnTo>
                    <a:pt x="1465" y="3390"/>
                  </a:lnTo>
                  <a:lnTo>
                    <a:pt x="1465" y="3327"/>
                  </a:lnTo>
                  <a:lnTo>
                    <a:pt x="1674" y="3306"/>
                  </a:lnTo>
                  <a:lnTo>
                    <a:pt x="2449" y="3306"/>
                  </a:lnTo>
                  <a:lnTo>
                    <a:pt x="2742" y="3201"/>
                  </a:lnTo>
                  <a:lnTo>
                    <a:pt x="3014" y="3327"/>
                  </a:lnTo>
                  <a:lnTo>
                    <a:pt x="3034" y="3201"/>
                  </a:lnTo>
                  <a:lnTo>
                    <a:pt x="3139" y="3180"/>
                  </a:lnTo>
                  <a:lnTo>
                    <a:pt x="3223" y="3306"/>
                  </a:lnTo>
                  <a:lnTo>
                    <a:pt x="3244" y="3285"/>
                  </a:lnTo>
                  <a:lnTo>
                    <a:pt x="3348" y="3285"/>
                  </a:lnTo>
                  <a:lnTo>
                    <a:pt x="3453" y="3243"/>
                  </a:lnTo>
                  <a:lnTo>
                    <a:pt x="3453" y="3097"/>
                  </a:lnTo>
                  <a:lnTo>
                    <a:pt x="3390" y="2992"/>
                  </a:lnTo>
                  <a:lnTo>
                    <a:pt x="3265" y="2971"/>
                  </a:lnTo>
                  <a:lnTo>
                    <a:pt x="3244" y="2804"/>
                  </a:lnTo>
                  <a:lnTo>
                    <a:pt x="3160" y="2595"/>
                  </a:lnTo>
                  <a:lnTo>
                    <a:pt x="3076" y="2511"/>
                  </a:lnTo>
                  <a:lnTo>
                    <a:pt x="3118" y="2469"/>
                  </a:lnTo>
                  <a:lnTo>
                    <a:pt x="3139" y="2448"/>
                  </a:lnTo>
                  <a:lnTo>
                    <a:pt x="3139" y="2176"/>
                  </a:lnTo>
                  <a:lnTo>
                    <a:pt x="3181" y="2092"/>
                  </a:lnTo>
                  <a:lnTo>
                    <a:pt x="3223" y="1967"/>
                  </a:lnTo>
                  <a:lnTo>
                    <a:pt x="3244" y="1883"/>
                  </a:lnTo>
                  <a:lnTo>
                    <a:pt x="3244" y="1758"/>
                  </a:lnTo>
                  <a:lnTo>
                    <a:pt x="3432" y="1507"/>
                  </a:lnTo>
                  <a:lnTo>
                    <a:pt x="3537" y="1423"/>
                  </a:lnTo>
                  <a:lnTo>
                    <a:pt x="3537" y="1318"/>
                  </a:lnTo>
                  <a:lnTo>
                    <a:pt x="3578" y="1193"/>
                  </a:lnTo>
                  <a:lnTo>
                    <a:pt x="3537" y="1025"/>
                  </a:lnTo>
                  <a:lnTo>
                    <a:pt x="3453" y="942"/>
                  </a:lnTo>
                  <a:lnTo>
                    <a:pt x="3453" y="879"/>
                  </a:lnTo>
                  <a:lnTo>
                    <a:pt x="3390" y="732"/>
                  </a:lnTo>
                  <a:lnTo>
                    <a:pt x="3453" y="565"/>
                  </a:lnTo>
                  <a:lnTo>
                    <a:pt x="3453" y="502"/>
                  </a:lnTo>
                  <a:lnTo>
                    <a:pt x="3327" y="502"/>
                  </a:lnTo>
                  <a:lnTo>
                    <a:pt x="3244" y="418"/>
                  </a:lnTo>
                  <a:lnTo>
                    <a:pt x="3160" y="418"/>
                  </a:lnTo>
                  <a:lnTo>
                    <a:pt x="3055" y="502"/>
                  </a:lnTo>
                  <a:lnTo>
                    <a:pt x="2930" y="523"/>
                  </a:lnTo>
                  <a:lnTo>
                    <a:pt x="2742" y="460"/>
                  </a:lnTo>
                  <a:lnTo>
                    <a:pt x="2658" y="356"/>
                  </a:lnTo>
                  <a:lnTo>
                    <a:pt x="2553" y="293"/>
                  </a:lnTo>
                  <a:lnTo>
                    <a:pt x="2449" y="293"/>
                  </a:lnTo>
                  <a:lnTo>
                    <a:pt x="2407" y="251"/>
                  </a:lnTo>
                  <a:lnTo>
                    <a:pt x="2302" y="251"/>
                  </a:lnTo>
                  <a:lnTo>
                    <a:pt x="2093" y="146"/>
                  </a:lnTo>
                  <a:lnTo>
                    <a:pt x="192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29" name="Google Shape;2129;p66"/>
            <p:cNvSpPr/>
            <p:nvPr/>
          </p:nvSpPr>
          <p:spPr>
            <a:xfrm>
              <a:off x="3726412" y="3070151"/>
              <a:ext cx="29161" cy="43557"/>
            </a:xfrm>
            <a:custGeom>
              <a:avLst/>
              <a:gdLst/>
              <a:ahLst/>
              <a:cxnLst/>
              <a:rect l="l" t="t" r="r" b="b"/>
              <a:pathLst>
                <a:path w="2449" h="3830" extrusionOk="0">
                  <a:moveTo>
                    <a:pt x="1674" y="0"/>
                  </a:moveTo>
                  <a:lnTo>
                    <a:pt x="1549" y="63"/>
                  </a:lnTo>
                  <a:lnTo>
                    <a:pt x="1402" y="63"/>
                  </a:lnTo>
                  <a:lnTo>
                    <a:pt x="1193" y="105"/>
                  </a:lnTo>
                  <a:lnTo>
                    <a:pt x="419" y="105"/>
                  </a:lnTo>
                  <a:lnTo>
                    <a:pt x="210" y="147"/>
                  </a:lnTo>
                  <a:lnTo>
                    <a:pt x="189" y="272"/>
                  </a:lnTo>
                  <a:lnTo>
                    <a:pt x="251" y="460"/>
                  </a:lnTo>
                  <a:lnTo>
                    <a:pt x="293" y="502"/>
                  </a:lnTo>
                  <a:lnTo>
                    <a:pt x="377" y="670"/>
                  </a:lnTo>
                  <a:lnTo>
                    <a:pt x="377" y="816"/>
                  </a:lnTo>
                  <a:lnTo>
                    <a:pt x="377" y="879"/>
                  </a:lnTo>
                  <a:lnTo>
                    <a:pt x="314" y="1046"/>
                  </a:lnTo>
                  <a:lnTo>
                    <a:pt x="377" y="1193"/>
                  </a:lnTo>
                  <a:lnTo>
                    <a:pt x="377" y="1256"/>
                  </a:lnTo>
                  <a:lnTo>
                    <a:pt x="461" y="1339"/>
                  </a:lnTo>
                  <a:lnTo>
                    <a:pt x="502" y="1507"/>
                  </a:lnTo>
                  <a:lnTo>
                    <a:pt x="461" y="1632"/>
                  </a:lnTo>
                  <a:lnTo>
                    <a:pt x="461" y="1737"/>
                  </a:lnTo>
                  <a:lnTo>
                    <a:pt x="356" y="1821"/>
                  </a:lnTo>
                  <a:lnTo>
                    <a:pt x="168" y="2072"/>
                  </a:lnTo>
                  <a:lnTo>
                    <a:pt x="168" y="2197"/>
                  </a:lnTo>
                  <a:lnTo>
                    <a:pt x="147" y="2281"/>
                  </a:lnTo>
                  <a:lnTo>
                    <a:pt x="105" y="2406"/>
                  </a:lnTo>
                  <a:lnTo>
                    <a:pt x="63" y="2490"/>
                  </a:lnTo>
                  <a:lnTo>
                    <a:pt x="63" y="2762"/>
                  </a:lnTo>
                  <a:lnTo>
                    <a:pt x="42" y="2783"/>
                  </a:lnTo>
                  <a:lnTo>
                    <a:pt x="0" y="2825"/>
                  </a:lnTo>
                  <a:lnTo>
                    <a:pt x="84" y="2909"/>
                  </a:lnTo>
                  <a:lnTo>
                    <a:pt x="168" y="3118"/>
                  </a:lnTo>
                  <a:lnTo>
                    <a:pt x="189" y="3285"/>
                  </a:lnTo>
                  <a:lnTo>
                    <a:pt x="314" y="3306"/>
                  </a:lnTo>
                  <a:lnTo>
                    <a:pt x="377" y="3411"/>
                  </a:lnTo>
                  <a:lnTo>
                    <a:pt x="377" y="3557"/>
                  </a:lnTo>
                  <a:lnTo>
                    <a:pt x="272" y="3599"/>
                  </a:lnTo>
                  <a:lnTo>
                    <a:pt x="168" y="3599"/>
                  </a:lnTo>
                  <a:lnTo>
                    <a:pt x="147" y="3620"/>
                  </a:lnTo>
                  <a:lnTo>
                    <a:pt x="168" y="3662"/>
                  </a:lnTo>
                  <a:lnTo>
                    <a:pt x="482" y="3725"/>
                  </a:lnTo>
                  <a:lnTo>
                    <a:pt x="712" y="3829"/>
                  </a:lnTo>
                  <a:lnTo>
                    <a:pt x="1214" y="3599"/>
                  </a:lnTo>
                  <a:lnTo>
                    <a:pt x="1549" y="3557"/>
                  </a:lnTo>
                  <a:lnTo>
                    <a:pt x="1863" y="3306"/>
                  </a:lnTo>
                  <a:lnTo>
                    <a:pt x="2135" y="3181"/>
                  </a:lnTo>
                  <a:lnTo>
                    <a:pt x="2448" y="3118"/>
                  </a:lnTo>
                  <a:lnTo>
                    <a:pt x="2386" y="3034"/>
                  </a:lnTo>
                  <a:lnTo>
                    <a:pt x="2302" y="2971"/>
                  </a:lnTo>
                  <a:lnTo>
                    <a:pt x="2260" y="2929"/>
                  </a:lnTo>
                  <a:lnTo>
                    <a:pt x="2197" y="2804"/>
                  </a:lnTo>
                  <a:lnTo>
                    <a:pt x="2176" y="2657"/>
                  </a:lnTo>
                  <a:lnTo>
                    <a:pt x="2197" y="2490"/>
                  </a:lnTo>
                  <a:lnTo>
                    <a:pt x="2197" y="2448"/>
                  </a:lnTo>
                  <a:lnTo>
                    <a:pt x="2260" y="2302"/>
                  </a:lnTo>
                  <a:lnTo>
                    <a:pt x="2260" y="1967"/>
                  </a:lnTo>
                  <a:lnTo>
                    <a:pt x="2197" y="1883"/>
                  </a:lnTo>
                  <a:lnTo>
                    <a:pt x="2239" y="1674"/>
                  </a:lnTo>
                  <a:lnTo>
                    <a:pt x="2176" y="1611"/>
                  </a:lnTo>
                  <a:lnTo>
                    <a:pt x="2239" y="1528"/>
                  </a:lnTo>
                  <a:lnTo>
                    <a:pt x="2197" y="1423"/>
                  </a:lnTo>
                  <a:lnTo>
                    <a:pt x="2155" y="1360"/>
                  </a:lnTo>
                  <a:lnTo>
                    <a:pt x="2176" y="1297"/>
                  </a:lnTo>
                  <a:lnTo>
                    <a:pt x="2197" y="1214"/>
                  </a:lnTo>
                  <a:lnTo>
                    <a:pt x="2197" y="1004"/>
                  </a:lnTo>
                  <a:lnTo>
                    <a:pt x="2155" y="1004"/>
                  </a:lnTo>
                  <a:lnTo>
                    <a:pt x="2093" y="942"/>
                  </a:lnTo>
                  <a:lnTo>
                    <a:pt x="2093" y="732"/>
                  </a:lnTo>
                  <a:lnTo>
                    <a:pt x="2135" y="586"/>
                  </a:lnTo>
                  <a:lnTo>
                    <a:pt x="1988" y="502"/>
                  </a:lnTo>
                  <a:lnTo>
                    <a:pt x="1946" y="419"/>
                  </a:lnTo>
                  <a:lnTo>
                    <a:pt x="1821" y="293"/>
                  </a:lnTo>
                  <a:lnTo>
                    <a:pt x="1821" y="209"/>
                  </a:lnTo>
                  <a:lnTo>
                    <a:pt x="1758" y="168"/>
                  </a:lnTo>
                  <a:lnTo>
                    <a:pt x="1716"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0" name="Google Shape;2130;p66"/>
            <p:cNvSpPr/>
            <p:nvPr/>
          </p:nvSpPr>
          <p:spPr>
            <a:xfrm>
              <a:off x="3746846" y="3070151"/>
              <a:ext cx="13956" cy="35459"/>
            </a:xfrm>
            <a:custGeom>
              <a:avLst/>
              <a:gdLst/>
              <a:ahLst/>
              <a:cxnLst/>
              <a:rect l="l" t="t" r="r" b="b"/>
              <a:pathLst>
                <a:path w="1172" h="3118" extrusionOk="0">
                  <a:moveTo>
                    <a:pt x="0" y="0"/>
                  </a:moveTo>
                  <a:lnTo>
                    <a:pt x="42" y="168"/>
                  </a:lnTo>
                  <a:lnTo>
                    <a:pt x="105" y="209"/>
                  </a:lnTo>
                  <a:lnTo>
                    <a:pt x="105" y="293"/>
                  </a:lnTo>
                  <a:lnTo>
                    <a:pt x="230" y="419"/>
                  </a:lnTo>
                  <a:lnTo>
                    <a:pt x="272" y="502"/>
                  </a:lnTo>
                  <a:lnTo>
                    <a:pt x="419" y="586"/>
                  </a:lnTo>
                  <a:lnTo>
                    <a:pt x="377" y="732"/>
                  </a:lnTo>
                  <a:lnTo>
                    <a:pt x="377" y="942"/>
                  </a:lnTo>
                  <a:lnTo>
                    <a:pt x="439" y="1004"/>
                  </a:lnTo>
                  <a:lnTo>
                    <a:pt x="481" y="1004"/>
                  </a:lnTo>
                  <a:lnTo>
                    <a:pt x="481" y="1214"/>
                  </a:lnTo>
                  <a:lnTo>
                    <a:pt x="460" y="1297"/>
                  </a:lnTo>
                  <a:lnTo>
                    <a:pt x="439" y="1360"/>
                  </a:lnTo>
                  <a:lnTo>
                    <a:pt x="481" y="1423"/>
                  </a:lnTo>
                  <a:lnTo>
                    <a:pt x="523" y="1528"/>
                  </a:lnTo>
                  <a:lnTo>
                    <a:pt x="460" y="1611"/>
                  </a:lnTo>
                  <a:lnTo>
                    <a:pt x="523" y="1674"/>
                  </a:lnTo>
                  <a:lnTo>
                    <a:pt x="481" y="1883"/>
                  </a:lnTo>
                  <a:lnTo>
                    <a:pt x="544" y="1967"/>
                  </a:lnTo>
                  <a:lnTo>
                    <a:pt x="544" y="2302"/>
                  </a:lnTo>
                  <a:lnTo>
                    <a:pt x="481" y="2448"/>
                  </a:lnTo>
                  <a:lnTo>
                    <a:pt x="481" y="2490"/>
                  </a:lnTo>
                  <a:lnTo>
                    <a:pt x="460" y="2657"/>
                  </a:lnTo>
                  <a:lnTo>
                    <a:pt x="481" y="2804"/>
                  </a:lnTo>
                  <a:lnTo>
                    <a:pt x="544" y="2929"/>
                  </a:lnTo>
                  <a:lnTo>
                    <a:pt x="586" y="2971"/>
                  </a:lnTo>
                  <a:lnTo>
                    <a:pt x="670" y="3034"/>
                  </a:lnTo>
                  <a:lnTo>
                    <a:pt x="732" y="3118"/>
                  </a:lnTo>
                  <a:lnTo>
                    <a:pt x="774" y="3118"/>
                  </a:lnTo>
                  <a:lnTo>
                    <a:pt x="1088" y="2929"/>
                  </a:lnTo>
                  <a:lnTo>
                    <a:pt x="1151" y="2929"/>
                  </a:lnTo>
                  <a:lnTo>
                    <a:pt x="1172" y="2825"/>
                  </a:lnTo>
                  <a:lnTo>
                    <a:pt x="1088" y="2699"/>
                  </a:lnTo>
                  <a:lnTo>
                    <a:pt x="1088" y="2553"/>
                  </a:lnTo>
                  <a:lnTo>
                    <a:pt x="1046" y="2385"/>
                  </a:lnTo>
                  <a:lnTo>
                    <a:pt x="1067" y="1716"/>
                  </a:lnTo>
                  <a:lnTo>
                    <a:pt x="1067" y="1611"/>
                  </a:lnTo>
                  <a:lnTo>
                    <a:pt x="1109" y="1528"/>
                  </a:lnTo>
                  <a:lnTo>
                    <a:pt x="1109" y="1402"/>
                  </a:lnTo>
                  <a:lnTo>
                    <a:pt x="1088" y="1297"/>
                  </a:lnTo>
                  <a:lnTo>
                    <a:pt x="1088" y="1130"/>
                  </a:lnTo>
                  <a:lnTo>
                    <a:pt x="1046" y="900"/>
                  </a:lnTo>
                  <a:lnTo>
                    <a:pt x="900" y="586"/>
                  </a:lnTo>
                  <a:lnTo>
                    <a:pt x="858" y="565"/>
                  </a:lnTo>
                  <a:lnTo>
                    <a:pt x="774" y="481"/>
                  </a:lnTo>
                  <a:lnTo>
                    <a:pt x="649" y="398"/>
                  </a:lnTo>
                  <a:lnTo>
                    <a:pt x="628" y="209"/>
                  </a:lnTo>
                  <a:lnTo>
                    <a:pt x="649" y="168"/>
                  </a:lnTo>
                  <a:lnTo>
                    <a:pt x="42"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1" name="Google Shape;2131;p66"/>
            <p:cNvSpPr/>
            <p:nvPr/>
          </p:nvSpPr>
          <p:spPr>
            <a:xfrm>
              <a:off x="3754312" y="3061110"/>
              <a:ext cx="21445" cy="42840"/>
            </a:xfrm>
            <a:custGeom>
              <a:avLst/>
              <a:gdLst/>
              <a:ahLst/>
              <a:cxnLst/>
              <a:rect l="l" t="t" r="r" b="b"/>
              <a:pathLst>
                <a:path w="1801" h="3767" extrusionOk="0">
                  <a:moveTo>
                    <a:pt x="1047" y="0"/>
                  </a:moveTo>
                  <a:lnTo>
                    <a:pt x="984" y="105"/>
                  </a:lnTo>
                  <a:lnTo>
                    <a:pt x="1005" y="147"/>
                  </a:lnTo>
                  <a:lnTo>
                    <a:pt x="900" y="209"/>
                  </a:lnTo>
                  <a:lnTo>
                    <a:pt x="838" y="209"/>
                  </a:lnTo>
                  <a:lnTo>
                    <a:pt x="838" y="272"/>
                  </a:lnTo>
                  <a:lnTo>
                    <a:pt x="691" y="439"/>
                  </a:lnTo>
                  <a:lnTo>
                    <a:pt x="628" y="439"/>
                  </a:lnTo>
                  <a:lnTo>
                    <a:pt x="440" y="544"/>
                  </a:lnTo>
                  <a:lnTo>
                    <a:pt x="356" y="523"/>
                  </a:lnTo>
                  <a:lnTo>
                    <a:pt x="252" y="565"/>
                  </a:lnTo>
                  <a:lnTo>
                    <a:pt x="252" y="670"/>
                  </a:lnTo>
                  <a:lnTo>
                    <a:pt x="168" y="753"/>
                  </a:lnTo>
                  <a:lnTo>
                    <a:pt x="168" y="858"/>
                  </a:lnTo>
                  <a:lnTo>
                    <a:pt x="43" y="900"/>
                  </a:lnTo>
                  <a:lnTo>
                    <a:pt x="22" y="963"/>
                  </a:lnTo>
                  <a:lnTo>
                    <a:pt x="1" y="1004"/>
                  </a:lnTo>
                  <a:lnTo>
                    <a:pt x="22" y="1193"/>
                  </a:lnTo>
                  <a:lnTo>
                    <a:pt x="147" y="1276"/>
                  </a:lnTo>
                  <a:lnTo>
                    <a:pt x="231" y="1360"/>
                  </a:lnTo>
                  <a:lnTo>
                    <a:pt x="273" y="1381"/>
                  </a:lnTo>
                  <a:lnTo>
                    <a:pt x="419" y="1695"/>
                  </a:lnTo>
                  <a:lnTo>
                    <a:pt x="461" y="1925"/>
                  </a:lnTo>
                  <a:lnTo>
                    <a:pt x="461" y="2092"/>
                  </a:lnTo>
                  <a:lnTo>
                    <a:pt x="482" y="2197"/>
                  </a:lnTo>
                  <a:lnTo>
                    <a:pt x="482" y="2323"/>
                  </a:lnTo>
                  <a:lnTo>
                    <a:pt x="440" y="2406"/>
                  </a:lnTo>
                  <a:lnTo>
                    <a:pt x="440" y="2511"/>
                  </a:lnTo>
                  <a:lnTo>
                    <a:pt x="419" y="3180"/>
                  </a:lnTo>
                  <a:lnTo>
                    <a:pt x="461" y="3348"/>
                  </a:lnTo>
                  <a:lnTo>
                    <a:pt x="461" y="3494"/>
                  </a:lnTo>
                  <a:lnTo>
                    <a:pt x="545" y="3620"/>
                  </a:lnTo>
                  <a:lnTo>
                    <a:pt x="524" y="3724"/>
                  </a:lnTo>
                  <a:lnTo>
                    <a:pt x="733" y="3766"/>
                  </a:lnTo>
                  <a:lnTo>
                    <a:pt x="1110" y="3620"/>
                  </a:lnTo>
                  <a:lnTo>
                    <a:pt x="1152" y="3620"/>
                  </a:lnTo>
                  <a:lnTo>
                    <a:pt x="1110" y="3515"/>
                  </a:lnTo>
                  <a:lnTo>
                    <a:pt x="1152" y="3243"/>
                  </a:lnTo>
                  <a:lnTo>
                    <a:pt x="1110" y="3139"/>
                  </a:lnTo>
                  <a:lnTo>
                    <a:pt x="1152" y="3055"/>
                  </a:lnTo>
                  <a:lnTo>
                    <a:pt x="1110" y="2825"/>
                  </a:lnTo>
                  <a:lnTo>
                    <a:pt x="1110" y="2720"/>
                  </a:lnTo>
                  <a:lnTo>
                    <a:pt x="1110" y="2657"/>
                  </a:lnTo>
                  <a:lnTo>
                    <a:pt x="1089" y="2616"/>
                  </a:lnTo>
                  <a:lnTo>
                    <a:pt x="1110" y="2553"/>
                  </a:lnTo>
                  <a:lnTo>
                    <a:pt x="1089" y="2469"/>
                  </a:lnTo>
                  <a:lnTo>
                    <a:pt x="1089" y="2427"/>
                  </a:lnTo>
                  <a:lnTo>
                    <a:pt x="1089" y="2302"/>
                  </a:lnTo>
                  <a:lnTo>
                    <a:pt x="1110" y="2218"/>
                  </a:lnTo>
                  <a:lnTo>
                    <a:pt x="1110" y="2113"/>
                  </a:lnTo>
                  <a:lnTo>
                    <a:pt x="1152" y="2051"/>
                  </a:lnTo>
                  <a:lnTo>
                    <a:pt x="1256" y="2009"/>
                  </a:lnTo>
                  <a:lnTo>
                    <a:pt x="1298" y="2009"/>
                  </a:lnTo>
                  <a:lnTo>
                    <a:pt x="1361" y="1946"/>
                  </a:lnTo>
                  <a:lnTo>
                    <a:pt x="1403" y="1841"/>
                  </a:lnTo>
                  <a:lnTo>
                    <a:pt x="1486" y="1716"/>
                  </a:lnTo>
                  <a:lnTo>
                    <a:pt x="1528" y="1611"/>
                  </a:lnTo>
                  <a:lnTo>
                    <a:pt x="1612" y="1569"/>
                  </a:lnTo>
                  <a:lnTo>
                    <a:pt x="1696" y="1569"/>
                  </a:lnTo>
                  <a:lnTo>
                    <a:pt x="1716" y="1507"/>
                  </a:lnTo>
                  <a:lnTo>
                    <a:pt x="1591" y="1381"/>
                  </a:lnTo>
                  <a:lnTo>
                    <a:pt x="1591" y="1318"/>
                  </a:lnTo>
                  <a:lnTo>
                    <a:pt x="1633" y="1255"/>
                  </a:lnTo>
                  <a:lnTo>
                    <a:pt x="1779" y="1255"/>
                  </a:lnTo>
                  <a:lnTo>
                    <a:pt x="1800" y="1172"/>
                  </a:lnTo>
                  <a:lnTo>
                    <a:pt x="1737" y="963"/>
                  </a:lnTo>
                  <a:lnTo>
                    <a:pt x="1716" y="837"/>
                  </a:lnTo>
                  <a:lnTo>
                    <a:pt x="1570" y="691"/>
                  </a:lnTo>
                  <a:lnTo>
                    <a:pt x="1528" y="628"/>
                  </a:lnTo>
                  <a:lnTo>
                    <a:pt x="1570" y="481"/>
                  </a:lnTo>
                  <a:lnTo>
                    <a:pt x="1591" y="481"/>
                  </a:lnTo>
                  <a:lnTo>
                    <a:pt x="1465" y="314"/>
                  </a:lnTo>
                  <a:lnTo>
                    <a:pt x="1319" y="272"/>
                  </a:lnTo>
                  <a:lnTo>
                    <a:pt x="1214" y="147"/>
                  </a:lnTo>
                  <a:lnTo>
                    <a:pt x="104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2" name="Google Shape;2132;p66"/>
            <p:cNvSpPr/>
            <p:nvPr/>
          </p:nvSpPr>
          <p:spPr>
            <a:xfrm>
              <a:off x="3838283" y="2987337"/>
              <a:ext cx="71755" cy="108994"/>
            </a:xfrm>
            <a:custGeom>
              <a:avLst/>
              <a:gdLst/>
              <a:ahLst/>
              <a:cxnLst/>
              <a:rect l="l" t="t" r="r" b="b"/>
              <a:pathLst>
                <a:path w="6026" h="9584" extrusionOk="0">
                  <a:moveTo>
                    <a:pt x="1318" y="1"/>
                  </a:moveTo>
                  <a:lnTo>
                    <a:pt x="690" y="252"/>
                  </a:lnTo>
                  <a:lnTo>
                    <a:pt x="732" y="336"/>
                  </a:lnTo>
                  <a:lnTo>
                    <a:pt x="1025" y="1110"/>
                  </a:lnTo>
                  <a:lnTo>
                    <a:pt x="1004" y="1277"/>
                  </a:lnTo>
                  <a:lnTo>
                    <a:pt x="962" y="1361"/>
                  </a:lnTo>
                  <a:lnTo>
                    <a:pt x="1360" y="1821"/>
                  </a:lnTo>
                  <a:lnTo>
                    <a:pt x="1339" y="2030"/>
                  </a:lnTo>
                  <a:lnTo>
                    <a:pt x="1255" y="2114"/>
                  </a:lnTo>
                  <a:lnTo>
                    <a:pt x="1109" y="3202"/>
                  </a:lnTo>
                  <a:lnTo>
                    <a:pt x="1130" y="4039"/>
                  </a:lnTo>
                  <a:lnTo>
                    <a:pt x="167" y="5022"/>
                  </a:lnTo>
                  <a:lnTo>
                    <a:pt x="126" y="5085"/>
                  </a:lnTo>
                  <a:lnTo>
                    <a:pt x="0" y="5085"/>
                  </a:lnTo>
                  <a:lnTo>
                    <a:pt x="0" y="5169"/>
                  </a:lnTo>
                  <a:lnTo>
                    <a:pt x="21" y="5901"/>
                  </a:lnTo>
                  <a:lnTo>
                    <a:pt x="105" y="5922"/>
                  </a:lnTo>
                  <a:lnTo>
                    <a:pt x="272" y="6131"/>
                  </a:lnTo>
                  <a:lnTo>
                    <a:pt x="335" y="6278"/>
                  </a:lnTo>
                  <a:lnTo>
                    <a:pt x="628" y="6424"/>
                  </a:lnTo>
                  <a:lnTo>
                    <a:pt x="753" y="6529"/>
                  </a:lnTo>
                  <a:lnTo>
                    <a:pt x="795" y="6717"/>
                  </a:lnTo>
                  <a:lnTo>
                    <a:pt x="837" y="6759"/>
                  </a:lnTo>
                  <a:lnTo>
                    <a:pt x="858" y="6864"/>
                  </a:lnTo>
                  <a:lnTo>
                    <a:pt x="942" y="7031"/>
                  </a:lnTo>
                  <a:lnTo>
                    <a:pt x="942" y="7115"/>
                  </a:lnTo>
                  <a:lnTo>
                    <a:pt x="921" y="7157"/>
                  </a:lnTo>
                  <a:lnTo>
                    <a:pt x="900" y="7219"/>
                  </a:lnTo>
                  <a:lnTo>
                    <a:pt x="962" y="7282"/>
                  </a:lnTo>
                  <a:lnTo>
                    <a:pt x="921" y="7429"/>
                  </a:lnTo>
                  <a:lnTo>
                    <a:pt x="837" y="7491"/>
                  </a:lnTo>
                  <a:lnTo>
                    <a:pt x="858" y="7596"/>
                  </a:lnTo>
                  <a:lnTo>
                    <a:pt x="962" y="7763"/>
                  </a:lnTo>
                  <a:lnTo>
                    <a:pt x="1046" y="7805"/>
                  </a:lnTo>
                  <a:lnTo>
                    <a:pt x="1067" y="7910"/>
                  </a:lnTo>
                  <a:lnTo>
                    <a:pt x="1234" y="8056"/>
                  </a:lnTo>
                  <a:lnTo>
                    <a:pt x="1276" y="8077"/>
                  </a:lnTo>
                  <a:lnTo>
                    <a:pt x="1234" y="8119"/>
                  </a:lnTo>
                  <a:lnTo>
                    <a:pt x="1151" y="8098"/>
                  </a:lnTo>
                  <a:lnTo>
                    <a:pt x="1067" y="8077"/>
                  </a:lnTo>
                  <a:lnTo>
                    <a:pt x="942" y="8056"/>
                  </a:lnTo>
                  <a:lnTo>
                    <a:pt x="900" y="8077"/>
                  </a:lnTo>
                  <a:lnTo>
                    <a:pt x="795" y="8056"/>
                  </a:lnTo>
                  <a:lnTo>
                    <a:pt x="690" y="8077"/>
                  </a:lnTo>
                  <a:lnTo>
                    <a:pt x="628" y="8056"/>
                  </a:lnTo>
                  <a:lnTo>
                    <a:pt x="439" y="8056"/>
                  </a:lnTo>
                  <a:lnTo>
                    <a:pt x="439" y="8161"/>
                  </a:lnTo>
                  <a:lnTo>
                    <a:pt x="418" y="8203"/>
                  </a:lnTo>
                  <a:lnTo>
                    <a:pt x="418" y="8307"/>
                  </a:lnTo>
                  <a:lnTo>
                    <a:pt x="418" y="8370"/>
                  </a:lnTo>
                  <a:lnTo>
                    <a:pt x="502" y="8412"/>
                  </a:lnTo>
                  <a:lnTo>
                    <a:pt x="502" y="8496"/>
                  </a:lnTo>
                  <a:lnTo>
                    <a:pt x="607" y="8517"/>
                  </a:lnTo>
                  <a:lnTo>
                    <a:pt x="816" y="8705"/>
                  </a:lnTo>
                  <a:lnTo>
                    <a:pt x="1025" y="8914"/>
                  </a:lnTo>
                  <a:lnTo>
                    <a:pt x="1109" y="8998"/>
                  </a:lnTo>
                  <a:lnTo>
                    <a:pt x="1214" y="9144"/>
                  </a:lnTo>
                  <a:lnTo>
                    <a:pt x="1276" y="9312"/>
                  </a:lnTo>
                  <a:lnTo>
                    <a:pt x="1318" y="9416"/>
                  </a:lnTo>
                  <a:lnTo>
                    <a:pt x="1360" y="9458"/>
                  </a:lnTo>
                  <a:lnTo>
                    <a:pt x="1381" y="9584"/>
                  </a:lnTo>
                  <a:lnTo>
                    <a:pt x="1486" y="9584"/>
                  </a:lnTo>
                  <a:lnTo>
                    <a:pt x="1590" y="9563"/>
                  </a:lnTo>
                  <a:lnTo>
                    <a:pt x="1758" y="9563"/>
                  </a:lnTo>
                  <a:lnTo>
                    <a:pt x="1799" y="9437"/>
                  </a:lnTo>
                  <a:lnTo>
                    <a:pt x="1799" y="9312"/>
                  </a:lnTo>
                  <a:lnTo>
                    <a:pt x="1883" y="9249"/>
                  </a:lnTo>
                  <a:lnTo>
                    <a:pt x="1946" y="9312"/>
                  </a:lnTo>
                  <a:lnTo>
                    <a:pt x="1988" y="9437"/>
                  </a:lnTo>
                  <a:lnTo>
                    <a:pt x="2051" y="9479"/>
                  </a:lnTo>
                  <a:lnTo>
                    <a:pt x="2155" y="9458"/>
                  </a:lnTo>
                  <a:lnTo>
                    <a:pt x="2281" y="9354"/>
                  </a:lnTo>
                  <a:lnTo>
                    <a:pt x="2469" y="9312"/>
                  </a:lnTo>
                  <a:lnTo>
                    <a:pt x="2595" y="9207"/>
                  </a:lnTo>
                  <a:lnTo>
                    <a:pt x="2929" y="9123"/>
                  </a:lnTo>
                  <a:lnTo>
                    <a:pt x="3097" y="9123"/>
                  </a:lnTo>
                  <a:lnTo>
                    <a:pt x="3159" y="9019"/>
                  </a:lnTo>
                  <a:lnTo>
                    <a:pt x="3327" y="8914"/>
                  </a:lnTo>
                  <a:lnTo>
                    <a:pt x="3306" y="8831"/>
                  </a:lnTo>
                  <a:lnTo>
                    <a:pt x="3243" y="8831"/>
                  </a:lnTo>
                  <a:lnTo>
                    <a:pt x="3139" y="8726"/>
                  </a:lnTo>
                  <a:lnTo>
                    <a:pt x="3159" y="8621"/>
                  </a:lnTo>
                  <a:lnTo>
                    <a:pt x="3243" y="8579"/>
                  </a:lnTo>
                  <a:lnTo>
                    <a:pt x="3327" y="8600"/>
                  </a:lnTo>
                  <a:lnTo>
                    <a:pt x="3452" y="8579"/>
                  </a:lnTo>
                  <a:lnTo>
                    <a:pt x="3557" y="8621"/>
                  </a:lnTo>
                  <a:lnTo>
                    <a:pt x="3683" y="8642"/>
                  </a:lnTo>
                  <a:lnTo>
                    <a:pt x="3850" y="8621"/>
                  </a:lnTo>
                  <a:lnTo>
                    <a:pt x="4080" y="8600"/>
                  </a:lnTo>
                  <a:lnTo>
                    <a:pt x="4185" y="8517"/>
                  </a:lnTo>
                  <a:lnTo>
                    <a:pt x="4289" y="8475"/>
                  </a:lnTo>
                  <a:lnTo>
                    <a:pt x="4310" y="8370"/>
                  </a:lnTo>
                  <a:lnTo>
                    <a:pt x="4289" y="8286"/>
                  </a:lnTo>
                  <a:lnTo>
                    <a:pt x="4310" y="8182"/>
                  </a:lnTo>
                  <a:lnTo>
                    <a:pt x="4394" y="8119"/>
                  </a:lnTo>
                  <a:lnTo>
                    <a:pt x="4394" y="8056"/>
                  </a:lnTo>
                  <a:lnTo>
                    <a:pt x="4478" y="7952"/>
                  </a:lnTo>
                  <a:lnTo>
                    <a:pt x="4520" y="7973"/>
                  </a:lnTo>
                  <a:lnTo>
                    <a:pt x="4582" y="7973"/>
                  </a:lnTo>
                  <a:lnTo>
                    <a:pt x="4687" y="7805"/>
                  </a:lnTo>
                  <a:lnTo>
                    <a:pt x="4771" y="7784"/>
                  </a:lnTo>
                  <a:lnTo>
                    <a:pt x="4729" y="7701"/>
                  </a:lnTo>
                  <a:lnTo>
                    <a:pt x="4771" y="7638"/>
                  </a:lnTo>
                  <a:lnTo>
                    <a:pt x="4917" y="7554"/>
                  </a:lnTo>
                  <a:lnTo>
                    <a:pt x="5022" y="7470"/>
                  </a:lnTo>
                  <a:lnTo>
                    <a:pt x="5147" y="7470"/>
                  </a:lnTo>
                  <a:lnTo>
                    <a:pt x="5231" y="7533"/>
                  </a:lnTo>
                  <a:lnTo>
                    <a:pt x="5356" y="7450"/>
                  </a:lnTo>
                  <a:lnTo>
                    <a:pt x="5398" y="7387"/>
                  </a:lnTo>
                  <a:lnTo>
                    <a:pt x="5419" y="7366"/>
                  </a:lnTo>
                  <a:lnTo>
                    <a:pt x="5419" y="7282"/>
                  </a:lnTo>
                  <a:lnTo>
                    <a:pt x="5461" y="7219"/>
                  </a:lnTo>
                  <a:lnTo>
                    <a:pt x="5419" y="7136"/>
                  </a:lnTo>
                  <a:lnTo>
                    <a:pt x="5189" y="7052"/>
                  </a:lnTo>
                  <a:lnTo>
                    <a:pt x="5147" y="6947"/>
                  </a:lnTo>
                  <a:lnTo>
                    <a:pt x="5147" y="6822"/>
                  </a:lnTo>
                  <a:lnTo>
                    <a:pt x="5105" y="6717"/>
                  </a:lnTo>
                  <a:lnTo>
                    <a:pt x="5147" y="6634"/>
                  </a:lnTo>
                  <a:lnTo>
                    <a:pt x="5084" y="6592"/>
                  </a:lnTo>
                  <a:lnTo>
                    <a:pt x="5126" y="6529"/>
                  </a:lnTo>
                  <a:lnTo>
                    <a:pt x="5126" y="6445"/>
                  </a:lnTo>
                  <a:lnTo>
                    <a:pt x="5084" y="6424"/>
                  </a:lnTo>
                  <a:lnTo>
                    <a:pt x="4938" y="6529"/>
                  </a:lnTo>
                  <a:lnTo>
                    <a:pt x="4875" y="6445"/>
                  </a:lnTo>
                  <a:lnTo>
                    <a:pt x="4875" y="6320"/>
                  </a:lnTo>
                  <a:lnTo>
                    <a:pt x="5043" y="6131"/>
                  </a:lnTo>
                  <a:lnTo>
                    <a:pt x="5105" y="6027"/>
                  </a:lnTo>
                  <a:lnTo>
                    <a:pt x="5084" y="5922"/>
                  </a:lnTo>
                  <a:lnTo>
                    <a:pt x="4980" y="5880"/>
                  </a:lnTo>
                  <a:lnTo>
                    <a:pt x="5001" y="5797"/>
                  </a:lnTo>
                  <a:lnTo>
                    <a:pt x="5126" y="5713"/>
                  </a:lnTo>
                  <a:lnTo>
                    <a:pt x="5189" y="5587"/>
                  </a:lnTo>
                  <a:lnTo>
                    <a:pt x="5126" y="5545"/>
                  </a:lnTo>
                  <a:lnTo>
                    <a:pt x="5105" y="5441"/>
                  </a:lnTo>
                  <a:lnTo>
                    <a:pt x="5210" y="5357"/>
                  </a:lnTo>
                  <a:lnTo>
                    <a:pt x="5252" y="5357"/>
                  </a:lnTo>
                  <a:lnTo>
                    <a:pt x="5461" y="5085"/>
                  </a:lnTo>
                  <a:lnTo>
                    <a:pt x="5524" y="4960"/>
                  </a:lnTo>
                  <a:lnTo>
                    <a:pt x="5461" y="4876"/>
                  </a:lnTo>
                  <a:lnTo>
                    <a:pt x="5461" y="4750"/>
                  </a:lnTo>
                  <a:lnTo>
                    <a:pt x="5566" y="4667"/>
                  </a:lnTo>
                  <a:lnTo>
                    <a:pt x="5712" y="4667"/>
                  </a:lnTo>
                  <a:lnTo>
                    <a:pt x="5817" y="4729"/>
                  </a:lnTo>
                  <a:lnTo>
                    <a:pt x="5921" y="4646"/>
                  </a:lnTo>
                  <a:lnTo>
                    <a:pt x="6026" y="4625"/>
                  </a:lnTo>
                  <a:lnTo>
                    <a:pt x="5963" y="2344"/>
                  </a:lnTo>
                  <a:lnTo>
                    <a:pt x="1318"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3" name="Google Shape;2133;p66"/>
            <p:cNvSpPr/>
            <p:nvPr/>
          </p:nvSpPr>
          <p:spPr>
            <a:xfrm>
              <a:off x="3829555" y="3057778"/>
              <a:ext cx="2251" cy="1194"/>
            </a:xfrm>
            <a:custGeom>
              <a:avLst/>
              <a:gdLst/>
              <a:ahLst/>
              <a:cxnLst/>
              <a:rect l="l" t="t" r="r" b="b"/>
              <a:pathLst>
                <a:path w="189" h="105" extrusionOk="0">
                  <a:moveTo>
                    <a:pt x="189" y="0"/>
                  </a:moveTo>
                  <a:lnTo>
                    <a:pt x="1" y="42"/>
                  </a:lnTo>
                  <a:lnTo>
                    <a:pt x="63" y="105"/>
                  </a:lnTo>
                  <a:lnTo>
                    <a:pt x="168" y="84"/>
                  </a:lnTo>
                  <a:lnTo>
                    <a:pt x="189"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4" name="Google Shape;2134;p66"/>
            <p:cNvSpPr/>
            <p:nvPr/>
          </p:nvSpPr>
          <p:spPr>
            <a:xfrm>
              <a:off x="3749584" y="2988770"/>
              <a:ext cx="104905" cy="77822"/>
            </a:xfrm>
            <a:custGeom>
              <a:avLst/>
              <a:gdLst/>
              <a:ahLst/>
              <a:cxnLst/>
              <a:rect l="l" t="t" r="r" b="b"/>
              <a:pathLst>
                <a:path w="8810" h="6843" extrusionOk="0">
                  <a:moveTo>
                    <a:pt x="6507" y="0"/>
                  </a:moveTo>
                  <a:lnTo>
                    <a:pt x="3913" y="1590"/>
                  </a:lnTo>
                  <a:lnTo>
                    <a:pt x="3181" y="2239"/>
                  </a:lnTo>
                  <a:lnTo>
                    <a:pt x="2323" y="2448"/>
                  </a:lnTo>
                  <a:lnTo>
                    <a:pt x="2302" y="3578"/>
                  </a:lnTo>
                  <a:lnTo>
                    <a:pt x="2239" y="4080"/>
                  </a:lnTo>
                  <a:lnTo>
                    <a:pt x="2176" y="4164"/>
                  </a:lnTo>
                  <a:lnTo>
                    <a:pt x="2134" y="4331"/>
                  </a:lnTo>
                  <a:lnTo>
                    <a:pt x="2093" y="4478"/>
                  </a:lnTo>
                  <a:lnTo>
                    <a:pt x="1800" y="4624"/>
                  </a:lnTo>
                  <a:lnTo>
                    <a:pt x="1653" y="4729"/>
                  </a:lnTo>
                  <a:lnTo>
                    <a:pt x="1465" y="4729"/>
                  </a:lnTo>
                  <a:lnTo>
                    <a:pt x="1297" y="4834"/>
                  </a:lnTo>
                  <a:lnTo>
                    <a:pt x="942" y="4834"/>
                  </a:lnTo>
                  <a:lnTo>
                    <a:pt x="774" y="4917"/>
                  </a:lnTo>
                  <a:lnTo>
                    <a:pt x="649" y="4917"/>
                  </a:lnTo>
                  <a:lnTo>
                    <a:pt x="251" y="4938"/>
                  </a:lnTo>
                  <a:lnTo>
                    <a:pt x="126" y="4917"/>
                  </a:lnTo>
                  <a:lnTo>
                    <a:pt x="84" y="5001"/>
                  </a:lnTo>
                  <a:lnTo>
                    <a:pt x="84" y="5147"/>
                  </a:lnTo>
                  <a:lnTo>
                    <a:pt x="0" y="5252"/>
                  </a:lnTo>
                  <a:lnTo>
                    <a:pt x="0" y="5440"/>
                  </a:lnTo>
                  <a:lnTo>
                    <a:pt x="544" y="5796"/>
                  </a:lnTo>
                  <a:lnTo>
                    <a:pt x="544" y="6047"/>
                  </a:lnTo>
                  <a:lnTo>
                    <a:pt x="753" y="6173"/>
                  </a:lnTo>
                  <a:lnTo>
                    <a:pt x="984" y="6047"/>
                  </a:lnTo>
                  <a:lnTo>
                    <a:pt x="1067" y="6089"/>
                  </a:lnTo>
                  <a:lnTo>
                    <a:pt x="1067" y="6152"/>
                  </a:lnTo>
                  <a:lnTo>
                    <a:pt x="1130" y="6194"/>
                  </a:lnTo>
                  <a:lnTo>
                    <a:pt x="1130" y="6298"/>
                  </a:lnTo>
                  <a:lnTo>
                    <a:pt x="1067" y="6403"/>
                  </a:lnTo>
                  <a:lnTo>
                    <a:pt x="1193" y="6570"/>
                  </a:lnTo>
                  <a:lnTo>
                    <a:pt x="1297" y="6570"/>
                  </a:lnTo>
                  <a:lnTo>
                    <a:pt x="1402" y="6508"/>
                  </a:lnTo>
                  <a:lnTo>
                    <a:pt x="1381" y="6466"/>
                  </a:lnTo>
                  <a:lnTo>
                    <a:pt x="1444" y="6361"/>
                  </a:lnTo>
                  <a:lnTo>
                    <a:pt x="1611" y="6508"/>
                  </a:lnTo>
                  <a:lnTo>
                    <a:pt x="1716" y="6633"/>
                  </a:lnTo>
                  <a:lnTo>
                    <a:pt x="1862" y="6675"/>
                  </a:lnTo>
                  <a:lnTo>
                    <a:pt x="1988" y="6842"/>
                  </a:lnTo>
                  <a:lnTo>
                    <a:pt x="2072" y="6780"/>
                  </a:lnTo>
                  <a:lnTo>
                    <a:pt x="2072" y="6717"/>
                  </a:lnTo>
                  <a:lnTo>
                    <a:pt x="2009" y="6696"/>
                  </a:lnTo>
                  <a:lnTo>
                    <a:pt x="1925" y="6528"/>
                  </a:lnTo>
                  <a:lnTo>
                    <a:pt x="1967" y="6487"/>
                  </a:lnTo>
                  <a:lnTo>
                    <a:pt x="1967" y="6403"/>
                  </a:lnTo>
                  <a:lnTo>
                    <a:pt x="2072" y="6298"/>
                  </a:lnTo>
                  <a:lnTo>
                    <a:pt x="2176" y="6298"/>
                  </a:lnTo>
                  <a:lnTo>
                    <a:pt x="2176" y="6215"/>
                  </a:lnTo>
                  <a:lnTo>
                    <a:pt x="2113" y="6173"/>
                  </a:lnTo>
                  <a:lnTo>
                    <a:pt x="2093" y="6068"/>
                  </a:lnTo>
                  <a:lnTo>
                    <a:pt x="2113" y="6005"/>
                  </a:lnTo>
                  <a:lnTo>
                    <a:pt x="2134" y="5984"/>
                  </a:lnTo>
                  <a:lnTo>
                    <a:pt x="2113" y="5943"/>
                  </a:lnTo>
                  <a:lnTo>
                    <a:pt x="2113" y="5880"/>
                  </a:lnTo>
                  <a:lnTo>
                    <a:pt x="2239" y="5775"/>
                  </a:lnTo>
                  <a:lnTo>
                    <a:pt x="2323" y="5754"/>
                  </a:lnTo>
                  <a:lnTo>
                    <a:pt x="2385" y="5733"/>
                  </a:lnTo>
                  <a:lnTo>
                    <a:pt x="2490" y="5692"/>
                  </a:lnTo>
                  <a:lnTo>
                    <a:pt x="2804" y="5692"/>
                  </a:lnTo>
                  <a:lnTo>
                    <a:pt x="2846" y="5650"/>
                  </a:lnTo>
                  <a:lnTo>
                    <a:pt x="2930" y="5650"/>
                  </a:lnTo>
                  <a:lnTo>
                    <a:pt x="3013" y="5671"/>
                  </a:lnTo>
                  <a:lnTo>
                    <a:pt x="3160" y="5692"/>
                  </a:lnTo>
                  <a:lnTo>
                    <a:pt x="3243" y="5733"/>
                  </a:lnTo>
                  <a:lnTo>
                    <a:pt x="3327" y="5754"/>
                  </a:lnTo>
                  <a:lnTo>
                    <a:pt x="3494" y="5796"/>
                  </a:lnTo>
                  <a:lnTo>
                    <a:pt x="3557" y="5880"/>
                  </a:lnTo>
                  <a:lnTo>
                    <a:pt x="3683" y="6068"/>
                  </a:lnTo>
                  <a:lnTo>
                    <a:pt x="3787" y="6152"/>
                  </a:lnTo>
                  <a:lnTo>
                    <a:pt x="3850" y="6110"/>
                  </a:lnTo>
                  <a:lnTo>
                    <a:pt x="3913" y="6047"/>
                  </a:lnTo>
                  <a:lnTo>
                    <a:pt x="3997" y="6005"/>
                  </a:lnTo>
                  <a:lnTo>
                    <a:pt x="4080" y="5984"/>
                  </a:lnTo>
                  <a:lnTo>
                    <a:pt x="4227" y="5964"/>
                  </a:lnTo>
                  <a:lnTo>
                    <a:pt x="4269" y="5943"/>
                  </a:lnTo>
                  <a:lnTo>
                    <a:pt x="4373" y="5943"/>
                  </a:lnTo>
                  <a:lnTo>
                    <a:pt x="4478" y="6005"/>
                  </a:lnTo>
                  <a:lnTo>
                    <a:pt x="4478" y="6068"/>
                  </a:lnTo>
                  <a:lnTo>
                    <a:pt x="4582" y="6089"/>
                  </a:lnTo>
                  <a:lnTo>
                    <a:pt x="4750" y="6194"/>
                  </a:lnTo>
                  <a:lnTo>
                    <a:pt x="4896" y="6215"/>
                  </a:lnTo>
                  <a:lnTo>
                    <a:pt x="5126" y="6298"/>
                  </a:lnTo>
                  <a:lnTo>
                    <a:pt x="5231" y="6319"/>
                  </a:lnTo>
                  <a:lnTo>
                    <a:pt x="5357" y="6256"/>
                  </a:lnTo>
                  <a:lnTo>
                    <a:pt x="5524" y="6047"/>
                  </a:lnTo>
                  <a:lnTo>
                    <a:pt x="5629" y="5984"/>
                  </a:lnTo>
                  <a:lnTo>
                    <a:pt x="5943" y="6005"/>
                  </a:lnTo>
                  <a:lnTo>
                    <a:pt x="6068" y="5964"/>
                  </a:lnTo>
                  <a:lnTo>
                    <a:pt x="6319" y="5984"/>
                  </a:lnTo>
                  <a:lnTo>
                    <a:pt x="6507" y="6068"/>
                  </a:lnTo>
                  <a:lnTo>
                    <a:pt x="6675" y="6089"/>
                  </a:lnTo>
                  <a:lnTo>
                    <a:pt x="6717" y="6110"/>
                  </a:lnTo>
                  <a:lnTo>
                    <a:pt x="6905" y="6068"/>
                  </a:lnTo>
                  <a:lnTo>
                    <a:pt x="6926" y="6047"/>
                  </a:lnTo>
                  <a:lnTo>
                    <a:pt x="7031" y="5984"/>
                  </a:lnTo>
                  <a:lnTo>
                    <a:pt x="7093" y="5943"/>
                  </a:lnTo>
                  <a:lnTo>
                    <a:pt x="7156" y="5901"/>
                  </a:lnTo>
                  <a:lnTo>
                    <a:pt x="7240" y="5943"/>
                  </a:lnTo>
                  <a:lnTo>
                    <a:pt x="7303" y="5901"/>
                  </a:lnTo>
                  <a:lnTo>
                    <a:pt x="7323" y="5838"/>
                  </a:lnTo>
                  <a:lnTo>
                    <a:pt x="7365" y="5733"/>
                  </a:lnTo>
                  <a:lnTo>
                    <a:pt x="7470" y="5775"/>
                  </a:lnTo>
                  <a:lnTo>
                    <a:pt x="7470" y="5775"/>
                  </a:lnTo>
                  <a:lnTo>
                    <a:pt x="7449" y="5043"/>
                  </a:lnTo>
                  <a:lnTo>
                    <a:pt x="7449" y="4959"/>
                  </a:lnTo>
                  <a:lnTo>
                    <a:pt x="7575" y="4959"/>
                  </a:lnTo>
                  <a:lnTo>
                    <a:pt x="7616" y="4896"/>
                  </a:lnTo>
                  <a:lnTo>
                    <a:pt x="8579" y="3913"/>
                  </a:lnTo>
                  <a:lnTo>
                    <a:pt x="8558" y="3076"/>
                  </a:lnTo>
                  <a:lnTo>
                    <a:pt x="8704" y="1988"/>
                  </a:lnTo>
                  <a:lnTo>
                    <a:pt x="8788" y="1904"/>
                  </a:lnTo>
                  <a:lnTo>
                    <a:pt x="8809" y="1695"/>
                  </a:lnTo>
                  <a:lnTo>
                    <a:pt x="8411" y="1235"/>
                  </a:lnTo>
                  <a:lnTo>
                    <a:pt x="8453" y="1151"/>
                  </a:lnTo>
                  <a:lnTo>
                    <a:pt x="8474" y="984"/>
                  </a:lnTo>
                  <a:lnTo>
                    <a:pt x="8181" y="210"/>
                  </a:lnTo>
                  <a:lnTo>
                    <a:pt x="8139" y="126"/>
                  </a:lnTo>
                  <a:lnTo>
                    <a:pt x="7616" y="335"/>
                  </a:lnTo>
                  <a:lnTo>
                    <a:pt x="7512" y="230"/>
                  </a:lnTo>
                  <a:lnTo>
                    <a:pt x="650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sp>
          <p:nvSpPr>
            <p:cNvPr id="2135" name="Google Shape;2135;p66"/>
            <p:cNvSpPr/>
            <p:nvPr/>
          </p:nvSpPr>
          <p:spPr>
            <a:xfrm>
              <a:off x="3767267" y="3053013"/>
              <a:ext cx="78744" cy="64493"/>
            </a:xfrm>
            <a:custGeom>
              <a:avLst/>
              <a:gdLst/>
              <a:ahLst/>
              <a:cxnLst/>
              <a:rect l="l" t="t" r="r" b="b"/>
              <a:pathLst>
                <a:path w="6613" h="5671" extrusionOk="0">
                  <a:moveTo>
                    <a:pt x="1361" y="1"/>
                  </a:moveTo>
                  <a:lnTo>
                    <a:pt x="1319" y="43"/>
                  </a:lnTo>
                  <a:lnTo>
                    <a:pt x="1005" y="43"/>
                  </a:lnTo>
                  <a:lnTo>
                    <a:pt x="900" y="84"/>
                  </a:lnTo>
                  <a:lnTo>
                    <a:pt x="838" y="105"/>
                  </a:lnTo>
                  <a:lnTo>
                    <a:pt x="754" y="126"/>
                  </a:lnTo>
                  <a:lnTo>
                    <a:pt x="628" y="231"/>
                  </a:lnTo>
                  <a:lnTo>
                    <a:pt x="628" y="294"/>
                  </a:lnTo>
                  <a:lnTo>
                    <a:pt x="649" y="335"/>
                  </a:lnTo>
                  <a:lnTo>
                    <a:pt x="628" y="356"/>
                  </a:lnTo>
                  <a:lnTo>
                    <a:pt x="608" y="419"/>
                  </a:lnTo>
                  <a:lnTo>
                    <a:pt x="628" y="524"/>
                  </a:lnTo>
                  <a:lnTo>
                    <a:pt x="691" y="566"/>
                  </a:lnTo>
                  <a:lnTo>
                    <a:pt x="691" y="649"/>
                  </a:lnTo>
                  <a:lnTo>
                    <a:pt x="587" y="649"/>
                  </a:lnTo>
                  <a:lnTo>
                    <a:pt x="482" y="754"/>
                  </a:lnTo>
                  <a:lnTo>
                    <a:pt x="482" y="838"/>
                  </a:lnTo>
                  <a:lnTo>
                    <a:pt x="440" y="879"/>
                  </a:lnTo>
                  <a:lnTo>
                    <a:pt x="524" y="1047"/>
                  </a:lnTo>
                  <a:lnTo>
                    <a:pt x="587" y="1068"/>
                  </a:lnTo>
                  <a:lnTo>
                    <a:pt x="587" y="1131"/>
                  </a:lnTo>
                  <a:lnTo>
                    <a:pt x="503" y="1193"/>
                  </a:lnTo>
                  <a:lnTo>
                    <a:pt x="482" y="1193"/>
                  </a:lnTo>
                  <a:lnTo>
                    <a:pt x="440" y="1340"/>
                  </a:lnTo>
                  <a:lnTo>
                    <a:pt x="482" y="1403"/>
                  </a:lnTo>
                  <a:lnTo>
                    <a:pt x="628" y="1549"/>
                  </a:lnTo>
                  <a:lnTo>
                    <a:pt x="649" y="1675"/>
                  </a:lnTo>
                  <a:lnTo>
                    <a:pt x="712" y="1884"/>
                  </a:lnTo>
                  <a:lnTo>
                    <a:pt x="691" y="1967"/>
                  </a:lnTo>
                  <a:lnTo>
                    <a:pt x="545" y="1967"/>
                  </a:lnTo>
                  <a:lnTo>
                    <a:pt x="503" y="2030"/>
                  </a:lnTo>
                  <a:lnTo>
                    <a:pt x="503" y="2093"/>
                  </a:lnTo>
                  <a:lnTo>
                    <a:pt x="628" y="2219"/>
                  </a:lnTo>
                  <a:lnTo>
                    <a:pt x="608" y="2281"/>
                  </a:lnTo>
                  <a:lnTo>
                    <a:pt x="524" y="2281"/>
                  </a:lnTo>
                  <a:lnTo>
                    <a:pt x="440" y="2323"/>
                  </a:lnTo>
                  <a:lnTo>
                    <a:pt x="398" y="2428"/>
                  </a:lnTo>
                  <a:lnTo>
                    <a:pt x="315" y="2553"/>
                  </a:lnTo>
                  <a:lnTo>
                    <a:pt x="273" y="2658"/>
                  </a:lnTo>
                  <a:lnTo>
                    <a:pt x="210" y="2721"/>
                  </a:lnTo>
                  <a:lnTo>
                    <a:pt x="168" y="2721"/>
                  </a:lnTo>
                  <a:lnTo>
                    <a:pt x="64" y="2763"/>
                  </a:lnTo>
                  <a:lnTo>
                    <a:pt x="22" y="2825"/>
                  </a:lnTo>
                  <a:lnTo>
                    <a:pt x="22" y="2930"/>
                  </a:lnTo>
                  <a:lnTo>
                    <a:pt x="1" y="3014"/>
                  </a:lnTo>
                  <a:lnTo>
                    <a:pt x="1" y="3139"/>
                  </a:lnTo>
                  <a:lnTo>
                    <a:pt x="1" y="3181"/>
                  </a:lnTo>
                  <a:lnTo>
                    <a:pt x="22" y="3265"/>
                  </a:lnTo>
                  <a:lnTo>
                    <a:pt x="1" y="3328"/>
                  </a:lnTo>
                  <a:lnTo>
                    <a:pt x="22" y="3369"/>
                  </a:lnTo>
                  <a:lnTo>
                    <a:pt x="22" y="3432"/>
                  </a:lnTo>
                  <a:lnTo>
                    <a:pt x="22" y="3537"/>
                  </a:lnTo>
                  <a:lnTo>
                    <a:pt x="64" y="3767"/>
                  </a:lnTo>
                  <a:lnTo>
                    <a:pt x="22" y="3851"/>
                  </a:lnTo>
                  <a:lnTo>
                    <a:pt x="64" y="3955"/>
                  </a:lnTo>
                  <a:lnTo>
                    <a:pt x="22" y="4227"/>
                  </a:lnTo>
                  <a:lnTo>
                    <a:pt x="64" y="4332"/>
                  </a:lnTo>
                  <a:lnTo>
                    <a:pt x="294" y="4395"/>
                  </a:lnTo>
                  <a:lnTo>
                    <a:pt x="482" y="4311"/>
                  </a:lnTo>
                  <a:lnTo>
                    <a:pt x="900" y="4541"/>
                  </a:lnTo>
                  <a:lnTo>
                    <a:pt x="1131" y="4750"/>
                  </a:lnTo>
                  <a:lnTo>
                    <a:pt x="1256" y="5043"/>
                  </a:lnTo>
                  <a:lnTo>
                    <a:pt x="1256" y="5232"/>
                  </a:lnTo>
                  <a:lnTo>
                    <a:pt x="1340" y="5273"/>
                  </a:lnTo>
                  <a:lnTo>
                    <a:pt x="1424" y="5462"/>
                  </a:lnTo>
                  <a:lnTo>
                    <a:pt x="1549" y="5587"/>
                  </a:lnTo>
                  <a:lnTo>
                    <a:pt x="1758" y="5671"/>
                  </a:lnTo>
                  <a:lnTo>
                    <a:pt x="2323" y="5629"/>
                  </a:lnTo>
                  <a:lnTo>
                    <a:pt x="2428" y="5566"/>
                  </a:lnTo>
                  <a:lnTo>
                    <a:pt x="2512" y="5587"/>
                  </a:lnTo>
                  <a:lnTo>
                    <a:pt x="2784" y="5483"/>
                  </a:lnTo>
                  <a:lnTo>
                    <a:pt x="2888" y="5545"/>
                  </a:lnTo>
                  <a:lnTo>
                    <a:pt x="3014" y="5524"/>
                  </a:lnTo>
                  <a:lnTo>
                    <a:pt x="3056" y="5357"/>
                  </a:lnTo>
                  <a:lnTo>
                    <a:pt x="3160" y="5462"/>
                  </a:lnTo>
                  <a:lnTo>
                    <a:pt x="3223" y="5441"/>
                  </a:lnTo>
                  <a:lnTo>
                    <a:pt x="3223" y="5357"/>
                  </a:lnTo>
                  <a:lnTo>
                    <a:pt x="3369" y="5211"/>
                  </a:lnTo>
                  <a:lnTo>
                    <a:pt x="3432" y="5043"/>
                  </a:lnTo>
                  <a:lnTo>
                    <a:pt x="3432" y="4918"/>
                  </a:lnTo>
                  <a:lnTo>
                    <a:pt x="3411" y="4792"/>
                  </a:lnTo>
                  <a:lnTo>
                    <a:pt x="3474" y="4729"/>
                  </a:lnTo>
                  <a:lnTo>
                    <a:pt x="3474" y="4646"/>
                  </a:lnTo>
                  <a:lnTo>
                    <a:pt x="3558" y="4583"/>
                  </a:lnTo>
                  <a:lnTo>
                    <a:pt x="3662" y="4499"/>
                  </a:lnTo>
                  <a:lnTo>
                    <a:pt x="3725" y="4436"/>
                  </a:lnTo>
                  <a:lnTo>
                    <a:pt x="3893" y="4311"/>
                  </a:lnTo>
                  <a:lnTo>
                    <a:pt x="3872" y="4206"/>
                  </a:lnTo>
                  <a:lnTo>
                    <a:pt x="3893" y="4123"/>
                  </a:lnTo>
                  <a:lnTo>
                    <a:pt x="4039" y="4123"/>
                  </a:lnTo>
                  <a:lnTo>
                    <a:pt x="4081" y="4060"/>
                  </a:lnTo>
                  <a:lnTo>
                    <a:pt x="4102" y="4081"/>
                  </a:lnTo>
                  <a:lnTo>
                    <a:pt x="4269" y="4123"/>
                  </a:lnTo>
                  <a:lnTo>
                    <a:pt x="4353" y="4123"/>
                  </a:lnTo>
                  <a:lnTo>
                    <a:pt x="4458" y="4185"/>
                  </a:lnTo>
                  <a:lnTo>
                    <a:pt x="4499" y="4311"/>
                  </a:lnTo>
                  <a:lnTo>
                    <a:pt x="4604" y="4374"/>
                  </a:lnTo>
                  <a:lnTo>
                    <a:pt x="4688" y="4395"/>
                  </a:lnTo>
                  <a:lnTo>
                    <a:pt x="4792" y="4332"/>
                  </a:lnTo>
                  <a:lnTo>
                    <a:pt x="4876" y="4206"/>
                  </a:lnTo>
                  <a:lnTo>
                    <a:pt x="4876" y="4164"/>
                  </a:lnTo>
                  <a:lnTo>
                    <a:pt x="4918" y="4081"/>
                  </a:lnTo>
                  <a:lnTo>
                    <a:pt x="5002" y="4060"/>
                  </a:lnTo>
                  <a:lnTo>
                    <a:pt x="5085" y="3955"/>
                  </a:lnTo>
                  <a:lnTo>
                    <a:pt x="5085" y="3872"/>
                  </a:lnTo>
                  <a:lnTo>
                    <a:pt x="5106" y="3746"/>
                  </a:lnTo>
                  <a:lnTo>
                    <a:pt x="5294" y="3558"/>
                  </a:lnTo>
                  <a:lnTo>
                    <a:pt x="5315" y="3453"/>
                  </a:lnTo>
                  <a:lnTo>
                    <a:pt x="5294" y="3369"/>
                  </a:lnTo>
                  <a:lnTo>
                    <a:pt x="5336" y="3286"/>
                  </a:lnTo>
                  <a:lnTo>
                    <a:pt x="5504" y="3139"/>
                  </a:lnTo>
                  <a:lnTo>
                    <a:pt x="5608" y="3056"/>
                  </a:lnTo>
                  <a:lnTo>
                    <a:pt x="5629" y="2930"/>
                  </a:lnTo>
                  <a:lnTo>
                    <a:pt x="5650" y="2846"/>
                  </a:lnTo>
                  <a:lnTo>
                    <a:pt x="5629" y="2658"/>
                  </a:lnTo>
                  <a:lnTo>
                    <a:pt x="5734" y="2595"/>
                  </a:lnTo>
                  <a:lnTo>
                    <a:pt x="5880" y="2553"/>
                  </a:lnTo>
                  <a:lnTo>
                    <a:pt x="5964" y="2428"/>
                  </a:lnTo>
                  <a:lnTo>
                    <a:pt x="5985" y="2302"/>
                  </a:lnTo>
                  <a:lnTo>
                    <a:pt x="5985" y="2135"/>
                  </a:lnTo>
                  <a:lnTo>
                    <a:pt x="5985" y="2030"/>
                  </a:lnTo>
                  <a:lnTo>
                    <a:pt x="6048" y="1926"/>
                  </a:lnTo>
                  <a:lnTo>
                    <a:pt x="6152" y="1758"/>
                  </a:lnTo>
                  <a:lnTo>
                    <a:pt x="6194" y="1695"/>
                  </a:lnTo>
                  <a:lnTo>
                    <a:pt x="6236" y="1654"/>
                  </a:lnTo>
                  <a:lnTo>
                    <a:pt x="6341" y="1570"/>
                  </a:lnTo>
                  <a:lnTo>
                    <a:pt x="6382" y="1570"/>
                  </a:lnTo>
                  <a:lnTo>
                    <a:pt x="6466" y="1465"/>
                  </a:lnTo>
                  <a:lnTo>
                    <a:pt x="6592" y="1403"/>
                  </a:lnTo>
                  <a:lnTo>
                    <a:pt x="6613" y="1340"/>
                  </a:lnTo>
                  <a:lnTo>
                    <a:pt x="6571" y="1193"/>
                  </a:lnTo>
                  <a:lnTo>
                    <a:pt x="6571" y="1131"/>
                  </a:lnTo>
                  <a:lnTo>
                    <a:pt x="6550" y="1047"/>
                  </a:lnTo>
                  <a:lnTo>
                    <a:pt x="6445" y="984"/>
                  </a:lnTo>
                  <a:lnTo>
                    <a:pt x="6382" y="921"/>
                  </a:lnTo>
                  <a:lnTo>
                    <a:pt x="6382" y="733"/>
                  </a:lnTo>
                  <a:lnTo>
                    <a:pt x="6362" y="628"/>
                  </a:lnTo>
                  <a:lnTo>
                    <a:pt x="6299" y="503"/>
                  </a:lnTo>
                  <a:lnTo>
                    <a:pt x="6236" y="356"/>
                  </a:lnTo>
                  <a:lnTo>
                    <a:pt x="6069" y="147"/>
                  </a:lnTo>
                  <a:lnTo>
                    <a:pt x="5985" y="126"/>
                  </a:lnTo>
                  <a:lnTo>
                    <a:pt x="5880" y="84"/>
                  </a:lnTo>
                  <a:lnTo>
                    <a:pt x="5838" y="189"/>
                  </a:lnTo>
                  <a:lnTo>
                    <a:pt x="5818" y="252"/>
                  </a:lnTo>
                  <a:lnTo>
                    <a:pt x="5755" y="294"/>
                  </a:lnTo>
                  <a:lnTo>
                    <a:pt x="5671" y="252"/>
                  </a:lnTo>
                  <a:lnTo>
                    <a:pt x="5608" y="294"/>
                  </a:lnTo>
                  <a:lnTo>
                    <a:pt x="5546" y="335"/>
                  </a:lnTo>
                  <a:lnTo>
                    <a:pt x="5441" y="398"/>
                  </a:lnTo>
                  <a:lnTo>
                    <a:pt x="5399" y="503"/>
                  </a:lnTo>
                  <a:lnTo>
                    <a:pt x="5294" y="524"/>
                  </a:lnTo>
                  <a:lnTo>
                    <a:pt x="5232" y="461"/>
                  </a:lnTo>
                  <a:lnTo>
                    <a:pt x="5190" y="440"/>
                  </a:lnTo>
                  <a:lnTo>
                    <a:pt x="5022" y="419"/>
                  </a:lnTo>
                  <a:lnTo>
                    <a:pt x="4834" y="335"/>
                  </a:lnTo>
                  <a:lnTo>
                    <a:pt x="4583" y="315"/>
                  </a:lnTo>
                  <a:lnTo>
                    <a:pt x="4458" y="356"/>
                  </a:lnTo>
                  <a:lnTo>
                    <a:pt x="4144" y="335"/>
                  </a:lnTo>
                  <a:lnTo>
                    <a:pt x="4039" y="398"/>
                  </a:lnTo>
                  <a:lnTo>
                    <a:pt x="3872" y="607"/>
                  </a:lnTo>
                  <a:lnTo>
                    <a:pt x="3746" y="670"/>
                  </a:lnTo>
                  <a:lnTo>
                    <a:pt x="3641" y="649"/>
                  </a:lnTo>
                  <a:lnTo>
                    <a:pt x="3411" y="566"/>
                  </a:lnTo>
                  <a:lnTo>
                    <a:pt x="3265" y="545"/>
                  </a:lnTo>
                  <a:lnTo>
                    <a:pt x="3097" y="440"/>
                  </a:lnTo>
                  <a:lnTo>
                    <a:pt x="2993" y="419"/>
                  </a:lnTo>
                  <a:lnTo>
                    <a:pt x="2993" y="356"/>
                  </a:lnTo>
                  <a:lnTo>
                    <a:pt x="2888" y="294"/>
                  </a:lnTo>
                  <a:lnTo>
                    <a:pt x="2784" y="294"/>
                  </a:lnTo>
                  <a:lnTo>
                    <a:pt x="2742" y="315"/>
                  </a:lnTo>
                  <a:lnTo>
                    <a:pt x="2595" y="335"/>
                  </a:lnTo>
                  <a:lnTo>
                    <a:pt x="2512" y="356"/>
                  </a:lnTo>
                  <a:lnTo>
                    <a:pt x="2428" y="398"/>
                  </a:lnTo>
                  <a:lnTo>
                    <a:pt x="2365" y="461"/>
                  </a:lnTo>
                  <a:lnTo>
                    <a:pt x="2302" y="503"/>
                  </a:lnTo>
                  <a:lnTo>
                    <a:pt x="2198" y="419"/>
                  </a:lnTo>
                  <a:lnTo>
                    <a:pt x="2072" y="231"/>
                  </a:lnTo>
                  <a:lnTo>
                    <a:pt x="2009" y="147"/>
                  </a:lnTo>
                  <a:lnTo>
                    <a:pt x="1842" y="105"/>
                  </a:lnTo>
                  <a:lnTo>
                    <a:pt x="1758" y="84"/>
                  </a:lnTo>
                  <a:lnTo>
                    <a:pt x="1675" y="43"/>
                  </a:lnTo>
                  <a:lnTo>
                    <a:pt x="1528" y="22"/>
                  </a:lnTo>
                  <a:lnTo>
                    <a:pt x="144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6" name="Google Shape;2136;p66"/>
            <p:cNvSpPr/>
            <p:nvPr/>
          </p:nvSpPr>
          <p:spPr>
            <a:xfrm>
              <a:off x="3805645" y="3058722"/>
              <a:ext cx="52322" cy="74968"/>
            </a:xfrm>
            <a:custGeom>
              <a:avLst/>
              <a:gdLst/>
              <a:ahLst/>
              <a:cxnLst/>
              <a:rect l="l" t="t" r="r" b="b"/>
              <a:pathLst>
                <a:path w="4394" h="6592" extrusionOk="0">
                  <a:moveTo>
                    <a:pt x="3076" y="1"/>
                  </a:moveTo>
                  <a:lnTo>
                    <a:pt x="3139" y="126"/>
                  </a:lnTo>
                  <a:lnTo>
                    <a:pt x="3159" y="231"/>
                  </a:lnTo>
                  <a:lnTo>
                    <a:pt x="3159" y="419"/>
                  </a:lnTo>
                  <a:lnTo>
                    <a:pt x="3222" y="482"/>
                  </a:lnTo>
                  <a:lnTo>
                    <a:pt x="3327" y="545"/>
                  </a:lnTo>
                  <a:lnTo>
                    <a:pt x="3348" y="629"/>
                  </a:lnTo>
                  <a:lnTo>
                    <a:pt x="3348" y="691"/>
                  </a:lnTo>
                  <a:lnTo>
                    <a:pt x="3390" y="838"/>
                  </a:lnTo>
                  <a:lnTo>
                    <a:pt x="3369" y="901"/>
                  </a:lnTo>
                  <a:lnTo>
                    <a:pt x="3243" y="963"/>
                  </a:lnTo>
                  <a:lnTo>
                    <a:pt x="3159" y="1068"/>
                  </a:lnTo>
                  <a:lnTo>
                    <a:pt x="3118" y="1068"/>
                  </a:lnTo>
                  <a:lnTo>
                    <a:pt x="3013" y="1152"/>
                  </a:lnTo>
                  <a:lnTo>
                    <a:pt x="2971" y="1193"/>
                  </a:lnTo>
                  <a:lnTo>
                    <a:pt x="2929" y="1256"/>
                  </a:lnTo>
                  <a:lnTo>
                    <a:pt x="2825" y="1424"/>
                  </a:lnTo>
                  <a:lnTo>
                    <a:pt x="2762" y="1528"/>
                  </a:lnTo>
                  <a:lnTo>
                    <a:pt x="2762" y="1633"/>
                  </a:lnTo>
                  <a:lnTo>
                    <a:pt x="2762" y="1800"/>
                  </a:lnTo>
                  <a:lnTo>
                    <a:pt x="2741" y="1926"/>
                  </a:lnTo>
                  <a:lnTo>
                    <a:pt x="2657" y="2051"/>
                  </a:lnTo>
                  <a:lnTo>
                    <a:pt x="2511" y="2093"/>
                  </a:lnTo>
                  <a:lnTo>
                    <a:pt x="2406" y="2156"/>
                  </a:lnTo>
                  <a:lnTo>
                    <a:pt x="2427" y="2344"/>
                  </a:lnTo>
                  <a:lnTo>
                    <a:pt x="2406" y="2428"/>
                  </a:lnTo>
                  <a:lnTo>
                    <a:pt x="2385" y="2554"/>
                  </a:lnTo>
                  <a:lnTo>
                    <a:pt x="2281" y="2637"/>
                  </a:lnTo>
                  <a:lnTo>
                    <a:pt x="2113" y="2784"/>
                  </a:lnTo>
                  <a:lnTo>
                    <a:pt x="2071" y="2867"/>
                  </a:lnTo>
                  <a:lnTo>
                    <a:pt x="2092" y="2951"/>
                  </a:lnTo>
                  <a:lnTo>
                    <a:pt x="2071" y="3056"/>
                  </a:lnTo>
                  <a:lnTo>
                    <a:pt x="1883" y="3244"/>
                  </a:lnTo>
                  <a:lnTo>
                    <a:pt x="1862" y="3370"/>
                  </a:lnTo>
                  <a:lnTo>
                    <a:pt x="1862" y="3453"/>
                  </a:lnTo>
                  <a:lnTo>
                    <a:pt x="1779" y="3558"/>
                  </a:lnTo>
                  <a:lnTo>
                    <a:pt x="1695" y="3579"/>
                  </a:lnTo>
                  <a:lnTo>
                    <a:pt x="1653" y="3662"/>
                  </a:lnTo>
                  <a:lnTo>
                    <a:pt x="1653" y="3704"/>
                  </a:lnTo>
                  <a:lnTo>
                    <a:pt x="1569" y="3830"/>
                  </a:lnTo>
                  <a:lnTo>
                    <a:pt x="1465" y="3893"/>
                  </a:lnTo>
                  <a:lnTo>
                    <a:pt x="1381" y="3872"/>
                  </a:lnTo>
                  <a:lnTo>
                    <a:pt x="1276" y="3809"/>
                  </a:lnTo>
                  <a:lnTo>
                    <a:pt x="1235" y="3683"/>
                  </a:lnTo>
                  <a:lnTo>
                    <a:pt x="1130" y="3621"/>
                  </a:lnTo>
                  <a:lnTo>
                    <a:pt x="1046" y="3621"/>
                  </a:lnTo>
                  <a:lnTo>
                    <a:pt x="879" y="3579"/>
                  </a:lnTo>
                  <a:lnTo>
                    <a:pt x="858" y="3558"/>
                  </a:lnTo>
                  <a:lnTo>
                    <a:pt x="816" y="3621"/>
                  </a:lnTo>
                  <a:lnTo>
                    <a:pt x="670" y="3621"/>
                  </a:lnTo>
                  <a:lnTo>
                    <a:pt x="649" y="3704"/>
                  </a:lnTo>
                  <a:lnTo>
                    <a:pt x="670" y="3809"/>
                  </a:lnTo>
                  <a:lnTo>
                    <a:pt x="502" y="3934"/>
                  </a:lnTo>
                  <a:lnTo>
                    <a:pt x="439" y="3997"/>
                  </a:lnTo>
                  <a:lnTo>
                    <a:pt x="335" y="4081"/>
                  </a:lnTo>
                  <a:lnTo>
                    <a:pt x="251" y="4144"/>
                  </a:lnTo>
                  <a:lnTo>
                    <a:pt x="251" y="4227"/>
                  </a:lnTo>
                  <a:lnTo>
                    <a:pt x="188" y="4290"/>
                  </a:lnTo>
                  <a:lnTo>
                    <a:pt x="209" y="4416"/>
                  </a:lnTo>
                  <a:lnTo>
                    <a:pt x="209" y="4541"/>
                  </a:lnTo>
                  <a:lnTo>
                    <a:pt x="146" y="4709"/>
                  </a:lnTo>
                  <a:lnTo>
                    <a:pt x="0" y="4855"/>
                  </a:lnTo>
                  <a:lnTo>
                    <a:pt x="0" y="4939"/>
                  </a:lnTo>
                  <a:lnTo>
                    <a:pt x="84" y="4960"/>
                  </a:lnTo>
                  <a:lnTo>
                    <a:pt x="188" y="4918"/>
                  </a:lnTo>
                  <a:lnTo>
                    <a:pt x="230" y="5274"/>
                  </a:lnTo>
                  <a:lnTo>
                    <a:pt x="335" y="5274"/>
                  </a:lnTo>
                  <a:lnTo>
                    <a:pt x="398" y="5357"/>
                  </a:lnTo>
                  <a:lnTo>
                    <a:pt x="565" y="5274"/>
                  </a:lnTo>
                  <a:lnTo>
                    <a:pt x="649" y="5399"/>
                  </a:lnTo>
                  <a:lnTo>
                    <a:pt x="628" y="5483"/>
                  </a:lnTo>
                  <a:lnTo>
                    <a:pt x="628" y="5650"/>
                  </a:lnTo>
                  <a:lnTo>
                    <a:pt x="732" y="5797"/>
                  </a:lnTo>
                  <a:lnTo>
                    <a:pt x="732" y="6006"/>
                  </a:lnTo>
                  <a:lnTo>
                    <a:pt x="649" y="6215"/>
                  </a:lnTo>
                  <a:lnTo>
                    <a:pt x="753" y="6299"/>
                  </a:lnTo>
                  <a:lnTo>
                    <a:pt x="649" y="6403"/>
                  </a:lnTo>
                  <a:lnTo>
                    <a:pt x="649" y="6403"/>
                  </a:lnTo>
                  <a:lnTo>
                    <a:pt x="732" y="6383"/>
                  </a:lnTo>
                  <a:lnTo>
                    <a:pt x="816" y="6383"/>
                  </a:lnTo>
                  <a:lnTo>
                    <a:pt x="837" y="6403"/>
                  </a:lnTo>
                  <a:lnTo>
                    <a:pt x="1507" y="6403"/>
                  </a:lnTo>
                  <a:lnTo>
                    <a:pt x="1548" y="6383"/>
                  </a:lnTo>
                  <a:lnTo>
                    <a:pt x="1590" y="6341"/>
                  </a:lnTo>
                  <a:lnTo>
                    <a:pt x="1653" y="6383"/>
                  </a:lnTo>
                  <a:lnTo>
                    <a:pt x="1695" y="6320"/>
                  </a:lnTo>
                  <a:lnTo>
                    <a:pt x="1862" y="6341"/>
                  </a:lnTo>
                  <a:lnTo>
                    <a:pt x="1904" y="6320"/>
                  </a:lnTo>
                  <a:lnTo>
                    <a:pt x="2092" y="6320"/>
                  </a:lnTo>
                  <a:lnTo>
                    <a:pt x="2134" y="6341"/>
                  </a:lnTo>
                  <a:lnTo>
                    <a:pt x="2239" y="6320"/>
                  </a:lnTo>
                  <a:lnTo>
                    <a:pt x="2323" y="6320"/>
                  </a:lnTo>
                  <a:lnTo>
                    <a:pt x="2323" y="6341"/>
                  </a:lnTo>
                  <a:lnTo>
                    <a:pt x="2490" y="6383"/>
                  </a:lnTo>
                  <a:lnTo>
                    <a:pt x="2511" y="6341"/>
                  </a:lnTo>
                  <a:lnTo>
                    <a:pt x="2553" y="6341"/>
                  </a:lnTo>
                  <a:lnTo>
                    <a:pt x="2595" y="6403"/>
                  </a:lnTo>
                  <a:lnTo>
                    <a:pt x="3327" y="6403"/>
                  </a:lnTo>
                  <a:lnTo>
                    <a:pt x="3390" y="6424"/>
                  </a:lnTo>
                  <a:lnTo>
                    <a:pt x="3431" y="6403"/>
                  </a:lnTo>
                  <a:lnTo>
                    <a:pt x="3452" y="6403"/>
                  </a:lnTo>
                  <a:lnTo>
                    <a:pt x="3536" y="6487"/>
                  </a:lnTo>
                  <a:lnTo>
                    <a:pt x="3578" y="6445"/>
                  </a:lnTo>
                  <a:lnTo>
                    <a:pt x="3662" y="6487"/>
                  </a:lnTo>
                  <a:lnTo>
                    <a:pt x="3683" y="6529"/>
                  </a:lnTo>
                  <a:lnTo>
                    <a:pt x="3745" y="6508"/>
                  </a:lnTo>
                  <a:lnTo>
                    <a:pt x="3766" y="6487"/>
                  </a:lnTo>
                  <a:lnTo>
                    <a:pt x="3808" y="6487"/>
                  </a:lnTo>
                  <a:lnTo>
                    <a:pt x="3892" y="6550"/>
                  </a:lnTo>
                  <a:lnTo>
                    <a:pt x="3955" y="6529"/>
                  </a:lnTo>
                  <a:lnTo>
                    <a:pt x="4059" y="6529"/>
                  </a:lnTo>
                  <a:lnTo>
                    <a:pt x="4101" y="6550"/>
                  </a:lnTo>
                  <a:lnTo>
                    <a:pt x="4206" y="6550"/>
                  </a:lnTo>
                  <a:lnTo>
                    <a:pt x="4206" y="6592"/>
                  </a:lnTo>
                  <a:lnTo>
                    <a:pt x="4289" y="6592"/>
                  </a:lnTo>
                  <a:lnTo>
                    <a:pt x="4310" y="6529"/>
                  </a:lnTo>
                  <a:lnTo>
                    <a:pt x="4268" y="6424"/>
                  </a:lnTo>
                  <a:lnTo>
                    <a:pt x="4268" y="6403"/>
                  </a:lnTo>
                  <a:lnTo>
                    <a:pt x="4331" y="6299"/>
                  </a:lnTo>
                  <a:lnTo>
                    <a:pt x="4373" y="6215"/>
                  </a:lnTo>
                  <a:lnTo>
                    <a:pt x="4394" y="6194"/>
                  </a:lnTo>
                  <a:lnTo>
                    <a:pt x="4373" y="6194"/>
                  </a:lnTo>
                  <a:lnTo>
                    <a:pt x="4331" y="6131"/>
                  </a:lnTo>
                  <a:lnTo>
                    <a:pt x="4331" y="6069"/>
                  </a:lnTo>
                  <a:lnTo>
                    <a:pt x="4331" y="5922"/>
                  </a:lnTo>
                  <a:lnTo>
                    <a:pt x="4164" y="5797"/>
                  </a:lnTo>
                  <a:lnTo>
                    <a:pt x="4080" y="5713"/>
                  </a:lnTo>
                  <a:lnTo>
                    <a:pt x="3996" y="5567"/>
                  </a:lnTo>
                  <a:lnTo>
                    <a:pt x="3850" y="5357"/>
                  </a:lnTo>
                  <a:lnTo>
                    <a:pt x="3808" y="5232"/>
                  </a:lnTo>
                  <a:lnTo>
                    <a:pt x="3703" y="5127"/>
                  </a:lnTo>
                  <a:lnTo>
                    <a:pt x="3557" y="5043"/>
                  </a:lnTo>
                  <a:lnTo>
                    <a:pt x="3494" y="4981"/>
                  </a:lnTo>
                  <a:lnTo>
                    <a:pt x="3494" y="4750"/>
                  </a:lnTo>
                  <a:lnTo>
                    <a:pt x="3473" y="4625"/>
                  </a:lnTo>
                  <a:lnTo>
                    <a:pt x="3452" y="4458"/>
                  </a:lnTo>
                  <a:lnTo>
                    <a:pt x="3473" y="4332"/>
                  </a:lnTo>
                  <a:lnTo>
                    <a:pt x="3431" y="4186"/>
                  </a:lnTo>
                  <a:lnTo>
                    <a:pt x="3390" y="4039"/>
                  </a:lnTo>
                  <a:lnTo>
                    <a:pt x="3452" y="3976"/>
                  </a:lnTo>
                  <a:lnTo>
                    <a:pt x="3536" y="3976"/>
                  </a:lnTo>
                  <a:lnTo>
                    <a:pt x="3641" y="3788"/>
                  </a:lnTo>
                  <a:lnTo>
                    <a:pt x="3683" y="3662"/>
                  </a:lnTo>
                  <a:lnTo>
                    <a:pt x="3787" y="3474"/>
                  </a:lnTo>
                  <a:lnTo>
                    <a:pt x="3850" y="3349"/>
                  </a:lnTo>
                  <a:lnTo>
                    <a:pt x="3955" y="3307"/>
                  </a:lnTo>
                  <a:lnTo>
                    <a:pt x="4059" y="3160"/>
                  </a:lnTo>
                  <a:lnTo>
                    <a:pt x="4059" y="3139"/>
                  </a:lnTo>
                  <a:lnTo>
                    <a:pt x="4017" y="3035"/>
                  </a:lnTo>
                  <a:lnTo>
                    <a:pt x="3955" y="2867"/>
                  </a:lnTo>
                  <a:lnTo>
                    <a:pt x="3850" y="2721"/>
                  </a:lnTo>
                  <a:lnTo>
                    <a:pt x="3766" y="2637"/>
                  </a:lnTo>
                  <a:lnTo>
                    <a:pt x="3557" y="2428"/>
                  </a:lnTo>
                  <a:lnTo>
                    <a:pt x="3348" y="2240"/>
                  </a:lnTo>
                  <a:lnTo>
                    <a:pt x="3243" y="2219"/>
                  </a:lnTo>
                  <a:lnTo>
                    <a:pt x="3243" y="2135"/>
                  </a:lnTo>
                  <a:lnTo>
                    <a:pt x="3159" y="2093"/>
                  </a:lnTo>
                  <a:lnTo>
                    <a:pt x="3159" y="2030"/>
                  </a:lnTo>
                  <a:lnTo>
                    <a:pt x="3159" y="1926"/>
                  </a:lnTo>
                  <a:lnTo>
                    <a:pt x="3180" y="1884"/>
                  </a:lnTo>
                  <a:lnTo>
                    <a:pt x="3180" y="1779"/>
                  </a:lnTo>
                  <a:lnTo>
                    <a:pt x="3369" y="1779"/>
                  </a:lnTo>
                  <a:lnTo>
                    <a:pt x="3431" y="1800"/>
                  </a:lnTo>
                  <a:lnTo>
                    <a:pt x="3536" y="1779"/>
                  </a:lnTo>
                  <a:lnTo>
                    <a:pt x="3641" y="1800"/>
                  </a:lnTo>
                  <a:lnTo>
                    <a:pt x="3683" y="1779"/>
                  </a:lnTo>
                  <a:lnTo>
                    <a:pt x="3808" y="1800"/>
                  </a:lnTo>
                  <a:lnTo>
                    <a:pt x="3892" y="1821"/>
                  </a:lnTo>
                  <a:lnTo>
                    <a:pt x="3975" y="1842"/>
                  </a:lnTo>
                  <a:lnTo>
                    <a:pt x="4017" y="1800"/>
                  </a:lnTo>
                  <a:lnTo>
                    <a:pt x="3975" y="1779"/>
                  </a:lnTo>
                  <a:lnTo>
                    <a:pt x="3808" y="1633"/>
                  </a:lnTo>
                  <a:lnTo>
                    <a:pt x="3787" y="1528"/>
                  </a:lnTo>
                  <a:lnTo>
                    <a:pt x="3703" y="1486"/>
                  </a:lnTo>
                  <a:lnTo>
                    <a:pt x="3599" y="1319"/>
                  </a:lnTo>
                  <a:lnTo>
                    <a:pt x="3578" y="1214"/>
                  </a:lnTo>
                  <a:lnTo>
                    <a:pt x="3662" y="1152"/>
                  </a:lnTo>
                  <a:lnTo>
                    <a:pt x="3703" y="1005"/>
                  </a:lnTo>
                  <a:lnTo>
                    <a:pt x="3641" y="942"/>
                  </a:lnTo>
                  <a:lnTo>
                    <a:pt x="3662" y="880"/>
                  </a:lnTo>
                  <a:lnTo>
                    <a:pt x="3683" y="838"/>
                  </a:lnTo>
                  <a:lnTo>
                    <a:pt x="3683" y="754"/>
                  </a:lnTo>
                  <a:lnTo>
                    <a:pt x="3599" y="587"/>
                  </a:lnTo>
                  <a:lnTo>
                    <a:pt x="3578" y="482"/>
                  </a:lnTo>
                  <a:lnTo>
                    <a:pt x="3536" y="440"/>
                  </a:lnTo>
                  <a:lnTo>
                    <a:pt x="3494" y="252"/>
                  </a:lnTo>
                  <a:lnTo>
                    <a:pt x="3369" y="147"/>
                  </a:lnTo>
                  <a:lnTo>
                    <a:pt x="307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7" name="Google Shape;2137;p66"/>
            <p:cNvSpPr/>
            <p:nvPr/>
          </p:nvSpPr>
          <p:spPr>
            <a:xfrm>
              <a:off x="3805883" y="3130585"/>
              <a:ext cx="39378" cy="40702"/>
            </a:xfrm>
            <a:custGeom>
              <a:avLst/>
              <a:gdLst/>
              <a:ahLst/>
              <a:cxnLst/>
              <a:rect l="l" t="t" r="r" b="b"/>
              <a:pathLst>
                <a:path w="3307" h="3579" extrusionOk="0">
                  <a:moveTo>
                    <a:pt x="1675" y="1"/>
                  </a:moveTo>
                  <a:lnTo>
                    <a:pt x="1633" y="64"/>
                  </a:lnTo>
                  <a:lnTo>
                    <a:pt x="1570" y="22"/>
                  </a:lnTo>
                  <a:lnTo>
                    <a:pt x="1528" y="64"/>
                  </a:lnTo>
                  <a:lnTo>
                    <a:pt x="1487" y="84"/>
                  </a:lnTo>
                  <a:lnTo>
                    <a:pt x="1487" y="754"/>
                  </a:lnTo>
                  <a:lnTo>
                    <a:pt x="712" y="754"/>
                  </a:lnTo>
                  <a:lnTo>
                    <a:pt x="691" y="733"/>
                  </a:lnTo>
                  <a:lnTo>
                    <a:pt x="608" y="754"/>
                  </a:lnTo>
                  <a:lnTo>
                    <a:pt x="524" y="817"/>
                  </a:lnTo>
                  <a:lnTo>
                    <a:pt x="482" y="796"/>
                  </a:lnTo>
                  <a:lnTo>
                    <a:pt x="482" y="921"/>
                  </a:lnTo>
                  <a:lnTo>
                    <a:pt x="336" y="942"/>
                  </a:lnTo>
                  <a:lnTo>
                    <a:pt x="440" y="1131"/>
                  </a:lnTo>
                  <a:lnTo>
                    <a:pt x="629" y="1172"/>
                  </a:lnTo>
                  <a:lnTo>
                    <a:pt x="378" y="1235"/>
                  </a:lnTo>
                  <a:lnTo>
                    <a:pt x="315" y="1152"/>
                  </a:lnTo>
                  <a:lnTo>
                    <a:pt x="294" y="1340"/>
                  </a:lnTo>
                  <a:lnTo>
                    <a:pt x="273" y="1654"/>
                  </a:lnTo>
                  <a:lnTo>
                    <a:pt x="168" y="1737"/>
                  </a:lnTo>
                  <a:lnTo>
                    <a:pt x="22" y="1675"/>
                  </a:lnTo>
                  <a:lnTo>
                    <a:pt x="1" y="1758"/>
                  </a:lnTo>
                  <a:lnTo>
                    <a:pt x="126" y="1988"/>
                  </a:lnTo>
                  <a:lnTo>
                    <a:pt x="210" y="2051"/>
                  </a:lnTo>
                  <a:lnTo>
                    <a:pt x="210" y="2156"/>
                  </a:lnTo>
                  <a:lnTo>
                    <a:pt x="315" y="2281"/>
                  </a:lnTo>
                  <a:lnTo>
                    <a:pt x="315" y="2470"/>
                  </a:lnTo>
                  <a:lnTo>
                    <a:pt x="398" y="2533"/>
                  </a:lnTo>
                  <a:lnTo>
                    <a:pt x="440" y="2679"/>
                  </a:lnTo>
                  <a:lnTo>
                    <a:pt x="608" y="2805"/>
                  </a:lnTo>
                  <a:lnTo>
                    <a:pt x="545" y="2825"/>
                  </a:lnTo>
                  <a:lnTo>
                    <a:pt x="712" y="2993"/>
                  </a:lnTo>
                  <a:lnTo>
                    <a:pt x="963" y="3202"/>
                  </a:lnTo>
                  <a:lnTo>
                    <a:pt x="1026" y="3328"/>
                  </a:lnTo>
                  <a:lnTo>
                    <a:pt x="1235" y="3432"/>
                  </a:lnTo>
                  <a:lnTo>
                    <a:pt x="1256" y="3537"/>
                  </a:lnTo>
                  <a:lnTo>
                    <a:pt x="1361" y="3558"/>
                  </a:lnTo>
                  <a:lnTo>
                    <a:pt x="1382" y="3579"/>
                  </a:lnTo>
                  <a:lnTo>
                    <a:pt x="1466" y="3474"/>
                  </a:lnTo>
                  <a:lnTo>
                    <a:pt x="1466" y="3411"/>
                  </a:lnTo>
                  <a:lnTo>
                    <a:pt x="1528" y="3369"/>
                  </a:lnTo>
                  <a:lnTo>
                    <a:pt x="1633" y="3369"/>
                  </a:lnTo>
                  <a:lnTo>
                    <a:pt x="1675" y="3307"/>
                  </a:lnTo>
                  <a:lnTo>
                    <a:pt x="1696" y="3307"/>
                  </a:lnTo>
                  <a:lnTo>
                    <a:pt x="1884" y="3432"/>
                  </a:lnTo>
                  <a:lnTo>
                    <a:pt x="1884" y="3328"/>
                  </a:lnTo>
                  <a:lnTo>
                    <a:pt x="1863" y="3035"/>
                  </a:lnTo>
                  <a:lnTo>
                    <a:pt x="1779" y="2951"/>
                  </a:lnTo>
                  <a:lnTo>
                    <a:pt x="1696" y="2930"/>
                  </a:lnTo>
                  <a:lnTo>
                    <a:pt x="1633" y="2951"/>
                  </a:lnTo>
                  <a:lnTo>
                    <a:pt x="1549" y="2993"/>
                  </a:lnTo>
                  <a:lnTo>
                    <a:pt x="1549" y="2846"/>
                  </a:lnTo>
                  <a:lnTo>
                    <a:pt x="1528" y="2784"/>
                  </a:lnTo>
                  <a:lnTo>
                    <a:pt x="1570" y="2721"/>
                  </a:lnTo>
                  <a:lnTo>
                    <a:pt x="1675" y="2721"/>
                  </a:lnTo>
                  <a:lnTo>
                    <a:pt x="1800" y="2784"/>
                  </a:lnTo>
                  <a:lnTo>
                    <a:pt x="1863" y="2721"/>
                  </a:lnTo>
                  <a:lnTo>
                    <a:pt x="1884" y="2679"/>
                  </a:lnTo>
                  <a:lnTo>
                    <a:pt x="1968" y="2679"/>
                  </a:lnTo>
                  <a:lnTo>
                    <a:pt x="2177" y="2637"/>
                  </a:lnTo>
                  <a:lnTo>
                    <a:pt x="2198" y="2574"/>
                  </a:lnTo>
                  <a:lnTo>
                    <a:pt x="2177" y="2407"/>
                  </a:lnTo>
                  <a:lnTo>
                    <a:pt x="2219" y="2365"/>
                  </a:lnTo>
                  <a:lnTo>
                    <a:pt x="2365" y="2365"/>
                  </a:lnTo>
                  <a:lnTo>
                    <a:pt x="2428" y="2595"/>
                  </a:lnTo>
                  <a:lnTo>
                    <a:pt x="2512" y="2700"/>
                  </a:lnTo>
                  <a:lnTo>
                    <a:pt x="2637" y="2637"/>
                  </a:lnTo>
                  <a:lnTo>
                    <a:pt x="2721" y="2679"/>
                  </a:lnTo>
                  <a:lnTo>
                    <a:pt x="2805" y="2616"/>
                  </a:lnTo>
                  <a:lnTo>
                    <a:pt x="2909" y="2616"/>
                  </a:lnTo>
                  <a:lnTo>
                    <a:pt x="3035" y="2679"/>
                  </a:lnTo>
                  <a:lnTo>
                    <a:pt x="3056" y="2742"/>
                  </a:lnTo>
                  <a:lnTo>
                    <a:pt x="3119" y="2742"/>
                  </a:lnTo>
                  <a:lnTo>
                    <a:pt x="3119" y="2637"/>
                  </a:lnTo>
                  <a:lnTo>
                    <a:pt x="3098" y="2533"/>
                  </a:lnTo>
                  <a:lnTo>
                    <a:pt x="3244" y="2114"/>
                  </a:lnTo>
                  <a:lnTo>
                    <a:pt x="3307" y="1884"/>
                  </a:lnTo>
                  <a:lnTo>
                    <a:pt x="3307" y="1779"/>
                  </a:lnTo>
                  <a:lnTo>
                    <a:pt x="3244" y="1696"/>
                  </a:lnTo>
                  <a:lnTo>
                    <a:pt x="3223" y="1654"/>
                  </a:lnTo>
                  <a:lnTo>
                    <a:pt x="3139" y="1570"/>
                  </a:lnTo>
                  <a:lnTo>
                    <a:pt x="3119" y="1528"/>
                  </a:lnTo>
                  <a:lnTo>
                    <a:pt x="3035" y="1486"/>
                  </a:lnTo>
                  <a:lnTo>
                    <a:pt x="3014" y="1444"/>
                  </a:lnTo>
                  <a:lnTo>
                    <a:pt x="2993" y="1382"/>
                  </a:lnTo>
                  <a:lnTo>
                    <a:pt x="2993" y="1340"/>
                  </a:lnTo>
                  <a:lnTo>
                    <a:pt x="3035" y="1319"/>
                  </a:lnTo>
                  <a:lnTo>
                    <a:pt x="3056" y="1277"/>
                  </a:lnTo>
                  <a:lnTo>
                    <a:pt x="3119" y="1277"/>
                  </a:lnTo>
                  <a:lnTo>
                    <a:pt x="3098" y="1214"/>
                  </a:lnTo>
                  <a:lnTo>
                    <a:pt x="3056" y="1172"/>
                  </a:lnTo>
                  <a:lnTo>
                    <a:pt x="3056" y="1110"/>
                  </a:lnTo>
                  <a:lnTo>
                    <a:pt x="3202" y="1026"/>
                  </a:lnTo>
                  <a:lnTo>
                    <a:pt x="3307" y="1005"/>
                  </a:lnTo>
                  <a:lnTo>
                    <a:pt x="3307" y="900"/>
                  </a:lnTo>
                  <a:lnTo>
                    <a:pt x="3265" y="838"/>
                  </a:lnTo>
                  <a:lnTo>
                    <a:pt x="3307" y="754"/>
                  </a:lnTo>
                  <a:lnTo>
                    <a:pt x="3307" y="587"/>
                  </a:lnTo>
                  <a:lnTo>
                    <a:pt x="3244" y="545"/>
                  </a:lnTo>
                  <a:lnTo>
                    <a:pt x="3056" y="524"/>
                  </a:lnTo>
                  <a:lnTo>
                    <a:pt x="2930" y="587"/>
                  </a:lnTo>
                  <a:lnTo>
                    <a:pt x="2805" y="628"/>
                  </a:lnTo>
                  <a:lnTo>
                    <a:pt x="2721" y="608"/>
                  </a:lnTo>
                  <a:lnTo>
                    <a:pt x="2616" y="649"/>
                  </a:lnTo>
                  <a:lnTo>
                    <a:pt x="2575" y="608"/>
                  </a:lnTo>
                  <a:lnTo>
                    <a:pt x="2595" y="545"/>
                  </a:lnTo>
                  <a:lnTo>
                    <a:pt x="2575" y="440"/>
                  </a:lnTo>
                  <a:lnTo>
                    <a:pt x="2575" y="315"/>
                  </a:lnTo>
                  <a:lnTo>
                    <a:pt x="2533" y="189"/>
                  </a:lnTo>
                  <a:lnTo>
                    <a:pt x="2575" y="84"/>
                  </a:lnTo>
                  <a:lnTo>
                    <a:pt x="2533" y="22"/>
                  </a:lnTo>
                  <a:lnTo>
                    <a:pt x="2491" y="22"/>
                  </a:lnTo>
                  <a:lnTo>
                    <a:pt x="2470" y="64"/>
                  </a:lnTo>
                  <a:lnTo>
                    <a:pt x="2303" y="22"/>
                  </a:lnTo>
                  <a:lnTo>
                    <a:pt x="2303" y="1"/>
                  </a:lnTo>
                  <a:lnTo>
                    <a:pt x="2219" y="1"/>
                  </a:lnTo>
                  <a:lnTo>
                    <a:pt x="2114" y="22"/>
                  </a:lnTo>
                  <a:lnTo>
                    <a:pt x="2072" y="1"/>
                  </a:lnTo>
                  <a:lnTo>
                    <a:pt x="1884" y="1"/>
                  </a:lnTo>
                  <a:lnTo>
                    <a:pt x="1842" y="22"/>
                  </a:lnTo>
                  <a:lnTo>
                    <a:pt x="167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8" name="Google Shape;2138;p66"/>
            <p:cNvSpPr/>
            <p:nvPr/>
          </p:nvSpPr>
          <p:spPr>
            <a:xfrm>
              <a:off x="3809622" y="3131301"/>
              <a:ext cx="13967" cy="8575"/>
            </a:xfrm>
            <a:custGeom>
              <a:avLst/>
              <a:gdLst/>
              <a:ahLst/>
              <a:cxnLst/>
              <a:rect l="l" t="t" r="r" b="b"/>
              <a:pathLst>
                <a:path w="1173" h="754" extrusionOk="0">
                  <a:moveTo>
                    <a:pt x="398" y="1"/>
                  </a:moveTo>
                  <a:lnTo>
                    <a:pt x="315" y="21"/>
                  </a:lnTo>
                  <a:lnTo>
                    <a:pt x="294" y="42"/>
                  </a:lnTo>
                  <a:lnTo>
                    <a:pt x="336" y="147"/>
                  </a:lnTo>
                  <a:lnTo>
                    <a:pt x="168" y="335"/>
                  </a:lnTo>
                  <a:lnTo>
                    <a:pt x="1" y="628"/>
                  </a:lnTo>
                  <a:lnTo>
                    <a:pt x="168" y="691"/>
                  </a:lnTo>
                  <a:lnTo>
                    <a:pt x="168" y="733"/>
                  </a:lnTo>
                  <a:lnTo>
                    <a:pt x="210" y="754"/>
                  </a:lnTo>
                  <a:lnTo>
                    <a:pt x="294" y="691"/>
                  </a:lnTo>
                  <a:lnTo>
                    <a:pt x="377" y="670"/>
                  </a:lnTo>
                  <a:lnTo>
                    <a:pt x="398" y="691"/>
                  </a:lnTo>
                  <a:lnTo>
                    <a:pt x="1173" y="691"/>
                  </a:lnTo>
                  <a:lnTo>
                    <a:pt x="1173" y="21"/>
                  </a:lnTo>
                  <a:lnTo>
                    <a:pt x="503" y="21"/>
                  </a:lnTo>
                  <a:lnTo>
                    <a:pt x="48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39" name="Google Shape;2139;p66"/>
            <p:cNvSpPr/>
            <p:nvPr/>
          </p:nvSpPr>
          <p:spPr>
            <a:xfrm>
              <a:off x="3822327" y="3120122"/>
              <a:ext cx="52834" cy="59023"/>
            </a:xfrm>
            <a:custGeom>
              <a:avLst/>
              <a:gdLst/>
              <a:ahLst/>
              <a:cxnLst/>
              <a:rect l="l" t="t" r="r" b="b"/>
              <a:pathLst>
                <a:path w="4437" h="5190" extrusionOk="0">
                  <a:moveTo>
                    <a:pt x="3935" y="0"/>
                  </a:moveTo>
                  <a:lnTo>
                    <a:pt x="3872" y="63"/>
                  </a:lnTo>
                  <a:lnTo>
                    <a:pt x="3767" y="42"/>
                  </a:lnTo>
                  <a:lnTo>
                    <a:pt x="3537" y="147"/>
                  </a:lnTo>
                  <a:lnTo>
                    <a:pt x="3495" y="188"/>
                  </a:lnTo>
                  <a:lnTo>
                    <a:pt x="3391" y="209"/>
                  </a:lnTo>
                  <a:lnTo>
                    <a:pt x="3244" y="377"/>
                  </a:lnTo>
                  <a:lnTo>
                    <a:pt x="2972" y="816"/>
                  </a:lnTo>
                  <a:lnTo>
                    <a:pt x="2930" y="900"/>
                  </a:lnTo>
                  <a:lnTo>
                    <a:pt x="2867" y="1004"/>
                  </a:lnTo>
                  <a:lnTo>
                    <a:pt x="2867" y="1025"/>
                  </a:lnTo>
                  <a:lnTo>
                    <a:pt x="2909" y="1130"/>
                  </a:lnTo>
                  <a:lnTo>
                    <a:pt x="2888" y="1193"/>
                  </a:lnTo>
                  <a:lnTo>
                    <a:pt x="2805" y="1193"/>
                  </a:lnTo>
                  <a:lnTo>
                    <a:pt x="2805" y="1151"/>
                  </a:lnTo>
                  <a:lnTo>
                    <a:pt x="2700" y="1151"/>
                  </a:lnTo>
                  <a:lnTo>
                    <a:pt x="2658" y="1130"/>
                  </a:lnTo>
                  <a:lnTo>
                    <a:pt x="2554" y="1130"/>
                  </a:lnTo>
                  <a:lnTo>
                    <a:pt x="2491" y="1151"/>
                  </a:lnTo>
                  <a:lnTo>
                    <a:pt x="2407" y="1088"/>
                  </a:lnTo>
                  <a:lnTo>
                    <a:pt x="2365" y="1088"/>
                  </a:lnTo>
                  <a:lnTo>
                    <a:pt x="2344" y="1109"/>
                  </a:lnTo>
                  <a:lnTo>
                    <a:pt x="2282" y="1130"/>
                  </a:lnTo>
                  <a:lnTo>
                    <a:pt x="2261" y="1088"/>
                  </a:lnTo>
                  <a:lnTo>
                    <a:pt x="2177" y="1046"/>
                  </a:lnTo>
                  <a:lnTo>
                    <a:pt x="2135" y="1088"/>
                  </a:lnTo>
                  <a:lnTo>
                    <a:pt x="2051" y="1004"/>
                  </a:lnTo>
                  <a:lnTo>
                    <a:pt x="2030" y="1004"/>
                  </a:lnTo>
                  <a:lnTo>
                    <a:pt x="1989" y="1025"/>
                  </a:lnTo>
                  <a:lnTo>
                    <a:pt x="1926" y="1004"/>
                  </a:lnTo>
                  <a:lnTo>
                    <a:pt x="1194" y="1004"/>
                  </a:lnTo>
                  <a:lnTo>
                    <a:pt x="1152" y="1109"/>
                  </a:lnTo>
                  <a:lnTo>
                    <a:pt x="1194" y="1235"/>
                  </a:lnTo>
                  <a:lnTo>
                    <a:pt x="1194" y="1360"/>
                  </a:lnTo>
                  <a:lnTo>
                    <a:pt x="1214" y="1465"/>
                  </a:lnTo>
                  <a:lnTo>
                    <a:pt x="1194" y="1528"/>
                  </a:lnTo>
                  <a:lnTo>
                    <a:pt x="1235" y="1569"/>
                  </a:lnTo>
                  <a:lnTo>
                    <a:pt x="1340" y="1528"/>
                  </a:lnTo>
                  <a:lnTo>
                    <a:pt x="1424" y="1548"/>
                  </a:lnTo>
                  <a:lnTo>
                    <a:pt x="1549" y="1507"/>
                  </a:lnTo>
                  <a:lnTo>
                    <a:pt x="1675" y="1444"/>
                  </a:lnTo>
                  <a:lnTo>
                    <a:pt x="1863" y="1465"/>
                  </a:lnTo>
                  <a:lnTo>
                    <a:pt x="1926" y="1507"/>
                  </a:lnTo>
                  <a:lnTo>
                    <a:pt x="1926" y="1674"/>
                  </a:lnTo>
                  <a:lnTo>
                    <a:pt x="1884" y="1758"/>
                  </a:lnTo>
                  <a:lnTo>
                    <a:pt x="1926" y="1820"/>
                  </a:lnTo>
                  <a:lnTo>
                    <a:pt x="1926" y="1925"/>
                  </a:lnTo>
                  <a:lnTo>
                    <a:pt x="1821" y="1946"/>
                  </a:lnTo>
                  <a:lnTo>
                    <a:pt x="1675" y="2030"/>
                  </a:lnTo>
                  <a:lnTo>
                    <a:pt x="1675" y="2092"/>
                  </a:lnTo>
                  <a:lnTo>
                    <a:pt x="1717" y="2134"/>
                  </a:lnTo>
                  <a:lnTo>
                    <a:pt x="1738" y="2197"/>
                  </a:lnTo>
                  <a:lnTo>
                    <a:pt x="1675" y="2197"/>
                  </a:lnTo>
                  <a:lnTo>
                    <a:pt x="1654" y="2239"/>
                  </a:lnTo>
                  <a:lnTo>
                    <a:pt x="1612" y="2260"/>
                  </a:lnTo>
                  <a:lnTo>
                    <a:pt x="1612" y="2302"/>
                  </a:lnTo>
                  <a:lnTo>
                    <a:pt x="1633" y="2364"/>
                  </a:lnTo>
                  <a:lnTo>
                    <a:pt x="1654" y="2406"/>
                  </a:lnTo>
                  <a:lnTo>
                    <a:pt x="1738" y="2448"/>
                  </a:lnTo>
                  <a:lnTo>
                    <a:pt x="1758" y="2490"/>
                  </a:lnTo>
                  <a:lnTo>
                    <a:pt x="1842" y="2574"/>
                  </a:lnTo>
                  <a:lnTo>
                    <a:pt x="1863" y="2616"/>
                  </a:lnTo>
                  <a:lnTo>
                    <a:pt x="1926" y="2699"/>
                  </a:lnTo>
                  <a:lnTo>
                    <a:pt x="1926" y="2804"/>
                  </a:lnTo>
                  <a:lnTo>
                    <a:pt x="1863" y="3034"/>
                  </a:lnTo>
                  <a:lnTo>
                    <a:pt x="1717" y="3453"/>
                  </a:lnTo>
                  <a:lnTo>
                    <a:pt x="1738" y="3557"/>
                  </a:lnTo>
                  <a:lnTo>
                    <a:pt x="1738" y="3662"/>
                  </a:lnTo>
                  <a:lnTo>
                    <a:pt x="1675" y="3662"/>
                  </a:lnTo>
                  <a:lnTo>
                    <a:pt x="1654" y="3599"/>
                  </a:lnTo>
                  <a:lnTo>
                    <a:pt x="1528" y="3536"/>
                  </a:lnTo>
                  <a:lnTo>
                    <a:pt x="1424" y="3536"/>
                  </a:lnTo>
                  <a:lnTo>
                    <a:pt x="1340" y="3599"/>
                  </a:lnTo>
                  <a:lnTo>
                    <a:pt x="1256" y="3557"/>
                  </a:lnTo>
                  <a:lnTo>
                    <a:pt x="1131" y="3620"/>
                  </a:lnTo>
                  <a:lnTo>
                    <a:pt x="1047" y="3515"/>
                  </a:lnTo>
                  <a:lnTo>
                    <a:pt x="984" y="3285"/>
                  </a:lnTo>
                  <a:lnTo>
                    <a:pt x="838" y="3285"/>
                  </a:lnTo>
                  <a:lnTo>
                    <a:pt x="796" y="3327"/>
                  </a:lnTo>
                  <a:lnTo>
                    <a:pt x="817" y="3494"/>
                  </a:lnTo>
                  <a:lnTo>
                    <a:pt x="796" y="3557"/>
                  </a:lnTo>
                  <a:lnTo>
                    <a:pt x="587" y="3599"/>
                  </a:lnTo>
                  <a:lnTo>
                    <a:pt x="503" y="3599"/>
                  </a:lnTo>
                  <a:lnTo>
                    <a:pt x="482" y="3641"/>
                  </a:lnTo>
                  <a:lnTo>
                    <a:pt x="419" y="3704"/>
                  </a:lnTo>
                  <a:lnTo>
                    <a:pt x="294" y="3641"/>
                  </a:lnTo>
                  <a:lnTo>
                    <a:pt x="189" y="3641"/>
                  </a:lnTo>
                  <a:lnTo>
                    <a:pt x="147" y="3704"/>
                  </a:lnTo>
                  <a:lnTo>
                    <a:pt x="168" y="3766"/>
                  </a:lnTo>
                  <a:lnTo>
                    <a:pt x="168" y="3913"/>
                  </a:lnTo>
                  <a:lnTo>
                    <a:pt x="252" y="3871"/>
                  </a:lnTo>
                  <a:lnTo>
                    <a:pt x="315" y="3850"/>
                  </a:lnTo>
                  <a:lnTo>
                    <a:pt x="398" y="3871"/>
                  </a:lnTo>
                  <a:lnTo>
                    <a:pt x="482" y="3955"/>
                  </a:lnTo>
                  <a:lnTo>
                    <a:pt x="503" y="4248"/>
                  </a:lnTo>
                  <a:lnTo>
                    <a:pt x="503" y="4352"/>
                  </a:lnTo>
                  <a:lnTo>
                    <a:pt x="315" y="4227"/>
                  </a:lnTo>
                  <a:lnTo>
                    <a:pt x="294" y="4227"/>
                  </a:lnTo>
                  <a:lnTo>
                    <a:pt x="252" y="4289"/>
                  </a:lnTo>
                  <a:lnTo>
                    <a:pt x="147" y="4289"/>
                  </a:lnTo>
                  <a:lnTo>
                    <a:pt x="85" y="4331"/>
                  </a:lnTo>
                  <a:lnTo>
                    <a:pt x="85" y="4394"/>
                  </a:lnTo>
                  <a:lnTo>
                    <a:pt x="1" y="4499"/>
                  </a:lnTo>
                  <a:lnTo>
                    <a:pt x="106" y="4603"/>
                  </a:lnTo>
                  <a:lnTo>
                    <a:pt x="168" y="4687"/>
                  </a:lnTo>
                  <a:lnTo>
                    <a:pt x="315" y="4792"/>
                  </a:lnTo>
                  <a:lnTo>
                    <a:pt x="315" y="4896"/>
                  </a:lnTo>
                  <a:lnTo>
                    <a:pt x="419" y="5001"/>
                  </a:lnTo>
                  <a:lnTo>
                    <a:pt x="419" y="5126"/>
                  </a:lnTo>
                  <a:lnTo>
                    <a:pt x="482" y="5189"/>
                  </a:lnTo>
                  <a:lnTo>
                    <a:pt x="524" y="5168"/>
                  </a:lnTo>
                  <a:lnTo>
                    <a:pt x="608" y="5022"/>
                  </a:lnTo>
                  <a:lnTo>
                    <a:pt x="629" y="5022"/>
                  </a:lnTo>
                  <a:lnTo>
                    <a:pt x="712" y="4980"/>
                  </a:lnTo>
                  <a:lnTo>
                    <a:pt x="775" y="4875"/>
                  </a:lnTo>
                  <a:lnTo>
                    <a:pt x="838" y="4854"/>
                  </a:lnTo>
                  <a:lnTo>
                    <a:pt x="942" y="4771"/>
                  </a:lnTo>
                  <a:lnTo>
                    <a:pt x="1005" y="4771"/>
                  </a:lnTo>
                  <a:lnTo>
                    <a:pt x="1047" y="4813"/>
                  </a:lnTo>
                  <a:lnTo>
                    <a:pt x="1110" y="4896"/>
                  </a:lnTo>
                  <a:lnTo>
                    <a:pt x="1110" y="5001"/>
                  </a:lnTo>
                  <a:lnTo>
                    <a:pt x="1131" y="4980"/>
                  </a:lnTo>
                  <a:lnTo>
                    <a:pt x="1194" y="5001"/>
                  </a:lnTo>
                  <a:lnTo>
                    <a:pt x="1298" y="4959"/>
                  </a:lnTo>
                  <a:lnTo>
                    <a:pt x="1319" y="5001"/>
                  </a:lnTo>
                  <a:lnTo>
                    <a:pt x="1319" y="5064"/>
                  </a:lnTo>
                  <a:lnTo>
                    <a:pt x="1424" y="5064"/>
                  </a:lnTo>
                  <a:lnTo>
                    <a:pt x="1507" y="4980"/>
                  </a:lnTo>
                  <a:lnTo>
                    <a:pt x="1507" y="4875"/>
                  </a:lnTo>
                  <a:lnTo>
                    <a:pt x="1570" y="4854"/>
                  </a:lnTo>
                  <a:lnTo>
                    <a:pt x="1654" y="4875"/>
                  </a:lnTo>
                  <a:lnTo>
                    <a:pt x="1758" y="4771"/>
                  </a:lnTo>
                  <a:lnTo>
                    <a:pt x="1947" y="4708"/>
                  </a:lnTo>
                  <a:lnTo>
                    <a:pt x="1947" y="4771"/>
                  </a:lnTo>
                  <a:lnTo>
                    <a:pt x="1863" y="4896"/>
                  </a:lnTo>
                  <a:lnTo>
                    <a:pt x="1884" y="4917"/>
                  </a:lnTo>
                  <a:lnTo>
                    <a:pt x="1947" y="5022"/>
                  </a:lnTo>
                  <a:lnTo>
                    <a:pt x="2072" y="5105"/>
                  </a:lnTo>
                  <a:lnTo>
                    <a:pt x="2198" y="5022"/>
                  </a:lnTo>
                  <a:lnTo>
                    <a:pt x="2282" y="4917"/>
                  </a:lnTo>
                  <a:lnTo>
                    <a:pt x="2512" y="4687"/>
                  </a:lnTo>
                  <a:lnTo>
                    <a:pt x="2574" y="4603"/>
                  </a:lnTo>
                  <a:lnTo>
                    <a:pt x="2658" y="4541"/>
                  </a:lnTo>
                  <a:lnTo>
                    <a:pt x="2763" y="4499"/>
                  </a:lnTo>
                  <a:lnTo>
                    <a:pt x="2867" y="4352"/>
                  </a:lnTo>
                  <a:lnTo>
                    <a:pt x="2867" y="4248"/>
                  </a:lnTo>
                  <a:lnTo>
                    <a:pt x="2888" y="4080"/>
                  </a:lnTo>
                  <a:lnTo>
                    <a:pt x="2909" y="3766"/>
                  </a:lnTo>
                  <a:lnTo>
                    <a:pt x="2888" y="3745"/>
                  </a:lnTo>
                  <a:lnTo>
                    <a:pt x="2867" y="3557"/>
                  </a:lnTo>
                  <a:lnTo>
                    <a:pt x="2909" y="3453"/>
                  </a:lnTo>
                  <a:lnTo>
                    <a:pt x="3098" y="3285"/>
                  </a:lnTo>
                  <a:lnTo>
                    <a:pt x="3098" y="3139"/>
                  </a:lnTo>
                  <a:lnTo>
                    <a:pt x="3202" y="3013"/>
                  </a:lnTo>
                  <a:lnTo>
                    <a:pt x="3328" y="2908"/>
                  </a:lnTo>
                  <a:lnTo>
                    <a:pt x="3411" y="2929"/>
                  </a:lnTo>
                  <a:lnTo>
                    <a:pt x="3516" y="2867"/>
                  </a:lnTo>
                  <a:lnTo>
                    <a:pt x="3621" y="2825"/>
                  </a:lnTo>
                  <a:lnTo>
                    <a:pt x="3809" y="2511"/>
                  </a:lnTo>
                  <a:lnTo>
                    <a:pt x="3809" y="2344"/>
                  </a:lnTo>
                  <a:lnTo>
                    <a:pt x="3851" y="2155"/>
                  </a:lnTo>
                  <a:lnTo>
                    <a:pt x="3935" y="2092"/>
                  </a:lnTo>
                  <a:lnTo>
                    <a:pt x="3955" y="1946"/>
                  </a:lnTo>
                  <a:lnTo>
                    <a:pt x="3935" y="1925"/>
                  </a:lnTo>
                  <a:lnTo>
                    <a:pt x="3955" y="1737"/>
                  </a:lnTo>
                  <a:lnTo>
                    <a:pt x="3955" y="1653"/>
                  </a:lnTo>
                  <a:lnTo>
                    <a:pt x="3955" y="1507"/>
                  </a:lnTo>
                  <a:lnTo>
                    <a:pt x="4060" y="1402"/>
                  </a:lnTo>
                  <a:lnTo>
                    <a:pt x="4060" y="1256"/>
                  </a:lnTo>
                  <a:lnTo>
                    <a:pt x="4081" y="1130"/>
                  </a:lnTo>
                  <a:lnTo>
                    <a:pt x="4039" y="921"/>
                  </a:lnTo>
                  <a:lnTo>
                    <a:pt x="4290" y="607"/>
                  </a:lnTo>
                  <a:lnTo>
                    <a:pt x="4332" y="502"/>
                  </a:lnTo>
                  <a:lnTo>
                    <a:pt x="4437" y="460"/>
                  </a:lnTo>
                  <a:lnTo>
                    <a:pt x="4437" y="209"/>
                  </a:lnTo>
                  <a:lnTo>
                    <a:pt x="4374" y="105"/>
                  </a:lnTo>
                  <a:lnTo>
                    <a:pt x="4374" y="63"/>
                  </a:lnTo>
                  <a:lnTo>
                    <a:pt x="4290" y="84"/>
                  </a:lnTo>
                  <a:lnTo>
                    <a:pt x="4248" y="105"/>
                  </a:lnTo>
                  <a:lnTo>
                    <a:pt x="4144" y="63"/>
                  </a:lnTo>
                  <a:lnTo>
                    <a:pt x="412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0" name="Google Shape;2140;p66"/>
            <p:cNvSpPr/>
            <p:nvPr/>
          </p:nvSpPr>
          <p:spPr>
            <a:xfrm>
              <a:off x="3828067" y="3174369"/>
              <a:ext cx="7478" cy="9769"/>
            </a:xfrm>
            <a:custGeom>
              <a:avLst/>
              <a:gdLst/>
              <a:ahLst/>
              <a:cxnLst/>
              <a:rect l="l" t="t" r="r" b="b"/>
              <a:pathLst>
                <a:path w="628" h="859" extrusionOk="0">
                  <a:moveTo>
                    <a:pt x="460" y="1"/>
                  </a:moveTo>
                  <a:lnTo>
                    <a:pt x="356" y="84"/>
                  </a:lnTo>
                  <a:lnTo>
                    <a:pt x="293" y="105"/>
                  </a:lnTo>
                  <a:lnTo>
                    <a:pt x="230" y="210"/>
                  </a:lnTo>
                  <a:lnTo>
                    <a:pt x="147" y="252"/>
                  </a:lnTo>
                  <a:lnTo>
                    <a:pt x="126" y="252"/>
                  </a:lnTo>
                  <a:lnTo>
                    <a:pt x="42" y="398"/>
                  </a:lnTo>
                  <a:lnTo>
                    <a:pt x="0" y="419"/>
                  </a:lnTo>
                  <a:lnTo>
                    <a:pt x="84" y="503"/>
                  </a:lnTo>
                  <a:lnTo>
                    <a:pt x="105" y="670"/>
                  </a:lnTo>
                  <a:lnTo>
                    <a:pt x="42" y="775"/>
                  </a:lnTo>
                  <a:lnTo>
                    <a:pt x="84" y="859"/>
                  </a:lnTo>
                  <a:lnTo>
                    <a:pt x="188" y="775"/>
                  </a:lnTo>
                  <a:lnTo>
                    <a:pt x="293" y="775"/>
                  </a:lnTo>
                  <a:lnTo>
                    <a:pt x="356" y="712"/>
                  </a:lnTo>
                  <a:lnTo>
                    <a:pt x="335" y="503"/>
                  </a:lnTo>
                  <a:lnTo>
                    <a:pt x="398" y="440"/>
                  </a:lnTo>
                  <a:lnTo>
                    <a:pt x="523" y="335"/>
                  </a:lnTo>
                  <a:lnTo>
                    <a:pt x="628" y="231"/>
                  </a:lnTo>
                  <a:lnTo>
                    <a:pt x="628" y="126"/>
                  </a:lnTo>
                  <a:lnTo>
                    <a:pt x="565" y="43"/>
                  </a:lnTo>
                  <a:lnTo>
                    <a:pt x="52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1" name="Google Shape;2141;p66"/>
            <p:cNvSpPr/>
            <p:nvPr/>
          </p:nvSpPr>
          <p:spPr>
            <a:xfrm>
              <a:off x="3947654" y="3151533"/>
              <a:ext cx="76994" cy="74956"/>
            </a:xfrm>
            <a:custGeom>
              <a:avLst/>
              <a:gdLst/>
              <a:ahLst/>
              <a:cxnLst/>
              <a:rect l="l" t="t" r="r" b="b"/>
              <a:pathLst>
                <a:path w="6466" h="6591" extrusionOk="0">
                  <a:moveTo>
                    <a:pt x="2553" y="0"/>
                  </a:moveTo>
                  <a:lnTo>
                    <a:pt x="1779" y="42"/>
                  </a:lnTo>
                  <a:lnTo>
                    <a:pt x="858" y="42"/>
                  </a:lnTo>
                  <a:lnTo>
                    <a:pt x="816" y="105"/>
                  </a:lnTo>
                  <a:lnTo>
                    <a:pt x="754" y="105"/>
                  </a:lnTo>
                  <a:lnTo>
                    <a:pt x="712" y="146"/>
                  </a:lnTo>
                  <a:lnTo>
                    <a:pt x="775" y="230"/>
                  </a:lnTo>
                  <a:lnTo>
                    <a:pt x="858" y="314"/>
                  </a:lnTo>
                  <a:lnTo>
                    <a:pt x="858" y="356"/>
                  </a:lnTo>
                  <a:lnTo>
                    <a:pt x="921" y="439"/>
                  </a:lnTo>
                  <a:lnTo>
                    <a:pt x="963" y="628"/>
                  </a:lnTo>
                  <a:lnTo>
                    <a:pt x="984" y="732"/>
                  </a:lnTo>
                  <a:lnTo>
                    <a:pt x="942" y="795"/>
                  </a:lnTo>
                  <a:lnTo>
                    <a:pt x="942" y="879"/>
                  </a:lnTo>
                  <a:lnTo>
                    <a:pt x="879" y="942"/>
                  </a:lnTo>
                  <a:lnTo>
                    <a:pt x="816" y="963"/>
                  </a:lnTo>
                  <a:lnTo>
                    <a:pt x="754" y="963"/>
                  </a:lnTo>
                  <a:lnTo>
                    <a:pt x="733" y="942"/>
                  </a:lnTo>
                  <a:lnTo>
                    <a:pt x="733" y="983"/>
                  </a:lnTo>
                  <a:lnTo>
                    <a:pt x="754" y="1046"/>
                  </a:lnTo>
                  <a:lnTo>
                    <a:pt x="754" y="1109"/>
                  </a:lnTo>
                  <a:lnTo>
                    <a:pt x="858" y="1151"/>
                  </a:lnTo>
                  <a:lnTo>
                    <a:pt x="858" y="1214"/>
                  </a:lnTo>
                  <a:lnTo>
                    <a:pt x="942" y="1214"/>
                  </a:lnTo>
                  <a:lnTo>
                    <a:pt x="963" y="1402"/>
                  </a:lnTo>
                  <a:lnTo>
                    <a:pt x="963" y="1486"/>
                  </a:lnTo>
                  <a:lnTo>
                    <a:pt x="858" y="1590"/>
                  </a:lnTo>
                  <a:lnTo>
                    <a:pt x="775" y="1674"/>
                  </a:lnTo>
                  <a:lnTo>
                    <a:pt x="733" y="1716"/>
                  </a:lnTo>
                  <a:lnTo>
                    <a:pt x="565" y="1883"/>
                  </a:lnTo>
                  <a:lnTo>
                    <a:pt x="461" y="2030"/>
                  </a:lnTo>
                  <a:lnTo>
                    <a:pt x="293" y="2092"/>
                  </a:lnTo>
                  <a:lnTo>
                    <a:pt x="0" y="2092"/>
                  </a:lnTo>
                  <a:lnTo>
                    <a:pt x="84" y="2553"/>
                  </a:lnTo>
                  <a:lnTo>
                    <a:pt x="210" y="3243"/>
                  </a:lnTo>
                  <a:lnTo>
                    <a:pt x="628" y="3808"/>
                  </a:lnTo>
                  <a:lnTo>
                    <a:pt x="754" y="4248"/>
                  </a:lnTo>
                  <a:lnTo>
                    <a:pt x="942" y="4352"/>
                  </a:lnTo>
                  <a:lnTo>
                    <a:pt x="1026" y="4352"/>
                  </a:lnTo>
                  <a:lnTo>
                    <a:pt x="1130" y="4394"/>
                  </a:lnTo>
                  <a:lnTo>
                    <a:pt x="1172" y="4394"/>
                  </a:lnTo>
                  <a:lnTo>
                    <a:pt x="1256" y="4436"/>
                  </a:lnTo>
                  <a:lnTo>
                    <a:pt x="1256" y="4499"/>
                  </a:lnTo>
                  <a:lnTo>
                    <a:pt x="1340" y="4561"/>
                  </a:lnTo>
                  <a:lnTo>
                    <a:pt x="1444" y="4561"/>
                  </a:lnTo>
                  <a:lnTo>
                    <a:pt x="1695" y="4645"/>
                  </a:lnTo>
                  <a:lnTo>
                    <a:pt x="1779" y="4645"/>
                  </a:lnTo>
                  <a:lnTo>
                    <a:pt x="1821" y="4708"/>
                  </a:lnTo>
                  <a:lnTo>
                    <a:pt x="1884" y="4729"/>
                  </a:lnTo>
                  <a:lnTo>
                    <a:pt x="1925" y="4812"/>
                  </a:lnTo>
                  <a:lnTo>
                    <a:pt x="2030" y="4917"/>
                  </a:lnTo>
                  <a:lnTo>
                    <a:pt x="2093" y="4917"/>
                  </a:lnTo>
                  <a:lnTo>
                    <a:pt x="2093" y="4938"/>
                  </a:lnTo>
                  <a:lnTo>
                    <a:pt x="2114" y="4917"/>
                  </a:lnTo>
                  <a:lnTo>
                    <a:pt x="2177" y="4917"/>
                  </a:lnTo>
                  <a:lnTo>
                    <a:pt x="2197" y="4980"/>
                  </a:lnTo>
                  <a:lnTo>
                    <a:pt x="2281" y="4980"/>
                  </a:lnTo>
                  <a:lnTo>
                    <a:pt x="2302" y="5022"/>
                  </a:lnTo>
                  <a:lnTo>
                    <a:pt x="2323" y="4980"/>
                  </a:lnTo>
                  <a:lnTo>
                    <a:pt x="2407" y="5022"/>
                  </a:lnTo>
                  <a:lnTo>
                    <a:pt x="2428" y="5043"/>
                  </a:lnTo>
                  <a:lnTo>
                    <a:pt x="2490" y="5043"/>
                  </a:lnTo>
                  <a:lnTo>
                    <a:pt x="2511" y="5084"/>
                  </a:lnTo>
                  <a:lnTo>
                    <a:pt x="2553" y="5126"/>
                  </a:lnTo>
                  <a:lnTo>
                    <a:pt x="2637" y="5189"/>
                  </a:lnTo>
                  <a:lnTo>
                    <a:pt x="2825" y="5398"/>
                  </a:lnTo>
                  <a:lnTo>
                    <a:pt x="2846" y="5608"/>
                  </a:lnTo>
                  <a:lnTo>
                    <a:pt x="2846" y="6591"/>
                  </a:lnTo>
                  <a:lnTo>
                    <a:pt x="2951" y="6193"/>
                  </a:lnTo>
                  <a:lnTo>
                    <a:pt x="3495" y="6173"/>
                  </a:lnTo>
                  <a:lnTo>
                    <a:pt x="3599" y="6131"/>
                  </a:lnTo>
                  <a:lnTo>
                    <a:pt x="3641" y="6110"/>
                  </a:lnTo>
                  <a:lnTo>
                    <a:pt x="3704" y="6089"/>
                  </a:lnTo>
                  <a:lnTo>
                    <a:pt x="3704" y="6131"/>
                  </a:lnTo>
                  <a:lnTo>
                    <a:pt x="3788" y="6173"/>
                  </a:lnTo>
                  <a:lnTo>
                    <a:pt x="3871" y="6214"/>
                  </a:lnTo>
                  <a:lnTo>
                    <a:pt x="3955" y="6214"/>
                  </a:lnTo>
                  <a:lnTo>
                    <a:pt x="3997" y="6298"/>
                  </a:lnTo>
                  <a:lnTo>
                    <a:pt x="3976" y="6319"/>
                  </a:lnTo>
                  <a:lnTo>
                    <a:pt x="4164" y="6298"/>
                  </a:lnTo>
                  <a:lnTo>
                    <a:pt x="4269" y="6193"/>
                  </a:lnTo>
                  <a:lnTo>
                    <a:pt x="4332" y="6193"/>
                  </a:lnTo>
                  <a:lnTo>
                    <a:pt x="4394" y="6131"/>
                  </a:lnTo>
                  <a:lnTo>
                    <a:pt x="4436" y="6173"/>
                  </a:lnTo>
                  <a:lnTo>
                    <a:pt x="4436" y="6214"/>
                  </a:lnTo>
                  <a:lnTo>
                    <a:pt x="4520" y="6214"/>
                  </a:lnTo>
                  <a:lnTo>
                    <a:pt x="4604" y="6277"/>
                  </a:lnTo>
                  <a:lnTo>
                    <a:pt x="4729" y="6214"/>
                  </a:lnTo>
                  <a:lnTo>
                    <a:pt x="4897" y="6193"/>
                  </a:lnTo>
                  <a:lnTo>
                    <a:pt x="4918" y="6110"/>
                  </a:lnTo>
                  <a:lnTo>
                    <a:pt x="4897" y="6068"/>
                  </a:lnTo>
                  <a:lnTo>
                    <a:pt x="4938" y="6005"/>
                  </a:lnTo>
                  <a:lnTo>
                    <a:pt x="5043" y="6026"/>
                  </a:lnTo>
                  <a:lnTo>
                    <a:pt x="5127" y="6026"/>
                  </a:lnTo>
                  <a:lnTo>
                    <a:pt x="5210" y="6089"/>
                  </a:lnTo>
                  <a:lnTo>
                    <a:pt x="5315" y="6068"/>
                  </a:lnTo>
                  <a:lnTo>
                    <a:pt x="5357" y="6026"/>
                  </a:lnTo>
                  <a:lnTo>
                    <a:pt x="5566" y="5963"/>
                  </a:lnTo>
                  <a:lnTo>
                    <a:pt x="5650" y="5984"/>
                  </a:lnTo>
                  <a:lnTo>
                    <a:pt x="5754" y="5963"/>
                  </a:lnTo>
                  <a:lnTo>
                    <a:pt x="5775" y="5900"/>
                  </a:lnTo>
                  <a:lnTo>
                    <a:pt x="5901" y="5900"/>
                  </a:lnTo>
                  <a:lnTo>
                    <a:pt x="5985" y="5817"/>
                  </a:lnTo>
                  <a:lnTo>
                    <a:pt x="6110" y="5796"/>
                  </a:lnTo>
                  <a:lnTo>
                    <a:pt x="6194" y="5712"/>
                  </a:lnTo>
                  <a:lnTo>
                    <a:pt x="6278" y="5649"/>
                  </a:lnTo>
                  <a:lnTo>
                    <a:pt x="6382" y="5670"/>
                  </a:lnTo>
                  <a:lnTo>
                    <a:pt x="6424" y="5608"/>
                  </a:lnTo>
                  <a:lnTo>
                    <a:pt x="6466" y="5587"/>
                  </a:lnTo>
                  <a:lnTo>
                    <a:pt x="6424" y="5587"/>
                  </a:lnTo>
                  <a:lnTo>
                    <a:pt x="6424" y="5545"/>
                  </a:lnTo>
                  <a:lnTo>
                    <a:pt x="6298" y="5440"/>
                  </a:lnTo>
                  <a:lnTo>
                    <a:pt x="6173" y="5398"/>
                  </a:lnTo>
                  <a:lnTo>
                    <a:pt x="5964" y="5189"/>
                  </a:lnTo>
                  <a:lnTo>
                    <a:pt x="5985" y="5126"/>
                  </a:lnTo>
                  <a:lnTo>
                    <a:pt x="5901" y="4938"/>
                  </a:lnTo>
                  <a:lnTo>
                    <a:pt x="5859" y="4875"/>
                  </a:lnTo>
                  <a:lnTo>
                    <a:pt x="5901" y="4771"/>
                  </a:lnTo>
                  <a:lnTo>
                    <a:pt x="5859" y="4729"/>
                  </a:lnTo>
                  <a:lnTo>
                    <a:pt x="5838" y="4624"/>
                  </a:lnTo>
                  <a:lnTo>
                    <a:pt x="5796" y="4540"/>
                  </a:lnTo>
                  <a:lnTo>
                    <a:pt x="5838" y="4540"/>
                  </a:lnTo>
                  <a:lnTo>
                    <a:pt x="5775" y="4394"/>
                  </a:lnTo>
                  <a:lnTo>
                    <a:pt x="5754" y="4248"/>
                  </a:lnTo>
                  <a:lnTo>
                    <a:pt x="5838" y="4206"/>
                  </a:lnTo>
                  <a:lnTo>
                    <a:pt x="5838" y="4038"/>
                  </a:lnTo>
                  <a:lnTo>
                    <a:pt x="5754" y="3976"/>
                  </a:lnTo>
                  <a:lnTo>
                    <a:pt x="5754" y="3766"/>
                  </a:lnTo>
                  <a:lnTo>
                    <a:pt x="5775" y="3620"/>
                  </a:lnTo>
                  <a:lnTo>
                    <a:pt x="5859" y="3578"/>
                  </a:lnTo>
                  <a:lnTo>
                    <a:pt x="5880" y="3599"/>
                  </a:lnTo>
                  <a:lnTo>
                    <a:pt x="5943" y="3515"/>
                  </a:lnTo>
                  <a:lnTo>
                    <a:pt x="5859" y="3306"/>
                  </a:lnTo>
                  <a:lnTo>
                    <a:pt x="5775" y="3306"/>
                  </a:lnTo>
                  <a:lnTo>
                    <a:pt x="5650" y="3180"/>
                  </a:lnTo>
                  <a:lnTo>
                    <a:pt x="5482" y="3055"/>
                  </a:lnTo>
                  <a:lnTo>
                    <a:pt x="5482" y="2929"/>
                  </a:lnTo>
                  <a:lnTo>
                    <a:pt x="5566" y="2657"/>
                  </a:lnTo>
                  <a:lnTo>
                    <a:pt x="5692" y="2302"/>
                  </a:lnTo>
                  <a:lnTo>
                    <a:pt x="5754" y="2239"/>
                  </a:lnTo>
                  <a:lnTo>
                    <a:pt x="5734" y="2134"/>
                  </a:lnTo>
                  <a:lnTo>
                    <a:pt x="5692" y="2113"/>
                  </a:lnTo>
                  <a:lnTo>
                    <a:pt x="5734" y="2113"/>
                  </a:lnTo>
                  <a:lnTo>
                    <a:pt x="5022" y="1611"/>
                  </a:lnTo>
                  <a:lnTo>
                    <a:pt x="4959" y="1527"/>
                  </a:lnTo>
                  <a:lnTo>
                    <a:pt x="4938" y="1486"/>
                  </a:lnTo>
                  <a:lnTo>
                    <a:pt x="4959" y="1402"/>
                  </a:lnTo>
                  <a:lnTo>
                    <a:pt x="4834" y="1214"/>
                  </a:lnTo>
                  <a:lnTo>
                    <a:pt x="274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2" name="Google Shape;2142;p66"/>
            <p:cNvSpPr/>
            <p:nvPr/>
          </p:nvSpPr>
          <p:spPr>
            <a:xfrm>
              <a:off x="3945415" y="3152954"/>
              <a:ext cx="13956" cy="10963"/>
            </a:xfrm>
            <a:custGeom>
              <a:avLst/>
              <a:gdLst/>
              <a:ahLst/>
              <a:cxnLst/>
              <a:rect l="l" t="t" r="r" b="b"/>
              <a:pathLst>
                <a:path w="1172" h="964" extrusionOk="0">
                  <a:moveTo>
                    <a:pt x="795" y="1"/>
                  </a:moveTo>
                  <a:lnTo>
                    <a:pt x="795" y="84"/>
                  </a:lnTo>
                  <a:lnTo>
                    <a:pt x="732" y="126"/>
                  </a:lnTo>
                  <a:lnTo>
                    <a:pt x="649" y="126"/>
                  </a:lnTo>
                  <a:lnTo>
                    <a:pt x="607" y="84"/>
                  </a:lnTo>
                  <a:lnTo>
                    <a:pt x="544" y="42"/>
                  </a:lnTo>
                  <a:lnTo>
                    <a:pt x="440" y="126"/>
                  </a:lnTo>
                  <a:lnTo>
                    <a:pt x="377" y="147"/>
                  </a:lnTo>
                  <a:lnTo>
                    <a:pt x="335" y="126"/>
                  </a:lnTo>
                  <a:lnTo>
                    <a:pt x="209" y="231"/>
                  </a:lnTo>
                  <a:lnTo>
                    <a:pt x="105" y="356"/>
                  </a:lnTo>
                  <a:lnTo>
                    <a:pt x="0" y="733"/>
                  </a:lnTo>
                  <a:lnTo>
                    <a:pt x="0" y="817"/>
                  </a:lnTo>
                  <a:lnTo>
                    <a:pt x="209" y="817"/>
                  </a:lnTo>
                  <a:lnTo>
                    <a:pt x="272" y="921"/>
                  </a:lnTo>
                  <a:lnTo>
                    <a:pt x="335" y="963"/>
                  </a:lnTo>
                  <a:lnTo>
                    <a:pt x="398" y="921"/>
                  </a:lnTo>
                  <a:lnTo>
                    <a:pt x="419" y="921"/>
                  </a:lnTo>
                  <a:lnTo>
                    <a:pt x="481" y="963"/>
                  </a:lnTo>
                  <a:lnTo>
                    <a:pt x="607" y="921"/>
                  </a:lnTo>
                  <a:lnTo>
                    <a:pt x="607" y="858"/>
                  </a:lnTo>
                  <a:lnTo>
                    <a:pt x="691" y="670"/>
                  </a:lnTo>
                  <a:lnTo>
                    <a:pt x="649" y="566"/>
                  </a:lnTo>
                  <a:lnTo>
                    <a:pt x="712" y="566"/>
                  </a:lnTo>
                  <a:lnTo>
                    <a:pt x="753" y="628"/>
                  </a:lnTo>
                  <a:lnTo>
                    <a:pt x="816" y="628"/>
                  </a:lnTo>
                  <a:lnTo>
                    <a:pt x="858" y="733"/>
                  </a:lnTo>
                  <a:lnTo>
                    <a:pt x="921" y="754"/>
                  </a:lnTo>
                  <a:lnTo>
                    <a:pt x="921" y="817"/>
                  </a:lnTo>
                  <a:lnTo>
                    <a:pt x="942" y="838"/>
                  </a:lnTo>
                  <a:lnTo>
                    <a:pt x="1004" y="838"/>
                  </a:lnTo>
                  <a:lnTo>
                    <a:pt x="1067" y="817"/>
                  </a:lnTo>
                  <a:lnTo>
                    <a:pt x="1130" y="754"/>
                  </a:lnTo>
                  <a:lnTo>
                    <a:pt x="1130" y="670"/>
                  </a:lnTo>
                  <a:lnTo>
                    <a:pt x="1172" y="607"/>
                  </a:lnTo>
                  <a:lnTo>
                    <a:pt x="1151" y="503"/>
                  </a:lnTo>
                  <a:lnTo>
                    <a:pt x="1109" y="314"/>
                  </a:lnTo>
                  <a:lnTo>
                    <a:pt x="1046" y="231"/>
                  </a:lnTo>
                  <a:lnTo>
                    <a:pt x="1046" y="189"/>
                  </a:lnTo>
                  <a:lnTo>
                    <a:pt x="963" y="105"/>
                  </a:lnTo>
                  <a:lnTo>
                    <a:pt x="900" y="21"/>
                  </a:lnTo>
                  <a:lnTo>
                    <a:pt x="90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3" name="Google Shape;2143;p66"/>
            <p:cNvSpPr/>
            <p:nvPr/>
          </p:nvSpPr>
          <p:spPr>
            <a:xfrm>
              <a:off x="3945415" y="3159380"/>
              <a:ext cx="13706" cy="15956"/>
            </a:xfrm>
            <a:custGeom>
              <a:avLst/>
              <a:gdLst/>
              <a:ahLst/>
              <a:cxnLst/>
              <a:rect l="l" t="t" r="r" b="b"/>
              <a:pathLst>
                <a:path w="1151" h="1403" extrusionOk="0">
                  <a:moveTo>
                    <a:pt x="649" y="1"/>
                  </a:moveTo>
                  <a:lnTo>
                    <a:pt x="691" y="105"/>
                  </a:lnTo>
                  <a:lnTo>
                    <a:pt x="607" y="293"/>
                  </a:lnTo>
                  <a:lnTo>
                    <a:pt x="607" y="356"/>
                  </a:lnTo>
                  <a:lnTo>
                    <a:pt x="481" y="398"/>
                  </a:lnTo>
                  <a:lnTo>
                    <a:pt x="419" y="356"/>
                  </a:lnTo>
                  <a:lnTo>
                    <a:pt x="398" y="356"/>
                  </a:lnTo>
                  <a:lnTo>
                    <a:pt x="335" y="398"/>
                  </a:lnTo>
                  <a:lnTo>
                    <a:pt x="272" y="356"/>
                  </a:lnTo>
                  <a:lnTo>
                    <a:pt x="209" y="252"/>
                  </a:lnTo>
                  <a:lnTo>
                    <a:pt x="0" y="252"/>
                  </a:lnTo>
                  <a:lnTo>
                    <a:pt x="0" y="314"/>
                  </a:lnTo>
                  <a:lnTo>
                    <a:pt x="63" y="419"/>
                  </a:lnTo>
                  <a:lnTo>
                    <a:pt x="84" y="565"/>
                  </a:lnTo>
                  <a:lnTo>
                    <a:pt x="84" y="712"/>
                  </a:lnTo>
                  <a:lnTo>
                    <a:pt x="188" y="1402"/>
                  </a:lnTo>
                  <a:lnTo>
                    <a:pt x="481" y="1402"/>
                  </a:lnTo>
                  <a:lnTo>
                    <a:pt x="649" y="1340"/>
                  </a:lnTo>
                  <a:lnTo>
                    <a:pt x="753" y="1193"/>
                  </a:lnTo>
                  <a:lnTo>
                    <a:pt x="921" y="1026"/>
                  </a:lnTo>
                  <a:lnTo>
                    <a:pt x="963" y="984"/>
                  </a:lnTo>
                  <a:lnTo>
                    <a:pt x="1046" y="900"/>
                  </a:lnTo>
                  <a:lnTo>
                    <a:pt x="1151" y="796"/>
                  </a:lnTo>
                  <a:lnTo>
                    <a:pt x="1151" y="712"/>
                  </a:lnTo>
                  <a:lnTo>
                    <a:pt x="1130" y="524"/>
                  </a:lnTo>
                  <a:lnTo>
                    <a:pt x="1046" y="524"/>
                  </a:lnTo>
                  <a:lnTo>
                    <a:pt x="1046" y="461"/>
                  </a:lnTo>
                  <a:lnTo>
                    <a:pt x="942" y="419"/>
                  </a:lnTo>
                  <a:lnTo>
                    <a:pt x="942" y="356"/>
                  </a:lnTo>
                  <a:lnTo>
                    <a:pt x="921" y="293"/>
                  </a:lnTo>
                  <a:lnTo>
                    <a:pt x="921" y="252"/>
                  </a:lnTo>
                  <a:lnTo>
                    <a:pt x="921" y="189"/>
                  </a:lnTo>
                  <a:lnTo>
                    <a:pt x="858" y="168"/>
                  </a:lnTo>
                  <a:lnTo>
                    <a:pt x="816" y="63"/>
                  </a:lnTo>
                  <a:lnTo>
                    <a:pt x="753" y="63"/>
                  </a:lnTo>
                  <a:lnTo>
                    <a:pt x="712"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4" name="Google Shape;2144;p66"/>
            <p:cNvSpPr/>
            <p:nvPr/>
          </p:nvSpPr>
          <p:spPr>
            <a:xfrm>
              <a:off x="3829055" y="3110126"/>
              <a:ext cx="131316" cy="124222"/>
            </a:xfrm>
            <a:custGeom>
              <a:avLst/>
              <a:gdLst/>
              <a:ahLst/>
              <a:cxnLst/>
              <a:rect l="l" t="t" r="r" b="b"/>
              <a:pathLst>
                <a:path w="11028" h="10923" extrusionOk="0">
                  <a:moveTo>
                    <a:pt x="7701" y="0"/>
                  </a:moveTo>
                  <a:lnTo>
                    <a:pt x="7701" y="42"/>
                  </a:lnTo>
                  <a:lnTo>
                    <a:pt x="7743" y="84"/>
                  </a:lnTo>
                  <a:lnTo>
                    <a:pt x="7659" y="189"/>
                  </a:lnTo>
                  <a:lnTo>
                    <a:pt x="7575" y="189"/>
                  </a:lnTo>
                  <a:lnTo>
                    <a:pt x="7491" y="210"/>
                  </a:lnTo>
                  <a:lnTo>
                    <a:pt x="7366" y="210"/>
                  </a:lnTo>
                  <a:lnTo>
                    <a:pt x="7282" y="251"/>
                  </a:lnTo>
                  <a:lnTo>
                    <a:pt x="7240" y="251"/>
                  </a:lnTo>
                  <a:lnTo>
                    <a:pt x="7219" y="189"/>
                  </a:lnTo>
                  <a:lnTo>
                    <a:pt x="7178" y="189"/>
                  </a:lnTo>
                  <a:lnTo>
                    <a:pt x="7157" y="147"/>
                  </a:lnTo>
                  <a:lnTo>
                    <a:pt x="7073" y="126"/>
                  </a:lnTo>
                  <a:lnTo>
                    <a:pt x="6843" y="230"/>
                  </a:lnTo>
                  <a:lnTo>
                    <a:pt x="6759" y="293"/>
                  </a:lnTo>
                  <a:lnTo>
                    <a:pt x="6717" y="335"/>
                  </a:lnTo>
                  <a:lnTo>
                    <a:pt x="6487" y="356"/>
                  </a:lnTo>
                  <a:lnTo>
                    <a:pt x="6403" y="398"/>
                  </a:lnTo>
                  <a:lnTo>
                    <a:pt x="6320" y="314"/>
                  </a:lnTo>
                  <a:lnTo>
                    <a:pt x="6215" y="293"/>
                  </a:lnTo>
                  <a:lnTo>
                    <a:pt x="6111" y="293"/>
                  </a:lnTo>
                  <a:lnTo>
                    <a:pt x="6027" y="398"/>
                  </a:lnTo>
                  <a:lnTo>
                    <a:pt x="5922" y="502"/>
                  </a:lnTo>
                  <a:lnTo>
                    <a:pt x="5964" y="544"/>
                  </a:lnTo>
                  <a:lnTo>
                    <a:pt x="6006" y="607"/>
                  </a:lnTo>
                  <a:lnTo>
                    <a:pt x="5985" y="649"/>
                  </a:lnTo>
                  <a:lnTo>
                    <a:pt x="5859" y="670"/>
                  </a:lnTo>
                  <a:lnTo>
                    <a:pt x="5797" y="649"/>
                  </a:lnTo>
                  <a:lnTo>
                    <a:pt x="5671" y="628"/>
                  </a:lnTo>
                  <a:lnTo>
                    <a:pt x="5567" y="565"/>
                  </a:lnTo>
                  <a:lnTo>
                    <a:pt x="5483" y="565"/>
                  </a:lnTo>
                  <a:lnTo>
                    <a:pt x="5399" y="628"/>
                  </a:lnTo>
                  <a:lnTo>
                    <a:pt x="5336" y="607"/>
                  </a:lnTo>
                  <a:lnTo>
                    <a:pt x="5190" y="607"/>
                  </a:lnTo>
                  <a:lnTo>
                    <a:pt x="5064" y="523"/>
                  </a:lnTo>
                  <a:lnTo>
                    <a:pt x="4939" y="544"/>
                  </a:lnTo>
                  <a:lnTo>
                    <a:pt x="4918" y="502"/>
                  </a:lnTo>
                  <a:lnTo>
                    <a:pt x="4750" y="356"/>
                  </a:lnTo>
                  <a:lnTo>
                    <a:pt x="4667" y="335"/>
                  </a:lnTo>
                  <a:lnTo>
                    <a:pt x="4499" y="210"/>
                  </a:lnTo>
                  <a:lnTo>
                    <a:pt x="4437" y="189"/>
                  </a:lnTo>
                  <a:lnTo>
                    <a:pt x="4353" y="126"/>
                  </a:lnTo>
                  <a:lnTo>
                    <a:pt x="4290" y="126"/>
                  </a:lnTo>
                  <a:lnTo>
                    <a:pt x="4290" y="189"/>
                  </a:lnTo>
                  <a:lnTo>
                    <a:pt x="4186" y="147"/>
                  </a:lnTo>
                  <a:lnTo>
                    <a:pt x="4102" y="251"/>
                  </a:lnTo>
                  <a:lnTo>
                    <a:pt x="4018" y="251"/>
                  </a:lnTo>
                  <a:lnTo>
                    <a:pt x="3976" y="293"/>
                  </a:lnTo>
                  <a:lnTo>
                    <a:pt x="3976" y="356"/>
                  </a:lnTo>
                  <a:lnTo>
                    <a:pt x="3914" y="440"/>
                  </a:lnTo>
                  <a:lnTo>
                    <a:pt x="3914" y="502"/>
                  </a:lnTo>
                  <a:lnTo>
                    <a:pt x="3872" y="544"/>
                  </a:lnTo>
                  <a:lnTo>
                    <a:pt x="3788" y="544"/>
                  </a:lnTo>
                  <a:lnTo>
                    <a:pt x="3788" y="607"/>
                  </a:lnTo>
                  <a:lnTo>
                    <a:pt x="3893" y="733"/>
                  </a:lnTo>
                  <a:lnTo>
                    <a:pt x="3830" y="774"/>
                  </a:lnTo>
                  <a:lnTo>
                    <a:pt x="3809" y="858"/>
                  </a:lnTo>
                  <a:lnTo>
                    <a:pt x="3809" y="984"/>
                  </a:lnTo>
                  <a:lnTo>
                    <a:pt x="3872" y="1088"/>
                  </a:lnTo>
                  <a:lnTo>
                    <a:pt x="3872" y="1339"/>
                  </a:lnTo>
                  <a:lnTo>
                    <a:pt x="3767" y="1381"/>
                  </a:lnTo>
                  <a:lnTo>
                    <a:pt x="3725" y="1486"/>
                  </a:lnTo>
                  <a:lnTo>
                    <a:pt x="3474" y="1800"/>
                  </a:lnTo>
                  <a:lnTo>
                    <a:pt x="3516" y="2009"/>
                  </a:lnTo>
                  <a:lnTo>
                    <a:pt x="3495" y="2135"/>
                  </a:lnTo>
                  <a:lnTo>
                    <a:pt x="3495" y="2281"/>
                  </a:lnTo>
                  <a:lnTo>
                    <a:pt x="3390" y="2386"/>
                  </a:lnTo>
                  <a:lnTo>
                    <a:pt x="3390" y="2532"/>
                  </a:lnTo>
                  <a:lnTo>
                    <a:pt x="3390" y="2616"/>
                  </a:lnTo>
                  <a:lnTo>
                    <a:pt x="3370" y="2804"/>
                  </a:lnTo>
                  <a:lnTo>
                    <a:pt x="3390" y="2825"/>
                  </a:lnTo>
                  <a:lnTo>
                    <a:pt x="3370" y="2971"/>
                  </a:lnTo>
                  <a:lnTo>
                    <a:pt x="3286" y="3034"/>
                  </a:lnTo>
                  <a:lnTo>
                    <a:pt x="3244" y="3223"/>
                  </a:lnTo>
                  <a:lnTo>
                    <a:pt x="3244" y="3390"/>
                  </a:lnTo>
                  <a:lnTo>
                    <a:pt x="3056" y="3704"/>
                  </a:lnTo>
                  <a:lnTo>
                    <a:pt x="2951" y="3746"/>
                  </a:lnTo>
                  <a:lnTo>
                    <a:pt x="2846" y="3808"/>
                  </a:lnTo>
                  <a:lnTo>
                    <a:pt x="2763" y="3787"/>
                  </a:lnTo>
                  <a:lnTo>
                    <a:pt x="2637" y="3892"/>
                  </a:lnTo>
                  <a:lnTo>
                    <a:pt x="2533" y="4018"/>
                  </a:lnTo>
                  <a:lnTo>
                    <a:pt x="2533" y="4164"/>
                  </a:lnTo>
                  <a:lnTo>
                    <a:pt x="2344" y="4332"/>
                  </a:lnTo>
                  <a:lnTo>
                    <a:pt x="2302" y="4436"/>
                  </a:lnTo>
                  <a:lnTo>
                    <a:pt x="2323" y="4624"/>
                  </a:lnTo>
                  <a:lnTo>
                    <a:pt x="2344" y="4645"/>
                  </a:lnTo>
                  <a:lnTo>
                    <a:pt x="2323" y="4959"/>
                  </a:lnTo>
                  <a:lnTo>
                    <a:pt x="2302" y="5127"/>
                  </a:lnTo>
                  <a:lnTo>
                    <a:pt x="2302" y="5231"/>
                  </a:lnTo>
                  <a:lnTo>
                    <a:pt x="2198" y="5378"/>
                  </a:lnTo>
                  <a:lnTo>
                    <a:pt x="2093" y="5420"/>
                  </a:lnTo>
                  <a:lnTo>
                    <a:pt x="2009" y="5482"/>
                  </a:lnTo>
                  <a:lnTo>
                    <a:pt x="1947" y="5566"/>
                  </a:lnTo>
                  <a:lnTo>
                    <a:pt x="1717" y="5796"/>
                  </a:lnTo>
                  <a:lnTo>
                    <a:pt x="1633" y="5901"/>
                  </a:lnTo>
                  <a:lnTo>
                    <a:pt x="1507" y="5984"/>
                  </a:lnTo>
                  <a:lnTo>
                    <a:pt x="1382" y="5901"/>
                  </a:lnTo>
                  <a:lnTo>
                    <a:pt x="1319" y="5796"/>
                  </a:lnTo>
                  <a:lnTo>
                    <a:pt x="1298" y="5775"/>
                  </a:lnTo>
                  <a:lnTo>
                    <a:pt x="1382" y="5650"/>
                  </a:lnTo>
                  <a:lnTo>
                    <a:pt x="1382" y="5587"/>
                  </a:lnTo>
                  <a:lnTo>
                    <a:pt x="1193" y="5650"/>
                  </a:lnTo>
                  <a:lnTo>
                    <a:pt x="1089" y="5754"/>
                  </a:lnTo>
                  <a:lnTo>
                    <a:pt x="1005" y="5733"/>
                  </a:lnTo>
                  <a:lnTo>
                    <a:pt x="942" y="5754"/>
                  </a:lnTo>
                  <a:lnTo>
                    <a:pt x="942" y="5859"/>
                  </a:lnTo>
                  <a:lnTo>
                    <a:pt x="859" y="5943"/>
                  </a:lnTo>
                  <a:lnTo>
                    <a:pt x="754" y="5943"/>
                  </a:lnTo>
                  <a:lnTo>
                    <a:pt x="754" y="5880"/>
                  </a:lnTo>
                  <a:lnTo>
                    <a:pt x="733" y="5838"/>
                  </a:lnTo>
                  <a:lnTo>
                    <a:pt x="629" y="5880"/>
                  </a:lnTo>
                  <a:lnTo>
                    <a:pt x="566" y="5859"/>
                  </a:lnTo>
                  <a:lnTo>
                    <a:pt x="440" y="5984"/>
                  </a:lnTo>
                  <a:lnTo>
                    <a:pt x="315" y="6089"/>
                  </a:lnTo>
                  <a:lnTo>
                    <a:pt x="252" y="6152"/>
                  </a:lnTo>
                  <a:lnTo>
                    <a:pt x="273" y="6361"/>
                  </a:lnTo>
                  <a:lnTo>
                    <a:pt x="210" y="6424"/>
                  </a:lnTo>
                  <a:lnTo>
                    <a:pt x="105" y="6424"/>
                  </a:lnTo>
                  <a:lnTo>
                    <a:pt x="1" y="6508"/>
                  </a:lnTo>
                  <a:lnTo>
                    <a:pt x="22" y="6570"/>
                  </a:lnTo>
                  <a:lnTo>
                    <a:pt x="210" y="6591"/>
                  </a:lnTo>
                  <a:lnTo>
                    <a:pt x="252" y="6633"/>
                  </a:lnTo>
                  <a:lnTo>
                    <a:pt x="273" y="6633"/>
                  </a:lnTo>
                  <a:lnTo>
                    <a:pt x="273" y="6612"/>
                  </a:lnTo>
                  <a:lnTo>
                    <a:pt x="315" y="6591"/>
                  </a:lnTo>
                  <a:lnTo>
                    <a:pt x="377" y="6591"/>
                  </a:lnTo>
                  <a:lnTo>
                    <a:pt x="482" y="6570"/>
                  </a:lnTo>
                  <a:lnTo>
                    <a:pt x="566" y="6528"/>
                  </a:lnTo>
                  <a:lnTo>
                    <a:pt x="1256" y="6528"/>
                  </a:lnTo>
                  <a:lnTo>
                    <a:pt x="1424" y="6570"/>
                  </a:lnTo>
                  <a:lnTo>
                    <a:pt x="1633" y="6528"/>
                  </a:lnTo>
                  <a:lnTo>
                    <a:pt x="2637" y="6528"/>
                  </a:lnTo>
                  <a:lnTo>
                    <a:pt x="2637" y="6612"/>
                  </a:lnTo>
                  <a:lnTo>
                    <a:pt x="2637" y="6633"/>
                  </a:lnTo>
                  <a:lnTo>
                    <a:pt x="2637" y="6717"/>
                  </a:lnTo>
                  <a:lnTo>
                    <a:pt x="2679" y="6780"/>
                  </a:lnTo>
                  <a:lnTo>
                    <a:pt x="2721" y="6842"/>
                  </a:lnTo>
                  <a:lnTo>
                    <a:pt x="2679" y="6905"/>
                  </a:lnTo>
                  <a:lnTo>
                    <a:pt x="2679" y="6989"/>
                  </a:lnTo>
                  <a:lnTo>
                    <a:pt x="2742" y="7093"/>
                  </a:lnTo>
                  <a:lnTo>
                    <a:pt x="2763" y="7219"/>
                  </a:lnTo>
                  <a:lnTo>
                    <a:pt x="2784" y="7261"/>
                  </a:lnTo>
                  <a:lnTo>
                    <a:pt x="2784" y="7345"/>
                  </a:lnTo>
                  <a:lnTo>
                    <a:pt x="2846" y="7365"/>
                  </a:lnTo>
                  <a:lnTo>
                    <a:pt x="2888" y="7449"/>
                  </a:lnTo>
                  <a:lnTo>
                    <a:pt x="2972" y="7554"/>
                  </a:lnTo>
                  <a:lnTo>
                    <a:pt x="2993" y="7763"/>
                  </a:lnTo>
                  <a:lnTo>
                    <a:pt x="3056" y="7784"/>
                  </a:lnTo>
                  <a:lnTo>
                    <a:pt x="3202" y="7784"/>
                  </a:lnTo>
                  <a:lnTo>
                    <a:pt x="3307" y="7763"/>
                  </a:lnTo>
                  <a:lnTo>
                    <a:pt x="3390" y="7784"/>
                  </a:lnTo>
                  <a:lnTo>
                    <a:pt x="3579" y="7826"/>
                  </a:lnTo>
                  <a:lnTo>
                    <a:pt x="3662" y="7763"/>
                  </a:lnTo>
                  <a:lnTo>
                    <a:pt x="4102" y="7742"/>
                  </a:lnTo>
                  <a:lnTo>
                    <a:pt x="4102" y="7575"/>
                  </a:lnTo>
                  <a:lnTo>
                    <a:pt x="4081" y="7470"/>
                  </a:lnTo>
                  <a:lnTo>
                    <a:pt x="4123" y="7449"/>
                  </a:lnTo>
                  <a:lnTo>
                    <a:pt x="4186" y="7345"/>
                  </a:lnTo>
                  <a:lnTo>
                    <a:pt x="4186" y="7198"/>
                  </a:lnTo>
                  <a:lnTo>
                    <a:pt x="4750" y="7156"/>
                  </a:lnTo>
                  <a:lnTo>
                    <a:pt x="4750" y="7114"/>
                  </a:lnTo>
                  <a:lnTo>
                    <a:pt x="4939" y="7135"/>
                  </a:lnTo>
                  <a:lnTo>
                    <a:pt x="4918" y="7219"/>
                  </a:lnTo>
                  <a:lnTo>
                    <a:pt x="4876" y="7261"/>
                  </a:lnTo>
                  <a:lnTo>
                    <a:pt x="4918" y="7324"/>
                  </a:lnTo>
                  <a:lnTo>
                    <a:pt x="5567" y="7365"/>
                  </a:lnTo>
                  <a:lnTo>
                    <a:pt x="5587" y="7449"/>
                  </a:lnTo>
                  <a:lnTo>
                    <a:pt x="5587" y="7533"/>
                  </a:lnTo>
                  <a:lnTo>
                    <a:pt x="5587" y="7617"/>
                  </a:lnTo>
                  <a:lnTo>
                    <a:pt x="5546" y="7721"/>
                  </a:lnTo>
                  <a:lnTo>
                    <a:pt x="5504" y="7826"/>
                  </a:lnTo>
                  <a:lnTo>
                    <a:pt x="5567" y="7889"/>
                  </a:lnTo>
                  <a:lnTo>
                    <a:pt x="5567" y="7972"/>
                  </a:lnTo>
                  <a:lnTo>
                    <a:pt x="5546" y="8035"/>
                  </a:lnTo>
                  <a:lnTo>
                    <a:pt x="5546" y="8056"/>
                  </a:lnTo>
                  <a:lnTo>
                    <a:pt x="5567" y="8140"/>
                  </a:lnTo>
                  <a:lnTo>
                    <a:pt x="5567" y="8349"/>
                  </a:lnTo>
                  <a:lnTo>
                    <a:pt x="5504" y="8453"/>
                  </a:lnTo>
                  <a:lnTo>
                    <a:pt x="5567" y="8495"/>
                  </a:lnTo>
                  <a:lnTo>
                    <a:pt x="5567" y="8579"/>
                  </a:lnTo>
                  <a:lnTo>
                    <a:pt x="5608" y="8621"/>
                  </a:lnTo>
                  <a:lnTo>
                    <a:pt x="5608" y="8705"/>
                  </a:lnTo>
                  <a:lnTo>
                    <a:pt x="5650" y="8725"/>
                  </a:lnTo>
                  <a:lnTo>
                    <a:pt x="5671" y="8788"/>
                  </a:lnTo>
                  <a:lnTo>
                    <a:pt x="5713" y="8809"/>
                  </a:lnTo>
                  <a:lnTo>
                    <a:pt x="5755" y="8872"/>
                  </a:lnTo>
                  <a:lnTo>
                    <a:pt x="5713" y="8935"/>
                  </a:lnTo>
                  <a:lnTo>
                    <a:pt x="5713" y="9018"/>
                  </a:lnTo>
                  <a:lnTo>
                    <a:pt x="5797" y="9081"/>
                  </a:lnTo>
                  <a:lnTo>
                    <a:pt x="5797" y="9144"/>
                  </a:lnTo>
                  <a:lnTo>
                    <a:pt x="5776" y="9186"/>
                  </a:lnTo>
                  <a:lnTo>
                    <a:pt x="5776" y="9311"/>
                  </a:lnTo>
                  <a:lnTo>
                    <a:pt x="5859" y="9353"/>
                  </a:lnTo>
                  <a:lnTo>
                    <a:pt x="5818" y="9437"/>
                  </a:lnTo>
                  <a:lnTo>
                    <a:pt x="5818" y="9458"/>
                  </a:lnTo>
                  <a:lnTo>
                    <a:pt x="5776" y="9500"/>
                  </a:lnTo>
                  <a:lnTo>
                    <a:pt x="5776" y="9625"/>
                  </a:lnTo>
                  <a:lnTo>
                    <a:pt x="5797" y="9646"/>
                  </a:lnTo>
                  <a:lnTo>
                    <a:pt x="5859" y="9646"/>
                  </a:lnTo>
                  <a:lnTo>
                    <a:pt x="5901" y="9625"/>
                  </a:lnTo>
                  <a:lnTo>
                    <a:pt x="5964" y="9604"/>
                  </a:lnTo>
                  <a:lnTo>
                    <a:pt x="5985" y="9562"/>
                  </a:lnTo>
                  <a:lnTo>
                    <a:pt x="6027" y="9562"/>
                  </a:lnTo>
                  <a:lnTo>
                    <a:pt x="6111" y="9625"/>
                  </a:lnTo>
                  <a:lnTo>
                    <a:pt x="6173" y="9646"/>
                  </a:lnTo>
                  <a:lnTo>
                    <a:pt x="6320" y="9646"/>
                  </a:lnTo>
                  <a:lnTo>
                    <a:pt x="6383" y="9667"/>
                  </a:lnTo>
                  <a:lnTo>
                    <a:pt x="6424" y="9646"/>
                  </a:lnTo>
                  <a:lnTo>
                    <a:pt x="6508" y="9625"/>
                  </a:lnTo>
                  <a:lnTo>
                    <a:pt x="6592" y="9562"/>
                  </a:lnTo>
                  <a:lnTo>
                    <a:pt x="6696" y="9541"/>
                  </a:lnTo>
                  <a:lnTo>
                    <a:pt x="6801" y="9541"/>
                  </a:lnTo>
                  <a:lnTo>
                    <a:pt x="6843" y="9604"/>
                  </a:lnTo>
                  <a:lnTo>
                    <a:pt x="6906" y="9562"/>
                  </a:lnTo>
                  <a:lnTo>
                    <a:pt x="7010" y="9625"/>
                  </a:lnTo>
                  <a:lnTo>
                    <a:pt x="7031" y="9646"/>
                  </a:lnTo>
                  <a:lnTo>
                    <a:pt x="7031" y="9751"/>
                  </a:lnTo>
                  <a:lnTo>
                    <a:pt x="7052" y="9772"/>
                  </a:lnTo>
                  <a:lnTo>
                    <a:pt x="7073" y="9814"/>
                  </a:lnTo>
                  <a:lnTo>
                    <a:pt x="7157" y="9751"/>
                  </a:lnTo>
                  <a:lnTo>
                    <a:pt x="7240" y="9709"/>
                  </a:lnTo>
                  <a:lnTo>
                    <a:pt x="7324" y="9709"/>
                  </a:lnTo>
                  <a:lnTo>
                    <a:pt x="7345" y="9667"/>
                  </a:lnTo>
                  <a:lnTo>
                    <a:pt x="7491" y="9625"/>
                  </a:lnTo>
                  <a:lnTo>
                    <a:pt x="7554" y="9625"/>
                  </a:lnTo>
                  <a:lnTo>
                    <a:pt x="7554" y="9751"/>
                  </a:lnTo>
                  <a:lnTo>
                    <a:pt x="7575" y="9814"/>
                  </a:lnTo>
                  <a:lnTo>
                    <a:pt x="7575" y="9876"/>
                  </a:lnTo>
                  <a:lnTo>
                    <a:pt x="7575" y="9939"/>
                  </a:lnTo>
                  <a:lnTo>
                    <a:pt x="7638" y="9939"/>
                  </a:lnTo>
                  <a:lnTo>
                    <a:pt x="7743" y="9981"/>
                  </a:lnTo>
                  <a:lnTo>
                    <a:pt x="7784" y="9981"/>
                  </a:lnTo>
                  <a:lnTo>
                    <a:pt x="7910" y="10065"/>
                  </a:lnTo>
                  <a:lnTo>
                    <a:pt x="8056" y="10086"/>
                  </a:lnTo>
                  <a:lnTo>
                    <a:pt x="8182" y="10127"/>
                  </a:lnTo>
                  <a:lnTo>
                    <a:pt x="8182" y="10148"/>
                  </a:lnTo>
                  <a:lnTo>
                    <a:pt x="8287" y="10148"/>
                  </a:lnTo>
                  <a:lnTo>
                    <a:pt x="8433" y="10086"/>
                  </a:lnTo>
                  <a:lnTo>
                    <a:pt x="8475" y="10044"/>
                  </a:lnTo>
                  <a:lnTo>
                    <a:pt x="8517" y="9876"/>
                  </a:lnTo>
                  <a:lnTo>
                    <a:pt x="8600" y="9876"/>
                  </a:lnTo>
                  <a:lnTo>
                    <a:pt x="8642" y="9855"/>
                  </a:lnTo>
                  <a:lnTo>
                    <a:pt x="8684" y="9855"/>
                  </a:lnTo>
                  <a:lnTo>
                    <a:pt x="8684" y="10023"/>
                  </a:lnTo>
                  <a:lnTo>
                    <a:pt x="8789" y="10127"/>
                  </a:lnTo>
                  <a:lnTo>
                    <a:pt x="8789" y="10190"/>
                  </a:lnTo>
                  <a:lnTo>
                    <a:pt x="8935" y="10274"/>
                  </a:lnTo>
                  <a:lnTo>
                    <a:pt x="9144" y="10337"/>
                  </a:lnTo>
                  <a:lnTo>
                    <a:pt x="9270" y="10441"/>
                  </a:lnTo>
                  <a:lnTo>
                    <a:pt x="9375" y="10588"/>
                  </a:lnTo>
                  <a:lnTo>
                    <a:pt x="9479" y="10671"/>
                  </a:lnTo>
                  <a:lnTo>
                    <a:pt x="9584" y="10797"/>
                  </a:lnTo>
                  <a:lnTo>
                    <a:pt x="9730" y="10922"/>
                  </a:lnTo>
                  <a:lnTo>
                    <a:pt x="9793" y="10922"/>
                  </a:lnTo>
                  <a:lnTo>
                    <a:pt x="9898" y="10902"/>
                  </a:lnTo>
                  <a:lnTo>
                    <a:pt x="9981" y="10860"/>
                  </a:lnTo>
                  <a:lnTo>
                    <a:pt x="10002" y="10881"/>
                  </a:lnTo>
                  <a:lnTo>
                    <a:pt x="10044" y="10902"/>
                  </a:lnTo>
                  <a:lnTo>
                    <a:pt x="10107" y="10922"/>
                  </a:lnTo>
                  <a:lnTo>
                    <a:pt x="10170" y="10881"/>
                  </a:lnTo>
                  <a:lnTo>
                    <a:pt x="10107" y="10253"/>
                  </a:lnTo>
                  <a:lnTo>
                    <a:pt x="10065" y="10232"/>
                  </a:lnTo>
                  <a:lnTo>
                    <a:pt x="9940" y="10253"/>
                  </a:lnTo>
                  <a:lnTo>
                    <a:pt x="9940" y="10337"/>
                  </a:lnTo>
                  <a:lnTo>
                    <a:pt x="9981" y="10378"/>
                  </a:lnTo>
                  <a:lnTo>
                    <a:pt x="9688" y="10378"/>
                  </a:lnTo>
                  <a:lnTo>
                    <a:pt x="9647" y="10295"/>
                  </a:lnTo>
                  <a:lnTo>
                    <a:pt x="9626" y="10232"/>
                  </a:lnTo>
                  <a:lnTo>
                    <a:pt x="9458" y="10065"/>
                  </a:lnTo>
                  <a:lnTo>
                    <a:pt x="9375" y="9981"/>
                  </a:lnTo>
                  <a:lnTo>
                    <a:pt x="9375" y="9855"/>
                  </a:lnTo>
                  <a:lnTo>
                    <a:pt x="9375" y="9521"/>
                  </a:lnTo>
                  <a:lnTo>
                    <a:pt x="9375" y="9437"/>
                  </a:lnTo>
                  <a:lnTo>
                    <a:pt x="9479" y="9332"/>
                  </a:lnTo>
                  <a:lnTo>
                    <a:pt x="9542" y="9290"/>
                  </a:lnTo>
                  <a:lnTo>
                    <a:pt x="9521" y="9249"/>
                  </a:lnTo>
                  <a:lnTo>
                    <a:pt x="9563" y="9228"/>
                  </a:lnTo>
                  <a:lnTo>
                    <a:pt x="9563" y="9102"/>
                  </a:lnTo>
                  <a:lnTo>
                    <a:pt x="9563" y="9018"/>
                  </a:lnTo>
                  <a:lnTo>
                    <a:pt x="9563" y="8935"/>
                  </a:lnTo>
                  <a:lnTo>
                    <a:pt x="9563" y="8872"/>
                  </a:lnTo>
                  <a:lnTo>
                    <a:pt x="9584" y="8809"/>
                  </a:lnTo>
                  <a:lnTo>
                    <a:pt x="9626" y="8767"/>
                  </a:lnTo>
                  <a:lnTo>
                    <a:pt x="9542" y="8725"/>
                  </a:lnTo>
                  <a:lnTo>
                    <a:pt x="9479" y="8663"/>
                  </a:lnTo>
                  <a:lnTo>
                    <a:pt x="9458" y="8558"/>
                  </a:lnTo>
                  <a:lnTo>
                    <a:pt x="9688" y="8077"/>
                  </a:lnTo>
                  <a:lnTo>
                    <a:pt x="10630" y="7868"/>
                  </a:lnTo>
                  <a:lnTo>
                    <a:pt x="10714" y="7889"/>
                  </a:lnTo>
                  <a:lnTo>
                    <a:pt x="10588" y="7449"/>
                  </a:lnTo>
                  <a:lnTo>
                    <a:pt x="10170" y="6884"/>
                  </a:lnTo>
                  <a:lnTo>
                    <a:pt x="10044" y="6194"/>
                  </a:lnTo>
                  <a:lnTo>
                    <a:pt x="9960" y="5733"/>
                  </a:lnTo>
                  <a:lnTo>
                    <a:pt x="9856" y="5043"/>
                  </a:lnTo>
                  <a:lnTo>
                    <a:pt x="9856" y="4896"/>
                  </a:lnTo>
                  <a:lnTo>
                    <a:pt x="9835" y="4750"/>
                  </a:lnTo>
                  <a:lnTo>
                    <a:pt x="9772" y="4645"/>
                  </a:lnTo>
                  <a:lnTo>
                    <a:pt x="9772" y="4583"/>
                  </a:lnTo>
                  <a:lnTo>
                    <a:pt x="9772" y="4499"/>
                  </a:lnTo>
                  <a:lnTo>
                    <a:pt x="9877" y="4122"/>
                  </a:lnTo>
                  <a:lnTo>
                    <a:pt x="9981" y="3997"/>
                  </a:lnTo>
                  <a:lnTo>
                    <a:pt x="10107" y="3892"/>
                  </a:lnTo>
                  <a:lnTo>
                    <a:pt x="10149" y="3871"/>
                  </a:lnTo>
                  <a:lnTo>
                    <a:pt x="10107" y="3746"/>
                  </a:lnTo>
                  <a:lnTo>
                    <a:pt x="10191" y="3536"/>
                  </a:lnTo>
                  <a:lnTo>
                    <a:pt x="10212" y="3327"/>
                  </a:lnTo>
                  <a:lnTo>
                    <a:pt x="10212" y="3160"/>
                  </a:lnTo>
                  <a:lnTo>
                    <a:pt x="10253" y="3118"/>
                  </a:lnTo>
                  <a:lnTo>
                    <a:pt x="10484" y="2699"/>
                  </a:lnTo>
                  <a:lnTo>
                    <a:pt x="10525" y="2616"/>
                  </a:lnTo>
                  <a:lnTo>
                    <a:pt x="10714" y="2407"/>
                  </a:lnTo>
                  <a:lnTo>
                    <a:pt x="11007" y="2009"/>
                  </a:lnTo>
                  <a:lnTo>
                    <a:pt x="11028" y="1925"/>
                  </a:lnTo>
                  <a:lnTo>
                    <a:pt x="10986" y="1863"/>
                  </a:lnTo>
                  <a:lnTo>
                    <a:pt x="10923" y="1779"/>
                  </a:lnTo>
                  <a:lnTo>
                    <a:pt x="10839" y="1716"/>
                  </a:lnTo>
                  <a:lnTo>
                    <a:pt x="10881" y="1591"/>
                  </a:lnTo>
                  <a:lnTo>
                    <a:pt x="10902" y="1381"/>
                  </a:lnTo>
                  <a:lnTo>
                    <a:pt x="10902" y="1235"/>
                  </a:lnTo>
                  <a:lnTo>
                    <a:pt x="10944" y="1151"/>
                  </a:lnTo>
                  <a:lnTo>
                    <a:pt x="10986" y="1047"/>
                  </a:lnTo>
                  <a:lnTo>
                    <a:pt x="10944" y="1026"/>
                  </a:lnTo>
                  <a:lnTo>
                    <a:pt x="10776" y="1026"/>
                  </a:lnTo>
                  <a:lnTo>
                    <a:pt x="10776" y="942"/>
                  </a:lnTo>
                  <a:lnTo>
                    <a:pt x="10735" y="858"/>
                  </a:lnTo>
                  <a:lnTo>
                    <a:pt x="10693" y="837"/>
                  </a:lnTo>
                  <a:lnTo>
                    <a:pt x="10672" y="733"/>
                  </a:lnTo>
                  <a:lnTo>
                    <a:pt x="10588" y="670"/>
                  </a:lnTo>
                  <a:lnTo>
                    <a:pt x="10463" y="628"/>
                  </a:lnTo>
                  <a:lnTo>
                    <a:pt x="10400" y="565"/>
                  </a:lnTo>
                  <a:lnTo>
                    <a:pt x="10358" y="502"/>
                  </a:lnTo>
                  <a:lnTo>
                    <a:pt x="10274" y="335"/>
                  </a:lnTo>
                  <a:lnTo>
                    <a:pt x="10212" y="314"/>
                  </a:lnTo>
                  <a:lnTo>
                    <a:pt x="10086" y="314"/>
                  </a:lnTo>
                  <a:lnTo>
                    <a:pt x="10044" y="398"/>
                  </a:lnTo>
                  <a:lnTo>
                    <a:pt x="9981" y="440"/>
                  </a:lnTo>
                  <a:lnTo>
                    <a:pt x="9877" y="502"/>
                  </a:lnTo>
                  <a:lnTo>
                    <a:pt x="9835" y="502"/>
                  </a:lnTo>
                  <a:lnTo>
                    <a:pt x="9793" y="440"/>
                  </a:lnTo>
                  <a:lnTo>
                    <a:pt x="9584" y="440"/>
                  </a:lnTo>
                  <a:lnTo>
                    <a:pt x="9521" y="502"/>
                  </a:lnTo>
                  <a:lnTo>
                    <a:pt x="9479" y="544"/>
                  </a:lnTo>
                  <a:lnTo>
                    <a:pt x="9416" y="565"/>
                  </a:lnTo>
                  <a:lnTo>
                    <a:pt x="9312" y="523"/>
                  </a:lnTo>
                  <a:lnTo>
                    <a:pt x="9165" y="440"/>
                  </a:lnTo>
                  <a:lnTo>
                    <a:pt x="9124" y="356"/>
                  </a:lnTo>
                  <a:lnTo>
                    <a:pt x="9040" y="335"/>
                  </a:lnTo>
                  <a:lnTo>
                    <a:pt x="8998" y="293"/>
                  </a:lnTo>
                  <a:lnTo>
                    <a:pt x="8956" y="189"/>
                  </a:lnTo>
                  <a:lnTo>
                    <a:pt x="8935" y="147"/>
                  </a:lnTo>
                  <a:lnTo>
                    <a:pt x="8831" y="105"/>
                  </a:lnTo>
                  <a:lnTo>
                    <a:pt x="8705" y="105"/>
                  </a:lnTo>
                  <a:lnTo>
                    <a:pt x="8517" y="189"/>
                  </a:lnTo>
                  <a:lnTo>
                    <a:pt x="8496" y="147"/>
                  </a:lnTo>
                  <a:lnTo>
                    <a:pt x="8266" y="147"/>
                  </a:lnTo>
                  <a:lnTo>
                    <a:pt x="8182" y="105"/>
                  </a:lnTo>
                  <a:lnTo>
                    <a:pt x="8098" y="84"/>
                  </a:lnTo>
                  <a:lnTo>
                    <a:pt x="8056" y="42"/>
                  </a:lnTo>
                  <a:lnTo>
                    <a:pt x="7868" y="42"/>
                  </a:lnTo>
                  <a:lnTo>
                    <a:pt x="7784"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A6CBC2"/>
                </a:solidFill>
                <a:latin typeface="Arial"/>
                <a:cs typeface="Arial"/>
                <a:sym typeface="Arial"/>
              </a:endParaRPr>
            </a:p>
          </p:txBody>
        </p:sp>
        <p:sp>
          <p:nvSpPr>
            <p:cNvPr id="2145" name="Google Shape;2145;p66"/>
            <p:cNvSpPr/>
            <p:nvPr/>
          </p:nvSpPr>
          <p:spPr>
            <a:xfrm>
              <a:off x="3970326" y="3207451"/>
              <a:ext cx="21934" cy="52837"/>
            </a:xfrm>
            <a:custGeom>
              <a:avLst/>
              <a:gdLst/>
              <a:ahLst/>
              <a:cxnLst/>
              <a:rect l="l" t="t" r="r" b="b"/>
              <a:pathLst>
                <a:path w="1842" h="4646" extrusionOk="0">
                  <a:moveTo>
                    <a:pt x="210" y="0"/>
                  </a:moveTo>
                  <a:lnTo>
                    <a:pt x="189" y="21"/>
                  </a:lnTo>
                  <a:lnTo>
                    <a:pt x="210" y="105"/>
                  </a:lnTo>
                  <a:lnTo>
                    <a:pt x="231" y="126"/>
                  </a:lnTo>
                  <a:lnTo>
                    <a:pt x="273" y="209"/>
                  </a:lnTo>
                  <a:lnTo>
                    <a:pt x="377" y="251"/>
                  </a:lnTo>
                  <a:lnTo>
                    <a:pt x="419" y="272"/>
                  </a:lnTo>
                  <a:lnTo>
                    <a:pt x="419" y="314"/>
                  </a:lnTo>
                  <a:lnTo>
                    <a:pt x="377" y="460"/>
                  </a:lnTo>
                  <a:lnTo>
                    <a:pt x="377" y="523"/>
                  </a:lnTo>
                  <a:lnTo>
                    <a:pt x="482" y="586"/>
                  </a:lnTo>
                  <a:lnTo>
                    <a:pt x="503" y="670"/>
                  </a:lnTo>
                  <a:lnTo>
                    <a:pt x="503" y="795"/>
                  </a:lnTo>
                  <a:lnTo>
                    <a:pt x="482" y="837"/>
                  </a:lnTo>
                  <a:lnTo>
                    <a:pt x="482" y="879"/>
                  </a:lnTo>
                  <a:lnTo>
                    <a:pt x="335" y="1004"/>
                  </a:lnTo>
                  <a:lnTo>
                    <a:pt x="335" y="1088"/>
                  </a:lnTo>
                  <a:lnTo>
                    <a:pt x="377" y="1193"/>
                  </a:lnTo>
                  <a:lnTo>
                    <a:pt x="377" y="1276"/>
                  </a:lnTo>
                  <a:lnTo>
                    <a:pt x="398" y="1360"/>
                  </a:lnTo>
                  <a:lnTo>
                    <a:pt x="335" y="1423"/>
                  </a:lnTo>
                  <a:lnTo>
                    <a:pt x="398" y="1507"/>
                  </a:lnTo>
                  <a:lnTo>
                    <a:pt x="398" y="1590"/>
                  </a:lnTo>
                  <a:lnTo>
                    <a:pt x="335" y="1611"/>
                  </a:lnTo>
                  <a:lnTo>
                    <a:pt x="377" y="1695"/>
                  </a:lnTo>
                  <a:lnTo>
                    <a:pt x="398" y="1737"/>
                  </a:lnTo>
                  <a:lnTo>
                    <a:pt x="440" y="1779"/>
                  </a:lnTo>
                  <a:lnTo>
                    <a:pt x="440" y="1820"/>
                  </a:lnTo>
                  <a:lnTo>
                    <a:pt x="398" y="1820"/>
                  </a:lnTo>
                  <a:lnTo>
                    <a:pt x="377" y="1904"/>
                  </a:lnTo>
                  <a:lnTo>
                    <a:pt x="293" y="1925"/>
                  </a:lnTo>
                  <a:lnTo>
                    <a:pt x="168" y="2030"/>
                  </a:lnTo>
                  <a:lnTo>
                    <a:pt x="126" y="2051"/>
                  </a:lnTo>
                  <a:lnTo>
                    <a:pt x="126" y="2134"/>
                  </a:lnTo>
                  <a:lnTo>
                    <a:pt x="168" y="2197"/>
                  </a:lnTo>
                  <a:lnTo>
                    <a:pt x="126" y="2260"/>
                  </a:lnTo>
                  <a:lnTo>
                    <a:pt x="126" y="2344"/>
                  </a:lnTo>
                  <a:lnTo>
                    <a:pt x="63" y="2448"/>
                  </a:lnTo>
                  <a:lnTo>
                    <a:pt x="1" y="2469"/>
                  </a:lnTo>
                  <a:lnTo>
                    <a:pt x="1" y="2532"/>
                  </a:lnTo>
                  <a:lnTo>
                    <a:pt x="84" y="2636"/>
                  </a:lnTo>
                  <a:lnTo>
                    <a:pt x="126" y="2741"/>
                  </a:lnTo>
                  <a:lnTo>
                    <a:pt x="168" y="2783"/>
                  </a:lnTo>
                  <a:lnTo>
                    <a:pt x="314" y="2762"/>
                  </a:lnTo>
                  <a:lnTo>
                    <a:pt x="335" y="2825"/>
                  </a:lnTo>
                  <a:lnTo>
                    <a:pt x="377" y="2867"/>
                  </a:lnTo>
                  <a:lnTo>
                    <a:pt x="419" y="2929"/>
                  </a:lnTo>
                  <a:lnTo>
                    <a:pt x="419" y="2992"/>
                  </a:lnTo>
                  <a:lnTo>
                    <a:pt x="524" y="3055"/>
                  </a:lnTo>
                  <a:lnTo>
                    <a:pt x="586" y="3034"/>
                  </a:lnTo>
                  <a:lnTo>
                    <a:pt x="628" y="3034"/>
                  </a:lnTo>
                  <a:lnTo>
                    <a:pt x="691" y="2971"/>
                  </a:lnTo>
                  <a:lnTo>
                    <a:pt x="817" y="2971"/>
                  </a:lnTo>
                  <a:lnTo>
                    <a:pt x="963" y="2992"/>
                  </a:lnTo>
                  <a:lnTo>
                    <a:pt x="1026" y="3097"/>
                  </a:lnTo>
                  <a:lnTo>
                    <a:pt x="1026" y="3264"/>
                  </a:lnTo>
                  <a:lnTo>
                    <a:pt x="1005" y="3390"/>
                  </a:lnTo>
                  <a:lnTo>
                    <a:pt x="900" y="3515"/>
                  </a:lnTo>
                  <a:lnTo>
                    <a:pt x="837" y="3662"/>
                  </a:lnTo>
                  <a:lnTo>
                    <a:pt x="796" y="3766"/>
                  </a:lnTo>
                  <a:lnTo>
                    <a:pt x="796" y="3871"/>
                  </a:lnTo>
                  <a:lnTo>
                    <a:pt x="837" y="3996"/>
                  </a:lnTo>
                  <a:lnTo>
                    <a:pt x="837" y="4080"/>
                  </a:lnTo>
                  <a:lnTo>
                    <a:pt x="942" y="4206"/>
                  </a:lnTo>
                  <a:lnTo>
                    <a:pt x="1047" y="4289"/>
                  </a:lnTo>
                  <a:lnTo>
                    <a:pt x="1130" y="4331"/>
                  </a:lnTo>
                  <a:lnTo>
                    <a:pt x="1172" y="4394"/>
                  </a:lnTo>
                  <a:lnTo>
                    <a:pt x="1256" y="4499"/>
                  </a:lnTo>
                  <a:lnTo>
                    <a:pt x="1235" y="4541"/>
                  </a:lnTo>
                  <a:lnTo>
                    <a:pt x="1256" y="4645"/>
                  </a:lnTo>
                  <a:lnTo>
                    <a:pt x="1361" y="4624"/>
                  </a:lnTo>
                  <a:lnTo>
                    <a:pt x="1381" y="4499"/>
                  </a:lnTo>
                  <a:lnTo>
                    <a:pt x="1361" y="4352"/>
                  </a:lnTo>
                  <a:lnTo>
                    <a:pt x="1423" y="4248"/>
                  </a:lnTo>
                  <a:lnTo>
                    <a:pt x="1423" y="4143"/>
                  </a:lnTo>
                  <a:lnTo>
                    <a:pt x="1486" y="3996"/>
                  </a:lnTo>
                  <a:lnTo>
                    <a:pt x="1591" y="3976"/>
                  </a:lnTo>
                  <a:lnTo>
                    <a:pt x="1674" y="3913"/>
                  </a:lnTo>
                  <a:lnTo>
                    <a:pt x="1695" y="3808"/>
                  </a:lnTo>
                  <a:lnTo>
                    <a:pt x="1737" y="3599"/>
                  </a:lnTo>
                  <a:lnTo>
                    <a:pt x="1653" y="3515"/>
                  </a:lnTo>
                  <a:lnTo>
                    <a:pt x="1674" y="3473"/>
                  </a:lnTo>
                  <a:lnTo>
                    <a:pt x="1653" y="3452"/>
                  </a:lnTo>
                  <a:lnTo>
                    <a:pt x="1674" y="3390"/>
                  </a:lnTo>
                  <a:lnTo>
                    <a:pt x="1737" y="3390"/>
                  </a:lnTo>
                  <a:lnTo>
                    <a:pt x="1758" y="3306"/>
                  </a:lnTo>
                  <a:lnTo>
                    <a:pt x="1842" y="3306"/>
                  </a:lnTo>
                  <a:lnTo>
                    <a:pt x="1842" y="3243"/>
                  </a:lnTo>
                  <a:lnTo>
                    <a:pt x="1779" y="3160"/>
                  </a:lnTo>
                  <a:lnTo>
                    <a:pt x="1737" y="3034"/>
                  </a:lnTo>
                  <a:lnTo>
                    <a:pt x="1591" y="2846"/>
                  </a:lnTo>
                  <a:lnTo>
                    <a:pt x="1570" y="2741"/>
                  </a:lnTo>
                  <a:lnTo>
                    <a:pt x="1361" y="2553"/>
                  </a:lnTo>
                  <a:lnTo>
                    <a:pt x="1319" y="2532"/>
                  </a:lnTo>
                  <a:lnTo>
                    <a:pt x="1277" y="2469"/>
                  </a:lnTo>
                  <a:lnTo>
                    <a:pt x="1172" y="2406"/>
                  </a:lnTo>
                  <a:lnTo>
                    <a:pt x="1005" y="2323"/>
                  </a:lnTo>
                  <a:lnTo>
                    <a:pt x="921" y="1779"/>
                  </a:lnTo>
                  <a:lnTo>
                    <a:pt x="942" y="1674"/>
                  </a:lnTo>
                  <a:lnTo>
                    <a:pt x="942" y="691"/>
                  </a:lnTo>
                  <a:lnTo>
                    <a:pt x="921" y="481"/>
                  </a:lnTo>
                  <a:lnTo>
                    <a:pt x="733" y="272"/>
                  </a:lnTo>
                  <a:lnTo>
                    <a:pt x="649" y="209"/>
                  </a:lnTo>
                  <a:lnTo>
                    <a:pt x="607" y="167"/>
                  </a:lnTo>
                  <a:lnTo>
                    <a:pt x="586" y="126"/>
                  </a:lnTo>
                  <a:lnTo>
                    <a:pt x="524" y="126"/>
                  </a:lnTo>
                  <a:lnTo>
                    <a:pt x="503" y="105"/>
                  </a:lnTo>
                  <a:lnTo>
                    <a:pt x="419" y="63"/>
                  </a:lnTo>
                  <a:lnTo>
                    <a:pt x="398" y="105"/>
                  </a:lnTo>
                  <a:lnTo>
                    <a:pt x="377" y="63"/>
                  </a:lnTo>
                  <a:lnTo>
                    <a:pt x="293" y="63"/>
                  </a:lnTo>
                  <a:lnTo>
                    <a:pt x="27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6" name="Google Shape;2146;p66"/>
            <p:cNvSpPr/>
            <p:nvPr/>
          </p:nvSpPr>
          <p:spPr>
            <a:xfrm>
              <a:off x="3895082" y="3199593"/>
              <a:ext cx="81233" cy="66165"/>
            </a:xfrm>
            <a:custGeom>
              <a:avLst/>
              <a:gdLst/>
              <a:ahLst/>
              <a:cxnLst/>
              <a:rect l="l" t="t" r="r" b="b"/>
              <a:pathLst>
                <a:path w="6822" h="5818" extrusionOk="0">
                  <a:moveTo>
                    <a:pt x="5085" y="1"/>
                  </a:moveTo>
                  <a:lnTo>
                    <a:pt x="4143" y="210"/>
                  </a:lnTo>
                  <a:lnTo>
                    <a:pt x="3913" y="691"/>
                  </a:lnTo>
                  <a:lnTo>
                    <a:pt x="3934" y="796"/>
                  </a:lnTo>
                  <a:lnTo>
                    <a:pt x="3997" y="858"/>
                  </a:lnTo>
                  <a:lnTo>
                    <a:pt x="4081" y="900"/>
                  </a:lnTo>
                  <a:lnTo>
                    <a:pt x="4039" y="942"/>
                  </a:lnTo>
                  <a:lnTo>
                    <a:pt x="4018" y="1005"/>
                  </a:lnTo>
                  <a:lnTo>
                    <a:pt x="4018" y="1068"/>
                  </a:lnTo>
                  <a:lnTo>
                    <a:pt x="4018" y="1151"/>
                  </a:lnTo>
                  <a:lnTo>
                    <a:pt x="4018" y="1235"/>
                  </a:lnTo>
                  <a:lnTo>
                    <a:pt x="4018" y="1361"/>
                  </a:lnTo>
                  <a:lnTo>
                    <a:pt x="3976" y="1382"/>
                  </a:lnTo>
                  <a:lnTo>
                    <a:pt x="3997" y="1423"/>
                  </a:lnTo>
                  <a:lnTo>
                    <a:pt x="3934" y="1465"/>
                  </a:lnTo>
                  <a:lnTo>
                    <a:pt x="3830" y="1570"/>
                  </a:lnTo>
                  <a:lnTo>
                    <a:pt x="3830" y="1654"/>
                  </a:lnTo>
                  <a:lnTo>
                    <a:pt x="3830" y="1988"/>
                  </a:lnTo>
                  <a:lnTo>
                    <a:pt x="3830" y="2114"/>
                  </a:lnTo>
                  <a:lnTo>
                    <a:pt x="3913" y="2198"/>
                  </a:lnTo>
                  <a:lnTo>
                    <a:pt x="4081" y="2365"/>
                  </a:lnTo>
                  <a:lnTo>
                    <a:pt x="4102" y="2428"/>
                  </a:lnTo>
                  <a:lnTo>
                    <a:pt x="4143" y="2511"/>
                  </a:lnTo>
                  <a:lnTo>
                    <a:pt x="4436" y="2511"/>
                  </a:lnTo>
                  <a:lnTo>
                    <a:pt x="4395" y="2470"/>
                  </a:lnTo>
                  <a:lnTo>
                    <a:pt x="4395" y="2386"/>
                  </a:lnTo>
                  <a:lnTo>
                    <a:pt x="4520" y="2365"/>
                  </a:lnTo>
                  <a:lnTo>
                    <a:pt x="4562" y="2386"/>
                  </a:lnTo>
                  <a:lnTo>
                    <a:pt x="4625" y="3014"/>
                  </a:lnTo>
                  <a:lnTo>
                    <a:pt x="4562" y="3055"/>
                  </a:lnTo>
                  <a:lnTo>
                    <a:pt x="4499" y="3035"/>
                  </a:lnTo>
                  <a:lnTo>
                    <a:pt x="4457" y="3014"/>
                  </a:lnTo>
                  <a:lnTo>
                    <a:pt x="4436" y="2993"/>
                  </a:lnTo>
                  <a:lnTo>
                    <a:pt x="4353" y="3035"/>
                  </a:lnTo>
                  <a:lnTo>
                    <a:pt x="4248" y="3055"/>
                  </a:lnTo>
                  <a:lnTo>
                    <a:pt x="4185" y="3055"/>
                  </a:lnTo>
                  <a:lnTo>
                    <a:pt x="4039" y="2930"/>
                  </a:lnTo>
                  <a:lnTo>
                    <a:pt x="3934" y="2804"/>
                  </a:lnTo>
                  <a:lnTo>
                    <a:pt x="3830" y="2721"/>
                  </a:lnTo>
                  <a:lnTo>
                    <a:pt x="3725" y="2574"/>
                  </a:lnTo>
                  <a:lnTo>
                    <a:pt x="3599" y="2470"/>
                  </a:lnTo>
                  <a:lnTo>
                    <a:pt x="3390" y="2407"/>
                  </a:lnTo>
                  <a:lnTo>
                    <a:pt x="3244" y="2323"/>
                  </a:lnTo>
                  <a:lnTo>
                    <a:pt x="3244" y="2260"/>
                  </a:lnTo>
                  <a:lnTo>
                    <a:pt x="3139" y="2156"/>
                  </a:lnTo>
                  <a:lnTo>
                    <a:pt x="3139" y="1988"/>
                  </a:lnTo>
                  <a:lnTo>
                    <a:pt x="3097" y="1988"/>
                  </a:lnTo>
                  <a:lnTo>
                    <a:pt x="3055" y="2009"/>
                  </a:lnTo>
                  <a:lnTo>
                    <a:pt x="2972" y="2009"/>
                  </a:lnTo>
                  <a:lnTo>
                    <a:pt x="2930" y="2177"/>
                  </a:lnTo>
                  <a:lnTo>
                    <a:pt x="2888" y="2219"/>
                  </a:lnTo>
                  <a:lnTo>
                    <a:pt x="2742" y="2281"/>
                  </a:lnTo>
                  <a:lnTo>
                    <a:pt x="2637" y="2281"/>
                  </a:lnTo>
                  <a:lnTo>
                    <a:pt x="2637" y="2260"/>
                  </a:lnTo>
                  <a:lnTo>
                    <a:pt x="2511" y="2219"/>
                  </a:lnTo>
                  <a:lnTo>
                    <a:pt x="2365" y="2198"/>
                  </a:lnTo>
                  <a:lnTo>
                    <a:pt x="2239" y="2114"/>
                  </a:lnTo>
                  <a:lnTo>
                    <a:pt x="2198" y="2114"/>
                  </a:lnTo>
                  <a:lnTo>
                    <a:pt x="2093" y="2072"/>
                  </a:lnTo>
                  <a:lnTo>
                    <a:pt x="2030" y="2072"/>
                  </a:lnTo>
                  <a:lnTo>
                    <a:pt x="2030" y="2009"/>
                  </a:lnTo>
                  <a:lnTo>
                    <a:pt x="2030" y="1947"/>
                  </a:lnTo>
                  <a:lnTo>
                    <a:pt x="2009" y="1884"/>
                  </a:lnTo>
                  <a:lnTo>
                    <a:pt x="2009" y="1758"/>
                  </a:lnTo>
                  <a:lnTo>
                    <a:pt x="1946" y="1758"/>
                  </a:lnTo>
                  <a:lnTo>
                    <a:pt x="1800" y="1800"/>
                  </a:lnTo>
                  <a:lnTo>
                    <a:pt x="1779" y="1842"/>
                  </a:lnTo>
                  <a:lnTo>
                    <a:pt x="1695" y="1842"/>
                  </a:lnTo>
                  <a:lnTo>
                    <a:pt x="1612" y="1884"/>
                  </a:lnTo>
                  <a:lnTo>
                    <a:pt x="1528" y="1947"/>
                  </a:lnTo>
                  <a:lnTo>
                    <a:pt x="1507" y="1905"/>
                  </a:lnTo>
                  <a:lnTo>
                    <a:pt x="1486" y="1884"/>
                  </a:lnTo>
                  <a:lnTo>
                    <a:pt x="1486" y="1779"/>
                  </a:lnTo>
                  <a:lnTo>
                    <a:pt x="1465" y="1758"/>
                  </a:lnTo>
                  <a:lnTo>
                    <a:pt x="1361" y="1695"/>
                  </a:lnTo>
                  <a:lnTo>
                    <a:pt x="1298" y="1737"/>
                  </a:lnTo>
                  <a:lnTo>
                    <a:pt x="1256" y="1674"/>
                  </a:lnTo>
                  <a:lnTo>
                    <a:pt x="1256" y="1695"/>
                  </a:lnTo>
                  <a:lnTo>
                    <a:pt x="1256" y="1758"/>
                  </a:lnTo>
                  <a:lnTo>
                    <a:pt x="1214" y="1779"/>
                  </a:lnTo>
                  <a:lnTo>
                    <a:pt x="1256" y="2009"/>
                  </a:lnTo>
                  <a:lnTo>
                    <a:pt x="1256" y="2219"/>
                  </a:lnTo>
                  <a:lnTo>
                    <a:pt x="1256" y="2365"/>
                  </a:lnTo>
                  <a:lnTo>
                    <a:pt x="1298" y="2470"/>
                  </a:lnTo>
                  <a:lnTo>
                    <a:pt x="1298" y="2574"/>
                  </a:lnTo>
                  <a:lnTo>
                    <a:pt x="1277" y="2616"/>
                  </a:lnTo>
                  <a:lnTo>
                    <a:pt x="1256" y="2783"/>
                  </a:lnTo>
                  <a:lnTo>
                    <a:pt x="1277" y="2825"/>
                  </a:lnTo>
                  <a:lnTo>
                    <a:pt x="42" y="2825"/>
                  </a:lnTo>
                  <a:lnTo>
                    <a:pt x="1" y="4771"/>
                  </a:lnTo>
                  <a:lnTo>
                    <a:pt x="22" y="4813"/>
                  </a:lnTo>
                  <a:lnTo>
                    <a:pt x="105" y="4918"/>
                  </a:lnTo>
                  <a:lnTo>
                    <a:pt x="168" y="4980"/>
                  </a:lnTo>
                  <a:lnTo>
                    <a:pt x="231" y="5043"/>
                  </a:lnTo>
                  <a:lnTo>
                    <a:pt x="314" y="5085"/>
                  </a:lnTo>
                  <a:lnTo>
                    <a:pt x="419" y="5232"/>
                  </a:lnTo>
                  <a:lnTo>
                    <a:pt x="482" y="5294"/>
                  </a:lnTo>
                  <a:lnTo>
                    <a:pt x="566" y="5336"/>
                  </a:lnTo>
                  <a:lnTo>
                    <a:pt x="628" y="5399"/>
                  </a:lnTo>
                  <a:lnTo>
                    <a:pt x="670" y="5462"/>
                  </a:lnTo>
                  <a:lnTo>
                    <a:pt x="754" y="5504"/>
                  </a:lnTo>
                  <a:lnTo>
                    <a:pt x="775" y="5608"/>
                  </a:lnTo>
                  <a:lnTo>
                    <a:pt x="1319" y="5462"/>
                  </a:lnTo>
                  <a:lnTo>
                    <a:pt x="1402" y="5504"/>
                  </a:lnTo>
                  <a:lnTo>
                    <a:pt x="1528" y="5441"/>
                  </a:lnTo>
                  <a:lnTo>
                    <a:pt x="1570" y="5462"/>
                  </a:lnTo>
                  <a:lnTo>
                    <a:pt x="1591" y="5462"/>
                  </a:lnTo>
                  <a:lnTo>
                    <a:pt x="1612" y="5504"/>
                  </a:lnTo>
                  <a:lnTo>
                    <a:pt x="1695" y="5504"/>
                  </a:lnTo>
                  <a:lnTo>
                    <a:pt x="1716" y="5524"/>
                  </a:lnTo>
                  <a:lnTo>
                    <a:pt x="1737" y="5524"/>
                  </a:lnTo>
                  <a:lnTo>
                    <a:pt x="1821" y="5629"/>
                  </a:lnTo>
                  <a:lnTo>
                    <a:pt x="1884" y="5629"/>
                  </a:lnTo>
                  <a:lnTo>
                    <a:pt x="2030" y="5650"/>
                  </a:lnTo>
                  <a:lnTo>
                    <a:pt x="2135" y="5713"/>
                  </a:lnTo>
                  <a:lnTo>
                    <a:pt x="2198" y="5755"/>
                  </a:lnTo>
                  <a:lnTo>
                    <a:pt x="2239" y="5755"/>
                  </a:lnTo>
                  <a:lnTo>
                    <a:pt x="2344" y="5671"/>
                  </a:lnTo>
                  <a:lnTo>
                    <a:pt x="2470" y="5650"/>
                  </a:lnTo>
                  <a:lnTo>
                    <a:pt x="2532" y="5713"/>
                  </a:lnTo>
                  <a:lnTo>
                    <a:pt x="2553" y="5671"/>
                  </a:lnTo>
                  <a:lnTo>
                    <a:pt x="2574" y="5713"/>
                  </a:lnTo>
                  <a:lnTo>
                    <a:pt x="2616" y="5713"/>
                  </a:lnTo>
                  <a:lnTo>
                    <a:pt x="2679" y="5776"/>
                  </a:lnTo>
                  <a:lnTo>
                    <a:pt x="2783" y="5817"/>
                  </a:lnTo>
                  <a:lnTo>
                    <a:pt x="2951" y="5755"/>
                  </a:lnTo>
                  <a:lnTo>
                    <a:pt x="3139" y="5504"/>
                  </a:lnTo>
                  <a:lnTo>
                    <a:pt x="3390" y="5190"/>
                  </a:lnTo>
                  <a:lnTo>
                    <a:pt x="3725" y="4939"/>
                  </a:lnTo>
                  <a:lnTo>
                    <a:pt x="3934" y="4876"/>
                  </a:lnTo>
                  <a:lnTo>
                    <a:pt x="3976" y="4834"/>
                  </a:lnTo>
                  <a:lnTo>
                    <a:pt x="3997" y="4792"/>
                  </a:lnTo>
                  <a:lnTo>
                    <a:pt x="3976" y="4729"/>
                  </a:lnTo>
                  <a:lnTo>
                    <a:pt x="3997" y="4687"/>
                  </a:lnTo>
                  <a:lnTo>
                    <a:pt x="3997" y="4625"/>
                  </a:lnTo>
                  <a:lnTo>
                    <a:pt x="4039" y="4562"/>
                  </a:lnTo>
                  <a:lnTo>
                    <a:pt x="4206" y="4457"/>
                  </a:lnTo>
                  <a:lnTo>
                    <a:pt x="4290" y="4415"/>
                  </a:lnTo>
                  <a:lnTo>
                    <a:pt x="4353" y="4395"/>
                  </a:lnTo>
                  <a:lnTo>
                    <a:pt x="4499" y="4353"/>
                  </a:lnTo>
                  <a:lnTo>
                    <a:pt x="4646" y="4353"/>
                  </a:lnTo>
                  <a:lnTo>
                    <a:pt x="4667" y="4395"/>
                  </a:lnTo>
                  <a:lnTo>
                    <a:pt x="4729" y="4374"/>
                  </a:lnTo>
                  <a:lnTo>
                    <a:pt x="4855" y="4395"/>
                  </a:lnTo>
                  <a:lnTo>
                    <a:pt x="4918" y="4395"/>
                  </a:lnTo>
                  <a:lnTo>
                    <a:pt x="4918" y="4311"/>
                  </a:lnTo>
                  <a:lnTo>
                    <a:pt x="4876" y="4143"/>
                  </a:lnTo>
                  <a:lnTo>
                    <a:pt x="4918" y="4060"/>
                  </a:lnTo>
                  <a:lnTo>
                    <a:pt x="5148" y="3955"/>
                  </a:lnTo>
                  <a:lnTo>
                    <a:pt x="5273" y="3955"/>
                  </a:lnTo>
                  <a:lnTo>
                    <a:pt x="5859" y="3683"/>
                  </a:lnTo>
                  <a:lnTo>
                    <a:pt x="5964" y="3662"/>
                  </a:lnTo>
                  <a:lnTo>
                    <a:pt x="6299" y="3537"/>
                  </a:lnTo>
                  <a:lnTo>
                    <a:pt x="6487" y="3474"/>
                  </a:lnTo>
                  <a:lnTo>
                    <a:pt x="6445" y="3432"/>
                  </a:lnTo>
                  <a:lnTo>
                    <a:pt x="6403" y="3327"/>
                  </a:lnTo>
                  <a:lnTo>
                    <a:pt x="6320" y="3223"/>
                  </a:lnTo>
                  <a:lnTo>
                    <a:pt x="6320" y="3160"/>
                  </a:lnTo>
                  <a:lnTo>
                    <a:pt x="6382" y="3139"/>
                  </a:lnTo>
                  <a:lnTo>
                    <a:pt x="6445" y="3035"/>
                  </a:lnTo>
                  <a:lnTo>
                    <a:pt x="6445" y="2951"/>
                  </a:lnTo>
                  <a:lnTo>
                    <a:pt x="6487" y="2888"/>
                  </a:lnTo>
                  <a:lnTo>
                    <a:pt x="6445" y="2825"/>
                  </a:lnTo>
                  <a:lnTo>
                    <a:pt x="6445" y="2742"/>
                  </a:lnTo>
                  <a:lnTo>
                    <a:pt x="6487" y="2721"/>
                  </a:lnTo>
                  <a:lnTo>
                    <a:pt x="6612" y="2616"/>
                  </a:lnTo>
                  <a:lnTo>
                    <a:pt x="6696" y="2595"/>
                  </a:lnTo>
                  <a:lnTo>
                    <a:pt x="6717" y="2511"/>
                  </a:lnTo>
                  <a:lnTo>
                    <a:pt x="6759" y="2511"/>
                  </a:lnTo>
                  <a:lnTo>
                    <a:pt x="6759" y="2470"/>
                  </a:lnTo>
                  <a:lnTo>
                    <a:pt x="6717" y="2428"/>
                  </a:lnTo>
                  <a:lnTo>
                    <a:pt x="6696" y="2386"/>
                  </a:lnTo>
                  <a:lnTo>
                    <a:pt x="6654" y="2302"/>
                  </a:lnTo>
                  <a:lnTo>
                    <a:pt x="6717" y="2281"/>
                  </a:lnTo>
                  <a:lnTo>
                    <a:pt x="6717" y="2198"/>
                  </a:lnTo>
                  <a:lnTo>
                    <a:pt x="6654" y="2114"/>
                  </a:lnTo>
                  <a:lnTo>
                    <a:pt x="6717" y="2051"/>
                  </a:lnTo>
                  <a:lnTo>
                    <a:pt x="6696" y="1967"/>
                  </a:lnTo>
                  <a:lnTo>
                    <a:pt x="6696" y="1884"/>
                  </a:lnTo>
                  <a:lnTo>
                    <a:pt x="6654" y="1779"/>
                  </a:lnTo>
                  <a:lnTo>
                    <a:pt x="6654" y="1695"/>
                  </a:lnTo>
                  <a:lnTo>
                    <a:pt x="6801" y="1570"/>
                  </a:lnTo>
                  <a:lnTo>
                    <a:pt x="6801" y="1528"/>
                  </a:lnTo>
                  <a:lnTo>
                    <a:pt x="6822" y="1486"/>
                  </a:lnTo>
                  <a:lnTo>
                    <a:pt x="6822" y="1361"/>
                  </a:lnTo>
                  <a:lnTo>
                    <a:pt x="6801" y="1277"/>
                  </a:lnTo>
                  <a:lnTo>
                    <a:pt x="6696" y="1214"/>
                  </a:lnTo>
                  <a:lnTo>
                    <a:pt x="6696" y="1151"/>
                  </a:lnTo>
                  <a:lnTo>
                    <a:pt x="6738" y="1005"/>
                  </a:lnTo>
                  <a:lnTo>
                    <a:pt x="6738" y="963"/>
                  </a:lnTo>
                  <a:lnTo>
                    <a:pt x="6696" y="942"/>
                  </a:lnTo>
                  <a:lnTo>
                    <a:pt x="6592" y="900"/>
                  </a:lnTo>
                  <a:lnTo>
                    <a:pt x="6550" y="817"/>
                  </a:lnTo>
                  <a:lnTo>
                    <a:pt x="6529" y="796"/>
                  </a:lnTo>
                  <a:lnTo>
                    <a:pt x="6508" y="712"/>
                  </a:lnTo>
                  <a:lnTo>
                    <a:pt x="6508" y="691"/>
                  </a:lnTo>
                  <a:lnTo>
                    <a:pt x="6445" y="691"/>
                  </a:lnTo>
                  <a:lnTo>
                    <a:pt x="6340" y="586"/>
                  </a:lnTo>
                  <a:lnTo>
                    <a:pt x="6299" y="503"/>
                  </a:lnTo>
                  <a:lnTo>
                    <a:pt x="6236" y="482"/>
                  </a:lnTo>
                  <a:lnTo>
                    <a:pt x="6194" y="419"/>
                  </a:lnTo>
                  <a:lnTo>
                    <a:pt x="6110" y="419"/>
                  </a:lnTo>
                  <a:lnTo>
                    <a:pt x="5859" y="335"/>
                  </a:lnTo>
                  <a:lnTo>
                    <a:pt x="5755" y="335"/>
                  </a:lnTo>
                  <a:lnTo>
                    <a:pt x="5671" y="273"/>
                  </a:lnTo>
                  <a:lnTo>
                    <a:pt x="5671" y="210"/>
                  </a:lnTo>
                  <a:lnTo>
                    <a:pt x="5587" y="168"/>
                  </a:lnTo>
                  <a:lnTo>
                    <a:pt x="5545" y="168"/>
                  </a:lnTo>
                  <a:lnTo>
                    <a:pt x="5441" y="126"/>
                  </a:lnTo>
                  <a:lnTo>
                    <a:pt x="5357" y="126"/>
                  </a:lnTo>
                  <a:lnTo>
                    <a:pt x="5169" y="22"/>
                  </a:lnTo>
                  <a:lnTo>
                    <a:pt x="508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7" name="Google Shape;2147;p66"/>
            <p:cNvSpPr/>
            <p:nvPr/>
          </p:nvSpPr>
          <p:spPr>
            <a:xfrm>
              <a:off x="3824328" y="3184365"/>
              <a:ext cx="86210" cy="81393"/>
            </a:xfrm>
            <a:custGeom>
              <a:avLst/>
              <a:gdLst/>
              <a:ahLst/>
              <a:cxnLst/>
              <a:rect l="l" t="t" r="r" b="b"/>
              <a:pathLst>
                <a:path w="7240" h="7157" extrusionOk="0">
                  <a:moveTo>
                    <a:pt x="963" y="0"/>
                  </a:moveTo>
                  <a:lnTo>
                    <a:pt x="879" y="42"/>
                  </a:lnTo>
                  <a:lnTo>
                    <a:pt x="774" y="63"/>
                  </a:lnTo>
                  <a:lnTo>
                    <a:pt x="712" y="63"/>
                  </a:lnTo>
                  <a:lnTo>
                    <a:pt x="670" y="84"/>
                  </a:lnTo>
                  <a:lnTo>
                    <a:pt x="670" y="105"/>
                  </a:lnTo>
                  <a:lnTo>
                    <a:pt x="649" y="105"/>
                  </a:lnTo>
                  <a:lnTo>
                    <a:pt x="502" y="189"/>
                  </a:lnTo>
                  <a:lnTo>
                    <a:pt x="544" y="273"/>
                  </a:lnTo>
                  <a:lnTo>
                    <a:pt x="544" y="356"/>
                  </a:lnTo>
                  <a:lnTo>
                    <a:pt x="858" y="712"/>
                  </a:lnTo>
                  <a:lnTo>
                    <a:pt x="879" y="1151"/>
                  </a:lnTo>
                  <a:lnTo>
                    <a:pt x="1046" y="1402"/>
                  </a:lnTo>
                  <a:lnTo>
                    <a:pt x="1026" y="1633"/>
                  </a:lnTo>
                  <a:lnTo>
                    <a:pt x="837" y="1863"/>
                  </a:lnTo>
                  <a:lnTo>
                    <a:pt x="942" y="1925"/>
                  </a:lnTo>
                  <a:lnTo>
                    <a:pt x="942" y="2135"/>
                  </a:lnTo>
                  <a:lnTo>
                    <a:pt x="1046" y="2260"/>
                  </a:lnTo>
                  <a:lnTo>
                    <a:pt x="1046" y="2407"/>
                  </a:lnTo>
                  <a:lnTo>
                    <a:pt x="1256" y="2783"/>
                  </a:lnTo>
                  <a:lnTo>
                    <a:pt x="1256" y="2867"/>
                  </a:lnTo>
                  <a:lnTo>
                    <a:pt x="1339" y="2972"/>
                  </a:lnTo>
                  <a:lnTo>
                    <a:pt x="1339" y="3453"/>
                  </a:lnTo>
                  <a:lnTo>
                    <a:pt x="1088" y="3871"/>
                  </a:lnTo>
                  <a:lnTo>
                    <a:pt x="1026" y="3871"/>
                  </a:lnTo>
                  <a:lnTo>
                    <a:pt x="754" y="4081"/>
                  </a:lnTo>
                  <a:lnTo>
                    <a:pt x="754" y="4227"/>
                  </a:lnTo>
                  <a:lnTo>
                    <a:pt x="440" y="4499"/>
                  </a:lnTo>
                  <a:lnTo>
                    <a:pt x="440" y="4687"/>
                  </a:lnTo>
                  <a:lnTo>
                    <a:pt x="398" y="4750"/>
                  </a:lnTo>
                  <a:lnTo>
                    <a:pt x="398" y="5210"/>
                  </a:lnTo>
                  <a:lnTo>
                    <a:pt x="230" y="5399"/>
                  </a:lnTo>
                  <a:lnTo>
                    <a:pt x="210" y="5608"/>
                  </a:lnTo>
                  <a:lnTo>
                    <a:pt x="42" y="5796"/>
                  </a:lnTo>
                  <a:lnTo>
                    <a:pt x="42" y="6006"/>
                  </a:lnTo>
                  <a:lnTo>
                    <a:pt x="21" y="6173"/>
                  </a:lnTo>
                  <a:lnTo>
                    <a:pt x="21" y="6466"/>
                  </a:lnTo>
                  <a:lnTo>
                    <a:pt x="0" y="6654"/>
                  </a:lnTo>
                  <a:lnTo>
                    <a:pt x="21" y="6696"/>
                  </a:lnTo>
                  <a:lnTo>
                    <a:pt x="105" y="6738"/>
                  </a:lnTo>
                  <a:lnTo>
                    <a:pt x="126" y="6759"/>
                  </a:lnTo>
                  <a:lnTo>
                    <a:pt x="189" y="6738"/>
                  </a:lnTo>
                  <a:lnTo>
                    <a:pt x="210" y="6654"/>
                  </a:lnTo>
                  <a:lnTo>
                    <a:pt x="398" y="6654"/>
                  </a:lnTo>
                  <a:lnTo>
                    <a:pt x="461" y="6696"/>
                  </a:lnTo>
                  <a:lnTo>
                    <a:pt x="523" y="6675"/>
                  </a:lnTo>
                  <a:lnTo>
                    <a:pt x="523" y="6591"/>
                  </a:lnTo>
                  <a:lnTo>
                    <a:pt x="712" y="6466"/>
                  </a:lnTo>
                  <a:lnTo>
                    <a:pt x="754" y="6466"/>
                  </a:lnTo>
                  <a:lnTo>
                    <a:pt x="858" y="6529"/>
                  </a:lnTo>
                  <a:lnTo>
                    <a:pt x="879" y="6529"/>
                  </a:lnTo>
                  <a:lnTo>
                    <a:pt x="921" y="6487"/>
                  </a:lnTo>
                  <a:lnTo>
                    <a:pt x="963" y="6466"/>
                  </a:lnTo>
                  <a:lnTo>
                    <a:pt x="1046" y="6529"/>
                  </a:lnTo>
                  <a:lnTo>
                    <a:pt x="1046" y="6550"/>
                  </a:lnTo>
                  <a:lnTo>
                    <a:pt x="1130" y="6571"/>
                  </a:lnTo>
                  <a:lnTo>
                    <a:pt x="1088" y="6633"/>
                  </a:lnTo>
                  <a:lnTo>
                    <a:pt x="1151" y="6654"/>
                  </a:lnTo>
                  <a:lnTo>
                    <a:pt x="1256" y="6759"/>
                  </a:lnTo>
                  <a:lnTo>
                    <a:pt x="1381" y="6801"/>
                  </a:lnTo>
                  <a:lnTo>
                    <a:pt x="1486" y="6759"/>
                  </a:lnTo>
                  <a:lnTo>
                    <a:pt x="1507" y="6759"/>
                  </a:lnTo>
                  <a:lnTo>
                    <a:pt x="1590" y="6696"/>
                  </a:lnTo>
                  <a:lnTo>
                    <a:pt x="1653" y="6696"/>
                  </a:lnTo>
                  <a:lnTo>
                    <a:pt x="1674" y="6738"/>
                  </a:lnTo>
                  <a:lnTo>
                    <a:pt x="3850" y="6738"/>
                  </a:lnTo>
                  <a:lnTo>
                    <a:pt x="3871" y="6759"/>
                  </a:lnTo>
                  <a:lnTo>
                    <a:pt x="3913" y="6863"/>
                  </a:lnTo>
                  <a:lnTo>
                    <a:pt x="3976" y="6905"/>
                  </a:lnTo>
                  <a:lnTo>
                    <a:pt x="4101" y="6968"/>
                  </a:lnTo>
                  <a:lnTo>
                    <a:pt x="4206" y="6989"/>
                  </a:lnTo>
                  <a:lnTo>
                    <a:pt x="4311" y="6968"/>
                  </a:lnTo>
                  <a:lnTo>
                    <a:pt x="4373" y="6989"/>
                  </a:lnTo>
                  <a:lnTo>
                    <a:pt x="4394" y="7052"/>
                  </a:lnTo>
                  <a:lnTo>
                    <a:pt x="4478" y="7073"/>
                  </a:lnTo>
                  <a:lnTo>
                    <a:pt x="4541" y="7010"/>
                  </a:lnTo>
                  <a:lnTo>
                    <a:pt x="4645" y="6989"/>
                  </a:lnTo>
                  <a:lnTo>
                    <a:pt x="4792" y="7010"/>
                  </a:lnTo>
                  <a:lnTo>
                    <a:pt x="4855" y="7010"/>
                  </a:lnTo>
                  <a:lnTo>
                    <a:pt x="4896" y="6947"/>
                  </a:lnTo>
                  <a:lnTo>
                    <a:pt x="4917" y="6968"/>
                  </a:lnTo>
                  <a:lnTo>
                    <a:pt x="4959" y="6968"/>
                  </a:lnTo>
                  <a:lnTo>
                    <a:pt x="5106" y="7094"/>
                  </a:lnTo>
                  <a:lnTo>
                    <a:pt x="5210" y="7115"/>
                  </a:lnTo>
                  <a:lnTo>
                    <a:pt x="5357" y="7115"/>
                  </a:lnTo>
                  <a:lnTo>
                    <a:pt x="5357" y="7073"/>
                  </a:lnTo>
                  <a:lnTo>
                    <a:pt x="5440" y="7052"/>
                  </a:lnTo>
                  <a:lnTo>
                    <a:pt x="5482" y="7073"/>
                  </a:lnTo>
                  <a:lnTo>
                    <a:pt x="5545" y="7094"/>
                  </a:lnTo>
                  <a:lnTo>
                    <a:pt x="5587" y="7073"/>
                  </a:lnTo>
                  <a:lnTo>
                    <a:pt x="5629" y="7115"/>
                  </a:lnTo>
                  <a:lnTo>
                    <a:pt x="5671" y="7115"/>
                  </a:lnTo>
                  <a:lnTo>
                    <a:pt x="5692" y="7156"/>
                  </a:lnTo>
                  <a:lnTo>
                    <a:pt x="5838" y="7156"/>
                  </a:lnTo>
                  <a:lnTo>
                    <a:pt x="6717" y="6947"/>
                  </a:lnTo>
                  <a:lnTo>
                    <a:pt x="6696" y="6843"/>
                  </a:lnTo>
                  <a:lnTo>
                    <a:pt x="6612" y="6801"/>
                  </a:lnTo>
                  <a:lnTo>
                    <a:pt x="6570" y="6738"/>
                  </a:lnTo>
                  <a:lnTo>
                    <a:pt x="6508" y="6675"/>
                  </a:lnTo>
                  <a:lnTo>
                    <a:pt x="6424" y="6633"/>
                  </a:lnTo>
                  <a:lnTo>
                    <a:pt x="6361" y="6571"/>
                  </a:lnTo>
                  <a:lnTo>
                    <a:pt x="6256" y="6424"/>
                  </a:lnTo>
                  <a:lnTo>
                    <a:pt x="6173" y="6382"/>
                  </a:lnTo>
                  <a:lnTo>
                    <a:pt x="6110" y="6319"/>
                  </a:lnTo>
                  <a:lnTo>
                    <a:pt x="6047" y="6257"/>
                  </a:lnTo>
                  <a:lnTo>
                    <a:pt x="5964" y="6152"/>
                  </a:lnTo>
                  <a:lnTo>
                    <a:pt x="5943" y="6110"/>
                  </a:lnTo>
                  <a:lnTo>
                    <a:pt x="5984" y="4164"/>
                  </a:lnTo>
                  <a:lnTo>
                    <a:pt x="7219" y="4164"/>
                  </a:lnTo>
                  <a:lnTo>
                    <a:pt x="7198" y="4122"/>
                  </a:lnTo>
                  <a:lnTo>
                    <a:pt x="7219" y="3955"/>
                  </a:lnTo>
                  <a:lnTo>
                    <a:pt x="7240" y="3913"/>
                  </a:lnTo>
                  <a:lnTo>
                    <a:pt x="7240" y="3809"/>
                  </a:lnTo>
                  <a:lnTo>
                    <a:pt x="7198" y="3704"/>
                  </a:lnTo>
                  <a:lnTo>
                    <a:pt x="7198" y="3558"/>
                  </a:lnTo>
                  <a:lnTo>
                    <a:pt x="7198" y="3348"/>
                  </a:lnTo>
                  <a:lnTo>
                    <a:pt x="7156" y="3118"/>
                  </a:lnTo>
                  <a:lnTo>
                    <a:pt x="7198" y="3097"/>
                  </a:lnTo>
                  <a:lnTo>
                    <a:pt x="7198" y="3034"/>
                  </a:lnTo>
                  <a:lnTo>
                    <a:pt x="7198" y="3013"/>
                  </a:lnTo>
                  <a:lnTo>
                    <a:pt x="7093" y="3013"/>
                  </a:lnTo>
                  <a:lnTo>
                    <a:pt x="6989" y="3034"/>
                  </a:lnTo>
                  <a:lnTo>
                    <a:pt x="6905" y="3097"/>
                  </a:lnTo>
                  <a:lnTo>
                    <a:pt x="6821" y="3118"/>
                  </a:lnTo>
                  <a:lnTo>
                    <a:pt x="6780" y="3139"/>
                  </a:lnTo>
                  <a:lnTo>
                    <a:pt x="6717" y="3118"/>
                  </a:lnTo>
                  <a:lnTo>
                    <a:pt x="6570" y="3118"/>
                  </a:lnTo>
                  <a:lnTo>
                    <a:pt x="6508" y="3097"/>
                  </a:lnTo>
                  <a:lnTo>
                    <a:pt x="6424" y="3034"/>
                  </a:lnTo>
                  <a:lnTo>
                    <a:pt x="6382" y="3034"/>
                  </a:lnTo>
                  <a:lnTo>
                    <a:pt x="6361" y="3076"/>
                  </a:lnTo>
                  <a:lnTo>
                    <a:pt x="6298" y="3097"/>
                  </a:lnTo>
                  <a:lnTo>
                    <a:pt x="6256" y="3118"/>
                  </a:lnTo>
                  <a:lnTo>
                    <a:pt x="6194" y="3118"/>
                  </a:lnTo>
                  <a:lnTo>
                    <a:pt x="6173" y="3097"/>
                  </a:lnTo>
                  <a:lnTo>
                    <a:pt x="6173" y="2972"/>
                  </a:lnTo>
                  <a:lnTo>
                    <a:pt x="6215" y="2930"/>
                  </a:lnTo>
                  <a:lnTo>
                    <a:pt x="6215" y="2909"/>
                  </a:lnTo>
                  <a:lnTo>
                    <a:pt x="6256" y="2825"/>
                  </a:lnTo>
                  <a:lnTo>
                    <a:pt x="6173" y="2783"/>
                  </a:lnTo>
                  <a:lnTo>
                    <a:pt x="6173" y="2658"/>
                  </a:lnTo>
                  <a:lnTo>
                    <a:pt x="6194" y="2616"/>
                  </a:lnTo>
                  <a:lnTo>
                    <a:pt x="6194" y="2553"/>
                  </a:lnTo>
                  <a:lnTo>
                    <a:pt x="6110" y="2490"/>
                  </a:lnTo>
                  <a:lnTo>
                    <a:pt x="6110" y="2407"/>
                  </a:lnTo>
                  <a:lnTo>
                    <a:pt x="6152" y="2344"/>
                  </a:lnTo>
                  <a:lnTo>
                    <a:pt x="6110" y="2281"/>
                  </a:lnTo>
                  <a:lnTo>
                    <a:pt x="6068" y="2260"/>
                  </a:lnTo>
                  <a:lnTo>
                    <a:pt x="6047" y="2197"/>
                  </a:lnTo>
                  <a:lnTo>
                    <a:pt x="6005" y="2177"/>
                  </a:lnTo>
                  <a:lnTo>
                    <a:pt x="6005" y="2093"/>
                  </a:lnTo>
                  <a:lnTo>
                    <a:pt x="5964" y="2051"/>
                  </a:lnTo>
                  <a:lnTo>
                    <a:pt x="5964" y="1967"/>
                  </a:lnTo>
                  <a:lnTo>
                    <a:pt x="5901" y="1925"/>
                  </a:lnTo>
                  <a:lnTo>
                    <a:pt x="5964" y="1821"/>
                  </a:lnTo>
                  <a:lnTo>
                    <a:pt x="5964" y="1612"/>
                  </a:lnTo>
                  <a:lnTo>
                    <a:pt x="5943" y="1528"/>
                  </a:lnTo>
                  <a:lnTo>
                    <a:pt x="5943" y="1507"/>
                  </a:lnTo>
                  <a:lnTo>
                    <a:pt x="5964" y="1444"/>
                  </a:lnTo>
                  <a:lnTo>
                    <a:pt x="5964" y="1361"/>
                  </a:lnTo>
                  <a:lnTo>
                    <a:pt x="5901" y="1298"/>
                  </a:lnTo>
                  <a:lnTo>
                    <a:pt x="5943" y="1193"/>
                  </a:lnTo>
                  <a:lnTo>
                    <a:pt x="5984" y="1089"/>
                  </a:lnTo>
                  <a:lnTo>
                    <a:pt x="5984" y="1005"/>
                  </a:lnTo>
                  <a:lnTo>
                    <a:pt x="5984" y="921"/>
                  </a:lnTo>
                  <a:lnTo>
                    <a:pt x="5964" y="837"/>
                  </a:lnTo>
                  <a:lnTo>
                    <a:pt x="5315" y="796"/>
                  </a:lnTo>
                  <a:lnTo>
                    <a:pt x="5273" y="733"/>
                  </a:lnTo>
                  <a:lnTo>
                    <a:pt x="5315" y="691"/>
                  </a:lnTo>
                  <a:lnTo>
                    <a:pt x="5336" y="607"/>
                  </a:lnTo>
                  <a:lnTo>
                    <a:pt x="5147" y="586"/>
                  </a:lnTo>
                  <a:lnTo>
                    <a:pt x="5147" y="628"/>
                  </a:lnTo>
                  <a:lnTo>
                    <a:pt x="4583" y="670"/>
                  </a:lnTo>
                  <a:lnTo>
                    <a:pt x="4583" y="817"/>
                  </a:lnTo>
                  <a:lnTo>
                    <a:pt x="4520" y="921"/>
                  </a:lnTo>
                  <a:lnTo>
                    <a:pt x="4478" y="942"/>
                  </a:lnTo>
                  <a:lnTo>
                    <a:pt x="4499" y="1047"/>
                  </a:lnTo>
                  <a:lnTo>
                    <a:pt x="4499" y="1214"/>
                  </a:lnTo>
                  <a:lnTo>
                    <a:pt x="4059" y="1235"/>
                  </a:lnTo>
                  <a:lnTo>
                    <a:pt x="3976" y="1298"/>
                  </a:lnTo>
                  <a:lnTo>
                    <a:pt x="3787" y="1256"/>
                  </a:lnTo>
                  <a:lnTo>
                    <a:pt x="3704" y="1235"/>
                  </a:lnTo>
                  <a:lnTo>
                    <a:pt x="3599" y="1256"/>
                  </a:lnTo>
                  <a:lnTo>
                    <a:pt x="3453" y="1256"/>
                  </a:lnTo>
                  <a:lnTo>
                    <a:pt x="3390" y="1235"/>
                  </a:lnTo>
                  <a:lnTo>
                    <a:pt x="3369" y="1026"/>
                  </a:lnTo>
                  <a:lnTo>
                    <a:pt x="3285" y="921"/>
                  </a:lnTo>
                  <a:lnTo>
                    <a:pt x="3243" y="837"/>
                  </a:lnTo>
                  <a:lnTo>
                    <a:pt x="3181" y="817"/>
                  </a:lnTo>
                  <a:lnTo>
                    <a:pt x="3181" y="733"/>
                  </a:lnTo>
                  <a:lnTo>
                    <a:pt x="3160" y="691"/>
                  </a:lnTo>
                  <a:lnTo>
                    <a:pt x="3139" y="565"/>
                  </a:lnTo>
                  <a:lnTo>
                    <a:pt x="3076" y="461"/>
                  </a:lnTo>
                  <a:lnTo>
                    <a:pt x="3076" y="377"/>
                  </a:lnTo>
                  <a:lnTo>
                    <a:pt x="3118" y="314"/>
                  </a:lnTo>
                  <a:lnTo>
                    <a:pt x="3076" y="252"/>
                  </a:lnTo>
                  <a:lnTo>
                    <a:pt x="3034" y="189"/>
                  </a:lnTo>
                  <a:lnTo>
                    <a:pt x="3034" y="105"/>
                  </a:lnTo>
                  <a:lnTo>
                    <a:pt x="3034" y="84"/>
                  </a:lnTo>
                  <a:lnTo>
                    <a:pt x="3034" y="0"/>
                  </a:lnTo>
                  <a:lnTo>
                    <a:pt x="2030" y="0"/>
                  </a:lnTo>
                  <a:lnTo>
                    <a:pt x="1821" y="42"/>
                  </a:lnTo>
                  <a:lnTo>
                    <a:pt x="165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8" name="Google Shape;2148;p66"/>
            <p:cNvSpPr/>
            <p:nvPr/>
          </p:nvSpPr>
          <p:spPr>
            <a:xfrm>
              <a:off x="3916754" y="3249086"/>
              <a:ext cx="53834" cy="46889"/>
            </a:xfrm>
            <a:custGeom>
              <a:avLst/>
              <a:gdLst/>
              <a:ahLst/>
              <a:cxnLst/>
              <a:rect l="l" t="t" r="r" b="b"/>
              <a:pathLst>
                <a:path w="4521" h="4123" extrusionOk="0">
                  <a:moveTo>
                    <a:pt x="2679" y="1"/>
                  </a:moveTo>
                  <a:lnTo>
                    <a:pt x="2533" y="43"/>
                  </a:lnTo>
                  <a:lnTo>
                    <a:pt x="2470" y="63"/>
                  </a:lnTo>
                  <a:lnTo>
                    <a:pt x="2386" y="105"/>
                  </a:lnTo>
                  <a:lnTo>
                    <a:pt x="2219" y="210"/>
                  </a:lnTo>
                  <a:lnTo>
                    <a:pt x="2177" y="273"/>
                  </a:lnTo>
                  <a:lnTo>
                    <a:pt x="2177" y="335"/>
                  </a:lnTo>
                  <a:lnTo>
                    <a:pt x="2156" y="377"/>
                  </a:lnTo>
                  <a:lnTo>
                    <a:pt x="2177" y="440"/>
                  </a:lnTo>
                  <a:lnTo>
                    <a:pt x="2156" y="482"/>
                  </a:lnTo>
                  <a:lnTo>
                    <a:pt x="2114" y="524"/>
                  </a:lnTo>
                  <a:lnTo>
                    <a:pt x="1905" y="587"/>
                  </a:lnTo>
                  <a:lnTo>
                    <a:pt x="1570" y="838"/>
                  </a:lnTo>
                  <a:lnTo>
                    <a:pt x="1319" y="1152"/>
                  </a:lnTo>
                  <a:lnTo>
                    <a:pt x="1131" y="1403"/>
                  </a:lnTo>
                  <a:lnTo>
                    <a:pt x="963" y="1465"/>
                  </a:lnTo>
                  <a:lnTo>
                    <a:pt x="859" y="1424"/>
                  </a:lnTo>
                  <a:lnTo>
                    <a:pt x="796" y="1361"/>
                  </a:lnTo>
                  <a:lnTo>
                    <a:pt x="754" y="1361"/>
                  </a:lnTo>
                  <a:lnTo>
                    <a:pt x="733" y="1319"/>
                  </a:lnTo>
                  <a:lnTo>
                    <a:pt x="712" y="1361"/>
                  </a:lnTo>
                  <a:lnTo>
                    <a:pt x="650" y="1298"/>
                  </a:lnTo>
                  <a:lnTo>
                    <a:pt x="524" y="1319"/>
                  </a:lnTo>
                  <a:lnTo>
                    <a:pt x="419" y="1403"/>
                  </a:lnTo>
                  <a:lnTo>
                    <a:pt x="378" y="1403"/>
                  </a:lnTo>
                  <a:lnTo>
                    <a:pt x="315" y="1361"/>
                  </a:lnTo>
                  <a:lnTo>
                    <a:pt x="210" y="1298"/>
                  </a:lnTo>
                  <a:lnTo>
                    <a:pt x="64" y="1277"/>
                  </a:lnTo>
                  <a:lnTo>
                    <a:pt x="1" y="1277"/>
                  </a:lnTo>
                  <a:lnTo>
                    <a:pt x="22" y="1319"/>
                  </a:lnTo>
                  <a:lnTo>
                    <a:pt x="22" y="1382"/>
                  </a:lnTo>
                  <a:lnTo>
                    <a:pt x="22" y="1424"/>
                  </a:lnTo>
                  <a:lnTo>
                    <a:pt x="22" y="1486"/>
                  </a:lnTo>
                  <a:lnTo>
                    <a:pt x="106" y="1570"/>
                  </a:lnTo>
                  <a:lnTo>
                    <a:pt x="168" y="1591"/>
                  </a:lnTo>
                  <a:lnTo>
                    <a:pt x="231" y="1633"/>
                  </a:lnTo>
                  <a:lnTo>
                    <a:pt x="294" y="1716"/>
                  </a:lnTo>
                  <a:lnTo>
                    <a:pt x="294" y="1779"/>
                  </a:lnTo>
                  <a:lnTo>
                    <a:pt x="315" y="1800"/>
                  </a:lnTo>
                  <a:lnTo>
                    <a:pt x="378" y="1884"/>
                  </a:lnTo>
                  <a:lnTo>
                    <a:pt x="398" y="1988"/>
                  </a:lnTo>
                  <a:lnTo>
                    <a:pt x="440" y="2030"/>
                  </a:lnTo>
                  <a:lnTo>
                    <a:pt x="503" y="2114"/>
                  </a:lnTo>
                  <a:lnTo>
                    <a:pt x="545" y="2156"/>
                  </a:lnTo>
                  <a:lnTo>
                    <a:pt x="587" y="2156"/>
                  </a:lnTo>
                  <a:lnTo>
                    <a:pt x="629" y="2240"/>
                  </a:lnTo>
                  <a:lnTo>
                    <a:pt x="796" y="2512"/>
                  </a:lnTo>
                  <a:lnTo>
                    <a:pt x="901" y="2574"/>
                  </a:lnTo>
                  <a:lnTo>
                    <a:pt x="1005" y="2637"/>
                  </a:lnTo>
                  <a:lnTo>
                    <a:pt x="1047" y="2679"/>
                  </a:lnTo>
                  <a:lnTo>
                    <a:pt x="1131" y="2742"/>
                  </a:lnTo>
                  <a:lnTo>
                    <a:pt x="1131" y="2763"/>
                  </a:lnTo>
                  <a:lnTo>
                    <a:pt x="1131" y="2825"/>
                  </a:lnTo>
                  <a:lnTo>
                    <a:pt x="1152" y="2867"/>
                  </a:lnTo>
                  <a:lnTo>
                    <a:pt x="1256" y="2888"/>
                  </a:lnTo>
                  <a:lnTo>
                    <a:pt x="1340" y="2972"/>
                  </a:lnTo>
                  <a:lnTo>
                    <a:pt x="1319" y="3056"/>
                  </a:lnTo>
                  <a:lnTo>
                    <a:pt x="1340" y="3181"/>
                  </a:lnTo>
                  <a:lnTo>
                    <a:pt x="1340" y="3265"/>
                  </a:lnTo>
                  <a:lnTo>
                    <a:pt x="1382" y="3369"/>
                  </a:lnTo>
                  <a:lnTo>
                    <a:pt x="1487" y="3453"/>
                  </a:lnTo>
                  <a:lnTo>
                    <a:pt x="1549" y="3558"/>
                  </a:lnTo>
                  <a:lnTo>
                    <a:pt x="1675" y="3579"/>
                  </a:lnTo>
                  <a:lnTo>
                    <a:pt x="1759" y="3558"/>
                  </a:lnTo>
                  <a:lnTo>
                    <a:pt x="1884" y="3600"/>
                  </a:lnTo>
                  <a:lnTo>
                    <a:pt x="1968" y="3600"/>
                  </a:lnTo>
                  <a:lnTo>
                    <a:pt x="2093" y="3683"/>
                  </a:lnTo>
                  <a:lnTo>
                    <a:pt x="2156" y="3683"/>
                  </a:lnTo>
                  <a:lnTo>
                    <a:pt x="2198" y="3725"/>
                  </a:lnTo>
                  <a:lnTo>
                    <a:pt x="2198" y="3788"/>
                  </a:lnTo>
                  <a:lnTo>
                    <a:pt x="2261" y="3830"/>
                  </a:lnTo>
                  <a:lnTo>
                    <a:pt x="2303" y="3893"/>
                  </a:lnTo>
                  <a:lnTo>
                    <a:pt x="2491" y="3872"/>
                  </a:lnTo>
                  <a:lnTo>
                    <a:pt x="2616" y="3893"/>
                  </a:lnTo>
                  <a:lnTo>
                    <a:pt x="2679" y="3976"/>
                  </a:lnTo>
                  <a:lnTo>
                    <a:pt x="2742" y="3976"/>
                  </a:lnTo>
                  <a:lnTo>
                    <a:pt x="2888" y="4018"/>
                  </a:lnTo>
                  <a:lnTo>
                    <a:pt x="2909" y="4039"/>
                  </a:lnTo>
                  <a:lnTo>
                    <a:pt x="3014" y="4018"/>
                  </a:lnTo>
                  <a:lnTo>
                    <a:pt x="3160" y="3997"/>
                  </a:lnTo>
                  <a:lnTo>
                    <a:pt x="3349" y="4039"/>
                  </a:lnTo>
                  <a:lnTo>
                    <a:pt x="3453" y="4123"/>
                  </a:lnTo>
                  <a:lnTo>
                    <a:pt x="4081" y="3474"/>
                  </a:lnTo>
                  <a:lnTo>
                    <a:pt x="4081" y="3286"/>
                  </a:lnTo>
                  <a:lnTo>
                    <a:pt x="4102" y="3202"/>
                  </a:lnTo>
                  <a:lnTo>
                    <a:pt x="4144" y="3056"/>
                  </a:lnTo>
                  <a:lnTo>
                    <a:pt x="4165" y="2972"/>
                  </a:lnTo>
                  <a:lnTo>
                    <a:pt x="4144" y="2867"/>
                  </a:lnTo>
                  <a:lnTo>
                    <a:pt x="4165" y="2784"/>
                  </a:lnTo>
                  <a:lnTo>
                    <a:pt x="4248" y="2784"/>
                  </a:lnTo>
                  <a:lnTo>
                    <a:pt x="4269" y="2742"/>
                  </a:lnTo>
                  <a:lnTo>
                    <a:pt x="4374" y="2637"/>
                  </a:lnTo>
                  <a:lnTo>
                    <a:pt x="4458" y="2532"/>
                  </a:lnTo>
                  <a:lnTo>
                    <a:pt x="4416" y="2449"/>
                  </a:lnTo>
                  <a:lnTo>
                    <a:pt x="4374" y="2407"/>
                  </a:lnTo>
                  <a:lnTo>
                    <a:pt x="4374" y="2302"/>
                  </a:lnTo>
                  <a:lnTo>
                    <a:pt x="4416" y="2240"/>
                  </a:lnTo>
                  <a:lnTo>
                    <a:pt x="4395" y="2135"/>
                  </a:lnTo>
                  <a:lnTo>
                    <a:pt x="4290" y="2051"/>
                  </a:lnTo>
                  <a:lnTo>
                    <a:pt x="4290" y="2009"/>
                  </a:lnTo>
                  <a:lnTo>
                    <a:pt x="4374" y="1988"/>
                  </a:lnTo>
                  <a:lnTo>
                    <a:pt x="4374" y="1842"/>
                  </a:lnTo>
                  <a:lnTo>
                    <a:pt x="4374" y="1737"/>
                  </a:lnTo>
                  <a:lnTo>
                    <a:pt x="4479" y="1696"/>
                  </a:lnTo>
                  <a:lnTo>
                    <a:pt x="4500" y="1612"/>
                  </a:lnTo>
                  <a:lnTo>
                    <a:pt x="4416" y="1612"/>
                  </a:lnTo>
                  <a:lnTo>
                    <a:pt x="4374" y="1570"/>
                  </a:lnTo>
                  <a:lnTo>
                    <a:pt x="4416" y="1465"/>
                  </a:lnTo>
                  <a:lnTo>
                    <a:pt x="4458" y="1298"/>
                  </a:lnTo>
                  <a:lnTo>
                    <a:pt x="4500" y="1214"/>
                  </a:lnTo>
                  <a:lnTo>
                    <a:pt x="4500" y="1152"/>
                  </a:lnTo>
                  <a:lnTo>
                    <a:pt x="4479" y="1068"/>
                  </a:lnTo>
                  <a:lnTo>
                    <a:pt x="4500" y="984"/>
                  </a:lnTo>
                  <a:lnTo>
                    <a:pt x="4479" y="900"/>
                  </a:lnTo>
                  <a:lnTo>
                    <a:pt x="4520" y="796"/>
                  </a:lnTo>
                  <a:lnTo>
                    <a:pt x="4520" y="733"/>
                  </a:lnTo>
                  <a:lnTo>
                    <a:pt x="4395" y="691"/>
                  </a:lnTo>
                  <a:lnTo>
                    <a:pt x="4353" y="628"/>
                  </a:lnTo>
                  <a:lnTo>
                    <a:pt x="4248" y="545"/>
                  </a:lnTo>
                  <a:lnTo>
                    <a:pt x="4060" y="545"/>
                  </a:lnTo>
                  <a:lnTo>
                    <a:pt x="3956" y="524"/>
                  </a:lnTo>
                  <a:lnTo>
                    <a:pt x="3851" y="377"/>
                  </a:lnTo>
                  <a:lnTo>
                    <a:pt x="3683" y="273"/>
                  </a:lnTo>
                  <a:lnTo>
                    <a:pt x="3537" y="252"/>
                  </a:lnTo>
                  <a:lnTo>
                    <a:pt x="3474" y="315"/>
                  </a:lnTo>
                  <a:lnTo>
                    <a:pt x="3432" y="335"/>
                  </a:lnTo>
                  <a:lnTo>
                    <a:pt x="3411" y="252"/>
                  </a:lnTo>
                  <a:lnTo>
                    <a:pt x="3328" y="252"/>
                  </a:lnTo>
                  <a:lnTo>
                    <a:pt x="3119" y="231"/>
                  </a:lnTo>
                  <a:lnTo>
                    <a:pt x="3098" y="43"/>
                  </a:lnTo>
                  <a:lnTo>
                    <a:pt x="3035" y="43"/>
                  </a:lnTo>
                  <a:lnTo>
                    <a:pt x="2909" y="22"/>
                  </a:lnTo>
                  <a:lnTo>
                    <a:pt x="2847" y="43"/>
                  </a:lnTo>
                  <a:lnTo>
                    <a:pt x="282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49" name="Google Shape;2149;p66"/>
            <p:cNvSpPr/>
            <p:nvPr/>
          </p:nvSpPr>
          <p:spPr>
            <a:xfrm>
              <a:off x="3879638" y="3263609"/>
              <a:ext cx="64539" cy="61639"/>
            </a:xfrm>
            <a:custGeom>
              <a:avLst/>
              <a:gdLst/>
              <a:ahLst/>
              <a:cxnLst/>
              <a:rect l="l" t="t" r="r" b="b"/>
              <a:pathLst>
                <a:path w="5420" h="5420" extrusionOk="0">
                  <a:moveTo>
                    <a:pt x="3118" y="0"/>
                  </a:moveTo>
                  <a:lnTo>
                    <a:pt x="3013" y="21"/>
                  </a:lnTo>
                  <a:lnTo>
                    <a:pt x="2825" y="105"/>
                  </a:lnTo>
                  <a:lnTo>
                    <a:pt x="2762" y="147"/>
                  </a:lnTo>
                  <a:lnTo>
                    <a:pt x="2679" y="126"/>
                  </a:lnTo>
                  <a:lnTo>
                    <a:pt x="2658" y="105"/>
                  </a:lnTo>
                  <a:lnTo>
                    <a:pt x="2511" y="105"/>
                  </a:lnTo>
                  <a:lnTo>
                    <a:pt x="2407" y="230"/>
                  </a:lnTo>
                  <a:lnTo>
                    <a:pt x="2281" y="356"/>
                  </a:lnTo>
                  <a:lnTo>
                    <a:pt x="2093" y="502"/>
                  </a:lnTo>
                  <a:lnTo>
                    <a:pt x="2051" y="502"/>
                  </a:lnTo>
                  <a:lnTo>
                    <a:pt x="2072" y="419"/>
                  </a:lnTo>
                  <a:lnTo>
                    <a:pt x="2093" y="356"/>
                  </a:lnTo>
                  <a:lnTo>
                    <a:pt x="2051" y="335"/>
                  </a:lnTo>
                  <a:lnTo>
                    <a:pt x="2030" y="251"/>
                  </a:lnTo>
                  <a:lnTo>
                    <a:pt x="1988" y="230"/>
                  </a:lnTo>
                  <a:lnTo>
                    <a:pt x="1883" y="230"/>
                  </a:lnTo>
                  <a:lnTo>
                    <a:pt x="1716" y="293"/>
                  </a:lnTo>
                  <a:lnTo>
                    <a:pt x="1151" y="419"/>
                  </a:lnTo>
                  <a:lnTo>
                    <a:pt x="733" y="419"/>
                  </a:lnTo>
                  <a:lnTo>
                    <a:pt x="628" y="2490"/>
                  </a:lnTo>
                  <a:lnTo>
                    <a:pt x="105" y="2490"/>
                  </a:lnTo>
                  <a:lnTo>
                    <a:pt x="0" y="4310"/>
                  </a:lnTo>
                  <a:lnTo>
                    <a:pt x="210" y="4436"/>
                  </a:lnTo>
                  <a:lnTo>
                    <a:pt x="272" y="4624"/>
                  </a:lnTo>
                  <a:lnTo>
                    <a:pt x="419" y="4938"/>
                  </a:lnTo>
                  <a:lnTo>
                    <a:pt x="398" y="5105"/>
                  </a:lnTo>
                  <a:lnTo>
                    <a:pt x="314" y="5273"/>
                  </a:lnTo>
                  <a:lnTo>
                    <a:pt x="314" y="5377"/>
                  </a:lnTo>
                  <a:lnTo>
                    <a:pt x="482" y="5357"/>
                  </a:lnTo>
                  <a:lnTo>
                    <a:pt x="628" y="5419"/>
                  </a:lnTo>
                  <a:lnTo>
                    <a:pt x="712" y="5357"/>
                  </a:lnTo>
                  <a:lnTo>
                    <a:pt x="879" y="5377"/>
                  </a:lnTo>
                  <a:lnTo>
                    <a:pt x="942" y="5294"/>
                  </a:lnTo>
                  <a:lnTo>
                    <a:pt x="1088" y="5273"/>
                  </a:lnTo>
                  <a:lnTo>
                    <a:pt x="1193" y="5210"/>
                  </a:lnTo>
                  <a:lnTo>
                    <a:pt x="1235" y="5126"/>
                  </a:lnTo>
                  <a:lnTo>
                    <a:pt x="1423" y="5043"/>
                  </a:lnTo>
                  <a:lnTo>
                    <a:pt x="1528" y="4938"/>
                  </a:lnTo>
                  <a:lnTo>
                    <a:pt x="1611" y="4708"/>
                  </a:lnTo>
                  <a:lnTo>
                    <a:pt x="1758" y="4582"/>
                  </a:lnTo>
                  <a:lnTo>
                    <a:pt x="1925" y="4540"/>
                  </a:lnTo>
                  <a:lnTo>
                    <a:pt x="2093" y="4603"/>
                  </a:lnTo>
                  <a:lnTo>
                    <a:pt x="2155" y="4645"/>
                  </a:lnTo>
                  <a:lnTo>
                    <a:pt x="2239" y="4687"/>
                  </a:lnTo>
                  <a:lnTo>
                    <a:pt x="2448" y="4771"/>
                  </a:lnTo>
                  <a:lnTo>
                    <a:pt x="2511" y="4771"/>
                  </a:lnTo>
                  <a:lnTo>
                    <a:pt x="2616" y="4812"/>
                  </a:lnTo>
                  <a:lnTo>
                    <a:pt x="2762" y="4771"/>
                  </a:lnTo>
                  <a:lnTo>
                    <a:pt x="2888" y="4771"/>
                  </a:lnTo>
                  <a:lnTo>
                    <a:pt x="2992" y="4750"/>
                  </a:lnTo>
                  <a:lnTo>
                    <a:pt x="3013" y="4812"/>
                  </a:lnTo>
                  <a:lnTo>
                    <a:pt x="3097" y="4854"/>
                  </a:lnTo>
                  <a:lnTo>
                    <a:pt x="3223" y="4750"/>
                  </a:lnTo>
                  <a:lnTo>
                    <a:pt x="3202" y="4729"/>
                  </a:lnTo>
                  <a:lnTo>
                    <a:pt x="3223" y="4624"/>
                  </a:lnTo>
                  <a:lnTo>
                    <a:pt x="3223" y="4540"/>
                  </a:lnTo>
                  <a:lnTo>
                    <a:pt x="3285" y="4499"/>
                  </a:lnTo>
                  <a:lnTo>
                    <a:pt x="3285" y="4331"/>
                  </a:lnTo>
                  <a:lnTo>
                    <a:pt x="3327" y="4227"/>
                  </a:lnTo>
                  <a:lnTo>
                    <a:pt x="3432" y="4206"/>
                  </a:lnTo>
                  <a:lnTo>
                    <a:pt x="3515" y="4164"/>
                  </a:lnTo>
                  <a:lnTo>
                    <a:pt x="3599" y="4164"/>
                  </a:lnTo>
                  <a:lnTo>
                    <a:pt x="3641" y="4101"/>
                  </a:lnTo>
                  <a:lnTo>
                    <a:pt x="3662" y="4080"/>
                  </a:lnTo>
                  <a:lnTo>
                    <a:pt x="3704" y="3996"/>
                  </a:lnTo>
                  <a:lnTo>
                    <a:pt x="3767" y="3955"/>
                  </a:lnTo>
                  <a:lnTo>
                    <a:pt x="3850" y="3913"/>
                  </a:lnTo>
                  <a:lnTo>
                    <a:pt x="3871" y="3871"/>
                  </a:lnTo>
                  <a:lnTo>
                    <a:pt x="3955" y="3850"/>
                  </a:lnTo>
                  <a:lnTo>
                    <a:pt x="3955" y="3766"/>
                  </a:lnTo>
                  <a:lnTo>
                    <a:pt x="3934" y="3704"/>
                  </a:lnTo>
                  <a:lnTo>
                    <a:pt x="3955" y="3578"/>
                  </a:lnTo>
                  <a:lnTo>
                    <a:pt x="4080" y="3369"/>
                  </a:lnTo>
                  <a:lnTo>
                    <a:pt x="4185" y="3327"/>
                  </a:lnTo>
                  <a:lnTo>
                    <a:pt x="4248" y="3327"/>
                  </a:lnTo>
                  <a:lnTo>
                    <a:pt x="4290" y="3264"/>
                  </a:lnTo>
                  <a:lnTo>
                    <a:pt x="4373" y="3243"/>
                  </a:lnTo>
                  <a:lnTo>
                    <a:pt x="4394" y="3180"/>
                  </a:lnTo>
                  <a:lnTo>
                    <a:pt x="4457" y="3139"/>
                  </a:lnTo>
                  <a:lnTo>
                    <a:pt x="4541" y="3076"/>
                  </a:lnTo>
                  <a:lnTo>
                    <a:pt x="4645" y="2971"/>
                  </a:lnTo>
                  <a:lnTo>
                    <a:pt x="4771" y="2950"/>
                  </a:lnTo>
                  <a:lnTo>
                    <a:pt x="4792" y="2971"/>
                  </a:lnTo>
                  <a:lnTo>
                    <a:pt x="4855" y="2950"/>
                  </a:lnTo>
                  <a:lnTo>
                    <a:pt x="4959" y="2950"/>
                  </a:lnTo>
                  <a:lnTo>
                    <a:pt x="5022" y="2867"/>
                  </a:lnTo>
                  <a:lnTo>
                    <a:pt x="5106" y="2867"/>
                  </a:lnTo>
                  <a:lnTo>
                    <a:pt x="5127" y="2762"/>
                  </a:lnTo>
                  <a:lnTo>
                    <a:pt x="5127" y="2720"/>
                  </a:lnTo>
                  <a:lnTo>
                    <a:pt x="5189" y="2657"/>
                  </a:lnTo>
                  <a:lnTo>
                    <a:pt x="5294" y="2657"/>
                  </a:lnTo>
                  <a:lnTo>
                    <a:pt x="5336" y="2616"/>
                  </a:lnTo>
                  <a:lnTo>
                    <a:pt x="5420" y="2616"/>
                  </a:lnTo>
                  <a:lnTo>
                    <a:pt x="5378" y="2553"/>
                  </a:lnTo>
                  <a:lnTo>
                    <a:pt x="5315" y="2511"/>
                  </a:lnTo>
                  <a:lnTo>
                    <a:pt x="5315" y="2448"/>
                  </a:lnTo>
                  <a:lnTo>
                    <a:pt x="5273" y="2406"/>
                  </a:lnTo>
                  <a:lnTo>
                    <a:pt x="5210" y="2406"/>
                  </a:lnTo>
                  <a:lnTo>
                    <a:pt x="5085" y="2323"/>
                  </a:lnTo>
                  <a:lnTo>
                    <a:pt x="5001" y="2323"/>
                  </a:lnTo>
                  <a:lnTo>
                    <a:pt x="4876" y="2281"/>
                  </a:lnTo>
                  <a:lnTo>
                    <a:pt x="4792" y="2302"/>
                  </a:lnTo>
                  <a:lnTo>
                    <a:pt x="4666" y="2281"/>
                  </a:lnTo>
                  <a:lnTo>
                    <a:pt x="4604" y="2176"/>
                  </a:lnTo>
                  <a:lnTo>
                    <a:pt x="4499" y="2092"/>
                  </a:lnTo>
                  <a:lnTo>
                    <a:pt x="4457" y="1988"/>
                  </a:lnTo>
                  <a:lnTo>
                    <a:pt x="4457" y="1904"/>
                  </a:lnTo>
                  <a:lnTo>
                    <a:pt x="4436" y="1779"/>
                  </a:lnTo>
                  <a:lnTo>
                    <a:pt x="4457" y="1695"/>
                  </a:lnTo>
                  <a:lnTo>
                    <a:pt x="4373" y="1611"/>
                  </a:lnTo>
                  <a:lnTo>
                    <a:pt x="4269" y="1590"/>
                  </a:lnTo>
                  <a:lnTo>
                    <a:pt x="4248" y="1548"/>
                  </a:lnTo>
                  <a:lnTo>
                    <a:pt x="4248" y="1486"/>
                  </a:lnTo>
                  <a:lnTo>
                    <a:pt x="4248" y="1465"/>
                  </a:lnTo>
                  <a:lnTo>
                    <a:pt x="4164" y="1402"/>
                  </a:lnTo>
                  <a:lnTo>
                    <a:pt x="4122" y="1360"/>
                  </a:lnTo>
                  <a:lnTo>
                    <a:pt x="4018" y="1297"/>
                  </a:lnTo>
                  <a:lnTo>
                    <a:pt x="3913" y="1235"/>
                  </a:lnTo>
                  <a:lnTo>
                    <a:pt x="3746" y="963"/>
                  </a:lnTo>
                  <a:lnTo>
                    <a:pt x="3704" y="879"/>
                  </a:lnTo>
                  <a:lnTo>
                    <a:pt x="3662" y="879"/>
                  </a:lnTo>
                  <a:lnTo>
                    <a:pt x="3620" y="837"/>
                  </a:lnTo>
                  <a:lnTo>
                    <a:pt x="3557" y="753"/>
                  </a:lnTo>
                  <a:lnTo>
                    <a:pt x="3515" y="711"/>
                  </a:lnTo>
                  <a:lnTo>
                    <a:pt x="3495" y="607"/>
                  </a:lnTo>
                  <a:lnTo>
                    <a:pt x="3432" y="523"/>
                  </a:lnTo>
                  <a:lnTo>
                    <a:pt x="3411" y="502"/>
                  </a:lnTo>
                  <a:lnTo>
                    <a:pt x="3411" y="439"/>
                  </a:lnTo>
                  <a:lnTo>
                    <a:pt x="3348" y="356"/>
                  </a:lnTo>
                  <a:lnTo>
                    <a:pt x="3285" y="314"/>
                  </a:lnTo>
                  <a:lnTo>
                    <a:pt x="3223" y="293"/>
                  </a:lnTo>
                  <a:lnTo>
                    <a:pt x="3139" y="209"/>
                  </a:lnTo>
                  <a:lnTo>
                    <a:pt x="3139" y="147"/>
                  </a:lnTo>
                  <a:lnTo>
                    <a:pt x="3139" y="105"/>
                  </a:lnTo>
                  <a:lnTo>
                    <a:pt x="3139" y="42"/>
                  </a:lnTo>
                  <a:lnTo>
                    <a:pt x="3118"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0" name="Google Shape;2150;p66"/>
            <p:cNvSpPr/>
            <p:nvPr/>
          </p:nvSpPr>
          <p:spPr>
            <a:xfrm>
              <a:off x="3824578" y="3257889"/>
              <a:ext cx="92188" cy="82826"/>
            </a:xfrm>
            <a:custGeom>
              <a:avLst/>
              <a:gdLst/>
              <a:ahLst/>
              <a:cxnLst/>
              <a:rect l="l" t="t" r="r" b="b"/>
              <a:pathLst>
                <a:path w="7742" h="7283" extrusionOk="0">
                  <a:moveTo>
                    <a:pt x="691" y="1"/>
                  </a:moveTo>
                  <a:lnTo>
                    <a:pt x="502" y="126"/>
                  </a:lnTo>
                  <a:lnTo>
                    <a:pt x="502" y="210"/>
                  </a:lnTo>
                  <a:lnTo>
                    <a:pt x="440" y="231"/>
                  </a:lnTo>
                  <a:lnTo>
                    <a:pt x="377" y="189"/>
                  </a:lnTo>
                  <a:lnTo>
                    <a:pt x="189" y="189"/>
                  </a:lnTo>
                  <a:lnTo>
                    <a:pt x="168" y="273"/>
                  </a:lnTo>
                  <a:lnTo>
                    <a:pt x="105" y="294"/>
                  </a:lnTo>
                  <a:lnTo>
                    <a:pt x="84" y="273"/>
                  </a:lnTo>
                  <a:lnTo>
                    <a:pt x="0" y="231"/>
                  </a:lnTo>
                  <a:lnTo>
                    <a:pt x="21" y="733"/>
                  </a:lnTo>
                  <a:lnTo>
                    <a:pt x="377" y="1068"/>
                  </a:lnTo>
                  <a:lnTo>
                    <a:pt x="544" y="1382"/>
                  </a:lnTo>
                  <a:lnTo>
                    <a:pt x="837" y="2051"/>
                  </a:lnTo>
                  <a:lnTo>
                    <a:pt x="858" y="2302"/>
                  </a:lnTo>
                  <a:lnTo>
                    <a:pt x="1151" y="2700"/>
                  </a:lnTo>
                  <a:lnTo>
                    <a:pt x="1151" y="2847"/>
                  </a:lnTo>
                  <a:lnTo>
                    <a:pt x="1465" y="3307"/>
                  </a:lnTo>
                  <a:lnTo>
                    <a:pt x="1465" y="3537"/>
                  </a:lnTo>
                  <a:lnTo>
                    <a:pt x="1381" y="3579"/>
                  </a:lnTo>
                  <a:lnTo>
                    <a:pt x="1465" y="3872"/>
                  </a:lnTo>
                  <a:lnTo>
                    <a:pt x="1486" y="4311"/>
                  </a:lnTo>
                  <a:lnTo>
                    <a:pt x="1674" y="4751"/>
                  </a:lnTo>
                  <a:lnTo>
                    <a:pt x="1653" y="5023"/>
                  </a:lnTo>
                  <a:lnTo>
                    <a:pt x="1695" y="5190"/>
                  </a:lnTo>
                  <a:lnTo>
                    <a:pt x="1632" y="5232"/>
                  </a:lnTo>
                  <a:lnTo>
                    <a:pt x="1674" y="5315"/>
                  </a:lnTo>
                  <a:lnTo>
                    <a:pt x="1737" y="5629"/>
                  </a:lnTo>
                  <a:lnTo>
                    <a:pt x="1800" y="5650"/>
                  </a:lnTo>
                  <a:lnTo>
                    <a:pt x="1862" y="5755"/>
                  </a:lnTo>
                  <a:lnTo>
                    <a:pt x="1800" y="5797"/>
                  </a:lnTo>
                  <a:lnTo>
                    <a:pt x="1800" y="5943"/>
                  </a:lnTo>
                  <a:lnTo>
                    <a:pt x="1883" y="6027"/>
                  </a:lnTo>
                  <a:lnTo>
                    <a:pt x="1904" y="6257"/>
                  </a:lnTo>
                  <a:lnTo>
                    <a:pt x="2009" y="6383"/>
                  </a:lnTo>
                  <a:lnTo>
                    <a:pt x="2155" y="6676"/>
                  </a:lnTo>
                  <a:lnTo>
                    <a:pt x="2281" y="6801"/>
                  </a:lnTo>
                  <a:lnTo>
                    <a:pt x="2302" y="6885"/>
                  </a:lnTo>
                  <a:lnTo>
                    <a:pt x="2511" y="7031"/>
                  </a:lnTo>
                  <a:lnTo>
                    <a:pt x="2595" y="6989"/>
                  </a:lnTo>
                  <a:lnTo>
                    <a:pt x="2720" y="6968"/>
                  </a:lnTo>
                  <a:lnTo>
                    <a:pt x="2720" y="6885"/>
                  </a:lnTo>
                  <a:lnTo>
                    <a:pt x="2678" y="6843"/>
                  </a:lnTo>
                  <a:lnTo>
                    <a:pt x="2720" y="6759"/>
                  </a:lnTo>
                  <a:lnTo>
                    <a:pt x="2888" y="6696"/>
                  </a:lnTo>
                  <a:lnTo>
                    <a:pt x="2930" y="6801"/>
                  </a:lnTo>
                  <a:lnTo>
                    <a:pt x="3055" y="6822"/>
                  </a:lnTo>
                  <a:lnTo>
                    <a:pt x="3013" y="6927"/>
                  </a:lnTo>
                  <a:lnTo>
                    <a:pt x="3097" y="7115"/>
                  </a:lnTo>
                  <a:lnTo>
                    <a:pt x="3264" y="7136"/>
                  </a:lnTo>
                  <a:lnTo>
                    <a:pt x="3411" y="7220"/>
                  </a:lnTo>
                  <a:lnTo>
                    <a:pt x="3515" y="7199"/>
                  </a:lnTo>
                  <a:lnTo>
                    <a:pt x="3557" y="7220"/>
                  </a:lnTo>
                  <a:lnTo>
                    <a:pt x="3662" y="7240"/>
                  </a:lnTo>
                  <a:lnTo>
                    <a:pt x="3725" y="7199"/>
                  </a:lnTo>
                  <a:lnTo>
                    <a:pt x="3787" y="7199"/>
                  </a:lnTo>
                  <a:lnTo>
                    <a:pt x="3850" y="7282"/>
                  </a:lnTo>
                  <a:lnTo>
                    <a:pt x="3976" y="7282"/>
                  </a:lnTo>
                  <a:lnTo>
                    <a:pt x="3997" y="7178"/>
                  </a:lnTo>
                  <a:lnTo>
                    <a:pt x="4038" y="7115"/>
                  </a:lnTo>
                  <a:lnTo>
                    <a:pt x="4101" y="7094"/>
                  </a:lnTo>
                  <a:lnTo>
                    <a:pt x="4164" y="6968"/>
                  </a:lnTo>
                  <a:lnTo>
                    <a:pt x="4310" y="6885"/>
                  </a:lnTo>
                  <a:lnTo>
                    <a:pt x="4499" y="6906"/>
                  </a:lnTo>
                  <a:lnTo>
                    <a:pt x="4562" y="6906"/>
                  </a:lnTo>
                  <a:lnTo>
                    <a:pt x="4624" y="4813"/>
                  </a:lnTo>
                  <a:lnTo>
                    <a:pt x="4729" y="2993"/>
                  </a:lnTo>
                  <a:lnTo>
                    <a:pt x="5252" y="2993"/>
                  </a:lnTo>
                  <a:lnTo>
                    <a:pt x="5357" y="922"/>
                  </a:lnTo>
                  <a:lnTo>
                    <a:pt x="5775" y="922"/>
                  </a:lnTo>
                  <a:lnTo>
                    <a:pt x="6340" y="796"/>
                  </a:lnTo>
                  <a:lnTo>
                    <a:pt x="6507" y="733"/>
                  </a:lnTo>
                  <a:lnTo>
                    <a:pt x="6612" y="733"/>
                  </a:lnTo>
                  <a:lnTo>
                    <a:pt x="6654" y="754"/>
                  </a:lnTo>
                  <a:lnTo>
                    <a:pt x="6675" y="838"/>
                  </a:lnTo>
                  <a:lnTo>
                    <a:pt x="6717" y="859"/>
                  </a:lnTo>
                  <a:lnTo>
                    <a:pt x="6696" y="922"/>
                  </a:lnTo>
                  <a:lnTo>
                    <a:pt x="6675" y="1005"/>
                  </a:lnTo>
                  <a:lnTo>
                    <a:pt x="6717" y="1005"/>
                  </a:lnTo>
                  <a:lnTo>
                    <a:pt x="6905" y="859"/>
                  </a:lnTo>
                  <a:lnTo>
                    <a:pt x="7031" y="733"/>
                  </a:lnTo>
                  <a:lnTo>
                    <a:pt x="7135" y="608"/>
                  </a:lnTo>
                  <a:lnTo>
                    <a:pt x="7282" y="608"/>
                  </a:lnTo>
                  <a:lnTo>
                    <a:pt x="7303" y="629"/>
                  </a:lnTo>
                  <a:lnTo>
                    <a:pt x="7386" y="650"/>
                  </a:lnTo>
                  <a:lnTo>
                    <a:pt x="7449" y="608"/>
                  </a:lnTo>
                  <a:lnTo>
                    <a:pt x="7637" y="524"/>
                  </a:lnTo>
                  <a:lnTo>
                    <a:pt x="7742" y="503"/>
                  </a:lnTo>
                  <a:lnTo>
                    <a:pt x="7658" y="398"/>
                  </a:lnTo>
                  <a:lnTo>
                    <a:pt x="7637" y="398"/>
                  </a:lnTo>
                  <a:lnTo>
                    <a:pt x="7616" y="378"/>
                  </a:lnTo>
                  <a:lnTo>
                    <a:pt x="7533" y="378"/>
                  </a:lnTo>
                  <a:lnTo>
                    <a:pt x="7512" y="336"/>
                  </a:lnTo>
                  <a:lnTo>
                    <a:pt x="7491" y="336"/>
                  </a:lnTo>
                  <a:lnTo>
                    <a:pt x="7449" y="315"/>
                  </a:lnTo>
                  <a:lnTo>
                    <a:pt x="7323" y="378"/>
                  </a:lnTo>
                  <a:lnTo>
                    <a:pt x="7240" y="336"/>
                  </a:lnTo>
                  <a:lnTo>
                    <a:pt x="6696" y="482"/>
                  </a:lnTo>
                  <a:lnTo>
                    <a:pt x="5817" y="691"/>
                  </a:lnTo>
                  <a:lnTo>
                    <a:pt x="5671" y="691"/>
                  </a:lnTo>
                  <a:lnTo>
                    <a:pt x="5650" y="650"/>
                  </a:lnTo>
                  <a:lnTo>
                    <a:pt x="5608" y="650"/>
                  </a:lnTo>
                  <a:lnTo>
                    <a:pt x="5566" y="608"/>
                  </a:lnTo>
                  <a:lnTo>
                    <a:pt x="5524" y="629"/>
                  </a:lnTo>
                  <a:lnTo>
                    <a:pt x="5461" y="608"/>
                  </a:lnTo>
                  <a:lnTo>
                    <a:pt x="5419" y="587"/>
                  </a:lnTo>
                  <a:lnTo>
                    <a:pt x="5336" y="608"/>
                  </a:lnTo>
                  <a:lnTo>
                    <a:pt x="5336" y="650"/>
                  </a:lnTo>
                  <a:lnTo>
                    <a:pt x="5189" y="650"/>
                  </a:lnTo>
                  <a:lnTo>
                    <a:pt x="5085" y="629"/>
                  </a:lnTo>
                  <a:lnTo>
                    <a:pt x="4938" y="503"/>
                  </a:lnTo>
                  <a:lnTo>
                    <a:pt x="4896" y="503"/>
                  </a:lnTo>
                  <a:lnTo>
                    <a:pt x="4875" y="482"/>
                  </a:lnTo>
                  <a:lnTo>
                    <a:pt x="4834" y="545"/>
                  </a:lnTo>
                  <a:lnTo>
                    <a:pt x="4771" y="545"/>
                  </a:lnTo>
                  <a:lnTo>
                    <a:pt x="4624" y="524"/>
                  </a:lnTo>
                  <a:lnTo>
                    <a:pt x="4520" y="545"/>
                  </a:lnTo>
                  <a:lnTo>
                    <a:pt x="4457" y="608"/>
                  </a:lnTo>
                  <a:lnTo>
                    <a:pt x="4373" y="587"/>
                  </a:lnTo>
                  <a:lnTo>
                    <a:pt x="4352" y="524"/>
                  </a:lnTo>
                  <a:lnTo>
                    <a:pt x="4290" y="503"/>
                  </a:lnTo>
                  <a:lnTo>
                    <a:pt x="4185" y="524"/>
                  </a:lnTo>
                  <a:lnTo>
                    <a:pt x="4080" y="503"/>
                  </a:lnTo>
                  <a:lnTo>
                    <a:pt x="3955" y="440"/>
                  </a:lnTo>
                  <a:lnTo>
                    <a:pt x="3892" y="398"/>
                  </a:lnTo>
                  <a:lnTo>
                    <a:pt x="3850" y="294"/>
                  </a:lnTo>
                  <a:lnTo>
                    <a:pt x="3829" y="273"/>
                  </a:lnTo>
                  <a:lnTo>
                    <a:pt x="1653" y="273"/>
                  </a:lnTo>
                  <a:lnTo>
                    <a:pt x="1632" y="231"/>
                  </a:lnTo>
                  <a:lnTo>
                    <a:pt x="1569" y="231"/>
                  </a:lnTo>
                  <a:lnTo>
                    <a:pt x="1486" y="294"/>
                  </a:lnTo>
                  <a:lnTo>
                    <a:pt x="1465" y="294"/>
                  </a:lnTo>
                  <a:lnTo>
                    <a:pt x="1360" y="336"/>
                  </a:lnTo>
                  <a:lnTo>
                    <a:pt x="1235" y="294"/>
                  </a:lnTo>
                  <a:lnTo>
                    <a:pt x="1130" y="189"/>
                  </a:lnTo>
                  <a:lnTo>
                    <a:pt x="1067" y="168"/>
                  </a:lnTo>
                  <a:lnTo>
                    <a:pt x="1109" y="106"/>
                  </a:lnTo>
                  <a:lnTo>
                    <a:pt x="1025" y="85"/>
                  </a:lnTo>
                  <a:lnTo>
                    <a:pt x="1025" y="64"/>
                  </a:lnTo>
                  <a:lnTo>
                    <a:pt x="942" y="1"/>
                  </a:lnTo>
                  <a:lnTo>
                    <a:pt x="900" y="22"/>
                  </a:lnTo>
                  <a:lnTo>
                    <a:pt x="858" y="64"/>
                  </a:lnTo>
                  <a:lnTo>
                    <a:pt x="837" y="64"/>
                  </a:lnTo>
                  <a:lnTo>
                    <a:pt x="733"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6B65"/>
                </a:solidFill>
                <a:latin typeface="Arial"/>
                <a:cs typeface="Arial"/>
                <a:sym typeface="Arial"/>
              </a:endParaRPr>
            </a:p>
          </p:txBody>
        </p:sp>
        <p:sp>
          <p:nvSpPr>
            <p:cNvPr id="2151" name="Google Shape;2151;p66"/>
            <p:cNvSpPr/>
            <p:nvPr/>
          </p:nvSpPr>
          <p:spPr>
            <a:xfrm>
              <a:off x="3953131" y="3215060"/>
              <a:ext cx="71767" cy="110427"/>
            </a:xfrm>
            <a:custGeom>
              <a:avLst/>
              <a:gdLst/>
              <a:ahLst/>
              <a:cxnLst/>
              <a:rect l="l" t="t" r="r" b="b"/>
              <a:pathLst>
                <a:path w="6027" h="9710" extrusionOk="0">
                  <a:moveTo>
                    <a:pt x="6006" y="1"/>
                  </a:moveTo>
                  <a:lnTo>
                    <a:pt x="5964" y="22"/>
                  </a:lnTo>
                  <a:lnTo>
                    <a:pt x="5922" y="84"/>
                  </a:lnTo>
                  <a:lnTo>
                    <a:pt x="5818" y="63"/>
                  </a:lnTo>
                  <a:lnTo>
                    <a:pt x="5734" y="126"/>
                  </a:lnTo>
                  <a:lnTo>
                    <a:pt x="5650" y="210"/>
                  </a:lnTo>
                  <a:lnTo>
                    <a:pt x="5525" y="231"/>
                  </a:lnTo>
                  <a:lnTo>
                    <a:pt x="5441" y="314"/>
                  </a:lnTo>
                  <a:lnTo>
                    <a:pt x="5315" y="314"/>
                  </a:lnTo>
                  <a:lnTo>
                    <a:pt x="5294" y="377"/>
                  </a:lnTo>
                  <a:lnTo>
                    <a:pt x="5190" y="398"/>
                  </a:lnTo>
                  <a:lnTo>
                    <a:pt x="5106" y="377"/>
                  </a:lnTo>
                  <a:lnTo>
                    <a:pt x="4897" y="440"/>
                  </a:lnTo>
                  <a:lnTo>
                    <a:pt x="4855" y="482"/>
                  </a:lnTo>
                  <a:lnTo>
                    <a:pt x="4750" y="503"/>
                  </a:lnTo>
                  <a:lnTo>
                    <a:pt x="4667" y="440"/>
                  </a:lnTo>
                  <a:lnTo>
                    <a:pt x="4583" y="440"/>
                  </a:lnTo>
                  <a:lnTo>
                    <a:pt x="4478" y="419"/>
                  </a:lnTo>
                  <a:lnTo>
                    <a:pt x="4437" y="482"/>
                  </a:lnTo>
                  <a:lnTo>
                    <a:pt x="4458" y="524"/>
                  </a:lnTo>
                  <a:lnTo>
                    <a:pt x="4437" y="607"/>
                  </a:lnTo>
                  <a:lnTo>
                    <a:pt x="4269" y="628"/>
                  </a:lnTo>
                  <a:lnTo>
                    <a:pt x="4144" y="691"/>
                  </a:lnTo>
                  <a:lnTo>
                    <a:pt x="4060" y="628"/>
                  </a:lnTo>
                  <a:lnTo>
                    <a:pt x="3976" y="628"/>
                  </a:lnTo>
                  <a:lnTo>
                    <a:pt x="3976" y="587"/>
                  </a:lnTo>
                  <a:lnTo>
                    <a:pt x="3934" y="545"/>
                  </a:lnTo>
                  <a:lnTo>
                    <a:pt x="3872" y="607"/>
                  </a:lnTo>
                  <a:lnTo>
                    <a:pt x="3809" y="607"/>
                  </a:lnTo>
                  <a:lnTo>
                    <a:pt x="3704" y="712"/>
                  </a:lnTo>
                  <a:lnTo>
                    <a:pt x="3516" y="733"/>
                  </a:lnTo>
                  <a:lnTo>
                    <a:pt x="3537" y="712"/>
                  </a:lnTo>
                  <a:lnTo>
                    <a:pt x="3495" y="628"/>
                  </a:lnTo>
                  <a:lnTo>
                    <a:pt x="3411" y="628"/>
                  </a:lnTo>
                  <a:lnTo>
                    <a:pt x="3328" y="587"/>
                  </a:lnTo>
                  <a:lnTo>
                    <a:pt x="3244" y="545"/>
                  </a:lnTo>
                  <a:lnTo>
                    <a:pt x="3244" y="503"/>
                  </a:lnTo>
                  <a:lnTo>
                    <a:pt x="3181" y="524"/>
                  </a:lnTo>
                  <a:lnTo>
                    <a:pt x="3139" y="545"/>
                  </a:lnTo>
                  <a:lnTo>
                    <a:pt x="3035" y="587"/>
                  </a:lnTo>
                  <a:lnTo>
                    <a:pt x="2491" y="607"/>
                  </a:lnTo>
                  <a:lnTo>
                    <a:pt x="2365" y="1110"/>
                  </a:lnTo>
                  <a:lnTo>
                    <a:pt x="2449" y="1654"/>
                  </a:lnTo>
                  <a:lnTo>
                    <a:pt x="2616" y="1737"/>
                  </a:lnTo>
                  <a:lnTo>
                    <a:pt x="2721" y="1800"/>
                  </a:lnTo>
                  <a:lnTo>
                    <a:pt x="2763" y="1863"/>
                  </a:lnTo>
                  <a:lnTo>
                    <a:pt x="2805" y="1884"/>
                  </a:lnTo>
                  <a:lnTo>
                    <a:pt x="3014" y="2072"/>
                  </a:lnTo>
                  <a:lnTo>
                    <a:pt x="3035" y="2177"/>
                  </a:lnTo>
                  <a:lnTo>
                    <a:pt x="3181" y="2365"/>
                  </a:lnTo>
                  <a:lnTo>
                    <a:pt x="3223" y="2491"/>
                  </a:lnTo>
                  <a:lnTo>
                    <a:pt x="3286" y="2574"/>
                  </a:lnTo>
                  <a:lnTo>
                    <a:pt x="3286" y="2637"/>
                  </a:lnTo>
                  <a:lnTo>
                    <a:pt x="3202" y="2637"/>
                  </a:lnTo>
                  <a:lnTo>
                    <a:pt x="3181" y="2721"/>
                  </a:lnTo>
                  <a:lnTo>
                    <a:pt x="3118" y="2721"/>
                  </a:lnTo>
                  <a:lnTo>
                    <a:pt x="3097" y="2783"/>
                  </a:lnTo>
                  <a:lnTo>
                    <a:pt x="3118" y="2804"/>
                  </a:lnTo>
                  <a:lnTo>
                    <a:pt x="3097" y="2846"/>
                  </a:lnTo>
                  <a:lnTo>
                    <a:pt x="3181" y="2930"/>
                  </a:lnTo>
                  <a:lnTo>
                    <a:pt x="3139" y="3139"/>
                  </a:lnTo>
                  <a:lnTo>
                    <a:pt x="3118" y="3244"/>
                  </a:lnTo>
                  <a:lnTo>
                    <a:pt x="3035" y="3307"/>
                  </a:lnTo>
                  <a:lnTo>
                    <a:pt x="2930" y="3327"/>
                  </a:lnTo>
                  <a:lnTo>
                    <a:pt x="2867" y="3474"/>
                  </a:lnTo>
                  <a:lnTo>
                    <a:pt x="2867" y="3579"/>
                  </a:lnTo>
                  <a:lnTo>
                    <a:pt x="2805" y="3683"/>
                  </a:lnTo>
                  <a:lnTo>
                    <a:pt x="2825" y="3830"/>
                  </a:lnTo>
                  <a:lnTo>
                    <a:pt x="2805" y="3955"/>
                  </a:lnTo>
                  <a:lnTo>
                    <a:pt x="2700" y="3976"/>
                  </a:lnTo>
                  <a:lnTo>
                    <a:pt x="2679" y="3872"/>
                  </a:lnTo>
                  <a:lnTo>
                    <a:pt x="2700" y="3830"/>
                  </a:lnTo>
                  <a:lnTo>
                    <a:pt x="2616" y="3725"/>
                  </a:lnTo>
                  <a:lnTo>
                    <a:pt x="2574" y="3662"/>
                  </a:lnTo>
                  <a:lnTo>
                    <a:pt x="2491" y="3620"/>
                  </a:lnTo>
                  <a:lnTo>
                    <a:pt x="2386" y="3537"/>
                  </a:lnTo>
                  <a:lnTo>
                    <a:pt x="2281" y="3411"/>
                  </a:lnTo>
                  <a:lnTo>
                    <a:pt x="2281" y="3327"/>
                  </a:lnTo>
                  <a:lnTo>
                    <a:pt x="2240" y="3202"/>
                  </a:lnTo>
                  <a:lnTo>
                    <a:pt x="2240" y="3097"/>
                  </a:lnTo>
                  <a:lnTo>
                    <a:pt x="2281" y="2993"/>
                  </a:lnTo>
                  <a:lnTo>
                    <a:pt x="2344" y="2846"/>
                  </a:lnTo>
                  <a:lnTo>
                    <a:pt x="2449" y="2721"/>
                  </a:lnTo>
                  <a:lnTo>
                    <a:pt x="2470" y="2595"/>
                  </a:lnTo>
                  <a:lnTo>
                    <a:pt x="2470" y="2428"/>
                  </a:lnTo>
                  <a:lnTo>
                    <a:pt x="2407" y="2323"/>
                  </a:lnTo>
                  <a:lnTo>
                    <a:pt x="2261" y="2302"/>
                  </a:lnTo>
                  <a:lnTo>
                    <a:pt x="2135" y="2302"/>
                  </a:lnTo>
                  <a:lnTo>
                    <a:pt x="2072" y="2365"/>
                  </a:lnTo>
                  <a:lnTo>
                    <a:pt x="2030" y="2365"/>
                  </a:lnTo>
                  <a:lnTo>
                    <a:pt x="1968" y="2386"/>
                  </a:lnTo>
                  <a:lnTo>
                    <a:pt x="1863" y="2323"/>
                  </a:lnTo>
                  <a:lnTo>
                    <a:pt x="1863" y="2260"/>
                  </a:lnTo>
                  <a:lnTo>
                    <a:pt x="1821" y="2198"/>
                  </a:lnTo>
                  <a:lnTo>
                    <a:pt x="1779" y="2156"/>
                  </a:lnTo>
                  <a:lnTo>
                    <a:pt x="1758" y="2093"/>
                  </a:lnTo>
                  <a:lnTo>
                    <a:pt x="1612" y="2114"/>
                  </a:lnTo>
                  <a:lnTo>
                    <a:pt x="1424" y="2177"/>
                  </a:lnTo>
                  <a:lnTo>
                    <a:pt x="1089" y="2302"/>
                  </a:lnTo>
                  <a:lnTo>
                    <a:pt x="984" y="2323"/>
                  </a:lnTo>
                  <a:lnTo>
                    <a:pt x="398" y="2595"/>
                  </a:lnTo>
                  <a:lnTo>
                    <a:pt x="273" y="2595"/>
                  </a:lnTo>
                  <a:lnTo>
                    <a:pt x="43" y="2700"/>
                  </a:lnTo>
                  <a:lnTo>
                    <a:pt x="1" y="2783"/>
                  </a:lnTo>
                  <a:lnTo>
                    <a:pt x="43" y="2951"/>
                  </a:lnTo>
                  <a:lnTo>
                    <a:pt x="43" y="3035"/>
                  </a:lnTo>
                  <a:lnTo>
                    <a:pt x="64" y="3223"/>
                  </a:lnTo>
                  <a:lnTo>
                    <a:pt x="273" y="3244"/>
                  </a:lnTo>
                  <a:lnTo>
                    <a:pt x="356" y="3244"/>
                  </a:lnTo>
                  <a:lnTo>
                    <a:pt x="377" y="3327"/>
                  </a:lnTo>
                  <a:lnTo>
                    <a:pt x="419" y="3307"/>
                  </a:lnTo>
                  <a:lnTo>
                    <a:pt x="482" y="3244"/>
                  </a:lnTo>
                  <a:lnTo>
                    <a:pt x="628" y="3265"/>
                  </a:lnTo>
                  <a:lnTo>
                    <a:pt x="796" y="3369"/>
                  </a:lnTo>
                  <a:lnTo>
                    <a:pt x="901" y="3516"/>
                  </a:lnTo>
                  <a:lnTo>
                    <a:pt x="1005" y="3537"/>
                  </a:lnTo>
                  <a:lnTo>
                    <a:pt x="1193" y="3537"/>
                  </a:lnTo>
                  <a:lnTo>
                    <a:pt x="1298" y="3620"/>
                  </a:lnTo>
                  <a:lnTo>
                    <a:pt x="1340" y="3683"/>
                  </a:lnTo>
                  <a:lnTo>
                    <a:pt x="1465" y="3725"/>
                  </a:lnTo>
                  <a:lnTo>
                    <a:pt x="1465" y="3788"/>
                  </a:lnTo>
                  <a:lnTo>
                    <a:pt x="1424" y="3892"/>
                  </a:lnTo>
                  <a:lnTo>
                    <a:pt x="1445" y="3976"/>
                  </a:lnTo>
                  <a:lnTo>
                    <a:pt x="1424" y="4060"/>
                  </a:lnTo>
                  <a:lnTo>
                    <a:pt x="1445" y="4144"/>
                  </a:lnTo>
                  <a:lnTo>
                    <a:pt x="1445" y="4206"/>
                  </a:lnTo>
                  <a:lnTo>
                    <a:pt x="1403" y="4290"/>
                  </a:lnTo>
                  <a:lnTo>
                    <a:pt x="1361" y="4457"/>
                  </a:lnTo>
                  <a:lnTo>
                    <a:pt x="1319" y="4562"/>
                  </a:lnTo>
                  <a:lnTo>
                    <a:pt x="1361" y="4604"/>
                  </a:lnTo>
                  <a:lnTo>
                    <a:pt x="1445" y="4604"/>
                  </a:lnTo>
                  <a:lnTo>
                    <a:pt x="1424" y="4688"/>
                  </a:lnTo>
                  <a:lnTo>
                    <a:pt x="1319" y="4729"/>
                  </a:lnTo>
                  <a:lnTo>
                    <a:pt x="1319" y="4834"/>
                  </a:lnTo>
                  <a:lnTo>
                    <a:pt x="1319" y="4980"/>
                  </a:lnTo>
                  <a:lnTo>
                    <a:pt x="1235" y="5001"/>
                  </a:lnTo>
                  <a:lnTo>
                    <a:pt x="1235" y="5043"/>
                  </a:lnTo>
                  <a:lnTo>
                    <a:pt x="1340" y="5127"/>
                  </a:lnTo>
                  <a:lnTo>
                    <a:pt x="1361" y="5232"/>
                  </a:lnTo>
                  <a:lnTo>
                    <a:pt x="1319" y="5294"/>
                  </a:lnTo>
                  <a:lnTo>
                    <a:pt x="1319" y="5399"/>
                  </a:lnTo>
                  <a:lnTo>
                    <a:pt x="1361" y="5441"/>
                  </a:lnTo>
                  <a:lnTo>
                    <a:pt x="1403" y="5524"/>
                  </a:lnTo>
                  <a:lnTo>
                    <a:pt x="1319" y="5629"/>
                  </a:lnTo>
                  <a:lnTo>
                    <a:pt x="1214" y="5734"/>
                  </a:lnTo>
                  <a:lnTo>
                    <a:pt x="1193" y="5776"/>
                  </a:lnTo>
                  <a:lnTo>
                    <a:pt x="1110" y="5776"/>
                  </a:lnTo>
                  <a:lnTo>
                    <a:pt x="1089" y="5859"/>
                  </a:lnTo>
                  <a:lnTo>
                    <a:pt x="1110" y="5964"/>
                  </a:lnTo>
                  <a:lnTo>
                    <a:pt x="1089" y="6048"/>
                  </a:lnTo>
                  <a:lnTo>
                    <a:pt x="1047" y="6194"/>
                  </a:lnTo>
                  <a:lnTo>
                    <a:pt x="1026" y="6278"/>
                  </a:lnTo>
                  <a:lnTo>
                    <a:pt x="1026" y="6466"/>
                  </a:lnTo>
                  <a:lnTo>
                    <a:pt x="398" y="7115"/>
                  </a:lnTo>
                  <a:lnTo>
                    <a:pt x="461" y="7282"/>
                  </a:lnTo>
                  <a:lnTo>
                    <a:pt x="482" y="7429"/>
                  </a:lnTo>
                  <a:lnTo>
                    <a:pt x="566" y="7554"/>
                  </a:lnTo>
                  <a:lnTo>
                    <a:pt x="566" y="7847"/>
                  </a:lnTo>
                  <a:lnTo>
                    <a:pt x="524" y="7868"/>
                  </a:lnTo>
                  <a:lnTo>
                    <a:pt x="524" y="7973"/>
                  </a:lnTo>
                  <a:lnTo>
                    <a:pt x="587" y="8077"/>
                  </a:lnTo>
                  <a:lnTo>
                    <a:pt x="608" y="8224"/>
                  </a:lnTo>
                  <a:lnTo>
                    <a:pt x="608" y="8684"/>
                  </a:lnTo>
                  <a:lnTo>
                    <a:pt x="566" y="8851"/>
                  </a:lnTo>
                  <a:lnTo>
                    <a:pt x="566" y="9019"/>
                  </a:lnTo>
                  <a:lnTo>
                    <a:pt x="566" y="9207"/>
                  </a:lnTo>
                  <a:lnTo>
                    <a:pt x="566" y="9228"/>
                  </a:lnTo>
                  <a:lnTo>
                    <a:pt x="628" y="9270"/>
                  </a:lnTo>
                  <a:lnTo>
                    <a:pt x="691" y="9333"/>
                  </a:lnTo>
                  <a:lnTo>
                    <a:pt x="733" y="9395"/>
                  </a:lnTo>
                  <a:lnTo>
                    <a:pt x="712" y="9437"/>
                  </a:lnTo>
                  <a:lnTo>
                    <a:pt x="712" y="9521"/>
                  </a:lnTo>
                  <a:lnTo>
                    <a:pt x="691" y="9626"/>
                  </a:lnTo>
                  <a:lnTo>
                    <a:pt x="691" y="9646"/>
                  </a:lnTo>
                  <a:lnTo>
                    <a:pt x="733" y="9646"/>
                  </a:lnTo>
                  <a:lnTo>
                    <a:pt x="942" y="9709"/>
                  </a:lnTo>
                  <a:lnTo>
                    <a:pt x="1047" y="9709"/>
                  </a:lnTo>
                  <a:lnTo>
                    <a:pt x="1089" y="9605"/>
                  </a:lnTo>
                  <a:lnTo>
                    <a:pt x="1131" y="9500"/>
                  </a:lnTo>
                  <a:lnTo>
                    <a:pt x="1152" y="9333"/>
                  </a:lnTo>
                  <a:lnTo>
                    <a:pt x="1131" y="9291"/>
                  </a:lnTo>
                  <a:lnTo>
                    <a:pt x="1110" y="9291"/>
                  </a:lnTo>
                  <a:lnTo>
                    <a:pt x="1089" y="9395"/>
                  </a:lnTo>
                  <a:lnTo>
                    <a:pt x="1005" y="9374"/>
                  </a:lnTo>
                  <a:lnTo>
                    <a:pt x="942" y="9437"/>
                  </a:lnTo>
                  <a:lnTo>
                    <a:pt x="942" y="9333"/>
                  </a:lnTo>
                  <a:lnTo>
                    <a:pt x="901" y="9228"/>
                  </a:lnTo>
                  <a:lnTo>
                    <a:pt x="880" y="9207"/>
                  </a:lnTo>
                  <a:lnTo>
                    <a:pt x="921" y="9165"/>
                  </a:lnTo>
                  <a:lnTo>
                    <a:pt x="984" y="9165"/>
                  </a:lnTo>
                  <a:lnTo>
                    <a:pt x="1026" y="9019"/>
                  </a:lnTo>
                  <a:lnTo>
                    <a:pt x="1110" y="8977"/>
                  </a:lnTo>
                  <a:lnTo>
                    <a:pt x="1131" y="8893"/>
                  </a:lnTo>
                  <a:lnTo>
                    <a:pt x="1298" y="8872"/>
                  </a:lnTo>
                  <a:lnTo>
                    <a:pt x="1465" y="8663"/>
                  </a:lnTo>
                  <a:lnTo>
                    <a:pt x="1989" y="8579"/>
                  </a:lnTo>
                  <a:lnTo>
                    <a:pt x="2365" y="8391"/>
                  </a:lnTo>
                  <a:lnTo>
                    <a:pt x="2574" y="8182"/>
                  </a:lnTo>
                  <a:lnTo>
                    <a:pt x="2616" y="8035"/>
                  </a:lnTo>
                  <a:lnTo>
                    <a:pt x="2679" y="7931"/>
                  </a:lnTo>
                  <a:lnTo>
                    <a:pt x="2679" y="7847"/>
                  </a:lnTo>
                  <a:lnTo>
                    <a:pt x="2574" y="7910"/>
                  </a:lnTo>
                  <a:lnTo>
                    <a:pt x="2553" y="7805"/>
                  </a:lnTo>
                  <a:lnTo>
                    <a:pt x="2595" y="7805"/>
                  </a:lnTo>
                  <a:lnTo>
                    <a:pt x="2595" y="7701"/>
                  </a:lnTo>
                  <a:lnTo>
                    <a:pt x="2658" y="7617"/>
                  </a:lnTo>
                  <a:lnTo>
                    <a:pt x="2658" y="7533"/>
                  </a:lnTo>
                  <a:lnTo>
                    <a:pt x="2721" y="7345"/>
                  </a:lnTo>
                  <a:lnTo>
                    <a:pt x="2700" y="7324"/>
                  </a:lnTo>
                  <a:lnTo>
                    <a:pt x="2700" y="7177"/>
                  </a:lnTo>
                  <a:lnTo>
                    <a:pt x="2763" y="7115"/>
                  </a:lnTo>
                  <a:lnTo>
                    <a:pt x="2763" y="6968"/>
                  </a:lnTo>
                  <a:lnTo>
                    <a:pt x="2721" y="6968"/>
                  </a:lnTo>
                  <a:lnTo>
                    <a:pt x="2721" y="6822"/>
                  </a:lnTo>
                  <a:lnTo>
                    <a:pt x="2658" y="6968"/>
                  </a:lnTo>
                  <a:lnTo>
                    <a:pt x="2658" y="7073"/>
                  </a:lnTo>
                  <a:lnTo>
                    <a:pt x="2595" y="7094"/>
                  </a:lnTo>
                  <a:lnTo>
                    <a:pt x="2574" y="6968"/>
                  </a:lnTo>
                  <a:lnTo>
                    <a:pt x="2595" y="6592"/>
                  </a:lnTo>
                  <a:lnTo>
                    <a:pt x="2553" y="6466"/>
                  </a:lnTo>
                  <a:lnTo>
                    <a:pt x="2553" y="6340"/>
                  </a:lnTo>
                  <a:lnTo>
                    <a:pt x="2470" y="6236"/>
                  </a:lnTo>
                  <a:lnTo>
                    <a:pt x="2407" y="6194"/>
                  </a:lnTo>
                  <a:lnTo>
                    <a:pt x="2491" y="6152"/>
                  </a:lnTo>
                  <a:lnTo>
                    <a:pt x="2491" y="6068"/>
                  </a:lnTo>
                  <a:lnTo>
                    <a:pt x="2302" y="5838"/>
                  </a:lnTo>
                  <a:lnTo>
                    <a:pt x="2386" y="5755"/>
                  </a:lnTo>
                  <a:lnTo>
                    <a:pt x="2365" y="5650"/>
                  </a:lnTo>
                  <a:lnTo>
                    <a:pt x="2407" y="5608"/>
                  </a:lnTo>
                  <a:lnTo>
                    <a:pt x="2407" y="5524"/>
                  </a:lnTo>
                  <a:lnTo>
                    <a:pt x="2365" y="5441"/>
                  </a:lnTo>
                  <a:lnTo>
                    <a:pt x="2365" y="5399"/>
                  </a:lnTo>
                  <a:lnTo>
                    <a:pt x="2407" y="5399"/>
                  </a:lnTo>
                  <a:lnTo>
                    <a:pt x="2512" y="5462"/>
                  </a:lnTo>
                  <a:lnTo>
                    <a:pt x="2574" y="5399"/>
                  </a:lnTo>
                  <a:lnTo>
                    <a:pt x="2721" y="5399"/>
                  </a:lnTo>
                  <a:lnTo>
                    <a:pt x="2825" y="5315"/>
                  </a:lnTo>
                  <a:lnTo>
                    <a:pt x="2805" y="5190"/>
                  </a:lnTo>
                  <a:lnTo>
                    <a:pt x="3118" y="4980"/>
                  </a:lnTo>
                  <a:lnTo>
                    <a:pt x="3244" y="4980"/>
                  </a:lnTo>
                  <a:lnTo>
                    <a:pt x="3244" y="4897"/>
                  </a:lnTo>
                  <a:lnTo>
                    <a:pt x="3307" y="4876"/>
                  </a:lnTo>
                  <a:lnTo>
                    <a:pt x="3349" y="4813"/>
                  </a:lnTo>
                  <a:lnTo>
                    <a:pt x="3349" y="4771"/>
                  </a:lnTo>
                  <a:lnTo>
                    <a:pt x="3600" y="4625"/>
                  </a:lnTo>
                  <a:lnTo>
                    <a:pt x="3621" y="4562"/>
                  </a:lnTo>
                  <a:lnTo>
                    <a:pt x="3662" y="4520"/>
                  </a:lnTo>
                  <a:lnTo>
                    <a:pt x="3704" y="4374"/>
                  </a:lnTo>
                  <a:lnTo>
                    <a:pt x="3746" y="4478"/>
                  </a:lnTo>
                  <a:lnTo>
                    <a:pt x="3830" y="4416"/>
                  </a:lnTo>
                  <a:lnTo>
                    <a:pt x="3955" y="4269"/>
                  </a:lnTo>
                  <a:lnTo>
                    <a:pt x="3955" y="4185"/>
                  </a:lnTo>
                  <a:lnTo>
                    <a:pt x="4018" y="4248"/>
                  </a:lnTo>
                  <a:lnTo>
                    <a:pt x="4248" y="4081"/>
                  </a:lnTo>
                  <a:lnTo>
                    <a:pt x="4437" y="3997"/>
                  </a:lnTo>
                  <a:lnTo>
                    <a:pt x="4437" y="3976"/>
                  </a:lnTo>
                  <a:lnTo>
                    <a:pt x="4562" y="3976"/>
                  </a:lnTo>
                  <a:lnTo>
                    <a:pt x="4918" y="3788"/>
                  </a:lnTo>
                  <a:lnTo>
                    <a:pt x="4960" y="3725"/>
                  </a:lnTo>
                  <a:lnTo>
                    <a:pt x="5022" y="3683"/>
                  </a:lnTo>
                  <a:lnTo>
                    <a:pt x="5399" y="3474"/>
                  </a:lnTo>
                  <a:lnTo>
                    <a:pt x="5399" y="3369"/>
                  </a:lnTo>
                  <a:lnTo>
                    <a:pt x="5504" y="3369"/>
                  </a:lnTo>
                  <a:lnTo>
                    <a:pt x="5608" y="3223"/>
                  </a:lnTo>
                  <a:lnTo>
                    <a:pt x="5608" y="3139"/>
                  </a:lnTo>
                  <a:lnTo>
                    <a:pt x="5734" y="2993"/>
                  </a:lnTo>
                  <a:lnTo>
                    <a:pt x="5818" y="2951"/>
                  </a:lnTo>
                  <a:lnTo>
                    <a:pt x="5818" y="2846"/>
                  </a:lnTo>
                  <a:lnTo>
                    <a:pt x="5859" y="2783"/>
                  </a:lnTo>
                  <a:lnTo>
                    <a:pt x="5797" y="2783"/>
                  </a:lnTo>
                  <a:lnTo>
                    <a:pt x="5755" y="2804"/>
                  </a:lnTo>
                  <a:lnTo>
                    <a:pt x="5734" y="2742"/>
                  </a:lnTo>
                  <a:lnTo>
                    <a:pt x="5838" y="2679"/>
                  </a:lnTo>
                  <a:lnTo>
                    <a:pt x="5901" y="2679"/>
                  </a:lnTo>
                  <a:lnTo>
                    <a:pt x="5922" y="2616"/>
                  </a:lnTo>
                  <a:lnTo>
                    <a:pt x="5901" y="2574"/>
                  </a:lnTo>
                  <a:lnTo>
                    <a:pt x="5943" y="2532"/>
                  </a:lnTo>
                  <a:lnTo>
                    <a:pt x="6006" y="2470"/>
                  </a:lnTo>
                  <a:lnTo>
                    <a:pt x="5964" y="2219"/>
                  </a:lnTo>
                  <a:lnTo>
                    <a:pt x="5943" y="2198"/>
                  </a:lnTo>
                  <a:lnTo>
                    <a:pt x="5838" y="2198"/>
                  </a:lnTo>
                  <a:lnTo>
                    <a:pt x="5797" y="2177"/>
                  </a:lnTo>
                  <a:lnTo>
                    <a:pt x="5818" y="2114"/>
                  </a:lnTo>
                  <a:lnTo>
                    <a:pt x="5901" y="2114"/>
                  </a:lnTo>
                  <a:lnTo>
                    <a:pt x="5901" y="1863"/>
                  </a:lnTo>
                  <a:lnTo>
                    <a:pt x="5859" y="1800"/>
                  </a:lnTo>
                  <a:lnTo>
                    <a:pt x="5901" y="1800"/>
                  </a:lnTo>
                  <a:lnTo>
                    <a:pt x="5922" y="1528"/>
                  </a:lnTo>
                  <a:lnTo>
                    <a:pt x="5901" y="1361"/>
                  </a:lnTo>
                  <a:lnTo>
                    <a:pt x="5964" y="1319"/>
                  </a:lnTo>
                  <a:lnTo>
                    <a:pt x="5943" y="1151"/>
                  </a:lnTo>
                  <a:lnTo>
                    <a:pt x="5922" y="1131"/>
                  </a:lnTo>
                  <a:lnTo>
                    <a:pt x="5922" y="963"/>
                  </a:lnTo>
                  <a:lnTo>
                    <a:pt x="5964" y="942"/>
                  </a:lnTo>
                  <a:lnTo>
                    <a:pt x="5901" y="817"/>
                  </a:lnTo>
                  <a:lnTo>
                    <a:pt x="5859" y="628"/>
                  </a:lnTo>
                  <a:lnTo>
                    <a:pt x="5922" y="587"/>
                  </a:lnTo>
                  <a:lnTo>
                    <a:pt x="5901" y="545"/>
                  </a:lnTo>
                  <a:lnTo>
                    <a:pt x="5901" y="503"/>
                  </a:lnTo>
                  <a:lnTo>
                    <a:pt x="5901" y="440"/>
                  </a:lnTo>
                  <a:lnTo>
                    <a:pt x="6027" y="273"/>
                  </a:lnTo>
                  <a:lnTo>
                    <a:pt x="5964" y="231"/>
                  </a:lnTo>
                  <a:lnTo>
                    <a:pt x="6027" y="168"/>
                  </a:lnTo>
                  <a:lnTo>
                    <a:pt x="6027" y="22"/>
                  </a:lnTo>
                  <a:lnTo>
                    <a:pt x="600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2" name="Google Shape;2152;p66"/>
            <p:cNvSpPr/>
            <p:nvPr/>
          </p:nvSpPr>
          <p:spPr>
            <a:xfrm>
              <a:off x="3951893" y="3317378"/>
              <a:ext cx="9978" cy="10724"/>
            </a:xfrm>
            <a:custGeom>
              <a:avLst/>
              <a:gdLst/>
              <a:ahLst/>
              <a:cxnLst/>
              <a:rect l="l" t="t" r="r" b="b"/>
              <a:pathLst>
                <a:path w="838" h="943" extrusionOk="0">
                  <a:moveTo>
                    <a:pt x="314" y="1"/>
                  </a:moveTo>
                  <a:lnTo>
                    <a:pt x="209" y="43"/>
                  </a:lnTo>
                  <a:lnTo>
                    <a:pt x="188" y="189"/>
                  </a:lnTo>
                  <a:lnTo>
                    <a:pt x="63" y="440"/>
                  </a:lnTo>
                  <a:lnTo>
                    <a:pt x="0" y="566"/>
                  </a:lnTo>
                  <a:lnTo>
                    <a:pt x="42" y="649"/>
                  </a:lnTo>
                  <a:lnTo>
                    <a:pt x="105" y="712"/>
                  </a:lnTo>
                  <a:lnTo>
                    <a:pt x="168" y="817"/>
                  </a:lnTo>
                  <a:lnTo>
                    <a:pt x="377" y="921"/>
                  </a:lnTo>
                  <a:lnTo>
                    <a:pt x="586" y="942"/>
                  </a:lnTo>
                  <a:lnTo>
                    <a:pt x="670" y="921"/>
                  </a:lnTo>
                  <a:lnTo>
                    <a:pt x="712" y="817"/>
                  </a:lnTo>
                  <a:lnTo>
                    <a:pt x="691" y="712"/>
                  </a:lnTo>
                  <a:lnTo>
                    <a:pt x="774" y="691"/>
                  </a:lnTo>
                  <a:lnTo>
                    <a:pt x="795" y="649"/>
                  </a:lnTo>
                  <a:lnTo>
                    <a:pt x="795" y="629"/>
                  </a:lnTo>
                  <a:lnTo>
                    <a:pt x="816" y="524"/>
                  </a:lnTo>
                  <a:lnTo>
                    <a:pt x="816" y="440"/>
                  </a:lnTo>
                  <a:lnTo>
                    <a:pt x="837" y="398"/>
                  </a:lnTo>
                  <a:lnTo>
                    <a:pt x="795" y="336"/>
                  </a:lnTo>
                  <a:lnTo>
                    <a:pt x="732" y="273"/>
                  </a:lnTo>
                  <a:lnTo>
                    <a:pt x="670" y="231"/>
                  </a:lnTo>
                  <a:lnTo>
                    <a:pt x="670" y="210"/>
                  </a:lnTo>
                  <a:lnTo>
                    <a:pt x="565" y="189"/>
                  </a:lnTo>
                  <a:lnTo>
                    <a:pt x="481" y="105"/>
                  </a:lnTo>
                  <a:lnTo>
                    <a:pt x="31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3" name="Google Shape;2153;p66"/>
            <p:cNvSpPr/>
            <p:nvPr/>
          </p:nvSpPr>
          <p:spPr>
            <a:xfrm>
              <a:off x="3925232" y="3338554"/>
              <a:ext cx="15956" cy="14295"/>
            </a:xfrm>
            <a:custGeom>
              <a:avLst/>
              <a:gdLst/>
              <a:ahLst/>
              <a:cxnLst/>
              <a:rect l="l" t="t" r="r" b="b"/>
              <a:pathLst>
                <a:path w="1340" h="1257" extrusionOk="0">
                  <a:moveTo>
                    <a:pt x="775" y="1"/>
                  </a:moveTo>
                  <a:lnTo>
                    <a:pt x="754" y="43"/>
                  </a:lnTo>
                  <a:lnTo>
                    <a:pt x="670" y="106"/>
                  </a:lnTo>
                  <a:lnTo>
                    <a:pt x="628" y="147"/>
                  </a:lnTo>
                  <a:lnTo>
                    <a:pt x="419" y="189"/>
                  </a:lnTo>
                  <a:lnTo>
                    <a:pt x="293" y="315"/>
                  </a:lnTo>
                  <a:lnTo>
                    <a:pt x="231" y="440"/>
                  </a:lnTo>
                  <a:lnTo>
                    <a:pt x="84" y="566"/>
                  </a:lnTo>
                  <a:lnTo>
                    <a:pt x="0" y="629"/>
                  </a:lnTo>
                  <a:lnTo>
                    <a:pt x="42" y="733"/>
                  </a:lnTo>
                  <a:lnTo>
                    <a:pt x="126" y="796"/>
                  </a:lnTo>
                  <a:lnTo>
                    <a:pt x="126" y="859"/>
                  </a:lnTo>
                  <a:lnTo>
                    <a:pt x="210" y="943"/>
                  </a:lnTo>
                  <a:lnTo>
                    <a:pt x="210" y="1047"/>
                  </a:lnTo>
                  <a:lnTo>
                    <a:pt x="293" y="1131"/>
                  </a:lnTo>
                  <a:lnTo>
                    <a:pt x="356" y="1194"/>
                  </a:lnTo>
                  <a:lnTo>
                    <a:pt x="503" y="1256"/>
                  </a:lnTo>
                  <a:lnTo>
                    <a:pt x="607" y="1256"/>
                  </a:lnTo>
                  <a:lnTo>
                    <a:pt x="628" y="1194"/>
                  </a:lnTo>
                  <a:lnTo>
                    <a:pt x="670" y="1152"/>
                  </a:lnTo>
                  <a:lnTo>
                    <a:pt x="712" y="1026"/>
                  </a:lnTo>
                  <a:lnTo>
                    <a:pt x="816" y="984"/>
                  </a:lnTo>
                  <a:lnTo>
                    <a:pt x="879" y="943"/>
                  </a:lnTo>
                  <a:lnTo>
                    <a:pt x="984" y="922"/>
                  </a:lnTo>
                  <a:lnTo>
                    <a:pt x="1067" y="943"/>
                  </a:lnTo>
                  <a:lnTo>
                    <a:pt x="1172" y="859"/>
                  </a:lnTo>
                  <a:lnTo>
                    <a:pt x="1193" y="775"/>
                  </a:lnTo>
                  <a:lnTo>
                    <a:pt x="1151" y="733"/>
                  </a:lnTo>
                  <a:lnTo>
                    <a:pt x="1130" y="650"/>
                  </a:lnTo>
                  <a:lnTo>
                    <a:pt x="1235" y="608"/>
                  </a:lnTo>
                  <a:lnTo>
                    <a:pt x="1339" y="524"/>
                  </a:lnTo>
                  <a:lnTo>
                    <a:pt x="1339" y="399"/>
                  </a:lnTo>
                  <a:lnTo>
                    <a:pt x="1256" y="147"/>
                  </a:lnTo>
                  <a:lnTo>
                    <a:pt x="1130" y="43"/>
                  </a:lnTo>
                  <a:lnTo>
                    <a:pt x="1026" y="85"/>
                  </a:lnTo>
                  <a:lnTo>
                    <a:pt x="942" y="22"/>
                  </a:lnTo>
                  <a:lnTo>
                    <a:pt x="921" y="43"/>
                  </a:lnTo>
                  <a:lnTo>
                    <a:pt x="858" y="22"/>
                  </a:lnTo>
                  <a:lnTo>
                    <a:pt x="775"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4" name="Google Shape;2154;p66"/>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5" name="Google Shape;2155;p66"/>
            <p:cNvSpPr/>
            <p:nvPr/>
          </p:nvSpPr>
          <p:spPr>
            <a:xfrm>
              <a:off x="4226694" y="2879548"/>
              <a:ext cx="50095" cy="39508"/>
            </a:xfrm>
            <a:custGeom>
              <a:avLst/>
              <a:gdLst/>
              <a:ahLst/>
              <a:cxnLst/>
              <a:rect l="l" t="t" r="r" b="b"/>
              <a:pathLst>
                <a:path w="4207" h="3474" extrusionOk="0">
                  <a:moveTo>
                    <a:pt x="1507" y="0"/>
                  </a:moveTo>
                  <a:lnTo>
                    <a:pt x="1466" y="63"/>
                  </a:lnTo>
                  <a:lnTo>
                    <a:pt x="1403" y="105"/>
                  </a:lnTo>
                  <a:lnTo>
                    <a:pt x="1298" y="105"/>
                  </a:lnTo>
                  <a:lnTo>
                    <a:pt x="1256" y="126"/>
                  </a:lnTo>
                  <a:lnTo>
                    <a:pt x="1152" y="63"/>
                  </a:lnTo>
                  <a:lnTo>
                    <a:pt x="1068" y="63"/>
                  </a:lnTo>
                  <a:lnTo>
                    <a:pt x="1026" y="105"/>
                  </a:lnTo>
                  <a:lnTo>
                    <a:pt x="880" y="293"/>
                  </a:lnTo>
                  <a:lnTo>
                    <a:pt x="629" y="398"/>
                  </a:lnTo>
                  <a:lnTo>
                    <a:pt x="231" y="503"/>
                  </a:lnTo>
                  <a:lnTo>
                    <a:pt x="252" y="586"/>
                  </a:lnTo>
                  <a:lnTo>
                    <a:pt x="1" y="754"/>
                  </a:lnTo>
                  <a:lnTo>
                    <a:pt x="22" y="1005"/>
                  </a:lnTo>
                  <a:lnTo>
                    <a:pt x="106" y="1067"/>
                  </a:lnTo>
                  <a:lnTo>
                    <a:pt x="189" y="1047"/>
                  </a:lnTo>
                  <a:lnTo>
                    <a:pt x="294" y="1005"/>
                  </a:lnTo>
                  <a:lnTo>
                    <a:pt x="419" y="1151"/>
                  </a:lnTo>
                  <a:lnTo>
                    <a:pt x="566" y="1277"/>
                  </a:lnTo>
                  <a:lnTo>
                    <a:pt x="733" y="1360"/>
                  </a:lnTo>
                  <a:lnTo>
                    <a:pt x="754" y="1486"/>
                  </a:lnTo>
                  <a:lnTo>
                    <a:pt x="901" y="1549"/>
                  </a:lnTo>
                  <a:lnTo>
                    <a:pt x="901" y="1674"/>
                  </a:lnTo>
                  <a:lnTo>
                    <a:pt x="754" y="1779"/>
                  </a:lnTo>
                  <a:lnTo>
                    <a:pt x="754" y="1904"/>
                  </a:lnTo>
                  <a:lnTo>
                    <a:pt x="650" y="1946"/>
                  </a:lnTo>
                  <a:lnTo>
                    <a:pt x="650" y="2114"/>
                  </a:lnTo>
                  <a:lnTo>
                    <a:pt x="754" y="2302"/>
                  </a:lnTo>
                  <a:lnTo>
                    <a:pt x="859" y="2679"/>
                  </a:lnTo>
                  <a:lnTo>
                    <a:pt x="880" y="2846"/>
                  </a:lnTo>
                  <a:lnTo>
                    <a:pt x="1089" y="3034"/>
                  </a:lnTo>
                  <a:lnTo>
                    <a:pt x="1298" y="3097"/>
                  </a:lnTo>
                  <a:lnTo>
                    <a:pt x="1507" y="3160"/>
                  </a:lnTo>
                  <a:lnTo>
                    <a:pt x="1570" y="3327"/>
                  </a:lnTo>
                  <a:lnTo>
                    <a:pt x="1759" y="3348"/>
                  </a:lnTo>
                  <a:lnTo>
                    <a:pt x="1884" y="3306"/>
                  </a:lnTo>
                  <a:lnTo>
                    <a:pt x="2031" y="3348"/>
                  </a:lnTo>
                  <a:lnTo>
                    <a:pt x="2031" y="3474"/>
                  </a:lnTo>
                  <a:lnTo>
                    <a:pt x="2093" y="3432"/>
                  </a:lnTo>
                  <a:lnTo>
                    <a:pt x="2240" y="3139"/>
                  </a:lnTo>
                  <a:lnTo>
                    <a:pt x="2428" y="2992"/>
                  </a:lnTo>
                  <a:lnTo>
                    <a:pt x="2554" y="2992"/>
                  </a:lnTo>
                  <a:lnTo>
                    <a:pt x="2637" y="2846"/>
                  </a:lnTo>
                  <a:lnTo>
                    <a:pt x="2763" y="2846"/>
                  </a:lnTo>
                  <a:lnTo>
                    <a:pt x="3077" y="3055"/>
                  </a:lnTo>
                  <a:lnTo>
                    <a:pt x="3244" y="2951"/>
                  </a:lnTo>
                  <a:lnTo>
                    <a:pt x="3391" y="3034"/>
                  </a:lnTo>
                  <a:lnTo>
                    <a:pt x="3453" y="3202"/>
                  </a:lnTo>
                  <a:lnTo>
                    <a:pt x="3600" y="3202"/>
                  </a:lnTo>
                  <a:lnTo>
                    <a:pt x="3851" y="3327"/>
                  </a:lnTo>
                  <a:lnTo>
                    <a:pt x="3997" y="3139"/>
                  </a:lnTo>
                  <a:lnTo>
                    <a:pt x="4102" y="3202"/>
                  </a:lnTo>
                  <a:lnTo>
                    <a:pt x="4123" y="3264"/>
                  </a:lnTo>
                  <a:lnTo>
                    <a:pt x="4207" y="3139"/>
                  </a:lnTo>
                  <a:lnTo>
                    <a:pt x="4165" y="2930"/>
                  </a:lnTo>
                  <a:lnTo>
                    <a:pt x="4102" y="2679"/>
                  </a:lnTo>
                  <a:lnTo>
                    <a:pt x="3955" y="2637"/>
                  </a:lnTo>
                  <a:lnTo>
                    <a:pt x="3851" y="2386"/>
                  </a:lnTo>
                  <a:lnTo>
                    <a:pt x="3851" y="2114"/>
                  </a:lnTo>
                  <a:lnTo>
                    <a:pt x="3767" y="1967"/>
                  </a:lnTo>
                  <a:lnTo>
                    <a:pt x="3579" y="1863"/>
                  </a:lnTo>
                  <a:lnTo>
                    <a:pt x="3432" y="1695"/>
                  </a:lnTo>
                  <a:lnTo>
                    <a:pt x="3328" y="1423"/>
                  </a:lnTo>
                  <a:lnTo>
                    <a:pt x="3139" y="1319"/>
                  </a:lnTo>
                  <a:lnTo>
                    <a:pt x="2909" y="1235"/>
                  </a:lnTo>
                  <a:lnTo>
                    <a:pt x="2867" y="1109"/>
                  </a:lnTo>
                  <a:lnTo>
                    <a:pt x="2763" y="1067"/>
                  </a:lnTo>
                  <a:lnTo>
                    <a:pt x="2554" y="1067"/>
                  </a:lnTo>
                  <a:lnTo>
                    <a:pt x="2323" y="1047"/>
                  </a:lnTo>
                  <a:lnTo>
                    <a:pt x="2240" y="963"/>
                  </a:lnTo>
                  <a:lnTo>
                    <a:pt x="2177" y="900"/>
                  </a:lnTo>
                  <a:lnTo>
                    <a:pt x="2135" y="733"/>
                  </a:lnTo>
                  <a:lnTo>
                    <a:pt x="2010" y="649"/>
                  </a:lnTo>
                  <a:lnTo>
                    <a:pt x="1759" y="272"/>
                  </a:lnTo>
                  <a:lnTo>
                    <a:pt x="1675" y="84"/>
                  </a:lnTo>
                  <a:lnTo>
                    <a:pt x="159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6" name="Google Shape;2156;p66"/>
            <p:cNvSpPr/>
            <p:nvPr/>
          </p:nvSpPr>
          <p:spPr>
            <a:xfrm>
              <a:off x="4014919" y="2846238"/>
              <a:ext cx="33651" cy="9053"/>
            </a:xfrm>
            <a:custGeom>
              <a:avLst/>
              <a:gdLst/>
              <a:ahLst/>
              <a:cxnLst/>
              <a:rect l="l" t="t" r="r" b="b"/>
              <a:pathLst>
                <a:path w="2826" h="796" extrusionOk="0">
                  <a:moveTo>
                    <a:pt x="2240" y="0"/>
                  </a:moveTo>
                  <a:cubicBezTo>
                    <a:pt x="2240" y="0"/>
                    <a:pt x="1717" y="230"/>
                    <a:pt x="1612" y="230"/>
                  </a:cubicBezTo>
                  <a:cubicBezTo>
                    <a:pt x="1507" y="230"/>
                    <a:pt x="1382" y="105"/>
                    <a:pt x="1382" y="105"/>
                  </a:cubicBezTo>
                  <a:lnTo>
                    <a:pt x="733" y="126"/>
                  </a:lnTo>
                  <a:lnTo>
                    <a:pt x="754" y="293"/>
                  </a:lnTo>
                  <a:cubicBezTo>
                    <a:pt x="775" y="419"/>
                    <a:pt x="231" y="419"/>
                    <a:pt x="22" y="419"/>
                  </a:cubicBezTo>
                  <a:lnTo>
                    <a:pt x="22" y="439"/>
                  </a:lnTo>
                  <a:lnTo>
                    <a:pt x="1" y="481"/>
                  </a:lnTo>
                  <a:lnTo>
                    <a:pt x="85" y="481"/>
                  </a:lnTo>
                  <a:lnTo>
                    <a:pt x="105" y="586"/>
                  </a:lnTo>
                  <a:lnTo>
                    <a:pt x="189" y="586"/>
                  </a:lnTo>
                  <a:lnTo>
                    <a:pt x="231" y="502"/>
                  </a:lnTo>
                  <a:lnTo>
                    <a:pt x="398" y="544"/>
                  </a:lnTo>
                  <a:lnTo>
                    <a:pt x="461" y="544"/>
                  </a:lnTo>
                  <a:lnTo>
                    <a:pt x="545" y="460"/>
                  </a:lnTo>
                  <a:lnTo>
                    <a:pt x="649" y="502"/>
                  </a:lnTo>
                  <a:lnTo>
                    <a:pt x="880" y="711"/>
                  </a:lnTo>
                  <a:lnTo>
                    <a:pt x="984" y="732"/>
                  </a:lnTo>
                  <a:lnTo>
                    <a:pt x="1173" y="691"/>
                  </a:lnTo>
                  <a:lnTo>
                    <a:pt x="1424" y="628"/>
                  </a:lnTo>
                  <a:lnTo>
                    <a:pt x="1507" y="649"/>
                  </a:lnTo>
                  <a:lnTo>
                    <a:pt x="1821" y="649"/>
                  </a:lnTo>
                  <a:lnTo>
                    <a:pt x="1863" y="691"/>
                  </a:lnTo>
                  <a:lnTo>
                    <a:pt x="1863" y="586"/>
                  </a:lnTo>
                  <a:lnTo>
                    <a:pt x="2072" y="502"/>
                  </a:lnTo>
                  <a:lnTo>
                    <a:pt x="2386" y="691"/>
                  </a:lnTo>
                  <a:lnTo>
                    <a:pt x="2595" y="691"/>
                  </a:lnTo>
                  <a:lnTo>
                    <a:pt x="2805" y="795"/>
                  </a:lnTo>
                  <a:lnTo>
                    <a:pt x="2826" y="586"/>
                  </a:lnTo>
                  <a:lnTo>
                    <a:pt x="2742" y="481"/>
                  </a:lnTo>
                  <a:lnTo>
                    <a:pt x="2595" y="377"/>
                  </a:lnTo>
                  <a:lnTo>
                    <a:pt x="2637" y="188"/>
                  </a:lnTo>
                  <a:cubicBezTo>
                    <a:pt x="2628" y="188"/>
                    <a:pt x="2594" y="197"/>
                    <a:pt x="2555" y="197"/>
                  </a:cubicBezTo>
                  <a:cubicBezTo>
                    <a:pt x="2507" y="197"/>
                    <a:pt x="2451" y="184"/>
                    <a:pt x="2428" y="126"/>
                  </a:cubicBezTo>
                  <a:cubicBezTo>
                    <a:pt x="2386" y="21"/>
                    <a:pt x="2240" y="0"/>
                    <a:pt x="22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7" name="Google Shape;2157;p66"/>
            <p:cNvSpPr/>
            <p:nvPr/>
          </p:nvSpPr>
          <p:spPr>
            <a:xfrm>
              <a:off x="4036853" y="2853608"/>
              <a:ext cx="1250" cy="1205"/>
            </a:xfrm>
            <a:custGeom>
              <a:avLst/>
              <a:gdLst/>
              <a:ahLst/>
              <a:cxnLst/>
              <a:rect l="l" t="t" r="r" b="b"/>
              <a:pathLst>
                <a:path w="105" h="106" fill="none" extrusionOk="0">
                  <a:moveTo>
                    <a:pt x="105" y="105"/>
                  </a:moveTo>
                  <a:lnTo>
                    <a:pt x="0" y="1"/>
                  </a:lnTo>
                </a:path>
              </a:pathLst>
            </a:custGeom>
            <a:solidFill>
              <a:srgbClr val="5F7D95"/>
            </a:solidFill>
            <a:ln w="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8" name="Google Shape;2158;p66"/>
            <p:cNvSpPr/>
            <p:nvPr/>
          </p:nvSpPr>
          <p:spPr>
            <a:xfrm>
              <a:off x="4346543" y="2948318"/>
              <a:ext cx="21183" cy="11907"/>
            </a:xfrm>
            <a:custGeom>
              <a:avLst/>
              <a:gdLst/>
              <a:ahLst/>
              <a:cxnLst/>
              <a:rect l="l" t="t" r="r" b="b"/>
              <a:pathLst>
                <a:path w="1779" h="1047" extrusionOk="0">
                  <a:moveTo>
                    <a:pt x="753" y="0"/>
                  </a:moveTo>
                  <a:lnTo>
                    <a:pt x="586" y="21"/>
                  </a:lnTo>
                  <a:lnTo>
                    <a:pt x="314" y="189"/>
                  </a:lnTo>
                  <a:lnTo>
                    <a:pt x="188" y="440"/>
                  </a:lnTo>
                  <a:lnTo>
                    <a:pt x="63" y="502"/>
                  </a:lnTo>
                  <a:lnTo>
                    <a:pt x="63" y="628"/>
                  </a:lnTo>
                  <a:lnTo>
                    <a:pt x="0" y="733"/>
                  </a:lnTo>
                  <a:lnTo>
                    <a:pt x="105" y="921"/>
                  </a:lnTo>
                  <a:lnTo>
                    <a:pt x="314" y="942"/>
                  </a:lnTo>
                  <a:lnTo>
                    <a:pt x="398" y="879"/>
                  </a:lnTo>
                  <a:lnTo>
                    <a:pt x="691" y="1046"/>
                  </a:lnTo>
                  <a:lnTo>
                    <a:pt x="837" y="1046"/>
                  </a:lnTo>
                  <a:lnTo>
                    <a:pt x="942" y="921"/>
                  </a:lnTo>
                  <a:lnTo>
                    <a:pt x="1067" y="879"/>
                  </a:lnTo>
                  <a:lnTo>
                    <a:pt x="1172" y="942"/>
                  </a:lnTo>
                  <a:lnTo>
                    <a:pt x="1381" y="879"/>
                  </a:lnTo>
                  <a:lnTo>
                    <a:pt x="1549" y="921"/>
                  </a:lnTo>
                  <a:lnTo>
                    <a:pt x="1779" y="837"/>
                  </a:lnTo>
                  <a:lnTo>
                    <a:pt x="1779" y="733"/>
                  </a:lnTo>
                  <a:lnTo>
                    <a:pt x="1779" y="565"/>
                  </a:lnTo>
                  <a:lnTo>
                    <a:pt x="1590" y="502"/>
                  </a:lnTo>
                  <a:lnTo>
                    <a:pt x="1590" y="398"/>
                  </a:lnTo>
                  <a:lnTo>
                    <a:pt x="1632" y="230"/>
                  </a:lnTo>
                  <a:lnTo>
                    <a:pt x="1590" y="230"/>
                  </a:lnTo>
                  <a:lnTo>
                    <a:pt x="1528" y="126"/>
                  </a:lnTo>
                  <a:lnTo>
                    <a:pt x="1360" y="105"/>
                  </a:lnTo>
                  <a:lnTo>
                    <a:pt x="1214" y="189"/>
                  </a:lnTo>
                  <a:lnTo>
                    <a:pt x="1109" y="126"/>
                  </a:lnTo>
                  <a:lnTo>
                    <a:pt x="837" y="105"/>
                  </a:lnTo>
                  <a:lnTo>
                    <a:pt x="753"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59" name="Google Shape;2159;p66"/>
            <p:cNvSpPr/>
            <p:nvPr/>
          </p:nvSpPr>
          <p:spPr>
            <a:xfrm>
              <a:off x="3878888" y="2847660"/>
              <a:ext cx="16706" cy="13579"/>
            </a:xfrm>
            <a:custGeom>
              <a:avLst/>
              <a:gdLst/>
              <a:ahLst/>
              <a:cxnLst/>
              <a:rect l="l" t="t" r="r" b="b"/>
              <a:pathLst>
                <a:path w="1403" h="1194" extrusionOk="0">
                  <a:moveTo>
                    <a:pt x="900" y="1"/>
                  </a:moveTo>
                  <a:lnTo>
                    <a:pt x="754" y="42"/>
                  </a:lnTo>
                  <a:lnTo>
                    <a:pt x="628" y="42"/>
                  </a:lnTo>
                  <a:lnTo>
                    <a:pt x="419" y="84"/>
                  </a:lnTo>
                  <a:lnTo>
                    <a:pt x="314" y="168"/>
                  </a:lnTo>
                  <a:lnTo>
                    <a:pt x="210" y="189"/>
                  </a:lnTo>
                  <a:lnTo>
                    <a:pt x="42" y="273"/>
                  </a:lnTo>
                  <a:lnTo>
                    <a:pt x="63" y="356"/>
                  </a:lnTo>
                  <a:lnTo>
                    <a:pt x="21" y="398"/>
                  </a:lnTo>
                  <a:lnTo>
                    <a:pt x="21" y="377"/>
                  </a:lnTo>
                  <a:lnTo>
                    <a:pt x="1" y="586"/>
                  </a:lnTo>
                  <a:lnTo>
                    <a:pt x="21" y="796"/>
                  </a:lnTo>
                  <a:lnTo>
                    <a:pt x="126" y="942"/>
                  </a:lnTo>
                  <a:lnTo>
                    <a:pt x="168" y="1089"/>
                  </a:lnTo>
                  <a:lnTo>
                    <a:pt x="314" y="1193"/>
                  </a:lnTo>
                  <a:lnTo>
                    <a:pt x="314" y="1151"/>
                  </a:lnTo>
                  <a:lnTo>
                    <a:pt x="524" y="1026"/>
                  </a:lnTo>
                  <a:lnTo>
                    <a:pt x="691" y="984"/>
                  </a:lnTo>
                  <a:lnTo>
                    <a:pt x="691" y="921"/>
                  </a:lnTo>
                  <a:lnTo>
                    <a:pt x="837" y="838"/>
                  </a:lnTo>
                  <a:lnTo>
                    <a:pt x="1110" y="879"/>
                  </a:lnTo>
                  <a:lnTo>
                    <a:pt x="1256" y="796"/>
                  </a:lnTo>
                  <a:lnTo>
                    <a:pt x="1361" y="775"/>
                  </a:lnTo>
                  <a:lnTo>
                    <a:pt x="1402" y="712"/>
                  </a:lnTo>
                  <a:lnTo>
                    <a:pt x="1402" y="607"/>
                  </a:lnTo>
                  <a:lnTo>
                    <a:pt x="1382" y="461"/>
                  </a:lnTo>
                  <a:lnTo>
                    <a:pt x="1214" y="189"/>
                  </a:lnTo>
                  <a:lnTo>
                    <a:pt x="984"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0" name="Google Shape;2160;p66"/>
            <p:cNvSpPr/>
            <p:nvPr/>
          </p:nvSpPr>
          <p:spPr>
            <a:xfrm>
              <a:off x="3865182" y="2817204"/>
              <a:ext cx="27923" cy="34993"/>
            </a:xfrm>
            <a:custGeom>
              <a:avLst/>
              <a:gdLst/>
              <a:ahLst/>
              <a:cxnLst/>
              <a:rect l="l" t="t" r="r" b="b"/>
              <a:pathLst>
                <a:path w="2345" h="3077" extrusionOk="0">
                  <a:moveTo>
                    <a:pt x="461" y="0"/>
                  </a:moveTo>
                  <a:lnTo>
                    <a:pt x="336" y="105"/>
                  </a:lnTo>
                  <a:lnTo>
                    <a:pt x="315" y="147"/>
                  </a:lnTo>
                  <a:lnTo>
                    <a:pt x="210" y="147"/>
                  </a:lnTo>
                  <a:lnTo>
                    <a:pt x="64" y="210"/>
                  </a:lnTo>
                  <a:lnTo>
                    <a:pt x="1" y="272"/>
                  </a:lnTo>
                  <a:lnTo>
                    <a:pt x="22" y="314"/>
                  </a:lnTo>
                  <a:lnTo>
                    <a:pt x="64" y="461"/>
                  </a:lnTo>
                  <a:lnTo>
                    <a:pt x="105" y="628"/>
                  </a:lnTo>
                  <a:lnTo>
                    <a:pt x="168" y="670"/>
                  </a:lnTo>
                  <a:lnTo>
                    <a:pt x="273" y="691"/>
                  </a:lnTo>
                  <a:lnTo>
                    <a:pt x="273" y="754"/>
                  </a:lnTo>
                  <a:lnTo>
                    <a:pt x="231" y="754"/>
                  </a:lnTo>
                  <a:lnTo>
                    <a:pt x="105" y="775"/>
                  </a:lnTo>
                  <a:lnTo>
                    <a:pt x="126" y="879"/>
                  </a:lnTo>
                  <a:lnTo>
                    <a:pt x="147" y="900"/>
                  </a:lnTo>
                  <a:lnTo>
                    <a:pt x="210" y="879"/>
                  </a:lnTo>
                  <a:lnTo>
                    <a:pt x="273" y="879"/>
                  </a:lnTo>
                  <a:lnTo>
                    <a:pt x="252" y="1047"/>
                  </a:lnTo>
                  <a:lnTo>
                    <a:pt x="147" y="1193"/>
                  </a:lnTo>
                  <a:lnTo>
                    <a:pt x="147" y="1277"/>
                  </a:lnTo>
                  <a:lnTo>
                    <a:pt x="315" y="1402"/>
                  </a:lnTo>
                  <a:lnTo>
                    <a:pt x="419" y="1423"/>
                  </a:lnTo>
                  <a:lnTo>
                    <a:pt x="461" y="1486"/>
                  </a:lnTo>
                  <a:lnTo>
                    <a:pt x="440" y="1570"/>
                  </a:lnTo>
                  <a:lnTo>
                    <a:pt x="336" y="1507"/>
                  </a:lnTo>
                  <a:lnTo>
                    <a:pt x="273" y="1528"/>
                  </a:lnTo>
                  <a:lnTo>
                    <a:pt x="273" y="1674"/>
                  </a:lnTo>
                  <a:lnTo>
                    <a:pt x="419" y="1821"/>
                  </a:lnTo>
                  <a:lnTo>
                    <a:pt x="356" y="1842"/>
                  </a:lnTo>
                  <a:lnTo>
                    <a:pt x="482" y="1988"/>
                  </a:lnTo>
                  <a:lnTo>
                    <a:pt x="482" y="2051"/>
                  </a:lnTo>
                  <a:lnTo>
                    <a:pt x="545" y="2135"/>
                  </a:lnTo>
                  <a:lnTo>
                    <a:pt x="670" y="2135"/>
                  </a:lnTo>
                  <a:lnTo>
                    <a:pt x="754" y="2218"/>
                  </a:lnTo>
                  <a:lnTo>
                    <a:pt x="900" y="2239"/>
                  </a:lnTo>
                  <a:lnTo>
                    <a:pt x="900" y="2365"/>
                  </a:lnTo>
                  <a:lnTo>
                    <a:pt x="838" y="2448"/>
                  </a:lnTo>
                  <a:lnTo>
                    <a:pt x="796" y="2511"/>
                  </a:lnTo>
                  <a:lnTo>
                    <a:pt x="859" y="2532"/>
                  </a:lnTo>
                  <a:lnTo>
                    <a:pt x="942" y="2658"/>
                  </a:lnTo>
                  <a:lnTo>
                    <a:pt x="984" y="2658"/>
                  </a:lnTo>
                  <a:lnTo>
                    <a:pt x="1089" y="2741"/>
                  </a:lnTo>
                  <a:lnTo>
                    <a:pt x="1152" y="2846"/>
                  </a:lnTo>
                  <a:lnTo>
                    <a:pt x="1152" y="2992"/>
                  </a:lnTo>
                  <a:lnTo>
                    <a:pt x="1172" y="3076"/>
                  </a:lnTo>
                  <a:lnTo>
                    <a:pt x="1214" y="3034"/>
                  </a:lnTo>
                  <a:lnTo>
                    <a:pt x="1193" y="2951"/>
                  </a:lnTo>
                  <a:lnTo>
                    <a:pt x="1361" y="2867"/>
                  </a:lnTo>
                  <a:lnTo>
                    <a:pt x="1465" y="2846"/>
                  </a:lnTo>
                  <a:lnTo>
                    <a:pt x="1570" y="2762"/>
                  </a:lnTo>
                  <a:lnTo>
                    <a:pt x="1779" y="2720"/>
                  </a:lnTo>
                  <a:lnTo>
                    <a:pt x="1905" y="2720"/>
                  </a:lnTo>
                  <a:lnTo>
                    <a:pt x="2051" y="2679"/>
                  </a:lnTo>
                  <a:lnTo>
                    <a:pt x="2135" y="2679"/>
                  </a:lnTo>
                  <a:lnTo>
                    <a:pt x="2198" y="2574"/>
                  </a:lnTo>
                  <a:lnTo>
                    <a:pt x="2114" y="2469"/>
                  </a:lnTo>
                  <a:lnTo>
                    <a:pt x="2093" y="2365"/>
                  </a:lnTo>
                  <a:lnTo>
                    <a:pt x="2302" y="2197"/>
                  </a:lnTo>
                  <a:lnTo>
                    <a:pt x="2344" y="2051"/>
                  </a:lnTo>
                  <a:lnTo>
                    <a:pt x="2261" y="1925"/>
                  </a:lnTo>
                  <a:lnTo>
                    <a:pt x="2093" y="1737"/>
                  </a:lnTo>
                  <a:lnTo>
                    <a:pt x="2030" y="1507"/>
                  </a:lnTo>
                  <a:lnTo>
                    <a:pt x="2114" y="1423"/>
                  </a:lnTo>
                  <a:lnTo>
                    <a:pt x="2093" y="1319"/>
                  </a:lnTo>
                  <a:lnTo>
                    <a:pt x="2051" y="1193"/>
                  </a:lnTo>
                  <a:lnTo>
                    <a:pt x="2030" y="1109"/>
                  </a:lnTo>
                  <a:lnTo>
                    <a:pt x="2135" y="984"/>
                  </a:lnTo>
                  <a:lnTo>
                    <a:pt x="1926" y="963"/>
                  </a:lnTo>
                  <a:lnTo>
                    <a:pt x="1842" y="1088"/>
                  </a:lnTo>
                  <a:lnTo>
                    <a:pt x="1737" y="1005"/>
                  </a:lnTo>
                  <a:lnTo>
                    <a:pt x="1633" y="1047"/>
                  </a:lnTo>
                  <a:lnTo>
                    <a:pt x="1591" y="963"/>
                  </a:lnTo>
                  <a:lnTo>
                    <a:pt x="1382" y="879"/>
                  </a:lnTo>
                  <a:lnTo>
                    <a:pt x="1361" y="837"/>
                  </a:lnTo>
                  <a:lnTo>
                    <a:pt x="1424" y="691"/>
                  </a:lnTo>
                  <a:lnTo>
                    <a:pt x="1277" y="565"/>
                  </a:lnTo>
                  <a:lnTo>
                    <a:pt x="1110" y="482"/>
                  </a:lnTo>
                  <a:lnTo>
                    <a:pt x="1089" y="377"/>
                  </a:lnTo>
                  <a:lnTo>
                    <a:pt x="900" y="168"/>
                  </a:lnTo>
                  <a:lnTo>
                    <a:pt x="880" y="105"/>
                  </a:lnTo>
                  <a:lnTo>
                    <a:pt x="754" y="63"/>
                  </a:lnTo>
                  <a:lnTo>
                    <a:pt x="670" y="42"/>
                  </a:lnTo>
                  <a:lnTo>
                    <a:pt x="566" y="21"/>
                  </a:lnTo>
                  <a:lnTo>
                    <a:pt x="461"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2161" name="Google Shape;2161;p66"/>
          <p:cNvGrpSpPr/>
          <p:nvPr/>
        </p:nvGrpSpPr>
        <p:grpSpPr>
          <a:xfrm>
            <a:off x="4738842" y="1644454"/>
            <a:ext cx="2770909" cy="1822077"/>
            <a:chOff x="235800" y="830650"/>
            <a:chExt cx="6978450" cy="4588844"/>
          </a:xfrm>
        </p:grpSpPr>
        <p:sp>
          <p:nvSpPr>
            <p:cNvPr id="2162" name="Google Shape;2162;p66"/>
            <p:cNvSpPr/>
            <p:nvPr/>
          </p:nvSpPr>
          <p:spPr>
            <a:xfrm>
              <a:off x="235800" y="1224769"/>
              <a:ext cx="2592225" cy="4194725"/>
            </a:xfrm>
            <a:custGeom>
              <a:avLst/>
              <a:gdLst/>
              <a:ahLst/>
              <a:cxnLst/>
              <a:rect l="l" t="t" r="r" b="b"/>
              <a:pathLst>
                <a:path w="103689" h="167789" extrusionOk="0">
                  <a:moveTo>
                    <a:pt x="13807" y="0"/>
                  </a:moveTo>
                  <a:cubicBezTo>
                    <a:pt x="11526" y="0"/>
                    <a:pt x="9194" y="921"/>
                    <a:pt x="7431" y="2357"/>
                  </a:cubicBezTo>
                  <a:cubicBezTo>
                    <a:pt x="6418" y="3183"/>
                    <a:pt x="7559" y="5231"/>
                    <a:pt x="8433" y="6203"/>
                  </a:cubicBezTo>
                  <a:cubicBezTo>
                    <a:pt x="9308" y="7175"/>
                    <a:pt x="10393" y="8259"/>
                    <a:pt x="10189" y="9549"/>
                  </a:cubicBezTo>
                  <a:cubicBezTo>
                    <a:pt x="9355" y="9975"/>
                    <a:pt x="8287" y="10084"/>
                    <a:pt x="7292" y="10084"/>
                  </a:cubicBezTo>
                  <a:cubicBezTo>
                    <a:pt x="7024" y="10084"/>
                    <a:pt x="6762" y="10076"/>
                    <a:pt x="6511" y="10065"/>
                  </a:cubicBezTo>
                  <a:cubicBezTo>
                    <a:pt x="6102" y="10046"/>
                    <a:pt x="5686" y="9992"/>
                    <a:pt x="5277" y="9992"/>
                  </a:cubicBezTo>
                  <a:cubicBezTo>
                    <a:pt x="4990" y="9992"/>
                    <a:pt x="4705" y="10019"/>
                    <a:pt x="4430" y="10104"/>
                  </a:cubicBezTo>
                  <a:cubicBezTo>
                    <a:pt x="3763" y="10310"/>
                    <a:pt x="3182" y="11034"/>
                    <a:pt x="3440" y="11683"/>
                  </a:cubicBezTo>
                  <a:cubicBezTo>
                    <a:pt x="2981" y="12481"/>
                    <a:pt x="2431" y="12899"/>
                    <a:pt x="2962" y="13650"/>
                  </a:cubicBezTo>
                  <a:cubicBezTo>
                    <a:pt x="3377" y="14235"/>
                    <a:pt x="4081" y="14716"/>
                    <a:pt x="4076" y="15434"/>
                  </a:cubicBezTo>
                  <a:cubicBezTo>
                    <a:pt x="4071" y="16003"/>
                    <a:pt x="3591" y="16462"/>
                    <a:pt x="3082" y="16719"/>
                  </a:cubicBezTo>
                  <a:cubicBezTo>
                    <a:pt x="2572" y="16973"/>
                    <a:pt x="2000" y="17102"/>
                    <a:pt x="1518" y="17408"/>
                  </a:cubicBezTo>
                  <a:cubicBezTo>
                    <a:pt x="13" y="18366"/>
                    <a:pt x="0" y="20519"/>
                    <a:pt x="159" y="22295"/>
                  </a:cubicBezTo>
                  <a:cubicBezTo>
                    <a:pt x="1133" y="23491"/>
                    <a:pt x="1285" y="25550"/>
                    <a:pt x="817" y="27017"/>
                  </a:cubicBezTo>
                  <a:cubicBezTo>
                    <a:pt x="639" y="27577"/>
                    <a:pt x="351" y="28172"/>
                    <a:pt x="552" y="28724"/>
                  </a:cubicBezTo>
                  <a:cubicBezTo>
                    <a:pt x="782" y="29356"/>
                    <a:pt x="1526" y="29605"/>
                    <a:pt x="2177" y="29773"/>
                  </a:cubicBezTo>
                  <a:cubicBezTo>
                    <a:pt x="2891" y="29958"/>
                    <a:pt x="3669" y="30130"/>
                    <a:pt x="4408" y="30130"/>
                  </a:cubicBezTo>
                  <a:cubicBezTo>
                    <a:pt x="5109" y="30130"/>
                    <a:pt x="5775" y="29975"/>
                    <a:pt x="6314" y="29528"/>
                  </a:cubicBezTo>
                  <a:cubicBezTo>
                    <a:pt x="7583" y="28478"/>
                    <a:pt x="9157" y="28121"/>
                    <a:pt x="10834" y="28121"/>
                  </a:cubicBezTo>
                  <a:cubicBezTo>
                    <a:pt x="13016" y="28121"/>
                    <a:pt x="15374" y="28725"/>
                    <a:pt x="17464" y="29196"/>
                  </a:cubicBezTo>
                  <a:cubicBezTo>
                    <a:pt x="18740" y="29482"/>
                    <a:pt x="20083" y="29952"/>
                    <a:pt x="20830" y="31028"/>
                  </a:cubicBezTo>
                  <a:cubicBezTo>
                    <a:pt x="21824" y="32461"/>
                    <a:pt x="21400" y="34451"/>
                    <a:pt x="20580" y="35993"/>
                  </a:cubicBezTo>
                  <a:cubicBezTo>
                    <a:pt x="19762" y="37533"/>
                    <a:pt x="18587" y="38903"/>
                    <a:pt x="18068" y="40567"/>
                  </a:cubicBezTo>
                  <a:cubicBezTo>
                    <a:pt x="17582" y="42129"/>
                    <a:pt x="17717" y="43806"/>
                    <a:pt x="17859" y="45436"/>
                  </a:cubicBezTo>
                  <a:cubicBezTo>
                    <a:pt x="18032" y="47441"/>
                    <a:pt x="18242" y="49554"/>
                    <a:pt x="19405" y="51198"/>
                  </a:cubicBezTo>
                  <a:cubicBezTo>
                    <a:pt x="20624" y="52922"/>
                    <a:pt x="21392" y="55494"/>
                    <a:pt x="21294" y="57601"/>
                  </a:cubicBezTo>
                  <a:cubicBezTo>
                    <a:pt x="21216" y="59294"/>
                    <a:pt x="20619" y="60958"/>
                    <a:pt x="20775" y="62645"/>
                  </a:cubicBezTo>
                  <a:cubicBezTo>
                    <a:pt x="21057" y="65704"/>
                    <a:pt x="23699" y="67999"/>
                    <a:pt x="26397" y="69471"/>
                  </a:cubicBezTo>
                  <a:cubicBezTo>
                    <a:pt x="29219" y="71013"/>
                    <a:pt x="31651" y="73637"/>
                    <a:pt x="32623" y="76701"/>
                  </a:cubicBezTo>
                  <a:cubicBezTo>
                    <a:pt x="33112" y="78241"/>
                    <a:pt x="33257" y="79868"/>
                    <a:pt x="33688" y="81425"/>
                  </a:cubicBezTo>
                  <a:cubicBezTo>
                    <a:pt x="34432" y="84119"/>
                    <a:pt x="36051" y="86565"/>
                    <a:pt x="38239" y="88307"/>
                  </a:cubicBezTo>
                  <a:cubicBezTo>
                    <a:pt x="39834" y="89575"/>
                    <a:pt x="42451" y="90023"/>
                    <a:pt x="44455" y="90388"/>
                  </a:cubicBezTo>
                  <a:cubicBezTo>
                    <a:pt x="45495" y="90578"/>
                    <a:pt x="46617" y="90728"/>
                    <a:pt x="47400" y="91437"/>
                  </a:cubicBezTo>
                  <a:cubicBezTo>
                    <a:pt x="47762" y="91764"/>
                    <a:pt x="48023" y="92187"/>
                    <a:pt x="48369" y="92530"/>
                  </a:cubicBezTo>
                  <a:cubicBezTo>
                    <a:pt x="50044" y="94188"/>
                    <a:pt x="53127" y="93507"/>
                    <a:pt x="54821" y="95145"/>
                  </a:cubicBezTo>
                  <a:cubicBezTo>
                    <a:pt x="55259" y="95566"/>
                    <a:pt x="55558" y="96107"/>
                    <a:pt x="55941" y="96579"/>
                  </a:cubicBezTo>
                  <a:cubicBezTo>
                    <a:pt x="56887" y="97736"/>
                    <a:pt x="58370" y="98428"/>
                    <a:pt x="59861" y="98428"/>
                  </a:cubicBezTo>
                  <a:cubicBezTo>
                    <a:pt x="60003" y="98428"/>
                    <a:pt x="60145" y="98421"/>
                    <a:pt x="60286" y="98409"/>
                  </a:cubicBezTo>
                  <a:lnTo>
                    <a:pt x="60286" y="98409"/>
                  </a:lnTo>
                  <a:cubicBezTo>
                    <a:pt x="59905" y="99653"/>
                    <a:pt x="61397" y="101114"/>
                    <a:pt x="60936" y="102330"/>
                  </a:cubicBezTo>
                  <a:cubicBezTo>
                    <a:pt x="60565" y="103312"/>
                    <a:pt x="59445" y="103741"/>
                    <a:pt x="58674" y="104452"/>
                  </a:cubicBezTo>
                  <a:cubicBezTo>
                    <a:pt x="57337" y="105685"/>
                    <a:pt x="57129" y="107795"/>
                    <a:pt x="57705" y="109521"/>
                  </a:cubicBezTo>
                  <a:cubicBezTo>
                    <a:pt x="58282" y="111246"/>
                    <a:pt x="59498" y="112671"/>
                    <a:pt x="60717" y="114022"/>
                  </a:cubicBezTo>
                  <a:cubicBezTo>
                    <a:pt x="62978" y="116530"/>
                    <a:pt x="65696" y="117746"/>
                    <a:pt x="68148" y="120066"/>
                  </a:cubicBezTo>
                  <a:cubicBezTo>
                    <a:pt x="70420" y="122216"/>
                    <a:pt x="70937" y="125696"/>
                    <a:pt x="70438" y="128784"/>
                  </a:cubicBezTo>
                  <a:cubicBezTo>
                    <a:pt x="69938" y="131872"/>
                    <a:pt x="68585" y="134744"/>
                    <a:pt x="67620" y="137718"/>
                  </a:cubicBezTo>
                  <a:cubicBezTo>
                    <a:pt x="65814" y="143276"/>
                    <a:pt x="65376" y="149382"/>
                    <a:pt x="67102" y="154963"/>
                  </a:cubicBezTo>
                  <a:cubicBezTo>
                    <a:pt x="68828" y="160546"/>
                    <a:pt x="72869" y="165522"/>
                    <a:pt x="78283" y="167717"/>
                  </a:cubicBezTo>
                  <a:cubicBezTo>
                    <a:pt x="78404" y="167766"/>
                    <a:pt x="78530" y="167788"/>
                    <a:pt x="78658" y="167788"/>
                  </a:cubicBezTo>
                  <a:cubicBezTo>
                    <a:pt x="79167" y="167788"/>
                    <a:pt x="79705" y="167444"/>
                    <a:pt x="80056" y="167066"/>
                  </a:cubicBezTo>
                  <a:cubicBezTo>
                    <a:pt x="80495" y="166591"/>
                    <a:pt x="80589" y="165833"/>
                    <a:pt x="80281" y="165265"/>
                  </a:cubicBezTo>
                  <a:cubicBezTo>
                    <a:pt x="79304" y="163467"/>
                    <a:pt x="77566" y="161932"/>
                    <a:pt x="76298" y="160326"/>
                  </a:cubicBezTo>
                  <a:cubicBezTo>
                    <a:pt x="75898" y="159821"/>
                    <a:pt x="75478" y="159248"/>
                    <a:pt x="75530" y="158607"/>
                  </a:cubicBezTo>
                  <a:cubicBezTo>
                    <a:pt x="75589" y="157886"/>
                    <a:pt x="76208" y="157367"/>
                    <a:pt x="76666" y="156807"/>
                  </a:cubicBezTo>
                  <a:cubicBezTo>
                    <a:pt x="77361" y="155947"/>
                    <a:pt x="77729" y="154867"/>
                    <a:pt x="77704" y="153762"/>
                  </a:cubicBezTo>
                  <a:cubicBezTo>
                    <a:pt x="77674" y="152733"/>
                    <a:pt x="77075" y="151726"/>
                    <a:pt x="77111" y="150697"/>
                  </a:cubicBezTo>
                  <a:cubicBezTo>
                    <a:pt x="77146" y="149667"/>
                    <a:pt x="77701" y="148583"/>
                    <a:pt x="78676" y="148251"/>
                  </a:cubicBezTo>
                  <a:cubicBezTo>
                    <a:pt x="79120" y="148100"/>
                    <a:pt x="79614" y="148115"/>
                    <a:pt x="80042" y="147926"/>
                  </a:cubicBezTo>
                  <a:cubicBezTo>
                    <a:pt x="81453" y="147303"/>
                    <a:pt x="81228" y="145153"/>
                    <a:pt x="82249" y="143996"/>
                  </a:cubicBezTo>
                  <a:cubicBezTo>
                    <a:pt x="82722" y="143460"/>
                    <a:pt x="83419" y="143193"/>
                    <a:pt x="84064" y="142883"/>
                  </a:cubicBezTo>
                  <a:cubicBezTo>
                    <a:pt x="86792" y="141571"/>
                    <a:pt x="89035" y="138972"/>
                    <a:pt x="89283" y="135957"/>
                  </a:cubicBezTo>
                  <a:cubicBezTo>
                    <a:pt x="89483" y="133544"/>
                    <a:pt x="88605" y="130615"/>
                    <a:pt x="90438" y="129034"/>
                  </a:cubicBezTo>
                  <a:cubicBezTo>
                    <a:pt x="91238" y="128344"/>
                    <a:pt x="92244" y="128199"/>
                    <a:pt x="93314" y="128199"/>
                  </a:cubicBezTo>
                  <a:cubicBezTo>
                    <a:pt x="94087" y="128199"/>
                    <a:pt x="94894" y="128275"/>
                    <a:pt x="95682" y="128275"/>
                  </a:cubicBezTo>
                  <a:cubicBezTo>
                    <a:pt x="96098" y="128275"/>
                    <a:pt x="96509" y="128254"/>
                    <a:pt x="96908" y="128189"/>
                  </a:cubicBezTo>
                  <a:cubicBezTo>
                    <a:pt x="97800" y="128044"/>
                    <a:pt x="98396" y="127214"/>
                    <a:pt x="98814" y="126412"/>
                  </a:cubicBezTo>
                  <a:cubicBezTo>
                    <a:pt x="99231" y="125609"/>
                    <a:pt x="99280" y="124658"/>
                    <a:pt x="99129" y="123766"/>
                  </a:cubicBezTo>
                  <a:cubicBezTo>
                    <a:pt x="98945" y="122668"/>
                    <a:pt x="98473" y="121597"/>
                    <a:pt x="98577" y="120489"/>
                  </a:cubicBezTo>
                  <a:cubicBezTo>
                    <a:pt x="98723" y="118930"/>
                    <a:pt x="99942" y="117730"/>
                    <a:pt x="100886" y="116480"/>
                  </a:cubicBezTo>
                  <a:cubicBezTo>
                    <a:pt x="102003" y="114998"/>
                    <a:pt x="102797" y="113297"/>
                    <a:pt x="103214" y="111488"/>
                  </a:cubicBezTo>
                  <a:cubicBezTo>
                    <a:pt x="103689" y="109429"/>
                    <a:pt x="102371" y="106997"/>
                    <a:pt x="100524" y="105970"/>
                  </a:cubicBezTo>
                  <a:cubicBezTo>
                    <a:pt x="98677" y="104943"/>
                    <a:pt x="96462" y="104915"/>
                    <a:pt x="94350" y="104853"/>
                  </a:cubicBezTo>
                  <a:cubicBezTo>
                    <a:pt x="92237" y="104794"/>
                    <a:pt x="89999" y="104633"/>
                    <a:pt x="88273" y="103414"/>
                  </a:cubicBezTo>
                  <a:cubicBezTo>
                    <a:pt x="86692" y="102296"/>
                    <a:pt x="85799" y="100469"/>
                    <a:pt x="84550" y="98991"/>
                  </a:cubicBezTo>
                  <a:cubicBezTo>
                    <a:pt x="82441" y="96497"/>
                    <a:pt x="79375" y="95057"/>
                    <a:pt x="76410" y="93690"/>
                  </a:cubicBezTo>
                  <a:cubicBezTo>
                    <a:pt x="75559" y="93298"/>
                    <a:pt x="74630" y="92901"/>
                    <a:pt x="73720" y="92901"/>
                  </a:cubicBezTo>
                  <a:cubicBezTo>
                    <a:pt x="73431" y="92901"/>
                    <a:pt x="73144" y="92941"/>
                    <a:pt x="72862" y="93034"/>
                  </a:cubicBezTo>
                  <a:cubicBezTo>
                    <a:pt x="72400" y="93185"/>
                    <a:pt x="71985" y="93473"/>
                    <a:pt x="71508" y="93564"/>
                  </a:cubicBezTo>
                  <a:cubicBezTo>
                    <a:pt x="71390" y="93586"/>
                    <a:pt x="71274" y="93597"/>
                    <a:pt x="71159" y="93597"/>
                  </a:cubicBezTo>
                  <a:cubicBezTo>
                    <a:pt x="70006" y="93597"/>
                    <a:pt x="69033" y="92520"/>
                    <a:pt x="67966" y="91944"/>
                  </a:cubicBezTo>
                  <a:cubicBezTo>
                    <a:pt x="67424" y="91651"/>
                    <a:pt x="66830" y="91518"/>
                    <a:pt x="66231" y="91518"/>
                  </a:cubicBezTo>
                  <a:cubicBezTo>
                    <a:pt x="64138" y="91518"/>
                    <a:pt x="61986" y="93147"/>
                    <a:pt x="61817" y="95293"/>
                  </a:cubicBezTo>
                  <a:cubicBezTo>
                    <a:pt x="61476" y="95410"/>
                    <a:pt x="61056" y="95468"/>
                    <a:pt x="60611" y="95468"/>
                  </a:cubicBezTo>
                  <a:cubicBezTo>
                    <a:pt x="59413" y="95468"/>
                    <a:pt x="58031" y="95047"/>
                    <a:pt x="57510" y="94228"/>
                  </a:cubicBezTo>
                  <a:cubicBezTo>
                    <a:pt x="56995" y="93419"/>
                    <a:pt x="56789" y="92287"/>
                    <a:pt x="55904" y="91918"/>
                  </a:cubicBezTo>
                  <a:cubicBezTo>
                    <a:pt x="55432" y="91722"/>
                    <a:pt x="54840" y="91796"/>
                    <a:pt x="54455" y="91458"/>
                  </a:cubicBezTo>
                  <a:cubicBezTo>
                    <a:pt x="53818" y="90898"/>
                    <a:pt x="54313" y="89881"/>
                    <a:pt x="54428" y="89040"/>
                  </a:cubicBezTo>
                  <a:cubicBezTo>
                    <a:pt x="54609" y="87696"/>
                    <a:pt x="53607" y="86419"/>
                    <a:pt x="52383" y="85834"/>
                  </a:cubicBezTo>
                  <a:cubicBezTo>
                    <a:pt x="51161" y="85249"/>
                    <a:pt x="49761" y="85202"/>
                    <a:pt x="48407" y="85159"/>
                  </a:cubicBezTo>
                  <a:cubicBezTo>
                    <a:pt x="47051" y="85115"/>
                    <a:pt x="45649" y="85054"/>
                    <a:pt x="44436" y="84447"/>
                  </a:cubicBezTo>
                  <a:cubicBezTo>
                    <a:pt x="42077" y="83264"/>
                    <a:pt x="41111" y="80063"/>
                    <a:pt x="42146" y="77635"/>
                  </a:cubicBezTo>
                  <a:cubicBezTo>
                    <a:pt x="43156" y="75267"/>
                    <a:pt x="45760" y="73783"/>
                    <a:pt x="48337" y="73783"/>
                  </a:cubicBezTo>
                  <a:cubicBezTo>
                    <a:pt x="48401" y="73783"/>
                    <a:pt x="48464" y="73784"/>
                    <a:pt x="48528" y="73786"/>
                  </a:cubicBezTo>
                  <a:cubicBezTo>
                    <a:pt x="51112" y="73862"/>
                    <a:pt x="53842" y="75749"/>
                    <a:pt x="53870" y="78335"/>
                  </a:cubicBezTo>
                  <a:cubicBezTo>
                    <a:pt x="53875" y="78746"/>
                    <a:pt x="54287" y="78928"/>
                    <a:pt x="54735" y="78928"/>
                  </a:cubicBezTo>
                  <a:cubicBezTo>
                    <a:pt x="55004" y="78928"/>
                    <a:pt x="55285" y="78863"/>
                    <a:pt x="55498" y="78741"/>
                  </a:cubicBezTo>
                  <a:cubicBezTo>
                    <a:pt x="56067" y="78416"/>
                    <a:pt x="56365" y="77760"/>
                    <a:pt x="56505" y="77119"/>
                  </a:cubicBezTo>
                  <a:cubicBezTo>
                    <a:pt x="56645" y="76478"/>
                    <a:pt x="56664" y="75812"/>
                    <a:pt x="56860" y="75186"/>
                  </a:cubicBezTo>
                  <a:cubicBezTo>
                    <a:pt x="57310" y="73749"/>
                    <a:pt x="58757" y="72690"/>
                    <a:pt x="60261" y="72690"/>
                  </a:cubicBezTo>
                  <a:cubicBezTo>
                    <a:pt x="60273" y="72690"/>
                    <a:pt x="60285" y="72690"/>
                    <a:pt x="60297" y="72690"/>
                  </a:cubicBezTo>
                  <a:cubicBezTo>
                    <a:pt x="60306" y="72690"/>
                    <a:pt x="60314" y="72690"/>
                    <a:pt x="60323" y="72690"/>
                  </a:cubicBezTo>
                  <a:cubicBezTo>
                    <a:pt x="61893" y="72690"/>
                    <a:pt x="62998" y="71122"/>
                    <a:pt x="64116" y="70013"/>
                  </a:cubicBezTo>
                  <a:cubicBezTo>
                    <a:pt x="65241" y="68896"/>
                    <a:pt x="65913" y="67214"/>
                    <a:pt x="65469" y="65693"/>
                  </a:cubicBezTo>
                  <a:cubicBezTo>
                    <a:pt x="65229" y="64873"/>
                    <a:pt x="64683" y="64046"/>
                    <a:pt x="64956" y="63238"/>
                  </a:cubicBezTo>
                  <a:cubicBezTo>
                    <a:pt x="65170" y="62604"/>
                    <a:pt x="65822" y="62237"/>
                    <a:pt x="66438" y="61978"/>
                  </a:cubicBezTo>
                  <a:cubicBezTo>
                    <a:pt x="67992" y="61328"/>
                    <a:pt x="69657" y="60995"/>
                    <a:pt x="71338" y="60995"/>
                  </a:cubicBezTo>
                  <a:cubicBezTo>
                    <a:pt x="71514" y="60995"/>
                    <a:pt x="71689" y="60998"/>
                    <a:pt x="71865" y="61005"/>
                  </a:cubicBezTo>
                  <a:cubicBezTo>
                    <a:pt x="71916" y="61008"/>
                    <a:pt x="71966" y="61009"/>
                    <a:pt x="72016" y="61009"/>
                  </a:cubicBezTo>
                  <a:cubicBezTo>
                    <a:pt x="73530" y="61009"/>
                    <a:pt x="74333" y="60016"/>
                    <a:pt x="75129" y="58671"/>
                  </a:cubicBezTo>
                  <a:cubicBezTo>
                    <a:pt x="75724" y="57667"/>
                    <a:pt x="75988" y="56400"/>
                    <a:pt x="76935" y="55719"/>
                  </a:cubicBezTo>
                  <a:cubicBezTo>
                    <a:pt x="77461" y="55341"/>
                    <a:pt x="78061" y="55227"/>
                    <a:pt x="78697" y="55227"/>
                  </a:cubicBezTo>
                  <a:cubicBezTo>
                    <a:pt x="79669" y="55227"/>
                    <a:pt x="80723" y="55493"/>
                    <a:pt x="81724" y="55493"/>
                  </a:cubicBezTo>
                  <a:cubicBezTo>
                    <a:pt x="81835" y="55493"/>
                    <a:pt x="81945" y="55490"/>
                    <a:pt x="82055" y="55483"/>
                  </a:cubicBezTo>
                  <a:cubicBezTo>
                    <a:pt x="84597" y="55311"/>
                    <a:pt x="86582" y="52458"/>
                    <a:pt x="85860" y="50015"/>
                  </a:cubicBezTo>
                  <a:cubicBezTo>
                    <a:pt x="85517" y="48852"/>
                    <a:pt x="84704" y="47901"/>
                    <a:pt x="84043" y="46884"/>
                  </a:cubicBezTo>
                  <a:cubicBezTo>
                    <a:pt x="83131" y="45481"/>
                    <a:pt x="82492" y="43918"/>
                    <a:pt x="82159" y="42277"/>
                  </a:cubicBezTo>
                  <a:cubicBezTo>
                    <a:pt x="81854" y="40773"/>
                    <a:pt x="81767" y="39118"/>
                    <a:pt x="80776" y="37947"/>
                  </a:cubicBezTo>
                  <a:cubicBezTo>
                    <a:pt x="79227" y="38020"/>
                    <a:pt x="77350" y="37975"/>
                    <a:pt x="75971" y="38686"/>
                  </a:cubicBezTo>
                  <a:cubicBezTo>
                    <a:pt x="75699" y="37108"/>
                    <a:pt x="75398" y="35461"/>
                    <a:pt x="74423" y="34192"/>
                  </a:cubicBezTo>
                  <a:cubicBezTo>
                    <a:pt x="73732" y="33291"/>
                    <a:pt x="72587" y="32657"/>
                    <a:pt x="71488" y="32657"/>
                  </a:cubicBezTo>
                  <a:cubicBezTo>
                    <a:pt x="71039" y="32657"/>
                    <a:pt x="70597" y="32763"/>
                    <a:pt x="70198" y="32999"/>
                  </a:cubicBezTo>
                  <a:cubicBezTo>
                    <a:pt x="68851" y="33794"/>
                    <a:pt x="68559" y="35642"/>
                    <a:pt x="68807" y="37187"/>
                  </a:cubicBezTo>
                  <a:cubicBezTo>
                    <a:pt x="69057" y="38731"/>
                    <a:pt x="69698" y="40227"/>
                    <a:pt x="69655" y="41791"/>
                  </a:cubicBezTo>
                  <a:cubicBezTo>
                    <a:pt x="69615" y="43336"/>
                    <a:pt x="68552" y="45042"/>
                    <a:pt x="67017" y="45042"/>
                  </a:cubicBezTo>
                  <a:cubicBezTo>
                    <a:pt x="66998" y="45042"/>
                    <a:pt x="66979" y="45041"/>
                    <a:pt x="66960" y="45041"/>
                  </a:cubicBezTo>
                  <a:cubicBezTo>
                    <a:pt x="66146" y="45019"/>
                    <a:pt x="65416" y="44522"/>
                    <a:pt x="64843" y="43941"/>
                  </a:cubicBezTo>
                  <a:cubicBezTo>
                    <a:pt x="64022" y="43112"/>
                    <a:pt x="63372" y="42052"/>
                    <a:pt x="62317" y="41553"/>
                  </a:cubicBezTo>
                  <a:cubicBezTo>
                    <a:pt x="61507" y="41171"/>
                    <a:pt x="60577" y="41179"/>
                    <a:pt x="59704" y="40982"/>
                  </a:cubicBezTo>
                  <a:cubicBezTo>
                    <a:pt x="56728" y="40316"/>
                    <a:pt x="54688" y="36902"/>
                    <a:pt x="55510" y="33965"/>
                  </a:cubicBezTo>
                  <a:cubicBezTo>
                    <a:pt x="56182" y="31564"/>
                    <a:pt x="58657" y="29882"/>
                    <a:pt x="61117" y="29882"/>
                  </a:cubicBezTo>
                  <a:cubicBezTo>
                    <a:pt x="61664" y="29882"/>
                    <a:pt x="62211" y="29966"/>
                    <a:pt x="62737" y="30143"/>
                  </a:cubicBezTo>
                  <a:cubicBezTo>
                    <a:pt x="66237" y="28861"/>
                    <a:pt x="67660" y="24447"/>
                    <a:pt x="66265" y="20991"/>
                  </a:cubicBezTo>
                  <a:cubicBezTo>
                    <a:pt x="64868" y="17535"/>
                    <a:pt x="61115" y="15389"/>
                    <a:pt x="57392" y="15226"/>
                  </a:cubicBezTo>
                  <a:cubicBezTo>
                    <a:pt x="56302" y="15179"/>
                    <a:pt x="55191" y="15275"/>
                    <a:pt x="54134" y="15007"/>
                  </a:cubicBezTo>
                  <a:cubicBezTo>
                    <a:pt x="51145" y="14251"/>
                    <a:pt x="49582" y="10965"/>
                    <a:pt x="46980" y="9310"/>
                  </a:cubicBezTo>
                  <a:cubicBezTo>
                    <a:pt x="46287" y="8869"/>
                    <a:pt x="45224" y="8778"/>
                    <a:pt x="44079" y="8778"/>
                  </a:cubicBezTo>
                  <a:cubicBezTo>
                    <a:pt x="43277" y="8778"/>
                    <a:pt x="42435" y="8823"/>
                    <a:pt x="41651" y="8823"/>
                  </a:cubicBezTo>
                  <a:cubicBezTo>
                    <a:pt x="40795" y="8823"/>
                    <a:pt x="40007" y="8769"/>
                    <a:pt x="39418" y="8547"/>
                  </a:cubicBezTo>
                  <a:cubicBezTo>
                    <a:pt x="38499" y="8200"/>
                    <a:pt x="37525" y="8023"/>
                    <a:pt x="36546" y="8023"/>
                  </a:cubicBezTo>
                  <a:cubicBezTo>
                    <a:pt x="36275" y="8023"/>
                    <a:pt x="36003" y="8037"/>
                    <a:pt x="35731" y="8064"/>
                  </a:cubicBezTo>
                  <a:cubicBezTo>
                    <a:pt x="34635" y="9104"/>
                    <a:pt x="32585" y="9398"/>
                    <a:pt x="31077" y="9499"/>
                  </a:cubicBezTo>
                  <a:cubicBezTo>
                    <a:pt x="29526" y="7990"/>
                    <a:pt x="27655" y="6585"/>
                    <a:pt x="25725" y="5605"/>
                  </a:cubicBezTo>
                  <a:cubicBezTo>
                    <a:pt x="24435" y="4951"/>
                    <a:pt x="22930" y="4260"/>
                    <a:pt x="22532" y="2870"/>
                  </a:cubicBezTo>
                  <a:cubicBezTo>
                    <a:pt x="22012" y="1053"/>
                    <a:pt x="19376" y="125"/>
                    <a:pt x="17200" y="125"/>
                  </a:cubicBezTo>
                  <a:cubicBezTo>
                    <a:pt x="16716" y="125"/>
                    <a:pt x="16254" y="171"/>
                    <a:pt x="15844" y="263"/>
                  </a:cubicBezTo>
                  <a:cubicBezTo>
                    <a:pt x="15181" y="84"/>
                    <a:pt x="14496" y="0"/>
                    <a:pt x="13807"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3" name="Google Shape;2163;p66"/>
            <p:cNvSpPr/>
            <p:nvPr/>
          </p:nvSpPr>
          <p:spPr>
            <a:xfrm>
              <a:off x="2370225" y="830650"/>
              <a:ext cx="1016975" cy="1158500"/>
            </a:xfrm>
            <a:custGeom>
              <a:avLst/>
              <a:gdLst/>
              <a:ahLst/>
              <a:cxnLst/>
              <a:rect l="l" t="t" r="r" b="b"/>
              <a:pathLst>
                <a:path w="40679" h="46340" extrusionOk="0">
                  <a:moveTo>
                    <a:pt x="15780" y="0"/>
                  </a:moveTo>
                  <a:cubicBezTo>
                    <a:pt x="14989" y="0"/>
                    <a:pt x="14213" y="109"/>
                    <a:pt x="13470" y="421"/>
                  </a:cubicBezTo>
                  <a:cubicBezTo>
                    <a:pt x="9879" y="1928"/>
                    <a:pt x="10933" y="5468"/>
                    <a:pt x="8580" y="7572"/>
                  </a:cubicBezTo>
                  <a:cubicBezTo>
                    <a:pt x="6546" y="9390"/>
                    <a:pt x="2788" y="7963"/>
                    <a:pt x="1150" y="10460"/>
                  </a:cubicBezTo>
                  <a:cubicBezTo>
                    <a:pt x="0" y="12215"/>
                    <a:pt x="1289" y="14606"/>
                    <a:pt x="2962" y="15871"/>
                  </a:cubicBezTo>
                  <a:cubicBezTo>
                    <a:pt x="4636" y="17135"/>
                    <a:pt x="6731" y="17894"/>
                    <a:pt x="8056" y="19522"/>
                  </a:cubicBezTo>
                  <a:cubicBezTo>
                    <a:pt x="10183" y="22136"/>
                    <a:pt x="9577" y="26004"/>
                    <a:pt x="8413" y="29169"/>
                  </a:cubicBezTo>
                  <a:cubicBezTo>
                    <a:pt x="7247" y="32332"/>
                    <a:pt x="5603" y="35532"/>
                    <a:pt x="6005" y="38881"/>
                  </a:cubicBezTo>
                  <a:cubicBezTo>
                    <a:pt x="6193" y="40459"/>
                    <a:pt x="6837" y="41956"/>
                    <a:pt x="7675" y="43307"/>
                  </a:cubicBezTo>
                  <a:cubicBezTo>
                    <a:pt x="8488" y="44615"/>
                    <a:pt x="9597" y="45873"/>
                    <a:pt x="11095" y="46235"/>
                  </a:cubicBezTo>
                  <a:cubicBezTo>
                    <a:pt x="11391" y="46306"/>
                    <a:pt x="11688" y="46339"/>
                    <a:pt x="11983" y="46339"/>
                  </a:cubicBezTo>
                  <a:cubicBezTo>
                    <a:pt x="13586" y="46339"/>
                    <a:pt x="15150" y="45367"/>
                    <a:pt x="16368" y="44250"/>
                  </a:cubicBezTo>
                  <a:cubicBezTo>
                    <a:pt x="17812" y="42927"/>
                    <a:pt x="19065" y="41325"/>
                    <a:pt x="20822" y="40465"/>
                  </a:cubicBezTo>
                  <a:cubicBezTo>
                    <a:pt x="23353" y="39224"/>
                    <a:pt x="26610" y="39686"/>
                    <a:pt x="28815" y="37929"/>
                  </a:cubicBezTo>
                  <a:cubicBezTo>
                    <a:pt x="31544" y="35754"/>
                    <a:pt x="31140" y="31606"/>
                    <a:pt x="31890" y="28199"/>
                  </a:cubicBezTo>
                  <a:cubicBezTo>
                    <a:pt x="33150" y="22476"/>
                    <a:pt x="38102" y="18249"/>
                    <a:pt x="40038" y="12718"/>
                  </a:cubicBezTo>
                  <a:cubicBezTo>
                    <a:pt x="40418" y="11636"/>
                    <a:pt x="40679" y="10499"/>
                    <a:pt x="40652" y="9352"/>
                  </a:cubicBezTo>
                  <a:cubicBezTo>
                    <a:pt x="40569" y="5649"/>
                    <a:pt x="37449" y="2571"/>
                    <a:pt x="33956" y="1339"/>
                  </a:cubicBezTo>
                  <a:cubicBezTo>
                    <a:pt x="31938" y="627"/>
                    <a:pt x="29911" y="457"/>
                    <a:pt x="27871" y="457"/>
                  </a:cubicBezTo>
                  <a:cubicBezTo>
                    <a:pt x="26007" y="457"/>
                    <a:pt x="24132" y="599"/>
                    <a:pt x="22245" y="599"/>
                  </a:cubicBezTo>
                  <a:cubicBezTo>
                    <a:pt x="21785" y="599"/>
                    <a:pt x="21325" y="591"/>
                    <a:pt x="20863" y="570"/>
                  </a:cubicBezTo>
                  <a:cubicBezTo>
                    <a:pt x="19225" y="496"/>
                    <a:pt x="17470" y="0"/>
                    <a:pt x="15780"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4" name="Google Shape;2164;p66"/>
            <p:cNvSpPr/>
            <p:nvPr/>
          </p:nvSpPr>
          <p:spPr>
            <a:xfrm>
              <a:off x="3143325" y="1089650"/>
              <a:ext cx="4064350" cy="3503975"/>
            </a:xfrm>
            <a:custGeom>
              <a:avLst/>
              <a:gdLst/>
              <a:ahLst/>
              <a:cxnLst/>
              <a:rect l="l" t="t" r="r" b="b"/>
              <a:pathLst>
                <a:path w="162574" h="140159" extrusionOk="0">
                  <a:moveTo>
                    <a:pt x="149391" y="0"/>
                  </a:moveTo>
                  <a:cubicBezTo>
                    <a:pt x="148360" y="0"/>
                    <a:pt x="147330" y="156"/>
                    <a:pt x="146349" y="477"/>
                  </a:cubicBezTo>
                  <a:cubicBezTo>
                    <a:pt x="145329" y="812"/>
                    <a:pt x="144363" y="1309"/>
                    <a:pt x="143326" y="1583"/>
                  </a:cubicBezTo>
                  <a:cubicBezTo>
                    <a:pt x="142494" y="1801"/>
                    <a:pt x="141638" y="1870"/>
                    <a:pt x="140776" y="1870"/>
                  </a:cubicBezTo>
                  <a:cubicBezTo>
                    <a:pt x="140050" y="1870"/>
                    <a:pt x="139319" y="1821"/>
                    <a:pt x="138596" y="1772"/>
                  </a:cubicBezTo>
                  <a:lnTo>
                    <a:pt x="130106" y="1191"/>
                  </a:lnTo>
                  <a:cubicBezTo>
                    <a:pt x="129237" y="1132"/>
                    <a:pt x="128350" y="1076"/>
                    <a:pt x="127469" y="1076"/>
                  </a:cubicBezTo>
                  <a:cubicBezTo>
                    <a:pt x="125783" y="1076"/>
                    <a:pt x="124119" y="1281"/>
                    <a:pt x="122644" y="2056"/>
                  </a:cubicBezTo>
                  <a:cubicBezTo>
                    <a:pt x="119360" y="3782"/>
                    <a:pt x="117499" y="8084"/>
                    <a:pt x="113816" y="8529"/>
                  </a:cubicBezTo>
                  <a:cubicBezTo>
                    <a:pt x="113611" y="8554"/>
                    <a:pt x="113408" y="8566"/>
                    <a:pt x="113207" y="8566"/>
                  </a:cubicBezTo>
                  <a:cubicBezTo>
                    <a:pt x="110853" y="8566"/>
                    <a:pt x="108715" y="6973"/>
                    <a:pt x="106473" y="6087"/>
                  </a:cubicBezTo>
                  <a:cubicBezTo>
                    <a:pt x="105100" y="5543"/>
                    <a:pt x="103627" y="5279"/>
                    <a:pt x="102152" y="5279"/>
                  </a:cubicBezTo>
                  <a:cubicBezTo>
                    <a:pt x="99404" y="5279"/>
                    <a:pt x="96647" y="6196"/>
                    <a:pt x="94512" y="7933"/>
                  </a:cubicBezTo>
                  <a:cubicBezTo>
                    <a:pt x="93279" y="7304"/>
                    <a:pt x="93660" y="5468"/>
                    <a:pt x="93225" y="4153"/>
                  </a:cubicBezTo>
                  <a:cubicBezTo>
                    <a:pt x="92771" y="2782"/>
                    <a:pt x="91297" y="1954"/>
                    <a:pt x="89858" y="1828"/>
                  </a:cubicBezTo>
                  <a:cubicBezTo>
                    <a:pt x="89687" y="1813"/>
                    <a:pt x="89517" y="1806"/>
                    <a:pt x="89348" y="1806"/>
                  </a:cubicBezTo>
                  <a:cubicBezTo>
                    <a:pt x="88082" y="1806"/>
                    <a:pt x="86834" y="2194"/>
                    <a:pt x="85623" y="2590"/>
                  </a:cubicBezTo>
                  <a:cubicBezTo>
                    <a:pt x="82664" y="3556"/>
                    <a:pt x="79224" y="5204"/>
                    <a:pt x="78950" y="8303"/>
                  </a:cubicBezTo>
                  <a:cubicBezTo>
                    <a:pt x="78873" y="9176"/>
                    <a:pt x="79068" y="10104"/>
                    <a:pt x="78702" y="10900"/>
                  </a:cubicBezTo>
                  <a:cubicBezTo>
                    <a:pt x="78178" y="12033"/>
                    <a:pt x="76762" y="12408"/>
                    <a:pt x="75881" y="13291"/>
                  </a:cubicBezTo>
                  <a:cubicBezTo>
                    <a:pt x="74831" y="14345"/>
                    <a:pt x="74664" y="15971"/>
                    <a:pt x="74621" y="17458"/>
                  </a:cubicBezTo>
                  <a:cubicBezTo>
                    <a:pt x="74577" y="18944"/>
                    <a:pt x="74563" y="20541"/>
                    <a:pt x="73703" y="21754"/>
                  </a:cubicBezTo>
                  <a:cubicBezTo>
                    <a:pt x="73148" y="22537"/>
                    <a:pt x="71069" y="23068"/>
                    <a:pt x="69376" y="23068"/>
                  </a:cubicBezTo>
                  <a:cubicBezTo>
                    <a:pt x="68445" y="23068"/>
                    <a:pt x="67630" y="22907"/>
                    <a:pt x="67252" y="22539"/>
                  </a:cubicBezTo>
                  <a:cubicBezTo>
                    <a:pt x="66636" y="21940"/>
                    <a:pt x="65905" y="21693"/>
                    <a:pt x="65124" y="21693"/>
                  </a:cubicBezTo>
                  <a:cubicBezTo>
                    <a:pt x="63293" y="21693"/>
                    <a:pt x="61194" y="23048"/>
                    <a:pt x="59696" y="24392"/>
                  </a:cubicBezTo>
                  <a:lnTo>
                    <a:pt x="53326" y="30110"/>
                  </a:lnTo>
                  <a:cubicBezTo>
                    <a:pt x="51731" y="31541"/>
                    <a:pt x="50013" y="33034"/>
                    <a:pt x="47899" y="33389"/>
                  </a:cubicBezTo>
                  <a:cubicBezTo>
                    <a:pt x="47672" y="33427"/>
                    <a:pt x="47440" y="33446"/>
                    <a:pt x="47206" y="33446"/>
                  </a:cubicBezTo>
                  <a:cubicBezTo>
                    <a:pt x="45267" y="33446"/>
                    <a:pt x="43232" y="32171"/>
                    <a:pt x="43155" y="30259"/>
                  </a:cubicBezTo>
                  <a:cubicBezTo>
                    <a:pt x="43563" y="29875"/>
                    <a:pt x="44085" y="29761"/>
                    <a:pt x="44655" y="29761"/>
                  </a:cubicBezTo>
                  <a:cubicBezTo>
                    <a:pt x="45498" y="29761"/>
                    <a:pt x="46445" y="30012"/>
                    <a:pt x="47276" y="30012"/>
                  </a:cubicBezTo>
                  <a:cubicBezTo>
                    <a:pt x="47872" y="30012"/>
                    <a:pt x="48409" y="29883"/>
                    <a:pt x="48805" y="29438"/>
                  </a:cubicBezTo>
                  <a:cubicBezTo>
                    <a:pt x="49977" y="28121"/>
                    <a:pt x="48243" y="26238"/>
                    <a:pt x="46718" y="25356"/>
                  </a:cubicBezTo>
                  <a:cubicBezTo>
                    <a:pt x="43929" y="23744"/>
                    <a:pt x="41047" y="22101"/>
                    <a:pt x="37854" y="21667"/>
                  </a:cubicBezTo>
                  <a:cubicBezTo>
                    <a:pt x="37395" y="21605"/>
                    <a:pt x="36928" y="21573"/>
                    <a:pt x="36459" y="21573"/>
                  </a:cubicBezTo>
                  <a:cubicBezTo>
                    <a:pt x="33662" y="21573"/>
                    <a:pt x="30804" y="22696"/>
                    <a:pt x="29384" y="25062"/>
                  </a:cubicBezTo>
                  <a:cubicBezTo>
                    <a:pt x="27966" y="27426"/>
                    <a:pt x="28225" y="30512"/>
                    <a:pt x="26820" y="32884"/>
                  </a:cubicBezTo>
                  <a:cubicBezTo>
                    <a:pt x="25941" y="34369"/>
                    <a:pt x="24491" y="35431"/>
                    <a:pt x="23493" y="36839"/>
                  </a:cubicBezTo>
                  <a:cubicBezTo>
                    <a:pt x="22495" y="38247"/>
                    <a:pt x="22067" y="40372"/>
                    <a:pt x="23291" y="41591"/>
                  </a:cubicBezTo>
                  <a:cubicBezTo>
                    <a:pt x="24277" y="42574"/>
                    <a:pt x="25957" y="42576"/>
                    <a:pt x="26934" y="43568"/>
                  </a:cubicBezTo>
                  <a:cubicBezTo>
                    <a:pt x="27686" y="44334"/>
                    <a:pt x="27942" y="45612"/>
                    <a:pt x="28928" y="46032"/>
                  </a:cubicBezTo>
                  <a:cubicBezTo>
                    <a:pt x="29116" y="46112"/>
                    <a:pt x="29308" y="46149"/>
                    <a:pt x="29499" y="46149"/>
                  </a:cubicBezTo>
                  <a:cubicBezTo>
                    <a:pt x="30453" y="46149"/>
                    <a:pt x="31375" y="45228"/>
                    <a:pt x="31599" y="44232"/>
                  </a:cubicBezTo>
                  <a:cubicBezTo>
                    <a:pt x="31870" y="43035"/>
                    <a:pt x="31491" y="41803"/>
                    <a:pt x="31294" y="40594"/>
                  </a:cubicBezTo>
                  <a:cubicBezTo>
                    <a:pt x="30707" y="36976"/>
                    <a:pt x="32524" y="32527"/>
                    <a:pt x="36153" y="32010"/>
                  </a:cubicBezTo>
                  <a:cubicBezTo>
                    <a:pt x="36979" y="32041"/>
                    <a:pt x="37253" y="33221"/>
                    <a:pt x="36881" y="33960"/>
                  </a:cubicBezTo>
                  <a:cubicBezTo>
                    <a:pt x="36512" y="34700"/>
                    <a:pt x="35790" y="35213"/>
                    <a:pt x="35400" y="35941"/>
                  </a:cubicBezTo>
                  <a:cubicBezTo>
                    <a:pt x="34663" y="37314"/>
                    <a:pt x="35518" y="39272"/>
                    <a:pt x="37026" y="39667"/>
                  </a:cubicBezTo>
                  <a:cubicBezTo>
                    <a:pt x="38598" y="40078"/>
                    <a:pt x="41223" y="39748"/>
                    <a:pt x="41017" y="41358"/>
                  </a:cubicBezTo>
                  <a:cubicBezTo>
                    <a:pt x="40797" y="43068"/>
                    <a:pt x="37630" y="41948"/>
                    <a:pt x="36606" y="43336"/>
                  </a:cubicBezTo>
                  <a:cubicBezTo>
                    <a:pt x="36002" y="44155"/>
                    <a:pt x="36537" y="45296"/>
                    <a:pt x="36521" y="46313"/>
                  </a:cubicBezTo>
                  <a:cubicBezTo>
                    <a:pt x="36494" y="48303"/>
                    <a:pt x="34299" y="49599"/>
                    <a:pt x="32313" y="49739"/>
                  </a:cubicBezTo>
                  <a:cubicBezTo>
                    <a:pt x="32097" y="49755"/>
                    <a:pt x="31880" y="49762"/>
                    <a:pt x="31663" y="49762"/>
                  </a:cubicBezTo>
                  <a:cubicBezTo>
                    <a:pt x="30164" y="49762"/>
                    <a:pt x="28664" y="49439"/>
                    <a:pt x="27166" y="49439"/>
                  </a:cubicBezTo>
                  <a:cubicBezTo>
                    <a:pt x="26898" y="49439"/>
                    <a:pt x="26629" y="49449"/>
                    <a:pt x="26361" y="49474"/>
                  </a:cubicBezTo>
                  <a:cubicBezTo>
                    <a:pt x="24379" y="49654"/>
                    <a:pt x="22222" y="51058"/>
                    <a:pt x="22312" y="53044"/>
                  </a:cubicBezTo>
                  <a:cubicBezTo>
                    <a:pt x="19567" y="54331"/>
                    <a:pt x="16715" y="55374"/>
                    <a:pt x="13788" y="56164"/>
                  </a:cubicBezTo>
                  <a:cubicBezTo>
                    <a:pt x="13912" y="58317"/>
                    <a:pt x="17975" y="58517"/>
                    <a:pt x="17960" y="60675"/>
                  </a:cubicBezTo>
                  <a:cubicBezTo>
                    <a:pt x="17949" y="61887"/>
                    <a:pt x="16542" y="62556"/>
                    <a:pt x="15302" y="62556"/>
                  </a:cubicBezTo>
                  <a:cubicBezTo>
                    <a:pt x="15219" y="62556"/>
                    <a:pt x="15137" y="62553"/>
                    <a:pt x="15056" y="62547"/>
                  </a:cubicBezTo>
                  <a:cubicBezTo>
                    <a:pt x="14072" y="62475"/>
                    <a:pt x="13082" y="62160"/>
                    <a:pt x="12113" y="62160"/>
                  </a:cubicBezTo>
                  <a:cubicBezTo>
                    <a:pt x="11810" y="62160"/>
                    <a:pt x="11508" y="62191"/>
                    <a:pt x="11210" y="62270"/>
                  </a:cubicBezTo>
                  <a:cubicBezTo>
                    <a:pt x="9047" y="62839"/>
                    <a:pt x="8290" y="65880"/>
                    <a:pt x="9487" y="67769"/>
                  </a:cubicBezTo>
                  <a:cubicBezTo>
                    <a:pt x="10572" y="69481"/>
                    <a:pt x="12694" y="70258"/>
                    <a:pt x="14741" y="70258"/>
                  </a:cubicBezTo>
                  <a:cubicBezTo>
                    <a:pt x="14954" y="70258"/>
                    <a:pt x="15165" y="70249"/>
                    <a:pt x="15375" y="70233"/>
                  </a:cubicBezTo>
                  <a:cubicBezTo>
                    <a:pt x="16269" y="70162"/>
                    <a:pt x="17225" y="69924"/>
                    <a:pt x="17785" y="69223"/>
                  </a:cubicBezTo>
                  <a:cubicBezTo>
                    <a:pt x="18318" y="68554"/>
                    <a:pt x="18362" y="67634"/>
                    <a:pt x="18586" y="66808"/>
                  </a:cubicBezTo>
                  <a:cubicBezTo>
                    <a:pt x="19089" y="64960"/>
                    <a:pt x="20667" y="63445"/>
                    <a:pt x="22534" y="63019"/>
                  </a:cubicBezTo>
                  <a:cubicBezTo>
                    <a:pt x="23588" y="62778"/>
                    <a:pt x="24878" y="62758"/>
                    <a:pt x="25444" y="61839"/>
                  </a:cubicBezTo>
                  <a:cubicBezTo>
                    <a:pt x="27854" y="63143"/>
                    <a:pt x="29550" y="65685"/>
                    <a:pt x="29826" y="68413"/>
                  </a:cubicBezTo>
                  <a:cubicBezTo>
                    <a:pt x="30020" y="68663"/>
                    <a:pt x="30274" y="68770"/>
                    <a:pt x="30543" y="68770"/>
                  </a:cubicBezTo>
                  <a:cubicBezTo>
                    <a:pt x="31347" y="68770"/>
                    <a:pt x="32287" y="67809"/>
                    <a:pt x="32159" y="66868"/>
                  </a:cubicBezTo>
                  <a:cubicBezTo>
                    <a:pt x="31991" y="65614"/>
                    <a:pt x="30882" y="64743"/>
                    <a:pt x="30003" y="63834"/>
                  </a:cubicBezTo>
                  <a:cubicBezTo>
                    <a:pt x="29122" y="62923"/>
                    <a:pt x="28387" y="61510"/>
                    <a:pt x="29078" y="60448"/>
                  </a:cubicBezTo>
                  <a:lnTo>
                    <a:pt x="29078" y="60448"/>
                  </a:lnTo>
                  <a:cubicBezTo>
                    <a:pt x="33197" y="61658"/>
                    <a:pt x="36527" y="65238"/>
                    <a:pt x="37435" y="69435"/>
                  </a:cubicBezTo>
                  <a:cubicBezTo>
                    <a:pt x="38871" y="69149"/>
                    <a:pt x="39664" y="67205"/>
                    <a:pt x="38838" y="65997"/>
                  </a:cubicBezTo>
                  <a:cubicBezTo>
                    <a:pt x="39003" y="65628"/>
                    <a:pt x="39328" y="65472"/>
                    <a:pt x="39697" y="65472"/>
                  </a:cubicBezTo>
                  <a:cubicBezTo>
                    <a:pt x="40331" y="65472"/>
                    <a:pt x="41094" y="65932"/>
                    <a:pt x="41391" y="66558"/>
                  </a:cubicBezTo>
                  <a:cubicBezTo>
                    <a:pt x="41862" y="67549"/>
                    <a:pt x="41819" y="68770"/>
                    <a:pt x="42492" y="69636"/>
                  </a:cubicBezTo>
                  <a:cubicBezTo>
                    <a:pt x="43175" y="70517"/>
                    <a:pt x="44261" y="70711"/>
                    <a:pt x="45451" y="70711"/>
                  </a:cubicBezTo>
                  <a:cubicBezTo>
                    <a:pt x="46388" y="70711"/>
                    <a:pt x="47390" y="70590"/>
                    <a:pt x="48312" y="70590"/>
                  </a:cubicBezTo>
                  <a:cubicBezTo>
                    <a:pt x="49551" y="70590"/>
                    <a:pt x="50643" y="70808"/>
                    <a:pt x="51235" y="71828"/>
                  </a:cubicBezTo>
                  <a:cubicBezTo>
                    <a:pt x="52336" y="73723"/>
                    <a:pt x="49909" y="75927"/>
                    <a:pt x="47711" y="75927"/>
                  </a:cubicBezTo>
                  <a:cubicBezTo>
                    <a:pt x="47678" y="75927"/>
                    <a:pt x="47645" y="75926"/>
                    <a:pt x="47613" y="75925"/>
                  </a:cubicBezTo>
                  <a:cubicBezTo>
                    <a:pt x="45391" y="75856"/>
                    <a:pt x="43361" y="74585"/>
                    <a:pt x="41147" y="74365"/>
                  </a:cubicBezTo>
                  <a:cubicBezTo>
                    <a:pt x="40897" y="74340"/>
                    <a:pt x="40647" y="74329"/>
                    <a:pt x="40397" y="74329"/>
                  </a:cubicBezTo>
                  <a:cubicBezTo>
                    <a:pt x="38218" y="74329"/>
                    <a:pt x="36082" y="75200"/>
                    <a:pt x="33896" y="75455"/>
                  </a:cubicBezTo>
                  <a:cubicBezTo>
                    <a:pt x="33619" y="75487"/>
                    <a:pt x="33335" y="75503"/>
                    <a:pt x="33048" y="75503"/>
                  </a:cubicBezTo>
                  <a:cubicBezTo>
                    <a:pt x="30807" y="75503"/>
                    <a:pt x="28395" y="74514"/>
                    <a:pt x="27939" y="72388"/>
                  </a:cubicBezTo>
                  <a:cubicBezTo>
                    <a:pt x="27802" y="71741"/>
                    <a:pt x="27855" y="71030"/>
                    <a:pt x="27514" y="70464"/>
                  </a:cubicBezTo>
                  <a:cubicBezTo>
                    <a:pt x="27109" y="69793"/>
                    <a:pt x="26279" y="69553"/>
                    <a:pt x="25473" y="69553"/>
                  </a:cubicBezTo>
                  <a:cubicBezTo>
                    <a:pt x="25313" y="69553"/>
                    <a:pt x="25154" y="69562"/>
                    <a:pt x="24999" y="69580"/>
                  </a:cubicBezTo>
                  <a:cubicBezTo>
                    <a:pt x="21817" y="69942"/>
                    <a:pt x="18598" y="72595"/>
                    <a:pt x="15740" y="72595"/>
                  </a:cubicBezTo>
                  <a:cubicBezTo>
                    <a:pt x="14956" y="72595"/>
                    <a:pt x="14199" y="72395"/>
                    <a:pt x="13478" y="71894"/>
                  </a:cubicBezTo>
                  <a:cubicBezTo>
                    <a:pt x="11337" y="76062"/>
                    <a:pt x="6101" y="77629"/>
                    <a:pt x="3179" y="81294"/>
                  </a:cubicBezTo>
                  <a:cubicBezTo>
                    <a:pt x="0" y="85282"/>
                    <a:pt x="268" y="91440"/>
                    <a:pt x="3354" y="95500"/>
                  </a:cubicBezTo>
                  <a:cubicBezTo>
                    <a:pt x="6050" y="99045"/>
                    <a:pt x="10552" y="100957"/>
                    <a:pt x="15019" y="100957"/>
                  </a:cubicBezTo>
                  <a:cubicBezTo>
                    <a:pt x="15667" y="100957"/>
                    <a:pt x="16314" y="100917"/>
                    <a:pt x="16954" y="100836"/>
                  </a:cubicBezTo>
                  <a:cubicBezTo>
                    <a:pt x="17630" y="100750"/>
                    <a:pt x="18327" y="100626"/>
                    <a:pt x="19005" y="100626"/>
                  </a:cubicBezTo>
                  <a:cubicBezTo>
                    <a:pt x="19489" y="100626"/>
                    <a:pt x="19963" y="100690"/>
                    <a:pt x="20413" y="100875"/>
                  </a:cubicBezTo>
                  <a:cubicBezTo>
                    <a:pt x="21482" y="101317"/>
                    <a:pt x="22166" y="102352"/>
                    <a:pt x="23058" y="103088"/>
                  </a:cubicBezTo>
                  <a:cubicBezTo>
                    <a:pt x="23580" y="103519"/>
                    <a:pt x="24303" y="103823"/>
                    <a:pt x="24961" y="103823"/>
                  </a:cubicBezTo>
                  <a:cubicBezTo>
                    <a:pt x="25427" y="103823"/>
                    <a:pt x="25861" y="103670"/>
                    <a:pt x="26168" y="103301"/>
                  </a:cubicBezTo>
                  <a:lnTo>
                    <a:pt x="26168" y="103301"/>
                  </a:lnTo>
                  <a:cubicBezTo>
                    <a:pt x="25321" y="105399"/>
                    <a:pt x="25557" y="107902"/>
                    <a:pt x="26779" y="109805"/>
                  </a:cubicBezTo>
                  <a:cubicBezTo>
                    <a:pt x="28099" y="111859"/>
                    <a:pt x="30559" y="113484"/>
                    <a:pt x="30509" y="115926"/>
                  </a:cubicBezTo>
                  <a:cubicBezTo>
                    <a:pt x="30482" y="117190"/>
                    <a:pt x="29748" y="118318"/>
                    <a:pt x="29403" y="119536"/>
                  </a:cubicBezTo>
                  <a:cubicBezTo>
                    <a:pt x="27829" y="125109"/>
                    <a:pt x="34415" y="129657"/>
                    <a:pt x="35455" y="135354"/>
                  </a:cubicBezTo>
                  <a:cubicBezTo>
                    <a:pt x="35736" y="136888"/>
                    <a:pt x="35735" y="138735"/>
                    <a:pt x="37029" y="139601"/>
                  </a:cubicBezTo>
                  <a:cubicBezTo>
                    <a:pt x="37625" y="139999"/>
                    <a:pt x="38374" y="140081"/>
                    <a:pt x="39090" y="140127"/>
                  </a:cubicBezTo>
                  <a:cubicBezTo>
                    <a:pt x="39409" y="140148"/>
                    <a:pt x="39736" y="140158"/>
                    <a:pt x="40067" y="140158"/>
                  </a:cubicBezTo>
                  <a:cubicBezTo>
                    <a:pt x="43538" y="140158"/>
                    <a:pt x="47454" y="138962"/>
                    <a:pt x="48151" y="135675"/>
                  </a:cubicBezTo>
                  <a:cubicBezTo>
                    <a:pt x="48366" y="134657"/>
                    <a:pt x="48212" y="133602"/>
                    <a:pt x="48243" y="132560"/>
                  </a:cubicBezTo>
                  <a:cubicBezTo>
                    <a:pt x="48336" y="129451"/>
                    <a:pt x="50239" y="126459"/>
                    <a:pt x="53017" y="125056"/>
                  </a:cubicBezTo>
                  <a:cubicBezTo>
                    <a:pt x="53771" y="124675"/>
                    <a:pt x="54600" y="124390"/>
                    <a:pt x="55202" y="123799"/>
                  </a:cubicBezTo>
                  <a:cubicBezTo>
                    <a:pt x="56528" y="122495"/>
                    <a:pt x="56234" y="120283"/>
                    <a:pt x="55553" y="118553"/>
                  </a:cubicBezTo>
                  <a:cubicBezTo>
                    <a:pt x="54872" y="116821"/>
                    <a:pt x="53881" y="115076"/>
                    <a:pt x="54120" y="113231"/>
                  </a:cubicBezTo>
                  <a:cubicBezTo>
                    <a:pt x="54502" y="110269"/>
                    <a:pt x="57681" y="108706"/>
                    <a:pt x="60090" y="106941"/>
                  </a:cubicBezTo>
                  <a:cubicBezTo>
                    <a:pt x="63716" y="104284"/>
                    <a:pt x="66206" y="100125"/>
                    <a:pt x="66835" y="95675"/>
                  </a:cubicBezTo>
                  <a:lnTo>
                    <a:pt x="66835" y="95675"/>
                  </a:lnTo>
                  <a:cubicBezTo>
                    <a:pt x="65061" y="96232"/>
                    <a:pt x="63075" y="96745"/>
                    <a:pt x="61220" y="96745"/>
                  </a:cubicBezTo>
                  <a:cubicBezTo>
                    <a:pt x="59581" y="96745"/>
                    <a:pt x="58045" y="96344"/>
                    <a:pt x="56849" y="95215"/>
                  </a:cubicBezTo>
                  <a:cubicBezTo>
                    <a:pt x="55965" y="94380"/>
                    <a:pt x="55421" y="93259"/>
                    <a:pt x="54897" y="92162"/>
                  </a:cubicBezTo>
                  <a:lnTo>
                    <a:pt x="50173" y="82291"/>
                  </a:lnTo>
                  <a:cubicBezTo>
                    <a:pt x="49966" y="81857"/>
                    <a:pt x="49755" y="81362"/>
                    <a:pt x="49925" y="80912"/>
                  </a:cubicBezTo>
                  <a:cubicBezTo>
                    <a:pt x="50074" y="80517"/>
                    <a:pt x="50366" y="80356"/>
                    <a:pt x="50717" y="80356"/>
                  </a:cubicBezTo>
                  <a:cubicBezTo>
                    <a:pt x="51453" y="80356"/>
                    <a:pt x="52449" y="81064"/>
                    <a:pt x="52928" y="81807"/>
                  </a:cubicBezTo>
                  <a:cubicBezTo>
                    <a:pt x="55452" y="85724"/>
                    <a:pt x="57718" y="89804"/>
                    <a:pt x="59707" y="94020"/>
                  </a:cubicBezTo>
                  <a:cubicBezTo>
                    <a:pt x="63791" y="93273"/>
                    <a:pt x="67648" y="91596"/>
                    <a:pt x="70980" y="89118"/>
                  </a:cubicBezTo>
                  <a:cubicBezTo>
                    <a:pt x="72037" y="88329"/>
                    <a:pt x="73088" y="87386"/>
                    <a:pt x="73445" y="86117"/>
                  </a:cubicBezTo>
                  <a:cubicBezTo>
                    <a:pt x="73802" y="84846"/>
                    <a:pt x="73146" y="83218"/>
                    <a:pt x="71846" y="82993"/>
                  </a:cubicBezTo>
                  <a:cubicBezTo>
                    <a:pt x="71723" y="82971"/>
                    <a:pt x="71600" y="82963"/>
                    <a:pt x="71476" y="82963"/>
                  </a:cubicBezTo>
                  <a:cubicBezTo>
                    <a:pt x="71093" y="82963"/>
                    <a:pt x="70708" y="83045"/>
                    <a:pt x="70324" y="83086"/>
                  </a:cubicBezTo>
                  <a:cubicBezTo>
                    <a:pt x="70133" y="83106"/>
                    <a:pt x="69943" y="83115"/>
                    <a:pt x="69755" y="83115"/>
                  </a:cubicBezTo>
                  <a:cubicBezTo>
                    <a:pt x="66927" y="83115"/>
                    <a:pt x="64468" y="80925"/>
                    <a:pt x="62588" y="78727"/>
                  </a:cubicBezTo>
                  <a:cubicBezTo>
                    <a:pt x="63132" y="78118"/>
                    <a:pt x="63852" y="77890"/>
                    <a:pt x="64640" y="77890"/>
                  </a:cubicBezTo>
                  <a:cubicBezTo>
                    <a:pt x="65842" y="77890"/>
                    <a:pt x="67201" y="78421"/>
                    <a:pt x="68334" y="78941"/>
                  </a:cubicBezTo>
                  <a:cubicBezTo>
                    <a:pt x="71699" y="80486"/>
                    <a:pt x="75249" y="81588"/>
                    <a:pt x="78895" y="82221"/>
                  </a:cubicBezTo>
                  <a:cubicBezTo>
                    <a:pt x="79803" y="82378"/>
                    <a:pt x="80736" y="82513"/>
                    <a:pt x="81554" y="82936"/>
                  </a:cubicBezTo>
                  <a:cubicBezTo>
                    <a:pt x="82126" y="83232"/>
                    <a:pt x="82622" y="83658"/>
                    <a:pt x="83095" y="84096"/>
                  </a:cubicBezTo>
                  <a:cubicBezTo>
                    <a:pt x="87298" y="87967"/>
                    <a:pt x="90407" y="93013"/>
                    <a:pt x="91975" y="98509"/>
                  </a:cubicBezTo>
                  <a:cubicBezTo>
                    <a:pt x="92104" y="98538"/>
                    <a:pt x="92231" y="98552"/>
                    <a:pt x="92354" y="98552"/>
                  </a:cubicBezTo>
                  <a:cubicBezTo>
                    <a:pt x="93754" y="98552"/>
                    <a:pt x="94717" y="96760"/>
                    <a:pt x="94833" y="95252"/>
                  </a:cubicBezTo>
                  <a:cubicBezTo>
                    <a:pt x="94960" y="93612"/>
                    <a:pt x="94769" y="91722"/>
                    <a:pt x="95948" y="90578"/>
                  </a:cubicBezTo>
                  <a:cubicBezTo>
                    <a:pt x="96875" y="89678"/>
                    <a:pt x="98399" y="89556"/>
                    <a:pt x="99214" y="88552"/>
                  </a:cubicBezTo>
                  <a:cubicBezTo>
                    <a:pt x="100238" y="87289"/>
                    <a:pt x="99703" y="85157"/>
                    <a:pt x="100900" y="84056"/>
                  </a:cubicBezTo>
                  <a:cubicBezTo>
                    <a:pt x="101284" y="83704"/>
                    <a:pt x="101728" y="83552"/>
                    <a:pt x="102190" y="83552"/>
                  </a:cubicBezTo>
                  <a:cubicBezTo>
                    <a:pt x="103537" y="83552"/>
                    <a:pt x="105034" y="84844"/>
                    <a:pt x="105630" y="86240"/>
                  </a:cubicBezTo>
                  <a:cubicBezTo>
                    <a:pt x="106431" y="88116"/>
                    <a:pt x="106723" y="90422"/>
                    <a:pt x="108410" y="91569"/>
                  </a:cubicBezTo>
                  <a:lnTo>
                    <a:pt x="111137" y="91176"/>
                  </a:lnTo>
                  <a:cubicBezTo>
                    <a:pt x="111152" y="95778"/>
                    <a:pt x="112750" y="100362"/>
                    <a:pt x="115602" y="103975"/>
                  </a:cubicBezTo>
                  <a:cubicBezTo>
                    <a:pt x="117157" y="103161"/>
                    <a:pt x="116453" y="100795"/>
                    <a:pt x="115480" y="99330"/>
                  </a:cubicBezTo>
                  <a:cubicBezTo>
                    <a:pt x="114508" y="97866"/>
                    <a:pt x="113554" y="95681"/>
                    <a:pt x="114936" y="94596"/>
                  </a:cubicBezTo>
                  <a:lnTo>
                    <a:pt x="114936" y="94596"/>
                  </a:lnTo>
                  <a:cubicBezTo>
                    <a:pt x="116854" y="94614"/>
                    <a:pt x="117747" y="97259"/>
                    <a:pt x="119611" y="97712"/>
                  </a:cubicBezTo>
                  <a:cubicBezTo>
                    <a:pt x="119777" y="97752"/>
                    <a:pt x="119940" y="97771"/>
                    <a:pt x="120101" y="97771"/>
                  </a:cubicBezTo>
                  <a:cubicBezTo>
                    <a:pt x="121744" y="97771"/>
                    <a:pt x="123089" y="95790"/>
                    <a:pt x="122784" y="94080"/>
                  </a:cubicBezTo>
                  <a:cubicBezTo>
                    <a:pt x="122451" y="92201"/>
                    <a:pt x="120835" y="90820"/>
                    <a:pt x="119169" y="89895"/>
                  </a:cubicBezTo>
                  <a:cubicBezTo>
                    <a:pt x="117675" y="88258"/>
                    <a:pt x="119833" y="85644"/>
                    <a:pt x="122018" y="85274"/>
                  </a:cubicBezTo>
                  <a:cubicBezTo>
                    <a:pt x="122730" y="85153"/>
                    <a:pt x="123464" y="85138"/>
                    <a:pt x="124199" y="85138"/>
                  </a:cubicBezTo>
                  <a:cubicBezTo>
                    <a:pt x="124443" y="85138"/>
                    <a:pt x="124686" y="85140"/>
                    <a:pt x="124930" y="85140"/>
                  </a:cubicBezTo>
                  <a:cubicBezTo>
                    <a:pt x="126201" y="85140"/>
                    <a:pt x="127452" y="85095"/>
                    <a:pt x="128573" y="84531"/>
                  </a:cubicBezTo>
                  <a:cubicBezTo>
                    <a:pt x="130946" y="83339"/>
                    <a:pt x="131739" y="80207"/>
                    <a:pt x="131200" y="77607"/>
                  </a:cubicBezTo>
                  <a:cubicBezTo>
                    <a:pt x="130659" y="75007"/>
                    <a:pt x="129117" y="72748"/>
                    <a:pt x="127857" y="70410"/>
                  </a:cubicBezTo>
                  <a:cubicBezTo>
                    <a:pt x="126781" y="68413"/>
                    <a:pt x="126249" y="65298"/>
                    <a:pt x="128341" y="64420"/>
                  </a:cubicBezTo>
                  <a:cubicBezTo>
                    <a:pt x="128900" y="64186"/>
                    <a:pt x="129528" y="64195"/>
                    <a:pt x="130135" y="64170"/>
                  </a:cubicBezTo>
                  <a:cubicBezTo>
                    <a:pt x="138047" y="63837"/>
                    <a:pt x="144592" y="55459"/>
                    <a:pt x="143005" y="47701"/>
                  </a:cubicBezTo>
                  <a:cubicBezTo>
                    <a:pt x="142706" y="46238"/>
                    <a:pt x="142140" y="44786"/>
                    <a:pt x="141097" y="43719"/>
                  </a:cubicBezTo>
                  <a:cubicBezTo>
                    <a:pt x="139216" y="41800"/>
                    <a:pt x="136024" y="41349"/>
                    <a:pt x="134619" y="39057"/>
                  </a:cubicBezTo>
                  <a:cubicBezTo>
                    <a:pt x="132900" y="36255"/>
                    <a:pt x="135025" y="32537"/>
                    <a:pt x="137778" y="30737"/>
                  </a:cubicBezTo>
                  <a:cubicBezTo>
                    <a:pt x="140529" y="28938"/>
                    <a:pt x="143891" y="28156"/>
                    <a:pt x="146461" y="26105"/>
                  </a:cubicBezTo>
                  <a:cubicBezTo>
                    <a:pt x="147145" y="26087"/>
                    <a:pt x="147512" y="25417"/>
                    <a:pt x="147638" y="24743"/>
                  </a:cubicBezTo>
                  <a:cubicBezTo>
                    <a:pt x="147716" y="24319"/>
                    <a:pt x="147611" y="23887"/>
                    <a:pt x="147608" y="23456"/>
                  </a:cubicBezTo>
                  <a:cubicBezTo>
                    <a:pt x="147598" y="22276"/>
                    <a:pt x="148442" y="21139"/>
                    <a:pt x="149574" y="20805"/>
                  </a:cubicBezTo>
                  <a:cubicBezTo>
                    <a:pt x="149811" y="20736"/>
                    <a:pt x="150056" y="20702"/>
                    <a:pt x="150302" y="20702"/>
                  </a:cubicBezTo>
                  <a:cubicBezTo>
                    <a:pt x="151231" y="20702"/>
                    <a:pt x="152165" y="21179"/>
                    <a:pt x="152664" y="21968"/>
                  </a:cubicBezTo>
                  <a:cubicBezTo>
                    <a:pt x="153442" y="23198"/>
                    <a:pt x="153129" y="24821"/>
                    <a:pt x="152563" y="26163"/>
                  </a:cubicBezTo>
                  <a:cubicBezTo>
                    <a:pt x="151998" y="27505"/>
                    <a:pt x="151199" y="28790"/>
                    <a:pt x="151051" y="30239"/>
                  </a:cubicBezTo>
                  <a:cubicBezTo>
                    <a:pt x="150905" y="31687"/>
                    <a:pt x="151726" y="33391"/>
                    <a:pt x="153173" y="33553"/>
                  </a:cubicBezTo>
                  <a:cubicBezTo>
                    <a:pt x="153252" y="33562"/>
                    <a:pt x="153330" y="33566"/>
                    <a:pt x="153406" y="33566"/>
                  </a:cubicBezTo>
                  <a:cubicBezTo>
                    <a:pt x="155043" y="33566"/>
                    <a:pt x="156090" y="31574"/>
                    <a:pt x="156201" y="29877"/>
                  </a:cubicBezTo>
                  <a:cubicBezTo>
                    <a:pt x="156318" y="28099"/>
                    <a:pt x="155972" y="26160"/>
                    <a:pt x="156925" y="24659"/>
                  </a:cubicBezTo>
                  <a:cubicBezTo>
                    <a:pt x="158377" y="22374"/>
                    <a:pt x="162385" y="21839"/>
                    <a:pt x="162490" y="19133"/>
                  </a:cubicBezTo>
                  <a:cubicBezTo>
                    <a:pt x="162574" y="16945"/>
                    <a:pt x="159821" y="15661"/>
                    <a:pt x="159327" y="13530"/>
                  </a:cubicBezTo>
                  <a:cubicBezTo>
                    <a:pt x="159129" y="12668"/>
                    <a:pt x="159325" y="11773"/>
                    <a:pt x="159405" y="10894"/>
                  </a:cubicBezTo>
                  <a:cubicBezTo>
                    <a:pt x="159709" y="7612"/>
                    <a:pt x="158263" y="4218"/>
                    <a:pt x="155688" y="2163"/>
                  </a:cubicBezTo>
                  <a:cubicBezTo>
                    <a:pt x="153919" y="751"/>
                    <a:pt x="151652" y="0"/>
                    <a:pt x="149391"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5" name="Google Shape;2165;p66"/>
            <p:cNvSpPr/>
            <p:nvPr/>
          </p:nvSpPr>
          <p:spPr>
            <a:xfrm>
              <a:off x="6146600" y="3671525"/>
              <a:ext cx="342925" cy="189500"/>
            </a:xfrm>
            <a:custGeom>
              <a:avLst/>
              <a:gdLst/>
              <a:ahLst/>
              <a:cxnLst/>
              <a:rect l="l" t="t" r="r" b="b"/>
              <a:pathLst>
                <a:path w="13717" h="7580" extrusionOk="0">
                  <a:moveTo>
                    <a:pt x="9951" y="0"/>
                  </a:moveTo>
                  <a:cubicBezTo>
                    <a:pt x="6355" y="0"/>
                    <a:pt x="1" y="1281"/>
                    <a:pt x="2486" y="4894"/>
                  </a:cubicBezTo>
                  <a:cubicBezTo>
                    <a:pt x="3169" y="5885"/>
                    <a:pt x="4297" y="6467"/>
                    <a:pt x="5404" y="6938"/>
                  </a:cubicBezTo>
                  <a:cubicBezTo>
                    <a:pt x="6217" y="7282"/>
                    <a:pt x="7136" y="7580"/>
                    <a:pt x="8003" y="7580"/>
                  </a:cubicBezTo>
                  <a:cubicBezTo>
                    <a:pt x="8565" y="7580"/>
                    <a:pt x="9106" y="7454"/>
                    <a:pt x="9581" y="7134"/>
                  </a:cubicBezTo>
                  <a:cubicBezTo>
                    <a:pt x="10406" y="6577"/>
                    <a:pt x="13156" y="2774"/>
                    <a:pt x="13348" y="1948"/>
                  </a:cubicBezTo>
                  <a:cubicBezTo>
                    <a:pt x="13716" y="358"/>
                    <a:pt x="13186" y="447"/>
                    <a:pt x="11597" y="126"/>
                  </a:cubicBezTo>
                  <a:cubicBezTo>
                    <a:pt x="11194" y="44"/>
                    <a:pt x="10620" y="0"/>
                    <a:pt x="9951"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6" name="Google Shape;2166;p66"/>
            <p:cNvSpPr/>
            <p:nvPr/>
          </p:nvSpPr>
          <p:spPr>
            <a:xfrm>
              <a:off x="5901600" y="3652500"/>
              <a:ext cx="558700" cy="402875"/>
            </a:xfrm>
            <a:custGeom>
              <a:avLst/>
              <a:gdLst/>
              <a:ahLst/>
              <a:cxnLst/>
              <a:rect l="l" t="t" r="r" b="b"/>
              <a:pathLst>
                <a:path w="22348" h="16115" extrusionOk="0">
                  <a:moveTo>
                    <a:pt x="946" y="1"/>
                  </a:moveTo>
                  <a:cubicBezTo>
                    <a:pt x="616" y="1"/>
                    <a:pt x="299" y="66"/>
                    <a:pt x="1" y="208"/>
                  </a:cubicBezTo>
                  <a:cubicBezTo>
                    <a:pt x="742" y="1762"/>
                    <a:pt x="2032" y="3475"/>
                    <a:pt x="2935" y="5119"/>
                  </a:cubicBezTo>
                  <a:cubicBezTo>
                    <a:pt x="6575" y="11745"/>
                    <a:pt x="13987" y="16115"/>
                    <a:pt x="21544" y="16115"/>
                  </a:cubicBezTo>
                  <a:cubicBezTo>
                    <a:pt x="21635" y="16115"/>
                    <a:pt x="21726" y="16114"/>
                    <a:pt x="21817" y="16113"/>
                  </a:cubicBezTo>
                  <a:cubicBezTo>
                    <a:pt x="22347" y="15571"/>
                    <a:pt x="21564" y="14744"/>
                    <a:pt x="20866" y="14448"/>
                  </a:cubicBezTo>
                  <a:cubicBezTo>
                    <a:pt x="18934" y="13634"/>
                    <a:pt x="16857" y="13226"/>
                    <a:pt x="14879" y="12532"/>
                  </a:cubicBezTo>
                  <a:cubicBezTo>
                    <a:pt x="12900" y="11839"/>
                    <a:pt x="10943" y="10790"/>
                    <a:pt x="9769" y="9051"/>
                  </a:cubicBezTo>
                  <a:cubicBezTo>
                    <a:pt x="9280" y="8326"/>
                    <a:pt x="8945" y="7508"/>
                    <a:pt x="8542" y="6731"/>
                  </a:cubicBezTo>
                  <a:cubicBezTo>
                    <a:pt x="7503" y="4729"/>
                    <a:pt x="3759" y="1"/>
                    <a:pt x="946" y="1"/>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67" name="Google Shape;2167;p66"/>
            <p:cNvSpPr/>
            <p:nvPr/>
          </p:nvSpPr>
          <p:spPr>
            <a:xfrm>
              <a:off x="6249675" y="4061675"/>
              <a:ext cx="964575" cy="811125"/>
            </a:xfrm>
            <a:custGeom>
              <a:avLst/>
              <a:gdLst/>
              <a:ahLst/>
              <a:cxnLst/>
              <a:rect l="l" t="t" r="r" b="b"/>
              <a:pathLst>
                <a:path w="38583" h="32445" extrusionOk="0">
                  <a:moveTo>
                    <a:pt x="17573" y="0"/>
                  </a:moveTo>
                  <a:cubicBezTo>
                    <a:pt x="14431" y="0"/>
                    <a:pt x="10968" y="2180"/>
                    <a:pt x="9011" y="4369"/>
                  </a:cubicBezTo>
                  <a:cubicBezTo>
                    <a:pt x="8028" y="5468"/>
                    <a:pt x="7111" y="6810"/>
                    <a:pt x="5676" y="7153"/>
                  </a:cubicBezTo>
                  <a:cubicBezTo>
                    <a:pt x="4830" y="7356"/>
                    <a:pt x="3925" y="7164"/>
                    <a:pt x="3076" y="7361"/>
                  </a:cubicBezTo>
                  <a:cubicBezTo>
                    <a:pt x="581" y="7938"/>
                    <a:pt x="1" y="11293"/>
                    <a:pt x="569" y="13791"/>
                  </a:cubicBezTo>
                  <a:cubicBezTo>
                    <a:pt x="1136" y="16289"/>
                    <a:pt x="2307" y="18910"/>
                    <a:pt x="1374" y="21296"/>
                  </a:cubicBezTo>
                  <a:cubicBezTo>
                    <a:pt x="1185" y="21776"/>
                    <a:pt x="913" y="22246"/>
                    <a:pt x="921" y="22762"/>
                  </a:cubicBezTo>
                  <a:cubicBezTo>
                    <a:pt x="932" y="23380"/>
                    <a:pt x="1355" y="23921"/>
                    <a:pt x="1849" y="24293"/>
                  </a:cubicBezTo>
                  <a:cubicBezTo>
                    <a:pt x="2646" y="24890"/>
                    <a:pt x="3559" y="25128"/>
                    <a:pt x="4517" y="25128"/>
                  </a:cubicBezTo>
                  <a:cubicBezTo>
                    <a:pt x="6301" y="25128"/>
                    <a:pt x="8239" y="24301"/>
                    <a:pt x="9868" y="23418"/>
                  </a:cubicBezTo>
                  <a:cubicBezTo>
                    <a:pt x="11665" y="22444"/>
                    <a:pt x="13735" y="21414"/>
                    <a:pt x="15685" y="21414"/>
                  </a:cubicBezTo>
                  <a:cubicBezTo>
                    <a:pt x="16453" y="21414"/>
                    <a:pt x="17203" y="21574"/>
                    <a:pt x="17910" y="21960"/>
                  </a:cubicBezTo>
                  <a:cubicBezTo>
                    <a:pt x="20585" y="23420"/>
                    <a:pt x="20837" y="27119"/>
                    <a:pt x="22486" y="29685"/>
                  </a:cubicBezTo>
                  <a:cubicBezTo>
                    <a:pt x="23522" y="31296"/>
                    <a:pt x="25450" y="32445"/>
                    <a:pt x="27291" y="32445"/>
                  </a:cubicBezTo>
                  <a:cubicBezTo>
                    <a:pt x="28027" y="32445"/>
                    <a:pt x="28749" y="32261"/>
                    <a:pt x="29394" y="31851"/>
                  </a:cubicBezTo>
                  <a:cubicBezTo>
                    <a:pt x="30163" y="31362"/>
                    <a:pt x="30731" y="30624"/>
                    <a:pt x="31285" y="29900"/>
                  </a:cubicBezTo>
                  <a:lnTo>
                    <a:pt x="34684" y="25460"/>
                  </a:lnTo>
                  <a:cubicBezTo>
                    <a:pt x="36183" y="23501"/>
                    <a:pt x="37736" y="21414"/>
                    <a:pt x="38025" y="18965"/>
                  </a:cubicBezTo>
                  <a:cubicBezTo>
                    <a:pt x="38582" y="14235"/>
                    <a:pt x="34390" y="10436"/>
                    <a:pt x="30609" y="7540"/>
                  </a:cubicBezTo>
                  <a:cubicBezTo>
                    <a:pt x="30407" y="6031"/>
                    <a:pt x="30190" y="4479"/>
                    <a:pt x="29421" y="3165"/>
                  </a:cubicBezTo>
                  <a:cubicBezTo>
                    <a:pt x="28683" y="1906"/>
                    <a:pt x="27576" y="1186"/>
                    <a:pt x="26718" y="1186"/>
                  </a:cubicBezTo>
                  <a:cubicBezTo>
                    <a:pt x="25783" y="1186"/>
                    <a:pt x="25141" y="2039"/>
                    <a:pt x="25589" y="3982"/>
                  </a:cubicBezTo>
                  <a:cubicBezTo>
                    <a:pt x="25561" y="3983"/>
                    <a:pt x="25533" y="3983"/>
                    <a:pt x="25505" y="3983"/>
                  </a:cubicBezTo>
                  <a:cubicBezTo>
                    <a:pt x="23077" y="3983"/>
                    <a:pt x="21095" y="399"/>
                    <a:pt x="18382" y="51"/>
                  </a:cubicBezTo>
                  <a:cubicBezTo>
                    <a:pt x="18115" y="17"/>
                    <a:pt x="17846" y="0"/>
                    <a:pt x="17573"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2168" name="Google Shape;2168;p66"/>
          <p:cNvGrpSpPr/>
          <p:nvPr/>
        </p:nvGrpSpPr>
        <p:grpSpPr>
          <a:xfrm>
            <a:off x="990171" y="4085923"/>
            <a:ext cx="3497168" cy="1778053"/>
            <a:chOff x="238125" y="1038125"/>
            <a:chExt cx="7146800" cy="3633625"/>
          </a:xfrm>
        </p:grpSpPr>
        <p:sp>
          <p:nvSpPr>
            <p:cNvPr id="2169" name="Google Shape;2169;p66"/>
            <p:cNvSpPr/>
            <p:nvPr/>
          </p:nvSpPr>
          <p:spPr>
            <a:xfrm>
              <a:off x="6256150" y="3780375"/>
              <a:ext cx="62400" cy="53425"/>
            </a:xfrm>
            <a:custGeom>
              <a:avLst/>
              <a:gdLst/>
              <a:ahLst/>
              <a:cxnLst/>
              <a:rect l="l" t="t" r="r" b="b"/>
              <a:pathLst>
                <a:path w="2496" h="2137" extrusionOk="0">
                  <a:moveTo>
                    <a:pt x="1065" y="0"/>
                  </a:moveTo>
                  <a:cubicBezTo>
                    <a:pt x="472"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0" name="Google Shape;2170;p66"/>
            <p:cNvSpPr/>
            <p:nvPr/>
          </p:nvSpPr>
          <p:spPr>
            <a:xfrm>
              <a:off x="6256150" y="3856775"/>
              <a:ext cx="62200" cy="53250"/>
            </a:xfrm>
            <a:custGeom>
              <a:avLst/>
              <a:gdLst/>
              <a:ahLst/>
              <a:cxnLst/>
              <a:rect l="l" t="t" r="r" b="b"/>
              <a:pathLst>
                <a:path w="2488" h="2130" extrusionOk="0">
                  <a:moveTo>
                    <a:pt x="1065" y="1"/>
                  </a:moveTo>
                  <a:cubicBezTo>
                    <a:pt x="480" y="1"/>
                    <a:pt x="0" y="472"/>
                    <a:pt x="0" y="1066"/>
                  </a:cubicBezTo>
                  <a:cubicBezTo>
                    <a:pt x="0" y="1704"/>
                    <a:pt x="524" y="2129"/>
                    <a:pt x="1070" y="2129"/>
                  </a:cubicBezTo>
                  <a:cubicBezTo>
                    <a:pt x="1331" y="2129"/>
                    <a:pt x="1597" y="2032"/>
                    <a:pt x="1813"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1" name="Google Shape;2171;p66"/>
            <p:cNvSpPr/>
            <p:nvPr/>
          </p:nvSpPr>
          <p:spPr>
            <a:xfrm>
              <a:off x="6256150" y="3932800"/>
              <a:ext cx="62200" cy="53425"/>
            </a:xfrm>
            <a:custGeom>
              <a:avLst/>
              <a:gdLst/>
              <a:ahLst/>
              <a:cxnLst/>
              <a:rect l="l" t="t" r="r" b="b"/>
              <a:pathLst>
                <a:path w="2488" h="2137" extrusionOk="0">
                  <a:moveTo>
                    <a:pt x="1065" y="0"/>
                  </a:moveTo>
                  <a:cubicBezTo>
                    <a:pt x="472" y="0"/>
                    <a:pt x="0" y="480"/>
                    <a:pt x="0" y="1065"/>
                  </a:cubicBezTo>
                  <a:cubicBezTo>
                    <a:pt x="0" y="1709"/>
                    <a:pt x="525" y="2137"/>
                    <a:pt x="1071" y="2137"/>
                  </a:cubicBezTo>
                  <a:cubicBezTo>
                    <a:pt x="1332" y="2137"/>
                    <a:pt x="1597" y="2039"/>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2" name="Google Shape;2172;p66"/>
            <p:cNvSpPr/>
            <p:nvPr/>
          </p:nvSpPr>
          <p:spPr>
            <a:xfrm>
              <a:off x="6332350"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3" name="Google Shape;2173;p66"/>
            <p:cNvSpPr/>
            <p:nvPr/>
          </p:nvSpPr>
          <p:spPr>
            <a:xfrm>
              <a:off x="6332350"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3"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4" name="Google Shape;2174;p66"/>
            <p:cNvSpPr/>
            <p:nvPr/>
          </p:nvSpPr>
          <p:spPr>
            <a:xfrm>
              <a:off x="6408350" y="385677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5" name="Google Shape;2175;p66"/>
            <p:cNvSpPr/>
            <p:nvPr/>
          </p:nvSpPr>
          <p:spPr>
            <a:xfrm>
              <a:off x="6408350" y="3932800"/>
              <a:ext cx="62425" cy="53425"/>
            </a:xfrm>
            <a:custGeom>
              <a:avLst/>
              <a:gdLst/>
              <a:ahLst/>
              <a:cxnLst/>
              <a:rect l="l" t="t" r="r" b="b"/>
              <a:pathLst>
                <a:path w="2497" h="2137" extrusionOk="0">
                  <a:moveTo>
                    <a:pt x="1074" y="0"/>
                  </a:moveTo>
                  <a:cubicBezTo>
                    <a:pt x="481" y="0"/>
                    <a:pt x="1" y="480"/>
                    <a:pt x="1" y="1065"/>
                  </a:cubicBezTo>
                  <a:cubicBezTo>
                    <a:pt x="1" y="1709"/>
                    <a:pt x="526" y="2137"/>
                    <a:pt x="1075" y="2137"/>
                  </a:cubicBezTo>
                  <a:cubicBezTo>
                    <a:pt x="1337" y="2137"/>
                    <a:pt x="1604" y="2039"/>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6" name="Google Shape;2176;p66"/>
            <p:cNvSpPr/>
            <p:nvPr/>
          </p:nvSpPr>
          <p:spPr>
            <a:xfrm>
              <a:off x="6408350" y="4085225"/>
              <a:ext cx="62425" cy="53350"/>
            </a:xfrm>
            <a:custGeom>
              <a:avLst/>
              <a:gdLst/>
              <a:ahLst/>
              <a:cxnLst/>
              <a:rect l="l" t="t" r="r" b="b"/>
              <a:pathLst>
                <a:path w="2497" h="2134" extrusionOk="0">
                  <a:moveTo>
                    <a:pt x="1074" y="0"/>
                  </a:moveTo>
                  <a:cubicBezTo>
                    <a:pt x="481" y="0"/>
                    <a:pt x="9" y="480"/>
                    <a:pt x="1" y="1065"/>
                  </a:cubicBezTo>
                  <a:cubicBezTo>
                    <a:pt x="1" y="1709"/>
                    <a:pt x="526" y="2133"/>
                    <a:pt x="1075" y="2133"/>
                  </a:cubicBezTo>
                  <a:cubicBezTo>
                    <a:pt x="1337" y="2133"/>
                    <a:pt x="1604" y="2037"/>
                    <a:pt x="1822" y="1821"/>
                  </a:cubicBezTo>
                  <a:cubicBezTo>
                    <a:pt x="2497"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7" name="Google Shape;2177;p66"/>
            <p:cNvSpPr/>
            <p:nvPr/>
          </p:nvSpPr>
          <p:spPr>
            <a:xfrm>
              <a:off x="6484575" y="385677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8" name="Google Shape;2178;p66"/>
            <p:cNvSpPr/>
            <p:nvPr/>
          </p:nvSpPr>
          <p:spPr>
            <a:xfrm>
              <a:off x="648457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79" name="Google Shape;2179;p66"/>
            <p:cNvSpPr/>
            <p:nvPr/>
          </p:nvSpPr>
          <p:spPr>
            <a:xfrm>
              <a:off x="6484575" y="4161425"/>
              <a:ext cx="62425" cy="53300"/>
            </a:xfrm>
            <a:custGeom>
              <a:avLst/>
              <a:gdLst/>
              <a:ahLst/>
              <a:cxnLst/>
              <a:rect l="l" t="t" r="r" b="b"/>
              <a:pathLst>
                <a:path w="2497" h="2132" extrusionOk="0">
                  <a:moveTo>
                    <a:pt x="1065" y="1"/>
                  </a:moveTo>
                  <a:cubicBezTo>
                    <a:pt x="480" y="1"/>
                    <a:pt x="1" y="472"/>
                    <a:pt x="1" y="1066"/>
                  </a:cubicBezTo>
                  <a:cubicBezTo>
                    <a:pt x="1" y="1708"/>
                    <a:pt x="523" y="2131"/>
                    <a:pt x="1070" y="2131"/>
                  </a:cubicBezTo>
                  <a:cubicBezTo>
                    <a:pt x="1333" y="2131"/>
                    <a:pt x="1602" y="2033"/>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0" name="Google Shape;2180;p66"/>
            <p:cNvSpPr/>
            <p:nvPr/>
          </p:nvSpPr>
          <p:spPr>
            <a:xfrm>
              <a:off x="6484575" y="40852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1" name="Google Shape;2181;p66"/>
            <p:cNvSpPr/>
            <p:nvPr/>
          </p:nvSpPr>
          <p:spPr>
            <a:xfrm>
              <a:off x="6484575" y="4009000"/>
              <a:ext cx="62425" cy="53350"/>
            </a:xfrm>
            <a:custGeom>
              <a:avLst/>
              <a:gdLst/>
              <a:ahLst/>
              <a:cxnLst/>
              <a:rect l="l" t="t" r="r" b="b"/>
              <a:pathLst>
                <a:path w="2497" h="2134" extrusionOk="0">
                  <a:moveTo>
                    <a:pt x="1065" y="1"/>
                  </a:moveTo>
                  <a:cubicBezTo>
                    <a:pt x="480" y="1"/>
                    <a:pt x="1" y="480"/>
                    <a:pt x="1" y="1066"/>
                  </a:cubicBezTo>
                  <a:cubicBezTo>
                    <a:pt x="1" y="1710"/>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2" name="Google Shape;2182;p66"/>
            <p:cNvSpPr/>
            <p:nvPr/>
          </p:nvSpPr>
          <p:spPr>
            <a:xfrm>
              <a:off x="6638425" y="3856775"/>
              <a:ext cx="62425" cy="53250"/>
            </a:xfrm>
            <a:custGeom>
              <a:avLst/>
              <a:gdLst/>
              <a:ahLst/>
              <a:cxnLst/>
              <a:rect l="l" t="t" r="r" b="b"/>
              <a:pathLst>
                <a:path w="2497" h="2130" extrusionOk="0">
                  <a:moveTo>
                    <a:pt x="1065" y="1"/>
                  </a:moveTo>
                  <a:cubicBezTo>
                    <a:pt x="480" y="1"/>
                    <a:pt x="9"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3" name="Google Shape;2183;p66"/>
            <p:cNvSpPr/>
            <p:nvPr/>
          </p:nvSpPr>
          <p:spPr>
            <a:xfrm>
              <a:off x="6638425" y="3932800"/>
              <a:ext cx="62425" cy="53425"/>
            </a:xfrm>
            <a:custGeom>
              <a:avLst/>
              <a:gdLst/>
              <a:ahLst/>
              <a:cxnLst/>
              <a:rect l="l" t="t" r="r" b="b"/>
              <a:pathLst>
                <a:path w="2497" h="2137" extrusionOk="0">
                  <a:moveTo>
                    <a:pt x="1065" y="0"/>
                  </a:moveTo>
                  <a:cubicBezTo>
                    <a:pt x="480"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4" name="Google Shape;2184;p66"/>
            <p:cNvSpPr/>
            <p:nvPr/>
          </p:nvSpPr>
          <p:spPr>
            <a:xfrm>
              <a:off x="6638425" y="4161425"/>
              <a:ext cx="62425" cy="53300"/>
            </a:xfrm>
            <a:custGeom>
              <a:avLst/>
              <a:gdLst/>
              <a:ahLst/>
              <a:cxnLst/>
              <a:rect l="l" t="t" r="r" b="b"/>
              <a:pathLst>
                <a:path w="2497" h="2132" extrusionOk="0">
                  <a:moveTo>
                    <a:pt x="1065" y="1"/>
                  </a:moveTo>
                  <a:cubicBezTo>
                    <a:pt x="480" y="1"/>
                    <a:pt x="1" y="472"/>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5" name="Google Shape;2185;p66"/>
            <p:cNvSpPr/>
            <p:nvPr/>
          </p:nvSpPr>
          <p:spPr>
            <a:xfrm>
              <a:off x="6638425" y="4085225"/>
              <a:ext cx="62425" cy="53350"/>
            </a:xfrm>
            <a:custGeom>
              <a:avLst/>
              <a:gdLst/>
              <a:ahLst/>
              <a:cxnLst/>
              <a:rect l="l" t="t" r="r" b="b"/>
              <a:pathLst>
                <a:path w="2497" h="2134" extrusionOk="0">
                  <a:moveTo>
                    <a:pt x="1065" y="0"/>
                  </a:moveTo>
                  <a:cubicBezTo>
                    <a:pt x="480" y="0"/>
                    <a:pt x="9" y="480"/>
                    <a:pt x="1" y="1065"/>
                  </a:cubicBezTo>
                  <a:cubicBezTo>
                    <a:pt x="1" y="1709"/>
                    <a:pt x="526" y="2133"/>
                    <a:pt x="1074"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6" name="Google Shape;2186;p66"/>
            <p:cNvSpPr/>
            <p:nvPr/>
          </p:nvSpPr>
          <p:spPr>
            <a:xfrm>
              <a:off x="6638425" y="4009000"/>
              <a:ext cx="62425" cy="53350"/>
            </a:xfrm>
            <a:custGeom>
              <a:avLst/>
              <a:gdLst/>
              <a:ahLst/>
              <a:cxnLst/>
              <a:rect l="l" t="t" r="r" b="b"/>
              <a:pathLst>
                <a:path w="2497" h="2134" extrusionOk="0">
                  <a:moveTo>
                    <a:pt x="1065" y="1"/>
                  </a:moveTo>
                  <a:cubicBezTo>
                    <a:pt x="480" y="1"/>
                    <a:pt x="1" y="480"/>
                    <a:pt x="1" y="1066"/>
                  </a:cubicBezTo>
                  <a:cubicBezTo>
                    <a:pt x="1" y="1710"/>
                    <a:pt x="530" y="2134"/>
                    <a:pt x="1078" y="2134"/>
                  </a:cubicBezTo>
                  <a:cubicBezTo>
                    <a:pt x="1340" y="2134"/>
                    <a:pt x="1606"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7" name="Google Shape;2187;p66"/>
            <p:cNvSpPr/>
            <p:nvPr/>
          </p:nvSpPr>
          <p:spPr>
            <a:xfrm>
              <a:off x="6715450" y="393280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8" name="Google Shape;2188;p66"/>
            <p:cNvSpPr/>
            <p:nvPr/>
          </p:nvSpPr>
          <p:spPr>
            <a:xfrm>
              <a:off x="6715450" y="40852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89" name="Google Shape;2189;p66"/>
            <p:cNvSpPr/>
            <p:nvPr/>
          </p:nvSpPr>
          <p:spPr>
            <a:xfrm>
              <a:off x="6715450" y="4009000"/>
              <a:ext cx="62225" cy="53350"/>
            </a:xfrm>
            <a:custGeom>
              <a:avLst/>
              <a:gdLst/>
              <a:ahLst/>
              <a:cxnLst/>
              <a:rect l="l" t="t" r="r" b="b"/>
              <a:pathLst>
                <a:path w="2489" h="2134" extrusionOk="0">
                  <a:moveTo>
                    <a:pt x="1066" y="1"/>
                  </a:moveTo>
                  <a:cubicBezTo>
                    <a:pt x="480" y="1"/>
                    <a:pt x="1" y="480"/>
                    <a:pt x="1" y="1066"/>
                  </a:cubicBezTo>
                  <a:cubicBezTo>
                    <a:pt x="1" y="1710"/>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0" name="Google Shape;2190;p66"/>
            <p:cNvSpPr/>
            <p:nvPr/>
          </p:nvSpPr>
          <p:spPr>
            <a:xfrm>
              <a:off x="6408350" y="4009000"/>
              <a:ext cx="62425" cy="53350"/>
            </a:xfrm>
            <a:custGeom>
              <a:avLst/>
              <a:gdLst/>
              <a:ahLst/>
              <a:cxnLst/>
              <a:rect l="l" t="t" r="r" b="b"/>
              <a:pathLst>
                <a:path w="2497" h="2134" extrusionOk="0">
                  <a:moveTo>
                    <a:pt x="1074" y="1"/>
                  </a:moveTo>
                  <a:cubicBezTo>
                    <a:pt x="481" y="1"/>
                    <a:pt x="1"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1" name="Google Shape;2191;p66"/>
            <p:cNvSpPr/>
            <p:nvPr/>
          </p:nvSpPr>
          <p:spPr>
            <a:xfrm>
              <a:off x="6332350"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2" name="Google Shape;2192;p66"/>
            <p:cNvSpPr/>
            <p:nvPr/>
          </p:nvSpPr>
          <p:spPr>
            <a:xfrm>
              <a:off x="6256150" y="4009000"/>
              <a:ext cx="62200" cy="53350"/>
            </a:xfrm>
            <a:custGeom>
              <a:avLst/>
              <a:gdLst/>
              <a:ahLst/>
              <a:cxnLst/>
              <a:rect l="l" t="t" r="r" b="b"/>
              <a:pathLst>
                <a:path w="2488" h="2134" extrusionOk="0">
                  <a:moveTo>
                    <a:pt x="1065" y="1"/>
                  </a:moveTo>
                  <a:cubicBezTo>
                    <a:pt x="472" y="1"/>
                    <a:pt x="0" y="480"/>
                    <a:pt x="0" y="1066"/>
                  </a:cubicBezTo>
                  <a:cubicBezTo>
                    <a:pt x="0" y="1710"/>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3" name="Google Shape;2193;p66"/>
            <p:cNvSpPr/>
            <p:nvPr/>
          </p:nvSpPr>
          <p:spPr>
            <a:xfrm>
              <a:off x="5951475" y="3932800"/>
              <a:ext cx="62225" cy="53425"/>
            </a:xfrm>
            <a:custGeom>
              <a:avLst/>
              <a:gdLst/>
              <a:ahLst/>
              <a:cxnLst/>
              <a:rect l="l" t="t" r="r" b="b"/>
              <a:pathLst>
                <a:path w="2489" h="2137" extrusionOk="0">
                  <a:moveTo>
                    <a:pt x="1066" y="0"/>
                  </a:moveTo>
                  <a:cubicBezTo>
                    <a:pt x="472" y="8"/>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4" name="Google Shape;2194;p66"/>
            <p:cNvSpPr/>
            <p:nvPr/>
          </p:nvSpPr>
          <p:spPr>
            <a:xfrm>
              <a:off x="5951475" y="4009000"/>
              <a:ext cx="62225" cy="53350"/>
            </a:xfrm>
            <a:custGeom>
              <a:avLst/>
              <a:gdLst/>
              <a:ahLst/>
              <a:cxnLst/>
              <a:rect l="l" t="t" r="r" b="b"/>
              <a:pathLst>
                <a:path w="2489" h="2134" extrusionOk="0">
                  <a:moveTo>
                    <a:pt x="1066" y="1"/>
                  </a:moveTo>
                  <a:cubicBezTo>
                    <a:pt x="472"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5" name="Google Shape;2195;p66"/>
            <p:cNvSpPr/>
            <p:nvPr/>
          </p:nvSpPr>
          <p:spPr>
            <a:xfrm>
              <a:off x="6027500" y="385677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6" name="Google Shape;2196;p66"/>
            <p:cNvSpPr/>
            <p:nvPr/>
          </p:nvSpPr>
          <p:spPr>
            <a:xfrm>
              <a:off x="6027500" y="39328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5"/>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7" name="Google Shape;2197;p66"/>
            <p:cNvSpPr/>
            <p:nvPr/>
          </p:nvSpPr>
          <p:spPr>
            <a:xfrm>
              <a:off x="6027500" y="4009000"/>
              <a:ext cx="62425" cy="53350"/>
            </a:xfrm>
            <a:custGeom>
              <a:avLst/>
              <a:gdLst/>
              <a:ahLst/>
              <a:cxnLst/>
              <a:rect l="l" t="t" r="r" b="b"/>
              <a:pathLst>
                <a:path w="2497" h="2134" extrusionOk="0">
                  <a:moveTo>
                    <a:pt x="1073" y="1"/>
                  </a:moveTo>
                  <a:cubicBezTo>
                    <a:pt x="480" y="1"/>
                    <a:pt x="9" y="480"/>
                    <a:pt x="0" y="1066"/>
                  </a:cubicBezTo>
                  <a:cubicBezTo>
                    <a:pt x="0" y="1710"/>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8" name="Google Shape;2198;p66"/>
            <p:cNvSpPr/>
            <p:nvPr/>
          </p:nvSpPr>
          <p:spPr>
            <a:xfrm>
              <a:off x="6103700" y="3780375"/>
              <a:ext cx="62425" cy="53475"/>
            </a:xfrm>
            <a:custGeom>
              <a:avLst/>
              <a:gdLst/>
              <a:ahLst/>
              <a:cxnLst/>
              <a:rect l="l" t="t" r="r" b="b"/>
              <a:pathLst>
                <a:path w="2497" h="2139" extrusionOk="0">
                  <a:moveTo>
                    <a:pt x="1066" y="0"/>
                  </a:moveTo>
                  <a:cubicBezTo>
                    <a:pt x="481" y="0"/>
                    <a:pt x="1" y="480"/>
                    <a:pt x="1" y="1073"/>
                  </a:cubicBezTo>
                  <a:cubicBezTo>
                    <a:pt x="6" y="1715"/>
                    <a:pt x="530" y="2139"/>
                    <a:pt x="1078" y="2139"/>
                  </a:cubicBezTo>
                  <a:cubicBezTo>
                    <a:pt x="1342" y="2139"/>
                    <a:pt x="1611" y="2040"/>
                    <a:pt x="1830"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199" name="Google Shape;2199;p66"/>
            <p:cNvSpPr/>
            <p:nvPr/>
          </p:nvSpPr>
          <p:spPr>
            <a:xfrm>
              <a:off x="6103700" y="3856775"/>
              <a:ext cx="62425" cy="53300"/>
            </a:xfrm>
            <a:custGeom>
              <a:avLst/>
              <a:gdLst/>
              <a:ahLst/>
              <a:cxnLst/>
              <a:rect l="l" t="t" r="r" b="b"/>
              <a:pathLst>
                <a:path w="2497" h="2132" extrusionOk="0">
                  <a:moveTo>
                    <a:pt x="1066" y="1"/>
                  </a:moveTo>
                  <a:cubicBezTo>
                    <a:pt x="481" y="1"/>
                    <a:pt x="1" y="480"/>
                    <a:pt x="1" y="1066"/>
                  </a:cubicBezTo>
                  <a:cubicBezTo>
                    <a:pt x="6" y="1708"/>
                    <a:pt x="530" y="2131"/>
                    <a:pt x="1075" y="2131"/>
                  </a:cubicBezTo>
                  <a:cubicBezTo>
                    <a:pt x="1338" y="2131"/>
                    <a:pt x="1605" y="2033"/>
                    <a:pt x="1822" y="1814"/>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0" name="Google Shape;2200;p66"/>
            <p:cNvSpPr/>
            <p:nvPr/>
          </p:nvSpPr>
          <p:spPr>
            <a:xfrm>
              <a:off x="6103700" y="3932800"/>
              <a:ext cx="62425" cy="53475"/>
            </a:xfrm>
            <a:custGeom>
              <a:avLst/>
              <a:gdLst/>
              <a:ahLst/>
              <a:cxnLst/>
              <a:rect l="l" t="t" r="r" b="b"/>
              <a:pathLst>
                <a:path w="2497" h="2139" extrusionOk="0">
                  <a:moveTo>
                    <a:pt x="1066" y="0"/>
                  </a:moveTo>
                  <a:cubicBezTo>
                    <a:pt x="481" y="0"/>
                    <a:pt x="1" y="480"/>
                    <a:pt x="1" y="1073"/>
                  </a:cubicBezTo>
                  <a:cubicBezTo>
                    <a:pt x="6" y="1715"/>
                    <a:pt x="530" y="2139"/>
                    <a:pt x="1075" y="2139"/>
                  </a:cubicBezTo>
                  <a:cubicBezTo>
                    <a:pt x="1338" y="2139"/>
                    <a:pt x="1605" y="2041"/>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1" name="Google Shape;2201;p66"/>
            <p:cNvSpPr/>
            <p:nvPr/>
          </p:nvSpPr>
          <p:spPr>
            <a:xfrm>
              <a:off x="6103700" y="4009000"/>
              <a:ext cx="62425" cy="53350"/>
            </a:xfrm>
            <a:custGeom>
              <a:avLst/>
              <a:gdLst/>
              <a:ahLst/>
              <a:cxnLst/>
              <a:rect l="l" t="t" r="r" b="b"/>
              <a:pathLst>
                <a:path w="2497" h="2134" extrusionOk="0">
                  <a:moveTo>
                    <a:pt x="1066" y="1"/>
                  </a:moveTo>
                  <a:cubicBezTo>
                    <a:pt x="481" y="1"/>
                    <a:pt x="1" y="480"/>
                    <a:pt x="1" y="1066"/>
                  </a:cubicBezTo>
                  <a:cubicBezTo>
                    <a:pt x="1" y="1710"/>
                    <a:pt x="530" y="2134"/>
                    <a:pt x="1079" y="2134"/>
                  </a:cubicBezTo>
                  <a:cubicBezTo>
                    <a:pt x="1340" y="2134"/>
                    <a:pt x="1607"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2" name="Google Shape;2202;p66"/>
            <p:cNvSpPr/>
            <p:nvPr/>
          </p:nvSpPr>
          <p:spPr>
            <a:xfrm>
              <a:off x="61799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3" name="Google Shape;2203;p66"/>
            <p:cNvSpPr/>
            <p:nvPr/>
          </p:nvSpPr>
          <p:spPr>
            <a:xfrm>
              <a:off x="61799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4" name="Google Shape;2204;p66"/>
            <p:cNvSpPr/>
            <p:nvPr/>
          </p:nvSpPr>
          <p:spPr>
            <a:xfrm>
              <a:off x="61799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5" name="Google Shape;2205;p66"/>
            <p:cNvSpPr/>
            <p:nvPr/>
          </p:nvSpPr>
          <p:spPr>
            <a:xfrm>
              <a:off x="61799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6" name="Google Shape;2206;p66"/>
            <p:cNvSpPr/>
            <p:nvPr/>
          </p:nvSpPr>
          <p:spPr>
            <a:xfrm>
              <a:off x="61799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7" name="Google Shape;2207;p66"/>
            <p:cNvSpPr/>
            <p:nvPr/>
          </p:nvSpPr>
          <p:spPr>
            <a:xfrm>
              <a:off x="717030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8" name="Google Shape;2208;p66"/>
            <p:cNvSpPr/>
            <p:nvPr/>
          </p:nvSpPr>
          <p:spPr>
            <a:xfrm>
              <a:off x="68656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09" name="Google Shape;2209;p66"/>
            <p:cNvSpPr/>
            <p:nvPr/>
          </p:nvSpPr>
          <p:spPr>
            <a:xfrm>
              <a:off x="6865650" y="3780375"/>
              <a:ext cx="62400" cy="53425"/>
            </a:xfrm>
            <a:custGeom>
              <a:avLst/>
              <a:gdLst/>
              <a:ahLst/>
              <a:cxnLst/>
              <a:rect l="l" t="t" r="r" b="b"/>
              <a:pathLst>
                <a:path w="2496"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0" name="Google Shape;2210;p66"/>
            <p:cNvSpPr/>
            <p:nvPr/>
          </p:nvSpPr>
          <p:spPr>
            <a:xfrm>
              <a:off x="69418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1" name="Google Shape;2211;p66"/>
            <p:cNvSpPr/>
            <p:nvPr/>
          </p:nvSpPr>
          <p:spPr>
            <a:xfrm>
              <a:off x="6789225" y="3627950"/>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8"/>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2" name="Google Shape;2212;p66"/>
            <p:cNvSpPr/>
            <p:nvPr/>
          </p:nvSpPr>
          <p:spPr>
            <a:xfrm>
              <a:off x="6637000" y="3475725"/>
              <a:ext cx="62225" cy="53350"/>
            </a:xfrm>
            <a:custGeom>
              <a:avLst/>
              <a:gdLst/>
              <a:ahLst/>
              <a:cxnLst/>
              <a:rect l="l" t="t" r="r" b="b"/>
              <a:pathLst>
                <a:path w="2489" h="2134" extrusionOk="0">
                  <a:moveTo>
                    <a:pt x="1066" y="0"/>
                  </a:moveTo>
                  <a:cubicBezTo>
                    <a:pt x="472" y="0"/>
                    <a:pt x="1" y="472"/>
                    <a:pt x="1" y="1065"/>
                  </a:cubicBezTo>
                  <a:cubicBezTo>
                    <a:pt x="1" y="1709"/>
                    <a:pt x="526" y="2133"/>
                    <a:pt x="1072" y="2133"/>
                  </a:cubicBezTo>
                  <a:cubicBezTo>
                    <a:pt x="1333" y="2133"/>
                    <a:pt x="1598" y="2037"/>
                    <a:pt x="1813"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3" name="Google Shape;2213;p66"/>
            <p:cNvSpPr/>
            <p:nvPr/>
          </p:nvSpPr>
          <p:spPr>
            <a:xfrm>
              <a:off x="6256150" y="3399500"/>
              <a:ext cx="62200" cy="53350"/>
            </a:xfrm>
            <a:custGeom>
              <a:avLst/>
              <a:gdLst/>
              <a:ahLst/>
              <a:cxnLst/>
              <a:rect l="l" t="t" r="r" b="b"/>
              <a:pathLst>
                <a:path w="2488" h="2134" extrusionOk="0">
                  <a:moveTo>
                    <a:pt x="1065" y="1"/>
                  </a:moveTo>
                  <a:cubicBezTo>
                    <a:pt x="472" y="1"/>
                    <a:pt x="0" y="480"/>
                    <a:pt x="0" y="1066"/>
                  </a:cubicBezTo>
                  <a:cubicBezTo>
                    <a:pt x="0" y="1709"/>
                    <a:pt x="525" y="2134"/>
                    <a:pt x="1071"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4" name="Google Shape;2214;p66"/>
            <p:cNvSpPr/>
            <p:nvPr/>
          </p:nvSpPr>
          <p:spPr>
            <a:xfrm>
              <a:off x="6484575" y="3551925"/>
              <a:ext cx="62425" cy="53250"/>
            </a:xfrm>
            <a:custGeom>
              <a:avLst/>
              <a:gdLst/>
              <a:ahLst/>
              <a:cxnLst/>
              <a:rect l="l" t="t" r="r" b="b"/>
              <a:pathLst>
                <a:path w="2497" h="2130" extrusionOk="0">
                  <a:moveTo>
                    <a:pt x="1065" y="1"/>
                  </a:moveTo>
                  <a:cubicBezTo>
                    <a:pt x="480" y="1"/>
                    <a:pt x="1" y="472"/>
                    <a:pt x="1" y="1066"/>
                  </a:cubicBezTo>
                  <a:cubicBezTo>
                    <a:pt x="1" y="1704"/>
                    <a:pt x="525" y="2129"/>
                    <a:pt x="1073" y="2129"/>
                  </a:cubicBezTo>
                  <a:cubicBezTo>
                    <a:pt x="1335" y="2129"/>
                    <a:pt x="1603" y="2032"/>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5" name="Google Shape;2215;p66"/>
            <p:cNvSpPr/>
            <p:nvPr/>
          </p:nvSpPr>
          <p:spPr>
            <a:xfrm>
              <a:off x="6484575" y="347572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6" name="Google Shape;2216;p66"/>
            <p:cNvSpPr/>
            <p:nvPr/>
          </p:nvSpPr>
          <p:spPr>
            <a:xfrm>
              <a:off x="6408350" y="3551925"/>
              <a:ext cx="62425" cy="53250"/>
            </a:xfrm>
            <a:custGeom>
              <a:avLst/>
              <a:gdLst/>
              <a:ahLst/>
              <a:cxnLst/>
              <a:rect l="l" t="t" r="r" b="b"/>
              <a:pathLst>
                <a:path w="2497" h="2130" extrusionOk="0">
                  <a:moveTo>
                    <a:pt x="1074" y="1"/>
                  </a:moveTo>
                  <a:cubicBezTo>
                    <a:pt x="481" y="1"/>
                    <a:pt x="9" y="472"/>
                    <a:pt x="1" y="1066"/>
                  </a:cubicBezTo>
                  <a:cubicBezTo>
                    <a:pt x="1" y="1704"/>
                    <a:pt x="525" y="2129"/>
                    <a:pt x="1074" y="2129"/>
                  </a:cubicBezTo>
                  <a:cubicBezTo>
                    <a:pt x="1336" y="2129"/>
                    <a:pt x="1604" y="2032"/>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7" name="Google Shape;2217;p66"/>
            <p:cNvSpPr/>
            <p:nvPr/>
          </p:nvSpPr>
          <p:spPr>
            <a:xfrm>
              <a:off x="6408350" y="3475725"/>
              <a:ext cx="62425" cy="53350"/>
            </a:xfrm>
            <a:custGeom>
              <a:avLst/>
              <a:gdLst/>
              <a:ahLst/>
              <a:cxnLst/>
              <a:rect l="l" t="t" r="r" b="b"/>
              <a:pathLst>
                <a:path w="2497" h="2134" extrusionOk="0">
                  <a:moveTo>
                    <a:pt x="1074" y="0"/>
                  </a:moveTo>
                  <a:cubicBezTo>
                    <a:pt x="481" y="0"/>
                    <a:pt x="1" y="472"/>
                    <a:pt x="1" y="1065"/>
                  </a:cubicBezTo>
                  <a:cubicBezTo>
                    <a:pt x="1" y="1709"/>
                    <a:pt x="526" y="2133"/>
                    <a:pt x="1075" y="2133"/>
                  </a:cubicBezTo>
                  <a:cubicBezTo>
                    <a:pt x="1337" y="2133"/>
                    <a:pt x="1604" y="2037"/>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8" name="Google Shape;2218;p66"/>
            <p:cNvSpPr/>
            <p:nvPr/>
          </p:nvSpPr>
          <p:spPr>
            <a:xfrm>
              <a:off x="6332350"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19" name="Google Shape;2219;p66"/>
            <p:cNvSpPr/>
            <p:nvPr/>
          </p:nvSpPr>
          <p:spPr>
            <a:xfrm>
              <a:off x="6332350" y="33995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0" name="Google Shape;2220;p66"/>
            <p:cNvSpPr/>
            <p:nvPr/>
          </p:nvSpPr>
          <p:spPr>
            <a:xfrm>
              <a:off x="7094075" y="4237450"/>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40"/>
                    <a:pt x="1822" y="1821"/>
                  </a:cubicBezTo>
                  <a:cubicBezTo>
                    <a:pt x="2496"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1" name="Google Shape;2221;p66"/>
            <p:cNvSpPr/>
            <p:nvPr/>
          </p:nvSpPr>
          <p:spPr>
            <a:xfrm>
              <a:off x="7017875" y="4389875"/>
              <a:ext cx="62400" cy="53350"/>
            </a:xfrm>
            <a:custGeom>
              <a:avLst/>
              <a:gdLst/>
              <a:ahLst/>
              <a:cxnLst/>
              <a:rect l="l" t="t" r="r" b="b"/>
              <a:pathLst>
                <a:path w="2496" h="2134" extrusionOk="0">
                  <a:moveTo>
                    <a:pt x="1073" y="0"/>
                  </a:moveTo>
                  <a:cubicBezTo>
                    <a:pt x="480" y="0"/>
                    <a:pt x="8"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2" name="Google Shape;2222;p66"/>
            <p:cNvSpPr/>
            <p:nvPr/>
          </p:nvSpPr>
          <p:spPr>
            <a:xfrm>
              <a:off x="7017875" y="4313650"/>
              <a:ext cx="62400" cy="53450"/>
            </a:xfrm>
            <a:custGeom>
              <a:avLst/>
              <a:gdLst/>
              <a:ahLst/>
              <a:cxnLst/>
              <a:rect l="l" t="t" r="r" b="b"/>
              <a:pathLst>
                <a:path w="2496" h="2138" extrusionOk="0">
                  <a:moveTo>
                    <a:pt x="1073" y="1"/>
                  </a:moveTo>
                  <a:cubicBezTo>
                    <a:pt x="480" y="1"/>
                    <a:pt x="8" y="480"/>
                    <a:pt x="0" y="1066"/>
                  </a:cubicBezTo>
                  <a:cubicBezTo>
                    <a:pt x="0" y="1709"/>
                    <a:pt x="529" y="2137"/>
                    <a:pt x="1078"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3" name="Google Shape;2223;p66"/>
            <p:cNvSpPr/>
            <p:nvPr/>
          </p:nvSpPr>
          <p:spPr>
            <a:xfrm>
              <a:off x="6941850" y="438987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4" name="Google Shape;2224;p66"/>
            <p:cNvSpPr/>
            <p:nvPr/>
          </p:nvSpPr>
          <p:spPr>
            <a:xfrm>
              <a:off x="6484575" y="4389875"/>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7"/>
                    <a:pt x="1822" y="1821"/>
                  </a:cubicBezTo>
                  <a:cubicBezTo>
                    <a:pt x="2496"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5" name="Google Shape;2225;p66"/>
            <p:cNvSpPr/>
            <p:nvPr/>
          </p:nvSpPr>
          <p:spPr>
            <a:xfrm>
              <a:off x="6560800" y="42374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6" name="Google Shape;2226;p66"/>
            <p:cNvSpPr/>
            <p:nvPr/>
          </p:nvSpPr>
          <p:spPr>
            <a:xfrm>
              <a:off x="6560800" y="4161425"/>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7" name="Google Shape;2227;p66"/>
            <p:cNvSpPr/>
            <p:nvPr/>
          </p:nvSpPr>
          <p:spPr>
            <a:xfrm>
              <a:off x="6560800" y="40852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7"/>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8" name="Google Shape;2228;p66"/>
            <p:cNvSpPr/>
            <p:nvPr/>
          </p:nvSpPr>
          <p:spPr>
            <a:xfrm>
              <a:off x="6560800" y="4009000"/>
              <a:ext cx="62200" cy="53350"/>
            </a:xfrm>
            <a:custGeom>
              <a:avLst/>
              <a:gdLst/>
              <a:ahLst/>
              <a:cxnLst/>
              <a:rect l="l" t="t" r="r" b="b"/>
              <a:pathLst>
                <a:path w="2488" h="2134" extrusionOk="0">
                  <a:moveTo>
                    <a:pt x="1065" y="1"/>
                  </a:moveTo>
                  <a:cubicBezTo>
                    <a:pt x="480"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29" name="Google Shape;2229;p66"/>
            <p:cNvSpPr/>
            <p:nvPr/>
          </p:nvSpPr>
          <p:spPr>
            <a:xfrm>
              <a:off x="6560800" y="39328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0" name="Google Shape;2230;p66"/>
            <p:cNvSpPr/>
            <p:nvPr/>
          </p:nvSpPr>
          <p:spPr>
            <a:xfrm>
              <a:off x="65608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1" name="Google Shape;2231;p66"/>
            <p:cNvSpPr/>
            <p:nvPr/>
          </p:nvSpPr>
          <p:spPr>
            <a:xfrm>
              <a:off x="65608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2" name="Google Shape;2232;p66"/>
            <p:cNvSpPr/>
            <p:nvPr/>
          </p:nvSpPr>
          <p:spPr>
            <a:xfrm>
              <a:off x="6484575" y="4237450"/>
              <a:ext cx="62425" cy="53425"/>
            </a:xfrm>
            <a:custGeom>
              <a:avLst/>
              <a:gdLst/>
              <a:ahLst/>
              <a:cxnLst/>
              <a:rect l="l" t="t" r="r" b="b"/>
              <a:pathLst>
                <a:path w="2497" h="2137" extrusionOk="0">
                  <a:moveTo>
                    <a:pt x="1065" y="0"/>
                  </a:moveTo>
                  <a:cubicBezTo>
                    <a:pt x="480" y="8"/>
                    <a:pt x="1" y="480"/>
                    <a:pt x="1" y="1073"/>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3" name="Google Shape;2233;p66"/>
            <p:cNvSpPr/>
            <p:nvPr/>
          </p:nvSpPr>
          <p:spPr>
            <a:xfrm>
              <a:off x="6484575" y="3780375"/>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4" name="Google Shape;2234;p66"/>
            <p:cNvSpPr/>
            <p:nvPr/>
          </p:nvSpPr>
          <p:spPr>
            <a:xfrm>
              <a:off x="6484575" y="3704150"/>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5" name="Google Shape;2235;p66"/>
            <p:cNvSpPr/>
            <p:nvPr/>
          </p:nvSpPr>
          <p:spPr>
            <a:xfrm>
              <a:off x="6408350" y="4237450"/>
              <a:ext cx="62425" cy="53425"/>
            </a:xfrm>
            <a:custGeom>
              <a:avLst/>
              <a:gdLst/>
              <a:ahLst/>
              <a:cxnLst/>
              <a:rect l="l" t="t" r="r" b="b"/>
              <a:pathLst>
                <a:path w="2497" h="2137" extrusionOk="0">
                  <a:moveTo>
                    <a:pt x="1074" y="0"/>
                  </a:moveTo>
                  <a:cubicBezTo>
                    <a:pt x="481" y="8"/>
                    <a:pt x="9" y="480"/>
                    <a:pt x="1" y="1073"/>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6" name="Google Shape;2236;p66"/>
            <p:cNvSpPr/>
            <p:nvPr/>
          </p:nvSpPr>
          <p:spPr>
            <a:xfrm>
              <a:off x="6408350" y="4161425"/>
              <a:ext cx="62425" cy="53300"/>
            </a:xfrm>
            <a:custGeom>
              <a:avLst/>
              <a:gdLst/>
              <a:ahLst/>
              <a:cxnLst/>
              <a:rect l="l" t="t" r="r" b="b"/>
              <a:pathLst>
                <a:path w="2497" h="2132" extrusionOk="0">
                  <a:moveTo>
                    <a:pt x="1074" y="1"/>
                  </a:moveTo>
                  <a:cubicBezTo>
                    <a:pt x="481" y="1"/>
                    <a:pt x="1"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7" name="Google Shape;2237;p66"/>
            <p:cNvSpPr/>
            <p:nvPr/>
          </p:nvSpPr>
          <p:spPr>
            <a:xfrm>
              <a:off x="6408350" y="3780375"/>
              <a:ext cx="62425" cy="53425"/>
            </a:xfrm>
            <a:custGeom>
              <a:avLst/>
              <a:gdLst/>
              <a:ahLst/>
              <a:cxnLst/>
              <a:rect l="l" t="t" r="r" b="b"/>
              <a:pathLst>
                <a:path w="2497" h="2137" extrusionOk="0">
                  <a:moveTo>
                    <a:pt x="1074" y="0"/>
                  </a:moveTo>
                  <a:cubicBezTo>
                    <a:pt x="481" y="0"/>
                    <a:pt x="1"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8" name="Google Shape;2238;p66"/>
            <p:cNvSpPr/>
            <p:nvPr/>
          </p:nvSpPr>
          <p:spPr>
            <a:xfrm>
              <a:off x="6408350" y="3704150"/>
              <a:ext cx="62425" cy="53450"/>
            </a:xfrm>
            <a:custGeom>
              <a:avLst/>
              <a:gdLst/>
              <a:ahLst/>
              <a:cxnLst/>
              <a:rect l="l" t="t" r="r" b="b"/>
              <a:pathLst>
                <a:path w="2497" h="2138" extrusionOk="0">
                  <a:moveTo>
                    <a:pt x="1074" y="1"/>
                  </a:moveTo>
                  <a:cubicBezTo>
                    <a:pt x="481" y="1"/>
                    <a:pt x="9"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39" name="Google Shape;2239;p66"/>
            <p:cNvSpPr/>
            <p:nvPr/>
          </p:nvSpPr>
          <p:spPr>
            <a:xfrm>
              <a:off x="6332350"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3"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0" name="Google Shape;2240;p66"/>
            <p:cNvSpPr/>
            <p:nvPr/>
          </p:nvSpPr>
          <p:spPr>
            <a:xfrm>
              <a:off x="6332350"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3" y="1821"/>
                  </a:cubicBezTo>
                  <a:cubicBezTo>
                    <a:pt x="2488" y="1147"/>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1" name="Google Shape;2241;p66"/>
            <p:cNvSpPr/>
            <p:nvPr/>
          </p:nvSpPr>
          <p:spPr>
            <a:xfrm>
              <a:off x="633235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2" name="Google Shape;2242;p66"/>
            <p:cNvSpPr/>
            <p:nvPr/>
          </p:nvSpPr>
          <p:spPr>
            <a:xfrm>
              <a:off x="633235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3" name="Google Shape;2243;p66"/>
            <p:cNvSpPr/>
            <p:nvPr/>
          </p:nvSpPr>
          <p:spPr>
            <a:xfrm>
              <a:off x="6256150" y="4085225"/>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4" name="Google Shape;2244;p66"/>
            <p:cNvSpPr/>
            <p:nvPr/>
          </p:nvSpPr>
          <p:spPr>
            <a:xfrm>
              <a:off x="6256150" y="3704150"/>
              <a:ext cx="62200" cy="53450"/>
            </a:xfrm>
            <a:custGeom>
              <a:avLst/>
              <a:gdLst/>
              <a:ahLst/>
              <a:cxnLst/>
              <a:rect l="l" t="t" r="r" b="b"/>
              <a:pathLst>
                <a:path w="2488" h="2138" extrusionOk="0">
                  <a:moveTo>
                    <a:pt x="1065" y="1"/>
                  </a:moveTo>
                  <a:cubicBezTo>
                    <a:pt x="480" y="1"/>
                    <a:pt x="0" y="480"/>
                    <a:pt x="0" y="1066"/>
                  </a:cubicBezTo>
                  <a:cubicBezTo>
                    <a:pt x="0" y="1709"/>
                    <a:pt x="525" y="2137"/>
                    <a:pt x="1071" y="2137"/>
                  </a:cubicBezTo>
                  <a:cubicBezTo>
                    <a:pt x="1332" y="2137"/>
                    <a:pt x="1597"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5" name="Google Shape;2245;p66"/>
            <p:cNvSpPr/>
            <p:nvPr/>
          </p:nvSpPr>
          <p:spPr>
            <a:xfrm>
              <a:off x="6256150" y="3627950"/>
              <a:ext cx="62200" cy="53425"/>
            </a:xfrm>
            <a:custGeom>
              <a:avLst/>
              <a:gdLst/>
              <a:ahLst/>
              <a:cxnLst/>
              <a:rect l="l" t="t" r="r" b="b"/>
              <a:pathLst>
                <a:path w="2488" h="2137" extrusionOk="0">
                  <a:moveTo>
                    <a:pt x="1065" y="0"/>
                  </a:moveTo>
                  <a:cubicBezTo>
                    <a:pt x="472" y="8"/>
                    <a:pt x="0" y="480"/>
                    <a:pt x="0" y="1073"/>
                  </a:cubicBezTo>
                  <a:cubicBezTo>
                    <a:pt x="0" y="1711"/>
                    <a:pt x="524" y="2137"/>
                    <a:pt x="1070" y="2137"/>
                  </a:cubicBezTo>
                  <a:cubicBezTo>
                    <a:pt x="1331" y="2137"/>
                    <a:pt x="1597" y="2039"/>
                    <a:pt x="1813"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6" name="Google Shape;2246;p66"/>
            <p:cNvSpPr/>
            <p:nvPr/>
          </p:nvSpPr>
          <p:spPr>
            <a:xfrm>
              <a:off x="617992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7" name="Google Shape;2247;p66"/>
            <p:cNvSpPr/>
            <p:nvPr/>
          </p:nvSpPr>
          <p:spPr>
            <a:xfrm>
              <a:off x="61799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8" name="Google Shape;2248;p66"/>
            <p:cNvSpPr/>
            <p:nvPr/>
          </p:nvSpPr>
          <p:spPr>
            <a:xfrm>
              <a:off x="6103700" y="4085225"/>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7"/>
                    <a:pt x="1822" y="1821"/>
                  </a:cubicBezTo>
                  <a:cubicBezTo>
                    <a:pt x="2497"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49" name="Google Shape;2249;p66"/>
            <p:cNvSpPr/>
            <p:nvPr/>
          </p:nvSpPr>
          <p:spPr>
            <a:xfrm>
              <a:off x="6103700" y="3704150"/>
              <a:ext cx="62425" cy="53450"/>
            </a:xfrm>
            <a:custGeom>
              <a:avLst/>
              <a:gdLst/>
              <a:ahLst/>
              <a:cxnLst/>
              <a:rect l="l" t="t" r="r" b="b"/>
              <a:pathLst>
                <a:path w="2497" h="2138" extrusionOk="0">
                  <a:moveTo>
                    <a:pt x="1066" y="1"/>
                  </a:moveTo>
                  <a:cubicBezTo>
                    <a:pt x="481" y="1"/>
                    <a:pt x="9"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0" name="Google Shape;2250;p66"/>
            <p:cNvSpPr/>
            <p:nvPr/>
          </p:nvSpPr>
          <p:spPr>
            <a:xfrm>
              <a:off x="6027500" y="4085225"/>
              <a:ext cx="62425" cy="53350"/>
            </a:xfrm>
            <a:custGeom>
              <a:avLst/>
              <a:gdLst/>
              <a:ahLst/>
              <a:cxnLst/>
              <a:rect l="l" t="t" r="r" b="b"/>
              <a:pathLst>
                <a:path w="2497" h="2134" extrusionOk="0">
                  <a:moveTo>
                    <a:pt x="1073" y="0"/>
                  </a:moveTo>
                  <a:cubicBezTo>
                    <a:pt x="480" y="0"/>
                    <a:pt x="9" y="480"/>
                    <a:pt x="0" y="1065"/>
                  </a:cubicBezTo>
                  <a:cubicBezTo>
                    <a:pt x="0" y="1709"/>
                    <a:pt x="529" y="2133"/>
                    <a:pt x="1078" y="2133"/>
                  </a:cubicBezTo>
                  <a:cubicBezTo>
                    <a:pt x="1340" y="2133"/>
                    <a:pt x="1606" y="2037"/>
                    <a:pt x="1821" y="1821"/>
                  </a:cubicBezTo>
                  <a:cubicBezTo>
                    <a:pt x="2496" y="1147"/>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1" name="Google Shape;2251;p66"/>
            <p:cNvSpPr/>
            <p:nvPr/>
          </p:nvSpPr>
          <p:spPr>
            <a:xfrm>
              <a:off x="6027500" y="3780375"/>
              <a:ext cx="62425" cy="53425"/>
            </a:xfrm>
            <a:custGeom>
              <a:avLst/>
              <a:gdLst/>
              <a:ahLst/>
              <a:cxnLst/>
              <a:rect l="l" t="t" r="r" b="b"/>
              <a:pathLst>
                <a:path w="2497" h="2137" extrusionOk="0">
                  <a:moveTo>
                    <a:pt x="1073" y="0"/>
                  </a:moveTo>
                  <a:cubicBezTo>
                    <a:pt x="480" y="0"/>
                    <a:pt x="9" y="480"/>
                    <a:pt x="0" y="1065"/>
                  </a:cubicBezTo>
                  <a:cubicBezTo>
                    <a:pt x="0" y="1709"/>
                    <a:pt x="529" y="2137"/>
                    <a:pt x="1080" y="2137"/>
                  </a:cubicBezTo>
                  <a:cubicBezTo>
                    <a:pt x="1343" y="2137"/>
                    <a:pt x="1611" y="2039"/>
                    <a:pt x="1830" y="1821"/>
                  </a:cubicBezTo>
                  <a:cubicBezTo>
                    <a:pt x="2496" y="1146"/>
                    <a:pt x="2025"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2" name="Google Shape;2252;p66"/>
            <p:cNvSpPr/>
            <p:nvPr/>
          </p:nvSpPr>
          <p:spPr>
            <a:xfrm>
              <a:off x="6027500" y="3704150"/>
              <a:ext cx="62425" cy="53450"/>
            </a:xfrm>
            <a:custGeom>
              <a:avLst/>
              <a:gdLst/>
              <a:ahLst/>
              <a:cxnLst/>
              <a:rect l="l" t="t" r="r" b="b"/>
              <a:pathLst>
                <a:path w="2497" h="2138" extrusionOk="0">
                  <a:moveTo>
                    <a:pt x="1073" y="1"/>
                  </a:moveTo>
                  <a:cubicBezTo>
                    <a:pt x="480" y="1"/>
                    <a:pt x="9" y="480"/>
                    <a:pt x="0" y="1066"/>
                  </a:cubicBezTo>
                  <a:cubicBezTo>
                    <a:pt x="0" y="1709"/>
                    <a:pt x="529" y="2137"/>
                    <a:pt x="1078" y="2137"/>
                  </a:cubicBezTo>
                  <a:cubicBezTo>
                    <a:pt x="1340" y="2137"/>
                    <a:pt x="1606"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3" name="Google Shape;2253;p66"/>
            <p:cNvSpPr/>
            <p:nvPr/>
          </p:nvSpPr>
          <p:spPr>
            <a:xfrm>
              <a:off x="59514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4" name="Google Shape;2254;p66"/>
            <p:cNvSpPr/>
            <p:nvPr/>
          </p:nvSpPr>
          <p:spPr>
            <a:xfrm>
              <a:off x="5951475" y="385677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5" name="Google Shape;2255;p66"/>
            <p:cNvSpPr/>
            <p:nvPr/>
          </p:nvSpPr>
          <p:spPr>
            <a:xfrm>
              <a:off x="5951475" y="3780375"/>
              <a:ext cx="62425" cy="53425"/>
            </a:xfrm>
            <a:custGeom>
              <a:avLst/>
              <a:gdLst/>
              <a:ahLst/>
              <a:cxnLst/>
              <a:rect l="l" t="t" r="r" b="b"/>
              <a:pathLst>
                <a:path w="2497" h="2137" extrusionOk="0">
                  <a:moveTo>
                    <a:pt x="1066" y="0"/>
                  </a:moveTo>
                  <a:cubicBezTo>
                    <a:pt x="472"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6" name="Google Shape;2256;p66"/>
            <p:cNvSpPr/>
            <p:nvPr/>
          </p:nvSpPr>
          <p:spPr>
            <a:xfrm>
              <a:off x="5875275" y="40852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7" name="Google Shape;2257;p66"/>
            <p:cNvSpPr/>
            <p:nvPr/>
          </p:nvSpPr>
          <p:spPr>
            <a:xfrm>
              <a:off x="587527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8" name="Google Shape;2258;p66"/>
            <p:cNvSpPr/>
            <p:nvPr/>
          </p:nvSpPr>
          <p:spPr>
            <a:xfrm>
              <a:off x="587527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5"/>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59" name="Google Shape;2259;p66"/>
            <p:cNvSpPr/>
            <p:nvPr/>
          </p:nvSpPr>
          <p:spPr>
            <a:xfrm>
              <a:off x="587527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0" name="Google Shape;2260;p66"/>
            <p:cNvSpPr/>
            <p:nvPr/>
          </p:nvSpPr>
          <p:spPr>
            <a:xfrm>
              <a:off x="4504050" y="3856775"/>
              <a:ext cx="62200" cy="53250"/>
            </a:xfrm>
            <a:custGeom>
              <a:avLst/>
              <a:gdLst/>
              <a:ahLst/>
              <a:cxnLst/>
              <a:rect l="l" t="t" r="r" b="b"/>
              <a:pathLst>
                <a:path w="2488"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1" name="Google Shape;2261;p66"/>
            <p:cNvSpPr/>
            <p:nvPr/>
          </p:nvSpPr>
          <p:spPr>
            <a:xfrm>
              <a:off x="450405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2" name="Google Shape;2262;p66"/>
            <p:cNvSpPr/>
            <p:nvPr/>
          </p:nvSpPr>
          <p:spPr>
            <a:xfrm>
              <a:off x="450405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3" name="Google Shape;2263;p66"/>
            <p:cNvSpPr/>
            <p:nvPr/>
          </p:nvSpPr>
          <p:spPr>
            <a:xfrm>
              <a:off x="4427825" y="39328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4" name="Google Shape;2264;p66"/>
            <p:cNvSpPr/>
            <p:nvPr/>
          </p:nvSpPr>
          <p:spPr>
            <a:xfrm>
              <a:off x="4427825" y="3856775"/>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4"/>
                    <a:pt x="525" y="2129"/>
                    <a:pt x="1073" y="2129"/>
                  </a:cubicBezTo>
                  <a:cubicBezTo>
                    <a:pt x="1335" y="2129"/>
                    <a:pt x="1603" y="2032"/>
                    <a:pt x="1822" y="1814"/>
                  </a:cubicBezTo>
                  <a:cubicBezTo>
                    <a:pt x="2494" y="1149"/>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5" name="Google Shape;2265;p66"/>
            <p:cNvSpPr/>
            <p:nvPr/>
          </p:nvSpPr>
          <p:spPr>
            <a:xfrm>
              <a:off x="4427825" y="3780375"/>
              <a:ext cx="62425" cy="53425"/>
            </a:xfrm>
            <a:custGeom>
              <a:avLst/>
              <a:gdLst/>
              <a:ahLst/>
              <a:cxnLst/>
              <a:rect l="l" t="t" r="r" b="b"/>
              <a:pathLst>
                <a:path w="2497" h="2137" extrusionOk="0">
                  <a:moveTo>
                    <a:pt x="1065" y="0"/>
                  </a:moveTo>
                  <a:cubicBezTo>
                    <a:pt x="480" y="0"/>
                    <a:pt x="1" y="480"/>
                    <a:pt x="1" y="1065"/>
                  </a:cubicBezTo>
                  <a:cubicBezTo>
                    <a:pt x="1" y="1709"/>
                    <a:pt x="529" y="2137"/>
                    <a:pt x="1080" y="2137"/>
                  </a:cubicBezTo>
                  <a:cubicBezTo>
                    <a:pt x="1343" y="2137"/>
                    <a:pt x="1612" y="2039"/>
                    <a:pt x="1830"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6" name="Google Shape;2266;p66"/>
            <p:cNvSpPr/>
            <p:nvPr/>
          </p:nvSpPr>
          <p:spPr>
            <a:xfrm>
              <a:off x="4351600" y="3171075"/>
              <a:ext cx="62425" cy="53350"/>
            </a:xfrm>
            <a:custGeom>
              <a:avLst/>
              <a:gdLst/>
              <a:ahLst/>
              <a:cxnLst/>
              <a:rect l="l" t="t" r="r" b="b"/>
              <a:pathLst>
                <a:path w="2497" h="2134" extrusionOk="0">
                  <a:moveTo>
                    <a:pt x="1074" y="0"/>
                  </a:moveTo>
                  <a:cubicBezTo>
                    <a:pt x="481" y="0"/>
                    <a:pt x="9" y="472"/>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7" name="Google Shape;2267;p66"/>
            <p:cNvSpPr/>
            <p:nvPr/>
          </p:nvSpPr>
          <p:spPr>
            <a:xfrm>
              <a:off x="435160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8" name="Google Shape;2268;p66"/>
            <p:cNvSpPr/>
            <p:nvPr/>
          </p:nvSpPr>
          <p:spPr>
            <a:xfrm>
              <a:off x="3970950" y="27902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69" name="Google Shape;2269;p66"/>
            <p:cNvSpPr/>
            <p:nvPr/>
          </p:nvSpPr>
          <p:spPr>
            <a:xfrm>
              <a:off x="3970950" y="2866425"/>
              <a:ext cx="62225" cy="53275"/>
            </a:xfrm>
            <a:custGeom>
              <a:avLst/>
              <a:gdLst/>
              <a:ahLst/>
              <a:cxnLst/>
              <a:rect l="l" t="t" r="r" b="b"/>
              <a:pathLst>
                <a:path w="2489" h="2131" extrusionOk="0">
                  <a:moveTo>
                    <a:pt x="1065" y="0"/>
                  </a:moveTo>
                  <a:cubicBezTo>
                    <a:pt x="472" y="0"/>
                    <a:pt x="1" y="472"/>
                    <a:pt x="1" y="1065"/>
                  </a:cubicBezTo>
                  <a:cubicBezTo>
                    <a:pt x="1" y="1707"/>
                    <a:pt x="523" y="2131"/>
                    <a:pt x="1067" y="2131"/>
                  </a:cubicBezTo>
                  <a:cubicBezTo>
                    <a:pt x="1329" y="2131"/>
                    <a:pt x="1597" y="2032"/>
                    <a:pt x="1813" y="1813"/>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0" name="Google Shape;2270;p66"/>
            <p:cNvSpPr/>
            <p:nvPr/>
          </p:nvSpPr>
          <p:spPr>
            <a:xfrm>
              <a:off x="3970950" y="2942425"/>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1" name="Google Shape;2271;p66"/>
            <p:cNvSpPr/>
            <p:nvPr/>
          </p:nvSpPr>
          <p:spPr>
            <a:xfrm>
              <a:off x="3970950" y="301865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2" name="Google Shape;2272;p66"/>
            <p:cNvSpPr/>
            <p:nvPr/>
          </p:nvSpPr>
          <p:spPr>
            <a:xfrm>
              <a:off x="3970950" y="309485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3" name="Google Shape;2273;p66"/>
            <p:cNvSpPr/>
            <p:nvPr/>
          </p:nvSpPr>
          <p:spPr>
            <a:xfrm>
              <a:off x="3970950" y="317107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4" name="Google Shape;2274;p66"/>
            <p:cNvSpPr/>
            <p:nvPr/>
          </p:nvSpPr>
          <p:spPr>
            <a:xfrm>
              <a:off x="3970950" y="3247075"/>
              <a:ext cx="62225" cy="53450"/>
            </a:xfrm>
            <a:custGeom>
              <a:avLst/>
              <a:gdLst/>
              <a:ahLst/>
              <a:cxnLst/>
              <a:rect l="l" t="t" r="r" b="b"/>
              <a:pathLst>
                <a:path w="2489" h="2138" extrusionOk="0">
                  <a:moveTo>
                    <a:pt x="1065" y="1"/>
                  </a:moveTo>
                  <a:cubicBezTo>
                    <a:pt x="472" y="9"/>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5" name="Google Shape;2275;p66"/>
            <p:cNvSpPr/>
            <p:nvPr/>
          </p:nvSpPr>
          <p:spPr>
            <a:xfrm>
              <a:off x="3970950" y="33233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6" name="Google Shape;2276;p66"/>
            <p:cNvSpPr/>
            <p:nvPr/>
          </p:nvSpPr>
          <p:spPr>
            <a:xfrm>
              <a:off x="3970950" y="3399500"/>
              <a:ext cx="62225" cy="53350"/>
            </a:xfrm>
            <a:custGeom>
              <a:avLst/>
              <a:gdLst/>
              <a:ahLst/>
              <a:cxnLst/>
              <a:rect l="l" t="t" r="r" b="b"/>
              <a:pathLst>
                <a:path w="2489" h="2134" extrusionOk="0">
                  <a:moveTo>
                    <a:pt x="1065" y="1"/>
                  </a:moveTo>
                  <a:cubicBezTo>
                    <a:pt x="472" y="1"/>
                    <a:pt x="1" y="480"/>
                    <a:pt x="1" y="1066"/>
                  </a:cubicBezTo>
                  <a:cubicBezTo>
                    <a:pt x="1" y="1709"/>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7" name="Google Shape;2277;p66"/>
            <p:cNvSpPr/>
            <p:nvPr/>
          </p:nvSpPr>
          <p:spPr>
            <a:xfrm>
              <a:off x="3970950" y="3475725"/>
              <a:ext cx="62225" cy="53350"/>
            </a:xfrm>
            <a:custGeom>
              <a:avLst/>
              <a:gdLst/>
              <a:ahLst/>
              <a:cxnLst/>
              <a:rect l="l" t="t" r="r" b="b"/>
              <a:pathLst>
                <a:path w="2489" h="2134" extrusionOk="0">
                  <a:moveTo>
                    <a:pt x="1065" y="0"/>
                  </a:moveTo>
                  <a:cubicBezTo>
                    <a:pt x="472" y="0"/>
                    <a:pt x="1" y="472"/>
                    <a:pt x="1" y="1065"/>
                  </a:cubicBezTo>
                  <a:cubicBezTo>
                    <a:pt x="1" y="1709"/>
                    <a:pt x="526" y="2133"/>
                    <a:pt x="1072" y="2133"/>
                  </a:cubicBezTo>
                  <a:cubicBezTo>
                    <a:pt x="1333" y="2133"/>
                    <a:pt x="1598" y="2037"/>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8" name="Google Shape;2278;p66"/>
            <p:cNvSpPr/>
            <p:nvPr/>
          </p:nvSpPr>
          <p:spPr>
            <a:xfrm>
              <a:off x="3970950" y="355192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79" name="Google Shape;2279;p66"/>
            <p:cNvSpPr/>
            <p:nvPr/>
          </p:nvSpPr>
          <p:spPr>
            <a:xfrm>
              <a:off x="3970950" y="3627950"/>
              <a:ext cx="62225" cy="53425"/>
            </a:xfrm>
            <a:custGeom>
              <a:avLst/>
              <a:gdLst/>
              <a:ahLst/>
              <a:cxnLst/>
              <a:rect l="l" t="t" r="r" b="b"/>
              <a:pathLst>
                <a:path w="2489" h="2137" extrusionOk="0">
                  <a:moveTo>
                    <a:pt x="1065" y="0"/>
                  </a:moveTo>
                  <a:cubicBezTo>
                    <a:pt x="472" y="8"/>
                    <a:pt x="1" y="480"/>
                    <a:pt x="1" y="1073"/>
                  </a:cubicBezTo>
                  <a:cubicBezTo>
                    <a:pt x="1" y="1711"/>
                    <a:pt x="525" y="2137"/>
                    <a:pt x="1071" y="2137"/>
                  </a:cubicBezTo>
                  <a:cubicBezTo>
                    <a:pt x="1332" y="2137"/>
                    <a:pt x="1598" y="2039"/>
                    <a:pt x="1813"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0" name="Google Shape;2280;p66"/>
            <p:cNvSpPr/>
            <p:nvPr/>
          </p:nvSpPr>
          <p:spPr>
            <a:xfrm>
              <a:off x="3970950" y="3704150"/>
              <a:ext cx="62225" cy="53450"/>
            </a:xfrm>
            <a:custGeom>
              <a:avLst/>
              <a:gdLst/>
              <a:ahLst/>
              <a:cxnLst/>
              <a:rect l="l" t="t" r="r" b="b"/>
              <a:pathLst>
                <a:path w="2489" h="2138" extrusionOk="0">
                  <a:moveTo>
                    <a:pt x="1065" y="1"/>
                  </a:moveTo>
                  <a:cubicBezTo>
                    <a:pt x="472" y="1"/>
                    <a:pt x="1" y="480"/>
                    <a:pt x="1" y="1066"/>
                  </a:cubicBezTo>
                  <a:cubicBezTo>
                    <a:pt x="1" y="1709"/>
                    <a:pt x="526" y="2137"/>
                    <a:pt x="1072" y="2137"/>
                  </a:cubicBezTo>
                  <a:cubicBezTo>
                    <a:pt x="1332" y="2137"/>
                    <a:pt x="1598" y="2040"/>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1" name="Google Shape;2281;p66"/>
            <p:cNvSpPr/>
            <p:nvPr/>
          </p:nvSpPr>
          <p:spPr>
            <a:xfrm>
              <a:off x="3970950" y="3780375"/>
              <a:ext cx="62425" cy="53425"/>
            </a:xfrm>
            <a:custGeom>
              <a:avLst/>
              <a:gdLst/>
              <a:ahLst/>
              <a:cxnLst/>
              <a:rect l="l" t="t" r="r" b="b"/>
              <a:pathLst>
                <a:path w="2497" h="2137" extrusionOk="0">
                  <a:moveTo>
                    <a:pt x="1065" y="0"/>
                  </a:moveTo>
                  <a:cubicBezTo>
                    <a:pt x="472" y="0"/>
                    <a:pt x="1" y="480"/>
                    <a:pt x="1" y="1065"/>
                  </a:cubicBezTo>
                  <a:cubicBezTo>
                    <a:pt x="1" y="1709"/>
                    <a:pt x="526" y="2137"/>
                    <a:pt x="1074" y="2137"/>
                  </a:cubicBezTo>
                  <a:cubicBezTo>
                    <a:pt x="1336" y="2137"/>
                    <a:pt x="1603"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2" name="Google Shape;2282;p66"/>
            <p:cNvSpPr/>
            <p:nvPr/>
          </p:nvSpPr>
          <p:spPr>
            <a:xfrm>
              <a:off x="3970950" y="3856775"/>
              <a:ext cx="62225" cy="53250"/>
            </a:xfrm>
            <a:custGeom>
              <a:avLst/>
              <a:gdLst/>
              <a:ahLst/>
              <a:cxnLst/>
              <a:rect l="l" t="t" r="r" b="b"/>
              <a:pathLst>
                <a:path w="2489" h="2130" extrusionOk="0">
                  <a:moveTo>
                    <a:pt x="1065" y="1"/>
                  </a:moveTo>
                  <a:cubicBezTo>
                    <a:pt x="472" y="1"/>
                    <a:pt x="1" y="472"/>
                    <a:pt x="1" y="1066"/>
                  </a:cubicBezTo>
                  <a:cubicBezTo>
                    <a:pt x="1" y="1704"/>
                    <a:pt x="525" y="2129"/>
                    <a:pt x="1071" y="2129"/>
                  </a:cubicBezTo>
                  <a:cubicBezTo>
                    <a:pt x="1332" y="2129"/>
                    <a:pt x="1598" y="2032"/>
                    <a:pt x="1813"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3" name="Google Shape;2283;p66"/>
            <p:cNvSpPr/>
            <p:nvPr/>
          </p:nvSpPr>
          <p:spPr>
            <a:xfrm>
              <a:off x="3970950" y="4009000"/>
              <a:ext cx="62225" cy="53350"/>
            </a:xfrm>
            <a:custGeom>
              <a:avLst/>
              <a:gdLst/>
              <a:ahLst/>
              <a:cxnLst/>
              <a:rect l="l" t="t" r="r" b="b"/>
              <a:pathLst>
                <a:path w="2489" h="2134" extrusionOk="0">
                  <a:moveTo>
                    <a:pt x="1065" y="1"/>
                  </a:moveTo>
                  <a:cubicBezTo>
                    <a:pt x="472" y="1"/>
                    <a:pt x="1" y="480"/>
                    <a:pt x="1" y="1066"/>
                  </a:cubicBezTo>
                  <a:cubicBezTo>
                    <a:pt x="1" y="1710"/>
                    <a:pt x="526" y="2134"/>
                    <a:pt x="1072" y="2134"/>
                  </a:cubicBezTo>
                  <a:cubicBezTo>
                    <a:pt x="1333" y="2134"/>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4" name="Google Shape;2284;p66"/>
            <p:cNvSpPr/>
            <p:nvPr/>
          </p:nvSpPr>
          <p:spPr>
            <a:xfrm>
              <a:off x="404695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5" name="Google Shape;2285;p66"/>
            <p:cNvSpPr/>
            <p:nvPr/>
          </p:nvSpPr>
          <p:spPr>
            <a:xfrm>
              <a:off x="4046950" y="286642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6" name="Google Shape;2286;p66"/>
            <p:cNvSpPr/>
            <p:nvPr/>
          </p:nvSpPr>
          <p:spPr>
            <a:xfrm>
              <a:off x="4046950" y="2942425"/>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7" name="Google Shape;2287;p66"/>
            <p:cNvSpPr/>
            <p:nvPr/>
          </p:nvSpPr>
          <p:spPr>
            <a:xfrm>
              <a:off x="404695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8" name="Google Shape;2288;p66"/>
            <p:cNvSpPr/>
            <p:nvPr/>
          </p:nvSpPr>
          <p:spPr>
            <a:xfrm>
              <a:off x="404695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89" name="Google Shape;2289;p66"/>
            <p:cNvSpPr/>
            <p:nvPr/>
          </p:nvSpPr>
          <p:spPr>
            <a:xfrm>
              <a:off x="4046950"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0" name="Google Shape;2290;p66"/>
            <p:cNvSpPr/>
            <p:nvPr/>
          </p:nvSpPr>
          <p:spPr>
            <a:xfrm>
              <a:off x="4046950" y="32470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1" name="Google Shape;2291;p66"/>
            <p:cNvSpPr/>
            <p:nvPr/>
          </p:nvSpPr>
          <p:spPr>
            <a:xfrm>
              <a:off x="4046950" y="3323300"/>
              <a:ext cx="62425" cy="53425"/>
            </a:xfrm>
            <a:custGeom>
              <a:avLst/>
              <a:gdLst/>
              <a:ahLst/>
              <a:cxnLst/>
              <a:rect l="l" t="t" r="r" b="b"/>
              <a:pathLst>
                <a:path w="2497" h="2137" extrusionOk="0">
                  <a:moveTo>
                    <a:pt x="1074" y="0"/>
                  </a:moveTo>
                  <a:cubicBezTo>
                    <a:pt x="481" y="8"/>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2" name="Google Shape;2292;p66"/>
            <p:cNvSpPr/>
            <p:nvPr/>
          </p:nvSpPr>
          <p:spPr>
            <a:xfrm>
              <a:off x="404695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3" name="Google Shape;2293;p66"/>
            <p:cNvSpPr/>
            <p:nvPr/>
          </p:nvSpPr>
          <p:spPr>
            <a:xfrm>
              <a:off x="4046950" y="34757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4" name="Google Shape;2294;p66"/>
            <p:cNvSpPr/>
            <p:nvPr/>
          </p:nvSpPr>
          <p:spPr>
            <a:xfrm>
              <a:off x="4046950" y="355192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5" name="Google Shape;2295;p66"/>
            <p:cNvSpPr/>
            <p:nvPr/>
          </p:nvSpPr>
          <p:spPr>
            <a:xfrm>
              <a:off x="4046950"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6" name="Google Shape;2296;p66"/>
            <p:cNvSpPr/>
            <p:nvPr/>
          </p:nvSpPr>
          <p:spPr>
            <a:xfrm>
              <a:off x="4046950"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7" name="Google Shape;2297;p66"/>
            <p:cNvSpPr/>
            <p:nvPr/>
          </p:nvSpPr>
          <p:spPr>
            <a:xfrm>
              <a:off x="41231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8" name="Google Shape;2298;p66"/>
            <p:cNvSpPr/>
            <p:nvPr/>
          </p:nvSpPr>
          <p:spPr>
            <a:xfrm>
              <a:off x="4123175" y="2866425"/>
              <a:ext cx="62425" cy="53275"/>
            </a:xfrm>
            <a:custGeom>
              <a:avLst/>
              <a:gdLst/>
              <a:ahLst/>
              <a:cxnLst/>
              <a:rect l="l" t="t" r="r" b="b"/>
              <a:pathLst>
                <a:path w="2497" h="2131" extrusionOk="0">
                  <a:moveTo>
                    <a:pt x="1065" y="0"/>
                  </a:moveTo>
                  <a:cubicBezTo>
                    <a:pt x="480" y="0"/>
                    <a:pt x="0" y="472"/>
                    <a:pt x="0" y="1065"/>
                  </a:cubicBezTo>
                  <a:cubicBezTo>
                    <a:pt x="0" y="1707"/>
                    <a:pt x="523" y="2131"/>
                    <a:pt x="1070" y="2131"/>
                  </a:cubicBezTo>
                  <a:cubicBezTo>
                    <a:pt x="1333" y="2131"/>
                    <a:pt x="1602" y="2032"/>
                    <a:pt x="1821" y="1813"/>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299" name="Google Shape;2299;p66"/>
            <p:cNvSpPr/>
            <p:nvPr/>
          </p:nvSpPr>
          <p:spPr>
            <a:xfrm>
              <a:off x="4123175" y="29424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0" name="Google Shape;2300;p66"/>
            <p:cNvSpPr/>
            <p:nvPr/>
          </p:nvSpPr>
          <p:spPr>
            <a:xfrm>
              <a:off x="4123175" y="301865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1" name="Google Shape;2301;p66"/>
            <p:cNvSpPr/>
            <p:nvPr/>
          </p:nvSpPr>
          <p:spPr>
            <a:xfrm>
              <a:off x="41231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2" name="Google Shape;2302;p66"/>
            <p:cNvSpPr/>
            <p:nvPr/>
          </p:nvSpPr>
          <p:spPr>
            <a:xfrm>
              <a:off x="4123175" y="317107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3" name="Google Shape;2303;p66"/>
            <p:cNvSpPr/>
            <p:nvPr/>
          </p:nvSpPr>
          <p:spPr>
            <a:xfrm>
              <a:off x="41231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4" name="Google Shape;2304;p66"/>
            <p:cNvSpPr/>
            <p:nvPr/>
          </p:nvSpPr>
          <p:spPr>
            <a:xfrm>
              <a:off x="4123175" y="33233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5" name="Google Shape;2305;p66"/>
            <p:cNvSpPr/>
            <p:nvPr/>
          </p:nvSpPr>
          <p:spPr>
            <a:xfrm>
              <a:off x="4123175" y="33995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6" name="Google Shape;2306;p66"/>
            <p:cNvSpPr/>
            <p:nvPr/>
          </p:nvSpPr>
          <p:spPr>
            <a:xfrm>
              <a:off x="4123175" y="3475725"/>
              <a:ext cx="62425" cy="53350"/>
            </a:xfrm>
            <a:custGeom>
              <a:avLst/>
              <a:gdLst/>
              <a:ahLst/>
              <a:cxnLst/>
              <a:rect l="l" t="t" r="r" b="b"/>
              <a:pathLst>
                <a:path w="2497" h="2134" extrusionOk="0">
                  <a:moveTo>
                    <a:pt x="1065" y="0"/>
                  </a:moveTo>
                  <a:cubicBezTo>
                    <a:pt x="480" y="0"/>
                    <a:pt x="0" y="472"/>
                    <a:pt x="0" y="1065"/>
                  </a:cubicBezTo>
                  <a:cubicBezTo>
                    <a:pt x="0" y="1709"/>
                    <a:pt x="526" y="2133"/>
                    <a:pt x="1074" y="2133"/>
                  </a:cubicBezTo>
                  <a:cubicBezTo>
                    <a:pt x="1336" y="2133"/>
                    <a:pt x="1604" y="2037"/>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7" name="Google Shape;2307;p66"/>
            <p:cNvSpPr/>
            <p:nvPr/>
          </p:nvSpPr>
          <p:spPr>
            <a:xfrm>
              <a:off x="4123175" y="355192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8" name="Google Shape;2308;p66"/>
            <p:cNvSpPr/>
            <p:nvPr/>
          </p:nvSpPr>
          <p:spPr>
            <a:xfrm>
              <a:off x="4123175" y="3627950"/>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09" name="Google Shape;2309;p66"/>
            <p:cNvSpPr/>
            <p:nvPr/>
          </p:nvSpPr>
          <p:spPr>
            <a:xfrm>
              <a:off x="4199400"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0" name="Google Shape;2310;p66"/>
            <p:cNvSpPr/>
            <p:nvPr/>
          </p:nvSpPr>
          <p:spPr>
            <a:xfrm>
              <a:off x="419940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1" name="Google Shape;2311;p66"/>
            <p:cNvSpPr/>
            <p:nvPr/>
          </p:nvSpPr>
          <p:spPr>
            <a:xfrm>
              <a:off x="4199400" y="317107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2" name="Google Shape;2312;p66"/>
            <p:cNvSpPr/>
            <p:nvPr/>
          </p:nvSpPr>
          <p:spPr>
            <a:xfrm>
              <a:off x="4199400" y="3247075"/>
              <a:ext cx="62200" cy="53450"/>
            </a:xfrm>
            <a:custGeom>
              <a:avLst/>
              <a:gdLst/>
              <a:ahLst/>
              <a:cxnLst/>
              <a:rect l="l" t="t" r="r" b="b"/>
              <a:pathLst>
                <a:path w="2488" h="2138" extrusionOk="0">
                  <a:moveTo>
                    <a:pt x="1065" y="1"/>
                  </a:moveTo>
                  <a:cubicBezTo>
                    <a:pt x="480" y="9"/>
                    <a:pt x="0" y="480"/>
                    <a:pt x="0" y="1074"/>
                  </a:cubicBezTo>
                  <a:cubicBezTo>
                    <a:pt x="0" y="1712"/>
                    <a:pt x="524"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3" name="Google Shape;2313;p66"/>
            <p:cNvSpPr/>
            <p:nvPr/>
          </p:nvSpPr>
          <p:spPr>
            <a:xfrm>
              <a:off x="4275600" y="3018650"/>
              <a:ext cx="62225" cy="53425"/>
            </a:xfrm>
            <a:custGeom>
              <a:avLst/>
              <a:gdLst/>
              <a:ahLst/>
              <a:cxnLst/>
              <a:rect l="l" t="t" r="r" b="b"/>
              <a:pathLst>
                <a:path w="2489" h="2137" extrusionOk="0">
                  <a:moveTo>
                    <a:pt x="1066" y="0"/>
                  </a:moveTo>
                  <a:cubicBezTo>
                    <a:pt x="472"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4" name="Google Shape;2314;p66"/>
            <p:cNvSpPr/>
            <p:nvPr/>
          </p:nvSpPr>
          <p:spPr>
            <a:xfrm>
              <a:off x="4275600"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5" name="Google Shape;2315;p66"/>
            <p:cNvSpPr/>
            <p:nvPr/>
          </p:nvSpPr>
          <p:spPr>
            <a:xfrm>
              <a:off x="4275600" y="317107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29" y="2131"/>
                    <a:pt x="1597" y="2032"/>
                    <a:pt x="1813"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6" name="Google Shape;2316;p66"/>
            <p:cNvSpPr/>
            <p:nvPr/>
          </p:nvSpPr>
          <p:spPr>
            <a:xfrm>
              <a:off x="4275600" y="32470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7" name="Google Shape;2317;p66"/>
            <p:cNvSpPr/>
            <p:nvPr/>
          </p:nvSpPr>
          <p:spPr>
            <a:xfrm>
              <a:off x="4275475" y="3323300"/>
              <a:ext cx="62350" cy="53425"/>
            </a:xfrm>
            <a:custGeom>
              <a:avLst/>
              <a:gdLst/>
              <a:ahLst/>
              <a:cxnLst/>
              <a:rect l="l" t="t" r="r" b="b"/>
              <a:pathLst>
                <a:path w="2494" h="2137" extrusionOk="0">
                  <a:moveTo>
                    <a:pt x="1071" y="0"/>
                  </a:moveTo>
                  <a:cubicBezTo>
                    <a:pt x="485" y="8"/>
                    <a:pt x="6" y="480"/>
                    <a:pt x="6" y="1065"/>
                  </a:cubicBezTo>
                  <a:cubicBezTo>
                    <a:pt x="0" y="1709"/>
                    <a:pt x="527" y="2137"/>
                    <a:pt x="1075" y="2137"/>
                  </a:cubicBezTo>
                  <a:cubicBezTo>
                    <a:pt x="1337" y="2137"/>
                    <a:pt x="1603" y="2039"/>
                    <a:pt x="1818" y="1821"/>
                  </a:cubicBezTo>
                  <a:cubicBezTo>
                    <a:pt x="2493"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8" name="Google Shape;2318;p66"/>
            <p:cNvSpPr/>
            <p:nvPr/>
          </p:nvSpPr>
          <p:spPr>
            <a:xfrm>
              <a:off x="4199400" y="332330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19" name="Google Shape;2319;p66"/>
            <p:cNvSpPr/>
            <p:nvPr/>
          </p:nvSpPr>
          <p:spPr>
            <a:xfrm>
              <a:off x="4199400" y="33995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0" name="Google Shape;2320;p66"/>
            <p:cNvSpPr/>
            <p:nvPr/>
          </p:nvSpPr>
          <p:spPr>
            <a:xfrm>
              <a:off x="4199400" y="3475725"/>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1" name="Google Shape;2321;p66"/>
            <p:cNvSpPr/>
            <p:nvPr/>
          </p:nvSpPr>
          <p:spPr>
            <a:xfrm>
              <a:off x="4199400" y="355192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2" name="Google Shape;2322;p66"/>
            <p:cNvSpPr/>
            <p:nvPr/>
          </p:nvSpPr>
          <p:spPr>
            <a:xfrm>
              <a:off x="4199400" y="3627950"/>
              <a:ext cx="62200" cy="53425"/>
            </a:xfrm>
            <a:custGeom>
              <a:avLst/>
              <a:gdLst/>
              <a:ahLst/>
              <a:cxnLst/>
              <a:rect l="l" t="t" r="r" b="b"/>
              <a:pathLst>
                <a:path w="2488" h="2137" extrusionOk="0">
                  <a:moveTo>
                    <a:pt x="1065" y="0"/>
                  </a:moveTo>
                  <a:cubicBezTo>
                    <a:pt x="480" y="8"/>
                    <a:pt x="0" y="480"/>
                    <a:pt x="0" y="1073"/>
                  </a:cubicBezTo>
                  <a:cubicBezTo>
                    <a:pt x="0" y="1711"/>
                    <a:pt x="524"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3" name="Google Shape;2323;p66"/>
            <p:cNvSpPr/>
            <p:nvPr/>
          </p:nvSpPr>
          <p:spPr>
            <a:xfrm>
              <a:off x="4199400"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4" name="Google Shape;2324;p66"/>
            <p:cNvSpPr/>
            <p:nvPr/>
          </p:nvSpPr>
          <p:spPr>
            <a:xfrm>
              <a:off x="4123175" y="3704150"/>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5" name="Google Shape;2325;p66"/>
            <p:cNvSpPr/>
            <p:nvPr/>
          </p:nvSpPr>
          <p:spPr>
            <a:xfrm>
              <a:off x="412317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6" name="Google Shape;2326;p66"/>
            <p:cNvSpPr/>
            <p:nvPr/>
          </p:nvSpPr>
          <p:spPr>
            <a:xfrm>
              <a:off x="4046950" y="3780375"/>
              <a:ext cx="62425" cy="53425"/>
            </a:xfrm>
            <a:custGeom>
              <a:avLst/>
              <a:gdLst/>
              <a:ahLst/>
              <a:cxnLst/>
              <a:rect l="l" t="t" r="r" b="b"/>
              <a:pathLst>
                <a:path w="2497" h="2137" extrusionOk="0">
                  <a:moveTo>
                    <a:pt x="1074" y="0"/>
                  </a:moveTo>
                  <a:cubicBezTo>
                    <a:pt x="481" y="0"/>
                    <a:pt x="9" y="480"/>
                    <a:pt x="1" y="1065"/>
                  </a:cubicBezTo>
                  <a:cubicBezTo>
                    <a:pt x="1" y="1709"/>
                    <a:pt x="530" y="2137"/>
                    <a:pt x="1081" y="2137"/>
                  </a:cubicBezTo>
                  <a:cubicBezTo>
                    <a:pt x="1344" y="2137"/>
                    <a:pt x="1612" y="2039"/>
                    <a:pt x="1830" y="1821"/>
                  </a:cubicBezTo>
                  <a:cubicBezTo>
                    <a:pt x="2497"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7" name="Google Shape;2327;p66"/>
            <p:cNvSpPr/>
            <p:nvPr/>
          </p:nvSpPr>
          <p:spPr>
            <a:xfrm>
              <a:off x="4046950" y="3856775"/>
              <a:ext cx="62425" cy="53250"/>
            </a:xfrm>
            <a:custGeom>
              <a:avLst/>
              <a:gdLst/>
              <a:ahLst/>
              <a:cxnLst/>
              <a:rect l="l" t="t" r="r" b="b"/>
              <a:pathLst>
                <a:path w="2497" h="2130" extrusionOk="0">
                  <a:moveTo>
                    <a:pt x="1074" y="1"/>
                  </a:moveTo>
                  <a:cubicBezTo>
                    <a:pt x="481" y="1"/>
                    <a:pt x="9" y="472"/>
                    <a:pt x="1" y="1066"/>
                  </a:cubicBezTo>
                  <a:cubicBezTo>
                    <a:pt x="1" y="1704"/>
                    <a:pt x="529" y="2129"/>
                    <a:pt x="1077" y="2129"/>
                  </a:cubicBezTo>
                  <a:cubicBezTo>
                    <a:pt x="1339" y="2129"/>
                    <a:pt x="1606" y="2032"/>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8" name="Google Shape;2328;p66"/>
            <p:cNvSpPr/>
            <p:nvPr/>
          </p:nvSpPr>
          <p:spPr>
            <a:xfrm>
              <a:off x="4046950"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29" name="Google Shape;2329;p66"/>
            <p:cNvSpPr/>
            <p:nvPr/>
          </p:nvSpPr>
          <p:spPr>
            <a:xfrm>
              <a:off x="4046950" y="3932800"/>
              <a:ext cx="62425" cy="53425"/>
            </a:xfrm>
            <a:custGeom>
              <a:avLst/>
              <a:gdLst/>
              <a:ahLst/>
              <a:cxnLst/>
              <a:rect l="l" t="t" r="r" b="b"/>
              <a:pathLst>
                <a:path w="2497" h="2137" extrusionOk="0">
                  <a:moveTo>
                    <a:pt x="1074" y="0"/>
                  </a:moveTo>
                  <a:cubicBezTo>
                    <a:pt x="481" y="8"/>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0" name="Google Shape;2330;p66"/>
            <p:cNvSpPr/>
            <p:nvPr/>
          </p:nvSpPr>
          <p:spPr>
            <a:xfrm>
              <a:off x="3970950" y="3932800"/>
              <a:ext cx="62225" cy="53425"/>
            </a:xfrm>
            <a:custGeom>
              <a:avLst/>
              <a:gdLst/>
              <a:ahLst/>
              <a:cxnLst/>
              <a:rect l="l" t="t" r="r" b="b"/>
              <a:pathLst>
                <a:path w="2489" h="2137" extrusionOk="0">
                  <a:moveTo>
                    <a:pt x="1065" y="0"/>
                  </a:moveTo>
                  <a:cubicBezTo>
                    <a:pt x="472" y="0"/>
                    <a:pt x="1" y="480"/>
                    <a:pt x="1" y="1065"/>
                  </a:cubicBezTo>
                  <a:cubicBezTo>
                    <a:pt x="1" y="1709"/>
                    <a:pt x="526" y="2137"/>
                    <a:pt x="1072" y="2137"/>
                  </a:cubicBezTo>
                  <a:cubicBezTo>
                    <a:pt x="1332" y="2137"/>
                    <a:pt x="1598" y="2039"/>
                    <a:pt x="1813" y="1821"/>
                  </a:cubicBezTo>
                  <a:cubicBezTo>
                    <a:pt x="2488" y="1155"/>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1" name="Google Shape;2331;p66"/>
            <p:cNvSpPr/>
            <p:nvPr/>
          </p:nvSpPr>
          <p:spPr>
            <a:xfrm>
              <a:off x="35898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2" name="Google Shape;2332;p66"/>
            <p:cNvSpPr/>
            <p:nvPr/>
          </p:nvSpPr>
          <p:spPr>
            <a:xfrm>
              <a:off x="35898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3" name="Google Shape;2333;p66"/>
            <p:cNvSpPr/>
            <p:nvPr/>
          </p:nvSpPr>
          <p:spPr>
            <a:xfrm>
              <a:off x="358987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4" name="Google Shape;2334;p66"/>
            <p:cNvSpPr/>
            <p:nvPr/>
          </p:nvSpPr>
          <p:spPr>
            <a:xfrm>
              <a:off x="358987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5" name="Google Shape;2335;p66"/>
            <p:cNvSpPr/>
            <p:nvPr/>
          </p:nvSpPr>
          <p:spPr>
            <a:xfrm>
              <a:off x="358987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6" name="Google Shape;2336;p66"/>
            <p:cNvSpPr/>
            <p:nvPr/>
          </p:nvSpPr>
          <p:spPr>
            <a:xfrm>
              <a:off x="358987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7" y="2137"/>
                    <a:pt x="1604" y="2039"/>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7" name="Google Shape;2337;p66"/>
            <p:cNvSpPr/>
            <p:nvPr/>
          </p:nvSpPr>
          <p:spPr>
            <a:xfrm>
              <a:off x="358987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8" name="Google Shape;2338;p66"/>
            <p:cNvSpPr/>
            <p:nvPr/>
          </p:nvSpPr>
          <p:spPr>
            <a:xfrm>
              <a:off x="3285225"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39" name="Google Shape;2339;p66"/>
            <p:cNvSpPr/>
            <p:nvPr/>
          </p:nvSpPr>
          <p:spPr>
            <a:xfrm>
              <a:off x="3285225" y="2942425"/>
              <a:ext cx="62225" cy="53450"/>
            </a:xfrm>
            <a:custGeom>
              <a:avLst/>
              <a:gdLst/>
              <a:ahLst/>
              <a:cxnLst/>
              <a:rect l="l" t="t" r="r" b="b"/>
              <a:pathLst>
                <a:path w="2489" h="2138" extrusionOk="0">
                  <a:moveTo>
                    <a:pt x="1066" y="1"/>
                  </a:moveTo>
                  <a:cubicBezTo>
                    <a:pt x="480" y="9"/>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0" name="Google Shape;2340;p66"/>
            <p:cNvSpPr/>
            <p:nvPr/>
          </p:nvSpPr>
          <p:spPr>
            <a:xfrm>
              <a:off x="3285225" y="3018650"/>
              <a:ext cx="62225" cy="53425"/>
            </a:xfrm>
            <a:custGeom>
              <a:avLst/>
              <a:gdLst/>
              <a:ahLst/>
              <a:cxnLst/>
              <a:rect l="l" t="t" r="r" b="b"/>
              <a:pathLst>
                <a:path w="2489" h="2137" extrusionOk="0">
                  <a:moveTo>
                    <a:pt x="1066" y="0"/>
                  </a:moveTo>
                  <a:cubicBezTo>
                    <a:pt x="480" y="0"/>
                    <a:pt x="1" y="480"/>
                    <a:pt x="1" y="1065"/>
                  </a:cubicBezTo>
                  <a:cubicBezTo>
                    <a:pt x="1" y="1709"/>
                    <a:pt x="526" y="2137"/>
                    <a:pt x="1075"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1" name="Google Shape;2341;p66"/>
            <p:cNvSpPr/>
            <p:nvPr/>
          </p:nvSpPr>
          <p:spPr>
            <a:xfrm>
              <a:off x="3361450" y="279020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2" name="Google Shape;2342;p66"/>
            <p:cNvSpPr/>
            <p:nvPr/>
          </p:nvSpPr>
          <p:spPr>
            <a:xfrm>
              <a:off x="3361450" y="2866425"/>
              <a:ext cx="62200" cy="53275"/>
            </a:xfrm>
            <a:custGeom>
              <a:avLst/>
              <a:gdLst/>
              <a:ahLst/>
              <a:cxnLst/>
              <a:rect l="l" t="t" r="r" b="b"/>
              <a:pathLst>
                <a:path w="2488" h="2131" extrusionOk="0">
                  <a:moveTo>
                    <a:pt x="1065" y="0"/>
                  </a:moveTo>
                  <a:cubicBezTo>
                    <a:pt x="472"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3" name="Google Shape;2343;p66"/>
            <p:cNvSpPr/>
            <p:nvPr/>
          </p:nvSpPr>
          <p:spPr>
            <a:xfrm>
              <a:off x="3361450" y="2942425"/>
              <a:ext cx="62200" cy="53450"/>
            </a:xfrm>
            <a:custGeom>
              <a:avLst/>
              <a:gdLst/>
              <a:ahLst/>
              <a:cxnLst/>
              <a:rect l="l" t="t" r="r" b="b"/>
              <a:pathLst>
                <a:path w="2488" h="2138" extrusionOk="0">
                  <a:moveTo>
                    <a:pt x="1065" y="1"/>
                  </a:moveTo>
                  <a:cubicBezTo>
                    <a:pt x="472" y="9"/>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4" name="Google Shape;2344;p66"/>
            <p:cNvSpPr/>
            <p:nvPr/>
          </p:nvSpPr>
          <p:spPr>
            <a:xfrm>
              <a:off x="3361450" y="3018650"/>
              <a:ext cx="62200" cy="53425"/>
            </a:xfrm>
            <a:custGeom>
              <a:avLst/>
              <a:gdLst/>
              <a:ahLst/>
              <a:cxnLst/>
              <a:rect l="l" t="t" r="r" b="b"/>
              <a:pathLst>
                <a:path w="2488" h="2137" extrusionOk="0">
                  <a:moveTo>
                    <a:pt x="1065" y="0"/>
                  </a:moveTo>
                  <a:cubicBezTo>
                    <a:pt x="472"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5" name="Google Shape;2345;p66"/>
            <p:cNvSpPr/>
            <p:nvPr/>
          </p:nvSpPr>
          <p:spPr>
            <a:xfrm>
              <a:off x="3361450" y="3094850"/>
              <a:ext cx="62200" cy="53350"/>
            </a:xfrm>
            <a:custGeom>
              <a:avLst/>
              <a:gdLst/>
              <a:ahLst/>
              <a:cxnLst/>
              <a:rect l="l" t="t" r="r" b="b"/>
              <a:pathLst>
                <a:path w="2488" h="2134" extrusionOk="0">
                  <a:moveTo>
                    <a:pt x="1065" y="1"/>
                  </a:moveTo>
                  <a:cubicBezTo>
                    <a:pt x="472" y="1"/>
                    <a:pt x="0" y="480"/>
                    <a:pt x="0" y="1066"/>
                  </a:cubicBezTo>
                  <a:cubicBezTo>
                    <a:pt x="0" y="1709"/>
                    <a:pt x="526"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6" name="Google Shape;2346;p66"/>
            <p:cNvSpPr/>
            <p:nvPr/>
          </p:nvSpPr>
          <p:spPr>
            <a:xfrm>
              <a:off x="3437450"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7" name="Google Shape;2347;p66"/>
            <p:cNvSpPr/>
            <p:nvPr/>
          </p:nvSpPr>
          <p:spPr>
            <a:xfrm>
              <a:off x="3437450"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8" name="Google Shape;2348;p66"/>
            <p:cNvSpPr/>
            <p:nvPr/>
          </p:nvSpPr>
          <p:spPr>
            <a:xfrm>
              <a:off x="3437450" y="279020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49" name="Google Shape;2349;p66"/>
            <p:cNvSpPr/>
            <p:nvPr/>
          </p:nvSpPr>
          <p:spPr>
            <a:xfrm>
              <a:off x="3437450" y="286642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0" name="Google Shape;2350;p66"/>
            <p:cNvSpPr/>
            <p:nvPr/>
          </p:nvSpPr>
          <p:spPr>
            <a:xfrm>
              <a:off x="3437450" y="2942425"/>
              <a:ext cx="62425" cy="53450"/>
            </a:xfrm>
            <a:custGeom>
              <a:avLst/>
              <a:gdLst/>
              <a:ahLst/>
              <a:cxnLst/>
              <a:rect l="l" t="t" r="r" b="b"/>
              <a:pathLst>
                <a:path w="2497" h="2138" extrusionOk="0">
                  <a:moveTo>
                    <a:pt x="1074" y="1"/>
                  </a:moveTo>
                  <a:cubicBezTo>
                    <a:pt x="480" y="9"/>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1" name="Google Shape;2351;p66"/>
            <p:cNvSpPr/>
            <p:nvPr/>
          </p:nvSpPr>
          <p:spPr>
            <a:xfrm>
              <a:off x="3437450" y="3018650"/>
              <a:ext cx="62425" cy="53425"/>
            </a:xfrm>
            <a:custGeom>
              <a:avLst/>
              <a:gdLst/>
              <a:ahLst/>
              <a:cxnLst/>
              <a:rect l="l" t="t" r="r" b="b"/>
              <a:pathLst>
                <a:path w="2497" h="2137" extrusionOk="0">
                  <a:moveTo>
                    <a:pt x="1074" y="0"/>
                  </a:moveTo>
                  <a:cubicBezTo>
                    <a:pt x="480" y="0"/>
                    <a:pt x="9" y="480"/>
                    <a:pt x="1" y="1065"/>
                  </a:cubicBezTo>
                  <a:cubicBezTo>
                    <a:pt x="1" y="1709"/>
                    <a:pt x="530" y="2137"/>
                    <a:pt x="1078" y="2137"/>
                  </a:cubicBezTo>
                  <a:cubicBezTo>
                    <a:pt x="1340" y="2137"/>
                    <a:pt x="1606" y="2039"/>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2" name="Google Shape;2352;p66"/>
            <p:cNvSpPr/>
            <p:nvPr/>
          </p:nvSpPr>
          <p:spPr>
            <a:xfrm>
              <a:off x="3437450" y="3094850"/>
              <a:ext cx="62425" cy="53350"/>
            </a:xfrm>
            <a:custGeom>
              <a:avLst/>
              <a:gdLst/>
              <a:ahLst/>
              <a:cxnLst/>
              <a:rect l="l" t="t" r="r" b="b"/>
              <a:pathLst>
                <a:path w="2497" h="2134" extrusionOk="0">
                  <a:moveTo>
                    <a:pt x="1074" y="1"/>
                  </a:moveTo>
                  <a:cubicBezTo>
                    <a:pt x="480" y="1"/>
                    <a:pt x="9" y="480"/>
                    <a:pt x="1" y="1066"/>
                  </a:cubicBezTo>
                  <a:cubicBezTo>
                    <a:pt x="1" y="1709"/>
                    <a:pt x="530" y="2134"/>
                    <a:pt x="1078" y="2134"/>
                  </a:cubicBezTo>
                  <a:cubicBezTo>
                    <a:pt x="1340" y="2134"/>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3" name="Google Shape;2353;p66"/>
            <p:cNvSpPr/>
            <p:nvPr/>
          </p:nvSpPr>
          <p:spPr>
            <a:xfrm>
              <a:off x="3513675" y="26377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4" name="Google Shape;2354;p66"/>
            <p:cNvSpPr/>
            <p:nvPr/>
          </p:nvSpPr>
          <p:spPr>
            <a:xfrm>
              <a:off x="35136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5" name="Google Shape;2355;p66"/>
            <p:cNvSpPr/>
            <p:nvPr/>
          </p:nvSpPr>
          <p:spPr>
            <a:xfrm>
              <a:off x="3513675"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6" name="Google Shape;2356;p66"/>
            <p:cNvSpPr/>
            <p:nvPr/>
          </p:nvSpPr>
          <p:spPr>
            <a:xfrm>
              <a:off x="3513675" y="286642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7" name="Google Shape;2357;p66"/>
            <p:cNvSpPr/>
            <p:nvPr/>
          </p:nvSpPr>
          <p:spPr>
            <a:xfrm>
              <a:off x="3513675" y="2942425"/>
              <a:ext cx="62425" cy="53450"/>
            </a:xfrm>
            <a:custGeom>
              <a:avLst/>
              <a:gdLst/>
              <a:ahLst/>
              <a:cxnLst/>
              <a:rect l="l" t="t" r="r" b="b"/>
              <a:pathLst>
                <a:path w="2497" h="2138" extrusionOk="0">
                  <a:moveTo>
                    <a:pt x="1065" y="1"/>
                  </a:moveTo>
                  <a:cubicBezTo>
                    <a:pt x="480" y="9"/>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8" name="Google Shape;2358;p66"/>
            <p:cNvSpPr/>
            <p:nvPr/>
          </p:nvSpPr>
          <p:spPr>
            <a:xfrm>
              <a:off x="3513675" y="3018650"/>
              <a:ext cx="62425" cy="53425"/>
            </a:xfrm>
            <a:custGeom>
              <a:avLst/>
              <a:gdLst/>
              <a:ahLst/>
              <a:cxnLst/>
              <a:rect l="l" t="t" r="r" b="b"/>
              <a:pathLst>
                <a:path w="2497" h="2137" extrusionOk="0">
                  <a:moveTo>
                    <a:pt x="1065" y="0"/>
                  </a:moveTo>
                  <a:cubicBezTo>
                    <a:pt x="480" y="0"/>
                    <a:pt x="0" y="480"/>
                    <a:pt x="0" y="1065"/>
                  </a:cubicBezTo>
                  <a:cubicBezTo>
                    <a:pt x="0" y="1709"/>
                    <a:pt x="525"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59" name="Google Shape;2359;p66"/>
            <p:cNvSpPr/>
            <p:nvPr/>
          </p:nvSpPr>
          <p:spPr>
            <a:xfrm>
              <a:off x="3513675" y="309485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0" name="Google Shape;2360;p66"/>
            <p:cNvSpPr/>
            <p:nvPr/>
          </p:nvSpPr>
          <p:spPr>
            <a:xfrm>
              <a:off x="3513675" y="3171075"/>
              <a:ext cx="62425" cy="53275"/>
            </a:xfrm>
            <a:custGeom>
              <a:avLst/>
              <a:gdLst/>
              <a:ahLst/>
              <a:cxnLst/>
              <a:rect l="l" t="t" r="r" b="b"/>
              <a:pathLst>
                <a:path w="2497" h="2131" extrusionOk="0">
                  <a:moveTo>
                    <a:pt x="1065" y="0"/>
                  </a:moveTo>
                  <a:cubicBezTo>
                    <a:pt x="480" y="0"/>
                    <a:pt x="0" y="472"/>
                    <a:pt x="0" y="1065"/>
                  </a:cubicBezTo>
                  <a:cubicBezTo>
                    <a:pt x="0" y="1707"/>
                    <a:pt x="522" y="2131"/>
                    <a:pt x="1069" y="2131"/>
                  </a:cubicBezTo>
                  <a:cubicBezTo>
                    <a:pt x="1333" y="2131"/>
                    <a:pt x="1602" y="2032"/>
                    <a:pt x="1821" y="1813"/>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1" name="Google Shape;2361;p66"/>
            <p:cNvSpPr/>
            <p:nvPr/>
          </p:nvSpPr>
          <p:spPr>
            <a:xfrm>
              <a:off x="358987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2" name="Google Shape;2362;p66"/>
            <p:cNvSpPr/>
            <p:nvPr/>
          </p:nvSpPr>
          <p:spPr>
            <a:xfrm>
              <a:off x="3666100"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3" name="Google Shape;2363;p66"/>
            <p:cNvSpPr/>
            <p:nvPr/>
          </p:nvSpPr>
          <p:spPr>
            <a:xfrm>
              <a:off x="3666100" y="271400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4" name="Google Shape;2364;p66"/>
            <p:cNvSpPr/>
            <p:nvPr/>
          </p:nvSpPr>
          <p:spPr>
            <a:xfrm>
              <a:off x="3666100"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5" name="Google Shape;2365;p66"/>
            <p:cNvSpPr/>
            <p:nvPr/>
          </p:nvSpPr>
          <p:spPr>
            <a:xfrm>
              <a:off x="366610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6" name="Google Shape;2366;p66"/>
            <p:cNvSpPr/>
            <p:nvPr/>
          </p:nvSpPr>
          <p:spPr>
            <a:xfrm>
              <a:off x="3666100" y="3018650"/>
              <a:ext cx="62200" cy="53425"/>
            </a:xfrm>
            <a:custGeom>
              <a:avLst/>
              <a:gdLst/>
              <a:ahLst/>
              <a:cxnLst/>
              <a:rect l="l" t="t" r="r" b="b"/>
              <a:pathLst>
                <a:path w="2488"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7" name="Google Shape;2367;p66"/>
            <p:cNvSpPr/>
            <p:nvPr/>
          </p:nvSpPr>
          <p:spPr>
            <a:xfrm>
              <a:off x="3666100"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8" name="Google Shape;2368;p66"/>
            <p:cNvSpPr/>
            <p:nvPr/>
          </p:nvSpPr>
          <p:spPr>
            <a:xfrm>
              <a:off x="3666100" y="317107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69" name="Google Shape;2369;p66"/>
            <p:cNvSpPr/>
            <p:nvPr/>
          </p:nvSpPr>
          <p:spPr>
            <a:xfrm>
              <a:off x="3742300" y="2637775"/>
              <a:ext cx="62225" cy="53450"/>
            </a:xfrm>
            <a:custGeom>
              <a:avLst/>
              <a:gdLst/>
              <a:ahLst/>
              <a:cxnLst/>
              <a:rect l="l" t="t" r="r" b="b"/>
              <a:pathLst>
                <a:path w="2489" h="2138" extrusionOk="0">
                  <a:moveTo>
                    <a:pt x="1066" y="1"/>
                  </a:moveTo>
                  <a:cubicBezTo>
                    <a:pt x="481" y="1"/>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0" name="Google Shape;2370;p66"/>
            <p:cNvSpPr/>
            <p:nvPr/>
          </p:nvSpPr>
          <p:spPr>
            <a:xfrm>
              <a:off x="3742300" y="271400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1" name="Google Shape;2371;p66"/>
            <p:cNvSpPr/>
            <p:nvPr/>
          </p:nvSpPr>
          <p:spPr>
            <a:xfrm>
              <a:off x="3742300" y="2790200"/>
              <a:ext cx="62225" cy="53350"/>
            </a:xfrm>
            <a:custGeom>
              <a:avLst/>
              <a:gdLst/>
              <a:ahLst/>
              <a:cxnLst/>
              <a:rect l="l" t="t" r="r" b="b"/>
              <a:pathLst>
                <a:path w="2489" h="2134" extrusionOk="0">
                  <a:moveTo>
                    <a:pt x="1066" y="1"/>
                  </a:moveTo>
                  <a:cubicBezTo>
                    <a:pt x="481" y="1"/>
                    <a:pt x="1" y="472"/>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2" name="Google Shape;2372;p66"/>
            <p:cNvSpPr/>
            <p:nvPr/>
          </p:nvSpPr>
          <p:spPr>
            <a:xfrm>
              <a:off x="3742300" y="2942425"/>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3" name="Google Shape;2373;p66"/>
            <p:cNvSpPr/>
            <p:nvPr/>
          </p:nvSpPr>
          <p:spPr>
            <a:xfrm>
              <a:off x="3742300" y="3018650"/>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6"/>
                    <a:pt x="1814" y="1821"/>
                  </a:cubicBezTo>
                  <a:cubicBezTo>
                    <a:pt x="2489"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4" name="Google Shape;2374;p66"/>
            <p:cNvSpPr/>
            <p:nvPr/>
          </p:nvSpPr>
          <p:spPr>
            <a:xfrm>
              <a:off x="3742300" y="309485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5" name="Google Shape;2375;p66"/>
            <p:cNvSpPr/>
            <p:nvPr/>
          </p:nvSpPr>
          <p:spPr>
            <a:xfrm>
              <a:off x="3742300" y="3171075"/>
              <a:ext cx="62225" cy="53300"/>
            </a:xfrm>
            <a:custGeom>
              <a:avLst/>
              <a:gdLst/>
              <a:ahLst/>
              <a:cxnLst/>
              <a:rect l="l" t="t" r="r" b="b"/>
              <a:pathLst>
                <a:path w="2489" h="2132" extrusionOk="0">
                  <a:moveTo>
                    <a:pt x="1066" y="0"/>
                  </a:moveTo>
                  <a:cubicBezTo>
                    <a:pt x="481" y="0"/>
                    <a:pt x="1" y="472"/>
                    <a:pt x="1" y="1065"/>
                  </a:cubicBezTo>
                  <a:cubicBezTo>
                    <a:pt x="1" y="1705"/>
                    <a:pt x="528" y="2131"/>
                    <a:pt x="1076" y="2131"/>
                  </a:cubicBezTo>
                  <a:cubicBezTo>
                    <a:pt x="1335" y="2131"/>
                    <a:pt x="1599"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6" name="Google Shape;2376;p66"/>
            <p:cNvSpPr/>
            <p:nvPr/>
          </p:nvSpPr>
          <p:spPr>
            <a:xfrm>
              <a:off x="3742300" y="3247075"/>
              <a:ext cx="62225" cy="53450"/>
            </a:xfrm>
            <a:custGeom>
              <a:avLst/>
              <a:gdLst/>
              <a:ahLst/>
              <a:cxnLst/>
              <a:rect l="l" t="t" r="r" b="b"/>
              <a:pathLst>
                <a:path w="2489" h="2138" extrusionOk="0">
                  <a:moveTo>
                    <a:pt x="1066" y="1"/>
                  </a:moveTo>
                  <a:cubicBezTo>
                    <a:pt x="481" y="9"/>
                    <a:pt x="1" y="480"/>
                    <a:pt x="1" y="1074"/>
                  </a:cubicBezTo>
                  <a:cubicBezTo>
                    <a:pt x="1" y="1712"/>
                    <a:pt x="525" y="2137"/>
                    <a:pt x="1071" y="2137"/>
                  </a:cubicBezTo>
                  <a:cubicBezTo>
                    <a:pt x="1332" y="2137"/>
                    <a:pt x="1598" y="2040"/>
                    <a:pt x="1814" y="1822"/>
                  </a:cubicBezTo>
                  <a:cubicBezTo>
                    <a:pt x="2489"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7" name="Google Shape;2377;p66"/>
            <p:cNvSpPr/>
            <p:nvPr/>
          </p:nvSpPr>
          <p:spPr>
            <a:xfrm>
              <a:off x="381852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8" name="Google Shape;2378;p66"/>
            <p:cNvSpPr/>
            <p:nvPr/>
          </p:nvSpPr>
          <p:spPr>
            <a:xfrm>
              <a:off x="3818525" y="27902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79" name="Google Shape;2379;p66"/>
            <p:cNvSpPr/>
            <p:nvPr/>
          </p:nvSpPr>
          <p:spPr>
            <a:xfrm>
              <a:off x="3818525" y="29424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0" name="Google Shape;2380;p66"/>
            <p:cNvSpPr/>
            <p:nvPr/>
          </p:nvSpPr>
          <p:spPr>
            <a:xfrm>
              <a:off x="3818525" y="301865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1" name="Google Shape;2381;p66"/>
            <p:cNvSpPr/>
            <p:nvPr/>
          </p:nvSpPr>
          <p:spPr>
            <a:xfrm>
              <a:off x="3818525" y="309485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2" name="Google Shape;2382;p66"/>
            <p:cNvSpPr/>
            <p:nvPr/>
          </p:nvSpPr>
          <p:spPr>
            <a:xfrm>
              <a:off x="3818525"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3" name="Google Shape;2383;p66"/>
            <p:cNvSpPr/>
            <p:nvPr/>
          </p:nvSpPr>
          <p:spPr>
            <a:xfrm>
              <a:off x="381852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4" name="Google Shape;2384;p66"/>
            <p:cNvSpPr/>
            <p:nvPr/>
          </p:nvSpPr>
          <p:spPr>
            <a:xfrm>
              <a:off x="381852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5" name="Google Shape;2385;p66"/>
            <p:cNvSpPr/>
            <p:nvPr/>
          </p:nvSpPr>
          <p:spPr>
            <a:xfrm>
              <a:off x="381852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6" name="Google Shape;2386;p66"/>
            <p:cNvSpPr/>
            <p:nvPr/>
          </p:nvSpPr>
          <p:spPr>
            <a:xfrm>
              <a:off x="3818525" y="3780375"/>
              <a:ext cx="62425" cy="53425"/>
            </a:xfrm>
            <a:custGeom>
              <a:avLst/>
              <a:gdLst/>
              <a:ahLst/>
              <a:cxnLst/>
              <a:rect l="l" t="t" r="r" b="b"/>
              <a:pathLst>
                <a:path w="2497" h="2137" extrusionOk="0">
                  <a:moveTo>
                    <a:pt x="1065" y="0"/>
                  </a:moveTo>
                  <a:cubicBezTo>
                    <a:pt x="480" y="0"/>
                    <a:pt x="0" y="480"/>
                    <a:pt x="0" y="1065"/>
                  </a:cubicBezTo>
                  <a:cubicBezTo>
                    <a:pt x="0" y="1709"/>
                    <a:pt x="529" y="2137"/>
                    <a:pt x="1078" y="2137"/>
                  </a:cubicBezTo>
                  <a:cubicBezTo>
                    <a:pt x="1340" y="2137"/>
                    <a:pt x="1606" y="2039"/>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7" name="Google Shape;2387;p66"/>
            <p:cNvSpPr/>
            <p:nvPr/>
          </p:nvSpPr>
          <p:spPr>
            <a:xfrm>
              <a:off x="3894725" y="27902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8" name="Google Shape;2388;p66"/>
            <p:cNvSpPr/>
            <p:nvPr/>
          </p:nvSpPr>
          <p:spPr>
            <a:xfrm>
              <a:off x="3894725" y="393280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89" name="Google Shape;2389;p66"/>
            <p:cNvSpPr/>
            <p:nvPr/>
          </p:nvSpPr>
          <p:spPr>
            <a:xfrm>
              <a:off x="3894725" y="385677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0" name="Google Shape;2390;p66"/>
            <p:cNvSpPr/>
            <p:nvPr/>
          </p:nvSpPr>
          <p:spPr>
            <a:xfrm>
              <a:off x="3894725" y="3780375"/>
              <a:ext cx="62425" cy="53425"/>
            </a:xfrm>
            <a:custGeom>
              <a:avLst/>
              <a:gdLst/>
              <a:ahLst/>
              <a:cxnLst/>
              <a:rect l="l" t="t" r="r" b="b"/>
              <a:pathLst>
                <a:path w="2497" h="2137" extrusionOk="0">
                  <a:moveTo>
                    <a:pt x="1066" y="0"/>
                  </a:moveTo>
                  <a:cubicBezTo>
                    <a:pt x="481" y="0"/>
                    <a:pt x="1" y="480"/>
                    <a:pt x="1" y="1065"/>
                  </a:cubicBezTo>
                  <a:cubicBezTo>
                    <a:pt x="1" y="1709"/>
                    <a:pt x="526" y="2137"/>
                    <a:pt x="1075" y="2137"/>
                  </a:cubicBezTo>
                  <a:cubicBezTo>
                    <a:pt x="1337" y="2137"/>
                    <a:pt x="1604" y="2039"/>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1" name="Google Shape;2391;p66"/>
            <p:cNvSpPr/>
            <p:nvPr/>
          </p:nvSpPr>
          <p:spPr>
            <a:xfrm>
              <a:off x="3894725" y="3704150"/>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2" name="Google Shape;2392;p66"/>
            <p:cNvSpPr/>
            <p:nvPr/>
          </p:nvSpPr>
          <p:spPr>
            <a:xfrm>
              <a:off x="3894725"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3" name="Google Shape;2393;p66"/>
            <p:cNvSpPr/>
            <p:nvPr/>
          </p:nvSpPr>
          <p:spPr>
            <a:xfrm>
              <a:off x="3894725" y="3551925"/>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4"/>
                    <a:pt x="525" y="2129"/>
                    <a:pt x="1074" y="2129"/>
                  </a:cubicBezTo>
                  <a:cubicBezTo>
                    <a:pt x="1336" y="2129"/>
                    <a:pt x="1604" y="2032"/>
                    <a:pt x="1822" y="1814"/>
                  </a:cubicBezTo>
                  <a:cubicBezTo>
                    <a:pt x="2486" y="1149"/>
                    <a:pt x="2020" y="1"/>
                    <a:pt x="107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4" name="Google Shape;2394;p66"/>
            <p:cNvSpPr/>
            <p:nvPr/>
          </p:nvSpPr>
          <p:spPr>
            <a:xfrm>
              <a:off x="3894725"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5" name="Google Shape;2395;p66"/>
            <p:cNvSpPr/>
            <p:nvPr/>
          </p:nvSpPr>
          <p:spPr>
            <a:xfrm>
              <a:off x="3894725"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6" name="Google Shape;2396;p66"/>
            <p:cNvSpPr/>
            <p:nvPr/>
          </p:nvSpPr>
          <p:spPr>
            <a:xfrm>
              <a:off x="3894600" y="3323300"/>
              <a:ext cx="62350" cy="53425"/>
            </a:xfrm>
            <a:custGeom>
              <a:avLst/>
              <a:gdLst/>
              <a:ahLst/>
              <a:cxnLst/>
              <a:rect l="l" t="t" r="r" b="b"/>
              <a:pathLst>
                <a:path w="2494" h="2137" extrusionOk="0">
                  <a:moveTo>
                    <a:pt x="1071" y="0"/>
                  </a:moveTo>
                  <a:cubicBezTo>
                    <a:pt x="486" y="8"/>
                    <a:pt x="6" y="480"/>
                    <a:pt x="6" y="1065"/>
                  </a:cubicBezTo>
                  <a:cubicBezTo>
                    <a:pt x="0" y="1709"/>
                    <a:pt x="528" y="2137"/>
                    <a:pt x="1076"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7" name="Google Shape;2397;p66"/>
            <p:cNvSpPr/>
            <p:nvPr/>
          </p:nvSpPr>
          <p:spPr>
            <a:xfrm>
              <a:off x="3894725" y="32470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8" name="Google Shape;2398;p66"/>
            <p:cNvSpPr/>
            <p:nvPr/>
          </p:nvSpPr>
          <p:spPr>
            <a:xfrm>
              <a:off x="3894725"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399" name="Google Shape;2399;p66"/>
            <p:cNvSpPr/>
            <p:nvPr/>
          </p:nvSpPr>
          <p:spPr>
            <a:xfrm>
              <a:off x="3894725" y="309485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0" name="Google Shape;2400;p66"/>
            <p:cNvSpPr/>
            <p:nvPr/>
          </p:nvSpPr>
          <p:spPr>
            <a:xfrm>
              <a:off x="3894725" y="3018650"/>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1" name="Google Shape;2401;p66"/>
            <p:cNvSpPr/>
            <p:nvPr/>
          </p:nvSpPr>
          <p:spPr>
            <a:xfrm>
              <a:off x="3894725"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2" name="Google Shape;2402;p66"/>
            <p:cNvSpPr/>
            <p:nvPr/>
          </p:nvSpPr>
          <p:spPr>
            <a:xfrm>
              <a:off x="3894725"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4" y="2131"/>
                    <a:pt x="1603" y="2032"/>
                    <a:pt x="1822"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3" name="Google Shape;2403;p66"/>
            <p:cNvSpPr/>
            <p:nvPr/>
          </p:nvSpPr>
          <p:spPr>
            <a:xfrm>
              <a:off x="3818525"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4" name="Google Shape;2404;p66"/>
            <p:cNvSpPr/>
            <p:nvPr/>
          </p:nvSpPr>
          <p:spPr>
            <a:xfrm>
              <a:off x="3742300" y="2866425"/>
              <a:ext cx="62225" cy="53225"/>
            </a:xfrm>
            <a:custGeom>
              <a:avLst/>
              <a:gdLst/>
              <a:ahLst/>
              <a:cxnLst/>
              <a:rect l="l" t="t" r="r" b="b"/>
              <a:pathLst>
                <a:path w="2489" h="2129" extrusionOk="0">
                  <a:moveTo>
                    <a:pt x="1066" y="0"/>
                  </a:moveTo>
                  <a:cubicBezTo>
                    <a:pt x="481" y="0"/>
                    <a:pt x="1" y="472"/>
                    <a:pt x="1" y="1065"/>
                  </a:cubicBezTo>
                  <a:cubicBezTo>
                    <a:pt x="1" y="1703"/>
                    <a:pt x="525" y="2129"/>
                    <a:pt x="1071" y="2129"/>
                  </a:cubicBezTo>
                  <a:cubicBezTo>
                    <a:pt x="1332" y="2129"/>
                    <a:pt x="1598" y="2031"/>
                    <a:pt x="1814"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5" name="Google Shape;2405;p66"/>
            <p:cNvSpPr/>
            <p:nvPr/>
          </p:nvSpPr>
          <p:spPr>
            <a:xfrm>
              <a:off x="366610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6" name="Google Shape;2406;p66"/>
            <p:cNvSpPr/>
            <p:nvPr/>
          </p:nvSpPr>
          <p:spPr>
            <a:xfrm>
              <a:off x="450405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7" name="Google Shape;2407;p66"/>
            <p:cNvSpPr/>
            <p:nvPr/>
          </p:nvSpPr>
          <p:spPr>
            <a:xfrm>
              <a:off x="4504050" y="3171075"/>
              <a:ext cx="62200" cy="53350"/>
            </a:xfrm>
            <a:custGeom>
              <a:avLst/>
              <a:gdLst/>
              <a:ahLst/>
              <a:cxnLst/>
              <a:rect l="l" t="t" r="r" b="b"/>
              <a:pathLst>
                <a:path w="2488" h="2134" extrusionOk="0">
                  <a:moveTo>
                    <a:pt x="1065" y="0"/>
                  </a:moveTo>
                  <a:cubicBezTo>
                    <a:pt x="480" y="0"/>
                    <a:pt x="0" y="472"/>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8" name="Google Shape;2408;p66"/>
            <p:cNvSpPr/>
            <p:nvPr/>
          </p:nvSpPr>
          <p:spPr>
            <a:xfrm>
              <a:off x="4504050" y="309485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09" name="Google Shape;2409;p66"/>
            <p:cNvSpPr/>
            <p:nvPr/>
          </p:nvSpPr>
          <p:spPr>
            <a:xfrm>
              <a:off x="4427825" y="3323300"/>
              <a:ext cx="62425" cy="53425"/>
            </a:xfrm>
            <a:custGeom>
              <a:avLst/>
              <a:gdLst/>
              <a:ahLst/>
              <a:cxnLst/>
              <a:rect l="l" t="t" r="r" b="b"/>
              <a:pathLst>
                <a:path w="2497" h="2137" extrusionOk="0">
                  <a:moveTo>
                    <a:pt x="1065" y="0"/>
                  </a:moveTo>
                  <a:cubicBezTo>
                    <a:pt x="480" y="8"/>
                    <a:pt x="9" y="480"/>
                    <a:pt x="1" y="1065"/>
                  </a:cubicBezTo>
                  <a:cubicBezTo>
                    <a:pt x="1" y="1709"/>
                    <a:pt x="526" y="2137"/>
                    <a:pt x="1074" y="2137"/>
                  </a:cubicBezTo>
                  <a:cubicBezTo>
                    <a:pt x="1336" y="2137"/>
                    <a:pt x="1603" y="2039"/>
                    <a:pt x="1822" y="1821"/>
                  </a:cubicBezTo>
                  <a:cubicBezTo>
                    <a:pt x="2496"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0" name="Google Shape;2410;p66"/>
            <p:cNvSpPr/>
            <p:nvPr/>
          </p:nvSpPr>
          <p:spPr>
            <a:xfrm>
              <a:off x="4427825" y="32470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1" name="Google Shape;2411;p66"/>
            <p:cNvSpPr/>
            <p:nvPr/>
          </p:nvSpPr>
          <p:spPr>
            <a:xfrm>
              <a:off x="4427825" y="3171075"/>
              <a:ext cx="62425" cy="53275"/>
            </a:xfrm>
            <a:custGeom>
              <a:avLst/>
              <a:gdLst/>
              <a:ahLst/>
              <a:cxnLst/>
              <a:rect l="l" t="t" r="r" b="b"/>
              <a:pathLst>
                <a:path w="2497" h="2131" extrusionOk="0">
                  <a:moveTo>
                    <a:pt x="1065" y="0"/>
                  </a:moveTo>
                  <a:cubicBezTo>
                    <a:pt x="480" y="0"/>
                    <a:pt x="9" y="472"/>
                    <a:pt x="1" y="1065"/>
                  </a:cubicBezTo>
                  <a:cubicBezTo>
                    <a:pt x="1" y="1707"/>
                    <a:pt x="523" y="2131"/>
                    <a:pt x="1070" y="2131"/>
                  </a:cubicBezTo>
                  <a:cubicBezTo>
                    <a:pt x="1333" y="2131"/>
                    <a:pt x="1602" y="2032"/>
                    <a:pt x="1822" y="1813"/>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2" name="Google Shape;2412;p66"/>
            <p:cNvSpPr/>
            <p:nvPr/>
          </p:nvSpPr>
          <p:spPr>
            <a:xfrm>
              <a:off x="4427825" y="3094850"/>
              <a:ext cx="62425" cy="53350"/>
            </a:xfrm>
            <a:custGeom>
              <a:avLst/>
              <a:gdLst/>
              <a:ahLst/>
              <a:cxnLst/>
              <a:rect l="l" t="t" r="r" b="b"/>
              <a:pathLst>
                <a:path w="2497" h="2134" extrusionOk="0">
                  <a:moveTo>
                    <a:pt x="1065" y="1"/>
                  </a:moveTo>
                  <a:cubicBezTo>
                    <a:pt x="480" y="1"/>
                    <a:pt x="1"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3" name="Google Shape;2413;p66"/>
            <p:cNvSpPr/>
            <p:nvPr/>
          </p:nvSpPr>
          <p:spPr>
            <a:xfrm>
              <a:off x="4427825" y="3018650"/>
              <a:ext cx="62425" cy="53425"/>
            </a:xfrm>
            <a:custGeom>
              <a:avLst/>
              <a:gdLst/>
              <a:ahLst/>
              <a:cxnLst/>
              <a:rect l="l" t="t" r="r" b="b"/>
              <a:pathLst>
                <a:path w="2497" h="2137" extrusionOk="0">
                  <a:moveTo>
                    <a:pt x="1065" y="0"/>
                  </a:moveTo>
                  <a:cubicBezTo>
                    <a:pt x="480" y="0"/>
                    <a:pt x="1" y="480"/>
                    <a:pt x="1" y="1065"/>
                  </a:cubicBezTo>
                  <a:cubicBezTo>
                    <a:pt x="1" y="1709"/>
                    <a:pt x="529" y="2137"/>
                    <a:pt x="1078" y="2137"/>
                  </a:cubicBezTo>
                  <a:cubicBezTo>
                    <a:pt x="1340" y="2137"/>
                    <a:pt x="1606" y="2039"/>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4" name="Google Shape;2414;p66"/>
            <p:cNvSpPr/>
            <p:nvPr/>
          </p:nvSpPr>
          <p:spPr>
            <a:xfrm>
              <a:off x="4351600" y="33995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5" name="Google Shape;2415;p66"/>
            <p:cNvSpPr/>
            <p:nvPr/>
          </p:nvSpPr>
          <p:spPr>
            <a:xfrm>
              <a:off x="4351600" y="332330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6" name="Google Shape;2416;p66"/>
            <p:cNvSpPr/>
            <p:nvPr/>
          </p:nvSpPr>
          <p:spPr>
            <a:xfrm>
              <a:off x="4351600" y="309485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7" name="Google Shape;2417;p66"/>
            <p:cNvSpPr/>
            <p:nvPr/>
          </p:nvSpPr>
          <p:spPr>
            <a:xfrm>
              <a:off x="4351600" y="3018650"/>
              <a:ext cx="62425" cy="53425"/>
            </a:xfrm>
            <a:custGeom>
              <a:avLst/>
              <a:gdLst/>
              <a:ahLst/>
              <a:cxnLst/>
              <a:rect l="l" t="t" r="r" b="b"/>
              <a:pathLst>
                <a:path w="2497" h="2137" extrusionOk="0">
                  <a:moveTo>
                    <a:pt x="1074" y="0"/>
                  </a:moveTo>
                  <a:cubicBezTo>
                    <a:pt x="481" y="0"/>
                    <a:pt x="9" y="480"/>
                    <a:pt x="1" y="1065"/>
                  </a:cubicBezTo>
                  <a:cubicBezTo>
                    <a:pt x="1" y="1709"/>
                    <a:pt x="530" y="2137"/>
                    <a:pt x="1078" y="2137"/>
                  </a:cubicBezTo>
                  <a:cubicBezTo>
                    <a:pt x="1340" y="2137"/>
                    <a:pt x="1607" y="2039"/>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8" name="Google Shape;2418;p66"/>
            <p:cNvSpPr/>
            <p:nvPr/>
          </p:nvSpPr>
          <p:spPr>
            <a:xfrm>
              <a:off x="4351600" y="29424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19" name="Google Shape;2419;p66"/>
            <p:cNvSpPr/>
            <p:nvPr/>
          </p:nvSpPr>
          <p:spPr>
            <a:xfrm>
              <a:off x="4275600" y="3780375"/>
              <a:ext cx="62425" cy="53425"/>
            </a:xfrm>
            <a:custGeom>
              <a:avLst/>
              <a:gdLst/>
              <a:ahLst/>
              <a:cxnLst/>
              <a:rect l="l" t="t" r="r" b="b"/>
              <a:pathLst>
                <a:path w="2497" h="2137" extrusionOk="0">
                  <a:moveTo>
                    <a:pt x="1066" y="0"/>
                  </a:moveTo>
                  <a:cubicBezTo>
                    <a:pt x="472" y="0"/>
                    <a:pt x="1" y="480"/>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0" name="Google Shape;2420;p66"/>
            <p:cNvSpPr/>
            <p:nvPr/>
          </p:nvSpPr>
          <p:spPr>
            <a:xfrm>
              <a:off x="4275600"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1" name="Google Shape;2421;p66"/>
            <p:cNvSpPr/>
            <p:nvPr/>
          </p:nvSpPr>
          <p:spPr>
            <a:xfrm>
              <a:off x="4275600"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2" name="Google Shape;2422;p66"/>
            <p:cNvSpPr/>
            <p:nvPr/>
          </p:nvSpPr>
          <p:spPr>
            <a:xfrm>
              <a:off x="4275600"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3"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3" name="Google Shape;2423;p66"/>
            <p:cNvSpPr/>
            <p:nvPr/>
          </p:nvSpPr>
          <p:spPr>
            <a:xfrm>
              <a:off x="42756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4" name="Google Shape;2424;p66"/>
            <p:cNvSpPr/>
            <p:nvPr/>
          </p:nvSpPr>
          <p:spPr>
            <a:xfrm>
              <a:off x="4275600" y="3399500"/>
              <a:ext cx="62225" cy="53350"/>
            </a:xfrm>
            <a:custGeom>
              <a:avLst/>
              <a:gdLst/>
              <a:ahLst/>
              <a:cxnLst/>
              <a:rect l="l" t="t" r="r" b="b"/>
              <a:pathLst>
                <a:path w="2489" h="2134" extrusionOk="0">
                  <a:moveTo>
                    <a:pt x="1066" y="1"/>
                  </a:moveTo>
                  <a:cubicBezTo>
                    <a:pt x="472"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5" name="Google Shape;2425;p66"/>
            <p:cNvSpPr/>
            <p:nvPr/>
          </p:nvSpPr>
          <p:spPr>
            <a:xfrm>
              <a:off x="427560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6" name="Google Shape;2426;p66"/>
            <p:cNvSpPr/>
            <p:nvPr/>
          </p:nvSpPr>
          <p:spPr>
            <a:xfrm>
              <a:off x="427560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7" name="Google Shape;2427;p66"/>
            <p:cNvSpPr/>
            <p:nvPr/>
          </p:nvSpPr>
          <p:spPr>
            <a:xfrm>
              <a:off x="4199400" y="3856775"/>
              <a:ext cx="62200" cy="53250"/>
            </a:xfrm>
            <a:custGeom>
              <a:avLst/>
              <a:gdLst/>
              <a:ahLst/>
              <a:cxnLst/>
              <a:rect l="l" t="t" r="r" b="b"/>
              <a:pathLst>
                <a:path w="2488" h="2130" extrusionOk="0">
                  <a:moveTo>
                    <a:pt x="1065" y="1"/>
                  </a:moveTo>
                  <a:cubicBezTo>
                    <a:pt x="480" y="1"/>
                    <a:pt x="0" y="472"/>
                    <a:pt x="0" y="1066"/>
                  </a:cubicBezTo>
                  <a:cubicBezTo>
                    <a:pt x="0" y="1704"/>
                    <a:pt x="524" y="2129"/>
                    <a:pt x="1073" y="2129"/>
                  </a:cubicBezTo>
                  <a:cubicBezTo>
                    <a:pt x="1335" y="2129"/>
                    <a:pt x="1603" y="2032"/>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8" name="Google Shape;2428;p66"/>
            <p:cNvSpPr/>
            <p:nvPr/>
          </p:nvSpPr>
          <p:spPr>
            <a:xfrm>
              <a:off x="4199400" y="3780375"/>
              <a:ext cx="62400" cy="53425"/>
            </a:xfrm>
            <a:custGeom>
              <a:avLst/>
              <a:gdLst/>
              <a:ahLst/>
              <a:cxnLst/>
              <a:rect l="l" t="t" r="r" b="b"/>
              <a:pathLst>
                <a:path w="2496" h="2137" extrusionOk="0">
                  <a:moveTo>
                    <a:pt x="1065" y="0"/>
                  </a:moveTo>
                  <a:cubicBezTo>
                    <a:pt x="480" y="0"/>
                    <a:pt x="0" y="480"/>
                    <a:pt x="0" y="1065"/>
                  </a:cubicBezTo>
                  <a:cubicBezTo>
                    <a:pt x="0" y="1709"/>
                    <a:pt x="529" y="2137"/>
                    <a:pt x="1077" y="2137"/>
                  </a:cubicBezTo>
                  <a:cubicBezTo>
                    <a:pt x="1339" y="2137"/>
                    <a:pt x="1606"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29" name="Google Shape;2429;p66"/>
            <p:cNvSpPr/>
            <p:nvPr/>
          </p:nvSpPr>
          <p:spPr>
            <a:xfrm>
              <a:off x="419940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0" name="Google Shape;2430;p66"/>
            <p:cNvSpPr/>
            <p:nvPr/>
          </p:nvSpPr>
          <p:spPr>
            <a:xfrm>
              <a:off x="419940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1" name="Google Shape;2431;p66"/>
            <p:cNvSpPr/>
            <p:nvPr/>
          </p:nvSpPr>
          <p:spPr>
            <a:xfrm>
              <a:off x="4123175" y="4085225"/>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7"/>
                    <a:pt x="1821" y="1821"/>
                  </a:cubicBezTo>
                  <a:cubicBezTo>
                    <a:pt x="2496"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2" name="Google Shape;2432;p66"/>
            <p:cNvSpPr/>
            <p:nvPr/>
          </p:nvSpPr>
          <p:spPr>
            <a:xfrm>
              <a:off x="4123175" y="4009000"/>
              <a:ext cx="62425" cy="53350"/>
            </a:xfrm>
            <a:custGeom>
              <a:avLst/>
              <a:gdLst/>
              <a:ahLst/>
              <a:cxnLst/>
              <a:rect l="l" t="t" r="r" b="b"/>
              <a:pathLst>
                <a:path w="2497" h="2134" extrusionOk="0">
                  <a:moveTo>
                    <a:pt x="1065" y="1"/>
                  </a:moveTo>
                  <a:cubicBezTo>
                    <a:pt x="480" y="1"/>
                    <a:pt x="0" y="480"/>
                    <a:pt x="0" y="1066"/>
                  </a:cubicBezTo>
                  <a:cubicBezTo>
                    <a:pt x="0" y="1710"/>
                    <a:pt x="526" y="2134"/>
                    <a:pt x="1074" y="2134"/>
                  </a:cubicBezTo>
                  <a:cubicBezTo>
                    <a:pt x="1336" y="2134"/>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3" name="Google Shape;2433;p66"/>
            <p:cNvSpPr/>
            <p:nvPr/>
          </p:nvSpPr>
          <p:spPr>
            <a:xfrm>
              <a:off x="4123175" y="3932800"/>
              <a:ext cx="62425" cy="53425"/>
            </a:xfrm>
            <a:custGeom>
              <a:avLst/>
              <a:gdLst/>
              <a:ahLst/>
              <a:cxnLst/>
              <a:rect l="l" t="t" r="r" b="b"/>
              <a:pathLst>
                <a:path w="2497" h="2137" extrusionOk="0">
                  <a:moveTo>
                    <a:pt x="1065" y="0"/>
                  </a:moveTo>
                  <a:cubicBezTo>
                    <a:pt x="480" y="0"/>
                    <a:pt x="0" y="480"/>
                    <a:pt x="0" y="1065"/>
                  </a:cubicBezTo>
                  <a:cubicBezTo>
                    <a:pt x="0" y="1709"/>
                    <a:pt x="526" y="2137"/>
                    <a:pt x="1074" y="2137"/>
                  </a:cubicBezTo>
                  <a:cubicBezTo>
                    <a:pt x="1336" y="2137"/>
                    <a:pt x="1603" y="2039"/>
                    <a:pt x="1821" y="1821"/>
                  </a:cubicBezTo>
                  <a:cubicBezTo>
                    <a:pt x="2496" y="1155"/>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4" name="Google Shape;2434;p66"/>
            <p:cNvSpPr/>
            <p:nvPr/>
          </p:nvSpPr>
          <p:spPr>
            <a:xfrm>
              <a:off x="4123175" y="3856775"/>
              <a:ext cx="62425" cy="53250"/>
            </a:xfrm>
            <a:custGeom>
              <a:avLst/>
              <a:gdLst/>
              <a:ahLst/>
              <a:cxnLst/>
              <a:rect l="l" t="t" r="r" b="b"/>
              <a:pathLst>
                <a:path w="2497" h="2130" extrusionOk="0">
                  <a:moveTo>
                    <a:pt x="1065" y="1"/>
                  </a:moveTo>
                  <a:cubicBezTo>
                    <a:pt x="480" y="1"/>
                    <a:pt x="0" y="472"/>
                    <a:pt x="0" y="1066"/>
                  </a:cubicBezTo>
                  <a:cubicBezTo>
                    <a:pt x="0" y="1704"/>
                    <a:pt x="525" y="2129"/>
                    <a:pt x="1073" y="2129"/>
                  </a:cubicBezTo>
                  <a:cubicBezTo>
                    <a:pt x="1335" y="2129"/>
                    <a:pt x="1603" y="2032"/>
                    <a:pt x="1821"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5" name="Google Shape;2435;p66"/>
            <p:cNvSpPr/>
            <p:nvPr/>
          </p:nvSpPr>
          <p:spPr>
            <a:xfrm>
              <a:off x="412317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6" name="Google Shape;2436;p66"/>
            <p:cNvSpPr/>
            <p:nvPr/>
          </p:nvSpPr>
          <p:spPr>
            <a:xfrm>
              <a:off x="4046950"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7" name="Google Shape;2437;p66"/>
            <p:cNvSpPr/>
            <p:nvPr/>
          </p:nvSpPr>
          <p:spPr>
            <a:xfrm>
              <a:off x="404695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8" name="Google Shape;2438;p66"/>
            <p:cNvSpPr/>
            <p:nvPr/>
          </p:nvSpPr>
          <p:spPr>
            <a:xfrm>
              <a:off x="4046950" y="2637775"/>
              <a:ext cx="62425" cy="53450"/>
            </a:xfrm>
            <a:custGeom>
              <a:avLst/>
              <a:gdLst/>
              <a:ahLst/>
              <a:cxnLst/>
              <a:rect l="l" t="t" r="r" b="b"/>
              <a:pathLst>
                <a:path w="2497" h="2138" extrusionOk="0">
                  <a:moveTo>
                    <a:pt x="1074" y="1"/>
                  </a:moveTo>
                  <a:cubicBezTo>
                    <a:pt x="481"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39" name="Google Shape;2439;p66"/>
            <p:cNvSpPr/>
            <p:nvPr/>
          </p:nvSpPr>
          <p:spPr>
            <a:xfrm>
              <a:off x="3970950" y="4085225"/>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7"/>
                    <a:pt x="1813" y="1821"/>
                  </a:cubicBezTo>
                  <a:cubicBezTo>
                    <a:pt x="2488" y="1147"/>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0" name="Google Shape;2440;p66"/>
            <p:cNvSpPr/>
            <p:nvPr/>
          </p:nvSpPr>
          <p:spPr>
            <a:xfrm>
              <a:off x="3970950" y="2714000"/>
              <a:ext cx="62225" cy="53350"/>
            </a:xfrm>
            <a:custGeom>
              <a:avLst/>
              <a:gdLst/>
              <a:ahLst/>
              <a:cxnLst/>
              <a:rect l="l" t="t" r="r" b="b"/>
              <a:pathLst>
                <a:path w="2489" h="2134"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1" name="Google Shape;2441;p66"/>
            <p:cNvSpPr/>
            <p:nvPr/>
          </p:nvSpPr>
          <p:spPr>
            <a:xfrm>
              <a:off x="3970950" y="2637775"/>
              <a:ext cx="62225" cy="53450"/>
            </a:xfrm>
            <a:custGeom>
              <a:avLst/>
              <a:gdLst/>
              <a:ahLst/>
              <a:cxnLst/>
              <a:rect l="l" t="t" r="r" b="b"/>
              <a:pathLst>
                <a:path w="2489" h="2138" extrusionOk="0">
                  <a:moveTo>
                    <a:pt x="1065" y="1"/>
                  </a:moveTo>
                  <a:cubicBezTo>
                    <a:pt x="472" y="1"/>
                    <a:pt x="1" y="480"/>
                    <a:pt x="1" y="1074"/>
                  </a:cubicBezTo>
                  <a:cubicBezTo>
                    <a:pt x="1" y="1712"/>
                    <a:pt x="525" y="2137"/>
                    <a:pt x="1071" y="2137"/>
                  </a:cubicBezTo>
                  <a:cubicBezTo>
                    <a:pt x="1332" y="2137"/>
                    <a:pt x="1598" y="2040"/>
                    <a:pt x="1813"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2" name="Google Shape;2442;p66"/>
            <p:cNvSpPr/>
            <p:nvPr/>
          </p:nvSpPr>
          <p:spPr>
            <a:xfrm>
              <a:off x="3894725" y="408522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3" name="Google Shape;2443;p66"/>
            <p:cNvSpPr/>
            <p:nvPr/>
          </p:nvSpPr>
          <p:spPr>
            <a:xfrm>
              <a:off x="3894725" y="4009000"/>
              <a:ext cx="62225" cy="53350"/>
            </a:xfrm>
            <a:custGeom>
              <a:avLst/>
              <a:gdLst/>
              <a:ahLst/>
              <a:cxnLst/>
              <a:rect l="l" t="t" r="r" b="b"/>
              <a:pathLst>
                <a:path w="2489" h="2134" extrusionOk="0">
                  <a:moveTo>
                    <a:pt x="1066" y="1"/>
                  </a:moveTo>
                  <a:cubicBezTo>
                    <a:pt x="481" y="1"/>
                    <a:pt x="1" y="480"/>
                    <a:pt x="1" y="1066"/>
                  </a:cubicBezTo>
                  <a:cubicBezTo>
                    <a:pt x="1" y="1710"/>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4" name="Google Shape;2444;p66"/>
            <p:cNvSpPr/>
            <p:nvPr/>
          </p:nvSpPr>
          <p:spPr>
            <a:xfrm>
              <a:off x="3894725" y="2714000"/>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5" name="Google Shape;2445;p66"/>
            <p:cNvSpPr/>
            <p:nvPr/>
          </p:nvSpPr>
          <p:spPr>
            <a:xfrm>
              <a:off x="3894725" y="2637775"/>
              <a:ext cx="62225" cy="53450"/>
            </a:xfrm>
            <a:custGeom>
              <a:avLst/>
              <a:gdLst/>
              <a:ahLst/>
              <a:cxnLst/>
              <a:rect l="l" t="t" r="r" b="b"/>
              <a:pathLst>
                <a:path w="2489" h="2138" extrusionOk="0">
                  <a:moveTo>
                    <a:pt x="1066" y="1"/>
                  </a:moveTo>
                  <a:cubicBezTo>
                    <a:pt x="481" y="9"/>
                    <a:pt x="1" y="480"/>
                    <a:pt x="1" y="1074"/>
                  </a:cubicBezTo>
                  <a:cubicBezTo>
                    <a:pt x="1" y="1712"/>
                    <a:pt x="525" y="2137"/>
                    <a:pt x="1074" y="2137"/>
                  </a:cubicBezTo>
                  <a:cubicBezTo>
                    <a:pt x="1336" y="2137"/>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6" name="Google Shape;2446;p66"/>
            <p:cNvSpPr/>
            <p:nvPr/>
          </p:nvSpPr>
          <p:spPr>
            <a:xfrm>
              <a:off x="3818525" y="4009000"/>
              <a:ext cx="62225" cy="53350"/>
            </a:xfrm>
            <a:custGeom>
              <a:avLst/>
              <a:gdLst/>
              <a:ahLst/>
              <a:cxnLst/>
              <a:rect l="l" t="t" r="r" b="b"/>
              <a:pathLst>
                <a:path w="2489" h="2134" extrusionOk="0">
                  <a:moveTo>
                    <a:pt x="1065" y="1"/>
                  </a:moveTo>
                  <a:cubicBezTo>
                    <a:pt x="480" y="1"/>
                    <a:pt x="0" y="480"/>
                    <a:pt x="0" y="1066"/>
                  </a:cubicBezTo>
                  <a:cubicBezTo>
                    <a:pt x="0" y="1710"/>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7" name="Google Shape;2447;p66"/>
            <p:cNvSpPr/>
            <p:nvPr/>
          </p:nvSpPr>
          <p:spPr>
            <a:xfrm>
              <a:off x="3818525" y="39328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8" name="Google Shape;2448;p66"/>
            <p:cNvSpPr/>
            <p:nvPr/>
          </p:nvSpPr>
          <p:spPr>
            <a:xfrm>
              <a:off x="3818525" y="385677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49" name="Google Shape;2449;p66"/>
            <p:cNvSpPr/>
            <p:nvPr/>
          </p:nvSpPr>
          <p:spPr>
            <a:xfrm>
              <a:off x="3818525" y="3704150"/>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0" name="Google Shape;2450;p66"/>
            <p:cNvSpPr/>
            <p:nvPr/>
          </p:nvSpPr>
          <p:spPr>
            <a:xfrm>
              <a:off x="3818525" y="3627950"/>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1" name="Google Shape;2451;p66"/>
            <p:cNvSpPr/>
            <p:nvPr/>
          </p:nvSpPr>
          <p:spPr>
            <a:xfrm>
              <a:off x="381852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2" name="Google Shape;2452;p66"/>
            <p:cNvSpPr/>
            <p:nvPr/>
          </p:nvSpPr>
          <p:spPr>
            <a:xfrm>
              <a:off x="3818525"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3" name="Google Shape;2453;p66"/>
            <p:cNvSpPr/>
            <p:nvPr/>
          </p:nvSpPr>
          <p:spPr>
            <a:xfrm>
              <a:off x="3818525" y="26377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4" name="Google Shape;2454;p66"/>
            <p:cNvSpPr/>
            <p:nvPr/>
          </p:nvSpPr>
          <p:spPr>
            <a:xfrm>
              <a:off x="3742300" y="3780375"/>
              <a:ext cx="62225" cy="53425"/>
            </a:xfrm>
            <a:custGeom>
              <a:avLst/>
              <a:gdLst/>
              <a:ahLst/>
              <a:cxnLst/>
              <a:rect l="l" t="t" r="r" b="b"/>
              <a:pathLst>
                <a:path w="2489" h="2137" extrusionOk="0">
                  <a:moveTo>
                    <a:pt x="1066" y="0"/>
                  </a:moveTo>
                  <a:cubicBezTo>
                    <a:pt x="481" y="0"/>
                    <a:pt x="1" y="480"/>
                    <a:pt x="1" y="1065"/>
                  </a:cubicBezTo>
                  <a:cubicBezTo>
                    <a:pt x="1" y="1709"/>
                    <a:pt x="526" y="2137"/>
                    <a:pt x="1075" y="2137"/>
                  </a:cubicBezTo>
                  <a:cubicBezTo>
                    <a:pt x="1337" y="2137"/>
                    <a:pt x="1604" y="2039"/>
                    <a:pt x="1822" y="1821"/>
                  </a:cubicBezTo>
                  <a:cubicBezTo>
                    <a:pt x="2489"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5" name="Google Shape;2455;p66"/>
            <p:cNvSpPr/>
            <p:nvPr/>
          </p:nvSpPr>
          <p:spPr>
            <a:xfrm>
              <a:off x="3742300" y="3704150"/>
              <a:ext cx="62225" cy="53450"/>
            </a:xfrm>
            <a:custGeom>
              <a:avLst/>
              <a:gdLst/>
              <a:ahLst/>
              <a:cxnLst/>
              <a:rect l="l" t="t" r="r" b="b"/>
              <a:pathLst>
                <a:path w="2489" h="2138" extrusionOk="0">
                  <a:moveTo>
                    <a:pt x="1066" y="1"/>
                  </a:moveTo>
                  <a:cubicBezTo>
                    <a:pt x="481" y="1"/>
                    <a:pt x="1" y="480"/>
                    <a:pt x="1" y="1066"/>
                  </a:cubicBezTo>
                  <a:cubicBezTo>
                    <a:pt x="1" y="1709"/>
                    <a:pt x="526" y="2137"/>
                    <a:pt x="1072" y="2137"/>
                  </a:cubicBezTo>
                  <a:cubicBezTo>
                    <a:pt x="1333" y="2137"/>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6" name="Google Shape;2456;p66"/>
            <p:cNvSpPr/>
            <p:nvPr/>
          </p:nvSpPr>
          <p:spPr>
            <a:xfrm>
              <a:off x="3742300" y="3475725"/>
              <a:ext cx="62225" cy="53350"/>
            </a:xfrm>
            <a:custGeom>
              <a:avLst/>
              <a:gdLst/>
              <a:ahLst/>
              <a:cxnLst/>
              <a:rect l="l" t="t" r="r" b="b"/>
              <a:pathLst>
                <a:path w="2489" h="2134" extrusionOk="0">
                  <a:moveTo>
                    <a:pt x="1066" y="0"/>
                  </a:moveTo>
                  <a:cubicBezTo>
                    <a:pt x="481"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7" name="Google Shape;2457;p66"/>
            <p:cNvSpPr/>
            <p:nvPr/>
          </p:nvSpPr>
          <p:spPr>
            <a:xfrm>
              <a:off x="3742300" y="3399500"/>
              <a:ext cx="62225" cy="53350"/>
            </a:xfrm>
            <a:custGeom>
              <a:avLst/>
              <a:gdLst/>
              <a:ahLst/>
              <a:cxnLst/>
              <a:rect l="l" t="t" r="r" b="b"/>
              <a:pathLst>
                <a:path w="2489" h="2134" extrusionOk="0">
                  <a:moveTo>
                    <a:pt x="1066" y="1"/>
                  </a:moveTo>
                  <a:cubicBezTo>
                    <a:pt x="481"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8" name="Google Shape;2458;p66"/>
            <p:cNvSpPr/>
            <p:nvPr/>
          </p:nvSpPr>
          <p:spPr>
            <a:xfrm>
              <a:off x="3742175" y="332330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59" name="Google Shape;2459;p66"/>
            <p:cNvSpPr/>
            <p:nvPr/>
          </p:nvSpPr>
          <p:spPr>
            <a:xfrm>
              <a:off x="3742300" y="2561575"/>
              <a:ext cx="62225" cy="53425"/>
            </a:xfrm>
            <a:custGeom>
              <a:avLst/>
              <a:gdLst/>
              <a:ahLst/>
              <a:cxnLst/>
              <a:rect l="l" t="t" r="r" b="b"/>
              <a:pathLst>
                <a:path w="2489" h="2137" extrusionOk="0">
                  <a:moveTo>
                    <a:pt x="1066" y="0"/>
                  </a:moveTo>
                  <a:cubicBezTo>
                    <a:pt x="481" y="8"/>
                    <a:pt x="1" y="480"/>
                    <a:pt x="1" y="1073"/>
                  </a:cubicBezTo>
                  <a:cubicBezTo>
                    <a:pt x="1" y="1711"/>
                    <a:pt x="525" y="2137"/>
                    <a:pt x="1071" y="2137"/>
                  </a:cubicBezTo>
                  <a:cubicBezTo>
                    <a:pt x="1332" y="2137"/>
                    <a:pt x="1598" y="2039"/>
                    <a:pt x="1814" y="1821"/>
                  </a:cubicBezTo>
                  <a:cubicBezTo>
                    <a:pt x="2489" y="1154"/>
                    <a:pt x="2017" y="8"/>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0" name="Google Shape;2460;p66"/>
            <p:cNvSpPr/>
            <p:nvPr/>
          </p:nvSpPr>
          <p:spPr>
            <a:xfrm>
              <a:off x="3665950"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1" name="Google Shape;2461;p66"/>
            <p:cNvSpPr/>
            <p:nvPr/>
          </p:nvSpPr>
          <p:spPr>
            <a:xfrm>
              <a:off x="3666100" y="32470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2" name="Google Shape;2462;p66"/>
            <p:cNvSpPr/>
            <p:nvPr/>
          </p:nvSpPr>
          <p:spPr>
            <a:xfrm>
              <a:off x="36661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3" name="Google Shape;2463;p66"/>
            <p:cNvSpPr/>
            <p:nvPr/>
          </p:nvSpPr>
          <p:spPr>
            <a:xfrm>
              <a:off x="3589875" y="32470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4" name="Google Shape;2464;p66"/>
            <p:cNvSpPr/>
            <p:nvPr/>
          </p:nvSpPr>
          <p:spPr>
            <a:xfrm>
              <a:off x="35898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5" name="Google Shape;2465;p66"/>
            <p:cNvSpPr/>
            <p:nvPr/>
          </p:nvSpPr>
          <p:spPr>
            <a:xfrm>
              <a:off x="35898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6" name="Google Shape;2466;p66"/>
            <p:cNvSpPr/>
            <p:nvPr/>
          </p:nvSpPr>
          <p:spPr>
            <a:xfrm>
              <a:off x="3513675" y="3247075"/>
              <a:ext cx="62425" cy="53450"/>
            </a:xfrm>
            <a:custGeom>
              <a:avLst/>
              <a:gdLst/>
              <a:ahLst/>
              <a:cxnLst/>
              <a:rect l="l" t="t" r="r" b="b"/>
              <a:pathLst>
                <a:path w="2497" h="2138" extrusionOk="0">
                  <a:moveTo>
                    <a:pt x="1065" y="1"/>
                  </a:moveTo>
                  <a:cubicBezTo>
                    <a:pt x="480" y="9"/>
                    <a:pt x="0" y="480"/>
                    <a:pt x="0" y="1074"/>
                  </a:cubicBezTo>
                  <a:cubicBezTo>
                    <a:pt x="0" y="1712"/>
                    <a:pt x="525" y="2137"/>
                    <a:pt x="1073" y="2137"/>
                  </a:cubicBezTo>
                  <a:cubicBezTo>
                    <a:pt x="1335" y="2137"/>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7" name="Google Shape;2467;p66"/>
            <p:cNvSpPr/>
            <p:nvPr/>
          </p:nvSpPr>
          <p:spPr>
            <a:xfrm>
              <a:off x="3513675"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8" name="Google Shape;2468;p66"/>
            <p:cNvSpPr/>
            <p:nvPr/>
          </p:nvSpPr>
          <p:spPr>
            <a:xfrm>
              <a:off x="3513675" y="2485550"/>
              <a:ext cx="62425" cy="53300"/>
            </a:xfrm>
            <a:custGeom>
              <a:avLst/>
              <a:gdLst/>
              <a:ahLst/>
              <a:cxnLst/>
              <a:rect l="l" t="t" r="r" b="b"/>
              <a:pathLst>
                <a:path w="2497"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69" name="Google Shape;2469;p66"/>
            <p:cNvSpPr/>
            <p:nvPr/>
          </p:nvSpPr>
          <p:spPr>
            <a:xfrm>
              <a:off x="3437450" y="32470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6"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0" name="Google Shape;2470;p66"/>
            <p:cNvSpPr/>
            <p:nvPr/>
          </p:nvSpPr>
          <p:spPr>
            <a:xfrm>
              <a:off x="3437450" y="3171075"/>
              <a:ext cx="62425" cy="53275"/>
            </a:xfrm>
            <a:custGeom>
              <a:avLst/>
              <a:gdLst/>
              <a:ahLst/>
              <a:cxnLst/>
              <a:rect l="l" t="t" r="r" b="b"/>
              <a:pathLst>
                <a:path w="2497" h="2131" extrusionOk="0">
                  <a:moveTo>
                    <a:pt x="1074" y="0"/>
                  </a:moveTo>
                  <a:cubicBezTo>
                    <a:pt x="480" y="0"/>
                    <a:pt x="9" y="472"/>
                    <a:pt x="1" y="1065"/>
                  </a:cubicBezTo>
                  <a:cubicBezTo>
                    <a:pt x="1" y="1707"/>
                    <a:pt x="527" y="2131"/>
                    <a:pt x="1073" y="2131"/>
                  </a:cubicBezTo>
                  <a:cubicBezTo>
                    <a:pt x="1337" y="2131"/>
                    <a:pt x="1605" y="2032"/>
                    <a:pt x="1822" y="1813"/>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1" name="Google Shape;2471;p66"/>
            <p:cNvSpPr/>
            <p:nvPr/>
          </p:nvSpPr>
          <p:spPr>
            <a:xfrm>
              <a:off x="3437450"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6"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2" name="Google Shape;2472;p66"/>
            <p:cNvSpPr/>
            <p:nvPr/>
          </p:nvSpPr>
          <p:spPr>
            <a:xfrm>
              <a:off x="3437450" y="2485550"/>
              <a:ext cx="62425" cy="53300"/>
            </a:xfrm>
            <a:custGeom>
              <a:avLst/>
              <a:gdLst/>
              <a:ahLst/>
              <a:cxnLst/>
              <a:rect l="l" t="t" r="r" b="b"/>
              <a:pathLst>
                <a:path w="2497" h="2132" extrusionOk="0">
                  <a:moveTo>
                    <a:pt x="1074" y="1"/>
                  </a:moveTo>
                  <a:cubicBezTo>
                    <a:pt x="480" y="1"/>
                    <a:pt x="9" y="480"/>
                    <a:pt x="1" y="1066"/>
                  </a:cubicBezTo>
                  <a:cubicBezTo>
                    <a:pt x="1" y="1708"/>
                    <a:pt x="527"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3" name="Google Shape;2473;p66"/>
            <p:cNvSpPr/>
            <p:nvPr/>
          </p:nvSpPr>
          <p:spPr>
            <a:xfrm>
              <a:off x="3361450" y="3171075"/>
              <a:ext cx="62200" cy="53275"/>
            </a:xfrm>
            <a:custGeom>
              <a:avLst/>
              <a:gdLst/>
              <a:ahLst/>
              <a:cxnLst/>
              <a:rect l="l" t="t" r="r" b="b"/>
              <a:pathLst>
                <a:path w="2488"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4" name="Google Shape;2474;p66"/>
            <p:cNvSpPr/>
            <p:nvPr/>
          </p:nvSpPr>
          <p:spPr>
            <a:xfrm>
              <a:off x="3361450"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5" name="Google Shape;2475;p66"/>
            <p:cNvSpPr/>
            <p:nvPr/>
          </p:nvSpPr>
          <p:spPr>
            <a:xfrm>
              <a:off x="3361450" y="2637775"/>
              <a:ext cx="62200" cy="53450"/>
            </a:xfrm>
            <a:custGeom>
              <a:avLst/>
              <a:gdLst/>
              <a:ahLst/>
              <a:cxnLst/>
              <a:rect l="l" t="t" r="r" b="b"/>
              <a:pathLst>
                <a:path w="2488" h="2138" extrusionOk="0">
                  <a:moveTo>
                    <a:pt x="1065" y="1"/>
                  </a:moveTo>
                  <a:cubicBezTo>
                    <a:pt x="472"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6" name="Google Shape;2476;p66"/>
            <p:cNvSpPr/>
            <p:nvPr/>
          </p:nvSpPr>
          <p:spPr>
            <a:xfrm>
              <a:off x="3361450" y="2561575"/>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2" y="2137"/>
                    <a:pt x="1597" y="2039"/>
                    <a:pt x="1813"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7" name="Google Shape;2477;p66"/>
            <p:cNvSpPr/>
            <p:nvPr/>
          </p:nvSpPr>
          <p:spPr>
            <a:xfrm>
              <a:off x="3285225" y="317107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8" name="Google Shape;2478;p66"/>
            <p:cNvSpPr/>
            <p:nvPr/>
          </p:nvSpPr>
          <p:spPr>
            <a:xfrm>
              <a:off x="3285225"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79" name="Google Shape;2479;p66"/>
            <p:cNvSpPr/>
            <p:nvPr/>
          </p:nvSpPr>
          <p:spPr>
            <a:xfrm>
              <a:off x="3285225"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0" name="Google Shape;2480;p66"/>
            <p:cNvSpPr/>
            <p:nvPr/>
          </p:nvSpPr>
          <p:spPr>
            <a:xfrm>
              <a:off x="328522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1" name="Google Shape;2481;p66"/>
            <p:cNvSpPr/>
            <p:nvPr/>
          </p:nvSpPr>
          <p:spPr>
            <a:xfrm>
              <a:off x="3209025" y="309485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2" name="Google Shape;2482;p66"/>
            <p:cNvSpPr/>
            <p:nvPr/>
          </p:nvSpPr>
          <p:spPr>
            <a:xfrm>
              <a:off x="3209025" y="3018650"/>
              <a:ext cx="62200" cy="53425"/>
            </a:xfrm>
            <a:custGeom>
              <a:avLst/>
              <a:gdLst/>
              <a:ahLst/>
              <a:cxnLst/>
              <a:rect l="l" t="t" r="r" b="b"/>
              <a:pathLst>
                <a:path w="2488" h="2137" extrusionOk="0">
                  <a:moveTo>
                    <a:pt x="1065" y="0"/>
                  </a:moveTo>
                  <a:cubicBezTo>
                    <a:pt x="480" y="0"/>
                    <a:pt x="0" y="480"/>
                    <a:pt x="0" y="1065"/>
                  </a:cubicBezTo>
                  <a:cubicBezTo>
                    <a:pt x="0" y="1709"/>
                    <a:pt x="525" y="2137"/>
                    <a:pt x="1074" y="2137"/>
                  </a:cubicBezTo>
                  <a:cubicBezTo>
                    <a:pt x="1336" y="2137"/>
                    <a:pt x="1603" y="2039"/>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3" name="Google Shape;2483;p66"/>
            <p:cNvSpPr/>
            <p:nvPr/>
          </p:nvSpPr>
          <p:spPr>
            <a:xfrm>
              <a:off x="3209025" y="2942425"/>
              <a:ext cx="62200" cy="53450"/>
            </a:xfrm>
            <a:custGeom>
              <a:avLst/>
              <a:gdLst/>
              <a:ahLst/>
              <a:cxnLst/>
              <a:rect l="l" t="t" r="r" b="b"/>
              <a:pathLst>
                <a:path w="2488" h="2138" extrusionOk="0">
                  <a:moveTo>
                    <a:pt x="1065" y="1"/>
                  </a:moveTo>
                  <a:cubicBezTo>
                    <a:pt x="480" y="9"/>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4" name="Google Shape;2484;p66"/>
            <p:cNvSpPr/>
            <p:nvPr/>
          </p:nvSpPr>
          <p:spPr>
            <a:xfrm>
              <a:off x="3209025"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5" name="Google Shape;2485;p66"/>
            <p:cNvSpPr/>
            <p:nvPr/>
          </p:nvSpPr>
          <p:spPr>
            <a:xfrm>
              <a:off x="3209025" y="2790200"/>
              <a:ext cx="62200" cy="53350"/>
            </a:xfrm>
            <a:custGeom>
              <a:avLst/>
              <a:gdLst/>
              <a:ahLst/>
              <a:cxnLst/>
              <a:rect l="l" t="t" r="r" b="b"/>
              <a:pathLst>
                <a:path w="2488"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6" name="Google Shape;2486;p66"/>
            <p:cNvSpPr/>
            <p:nvPr/>
          </p:nvSpPr>
          <p:spPr>
            <a:xfrm>
              <a:off x="419940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7" name="Google Shape;2487;p66"/>
            <p:cNvSpPr/>
            <p:nvPr/>
          </p:nvSpPr>
          <p:spPr>
            <a:xfrm>
              <a:off x="3132800" y="11143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8" name="Google Shape;2488;p66"/>
            <p:cNvSpPr/>
            <p:nvPr/>
          </p:nvSpPr>
          <p:spPr>
            <a:xfrm>
              <a:off x="305680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89" name="Google Shape;2489;p66"/>
            <p:cNvSpPr/>
            <p:nvPr/>
          </p:nvSpPr>
          <p:spPr>
            <a:xfrm>
              <a:off x="4351600" y="164740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0" name="Google Shape;2490;p66"/>
            <p:cNvSpPr/>
            <p:nvPr/>
          </p:nvSpPr>
          <p:spPr>
            <a:xfrm>
              <a:off x="435160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1" name="Google Shape;2491;p66"/>
            <p:cNvSpPr/>
            <p:nvPr/>
          </p:nvSpPr>
          <p:spPr>
            <a:xfrm>
              <a:off x="435160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2" name="Google Shape;2492;p66"/>
            <p:cNvSpPr/>
            <p:nvPr/>
          </p:nvSpPr>
          <p:spPr>
            <a:xfrm>
              <a:off x="4351600" y="1876050"/>
              <a:ext cx="62425" cy="53350"/>
            </a:xfrm>
            <a:custGeom>
              <a:avLst/>
              <a:gdLst/>
              <a:ahLst/>
              <a:cxnLst/>
              <a:rect l="l" t="t" r="r" b="b"/>
              <a:pathLst>
                <a:path w="2497" h="2134" extrusionOk="0">
                  <a:moveTo>
                    <a:pt x="1074" y="1"/>
                  </a:moveTo>
                  <a:cubicBezTo>
                    <a:pt x="481" y="1"/>
                    <a:pt x="9" y="472"/>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3" name="Google Shape;2493;p66"/>
            <p:cNvSpPr/>
            <p:nvPr/>
          </p:nvSpPr>
          <p:spPr>
            <a:xfrm>
              <a:off x="435160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4" name="Google Shape;2494;p66"/>
            <p:cNvSpPr/>
            <p:nvPr/>
          </p:nvSpPr>
          <p:spPr>
            <a:xfrm>
              <a:off x="435160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5" name="Google Shape;2495;p66"/>
            <p:cNvSpPr/>
            <p:nvPr/>
          </p:nvSpPr>
          <p:spPr>
            <a:xfrm>
              <a:off x="435160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6" name="Google Shape;2496;p66"/>
            <p:cNvSpPr/>
            <p:nvPr/>
          </p:nvSpPr>
          <p:spPr>
            <a:xfrm>
              <a:off x="3970950" y="1876050"/>
              <a:ext cx="62225" cy="53350"/>
            </a:xfrm>
            <a:custGeom>
              <a:avLst/>
              <a:gdLst/>
              <a:ahLst/>
              <a:cxnLst/>
              <a:rect l="l" t="t" r="r" b="b"/>
              <a:pathLst>
                <a:path w="2489" h="2134" extrusionOk="0">
                  <a:moveTo>
                    <a:pt x="1065" y="1"/>
                  </a:moveTo>
                  <a:cubicBezTo>
                    <a:pt x="472" y="1"/>
                    <a:pt x="1" y="472"/>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7" name="Google Shape;2497;p66"/>
            <p:cNvSpPr/>
            <p:nvPr/>
          </p:nvSpPr>
          <p:spPr>
            <a:xfrm>
              <a:off x="3970950" y="1952050"/>
              <a:ext cx="62225" cy="53450"/>
            </a:xfrm>
            <a:custGeom>
              <a:avLst/>
              <a:gdLst/>
              <a:ahLst/>
              <a:cxnLst/>
              <a:rect l="l" t="t" r="r" b="b"/>
              <a:pathLst>
                <a:path w="2489" h="2138" extrusionOk="0">
                  <a:moveTo>
                    <a:pt x="1065" y="1"/>
                  </a:moveTo>
                  <a:cubicBezTo>
                    <a:pt x="472" y="9"/>
                    <a:pt x="1" y="481"/>
                    <a:pt x="1" y="1074"/>
                  </a:cubicBezTo>
                  <a:cubicBezTo>
                    <a:pt x="1" y="1712"/>
                    <a:pt x="525" y="2138"/>
                    <a:pt x="1071"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8" name="Google Shape;2498;p66"/>
            <p:cNvSpPr/>
            <p:nvPr/>
          </p:nvSpPr>
          <p:spPr>
            <a:xfrm>
              <a:off x="36661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499" name="Google Shape;2499;p66"/>
            <p:cNvSpPr/>
            <p:nvPr/>
          </p:nvSpPr>
          <p:spPr>
            <a:xfrm>
              <a:off x="3742300" y="2028275"/>
              <a:ext cx="62225" cy="53450"/>
            </a:xfrm>
            <a:custGeom>
              <a:avLst/>
              <a:gdLst/>
              <a:ahLst/>
              <a:cxnLst/>
              <a:rect l="l" t="t" r="r" b="b"/>
              <a:pathLst>
                <a:path w="2489" h="2138" extrusionOk="0">
                  <a:moveTo>
                    <a:pt x="1066" y="1"/>
                  </a:moveTo>
                  <a:cubicBezTo>
                    <a:pt x="481" y="1"/>
                    <a:pt x="1" y="480"/>
                    <a:pt x="1" y="1065"/>
                  </a:cubicBezTo>
                  <a:cubicBezTo>
                    <a:pt x="1" y="1709"/>
                    <a:pt x="526" y="2137"/>
                    <a:pt x="1072" y="2137"/>
                  </a:cubicBezTo>
                  <a:cubicBezTo>
                    <a:pt x="1333" y="2137"/>
                    <a:pt x="1598" y="2040"/>
                    <a:pt x="1814" y="1821"/>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0" name="Google Shape;2500;p66"/>
            <p:cNvSpPr/>
            <p:nvPr/>
          </p:nvSpPr>
          <p:spPr>
            <a:xfrm>
              <a:off x="3742300" y="1952050"/>
              <a:ext cx="62225" cy="53450"/>
            </a:xfrm>
            <a:custGeom>
              <a:avLst/>
              <a:gdLst/>
              <a:ahLst/>
              <a:cxnLst/>
              <a:rect l="l" t="t" r="r" b="b"/>
              <a:pathLst>
                <a:path w="2489" h="2138" extrusionOk="0">
                  <a:moveTo>
                    <a:pt x="1066" y="1"/>
                  </a:moveTo>
                  <a:cubicBezTo>
                    <a:pt x="481" y="9"/>
                    <a:pt x="1" y="481"/>
                    <a:pt x="1" y="1074"/>
                  </a:cubicBezTo>
                  <a:cubicBezTo>
                    <a:pt x="1" y="1712"/>
                    <a:pt x="525" y="2138"/>
                    <a:pt x="1071" y="2138"/>
                  </a:cubicBezTo>
                  <a:cubicBezTo>
                    <a:pt x="1332" y="2138"/>
                    <a:pt x="1598" y="2040"/>
                    <a:pt x="1814" y="1822"/>
                  </a:cubicBezTo>
                  <a:cubicBezTo>
                    <a:pt x="2489"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1" name="Google Shape;2501;p66"/>
            <p:cNvSpPr/>
            <p:nvPr/>
          </p:nvSpPr>
          <p:spPr>
            <a:xfrm>
              <a:off x="38185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2" name="Google Shape;2502;p66"/>
            <p:cNvSpPr/>
            <p:nvPr/>
          </p:nvSpPr>
          <p:spPr>
            <a:xfrm>
              <a:off x="3894725"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3" name="Google Shape;2503;p66"/>
            <p:cNvSpPr/>
            <p:nvPr/>
          </p:nvSpPr>
          <p:spPr>
            <a:xfrm>
              <a:off x="3894725"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4" name="Google Shape;2504;p66"/>
            <p:cNvSpPr/>
            <p:nvPr/>
          </p:nvSpPr>
          <p:spPr>
            <a:xfrm>
              <a:off x="3970950" y="2028275"/>
              <a:ext cx="62225" cy="53450"/>
            </a:xfrm>
            <a:custGeom>
              <a:avLst/>
              <a:gdLst/>
              <a:ahLst/>
              <a:cxnLst/>
              <a:rect l="l" t="t" r="r" b="b"/>
              <a:pathLst>
                <a:path w="2489" h="2138" extrusionOk="0">
                  <a:moveTo>
                    <a:pt x="1065" y="1"/>
                  </a:moveTo>
                  <a:cubicBezTo>
                    <a:pt x="472" y="1"/>
                    <a:pt x="1" y="480"/>
                    <a:pt x="1" y="1065"/>
                  </a:cubicBezTo>
                  <a:cubicBezTo>
                    <a:pt x="1" y="1709"/>
                    <a:pt x="526" y="2137"/>
                    <a:pt x="1072" y="2137"/>
                  </a:cubicBezTo>
                  <a:cubicBezTo>
                    <a:pt x="1332" y="2137"/>
                    <a:pt x="1598" y="2040"/>
                    <a:pt x="1813" y="1821"/>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5" name="Google Shape;2505;p66"/>
            <p:cNvSpPr/>
            <p:nvPr/>
          </p:nvSpPr>
          <p:spPr>
            <a:xfrm>
              <a:off x="3970950" y="21045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6" name="Google Shape;2506;p66"/>
            <p:cNvSpPr/>
            <p:nvPr/>
          </p:nvSpPr>
          <p:spPr>
            <a:xfrm>
              <a:off x="4046950"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7" name="Google Shape;2507;p66"/>
            <p:cNvSpPr/>
            <p:nvPr/>
          </p:nvSpPr>
          <p:spPr>
            <a:xfrm>
              <a:off x="4046950"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8" name="Google Shape;2508;p66"/>
            <p:cNvSpPr/>
            <p:nvPr/>
          </p:nvSpPr>
          <p:spPr>
            <a:xfrm>
              <a:off x="4046950"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7" y="2040"/>
                    <a:pt x="1822" y="1821"/>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09" name="Google Shape;2509;p66"/>
            <p:cNvSpPr/>
            <p:nvPr/>
          </p:nvSpPr>
          <p:spPr>
            <a:xfrm>
              <a:off x="4046950" y="21045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0" name="Google Shape;2510;p66"/>
            <p:cNvSpPr/>
            <p:nvPr/>
          </p:nvSpPr>
          <p:spPr>
            <a:xfrm>
              <a:off x="412317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1" name="Google Shape;2511;p66"/>
            <p:cNvSpPr/>
            <p:nvPr/>
          </p:nvSpPr>
          <p:spPr>
            <a:xfrm>
              <a:off x="41231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2" name="Google Shape;2512;p66"/>
            <p:cNvSpPr/>
            <p:nvPr/>
          </p:nvSpPr>
          <p:spPr>
            <a:xfrm>
              <a:off x="4123175" y="1876050"/>
              <a:ext cx="62425" cy="53350"/>
            </a:xfrm>
            <a:custGeom>
              <a:avLst/>
              <a:gdLst/>
              <a:ahLst/>
              <a:cxnLst/>
              <a:rect l="l" t="t" r="r" b="b"/>
              <a:pathLst>
                <a:path w="2497" h="2134" extrusionOk="0">
                  <a:moveTo>
                    <a:pt x="1065" y="1"/>
                  </a:moveTo>
                  <a:cubicBezTo>
                    <a:pt x="480" y="1"/>
                    <a:pt x="0" y="472"/>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3" name="Google Shape;2513;p66"/>
            <p:cNvSpPr/>
            <p:nvPr/>
          </p:nvSpPr>
          <p:spPr>
            <a:xfrm>
              <a:off x="41231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4" name="Google Shape;2514;p66"/>
            <p:cNvSpPr/>
            <p:nvPr/>
          </p:nvSpPr>
          <p:spPr>
            <a:xfrm>
              <a:off x="4123175" y="2028275"/>
              <a:ext cx="62425" cy="53450"/>
            </a:xfrm>
            <a:custGeom>
              <a:avLst/>
              <a:gdLst/>
              <a:ahLst/>
              <a:cxnLst/>
              <a:rect l="l" t="t" r="r" b="b"/>
              <a:pathLst>
                <a:path w="2497" h="2138" extrusionOk="0">
                  <a:moveTo>
                    <a:pt x="1065" y="1"/>
                  </a:moveTo>
                  <a:cubicBezTo>
                    <a:pt x="480" y="1"/>
                    <a:pt x="0" y="480"/>
                    <a:pt x="0" y="1065"/>
                  </a:cubicBezTo>
                  <a:cubicBezTo>
                    <a:pt x="0" y="1709"/>
                    <a:pt x="526" y="2137"/>
                    <a:pt x="1074" y="2137"/>
                  </a:cubicBezTo>
                  <a:cubicBezTo>
                    <a:pt x="1336" y="2137"/>
                    <a:pt x="1603" y="2040"/>
                    <a:pt x="1821" y="1821"/>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5" name="Google Shape;2515;p66"/>
            <p:cNvSpPr/>
            <p:nvPr/>
          </p:nvSpPr>
          <p:spPr>
            <a:xfrm>
              <a:off x="41231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6" name="Google Shape;2516;p66"/>
            <p:cNvSpPr/>
            <p:nvPr/>
          </p:nvSpPr>
          <p:spPr>
            <a:xfrm>
              <a:off x="419940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7" name="Google Shape;2517;p66"/>
            <p:cNvSpPr/>
            <p:nvPr/>
          </p:nvSpPr>
          <p:spPr>
            <a:xfrm>
              <a:off x="419940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8" name="Google Shape;2518;p66"/>
            <p:cNvSpPr/>
            <p:nvPr/>
          </p:nvSpPr>
          <p:spPr>
            <a:xfrm>
              <a:off x="4199400"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19" name="Google Shape;2519;p66"/>
            <p:cNvSpPr/>
            <p:nvPr/>
          </p:nvSpPr>
          <p:spPr>
            <a:xfrm>
              <a:off x="4199400"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0" name="Google Shape;2520;p66"/>
            <p:cNvSpPr/>
            <p:nvPr/>
          </p:nvSpPr>
          <p:spPr>
            <a:xfrm>
              <a:off x="41994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1" name="Google Shape;2521;p66"/>
            <p:cNvSpPr/>
            <p:nvPr/>
          </p:nvSpPr>
          <p:spPr>
            <a:xfrm>
              <a:off x="419940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2" name="Google Shape;2522;p66"/>
            <p:cNvSpPr/>
            <p:nvPr/>
          </p:nvSpPr>
          <p:spPr>
            <a:xfrm>
              <a:off x="419940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3" name="Google Shape;2523;p66"/>
            <p:cNvSpPr/>
            <p:nvPr/>
          </p:nvSpPr>
          <p:spPr>
            <a:xfrm>
              <a:off x="427560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4" name="Google Shape;2524;p66"/>
            <p:cNvSpPr/>
            <p:nvPr/>
          </p:nvSpPr>
          <p:spPr>
            <a:xfrm>
              <a:off x="42756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5" name="Google Shape;2525;p66"/>
            <p:cNvSpPr/>
            <p:nvPr/>
          </p:nvSpPr>
          <p:spPr>
            <a:xfrm>
              <a:off x="42756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6" name="Google Shape;2526;p66"/>
            <p:cNvSpPr/>
            <p:nvPr/>
          </p:nvSpPr>
          <p:spPr>
            <a:xfrm>
              <a:off x="42756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7" name="Google Shape;2527;p66"/>
            <p:cNvSpPr/>
            <p:nvPr/>
          </p:nvSpPr>
          <p:spPr>
            <a:xfrm>
              <a:off x="42756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8" name="Google Shape;2528;p66"/>
            <p:cNvSpPr/>
            <p:nvPr/>
          </p:nvSpPr>
          <p:spPr>
            <a:xfrm>
              <a:off x="42756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3"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29" name="Google Shape;2529;p66"/>
            <p:cNvSpPr/>
            <p:nvPr/>
          </p:nvSpPr>
          <p:spPr>
            <a:xfrm>
              <a:off x="42756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0" name="Google Shape;2530;p66"/>
            <p:cNvSpPr/>
            <p:nvPr/>
          </p:nvSpPr>
          <p:spPr>
            <a:xfrm>
              <a:off x="42756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1" name="Google Shape;2531;p66"/>
            <p:cNvSpPr/>
            <p:nvPr/>
          </p:nvSpPr>
          <p:spPr>
            <a:xfrm>
              <a:off x="435160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2" name="Google Shape;2532;p66"/>
            <p:cNvSpPr/>
            <p:nvPr/>
          </p:nvSpPr>
          <p:spPr>
            <a:xfrm>
              <a:off x="4427825" y="1647400"/>
              <a:ext cx="62425" cy="53450"/>
            </a:xfrm>
            <a:custGeom>
              <a:avLst/>
              <a:gdLst/>
              <a:ahLst/>
              <a:cxnLst/>
              <a:rect l="l" t="t" r="r" b="b"/>
              <a:pathLst>
                <a:path w="2497" h="2138" extrusionOk="0">
                  <a:moveTo>
                    <a:pt x="1065" y="1"/>
                  </a:moveTo>
                  <a:cubicBezTo>
                    <a:pt x="480" y="9"/>
                    <a:pt x="9"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3" name="Google Shape;2533;p66"/>
            <p:cNvSpPr/>
            <p:nvPr/>
          </p:nvSpPr>
          <p:spPr>
            <a:xfrm>
              <a:off x="4427825" y="1723625"/>
              <a:ext cx="62425" cy="53350"/>
            </a:xfrm>
            <a:custGeom>
              <a:avLst/>
              <a:gdLst/>
              <a:ahLst/>
              <a:cxnLst/>
              <a:rect l="l" t="t" r="r" b="b"/>
              <a:pathLst>
                <a:path w="2497" h="2134" extrusionOk="0">
                  <a:moveTo>
                    <a:pt x="1065" y="1"/>
                  </a:moveTo>
                  <a:cubicBezTo>
                    <a:pt x="480" y="1"/>
                    <a:pt x="9"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4" name="Google Shape;2534;p66"/>
            <p:cNvSpPr/>
            <p:nvPr/>
          </p:nvSpPr>
          <p:spPr>
            <a:xfrm>
              <a:off x="4427825" y="179985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5" name="Google Shape;2535;p66"/>
            <p:cNvSpPr/>
            <p:nvPr/>
          </p:nvSpPr>
          <p:spPr>
            <a:xfrm>
              <a:off x="4427825" y="1876050"/>
              <a:ext cx="62425" cy="53275"/>
            </a:xfrm>
            <a:custGeom>
              <a:avLst/>
              <a:gdLst/>
              <a:ahLst/>
              <a:cxnLst/>
              <a:rect l="l" t="t" r="r" b="b"/>
              <a:pathLst>
                <a:path w="2497" h="2131" extrusionOk="0">
                  <a:moveTo>
                    <a:pt x="1065" y="1"/>
                  </a:moveTo>
                  <a:cubicBezTo>
                    <a:pt x="480" y="1"/>
                    <a:pt x="9" y="472"/>
                    <a:pt x="1" y="1066"/>
                  </a:cubicBezTo>
                  <a:cubicBezTo>
                    <a:pt x="1" y="1707"/>
                    <a:pt x="523" y="2131"/>
                    <a:pt x="1070" y="2131"/>
                  </a:cubicBezTo>
                  <a:cubicBezTo>
                    <a:pt x="1333" y="2131"/>
                    <a:pt x="1602" y="2033"/>
                    <a:pt x="1822" y="1813"/>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6" name="Google Shape;2536;p66"/>
            <p:cNvSpPr/>
            <p:nvPr/>
          </p:nvSpPr>
          <p:spPr>
            <a:xfrm>
              <a:off x="4427825" y="1952050"/>
              <a:ext cx="62425" cy="53450"/>
            </a:xfrm>
            <a:custGeom>
              <a:avLst/>
              <a:gdLst/>
              <a:ahLst/>
              <a:cxnLst/>
              <a:rect l="l" t="t" r="r" b="b"/>
              <a:pathLst>
                <a:path w="2497" h="2138" extrusionOk="0">
                  <a:moveTo>
                    <a:pt x="1065" y="1"/>
                  </a:moveTo>
                  <a:cubicBezTo>
                    <a:pt x="480" y="9"/>
                    <a:pt x="9" y="481"/>
                    <a:pt x="1" y="1074"/>
                  </a:cubicBezTo>
                  <a:cubicBezTo>
                    <a:pt x="1" y="1712"/>
                    <a:pt x="525" y="2138"/>
                    <a:pt x="1073" y="2138"/>
                  </a:cubicBezTo>
                  <a:cubicBezTo>
                    <a:pt x="1335" y="2138"/>
                    <a:pt x="1603" y="2040"/>
                    <a:pt x="1822"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7" name="Google Shape;2537;p66"/>
            <p:cNvSpPr/>
            <p:nvPr/>
          </p:nvSpPr>
          <p:spPr>
            <a:xfrm>
              <a:off x="4427825" y="2028275"/>
              <a:ext cx="62425" cy="53450"/>
            </a:xfrm>
            <a:custGeom>
              <a:avLst/>
              <a:gdLst/>
              <a:ahLst/>
              <a:cxnLst/>
              <a:rect l="l" t="t" r="r" b="b"/>
              <a:pathLst>
                <a:path w="2497" h="2138" extrusionOk="0">
                  <a:moveTo>
                    <a:pt x="1065" y="1"/>
                  </a:moveTo>
                  <a:cubicBezTo>
                    <a:pt x="480" y="1"/>
                    <a:pt x="9" y="480"/>
                    <a:pt x="1" y="1065"/>
                  </a:cubicBezTo>
                  <a:cubicBezTo>
                    <a:pt x="1" y="1709"/>
                    <a:pt x="526" y="2137"/>
                    <a:pt x="1074" y="2137"/>
                  </a:cubicBezTo>
                  <a:cubicBezTo>
                    <a:pt x="1336" y="2137"/>
                    <a:pt x="1603" y="2040"/>
                    <a:pt x="1822" y="1821"/>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8" name="Google Shape;2538;p66"/>
            <p:cNvSpPr/>
            <p:nvPr/>
          </p:nvSpPr>
          <p:spPr>
            <a:xfrm>
              <a:off x="4427825" y="2104500"/>
              <a:ext cx="62425" cy="53325"/>
            </a:xfrm>
            <a:custGeom>
              <a:avLst/>
              <a:gdLst/>
              <a:ahLst/>
              <a:cxnLst/>
              <a:rect l="l" t="t" r="r" b="b"/>
              <a:pathLst>
                <a:path w="2497" h="2133"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39" name="Google Shape;2539;p66"/>
            <p:cNvSpPr/>
            <p:nvPr/>
          </p:nvSpPr>
          <p:spPr>
            <a:xfrm>
              <a:off x="4427825" y="2180700"/>
              <a:ext cx="62425" cy="53350"/>
            </a:xfrm>
            <a:custGeom>
              <a:avLst/>
              <a:gdLst/>
              <a:ahLst/>
              <a:cxnLst/>
              <a:rect l="l" t="t" r="r" b="b"/>
              <a:pathLst>
                <a:path w="2497" h="2134" extrusionOk="0">
                  <a:moveTo>
                    <a:pt x="1065" y="1"/>
                  </a:moveTo>
                  <a:cubicBezTo>
                    <a:pt x="480" y="1"/>
                    <a:pt x="9" y="480"/>
                    <a:pt x="1" y="1066"/>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0" name="Google Shape;2540;p66"/>
            <p:cNvSpPr/>
            <p:nvPr/>
          </p:nvSpPr>
          <p:spPr>
            <a:xfrm>
              <a:off x="4427825" y="1571400"/>
              <a:ext cx="62350" cy="53250"/>
            </a:xfrm>
            <a:custGeom>
              <a:avLst/>
              <a:gdLst/>
              <a:ahLst/>
              <a:cxnLst/>
              <a:rect l="l" t="t" r="r" b="b"/>
              <a:pathLst>
                <a:path w="2494" h="2130" extrusionOk="0">
                  <a:moveTo>
                    <a:pt x="1075" y="1"/>
                  </a:moveTo>
                  <a:cubicBezTo>
                    <a:pt x="1072" y="1"/>
                    <a:pt x="1069" y="1"/>
                    <a:pt x="1065" y="1"/>
                  </a:cubicBezTo>
                  <a:cubicBezTo>
                    <a:pt x="480" y="1"/>
                    <a:pt x="9" y="472"/>
                    <a:pt x="1" y="1066"/>
                  </a:cubicBezTo>
                  <a:cubicBezTo>
                    <a:pt x="1" y="1703"/>
                    <a:pt x="525" y="2129"/>
                    <a:pt x="1073" y="2129"/>
                  </a:cubicBezTo>
                  <a:cubicBezTo>
                    <a:pt x="1335" y="2129"/>
                    <a:pt x="1603" y="2032"/>
                    <a:pt x="1822" y="1813"/>
                  </a:cubicBezTo>
                  <a:cubicBezTo>
                    <a:pt x="2494" y="1149"/>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1" name="Google Shape;2541;p66"/>
            <p:cNvSpPr/>
            <p:nvPr/>
          </p:nvSpPr>
          <p:spPr>
            <a:xfrm>
              <a:off x="435160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2" name="Google Shape;2542;p66"/>
            <p:cNvSpPr/>
            <p:nvPr/>
          </p:nvSpPr>
          <p:spPr>
            <a:xfrm>
              <a:off x="42756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3" name="Google Shape;2543;p66"/>
            <p:cNvSpPr/>
            <p:nvPr/>
          </p:nvSpPr>
          <p:spPr>
            <a:xfrm>
              <a:off x="42756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4" name="Google Shape;2544;p66"/>
            <p:cNvSpPr/>
            <p:nvPr/>
          </p:nvSpPr>
          <p:spPr>
            <a:xfrm>
              <a:off x="41994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5" name="Google Shape;2545;p66"/>
            <p:cNvSpPr/>
            <p:nvPr/>
          </p:nvSpPr>
          <p:spPr>
            <a:xfrm>
              <a:off x="41994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6" name="Google Shape;2546;p66"/>
            <p:cNvSpPr/>
            <p:nvPr/>
          </p:nvSpPr>
          <p:spPr>
            <a:xfrm>
              <a:off x="41994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7" name="Google Shape;2547;p66"/>
            <p:cNvSpPr/>
            <p:nvPr/>
          </p:nvSpPr>
          <p:spPr>
            <a:xfrm>
              <a:off x="41994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8" name="Google Shape;2548;p66"/>
            <p:cNvSpPr/>
            <p:nvPr/>
          </p:nvSpPr>
          <p:spPr>
            <a:xfrm>
              <a:off x="41231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49" name="Google Shape;2549;p66"/>
            <p:cNvSpPr/>
            <p:nvPr/>
          </p:nvSpPr>
          <p:spPr>
            <a:xfrm>
              <a:off x="4123175" y="164740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0" name="Google Shape;2550;p66"/>
            <p:cNvSpPr/>
            <p:nvPr/>
          </p:nvSpPr>
          <p:spPr>
            <a:xfrm>
              <a:off x="4123175"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1" name="Google Shape;2551;p66"/>
            <p:cNvSpPr/>
            <p:nvPr/>
          </p:nvSpPr>
          <p:spPr>
            <a:xfrm>
              <a:off x="4123175"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4" y="2036"/>
                    <a:pt x="1821"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2" name="Google Shape;2552;p66"/>
            <p:cNvSpPr/>
            <p:nvPr/>
          </p:nvSpPr>
          <p:spPr>
            <a:xfrm>
              <a:off x="4123175"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4" y="2037"/>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3" name="Google Shape;2553;p66"/>
            <p:cNvSpPr/>
            <p:nvPr/>
          </p:nvSpPr>
          <p:spPr>
            <a:xfrm>
              <a:off x="4123175" y="1342750"/>
              <a:ext cx="62425" cy="53450"/>
            </a:xfrm>
            <a:custGeom>
              <a:avLst/>
              <a:gdLst/>
              <a:ahLst/>
              <a:cxnLst/>
              <a:rect l="l" t="t" r="r" b="b"/>
              <a:pathLst>
                <a:path w="2497" h="2138" extrusionOk="0">
                  <a:moveTo>
                    <a:pt x="1065" y="1"/>
                  </a:moveTo>
                  <a:cubicBezTo>
                    <a:pt x="480" y="1"/>
                    <a:pt x="0" y="481"/>
                    <a:pt x="0" y="1066"/>
                  </a:cubicBezTo>
                  <a:cubicBezTo>
                    <a:pt x="0" y="1710"/>
                    <a:pt x="526" y="2138"/>
                    <a:pt x="1074" y="2138"/>
                  </a:cubicBezTo>
                  <a:cubicBezTo>
                    <a:pt x="1336" y="2138"/>
                    <a:pt x="1603" y="2040"/>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4" name="Google Shape;2554;p66"/>
            <p:cNvSpPr/>
            <p:nvPr/>
          </p:nvSpPr>
          <p:spPr>
            <a:xfrm>
              <a:off x="4046950"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5" name="Google Shape;2555;p66"/>
            <p:cNvSpPr/>
            <p:nvPr/>
          </p:nvSpPr>
          <p:spPr>
            <a:xfrm>
              <a:off x="4046950"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6" name="Google Shape;2556;p66"/>
            <p:cNvSpPr/>
            <p:nvPr/>
          </p:nvSpPr>
          <p:spPr>
            <a:xfrm>
              <a:off x="4046950" y="172362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7" name="Google Shape;2557;p66"/>
            <p:cNvSpPr/>
            <p:nvPr/>
          </p:nvSpPr>
          <p:spPr>
            <a:xfrm>
              <a:off x="4046950" y="1647400"/>
              <a:ext cx="62425" cy="53450"/>
            </a:xfrm>
            <a:custGeom>
              <a:avLst/>
              <a:gdLst/>
              <a:ahLst/>
              <a:cxnLst/>
              <a:rect l="l" t="t" r="r" b="b"/>
              <a:pathLst>
                <a:path w="2497" h="2138" extrusionOk="0">
                  <a:moveTo>
                    <a:pt x="1074" y="1"/>
                  </a:moveTo>
                  <a:cubicBezTo>
                    <a:pt x="481" y="9"/>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8" name="Google Shape;2558;p66"/>
            <p:cNvSpPr/>
            <p:nvPr/>
          </p:nvSpPr>
          <p:spPr>
            <a:xfrm>
              <a:off x="4046950"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59" name="Google Shape;2559;p66"/>
            <p:cNvSpPr/>
            <p:nvPr/>
          </p:nvSpPr>
          <p:spPr>
            <a:xfrm>
              <a:off x="4046950"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0" name="Google Shape;2560;p66"/>
            <p:cNvSpPr/>
            <p:nvPr/>
          </p:nvSpPr>
          <p:spPr>
            <a:xfrm>
              <a:off x="4046950" y="1418975"/>
              <a:ext cx="62425" cy="53350"/>
            </a:xfrm>
            <a:custGeom>
              <a:avLst/>
              <a:gdLst/>
              <a:ahLst/>
              <a:cxnLst/>
              <a:rect l="l" t="t" r="r" b="b"/>
              <a:pathLst>
                <a:path w="2497" h="2134" extrusionOk="0">
                  <a:moveTo>
                    <a:pt x="1074" y="1"/>
                  </a:moveTo>
                  <a:cubicBezTo>
                    <a:pt x="481" y="1"/>
                    <a:pt x="9" y="480"/>
                    <a:pt x="1" y="1065"/>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1" name="Google Shape;2561;p66"/>
            <p:cNvSpPr/>
            <p:nvPr/>
          </p:nvSpPr>
          <p:spPr>
            <a:xfrm>
              <a:off x="4046950" y="1342750"/>
              <a:ext cx="62425" cy="53450"/>
            </a:xfrm>
            <a:custGeom>
              <a:avLst/>
              <a:gdLst/>
              <a:ahLst/>
              <a:cxnLst/>
              <a:rect l="l" t="t" r="r" b="b"/>
              <a:pathLst>
                <a:path w="2497" h="2138" extrusionOk="0">
                  <a:moveTo>
                    <a:pt x="1074" y="1"/>
                  </a:moveTo>
                  <a:cubicBezTo>
                    <a:pt x="481" y="1"/>
                    <a:pt x="9" y="481"/>
                    <a:pt x="1" y="1066"/>
                  </a:cubicBezTo>
                  <a:cubicBezTo>
                    <a:pt x="1" y="1710"/>
                    <a:pt x="530" y="2138"/>
                    <a:pt x="1078" y="2138"/>
                  </a:cubicBezTo>
                  <a:cubicBezTo>
                    <a:pt x="1340" y="2138"/>
                    <a:pt x="1607"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2" name="Google Shape;2562;p66"/>
            <p:cNvSpPr/>
            <p:nvPr/>
          </p:nvSpPr>
          <p:spPr>
            <a:xfrm>
              <a:off x="3970950" y="2256925"/>
              <a:ext cx="62350" cy="53425"/>
            </a:xfrm>
            <a:custGeom>
              <a:avLst/>
              <a:gdLst/>
              <a:ahLst/>
              <a:cxnLst/>
              <a:rect l="l" t="t" r="r" b="b"/>
              <a:pathLst>
                <a:path w="2494" h="2137" extrusionOk="0">
                  <a:moveTo>
                    <a:pt x="1075" y="0"/>
                  </a:moveTo>
                  <a:cubicBezTo>
                    <a:pt x="1072" y="0"/>
                    <a:pt x="1069" y="0"/>
                    <a:pt x="1065" y="0"/>
                  </a:cubicBezTo>
                  <a:cubicBezTo>
                    <a:pt x="472" y="0"/>
                    <a:pt x="1" y="480"/>
                    <a:pt x="1" y="1065"/>
                  </a:cubicBezTo>
                  <a:cubicBezTo>
                    <a:pt x="1" y="1709"/>
                    <a:pt x="526" y="2137"/>
                    <a:pt x="1074" y="2137"/>
                  </a:cubicBezTo>
                  <a:cubicBezTo>
                    <a:pt x="1336" y="2137"/>
                    <a:pt x="1603" y="2039"/>
                    <a:pt x="1822"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3" name="Google Shape;2563;p66"/>
            <p:cNvSpPr/>
            <p:nvPr/>
          </p:nvSpPr>
          <p:spPr>
            <a:xfrm>
              <a:off x="3970950" y="2180700"/>
              <a:ext cx="62225" cy="53350"/>
            </a:xfrm>
            <a:custGeom>
              <a:avLst/>
              <a:gdLst/>
              <a:ahLst/>
              <a:cxnLst/>
              <a:rect l="l" t="t" r="r" b="b"/>
              <a:pathLst>
                <a:path w="2489" h="2134" extrusionOk="0">
                  <a:moveTo>
                    <a:pt x="1065" y="1"/>
                  </a:moveTo>
                  <a:cubicBezTo>
                    <a:pt x="472" y="1"/>
                    <a:pt x="1" y="480"/>
                    <a:pt x="1" y="1066"/>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4" name="Google Shape;2564;p66"/>
            <p:cNvSpPr/>
            <p:nvPr/>
          </p:nvSpPr>
          <p:spPr>
            <a:xfrm>
              <a:off x="3970950" y="179985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5" name="Google Shape;2565;p66"/>
            <p:cNvSpPr/>
            <p:nvPr/>
          </p:nvSpPr>
          <p:spPr>
            <a:xfrm>
              <a:off x="3970950" y="164740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6" name="Google Shape;2566;p66"/>
            <p:cNvSpPr/>
            <p:nvPr/>
          </p:nvSpPr>
          <p:spPr>
            <a:xfrm>
              <a:off x="3970950" y="1571400"/>
              <a:ext cx="62225" cy="53250"/>
            </a:xfrm>
            <a:custGeom>
              <a:avLst/>
              <a:gdLst/>
              <a:ahLst/>
              <a:cxnLst/>
              <a:rect l="l" t="t" r="r" b="b"/>
              <a:pathLst>
                <a:path w="2489" h="2130" extrusionOk="0">
                  <a:moveTo>
                    <a:pt x="1065" y="1"/>
                  </a:moveTo>
                  <a:cubicBezTo>
                    <a:pt x="472" y="1"/>
                    <a:pt x="1" y="472"/>
                    <a:pt x="1" y="1066"/>
                  </a:cubicBezTo>
                  <a:cubicBezTo>
                    <a:pt x="1" y="1703"/>
                    <a:pt x="525" y="2129"/>
                    <a:pt x="1071" y="2129"/>
                  </a:cubicBezTo>
                  <a:cubicBezTo>
                    <a:pt x="1332" y="2129"/>
                    <a:pt x="1598" y="2032"/>
                    <a:pt x="1813"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7" name="Google Shape;2567;p66"/>
            <p:cNvSpPr/>
            <p:nvPr/>
          </p:nvSpPr>
          <p:spPr>
            <a:xfrm>
              <a:off x="3970950" y="1495200"/>
              <a:ext cx="62225" cy="53325"/>
            </a:xfrm>
            <a:custGeom>
              <a:avLst/>
              <a:gdLst/>
              <a:ahLst/>
              <a:cxnLst/>
              <a:rect l="l" t="t" r="r" b="b"/>
              <a:pathLst>
                <a:path w="2489" h="2133" extrusionOk="0">
                  <a:moveTo>
                    <a:pt x="1065" y="0"/>
                  </a:moveTo>
                  <a:cubicBezTo>
                    <a:pt x="472" y="0"/>
                    <a:pt x="1" y="480"/>
                    <a:pt x="1" y="1065"/>
                  </a:cubicBezTo>
                  <a:cubicBezTo>
                    <a:pt x="1" y="1709"/>
                    <a:pt x="526" y="2133"/>
                    <a:pt x="1072" y="2133"/>
                  </a:cubicBezTo>
                  <a:cubicBezTo>
                    <a:pt x="1333" y="2133"/>
                    <a:pt x="1598" y="2036"/>
                    <a:pt x="1813"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8" name="Google Shape;2568;p66"/>
            <p:cNvSpPr/>
            <p:nvPr/>
          </p:nvSpPr>
          <p:spPr>
            <a:xfrm>
              <a:off x="3970950" y="141897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69" name="Google Shape;2569;p66"/>
            <p:cNvSpPr/>
            <p:nvPr/>
          </p:nvSpPr>
          <p:spPr>
            <a:xfrm>
              <a:off x="3970950" y="1342750"/>
              <a:ext cx="62225" cy="53450"/>
            </a:xfrm>
            <a:custGeom>
              <a:avLst/>
              <a:gdLst/>
              <a:ahLst/>
              <a:cxnLst/>
              <a:rect l="l" t="t" r="r" b="b"/>
              <a:pathLst>
                <a:path w="2489" h="2138" extrusionOk="0">
                  <a:moveTo>
                    <a:pt x="1065" y="1"/>
                  </a:moveTo>
                  <a:cubicBezTo>
                    <a:pt x="472" y="1"/>
                    <a:pt x="1" y="481"/>
                    <a:pt x="1" y="1066"/>
                  </a:cubicBezTo>
                  <a:cubicBezTo>
                    <a:pt x="1" y="1710"/>
                    <a:pt x="526" y="2138"/>
                    <a:pt x="1072" y="2138"/>
                  </a:cubicBezTo>
                  <a:cubicBezTo>
                    <a:pt x="1332" y="2138"/>
                    <a:pt x="1598" y="2040"/>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0" name="Google Shape;2570;p66"/>
            <p:cNvSpPr/>
            <p:nvPr/>
          </p:nvSpPr>
          <p:spPr>
            <a:xfrm>
              <a:off x="3970950" y="1114325"/>
              <a:ext cx="62225" cy="53350"/>
            </a:xfrm>
            <a:custGeom>
              <a:avLst/>
              <a:gdLst/>
              <a:ahLst/>
              <a:cxnLst/>
              <a:rect l="l" t="t" r="r" b="b"/>
              <a:pathLst>
                <a:path w="2489" h="2134" extrusionOk="0">
                  <a:moveTo>
                    <a:pt x="1065" y="1"/>
                  </a:moveTo>
                  <a:cubicBezTo>
                    <a:pt x="472" y="1"/>
                    <a:pt x="1" y="480"/>
                    <a:pt x="1" y="1065"/>
                  </a:cubicBezTo>
                  <a:cubicBezTo>
                    <a:pt x="1" y="1709"/>
                    <a:pt x="526" y="2133"/>
                    <a:pt x="1072" y="2133"/>
                  </a:cubicBezTo>
                  <a:cubicBezTo>
                    <a:pt x="1333" y="2133"/>
                    <a:pt x="1598" y="2037"/>
                    <a:pt x="1813"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1" name="Google Shape;2571;p66"/>
            <p:cNvSpPr/>
            <p:nvPr/>
          </p:nvSpPr>
          <p:spPr>
            <a:xfrm>
              <a:off x="3894725"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2" name="Google Shape;2572;p66"/>
            <p:cNvSpPr/>
            <p:nvPr/>
          </p:nvSpPr>
          <p:spPr>
            <a:xfrm>
              <a:off x="3894725"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4" y="2131"/>
                    <a:pt x="1603" y="2033"/>
                    <a:pt x="1822"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3" name="Google Shape;2573;p66"/>
            <p:cNvSpPr/>
            <p:nvPr/>
          </p:nvSpPr>
          <p:spPr>
            <a:xfrm>
              <a:off x="3894725"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4" name="Google Shape;2574;p66"/>
            <p:cNvSpPr/>
            <p:nvPr/>
          </p:nvSpPr>
          <p:spPr>
            <a:xfrm>
              <a:off x="3894725" y="17236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5" name="Google Shape;2575;p66"/>
            <p:cNvSpPr/>
            <p:nvPr/>
          </p:nvSpPr>
          <p:spPr>
            <a:xfrm>
              <a:off x="3894725"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6" name="Google Shape;2576;p66"/>
            <p:cNvSpPr/>
            <p:nvPr/>
          </p:nvSpPr>
          <p:spPr>
            <a:xfrm>
              <a:off x="3894725" y="1571400"/>
              <a:ext cx="62175" cy="53250"/>
            </a:xfrm>
            <a:custGeom>
              <a:avLst/>
              <a:gdLst/>
              <a:ahLst/>
              <a:cxnLst/>
              <a:rect l="l" t="t" r="r" b="b"/>
              <a:pathLst>
                <a:path w="2487" h="2130" extrusionOk="0">
                  <a:moveTo>
                    <a:pt x="1076" y="1"/>
                  </a:moveTo>
                  <a:cubicBezTo>
                    <a:pt x="1073" y="1"/>
                    <a:pt x="1069" y="1"/>
                    <a:pt x="1066" y="1"/>
                  </a:cubicBezTo>
                  <a:cubicBezTo>
                    <a:pt x="481" y="1"/>
                    <a:pt x="1" y="472"/>
                    <a:pt x="1" y="1066"/>
                  </a:cubicBezTo>
                  <a:cubicBezTo>
                    <a:pt x="1" y="1703"/>
                    <a:pt x="525" y="2129"/>
                    <a:pt x="1074" y="2129"/>
                  </a:cubicBezTo>
                  <a:cubicBezTo>
                    <a:pt x="1336" y="2129"/>
                    <a:pt x="1604" y="2032"/>
                    <a:pt x="1822" y="1813"/>
                  </a:cubicBezTo>
                  <a:cubicBezTo>
                    <a:pt x="2486" y="1149"/>
                    <a:pt x="2020" y="1"/>
                    <a:pt x="107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7" name="Google Shape;2577;p66"/>
            <p:cNvSpPr/>
            <p:nvPr/>
          </p:nvSpPr>
          <p:spPr>
            <a:xfrm>
              <a:off x="3894725"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8" name="Google Shape;2578;p66"/>
            <p:cNvSpPr/>
            <p:nvPr/>
          </p:nvSpPr>
          <p:spPr>
            <a:xfrm>
              <a:off x="3894725"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79" name="Google Shape;2579;p66"/>
            <p:cNvSpPr/>
            <p:nvPr/>
          </p:nvSpPr>
          <p:spPr>
            <a:xfrm>
              <a:off x="3894725" y="1342750"/>
              <a:ext cx="62225" cy="53450"/>
            </a:xfrm>
            <a:custGeom>
              <a:avLst/>
              <a:gdLst/>
              <a:ahLst/>
              <a:cxnLst/>
              <a:rect l="l" t="t" r="r" b="b"/>
              <a:pathLst>
                <a:path w="2489" h="2138" extrusionOk="0">
                  <a:moveTo>
                    <a:pt x="1066" y="1"/>
                  </a:moveTo>
                  <a:cubicBezTo>
                    <a:pt x="481" y="1"/>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0" name="Google Shape;2580;p66"/>
            <p:cNvSpPr/>
            <p:nvPr/>
          </p:nvSpPr>
          <p:spPr>
            <a:xfrm>
              <a:off x="3894725"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1" name="Google Shape;2581;p66"/>
            <p:cNvSpPr/>
            <p:nvPr/>
          </p:nvSpPr>
          <p:spPr>
            <a:xfrm>
              <a:off x="381852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2" name="Google Shape;2582;p66"/>
            <p:cNvSpPr/>
            <p:nvPr/>
          </p:nvSpPr>
          <p:spPr>
            <a:xfrm>
              <a:off x="381852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3" name="Google Shape;2583;p66"/>
            <p:cNvSpPr/>
            <p:nvPr/>
          </p:nvSpPr>
          <p:spPr>
            <a:xfrm>
              <a:off x="38185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4" name="Google Shape;2584;p66"/>
            <p:cNvSpPr/>
            <p:nvPr/>
          </p:nvSpPr>
          <p:spPr>
            <a:xfrm>
              <a:off x="38185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5" name="Google Shape;2585;p66"/>
            <p:cNvSpPr/>
            <p:nvPr/>
          </p:nvSpPr>
          <p:spPr>
            <a:xfrm>
              <a:off x="38185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6" name="Google Shape;2586;p66"/>
            <p:cNvSpPr/>
            <p:nvPr/>
          </p:nvSpPr>
          <p:spPr>
            <a:xfrm>
              <a:off x="38185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7" name="Google Shape;2587;p66"/>
            <p:cNvSpPr/>
            <p:nvPr/>
          </p:nvSpPr>
          <p:spPr>
            <a:xfrm>
              <a:off x="38185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8" name="Google Shape;2588;p66"/>
            <p:cNvSpPr/>
            <p:nvPr/>
          </p:nvSpPr>
          <p:spPr>
            <a:xfrm>
              <a:off x="38185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89" name="Google Shape;2589;p66"/>
            <p:cNvSpPr/>
            <p:nvPr/>
          </p:nvSpPr>
          <p:spPr>
            <a:xfrm>
              <a:off x="38185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0" name="Google Shape;2590;p66"/>
            <p:cNvSpPr/>
            <p:nvPr/>
          </p:nvSpPr>
          <p:spPr>
            <a:xfrm>
              <a:off x="3818525"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1" name="Google Shape;2591;p66"/>
            <p:cNvSpPr/>
            <p:nvPr/>
          </p:nvSpPr>
          <p:spPr>
            <a:xfrm>
              <a:off x="3818525"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2" name="Google Shape;2592;p66"/>
            <p:cNvSpPr/>
            <p:nvPr/>
          </p:nvSpPr>
          <p:spPr>
            <a:xfrm>
              <a:off x="3742300" y="2180700"/>
              <a:ext cx="62225" cy="53350"/>
            </a:xfrm>
            <a:custGeom>
              <a:avLst/>
              <a:gdLst/>
              <a:ahLst/>
              <a:cxnLst/>
              <a:rect l="l" t="t" r="r" b="b"/>
              <a:pathLst>
                <a:path w="2489" h="2134" extrusionOk="0">
                  <a:moveTo>
                    <a:pt x="1066" y="1"/>
                  </a:moveTo>
                  <a:cubicBezTo>
                    <a:pt x="481"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3" name="Google Shape;2593;p66"/>
            <p:cNvSpPr/>
            <p:nvPr/>
          </p:nvSpPr>
          <p:spPr>
            <a:xfrm>
              <a:off x="3742300" y="2104500"/>
              <a:ext cx="62225" cy="53325"/>
            </a:xfrm>
            <a:custGeom>
              <a:avLst/>
              <a:gdLst/>
              <a:ahLst/>
              <a:cxnLst/>
              <a:rect l="l" t="t" r="r" b="b"/>
              <a:pathLst>
                <a:path w="2489" h="2133" extrusionOk="0">
                  <a:moveTo>
                    <a:pt x="1066" y="0"/>
                  </a:moveTo>
                  <a:cubicBezTo>
                    <a:pt x="481" y="0"/>
                    <a:pt x="1" y="480"/>
                    <a:pt x="1" y="1065"/>
                  </a:cubicBezTo>
                  <a:cubicBezTo>
                    <a:pt x="1" y="1709"/>
                    <a:pt x="526" y="2133"/>
                    <a:pt x="1072" y="2133"/>
                  </a:cubicBezTo>
                  <a:cubicBezTo>
                    <a:pt x="1333" y="2133"/>
                    <a:pt x="1598" y="2036"/>
                    <a:pt x="1814" y="1821"/>
                  </a:cubicBezTo>
                  <a:cubicBezTo>
                    <a:pt x="2489"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4" name="Google Shape;2594;p66"/>
            <p:cNvSpPr/>
            <p:nvPr/>
          </p:nvSpPr>
          <p:spPr>
            <a:xfrm>
              <a:off x="3742300" y="1876050"/>
              <a:ext cx="62225" cy="53300"/>
            </a:xfrm>
            <a:custGeom>
              <a:avLst/>
              <a:gdLst/>
              <a:ahLst/>
              <a:cxnLst/>
              <a:rect l="l" t="t" r="r" b="b"/>
              <a:pathLst>
                <a:path w="2489" h="2132" extrusionOk="0">
                  <a:moveTo>
                    <a:pt x="1066" y="1"/>
                  </a:moveTo>
                  <a:cubicBezTo>
                    <a:pt x="481" y="1"/>
                    <a:pt x="1" y="472"/>
                    <a:pt x="1" y="1066"/>
                  </a:cubicBezTo>
                  <a:cubicBezTo>
                    <a:pt x="1" y="1705"/>
                    <a:pt x="528" y="2132"/>
                    <a:pt x="1076" y="2132"/>
                  </a:cubicBezTo>
                  <a:cubicBezTo>
                    <a:pt x="1335" y="2132"/>
                    <a:pt x="1599" y="2036"/>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5" name="Google Shape;2595;p66"/>
            <p:cNvSpPr/>
            <p:nvPr/>
          </p:nvSpPr>
          <p:spPr>
            <a:xfrm>
              <a:off x="3742300" y="179985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6" name="Google Shape;2596;p66"/>
            <p:cNvSpPr/>
            <p:nvPr/>
          </p:nvSpPr>
          <p:spPr>
            <a:xfrm>
              <a:off x="3742300" y="17236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7" name="Google Shape;2597;p66"/>
            <p:cNvSpPr/>
            <p:nvPr/>
          </p:nvSpPr>
          <p:spPr>
            <a:xfrm>
              <a:off x="3742300" y="1647400"/>
              <a:ext cx="62225" cy="53450"/>
            </a:xfrm>
            <a:custGeom>
              <a:avLst/>
              <a:gdLst/>
              <a:ahLst/>
              <a:cxnLst/>
              <a:rect l="l" t="t" r="r" b="b"/>
              <a:pathLst>
                <a:path w="2489" h="2138" extrusionOk="0">
                  <a:moveTo>
                    <a:pt x="1066" y="1"/>
                  </a:moveTo>
                  <a:cubicBezTo>
                    <a:pt x="481" y="1"/>
                    <a:pt x="1" y="481"/>
                    <a:pt x="1" y="1066"/>
                  </a:cubicBezTo>
                  <a:cubicBezTo>
                    <a:pt x="1" y="1710"/>
                    <a:pt x="526" y="2138"/>
                    <a:pt x="1072" y="2138"/>
                  </a:cubicBezTo>
                  <a:cubicBezTo>
                    <a:pt x="1333" y="2138"/>
                    <a:pt x="1598" y="2040"/>
                    <a:pt x="1814" y="1822"/>
                  </a:cubicBezTo>
                  <a:cubicBezTo>
                    <a:pt x="2489"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8" name="Google Shape;2598;p66"/>
            <p:cNvSpPr/>
            <p:nvPr/>
          </p:nvSpPr>
          <p:spPr>
            <a:xfrm>
              <a:off x="3742300" y="1571400"/>
              <a:ext cx="62225" cy="53250"/>
            </a:xfrm>
            <a:custGeom>
              <a:avLst/>
              <a:gdLst/>
              <a:ahLst/>
              <a:cxnLst/>
              <a:rect l="l" t="t" r="r" b="b"/>
              <a:pathLst>
                <a:path w="2489" h="2130" extrusionOk="0">
                  <a:moveTo>
                    <a:pt x="1066" y="1"/>
                  </a:moveTo>
                  <a:cubicBezTo>
                    <a:pt x="481"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599" name="Google Shape;2599;p66"/>
            <p:cNvSpPr/>
            <p:nvPr/>
          </p:nvSpPr>
          <p:spPr>
            <a:xfrm>
              <a:off x="3742300" y="1495200"/>
              <a:ext cx="62225" cy="53325"/>
            </a:xfrm>
            <a:custGeom>
              <a:avLst/>
              <a:gdLst/>
              <a:ahLst/>
              <a:cxnLst/>
              <a:rect l="l" t="t" r="r" b="b"/>
              <a:pathLst>
                <a:path w="2489" h="2133" extrusionOk="0">
                  <a:moveTo>
                    <a:pt x="1066" y="0"/>
                  </a:moveTo>
                  <a:cubicBezTo>
                    <a:pt x="481" y="0"/>
                    <a:pt x="1" y="472"/>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0" name="Google Shape;2600;p66"/>
            <p:cNvSpPr/>
            <p:nvPr/>
          </p:nvSpPr>
          <p:spPr>
            <a:xfrm>
              <a:off x="3742300" y="1114325"/>
              <a:ext cx="62225" cy="53350"/>
            </a:xfrm>
            <a:custGeom>
              <a:avLst/>
              <a:gdLst/>
              <a:ahLst/>
              <a:cxnLst/>
              <a:rect l="l" t="t" r="r" b="b"/>
              <a:pathLst>
                <a:path w="2489" h="2134" extrusionOk="0">
                  <a:moveTo>
                    <a:pt x="1066" y="1"/>
                  </a:moveTo>
                  <a:cubicBezTo>
                    <a:pt x="481" y="1"/>
                    <a:pt x="1" y="480"/>
                    <a:pt x="1" y="1065"/>
                  </a:cubicBezTo>
                  <a:cubicBezTo>
                    <a:pt x="1" y="1709"/>
                    <a:pt x="526" y="2133"/>
                    <a:pt x="1072" y="2133"/>
                  </a:cubicBezTo>
                  <a:cubicBezTo>
                    <a:pt x="1333" y="2133"/>
                    <a:pt x="1598" y="2037"/>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1" name="Google Shape;2601;p66"/>
            <p:cNvSpPr/>
            <p:nvPr/>
          </p:nvSpPr>
          <p:spPr>
            <a:xfrm>
              <a:off x="36661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2" name="Google Shape;2602;p66"/>
            <p:cNvSpPr/>
            <p:nvPr/>
          </p:nvSpPr>
          <p:spPr>
            <a:xfrm>
              <a:off x="366610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3" name="Google Shape;2603;p66"/>
            <p:cNvSpPr/>
            <p:nvPr/>
          </p:nvSpPr>
          <p:spPr>
            <a:xfrm>
              <a:off x="36661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4" name="Google Shape;2604;p66"/>
            <p:cNvSpPr/>
            <p:nvPr/>
          </p:nvSpPr>
          <p:spPr>
            <a:xfrm>
              <a:off x="3666100" y="1647400"/>
              <a:ext cx="62200" cy="53450"/>
            </a:xfrm>
            <a:custGeom>
              <a:avLst/>
              <a:gdLst/>
              <a:ahLst/>
              <a:cxnLst/>
              <a:rect l="l" t="t" r="r" b="b"/>
              <a:pathLst>
                <a:path w="2488"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5" name="Google Shape;2605;p66"/>
            <p:cNvSpPr/>
            <p:nvPr/>
          </p:nvSpPr>
          <p:spPr>
            <a:xfrm>
              <a:off x="3666100" y="1571400"/>
              <a:ext cx="62150" cy="53250"/>
            </a:xfrm>
            <a:custGeom>
              <a:avLst/>
              <a:gdLst/>
              <a:ahLst/>
              <a:cxnLst/>
              <a:rect l="l" t="t" r="r" b="b"/>
              <a:pathLst>
                <a:path w="2486" h="2130" extrusionOk="0">
                  <a:moveTo>
                    <a:pt x="1075" y="1"/>
                  </a:moveTo>
                  <a:cubicBezTo>
                    <a:pt x="1072" y="1"/>
                    <a:pt x="1069" y="1"/>
                    <a:pt x="1065" y="1"/>
                  </a:cubicBezTo>
                  <a:cubicBezTo>
                    <a:pt x="480" y="1"/>
                    <a:pt x="0" y="472"/>
                    <a:pt x="0" y="1066"/>
                  </a:cubicBezTo>
                  <a:cubicBezTo>
                    <a:pt x="0" y="1703"/>
                    <a:pt x="525" y="2129"/>
                    <a:pt x="1073" y="2129"/>
                  </a:cubicBezTo>
                  <a:cubicBezTo>
                    <a:pt x="1335" y="2129"/>
                    <a:pt x="1603" y="2032"/>
                    <a:pt x="1821" y="1813"/>
                  </a:cubicBezTo>
                  <a:cubicBezTo>
                    <a:pt x="2486" y="1149"/>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6" name="Google Shape;2606;p66"/>
            <p:cNvSpPr/>
            <p:nvPr/>
          </p:nvSpPr>
          <p:spPr>
            <a:xfrm>
              <a:off x="35898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7" name="Google Shape;2607;p66"/>
            <p:cNvSpPr/>
            <p:nvPr/>
          </p:nvSpPr>
          <p:spPr>
            <a:xfrm>
              <a:off x="35898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8" name="Google Shape;2608;p66"/>
            <p:cNvSpPr/>
            <p:nvPr/>
          </p:nvSpPr>
          <p:spPr>
            <a:xfrm>
              <a:off x="35898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09" name="Google Shape;2609;p66"/>
            <p:cNvSpPr/>
            <p:nvPr/>
          </p:nvSpPr>
          <p:spPr>
            <a:xfrm>
              <a:off x="35898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0" name="Google Shape;2610;p66"/>
            <p:cNvSpPr/>
            <p:nvPr/>
          </p:nvSpPr>
          <p:spPr>
            <a:xfrm>
              <a:off x="35898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1" name="Google Shape;2611;p66"/>
            <p:cNvSpPr/>
            <p:nvPr/>
          </p:nvSpPr>
          <p:spPr>
            <a:xfrm>
              <a:off x="35136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2" name="Google Shape;2612;p66"/>
            <p:cNvSpPr/>
            <p:nvPr/>
          </p:nvSpPr>
          <p:spPr>
            <a:xfrm>
              <a:off x="3513675"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3" name="Google Shape;2613;p66"/>
            <p:cNvSpPr/>
            <p:nvPr/>
          </p:nvSpPr>
          <p:spPr>
            <a:xfrm>
              <a:off x="351367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4" name="Google Shape;2614;p66"/>
            <p:cNvSpPr/>
            <p:nvPr/>
          </p:nvSpPr>
          <p:spPr>
            <a:xfrm>
              <a:off x="3513675"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5" name="Google Shape;2615;p66"/>
            <p:cNvSpPr/>
            <p:nvPr/>
          </p:nvSpPr>
          <p:spPr>
            <a:xfrm>
              <a:off x="3513675"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6" name="Google Shape;2616;p66"/>
            <p:cNvSpPr/>
            <p:nvPr/>
          </p:nvSpPr>
          <p:spPr>
            <a:xfrm>
              <a:off x="351367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7" name="Google Shape;2617;p66"/>
            <p:cNvSpPr/>
            <p:nvPr/>
          </p:nvSpPr>
          <p:spPr>
            <a:xfrm>
              <a:off x="3513675"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8" name="Google Shape;2618;p66"/>
            <p:cNvSpPr/>
            <p:nvPr/>
          </p:nvSpPr>
          <p:spPr>
            <a:xfrm>
              <a:off x="34374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19" name="Google Shape;2619;p66"/>
            <p:cNvSpPr/>
            <p:nvPr/>
          </p:nvSpPr>
          <p:spPr>
            <a:xfrm>
              <a:off x="34374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0" name="Google Shape;2620;p66"/>
            <p:cNvSpPr/>
            <p:nvPr/>
          </p:nvSpPr>
          <p:spPr>
            <a:xfrm>
              <a:off x="34374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1" name="Google Shape;2621;p66"/>
            <p:cNvSpPr/>
            <p:nvPr/>
          </p:nvSpPr>
          <p:spPr>
            <a:xfrm>
              <a:off x="34374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2" name="Google Shape;2622;p66"/>
            <p:cNvSpPr/>
            <p:nvPr/>
          </p:nvSpPr>
          <p:spPr>
            <a:xfrm>
              <a:off x="34374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3" name="Google Shape;2623;p66"/>
            <p:cNvSpPr/>
            <p:nvPr/>
          </p:nvSpPr>
          <p:spPr>
            <a:xfrm>
              <a:off x="34374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4" name="Google Shape;2624;p66"/>
            <p:cNvSpPr/>
            <p:nvPr/>
          </p:nvSpPr>
          <p:spPr>
            <a:xfrm>
              <a:off x="34374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5" name="Google Shape;2625;p66"/>
            <p:cNvSpPr/>
            <p:nvPr/>
          </p:nvSpPr>
          <p:spPr>
            <a:xfrm>
              <a:off x="3361450" y="2333125"/>
              <a:ext cx="62200" cy="53450"/>
            </a:xfrm>
            <a:custGeom>
              <a:avLst/>
              <a:gdLst/>
              <a:ahLst/>
              <a:cxnLst/>
              <a:rect l="l" t="t" r="r" b="b"/>
              <a:pathLst>
                <a:path w="2488" h="2138" extrusionOk="0">
                  <a:moveTo>
                    <a:pt x="1065" y="1"/>
                  </a:moveTo>
                  <a:cubicBezTo>
                    <a:pt x="472" y="1"/>
                    <a:pt x="0" y="480"/>
                    <a:pt x="0" y="1066"/>
                  </a:cubicBezTo>
                  <a:cubicBezTo>
                    <a:pt x="0" y="1709"/>
                    <a:pt x="525" y="2137"/>
                    <a:pt x="1072"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6" name="Google Shape;2626;p66"/>
            <p:cNvSpPr/>
            <p:nvPr/>
          </p:nvSpPr>
          <p:spPr>
            <a:xfrm>
              <a:off x="33614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7" name="Google Shape;2627;p66"/>
            <p:cNvSpPr/>
            <p:nvPr/>
          </p:nvSpPr>
          <p:spPr>
            <a:xfrm>
              <a:off x="3361450" y="2180700"/>
              <a:ext cx="62200" cy="53350"/>
            </a:xfrm>
            <a:custGeom>
              <a:avLst/>
              <a:gdLst/>
              <a:ahLst/>
              <a:cxnLst/>
              <a:rect l="l" t="t" r="r" b="b"/>
              <a:pathLst>
                <a:path w="2488" h="2134" extrusionOk="0">
                  <a:moveTo>
                    <a:pt x="1065" y="1"/>
                  </a:moveTo>
                  <a:cubicBezTo>
                    <a:pt x="472" y="1"/>
                    <a:pt x="0" y="480"/>
                    <a:pt x="0" y="1066"/>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8" name="Google Shape;2628;p66"/>
            <p:cNvSpPr/>
            <p:nvPr/>
          </p:nvSpPr>
          <p:spPr>
            <a:xfrm>
              <a:off x="33614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29" name="Google Shape;2629;p66"/>
            <p:cNvSpPr/>
            <p:nvPr/>
          </p:nvSpPr>
          <p:spPr>
            <a:xfrm>
              <a:off x="328522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0" name="Google Shape;2630;p66"/>
            <p:cNvSpPr/>
            <p:nvPr/>
          </p:nvSpPr>
          <p:spPr>
            <a:xfrm>
              <a:off x="31328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1" name="Google Shape;2631;p66"/>
            <p:cNvSpPr/>
            <p:nvPr/>
          </p:nvSpPr>
          <p:spPr>
            <a:xfrm>
              <a:off x="30568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2" name="Google Shape;2632;p66"/>
            <p:cNvSpPr/>
            <p:nvPr/>
          </p:nvSpPr>
          <p:spPr>
            <a:xfrm>
              <a:off x="3056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3" name="Google Shape;2633;p66"/>
            <p:cNvSpPr/>
            <p:nvPr/>
          </p:nvSpPr>
          <p:spPr>
            <a:xfrm>
              <a:off x="29805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4" name="Google Shape;2634;p66"/>
            <p:cNvSpPr/>
            <p:nvPr/>
          </p:nvSpPr>
          <p:spPr>
            <a:xfrm>
              <a:off x="29805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5" name="Google Shape;2635;p66"/>
            <p:cNvSpPr/>
            <p:nvPr/>
          </p:nvSpPr>
          <p:spPr>
            <a:xfrm>
              <a:off x="2980575"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6" name="Google Shape;2636;p66"/>
            <p:cNvSpPr/>
            <p:nvPr/>
          </p:nvSpPr>
          <p:spPr>
            <a:xfrm>
              <a:off x="29805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7" name="Google Shape;2637;p66"/>
            <p:cNvSpPr/>
            <p:nvPr/>
          </p:nvSpPr>
          <p:spPr>
            <a:xfrm>
              <a:off x="2980575"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8" name="Google Shape;2638;p66"/>
            <p:cNvSpPr/>
            <p:nvPr/>
          </p:nvSpPr>
          <p:spPr>
            <a:xfrm>
              <a:off x="2980575"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39" name="Google Shape;2639;p66"/>
            <p:cNvSpPr/>
            <p:nvPr/>
          </p:nvSpPr>
          <p:spPr>
            <a:xfrm>
              <a:off x="290437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0" name="Google Shape;2640;p66"/>
            <p:cNvSpPr/>
            <p:nvPr/>
          </p:nvSpPr>
          <p:spPr>
            <a:xfrm>
              <a:off x="290437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1" name="Google Shape;2641;p66"/>
            <p:cNvSpPr/>
            <p:nvPr/>
          </p:nvSpPr>
          <p:spPr>
            <a:xfrm>
              <a:off x="290437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2" name="Google Shape;2642;p66"/>
            <p:cNvSpPr/>
            <p:nvPr/>
          </p:nvSpPr>
          <p:spPr>
            <a:xfrm>
              <a:off x="290437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3" name="Google Shape;2643;p66"/>
            <p:cNvSpPr/>
            <p:nvPr/>
          </p:nvSpPr>
          <p:spPr>
            <a:xfrm>
              <a:off x="290437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4" name="Google Shape;2644;p66"/>
            <p:cNvSpPr/>
            <p:nvPr/>
          </p:nvSpPr>
          <p:spPr>
            <a:xfrm>
              <a:off x="290437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5" name="Google Shape;2645;p66"/>
            <p:cNvSpPr/>
            <p:nvPr/>
          </p:nvSpPr>
          <p:spPr>
            <a:xfrm>
              <a:off x="290437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6" name="Google Shape;2646;p66"/>
            <p:cNvSpPr/>
            <p:nvPr/>
          </p:nvSpPr>
          <p:spPr>
            <a:xfrm>
              <a:off x="2828150" y="1571400"/>
              <a:ext cx="62150" cy="53250"/>
            </a:xfrm>
            <a:custGeom>
              <a:avLst/>
              <a:gdLst/>
              <a:ahLst/>
              <a:cxnLst/>
              <a:rect l="l" t="t" r="r" b="b"/>
              <a:pathLst>
                <a:path w="2486" h="2130" extrusionOk="0">
                  <a:moveTo>
                    <a:pt x="1076" y="1"/>
                  </a:moveTo>
                  <a:cubicBezTo>
                    <a:pt x="1072" y="1"/>
                    <a:pt x="1069" y="1"/>
                    <a:pt x="1066" y="1"/>
                  </a:cubicBezTo>
                  <a:cubicBezTo>
                    <a:pt x="480" y="1"/>
                    <a:pt x="1" y="472"/>
                    <a:pt x="1" y="1066"/>
                  </a:cubicBezTo>
                  <a:cubicBezTo>
                    <a:pt x="1" y="1703"/>
                    <a:pt x="525" y="2129"/>
                    <a:pt x="1073" y="2129"/>
                  </a:cubicBezTo>
                  <a:cubicBezTo>
                    <a:pt x="1336" y="2129"/>
                    <a:pt x="1603" y="2032"/>
                    <a:pt x="1822" y="1813"/>
                  </a:cubicBezTo>
                  <a:cubicBezTo>
                    <a:pt x="2486" y="1149"/>
                    <a:pt x="2020" y="1"/>
                    <a:pt x="107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7" name="Google Shape;2647;p66"/>
            <p:cNvSpPr/>
            <p:nvPr/>
          </p:nvSpPr>
          <p:spPr>
            <a:xfrm>
              <a:off x="28281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8" name="Google Shape;2648;p66"/>
            <p:cNvSpPr/>
            <p:nvPr/>
          </p:nvSpPr>
          <p:spPr>
            <a:xfrm>
              <a:off x="282815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49" name="Google Shape;2649;p66"/>
            <p:cNvSpPr/>
            <p:nvPr/>
          </p:nvSpPr>
          <p:spPr>
            <a:xfrm>
              <a:off x="28281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0" name="Google Shape;2650;p66"/>
            <p:cNvSpPr/>
            <p:nvPr/>
          </p:nvSpPr>
          <p:spPr>
            <a:xfrm>
              <a:off x="28281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1" name="Google Shape;2651;p66"/>
            <p:cNvSpPr/>
            <p:nvPr/>
          </p:nvSpPr>
          <p:spPr>
            <a:xfrm>
              <a:off x="282815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2" name="Google Shape;2652;p66"/>
            <p:cNvSpPr/>
            <p:nvPr/>
          </p:nvSpPr>
          <p:spPr>
            <a:xfrm>
              <a:off x="282815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3" name="Google Shape;2653;p66"/>
            <p:cNvSpPr/>
            <p:nvPr/>
          </p:nvSpPr>
          <p:spPr>
            <a:xfrm>
              <a:off x="282815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4" name="Google Shape;2654;p66"/>
            <p:cNvSpPr/>
            <p:nvPr/>
          </p:nvSpPr>
          <p:spPr>
            <a:xfrm>
              <a:off x="27519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5" name="Google Shape;2655;p66"/>
            <p:cNvSpPr/>
            <p:nvPr/>
          </p:nvSpPr>
          <p:spPr>
            <a:xfrm>
              <a:off x="27519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6" name="Google Shape;2656;p66"/>
            <p:cNvSpPr/>
            <p:nvPr/>
          </p:nvSpPr>
          <p:spPr>
            <a:xfrm>
              <a:off x="275195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7" name="Google Shape;2657;p66"/>
            <p:cNvSpPr/>
            <p:nvPr/>
          </p:nvSpPr>
          <p:spPr>
            <a:xfrm>
              <a:off x="27519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8" name="Google Shape;2658;p66"/>
            <p:cNvSpPr/>
            <p:nvPr/>
          </p:nvSpPr>
          <p:spPr>
            <a:xfrm>
              <a:off x="27519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59" name="Google Shape;2659;p66"/>
            <p:cNvSpPr/>
            <p:nvPr/>
          </p:nvSpPr>
          <p:spPr>
            <a:xfrm>
              <a:off x="2751950"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0" name="Google Shape;2660;p66"/>
            <p:cNvSpPr/>
            <p:nvPr/>
          </p:nvSpPr>
          <p:spPr>
            <a:xfrm>
              <a:off x="27519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1" name="Google Shape;2661;p66"/>
            <p:cNvSpPr/>
            <p:nvPr/>
          </p:nvSpPr>
          <p:spPr>
            <a:xfrm>
              <a:off x="2751950"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2" name="Google Shape;2662;p66"/>
            <p:cNvSpPr/>
            <p:nvPr/>
          </p:nvSpPr>
          <p:spPr>
            <a:xfrm>
              <a:off x="26759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3" name="Google Shape;2663;p66"/>
            <p:cNvSpPr/>
            <p:nvPr/>
          </p:nvSpPr>
          <p:spPr>
            <a:xfrm>
              <a:off x="26759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4" name="Google Shape;2664;p66"/>
            <p:cNvSpPr/>
            <p:nvPr/>
          </p:nvSpPr>
          <p:spPr>
            <a:xfrm>
              <a:off x="26759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5" name="Google Shape;2665;p66"/>
            <p:cNvSpPr/>
            <p:nvPr/>
          </p:nvSpPr>
          <p:spPr>
            <a:xfrm>
              <a:off x="26759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6" name="Google Shape;2666;p66"/>
            <p:cNvSpPr/>
            <p:nvPr/>
          </p:nvSpPr>
          <p:spPr>
            <a:xfrm>
              <a:off x="26759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7" name="Google Shape;2667;p66"/>
            <p:cNvSpPr/>
            <p:nvPr/>
          </p:nvSpPr>
          <p:spPr>
            <a:xfrm>
              <a:off x="267592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8" name="Google Shape;2668;p66"/>
            <p:cNvSpPr/>
            <p:nvPr/>
          </p:nvSpPr>
          <p:spPr>
            <a:xfrm>
              <a:off x="267592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69" name="Google Shape;2669;p66"/>
            <p:cNvSpPr/>
            <p:nvPr/>
          </p:nvSpPr>
          <p:spPr>
            <a:xfrm>
              <a:off x="267592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0" name="Google Shape;2670;p66"/>
            <p:cNvSpPr/>
            <p:nvPr/>
          </p:nvSpPr>
          <p:spPr>
            <a:xfrm>
              <a:off x="25997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1" name="Google Shape;2671;p66"/>
            <p:cNvSpPr/>
            <p:nvPr/>
          </p:nvSpPr>
          <p:spPr>
            <a:xfrm>
              <a:off x="25997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2" name="Google Shape;2672;p66"/>
            <p:cNvSpPr/>
            <p:nvPr/>
          </p:nvSpPr>
          <p:spPr>
            <a:xfrm>
              <a:off x="25997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3" name="Google Shape;2673;p66"/>
            <p:cNvSpPr/>
            <p:nvPr/>
          </p:nvSpPr>
          <p:spPr>
            <a:xfrm>
              <a:off x="25997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4" name="Google Shape;2674;p66"/>
            <p:cNvSpPr/>
            <p:nvPr/>
          </p:nvSpPr>
          <p:spPr>
            <a:xfrm>
              <a:off x="25997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5" name="Google Shape;2675;p66"/>
            <p:cNvSpPr/>
            <p:nvPr/>
          </p:nvSpPr>
          <p:spPr>
            <a:xfrm>
              <a:off x="25997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6" name="Google Shape;2676;p66"/>
            <p:cNvSpPr/>
            <p:nvPr/>
          </p:nvSpPr>
          <p:spPr>
            <a:xfrm>
              <a:off x="2599725" y="11905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7" name="Google Shape;2677;p66"/>
            <p:cNvSpPr/>
            <p:nvPr/>
          </p:nvSpPr>
          <p:spPr>
            <a:xfrm>
              <a:off x="2599725"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8" name="Google Shape;2678;p66"/>
            <p:cNvSpPr/>
            <p:nvPr/>
          </p:nvSpPr>
          <p:spPr>
            <a:xfrm>
              <a:off x="2599725" y="1038125"/>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79" name="Google Shape;2679;p66"/>
            <p:cNvSpPr/>
            <p:nvPr/>
          </p:nvSpPr>
          <p:spPr>
            <a:xfrm>
              <a:off x="25235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0" name="Google Shape;2680;p66"/>
            <p:cNvSpPr/>
            <p:nvPr/>
          </p:nvSpPr>
          <p:spPr>
            <a:xfrm>
              <a:off x="25235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1" name="Google Shape;2681;p66"/>
            <p:cNvSpPr/>
            <p:nvPr/>
          </p:nvSpPr>
          <p:spPr>
            <a:xfrm>
              <a:off x="25235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2" name="Google Shape;2682;p66"/>
            <p:cNvSpPr/>
            <p:nvPr/>
          </p:nvSpPr>
          <p:spPr>
            <a:xfrm>
              <a:off x="25235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3" name="Google Shape;2683;p66"/>
            <p:cNvSpPr/>
            <p:nvPr/>
          </p:nvSpPr>
          <p:spPr>
            <a:xfrm>
              <a:off x="25235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4" name="Google Shape;2684;p66"/>
            <p:cNvSpPr/>
            <p:nvPr/>
          </p:nvSpPr>
          <p:spPr>
            <a:xfrm>
              <a:off x="25235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5" name="Google Shape;2685;p66"/>
            <p:cNvSpPr/>
            <p:nvPr/>
          </p:nvSpPr>
          <p:spPr>
            <a:xfrm>
              <a:off x="252350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6" name="Google Shape;2686;p66"/>
            <p:cNvSpPr/>
            <p:nvPr/>
          </p:nvSpPr>
          <p:spPr>
            <a:xfrm>
              <a:off x="2523500" y="1190550"/>
              <a:ext cx="62225" cy="53425"/>
            </a:xfrm>
            <a:custGeom>
              <a:avLst/>
              <a:gdLst/>
              <a:ahLst/>
              <a:cxnLst/>
              <a:rect l="l" t="t" r="r" b="b"/>
              <a:pathLst>
                <a:path w="2489" h="2137" extrusionOk="0">
                  <a:moveTo>
                    <a:pt x="1066" y="0"/>
                  </a:moveTo>
                  <a:cubicBezTo>
                    <a:pt x="480" y="0"/>
                    <a:pt x="1" y="480"/>
                    <a:pt x="1" y="1065"/>
                  </a:cubicBezTo>
                  <a:cubicBezTo>
                    <a:pt x="1" y="1709"/>
                    <a:pt x="526" y="2137"/>
                    <a:pt x="1074" y="2137"/>
                  </a:cubicBezTo>
                  <a:cubicBezTo>
                    <a:pt x="1336" y="2137"/>
                    <a:pt x="1604" y="2039"/>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7" name="Google Shape;2687;p66"/>
            <p:cNvSpPr/>
            <p:nvPr/>
          </p:nvSpPr>
          <p:spPr>
            <a:xfrm>
              <a:off x="2523500" y="11143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8" name="Google Shape;2688;p66"/>
            <p:cNvSpPr/>
            <p:nvPr/>
          </p:nvSpPr>
          <p:spPr>
            <a:xfrm>
              <a:off x="2523500" y="1038125"/>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89" name="Google Shape;2689;p66"/>
            <p:cNvSpPr/>
            <p:nvPr/>
          </p:nvSpPr>
          <p:spPr>
            <a:xfrm>
              <a:off x="24473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0" name="Google Shape;2690;p66"/>
            <p:cNvSpPr/>
            <p:nvPr/>
          </p:nvSpPr>
          <p:spPr>
            <a:xfrm>
              <a:off x="2447300" y="1647400"/>
              <a:ext cx="62400" cy="53450"/>
            </a:xfrm>
            <a:custGeom>
              <a:avLst/>
              <a:gdLst/>
              <a:ahLst/>
              <a:cxnLst/>
              <a:rect l="l" t="t" r="r" b="b"/>
              <a:pathLst>
                <a:path w="2496"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1" name="Google Shape;2691;p66"/>
            <p:cNvSpPr/>
            <p:nvPr/>
          </p:nvSpPr>
          <p:spPr>
            <a:xfrm>
              <a:off x="2447300" y="1571400"/>
              <a:ext cx="62400" cy="53250"/>
            </a:xfrm>
            <a:custGeom>
              <a:avLst/>
              <a:gdLst/>
              <a:ahLst/>
              <a:cxnLst/>
              <a:rect l="l" t="t" r="r" b="b"/>
              <a:pathLst>
                <a:path w="2496"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2" name="Google Shape;2692;p66"/>
            <p:cNvSpPr/>
            <p:nvPr/>
          </p:nvSpPr>
          <p:spPr>
            <a:xfrm>
              <a:off x="24473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3" name="Google Shape;2693;p66"/>
            <p:cNvSpPr/>
            <p:nvPr/>
          </p:nvSpPr>
          <p:spPr>
            <a:xfrm>
              <a:off x="2447300" y="1418975"/>
              <a:ext cx="62400" cy="53350"/>
            </a:xfrm>
            <a:custGeom>
              <a:avLst/>
              <a:gdLst/>
              <a:ahLst/>
              <a:cxnLst/>
              <a:rect l="l" t="t" r="r" b="b"/>
              <a:pathLst>
                <a:path w="2496" h="2134" extrusionOk="0">
                  <a:moveTo>
                    <a:pt x="1065" y="1"/>
                  </a:moveTo>
                  <a:cubicBezTo>
                    <a:pt x="480" y="1"/>
                    <a:pt x="8"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4" name="Google Shape;2694;p66"/>
            <p:cNvSpPr/>
            <p:nvPr/>
          </p:nvSpPr>
          <p:spPr>
            <a:xfrm>
              <a:off x="24473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5" name="Google Shape;2695;p66"/>
            <p:cNvSpPr/>
            <p:nvPr/>
          </p:nvSpPr>
          <p:spPr>
            <a:xfrm>
              <a:off x="2447300" y="1266550"/>
              <a:ext cx="62400" cy="53450"/>
            </a:xfrm>
            <a:custGeom>
              <a:avLst/>
              <a:gdLst/>
              <a:ahLst/>
              <a:cxnLst/>
              <a:rect l="l" t="t" r="r" b="b"/>
              <a:pathLst>
                <a:path w="2496"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6" name="Google Shape;2696;p66"/>
            <p:cNvSpPr/>
            <p:nvPr/>
          </p:nvSpPr>
          <p:spPr>
            <a:xfrm>
              <a:off x="2447300" y="1190550"/>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7" name="Google Shape;2697;p66"/>
            <p:cNvSpPr/>
            <p:nvPr/>
          </p:nvSpPr>
          <p:spPr>
            <a:xfrm>
              <a:off x="2447300" y="11143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8" name="Google Shape;2698;p66"/>
            <p:cNvSpPr/>
            <p:nvPr/>
          </p:nvSpPr>
          <p:spPr>
            <a:xfrm>
              <a:off x="2447300" y="1038125"/>
              <a:ext cx="62400" cy="53325"/>
            </a:xfrm>
            <a:custGeom>
              <a:avLst/>
              <a:gdLst/>
              <a:ahLst/>
              <a:cxnLst/>
              <a:rect l="l" t="t" r="r" b="b"/>
              <a:pathLst>
                <a:path w="2496" h="2133" extrusionOk="0">
                  <a:moveTo>
                    <a:pt x="1065" y="0"/>
                  </a:moveTo>
                  <a:cubicBezTo>
                    <a:pt x="480" y="0"/>
                    <a:pt x="8"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699" name="Google Shape;2699;p66"/>
            <p:cNvSpPr/>
            <p:nvPr/>
          </p:nvSpPr>
          <p:spPr>
            <a:xfrm>
              <a:off x="237127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0" name="Google Shape;2700;p66"/>
            <p:cNvSpPr/>
            <p:nvPr/>
          </p:nvSpPr>
          <p:spPr>
            <a:xfrm>
              <a:off x="23712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1" name="Google Shape;2701;p66"/>
            <p:cNvSpPr/>
            <p:nvPr/>
          </p:nvSpPr>
          <p:spPr>
            <a:xfrm>
              <a:off x="23712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2" name="Google Shape;2702;p66"/>
            <p:cNvSpPr/>
            <p:nvPr/>
          </p:nvSpPr>
          <p:spPr>
            <a:xfrm>
              <a:off x="23712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3" name="Google Shape;2703;p66"/>
            <p:cNvSpPr/>
            <p:nvPr/>
          </p:nvSpPr>
          <p:spPr>
            <a:xfrm>
              <a:off x="23712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4" name="Google Shape;2704;p66"/>
            <p:cNvSpPr/>
            <p:nvPr/>
          </p:nvSpPr>
          <p:spPr>
            <a:xfrm>
              <a:off x="237127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5" name="Google Shape;2705;p66"/>
            <p:cNvSpPr/>
            <p:nvPr/>
          </p:nvSpPr>
          <p:spPr>
            <a:xfrm>
              <a:off x="2371275" y="11905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6" name="Google Shape;2706;p66"/>
            <p:cNvSpPr/>
            <p:nvPr/>
          </p:nvSpPr>
          <p:spPr>
            <a:xfrm>
              <a:off x="2371275"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7" name="Google Shape;2707;p66"/>
            <p:cNvSpPr/>
            <p:nvPr/>
          </p:nvSpPr>
          <p:spPr>
            <a:xfrm>
              <a:off x="2371275" y="1038125"/>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8" name="Google Shape;2708;p66"/>
            <p:cNvSpPr/>
            <p:nvPr/>
          </p:nvSpPr>
          <p:spPr>
            <a:xfrm>
              <a:off x="229507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09" name="Google Shape;2709;p66"/>
            <p:cNvSpPr/>
            <p:nvPr/>
          </p:nvSpPr>
          <p:spPr>
            <a:xfrm>
              <a:off x="22950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0" name="Google Shape;2710;p66"/>
            <p:cNvSpPr/>
            <p:nvPr/>
          </p:nvSpPr>
          <p:spPr>
            <a:xfrm>
              <a:off x="2295075" y="11905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1" name="Google Shape;2711;p66"/>
            <p:cNvSpPr/>
            <p:nvPr/>
          </p:nvSpPr>
          <p:spPr>
            <a:xfrm>
              <a:off x="2295075" y="11143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2" name="Google Shape;2712;p66"/>
            <p:cNvSpPr/>
            <p:nvPr/>
          </p:nvSpPr>
          <p:spPr>
            <a:xfrm>
              <a:off x="2218650" y="1266550"/>
              <a:ext cx="62225" cy="53450"/>
            </a:xfrm>
            <a:custGeom>
              <a:avLst/>
              <a:gdLst/>
              <a:ahLst/>
              <a:cxnLst/>
              <a:rect l="l" t="t" r="r" b="b"/>
              <a:pathLst>
                <a:path w="2489" h="2138" extrusionOk="0">
                  <a:moveTo>
                    <a:pt x="1074" y="0"/>
                  </a:moveTo>
                  <a:cubicBezTo>
                    <a:pt x="480" y="9"/>
                    <a:pt x="0" y="480"/>
                    <a:pt x="0" y="1074"/>
                  </a:cubicBezTo>
                  <a:cubicBezTo>
                    <a:pt x="0" y="1711"/>
                    <a:pt x="525" y="2137"/>
                    <a:pt x="1073" y="2137"/>
                  </a:cubicBezTo>
                  <a:cubicBezTo>
                    <a:pt x="1335" y="2137"/>
                    <a:pt x="1603" y="2040"/>
                    <a:pt x="1821" y="1821"/>
                  </a:cubicBezTo>
                  <a:cubicBezTo>
                    <a:pt x="2488" y="1155"/>
                    <a:pt x="2017" y="9"/>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3" name="Google Shape;2713;p66"/>
            <p:cNvSpPr/>
            <p:nvPr/>
          </p:nvSpPr>
          <p:spPr>
            <a:xfrm>
              <a:off x="2218650" y="1190550"/>
              <a:ext cx="62225" cy="53325"/>
            </a:xfrm>
            <a:custGeom>
              <a:avLst/>
              <a:gdLst/>
              <a:ahLst/>
              <a:cxnLst/>
              <a:rect l="l" t="t" r="r" b="b"/>
              <a:pathLst>
                <a:path w="2489" h="2133" extrusionOk="0">
                  <a:moveTo>
                    <a:pt x="1074" y="0"/>
                  </a:moveTo>
                  <a:cubicBezTo>
                    <a:pt x="480" y="0"/>
                    <a:pt x="0" y="480"/>
                    <a:pt x="0" y="1065"/>
                  </a:cubicBezTo>
                  <a:cubicBezTo>
                    <a:pt x="0" y="1709"/>
                    <a:pt x="526" y="2133"/>
                    <a:pt x="1074" y="2133"/>
                  </a:cubicBezTo>
                  <a:cubicBezTo>
                    <a:pt x="1336" y="2133"/>
                    <a:pt x="1603" y="2036"/>
                    <a:pt x="1821" y="1821"/>
                  </a:cubicBezTo>
                  <a:cubicBezTo>
                    <a:pt x="2488"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4" name="Google Shape;2714;p66"/>
            <p:cNvSpPr/>
            <p:nvPr/>
          </p:nvSpPr>
          <p:spPr>
            <a:xfrm>
              <a:off x="2218650" y="1114325"/>
              <a:ext cx="62225" cy="53350"/>
            </a:xfrm>
            <a:custGeom>
              <a:avLst/>
              <a:gdLst/>
              <a:ahLst/>
              <a:cxnLst/>
              <a:rect l="l" t="t" r="r" b="b"/>
              <a:pathLst>
                <a:path w="2489" h="2134" extrusionOk="0">
                  <a:moveTo>
                    <a:pt x="1074" y="1"/>
                  </a:moveTo>
                  <a:cubicBezTo>
                    <a:pt x="480" y="1"/>
                    <a:pt x="0" y="480"/>
                    <a:pt x="0" y="1065"/>
                  </a:cubicBezTo>
                  <a:cubicBezTo>
                    <a:pt x="0" y="1709"/>
                    <a:pt x="526" y="2133"/>
                    <a:pt x="1074" y="2133"/>
                  </a:cubicBezTo>
                  <a:cubicBezTo>
                    <a:pt x="1336" y="2133"/>
                    <a:pt x="1603" y="2037"/>
                    <a:pt x="1821" y="1822"/>
                  </a:cubicBezTo>
                  <a:cubicBezTo>
                    <a:pt x="2488"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5" name="Google Shape;2715;p66"/>
            <p:cNvSpPr/>
            <p:nvPr/>
          </p:nvSpPr>
          <p:spPr>
            <a:xfrm>
              <a:off x="2142425" y="1266550"/>
              <a:ext cx="62425" cy="53450"/>
            </a:xfrm>
            <a:custGeom>
              <a:avLst/>
              <a:gdLst/>
              <a:ahLst/>
              <a:cxnLst/>
              <a:rect l="l" t="t" r="r" b="b"/>
              <a:pathLst>
                <a:path w="2497" h="2138" extrusionOk="0">
                  <a:moveTo>
                    <a:pt x="1074" y="0"/>
                  </a:moveTo>
                  <a:cubicBezTo>
                    <a:pt x="481"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6" name="Google Shape;2716;p66"/>
            <p:cNvSpPr/>
            <p:nvPr/>
          </p:nvSpPr>
          <p:spPr>
            <a:xfrm>
              <a:off x="2142425" y="11905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7" name="Google Shape;2717;p66"/>
            <p:cNvSpPr/>
            <p:nvPr/>
          </p:nvSpPr>
          <p:spPr>
            <a:xfrm>
              <a:off x="2751950"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8" name="Google Shape;2718;p66"/>
            <p:cNvSpPr/>
            <p:nvPr/>
          </p:nvSpPr>
          <p:spPr>
            <a:xfrm>
              <a:off x="2751950" y="3551925"/>
              <a:ext cx="62350" cy="53300"/>
            </a:xfrm>
            <a:custGeom>
              <a:avLst/>
              <a:gdLst/>
              <a:ahLst/>
              <a:cxnLst/>
              <a:rect l="l" t="t" r="r" b="b"/>
              <a:pathLst>
                <a:path w="2494" h="2132" extrusionOk="0">
                  <a:moveTo>
                    <a:pt x="1075" y="1"/>
                  </a:moveTo>
                  <a:cubicBezTo>
                    <a:pt x="1072" y="1"/>
                    <a:pt x="1068" y="1"/>
                    <a:pt x="1065" y="1"/>
                  </a:cubicBezTo>
                  <a:cubicBezTo>
                    <a:pt x="480" y="1"/>
                    <a:pt x="0" y="480"/>
                    <a:pt x="0" y="1066"/>
                  </a:cubicBezTo>
                  <a:cubicBezTo>
                    <a:pt x="6" y="1708"/>
                    <a:pt x="530" y="2131"/>
                    <a:pt x="1075" y="2131"/>
                  </a:cubicBezTo>
                  <a:cubicBezTo>
                    <a:pt x="1337" y="2131"/>
                    <a:pt x="1604" y="2033"/>
                    <a:pt x="1821" y="1814"/>
                  </a:cubicBezTo>
                  <a:cubicBezTo>
                    <a:pt x="2493" y="1141"/>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19" name="Google Shape;2719;p66"/>
            <p:cNvSpPr/>
            <p:nvPr/>
          </p:nvSpPr>
          <p:spPr>
            <a:xfrm>
              <a:off x="2751950" y="3475725"/>
              <a:ext cx="62350" cy="53275"/>
            </a:xfrm>
            <a:custGeom>
              <a:avLst/>
              <a:gdLst/>
              <a:ahLst/>
              <a:cxnLst/>
              <a:rect l="l" t="t" r="r" b="b"/>
              <a:pathLst>
                <a:path w="2494" h="2131" extrusionOk="0">
                  <a:moveTo>
                    <a:pt x="1075" y="0"/>
                  </a:moveTo>
                  <a:cubicBezTo>
                    <a:pt x="1072" y="0"/>
                    <a:pt x="1068" y="0"/>
                    <a:pt x="1065" y="0"/>
                  </a:cubicBezTo>
                  <a:cubicBezTo>
                    <a:pt x="480" y="0"/>
                    <a:pt x="0" y="480"/>
                    <a:pt x="0" y="1065"/>
                  </a:cubicBezTo>
                  <a:cubicBezTo>
                    <a:pt x="0" y="1707"/>
                    <a:pt x="526" y="2131"/>
                    <a:pt x="1073" y="2131"/>
                  </a:cubicBezTo>
                  <a:cubicBezTo>
                    <a:pt x="1336" y="2131"/>
                    <a:pt x="1604" y="2032"/>
                    <a:pt x="1821" y="1813"/>
                  </a:cubicBezTo>
                  <a:cubicBezTo>
                    <a:pt x="2493"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0" name="Google Shape;2720;p66"/>
            <p:cNvSpPr/>
            <p:nvPr/>
          </p:nvSpPr>
          <p:spPr>
            <a:xfrm>
              <a:off x="2675925" y="385677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1" name="Google Shape;2721;p66"/>
            <p:cNvSpPr/>
            <p:nvPr/>
          </p:nvSpPr>
          <p:spPr>
            <a:xfrm>
              <a:off x="2675725" y="3780375"/>
              <a:ext cx="62425" cy="53475"/>
            </a:xfrm>
            <a:custGeom>
              <a:avLst/>
              <a:gdLst/>
              <a:ahLst/>
              <a:cxnLst/>
              <a:rect l="l" t="t" r="r" b="b"/>
              <a:pathLst>
                <a:path w="2497" h="2139" extrusionOk="0">
                  <a:moveTo>
                    <a:pt x="1074" y="0"/>
                  </a:moveTo>
                  <a:cubicBezTo>
                    <a:pt x="480" y="0"/>
                    <a:pt x="1" y="480"/>
                    <a:pt x="9" y="1073"/>
                  </a:cubicBezTo>
                  <a:cubicBezTo>
                    <a:pt x="9" y="1715"/>
                    <a:pt x="535" y="2139"/>
                    <a:pt x="1081" y="2139"/>
                  </a:cubicBezTo>
                  <a:cubicBezTo>
                    <a:pt x="1345" y="2139"/>
                    <a:pt x="1613" y="2040"/>
                    <a:pt x="1830" y="1821"/>
                  </a:cubicBezTo>
                  <a:cubicBezTo>
                    <a:pt x="2496"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2" name="Google Shape;2722;p66"/>
            <p:cNvSpPr/>
            <p:nvPr/>
          </p:nvSpPr>
          <p:spPr>
            <a:xfrm>
              <a:off x="267592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3" name="Google Shape;2723;p66"/>
            <p:cNvSpPr/>
            <p:nvPr/>
          </p:nvSpPr>
          <p:spPr>
            <a:xfrm>
              <a:off x="2675925" y="3627950"/>
              <a:ext cx="62225" cy="53425"/>
            </a:xfrm>
            <a:custGeom>
              <a:avLst/>
              <a:gdLst/>
              <a:ahLst/>
              <a:cxnLst/>
              <a:rect l="l" t="t" r="r" b="b"/>
              <a:pathLst>
                <a:path w="2489" h="2137" extrusionOk="0">
                  <a:moveTo>
                    <a:pt x="1066" y="0"/>
                  </a:moveTo>
                  <a:cubicBezTo>
                    <a:pt x="472"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4" name="Google Shape;2724;p66"/>
            <p:cNvSpPr/>
            <p:nvPr/>
          </p:nvSpPr>
          <p:spPr>
            <a:xfrm>
              <a:off x="2675925" y="3551925"/>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5" name="Google Shape;2725;p66"/>
            <p:cNvSpPr/>
            <p:nvPr/>
          </p:nvSpPr>
          <p:spPr>
            <a:xfrm>
              <a:off x="26759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6" name="Google Shape;2726;p66"/>
            <p:cNvSpPr/>
            <p:nvPr/>
          </p:nvSpPr>
          <p:spPr>
            <a:xfrm>
              <a:off x="259972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7" name="Google Shape;2727;p66"/>
            <p:cNvSpPr/>
            <p:nvPr/>
          </p:nvSpPr>
          <p:spPr>
            <a:xfrm>
              <a:off x="2599725" y="3780375"/>
              <a:ext cx="62400" cy="53475"/>
            </a:xfrm>
            <a:custGeom>
              <a:avLst/>
              <a:gdLst/>
              <a:ahLst/>
              <a:cxnLst/>
              <a:rect l="l" t="t" r="r" b="b"/>
              <a:pathLst>
                <a:path w="2496" h="2139" extrusionOk="0">
                  <a:moveTo>
                    <a:pt x="1065" y="0"/>
                  </a:moveTo>
                  <a:cubicBezTo>
                    <a:pt x="472" y="0"/>
                    <a:pt x="0" y="480"/>
                    <a:pt x="0" y="1073"/>
                  </a:cubicBezTo>
                  <a:cubicBezTo>
                    <a:pt x="0" y="1715"/>
                    <a:pt x="526" y="2139"/>
                    <a:pt x="1073" y="2139"/>
                  </a:cubicBezTo>
                  <a:cubicBezTo>
                    <a:pt x="1336" y="2139"/>
                    <a:pt x="1604" y="2040"/>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8" name="Google Shape;2728;p66"/>
            <p:cNvSpPr/>
            <p:nvPr/>
          </p:nvSpPr>
          <p:spPr>
            <a:xfrm>
              <a:off x="2599725" y="3704150"/>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29" name="Google Shape;2729;p66"/>
            <p:cNvSpPr/>
            <p:nvPr/>
          </p:nvSpPr>
          <p:spPr>
            <a:xfrm>
              <a:off x="2599725" y="3627950"/>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0" name="Google Shape;2730;p66"/>
            <p:cNvSpPr/>
            <p:nvPr/>
          </p:nvSpPr>
          <p:spPr>
            <a:xfrm>
              <a:off x="259972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1" name="Google Shape;2731;p66"/>
            <p:cNvSpPr/>
            <p:nvPr/>
          </p:nvSpPr>
          <p:spPr>
            <a:xfrm>
              <a:off x="259972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2" name="Google Shape;2732;p66"/>
            <p:cNvSpPr/>
            <p:nvPr/>
          </p:nvSpPr>
          <p:spPr>
            <a:xfrm>
              <a:off x="2523500" y="3932800"/>
              <a:ext cx="62225" cy="53475"/>
            </a:xfrm>
            <a:custGeom>
              <a:avLst/>
              <a:gdLst/>
              <a:ahLst/>
              <a:cxnLst/>
              <a:rect l="l" t="t" r="r" b="b"/>
              <a:pathLst>
                <a:path w="2489" h="2139" extrusionOk="0">
                  <a:moveTo>
                    <a:pt x="1066" y="0"/>
                  </a:moveTo>
                  <a:cubicBezTo>
                    <a:pt x="480" y="0"/>
                    <a:pt x="1" y="480"/>
                    <a:pt x="1" y="1073"/>
                  </a:cubicBezTo>
                  <a:cubicBezTo>
                    <a:pt x="6" y="1715"/>
                    <a:pt x="530" y="2139"/>
                    <a:pt x="1075" y="2139"/>
                  </a:cubicBezTo>
                  <a:cubicBezTo>
                    <a:pt x="1338" y="2139"/>
                    <a:pt x="1605" y="2041"/>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3" name="Google Shape;2733;p66"/>
            <p:cNvSpPr/>
            <p:nvPr/>
          </p:nvSpPr>
          <p:spPr>
            <a:xfrm>
              <a:off x="2523500" y="385677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4" name="Google Shape;2734;p66"/>
            <p:cNvSpPr/>
            <p:nvPr/>
          </p:nvSpPr>
          <p:spPr>
            <a:xfrm>
              <a:off x="2523500" y="3780375"/>
              <a:ext cx="62425" cy="53475"/>
            </a:xfrm>
            <a:custGeom>
              <a:avLst/>
              <a:gdLst/>
              <a:ahLst/>
              <a:cxnLst/>
              <a:rect l="l" t="t" r="r" b="b"/>
              <a:pathLst>
                <a:path w="2497" h="2139" extrusionOk="0">
                  <a:moveTo>
                    <a:pt x="1066" y="0"/>
                  </a:moveTo>
                  <a:cubicBezTo>
                    <a:pt x="480" y="0"/>
                    <a:pt x="1" y="480"/>
                    <a:pt x="1" y="1073"/>
                  </a:cubicBezTo>
                  <a:cubicBezTo>
                    <a:pt x="6" y="1715"/>
                    <a:pt x="530" y="2139"/>
                    <a:pt x="1078" y="2139"/>
                  </a:cubicBezTo>
                  <a:cubicBezTo>
                    <a:pt x="1341" y="2139"/>
                    <a:pt x="1610" y="2040"/>
                    <a:pt x="1830"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5" name="Google Shape;2735;p66"/>
            <p:cNvSpPr/>
            <p:nvPr/>
          </p:nvSpPr>
          <p:spPr>
            <a:xfrm>
              <a:off x="2523500" y="3704150"/>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6" name="Google Shape;2736;p66"/>
            <p:cNvSpPr/>
            <p:nvPr/>
          </p:nvSpPr>
          <p:spPr>
            <a:xfrm>
              <a:off x="2523500" y="3627950"/>
              <a:ext cx="62225" cy="53475"/>
            </a:xfrm>
            <a:custGeom>
              <a:avLst/>
              <a:gdLst/>
              <a:ahLst/>
              <a:cxnLst/>
              <a:rect l="l" t="t" r="r" b="b"/>
              <a:pathLst>
                <a:path w="2489" h="2139" extrusionOk="0">
                  <a:moveTo>
                    <a:pt x="1066" y="0"/>
                  </a:moveTo>
                  <a:cubicBezTo>
                    <a:pt x="480" y="8"/>
                    <a:pt x="1" y="488"/>
                    <a:pt x="1" y="1073"/>
                  </a:cubicBezTo>
                  <a:cubicBezTo>
                    <a:pt x="1" y="1715"/>
                    <a:pt x="527" y="2139"/>
                    <a:pt x="1073" y="2139"/>
                  </a:cubicBezTo>
                  <a:cubicBezTo>
                    <a:pt x="1337" y="2139"/>
                    <a:pt x="1605" y="2040"/>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7" name="Google Shape;2737;p66"/>
            <p:cNvSpPr/>
            <p:nvPr/>
          </p:nvSpPr>
          <p:spPr>
            <a:xfrm>
              <a:off x="2523500" y="3551925"/>
              <a:ext cx="62225" cy="53300"/>
            </a:xfrm>
            <a:custGeom>
              <a:avLst/>
              <a:gdLst/>
              <a:ahLst/>
              <a:cxnLst/>
              <a:rect l="l" t="t" r="r" b="b"/>
              <a:pathLst>
                <a:path w="2489" h="2132" extrusionOk="0">
                  <a:moveTo>
                    <a:pt x="1066" y="1"/>
                  </a:moveTo>
                  <a:cubicBezTo>
                    <a:pt x="480" y="1"/>
                    <a:pt x="1" y="480"/>
                    <a:pt x="1" y="1066"/>
                  </a:cubicBezTo>
                  <a:cubicBezTo>
                    <a:pt x="1" y="1708"/>
                    <a:pt x="527" y="2131"/>
                    <a:pt x="1073" y="2131"/>
                  </a:cubicBezTo>
                  <a:cubicBezTo>
                    <a:pt x="1337" y="2131"/>
                    <a:pt x="1605"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8" name="Google Shape;2738;p66"/>
            <p:cNvSpPr/>
            <p:nvPr/>
          </p:nvSpPr>
          <p:spPr>
            <a:xfrm>
              <a:off x="2523500" y="3475725"/>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7"/>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39" name="Google Shape;2739;p66"/>
            <p:cNvSpPr/>
            <p:nvPr/>
          </p:nvSpPr>
          <p:spPr>
            <a:xfrm>
              <a:off x="2523500" y="33995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0" name="Google Shape;2740;p66"/>
            <p:cNvSpPr/>
            <p:nvPr/>
          </p:nvSpPr>
          <p:spPr>
            <a:xfrm>
              <a:off x="2447300" y="4085225"/>
              <a:ext cx="62400" cy="53350"/>
            </a:xfrm>
            <a:custGeom>
              <a:avLst/>
              <a:gdLst/>
              <a:ahLst/>
              <a:cxnLst/>
              <a:rect l="l" t="t" r="r" b="b"/>
              <a:pathLst>
                <a:path w="2496" h="2134" extrusionOk="0">
                  <a:moveTo>
                    <a:pt x="1065" y="0"/>
                  </a:moveTo>
                  <a:cubicBezTo>
                    <a:pt x="480" y="0"/>
                    <a:pt x="8" y="480"/>
                    <a:pt x="0" y="1065"/>
                  </a:cubicBezTo>
                  <a:cubicBezTo>
                    <a:pt x="0" y="1709"/>
                    <a:pt x="525" y="2133"/>
                    <a:pt x="1074" y="2133"/>
                  </a:cubicBezTo>
                  <a:cubicBezTo>
                    <a:pt x="1336" y="2133"/>
                    <a:pt x="1603" y="2037"/>
                    <a:pt x="1821" y="1821"/>
                  </a:cubicBezTo>
                  <a:cubicBezTo>
                    <a:pt x="2496" y="1147"/>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1" name="Google Shape;2741;p66"/>
            <p:cNvSpPr/>
            <p:nvPr/>
          </p:nvSpPr>
          <p:spPr>
            <a:xfrm>
              <a:off x="2447300" y="4009000"/>
              <a:ext cx="62400" cy="53350"/>
            </a:xfrm>
            <a:custGeom>
              <a:avLst/>
              <a:gdLst/>
              <a:ahLst/>
              <a:cxnLst/>
              <a:rect l="l" t="t" r="r" b="b"/>
              <a:pathLst>
                <a:path w="2496" h="2134" extrusionOk="0">
                  <a:moveTo>
                    <a:pt x="1065" y="1"/>
                  </a:moveTo>
                  <a:cubicBezTo>
                    <a:pt x="480" y="1"/>
                    <a:pt x="0" y="480"/>
                    <a:pt x="0" y="1066"/>
                  </a:cubicBezTo>
                  <a:cubicBezTo>
                    <a:pt x="0" y="1710"/>
                    <a:pt x="529" y="2134"/>
                    <a:pt x="1078" y="2134"/>
                  </a:cubicBezTo>
                  <a:cubicBezTo>
                    <a:pt x="1339" y="2134"/>
                    <a:pt x="1606"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2" name="Google Shape;2742;p66"/>
            <p:cNvSpPr/>
            <p:nvPr/>
          </p:nvSpPr>
          <p:spPr>
            <a:xfrm>
              <a:off x="2447300" y="3932800"/>
              <a:ext cx="62200" cy="53475"/>
            </a:xfrm>
            <a:custGeom>
              <a:avLst/>
              <a:gdLst/>
              <a:ahLst/>
              <a:cxnLst/>
              <a:rect l="l" t="t" r="r" b="b"/>
              <a:pathLst>
                <a:path w="2488" h="2139" extrusionOk="0">
                  <a:moveTo>
                    <a:pt x="1065" y="0"/>
                  </a:moveTo>
                  <a:cubicBezTo>
                    <a:pt x="480" y="0"/>
                    <a:pt x="0" y="480"/>
                    <a:pt x="0" y="1073"/>
                  </a:cubicBezTo>
                  <a:cubicBezTo>
                    <a:pt x="6" y="1715"/>
                    <a:pt x="530" y="2139"/>
                    <a:pt x="1075" y="2139"/>
                  </a:cubicBezTo>
                  <a:cubicBezTo>
                    <a:pt x="1337" y="2139"/>
                    <a:pt x="1604" y="2041"/>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3" name="Google Shape;2743;p66"/>
            <p:cNvSpPr/>
            <p:nvPr/>
          </p:nvSpPr>
          <p:spPr>
            <a:xfrm>
              <a:off x="2447300" y="385677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4" name="Google Shape;2744;p66"/>
            <p:cNvSpPr/>
            <p:nvPr/>
          </p:nvSpPr>
          <p:spPr>
            <a:xfrm>
              <a:off x="2447300" y="3780375"/>
              <a:ext cx="62400" cy="53475"/>
            </a:xfrm>
            <a:custGeom>
              <a:avLst/>
              <a:gdLst/>
              <a:ahLst/>
              <a:cxnLst/>
              <a:rect l="l" t="t" r="r" b="b"/>
              <a:pathLst>
                <a:path w="2496" h="2139" extrusionOk="0">
                  <a:moveTo>
                    <a:pt x="1065" y="0"/>
                  </a:moveTo>
                  <a:cubicBezTo>
                    <a:pt x="480" y="0"/>
                    <a:pt x="0" y="480"/>
                    <a:pt x="0" y="1073"/>
                  </a:cubicBezTo>
                  <a:cubicBezTo>
                    <a:pt x="6" y="1715"/>
                    <a:pt x="530" y="2139"/>
                    <a:pt x="1077" y="2139"/>
                  </a:cubicBezTo>
                  <a:cubicBezTo>
                    <a:pt x="1341" y="2139"/>
                    <a:pt x="1610" y="2040"/>
                    <a:pt x="1829"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5" name="Google Shape;2745;p66"/>
            <p:cNvSpPr/>
            <p:nvPr/>
          </p:nvSpPr>
          <p:spPr>
            <a:xfrm>
              <a:off x="2447300" y="3704150"/>
              <a:ext cx="62400" cy="53450"/>
            </a:xfrm>
            <a:custGeom>
              <a:avLst/>
              <a:gdLst/>
              <a:ahLst/>
              <a:cxnLst/>
              <a:rect l="l" t="t" r="r" b="b"/>
              <a:pathLst>
                <a:path w="2496" h="2138" extrusionOk="0">
                  <a:moveTo>
                    <a:pt x="1065" y="1"/>
                  </a:moveTo>
                  <a:cubicBezTo>
                    <a:pt x="480" y="1"/>
                    <a:pt x="8"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6" name="Google Shape;2746;p66"/>
            <p:cNvSpPr/>
            <p:nvPr/>
          </p:nvSpPr>
          <p:spPr>
            <a:xfrm>
              <a:off x="2447300" y="3627950"/>
              <a:ext cx="62400" cy="53425"/>
            </a:xfrm>
            <a:custGeom>
              <a:avLst/>
              <a:gdLst/>
              <a:ahLst/>
              <a:cxnLst/>
              <a:rect l="l" t="t" r="r" b="b"/>
              <a:pathLst>
                <a:path w="2496" h="2137" extrusionOk="0">
                  <a:moveTo>
                    <a:pt x="1065" y="0"/>
                  </a:moveTo>
                  <a:cubicBezTo>
                    <a:pt x="480" y="8"/>
                    <a:pt x="0" y="480"/>
                    <a:pt x="0" y="1073"/>
                  </a:cubicBezTo>
                  <a:cubicBezTo>
                    <a:pt x="0" y="1711"/>
                    <a:pt x="528" y="2137"/>
                    <a:pt x="1076" y="2137"/>
                  </a:cubicBezTo>
                  <a:cubicBezTo>
                    <a:pt x="1339" y="2137"/>
                    <a:pt x="1605"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7" name="Google Shape;2747;p66"/>
            <p:cNvSpPr/>
            <p:nvPr/>
          </p:nvSpPr>
          <p:spPr>
            <a:xfrm>
              <a:off x="2447300" y="3551925"/>
              <a:ext cx="62200" cy="53300"/>
            </a:xfrm>
            <a:custGeom>
              <a:avLst/>
              <a:gdLst/>
              <a:ahLst/>
              <a:cxnLst/>
              <a:rect l="l" t="t" r="r" b="b"/>
              <a:pathLst>
                <a:path w="2488" h="2132" extrusionOk="0">
                  <a:moveTo>
                    <a:pt x="1065" y="1"/>
                  </a:moveTo>
                  <a:cubicBezTo>
                    <a:pt x="480" y="1"/>
                    <a:pt x="0" y="480"/>
                    <a:pt x="0" y="1066"/>
                  </a:cubicBezTo>
                  <a:cubicBezTo>
                    <a:pt x="0" y="1708"/>
                    <a:pt x="526" y="2131"/>
                    <a:pt x="1073" y="2131"/>
                  </a:cubicBezTo>
                  <a:cubicBezTo>
                    <a:pt x="1336" y="2131"/>
                    <a:pt x="1604"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8" name="Google Shape;2748;p66"/>
            <p:cNvSpPr/>
            <p:nvPr/>
          </p:nvSpPr>
          <p:spPr>
            <a:xfrm>
              <a:off x="2447300" y="3475725"/>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7"/>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49" name="Google Shape;2749;p66"/>
            <p:cNvSpPr/>
            <p:nvPr/>
          </p:nvSpPr>
          <p:spPr>
            <a:xfrm>
              <a:off x="2447300" y="3399500"/>
              <a:ext cx="62400" cy="53350"/>
            </a:xfrm>
            <a:custGeom>
              <a:avLst/>
              <a:gdLst/>
              <a:ahLst/>
              <a:cxnLst/>
              <a:rect l="l" t="t" r="r" b="b"/>
              <a:pathLst>
                <a:path w="2496" h="2134" extrusionOk="0">
                  <a:moveTo>
                    <a:pt x="1065" y="1"/>
                  </a:moveTo>
                  <a:cubicBezTo>
                    <a:pt x="480" y="1"/>
                    <a:pt x="0" y="480"/>
                    <a:pt x="0" y="1066"/>
                  </a:cubicBezTo>
                  <a:cubicBezTo>
                    <a:pt x="0" y="1709"/>
                    <a:pt x="525"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0" name="Google Shape;2750;p66"/>
            <p:cNvSpPr/>
            <p:nvPr/>
          </p:nvSpPr>
          <p:spPr>
            <a:xfrm>
              <a:off x="2447300" y="3323300"/>
              <a:ext cx="62400" cy="53425"/>
            </a:xfrm>
            <a:custGeom>
              <a:avLst/>
              <a:gdLst/>
              <a:ahLst/>
              <a:cxnLst/>
              <a:rect l="l" t="t" r="r" b="b"/>
              <a:pathLst>
                <a:path w="2496" h="2137" extrusionOk="0">
                  <a:moveTo>
                    <a:pt x="1065" y="0"/>
                  </a:moveTo>
                  <a:cubicBezTo>
                    <a:pt x="480" y="0"/>
                    <a:pt x="8" y="480"/>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1" name="Google Shape;2751;p66"/>
            <p:cNvSpPr/>
            <p:nvPr/>
          </p:nvSpPr>
          <p:spPr>
            <a:xfrm>
              <a:off x="2371275" y="42374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40"/>
                    <a:pt x="1814" y="1821"/>
                  </a:cubicBezTo>
                  <a:cubicBezTo>
                    <a:pt x="2488" y="1155"/>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2" name="Google Shape;2752;p66"/>
            <p:cNvSpPr/>
            <p:nvPr/>
          </p:nvSpPr>
          <p:spPr>
            <a:xfrm>
              <a:off x="2371275" y="4161425"/>
              <a:ext cx="62225" cy="53300"/>
            </a:xfrm>
            <a:custGeom>
              <a:avLst/>
              <a:gdLst/>
              <a:ahLst/>
              <a:cxnLst/>
              <a:rect l="l" t="t" r="r" b="b"/>
              <a:pathLst>
                <a:path w="2489" h="2132" extrusionOk="0">
                  <a:moveTo>
                    <a:pt x="1066" y="1"/>
                  </a:moveTo>
                  <a:cubicBezTo>
                    <a:pt x="472" y="1"/>
                    <a:pt x="1" y="472"/>
                    <a:pt x="1" y="1066"/>
                  </a:cubicBezTo>
                  <a:cubicBezTo>
                    <a:pt x="1" y="1708"/>
                    <a:pt x="523" y="2131"/>
                    <a:pt x="1067" y="2131"/>
                  </a:cubicBezTo>
                  <a:cubicBezTo>
                    <a:pt x="1329" y="2131"/>
                    <a:pt x="1597" y="2033"/>
                    <a:pt x="1814"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3" name="Google Shape;2753;p66"/>
            <p:cNvSpPr/>
            <p:nvPr/>
          </p:nvSpPr>
          <p:spPr>
            <a:xfrm>
              <a:off x="2371275" y="40852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8" y="1147"/>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4" name="Google Shape;2754;p66"/>
            <p:cNvSpPr/>
            <p:nvPr/>
          </p:nvSpPr>
          <p:spPr>
            <a:xfrm>
              <a:off x="2371275" y="4009000"/>
              <a:ext cx="62225" cy="53350"/>
            </a:xfrm>
            <a:custGeom>
              <a:avLst/>
              <a:gdLst/>
              <a:ahLst/>
              <a:cxnLst/>
              <a:rect l="l" t="t" r="r" b="b"/>
              <a:pathLst>
                <a:path w="2489" h="2134" extrusionOk="0">
                  <a:moveTo>
                    <a:pt x="1066" y="1"/>
                  </a:moveTo>
                  <a:cubicBezTo>
                    <a:pt x="472" y="1"/>
                    <a:pt x="1" y="480"/>
                    <a:pt x="1" y="1066"/>
                  </a:cubicBezTo>
                  <a:cubicBezTo>
                    <a:pt x="1" y="1710"/>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5" name="Google Shape;2755;p66"/>
            <p:cNvSpPr/>
            <p:nvPr/>
          </p:nvSpPr>
          <p:spPr>
            <a:xfrm>
              <a:off x="2371075" y="3932800"/>
              <a:ext cx="62425" cy="53475"/>
            </a:xfrm>
            <a:custGeom>
              <a:avLst/>
              <a:gdLst/>
              <a:ahLst/>
              <a:cxnLst/>
              <a:rect l="l" t="t" r="r" b="b"/>
              <a:pathLst>
                <a:path w="2497" h="2139" extrusionOk="0">
                  <a:moveTo>
                    <a:pt x="1074" y="0"/>
                  </a:moveTo>
                  <a:cubicBezTo>
                    <a:pt x="480" y="0"/>
                    <a:pt x="1" y="480"/>
                    <a:pt x="1" y="1073"/>
                  </a:cubicBezTo>
                  <a:cubicBezTo>
                    <a:pt x="6" y="1715"/>
                    <a:pt x="530" y="2139"/>
                    <a:pt x="1075" y="2139"/>
                  </a:cubicBezTo>
                  <a:cubicBezTo>
                    <a:pt x="1337" y="2139"/>
                    <a:pt x="1605" y="2041"/>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6" name="Google Shape;2756;p66"/>
            <p:cNvSpPr/>
            <p:nvPr/>
          </p:nvSpPr>
          <p:spPr>
            <a:xfrm>
              <a:off x="2371075" y="385677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7" name="Google Shape;2757;p66"/>
            <p:cNvSpPr/>
            <p:nvPr/>
          </p:nvSpPr>
          <p:spPr>
            <a:xfrm>
              <a:off x="2371075" y="3780375"/>
              <a:ext cx="62425" cy="53475"/>
            </a:xfrm>
            <a:custGeom>
              <a:avLst/>
              <a:gdLst/>
              <a:ahLst/>
              <a:cxnLst/>
              <a:rect l="l" t="t" r="r" b="b"/>
              <a:pathLst>
                <a:path w="2497" h="2139" extrusionOk="0">
                  <a:moveTo>
                    <a:pt x="1074" y="0"/>
                  </a:moveTo>
                  <a:cubicBezTo>
                    <a:pt x="480" y="0"/>
                    <a:pt x="1" y="480"/>
                    <a:pt x="1" y="1073"/>
                  </a:cubicBezTo>
                  <a:cubicBezTo>
                    <a:pt x="6" y="1715"/>
                    <a:pt x="530" y="2139"/>
                    <a:pt x="1078" y="2139"/>
                  </a:cubicBezTo>
                  <a:cubicBezTo>
                    <a:pt x="1341" y="2139"/>
                    <a:pt x="1610" y="2040"/>
                    <a:pt x="1830" y="1821"/>
                  </a:cubicBezTo>
                  <a:cubicBezTo>
                    <a:pt x="2496"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8" name="Google Shape;2758;p66"/>
            <p:cNvSpPr/>
            <p:nvPr/>
          </p:nvSpPr>
          <p:spPr>
            <a:xfrm>
              <a:off x="2371275" y="3704150"/>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59" name="Google Shape;2759;p66"/>
            <p:cNvSpPr/>
            <p:nvPr/>
          </p:nvSpPr>
          <p:spPr>
            <a:xfrm>
              <a:off x="2371275" y="3627950"/>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0" name="Google Shape;2760;p66"/>
            <p:cNvSpPr/>
            <p:nvPr/>
          </p:nvSpPr>
          <p:spPr>
            <a:xfrm>
              <a:off x="2371075" y="3551925"/>
              <a:ext cx="62425" cy="53300"/>
            </a:xfrm>
            <a:custGeom>
              <a:avLst/>
              <a:gdLst/>
              <a:ahLst/>
              <a:cxnLst/>
              <a:rect l="l" t="t" r="r" b="b"/>
              <a:pathLst>
                <a:path w="2497" h="2132" extrusionOk="0">
                  <a:moveTo>
                    <a:pt x="1074" y="1"/>
                  </a:moveTo>
                  <a:cubicBezTo>
                    <a:pt x="480" y="1"/>
                    <a:pt x="1" y="480"/>
                    <a:pt x="1" y="1066"/>
                  </a:cubicBezTo>
                  <a:cubicBezTo>
                    <a:pt x="6" y="1708"/>
                    <a:pt x="530" y="2131"/>
                    <a:pt x="1075"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1" name="Google Shape;2761;p66"/>
            <p:cNvSpPr/>
            <p:nvPr/>
          </p:nvSpPr>
          <p:spPr>
            <a:xfrm>
              <a:off x="2371075" y="3475725"/>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7"/>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2" name="Google Shape;2762;p66"/>
            <p:cNvSpPr/>
            <p:nvPr/>
          </p:nvSpPr>
          <p:spPr>
            <a:xfrm>
              <a:off x="2371075" y="33995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3" name="Google Shape;2763;p66"/>
            <p:cNvSpPr/>
            <p:nvPr/>
          </p:nvSpPr>
          <p:spPr>
            <a:xfrm>
              <a:off x="2371075" y="3323300"/>
              <a:ext cx="62425" cy="53425"/>
            </a:xfrm>
            <a:custGeom>
              <a:avLst/>
              <a:gdLst/>
              <a:ahLst/>
              <a:cxnLst/>
              <a:rect l="l" t="t" r="r" b="b"/>
              <a:pathLst>
                <a:path w="2497" h="2137" extrusionOk="0">
                  <a:moveTo>
                    <a:pt x="1074" y="0"/>
                  </a:moveTo>
                  <a:cubicBezTo>
                    <a:pt x="480" y="0"/>
                    <a:pt x="9" y="480"/>
                    <a:pt x="1" y="1065"/>
                  </a:cubicBezTo>
                  <a:cubicBezTo>
                    <a:pt x="1" y="1709"/>
                    <a:pt x="526" y="2137"/>
                    <a:pt x="1074" y="2137"/>
                  </a:cubicBezTo>
                  <a:cubicBezTo>
                    <a:pt x="1336" y="2137"/>
                    <a:pt x="1603" y="2039"/>
                    <a:pt x="1822" y="1821"/>
                  </a:cubicBezTo>
                  <a:cubicBezTo>
                    <a:pt x="2496" y="1154"/>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4" name="Google Shape;2764;p66"/>
            <p:cNvSpPr/>
            <p:nvPr/>
          </p:nvSpPr>
          <p:spPr>
            <a:xfrm>
              <a:off x="2371075" y="3247075"/>
              <a:ext cx="62425" cy="53450"/>
            </a:xfrm>
            <a:custGeom>
              <a:avLst/>
              <a:gdLst/>
              <a:ahLst/>
              <a:cxnLst/>
              <a:rect l="l" t="t" r="r" b="b"/>
              <a:pathLst>
                <a:path w="2497" h="2138" extrusionOk="0">
                  <a:moveTo>
                    <a:pt x="1074" y="1"/>
                  </a:moveTo>
                  <a:cubicBezTo>
                    <a:pt x="480" y="9"/>
                    <a:pt x="9" y="480"/>
                    <a:pt x="1" y="1066"/>
                  </a:cubicBezTo>
                  <a:cubicBezTo>
                    <a:pt x="1" y="1709"/>
                    <a:pt x="526" y="2137"/>
                    <a:pt x="1074" y="2137"/>
                  </a:cubicBezTo>
                  <a:cubicBezTo>
                    <a:pt x="1336" y="2137"/>
                    <a:pt x="1603" y="2040"/>
                    <a:pt x="1822" y="1822"/>
                  </a:cubicBezTo>
                  <a:cubicBezTo>
                    <a:pt x="2496" y="1155"/>
                    <a:pt x="2025"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5" name="Google Shape;2765;p66"/>
            <p:cNvSpPr/>
            <p:nvPr/>
          </p:nvSpPr>
          <p:spPr>
            <a:xfrm>
              <a:off x="2295075" y="43136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6" name="Google Shape;2766;p66"/>
            <p:cNvSpPr/>
            <p:nvPr/>
          </p:nvSpPr>
          <p:spPr>
            <a:xfrm>
              <a:off x="2295075" y="4237450"/>
              <a:ext cx="62200" cy="53425"/>
            </a:xfrm>
            <a:custGeom>
              <a:avLst/>
              <a:gdLst/>
              <a:ahLst/>
              <a:cxnLst/>
              <a:rect l="l" t="t" r="r" b="b"/>
              <a:pathLst>
                <a:path w="2488" h="2137" extrusionOk="0">
                  <a:moveTo>
                    <a:pt x="1065" y="0"/>
                  </a:moveTo>
                  <a:cubicBezTo>
                    <a:pt x="472" y="8"/>
                    <a:pt x="0" y="480"/>
                    <a:pt x="0" y="1073"/>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7" name="Google Shape;2767;p66"/>
            <p:cNvSpPr/>
            <p:nvPr/>
          </p:nvSpPr>
          <p:spPr>
            <a:xfrm>
              <a:off x="2295075" y="4161425"/>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8" name="Google Shape;2768;p66"/>
            <p:cNvSpPr/>
            <p:nvPr/>
          </p:nvSpPr>
          <p:spPr>
            <a:xfrm>
              <a:off x="2295075" y="4085225"/>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7"/>
                    <a:pt x="1813" y="1821"/>
                  </a:cubicBezTo>
                  <a:cubicBezTo>
                    <a:pt x="2488" y="1147"/>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69" name="Google Shape;2769;p66"/>
            <p:cNvSpPr/>
            <p:nvPr/>
          </p:nvSpPr>
          <p:spPr>
            <a:xfrm>
              <a:off x="2295075" y="4009000"/>
              <a:ext cx="62200" cy="53350"/>
            </a:xfrm>
            <a:custGeom>
              <a:avLst/>
              <a:gdLst/>
              <a:ahLst/>
              <a:cxnLst/>
              <a:rect l="l" t="t" r="r" b="b"/>
              <a:pathLst>
                <a:path w="2488" h="2134" extrusionOk="0">
                  <a:moveTo>
                    <a:pt x="1065" y="1"/>
                  </a:moveTo>
                  <a:cubicBezTo>
                    <a:pt x="472" y="1"/>
                    <a:pt x="0" y="480"/>
                    <a:pt x="0" y="1066"/>
                  </a:cubicBezTo>
                  <a:cubicBezTo>
                    <a:pt x="0" y="1710"/>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0" name="Google Shape;2770;p66"/>
            <p:cNvSpPr/>
            <p:nvPr/>
          </p:nvSpPr>
          <p:spPr>
            <a:xfrm>
              <a:off x="2294850" y="3932800"/>
              <a:ext cx="62425" cy="53475"/>
            </a:xfrm>
            <a:custGeom>
              <a:avLst/>
              <a:gdLst/>
              <a:ahLst/>
              <a:cxnLst/>
              <a:rect l="l" t="t" r="r" b="b"/>
              <a:pathLst>
                <a:path w="2497" h="2139" extrusionOk="0">
                  <a:moveTo>
                    <a:pt x="1074" y="0"/>
                  </a:moveTo>
                  <a:cubicBezTo>
                    <a:pt x="481" y="0"/>
                    <a:pt x="1" y="480"/>
                    <a:pt x="9" y="1073"/>
                  </a:cubicBezTo>
                  <a:cubicBezTo>
                    <a:pt x="9" y="1715"/>
                    <a:pt x="531" y="2139"/>
                    <a:pt x="1078" y="2139"/>
                  </a:cubicBezTo>
                  <a:cubicBezTo>
                    <a:pt x="1342" y="2139"/>
                    <a:pt x="1611" y="2041"/>
                    <a:pt x="1830"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1" name="Google Shape;2771;p66"/>
            <p:cNvSpPr/>
            <p:nvPr/>
          </p:nvSpPr>
          <p:spPr>
            <a:xfrm>
              <a:off x="2295075" y="385677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2" name="Google Shape;2772;p66"/>
            <p:cNvSpPr/>
            <p:nvPr/>
          </p:nvSpPr>
          <p:spPr>
            <a:xfrm>
              <a:off x="2294850" y="3780375"/>
              <a:ext cx="62625" cy="53475"/>
            </a:xfrm>
            <a:custGeom>
              <a:avLst/>
              <a:gdLst/>
              <a:ahLst/>
              <a:cxnLst/>
              <a:rect l="l" t="t" r="r" b="b"/>
              <a:pathLst>
                <a:path w="2505" h="2139" extrusionOk="0">
                  <a:moveTo>
                    <a:pt x="1074" y="0"/>
                  </a:moveTo>
                  <a:cubicBezTo>
                    <a:pt x="481" y="0"/>
                    <a:pt x="1" y="480"/>
                    <a:pt x="9" y="1073"/>
                  </a:cubicBezTo>
                  <a:cubicBezTo>
                    <a:pt x="9" y="1715"/>
                    <a:pt x="535" y="2139"/>
                    <a:pt x="1082" y="2139"/>
                  </a:cubicBezTo>
                  <a:cubicBezTo>
                    <a:pt x="1345" y="2139"/>
                    <a:pt x="1613" y="2040"/>
                    <a:pt x="1830" y="1821"/>
                  </a:cubicBezTo>
                  <a:cubicBezTo>
                    <a:pt x="2505"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3" name="Google Shape;2773;p66"/>
            <p:cNvSpPr/>
            <p:nvPr/>
          </p:nvSpPr>
          <p:spPr>
            <a:xfrm>
              <a:off x="2295075" y="3704150"/>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4" name="Google Shape;2774;p66"/>
            <p:cNvSpPr/>
            <p:nvPr/>
          </p:nvSpPr>
          <p:spPr>
            <a:xfrm>
              <a:off x="2295075" y="3627950"/>
              <a:ext cx="62200" cy="53425"/>
            </a:xfrm>
            <a:custGeom>
              <a:avLst/>
              <a:gdLst/>
              <a:ahLst/>
              <a:cxnLst/>
              <a:rect l="l" t="t" r="r" b="b"/>
              <a:pathLst>
                <a:path w="2488" h="2137" extrusionOk="0">
                  <a:moveTo>
                    <a:pt x="1065" y="0"/>
                  </a:moveTo>
                  <a:cubicBezTo>
                    <a:pt x="472"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5" name="Google Shape;2775;p66"/>
            <p:cNvSpPr/>
            <p:nvPr/>
          </p:nvSpPr>
          <p:spPr>
            <a:xfrm>
              <a:off x="2295075" y="3551925"/>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6" name="Google Shape;2776;p66"/>
            <p:cNvSpPr/>
            <p:nvPr/>
          </p:nvSpPr>
          <p:spPr>
            <a:xfrm>
              <a:off x="2295075" y="3475725"/>
              <a:ext cx="62200" cy="53350"/>
            </a:xfrm>
            <a:custGeom>
              <a:avLst/>
              <a:gdLst/>
              <a:ahLst/>
              <a:cxnLst/>
              <a:rect l="l" t="t" r="r" b="b"/>
              <a:pathLst>
                <a:path w="2488" h="2134" extrusionOk="0">
                  <a:moveTo>
                    <a:pt x="1065" y="0"/>
                  </a:moveTo>
                  <a:cubicBezTo>
                    <a:pt x="472" y="0"/>
                    <a:pt x="0" y="480"/>
                    <a:pt x="0" y="1065"/>
                  </a:cubicBezTo>
                  <a:cubicBezTo>
                    <a:pt x="0" y="1709"/>
                    <a:pt x="525" y="2133"/>
                    <a:pt x="1074" y="2133"/>
                  </a:cubicBezTo>
                  <a:cubicBezTo>
                    <a:pt x="1336" y="2133"/>
                    <a:pt x="1603" y="2037"/>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7" name="Google Shape;2777;p66"/>
            <p:cNvSpPr/>
            <p:nvPr/>
          </p:nvSpPr>
          <p:spPr>
            <a:xfrm>
              <a:off x="2295075" y="33995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8" name="Google Shape;2778;p66"/>
            <p:cNvSpPr/>
            <p:nvPr/>
          </p:nvSpPr>
          <p:spPr>
            <a:xfrm>
              <a:off x="2294925" y="3323300"/>
              <a:ext cx="62350" cy="53425"/>
            </a:xfrm>
            <a:custGeom>
              <a:avLst/>
              <a:gdLst/>
              <a:ahLst/>
              <a:cxnLst/>
              <a:rect l="l" t="t" r="r" b="b"/>
              <a:pathLst>
                <a:path w="2494" h="2137" extrusionOk="0">
                  <a:moveTo>
                    <a:pt x="1071" y="0"/>
                  </a:moveTo>
                  <a:cubicBezTo>
                    <a:pt x="486" y="8"/>
                    <a:pt x="6" y="480"/>
                    <a:pt x="6" y="1065"/>
                  </a:cubicBezTo>
                  <a:cubicBezTo>
                    <a:pt x="1" y="1709"/>
                    <a:pt x="528" y="2137"/>
                    <a:pt x="1076" y="2137"/>
                  </a:cubicBezTo>
                  <a:cubicBezTo>
                    <a:pt x="1337" y="2137"/>
                    <a:pt x="1604"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79" name="Google Shape;2779;p66"/>
            <p:cNvSpPr/>
            <p:nvPr/>
          </p:nvSpPr>
          <p:spPr>
            <a:xfrm>
              <a:off x="2294925" y="3247075"/>
              <a:ext cx="62350" cy="53450"/>
            </a:xfrm>
            <a:custGeom>
              <a:avLst/>
              <a:gdLst/>
              <a:ahLst/>
              <a:cxnLst/>
              <a:rect l="l" t="t" r="r" b="b"/>
              <a:pathLst>
                <a:path w="2494"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2"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0" name="Google Shape;2780;p66"/>
            <p:cNvSpPr/>
            <p:nvPr/>
          </p:nvSpPr>
          <p:spPr>
            <a:xfrm>
              <a:off x="2295075" y="3171075"/>
              <a:ext cx="62200" cy="53275"/>
            </a:xfrm>
            <a:custGeom>
              <a:avLst/>
              <a:gdLst/>
              <a:ahLst/>
              <a:cxnLst/>
              <a:rect l="l" t="t" r="r" b="b"/>
              <a:pathLst>
                <a:path w="2488" h="2131" extrusionOk="0">
                  <a:moveTo>
                    <a:pt x="1065" y="0"/>
                  </a:moveTo>
                  <a:cubicBezTo>
                    <a:pt x="472" y="0"/>
                    <a:pt x="0" y="472"/>
                    <a:pt x="0" y="1065"/>
                  </a:cubicBezTo>
                  <a:cubicBezTo>
                    <a:pt x="0" y="1707"/>
                    <a:pt x="522" y="2131"/>
                    <a:pt x="1067" y="2131"/>
                  </a:cubicBezTo>
                  <a:cubicBezTo>
                    <a:pt x="1329" y="2131"/>
                    <a:pt x="1596" y="2032"/>
                    <a:pt x="1813"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1" name="Google Shape;2781;p66"/>
            <p:cNvSpPr/>
            <p:nvPr/>
          </p:nvSpPr>
          <p:spPr>
            <a:xfrm>
              <a:off x="22950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2" name="Google Shape;2782;p66"/>
            <p:cNvSpPr/>
            <p:nvPr/>
          </p:nvSpPr>
          <p:spPr>
            <a:xfrm>
              <a:off x="2218650" y="438987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3" name="Google Shape;2783;p66"/>
            <p:cNvSpPr/>
            <p:nvPr/>
          </p:nvSpPr>
          <p:spPr>
            <a:xfrm>
              <a:off x="2218650" y="43136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4" name="Google Shape;2784;p66"/>
            <p:cNvSpPr/>
            <p:nvPr/>
          </p:nvSpPr>
          <p:spPr>
            <a:xfrm>
              <a:off x="2218650" y="42374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40"/>
                    <a:pt x="1821" y="1821"/>
                  </a:cubicBezTo>
                  <a:cubicBezTo>
                    <a:pt x="2488" y="1155"/>
                    <a:pt x="2017" y="8"/>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5" name="Google Shape;2785;p66"/>
            <p:cNvSpPr/>
            <p:nvPr/>
          </p:nvSpPr>
          <p:spPr>
            <a:xfrm>
              <a:off x="2218650" y="4161425"/>
              <a:ext cx="62225" cy="53250"/>
            </a:xfrm>
            <a:custGeom>
              <a:avLst/>
              <a:gdLst/>
              <a:ahLst/>
              <a:cxnLst/>
              <a:rect l="l" t="t" r="r" b="b"/>
              <a:pathLst>
                <a:path w="2489" h="2130" extrusionOk="0">
                  <a:moveTo>
                    <a:pt x="1074" y="1"/>
                  </a:moveTo>
                  <a:cubicBezTo>
                    <a:pt x="480" y="1"/>
                    <a:pt x="0" y="472"/>
                    <a:pt x="0" y="1066"/>
                  </a:cubicBezTo>
                  <a:cubicBezTo>
                    <a:pt x="0" y="1704"/>
                    <a:pt x="525" y="2129"/>
                    <a:pt x="1073" y="2129"/>
                  </a:cubicBezTo>
                  <a:cubicBezTo>
                    <a:pt x="1335" y="2129"/>
                    <a:pt x="1603" y="2032"/>
                    <a:pt x="1821" y="1814"/>
                  </a:cubicBezTo>
                  <a:cubicBezTo>
                    <a:pt x="2488"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6" name="Google Shape;2786;p66"/>
            <p:cNvSpPr/>
            <p:nvPr/>
          </p:nvSpPr>
          <p:spPr>
            <a:xfrm>
              <a:off x="2218650" y="4085225"/>
              <a:ext cx="62225" cy="53350"/>
            </a:xfrm>
            <a:custGeom>
              <a:avLst/>
              <a:gdLst/>
              <a:ahLst/>
              <a:cxnLst/>
              <a:rect l="l" t="t" r="r" b="b"/>
              <a:pathLst>
                <a:path w="2489" h="2134" extrusionOk="0">
                  <a:moveTo>
                    <a:pt x="1074" y="0"/>
                  </a:moveTo>
                  <a:cubicBezTo>
                    <a:pt x="480" y="0"/>
                    <a:pt x="0" y="472"/>
                    <a:pt x="0" y="1065"/>
                  </a:cubicBezTo>
                  <a:cubicBezTo>
                    <a:pt x="0" y="1709"/>
                    <a:pt x="526" y="2133"/>
                    <a:pt x="1074" y="2133"/>
                  </a:cubicBezTo>
                  <a:cubicBezTo>
                    <a:pt x="1336" y="2133"/>
                    <a:pt x="1603" y="2037"/>
                    <a:pt x="1821" y="1821"/>
                  </a:cubicBezTo>
                  <a:cubicBezTo>
                    <a:pt x="2488"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7" name="Google Shape;2787;p66"/>
            <p:cNvSpPr/>
            <p:nvPr/>
          </p:nvSpPr>
          <p:spPr>
            <a:xfrm>
              <a:off x="2218650" y="4009000"/>
              <a:ext cx="62225" cy="53350"/>
            </a:xfrm>
            <a:custGeom>
              <a:avLst/>
              <a:gdLst/>
              <a:ahLst/>
              <a:cxnLst/>
              <a:rect l="l" t="t" r="r" b="b"/>
              <a:pathLst>
                <a:path w="2489" h="2134" extrusionOk="0">
                  <a:moveTo>
                    <a:pt x="1074" y="1"/>
                  </a:moveTo>
                  <a:cubicBezTo>
                    <a:pt x="480" y="1"/>
                    <a:pt x="0" y="480"/>
                    <a:pt x="0" y="1066"/>
                  </a:cubicBezTo>
                  <a:cubicBezTo>
                    <a:pt x="0" y="1710"/>
                    <a:pt x="526" y="2134"/>
                    <a:pt x="1074" y="2134"/>
                  </a:cubicBezTo>
                  <a:cubicBezTo>
                    <a:pt x="1336" y="2134"/>
                    <a:pt x="1603" y="2037"/>
                    <a:pt x="1821" y="1822"/>
                  </a:cubicBezTo>
                  <a:cubicBezTo>
                    <a:pt x="2488"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8" name="Google Shape;2788;p66"/>
            <p:cNvSpPr/>
            <p:nvPr/>
          </p:nvSpPr>
          <p:spPr>
            <a:xfrm>
              <a:off x="2218650" y="3932800"/>
              <a:ext cx="62225" cy="53475"/>
            </a:xfrm>
            <a:custGeom>
              <a:avLst/>
              <a:gdLst/>
              <a:ahLst/>
              <a:cxnLst/>
              <a:rect l="l" t="t" r="r" b="b"/>
              <a:pathLst>
                <a:path w="2489" h="2139" extrusionOk="0">
                  <a:moveTo>
                    <a:pt x="1074" y="0"/>
                  </a:moveTo>
                  <a:cubicBezTo>
                    <a:pt x="480" y="0"/>
                    <a:pt x="0" y="480"/>
                    <a:pt x="0" y="1073"/>
                  </a:cubicBezTo>
                  <a:cubicBezTo>
                    <a:pt x="6" y="1715"/>
                    <a:pt x="530" y="2139"/>
                    <a:pt x="1075" y="2139"/>
                  </a:cubicBezTo>
                  <a:cubicBezTo>
                    <a:pt x="1337" y="2139"/>
                    <a:pt x="1605" y="2041"/>
                    <a:pt x="1821" y="1821"/>
                  </a:cubicBezTo>
                  <a:cubicBezTo>
                    <a:pt x="2488" y="1146"/>
                    <a:pt x="2017" y="8"/>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89" name="Google Shape;2789;p66"/>
            <p:cNvSpPr/>
            <p:nvPr/>
          </p:nvSpPr>
          <p:spPr>
            <a:xfrm>
              <a:off x="2218650" y="385677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0" name="Google Shape;2790;p66"/>
            <p:cNvSpPr/>
            <p:nvPr/>
          </p:nvSpPr>
          <p:spPr>
            <a:xfrm>
              <a:off x="2218650" y="3780375"/>
              <a:ext cx="62425" cy="53475"/>
            </a:xfrm>
            <a:custGeom>
              <a:avLst/>
              <a:gdLst/>
              <a:ahLst/>
              <a:cxnLst/>
              <a:rect l="l" t="t" r="r" b="b"/>
              <a:pathLst>
                <a:path w="2497" h="2139" extrusionOk="0">
                  <a:moveTo>
                    <a:pt x="1074" y="0"/>
                  </a:moveTo>
                  <a:cubicBezTo>
                    <a:pt x="480" y="0"/>
                    <a:pt x="0" y="480"/>
                    <a:pt x="0" y="1073"/>
                  </a:cubicBezTo>
                  <a:cubicBezTo>
                    <a:pt x="6" y="1715"/>
                    <a:pt x="530" y="2139"/>
                    <a:pt x="1077" y="2139"/>
                  </a:cubicBezTo>
                  <a:cubicBezTo>
                    <a:pt x="1341" y="2139"/>
                    <a:pt x="1610" y="2040"/>
                    <a:pt x="1830"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1" name="Google Shape;2791;p66"/>
            <p:cNvSpPr/>
            <p:nvPr/>
          </p:nvSpPr>
          <p:spPr>
            <a:xfrm>
              <a:off x="2218650" y="3704150"/>
              <a:ext cx="62225" cy="53450"/>
            </a:xfrm>
            <a:custGeom>
              <a:avLst/>
              <a:gdLst/>
              <a:ahLst/>
              <a:cxnLst/>
              <a:rect l="l" t="t" r="r" b="b"/>
              <a:pathLst>
                <a:path w="2489" h="2138" extrusionOk="0">
                  <a:moveTo>
                    <a:pt x="1074" y="1"/>
                  </a:moveTo>
                  <a:cubicBezTo>
                    <a:pt x="480" y="1"/>
                    <a:pt x="0" y="480"/>
                    <a:pt x="0" y="1066"/>
                  </a:cubicBezTo>
                  <a:cubicBezTo>
                    <a:pt x="0" y="1709"/>
                    <a:pt x="526" y="2137"/>
                    <a:pt x="1074" y="2137"/>
                  </a:cubicBezTo>
                  <a:cubicBezTo>
                    <a:pt x="1336" y="2137"/>
                    <a:pt x="1603" y="2040"/>
                    <a:pt x="1821" y="1822"/>
                  </a:cubicBezTo>
                  <a:cubicBezTo>
                    <a:pt x="2488"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2" name="Google Shape;2792;p66"/>
            <p:cNvSpPr/>
            <p:nvPr/>
          </p:nvSpPr>
          <p:spPr>
            <a:xfrm>
              <a:off x="2218650" y="3627950"/>
              <a:ext cx="62225" cy="53425"/>
            </a:xfrm>
            <a:custGeom>
              <a:avLst/>
              <a:gdLst/>
              <a:ahLst/>
              <a:cxnLst/>
              <a:rect l="l" t="t" r="r" b="b"/>
              <a:pathLst>
                <a:path w="2489" h="2137" extrusionOk="0">
                  <a:moveTo>
                    <a:pt x="1074" y="0"/>
                  </a:moveTo>
                  <a:cubicBezTo>
                    <a:pt x="480" y="8"/>
                    <a:pt x="0" y="480"/>
                    <a:pt x="0" y="1073"/>
                  </a:cubicBezTo>
                  <a:cubicBezTo>
                    <a:pt x="0" y="1711"/>
                    <a:pt x="525" y="2137"/>
                    <a:pt x="1073" y="2137"/>
                  </a:cubicBezTo>
                  <a:cubicBezTo>
                    <a:pt x="1335" y="2137"/>
                    <a:pt x="1603" y="2039"/>
                    <a:pt x="1821" y="1821"/>
                  </a:cubicBezTo>
                  <a:cubicBezTo>
                    <a:pt x="2488" y="1154"/>
                    <a:pt x="2017" y="8"/>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3" name="Google Shape;2793;p66"/>
            <p:cNvSpPr/>
            <p:nvPr/>
          </p:nvSpPr>
          <p:spPr>
            <a:xfrm>
              <a:off x="2218650" y="3551925"/>
              <a:ext cx="62225" cy="53300"/>
            </a:xfrm>
            <a:custGeom>
              <a:avLst/>
              <a:gdLst/>
              <a:ahLst/>
              <a:cxnLst/>
              <a:rect l="l" t="t" r="r" b="b"/>
              <a:pathLst>
                <a:path w="2489" h="2132" extrusionOk="0">
                  <a:moveTo>
                    <a:pt x="1074" y="1"/>
                  </a:moveTo>
                  <a:cubicBezTo>
                    <a:pt x="480" y="1"/>
                    <a:pt x="0" y="472"/>
                    <a:pt x="0" y="1066"/>
                  </a:cubicBezTo>
                  <a:cubicBezTo>
                    <a:pt x="0" y="1708"/>
                    <a:pt x="523" y="2131"/>
                    <a:pt x="1070" y="2131"/>
                  </a:cubicBezTo>
                  <a:cubicBezTo>
                    <a:pt x="1333" y="2131"/>
                    <a:pt x="1602" y="2033"/>
                    <a:pt x="1821" y="1814"/>
                  </a:cubicBezTo>
                  <a:cubicBezTo>
                    <a:pt x="2488"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4" name="Google Shape;2794;p66"/>
            <p:cNvSpPr/>
            <p:nvPr/>
          </p:nvSpPr>
          <p:spPr>
            <a:xfrm>
              <a:off x="2218650" y="3475725"/>
              <a:ext cx="62225" cy="53350"/>
            </a:xfrm>
            <a:custGeom>
              <a:avLst/>
              <a:gdLst/>
              <a:ahLst/>
              <a:cxnLst/>
              <a:rect l="l" t="t" r="r" b="b"/>
              <a:pathLst>
                <a:path w="2489" h="2134" extrusionOk="0">
                  <a:moveTo>
                    <a:pt x="1074" y="0"/>
                  </a:moveTo>
                  <a:cubicBezTo>
                    <a:pt x="480" y="0"/>
                    <a:pt x="0" y="480"/>
                    <a:pt x="0" y="1065"/>
                  </a:cubicBezTo>
                  <a:cubicBezTo>
                    <a:pt x="0" y="1709"/>
                    <a:pt x="526" y="2133"/>
                    <a:pt x="1074" y="2133"/>
                  </a:cubicBezTo>
                  <a:cubicBezTo>
                    <a:pt x="1336" y="2133"/>
                    <a:pt x="1603" y="2037"/>
                    <a:pt x="1821" y="1821"/>
                  </a:cubicBezTo>
                  <a:cubicBezTo>
                    <a:pt x="2488"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5" name="Google Shape;2795;p66"/>
            <p:cNvSpPr/>
            <p:nvPr/>
          </p:nvSpPr>
          <p:spPr>
            <a:xfrm>
              <a:off x="2218650" y="3399500"/>
              <a:ext cx="62425" cy="53350"/>
            </a:xfrm>
            <a:custGeom>
              <a:avLst/>
              <a:gdLst/>
              <a:ahLst/>
              <a:cxnLst/>
              <a:rect l="l" t="t" r="r" b="b"/>
              <a:pathLst>
                <a:path w="2497" h="2134" extrusionOk="0">
                  <a:moveTo>
                    <a:pt x="1074" y="1"/>
                  </a:moveTo>
                  <a:cubicBezTo>
                    <a:pt x="480" y="1"/>
                    <a:pt x="9" y="480"/>
                    <a:pt x="0" y="1066"/>
                  </a:cubicBezTo>
                  <a:cubicBezTo>
                    <a:pt x="0" y="1709"/>
                    <a:pt x="526" y="2134"/>
                    <a:pt x="1074" y="2134"/>
                  </a:cubicBezTo>
                  <a:cubicBezTo>
                    <a:pt x="1336" y="2134"/>
                    <a:pt x="1603" y="2037"/>
                    <a:pt x="1821" y="1822"/>
                  </a:cubicBezTo>
                  <a:cubicBezTo>
                    <a:pt x="2496"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6" name="Google Shape;2796;p66"/>
            <p:cNvSpPr/>
            <p:nvPr/>
          </p:nvSpPr>
          <p:spPr>
            <a:xfrm>
              <a:off x="2218650" y="3323300"/>
              <a:ext cx="62425" cy="53425"/>
            </a:xfrm>
            <a:custGeom>
              <a:avLst/>
              <a:gdLst/>
              <a:ahLst/>
              <a:cxnLst/>
              <a:rect l="l" t="t" r="r" b="b"/>
              <a:pathLst>
                <a:path w="2497" h="2137" extrusionOk="0">
                  <a:moveTo>
                    <a:pt x="1074" y="0"/>
                  </a:moveTo>
                  <a:cubicBezTo>
                    <a:pt x="480" y="0"/>
                    <a:pt x="9" y="480"/>
                    <a:pt x="0" y="1065"/>
                  </a:cubicBezTo>
                  <a:cubicBezTo>
                    <a:pt x="0" y="1709"/>
                    <a:pt x="526" y="2137"/>
                    <a:pt x="1074" y="2137"/>
                  </a:cubicBezTo>
                  <a:cubicBezTo>
                    <a:pt x="1336" y="2137"/>
                    <a:pt x="1603" y="2039"/>
                    <a:pt x="1821" y="1821"/>
                  </a:cubicBezTo>
                  <a:cubicBezTo>
                    <a:pt x="2496" y="1154"/>
                    <a:pt x="2017" y="8"/>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7" name="Google Shape;2797;p66"/>
            <p:cNvSpPr/>
            <p:nvPr/>
          </p:nvSpPr>
          <p:spPr>
            <a:xfrm>
              <a:off x="2218650" y="3247075"/>
              <a:ext cx="62425" cy="53500"/>
            </a:xfrm>
            <a:custGeom>
              <a:avLst/>
              <a:gdLst/>
              <a:ahLst/>
              <a:cxnLst/>
              <a:rect l="l" t="t" r="r" b="b"/>
              <a:pathLst>
                <a:path w="2497" h="2140" extrusionOk="0">
                  <a:moveTo>
                    <a:pt x="1074" y="1"/>
                  </a:moveTo>
                  <a:cubicBezTo>
                    <a:pt x="480" y="9"/>
                    <a:pt x="9" y="480"/>
                    <a:pt x="0" y="1066"/>
                  </a:cubicBezTo>
                  <a:cubicBezTo>
                    <a:pt x="0" y="1711"/>
                    <a:pt x="529" y="2140"/>
                    <a:pt x="1079" y="2140"/>
                  </a:cubicBezTo>
                  <a:cubicBezTo>
                    <a:pt x="1339" y="2140"/>
                    <a:pt x="1605" y="2044"/>
                    <a:pt x="1821" y="1830"/>
                  </a:cubicBezTo>
                  <a:cubicBezTo>
                    <a:pt x="2496" y="1155"/>
                    <a:pt x="2017" y="9"/>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8" name="Google Shape;2798;p66"/>
            <p:cNvSpPr/>
            <p:nvPr/>
          </p:nvSpPr>
          <p:spPr>
            <a:xfrm>
              <a:off x="2218650" y="3171075"/>
              <a:ext cx="62225" cy="53300"/>
            </a:xfrm>
            <a:custGeom>
              <a:avLst/>
              <a:gdLst/>
              <a:ahLst/>
              <a:cxnLst/>
              <a:rect l="l" t="t" r="r" b="b"/>
              <a:pathLst>
                <a:path w="2489" h="2132" extrusionOk="0">
                  <a:moveTo>
                    <a:pt x="1074" y="0"/>
                  </a:moveTo>
                  <a:cubicBezTo>
                    <a:pt x="480" y="0"/>
                    <a:pt x="0" y="472"/>
                    <a:pt x="0" y="1065"/>
                  </a:cubicBezTo>
                  <a:cubicBezTo>
                    <a:pt x="0" y="1705"/>
                    <a:pt x="528" y="2131"/>
                    <a:pt x="1078" y="2131"/>
                  </a:cubicBezTo>
                  <a:cubicBezTo>
                    <a:pt x="1339" y="2131"/>
                    <a:pt x="1604" y="2036"/>
                    <a:pt x="1821" y="1821"/>
                  </a:cubicBezTo>
                  <a:cubicBezTo>
                    <a:pt x="2488"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799" name="Google Shape;2799;p66"/>
            <p:cNvSpPr/>
            <p:nvPr/>
          </p:nvSpPr>
          <p:spPr>
            <a:xfrm>
              <a:off x="2218650" y="2180700"/>
              <a:ext cx="62225" cy="53350"/>
            </a:xfrm>
            <a:custGeom>
              <a:avLst/>
              <a:gdLst/>
              <a:ahLst/>
              <a:cxnLst/>
              <a:rect l="l" t="t" r="r" b="b"/>
              <a:pathLst>
                <a:path w="2489" h="2134" extrusionOk="0">
                  <a:moveTo>
                    <a:pt x="1074" y="1"/>
                  </a:moveTo>
                  <a:cubicBezTo>
                    <a:pt x="480" y="1"/>
                    <a:pt x="0" y="472"/>
                    <a:pt x="0" y="1066"/>
                  </a:cubicBezTo>
                  <a:cubicBezTo>
                    <a:pt x="0" y="1709"/>
                    <a:pt x="526" y="2133"/>
                    <a:pt x="1074" y="2133"/>
                  </a:cubicBezTo>
                  <a:cubicBezTo>
                    <a:pt x="1336" y="2133"/>
                    <a:pt x="1603" y="2037"/>
                    <a:pt x="1821" y="1822"/>
                  </a:cubicBezTo>
                  <a:cubicBezTo>
                    <a:pt x="2488"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0" name="Google Shape;2800;p66"/>
            <p:cNvSpPr/>
            <p:nvPr/>
          </p:nvSpPr>
          <p:spPr>
            <a:xfrm>
              <a:off x="2218650" y="2028275"/>
              <a:ext cx="62225" cy="53450"/>
            </a:xfrm>
            <a:custGeom>
              <a:avLst/>
              <a:gdLst/>
              <a:ahLst/>
              <a:cxnLst/>
              <a:rect l="l" t="t" r="r" b="b"/>
              <a:pathLst>
                <a:path w="2489" h="2138" extrusionOk="0">
                  <a:moveTo>
                    <a:pt x="1074" y="1"/>
                  </a:moveTo>
                  <a:cubicBezTo>
                    <a:pt x="480" y="1"/>
                    <a:pt x="0" y="480"/>
                    <a:pt x="0" y="1065"/>
                  </a:cubicBezTo>
                  <a:cubicBezTo>
                    <a:pt x="0" y="1709"/>
                    <a:pt x="526" y="2137"/>
                    <a:pt x="1074" y="2137"/>
                  </a:cubicBezTo>
                  <a:cubicBezTo>
                    <a:pt x="1336" y="2137"/>
                    <a:pt x="1603" y="2040"/>
                    <a:pt x="1821" y="1821"/>
                  </a:cubicBezTo>
                  <a:cubicBezTo>
                    <a:pt x="2488"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1" name="Google Shape;2801;p66"/>
            <p:cNvSpPr/>
            <p:nvPr/>
          </p:nvSpPr>
          <p:spPr>
            <a:xfrm>
              <a:off x="2218650" y="1952050"/>
              <a:ext cx="62225" cy="53450"/>
            </a:xfrm>
            <a:custGeom>
              <a:avLst/>
              <a:gdLst/>
              <a:ahLst/>
              <a:cxnLst/>
              <a:rect l="l" t="t" r="r" b="b"/>
              <a:pathLst>
                <a:path w="2489" h="2138" extrusionOk="0">
                  <a:moveTo>
                    <a:pt x="1074" y="1"/>
                  </a:moveTo>
                  <a:cubicBezTo>
                    <a:pt x="480" y="9"/>
                    <a:pt x="0" y="481"/>
                    <a:pt x="0" y="1074"/>
                  </a:cubicBezTo>
                  <a:cubicBezTo>
                    <a:pt x="0" y="1712"/>
                    <a:pt x="525" y="2138"/>
                    <a:pt x="1073" y="2138"/>
                  </a:cubicBezTo>
                  <a:cubicBezTo>
                    <a:pt x="1335" y="2138"/>
                    <a:pt x="1603" y="2040"/>
                    <a:pt x="1821" y="1822"/>
                  </a:cubicBezTo>
                  <a:cubicBezTo>
                    <a:pt x="2488" y="1155"/>
                    <a:pt x="2017" y="9"/>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2" name="Google Shape;2802;p66"/>
            <p:cNvSpPr/>
            <p:nvPr/>
          </p:nvSpPr>
          <p:spPr>
            <a:xfrm>
              <a:off x="2142425" y="4618300"/>
              <a:ext cx="62425" cy="53450"/>
            </a:xfrm>
            <a:custGeom>
              <a:avLst/>
              <a:gdLst/>
              <a:ahLst/>
              <a:cxnLst/>
              <a:rect l="l" t="t" r="r" b="b"/>
              <a:pathLst>
                <a:path w="2497" h="2138" extrusionOk="0">
                  <a:moveTo>
                    <a:pt x="1074" y="1"/>
                  </a:moveTo>
                  <a:cubicBezTo>
                    <a:pt x="481" y="9"/>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3" name="Google Shape;2803;p66"/>
            <p:cNvSpPr/>
            <p:nvPr/>
          </p:nvSpPr>
          <p:spPr>
            <a:xfrm>
              <a:off x="2142425" y="438987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4" name="Google Shape;2804;p66"/>
            <p:cNvSpPr/>
            <p:nvPr/>
          </p:nvSpPr>
          <p:spPr>
            <a:xfrm>
              <a:off x="2142425" y="43136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5" name="Google Shape;2805;p66"/>
            <p:cNvSpPr/>
            <p:nvPr/>
          </p:nvSpPr>
          <p:spPr>
            <a:xfrm>
              <a:off x="2142425" y="42374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6" name="Google Shape;2806;p66"/>
            <p:cNvSpPr/>
            <p:nvPr/>
          </p:nvSpPr>
          <p:spPr>
            <a:xfrm>
              <a:off x="2142425" y="4161425"/>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7" name="Google Shape;2807;p66"/>
            <p:cNvSpPr/>
            <p:nvPr/>
          </p:nvSpPr>
          <p:spPr>
            <a:xfrm>
              <a:off x="2142425" y="4085225"/>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7"/>
                    <a:pt x="1822" y="1821"/>
                  </a:cubicBezTo>
                  <a:cubicBezTo>
                    <a:pt x="2497" y="1147"/>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8" name="Google Shape;2808;p66"/>
            <p:cNvSpPr/>
            <p:nvPr/>
          </p:nvSpPr>
          <p:spPr>
            <a:xfrm>
              <a:off x="2142425" y="4009000"/>
              <a:ext cx="62425" cy="53350"/>
            </a:xfrm>
            <a:custGeom>
              <a:avLst/>
              <a:gdLst/>
              <a:ahLst/>
              <a:cxnLst/>
              <a:rect l="l" t="t" r="r" b="b"/>
              <a:pathLst>
                <a:path w="2497" h="2134" extrusionOk="0">
                  <a:moveTo>
                    <a:pt x="1074" y="1"/>
                  </a:moveTo>
                  <a:cubicBezTo>
                    <a:pt x="481" y="1"/>
                    <a:pt x="9" y="480"/>
                    <a:pt x="1" y="1066"/>
                  </a:cubicBezTo>
                  <a:cubicBezTo>
                    <a:pt x="1" y="1710"/>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09" name="Google Shape;2809;p66"/>
            <p:cNvSpPr/>
            <p:nvPr/>
          </p:nvSpPr>
          <p:spPr>
            <a:xfrm>
              <a:off x="2142425" y="3932800"/>
              <a:ext cx="62425" cy="53475"/>
            </a:xfrm>
            <a:custGeom>
              <a:avLst/>
              <a:gdLst/>
              <a:ahLst/>
              <a:cxnLst/>
              <a:rect l="l" t="t" r="r" b="b"/>
              <a:pathLst>
                <a:path w="2497" h="2139" extrusionOk="0">
                  <a:moveTo>
                    <a:pt x="1074" y="0"/>
                  </a:moveTo>
                  <a:cubicBezTo>
                    <a:pt x="481" y="0"/>
                    <a:pt x="1" y="480"/>
                    <a:pt x="1" y="1073"/>
                  </a:cubicBezTo>
                  <a:cubicBezTo>
                    <a:pt x="6" y="1715"/>
                    <a:pt x="530" y="2139"/>
                    <a:pt x="1075" y="2139"/>
                  </a:cubicBezTo>
                  <a:cubicBezTo>
                    <a:pt x="1338" y="2139"/>
                    <a:pt x="1605" y="2041"/>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0" name="Google Shape;2810;p66"/>
            <p:cNvSpPr/>
            <p:nvPr/>
          </p:nvSpPr>
          <p:spPr>
            <a:xfrm>
              <a:off x="2142425" y="385677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1" name="Google Shape;2811;p66"/>
            <p:cNvSpPr/>
            <p:nvPr/>
          </p:nvSpPr>
          <p:spPr>
            <a:xfrm>
              <a:off x="2142425" y="3780375"/>
              <a:ext cx="62425" cy="53475"/>
            </a:xfrm>
            <a:custGeom>
              <a:avLst/>
              <a:gdLst/>
              <a:ahLst/>
              <a:cxnLst/>
              <a:rect l="l" t="t" r="r" b="b"/>
              <a:pathLst>
                <a:path w="2497" h="2139" extrusionOk="0">
                  <a:moveTo>
                    <a:pt x="1074" y="0"/>
                  </a:moveTo>
                  <a:cubicBezTo>
                    <a:pt x="481" y="0"/>
                    <a:pt x="1" y="480"/>
                    <a:pt x="1" y="1073"/>
                  </a:cubicBezTo>
                  <a:cubicBezTo>
                    <a:pt x="6" y="1715"/>
                    <a:pt x="530" y="2139"/>
                    <a:pt x="1078" y="2139"/>
                  </a:cubicBezTo>
                  <a:cubicBezTo>
                    <a:pt x="1342" y="2139"/>
                    <a:pt x="1611" y="2040"/>
                    <a:pt x="1830"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2" name="Google Shape;2812;p66"/>
            <p:cNvSpPr/>
            <p:nvPr/>
          </p:nvSpPr>
          <p:spPr>
            <a:xfrm>
              <a:off x="2142425" y="3704150"/>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3" name="Google Shape;2813;p66"/>
            <p:cNvSpPr/>
            <p:nvPr/>
          </p:nvSpPr>
          <p:spPr>
            <a:xfrm>
              <a:off x="2142425" y="3627950"/>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4" name="Google Shape;2814;p66"/>
            <p:cNvSpPr/>
            <p:nvPr/>
          </p:nvSpPr>
          <p:spPr>
            <a:xfrm>
              <a:off x="2142425" y="3551925"/>
              <a:ext cx="62425" cy="53300"/>
            </a:xfrm>
            <a:custGeom>
              <a:avLst/>
              <a:gdLst/>
              <a:ahLst/>
              <a:cxnLst/>
              <a:rect l="l" t="t" r="r" b="b"/>
              <a:pathLst>
                <a:path w="2497" h="2132" extrusionOk="0">
                  <a:moveTo>
                    <a:pt x="1074" y="1"/>
                  </a:moveTo>
                  <a:cubicBezTo>
                    <a:pt x="481" y="1"/>
                    <a:pt x="1" y="480"/>
                    <a:pt x="1" y="1066"/>
                  </a:cubicBezTo>
                  <a:cubicBezTo>
                    <a:pt x="6" y="1708"/>
                    <a:pt x="530" y="2131"/>
                    <a:pt x="1075" y="2131"/>
                  </a:cubicBezTo>
                  <a:cubicBezTo>
                    <a:pt x="1338"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5" name="Google Shape;2815;p66"/>
            <p:cNvSpPr/>
            <p:nvPr/>
          </p:nvSpPr>
          <p:spPr>
            <a:xfrm>
              <a:off x="2142425" y="3475725"/>
              <a:ext cx="62425" cy="53350"/>
            </a:xfrm>
            <a:custGeom>
              <a:avLst/>
              <a:gdLst/>
              <a:ahLst/>
              <a:cxnLst/>
              <a:rect l="l" t="t" r="r" b="b"/>
              <a:pathLst>
                <a:path w="2497" h="2134" extrusionOk="0">
                  <a:moveTo>
                    <a:pt x="1074" y="0"/>
                  </a:moveTo>
                  <a:cubicBezTo>
                    <a:pt x="481" y="0"/>
                    <a:pt x="1" y="480"/>
                    <a:pt x="1" y="1065"/>
                  </a:cubicBezTo>
                  <a:cubicBezTo>
                    <a:pt x="1" y="1709"/>
                    <a:pt x="530" y="2133"/>
                    <a:pt x="1079" y="2133"/>
                  </a:cubicBezTo>
                  <a:cubicBezTo>
                    <a:pt x="1340" y="2133"/>
                    <a:pt x="1607" y="2037"/>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6" name="Google Shape;2816;p66"/>
            <p:cNvSpPr/>
            <p:nvPr/>
          </p:nvSpPr>
          <p:spPr>
            <a:xfrm>
              <a:off x="2142425" y="3399500"/>
              <a:ext cx="62425" cy="53350"/>
            </a:xfrm>
            <a:custGeom>
              <a:avLst/>
              <a:gdLst/>
              <a:ahLst/>
              <a:cxnLst/>
              <a:rect l="l" t="t" r="r" b="b"/>
              <a:pathLst>
                <a:path w="2497" h="2134" extrusionOk="0">
                  <a:moveTo>
                    <a:pt x="1074" y="1"/>
                  </a:moveTo>
                  <a:cubicBezTo>
                    <a:pt x="481" y="1"/>
                    <a:pt x="9" y="480"/>
                    <a:pt x="1" y="1066"/>
                  </a:cubicBezTo>
                  <a:cubicBezTo>
                    <a:pt x="1" y="1709"/>
                    <a:pt x="526" y="2134"/>
                    <a:pt x="1075" y="2134"/>
                  </a:cubicBezTo>
                  <a:cubicBezTo>
                    <a:pt x="1337" y="2134"/>
                    <a:pt x="1604"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7" name="Google Shape;2817;p66"/>
            <p:cNvSpPr/>
            <p:nvPr/>
          </p:nvSpPr>
          <p:spPr>
            <a:xfrm>
              <a:off x="2142425" y="3323300"/>
              <a:ext cx="62425" cy="53425"/>
            </a:xfrm>
            <a:custGeom>
              <a:avLst/>
              <a:gdLst/>
              <a:ahLst/>
              <a:cxnLst/>
              <a:rect l="l" t="t" r="r" b="b"/>
              <a:pathLst>
                <a:path w="2497" h="2137" extrusionOk="0">
                  <a:moveTo>
                    <a:pt x="1074" y="0"/>
                  </a:moveTo>
                  <a:cubicBezTo>
                    <a:pt x="481" y="0"/>
                    <a:pt x="9" y="480"/>
                    <a:pt x="1" y="1065"/>
                  </a:cubicBezTo>
                  <a:cubicBezTo>
                    <a:pt x="1" y="1709"/>
                    <a:pt x="526" y="2137"/>
                    <a:pt x="1075" y="2137"/>
                  </a:cubicBezTo>
                  <a:cubicBezTo>
                    <a:pt x="1337" y="2137"/>
                    <a:pt x="1604"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8" name="Google Shape;2818;p66"/>
            <p:cNvSpPr/>
            <p:nvPr/>
          </p:nvSpPr>
          <p:spPr>
            <a:xfrm>
              <a:off x="2142425" y="3247075"/>
              <a:ext cx="62425" cy="53450"/>
            </a:xfrm>
            <a:custGeom>
              <a:avLst/>
              <a:gdLst/>
              <a:ahLst/>
              <a:cxnLst/>
              <a:rect l="l" t="t" r="r" b="b"/>
              <a:pathLst>
                <a:path w="2497" h="2138" extrusionOk="0">
                  <a:moveTo>
                    <a:pt x="1074" y="1"/>
                  </a:moveTo>
                  <a:cubicBezTo>
                    <a:pt x="481" y="9"/>
                    <a:pt x="9" y="480"/>
                    <a:pt x="1" y="1066"/>
                  </a:cubicBezTo>
                  <a:cubicBezTo>
                    <a:pt x="1" y="1709"/>
                    <a:pt x="526" y="2137"/>
                    <a:pt x="1075" y="2137"/>
                  </a:cubicBezTo>
                  <a:cubicBezTo>
                    <a:pt x="1337" y="2137"/>
                    <a:pt x="1604"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19" name="Google Shape;2819;p66"/>
            <p:cNvSpPr/>
            <p:nvPr/>
          </p:nvSpPr>
          <p:spPr>
            <a:xfrm>
              <a:off x="2142425" y="3171075"/>
              <a:ext cx="62425" cy="53275"/>
            </a:xfrm>
            <a:custGeom>
              <a:avLst/>
              <a:gdLst/>
              <a:ahLst/>
              <a:cxnLst/>
              <a:rect l="l" t="t" r="r" b="b"/>
              <a:pathLst>
                <a:path w="2497" h="2131" extrusionOk="0">
                  <a:moveTo>
                    <a:pt x="1074" y="0"/>
                  </a:moveTo>
                  <a:cubicBezTo>
                    <a:pt x="481" y="0"/>
                    <a:pt x="9" y="472"/>
                    <a:pt x="1" y="1065"/>
                  </a:cubicBezTo>
                  <a:cubicBezTo>
                    <a:pt x="1" y="1707"/>
                    <a:pt x="527" y="2131"/>
                    <a:pt x="1074" y="2131"/>
                  </a:cubicBezTo>
                  <a:cubicBezTo>
                    <a:pt x="1337" y="2131"/>
                    <a:pt x="1605" y="2032"/>
                    <a:pt x="1822" y="1813"/>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0" name="Google Shape;2820;p66"/>
            <p:cNvSpPr/>
            <p:nvPr/>
          </p:nvSpPr>
          <p:spPr>
            <a:xfrm>
              <a:off x="2142425" y="2180700"/>
              <a:ext cx="62425" cy="53350"/>
            </a:xfrm>
            <a:custGeom>
              <a:avLst/>
              <a:gdLst/>
              <a:ahLst/>
              <a:cxnLst/>
              <a:rect l="l" t="t" r="r" b="b"/>
              <a:pathLst>
                <a:path w="2497" h="2134" extrusionOk="0">
                  <a:moveTo>
                    <a:pt x="1074" y="1"/>
                  </a:moveTo>
                  <a:cubicBezTo>
                    <a:pt x="481" y="1"/>
                    <a:pt x="9" y="480"/>
                    <a:pt x="1" y="1066"/>
                  </a:cubicBezTo>
                  <a:cubicBezTo>
                    <a:pt x="1" y="1709"/>
                    <a:pt x="530" y="2133"/>
                    <a:pt x="1079" y="2133"/>
                  </a:cubicBezTo>
                  <a:cubicBezTo>
                    <a:pt x="1340" y="2133"/>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1" name="Google Shape;2821;p66"/>
            <p:cNvSpPr/>
            <p:nvPr/>
          </p:nvSpPr>
          <p:spPr>
            <a:xfrm>
              <a:off x="2142425" y="2028275"/>
              <a:ext cx="62425" cy="53450"/>
            </a:xfrm>
            <a:custGeom>
              <a:avLst/>
              <a:gdLst/>
              <a:ahLst/>
              <a:cxnLst/>
              <a:rect l="l" t="t" r="r" b="b"/>
              <a:pathLst>
                <a:path w="2497" h="2138" extrusionOk="0">
                  <a:moveTo>
                    <a:pt x="1074" y="1"/>
                  </a:moveTo>
                  <a:cubicBezTo>
                    <a:pt x="481"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2" name="Google Shape;2822;p66"/>
            <p:cNvSpPr/>
            <p:nvPr/>
          </p:nvSpPr>
          <p:spPr>
            <a:xfrm>
              <a:off x="2142425" y="1952050"/>
              <a:ext cx="62425" cy="53450"/>
            </a:xfrm>
            <a:custGeom>
              <a:avLst/>
              <a:gdLst/>
              <a:ahLst/>
              <a:cxnLst/>
              <a:rect l="l" t="t" r="r" b="b"/>
              <a:pathLst>
                <a:path w="2497" h="2138" extrusionOk="0">
                  <a:moveTo>
                    <a:pt x="1074" y="1"/>
                  </a:moveTo>
                  <a:cubicBezTo>
                    <a:pt x="481"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3" name="Google Shape;2823;p66"/>
            <p:cNvSpPr/>
            <p:nvPr/>
          </p:nvSpPr>
          <p:spPr>
            <a:xfrm>
              <a:off x="2142425" y="1876050"/>
              <a:ext cx="62425" cy="53275"/>
            </a:xfrm>
            <a:custGeom>
              <a:avLst/>
              <a:gdLst/>
              <a:ahLst/>
              <a:cxnLst/>
              <a:rect l="l" t="t" r="r" b="b"/>
              <a:pathLst>
                <a:path w="2497" h="2131" extrusionOk="0">
                  <a:moveTo>
                    <a:pt x="1074" y="1"/>
                  </a:moveTo>
                  <a:cubicBezTo>
                    <a:pt x="481"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4" name="Google Shape;2824;p66"/>
            <p:cNvSpPr/>
            <p:nvPr/>
          </p:nvSpPr>
          <p:spPr>
            <a:xfrm>
              <a:off x="2142425" y="179985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5" name="Google Shape;2825;p66"/>
            <p:cNvSpPr/>
            <p:nvPr/>
          </p:nvSpPr>
          <p:spPr>
            <a:xfrm>
              <a:off x="2142425" y="1571400"/>
              <a:ext cx="62425" cy="53250"/>
            </a:xfrm>
            <a:custGeom>
              <a:avLst/>
              <a:gdLst/>
              <a:ahLst/>
              <a:cxnLst/>
              <a:rect l="l" t="t" r="r" b="b"/>
              <a:pathLst>
                <a:path w="2497" h="2130" extrusionOk="0">
                  <a:moveTo>
                    <a:pt x="1074" y="1"/>
                  </a:moveTo>
                  <a:cubicBezTo>
                    <a:pt x="481" y="1"/>
                    <a:pt x="9" y="472"/>
                    <a:pt x="1" y="1066"/>
                  </a:cubicBezTo>
                  <a:cubicBezTo>
                    <a:pt x="1" y="1703"/>
                    <a:pt x="529" y="2129"/>
                    <a:pt x="1077" y="2129"/>
                  </a:cubicBezTo>
                  <a:cubicBezTo>
                    <a:pt x="1339" y="2129"/>
                    <a:pt x="1606" y="2032"/>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6" name="Google Shape;2826;p66"/>
            <p:cNvSpPr/>
            <p:nvPr/>
          </p:nvSpPr>
          <p:spPr>
            <a:xfrm>
              <a:off x="2142425" y="1495200"/>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7" name="Google Shape;2827;p66"/>
            <p:cNvSpPr/>
            <p:nvPr/>
          </p:nvSpPr>
          <p:spPr>
            <a:xfrm>
              <a:off x="2142425" y="1038125"/>
              <a:ext cx="62425" cy="53325"/>
            </a:xfrm>
            <a:custGeom>
              <a:avLst/>
              <a:gdLst/>
              <a:ahLst/>
              <a:cxnLst/>
              <a:rect l="l" t="t" r="r" b="b"/>
              <a:pathLst>
                <a:path w="2497" h="2133"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8" name="Google Shape;2828;p66"/>
            <p:cNvSpPr/>
            <p:nvPr/>
          </p:nvSpPr>
          <p:spPr>
            <a:xfrm>
              <a:off x="2066425" y="4618300"/>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29" name="Google Shape;2829;p66"/>
            <p:cNvSpPr/>
            <p:nvPr/>
          </p:nvSpPr>
          <p:spPr>
            <a:xfrm>
              <a:off x="2066425" y="4542300"/>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3"/>
                    <a:pt x="1813" y="1813"/>
                  </a:cubicBezTo>
                  <a:cubicBezTo>
                    <a:pt x="2488" y="1147"/>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0" name="Google Shape;2830;p66"/>
            <p:cNvSpPr/>
            <p:nvPr/>
          </p:nvSpPr>
          <p:spPr>
            <a:xfrm>
              <a:off x="2066425" y="446607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1" name="Google Shape;2831;p66"/>
            <p:cNvSpPr/>
            <p:nvPr/>
          </p:nvSpPr>
          <p:spPr>
            <a:xfrm>
              <a:off x="2066425" y="438987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7"/>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2" name="Google Shape;2832;p66"/>
            <p:cNvSpPr/>
            <p:nvPr/>
          </p:nvSpPr>
          <p:spPr>
            <a:xfrm>
              <a:off x="2066425" y="43136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3" name="Google Shape;2833;p66"/>
            <p:cNvSpPr/>
            <p:nvPr/>
          </p:nvSpPr>
          <p:spPr>
            <a:xfrm>
              <a:off x="2066425" y="42374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40"/>
                    <a:pt x="1813" y="1821"/>
                  </a:cubicBezTo>
                  <a:cubicBezTo>
                    <a:pt x="2488" y="1155"/>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4" name="Google Shape;2834;p66"/>
            <p:cNvSpPr/>
            <p:nvPr/>
          </p:nvSpPr>
          <p:spPr>
            <a:xfrm>
              <a:off x="2066425" y="4161425"/>
              <a:ext cx="62225" cy="53300"/>
            </a:xfrm>
            <a:custGeom>
              <a:avLst/>
              <a:gdLst/>
              <a:ahLst/>
              <a:cxnLst/>
              <a:rect l="l" t="t" r="r" b="b"/>
              <a:pathLst>
                <a:path w="2489" h="2132" extrusionOk="0">
                  <a:moveTo>
                    <a:pt x="1065" y="1"/>
                  </a:moveTo>
                  <a:cubicBezTo>
                    <a:pt x="472" y="1"/>
                    <a:pt x="0" y="472"/>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5" name="Google Shape;2835;p66"/>
            <p:cNvSpPr/>
            <p:nvPr/>
          </p:nvSpPr>
          <p:spPr>
            <a:xfrm>
              <a:off x="2066425" y="3704150"/>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6" name="Google Shape;2836;p66"/>
            <p:cNvSpPr/>
            <p:nvPr/>
          </p:nvSpPr>
          <p:spPr>
            <a:xfrm>
              <a:off x="2066425" y="3627950"/>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7" name="Google Shape;2837;p66"/>
            <p:cNvSpPr/>
            <p:nvPr/>
          </p:nvSpPr>
          <p:spPr>
            <a:xfrm>
              <a:off x="2066425" y="3551925"/>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8" name="Google Shape;2838;p66"/>
            <p:cNvSpPr/>
            <p:nvPr/>
          </p:nvSpPr>
          <p:spPr>
            <a:xfrm>
              <a:off x="2066425"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39" name="Google Shape;2839;p66"/>
            <p:cNvSpPr/>
            <p:nvPr/>
          </p:nvSpPr>
          <p:spPr>
            <a:xfrm>
              <a:off x="2066275" y="3399500"/>
              <a:ext cx="62375" cy="53350"/>
            </a:xfrm>
            <a:custGeom>
              <a:avLst/>
              <a:gdLst/>
              <a:ahLst/>
              <a:cxnLst/>
              <a:rect l="l" t="t" r="r" b="b"/>
              <a:pathLst>
                <a:path w="2495" h="2134" extrusionOk="0">
                  <a:moveTo>
                    <a:pt x="1071" y="1"/>
                  </a:moveTo>
                  <a:cubicBezTo>
                    <a:pt x="478" y="1"/>
                    <a:pt x="6" y="480"/>
                    <a:pt x="6" y="1066"/>
                  </a:cubicBezTo>
                  <a:cubicBezTo>
                    <a:pt x="1" y="1709"/>
                    <a:pt x="528" y="2134"/>
                    <a:pt x="1076" y="2134"/>
                  </a:cubicBezTo>
                  <a:cubicBezTo>
                    <a:pt x="1338" y="2134"/>
                    <a:pt x="1604" y="2037"/>
                    <a:pt x="1819" y="1822"/>
                  </a:cubicBezTo>
                  <a:cubicBezTo>
                    <a:pt x="2494" y="1147"/>
                    <a:pt x="2014"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0" name="Google Shape;2840;p66"/>
            <p:cNvSpPr/>
            <p:nvPr/>
          </p:nvSpPr>
          <p:spPr>
            <a:xfrm>
              <a:off x="2066275" y="3323300"/>
              <a:ext cx="62375" cy="53425"/>
            </a:xfrm>
            <a:custGeom>
              <a:avLst/>
              <a:gdLst/>
              <a:ahLst/>
              <a:cxnLst/>
              <a:rect l="l" t="t" r="r" b="b"/>
              <a:pathLst>
                <a:path w="2495" h="2137" extrusionOk="0">
                  <a:moveTo>
                    <a:pt x="1071" y="0"/>
                  </a:moveTo>
                  <a:cubicBezTo>
                    <a:pt x="478" y="8"/>
                    <a:pt x="6" y="480"/>
                    <a:pt x="6" y="1065"/>
                  </a:cubicBezTo>
                  <a:cubicBezTo>
                    <a:pt x="1" y="1709"/>
                    <a:pt x="524" y="2137"/>
                    <a:pt x="1072" y="2137"/>
                  </a:cubicBezTo>
                  <a:cubicBezTo>
                    <a:pt x="1334" y="2137"/>
                    <a:pt x="1601" y="2039"/>
                    <a:pt x="1819" y="1821"/>
                  </a:cubicBezTo>
                  <a:cubicBezTo>
                    <a:pt x="2494" y="1154"/>
                    <a:pt x="2023"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1" name="Google Shape;2841;p66"/>
            <p:cNvSpPr/>
            <p:nvPr/>
          </p:nvSpPr>
          <p:spPr>
            <a:xfrm>
              <a:off x="2066275" y="3247075"/>
              <a:ext cx="62375" cy="53450"/>
            </a:xfrm>
            <a:custGeom>
              <a:avLst/>
              <a:gdLst/>
              <a:ahLst/>
              <a:cxnLst/>
              <a:rect l="l" t="t" r="r" b="b"/>
              <a:pathLst>
                <a:path w="2495" h="2138" extrusionOk="0">
                  <a:moveTo>
                    <a:pt x="1071" y="1"/>
                  </a:moveTo>
                  <a:cubicBezTo>
                    <a:pt x="486" y="9"/>
                    <a:pt x="6" y="480"/>
                    <a:pt x="6" y="1066"/>
                  </a:cubicBezTo>
                  <a:cubicBezTo>
                    <a:pt x="1" y="1709"/>
                    <a:pt x="524" y="2137"/>
                    <a:pt x="1072" y="2137"/>
                  </a:cubicBezTo>
                  <a:cubicBezTo>
                    <a:pt x="1334" y="2137"/>
                    <a:pt x="1601" y="2040"/>
                    <a:pt x="1819" y="1822"/>
                  </a:cubicBezTo>
                  <a:cubicBezTo>
                    <a:pt x="2494" y="1155"/>
                    <a:pt x="2023"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2" name="Google Shape;2842;p66"/>
            <p:cNvSpPr/>
            <p:nvPr/>
          </p:nvSpPr>
          <p:spPr>
            <a:xfrm>
              <a:off x="206642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3" name="Google Shape;2843;p66"/>
            <p:cNvSpPr/>
            <p:nvPr/>
          </p:nvSpPr>
          <p:spPr>
            <a:xfrm>
              <a:off x="206642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4" name="Google Shape;2844;p66"/>
            <p:cNvSpPr/>
            <p:nvPr/>
          </p:nvSpPr>
          <p:spPr>
            <a:xfrm>
              <a:off x="2066425" y="2942425"/>
              <a:ext cx="62225" cy="53450"/>
            </a:xfrm>
            <a:custGeom>
              <a:avLst/>
              <a:gdLst/>
              <a:ahLst/>
              <a:cxnLst/>
              <a:rect l="l" t="t" r="r" b="b"/>
              <a:pathLst>
                <a:path w="2489" h="2138" extrusionOk="0">
                  <a:moveTo>
                    <a:pt x="1065" y="1"/>
                  </a:moveTo>
                  <a:cubicBezTo>
                    <a:pt x="472" y="9"/>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5" name="Google Shape;2845;p66"/>
            <p:cNvSpPr/>
            <p:nvPr/>
          </p:nvSpPr>
          <p:spPr>
            <a:xfrm>
              <a:off x="206642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6" name="Google Shape;2846;p66"/>
            <p:cNvSpPr/>
            <p:nvPr/>
          </p:nvSpPr>
          <p:spPr>
            <a:xfrm>
              <a:off x="206642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7" name="Google Shape;2847;p66"/>
            <p:cNvSpPr/>
            <p:nvPr/>
          </p:nvSpPr>
          <p:spPr>
            <a:xfrm>
              <a:off x="206642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8" name="Google Shape;2848;p66"/>
            <p:cNvSpPr/>
            <p:nvPr/>
          </p:nvSpPr>
          <p:spPr>
            <a:xfrm>
              <a:off x="206642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49" name="Google Shape;2849;p66"/>
            <p:cNvSpPr/>
            <p:nvPr/>
          </p:nvSpPr>
          <p:spPr>
            <a:xfrm>
              <a:off x="2066425"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0" name="Google Shape;2850;p66"/>
            <p:cNvSpPr/>
            <p:nvPr/>
          </p:nvSpPr>
          <p:spPr>
            <a:xfrm>
              <a:off x="2066425"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1" name="Google Shape;2851;p66"/>
            <p:cNvSpPr/>
            <p:nvPr/>
          </p:nvSpPr>
          <p:spPr>
            <a:xfrm>
              <a:off x="2066425" y="1571400"/>
              <a:ext cx="62225" cy="53250"/>
            </a:xfrm>
            <a:custGeom>
              <a:avLst/>
              <a:gdLst/>
              <a:ahLst/>
              <a:cxnLst/>
              <a:rect l="l" t="t" r="r" b="b"/>
              <a:pathLst>
                <a:path w="2489"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2" name="Google Shape;2852;p66"/>
            <p:cNvSpPr/>
            <p:nvPr/>
          </p:nvSpPr>
          <p:spPr>
            <a:xfrm>
              <a:off x="2066425"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3" name="Google Shape;2853;p66"/>
            <p:cNvSpPr/>
            <p:nvPr/>
          </p:nvSpPr>
          <p:spPr>
            <a:xfrm>
              <a:off x="206642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4" name="Google Shape;2854;p66"/>
            <p:cNvSpPr/>
            <p:nvPr/>
          </p:nvSpPr>
          <p:spPr>
            <a:xfrm>
              <a:off x="206642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5" name="Google Shape;2855;p66"/>
            <p:cNvSpPr/>
            <p:nvPr/>
          </p:nvSpPr>
          <p:spPr>
            <a:xfrm>
              <a:off x="2066425" y="1038125"/>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6" name="Google Shape;2856;p66"/>
            <p:cNvSpPr/>
            <p:nvPr/>
          </p:nvSpPr>
          <p:spPr>
            <a:xfrm>
              <a:off x="1990200" y="4542300"/>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3"/>
                    <a:pt x="1822" y="1813"/>
                  </a:cubicBezTo>
                  <a:cubicBezTo>
                    <a:pt x="2489"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7" name="Google Shape;2857;p66"/>
            <p:cNvSpPr/>
            <p:nvPr/>
          </p:nvSpPr>
          <p:spPr>
            <a:xfrm>
              <a:off x="1990200" y="4466075"/>
              <a:ext cx="62225" cy="53300"/>
            </a:xfrm>
            <a:custGeom>
              <a:avLst/>
              <a:gdLst/>
              <a:ahLst/>
              <a:cxnLst/>
              <a:rect l="l" t="t" r="r" b="b"/>
              <a:pathLst>
                <a:path w="2489" h="2132" extrusionOk="0">
                  <a:moveTo>
                    <a:pt x="1066" y="1"/>
                  </a:moveTo>
                  <a:cubicBezTo>
                    <a:pt x="481" y="1"/>
                    <a:pt x="1" y="472"/>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8" name="Google Shape;2858;p66"/>
            <p:cNvSpPr/>
            <p:nvPr/>
          </p:nvSpPr>
          <p:spPr>
            <a:xfrm>
              <a:off x="1990200" y="4389875"/>
              <a:ext cx="62225" cy="53350"/>
            </a:xfrm>
            <a:custGeom>
              <a:avLst/>
              <a:gdLst/>
              <a:ahLst/>
              <a:cxnLst/>
              <a:rect l="l" t="t" r="r" b="b"/>
              <a:pathLst>
                <a:path w="2489" h="2134" extrusionOk="0">
                  <a:moveTo>
                    <a:pt x="1066" y="0"/>
                  </a:moveTo>
                  <a:cubicBezTo>
                    <a:pt x="481" y="0"/>
                    <a:pt x="1" y="480"/>
                    <a:pt x="1" y="1065"/>
                  </a:cubicBezTo>
                  <a:cubicBezTo>
                    <a:pt x="1" y="1709"/>
                    <a:pt x="526" y="2133"/>
                    <a:pt x="1075" y="2133"/>
                  </a:cubicBezTo>
                  <a:cubicBezTo>
                    <a:pt x="1337" y="2133"/>
                    <a:pt x="1604" y="2037"/>
                    <a:pt x="1822" y="1821"/>
                  </a:cubicBezTo>
                  <a:cubicBezTo>
                    <a:pt x="2489" y="1147"/>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59" name="Google Shape;2859;p66"/>
            <p:cNvSpPr/>
            <p:nvPr/>
          </p:nvSpPr>
          <p:spPr>
            <a:xfrm>
              <a:off x="1990200" y="3627950"/>
              <a:ext cx="62225" cy="53425"/>
            </a:xfrm>
            <a:custGeom>
              <a:avLst/>
              <a:gdLst/>
              <a:ahLst/>
              <a:cxnLst/>
              <a:rect l="l" t="t" r="r" b="b"/>
              <a:pathLst>
                <a:path w="2489" h="2137" extrusionOk="0">
                  <a:moveTo>
                    <a:pt x="1066" y="0"/>
                  </a:moveTo>
                  <a:cubicBezTo>
                    <a:pt x="481" y="8"/>
                    <a:pt x="1" y="480"/>
                    <a:pt x="1" y="1073"/>
                  </a:cubicBezTo>
                  <a:cubicBezTo>
                    <a:pt x="1" y="1711"/>
                    <a:pt x="525" y="2137"/>
                    <a:pt x="1074" y="2137"/>
                  </a:cubicBezTo>
                  <a:cubicBezTo>
                    <a:pt x="1336" y="2137"/>
                    <a:pt x="1604" y="2039"/>
                    <a:pt x="1822" y="1821"/>
                  </a:cubicBezTo>
                  <a:cubicBezTo>
                    <a:pt x="2489"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0" name="Google Shape;2860;p66"/>
            <p:cNvSpPr/>
            <p:nvPr/>
          </p:nvSpPr>
          <p:spPr>
            <a:xfrm>
              <a:off x="1990200" y="3551925"/>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1" name="Google Shape;2861;p66"/>
            <p:cNvSpPr/>
            <p:nvPr/>
          </p:nvSpPr>
          <p:spPr>
            <a:xfrm>
              <a:off x="1990200" y="3475725"/>
              <a:ext cx="62225" cy="53350"/>
            </a:xfrm>
            <a:custGeom>
              <a:avLst/>
              <a:gdLst/>
              <a:ahLst/>
              <a:cxnLst/>
              <a:rect l="l" t="t" r="r" b="b"/>
              <a:pathLst>
                <a:path w="2489" h="2134" extrusionOk="0">
                  <a:moveTo>
                    <a:pt x="1066" y="0"/>
                  </a:moveTo>
                  <a:cubicBezTo>
                    <a:pt x="472" y="0"/>
                    <a:pt x="1" y="480"/>
                    <a:pt x="1" y="1065"/>
                  </a:cubicBezTo>
                  <a:cubicBezTo>
                    <a:pt x="1" y="1709"/>
                    <a:pt x="526" y="2133"/>
                    <a:pt x="1075" y="2133"/>
                  </a:cubicBezTo>
                  <a:cubicBezTo>
                    <a:pt x="1337" y="2133"/>
                    <a:pt x="1604" y="2037"/>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2" name="Google Shape;2862;p66"/>
            <p:cNvSpPr/>
            <p:nvPr/>
          </p:nvSpPr>
          <p:spPr>
            <a:xfrm>
              <a:off x="1990200" y="3399500"/>
              <a:ext cx="62225" cy="53350"/>
            </a:xfrm>
            <a:custGeom>
              <a:avLst/>
              <a:gdLst/>
              <a:ahLst/>
              <a:cxnLst/>
              <a:rect l="l" t="t" r="r" b="b"/>
              <a:pathLst>
                <a:path w="2489" h="2134" extrusionOk="0">
                  <a:moveTo>
                    <a:pt x="1066" y="1"/>
                  </a:moveTo>
                  <a:cubicBezTo>
                    <a:pt x="481" y="1"/>
                    <a:pt x="1" y="480"/>
                    <a:pt x="1" y="1066"/>
                  </a:cubicBezTo>
                  <a:cubicBezTo>
                    <a:pt x="1" y="1709"/>
                    <a:pt x="526" y="2134"/>
                    <a:pt x="1075" y="2134"/>
                  </a:cubicBezTo>
                  <a:cubicBezTo>
                    <a:pt x="1337" y="2134"/>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3" name="Google Shape;2863;p66"/>
            <p:cNvSpPr/>
            <p:nvPr/>
          </p:nvSpPr>
          <p:spPr>
            <a:xfrm>
              <a:off x="1990075" y="3323300"/>
              <a:ext cx="62350" cy="53425"/>
            </a:xfrm>
            <a:custGeom>
              <a:avLst/>
              <a:gdLst/>
              <a:ahLst/>
              <a:cxnLst/>
              <a:rect l="l" t="t" r="r" b="b"/>
              <a:pathLst>
                <a:path w="2494" h="2137" extrusionOk="0">
                  <a:moveTo>
                    <a:pt x="1071" y="0"/>
                  </a:moveTo>
                  <a:cubicBezTo>
                    <a:pt x="486" y="8"/>
                    <a:pt x="6" y="480"/>
                    <a:pt x="6" y="1065"/>
                  </a:cubicBezTo>
                  <a:cubicBezTo>
                    <a:pt x="0" y="1709"/>
                    <a:pt x="528" y="2137"/>
                    <a:pt x="1075" y="2137"/>
                  </a:cubicBezTo>
                  <a:cubicBezTo>
                    <a:pt x="1337" y="2137"/>
                    <a:pt x="1603"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4" name="Google Shape;2864;p66"/>
            <p:cNvSpPr/>
            <p:nvPr/>
          </p:nvSpPr>
          <p:spPr>
            <a:xfrm>
              <a:off x="1990075" y="3247075"/>
              <a:ext cx="62350" cy="53450"/>
            </a:xfrm>
            <a:custGeom>
              <a:avLst/>
              <a:gdLst/>
              <a:ahLst/>
              <a:cxnLst/>
              <a:rect l="l" t="t" r="r" b="b"/>
              <a:pathLst>
                <a:path w="2494" h="2138" extrusionOk="0">
                  <a:moveTo>
                    <a:pt x="1071" y="1"/>
                  </a:moveTo>
                  <a:cubicBezTo>
                    <a:pt x="486" y="9"/>
                    <a:pt x="6" y="480"/>
                    <a:pt x="6" y="1066"/>
                  </a:cubicBezTo>
                  <a:cubicBezTo>
                    <a:pt x="0" y="1709"/>
                    <a:pt x="528" y="2137"/>
                    <a:pt x="1075" y="2137"/>
                  </a:cubicBezTo>
                  <a:cubicBezTo>
                    <a:pt x="1337" y="2137"/>
                    <a:pt x="1603" y="2040"/>
                    <a:pt x="1819" y="1822"/>
                  </a:cubicBezTo>
                  <a:cubicBezTo>
                    <a:pt x="2494" y="1155"/>
                    <a:pt x="2022"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5" name="Google Shape;2865;p66"/>
            <p:cNvSpPr/>
            <p:nvPr/>
          </p:nvSpPr>
          <p:spPr>
            <a:xfrm>
              <a:off x="1990200" y="317107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6" name="Google Shape;2866;p66"/>
            <p:cNvSpPr/>
            <p:nvPr/>
          </p:nvSpPr>
          <p:spPr>
            <a:xfrm>
              <a:off x="1990200" y="2942425"/>
              <a:ext cx="62225" cy="53450"/>
            </a:xfrm>
            <a:custGeom>
              <a:avLst/>
              <a:gdLst/>
              <a:ahLst/>
              <a:cxnLst/>
              <a:rect l="l" t="t" r="r" b="b"/>
              <a:pathLst>
                <a:path w="2489" h="2138" extrusionOk="0">
                  <a:moveTo>
                    <a:pt x="1066" y="1"/>
                  </a:moveTo>
                  <a:cubicBezTo>
                    <a:pt x="481" y="9"/>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7" name="Google Shape;2867;p66"/>
            <p:cNvSpPr/>
            <p:nvPr/>
          </p:nvSpPr>
          <p:spPr>
            <a:xfrm>
              <a:off x="1990200" y="2866425"/>
              <a:ext cx="62225" cy="53275"/>
            </a:xfrm>
            <a:custGeom>
              <a:avLst/>
              <a:gdLst/>
              <a:ahLst/>
              <a:cxnLst/>
              <a:rect l="l" t="t" r="r" b="b"/>
              <a:pathLst>
                <a:path w="2489" h="2131" extrusionOk="0">
                  <a:moveTo>
                    <a:pt x="1066" y="0"/>
                  </a:moveTo>
                  <a:cubicBezTo>
                    <a:pt x="481"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8" name="Google Shape;2868;p66"/>
            <p:cNvSpPr/>
            <p:nvPr/>
          </p:nvSpPr>
          <p:spPr>
            <a:xfrm>
              <a:off x="1990200" y="2333125"/>
              <a:ext cx="62225" cy="53450"/>
            </a:xfrm>
            <a:custGeom>
              <a:avLst/>
              <a:gdLst/>
              <a:ahLst/>
              <a:cxnLst/>
              <a:rect l="l" t="t" r="r" b="b"/>
              <a:pathLst>
                <a:path w="2489" h="2138" extrusionOk="0">
                  <a:moveTo>
                    <a:pt x="1066" y="1"/>
                  </a:moveTo>
                  <a:cubicBezTo>
                    <a:pt x="481" y="1"/>
                    <a:pt x="1" y="480"/>
                    <a:pt x="1" y="1066"/>
                  </a:cubicBezTo>
                  <a:cubicBezTo>
                    <a:pt x="1" y="1709"/>
                    <a:pt x="526" y="2137"/>
                    <a:pt x="1075" y="2137"/>
                  </a:cubicBezTo>
                  <a:cubicBezTo>
                    <a:pt x="1337" y="2137"/>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69" name="Google Shape;2869;p66"/>
            <p:cNvSpPr/>
            <p:nvPr/>
          </p:nvSpPr>
          <p:spPr>
            <a:xfrm>
              <a:off x="199020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30" y="2137"/>
                    <a:pt x="1078" y="2137"/>
                  </a:cubicBezTo>
                  <a:cubicBezTo>
                    <a:pt x="1340" y="2137"/>
                    <a:pt x="1607"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0" name="Google Shape;2870;p66"/>
            <p:cNvSpPr/>
            <p:nvPr/>
          </p:nvSpPr>
          <p:spPr>
            <a:xfrm>
              <a:off x="1990200" y="2180700"/>
              <a:ext cx="62225" cy="53350"/>
            </a:xfrm>
            <a:custGeom>
              <a:avLst/>
              <a:gdLst/>
              <a:ahLst/>
              <a:cxnLst/>
              <a:rect l="l" t="t" r="r" b="b"/>
              <a:pathLst>
                <a:path w="2489" h="2134" extrusionOk="0">
                  <a:moveTo>
                    <a:pt x="1066" y="1"/>
                  </a:moveTo>
                  <a:cubicBezTo>
                    <a:pt x="481" y="1"/>
                    <a:pt x="1" y="480"/>
                    <a:pt x="1" y="1066"/>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1" name="Google Shape;2871;p66"/>
            <p:cNvSpPr/>
            <p:nvPr/>
          </p:nvSpPr>
          <p:spPr>
            <a:xfrm>
              <a:off x="1990200" y="21045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2" name="Google Shape;2872;p66"/>
            <p:cNvSpPr/>
            <p:nvPr/>
          </p:nvSpPr>
          <p:spPr>
            <a:xfrm>
              <a:off x="1990200" y="2028275"/>
              <a:ext cx="62225" cy="53450"/>
            </a:xfrm>
            <a:custGeom>
              <a:avLst/>
              <a:gdLst/>
              <a:ahLst/>
              <a:cxnLst/>
              <a:rect l="l" t="t" r="r" b="b"/>
              <a:pathLst>
                <a:path w="2489" h="2138" extrusionOk="0">
                  <a:moveTo>
                    <a:pt x="1066" y="1"/>
                  </a:moveTo>
                  <a:cubicBezTo>
                    <a:pt x="481" y="1"/>
                    <a:pt x="1" y="480"/>
                    <a:pt x="1" y="1065"/>
                  </a:cubicBezTo>
                  <a:cubicBezTo>
                    <a:pt x="1" y="1709"/>
                    <a:pt x="526" y="2137"/>
                    <a:pt x="1075" y="2137"/>
                  </a:cubicBezTo>
                  <a:cubicBezTo>
                    <a:pt x="1337" y="2137"/>
                    <a:pt x="1604" y="2040"/>
                    <a:pt x="1822" y="1821"/>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3" name="Google Shape;2873;p66"/>
            <p:cNvSpPr/>
            <p:nvPr/>
          </p:nvSpPr>
          <p:spPr>
            <a:xfrm>
              <a:off x="1990200" y="1952050"/>
              <a:ext cx="62225" cy="53450"/>
            </a:xfrm>
            <a:custGeom>
              <a:avLst/>
              <a:gdLst/>
              <a:ahLst/>
              <a:cxnLst/>
              <a:rect l="l" t="t" r="r" b="b"/>
              <a:pathLst>
                <a:path w="2489" h="2138" extrusionOk="0">
                  <a:moveTo>
                    <a:pt x="1066" y="1"/>
                  </a:moveTo>
                  <a:cubicBezTo>
                    <a:pt x="481" y="9"/>
                    <a:pt x="1" y="481"/>
                    <a:pt x="1" y="1074"/>
                  </a:cubicBezTo>
                  <a:cubicBezTo>
                    <a:pt x="1" y="1712"/>
                    <a:pt x="525" y="2138"/>
                    <a:pt x="1074" y="2138"/>
                  </a:cubicBezTo>
                  <a:cubicBezTo>
                    <a:pt x="1336" y="2138"/>
                    <a:pt x="1604" y="2040"/>
                    <a:pt x="1822"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4" name="Google Shape;2874;p66"/>
            <p:cNvSpPr/>
            <p:nvPr/>
          </p:nvSpPr>
          <p:spPr>
            <a:xfrm>
              <a:off x="1990200" y="1876050"/>
              <a:ext cx="62225" cy="53275"/>
            </a:xfrm>
            <a:custGeom>
              <a:avLst/>
              <a:gdLst/>
              <a:ahLst/>
              <a:cxnLst/>
              <a:rect l="l" t="t" r="r" b="b"/>
              <a:pathLst>
                <a:path w="2489" h="2131" extrusionOk="0">
                  <a:moveTo>
                    <a:pt x="1066" y="1"/>
                  </a:moveTo>
                  <a:cubicBezTo>
                    <a:pt x="481" y="1"/>
                    <a:pt x="1" y="472"/>
                    <a:pt x="1" y="1066"/>
                  </a:cubicBezTo>
                  <a:cubicBezTo>
                    <a:pt x="1" y="1707"/>
                    <a:pt x="523" y="2131"/>
                    <a:pt x="1070" y="2131"/>
                  </a:cubicBezTo>
                  <a:cubicBezTo>
                    <a:pt x="1333" y="2131"/>
                    <a:pt x="1603" y="2033"/>
                    <a:pt x="1822"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5" name="Google Shape;2875;p66"/>
            <p:cNvSpPr/>
            <p:nvPr/>
          </p:nvSpPr>
          <p:spPr>
            <a:xfrm>
              <a:off x="1990200" y="179985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6" name="Google Shape;2876;p66"/>
            <p:cNvSpPr/>
            <p:nvPr/>
          </p:nvSpPr>
          <p:spPr>
            <a:xfrm>
              <a:off x="1990200" y="1647400"/>
              <a:ext cx="62225" cy="53450"/>
            </a:xfrm>
            <a:custGeom>
              <a:avLst/>
              <a:gdLst/>
              <a:ahLst/>
              <a:cxnLst/>
              <a:rect l="l" t="t" r="r" b="b"/>
              <a:pathLst>
                <a:path w="2489" h="2138" extrusionOk="0">
                  <a:moveTo>
                    <a:pt x="1066" y="1"/>
                  </a:moveTo>
                  <a:cubicBezTo>
                    <a:pt x="481" y="9"/>
                    <a:pt x="1" y="481"/>
                    <a:pt x="1" y="1066"/>
                  </a:cubicBezTo>
                  <a:cubicBezTo>
                    <a:pt x="1" y="1710"/>
                    <a:pt x="526" y="2138"/>
                    <a:pt x="1075" y="2138"/>
                  </a:cubicBezTo>
                  <a:cubicBezTo>
                    <a:pt x="1337" y="2138"/>
                    <a:pt x="1604" y="2040"/>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7" name="Google Shape;2877;p66"/>
            <p:cNvSpPr/>
            <p:nvPr/>
          </p:nvSpPr>
          <p:spPr>
            <a:xfrm>
              <a:off x="1990200" y="1571400"/>
              <a:ext cx="62225" cy="53250"/>
            </a:xfrm>
            <a:custGeom>
              <a:avLst/>
              <a:gdLst/>
              <a:ahLst/>
              <a:cxnLst/>
              <a:rect l="l" t="t" r="r" b="b"/>
              <a:pathLst>
                <a:path w="2489" h="2130" extrusionOk="0">
                  <a:moveTo>
                    <a:pt x="1066" y="1"/>
                  </a:moveTo>
                  <a:cubicBezTo>
                    <a:pt x="481" y="1"/>
                    <a:pt x="1" y="472"/>
                    <a:pt x="1" y="1066"/>
                  </a:cubicBezTo>
                  <a:cubicBezTo>
                    <a:pt x="1" y="1703"/>
                    <a:pt x="525" y="2129"/>
                    <a:pt x="1074" y="2129"/>
                  </a:cubicBezTo>
                  <a:cubicBezTo>
                    <a:pt x="1336" y="2129"/>
                    <a:pt x="1604" y="2032"/>
                    <a:pt x="1822"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8" name="Google Shape;2878;p66"/>
            <p:cNvSpPr/>
            <p:nvPr/>
          </p:nvSpPr>
          <p:spPr>
            <a:xfrm>
              <a:off x="1990200" y="1495200"/>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79" name="Google Shape;2879;p66"/>
            <p:cNvSpPr/>
            <p:nvPr/>
          </p:nvSpPr>
          <p:spPr>
            <a:xfrm>
              <a:off x="1990200" y="141897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0" name="Google Shape;2880;p66"/>
            <p:cNvSpPr/>
            <p:nvPr/>
          </p:nvSpPr>
          <p:spPr>
            <a:xfrm>
              <a:off x="1990200" y="1114325"/>
              <a:ext cx="62225" cy="53350"/>
            </a:xfrm>
            <a:custGeom>
              <a:avLst/>
              <a:gdLst/>
              <a:ahLst/>
              <a:cxnLst/>
              <a:rect l="l" t="t" r="r" b="b"/>
              <a:pathLst>
                <a:path w="2489" h="2134" extrusionOk="0">
                  <a:moveTo>
                    <a:pt x="1066" y="1"/>
                  </a:moveTo>
                  <a:cubicBezTo>
                    <a:pt x="481" y="1"/>
                    <a:pt x="1" y="480"/>
                    <a:pt x="1" y="1065"/>
                  </a:cubicBezTo>
                  <a:cubicBezTo>
                    <a:pt x="1" y="1709"/>
                    <a:pt x="526" y="2133"/>
                    <a:pt x="1075" y="2133"/>
                  </a:cubicBezTo>
                  <a:cubicBezTo>
                    <a:pt x="1337" y="2133"/>
                    <a:pt x="1604" y="2037"/>
                    <a:pt x="1822"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1" name="Google Shape;2881;p66"/>
            <p:cNvSpPr/>
            <p:nvPr/>
          </p:nvSpPr>
          <p:spPr>
            <a:xfrm>
              <a:off x="1990200" y="1038125"/>
              <a:ext cx="62225" cy="53325"/>
            </a:xfrm>
            <a:custGeom>
              <a:avLst/>
              <a:gdLst/>
              <a:ahLst/>
              <a:cxnLst/>
              <a:rect l="l" t="t" r="r" b="b"/>
              <a:pathLst>
                <a:path w="2489" h="2133" extrusionOk="0">
                  <a:moveTo>
                    <a:pt x="1066" y="0"/>
                  </a:moveTo>
                  <a:cubicBezTo>
                    <a:pt x="481" y="0"/>
                    <a:pt x="1" y="480"/>
                    <a:pt x="1" y="1065"/>
                  </a:cubicBezTo>
                  <a:cubicBezTo>
                    <a:pt x="1" y="1709"/>
                    <a:pt x="526" y="2133"/>
                    <a:pt x="1075" y="2133"/>
                  </a:cubicBezTo>
                  <a:cubicBezTo>
                    <a:pt x="1337" y="2133"/>
                    <a:pt x="1604" y="2036"/>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2" name="Google Shape;2882;p66"/>
            <p:cNvSpPr/>
            <p:nvPr/>
          </p:nvSpPr>
          <p:spPr>
            <a:xfrm>
              <a:off x="1914000" y="3551925"/>
              <a:ext cx="62225" cy="53300"/>
            </a:xfrm>
            <a:custGeom>
              <a:avLst/>
              <a:gdLst/>
              <a:ahLst/>
              <a:cxnLst/>
              <a:rect l="l" t="t" r="r" b="b"/>
              <a:pathLst>
                <a:path w="2489" h="2132" extrusionOk="0">
                  <a:moveTo>
                    <a:pt x="1065" y="1"/>
                  </a:moveTo>
                  <a:cubicBezTo>
                    <a:pt x="480" y="1"/>
                    <a:pt x="0" y="480"/>
                    <a:pt x="0" y="1066"/>
                  </a:cubicBezTo>
                  <a:cubicBezTo>
                    <a:pt x="0" y="1708"/>
                    <a:pt x="526" y="2131"/>
                    <a:pt x="1073" y="2131"/>
                  </a:cubicBezTo>
                  <a:cubicBezTo>
                    <a:pt x="1337" y="2131"/>
                    <a:pt x="1605" y="2033"/>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3" name="Google Shape;2883;p66"/>
            <p:cNvSpPr/>
            <p:nvPr/>
          </p:nvSpPr>
          <p:spPr>
            <a:xfrm>
              <a:off x="1914000" y="3475725"/>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7"/>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4" name="Google Shape;2884;p66"/>
            <p:cNvSpPr/>
            <p:nvPr/>
          </p:nvSpPr>
          <p:spPr>
            <a:xfrm>
              <a:off x="1914000"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5" name="Google Shape;2885;p66"/>
            <p:cNvSpPr/>
            <p:nvPr/>
          </p:nvSpPr>
          <p:spPr>
            <a:xfrm>
              <a:off x="1914000" y="3323300"/>
              <a:ext cx="62225" cy="53425"/>
            </a:xfrm>
            <a:custGeom>
              <a:avLst/>
              <a:gdLst/>
              <a:ahLst/>
              <a:cxnLst/>
              <a:rect l="l" t="t" r="r" b="b"/>
              <a:pathLst>
                <a:path w="2489" h="2137" extrusionOk="0">
                  <a:moveTo>
                    <a:pt x="1065" y="0"/>
                  </a:moveTo>
                  <a:cubicBezTo>
                    <a:pt x="480" y="8"/>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6" name="Google Shape;2886;p66"/>
            <p:cNvSpPr/>
            <p:nvPr/>
          </p:nvSpPr>
          <p:spPr>
            <a:xfrm>
              <a:off x="1914000" y="3247075"/>
              <a:ext cx="62425" cy="53450"/>
            </a:xfrm>
            <a:custGeom>
              <a:avLst/>
              <a:gdLst/>
              <a:ahLst/>
              <a:cxnLst/>
              <a:rect l="l" t="t" r="r" b="b"/>
              <a:pathLst>
                <a:path w="2497" h="2138" extrusionOk="0">
                  <a:moveTo>
                    <a:pt x="1065" y="1"/>
                  </a:moveTo>
                  <a:cubicBezTo>
                    <a:pt x="480" y="9"/>
                    <a:pt x="9" y="480"/>
                    <a:pt x="0" y="1066"/>
                  </a:cubicBezTo>
                  <a:cubicBezTo>
                    <a:pt x="0" y="1709"/>
                    <a:pt x="526" y="2137"/>
                    <a:pt x="1074" y="2137"/>
                  </a:cubicBezTo>
                  <a:cubicBezTo>
                    <a:pt x="1336" y="2137"/>
                    <a:pt x="1603" y="2040"/>
                    <a:pt x="1821" y="1822"/>
                  </a:cubicBezTo>
                  <a:cubicBezTo>
                    <a:pt x="2496"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7" name="Google Shape;2887;p66"/>
            <p:cNvSpPr/>
            <p:nvPr/>
          </p:nvSpPr>
          <p:spPr>
            <a:xfrm>
              <a:off x="1914000" y="317107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8" name="Google Shape;2888;p66"/>
            <p:cNvSpPr/>
            <p:nvPr/>
          </p:nvSpPr>
          <p:spPr>
            <a:xfrm>
              <a:off x="1914000" y="2866425"/>
              <a:ext cx="62225" cy="53275"/>
            </a:xfrm>
            <a:custGeom>
              <a:avLst/>
              <a:gdLst/>
              <a:ahLst/>
              <a:cxnLst/>
              <a:rect l="l" t="t" r="r" b="b"/>
              <a:pathLst>
                <a:path w="2489"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89" name="Google Shape;2889;p66"/>
            <p:cNvSpPr/>
            <p:nvPr/>
          </p:nvSpPr>
          <p:spPr>
            <a:xfrm>
              <a:off x="1914000"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0" name="Google Shape;2890;p66"/>
            <p:cNvSpPr/>
            <p:nvPr/>
          </p:nvSpPr>
          <p:spPr>
            <a:xfrm>
              <a:off x="1914000"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1" name="Google Shape;2891;p66"/>
            <p:cNvSpPr/>
            <p:nvPr/>
          </p:nvSpPr>
          <p:spPr>
            <a:xfrm>
              <a:off x="1914000"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2" name="Google Shape;2892;p66"/>
            <p:cNvSpPr/>
            <p:nvPr/>
          </p:nvSpPr>
          <p:spPr>
            <a:xfrm>
              <a:off x="191400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30"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3" name="Google Shape;2893;p66"/>
            <p:cNvSpPr/>
            <p:nvPr/>
          </p:nvSpPr>
          <p:spPr>
            <a:xfrm>
              <a:off x="1914000"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4" name="Google Shape;2894;p66"/>
            <p:cNvSpPr/>
            <p:nvPr/>
          </p:nvSpPr>
          <p:spPr>
            <a:xfrm>
              <a:off x="1914000"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5" name="Google Shape;2895;p66"/>
            <p:cNvSpPr/>
            <p:nvPr/>
          </p:nvSpPr>
          <p:spPr>
            <a:xfrm>
              <a:off x="1914000"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6" name="Google Shape;2896;p66"/>
            <p:cNvSpPr/>
            <p:nvPr/>
          </p:nvSpPr>
          <p:spPr>
            <a:xfrm>
              <a:off x="1914000"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7" name="Google Shape;2897;p66"/>
            <p:cNvSpPr/>
            <p:nvPr/>
          </p:nvSpPr>
          <p:spPr>
            <a:xfrm>
              <a:off x="1914000"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8" name="Google Shape;2898;p66"/>
            <p:cNvSpPr/>
            <p:nvPr/>
          </p:nvSpPr>
          <p:spPr>
            <a:xfrm>
              <a:off x="1914000" y="11905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899" name="Google Shape;2899;p66"/>
            <p:cNvSpPr/>
            <p:nvPr/>
          </p:nvSpPr>
          <p:spPr>
            <a:xfrm>
              <a:off x="1914000" y="11143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0" name="Google Shape;2900;p66"/>
            <p:cNvSpPr/>
            <p:nvPr/>
          </p:nvSpPr>
          <p:spPr>
            <a:xfrm>
              <a:off x="1837775"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1" name="Google Shape;2901;p66"/>
            <p:cNvSpPr/>
            <p:nvPr/>
          </p:nvSpPr>
          <p:spPr>
            <a:xfrm>
              <a:off x="1837775" y="2866425"/>
              <a:ext cx="62425" cy="53275"/>
            </a:xfrm>
            <a:custGeom>
              <a:avLst/>
              <a:gdLst/>
              <a:ahLst/>
              <a:cxnLst/>
              <a:rect l="l" t="t" r="r" b="b"/>
              <a:pathLst>
                <a:path w="2497" h="2131" extrusionOk="0">
                  <a:moveTo>
                    <a:pt x="1066" y="0"/>
                  </a:moveTo>
                  <a:cubicBezTo>
                    <a:pt x="481" y="0"/>
                    <a:pt x="1" y="472"/>
                    <a:pt x="1" y="1065"/>
                  </a:cubicBezTo>
                  <a:cubicBezTo>
                    <a:pt x="1" y="1707"/>
                    <a:pt x="527" y="2131"/>
                    <a:pt x="1074" y="2131"/>
                  </a:cubicBezTo>
                  <a:cubicBezTo>
                    <a:pt x="1337" y="2131"/>
                    <a:pt x="1605" y="2032"/>
                    <a:pt x="1822" y="1813"/>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2" name="Google Shape;2902;p66"/>
            <p:cNvSpPr/>
            <p:nvPr/>
          </p:nvSpPr>
          <p:spPr>
            <a:xfrm>
              <a:off x="1837775" y="2714000"/>
              <a:ext cx="62425" cy="53350"/>
            </a:xfrm>
            <a:custGeom>
              <a:avLst/>
              <a:gdLst/>
              <a:ahLst/>
              <a:cxnLst/>
              <a:rect l="l" t="t" r="r" b="b"/>
              <a:pathLst>
                <a:path w="2497" h="2134"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3" name="Google Shape;2903;p66"/>
            <p:cNvSpPr/>
            <p:nvPr/>
          </p:nvSpPr>
          <p:spPr>
            <a:xfrm>
              <a:off x="1837775" y="2637775"/>
              <a:ext cx="62425" cy="53450"/>
            </a:xfrm>
            <a:custGeom>
              <a:avLst/>
              <a:gdLst/>
              <a:ahLst/>
              <a:cxnLst/>
              <a:rect l="l" t="t" r="r" b="b"/>
              <a:pathLst>
                <a:path w="2497" h="2138" extrusionOk="0">
                  <a:moveTo>
                    <a:pt x="1066" y="1"/>
                  </a:moveTo>
                  <a:cubicBezTo>
                    <a:pt x="481" y="9"/>
                    <a:pt x="1" y="480"/>
                    <a:pt x="1" y="1074"/>
                  </a:cubicBezTo>
                  <a:cubicBezTo>
                    <a:pt x="1" y="1712"/>
                    <a:pt x="529" y="2137"/>
                    <a:pt x="1077" y="2137"/>
                  </a:cubicBezTo>
                  <a:cubicBezTo>
                    <a:pt x="1339" y="2137"/>
                    <a:pt x="1606"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4" name="Google Shape;2904;p66"/>
            <p:cNvSpPr/>
            <p:nvPr/>
          </p:nvSpPr>
          <p:spPr>
            <a:xfrm>
              <a:off x="1837775" y="2561575"/>
              <a:ext cx="62425" cy="53425"/>
            </a:xfrm>
            <a:custGeom>
              <a:avLst/>
              <a:gdLst/>
              <a:ahLst/>
              <a:cxnLst/>
              <a:rect l="l" t="t" r="r" b="b"/>
              <a:pathLst>
                <a:path w="2497" h="2137" extrusionOk="0">
                  <a:moveTo>
                    <a:pt x="1066" y="0"/>
                  </a:moveTo>
                  <a:cubicBezTo>
                    <a:pt x="481" y="8"/>
                    <a:pt x="9" y="480"/>
                    <a:pt x="1" y="1073"/>
                  </a:cubicBezTo>
                  <a:cubicBezTo>
                    <a:pt x="1" y="1711"/>
                    <a:pt x="525" y="2137"/>
                    <a:pt x="1074" y="2137"/>
                  </a:cubicBezTo>
                  <a:cubicBezTo>
                    <a:pt x="1336" y="2137"/>
                    <a:pt x="1604" y="2039"/>
                    <a:pt x="1822" y="1821"/>
                  </a:cubicBezTo>
                  <a:cubicBezTo>
                    <a:pt x="2497"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5" name="Google Shape;2905;p66"/>
            <p:cNvSpPr/>
            <p:nvPr/>
          </p:nvSpPr>
          <p:spPr>
            <a:xfrm>
              <a:off x="1837775" y="2485550"/>
              <a:ext cx="62425" cy="53300"/>
            </a:xfrm>
            <a:custGeom>
              <a:avLst/>
              <a:gdLst/>
              <a:ahLst/>
              <a:cxnLst/>
              <a:rect l="l" t="t" r="r" b="b"/>
              <a:pathLst>
                <a:path w="2497" h="2132" extrusionOk="0">
                  <a:moveTo>
                    <a:pt x="1066" y="1"/>
                  </a:moveTo>
                  <a:cubicBezTo>
                    <a:pt x="481" y="1"/>
                    <a:pt x="1" y="480"/>
                    <a:pt x="1" y="1066"/>
                  </a:cubicBezTo>
                  <a:cubicBezTo>
                    <a:pt x="1" y="1708"/>
                    <a:pt x="527" y="2131"/>
                    <a:pt x="1074" y="2131"/>
                  </a:cubicBezTo>
                  <a:cubicBezTo>
                    <a:pt x="1337" y="2131"/>
                    <a:pt x="1605" y="2033"/>
                    <a:pt x="1822" y="1814"/>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6" name="Google Shape;2906;p66"/>
            <p:cNvSpPr/>
            <p:nvPr/>
          </p:nvSpPr>
          <p:spPr>
            <a:xfrm>
              <a:off x="1837775" y="2409350"/>
              <a:ext cx="62425" cy="53350"/>
            </a:xfrm>
            <a:custGeom>
              <a:avLst/>
              <a:gdLst/>
              <a:ahLst/>
              <a:cxnLst/>
              <a:rect l="l" t="t" r="r" b="b"/>
              <a:pathLst>
                <a:path w="2497" h="2134"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7" name="Google Shape;2907;p66"/>
            <p:cNvSpPr/>
            <p:nvPr/>
          </p:nvSpPr>
          <p:spPr>
            <a:xfrm>
              <a:off x="1837775"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8" name="Google Shape;2908;p66"/>
            <p:cNvSpPr/>
            <p:nvPr/>
          </p:nvSpPr>
          <p:spPr>
            <a:xfrm>
              <a:off x="1837775"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09" name="Google Shape;2909;p66"/>
            <p:cNvSpPr/>
            <p:nvPr/>
          </p:nvSpPr>
          <p:spPr>
            <a:xfrm>
              <a:off x="1837775"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0" name="Google Shape;2910;p66"/>
            <p:cNvSpPr/>
            <p:nvPr/>
          </p:nvSpPr>
          <p:spPr>
            <a:xfrm>
              <a:off x="1837775" y="2104500"/>
              <a:ext cx="62425" cy="53325"/>
            </a:xfrm>
            <a:custGeom>
              <a:avLst/>
              <a:gdLst/>
              <a:ahLst/>
              <a:cxnLst/>
              <a:rect l="l" t="t" r="r" b="b"/>
              <a:pathLst>
                <a:path w="2497" h="2133" extrusionOk="0">
                  <a:moveTo>
                    <a:pt x="1066" y="0"/>
                  </a:moveTo>
                  <a:cubicBezTo>
                    <a:pt x="481"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1" name="Google Shape;2911;p66"/>
            <p:cNvSpPr/>
            <p:nvPr/>
          </p:nvSpPr>
          <p:spPr>
            <a:xfrm>
              <a:off x="1837775"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2" name="Google Shape;2912;p66"/>
            <p:cNvSpPr/>
            <p:nvPr/>
          </p:nvSpPr>
          <p:spPr>
            <a:xfrm>
              <a:off x="1837775"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3" name="Google Shape;2913;p66"/>
            <p:cNvSpPr/>
            <p:nvPr/>
          </p:nvSpPr>
          <p:spPr>
            <a:xfrm>
              <a:off x="1837775"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4" name="Google Shape;2914;p66"/>
            <p:cNvSpPr/>
            <p:nvPr/>
          </p:nvSpPr>
          <p:spPr>
            <a:xfrm>
              <a:off x="1837775"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5" name="Google Shape;2915;p66"/>
            <p:cNvSpPr/>
            <p:nvPr/>
          </p:nvSpPr>
          <p:spPr>
            <a:xfrm>
              <a:off x="1837775"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6" name="Google Shape;2916;p66"/>
            <p:cNvSpPr/>
            <p:nvPr/>
          </p:nvSpPr>
          <p:spPr>
            <a:xfrm>
              <a:off x="1837775" y="11905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7" name="Google Shape;2917;p66"/>
            <p:cNvSpPr/>
            <p:nvPr/>
          </p:nvSpPr>
          <p:spPr>
            <a:xfrm>
              <a:off x="1837775" y="1114325"/>
              <a:ext cx="62425" cy="53350"/>
            </a:xfrm>
            <a:custGeom>
              <a:avLst/>
              <a:gdLst/>
              <a:ahLst/>
              <a:cxnLst/>
              <a:rect l="l" t="t" r="r" b="b"/>
              <a:pathLst>
                <a:path w="2497" h="2134" extrusionOk="0">
                  <a:moveTo>
                    <a:pt x="1066" y="1"/>
                  </a:moveTo>
                  <a:cubicBezTo>
                    <a:pt x="481"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8" name="Google Shape;2918;p66"/>
            <p:cNvSpPr/>
            <p:nvPr/>
          </p:nvSpPr>
          <p:spPr>
            <a:xfrm>
              <a:off x="1761775" y="3171075"/>
              <a:ext cx="62225" cy="53275"/>
            </a:xfrm>
            <a:custGeom>
              <a:avLst/>
              <a:gdLst/>
              <a:ahLst/>
              <a:cxnLst/>
              <a:rect l="l" t="t" r="r" b="b"/>
              <a:pathLst>
                <a:path w="2489" h="2131" extrusionOk="0">
                  <a:moveTo>
                    <a:pt x="1065" y="0"/>
                  </a:moveTo>
                  <a:cubicBezTo>
                    <a:pt x="472" y="0"/>
                    <a:pt x="0" y="472"/>
                    <a:pt x="0" y="1065"/>
                  </a:cubicBezTo>
                  <a:cubicBezTo>
                    <a:pt x="0" y="1707"/>
                    <a:pt x="523" y="2131"/>
                    <a:pt x="1067" y="2131"/>
                  </a:cubicBezTo>
                  <a:cubicBezTo>
                    <a:pt x="1329" y="2131"/>
                    <a:pt x="1597" y="2032"/>
                    <a:pt x="1813" y="1813"/>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19" name="Google Shape;2919;p66"/>
            <p:cNvSpPr/>
            <p:nvPr/>
          </p:nvSpPr>
          <p:spPr>
            <a:xfrm>
              <a:off x="1761775"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0" name="Google Shape;2920;p66"/>
            <p:cNvSpPr/>
            <p:nvPr/>
          </p:nvSpPr>
          <p:spPr>
            <a:xfrm>
              <a:off x="1761775"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1" name="Google Shape;2921;p66"/>
            <p:cNvSpPr/>
            <p:nvPr/>
          </p:nvSpPr>
          <p:spPr>
            <a:xfrm>
              <a:off x="1761775"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2" name="Google Shape;2922;p66"/>
            <p:cNvSpPr/>
            <p:nvPr/>
          </p:nvSpPr>
          <p:spPr>
            <a:xfrm>
              <a:off x="1761775" y="2485550"/>
              <a:ext cx="62225" cy="53300"/>
            </a:xfrm>
            <a:custGeom>
              <a:avLst/>
              <a:gdLst/>
              <a:ahLst/>
              <a:cxnLst/>
              <a:rect l="l" t="t" r="r" b="b"/>
              <a:pathLst>
                <a:path w="2489" h="2132" extrusionOk="0">
                  <a:moveTo>
                    <a:pt x="1065" y="1"/>
                  </a:moveTo>
                  <a:cubicBezTo>
                    <a:pt x="472" y="1"/>
                    <a:pt x="0" y="480"/>
                    <a:pt x="0" y="1066"/>
                  </a:cubicBezTo>
                  <a:cubicBezTo>
                    <a:pt x="0" y="1708"/>
                    <a:pt x="523" y="2131"/>
                    <a:pt x="1067" y="2131"/>
                  </a:cubicBezTo>
                  <a:cubicBezTo>
                    <a:pt x="1329" y="2131"/>
                    <a:pt x="1597" y="2033"/>
                    <a:pt x="1813" y="1814"/>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3" name="Google Shape;2923;p66"/>
            <p:cNvSpPr/>
            <p:nvPr/>
          </p:nvSpPr>
          <p:spPr>
            <a:xfrm>
              <a:off x="1761775"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4" name="Google Shape;2924;p66"/>
            <p:cNvSpPr/>
            <p:nvPr/>
          </p:nvSpPr>
          <p:spPr>
            <a:xfrm>
              <a:off x="1761775"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5" name="Google Shape;2925;p66"/>
            <p:cNvSpPr/>
            <p:nvPr/>
          </p:nvSpPr>
          <p:spPr>
            <a:xfrm>
              <a:off x="1761775"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6" name="Google Shape;2926;p66"/>
            <p:cNvSpPr/>
            <p:nvPr/>
          </p:nvSpPr>
          <p:spPr>
            <a:xfrm>
              <a:off x="1761775"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7" name="Google Shape;2927;p66"/>
            <p:cNvSpPr/>
            <p:nvPr/>
          </p:nvSpPr>
          <p:spPr>
            <a:xfrm>
              <a:off x="1761775"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8" name="Google Shape;2928;p66"/>
            <p:cNvSpPr/>
            <p:nvPr/>
          </p:nvSpPr>
          <p:spPr>
            <a:xfrm>
              <a:off x="1761775"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29" name="Google Shape;2929;p66"/>
            <p:cNvSpPr/>
            <p:nvPr/>
          </p:nvSpPr>
          <p:spPr>
            <a:xfrm>
              <a:off x="1761775"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0" name="Google Shape;2930;p66"/>
            <p:cNvSpPr/>
            <p:nvPr/>
          </p:nvSpPr>
          <p:spPr>
            <a:xfrm>
              <a:off x="1761775" y="164740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1" name="Google Shape;2931;p66"/>
            <p:cNvSpPr/>
            <p:nvPr/>
          </p:nvSpPr>
          <p:spPr>
            <a:xfrm>
              <a:off x="1761775"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2" name="Google Shape;2932;p66"/>
            <p:cNvSpPr/>
            <p:nvPr/>
          </p:nvSpPr>
          <p:spPr>
            <a:xfrm>
              <a:off x="1761775" y="11905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3" name="Google Shape;2933;p66"/>
            <p:cNvSpPr/>
            <p:nvPr/>
          </p:nvSpPr>
          <p:spPr>
            <a:xfrm>
              <a:off x="1761775" y="11143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4" name="Google Shape;2934;p66"/>
            <p:cNvSpPr/>
            <p:nvPr/>
          </p:nvSpPr>
          <p:spPr>
            <a:xfrm>
              <a:off x="1685550" y="3018650"/>
              <a:ext cx="62225" cy="53425"/>
            </a:xfrm>
            <a:custGeom>
              <a:avLst/>
              <a:gdLst/>
              <a:ahLst/>
              <a:cxnLst/>
              <a:rect l="l" t="t" r="r" b="b"/>
              <a:pathLst>
                <a:path w="2489" h="2137" extrusionOk="0">
                  <a:moveTo>
                    <a:pt x="1066" y="0"/>
                  </a:moveTo>
                  <a:cubicBezTo>
                    <a:pt x="472" y="0"/>
                    <a:pt x="1" y="480"/>
                    <a:pt x="1" y="1065"/>
                  </a:cubicBezTo>
                  <a:cubicBezTo>
                    <a:pt x="1" y="1709"/>
                    <a:pt x="526" y="2137"/>
                    <a:pt x="1075" y="2137"/>
                  </a:cubicBezTo>
                  <a:cubicBezTo>
                    <a:pt x="1337" y="2137"/>
                    <a:pt x="1604" y="2039"/>
                    <a:pt x="1822"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5" name="Google Shape;2935;p66"/>
            <p:cNvSpPr/>
            <p:nvPr/>
          </p:nvSpPr>
          <p:spPr>
            <a:xfrm>
              <a:off x="1685550"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6" name="Google Shape;2936;p66"/>
            <p:cNvSpPr/>
            <p:nvPr/>
          </p:nvSpPr>
          <p:spPr>
            <a:xfrm>
              <a:off x="1685550" y="2866425"/>
              <a:ext cx="62225" cy="53275"/>
            </a:xfrm>
            <a:custGeom>
              <a:avLst/>
              <a:gdLst/>
              <a:ahLst/>
              <a:cxnLst/>
              <a:rect l="l" t="t" r="r" b="b"/>
              <a:pathLst>
                <a:path w="2489" h="2131" extrusionOk="0">
                  <a:moveTo>
                    <a:pt x="1066" y="0"/>
                  </a:moveTo>
                  <a:cubicBezTo>
                    <a:pt x="472" y="0"/>
                    <a:pt x="1" y="472"/>
                    <a:pt x="1" y="1065"/>
                  </a:cubicBezTo>
                  <a:cubicBezTo>
                    <a:pt x="1" y="1707"/>
                    <a:pt x="523" y="2131"/>
                    <a:pt x="1070" y="2131"/>
                  </a:cubicBezTo>
                  <a:cubicBezTo>
                    <a:pt x="1333" y="2131"/>
                    <a:pt x="1603" y="2032"/>
                    <a:pt x="1822"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7" name="Google Shape;2937;p66"/>
            <p:cNvSpPr/>
            <p:nvPr/>
          </p:nvSpPr>
          <p:spPr>
            <a:xfrm>
              <a:off x="168555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8" name="Google Shape;2938;p66"/>
            <p:cNvSpPr/>
            <p:nvPr/>
          </p:nvSpPr>
          <p:spPr>
            <a:xfrm>
              <a:off x="168555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39" name="Google Shape;2939;p66"/>
            <p:cNvSpPr/>
            <p:nvPr/>
          </p:nvSpPr>
          <p:spPr>
            <a:xfrm>
              <a:off x="16855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0" name="Google Shape;2940;p66"/>
            <p:cNvSpPr/>
            <p:nvPr/>
          </p:nvSpPr>
          <p:spPr>
            <a:xfrm>
              <a:off x="16855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1" name="Google Shape;2941;p66"/>
            <p:cNvSpPr/>
            <p:nvPr/>
          </p:nvSpPr>
          <p:spPr>
            <a:xfrm>
              <a:off x="1685550"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2" name="Google Shape;2942;p66"/>
            <p:cNvSpPr/>
            <p:nvPr/>
          </p:nvSpPr>
          <p:spPr>
            <a:xfrm>
              <a:off x="168555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3" name="Google Shape;2943;p66"/>
            <p:cNvSpPr/>
            <p:nvPr/>
          </p:nvSpPr>
          <p:spPr>
            <a:xfrm>
              <a:off x="168555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4" name="Google Shape;2944;p66"/>
            <p:cNvSpPr/>
            <p:nvPr/>
          </p:nvSpPr>
          <p:spPr>
            <a:xfrm>
              <a:off x="168555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5" name="Google Shape;2945;p66"/>
            <p:cNvSpPr/>
            <p:nvPr/>
          </p:nvSpPr>
          <p:spPr>
            <a:xfrm>
              <a:off x="16855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6" name="Google Shape;2946;p66"/>
            <p:cNvSpPr/>
            <p:nvPr/>
          </p:nvSpPr>
          <p:spPr>
            <a:xfrm>
              <a:off x="1685550"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7" name="Google Shape;2947;p66"/>
            <p:cNvSpPr/>
            <p:nvPr/>
          </p:nvSpPr>
          <p:spPr>
            <a:xfrm>
              <a:off x="16855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8" name="Google Shape;2948;p66"/>
            <p:cNvSpPr/>
            <p:nvPr/>
          </p:nvSpPr>
          <p:spPr>
            <a:xfrm>
              <a:off x="16855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49" name="Google Shape;2949;p66"/>
            <p:cNvSpPr/>
            <p:nvPr/>
          </p:nvSpPr>
          <p:spPr>
            <a:xfrm>
              <a:off x="1685550" y="11143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0" name="Google Shape;2950;p66"/>
            <p:cNvSpPr/>
            <p:nvPr/>
          </p:nvSpPr>
          <p:spPr>
            <a:xfrm>
              <a:off x="1609350" y="2942425"/>
              <a:ext cx="62200" cy="53450"/>
            </a:xfrm>
            <a:custGeom>
              <a:avLst/>
              <a:gdLst/>
              <a:ahLst/>
              <a:cxnLst/>
              <a:rect l="l" t="t" r="r" b="b"/>
              <a:pathLst>
                <a:path w="2488" h="2138" extrusionOk="0">
                  <a:moveTo>
                    <a:pt x="1065" y="1"/>
                  </a:moveTo>
                  <a:cubicBezTo>
                    <a:pt x="480" y="9"/>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1" name="Google Shape;2951;p66"/>
            <p:cNvSpPr/>
            <p:nvPr/>
          </p:nvSpPr>
          <p:spPr>
            <a:xfrm>
              <a:off x="1609350" y="2866425"/>
              <a:ext cx="62200" cy="53275"/>
            </a:xfrm>
            <a:custGeom>
              <a:avLst/>
              <a:gdLst/>
              <a:ahLst/>
              <a:cxnLst/>
              <a:rect l="l" t="t" r="r" b="b"/>
              <a:pathLst>
                <a:path w="2488" h="2131" extrusionOk="0">
                  <a:moveTo>
                    <a:pt x="1065" y="0"/>
                  </a:moveTo>
                  <a:cubicBezTo>
                    <a:pt x="480" y="0"/>
                    <a:pt x="0" y="472"/>
                    <a:pt x="0" y="1065"/>
                  </a:cubicBezTo>
                  <a:cubicBezTo>
                    <a:pt x="0" y="1707"/>
                    <a:pt x="523"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2" name="Google Shape;2952;p66"/>
            <p:cNvSpPr/>
            <p:nvPr/>
          </p:nvSpPr>
          <p:spPr>
            <a:xfrm>
              <a:off x="16093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3" name="Google Shape;2953;p66"/>
            <p:cNvSpPr/>
            <p:nvPr/>
          </p:nvSpPr>
          <p:spPr>
            <a:xfrm>
              <a:off x="160935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4" name="Google Shape;2954;p66"/>
            <p:cNvSpPr/>
            <p:nvPr/>
          </p:nvSpPr>
          <p:spPr>
            <a:xfrm>
              <a:off x="160935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5" name="Google Shape;2955;p66"/>
            <p:cNvSpPr/>
            <p:nvPr/>
          </p:nvSpPr>
          <p:spPr>
            <a:xfrm>
              <a:off x="1609350" y="2333125"/>
              <a:ext cx="62200" cy="53450"/>
            </a:xfrm>
            <a:custGeom>
              <a:avLst/>
              <a:gdLst/>
              <a:ahLst/>
              <a:cxnLst/>
              <a:rect l="l" t="t" r="r" b="b"/>
              <a:pathLst>
                <a:path w="2488"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6" name="Google Shape;2956;p66"/>
            <p:cNvSpPr/>
            <p:nvPr/>
          </p:nvSpPr>
          <p:spPr>
            <a:xfrm>
              <a:off x="1609350"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7" name="Google Shape;2957;p66"/>
            <p:cNvSpPr/>
            <p:nvPr/>
          </p:nvSpPr>
          <p:spPr>
            <a:xfrm>
              <a:off x="160935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8" name="Google Shape;2958;p66"/>
            <p:cNvSpPr/>
            <p:nvPr/>
          </p:nvSpPr>
          <p:spPr>
            <a:xfrm>
              <a:off x="160935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59" name="Google Shape;2959;p66"/>
            <p:cNvSpPr/>
            <p:nvPr/>
          </p:nvSpPr>
          <p:spPr>
            <a:xfrm>
              <a:off x="1609350" y="2028275"/>
              <a:ext cx="62200" cy="53450"/>
            </a:xfrm>
            <a:custGeom>
              <a:avLst/>
              <a:gdLst/>
              <a:ahLst/>
              <a:cxnLst/>
              <a:rect l="l" t="t" r="r" b="b"/>
              <a:pathLst>
                <a:path w="2488"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0" name="Google Shape;2960;p66"/>
            <p:cNvSpPr/>
            <p:nvPr/>
          </p:nvSpPr>
          <p:spPr>
            <a:xfrm>
              <a:off x="16093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1" name="Google Shape;2961;p66"/>
            <p:cNvSpPr/>
            <p:nvPr/>
          </p:nvSpPr>
          <p:spPr>
            <a:xfrm>
              <a:off x="160935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2" name="Google Shape;2962;p66"/>
            <p:cNvSpPr/>
            <p:nvPr/>
          </p:nvSpPr>
          <p:spPr>
            <a:xfrm>
              <a:off x="16093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3" name="Google Shape;2963;p66"/>
            <p:cNvSpPr/>
            <p:nvPr/>
          </p:nvSpPr>
          <p:spPr>
            <a:xfrm>
              <a:off x="1609350" y="1647400"/>
              <a:ext cx="62200" cy="53450"/>
            </a:xfrm>
            <a:custGeom>
              <a:avLst/>
              <a:gdLst/>
              <a:ahLst/>
              <a:cxnLst/>
              <a:rect l="l" t="t" r="r" b="b"/>
              <a:pathLst>
                <a:path w="2488" h="2138" extrusionOk="0">
                  <a:moveTo>
                    <a:pt x="1065" y="1"/>
                  </a:moveTo>
                  <a:cubicBezTo>
                    <a:pt x="480" y="9"/>
                    <a:pt x="0" y="481"/>
                    <a:pt x="0" y="1066"/>
                  </a:cubicBezTo>
                  <a:cubicBezTo>
                    <a:pt x="0" y="1710"/>
                    <a:pt x="526"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4" name="Google Shape;2964;p66"/>
            <p:cNvSpPr/>
            <p:nvPr/>
          </p:nvSpPr>
          <p:spPr>
            <a:xfrm>
              <a:off x="16093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5" name="Google Shape;2965;p66"/>
            <p:cNvSpPr/>
            <p:nvPr/>
          </p:nvSpPr>
          <p:spPr>
            <a:xfrm>
              <a:off x="16093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6" name="Google Shape;2966;p66"/>
            <p:cNvSpPr/>
            <p:nvPr/>
          </p:nvSpPr>
          <p:spPr>
            <a:xfrm>
              <a:off x="1609350"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7" name="Google Shape;2967;p66"/>
            <p:cNvSpPr/>
            <p:nvPr/>
          </p:nvSpPr>
          <p:spPr>
            <a:xfrm>
              <a:off x="1609350" y="11143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8" name="Google Shape;2968;p66"/>
            <p:cNvSpPr/>
            <p:nvPr/>
          </p:nvSpPr>
          <p:spPr>
            <a:xfrm>
              <a:off x="1533125" y="2942425"/>
              <a:ext cx="62425" cy="53450"/>
            </a:xfrm>
            <a:custGeom>
              <a:avLst/>
              <a:gdLst/>
              <a:ahLst/>
              <a:cxnLst/>
              <a:rect l="l" t="t" r="r" b="b"/>
              <a:pathLst>
                <a:path w="2497" h="2138" extrusionOk="0">
                  <a:moveTo>
                    <a:pt x="1066" y="1"/>
                  </a:moveTo>
                  <a:cubicBezTo>
                    <a:pt x="480" y="9"/>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69" name="Google Shape;2969;p66"/>
            <p:cNvSpPr/>
            <p:nvPr/>
          </p:nvSpPr>
          <p:spPr>
            <a:xfrm>
              <a:off x="1533125"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0" name="Google Shape;2970;p66"/>
            <p:cNvSpPr/>
            <p:nvPr/>
          </p:nvSpPr>
          <p:spPr>
            <a:xfrm>
              <a:off x="1533125" y="2561575"/>
              <a:ext cx="62425" cy="53425"/>
            </a:xfrm>
            <a:custGeom>
              <a:avLst/>
              <a:gdLst/>
              <a:ahLst/>
              <a:cxnLst/>
              <a:rect l="l" t="t" r="r" b="b"/>
              <a:pathLst>
                <a:path w="2497" h="2137" extrusionOk="0">
                  <a:moveTo>
                    <a:pt x="1066" y="0"/>
                  </a:moveTo>
                  <a:cubicBezTo>
                    <a:pt x="480" y="8"/>
                    <a:pt x="1" y="480"/>
                    <a:pt x="1" y="1073"/>
                  </a:cubicBezTo>
                  <a:cubicBezTo>
                    <a:pt x="1" y="1711"/>
                    <a:pt x="525" y="2137"/>
                    <a:pt x="1073" y="2137"/>
                  </a:cubicBezTo>
                  <a:cubicBezTo>
                    <a:pt x="1336" y="2137"/>
                    <a:pt x="1603" y="2039"/>
                    <a:pt x="1822" y="1821"/>
                  </a:cubicBezTo>
                  <a:cubicBezTo>
                    <a:pt x="2497"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1" name="Google Shape;2971;p66"/>
            <p:cNvSpPr/>
            <p:nvPr/>
          </p:nvSpPr>
          <p:spPr>
            <a:xfrm>
              <a:off x="1533125"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2" name="Google Shape;2972;p66"/>
            <p:cNvSpPr/>
            <p:nvPr/>
          </p:nvSpPr>
          <p:spPr>
            <a:xfrm>
              <a:off x="1533125" y="2409350"/>
              <a:ext cx="62425" cy="53350"/>
            </a:xfrm>
            <a:custGeom>
              <a:avLst/>
              <a:gdLst/>
              <a:ahLst/>
              <a:cxnLst/>
              <a:rect l="l" t="t" r="r" b="b"/>
              <a:pathLst>
                <a:path w="2497" h="2134"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3" name="Google Shape;2973;p66"/>
            <p:cNvSpPr/>
            <p:nvPr/>
          </p:nvSpPr>
          <p:spPr>
            <a:xfrm>
              <a:off x="1533125" y="2333125"/>
              <a:ext cx="62425" cy="53450"/>
            </a:xfrm>
            <a:custGeom>
              <a:avLst/>
              <a:gdLst/>
              <a:ahLst/>
              <a:cxnLst/>
              <a:rect l="l" t="t" r="r" b="b"/>
              <a:pathLst>
                <a:path w="2497" h="2138" extrusionOk="0">
                  <a:moveTo>
                    <a:pt x="1066" y="1"/>
                  </a:moveTo>
                  <a:cubicBezTo>
                    <a:pt x="480"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4" name="Google Shape;2974;p66"/>
            <p:cNvSpPr/>
            <p:nvPr/>
          </p:nvSpPr>
          <p:spPr>
            <a:xfrm>
              <a:off x="1533125" y="2256925"/>
              <a:ext cx="62575" cy="53425"/>
            </a:xfrm>
            <a:custGeom>
              <a:avLst/>
              <a:gdLst/>
              <a:ahLst/>
              <a:cxnLst/>
              <a:rect l="l" t="t" r="r" b="b"/>
              <a:pathLst>
                <a:path w="2503" h="2137" extrusionOk="0">
                  <a:moveTo>
                    <a:pt x="1076" y="0"/>
                  </a:moveTo>
                  <a:cubicBezTo>
                    <a:pt x="1073" y="0"/>
                    <a:pt x="1069" y="0"/>
                    <a:pt x="1066" y="0"/>
                  </a:cubicBezTo>
                  <a:cubicBezTo>
                    <a:pt x="480" y="0"/>
                    <a:pt x="1" y="480"/>
                    <a:pt x="1" y="1065"/>
                  </a:cubicBezTo>
                  <a:cubicBezTo>
                    <a:pt x="1" y="1709"/>
                    <a:pt x="530" y="2137"/>
                    <a:pt x="1081" y="2137"/>
                  </a:cubicBezTo>
                  <a:cubicBezTo>
                    <a:pt x="1344" y="2137"/>
                    <a:pt x="1612" y="2039"/>
                    <a:pt x="1830" y="1821"/>
                  </a:cubicBezTo>
                  <a:cubicBezTo>
                    <a:pt x="2502" y="1149"/>
                    <a:pt x="2028"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5" name="Google Shape;2975;p66"/>
            <p:cNvSpPr/>
            <p:nvPr/>
          </p:nvSpPr>
          <p:spPr>
            <a:xfrm>
              <a:off x="1533125" y="2180700"/>
              <a:ext cx="62425" cy="53350"/>
            </a:xfrm>
            <a:custGeom>
              <a:avLst/>
              <a:gdLst/>
              <a:ahLst/>
              <a:cxnLst/>
              <a:rect l="l" t="t" r="r" b="b"/>
              <a:pathLst>
                <a:path w="2497" h="2134" extrusionOk="0">
                  <a:moveTo>
                    <a:pt x="1066" y="1"/>
                  </a:moveTo>
                  <a:cubicBezTo>
                    <a:pt x="480" y="1"/>
                    <a:pt x="1"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6" name="Google Shape;2976;p66"/>
            <p:cNvSpPr/>
            <p:nvPr/>
          </p:nvSpPr>
          <p:spPr>
            <a:xfrm>
              <a:off x="1533125" y="21045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7" name="Google Shape;2977;p66"/>
            <p:cNvSpPr/>
            <p:nvPr/>
          </p:nvSpPr>
          <p:spPr>
            <a:xfrm>
              <a:off x="1533125" y="2028275"/>
              <a:ext cx="62425" cy="53450"/>
            </a:xfrm>
            <a:custGeom>
              <a:avLst/>
              <a:gdLst/>
              <a:ahLst/>
              <a:cxnLst/>
              <a:rect l="l" t="t" r="r" b="b"/>
              <a:pathLst>
                <a:path w="2497" h="2138" extrusionOk="0">
                  <a:moveTo>
                    <a:pt x="1066" y="1"/>
                  </a:moveTo>
                  <a:cubicBezTo>
                    <a:pt x="480" y="1"/>
                    <a:pt x="1"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8" name="Google Shape;2978;p66"/>
            <p:cNvSpPr/>
            <p:nvPr/>
          </p:nvSpPr>
          <p:spPr>
            <a:xfrm>
              <a:off x="1533125" y="1952050"/>
              <a:ext cx="62425" cy="53450"/>
            </a:xfrm>
            <a:custGeom>
              <a:avLst/>
              <a:gdLst/>
              <a:ahLst/>
              <a:cxnLst/>
              <a:rect l="l" t="t" r="r" b="b"/>
              <a:pathLst>
                <a:path w="2497" h="2138" extrusionOk="0">
                  <a:moveTo>
                    <a:pt x="1066" y="1"/>
                  </a:moveTo>
                  <a:cubicBezTo>
                    <a:pt x="480" y="9"/>
                    <a:pt x="1" y="481"/>
                    <a:pt x="1" y="1074"/>
                  </a:cubicBezTo>
                  <a:cubicBezTo>
                    <a:pt x="1" y="1712"/>
                    <a:pt x="525" y="2138"/>
                    <a:pt x="1073" y="2138"/>
                  </a:cubicBezTo>
                  <a:cubicBezTo>
                    <a:pt x="1336" y="2138"/>
                    <a:pt x="1603" y="2040"/>
                    <a:pt x="1822" y="1822"/>
                  </a:cubicBezTo>
                  <a:cubicBezTo>
                    <a:pt x="2497"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79" name="Google Shape;2979;p66"/>
            <p:cNvSpPr/>
            <p:nvPr/>
          </p:nvSpPr>
          <p:spPr>
            <a:xfrm>
              <a:off x="1533125" y="1876050"/>
              <a:ext cx="62425" cy="53275"/>
            </a:xfrm>
            <a:custGeom>
              <a:avLst/>
              <a:gdLst/>
              <a:ahLst/>
              <a:cxnLst/>
              <a:rect l="l" t="t" r="r" b="b"/>
              <a:pathLst>
                <a:path w="2497" h="2131" extrusionOk="0">
                  <a:moveTo>
                    <a:pt x="1066" y="1"/>
                  </a:moveTo>
                  <a:cubicBezTo>
                    <a:pt x="480" y="1"/>
                    <a:pt x="1" y="472"/>
                    <a:pt x="1" y="1066"/>
                  </a:cubicBezTo>
                  <a:cubicBezTo>
                    <a:pt x="1" y="1707"/>
                    <a:pt x="523" y="2131"/>
                    <a:pt x="1070" y="2131"/>
                  </a:cubicBezTo>
                  <a:cubicBezTo>
                    <a:pt x="1333" y="2131"/>
                    <a:pt x="1602" y="2033"/>
                    <a:pt x="1822" y="1813"/>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0" name="Google Shape;2980;p66"/>
            <p:cNvSpPr/>
            <p:nvPr/>
          </p:nvSpPr>
          <p:spPr>
            <a:xfrm>
              <a:off x="1533125"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1" name="Google Shape;2981;p66"/>
            <p:cNvSpPr/>
            <p:nvPr/>
          </p:nvSpPr>
          <p:spPr>
            <a:xfrm>
              <a:off x="1533125"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2" name="Google Shape;2982;p66"/>
            <p:cNvSpPr/>
            <p:nvPr/>
          </p:nvSpPr>
          <p:spPr>
            <a:xfrm>
              <a:off x="1533125" y="164740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3" name="Google Shape;2983;p66"/>
            <p:cNvSpPr/>
            <p:nvPr/>
          </p:nvSpPr>
          <p:spPr>
            <a:xfrm>
              <a:off x="1533125" y="1342750"/>
              <a:ext cx="62425" cy="53450"/>
            </a:xfrm>
            <a:custGeom>
              <a:avLst/>
              <a:gdLst/>
              <a:ahLst/>
              <a:cxnLst/>
              <a:rect l="l" t="t" r="r" b="b"/>
              <a:pathLst>
                <a:path w="2497" h="2138" extrusionOk="0">
                  <a:moveTo>
                    <a:pt x="1066" y="1"/>
                  </a:moveTo>
                  <a:cubicBezTo>
                    <a:pt x="480" y="1"/>
                    <a:pt x="1"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4" name="Google Shape;2984;p66"/>
            <p:cNvSpPr/>
            <p:nvPr/>
          </p:nvSpPr>
          <p:spPr>
            <a:xfrm>
              <a:off x="1456925"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5" name="Google Shape;2985;p66"/>
            <p:cNvSpPr/>
            <p:nvPr/>
          </p:nvSpPr>
          <p:spPr>
            <a:xfrm>
              <a:off x="1456925" y="2790200"/>
              <a:ext cx="62425" cy="53350"/>
            </a:xfrm>
            <a:custGeom>
              <a:avLst/>
              <a:gdLst/>
              <a:ahLst/>
              <a:cxnLst/>
              <a:rect l="l" t="t" r="r" b="b"/>
              <a:pathLst>
                <a:path w="2497" h="2134" extrusionOk="0">
                  <a:moveTo>
                    <a:pt x="1065" y="1"/>
                  </a:moveTo>
                  <a:cubicBezTo>
                    <a:pt x="480" y="1"/>
                    <a:pt x="8"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6" name="Google Shape;2986;p66"/>
            <p:cNvSpPr/>
            <p:nvPr/>
          </p:nvSpPr>
          <p:spPr>
            <a:xfrm>
              <a:off x="1456925"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7" name="Google Shape;2987;p66"/>
            <p:cNvSpPr/>
            <p:nvPr/>
          </p:nvSpPr>
          <p:spPr>
            <a:xfrm>
              <a:off x="1456925"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8" name="Google Shape;2988;p66"/>
            <p:cNvSpPr/>
            <p:nvPr/>
          </p:nvSpPr>
          <p:spPr>
            <a:xfrm>
              <a:off x="1456925" y="2561575"/>
              <a:ext cx="62425" cy="53425"/>
            </a:xfrm>
            <a:custGeom>
              <a:avLst/>
              <a:gdLst/>
              <a:ahLst/>
              <a:cxnLst/>
              <a:rect l="l" t="t" r="r" b="b"/>
              <a:pathLst>
                <a:path w="2497"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89" name="Google Shape;2989;p66"/>
            <p:cNvSpPr/>
            <p:nvPr/>
          </p:nvSpPr>
          <p:spPr>
            <a:xfrm>
              <a:off x="1456925" y="2485550"/>
              <a:ext cx="62425" cy="53300"/>
            </a:xfrm>
            <a:custGeom>
              <a:avLst/>
              <a:gdLst/>
              <a:ahLst/>
              <a:cxnLst/>
              <a:rect l="l" t="t" r="r" b="b"/>
              <a:pathLst>
                <a:path w="2497"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0" name="Google Shape;2990;p66"/>
            <p:cNvSpPr/>
            <p:nvPr/>
          </p:nvSpPr>
          <p:spPr>
            <a:xfrm>
              <a:off x="1456925" y="2409350"/>
              <a:ext cx="62425" cy="53350"/>
            </a:xfrm>
            <a:custGeom>
              <a:avLst/>
              <a:gdLst/>
              <a:ahLst/>
              <a:cxnLst/>
              <a:rect l="l" t="t" r="r" b="b"/>
              <a:pathLst>
                <a:path w="2497"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1" name="Google Shape;2991;p66"/>
            <p:cNvSpPr/>
            <p:nvPr/>
          </p:nvSpPr>
          <p:spPr>
            <a:xfrm>
              <a:off x="1456925"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2" name="Google Shape;2992;p66"/>
            <p:cNvSpPr/>
            <p:nvPr/>
          </p:nvSpPr>
          <p:spPr>
            <a:xfrm>
              <a:off x="145692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3" name="Google Shape;2993;p66"/>
            <p:cNvSpPr/>
            <p:nvPr/>
          </p:nvSpPr>
          <p:spPr>
            <a:xfrm>
              <a:off x="1456925" y="2180700"/>
              <a:ext cx="62425" cy="53350"/>
            </a:xfrm>
            <a:custGeom>
              <a:avLst/>
              <a:gdLst/>
              <a:ahLst/>
              <a:cxnLst/>
              <a:rect l="l" t="t" r="r" b="b"/>
              <a:pathLst>
                <a:path w="2497" h="2134" extrusionOk="0">
                  <a:moveTo>
                    <a:pt x="1065" y="1"/>
                  </a:moveTo>
                  <a:cubicBezTo>
                    <a:pt x="480" y="1"/>
                    <a:pt x="8"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4" name="Google Shape;2994;p66"/>
            <p:cNvSpPr/>
            <p:nvPr/>
          </p:nvSpPr>
          <p:spPr>
            <a:xfrm>
              <a:off x="1456925"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5" name="Google Shape;2995;p66"/>
            <p:cNvSpPr/>
            <p:nvPr/>
          </p:nvSpPr>
          <p:spPr>
            <a:xfrm>
              <a:off x="1456925" y="2028275"/>
              <a:ext cx="62425" cy="53450"/>
            </a:xfrm>
            <a:custGeom>
              <a:avLst/>
              <a:gdLst/>
              <a:ahLst/>
              <a:cxnLst/>
              <a:rect l="l" t="t" r="r" b="b"/>
              <a:pathLst>
                <a:path w="2497" h="2138" extrusionOk="0">
                  <a:moveTo>
                    <a:pt x="1065" y="1"/>
                  </a:moveTo>
                  <a:cubicBezTo>
                    <a:pt x="480" y="1"/>
                    <a:pt x="8"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6" name="Google Shape;2996;p66"/>
            <p:cNvSpPr/>
            <p:nvPr/>
          </p:nvSpPr>
          <p:spPr>
            <a:xfrm>
              <a:off x="1456925" y="1952050"/>
              <a:ext cx="62425" cy="53450"/>
            </a:xfrm>
            <a:custGeom>
              <a:avLst/>
              <a:gdLst/>
              <a:ahLst/>
              <a:cxnLst/>
              <a:rect l="l" t="t" r="r" b="b"/>
              <a:pathLst>
                <a:path w="2497" h="2138" extrusionOk="0">
                  <a:moveTo>
                    <a:pt x="1065" y="1"/>
                  </a:moveTo>
                  <a:cubicBezTo>
                    <a:pt x="480" y="9"/>
                    <a:pt x="8"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7" name="Google Shape;2997;p66"/>
            <p:cNvSpPr/>
            <p:nvPr/>
          </p:nvSpPr>
          <p:spPr>
            <a:xfrm>
              <a:off x="1456925"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8" name="Google Shape;2998;p66"/>
            <p:cNvSpPr/>
            <p:nvPr/>
          </p:nvSpPr>
          <p:spPr>
            <a:xfrm>
              <a:off x="1456925" y="1799850"/>
              <a:ext cx="62425" cy="53325"/>
            </a:xfrm>
            <a:custGeom>
              <a:avLst/>
              <a:gdLst/>
              <a:ahLst/>
              <a:cxnLst/>
              <a:rect l="l" t="t" r="r" b="b"/>
              <a:pathLst>
                <a:path w="2497" h="2133"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2999" name="Google Shape;2999;p66"/>
            <p:cNvSpPr/>
            <p:nvPr/>
          </p:nvSpPr>
          <p:spPr>
            <a:xfrm>
              <a:off x="1456925"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0" name="Google Shape;3000;p66"/>
            <p:cNvSpPr/>
            <p:nvPr/>
          </p:nvSpPr>
          <p:spPr>
            <a:xfrm>
              <a:off x="1456925" y="1647400"/>
              <a:ext cx="62425" cy="53450"/>
            </a:xfrm>
            <a:custGeom>
              <a:avLst/>
              <a:gdLst/>
              <a:ahLst/>
              <a:cxnLst/>
              <a:rect l="l" t="t" r="r" b="b"/>
              <a:pathLst>
                <a:path w="2497" h="2138" extrusionOk="0">
                  <a:moveTo>
                    <a:pt x="1065" y="1"/>
                  </a:moveTo>
                  <a:cubicBezTo>
                    <a:pt x="480" y="9"/>
                    <a:pt x="8"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1" name="Google Shape;3001;p66"/>
            <p:cNvSpPr/>
            <p:nvPr/>
          </p:nvSpPr>
          <p:spPr>
            <a:xfrm>
              <a:off x="1456925" y="1571400"/>
              <a:ext cx="62425" cy="53250"/>
            </a:xfrm>
            <a:custGeom>
              <a:avLst/>
              <a:gdLst/>
              <a:ahLst/>
              <a:cxnLst/>
              <a:rect l="l" t="t" r="r" b="b"/>
              <a:pathLst>
                <a:path w="2497" h="2130" extrusionOk="0">
                  <a:moveTo>
                    <a:pt x="1065" y="1"/>
                  </a:moveTo>
                  <a:cubicBezTo>
                    <a:pt x="480" y="1"/>
                    <a:pt x="8"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2" name="Google Shape;3002;p66"/>
            <p:cNvSpPr/>
            <p:nvPr/>
          </p:nvSpPr>
          <p:spPr>
            <a:xfrm>
              <a:off x="1456925" y="1266550"/>
              <a:ext cx="62425" cy="53450"/>
            </a:xfrm>
            <a:custGeom>
              <a:avLst/>
              <a:gdLst/>
              <a:ahLst/>
              <a:cxnLst/>
              <a:rect l="l" t="t" r="r" b="b"/>
              <a:pathLst>
                <a:path w="2497" h="2138" extrusionOk="0">
                  <a:moveTo>
                    <a:pt x="1065" y="0"/>
                  </a:moveTo>
                  <a:cubicBezTo>
                    <a:pt x="480" y="9"/>
                    <a:pt x="8"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3" name="Google Shape;3003;p66"/>
            <p:cNvSpPr/>
            <p:nvPr/>
          </p:nvSpPr>
          <p:spPr>
            <a:xfrm>
              <a:off x="1380900"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4" name="Google Shape;3004;p66"/>
            <p:cNvSpPr/>
            <p:nvPr/>
          </p:nvSpPr>
          <p:spPr>
            <a:xfrm>
              <a:off x="1380900"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5" name="Google Shape;3005;p66"/>
            <p:cNvSpPr/>
            <p:nvPr/>
          </p:nvSpPr>
          <p:spPr>
            <a:xfrm>
              <a:off x="1380900"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6" name="Google Shape;3006;p66"/>
            <p:cNvSpPr/>
            <p:nvPr/>
          </p:nvSpPr>
          <p:spPr>
            <a:xfrm>
              <a:off x="13809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7" name="Google Shape;3007;p66"/>
            <p:cNvSpPr/>
            <p:nvPr/>
          </p:nvSpPr>
          <p:spPr>
            <a:xfrm>
              <a:off x="1380900"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8" name="Google Shape;3008;p66"/>
            <p:cNvSpPr/>
            <p:nvPr/>
          </p:nvSpPr>
          <p:spPr>
            <a:xfrm>
              <a:off x="13809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09" name="Google Shape;3009;p66"/>
            <p:cNvSpPr/>
            <p:nvPr/>
          </p:nvSpPr>
          <p:spPr>
            <a:xfrm>
              <a:off x="13809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0" name="Google Shape;3010;p66"/>
            <p:cNvSpPr/>
            <p:nvPr/>
          </p:nvSpPr>
          <p:spPr>
            <a:xfrm>
              <a:off x="1380900"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1" name="Google Shape;3011;p66"/>
            <p:cNvSpPr/>
            <p:nvPr/>
          </p:nvSpPr>
          <p:spPr>
            <a:xfrm>
              <a:off x="1380900"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2" name="Google Shape;3012;p66"/>
            <p:cNvSpPr/>
            <p:nvPr/>
          </p:nvSpPr>
          <p:spPr>
            <a:xfrm>
              <a:off x="1380900"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3" name="Google Shape;3013;p66"/>
            <p:cNvSpPr/>
            <p:nvPr/>
          </p:nvSpPr>
          <p:spPr>
            <a:xfrm>
              <a:off x="1380900"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4" name="Google Shape;3014;p66"/>
            <p:cNvSpPr/>
            <p:nvPr/>
          </p:nvSpPr>
          <p:spPr>
            <a:xfrm>
              <a:off x="138090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5" name="Google Shape;3015;p66"/>
            <p:cNvSpPr/>
            <p:nvPr/>
          </p:nvSpPr>
          <p:spPr>
            <a:xfrm>
              <a:off x="138090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6" name="Google Shape;3016;p66"/>
            <p:cNvSpPr/>
            <p:nvPr/>
          </p:nvSpPr>
          <p:spPr>
            <a:xfrm>
              <a:off x="1380900"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7" name="Google Shape;3017;p66"/>
            <p:cNvSpPr/>
            <p:nvPr/>
          </p:nvSpPr>
          <p:spPr>
            <a:xfrm>
              <a:off x="138090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8" name="Google Shape;3018;p66"/>
            <p:cNvSpPr/>
            <p:nvPr/>
          </p:nvSpPr>
          <p:spPr>
            <a:xfrm>
              <a:off x="138090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19" name="Google Shape;3019;p66"/>
            <p:cNvSpPr/>
            <p:nvPr/>
          </p:nvSpPr>
          <p:spPr>
            <a:xfrm>
              <a:off x="138090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0" name="Google Shape;3020;p66"/>
            <p:cNvSpPr/>
            <p:nvPr/>
          </p:nvSpPr>
          <p:spPr>
            <a:xfrm>
              <a:off x="13809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1" name="Google Shape;3021;p66"/>
            <p:cNvSpPr/>
            <p:nvPr/>
          </p:nvSpPr>
          <p:spPr>
            <a:xfrm>
              <a:off x="130470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2" name="Google Shape;3022;p66"/>
            <p:cNvSpPr/>
            <p:nvPr/>
          </p:nvSpPr>
          <p:spPr>
            <a:xfrm>
              <a:off x="1304700" y="2485550"/>
              <a:ext cx="62200" cy="53300"/>
            </a:xfrm>
            <a:custGeom>
              <a:avLst/>
              <a:gdLst/>
              <a:ahLst/>
              <a:cxnLst/>
              <a:rect l="l" t="t" r="r" b="b"/>
              <a:pathLst>
                <a:path w="2488" h="2132" extrusionOk="0">
                  <a:moveTo>
                    <a:pt x="1065" y="1"/>
                  </a:moveTo>
                  <a:cubicBezTo>
                    <a:pt x="480" y="1"/>
                    <a:pt x="0" y="480"/>
                    <a:pt x="0" y="1066"/>
                  </a:cubicBezTo>
                  <a:cubicBezTo>
                    <a:pt x="0" y="1708"/>
                    <a:pt x="523"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3" name="Google Shape;3023;p66"/>
            <p:cNvSpPr/>
            <p:nvPr/>
          </p:nvSpPr>
          <p:spPr>
            <a:xfrm>
              <a:off x="1304700" y="2409350"/>
              <a:ext cx="62200" cy="53350"/>
            </a:xfrm>
            <a:custGeom>
              <a:avLst/>
              <a:gdLst/>
              <a:ahLst/>
              <a:cxnLst/>
              <a:rect l="l" t="t" r="r" b="b"/>
              <a:pathLst>
                <a:path w="2488"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4" name="Google Shape;3024;p66"/>
            <p:cNvSpPr/>
            <p:nvPr/>
          </p:nvSpPr>
          <p:spPr>
            <a:xfrm>
              <a:off x="13047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5" name="Google Shape;3025;p66"/>
            <p:cNvSpPr/>
            <p:nvPr/>
          </p:nvSpPr>
          <p:spPr>
            <a:xfrm>
              <a:off x="130470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6" name="Google Shape;3026;p66"/>
            <p:cNvSpPr/>
            <p:nvPr/>
          </p:nvSpPr>
          <p:spPr>
            <a:xfrm>
              <a:off x="1304700" y="2180700"/>
              <a:ext cx="62200" cy="53350"/>
            </a:xfrm>
            <a:custGeom>
              <a:avLst/>
              <a:gdLst/>
              <a:ahLst/>
              <a:cxnLst/>
              <a:rect l="l" t="t" r="r" b="b"/>
              <a:pathLst>
                <a:path w="2488"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7" name="Google Shape;3027;p66"/>
            <p:cNvSpPr/>
            <p:nvPr/>
          </p:nvSpPr>
          <p:spPr>
            <a:xfrm>
              <a:off x="1304700" y="21045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8" name="Google Shape;3028;p66"/>
            <p:cNvSpPr/>
            <p:nvPr/>
          </p:nvSpPr>
          <p:spPr>
            <a:xfrm>
              <a:off x="130470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29" name="Google Shape;3029;p66"/>
            <p:cNvSpPr/>
            <p:nvPr/>
          </p:nvSpPr>
          <p:spPr>
            <a:xfrm>
              <a:off x="130470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0" name="Google Shape;3030;p66"/>
            <p:cNvSpPr/>
            <p:nvPr/>
          </p:nvSpPr>
          <p:spPr>
            <a:xfrm>
              <a:off x="1304700" y="1876050"/>
              <a:ext cx="62200" cy="53275"/>
            </a:xfrm>
            <a:custGeom>
              <a:avLst/>
              <a:gdLst/>
              <a:ahLst/>
              <a:cxnLst/>
              <a:rect l="l" t="t" r="r" b="b"/>
              <a:pathLst>
                <a:path w="2488" h="2131" extrusionOk="0">
                  <a:moveTo>
                    <a:pt x="1065" y="1"/>
                  </a:moveTo>
                  <a:cubicBezTo>
                    <a:pt x="480" y="1"/>
                    <a:pt x="0" y="472"/>
                    <a:pt x="0" y="1066"/>
                  </a:cubicBezTo>
                  <a:cubicBezTo>
                    <a:pt x="0" y="1707"/>
                    <a:pt x="523"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1" name="Google Shape;3031;p66"/>
            <p:cNvSpPr/>
            <p:nvPr/>
          </p:nvSpPr>
          <p:spPr>
            <a:xfrm>
              <a:off x="1304700" y="17998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2" name="Google Shape;3032;p66"/>
            <p:cNvSpPr/>
            <p:nvPr/>
          </p:nvSpPr>
          <p:spPr>
            <a:xfrm>
              <a:off x="130470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3" name="Google Shape;3033;p66"/>
            <p:cNvSpPr/>
            <p:nvPr/>
          </p:nvSpPr>
          <p:spPr>
            <a:xfrm>
              <a:off x="130470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4" name="Google Shape;3034;p66"/>
            <p:cNvSpPr/>
            <p:nvPr/>
          </p:nvSpPr>
          <p:spPr>
            <a:xfrm>
              <a:off x="130470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5" name="Google Shape;3035;p66"/>
            <p:cNvSpPr/>
            <p:nvPr/>
          </p:nvSpPr>
          <p:spPr>
            <a:xfrm>
              <a:off x="13047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6" name="Google Shape;3036;p66"/>
            <p:cNvSpPr/>
            <p:nvPr/>
          </p:nvSpPr>
          <p:spPr>
            <a:xfrm>
              <a:off x="13047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7" name="Google Shape;3037;p66"/>
            <p:cNvSpPr/>
            <p:nvPr/>
          </p:nvSpPr>
          <p:spPr>
            <a:xfrm>
              <a:off x="1304700" y="119055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8" name="Google Shape;3038;p66"/>
            <p:cNvSpPr/>
            <p:nvPr/>
          </p:nvSpPr>
          <p:spPr>
            <a:xfrm>
              <a:off x="1228475"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39" name="Google Shape;3039;p66"/>
            <p:cNvSpPr/>
            <p:nvPr/>
          </p:nvSpPr>
          <p:spPr>
            <a:xfrm>
              <a:off x="1228475"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0" name="Google Shape;3040;p66"/>
            <p:cNvSpPr/>
            <p:nvPr/>
          </p:nvSpPr>
          <p:spPr>
            <a:xfrm>
              <a:off x="1228475"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1" name="Google Shape;3041;p66"/>
            <p:cNvSpPr/>
            <p:nvPr/>
          </p:nvSpPr>
          <p:spPr>
            <a:xfrm>
              <a:off x="1228475" y="2485550"/>
              <a:ext cx="62225" cy="53300"/>
            </a:xfrm>
            <a:custGeom>
              <a:avLst/>
              <a:gdLst/>
              <a:ahLst/>
              <a:cxnLst/>
              <a:rect l="l" t="t" r="r" b="b"/>
              <a:pathLst>
                <a:path w="2489" h="2132" extrusionOk="0">
                  <a:moveTo>
                    <a:pt x="1066" y="1"/>
                  </a:moveTo>
                  <a:cubicBezTo>
                    <a:pt x="480"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2" name="Google Shape;3042;p66"/>
            <p:cNvSpPr/>
            <p:nvPr/>
          </p:nvSpPr>
          <p:spPr>
            <a:xfrm>
              <a:off x="1228475"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3" name="Google Shape;3043;p66"/>
            <p:cNvSpPr/>
            <p:nvPr/>
          </p:nvSpPr>
          <p:spPr>
            <a:xfrm>
              <a:off x="1228475"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4" name="Google Shape;3044;p66"/>
            <p:cNvSpPr/>
            <p:nvPr/>
          </p:nvSpPr>
          <p:spPr>
            <a:xfrm>
              <a:off x="1228475"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81" y="2137"/>
                  </a:cubicBezTo>
                  <a:cubicBezTo>
                    <a:pt x="1344" y="2137"/>
                    <a:pt x="1612" y="2039"/>
                    <a:pt x="1830"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5" name="Google Shape;3045;p66"/>
            <p:cNvSpPr/>
            <p:nvPr/>
          </p:nvSpPr>
          <p:spPr>
            <a:xfrm>
              <a:off x="1228475"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6" name="Google Shape;3046;p66"/>
            <p:cNvSpPr/>
            <p:nvPr/>
          </p:nvSpPr>
          <p:spPr>
            <a:xfrm>
              <a:off x="1228475"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7" name="Google Shape;3047;p66"/>
            <p:cNvSpPr/>
            <p:nvPr/>
          </p:nvSpPr>
          <p:spPr>
            <a:xfrm>
              <a:off x="122847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8" name="Google Shape;3048;p66"/>
            <p:cNvSpPr/>
            <p:nvPr/>
          </p:nvSpPr>
          <p:spPr>
            <a:xfrm>
              <a:off x="122847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49" name="Google Shape;3049;p66"/>
            <p:cNvSpPr/>
            <p:nvPr/>
          </p:nvSpPr>
          <p:spPr>
            <a:xfrm>
              <a:off x="1228475"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0" name="Google Shape;3050;p66"/>
            <p:cNvSpPr/>
            <p:nvPr/>
          </p:nvSpPr>
          <p:spPr>
            <a:xfrm>
              <a:off x="12284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1" name="Google Shape;3051;p66"/>
            <p:cNvSpPr/>
            <p:nvPr/>
          </p:nvSpPr>
          <p:spPr>
            <a:xfrm>
              <a:off x="12284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2" name="Google Shape;3052;p66"/>
            <p:cNvSpPr/>
            <p:nvPr/>
          </p:nvSpPr>
          <p:spPr>
            <a:xfrm>
              <a:off x="122847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3" name="Google Shape;3053;p66"/>
            <p:cNvSpPr/>
            <p:nvPr/>
          </p:nvSpPr>
          <p:spPr>
            <a:xfrm>
              <a:off x="12284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4" name="Google Shape;3054;p66"/>
            <p:cNvSpPr/>
            <p:nvPr/>
          </p:nvSpPr>
          <p:spPr>
            <a:xfrm>
              <a:off x="1228475"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5" name="Google Shape;3055;p66"/>
            <p:cNvSpPr/>
            <p:nvPr/>
          </p:nvSpPr>
          <p:spPr>
            <a:xfrm>
              <a:off x="1228475"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6" name="Google Shape;3056;p66"/>
            <p:cNvSpPr/>
            <p:nvPr/>
          </p:nvSpPr>
          <p:spPr>
            <a:xfrm>
              <a:off x="1152275" y="2561575"/>
              <a:ext cx="62400" cy="53425"/>
            </a:xfrm>
            <a:custGeom>
              <a:avLst/>
              <a:gdLst/>
              <a:ahLst/>
              <a:cxnLst/>
              <a:rect l="l" t="t" r="r" b="b"/>
              <a:pathLst>
                <a:path w="2496" h="2137" extrusionOk="0">
                  <a:moveTo>
                    <a:pt x="1065" y="0"/>
                  </a:moveTo>
                  <a:cubicBezTo>
                    <a:pt x="480" y="8"/>
                    <a:pt x="8"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7" name="Google Shape;3057;p66"/>
            <p:cNvSpPr/>
            <p:nvPr/>
          </p:nvSpPr>
          <p:spPr>
            <a:xfrm>
              <a:off x="1152275" y="2485550"/>
              <a:ext cx="62400" cy="53300"/>
            </a:xfrm>
            <a:custGeom>
              <a:avLst/>
              <a:gdLst/>
              <a:ahLst/>
              <a:cxnLst/>
              <a:rect l="l" t="t" r="r" b="b"/>
              <a:pathLst>
                <a:path w="2496" h="2132" extrusionOk="0">
                  <a:moveTo>
                    <a:pt x="1065" y="1"/>
                  </a:moveTo>
                  <a:cubicBezTo>
                    <a:pt x="480" y="1"/>
                    <a:pt x="0" y="480"/>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8" name="Google Shape;3058;p66"/>
            <p:cNvSpPr/>
            <p:nvPr/>
          </p:nvSpPr>
          <p:spPr>
            <a:xfrm>
              <a:off x="1152275" y="2409350"/>
              <a:ext cx="62400" cy="53350"/>
            </a:xfrm>
            <a:custGeom>
              <a:avLst/>
              <a:gdLst/>
              <a:ahLst/>
              <a:cxnLst/>
              <a:rect l="l" t="t" r="r" b="b"/>
              <a:pathLst>
                <a:path w="2496" h="2134" extrusionOk="0">
                  <a:moveTo>
                    <a:pt x="1065" y="0"/>
                  </a:moveTo>
                  <a:cubicBezTo>
                    <a:pt x="480" y="0"/>
                    <a:pt x="8"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59" name="Google Shape;3059;p66"/>
            <p:cNvSpPr/>
            <p:nvPr/>
          </p:nvSpPr>
          <p:spPr>
            <a:xfrm>
              <a:off x="1152275"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0" name="Google Shape;3060;p66"/>
            <p:cNvSpPr/>
            <p:nvPr/>
          </p:nvSpPr>
          <p:spPr>
            <a:xfrm>
              <a:off x="1152275"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1" name="Google Shape;3061;p66"/>
            <p:cNvSpPr/>
            <p:nvPr/>
          </p:nvSpPr>
          <p:spPr>
            <a:xfrm>
              <a:off x="1152275" y="2180700"/>
              <a:ext cx="62400" cy="53350"/>
            </a:xfrm>
            <a:custGeom>
              <a:avLst/>
              <a:gdLst/>
              <a:ahLst/>
              <a:cxnLst/>
              <a:rect l="l" t="t" r="r" b="b"/>
              <a:pathLst>
                <a:path w="2496"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2" name="Google Shape;3062;p66"/>
            <p:cNvSpPr/>
            <p:nvPr/>
          </p:nvSpPr>
          <p:spPr>
            <a:xfrm>
              <a:off x="1152275" y="210450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3" name="Google Shape;3063;p66"/>
            <p:cNvSpPr/>
            <p:nvPr/>
          </p:nvSpPr>
          <p:spPr>
            <a:xfrm>
              <a:off x="1152275"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4" name="Google Shape;3064;p66"/>
            <p:cNvSpPr/>
            <p:nvPr/>
          </p:nvSpPr>
          <p:spPr>
            <a:xfrm>
              <a:off x="1152275"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5" name="Google Shape;3065;p66"/>
            <p:cNvSpPr/>
            <p:nvPr/>
          </p:nvSpPr>
          <p:spPr>
            <a:xfrm>
              <a:off x="1152275"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6" name="Google Shape;3066;p66"/>
            <p:cNvSpPr/>
            <p:nvPr/>
          </p:nvSpPr>
          <p:spPr>
            <a:xfrm>
              <a:off x="1152275" y="1799850"/>
              <a:ext cx="62400" cy="53325"/>
            </a:xfrm>
            <a:custGeom>
              <a:avLst/>
              <a:gdLst/>
              <a:ahLst/>
              <a:cxnLst/>
              <a:rect l="l" t="t" r="r" b="b"/>
              <a:pathLst>
                <a:path w="2496"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7" name="Google Shape;3067;p66"/>
            <p:cNvSpPr/>
            <p:nvPr/>
          </p:nvSpPr>
          <p:spPr>
            <a:xfrm>
              <a:off x="1152275" y="1723625"/>
              <a:ext cx="62400" cy="53350"/>
            </a:xfrm>
            <a:custGeom>
              <a:avLst/>
              <a:gdLst/>
              <a:ahLst/>
              <a:cxnLst/>
              <a:rect l="l" t="t" r="r" b="b"/>
              <a:pathLst>
                <a:path w="2496"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8" name="Google Shape;3068;p66"/>
            <p:cNvSpPr/>
            <p:nvPr/>
          </p:nvSpPr>
          <p:spPr>
            <a:xfrm>
              <a:off x="11522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69" name="Google Shape;3069;p66"/>
            <p:cNvSpPr/>
            <p:nvPr/>
          </p:nvSpPr>
          <p:spPr>
            <a:xfrm>
              <a:off x="1152275"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0" name="Google Shape;3070;p66"/>
            <p:cNvSpPr/>
            <p:nvPr/>
          </p:nvSpPr>
          <p:spPr>
            <a:xfrm>
              <a:off x="1152275"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1" name="Google Shape;3071;p66"/>
            <p:cNvSpPr/>
            <p:nvPr/>
          </p:nvSpPr>
          <p:spPr>
            <a:xfrm>
              <a:off x="1076050"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2" name="Google Shape;3072;p66"/>
            <p:cNvSpPr/>
            <p:nvPr/>
          </p:nvSpPr>
          <p:spPr>
            <a:xfrm>
              <a:off x="1076050"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3" name="Google Shape;3073;p66"/>
            <p:cNvSpPr/>
            <p:nvPr/>
          </p:nvSpPr>
          <p:spPr>
            <a:xfrm>
              <a:off x="1076050" y="2256925"/>
              <a:ext cx="62575" cy="53425"/>
            </a:xfrm>
            <a:custGeom>
              <a:avLst/>
              <a:gdLst/>
              <a:ahLst/>
              <a:cxnLst/>
              <a:rect l="l" t="t" r="r" b="b"/>
              <a:pathLst>
                <a:path w="2503" h="2137" extrusionOk="0">
                  <a:moveTo>
                    <a:pt x="1084" y="0"/>
                  </a:moveTo>
                  <a:cubicBezTo>
                    <a:pt x="1080"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4" name="Google Shape;3074;p66"/>
            <p:cNvSpPr/>
            <p:nvPr/>
          </p:nvSpPr>
          <p:spPr>
            <a:xfrm>
              <a:off x="1076050"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5" name="Google Shape;3075;p66"/>
            <p:cNvSpPr/>
            <p:nvPr/>
          </p:nvSpPr>
          <p:spPr>
            <a:xfrm>
              <a:off x="1076050"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6" name="Google Shape;3076;p66"/>
            <p:cNvSpPr/>
            <p:nvPr/>
          </p:nvSpPr>
          <p:spPr>
            <a:xfrm>
              <a:off x="1076050"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7" name="Google Shape;3077;p66"/>
            <p:cNvSpPr/>
            <p:nvPr/>
          </p:nvSpPr>
          <p:spPr>
            <a:xfrm>
              <a:off x="1076050"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6"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8" name="Google Shape;3078;p66"/>
            <p:cNvSpPr/>
            <p:nvPr/>
          </p:nvSpPr>
          <p:spPr>
            <a:xfrm>
              <a:off x="1076050" y="1876050"/>
              <a:ext cx="62425" cy="53275"/>
            </a:xfrm>
            <a:custGeom>
              <a:avLst/>
              <a:gdLst/>
              <a:ahLst/>
              <a:cxnLst/>
              <a:rect l="l" t="t" r="r" b="b"/>
              <a:pathLst>
                <a:path w="2497" h="2131" extrusionOk="0">
                  <a:moveTo>
                    <a:pt x="1074" y="1"/>
                  </a:moveTo>
                  <a:cubicBezTo>
                    <a:pt x="480" y="1"/>
                    <a:pt x="9" y="472"/>
                    <a:pt x="1" y="1066"/>
                  </a:cubicBezTo>
                  <a:cubicBezTo>
                    <a:pt x="1" y="1707"/>
                    <a:pt x="527" y="2131"/>
                    <a:pt x="1073" y="2131"/>
                  </a:cubicBezTo>
                  <a:cubicBezTo>
                    <a:pt x="1337" y="2131"/>
                    <a:pt x="1605" y="2033"/>
                    <a:pt x="1822" y="1813"/>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79" name="Google Shape;3079;p66"/>
            <p:cNvSpPr/>
            <p:nvPr/>
          </p:nvSpPr>
          <p:spPr>
            <a:xfrm>
              <a:off x="1076050"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0" name="Google Shape;3080;p66"/>
            <p:cNvSpPr/>
            <p:nvPr/>
          </p:nvSpPr>
          <p:spPr>
            <a:xfrm>
              <a:off x="1076050"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1" name="Google Shape;3081;p66"/>
            <p:cNvSpPr/>
            <p:nvPr/>
          </p:nvSpPr>
          <p:spPr>
            <a:xfrm>
              <a:off x="1076050"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2" name="Google Shape;3082;p66"/>
            <p:cNvSpPr/>
            <p:nvPr/>
          </p:nvSpPr>
          <p:spPr>
            <a:xfrm>
              <a:off x="1076050" y="1571400"/>
              <a:ext cx="62425" cy="53250"/>
            </a:xfrm>
            <a:custGeom>
              <a:avLst/>
              <a:gdLst/>
              <a:ahLst/>
              <a:cxnLst/>
              <a:rect l="l" t="t" r="r" b="b"/>
              <a:pathLst>
                <a:path w="2497" h="2130" extrusionOk="0">
                  <a:moveTo>
                    <a:pt x="1074" y="1"/>
                  </a:moveTo>
                  <a:cubicBezTo>
                    <a:pt x="480" y="1"/>
                    <a:pt x="9" y="472"/>
                    <a:pt x="1" y="1066"/>
                  </a:cubicBezTo>
                  <a:cubicBezTo>
                    <a:pt x="1" y="1703"/>
                    <a:pt x="529" y="2129"/>
                    <a:pt x="1077" y="2129"/>
                  </a:cubicBezTo>
                  <a:cubicBezTo>
                    <a:pt x="1339" y="2129"/>
                    <a:pt x="1606" y="2032"/>
                    <a:pt x="1822" y="1813"/>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3" name="Google Shape;3083;p66"/>
            <p:cNvSpPr/>
            <p:nvPr/>
          </p:nvSpPr>
          <p:spPr>
            <a:xfrm>
              <a:off x="1076050"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4" name="Google Shape;3084;p66"/>
            <p:cNvSpPr/>
            <p:nvPr/>
          </p:nvSpPr>
          <p:spPr>
            <a:xfrm>
              <a:off x="1076050"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5" name="Google Shape;3085;p66"/>
            <p:cNvSpPr/>
            <p:nvPr/>
          </p:nvSpPr>
          <p:spPr>
            <a:xfrm>
              <a:off x="1076050"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6"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6" name="Google Shape;3086;p66"/>
            <p:cNvSpPr/>
            <p:nvPr/>
          </p:nvSpPr>
          <p:spPr>
            <a:xfrm>
              <a:off x="1000050"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7" name="Google Shape;3087;p66"/>
            <p:cNvSpPr/>
            <p:nvPr/>
          </p:nvSpPr>
          <p:spPr>
            <a:xfrm>
              <a:off x="1000050" y="2028275"/>
              <a:ext cx="62200" cy="53450"/>
            </a:xfrm>
            <a:custGeom>
              <a:avLst/>
              <a:gdLst/>
              <a:ahLst/>
              <a:cxnLst/>
              <a:rect l="l" t="t" r="r" b="b"/>
              <a:pathLst>
                <a:path w="2488" h="2138" extrusionOk="0">
                  <a:moveTo>
                    <a:pt x="1065" y="1"/>
                  </a:moveTo>
                  <a:cubicBezTo>
                    <a:pt x="472" y="1"/>
                    <a:pt x="0" y="480"/>
                    <a:pt x="0" y="1065"/>
                  </a:cubicBezTo>
                  <a:cubicBezTo>
                    <a:pt x="0" y="1709"/>
                    <a:pt x="525" y="2137"/>
                    <a:pt x="1072"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8" name="Google Shape;3088;p66"/>
            <p:cNvSpPr/>
            <p:nvPr/>
          </p:nvSpPr>
          <p:spPr>
            <a:xfrm>
              <a:off x="1000050"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89" name="Google Shape;3089;p66"/>
            <p:cNvSpPr/>
            <p:nvPr/>
          </p:nvSpPr>
          <p:spPr>
            <a:xfrm>
              <a:off x="1000050"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0" name="Google Shape;3090;p66"/>
            <p:cNvSpPr/>
            <p:nvPr/>
          </p:nvSpPr>
          <p:spPr>
            <a:xfrm>
              <a:off x="1000050"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1" name="Google Shape;3091;p66"/>
            <p:cNvSpPr/>
            <p:nvPr/>
          </p:nvSpPr>
          <p:spPr>
            <a:xfrm>
              <a:off x="1000050"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2" name="Google Shape;3092;p66"/>
            <p:cNvSpPr/>
            <p:nvPr/>
          </p:nvSpPr>
          <p:spPr>
            <a:xfrm>
              <a:off x="1000050" y="164740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3" name="Google Shape;3093;p66"/>
            <p:cNvSpPr/>
            <p:nvPr/>
          </p:nvSpPr>
          <p:spPr>
            <a:xfrm>
              <a:off x="1000050"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2" y="2129"/>
                    <a:pt x="1597" y="2032"/>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4" name="Google Shape;3094;p66"/>
            <p:cNvSpPr/>
            <p:nvPr/>
          </p:nvSpPr>
          <p:spPr>
            <a:xfrm>
              <a:off x="1000050" y="1342750"/>
              <a:ext cx="62200" cy="53450"/>
            </a:xfrm>
            <a:custGeom>
              <a:avLst/>
              <a:gdLst/>
              <a:ahLst/>
              <a:cxnLst/>
              <a:rect l="l" t="t" r="r" b="b"/>
              <a:pathLst>
                <a:path w="2488" h="2138" extrusionOk="0">
                  <a:moveTo>
                    <a:pt x="1065" y="1"/>
                  </a:moveTo>
                  <a:cubicBezTo>
                    <a:pt x="472" y="1"/>
                    <a:pt x="0" y="481"/>
                    <a:pt x="0" y="1066"/>
                  </a:cubicBezTo>
                  <a:cubicBezTo>
                    <a:pt x="0" y="1710"/>
                    <a:pt x="525" y="2138"/>
                    <a:pt x="1072"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5" name="Google Shape;3095;p66"/>
            <p:cNvSpPr/>
            <p:nvPr/>
          </p:nvSpPr>
          <p:spPr>
            <a:xfrm>
              <a:off x="923825"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6" name="Google Shape;3096;p66"/>
            <p:cNvSpPr/>
            <p:nvPr/>
          </p:nvSpPr>
          <p:spPr>
            <a:xfrm>
              <a:off x="923825"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7" name="Google Shape;3097;p66"/>
            <p:cNvSpPr/>
            <p:nvPr/>
          </p:nvSpPr>
          <p:spPr>
            <a:xfrm>
              <a:off x="923825"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8" name="Google Shape;3098;p66"/>
            <p:cNvSpPr/>
            <p:nvPr/>
          </p:nvSpPr>
          <p:spPr>
            <a:xfrm>
              <a:off x="92382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099" name="Google Shape;3099;p66"/>
            <p:cNvSpPr/>
            <p:nvPr/>
          </p:nvSpPr>
          <p:spPr>
            <a:xfrm>
              <a:off x="92382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0" name="Google Shape;3100;p66"/>
            <p:cNvSpPr/>
            <p:nvPr/>
          </p:nvSpPr>
          <p:spPr>
            <a:xfrm>
              <a:off x="923825" y="1647400"/>
              <a:ext cx="62225" cy="53450"/>
            </a:xfrm>
            <a:custGeom>
              <a:avLst/>
              <a:gdLst/>
              <a:ahLst/>
              <a:cxnLst/>
              <a:rect l="l" t="t" r="r" b="b"/>
              <a:pathLst>
                <a:path w="2489" h="2138" extrusionOk="0">
                  <a:moveTo>
                    <a:pt x="1066" y="1"/>
                  </a:moveTo>
                  <a:cubicBezTo>
                    <a:pt x="480" y="9"/>
                    <a:pt x="1" y="481"/>
                    <a:pt x="1" y="1066"/>
                  </a:cubicBezTo>
                  <a:cubicBezTo>
                    <a:pt x="1" y="1710"/>
                    <a:pt x="526" y="2138"/>
                    <a:pt x="1075"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1" name="Google Shape;3101;p66"/>
            <p:cNvSpPr/>
            <p:nvPr/>
          </p:nvSpPr>
          <p:spPr>
            <a:xfrm>
              <a:off x="92382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2" name="Google Shape;3102;p66"/>
            <p:cNvSpPr/>
            <p:nvPr/>
          </p:nvSpPr>
          <p:spPr>
            <a:xfrm>
              <a:off x="8476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3" name="Google Shape;3103;p66"/>
            <p:cNvSpPr/>
            <p:nvPr/>
          </p:nvSpPr>
          <p:spPr>
            <a:xfrm>
              <a:off x="8476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4" name="Google Shape;3104;p66"/>
            <p:cNvSpPr/>
            <p:nvPr/>
          </p:nvSpPr>
          <p:spPr>
            <a:xfrm>
              <a:off x="8476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5" name="Google Shape;3105;p66"/>
            <p:cNvSpPr/>
            <p:nvPr/>
          </p:nvSpPr>
          <p:spPr>
            <a:xfrm>
              <a:off x="8476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6" name="Google Shape;3106;p66"/>
            <p:cNvSpPr/>
            <p:nvPr/>
          </p:nvSpPr>
          <p:spPr>
            <a:xfrm>
              <a:off x="8476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7" name="Google Shape;3107;p66"/>
            <p:cNvSpPr/>
            <p:nvPr/>
          </p:nvSpPr>
          <p:spPr>
            <a:xfrm>
              <a:off x="8476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8" name="Google Shape;3108;p66"/>
            <p:cNvSpPr/>
            <p:nvPr/>
          </p:nvSpPr>
          <p:spPr>
            <a:xfrm>
              <a:off x="771400" y="179985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09" name="Google Shape;3109;p66"/>
            <p:cNvSpPr/>
            <p:nvPr/>
          </p:nvSpPr>
          <p:spPr>
            <a:xfrm>
              <a:off x="771400" y="172362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0" name="Google Shape;3110;p66"/>
            <p:cNvSpPr/>
            <p:nvPr/>
          </p:nvSpPr>
          <p:spPr>
            <a:xfrm>
              <a:off x="771400" y="1647400"/>
              <a:ext cx="62425" cy="53450"/>
            </a:xfrm>
            <a:custGeom>
              <a:avLst/>
              <a:gdLst/>
              <a:ahLst/>
              <a:cxnLst/>
              <a:rect l="l" t="t" r="r" b="b"/>
              <a:pathLst>
                <a:path w="2497" h="2138" extrusionOk="0">
                  <a:moveTo>
                    <a:pt x="1066" y="1"/>
                  </a:moveTo>
                  <a:cubicBezTo>
                    <a:pt x="480" y="1"/>
                    <a:pt x="1" y="481"/>
                    <a:pt x="1" y="1066"/>
                  </a:cubicBezTo>
                  <a:cubicBezTo>
                    <a:pt x="1" y="1710"/>
                    <a:pt x="526" y="2138"/>
                    <a:pt x="1074" y="2138"/>
                  </a:cubicBezTo>
                  <a:cubicBezTo>
                    <a:pt x="1336" y="2138"/>
                    <a:pt x="1604" y="2040"/>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1" name="Google Shape;3111;p66"/>
            <p:cNvSpPr/>
            <p:nvPr/>
          </p:nvSpPr>
          <p:spPr>
            <a:xfrm>
              <a:off x="771400"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2" name="Google Shape;3112;p66"/>
            <p:cNvSpPr/>
            <p:nvPr/>
          </p:nvSpPr>
          <p:spPr>
            <a:xfrm>
              <a:off x="695200" y="1799850"/>
              <a:ext cx="62200" cy="53325"/>
            </a:xfrm>
            <a:custGeom>
              <a:avLst/>
              <a:gdLst/>
              <a:ahLst/>
              <a:cxnLst/>
              <a:rect l="l" t="t" r="r" b="b"/>
              <a:pathLst>
                <a:path w="2488" h="2133" extrusionOk="0">
                  <a:moveTo>
                    <a:pt x="1065" y="0"/>
                  </a:moveTo>
                  <a:cubicBezTo>
                    <a:pt x="480" y="0"/>
                    <a:pt x="0" y="472"/>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3" name="Google Shape;3113;p66"/>
            <p:cNvSpPr/>
            <p:nvPr/>
          </p:nvSpPr>
          <p:spPr>
            <a:xfrm>
              <a:off x="695200" y="1723625"/>
              <a:ext cx="62200" cy="53350"/>
            </a:xfrm>
            <a:custGeom>
              <a:avLst/>
              <a:gdLst/>
              <a:ahLst/>
              <a:cxnLst/>
              <a:rect l="l" t="t" r="r" b="b"/>
              <a:pathLst>
                <a:path w="2488" h="2134" extrusionOk="0">
                  <a:moveTo>
                    <a:pt x="1065" y="1"/>
                  </a:moveTo>
                  <a:cubicBezTo>
                    <a:pt x="480" y="1"/>
                    <a:pt x="0" y="480"/>
                    <a:pt x="0" y="1065"/>
                  </a:cubicBezTo>
                  <a:cubicBezTo>
                    <a:pt x="0" y="1709"/>
                    <a:pt x="525" y="2133"/>
                    <a:pt x="1072" y="2133"/>
                  </a:cubicBezTo>
                  <a:cubicBezTo>
                    <a:pt x="1332" y="2133"/>
                    <a:pt x="1598" y="2037"/>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4" name="Google Shape;3114;p66"/>
            <p:cNvSpPr/>
            <p:nvPr/>
          </p:nvSpPr>
          <p:spPr>
            <a:xfrm>
              <a:off x="69520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5" name="Google Shape;3115;p66"/>
            <p:cNvSpPr/>
            <p:nvPr/>
          </p:nvSpPr>
          <p:spPr>
            <a:xfrm>
              <a:off x="695200" y="1571400"/>
              <a:ext cx="62200" cy="53250"/>
            </a:xfrm>
            <a:custGeom>
              <a:avLst/>
              <a:gdLst/>
              <a:ahLst/>
              <a:cxnLst/>
              <a:rect l="l" t="t" r="r" b="b"/>
              <a:pathLst>
                <a:path w="2488" h="2130" extrusionOk="0">
                  <a:moveTo>
                    <a:pt x="1065" y="1"/>
                  </a:moveTo>
                  <a:cubicBezTo>
                    <a:pt x="480"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6" name="Google Shape;3116;p66"/>
            <p:cNvSpPr/>
            <p:nvPr/>
          </p:nvSpPr>
          <p:spPr>
            <a:xfrm>
              <a:off x="618975"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7" name="Google Shape;3117;p66"/>
            <p:cNvSpPr/>
            <p:nvPr/>
          </p:nvSpPr>
          <p:spPr>
            <a:xfrm>
              <a:off x="618975"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8" name="Google Shape;3118;p66"/>
            <p:cNvSpPr/>
            <p:nvPr/>
          </p:nvSpPr>
          <p:spPr>
            <a:xfrm>
              <a:off x="618975" y="1647400"/>
              <a:ext cx="62225" cy="53450"/>
            </a:xfrm>
            <a:custGeom>
              <a:avLst/>
              <a:gdLst/>
              <a:ahLst/>
              <a:cxnLst/>
              <a:rect l="l" t="t" r="r" b="b"/>
              <a:pathLst>
                <a:path w="2489" h="2138" extrusionOk="0">
                  <a:moveTo>
                    <a:pt x="1066" y="1"/>
                  </a:moveTo>
                  <a:cubicBezTo>
                    <a:pt x="480" y="9"/>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19" name="Google Shape;3119;p66"/>
            <p:cNvSpPr/>
            <p:nvPr/>
          </p:nvSpPr>
          <p:spPr>
            <a:xfrm>
              <a:off x="618975"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0" name="Google Shape;3120;p66"/>
            <p:cNvSpPr/>
            <p:nvPr/>
          </p:nvSpPr>
          <p:spPr>
            <a:xfrm>
              <a:off x="542775"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1" name="Google Shape;3121;p66"/>
            <p:cNvSpPr/>
            <p:nvPr/>
          </p:nvSpPr>
          <p:spPr>
            <a:xfrm>
              <a:off x="542775"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2" name="Google Shape;3122;p66"/>
            <p:cNvSpPr/>
            <p:nvPr/>
          </p:nvSpPr>
          <p:spPr>
            <a:xfrm>
              <a:off x="542775" y="164740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3" name="Google Shape;3123;p66"/>
            <p:cNvSpPr/>
            <p:nvPr/>
          </p:nvSpPr>
          <p:spPr>
            <a:xfrm>
              <a:off x="542775" y="1571400"/>
              <a:ext cx="62400" cy="53250"/>
            </a:xfrm>
            <a:custGeom>
              <a:avLst/>
              <a:gdLst/>
              <a:ahLst/>
              <a:cxnLst/>
              <a:rect l="l" t="t" r="r" b="b"/>
              <a:pathLst>
                <a:path w="2496" h="2130" extrusionOk="0">
                  <a:moveTo>
                    <a:pt x="1065" y="1"/>
                  </a:moveTo>
                  <a:cubicBezTo>
                    <a:pt x="480" y="1"/>
                    <a:pt x="0" y="472"/>
                    <a:pt x="0" y="1066"/>
                  </a:cubicBezTo>
                  <a:cubicBezTo>
                    <a:pt x="0" y="1703"/>
                    <a:pt x="524"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4" name="Google Shape;3124;p66"/>
            <p:cNvSpPr/>
            <p:nvPr/>
          </p:nvSpPr>
          <p:spPr>
            <a:xfrm>
              <a:off x="466550" y="1799850"/>
              <a:ext cx="62425" cy="53325"/>
            </a:xfrm>
            <a:custGeom>
              <a:avLst/>
              <a:gdLst/>
              <a:ahLst/>
              <a:cxnLst/>
              <a:rect l="l" t="t" r="r" b="b"/>
              <a:pathLst>
                <a:path w="2497" h="2133" extrusionOk="0">
                  <a:moveTo>
                    <a:pt x="1074" y="0"/>
                  </a:moveTo>
                  <a:cubicBezTo>
                    <a:pt x="480" y="0"/>
                    <a:pt x="9" y="480"/>
                    <a:pt x="0" y="1065"/>
                  </a:cubicBezTo>
                  <a:cubicBezTo>
                    <a:pt x="0" y="1709"/>
                    <a:pt x="530" y="2133"/>
                    <a:pt x="1078" y="2133"/>
                  </a:cubicBezTo>
                  <a:cubicBezTo>
                    <a:pt x="1340" y="2133"/>
                    <a:pt x="1606" y="2036"/>
                    <a:pt x="1821"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5" name="Google Shape;3125;p66"/>
            <p:cNvSpPr/>
            <p:nvPr/>
          </p:nvSpPr>
          <p:spPr>
            <a:xfrm>
              <a:off x="466550" y="1723625"/>
              <a:ext cx="62425" cy="53350"/>
            </a:xfrm>
            <a:custGeom>
              <a:avLst/>
              <a:gdLst/>
              <a:ahLst/>
              <a:cxnLst/>
              <a:rect l="l" t="t" r="r" b="b"/>
              <a:pathLst>
                <a:path w="2497" h="2134" extrusionOk="0">
                  <a:moveTo>
                    <a:pt x="1074" y="1"/>
                  </a:moveTo>
                  <a:cubicBezTo>
                    <a:pt x="480" y="1"/>
                    <a:pt x="9" y="480"/>
                    <a:pt x="0" y="1065"/>
                  </a:cubicBezTo>
                  <a:cubicBezTo>
                    <a:pt x="0" y="1709"/>
                    <a:pt x="530" y="2133"/>
                    <a:pt x="1078" y="2133"/>
                  </a:cubicBezTo>
                  <a:cubicBezTo>
                    <a:pt x="1340" y="2133"/>
                    <a:pt x="1606" y="2037"/>
                    <a:pt x="1821"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6" name="Google Shape;3126;p66"/>
            <p:cNvSpPr/>
            <p:nvPr/>
          </p:nvSpPr>
          <p:spPr>
            <a:xfrm>
              <a:off x="466550" y="1647400"/>
              <a:ext cx="62425" cy="53450"/>
            </a:xfrm>
            <a:custGeom>
              <a:avLst/>
              <a:gdLst/>
              <a:ahLst/>
              <a:cxnLst/>
              <a:rect l="l" t="t" r="r" b="b"/>
              <a:pathLst>
                <a:path w="2497" h="2138" extrusionOk="0">
                  <a:moveTo>
                    <a:pt x="1074" y="1"/>
                  </a:moveTo>
                  <a:cubicBezTo>
                    <a:pt x="480" y="9"/>
                    <a:pt x="9" y="481"/>
                    <a:pt x="0" y="1066"/>
                  </a:cubicBezTo>
                  <a:cubicBezTo>
                    <a:pt x="0" y="1710"/>
                    <a:pt x="529" y="2138"/>
                    <a:pt x="1078" y="2138"/>
                  </a:cubicBezTo>
                  <a:cubicBezTo>
                    <a:pt x="1340" y="2138"/>
                    <a:pt x="1606" y="2040"/>
                    <a:pt x="1821"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7" name="Google Shape;3127;p66"/>
            <p:cNvSpPr/>
            <p:nvPr/>
          </p:nvSpPr>
          <p:spPr>
            <a:xfrm>
              <a:off x="466550" y="1571400"/>
              <a:ext cx="62425" cy="53250"/>
            </a:xfrm>
            <a:custGeom>
              <a:avLst/>
              <a:gdLst/>
              <a:ahLst/>
              <a:cxnLst/>
              <a:rect l="l" t="t" r="r" b="b"/>
              <a:pathLst>
                <a:path w="2497" h="2130" extrusionOk="0">
                  <a:moveTo>
                    <a:pt x="1074" y="1"/>
                  </a:moveTo>
                  <a:cubicBezTo>
                    <a:pt x="480" y="1"/>
                    <a:pt x="9" y="472"/>
                    <a:pt x="0" y="1066"/>
                  </a:cubicBezTo>
                  <a:cubicBezTo>
                    <a:pt x="0" y="1703"/>
                    <a:pt x="529" y="2129"/>
                    <a:pt x="1077" y="2129"/>
                  </a:cubicBezTo>
                  <a:cubicBezTo>
                    <a:pt x="1339" y="2129"/>
                    <a:pt x="1606" y="2032"/>
                    <a:pt x="1821" y="1813"/>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8" name="Google Shape;3128;p66"/>
            <p:cNvSpPr/>
            <p:nvPr/>
          </p:nvSpPr>
          <p:spPr>
            <a:xfrm>
              <a:off x="390550" y="1876050"/>
              <a:ext cx="62350" cy="53275"/>
            </a:xfrm>
            <a:custGeom>
              <a:avLst/>
              <a:gdLst/>
              <a:ahLst/>
              <a:cxnLst/>
              <a:rect l="l" t="t" r="r" b="b"/>
              <a:pathLst>
                <a:path w="2494" h="2131" extrusionOk="0">
                  <a:moveTo>
                    <a:pt x="1075" y="1"/>
                  </a:moveTo>
                  <a:cubicBezTo>
                    <a:pt x="1072" y="1"/>
                    <a:pt x="1068" y="1"/>
                    <a:pt x="1065" y="1"/>
                  </a:cubicBezTo>
                  <a:cubicBezTo>
                    <a:pt x="480" y="1"/>
                    <a:pt x="0" y="480"/>
                    <a:pt x="0" y="1066"/>
                  </a:cubicBezTo>
                  <a:cubicBezTo>
                    <a:pt x="0" y="1707"/>
                    <a:pt x="522" y="2131"/>
                    <a:pt x="1069" y="2131"/>
                  </a:cubicBezTo>
                  <a:cubicBezTo>
                    <a:pt x="1333" y="2131"/>
                    <a:pt x="1602" y="2033"/>
                    <a:pt x="1821" y="1813"/>
                  </a:cubicBezTo>
                  <a:cubicBezTo>
                    <a:pt x="2493" y="1149"/>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29" name="Google Shape;3129;p66"/>
            <p:cNvSpPr/>
            <p:nvPr/>
          </p:nvSpPr>
          <p:spPr>
            <a:xfrm>
              <a:off x="390550" y="1799825"/>
              <a:ext cx="62350" cy="53300"/>
            </a:xfrm>
            <a:custGeom>
              <a:avLst/>
              <a:gdLst/>
              <a:ahLst/>
              <a:cxnLst/>
              <a:rect l="l" t="t" r="r" b="b"/>
              <a:pathLst>
                <a:path w="2494" h="2132" extrusionOk="0">
                  <a:moveTo>
                    <a:pt x="1075" y="1"/>
                  </a:moveTo>
                  <a:cubicBezTo>
                    <a:pt x="1072" y="1"/>
                    <a:pt x="1068" y="1"/>
                    <a:pt x="1065" y="1"/>
                  </a:cubicBezTo>
                  <a:cubicBezTo>
                    <a:pt x="480" y="1"/>
                    <a:pt x="0" y="481"/>
                    <a:pt x="0" y="1066"/>
                  </a:cubicBezTo>
                  <a:cubicBezTo>
                    <a:pt x="0" y="1708"/>
                    <a:pt x="526" y="2131"/>
                    <a:pt x="1073" y="2131"/>
                  </a:cubicBezTo>
                  <a:cubicBezTo>
                    <a:pt x="1336" y="2131"/>
                    <a:pt x="1604" y="2033"/>
                    <a:pt x="1821" y="1814"/>
                  </a:cubicBezTo>
                  <a:cubicBezTo>
                    <a:pt x="2493" y="1150"/>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0" name="Google Shape;3130;p66"/>
            <p:cNvSpPr/>
            <p:nvPr/>
          </p:nvSpPr>
          <p:spPr>
            <a:xfrm>
              <a:off x="390550" y="1723625"/>
              <a:ext cx="62400" cy="53350"/>
            </a:xfrm>
            <a:custGeom>
              <a:avLst/>
              <a:gdLst/>
              <a:ahLst/>
              <a:cxnLst/>
              <a:rect l="l" t="t" r="r" b="b"/>
              <a:pathLst>
                <a:path w="2496" h="2134" extrusionOk="0">
                  <a:moveTo>
                    <a:pt x="1065" y="1"/>
                  </a:moveTo>
                  <a:cubicBezTo>
                    <a:pt x="480" y="1"/>
                    <a:pt x="0" y="480"/>
                    <a:pt x="0" y="1065"/>
                  </a:cubicBezTo>
                  <a:cubicBezTo>
                    <a:pt x="0" y="1709"/>
                    <a:pt x="529" y="2133"/>
                    <a:pt x="1078" y="2133"/>
                  </a:cubicBezTo>
                  <a:cubicBezTo>
                    <a:pt x="1339" y="2133"/>
                    <a:pt x="1606"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1" name="Google Shape;3131;p66"/>
            <p:cNvSpPr/>
            <p:nvPr/>
          </p:nvSpPr>
          <p:spPr>
            <a:xfrm>
              <a:off x="39055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2" name="Google Shape;3132;p66"/>
            <p:cNvSpPr/>
            <p:nvPr/>
          </p:nvSpPr>
          <p:spPr>
            <a:xfrm>
              <a:off x="390550" y="1571400"/>
              <a:ext cx="62350" cy="53275"/>
            </a:xfrm>
            <a:custGeom>
              <a:avLst/>
              <a:gdLst/>
              <a:ahLst/>
              <a:cxnLst/>
              <a:rect l="l" t="t" r="r" b="b"/>
              <a:pathLst>
                <a:path w="2494" h="2131" extrusionOk="0">
                  <a:moveTo>
                    <a:pt x="1075" y="1"/>
                  </a:moveTo>
                  <a:cubicBezTo>
                    <a:pt x="1072" y="1"/>
                    <a:pt x="1068" y="1"/>
                    <a:pt x="1065" y="1"/>
                  </a:cubicBezTo>
                  <a:cubicBezTo>
                    <a:pt x="480" y="1"/>
                    <a:pt x="0" y="472"/>
                    <a:pt x="0" y="1066"/>
                  </a:cubicBezTo>
                  <a:cubicBezTo>
                    <a:pt x="0" y="1708"/>
                    <a:pt x="522" y="2131"/>
                    <a:pt x="1069" y="2131"/>
                  </a:cubicBezTo>
                  <a:cubicBezTo>
                    <a:pt x="1333" y="2131"/>
                    <a:pt x="1602" y="2033"/>
                    <a:pt x="1821" y="1813"/>
                  </a:cubicBezTo>
                  <a:cubicBezTo>
                    <a:pt x="2493" y="1141"/>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3" name="Google Shape;3133;p66"/>
            <p:cNvSpPr/>
            <p:nvPr/>
          </p:nvSpPr>
          <p:spPr>
            <a:xfrm>
              <a:off x="314325" y="1952050"/>
              <a:ext cx="62225" cy="53450"/>
            </a:xfrm>
            <a:custGeom>
              <a:avLst/>
              <a:gdLst/>
              <a:ahLst/>
              <a:cxnLst/>
              <a:rect l="l" t="t" r="r" b="b"/>
              <a:pathLst>
                <a:path w="2489" h="2138" extrusionOk="0">
                  <a:moveTo>
                    <a:pt x="1065" y="1"/>
                  </a:moveTo>
                  <a:cubicBezTo>
                    <a:pt x="480" y="9"/>
                    <a:pt x="1" y="481"/>
                    <a:pt x="1" y="1074"/>
                  </a:cubicBezTo>
                  <a:cubicBezTo>
                    <a:pt x="1" y="1712"/>
                    <a:pt x="525" y="2138"/>
                    <a:pt x="1073" y="2138"/>
                  </a:cubicBezTo>
                  <a:cubicBezTo>
                    <a:pt x="1335" y="2138"/>
                    <a:pt x="1603" y="2040"/>
                    <a:pt x="1822"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4" name="Google Shape;3134;p66"/>
            <p:cNvSpPr/>
            <p:nvPr/>
          </p:nvSpPr>
          <p:spPr>
            <a:xfrm>
              <a:off x="314325" y="1876050"/>
              <a:ext cx="62225" cy="53275"/>
            </a:xfrm>
            <a:custGeom>
              <a:avLst/>
              <a:gdLst/>
              <a:ahLst/>
              <a:cxnLst/>
              <a:rect l="l" t="t" r="r" b="b"/>
              <a:pathLst>
                <a:path w="2489" h="2131" extrusionOk="0">
                  <a:moveTo>
                    <a:pt x="1065" y="1"/>
                  </a:moveTo>
                  <a:cubicBezTo>
                    <a:pt x="480" y="1"/>
                    <a:pt x="1" y="472"/>
                    <a:pt x="1" y="1066"/>
                  </a:cubicBezTo>
                  <a:cubicBezTo>
                    <a:pt x="1" y="1707"/>
                    <a:pt x="523" y="2131"/>
                    <a:pt x="1070" y="2131"/>
                  </a:cubicBezTo>
                  <a:cubicBezTo>
                    <a:pt x="1333" y="2131"/>
                    <a:pt x="1602" y="2033"/>
                    <a:pt x="1822"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5" name="Google Shape;3135;p66"/>
            <p:cNvSpPr/>
            <p:nvPr/>
          </p:nvSpPr>
          <p:spPr>
            <a:xfrm>
              <a:off x="314325" y="1799850"/>
              <a:ext cx="62225" cy="53325"/>
            </a:xfrm>
            <a:custGeom>
              <a:avLst/>
              <a:gdLst/>
              <a:ahLst/>
              <a:cxnLst/>
              <a:rect l="l" t="t" r="r" b="b"/>
              <a:pathLst>
                <a:path w="2489" h="2133" extrusionOk="0">
                  <a:moveTo>
                    <a:pt x="1065" y="0"/>
                  </a:moveTo>
                  <a:cubicBezTo>
                    <a:pt x="480" y="0"/>
                    <a:pt x="1" y="480"/>
                    <a:pt x="1" y="1065"/>
                  </a:cubicBezTo>
                  <a:cubicBezTo>
                    <a:pt x="1" y="1709"/>
                    <a:pt x="526" y="2133"/>
                    <a:pt x="1075" y="2133"/>
                  </a:cubicBezTo>
                  <a:cubicBezTo>
                    <a:pt x="1336" y="2133"/>
                    <a:pt x="1604" y="2036"/>
                    <a:pt x="1822"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6" name="Google Shape;3136;p66"/>
            <p:cNvSpPr/>
            <p:nvPr/>
          </p:nvSpPr>
          <p:spPr>
            <a:xfrm>
              <a:off x="314325" y="1723625"/>
              <a:ext cx="62225" cy="53350"/>
            </a:xfrm>
            <a:custGeom>
              <a:avLst/>
              <a:gdLst/>
              <a:ahLst/>
              <a:cxnLst/>
              <a:rect l="l" t="t" r="r" b="b"/>
              <a:pathLst>
                <a:path w="2489" h="2134" extrusionOk="0">
                  <a:moveTo>
                    <a:pt x="1065" y="1"/>
                  </a:moveTo>
                  <a:cubicBezTo>
                    <a:pt x="480" y="1"/>
                    <a:pt x="1" y="480"/>
                    <a:pt x="1" y="1065"/>
                  </a:cubicBezTo>
                  <a:cubicBezTo>
                    <a:pt x="1" y="1709"/>
                    <a:pt x="526" y="2133"/>
                    <a:pt x="1075" y="2133"/>
                  </a:cubicBezTo>
                  <a:cubicBezTo>
                    <a:pt x="1336" y="2133"/>
                    <a:pt x="1604" y="2037"/>
                    <a:pt x="1822"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7" name="Google Shape;3137;p66"/>
            <p:cNvSpPr/>
            <p:nvPr/>
          </p:nvSpPr>
          <p:spPr>
            <a:xfrm>
              <a:off x="314325" y="1647400"/>
              <a:ext cx="62225" cy="53450"/>
            </a:xfrm>
            <a:custGeom>
              <a:avLst/>
              <a:gdLst/>
              <a:ahLst/>
              <a:cxnLst/>
              <a:rect l="l" t="t" r="r" b="b"/>
              <a:pathLst>
                <a:path w="2489" h="2138" extrusionOk="0">
                  <a:moveTo>
                    <a:pt x="1065" y="1"/>
                  </a:moveTo>
                  <a:cubicBezTo>
                    <a:pt x="480" y="9"/>
                    <a:pt x="1" y="481"/>
                    <a:pt x="1" y="1066"/>
                  </a:cubicBezTo>
                  <a:cubicBezTo>
                    <a:pt x="1" y="1710"/>
                    <a:pt x="526" y="2138"/>
                    <a:pt x="1074" y="2138"/>
                  </a:cubicBezTo>
                  <a:cubicBezTo>
                    <a:pt x="1336" y="2138"/>
                    <a:pt x="1604" y="2040"/>
                    <a:pt x="1822"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8" name="Google Shape;3138;p66"/>
            <p:cNvSpPr/>
            <p:nvPr/>
          </p:nvSpPr>
          <p:spPr>
            <a:xfrm>
              <a:off x="314325" y="1571400"/>
              <a:ext cx="62150" cy="53250"/>
            </a:xfrm>
            <a:custGeom>
              <a:avLst/>
              <a:gdLst/>
              <a:ahLst/>
              <a:cxnLst/>
              <a:rect l="l" t="t" r="r" b="b"/>
              <a:pathLst>
                <a:path w="2486" h="2130" extrusionOk="0">
                  <a:moveTo>
                    <a:pt x="1075" y="1"/>
                  </a:moveTo>
                  <a:cubicBezTo>
                    <a:pt x="1072" y="1"/>
                    <a:pt x="1069" y="1"/>
                    <a:pt x="1065" y="1"/>
                  </a:cubicBezTo>
                  <a:cubicBezTo>
                    <a:pt x="480" y="1"/>
                    <a:pt x="1" y="472"/>
                    <a:pt x="1" y="1066"/>
                  </a:cubicBezTo>
                  <a:cubicBezTo>
                    <a:pt x="1" y="1703"/>
                    <a:pt x="525" y="2129"/>
                    <a:pt x="1073" y="2129"/>
                  </a:cubicBezTo>
                  <a:cubicBezTo>
                    <a:pt x="1335" y="2129"/>
                    <a:pt x="1603" y="2032"/>
                    <a:pt x="1822" y="1813"/>
                  </a:cubicBezTo>
                  <a:cubicBezTo>
                    <a:pt x="2486" y="1149"/>
                    <a:pt x="2020"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39" name="Google Shape;3139;p66"/>
            <p:cNvSpPr/>
            <p:nvPr/>
          </p:nvSpPr>
          <p:spPr>
            <a:xfrm>
              <a:off x="238125" y="1952050"/>
              <a:ext cx="62200" cy="53450"/>
            </a:xfrm>
            <a:custGeom>
              <a:avLst/>
              <a:gdLst/>
              <a:ahLst/>
              <a:cxnLst/>
              <a:rect l="l" t="t" r="r" b="b"/>
              <a:pathLst>
                <a:path w="2488" h="2138" extrusionOk="0">
                  <a:moveTo>
                    <a:pt x="1065" y="1"/>
                  </a:moveTo>
                  <a:cubicBezTo>
                    <a:pt x="480" y="9"/>
                    <a:pt x="0" y="481"/>
                    <a:pt x="0" y="1074"/>
                  </a:cubicBezTo>
                  <a:cubicBezTo>
                    <a:pt x="0" y="1712"/>
                    <a:pt x="524"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0" name="Google Shape;3140;p66"/>
            <p:cNvSpPr/>
            <p:nvPr/>
          </p:nvSpPr>
          <p:spPr>
            <a:xfrm>
              <a:off x="238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1" name="Google Shape;3141;p66"/>
            <p:cNvSpPr/>
            <p:nvPr/>
          </p:nvSpPr>
          <p:spPr>
            <a:xfrm>
              <a:off x="238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2" name="Google Shape;3142;p66"/>
            <p:cNvSpPr/>
            <p:nvPr/>
          </p:nvSpPr>
          <p:spPr>
            <a:xfrm>
              <a:off x="238125"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3" name="Google Shape;3143;p66"/>
            <p:cNvSpPr/>
            <p:nvPr/>
          </p:nvSpPr>
          <p:spPr>
            <a:xfrm>
              <a:off x="4427825" y="2637775"/>
              <a:ext cx="62425" cy="53450"/>
            </a:xfrm>
            <a:custGeom>
              <a:avLst/>
              <a:gdLst/>
              <a:ahLst/>
              <a:cxnLst/>
              <a:rect l="l" t="t" r="r" b="b"/>
              <a:pathLst>
                <a:path w="2497" h="2138" extrusionOk="0">
                  <a:moveTo>
                    <a:pt x="1065" y="1"/>
                  </a:moveTo>
                  <a:cubicBezTo>
                    <a:pt x="480" y="9"/>
                    <a:pt x="1" y="480"/>
                    <a:pt x="1" y="1074"/>
                  </a:cubicBezTo>
                  <a:cubicBezTo>
                    <a:pt x="1" y="1712"/>
                    <a:pt x="529" y="2137"/>
                    <a:pt x="1077" y="2137"/>
                  </a:cubicBezTo>
                  <a:cubicBezTo>
                    <a:pt x="1339" y="2137"/>
                    <a:pt x="1606"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4" name="Google Shape;3144;p66"/>
            <p:cNvSpPr/>
            <p:nvPr/>
          </p:nvSpPr>
          <p:spPr>
            <a:xfrm>
              <a:off x="4427825" y="2714000"/>
              <a:ext cx="62425" cy="53350"/>
            </a:xfrm>
            <a:custGeom>
              <a:avLst/>
              <a:gdLst/>
              <a:ahLst/>
              <a:cxnLst/>
              <a:rect l="l" t="t" r="r" b="b"/>
              <a:pathLst>
                <a:path w="2497" h="2134"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5" name="Google Shape;3145;p66"/>
            <p:cNvSpPr/>
            <p:nvPr/>
          </p:nvSpPr>
          <p:spPr>
            <a:xfrm>
              <a:off x="4504050"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6" name="Google Shape;3146;p66"/>
            <p:cNvSpPr/>
            <p:nvPr/>
          </p:nvSpPr>
          <p:spPr>
            <a:xfrm>
              <a:off x="4504050" y="2866425"/>
              <a:ext cx="62200" cy="53275"/>
            </a:xfrm>
            <a:custGeom>
              <a:avLst/>
              <a:gdLst/>
              <a:ahLst/>
              <a:cxnLst/>
              <a:rect l="l" t="t" r="r" b="b"/>
              <a:pathLst>
                <a:path w="2488" h="2131" extrusionOk="0">
                  <a:moveTo>
                    <a:pt x="1065" y="0"/>
                  </a:moveTo>
                  <a:cubicBezTo>
                    <a:pt x="480"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7" name="Google Shape;3147;p66"/>
            <p:cNvSpPr/>
            <p:nvPr/>
          </p:nvSpPr>
          <p:spPr>
            <a:xfrm>
              <a:off x="458025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6"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8" name="Google Shape;3148;p66"/>
            <p:cNvSpPr/>
            <p:nvPr/>
          </p:nvSpPr>
          <p:spPr>
            <a:xfrm>
              <a:off x="4504050" y="2790200"/>
              <a:ext cx="62200" cy="53350"/>
            </a:xfrm>
            <a:custGeom>
              <a:avLst/>
              <a:gdLst/>
              <a:ahLst/>
              <a:cxnLst/>
              <a:rect l="l" t="t" r="r" b="b"/>
              <a:pathLst>
                <a:path w="2488" h="2134" extrusionOk="0">
                  <a:moveTo>
                    <a:pt x="1065" y="1"/>
                  </a:moveTo>
                  <a:cubicBezTo>
                    <a:pt x="480" y="1"/>
                    <a:pt x="0" y="480"/>
                    <a:pt x="0" y="1066"/>
                  </a:cubicBezTo>
                  <a:cubicBezTo>
                    <a:pt x="0" y="1709"/>
                    <a:pt x="525"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49" name="Google Shape;3149;p66"/>
            <p:cNvSpPr/>
            <p:nvPr/>
          </p:nvSpPr>
          <p:spPr>
            <a:xfrm>
              <a:off x="5113350" y="14952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0" name="Google Shape;3150;p66"/>
            <p:cNvSpPr/>
            <p:nvPr/>
          </p:nvSpPr>
          <p:spPr>
            <a:xfrm>
              <a:off x="5113350" y="1571400"/>
              <a:ext cx="62400" cy="53250"/>
            </a:xfrm>
            <a:custGeom>
              <a:avLst/>
              <a:gdLst/>
              <a:ahLst/>
              <a:cxnLst/>
              <a:rect l="l" t="t" r="r" b="b"/>
              <a:pathLst>
                <a:path w="2496" h="2130" extrusionOk="0">
                  <a:moveTo>
                    <a:pt x="1073" y="1"/>
                  </a:moveTo>
                  <a:cubicBezTo>
                    <a:pt x="480" y="1"/>
                    <a:pt x="8" y="472"/>
                    <a:pt x="0" y="1066"/>
                  </a:cubicBezTo>
                  <a:cubicBezTo>
                    <a:pt x="0" y="1703"/>
                    <a:pt x="525" y="2129"/>
                    <a:pt x="1073" y="2129"/>
                  </a:cubicBezTo>
                  <a:cubicBezTo>
                    <a:pt x="1335" y="2129"/>
                    <a:pt x="1603" y="2032"/>
                    <a:pt x="1821" y="1813"/>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1" name="Google Shape;3151;p66"/>
            <p:cNvSpPr/>
            <p:nvPr/>
          </p:nvSpPr>
          <p:spPr>
            <a:xfrm>
              <a:off x="5113350" y="164740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2" name="Google Shape;3152;p66"/>
            <p:cNvSpPr/>
            <p:nvPr/>
          </p:nvSpPr>
          <p:spPr>
            <a:xfrm>
              <a:off x="5113350" y="172362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3" name="Google Shape;3153;p66"/>
            <p:cNvSpPr/>
            <p:nvPr/>
          </p:nvSpPr>
          <p:spPr>
            <a:xfrm>
              <a:off x="5113350" y="179985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4" name="Google Shape;3154;p66"/>
            <p:cNvSpPr/>
            <p:nvPr/>
          </p:nvSpPr>
          <p:spPr>
            <a:xfrm>
              <a:off x="5113350" y="1876050"/>
              <a:ext cx="62400" cy="53350"/>
            </a:xfrm>
            <a:custGeom>
              <a:avLst/>
              <a:gdLst/>
              <a:ahLst/>
              <a:cxnLst/>
              <a:rect l="l" t="t" r="r" b="b"/>
              <a:pathLst>
                <a:path w="2496" h="2134" extrusionOk="0">
                  <a:moveTo>
                    <a:pt x="1073" y="1"/>
                  </a:moveTo>
                  <a:cubicBezTo>
                    <a:pt x="480" y="1"/>
                    <a:pt x="8" y="472"/>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5" name="Google Shape;3155;p66"/>
            <p:cNvSpPr/>
            <p:nvPr/>
          </p:nvSpPr>
          <p:spPr>
            <a:xfrm>
              <a:off x="5113350" y="1952050"/>
              <a:ext cx="62400" cy="53450"/>
            </a:xfrm>
            <a:custGeom>
              <a:avLst/>
              <a:gdLst/>
              <a:ahLst/>
              <a:cxnLst/>
              <a:rect l="l" t="t" r="r" b="b"/>
              <a:pathLst>
                <a:path w="2496" h="2138" extrusionOk="0">
                  <a:moveTo>
                    <a:pt x="1073" y="1"/>
                  </a:moveTo>
                  <a:cubicBezTo>
                    <a:pt x="480" y="9"/>
                    <a:pt x="8" y="481"/>
                    <a:pt x="0" y="1074"/>
                  </a:cubicBezTo>
                  <a:cubicBezTo>
                    <a:pt x="0" y="1712"/>
                    <a:pt x="525" y="2138"/>
                    <a:pt x="1073" y="2138"/>
                  </a:cubicBezTo>
                  <a:cubicBezTo>
                    <a:pt x="1335" y="2138"/>
                    <a:pt x="1603"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6" name="Google Shape;3156;p66"/>
            <p:cNvSpPr/>
            <p:nvPr/>
          </p:nvSpPr>
          <p:spPr>
            <a:xfrm>
              <a:off x="5113350" y="2028275"/>
              <a:ext cx="62400" cy="53450"/>
            </a:xfrm>
            <a:custGeom>
              <a:avLst/>
              <a:gdLst/>
              <a:ahLst/>
              <a:cxnLst/>
              <a:rect l="l" t="t" r="r" b="b"/>
              <a:pathLst>
                <a:path w="2496" h="2138" extrusionOk="0">
                  <a:moveTo>
                    <a:pt x="1073" y="1"/>
                  </a:moveTo>
                  <a:cubicBezTo>
                    <a:pt x="480" y="1"/>
                    <a:pt x="8" y="480"/>
                    <a:pt x="0" y="1065"/>
                  </a:cubicBezTo>
                  <a:cubicBezTo>
                    <a:pt x="0" y="1709"/>
                    <a:pt x="525" y="2137"/>
                    <a:pt x="1074" y="2137"/>
                  </a:cubicBezTo>
                  <a:cubicBezTo>
                    <a:pt x="1336" y="2137"/>
                    <a:pt x="1603" y="2040"/>
                    <a:pt x="1821" y="1821"/>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7" name="Google Shape;3157;p66"/>
            <p:cNvSpPr/>
            <p:nvPr/>
          </p:nvSpPr>
          <p:spPr>
            <a:xfrm>
              <a:off x="5113350" y="2104500"/>
              <a:ext cx="62400" cy="53325"/>
            </a:xfrm>
            <a:custGeom>
              <a:avLst/>
              <a:gdLst/>
              <a:ahLst/>
              <a:cxnLst/>
              <a:rect l="l" t="t" r="r" b="b"/>
              <a:pathLst>
                <a:path w="2496" h="2133"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8" name="Google Shape;3158;p66"/>
            <p:cNvSpPr/>
            <p:nvPr/>
          </p:nvSpPr>
          <p:spPr>
            <a:xfrm>
              <a:off x="5113350" y="2180700"/>
              <a:ext cx="62400" cy="53350"/>
            </a:xfrm>
            <a:custGeom>
              <a:avLst/>
              <a:gdLst/>
              <a:ahLst/>
              <a:cxnLst/>
              <a:rect l="l" t="t" r="r" b="b"/>
              <a:pathLst>
                <a:path w="2496" h="2134" extrusionOk="0">
                  <a:moveTo>
                    <a:pt x="1073" y="1"/>
                  </a:moveTo>
                  <a:cubicBezTo>
                    <a:pt x="480" y="1"/>
                    <a:pt x="8" y="480"/>
                    <a:pt x="0" y="1066"/>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59" name="Google Shape;3159;p66"/>
            <p:cNvSpPr/>
            <p:nvPr/>
          </p:nvSpPr>
          <p:spPr>
            <a:xfrm>
              <a:off x="5113350" y="2256925"/>
              <a:ext cx="62550" cy="53425"/>
            </a:xfrm>
            <a:custGeom>
              <a:avLst/>
              <a:gdLst/>
              <a:ahLst/>
              <a:cxnLst/>
              <a:rect l="l" t="t" r="r" b="b"/>
              <a:pathLst>
                <a:path w="2502" h="2137" extrusionOk="0">
                  <a:moveTo>
                    <a:pt x="1083" y="0"/>
                  </a:moveTo>
                  <a:cubicBezTo>
                    <a:pt x="1080" y="0"/>
                    <a:pt x="1077" y="0"/>
                    <a:pt x="1073" y="0"/>
                  </a:cubicBezTo>
                  <a:cubicBezTo>
                    <a:pt x="480" y="0"/>
                    <a:pt x="0" y="480"/>
                    <a:pt x="0" y="1065"/>
                  </a:cubicBezTo>
                  <a:cubicBezTo>
                    <a:pt x="0" y="1709"/>
                    <a:pt x="529" y="2137"/>
                    <a:pt x="1080" y="2137"/>
                  </a:cubicBezTo>
                  <a:cubicBezTo>
                    <a:pt x="1343" y="2137"/>
                    <a:pt x="1611" y="2039"/>
                    <a:pt x="1829" y="1821"/>
                  </a:cubicBezTo>
                  <a:cubicBezTo>
                    <a:pt x="2502" y="1149"/>
                    <a:pt x="2028" y="0"/>
                    <a:pt x="108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0" name="Google Shape;3160;p66"/>
            <p:cNvSpPr/>
            <p:nvPr/>
          </p:nvSpPr>
          <p:spPr>
            <a:xfrm>
              <a:off x="5113350" y="2333125"/>
              <a:ext cx="62400" cy="53450"/>
            </a:xfrm>
            <a:custGeom>
              <a:avLst/>
              <a:gdLst/>
              <a:ahLst/>
              <a:cxnLst/>
              <a:rect l="l" t="t" r="r" b="b"/>
              <a:pathLst>
                <a:path w="2496" h="2138" extrusionOk="0">
                  <a:moveTo>
                    <a:pt x="1073" y="1"/>
                  </a:moveTo>
                  <a:cubicBezTo>
                    <a:pt x="480" y="1"/>
                    <a:pt x="0" y="480"/>
                    <a:pt x="0" y="1066"/>
                  </a:cubicBezTo>
                  <a:cubicBezTo>
                    <a:pt x="0" y="1709"/>
                    <a:pt x="525" y="2137"/>
                    <a:pt x="1074" y="2137"/>
                  </a:cubicBezTo>
                  <a:cubicBezTo>
                    <a:pt x="1336" y="2137"/>
                    <a:pt x="1603"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1" name="Google Shape;3161;p66"/>
            <p:cNvSpPr/>
            <p:nvPr/>
          </p:nvSpPr>
          <p:spPr>
            <a:xfrm>
              <a:off x="5113350" y="2409350"/>
              <a:ext cx="62400" cy="53350"/>
            </a:xfrm>
            <a:custGeom>
              <a:avLst/>
              <a:gdLst/>
              <a:ahLst/>
              <a:cxnLst/>
              <a:rect l="l" t="t" r="r" b="b"/>
              <a:pathLst>
                <a:path w="2496" h="2134" extrusionOk="0">
                  <a:moveTo>
                    <a:pt x="1073" y="0"/>
                  </a:moveTo>
                  <a:cubicBezTo>
                    <a:pt x="480" y="0"/>
                    <a:pt x="8"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2" name="Google Shape;3162;p66"/>
            <p:cNvSpPr/>
            <p:nvPr/>
          </p:nvSpPr>
          <p:spPr>
            <a:xfrm>
              <a:off x="5113350" y="2485550"/>
              <a:ext cx="62400" cy="53300"/>
            </a:xfrm>
            <a:custGeom>
              <a:avLst/>
              <a:gdLst/>
              <a:ahLst/>
              <a:cxnLst/>
              <a:rect l="l" t="t" r="r" b="b"/>
              <a:pathLst>
                <a:path w="2496" h="2132" extrusionOk="0">
                  <a:moveTo>
                    <a:pt x="1073" y="1"/>
                  </a:moveTo>
                  <a:cubicBezTo>
                    <a:pt x="480" y="1"/>
                    <a:pt x="0" y="472"/>
                    <a:pt x="0" y="1066"/>
                  </a:cubicBezTo>
                  <a:cubicBezTo>
                    <a:pt x="0" y="1708"/>
                    <a:pt x="526" y="2131"/>
                    <a:pt x="1073" y="2131"/>
                  </a:cubicBezTo>
                  <a:cubicBezTo>
                    <a:pt x="1336" y="2131"/>
                    <a:pt x="1604" y="2033"/>
                    <a:pt x="1821" y="1814"/>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3" name="Google Shape;3163;p66"/>
            <p:cNvSpPr/>
            <p:nvPr/>
          </p:nvSpPr>
          <p:spPr>
            <a:xfrm>
              <a:off x="473247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4" name="Google Shape;3164;p66"/>
            <p:cNvSpPr/>
            <p:nvPr/>
          </p:nvSpPr>
          <p:spPr>
            <a:xfrm>
              <a:off x="473247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5" name="Google Shape;3165;p66"/>
            <p:cNvSpPr/>
            <p:nvPr/>
          </p:nvSpPr>
          <p:spPr>
            <a:xfrm>
              <a:off x="4732475" y="164740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6" name="Google Shape;3166;p66"/>
            <p:cNvSpPr/>
            <p:nvPr/>
          </p:nvSpPr>
          <p:spPr>
            <a:xfrm>
              <a:off x="473247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7" name="Google Shape;3167;p66"/>
            <p:cNvSpPr/>
            <p:nvPr/>
          </p:nvSpPr>
          <p:spPr>
            <a:xfrm>
              <a:off x="473247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8" name="Google Shape;3168;p66"/>
            <p:cNvSpPr/>
            <p:nvPr/>
          </p:nvSpPr>
          <p:spPr>
            <a:xfrm>
              <a:off x="4732475" y="1876050"/>
              <a:ext cx="62425" cy="53350"/>
            </a:xfrm>
            <a:custGeom>
              <a:avLst/>
              <a:gdLst/>
              <a:ahLst/>
              <a:cxnLst/>
              <a:rect l="l" t="t" r="r" b="b"/>
              <a:pathLst>
                <a:path w="2497" h="2134" extrusionOk="0">
                  <a:moveTo>
                    <a:pt x="1074" y="1"/>
                  </a:moveTo>
                  <a:cubicBezTo>
                    <a:pt x="480" y="1"/>
                    <a:pt x="9" y="472"/>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69" name="Google Shape;3169;p66"/>
            <p:cNvSpPr/>
            <p:nvPr/>
          </p:nvSpPr>
          <p:spPr>
            <a:xfrm>
              <a:off x="4732475" y="1952050"/>
              <a:ext cx="62425" cy="53450"/>
            </a:xfrm>
            <a:custGeom>
              <a:avLst/>
              <a:gdLst/>
              <a:ahLst/>
              <a:cxnLst/>
              <a:rect l="l" t="t" r="r" b="b"/>
              <a:pathLst>
                <a:path w="2497" h="2138" extrusionOk="0">
                  <a:moveTo>
                    <a:pt x="1074" y="1"/>
                  </a:moveTo>
                  <a:cubicBezTo>
                    <a:pt x="480" y="9"/>
                    <a:pt x="9" y="481"/>
                    <a:pt x="1" y="1074"/>
                  </a:cubicBezTo>
                  <a:cubicBezTo>
                    <a:pt x="1" y="1712"/>
                    <a:pt x="525" y="2138"/>
                    <a:pt x="1073" y="2138"/>
                  </a:cubicBezTo>
                  <a:cubicBezTo>
                    <a:pt x="1335" y="2138"/>
                    <a:pt x="1603" y="2040"/>
                    <a:pt x="1822" y="1822"/>
                  </a:cubicBezTo>
                  <a:cubicBezTo>
                    <a:pt x="2496"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0" name="Google Shape;3170;p66"/>
            <p:cNvSpPr/>
            <p:nvPr/>
          </p:nvSpPr>
          <p:spPr>
            <a:xfrm>
              <a:off x="4732475" y="2028275"/>
              <a:ext cx="62425" cy="53450"/>
            </a:xfrm>
            <a:custGeom>
              <a:avLst/>
              <a:gdLst/>
              <a:ahLst/>
              <a:cxnLst/>
              <a:rect l="l" t="t" r="r" b="b"/>
              <a:pathLst>
                <a:path w="2497" h="2138" extrusionOk="0">
                  <a:moveTo>
                    <a:pt x="1074" y="1"/>
                  </a:moveTo>
                  <a:cubicBezTo>
                    <a:pt x="480" y="1"/>
                    <a:pt x="9" y="480"/>
                    <a:pt x="1" y="1065"/>
                  </a:cubicBezTo>
                  <a:cubicBezTo>
                    <a:pt x="1" y="1709"/>
                    <a:pt x="526" y="2137"/>
                    <a:pt x="1074" y="2137"/>
                  </a:cubicBezTo>
                  <a:cubicBezTo>
                    <a:pt x="1336" y="2137"/>
                    <a:pt x="1604" y="2040"/>
                    <a:pt x="1822" y="1821"/>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1" name="Google Shape;3171;p66"/>
            <p:cNvSpPr/>
            <p:nvPr/>
          </p:nvSpPr>
          <p:spPr>
            <a:xfrm>
              <a:off x="4732475" y="21045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2" name="Google Shape;3172;p66"/>
            <p:cNvSpPr/>
            <p:nvPr/>
          </p:nvSpPr>
          <p:spPr>
            <a:xfrm>
              <a:off x="4732475" y="2180700"/>
              <a:ext cx="62425" cy="53350"/>
            </a:xfrm>
            <a:custGeom>
              <a:avLst/>
              <a:gdLst/>
              <a:ahLst/>
              <a:cxnLst/>
              <a:rect l="l" t="t" r="r" b="b"/>
              <a:pathLst>
                <a:path w="2497" h="2134" extrusionOk="0">
                  <a:moveTo>
                    <a:pt x="1074" y="1"/>
                  </a:moveTo>
                  <a:cubicBezTo>
                    <a:pt x="480" y="1"/>
                    <a:pt x="9" y="480"/>
                    <a:pt x="1" y="1066"/>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3" name="Google Shape;3173;p66"/>
            <p:cNvSpPr/>
            <p:nvPr/>
          </p:nvSpPr>
          <p:spPr>
            <a:xfrm>
              <a:off x="4732475" y="2256925"/>
              <a:ext cx="62575" cy="53425"/>
            </a:xfrm>
            <a:custGeom>
              <a:avLst/>
              <a:gdLst/>
              <a:ahLst/>
              <a:cxnLst/>
              <a:rect l="l" t="t" r="r" b="b"/>
              <a:pathLst>
                <a:path w="2503" h="2137" extrusionOk="0">
                  <a:moveTo>
                    <a:pt x="1084" y="0"/>
                  </a:moveTo>
                  <a:cubicBezTo>
                    <a:pt x="1080" y="0"/>
                    <a:pt x="1077" y="0"/>
                    <a:pt x="1074" y="0"/>
                  </a:cubicBezTo>
                  <a:cubicBezTo>
                    <a:pt x="480" y="0"/>
                    <a:pt x="1" y="480"/>
                    <a:pt x="1" y="1065"/>
                  </a:cubicBezTo>
                  <a:cubicBezTo>
                    <a:pt x="1" y="1709"/>
                    <a:pt x="529" y="2137"/>
                    <a:pt x="1080"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4" name="Google Shape;3174;p66"/>
            <p:cNvSpPr/>
            <p:nvPr/>
          </p:nvSpPr>
          <p:spPr>
            <a:xfrm>
              <a:off x="4732475" y="2333125"/>
              <a:ext cx="62425" cy="53450"/>
            </a:xfrm>
            <a:custGeom>
              <a:avLst/>
              <a:gdLst/>
              <a:ahLst/>
              <a:cxnLst/>
              <a:rect l="l" t="t" r="r" b="b"/>
              <a:pathLst>
                <a:path w="2497" h="2138" extrusionOk="0">
                  <a:moveTo>
                    <a:pt x="1074" y="1"/>
                  </a:moveTo>
                  <a:cubicBezTo>
                    <a:pt x="480" y="1"/>
                    <a:pt x="1" y="480"/>
                    <a:pt x="1" y="1066"/>
                  </a:cubicBezTo>
                  <a:cubicBezTo>
                    <a:pt x="1" y="1709"/>
                    <a:pt x="526" y="2137"/>
                    <a:pt x="1074" y="2137"/>
                  </a:cubicBezTo>
                  <a:cubicBezTo>
                    <a:pt x="1336" y="2137"/>
                    <a:pt x="1604" y="2040"/>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5" name="Google Shape;3175;p66"/>
            <p:cNvSpPr/>
            <p:nvPr/>
          </p:nvSpPr>
          <p:spPr>
            <a:xfrm>
              <a:off x="4351600" y="2256925"/>
              <a:ext cx="62575" cy="53425"/>
            </a:xfrm>
            <a:custGeom>
              <a:avLst/>
              <a:gdLst/>
              <a:ahLst/>
              <a:cxnLst/>
              <a:rect l="l" t="t" r="r" b="b"/>
              <a:pathLst>
                <a:path w="2503" h="2137" extrusionOk="0">
                  <a:moveTo>
                    <a:pt x="1084" y="0"/>
                  </a:moveTo>
                  <a:cubicBezTo>
                    <a:pt x="1081" y="0"/>
                    <a:pt x="1077" y="0"/>
                    <a:pt x="1074" y="0"/>
                  </a:cubicBezTo>
                  <a:cubicBezTo>
                    <a:pt x="481" y="0"/>
                    <a:pt x="9"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6" name="Google Shape;3176;p66"/>
            <p:cNvSpPr/>
            <p:nvPr/>
          </p:nvSpPr>
          <p:spPr>
            <a:xfrm>
              <a:off x="4351600" y="2485550"/>
              <a:ext cx="62425" cy="53300"/>
            </a:xfrm>
            <a:custGeom>
              <a:avLst/>
              <a:gdLst/>
              <a:ahLst/>
              <a:cxnLst/>
              <a:rect l="l" t="t" r="r" b="b"/>
              <a:pathLst>
                <a:path w="2497" h="2132" extrusionOk="0">
                  <a:moveTo>
                    <a:pt x="1074" y="1"/>
                  </a:moveTo>
                  <a:cubicBezTo>
                    <a:pt x="481" y="1"/>
                    <a:pt x="9" y="472"/>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7" name="Google Shape;3177;p66"/>
            <p:cNvSpPr/>
            <p:nvPr/>
          </p:nvSpPr>
          <p:spPr>
            <a:xfrm>
              <a:off x="4351600" y="240935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8" name="Google Shape;3178;p66"/>
            <p:cNvSpPr/>
            <p:nvPr/>
          </p:nvSpPr>
          <p:spPr>
            <a:xfrm>
              <a:off x="4351600" y="2333125"/>
              <a:ext cx="62425" cy="53450"/>
            </a:xfrm>
            <a:custGeom>
              <a:avLst/>
              <a:gdLst/>
              <a:ahLst/>
              <a:cxnLst/>
              <a:rect l="l" t="t" r="r" b="b"/>
              <a:pathLst>
                <a:path w="2497" h="2138" extrusionOk="0">
                  <a:moveTo>
                    <a:pt x="1074" y="1"/>
                  </a:moveTo>
                  <a:cubicBezTo>
                    <a:pt x="481" y="1"/>
                    <a:pt x="9" y="480"/>
                    <a:pt x="1" y="1066"/>
                  </a:cubicBezTo>
                  <a:cubicBezTo>
                    <a:pt x="1" y="1709"/>
                    <a:pt x="530" y="2137"/>
                    <a:pt x="1078" y="2137"/>
                  </a:cubicBezTo>
                  <a:cubicBezTo>
                    <a:pt x="1340" y="2137"/>
                    <a:pt x="1607"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79" name="Google Shape;3179;p66"/>
            <p:cNvSpPr/>
            <p:nvPr/>
          </p:nvSpPr>
          <p:spPr>
            <a:xfrm>
              <a:off x="4427825" y="2256925"/>
              <a:ext cx="62575" cy="53425"/>
            </a:xfrm>
            <a:custGeom>
              <a:avLst/>
              <a:gdLst/>
              <a:ahLst/>
              <a:cxnLst/>
              <a:rect l="l" t="t" r="r" b="b"/>
              <a:pathLst>
                <a:path w="2503" h="2137" extrusionOk="0">
                  <a:moveTo>
                    <a:pt x="1076" y="0"/>
                  </a:moveTo>
                  <a:cubicBezTo>
                    <a:pt x="1072" y="0"/>
                    <a:pt x="1069" y="0"/>
                    <a:pt x="1065" y="0"/>
                  </a:cubicBezTo>
                  <a:cubicBezTo>
                    <a:pt x="480" y="0"/>
                    <a:pt x="1" y="480"/>
                    <a:pt x="1" y="1065"/>
                  </a:cubicBezTo>
                  <a:cubicBezTo>
                    <a:pt x="1" y="1709"/>
                    <a:pt x="529" y="2137"/>
                    <a:pt x="1080" y="2137"/>
                  </a:cubicBezTo>
                  <a:cubicBezTo>
                    <a:pt x="1343" y="2137"/>
                    <a:pt x="1612" y="2039"/>
                    <a:pt x="1830" y="1821"/>
                  </a:cubicBezTo>
                  <a:cubicBezTo>
                    <a:pt x="2502" y="1149"/>
                    <a:pt x="2028"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0" name="Google Shape;3180;p66"/>
            <p:cNvSpPr/>
            <p:nvPr/>
          </p:nvSpPr>
          <p:spPr>
            <a:xfrm>
              <a:off x="4427825" y="2333125"/>
              <a:ext cx="62425" cy="53450"/>
            </a:xfrm>
            <a:custGeom>
              <a:avLst/>
              <a:gdLst/>
              <a:ahLst/>
              <a:cxnLst/>
              <a:rect l="l" t="t" r="r" b="b"/>
              <a:pathLst>
                <a:path w="2497" h="2138" extrusionOk="0">
                  <a:moveTo>
                    <a:pt x="1065" y="1"/>
                  </a:moveTo>
                  <a:cubicBezTo>
                    <a:pt x="480" y="1"/>
                    <a:pt x="1"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1" name="Google Shape;3181;p66"/>
            <p:cNvSpPr/>
            <p:nvPr/>
          </p:nvSpPr>
          <p:spPr>
            <a:xfrm>
              <a:off x="45040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2" name="Google Shape;3182;p66"/>
            <p:cNvSpPr/>
            <p:nvPr/>
          </p:nvSpPr>
          <p:spPr>
            <a:xfrm>
              <a:off x="450405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3" name="Google Shape;3183;p66"/>
            <p:cNvSpPr/>
            <p:nvPr/>
          </p:nvSpPr>
          <p:spPr>
            <a:xfrm>
              <a:off x="4504050"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4" name="Google Shape;3184;p66"/>
            <p:cNvSpPr/>
            <p:nvPr/>
          </p:nvSpPr>
          <p:spPr>
            <a:xfrm>
              <a:off x="4504050"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5" name="Google Shape;3185;p66"/>
            <p:cNvSpPr/>
            <p:nvPr/>
          </p:nvSpPr>
          <p:spPr>
            <a:xfrm>
              <a:off x="4504050" y="1876050"/>
              <a:ext cx="62200" cy="53350"/>
            </a:xfrm>
            <a:custGeom>
              <a:avLst/>
              <a:gdLst/>
              <a:ahLst/>
              <a:cxnLst/>
              <a:rect l="l" t="t" r="r" b="b"/>
              <a:pathLst>
                <a:path w="2488" h="2134" extrusionOk="0">
                  <a:moveTo>
                    <a:pt x="1065" y="1"/>
                  </a:moveTo>
                  <a:cubicBezTo>
                    <a:pt x="480" y="1"/>
                    <a:pt x="0" y="472"/>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6" name="Google Shape;3186;p66"/>
            <p:cNvSpPr/>
            <p:nvPr/>
          </p:nvSpPr>
          <p:spPr>
            <a:xfrm>
              <a:off x="4504050"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7" name="Google Shape;3187;p66"/>
            <p:cNvSpPr/>
            <p:nvPr/>
          </p:nvSpPr>
          <p:spPr>
            <a:xfrm>
              <a:off x="4504050"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8" name="Google Shape;3188;p66"/>
            <p:cNvSpPr/>
            <p:nvPr/>
          </p:nvSpPr>
          <p:spPr>
            <a:xfrm>
              <a:off x="4504050"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89" name="Google Shape;3189;p66"/>
            <p:cNvSpPr/>
            <p:nvPr/>
          </p:nvSpPr>
          <p:spPr>
            <a:xfrm>
              <a:off x="4504050"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0" name="Google Shape;3190;p66"/>
            <p:cNvSpPr/>
            <p:nvPr/>
          </p:nvSpPr>
          <p:spPr>
            <a:xfrm>
              <a:off x="450405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1" name="Google Shape;3191;p66"/>
            <p:cNvSpPr/>
            <p:nvPr/>
          </p:nvSpPr>
          <p:spPr>
            <a:xfrm>
              <a:off x="450405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2" name="Google Shape;3192;p66"/>
            <p:cNvSpPr/>
            <p:nvPr/>
          </p:nvSpPr>
          <p:spPr>
            <a:xfrm>
              <a:off x="4504050"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3" name="Google Shape;3193;p66"/>
            <p:cNvSpPr/>
            <p:nvPr/>
          </p:nvSpPr>
          <p:spPr>
            <a:xfrm>
              <a:off x="458025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4" name="Google Shape;3194;p66"/>
            <p:cNvSpPr/>
            <p:nvPr/>
          </p:nvSpPr>
          <p:spPr>
            <a:xfrm>
              <a:off x="458025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5" name="Google Shape;3195;p66"/>
            <p:cNvSpPr/>
            <p:nvPr/>
          </p:nvSpPr>
          <p:spPr>
            <a:xfrm>
              <a:off x="458025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6" name="Google Shape;3196;p66"/>
            <p:cNvSpPr/>
            <p:nvPr/>
          </p:nvSpPr>
          <p:spPr>
            <a:xfrm>
              <a:off x="458025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7" name="Google Shape;3197;p66"/>
            <p:cNvSpPr/>
            <p:nvPr/>
          </p:nvSpPr>
          <p:spPr>
            <a:xfrm>
              <a:off x="4580250" y="1876050"/>
              <a:ext cx="62225" cy="53275"/>
            </a:xfrm>
            <a:custGeom>
              <a:avLst/>
              <a:gdLst/>
              <a:ahLst/>
              <a:cxnLst/>
              <a:rect l="l" t="t" r="r" b="b"/>
              <a:pathLst>
                <a:path w="2489" h="2131" extrusionOk="0">
                  <a:moveTo>
                    <a:pt x="1066" y="1"/>
                  </a:moveTo>
                  <a:cubicBezTo>
                    <a:pt x="480" y="1"/>
                    <a:pt x="1" y="472"/>
                    <a:pt x="1" y="1066"/>
                  </a:cubicBezTo>
                  <a:cubicBezTo>
                    <a:pt x="1" y="1707"/>
                    <a:pt x="523" y="2131"/>
                    <a:pt x="1070" y="2131"/>
                  </a:cubicBezTo>
                  <a:cubicBezTo>
                    <a:pt x="1333" y="2131"/>
                    <a:pt x="1602" y="2033"/>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8" name="Google Shape;3198;p66"/>
            <p:cNvSpPr/>
            <p:nvPr/>
          </p:nvSpPr>
          <p:spPr>
            <a:xfrm>
              <a:off x="458025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199" name="Google Shape;3199;p66"/>
            <p:cNvSpPr/>
            <p:nvPr/>
          </p:nvSpPr>
          <p:spPr>
            <a:xfrm>
              <a:off x="458025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0" name="Google Shape;3200;p66"/>
            <p:cNvSpPr/>
            <p:nvPr/>
          </p:nvSpPr>
          <p:spPr>
            <a:xfrm>
              <a:off x="458025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1" name="Google Shape;3201;p66"/>
            <p:cNvSpPr/>
            <p:nvPr/>
          </p:nvSpPr>
          <p:spPr>
            <a:xfrm>
              <a:off x="458025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2" name="Google Shape;3202;p66"/>
            <p:cNvSpPr/>
            <p:nvPr/>
          </p:nvSpPr>
          <p:spPr>
            <a:xfrm>
              <a:off x="4580250" y="2256925"/>
              <a:ext cx="62350" cy="53425"/>
            </a:xfrm>
            <a:custGeom>
              <a:avLst/>
              <a:gdLst/>
              <a:ahLst/>
              <a:cxnLst/>
              <a:rect l="l" t="t" r="r" b="b"/>
              <a:pathLst>
                <a:path w="2494" h="2137" extrusionOk="0">
                  <a:moveTo>
                    <a:pt x="1076" y="0"/>
                  </a:moveTo>
                  <a:cubicBezTo>
                    <a:pt x="1072" y="0"/>
                    <a:pt x="1069" y="0"/>
                    <a:pt x="1066" y="0"/>
                  </a:cubicBezTo>
                  <a:cubicBezTo>
                    <a:pt x="480" y="0"/>
                    <a:pt x="1" y="480"/>
                    <a:pt x="1" y="1065"/>
                  </a:cubicBezTo>
                  <a:cubicBezTo>
                    <a:pt x="1" y="1709"/>
                    <a:pt x="529"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3" name="Google Shape;3203;p66"/>
            <p:cNvSpPr/>
            <p:nvPr/>
          </p:nvSpPr>
          <p:spPr>
            <a:xfrm>
              <a:off x="458025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4" name="Google Shape;3204;p66"/>
            <p:cNvSpPr/>
            <p:nvPr/>
          </p:nvSpPr>
          <p:spPr>
            <a:xfrm>
              <a:off x="458025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5" name="Google Shape;3205;p66"/>
            <p:cNvSpPr/>
            <p:nvPr/>
          </p:nvSpPr>
          <p:spPr>
            <a:xfrm>
              <a:off x="465647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6" name="Google Shape;3206;p66"/>
            <p:cNvSpPr/>
            <p:nvPr/>
          </p:nvSpPr>
          <p:spPr>
            <a:xfrm>
              <a:off x="465647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7" name="Google Shape;3207;p66"/>
            <p:cNvSpPr/>
            <p:nvPr/>
          </p:nvSpPr>
          <p:spPr>
            <a:xfrm>
              <a:off x="4656475" y="172362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8" name="Google Shape;3208;p66"/>
            <p:cNvSpPr/>
            <p:nvPr/>
          </p:nvSpPr>
          <p:spPr>
            <a:xfrm>
              <a:off x="465647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09" name="Google Shape;3209;p66"/>
            <p:cNvSpPr/>
            <p:nvPr/>
          </p:nvSpPr>
          <p:spPr>
            <a:xfrm>
              <a:off x="465647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0" name="Google Shape;3210;p66"/>
            <p:cNvSpPr/>
            <p:nvPr/>
          </p:nvSpPr>
          <p:spPr>
            <a:xfrm>
              <a:off x="4656475" y="1952050"/>
              <a:ext cx="62200" cy="53450"/>
            </a:xfrm>
            <a:custGeom>
              <a:avLst/>
              <a:gdLst/>
              <a:ahLst/>
              <a:cxnLst/>
              <a:rect l="l" t="t" r="r" b="b"/>
              <a:pathLst>
                <a:path w="2488" h="2138" extrusionOk="0">
                  <a:moveTo>
                    <a:pt x="1065" y="1"/>
                  </a:moveTo>
                  <a:cubicBezTo>
                    <a:pt x="472" y="9"/>
                    <a:pt x="0" y="481"/>
                    <a:pt x="0" y="1074"/>
                  </a:cubicBezTo>
                  <a:cubicBezTo>
                    <a:pt x="0" y="1712"/>
                    <a:pt x="525"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1" name="Google Shape;3211;p66"/>
            <p:cNvSpPr/>
            <p:nvPr/>
          </p:nvSpPr>
          <p:spPr>
            <a:xfrm>
              <a:off x="4656475" y="2028275"/>
              <a:ext cx="62200" cy="53450"/>
            </a:xfrm>
            <a:custGeom>
              <a:avLst/>
              <a:gdLst/>
              <a:ahLst/>
              <a:cxnLst/>
              <a:rect l="l" t="t" r="r" b="b"/>
              <a:pathLst>
                <a:path w="2488" h="2138" extrusionOk="0">
                  <a:moveTo>
                    <a:pt x="1065" y="1"/>
                  </a:moveTo>
                  <a:cubicBezTo>
                    <a:pt x="472" y="1"/>
                    <a:pt x="0" y="480"/>
                    <a:pt x="0" y="1065"/>
                  </a:cubicBezTo>
                  <a:cubicBezTo>
                    <a:pt x="0" y="1709"/>
                    <a:pt x="525" y="2137"/>
                    <a:pt x="1071" y="2137"/>
                  </a:cubicBezTo>
                  <a:cubicBezTo>
                    <a:pt x="1332" y="2137"/>
                    <a:pt x="1598" y="2040"/>
                    <a:pt x="1813"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2" name="Google Shape;3212;p66"/>
            <p:cNvSpPr/>
            <p:nvPr/>
          </p:nvSpPr>
          <p:spPr>
            <a:xfrm>
              <a:off x="4656475" y="21045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3" name="Google Shape;3213;p66"/>
            <p:cNvSpPr/>
            <p:nvPr/>
          </p:nvSpPr>
          <p:spPr>
            <a:xfrm>
              <a:off x="4656475" y="2180700"/>
              <a:ext cx="62200" cy="53350"/>
            </a:xfrm>
            <a:custGeom>
              <a:avLst/>
              <a:gdLst/>
              <a:ahLst/>
              <a:cxnLst/>
              <a:rect l="l" t="t" r="r" b="b"/>
              <a:pathLst>
                <a:path w="2488" h="2134" extrusionOk="0">
                  <a:moveTo>
                    <a:pt x="1065" y="1"/>
                  </a:moveTo>
                  <a:cubicBezTo>
                    <a:pt x="472" y="1"/>
                    <a:pt x="0" y="480"/>
                    <a:pt x="0" y="1066"/>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4" name="Google Shape;3214;p66"/>
            <p:cNvSpPr/>
            <p:nvPr/>
          </p:nvSpPr>
          <p:spPr>
            <a:xfrm>
              <a:off x="465647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5"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5" name="Google Shape;3215;p66"/>
            <p:cNvSpPr/>
            <p:nvPr/>
          </p:nvSpPr>
          <p:spPr>
            <a:xfrm>
              <a:off x="4656475" y="2333125"/>
              <a:ext cx="62200" cy="53450"/>
            </a:xfrm>
            <a:custGeom>
              <a:avLst/>
              <a:gdLst/>
              <a:ahLst/>
              <a:cxnLst/>
              <a:rect l="l" t="t" r="r" b="b"/>
              <a:pathLst>
                <a:path w="2488" h="2138" extrusionOk="0">
                  <a:moveTo>
                    <a:pt x="1065" y="1"/>
                  </a:moveTo>
                  <a:cubicBezTo>
                    <a:pt x="472" y="1"/>
                    <a:pt x="0" y="480"/>
                    <a:pt x="0" y="1066"/>
                  </a:cubicBezTo>
                  <a:cubicBezTo>
                    <a:pt x="0" y="1709"/>
                    <a:pt x="525" y="2137"/>
                    <a:pt x="1071" y="2137"/>
                  </a:cubicBezTo>
                  <a:cubicBezTo>
                    <a:pt x="1332" y="2137"/>
                    <a:pt x="1598"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6" name="Google Shape;3216;p66"/>
            <p:cNvSpPr/>
            <p:nvPr/>
          </p:nvSpPr>
          <p:spPr>
            <a:xfrm>
              <a:off x="4656475" y="240935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7" name="Google Shape;3217;p66"/>
            <p:cNvSpPr/>
            <p:nvPr/>
          </p:nvSpPr>
          <p:spPr>
            <a:xfrm>
              <a:off x="4732475" y="2409350"/>
              <a:ext cx="62425" cy="53350"/>
            </a:xfrm>
            <a:custGeom>
              <a:avLst/>
              <a:gdLst/>
              <a:ahLst/>
              <a:cxnLst/>
              <a:rect l="l" t="t" r="r" b="b"/>
              <a:pathLst>
                <a:path w="2497" h="2134"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8" name="Google Shape;3218;p66"/>
            <p:cNvSpPr/>
            <p:nvPr/>
          </p:nvSpPr>
          <p:spPr>
            <a:xfrm>
              <a:off x="4732475" y="2485550"/>
              <a:ext cx="62425" cy="53300"/>
            </a:xfrm>
            <a:custGeom>
              <a:avLst/>
              <a:gdLst/>
              <a:ahLst/>
              <a:cxnLst/>
              <a:rect l="l" t="t" r="r" b="b"/>
              <a:pathLst>
                <a:path w="2497" h="2132" extrusionOk="0">
                  <a:moveTo>
                    <a:pt x="1074" y="1"/>
                  </a:moveTo>
                  <a:cubicBezTo>
                    <a:pt x="480" y="1"/>
                    <a:pt x="1" y="472"/>
                    <a:pt x="1" y="1066"/>
                  </a:cubicBezTo>
                  <a:cubicBezTo>
                    <a:pt x="1" y="1708"/>
                    <a:pt x="526" y="2131"/>
                    <a:pt x="1073" y="2131"/>
                  </a:cubicBezTo>
                  <a:cubicBezTo>
                    <a:pt x="1337" y="2131"/>
                    <a:pt x="1605" y="2033"/>
                    <a:pt x="1822" y="1814"/>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19" name="Google Shape;3219;p66"/>
            <p:cNvSpPr/>
            <p:nvPr/>
          </p:nvSpPr>
          <p:spPr>
            <a:xfrm>
              <a:off x="4808700" y="14952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0" name="Google Shape;3220;p66"/>
            <p:cNvSpPr/>
            <p:nvPr/>
          </p:nvSpPr>
          <p:spPr>
            <a:xfrm>
              <a:off x="4808700" y="1571400"/>
              <a:ext cx="62400" cy="53250"/>
            </a:xfrm>
            <a:custGeom>
              <a:avLst/>
              <a:gdLst/>
              <a:ahLst/>
              <a:cxnLst/>
              <a:rect l="l" t="t" r="r" b="b"/>
              <a:pathLst>
                <a:path w="2496"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1" name="Google Shape;3221;p66"/>
            <p:cNvSpPr/>
            <p:nvPr/>
          </p:nvSpPr>
          <p:spPr>
            <a:xfrm>
              <a:off x="4808700" y="1647400"/>
              <a:ext cx="62400" cy="53450"/>
            </a:xfrm>
            <a:custGeom>
              <a:avLst/>
              <a:gdLst/>
              <a:ahLst/>
              <a:cxnLst/>
              <a:rect l="l" t="t" r="r" b="b"/>
              <a:pathLst>
                <a:path w="2496" h="2138" extrusionOk="0">
                  <a:moveTo>
                    <a:pt x="1065" y="1"/>
                  </a:moveTo>
                  <a:cubicBezTo>
                    <a:pt x="480" y="9"/>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2" name="Google Shape;3222;p66"/>
            <p:cNvSpPr/>
            <p:nvPr/>
          </p:nvSpPr>
          <p:spPr>
            <a:xfrm>
              <a:off x="4808700" y="172362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3" name="Google Shape;3223;p66"/>
            <p:cNvSpPr/>
            <p:nvPr/>
          </p:nvSpPr>
          <p:spPr>
            <a:xfrm>
              <a:off x="4808700" y="17998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4" name="Google Shape;3224;p66"/>
            <p:cNvSpPr/>
            <p:nvPr/>
          </p:nvSpPr>
          <p:spPr>
            <a:xfrm>
              <a:off x="4808700" y="1876050"/>
              <a:ext cx="62400" cy="53275"/>
            </a:xfrm>
            <a:custGeom>
              <a:avLst/>
              <a:gdLst/>
              <a:ahLst/>
              <a:cxnLst/>
              <a:rect l="l" t="t" r="r" b="b"/>
              <a:pathLst>
                <a:path w="2496"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5" name="Google Shape;3225;p66"/>
            <p:cNvSpPr/>
            <p:nvPr/>
          </p:nvSpPr>
          <p:spPr>
            <a:xfrm>
              <a:off x="4808700" y="1952050"/>
              <a:ext cx="62400" cy="53450"/>
            </a:xfrm>
            <a:custGeom>
              <a:avLst/>
              <a:gdLst/>
              <a:ahLst/>
              <a:cxnLst/>
              <a:rect l="l" t="t" r="r" b="b"/>
              <a:pathLst>
                <a:path w="2496"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6" name="Google Shape;3226;p66"/>
            <p:cNvSpPr/>
            <p:nvPr/>
          </p:nvSpPr>
          <p:spPr>
            <a:xfrm>
              <a:off x="4808700" y="2028275"/>
              <a:ext cx="62400" cy="53450"/>
            </a:xfrm>
            <a:custGeom>
              <a:avLst/>
              <a:gdLst/>
              <a:ahLst/>
              <a:cxnLst/>
              <a:rect l="l" t="t" r="r" b="b"/>
              <a:pathLst>
                <a:path w="2496"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7" name="Google Shape;3227;p66"/>
            <p:cNvSpPr/>
            <p:nvPr/>
          </p:nvSpPr>
          <p:spPr>
            <a:xfrm>
              <a:off x="4808700" y="210450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8" name="Google Shape;3228;p66"/>
            <p:cNvSpPr/>
            <p:nvPr/>
          </p:nvSpPr>
          <p:spPr>
            <a:xfrm>
              <a:off x="4808700" y="2180700"/>
              <a:ext cx="62400" cy="53350"/>
            </a:xfrm>
            <a:custGeom>
              <a:avLst/>
              <a:gdLst/>
              <a:ahLst/>
              <a:cxnLst/>
              <a:rect l="l" t="t" r="r" b="b"/>
              <a:pathLst>
                <a:path w="2496" h="2134" extrusionOk="0">
                  <a:moveTo>
                    <a:pt x="1065" y="1"/>
                  </a:moveTo>
                  <a:cubicBezTo>
                    <a:pt x="480" y="1"/>
                    <a:pt x="0" y="480"/>
                    <a:pt x="0" y="1066"/>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29" name="Google Shape;3229;p66"/>
            <p:cNvSpPr/>
            <p:nvPr/>
          </p:nvSpPr>
          <p:spPr>
            <a:xfrm>
              <a:off x="4808700" y="2256925"/>
              <a:ext cx="62550" cy="53425"/>
            </a:xfrm>
            <a:custGeom>
              <a:avLst/>
              <a:gdLst/>
              <a:ahLst/>
              <a:cxnLst/>
              <a:rect l="l" t="t" r="r" b="b"/>
              <a:pathLst>
                <a:path w="2502"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0" name="Google Shape;3230;p66"/>
            <p:cNvSpPr/>
            <p:nvPr/>
          </p:nvSpPr>
          <p:spPr>
            <a:xfrm>
              <a:off x="4808700" y="2333125"/>
              <a:ext cx="62400" cy="53450"/>
            </a:xfrm>
            <a:custGeom>
              <a:avLst/>
              <a:gdLst/>
              <a:ahLst/>
              <a:cxnLst/>
              <a:rect l="l" t="t" r="r" b="b"/>
              <a:pathLst>
                <a:path w="2496"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1" name="Google Shape;3231;p66"/>
            <p:cNvSpPr/>
            <p:nvPr/>
          </p:nvSpPr>
          <p:spPr>
            <a:xfrm>
              <a:off x="4808700" y="2409350"/>
              <a:ext cx="62400" cy="53350"/>
            </a:xfrm>
            <a:custGeom>
              <a:avLst/>
              <a:gdLst/>
              <a:ahLst/>
              <a:cxnLst/>
              <a:rect l="l" t="t" r="r" b="b"/>
              <a:pathLst>
                <a:path w="2496" h="2134"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2" name="Google Shape;3232;p66"/>
            <p:cNvSpPr/>
            <p:nvPr/>
          </p:nvSpPr>
          <p:spPr>
            <a:xfrm>
              <a:off x="4808700" y="2485550"/>
              <a:ext cx="62400" cy="53300"/>
            </a:xfrm>
            <a:custGeom>
              <a:avLst/>
              <a:gdLst/>
              <a:ahLst/>
              <a:cxnLst/>
              <a:rect l="l" t="t" r="r" b="b"/>
              <a:pathLst>
                <a:path w="2496" h="2132" extrusionOk="0">
                  <a:moveTo>
                    <a:pt x="1065" y="1"/>
                  </a:moveTo>
                  <a:cubicBezTo>
                    <a:pt x="480" y="1"/>
                    <a:pt x="0" y="480"/>
                    <a:pt x="0" y="1066"/>
                  </a:cubicBezTo>
                  <a:cubicBezTo>
                    <a:pt x="0" y="1708"/>
                    <a:pt x="522" y="2131"/>
                    <a:pt x="1069" y="2131"/>
                  </a:cubicBezTo>
                  <a:cubicBezTo>
                    <a:pt x="1333" y="2131"/>
                    <a:pt x="1602" y="2033"/>
                    <a:pt x="1821" y="1814"/>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3" name="Google Shape;3233;p66"/>
            <p:cNvSpPr/>
            <p:nvPr/>
          </p:nvSpPr>
          <p:spPr>
            <a:xfrm>
              <a:off x="48849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4" name="Google Shape;3234;p66"/>
            <p:cNvSpPr/>
            <p:nvPr/>
          </p:nvSpPr>
          <p:spPr>
            <a:xfrm>
              <a:off x="4884900" y="1571400"/>
              <a:ext cx="62225" cy="53250"/>
            </a:xfrm>
            <a:custGeom>
              <a:avLst/>
              <a:gdLst/>
              <a:ahLst/>
              <a:cxnLst/>
              <a:rect l="l" t="t" r="r" b="b"/>
              <a:pathLst>
                <a:path w="2489" h="2130" extrusionOk="0">
                  <a:moveTo>
                    <a:pt x="1066" y="1"/>
                  </a:moveTo>
                  <a:cubicBezTo>
                    <a:pt x="480" y="1"/>
                    <a:pt x="1" y="472"/>
                    <a:pt x="1" y="1066"/>
                  </a:cubicBezTo>
                  <a:cubicBezTo>
                    <a:pt x="1" y="1703"/>
                    <a:pt x="525" y="2129"/>
                    <a:pt x="1073" y="2129"/>
                  </a:cubicBezTo>
                  <a:cubicBezTo>
                    <a:pt x="1336" y="2129"/>
                    <a:pt x="1603"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5" name="Google Shape;3235;p66"/>
            <p:cNvSpPr/>
            <p:nvPr/>
          </p:nvSpPr>
          <p:spPr>
            <a:xfrm>
              <a:off x="4884900" y="164740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6" name="Google Shape;3236;p66"/>
            <p:cNvSpPr/>
            <p:nvPr/>
          </p:nvSpPr>
          <p:spPr>
            <a:xfrm>
              <a:off x="48849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7" name="Google Shape;3237;p66"/>
            <p:cNvSpPr/>
            <p:nvPr/>
          </p:nvSpPr>
          <p:spPr>
            <a:xfrm>
              <a:off x="48849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8" name="Google Shape;3238;p66"/>
            <p:cNvSpPr/>
            <p:nvPr/>
          </p:nvSpPr>
          <p:spPr>
            <a:xfrm>
              <a:off x="4884900" y="1876050"/>
              <a:ext cx="62225" cy="53350"/>
            </a:xfrm>
            <a:custGeom>
              <a:avLst/>
              <a:gdLst/>
              <a:ahLst/>
              <a:cxnLst/>
              <a:rect l="l" t="t" r="r" b="b"/>
              <a:pathLst>
                <a:path w="2489" h="2134" extrusionOk="0">
                  <a:moveTo>
                    <a:pt x="1066" y="1"/>
                  </a:moveTo>
                  <a:cubicBezTo>
                    <a:pt x="480" y="1"/>
                    <a:pt x="1" y="472"/>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39" name="Google Shape;3239;p66"/>
            <p:cNvSpPr/>
            <p:nvPr/>
          </p:nvSpPr>
          <p:spPr>
            <a:xfrm>
              <a:off x="4884900" y="1952050"/>
              <a:ext cx="62225" cy="53450"/>
            </a:xfrm>
            <a:custGeom>
              <a:avLst/>
              <a:gdLst/>
              <a:ahLst/>
              <a:cxnLst/>
              <a:rect l="l" t="t" r="r" b="b"/>
              <a:pathLst>
                <a:path w="2489" h="2138" extrusionOk="0">
                  <a:moveTo>
                    <a:pt x="1066" y="1"/>
                  </a:moveTo>
                  <a:cubicBezTo>
                    <a:pt x="480" y="9"/>
                    <a:pt x="1" y="481"/>
                    <a:pt x="1" y="1074"/>
                  </a:cubicBezTo>
                  <a:cubicBezTo>
                    <a:pt x="1" y="1712"/>
                    <a:pt x="525" y="2138"/>
                    <a:pt x="1073" y="2138"/>
                  </a:cubicBezTo>
                  <a:cubicBezTo>
                    <a:pt x="1336" y="2138"/>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0" name="Google Shape;3240;p66"/>
            <p:cNvSpPr/>
            <p:nvPr/>
          </p:nvSpPr>
          <p:spPr>
            <a:xfrm>
              <a:off x="4884900" y="2028275"/>
              <a:ext cx="62225" cy="53450"/>
            </a:xfrm>
            <a:custGeom>
              <a:avLst/>
              <a:gdLst/>
              <a:ahLst/>
              <a:cxnLst/>
              <a:rect l="l" t="t" r="r" b="b"/>
              <a:pathLst>
                <a:path w="2489" h="2138" extrusionOk="0">
                  <a:moveTo>
                    <a:pt x="1066" y="1"/>
                  </a:moveTo>
                  <a:cubicBezTo>
                    <a:pt x="480" y="1"/>
                    <a:pt x="1" y="480"/>
                    <a:pt x="1" y="1065"/>
                  </a:cubicBezTo>
                  <a:cubicBezTo>
                    <a:pt x="1" y="1709"/>
                    <a:pt x="526" y="2137"/>
                    <a:pt x="1074" y="2137"/>
                  </a:cubicBezTo>
                  <a:cubicBezTo>
                    <a:pt x="1336"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1" name="Google Shape;3241;p66"/>
            <p:cNvSpPr/>
            <p:nvPr/>
          </p:nvSpPr>
          <p:spPr>
            <a:xfrm>
              <a:off x="48849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2" name="Google Shape;3242;p66"/>
            <p:cNvSpPr/>
            <p:nvPr/>
          </p:nvSpPr>
          <p:spPr>
            <a:xfrm>
              <a:off x="48849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3" name="Google Shape;3243;p66"/>
            <p:cNvSpPr/>
            <p:nvPr/>
          </p:nvSpPr>
          <p:spPr>
            <a:xfrm>
              <a:off x="48849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4" name="Google Shape;3244;p66"/>
            <p:cNvSpPr/>
            <p:nvPr/>
          </p:nvSpPr>
          <p:spPr>
            <a:xfrm>
              <a:off x="4884900" y="23331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5" name="Google Shape;3245;p66"/>
            <p:cNvSpPr/>
            <p:nvPr/>
          </p:nvSpPr>
          <p:spPr>
            <a:xfrm>
              <a:off x="48849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6" name="Google Shape;3246;p66"/>
            <p:cNvSpPr/>
            <p:nvPr/>
          </p:nvSpPr>
          <p:spPr>
            <a:xfrm>
              <a:off x="48849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7" name="Google Shape;3247;p66"/>
            <p:cNvSpPr/>
            <p:nvPr/>
          </p:nvSpPr>
          <p:spPr>
            <a:xfrm>
              <a:off x="4884900" y="2561575"/>
              <a:ext cx="62225" cy="53425"/>
            </a:xfrm>
            <a:custGeom>
              <a:avLst/>
              <a:gdLst/>
              <a:ahLst/>
              <a:cxnLst/>
              <a:rect l="l" t="t" r="r" b="b"/>
              <a:pathLst>
                <a:path w="2489" h="2137" extrusionOk="0">
                  <a:moveTo>
                    <a:pt x="1066" y="0"/>
                  </a:moveTo>
                  <a:cubicBezTo>
                    <a:pt x="480" y="8"/>
                    <a:pt x="1" y="480"/>
                    <a:pt x="1" y="1073"/>
                  </a:cubicBezTo>
                  <a:cubicBezTo>
                    <a:pt x="1" y="1711"/>
                    <a:pt x="525" y="2137"/>
                    <a:pt x="1073" y="2137"/>
                  </a:cubicBezTo>
                  <a:cubicBezTo>
                    <a:pt x="1336" y="2137"/>
                    <a:pt x="1603" y="2039"/>
                    <a:pt x="1822"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8" name="Google Shape;3248;p66"/>
            <p:cNvSpPr/>
            <p:nvPr/>
          </p:nvSpPr>
          <p:spPr>
            <a:xfrm>
              <a:off x="4961125"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49" name="Google Shape;3249;p66"/>
            <p:cNvSpPr/>
            <p:nvPr/>
          </p:nvSpPr>
          <p:spPr>
            <a:xfrm>
              <a:off x="4961125"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0" name="Google Shape;3250;p66"/>
            <p:cNvSpPr/>
            <p:nvPr/>
          </p:nvSpPr>
          <p:spPr>
            <a:xfrm>
              <a:off x="4961125" y="17236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1" name="Google Shape;3251;p66"/>
            <p:cNvSpPr/>
            <p:nvPr/>
          </p:nvSpPr>
          <p:spPr>
            <a:xfrm>
              <a:off x="4961125" y="179985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2" name="Google Shape;3252;p66"/>
            <p:cNvSpPr/>
            <p:nvPr/>
          </p:nvSpPr>
          <p:spPr>
            <a:xfrm>
              <a:off x="4961125" y="1876050"/>
              <a:ext cx="62200" cy="53275"/>
            </a:xfrm>
            <a:custGeom>
              <a:avLst/>
              <a:gdLst/>
              <a:ahLst/>
              <a:cxnLst/>
              <a:rect l="l" t="t" r="r" b="b"/>
              <a:pathLst>
                <a:path w="2488" h="2131" extrusionOk="0">
                  <a:moveTo>
                    <a:pt x="1065" y="1"/>
                  </a:moveTo>
                  <a:cubicBezTo>
                    <a:pt x="480" y="1"/>
                    <a:pt x="0" y="472"/>
                    <a:pt x="0" y="1066"/>
                  </a:cubicBezTo>
                  <a:cubicBezTo>
                    <a:pt x="0" y="1707"/>
                    <a:pt x="522" y="2131"/>
                    <a:pt x="1069" y="2131"/>
                  </a:cubicBezTo>
                  <a:cubicBezTo>
                    <a:pt x="1333" y="2131"/>
                    <a:pt x="1602" y="2033"/>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3" name="Google Shape;3253;p66"/>
            <p:cNvSpPr/>
            <p:nvPr/>
          </p:nvSpPr>
          <p:spPr>
            <a:xfrm>
              <a:off x="4961125" y="1952050"/>
              <a:ext cx="62200" cy="53450"/>
            </a:xfrm>
            <a:custGeom>
              <a:avLst/>
              <a:gdLst/>
              <a:ahLst/>
              <a:cxnLst/>
              <a:rect l="l" t="t" r="r" b="b"/>
              <a:pathLst>
                <a:path w="2488"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4" name="Google Shape;3254;p66"/>
            <p:cNvSpPr/>
            <p:nvPr/>
          </p:nvSpPr>
          <p:spPr>
            <a:xfrm>
              <a:off x="4961125" y="2028275"/>
              <a:ext cx="62200" cy="53450"/>
            </a:xfrm>
            <a:custGeom>
              <a:avLst/>
              <a:gdLst/>
              <a:ahLst/>
              <a:cxnLst/>
              <a:rect l="l" t="t" r="r" b="b"/>
              <a:pathLst>
                <a:path w="2488" h="2138" extrusionOk="0">
                  <a:moveTo>
                    <a:pt x="1065" y="1"/>
                  </a:moveTo>
                  <a:cubicBezTo>
                    <a:pt x="480" y="1"/>
                    <a:pt x="0" y="480"/>
                    <a:pt x="0" y="1065"/>
                  </a:cubicBezTo>
                  <a:cubicBezTo>
                    <a:pt x="0" y="1709"/>
                    <a:pt x="525" y="2137"/>
                    <a:pt x="1074" y="2137"/>
                  </a:cubicBezTo>
                  <a:cubicBezTo>
                    <a:pt x="1336" y="2137"/>
                    <a:pt x="1603" y="2040"/>
                    <a:pt x="1821"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5" name="Google Shape;3255;p66"/>
            <p:cNvSpPr/>
            <p:nvPr/>
          </p:nvSpPr>
          <p:spPr>
            <a:xfrm>
              <a:off x="4961125" y="21045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6" name="Google Shape;3256;p66"/>
            <p:cNvSpPr/>
            <p:nvPr/>
          </p:nvSpPr>
          <p:spPr>
            <a:xfrm>
              <a:off x="4961125" y="2180700"/>
              <a:ext cx="62200" cy="53350"/>
            </a:xfrm>
            <a:custGeom>
              <a:avLst/>
              <a:gdLst/>
              <a:ahLst/>
              <a:cxnLst/>
              <a:rect l="l" t="t" r="r" b="b"/>
              <a:pathLst>
                <a:path w="2488" h="2134" extrusionOk="0">
                  <a:moveTo>
                    <a:pt x="1065" y="1"/>
                  </a:moveTo>
                  <a:cubicBezTo>
                    <a:pt x="480" y="1"/>
                    <a:pt x="0" y="480"/>
                    <a:pt x="0" y="1066"/>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7" name="Google Shape;3257;p66"/>
            <p:cNvSpPr/>
            <p:nvPr/>
          </p:nvSpPr>
          <p:spPr>
            <a:xfrm>
              <a:off x="4961125" y="2256925"/>
              <a:ext cx="62350" cy="53425"/>
            </a:xfrm>
            <a:custGeom>
              <a:avLst/>
              <a:gdLst/>
              <a:ahLst/>
              <a:cxnLst/>
              <a:rect l="l" t="t" r="r" b="b"/>
              <a:pathLst>
                <a:path w="2494" h="2137" extrusionOk="0">
                  <a:moveTo>
                    <a:pt x="1075" y="0"/>
                  </a:moveTo>
                  <a:cubicBezTo>
                    <a:pt x="1072" y="0"/>
                    <a:pt x="1068" y="0"/>
                    <a:pt x="1065" y="0"/>
                  </a:cubicBezTo>
                  <a:cubicBezTo>
                    <a:pt x="472" y="0"/>
                    <a:pt x="0" y="480"/>
                    <a:pt x="0" y="1065"/>
                  </a:cubicBezTo>
                  <a:cubicBezTo>
                    <a:pt x="0" y="1709"/>
                    <a:pt x="529" y="2137"/>
                    <a:pt x="1078" y="2137"/>
                  </a:cubicBezTo>
                  <a:cubicBezTo>
                    <a:pt x="1339" y="2137"/>
                    <a:pt x="1606"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8" name="Google Shape;3258;p66"/>
            <p:cNvSpPr/>
            <p:nvPr/>
          </p:nvSpPr>
          <p:spPr>
            <a:xfrm>
              <a:off x="4961125"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59" name="Google Shape;3259;p66"/>
            <p:cNvSpPr/>
            <p:nvPr/>
          </p:nvSpPr>
          <p:spPr>
            <a:xfrm>
              <a:off x="4961125" y="240935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0" name="Google Shape;3260;p66"/>
            <p:cNvSpPr/>
            <p:nvPr/>
          </p:nvSpPr>
          <p:spPr>
            <a:xfrm>
              <a:off x="4961125" y="2485550"/>
              <a:ext cx="62200" cy="53300"/>
            </a:xfrm>
            <a:custGeom>
              <a:avLst/>
              <a:gdLst/>
              <a:ahLst/>
              <a:cxnLst/>
              <a:rect l="l" t="t" r="r" b="b"/>
              <a:pathLst>
                <a:path w="2488" h="2132" extrusionOk="0">
                  <a:moveTo>
                    <a:pt x="1065" y="1"/>
                  </a:moveTo>
                  <a:cubicBezTo>
                    <a:pt x="472"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1" name="Google Shape;3261;p66"/>
            <p:cNvSpPr/>
            <p:nvPr/>
          </p:nvSpPr>
          <p:spPr>
            <a:xfrm>
              <a:off x="4961125"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2" name="Google Shape;3262;p66"/>
            <p:cNvSpPr/>
            <p:nvPr/>
          </p:nvSpPr>
          <p:spPr>
            <a:xfrm>
              <a:off x="50373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3" name="Google Shape;3263;p66"/>
            <p:cNvSpPr/>
            <p:nvPr/>
          </p:nvSpPr>
          <p:spPr>
            <a:xfrm>
              <a:off x="503732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4" name="Google Shape;3264;p66"/>
            <p:cNvSpPr/>
            <p:nvPr/>
          </p:nvSpPr>
          <p:spPr>
            <a:xfrm>
              <a:off x="50373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5" name="Google Shape;3265;p66"/>
            <p:cNvSpPr/>
            <p:nvPr/>
          </p:nvSpPr>
          <p:spPr>
            <a:xfrm>
              <a:off x="50373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6" name="Google Shape;3266;p66"/>
            <p:cNvSpPr/>
            <p:nvPr/>
          </p:nvSpPr>
          <p:spPr>
            <a:xfrm>
              <a:off x="5037325"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30" y="2131"/>
                    <a:pt x="1597" y="2033"/>
                    <a:pt x="1814"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7" name="Google Shape;3267;p66"/>
            <p:cNvSpPr/>
            <p:nvPr/>
          </p:nvSpPr>
          <p:spPr>
            <a:xfrm>
              <a:off x="50373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8" y="1155"/>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8" name="Google Shape;3268;p66"/>
            <p:cNvSpPr/>
            <p:nvPr/>
          </p:nvSpPr>
          <p:spPr>
            <a:xfrm>
              <a:off x="50373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69" name="Google Shape;3269;p66"/>
            <p:cNvSpPr/>
            <p:nvPr/>
          </p:nvSpPr>
          <p:spPr>
            <a:xfrm>
              <a:off x="50373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0" name="Google Shape;3270;p66"/>
            <p:cNvSpPr/>
            <p:nvPr/>
          </p:nvSpPr>
          <p:spPr>
            <a:xfrm>
              <a:off x="50373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1" name="Google Shape;3271;p66"/>
            <p:cNvSpPr/>
            <p:nvPr/>
          </p:nvSpPr>
          <p:spPr>
            <a:xfrm>
              <a:off x="5037325" y="2256925"/>
              <a:ext cx="62375" cy="53425"/>
            </a:xfrm>
            <a:custGeom>
              <a:avLst/>
              <a:gdLst/>
              <a:ahLst/>
              <a:cxnLst/>
              <a:rect l="l" t="t" r="r" b="b"/>
              <a:pathLst>
                <a:path w="2495" h="2137" extrusionOk="0">
                  <a:moveTo>
                    <a:pt x="1076" y="0"/>
                  </a:moveTo>
                  <a:cubicBezTo>
                    <a:pt x="1072" y="0"/>
                    <a:pt x="1069" y="0"/>
                    <a:pt x="1066" y="0"/>
                  </a:cubicBezTo>
                  <a:cubicBezTo>
                    <a:pt x="472" y="0"/>
                    <a:pt x="1" y="480"/>
                    <a:pt x="1" y="1065"/>
                  </a:cubicBezTo>
                  <a:cubicBezTo>
                    <a:pt x="1" y="1709"/>
                    <a:pt x="526" y="2137"/>
                    <a:pt x="1075"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2" name="Google Shape;3272;p66"/>
            <p:cNvSpPr/>
            <p:nvPr/>
          </p:nvSpPr>
          <p:spPr>
            <a:xfrm>
              <a:off x="50373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3" name="Google Shape;3273;p66"/>
            <p:cNvSpPr/>
            <p:nvPr/>
          </p:nvSpPr>
          <p:spPr>
            <a:xfrm>
              <a:off x="50373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4" name="Google Shape;3274;p66"/>
            <p:cNvSpPr/>
            <p:nvPr/>
          </p:nvSpPr>
          <p:spPr>
            <a:xfrm>
              <a:off x="5037325" y="2485550"/>
              <a:ext cx="62225" cy="53300"/>
            </a:xfrm>
            <a:custGeom>
              <a:avLst/>
              <a:gdLst/>
              <a:ahLst/>
              <a:cxnLst/>
              <a:rect l="l" t="t" r="r" b="b"/>
              <a:pathLst>
                <a:path w="2489" h="2132" extrusionOk="0">
                  <a:moveTo>
                    <a:pt x="1066" y="1"/>
                  </a:moveTo>
                  <a:cubicBezTo>
                    <a:pt x="472" y="1"/>
                    <a:pt x="1" y="480"/>
                    <a:pt x="1" y="1066"/>
                  </a:cubicBezTo>
                  <a:cubicBezTo>
                    <a:pt x="1" y="1708"/>
                    <a:pt x="523" y="2131"/>
                    <a:pt x="1067" y="2131"/>
                  </a:cubicBezTo>
                  <a:cubicBezTo>
                    <a:pt x="1330" y="2131"/>
                    <a:pt x="1597" y="2033"/>
                    <a:pt x="1814" y="1814"/>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5" name="Google Shape;3275;p66"/>
            <p:cNvSpPr/>
            <p:nvPr/>
          </p:nvSpPr>
          <p:spPr>
            <a:xfrm>
              <a:off x="50373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8" y="1154"/>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6" name="Google Shape;3276;p66"/>
            <p:cNvSpPr/>
            <p:nvPr/>
          </p:nvSpPr>
          <p:spPr>
            <a:xfrm>
              <a:off x="5113350" y="2561575"/>
              <a:ext cx="62400" cy="53425"/>
            </a:xfrm>
            <a:custGeom>
              <a:avLst/>
              <a:gdLst/>
              <a:ahLst/>
              <a:cxnLst/>
              <a:rect l="l" t="t" r="r" b="b"/>
              <a:pathLst>
                <a:path w="2496" h="2137" extrusionOk="0">
                  <a:moveTo>
                    <a:pt x="1073" y="0"/>
                  </a:moveTo>
                  <a:cubicBezTo>
                    <a:pt x="480" y="8"/>
                    <a:pt x="8" y="480"/>
                    <a:pt x="0" y="1073"/>
                  </a:cubicBezTo>
                  <a:cubicBezTo>
                    <a:pt x="0" y="1711"/>
                    <a:pt x="525" y="2137"/>
                    <a:pt x="1073" y="2137"/>
                  </a:cubicBezTo>
                  <a:cubicBezTo>
                    <a:pt x="1335" y="2137"/>
                    <a:pt x="1603" y="2039"/>
                    <a:pt x="1821" y="1821"/>
                  </a:cubicBezTo>
                  <a:cubicBezTo>
                    <a:pt x="2496" y="1154"/>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7" name="Google Shape;3277;p66"/>
            <p:cNvSpPr/>
            <p:nvPr/>
          </p:nvSpPr>
          <p:spPr>
            <a:xfrm>
              <a:off x="5113350" y="2637775"/>
              <a:ext cx="62400" cy="53450"/>
            </a:xfrm>
            <a:custGeom>
              <a:avLst/>
              <a:gdLst/>
              <a:ahLst/>
              <a:cxnLst/>
              <a:rect l="l" t="t" r="r" b="b"/>
              <a:pathLst>
                <a:path w="2496" h="2138" extrusionOk="0">
                  <a:moveTo>
                    <a:pt x="1073" y="1"/>
                  </a:moveTo>
                  <a:cubicBezTo>
                    <a:pt x="480" y="1"/>
                    <a:pt x="0" y="480"/>
                    <a:pt x="0" y="1074"/>
                  </a:cubicBezTo>
                  <a:cubicBezTo>
                    <a:pt x="0" y="1712"/>
                    <a:pt x="528" y="2137"/>
                    <a:pt x="1076" y="2137"/>
                  </a:cubicBezTo>
                  <a:cubicBezTo>
                    <a:pt x="1339" y="2137"/>
                    <a:pt x="1605"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8" name="Google Shape;3278;p66"/>
            <p:cNvSpPr/>
            <p:nvPr/>
          </p:nvSpPr>
          <p:spPr>
            <a:xfrm>
              <a:off x="518955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79" name="Google Shape;3279;p66"/>
            <p:cNvSpPr/>
            <p:nvPr/>
          </p:nvSpPr>
          <p:spPr>
            <a:xfrm>
              <a:off x="5189550" y="1495200"/>
              <a:ext cx="62225" cy="53325"/>
            </a:xfrm>
            <a:custGeom>
              <a:avLst/>
              <a:gdLst/>
              <a:ahLst/>
              <a:cxnLst/>
              <a:rect l="l" t="t" r="r" b="b"/>
              <a:pathLst>
                <a:path w="2489" h="2133" extrusionOk="0">
                  <a:moveTo>
                    <a:pt x="1066" y="0"/>
                  </a:moveTo>
                  <a:cubicBezTo>
                    <a:pt x="480" y="0"/>
                    <a:pt x="1" y="472"/>
                    <a:pt x="1" y="1065"/>
                  </a:cubicBezTo>
                  <a:cubicBezTo>
                    <a:pt x="1" y="1709"/>
                    <a:pt x="522" y="2133"/>
                    <a:pt x="1069" y="2133"/>
                  </a:cubicBezTo>
                  <a:cubicBezTo>
                    <a:pt x="1329" y="2133"/>
                    <a:pt x="1596" y="2036"/>
                    <a:pt x="1814"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0" name="Google Shape;3280;p66"/>
            <p:cNvSpPr/>
            <p:nvPr/>
          </p:nvSpPr>
          <p:spPr>
            <a:xfrm>
              <a:off x="5189550" y="1571400"/>
              <a:ext cx="62225" cy="53300"/>
            </a:xfrm>
            <a:custGeom>
              <a:avLst/>
              <a:gdLst/>
              <a:ahLst/>
              <a:cxnLst/>
              <a:rect l="l" t="t" r="r" b="b"/>
              <a:pathLst>
                <a:path w="2489" h="2132" extrusionOk="0">
                  <a:moveTo>
                    <a:pt x="1051" y="0"/>
                  </a:moveTo>
                  <a:cubicBezTo>
                    <a:pt x="472" y="0"/>
                    <a:pt x="1" y="477"/>
                    <a:pt x="1" y="1066"/>
                  </a:cubicBezTo>
                  <a:cubicBezTo>
                    <a:pt x="1" y="1705"/>
                    <a:pt x="524" y="2132"/>
                    <a:pt x="1072" y="2132"/>
                  </a:cubicBezTo>
                  <a:cubicBezTo>
                    <a:pt x="1332" y="2132"/>
                    <a:pt x="1597" y="2036"/>
                    <a:pt x="1814" y="1822"/>
                  </a:cubicBezTo>
                  <a:cubicBezTo>
                    <a:pt x="2488" y="1147"/>
                    <a:pt x="2017" y="1"/>
                    <a:pt x="1066" y="1"/>
                  </a:cubicBezTo>
                  <a:cubicBezTo>
                    <a:pt x="1061" y="1"/>
                    <a:pt x="1056" y="0"/>
                    <a:pt x="105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1" name="Google Shape;3281;p66"/>
            <p:cNvSpPr/>
            <p:nvPr/>
          </p:nvSpPr>
          <p:spPr>
            <a:xfrm>
              <a:off x="5189550" y="1647400"/>
              <a:ext cx="62225" cy="53450"/>
            </a:xfrm>
            <a:custGeom>
              <a:avLst/>
              <a:gdLst/>
              <a:ahLst/>
              <a:cxnLst/>
              <a:rect l="l" t="t" r="r" b="b"/>
              <a:pathLst>
                <a:path w="2489" h="2138" extrusionOk="0">
                  <a:moveTo>
                    <a:pt x="1066" y="1"/>
                  </a:moveTo>
                  <a:cubicBezTo>
                    <a:pt x="480" y="1"/>
                    <a:pt x="1" y="481"/>
                    <a:pt x="1" y="1066"/>
                  </a:cubicBezTo>
                  <a:cubicBezTo>
                    <a:pt x="1" y="1710"/>
                    <a:pt x="522" y="2138"/>
                    <a:pt x="1068" y="2138"/>
                  </a:cubicBezTo>
                  <a:cubicBezTo>
                    <a:pt x="1329" y="2138"/>
                    <a:pt x="1596" y="2040"/>
                    <a:pt x="1814" y="1822"/>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2" name="Google Shape;3282;p66"/>
            <p:cNvSpPr/>
            <p:nvPr/>
          </p:nvSpPr>
          <p:spPr>
            <a:xfrm>
              <a:off x="5189550" y="172362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2"/>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3" name="Google Shape;3283;p66"/>
            <p:cNvSpPr/>
            <p:nvPr/>
          </p:nvSpPr>
          <p:spPr>
            <a:xfrm>
              <a:off x="5189550" y="1799850"/>
              <a:ext cx="62225" cy="53325"/>
            </a:xfrm>
            <a:custGeom>
              <a:avLst/>
              <a:gdLst/>
              <a:ahLst/>
              <a:cxnLst/>
              <a:rect l="l" t="t" r="r" b="b"/>
              <a:pathLst>
                <a:path w="2489" h="2133"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4" name="Google Shape;3284;p66"/>
            <p:cNvSpPr/>
            <p:nvPr/>
          </p:nvSpPr>
          <p:spPr>
            <a:xfrm>
              <a:off x="5189550" y="1876050"/>
              <a:ext cx="62225" cy="53300"/>
            </a:xfrm>
            <a:custGeom>
              <a:avLst/>
              <a:gdLst/>
              <a:ahLst/>
              <a:cxnLst/>
              <a:rect l="l" t="t" r="r" b="b"/>
              <a:pathLst>
                <a:path w="2489" h="2132" extrusionOk="0">
                  <a:moveTo>
                    <a:pt x="1066" y="1"/>
                  </a:moveTo>
                  <a:cubicBezTo>
                    <a:pt x="480" y="1"/>
                    <a:pt x="1" y="472"/>
                    <a:pt x="1" y="1066"/>
                  </a:cubicBezTo>
                  <a:cubicBezTo>
                    <a:pt x="1" y="1705"/>
                    <a:pt x="524"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5" name="Google Shape;3285;p66"/>
            <p:cNvSpPr/>
            <p:nvPr/>
          </p:nvSpPr>
          <p:spPr>
            <a:xfrm>
              <a:off x="5189550" y="1952050"/>
              <a:ext cx="62225" cy="53450"/>
            </a:xfrm>
            <a:custGeom>
              <a:avLst/>
              <a:gdLst/>
              <a:ahLst/>
              <a:cxnLst/>
              <a:rect l="l" t="t" r="r" b="b"/>
              <a:pathLst>
                <a:path w="2489" h="2138" extrusionOk="0">
                  <a:moveTo>
                    <a:pt x="1066" y="1"/>
                  </a:moveTo>
                  <a:cubicBezTo>
                    <a:pt x="480" y="1"/>
                    <a:pt x="1" y="481"/>
                    <a:pt x="1" y="1074"/>
                  </a:cubicBezTo>
                  <a:cubicBezTo>
                    <a:pt x="1" y="1712"/>
                    <a:pt x="525" y="2138"/>
                    <a:pt x="1071" y="2138"/>
                  </a:cubicBezTo>
                  <a:cubicBezTo>
                    <a:pt x="1332" y="2138"/>
                    <a:pt x="1598" y="2040"/>
                    <a:pt x="1814" y="1822"/>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6" name="Google Shape;3286;p66"/>
            <p:cNvSpPr/>
            <p:nvPr/>
          </p:nvSpPr>
          <p:spPr>
            <a:xfrm>
              <a:off x="5189550" y="20282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4" y="1821"/>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7" name="Google Shape;3287;p66"/>
            <p:cNvSpPr/>
            <p:nvPr/>
          </p:nvSpPr>
          <p:spPr>
            <a:xfrm>
              <a:off x="5189550" y="2104500"/>
              <a:ext cx="62225" cy="53325"/>
            </a:xfrm>
            <a:custGeom>
              <a:avLst/>
              <a:gdLst/>
              <a:ahLst/>
              <a:cxnLst/>
              <a:rect l="l" t="t" r="r" b="b"/>
              <a:pathLst>
                <a:path w="2489" h="2133" extrusionOk="0">
                  <a:moveTo>
                    <a:pt x="1066" y="0"/>
                  </a:moveTo>
                  <a:cubicBezTo>
                    <a:pt x="480" y="0"/>
                    <a:pt x="1" y="480"/>
                    <a:pt x="1" y="1065"/>
                  </a:cubicBezTo>
                  <a:cubicBezTo>
                    <a:pt x="1" y="1709"/>
                    <a:pt x="522" y="2133"/>
                    <a:pt x="1069" y="2133"/>
                  </a:cubicBezTo>
                  <a:cubicBezTo>
                    <a:pt x="1329" y="2133"/>
                    <a:pt x="1596" y="2036"/>
                    <a:pt x="1814" y="1821"/>
                  </a:cubicBezTo>
                  <a:cubicBezTo>
                    <a:pt x="2488" y="1154"/>
                    <a:pt x="2017" y="8"/>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8" name="Google Shape;3288;p66"/>
            <p:cNvSpPr/>
            <p:nvPr/>
          </p:nvSpPr>
          <p:spPr>
            <a:xfrm>
              <a:off x="5189550" y="2180700"/>
              <a:ext cx="62225" cy="53350"/>
            </a:xfrm>
            <a:custGeom>
              <a:avLst/>
              <a:gdLst/>
              <a:ahLst/>
              <a:cxnLst/>
              <a:rect l="l" t="t" r="r" b="b"/>
              <a:pathLst>
                <a:path w="2489" h="2134" extrusionOk="0">
                  <a:moveTo>
                    <a:pt x="1066" y="1"/>
                  </a:moveTo>
                  <a:cubicBezTo>
                    <a:pt x="480" y="1"/>
                    <a:pt x="1" y="472"/>
                    <a:pt x="1" y="1066"/>
                  </a:cubicBezTo>
                  <a:cubicBezTo>
                    <a:pt x="1" y="1709"/>
                    <a:pt x="522" y="2133"/>
                    <a:pt x="1069" y="2133"/>
                  </a:cubicBezTo>
                  <a:cubicBezTo>
                    <a:pt x="1329" y="2133"/>
                    <a:pt x="1596" y="2037"/>
                    <a:pt x="1814"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89" name="Google Shape;3289;p66"/>
            <p:cNvSpPr/>
            <p:nvPr/>
          </p:nvSpPr>
          <p:spPr>
            <a:xfrm>
              <a:off x="5189550" y="2256925"/>
              <a:ext cx="62425" cy="53425"/>
            </a:xfrm>
            <a:custGeom>
              <a:avLst/>
              <a:gdLst/>
              <a:ahLst/>
              <a:cxnLst/>
              <a:rect l="l" t="t" r="r" b="b"/>
              <a:pathLst>
                <a:path w="2497" h="2137" extrusionOk="0">
                  <a:moveTo>
                    <a:pt x="1066" y="0"/>
                  </a:moveTo>
                  <a:cubicBezTo>
                    <a:pt x="480" y="0"/>
                    <a:pt x="1" y="472"/>
                    <a:pt x="1" y="1065"/>
                  </a:cubicBezTo>
                  <a:cubicBezTo>
                    <a:pt x="1" y="1709"/>
                    <a:pt x="526" y="2137"/>
                    <a:pt x="1074" y="2137"/>
                  </a:cubicBezTo>
                  <a:cubicBezTo>
                    <a:pt x="1336" y="2137"/>
                    <a:pt x="1604" y="2039"/>
                    <a:pt x="1822"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0" name="Google Shape;3290;p66"/>
            <p:cNvSpPr/>
            <p:nvPr/>
          </p:nvSpPr>
          <p:spPr>
            <a:xfrm>
              <a:off x="5189550" y="2333125"/>
              <a:ext cx="62225" cy="53350"/>
            </a:xfrm>
            <a:custGeom>
              <a:avLst/>
              <a:gdLst/>
              <a:ahLst/>
              <a:cxnLst/>
              <a:rect l="l" t="t" r="r" b="b"/>
              <a:pathLst>
                <a:path w="2489" h="2134" extrusionOk="0">
                  <a:moveTo>
                    <a:pt x="1066" y="1"/>
                  </a:moveTo>
                  <a:cubicBezTo>
                    <a:pt x="480" y="1"/>
                    <a:pt x="1" y="480"/>
                    <a:pt x="1" y="1066"/>
                  </a:cubicBezTo>
                  <a:cubicBezTo>
                    <a:pt x="1" y="1709"/>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1" name="Google Shape;3291;p66"/>
            <p:cNvSpPr/>
            <p:nvPr/>
          </p:nvSpPr>
          <p:spPr>
            <a:xfrm>
              <a:off x="5189550" y="2409350"/>
              <a:ext cx="62225" cy="53350"/>
            </a:xfrm>
            <a:custGeom>
              <a:avLst/>
              <a:gdLst/>
              <a:ahLst/>
              <a:cxnLst/>
              <a:rect l="l" t="t" r="r" b="b"/>
              <a:pathLst>
                <a:path w="2489" h="2134" extrusionOk="0">
                  <a:moveTo>
                    <a:pt x="1066" y="0"/>
                  </a:moveTo>
                  <a:cubicBezTo>
                    <a:pt x="480" y="0"/>
                    <a:pt x="1" y="472"/>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2" name="Google Shape;3292;p66"/>
            <p:cNvSpPr/>
            <p:nvPr/>
          </p:nvSpPr>
          <p:spPr>
            <a:xfrm>
              <a:off x="5189550" y="2485550"/>
              <a:ext cx="62425" cy="53300"/>
            </a:xfrm>
            <a:custGeom>
              <a:avLst/>
              <a:gdLst/>
              <a:ahLst/>
              <a:cxnLst/>
              <a:rect l="l" t="t" r="r" b="b"/>
              <a:pathLst>
                <a:path w="2497" h="2132" extrusionOk="0">
                  <a:moveTo>
                    <a:pt x="1066" y="1"/>
                  </a:moveTo>
                  <a:cubicBezTo>
                    <a:pt x="480" y="1"/>
                    <a:pt x="1" y="480"/>
                    <a:pt x="1" y="1066"/>
                  </a:cubicBezTo>
                  <a:cubicBezTo>
                    <a:pt x="1" y="1708"/>
                    <a:pt x="523" y="2131"/>
                    <a:pt x="1070" y="2131"/>
                  </a:cubicBezTo>
                  <a:cubicBezTo>
                    <a:pt x="1333" y="2131"/>
                    <a:pt x="1602" y="2033"/>
                    <a:pt x="1822" y="1814"/>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3" name="Google Shape;3293;p66"/>
            <p:cNvSpPr/>
            <p:nvPr/>
          </p:nvSpPr>
          <p:spPr>
            <a:xfrm>
              <a:off x="5189550" y="2561575"/>
              <a:ext cx="62225" cy="53425"/>
            </a:xfrm>
            <a:custGeom>
              <a:avLst/>
              <a:gdLst/>
              <a:ahLst/>
              <a:cxnLst/>
              <a:rect l="l" t="t" r="r" b="b"/>
              <a:pathLst>
                <a:path w="2489" h="2137" extrusionOk="0">
                  <a:moveTo>
                    <a:pt x="1066" y="0"/>
                  </a:moveTo>
                  <a:cubicBezTo>
                    <a:pt x="480" y="0"/>
                    <a:pt x="1" y="480"/>
                    <a:pt x="1" y="1073"/>
                  </a:cubicBezTo>
                  <a:cubicBezTo>
                    <a:pt x="1" y="1711"/>
                    <a:pt x="521" y="2137"/>
                    <a:pt x="1067" y="2137"/>
                  </a:cubicBezTo>
                  <a:cubicBezTo>
                    <a:pt x="1328" y="2137"/>
                    <a:pt x="1595" y="2039"/>
                    <a:pt x="1814" y="1821"/>
                  </a:cubicBezTo>
                  <a:cubicBezTo>
                    <a:pt x="2488" y="1154"/>
                    <a:pt x="2017" y="8"/>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4" name="Google Shape;3294;p66"/>
            <p:cNvSpPr/>
            <p:nvPr/>
          </p:nvSpPr>
          <p:spPr>
            <a:xfrm>
              <a:off x="5189550" y="2714000"/>
              <a:ext cx="62225" cy="53350"/>
            </a:xfrm>
            <a:custGeom>
              <a:avLst/>
              <a:gdLst/>
              <a:ahLst/>
              <a:cxnLst/>
              <a:rect l="l" t="t" r="r" b="b"/>
              <a:pathLst>
                <a:path w="2489" h="2134" extrusionOk="0">
                  <a:moveTo>
                    <a:pt x="1066" y="0"/>
                  </a:moveTo>
                  <a:cubicBezTo>
                    <a:pt x="480" y="0"/>
                    <a:pt x="1" y="480"/>
                    <a:pt x="1" y="1065"/>
                  </a:cubicBezTo>
                  <a:cubicBezTo>
                    <a:pt x="1" y="1709"/>
                    <a:pt x="522" y="2133"/>
                    <a:pt x="1069" y="2133"/>
                  </a:cubicBezTo>
                  <a:cubicBezTo>
                    <a:pt x="1329" y="2133"/>
                    <a:pt x="1596" y="2036"/>
                    <a:pt x="1814" y="1821"/>
                  </a:cubicBezTo>
                  <a:cubicBezTo>
                    <a:pt x="2488" y="1155"/>
                    <a:pt x="2017" y="8"/>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5" name="Google Shape;3295;p66"/>
            <p:cNvSpPr/>
            <p:nvPr/>
          </p:nvSpPr>
          <p:spPr>
            <a:xfrm>
              <a:off x="5189550" y="2637775"/>
              <a:ext cx="62425" cy="53450"/>
            </a:xfrm>
            <a:custGeom>
              <a:avLst/>
              <a:gdLst/>
              <a:ahLst/>
              <a:cxnLst/>
              <a:rect l="l" t="t" r="r" b="b"/>
              <a:pathLst>
                <a:path w="2497" h="2138" extrusionOk="0">
                  <a:moveTo>
                    <a:pt x="1066" y="1"/>
                  </a:moveTo>
                  <a:cubicBezTo>
                    <a:pt x="480" y="9"/>
                    <a:pt x="1" y="480"/>
                    <a:pt x="1" y="1074"/>
                  </a:cubicBezTo>
                  <a:cubicBezTo>
                    <a:pt x="1" y="1712"/>
                    <a:pt x="525" y="2137"/>
                    <a:pt x="1073" y="2137"/>
                  </a:cubicBezTo>
                  <a:cubicBezTo>
                    <a:pt x="1336" y="2137"/>
                    <a:pt x="1603" y="2040"/>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6" name="Google Shape;3296;p66"/>
            <p:cNvSpPr/>
            <p:nvPr/>
          </p:nvSpPr>
          <p:spPr>
            <a:xfrm>
              <a:off x="5265775" y="1342750"/>
              <a:ext cx="62200" cy="53350"/>
            </a:xfrm>
            <a:custGeom>
              <a:avLst/>
              <a:gdLst/>
              <a:ahLst/>
              <a:cxnLst/>
              <a:rect l="l" t="t" r="r" b="b"/>
              <a:pathLst>
                <a:path w="2488" h="2134" extrusionOk="0">
                  <a:moveTo>
                    <a:pt x="1065" y="1"/>
                  </a:moveTo>
                  <a:cubicBezTo>
                    <a:pt x="480" y="1"/>
                    <a:pt x="0" y="481"/>
                    <a:pt x="0" y="1066"/>
                  </a:cubicBezTo>
                  <a:cubicBezTo>
                    <a:pt x="0" y="1710"/>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7" name="Google Shape;3297;p66"/>
            <p:cNvSpPr/>
            <p:nvPr/>
          </p:nvSpPr>
          <p:spPr>
            <a:xfrm>
              <a:off x="5265775" y="14189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8" name="Google Shape;3298;p66"/>
            <p:cNvSpPr/>
            <p:nvPr/>
          </p:nvSpPr>
          <p:spPr>
            <a:xfrm>
              <a:off x="5265775" y="149520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299" name="Google Shape;3299;p66"/>
            <p:cNvSpPr/>
            <p:nvPr/>
          </p:nvSpPr>
          <p:spPr>
            <a:xfrm>
              <a:off x="5265775" y="1571400"/>
              <a:ext cx="62200" cy="53300"/>
            </a:xfrm>
            <a:custGeom>
              <a:avLst/>
              <a:gdLst/>
              <a:ahLst/>
              <a:cxnLst/>
              <a:rect l="l" t="t" r="r" b="b"/>
              <a:pathLst>
                <a:path w="2488" h="2132" extrusionOk="0">
                  <a:moveTo>
                    <a:pt x="1051" y="0"/>
                  </a:moveTo>
                  <a:cubicBezTo>
                    <a:pt x="472" y="0"/>
                    <a:pt x="0" y="477"/>
                    <a:pt x="0" y="1066"/>
                  </a:cubicBezTo>
                  <a:cubicBezTo>
                    <a:pt x="0" y="1705"/>
                    <a:pt x="524" y="2132"/>
                    <a:pt x="1072" y="2132"/>
                  </a:cubicBezTo>
                  <a:cubicBezTo>
                    <a:pt x="1331" y="2132"/>
                    <a:pt x="1596" y="2036"/>
                    <a:pt x="1813" y="1822"/>
                  </a:cubicBezTo>
                  <a:cubicBezTo>
                    <a:pt x="2488" y="1147"/>
                    <a:pt x="2016" y="1"/>
                    <a:pt x="1065" y="1"/>
                  </a:cubicBezTo>
                  <a:cubicBezTo>
                    <a:pt x="1060" y="1"/>
                    <a:pt x="1055" y="0"/>
                    <a:pt x="105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0" name="Google Shape;3300;p66"/>
            <p:cNvSpPr/>
            <p:nvPr/>
          </p:nvSpPr>
          <p:spPr>
            <a:xfrm>
              <a:off x="5265775" y="1647400"/>
              <a:ext cx="62200" cy="53450"/>
            </a:xfrm>
            <a:custGeom>
              <a:avLst/>
              <a:gdLst/>
              <a:ahLst/>
              <a:cxnLst/>
              <a:rect l="l" t="t" r="r" b="b"/>
              <a:pathLst>
                <a:path w="2488" h="2138" extrusionOk="0">
                  <a:moveTo>
                    <a:pt x="1065" y="1"/>
                  </a:moveTo>
                  <a:cubicBezTo>
                    <a:pt x="480" y="1"/>
                    <a:pt x="0" y="481"/>
                    <a:pt x="0" y="1066"/>
                  </a:cubicBezTo>
                  <a:cubicBezTo>
                    <a:pt x="0" y="1710"/>
                    <a:pt x="522" y="2138"/>
                    <a:pt x="1068" y="2138"/>
                  </a:cubicBezTo>
                  <a:cubicBezTo>
                    <a:pt x="1329" y="2138"/>
                    <a:pt x="1595" y="2040"/>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1" name="Google Shape;3301;p66"/>
            <p:cNvSpPr/>
            <p:nvPr/>
          </p:nvSpPr>
          <p:spPr>
            <a:xfrm>
              <a:off x="5265775" y="172362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2" name="Google Shape;3302;p66"/>
            <p:cNvSpPr/>
            <p:nvPr/>
          </p:nvSpPr>
          <p:spPr>
            <a:xfrm>
              <a:off x="5265775" y="1799850"/>
              <a:ext cx="62200" cy="53325"/>
            </a:xfrm>
            <a:custGeom>
              <a:avLst/>
              <a:gdLst/>
              <a:ahLst/>
              <a:cxnLst/>
              <a:rect l="l" t="t" r="r" b="b"/>
              <a:pathLst>
                <a:path w="2488" h="2133" extrusionOk="0">
                  <a:moveTo>
                    <a:pt x="1065" y="0"/>
                  </a:moveTo>
                  <a:cubicBezTo>
                    <a:pt x="480" y="0"/>
                    <a:pt x="0" y="472"/>
                    <a:pt x="0" y="1065"/>
                  </a:cubicBezTo>
                  <a:cubicBezTo>
                    <a:pt x="0" y="1709"/>
                    <a:pt x="522" y="2133"/>
                    <a:pt x="1068" y="2133"/>
                  </a:cubicBezTo>
                  <a:cubicBezTo>
                    <a:pt x="1329" y="2133"/>
                    <a:pt x="1595" y="2036"/>
                    <a:pt x="1813"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3" name="Google Shape;3303;p66"/>
            <p:cNvSpPr/>
            <p:nvPr/>
          </p:nvSpPr>
          <p:spPr>
            <a:xfrm>
              <a:off x="5265775" y="1876050"/>
              <a:ext cx="62200" cy="53300"/>
            </a:xfrm>
            <a:custGeom>
              <a:avLst/>
              <a:gdLst/>
              <a:ahLst/>
              <a:cxnLst/>
              <a:rect l="l" t="t" r="r" b="b"/>
              <a:pathLst>
                <a:path w="2488" h="2132" extrusionOk="0">
                  <a:moveTo>
                    <a:pt x="1065" y="1"/>
                  </a:moveTo>
                  <a:cubicBezTo>
                    <a:pt x="480" y="1"/>
                    <a:pt x="0" y="472"/>
                    <a:pt x="0" y="1066"/>
                  </a:cubicBezTo>
                  <a:cubicBezTo>
                    <a:pt x="0" y="1705"/>
                    <a:pt x="524" y="2132"/>
                    <a:pt x="1072" y="2132"/>
                  </a:cubicBezTo>
                  <a:cubicBezTo>
                    <a:pt x="1331" y="2132"/>
                    <a:pt x="1596" y="2036"/>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4" name="Google Shape;3304;p66"/>
            <p:cNvSpPr/>
            <p:nvPr/>
          </p:nvSpPr>
          <p:spPr>
            <a:xfrm>
              <a:off x="5265775" y="1952050"/>
              <a:ext cx="62200" cy="53450"/>
            </a:xfrm>
            <a:custGeom>
              <a:avLst/>
              <a:gdLst/>
              <a:ahLst/>
              <a:cxnLst/>
              <a:rect l="l" t="t" r="r" b="b"/>
              <a:pathLst>
                <a:path w="2488" h="2138" extrusionOk="0">
                  <a:moveTo>
                    <a:pt x="1065" y="1"/>
                  </a:moveTo>
                  <a:cubicBezTo>
                    <a:pt x="480" y="1"/>
                    <a:pt x="0" y="481"/>
                    <a:pt x="0" y="1074"/>
                  </a:cubicBezTo>
                  <a:cubicBezTo>
                    <a:pt x="0" y="1712"/>
                    <a:pt x="521" y="2138"/>
                    <a:pt x="1067" y="2138"/>
                  </a:cubicBezTo>
                  <a:cubicBezTo>
                    <a:pt x="1328" y="2138"/>
                    <a:pt x="1595" y="2040"/>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5" name="Google Shape;3305;p66"/>
            <p:cNvSpPr/>
            <p:nvPr/>
          </p:nvSpPr>
          <p:spPr>
            <a:xfrm>
              <a:off x="5265775" y="2028275"/>
              <a:ext cx="62200" cy="53350"/>
            </a:xfrm>
            <a:custGeom>
              <a:avLst/>
              <a:gdLst/>
              <a:ahLst/>
              <a:cxnLst/>
              <a:rect l="l" t="t" r="r" b="b"/>
              <a:pathLst>
                <a:path w="2488" h="2134" extrusionOk="0">
                  <a:moveTo>
                    <a:pt x="1065" y="1"/>
                  </a:moveTo>
                  <a:cubicBezTo>
                    <a:pt x="480" y="1"/>
                    <a:pt x="0" y="480"/>
                    <a:pt x="0" y="1065"/>
                  </a:cubicBezTo>
                  <a:cubicBezTo>
                    <a:pt x="0" y="1709"/>
                    <a:pt x="522" y="2133"/>
                    <a:pt x="1068" y="2133"/>
                  </a:cubicBezTo>
                  <a:cubicBezTo>
                    <a:pt x="1329" y="2133"/>
                    <a:pt x="1595" y="2037"/>
                    <a:pt x="1813" y="1821"/>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6" name="Google Shape;3306;p66"/>
            <p:cNvSpPr/>
            <p:nvPr/>
          </p:nvSpPr>
          <p:spPr>
            <a:xfrm>
              <a:off x="5265775" y="2104500"/>
              <a:ext cx="62200" cy="53325"/>
            </a:xfrm>
            <a:custGeom>
              <a:avLst/>
              <a:gdLst/>
              <a:ahLst/>
              <a:cxnLst/>
              <a:rect l="l" t="t" r="r" b="b"/>
              <a:pathLst>
                <a:path w="2488" h="2133" extrusionOk="0">
                  <a:moveTo>
                    <a:pt x="1065" y="0"/>
                  </a:moveTo>
                  <a:cubicBezTo>
                    <a:pt x="480" y="0"/>
                    <a:pt x="0" y="480"/>
                    <a:pt x="0" y="1065"/>
                  </a:cubicBezTo>
                  <a:cubicBezTo>
                    <a:pt x="0" y="1709"/>
                    <a:pt x="522" y="2133"/>
                    <a:pt x="1068" y="2133"/>
                  </a:cubicBezTo>
                  <a:cubicBezTo>
                    <a:pt x="1329" y="2133"/>
                    <a:pt x="1595" y="2036"/>
                    <a:pt x="1813" y="1821"/>
                  </a:cubicBezTo>
                  <a:cubicBezTo>
                    <a:pt x="2488" y="1154"/>
                    <a:pt x="2016" y="8"/>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7" name="Google Shape;3307;p66"/>
            <p:cNvSpPr/>
            <p:nvPr/>
          </p:nvSpPr>
          <p:spPr>
            <a:xfrm>
              <a:off x="5265775" y="2180700"/>
              <a:ext cx="62200" cy="53350"/>
            </a:xfrm>
            <a:custGeom>
              <a:avLst/>
              <a:gdLst/>
              <a:ahLst/>
              <a:cxnLst/>
              <a:rect l="l" t="t" r="r" b="b"/>
              <a:pathLst>
                <a:path w="2488" h="2134" extrusionOk="0">
                  <a:moveTo>
                    <a:pt x="1065" y="1"/>
                  </a:moveTo>
                  <a:cubicBezTo>
                    <a:pt x="480" y="1"/>
                    <a:pt x="0" y="472"/>
                    <a:pt x="0" y="1066"/>
                  </a:cubicBezTo>
                  <a:cubicBezTo>
                    <a:pt x="0" y="1709"/>
                    <a:pt x="522" y="2133"/>
                    <a:pt x="1068" y="2133"/>
                  </a:cubicBezTo>
                  <a:cubicBezTo>
                    <a:pt x="1329" y="2133"/>
                    <a:pt x="1595" y="2037"/>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8" name="Google Shape;3308;p66"/>
            <p:cNvSpPr/>
            <p:nvPr/>
          </p:nvSpPr>
          <p:spPr>
            <a:xfrm>
              <a:off x="5265775" y="2256925"/>
              <a:ext cx="62400" cy="53425"/>
            </a:xfrm>
            <a:custGeom>
              <a:avLst/>
              <a:gdLst/>
              <a:ahLst/>
              <a:cxnLst/>
              <a:rect l="l" t="t" r="r" b="b"/>
              <a:pathLst>
                <a:path w="2496" h="2137" extrusionOk="0">
                  <a:moveTo>
                    <a:pt x="1065" y="0"/>
                  </a:moveTo>
                  <a:cubicBezTo>
                    <a:pt x="480" y="0"/>
                    <a:pt x="0" y="472"/>
                    <a:pt x="0" y="1065"/>
                  </a:cubicBezTo>
                  <a:cubicBezTo>
                    <a:pt x="0" y="1709"/>
                    <a:pt x="525" y="2137"/>
                    <a:pt x="1074" y="2137"/>
                  </a:cubicBezTo>
                  <a:cubicBezTo>
                    <a:pt x="1336"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09" name="Google Shape;3309;p66"/>
            <p:cNvSpPr/>
            <p:nvPr/>
          </p:nvSpPr>
          <p:spPr>
            <a:xfrm>
              <a:off x="5265775" y="2333125"/>
              <a:ext cx="62200" cy="53350"/>
            </a:xfrm>
            <a:custGeom>
              <a:avLst/>
              <a:gdLst/>
              <a:ahLst/>
              <a:cxnLst/>
              <a:rect l="l" t="t" r="r" b="b"/>
              <a:pathLst>
                <a:path w="2488" h="2134" extrusionOk="0">
                  <a:moveTo>
                    <a:pt x="1065" y="1"/>
                  </a:moveTo>
                  <a:cubicBezTo>
                    <a:pt x="480" y="1"/>
                    <a:pt x="0" y="480"/>
                    <a:pt x="0" y="1066"/>
                  </a:cubicBezTo>
                  <a:cubicBezTo>
                    <a:pt x="0" y="1709"/>
                    <a:pt x="522" y="2134"/>
                    <a:pt x="1068" y="2134"/>
                  </a:cubicBezTo>
                  <a:cubicBezTo>
                    <a:pt x="1329" y="2134"/>
                    <a:pt x="1595" y="2037"/>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0" name="Google Shape;3310;p66"/>
            <p:cNvSpPr/>
            <p:nvPr/>
          </p:nvSpPr>
          <p:spPr>
            <a:xfrm>
              <a:off x="5265775" y="2409350"/>
              <a:ext cx="62200" cy="53350"/>
            </a:xfrm>
            <a:custGeom>
              <a:avLst/>
              <a:gdLst/>
              <a:ahLst/>
              <a:cxnLst/>
              <a:rect l="l" t="t" r="r" b="b"/>
              <a:pathLst>
                <a:path w="2488" h="2134" extrusionOk="0">
                  <a:moveTo>
                    <a:pt x="1065" y="0"/>
                  </a:moveTo>
                  <a:cubicBezTo>
                    <a:pt x="480" y="0"/>
                    <a:pt x="0" y="472"/>
                    <a:pt x="0" y="1065"/>
                  </a:cubicBezTo>
                  <a:cubicBezTo>
                    <a:pt x="0" y="1709"/>
                    <a:pt x="522" y="2133"/>
                    <a:pt x="1068" y="2133"/>
                  </a:cubicBezTo>
                  <a:cubicBezTo>
                    <a:pt x="1329" y="2133"/>
                    <a:pt x="1595" y="2036"/>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1" name="Google Shape;3311;p66"/>
            <p:cNvSpPr/>
            <p:nvPr/>
          </p:nvSpPr>
          <p:spPr>
            <a:xfrm>
              <a:off x="5265775" y="2485550"/>
              <a:ext cx="62200" cy="53350"/>
            </a:xfrm>
            <a:custGeom>
              <a:avLst/>
              <a:gdLst/>
              <a:ahLst/>
              <a:cxnLst/>
              <a:rect l="l" t="t" r="r" b="b"/>
              <a:pathLst>
                <a:path w="2488" h="2134" extrusionOk="0">
                  <a:moveTo>
                    <a:pt x="1065" y="1"/>
                  </a:moveTo>
                  <a:cubicBezTo>
                    <a:pt x="480" y="1"/>
                    <a:pt x="0" y="472"/>
                    <a:pt x="0" y="1066"/>
                  </a:cubicBezTo>
                  <a:cubicBezTo>
                    <a:pt x="0" y="1710"/>
                    <a:pt x="526" y="2134"/>
                    <a:pt x="1074" y="2134"/>
                  </a:cubicBezTo>
                  <a:cubicBezTo>
                    <a:pt x="1336" y="2134"/>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2" name="Google Shape;3312;p66"/>
            <p:cNvSpPr/>
            <p:nvPr/>
          </p:nvSpPr>
          <p:spPr>
            <a:xfrm>
              <a:off x="5265775" y="2561575"/>
              <a:ext cx="62200" cy="53425"/>
            </a:xfrm>
            <a:custGeom>
              <a:avLst/>
              <a:gdLst/>
              <a:ahLst/>
              <a:cxnLst/>
              <a:rect l="l" t="t" r="r" b="b"/>
              <a:pathLst>
                <a:path w="2488" h="2137" extrusionOk="0">
                  <a:moveTo>
                    <a:pt x="1065" y="0"/>
                  </a:moveTo>
                  <a:cubicBezTo>
                    <a:pt x="480" y="0"/>
                    <a:pt x="0" y="480"/>
                    <a:pt x="0" y="1073"/>
                  </a:cubicBezTo>
                  <a:cubicBezTo>
                    <a:pt x="0" y="1711"/>
                    <a:pt x="521" y="2137"/>
                    <a:pt x="1067" y="2137"/>
                  </a:cubicBezTo>
                  <a:cubicBezTo>
                    <a:pt x="1328" y="2137"/>
                    <a:pt x="1595" y="2039"/>
                    <a:pt x="1813" y="1821"/>
                  </a:cubicBezTo>
                  <a:cubicBezTo>
                    <a:pt x="2488" y="1154"/>
                    <a:pt x="2016" y="8"/>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3" name="Google Shape;3313;p66"/>
            <p:cNvSpPr/>
            <p:nvPr/>
          </p:nvSpPr>
          <p:spPr>
            <a:xfrm>
              <a:off x="5265775"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4" name="Google Shape;3314;p66"/>
            <p:cNvSpPr/>
            <p:nvPr/>
          </p:nvSpPr>
          <p:spPr>
            <a:xfrm>
              <a:off x="5341975" y="1342750"/>
              <a:ext cx="62425" cy="53450"/>
            </a:xfrm>
            <a:custGeom>
              <a:avLst/>
              <a:gdLst/>
              <a:ahLst/>
              <a:cxnLst/>
              <a:rect l="l" t="t" r="r" b="b"/>
              <a:pathLst>
                <a:path w="2497" h="2138" extrusionOk="0">
                  <a:moveTo>
                    <a:pt x="1074" y="1"/>
                  </a:moveTo>
                  <a:cubicBezTo>
                    <a:pt x="480" y="1"/>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5" name="Google Shape;3315;p66"/>
            <p:cNvSpPr/>
            <p:nvPr/>
          </p:nvSpPr>
          <p:spPr>
            <a:xfrm>
              <a:off x="5341975" y="141897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6" name="Google Shape;3316;p66"/>
            <p:cNvSpPr/>
            <p:nvPr/>
          </p:nvSpPr>
          <p:spPr>
            <a:xfrm>
              <a:off x="5341975" y="14952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7" name="Google Shape;3317;p66"/>
            <p:cNvSpPr/>
            <p:nvPr/>
          </p:nvSpPr>
          <p:spPr>
            <a:xfrm>
              <a:off x="5341975" y="1571400"/>
              <a:ext cx="62375" cy="53250"/>
            </a:xfrm>
            <a:custGeom>
              <a:avLst/>
              <a:gdLst/>
              <a:ahLst/>
              <a:cxnLst/>
              <a:rect l="l" t="t" r="r" b="b"/>
              <a:pathLst>
                <a:path w="2495" h="2130" extrusionOk="0">
                  <a:moveTo>
                    <a:pt x="1084" y="1"/>
                  </a:moveTo>
                  <a:cubicBezTo>
                    <a:pt x="1080" y="1"/>
                    <a:pt x="1077" y="1"/>
                    <a:pt x="1074" y="1"/>
                  </a:cubicBezTo>
                  <a:cubicBezTo>
                    <a:pt x="480" y="1"/>
                    <a:pt x="9" y="472"/>
                    <a:pt x="1" y="1066"/>
                  </a:cubicBezTo>
                  <a:cubicBezTo>
                    <a:pt x="1" y="1703"/>
                    <a:pt x="529" y="2129"/>
                    <a:pt x="1077" y="2129"/>
                  </a:cubicBezTo>
                  <a:cubicBezTo>
                    <a:pt x="1339" y="2129"/>
                    <a:pt x="1606" y="2032"/>
                    <a:pt x="1822" y="1813"/>
                  </a:cubicBezTo>
                  <a:cubicBezTo>
                    <a:pt x="2494" y="1149"/>
                    <a:pt x="2020" y="1"/>
                    <a:pt x="108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8" name="Google Shape;3318;p66"/>
            <p:cNvSpPr/>
            <p:nvPr/>
          </p:nvSpPr>
          <p:spPr>
            <a:xfrm>
              <a:off x="5341975" y="1647400"/>
              <a:ext cx="62425" cy="53450"/>
            </a:xfrm>
            <a:custGeom>
              <a:avLst/>
              <a:gdLst/>
              <a:ahLst/>
              <a:cxnLst/>
              <a:rect l="l" t="t" r="r" b="b"/>
              <a:pathLst>
                <a:path w="2497" h="2138" extrusionOk="0">
                  <a:moveTo>
                    <a:pt x="1074" y="1"/>
                  </a:moveTo>
                  <a:cubicBezTo>
                    <a:pt x="480" y="9"/>
                    <a:pt x="9" y="481"/>
                    <a:pt x="1" y="1066"/>
                  </a:cubicBezTo>
                  <a:cubicBezTo>
                    <a:pt x="1" y="1710"/>
                    <a:pt x="530" y="2138"/>
                    <a:pt x="1078" y="2138"/>
                  </a:cubicBezTo>
                  <a:cubicBezTo>
                    <a:pt x="1340" y="2138"/>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19" name="Google Shape;3319;p66"/>
            <p:cNvSpPr/>
            <p:nvPr/>
          </p:nvSpPr>
          <p:spPr>
            <a:xfrm>
              <a:off x="5341975" y="1723625"/>
              <a:ext cx="62425" cy="53350"/>
            </a:xfrm>
            <a:custGeom>
              <a:avLst/>
              <a:gdLst/>
              <a:ahLst/>
              <a:cxnLst/>
              <a:rect l="l" t="t" r="r" b="b"/>
              <a:pathLst>
                <a:path w="2497" h="2134" extrusionOk="0">
                  <a:moveTo>
                    <a:pt x="1074" y="1"/>
                  </a:moveTo>
                  <a:cubicBezTo>
                    <a:pt x="480" y="1"/>
                    <a:pt x="9" y="480"/>
                    <a:pt x="1" y="1065"/>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0" name="Google Shape;3320;p66"/>
            <p:cNvSpPr/>
            <p:nvPr/>
          </p:nvSpPr>
          <p:spPr>
            <a:xfrm>
              <a:off x="5341975" y="179985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1" name="Google Shape;3321;p66"/>
            <p:cNvSpPr/>
            <p:nvPr/>
          </p:nvSpPr>
          <p:spPr>
            <a:xfrm>
              <a:off x="5341975" y="1876050"/>
              <a:ext cx="62425" cy="53275"/>
            </a:xfrm>
            <a:custGeom>
              <a:avLst/>
              <a:gdLst/>
              <a:ahLst/>
              <a:cxnLst/>
              <a:rect l="l" t="t" r="r" b="b"/>
              <a:pathLst>
                <a:path w="2497" h="2131" extrusionOk="0">
                  <a:moveTo>
                    <a:pt x="1074" y="1"/>
                  </a:moveTo>
                  <a:cubicBezTo>
                    <a:pt x="480" y="1"/>
                    <a:pt x="9" y="472"/>
                    <a:pt x="1" y="1066"/>
                  </a:cubicBezTo>
                  <a:cubicBezTo>
                    <a:pt x="1" y="1707"/>
                    <a:pt x="527" y="2131"/>
                    <a:pt x="1074" y="2131"/>
                  </a:cubicBezTo>
                  <a:cubicBezTo>
                    <a:pt x="1337" y="2131"/>
                    <a:pt x="1605" y="2033"/>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2" name="Google Shape;3322;p66"/>
            <p:cNvSpPr/>
            <p:nvPr/>
          </p:nvSpPr>
          <p:spPr>
            <a:xfrm>
              <a:off x="5341975" y="1952050"/>
              <a:ext cx="62425" cy="53450"/>
            </a:xfrm>
            <a:custGeom>
              <a:avLst/>
              <a:gdLst/>
              <a:ahLst/>
              <a:cxnLst/>
              <a:rect l="l" t="t" r="r" b="b"/>
              <a:pathLst>
                <a:path w="2497" h="2138" extrusionOk="0">
                  <a:moveTo>
                    <a:pt x="1074" y="1"/>
                  </a:moveTo>
                  <a:cubicBezTo>
                    <a:pt x="480" y="9"/>
                    <a:pt x="9" y="481"/>
                    <a:pt x="1" y="1074"/>
                  </a:cubicBezTo>
                  <a:cubicBezTo>
                    <a:pt x="1" y="1712"/>
                    <a:pt x="529" y="2138"/>
                    <a:pt x="1077" y="2138"/>
                  </a:cubicBezTo>
                  <a:cubicBezTo>
                    <a:pt x="1339" y="2138"/>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3" name="Google Shape;3323;p66"/>
            <p:cNvSpPr/>
            <p:nvPr/>
          </p:nvSpPr>
          <p:spPr>
            <a:xfrm>
              <a:off x="5341975" y="2028275"/>
              <a:ext cx="62425" cy="53450"/>
            </a:xfrm>
            <a:custGeom>
              <a:avLst/>
              <a:gdLst/>
              <a:ahLst/>
              <a:cxnLst/>
              <a:rect l="l" t="t" r="r" b="b"/>
              <a:pathLst>
                <a:path w="2497" h="2138" extrusionOk="0">
                  <a:moveTo>
                    <a:pt x="1074" y="1"/>
                  </a:moveTo>
                  <a:cubicBezTo>
                    <a:pt x="480" y="1"/>
                    <a:pt x="9" y="480"/>
                    <a:pt x="1" y="1065"/>
                  </a:cubicBezTo>
                  <a:cubicBezTo>
                    <a:pt x="1" y="1709"/>
                    <a:pt x="530" y="2137"/>
                    <a:pt x="1078" y="2137"/>
                  </a:cubicBezTo>
                  <a:cubicBezTo>
                    <a:pt x="1340" y="2137"/>
                    <a:pt x="1606" y="2040"/>
                    <a:pt x="1822" y="1821"/>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4" name="Google Shape;3324;p66"/>
            <p:cNvSpPr/>
            <p:nvPr/>
          </p:nvSpPr>
          <p:spPr>
            <a:xfrm>
              <a:off x="5341975" y="2104500"/>
              <a:ext cx="62425" cy="53325"/>
            </a:xfrm>
            <a:custGeom>
              <a:avLst/>
              <a:gdLst/>
              <a:ahLst/>
              <a:cxnLst/>
              <a:rect l="l" t="t" r="r" b="b"/>
              <a:pathLst>
                <a:path w="2497" h="2133"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5" name="Google Shape;3325;p66"/>
            <p:cNvSpPr/>
            <p:nvPr/>
          </p:nvSpPr>
          <p:spPr>
            <a:xfrm>
              <a:off x="5341975" y="2180700"/>
              <a:ext cx="62425" cy="53350"/>
            </a:xfrm>
            <a:custGeom>
              <a:avLst/>
              <a:gdLst/>
              <a:ahLst/>
              <a:cxnLst/>
              <a:rect l="l" t="t" r="r" b="b"/>
              <a:pathLst>
                <a:path w="2497" h="2134" extrusionOk="0">
                  <a:moveTo>
                    <a:pt x="1074" y="1"/>
                  </a:moveTo>
                  <a:cubicBezTo>
                    <a:pt x="480" y="1"/>
                    <a:pt x="9" y="480"/>
                    <a:pt x="1" y="1066"/>
                  </a:cubicBezTo>
                  <a:cubicBezTo>
                    <a:pt x="1" y="1709"/>
                    <a:pt x="530" y="2133"/>
                    <a:pt x="1078" y="2133"/>
                  </a:cubicBezTo>
                  <a:cubicBezTo>
                    <a:pt x="1340" y="2133"/>
                    <a:pt x="1606"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6" name="Google Shape;3326;p66"/>
            <p:cNvSpPr/>
            <p:nvPr/>
          </p:nvSpPr>
          <p:spPr>
            <a:xfrm>
              <a:off x="5341975" y="2256925"/>
              <a:ext cx="62575" cy="53425"/>
            </a:xfrm>
            <a:custGeom>
              <a:avLst/>
              <a:gdLst/>
              <a:ahLst/>
              <a:cxnLst/>
              <a:rect l="l" t="t" r="r" b="b"/>
              <a:pathLst>
                <a:path w="2503" h="2137" extrusionOk="0">
                  <a:moveTo>
                    <a:pt x="1084" y="0"/>
                  </a:moveTo>
                  <a:cubicBezTo>
                    <a:pt x="1081" y="0"/>
                    <a:pt x="1077" y="0"/>
                    <a:pt x="1074" y="0"/>
                  </a:cubicBezTo>
                  <a:cubicBezTo>
                    <a:pt x="480" y="0"/>
                    <a:pt x="9" y="480"/>
                    <a:pt x="1" y="1065"/>
                  </a:cubicBezTo>
                  <a:cubicBezTo>
                    <a:pt x="1" y="1709"/>
                    <a:pt x="530" y="2137"/>
                    <a:pt x="1081" y="2137"/>
                  </a:cubicBezTo>
                  <a:cubicBezTo>
                    <a:pt x="1344" y="2137"/>
                    <a:pt x="1612" y="2039"/>
                    <a:pt x="1830" y="1821"/>
                  </a:cubicBezTo>
                  <a:cubicBezTo>
                    <a:pt x="2502" y="1149"/>
                    <a:pt x="2028"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7" name="Google Shape;3327;p66"/>
            <p:cNvSpPr/>
            <p:nvPr/>
          </p:nvSpPr>
          <p:spPr>
            <a:xfrm>
              <a:off x="5341975" y="2333125"/>
              <a:ext cx="62425" cy="53450"/>
            </a:xfrm>
            <a:custGeom>
              <a:avLst/>
              <a:gdLst/>
              <a:ahLst/>
              <a:cxnLst/>
              <a:rect l="l" t="t" r="r" b="b"/>
              <a:pathLst>
                <a:path w="2497" h="2138" extrusionOk="0">
                  <a:moveTo>
                    <a:pt x="1074" y="1"/>
                  </a:moveTo>
                  <a:cubicBezTo>
                    <a:pt x="480" y="1"/>
                    <a:pt x="9" y="480"/>
                    <a:pt x="1" y="1066"/>
                  </a:cubicBezTo>
                  <a:cubicBezTo>
                    <a:pt x="1" y="1709"/>
                    <a:pt x="530" y="2137"/>
                    <a:pt x="1078" y="2137"/>
                  </a:cubicBezTo>
                  <a:cubicBezTo>
                    <a:pt x="1340"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8" name="Google Shape;3328;p66"/>
            <p:cNvSpPr/>
            <p:nvPr/>
          </p:nvSpPr>
          <p:spPr>
            <a:xfrm>
              <a:off x="5341975" y="2485550"/>
              <a:ext cx="62425" cy="53300"/>
            </a:xfrm>
            <a:custGeom>
              <a:avLst/>
              <a:gdLst/>
              <a:ahLst/>
              <a:cxnLst/>
              <a:rect l="l" t="t" r="r" b="b"/>
              <a:pathLst>
                <a:path w="2497" h="2132" extrusionOk="0">
                  <a:moveTo>
                    <a:pt x="1074" y="1"/>
                  </a:moveTo>
                  <a:cubicBezTo>
                    <a:pt x="480" y="1"/>
                    <a:pt x="9" y="480"/>
                    <a:pt x="1" y="1066"/>
                  </a:cubicBezTo>
                  <a:cubicBezTo>
                    <a:pt x="1" y="1708"/>
                    <a:pt x="527" y="2131"/>
                    <a:pt x="1074" y="2131"/>
                  </a:cubicBezTo>
                  <a:cubicBezTo>
                    <a:pt x="1337" y="2131"/>
                    <a:pt x="1605" y="2033"/>
                    <a:pt x="1822" y="1814"/>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29" name="Google Shape;3329;p66"/>
            <p:cNvSpPr/>
            <p:nvPr/>
          </p:nvSpPr>
          <p:spPr>
            <a:xfrm>
              <a:off x="5341975" y="2561575"/>
              <a:ext cx="62425" cy="53425"/>
            </a:xfrm>
            <a:custGeom>
              <a:avLst/>
              <a:gdLst/>
              <a:ahLst/>
              <a:cxnLst/>
              <a:rect l="l" t="t" r="r" b="b"/>
              <a:pathLst>
                <a:path w="2497" h="2137" extrusionOk="0">
                  <a:moveTo>
                    <a:pt x="1074" y="0"/>
                  </a:moveTo>
                  <a:cubicBezTo>
                    <a:pt x="480"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0" name="Google Shape;3330;p66"/>
            <p:cNvSpPr/>
            <p:nvPr/>
          </p:nvSpPr>
          <p:spPr>
            <a:xfrm>
              <a:off x="5341975" y="2637775"/>
              <a:ext cx="62425" cy="53450"/>
            </a:xfrm>
            <a:custGeom>
              <a:avLst/>
              <a:gdLst/>
              <a:ahLst/>
              <a:cxnLst/>
              <a:rect l="l" t="t" r="r" b="b"/>
              <a:pathLst>
                <a:path w="2497" h="2138" extrusionOk="0">
                  <a:moveTo>
                    <a:pt x="1074" y="1"/>
                  </a:moveTo>
                  <a:cubicBezTo>
                    <a:pt x="480" y="9"/>
                    <a:pt x="9" y="480"/>
                    <a:pt x="1" y="1074"/>
                  </a:cubicBezTo>
                  <a:cubicBezTo>
                    <a:pt x="1" y="1712"/>
                    <a:pt x="529" y="2137"/>
                    <a:pt x="1077" y="2137"/>
                  </a:cubicBezTo>
                  <a:cubicBezTo>
                    <a:pt x="1339" y="2137"/>
                    <a:pt x="1606"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1" name="Google Shape;3331;p66"/>
            <p:cNvSpPr/>
            <p:nvPr/>
          </p:nvSpPr>
          <p:spPr>
            <a:xfrm>
              <a:off x="5418200" y="134275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2" name="Google Shape;3332;p66"/>
            <p:cNvSpPr/>
            <p:nvPr/>
          </p:nvSpPr>
          <p:spPr>
            <a:xfrm>
              <a:off x="5418200" y="141897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3" name="Google Shape;3333;p66"/>
            <p:cNvSpPr/>
            <p:nvPr/>
          </p:nvSpPr>
          <p:spPr>
            <a:xfrm>
              <a:off x="5418200" y="14952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4" name="Google Shape;3334;p66"/>
            <p:cNvSpPr/>
            <p:nvPr/>
          </p:nvSpPr>
          <p:spPr>
            <a:xfrm>
              <a:off x="5418200" y="1571400"/>
              <a:ext cx="62425" cy="53250"/>
            </a:xfrm>
            <a:custGeom>
              <a:avLst/>
              <a:gdLst/>
              <a:ahLst/>
              <a:cxnLst/>
              <a:rect l="l" t="t" r="r" b="b"/>
              <a:pathLst>
                <a:path w="2497" h="2130" extrusionOk="0">
                  <a:moveTo>
                    <a:pt x="1065" y="1"/>
                  </a:moveTo>
                  <a:cubicBezTo>
                    <a:pt x="480" y="1"/>
                    <a:pt x="0" y="472"/>
                    <a:pt x="0" y="1066"/>
                  </a:cubicBezTo>
                  <a:cubicBezTo>
                    <a:pt x="0" y="1703"/>
                    <a:pt x="525" y="2129"/>
                    <a:pt x="1073" y="2129"/>
                  </a:cubicBezTo>
                  <a:cubicBezTo>
                    <a:pt x="1335" y="2129"/>
                    <a:pt x="1603" y="2032"/>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5" name="Google Shape;3335;p66"/>
            <p:cNvSpPr/>
            <p:nvPr/>
          </p:nvSpPr>
          <p:spPr>
            <a:xfrm>
              <a:off x="5418200" y="1647400"/>
              <a:ext cx="62425" cy="53450"/>
            </a:xfrm>
            <a:custGeom>
              <a:avLst/>
              <a:gdLst/>
              <a:ahLst/>
              <a:cxnLst/>
              <a:rect l="l" t="t" r="r" b="b"/>
              <a:pathLst>
                <a:path w="2497"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6" name="Google Shape;3336;p66"/>
            <p:cNvSpPr/>
            <p:nvPr/>
          </p:nvSpPr>
          <p:spPr>
            <a:xfrm>
              <a:off x="5418200" y="1723625"/>
              <a:ext cx="62425" cy="53350"/>
            </a:xfrm>
            <a:custGeom>
              <a:avLst/>
              <a:gdLst/>
              <a:ahLst/>
              <a:cxnLst/>
              <a:rect l="l" t="t" r="r" b="b"/>
              <a:pathLst>
                <a:path w="2497" h="2134" extrusionOk="0">
                  <a:moveTo>
                    <a:pt x="1065" y="1"/>
                  </a:moveTo>
                  <a:cubicBezTo>
                    <a:pt x="480" y="1"/>
                    <a:pt x="0" y="480"/>
                    <a:pt x="0" y="1065"/>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7" name="Google Shape;3337;p66"/>
            <p:cNvSpPr/>
            <p:nvPr/>
          </p:nvSpPr>
          <p:spPr>
            <a:xfrm>
              <a:off x="5418200" y="17998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8" name="Google Shape;3338;p66"/>
            <p:cNvSpPr/>
            <p:nvPr/>
          </p:nvSpPr>
          <p:spPr>
            <a:xfrm>
              <a:off x="5418200" y="1876050"/>
              <a:ext cx="62425" cy="53275"/>
            </a:xfrm>
            <a:custGeom>
              <a:avLst/>
              <a:gdLst/>
              <a:ahLst/>
              <a:cxnLst/>
              <a:rect l="l" t="t" r="r" b="b"/>
              <a:pathLst>
                <a:path w="2497" h="2131" extrusionOk="0">
                  <a:moveTo>
                    <a:pt x="1065" y="1"/>
                  </a:moveTo>
                  <a:cubicBezTo>
                    <a:pt x="480" y="1"/>
                    <a:pt x="0" y="472"/>
                    <a:pt x="0" y="1066"/>
                  </a:cubicBezTo>
                  <a:cubicBezTo>
                    <a:pt x="0" y="1707"/>
                    <a:pt x="522" y="2131"/>
                    <a:pt x="1069" y="2131"/>
                  </a:cubicBezTo>
                  <a:cubicBezTo>
                    <a:pt x="1333" y="2131"/>
                    <a:pt x="1602" y="2033"/>
                    <a:pt x="1821" y="1813"/>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39" name="Google Shape;3339;p66"/>
            <p:cNvSpPr/>
            <p:nvPr/>
          </p:nvSpPr>
          <p:spPr>
            <a:xfrm>
              <a:off x="5418200" y="1952050"/>
              <a:ext cx="62425" cy="53450"/>
            </a:xfrm>
            <a:custGeom>
              <a:avLst/>
              <a:gdLst/>
              <a:ahLst/>
              <a:cxnLst/>
              <a:rect l="l" t="t" r="r" b="b"/>
              <a:pathLst>
                <a:path w="2497" h="2138" extrusionOk="0">
                  <a:moveTo>
                    <a:pt x="1065" y="1"/>
                  </a:moveTo>
                  <a:cubicBezTo>
                    <a:pt x="480" y="9"/>
                    <a:pt x="0" y="481"/>
                    <a:pt x="0" y="1074"/>
                  </a:cubicBezTo>
                  <a:cubicBezTo>
                    <a:pt x="0" y="1712"/>
                    <a:pt x="525" y="2138"/>
                    <a:pt x="1073" y="2138"/>
                  </a:cubicBezTo>
                  <a:cubicBezTo>
                    <a:pt x="1335" y="2138"/>
                    <a:pt x="1603" y="2040"/>
                    <a:pt x="1821" y="1822"/>
                  </a:cubicBezTo>
                  <a:cubicBezTo>
                    <a:pt x="2496"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0" name="Google Shape;3340;p66"/>
            <p:cNvSpPr/>
            <p:nvPr/>
          </p:nvSpPr>
          <p:spPr>
            <a:xfrm>
              <a:off x="5418200" y="2028275"/>
              <a:ext cx="62425" cy="53450"/>
            </a:xfrm>
            <a:custGeom>
              <a:avLst/>
              <a:gdLst/>
              <a:ahLst/>
              <a:cxnLst/>
              <a:rect l="l" t="t" r="r" b="b"/>
              <a:pathLst>
                <a:path w="2497" h="2138" extrusionOk="0">
                  <a:moveTo>
                    <a:pt x="1065" y="1"/>
                  </a:moveTo>
                  <a:cubicBezTo>
                    <a:pt x="480" y="1"/>
                    <a:pt x="0" y="480"/>
                    <a:pt x="0" y="1065"/>
                  </a:cubicBezTo>
                  <a:cubicBezTo>
                    <a:pt x="0" y="1709"/>
                    <a:pt x="525" y="2137"/>
                    <a:pt x="1074" y="2137"/>
                  </a:cubicBezTo>
                  <a:cubicBezTo>
                    <a:pt x="1336" y="2137"/>
                    <a:pt x="1603" y="2040"/>
                    <a:pt x="1821" y="1821"/>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1" name="Google Shape;3341;p66"/>
            <p:cNvSpPr/>
            <p:nvPr/>
          </p:nvSpPr>
          <p:spPr>
            <a:xfrm>
              <a:off x="5418200" y="210450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2" name="Google Shape;3342;p66"/>
            <p:cNvSpPr/>
            <p:nvPr/>
          </p:nvSpPr>
          <p:spPr>
            <a:xfrm>
              <a:off x="5418200" y="2180700"/>
              <a:ext cx="62425" cy="53350"/>
            </a:xfrm>
            <a:custGeom>
              <a:avLst/>
              <a:gdLst/>
              <a:ahLst/>
              <a:cxnLst/>
              <a:rect l="l" t="t" r="r" b="b"/>
              <a:pathLst>
                <a:path w="2497" h="2134" extrusionOk="0">
                  <a:moveTo>
                    <a:pt x="1065" y="1"/>
                  </a:moveTo>
                  <a:cubicBezTo>
                    <a:pt x="480" y="1"/>
                    <a:pt x="0" y="480"/>
                    <a:pt x="0" y="1066"/>
                  </a:cubicBezTo>
                  <a:cubicBezTo>
                    <a:pt x="0" y="1709"/>
                    <a:pt x="526"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3" name="Google Shape;3343;p66"/>
            <p:cNvSpPr/>
            <p:nvPr/>
          </p:nvSpPr>
          <p:spPr>
            <a:xfrm>
              <a:off x="5418200" y="2256925"/>
              <a:ext cx="62550" cy="53425"/>
            </a:xfrm>
            <a:custGeom>
              <a:avLst/>
              <a:gdLst/>
              <a:ahLst/>
              <a:cxnLst/>
              <a:rect l="l" t="t" r="r" b="b"/>
              <a:pathLst>
                <a:path w="2502" h="2137" extrusionOk="0">
                  <a:moveTo>
                    <a:pt x="1075" y="0"/>
                  </a:moveTo>
                  <a:cubicBezTo>
                    <a:pt x="1072" y="0"/>
                    <a:pt x="1069" y="0"/>
                    <a:pt x="1065" y="0"/>
                  </a:cubicBezTo>
                  <a:cubicBezTo>
                    <a:pt x="480" y="0"/>
                    <a:pt x="0" y="480"/>
                    <a:pt x="0" y="1065"/>
                  </a:cubicBezTo>
                  <a:cubicBezTo>
                    <a:pt x="0" y="1709"/>
                    <a:pt x="529" y="2137"/>
                    <a:pt x="1080" y="2137"/>
                  </a:cubicBezTo>
                  <a:cubicBezTo>
                    <a:pt x="1343" y="2137"/>
                    <a:pt x="1611" y="2039"/>
                    <a:pt x="1829" y="1821"/>
                  </a:cubicBezTo>
                  <a:cubicBezTo>
                    <a:pt x="2502" y="1149"/>
                    <a:pt x="2028"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4" name="Google Shape;3344;p66"/>
            <p:cNvSpPr/>
            <p:nvPr/>
          </p:nvSpPr>
          <p:spPr>
            <a:xfrm>
              <a:off x="5418200" y="2333125"/>
              <a:ext cx="62425" cy="53450"/>
            </a:xfrm>
            <a:custGeom>
              <a:avLst/>
              <a:gdLst/>
              <a:ahLst/>
              <a:cxnLst/>
              <a:rect l="l" t="t" r="r" b="b"/>
              <a:pathLst>
                <a:path w="2497" h="2138" extrusionOk="0">
                  <a:moveTo>
                    <a:pt x="1065" y="1"/>
                  </a:moveTo>
                  <a:cubicBezTo>
                    <a:pt x="480" y="1"/>
                    <a:pt x="0" y="480"/>
                    <a:pt x="0" y="1066"/>
                  </a:cubicBezTo>
                  <a:cubicBezTo>
                    <a:pt x="0" y="1709"/>
                    <a:pt x="525" y="2137"/>
                    <a:pt x="1074" y="2137"/>
                  </a:cubicBezTo>
                  <a:cubicBezTo>
                    <a:pt x="1336"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5" name="Google Shape;3345;p66"/>
            <p:cNvSpPr/>
            <p:nvPr/>
          </p:nvSpPr>
          <p:spPr>
            <a:xfrm>
              <a:off x="5418200" y="2485550"/>
              <a:ext cx="62425" cy="53300"/>
            </a:xfrm>
            <a:custGeom>
              <a:avLst/>
              <a:gdLst/>
              <a:ahLst/>
              <a:cxnLst/>
              <a:rect l="l" t="t" r="r" b="b"/>
              <a:pathLst>
                <a:path w="2497" h="2132" extrusionOk="0">
                  <a:moveTo>
                    <a:pt x="1065" y="1"/>
                  </a:moveTo>
                  <a:cubicBezTo>
                    <a:pt x="480" y="1"/>
                    <a:pt x="0" y="472"/>
                    <a:pt x="0" y="1066"/>
                  </a:cubicBezTo>
                  <a:cubicBezTo>
                    <a:pt x="0" y="1708"/>
                    <a:pt x="526" y="2131"/>
                    <a:pt x="1073" y="2131"/>
                  </a:cubicBezTo>
                  <a:cubicBezTo>
                    <a:pt x="1336" y="2131"/>
                    <a:pt x="1605" y="2033"/>
                    <a:pt x="1821" y="1814"/>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6" name="Google Shape;3346;p66"/>
            <p:cNvSpPr/>
            <p:nvPr/>
          </p:nvSpPr>
          <p:spPr>
            <a:xfrm>
              <a:off x="5418200" y="2561575"/>
              <a:ext cx="62425" cy="53425"/>
            </a:xfrm>
            <a:custGeom>
              <a:avLst/>
              <a:gdLst/>
              <a:ahLst/>
              <a:cxnLst/>
              <a:rect l="l" t="t" r="r" b="b"/>
              <a:pathLst>
                <a:path w="2497"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7" name="Google Shape;3347;p66"/>
            <p:cNvSpPr/>
            <p:nvPr/>
          </p:nvSpPr>
          <p:spPr>
            <a:xfrm>
              <a:off x="5418200" y="2637775"/>
              <a:ext cx="62425" cy="53450"/>
            </a:xfrm>
            <a:custGeom>
              <a:avLst/>
              <a:gdLst/>
              <a:ahLst/>
              <a:cxnLst/>
              <a:rect l="l" t="t" r="r" b="b"/>
              <a:pathLst>
                <a:path w="2497" h="2138" extrusionOk="0">
                  <a:moveTo>
                    <a:pt x="1065" y="1"/>
                  </a:moveTo>
                  <a:cubicBezTo>
                    <a:pt x="480" y="9"/>
                    <a:pt x="0" y="480"/>
                    <a:pt x="0" y="1074"/>
                  </a:cubicBezTo>
                  <a:cubicBezTo>
                    <a:pt x="0" y="1712"/>
                    <a:pt x="528" y="2137"/>
                    <a:pt x="1077" y="2137"/>
                  </a:cubicBezTo>
                  <a:cubicBezTo>
                    <a:pt x="1339" y="2137"/>
                    <a:pt x="1606"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8" name="Google Shape;3348;p66"/>
            <p:cNvSpPr/>
            <p:nvPr/>
          </p:nvSpPr>
          <p:spPr>
            <a:xfrm>
              <a:off x="5418200" y="271400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49" name="Google Shape;3349;p66"/>
            <p:cNvSpPr/>
            <p:nvPr/>
          </p:nvSpPr>
          <p:spPr>
            <a:xfrm>
              <a:off x="5494400" y="1266550"/>
              <a:ext cx="62225" cy="53450"/>
            </a:xfrm>
            <a:custGeom>
              <a:avLst/>
              <a:gdLst/>
              <a:ahLst/>
              <a:cxnLst/>
              <a:rect l="l" t="t" r="r" b="b"/>
              <a:pathLst>
                <a:path w="2489" h="2138" extrusionOk="0">
                  <a:moveTo>
                    <a:pt x="1066" y="0"/>
                  </a:moveTo>
                  <a:cubicBezTo>
                    <a:pt x="480" y="9"/>
                    <a:pt x="1" y="480"/>
                    <a:pt x="1" y="1074"/>
                  </a:cubicBezTo>
                  <a:cubicBezTo>
                    <a:pt x="1" y="1711"/>
                    <a:pt x="525" y="2137"/>
                    <a:pt x="1074" y="2137"/>
                  </a:cubicBezTo>
                  <a:cubicBezTo>
                    <a:pt x="1336" y="2137"/>
                    <a:pt x="1604"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0" name="Google Shape;3350;p66"/>
            <p:cNvSpPr/>
            <p:nvPr/>
          </p:nvSpPr>
          <p:spPr>
            <a:xfrm>
              <a:off x="5494400" y="134275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1" name="Google Shape;3351;p66"/>
            <p:cNvSpPr/>
            <p:nvPr/>
          </p:nvSpPr>
          <p:spPr>
            <a:xfrm>
              <a:off x="54944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2" name="Google Shape;3352;p66"/>
            <p:cNvSpPr/>
            <p:nvPr/>
          </p:nvSpPr>
          <p:spPr>
            <a:xfrm>
              <a:off x="549440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3" name="Google Shape;3353;p66"/>
            <p:cNvSpPr/>
            <p:nvPr/>
          </p:nvSpPr>
          <p:spPr>
            <a:xfrm>
              <a:off x="5494400" y="1571400"/>
              <a:ext cx="62225" cy="53250"/>
            </a:xfrm>
            <a:custGeom>
              <a:avLst/>
              <a:gdLst/>
              <a:ahLst/>
              <a:cxnLst/>
              <a:rect l="l" t="t" r="r" b="b"/>
              <a:pathLst>
                <a:path w="2489" h="2130" extrusionOk="0">
                  <a:moveTo>
                    <a:pt x="1066" y="1"/>
                  </a:moveTo>
                  <a:cubicBezTo>
                    <a:pt x="480" y="1"/>
                    <a:pt x="1" y="472"/>
                    <a:pt x="1" y="1066"/>
                  </a:cubicBezTo>
                  <a:cubicBezTo>
                    <a:pt x="1" y="1703"/>
                    <a:pt x="525" y="2129"/>
                    <a:pt x="1074" y="2129"/>
                  </a:cubicBezTo>
                  <a:cubicBezTo>
                    <a:pt x="1336" y="2129"/>
                    <a:pt x="1604" y="2032"/>
                    <a:pt x="1822"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4" name="Google Shape;3354;p66"/>
            <p:cNvSpPr/>
            <p:nvPr/>
          </p:nvSpPr>
          <p:spPr>
            <a:xfrm>
              <a:off x="63323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5" name="Google Shape;3355;p66"/>
            <p:cNvSpPr/>
            <p:nvPr/>
          </p:nvSpPr>
          <p:spPr>
            <a:xfrm>
              <a:off x="63323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6" name="Google Shape;3356;p66"/>
            <p:cNvSpPr/>
            <p:nvPr/>
          </p:nvSpPr>
          <p:spPr>
            <a:xfrm>
              <a:off x="6408350" y="1418975"/>
              <a:ext cx="62425" cy="53350"/>
            </a:xfrm>
            <a:custGeom>
              <a:avLst/>
              <a:gdLst/>
              <a:ahLst/>
              <a:cxnLst/>
              <a:rect l="l" t="t" r="r" b="b"/>
              <a:pathLst>
                <a:path w="2497" h="2134" extrusionOk="0">
                  <a:moveTo>
                    <a:pt x="1074" y="1"/>
                  </a:moveTo>
                  <a:cubicBezTo>
                    <a:pt x="481" y="1"/>
                    <a:pt x="9" y="480"/>
                    <a:pt x="1" y="1065"/>
                  </a:cubicBezTo>
                  <a:cubicBezTo>
                    <a:pt x="1" y="1709"/>
                    <a:pt x="526" y="2133"/>
                    <a:pt x="1075" y="2133"/>
                  </a:cubicBezTo>
                  <a:cubicBezTo>
                    <a:pt x="1337" y="2133"/>
                    <a:pt x="1604"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7" name="Google Shape;3357;p66"/>
            <p:cNvSpPr/>
            <p:nvPr/>
          </p:nvSpPr>
          <p:spPr>
            <a:xfrm>
              <a:off x="6408350" y="14952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8" name="Google Shape;3358;p66"/>
            <p:cNvSpPr/>
            <p:nvPr/>
          </p:nvSpPr>
          <p:spPr>
            <a:xfrm>
              <a:off x="6484575" y="1342750"/>
              <a:ext cx="62425" cy="53450"/>
            </a:xfrm>
            <a:custGeom>
              <a:avLst/>
              <a:gdLst/>
              <a:ahLst/>
              <a:cxnLst/>
              <a:rect l="l" t="t" r="r" b="b"/>
              <a:pathLst>
                <a:path w="2497" h="2138" extrusionOk="0">
                  <a:moveTo>
                    <a:pt x="1065" y="1"/>
                  </a:moveTo>
                  <a:cubicBezTo>
                    <a:pt x="480" y="1"/>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59" name="Google Shape;3359;p66"/>
            <p:cNvSpPr/>
            <p:nvPr/>
          </p:nvSpPr>
          <p:spPr>
            <a:xfrm>
              <a:off x="6484575" y="1418975"/>
              <a:ext cx="62425" cy="53350"/>
            </a:xfrm>
            <a:custGeom>
              <a:avLst/>
              <a:gdLst/>
              <a:ahLst/>
              <a:cxnLst/>
              <a:rect l="l" t="t" r="r" b="b"/>
              <a:pathLst>
                <a:path w="2497" h="2134" extrusionOk="0">
                  <a:moveTo>
                    <a:pt x="1065" y="1"/>
                  </a:moveTo>
                  <a:cubicBezTo>
                    <a:pt x="480" y="1"/>
                    <a:pt x="1" y="480"/>
                    <a:pt x="1" y="1065"/>
                  </a:cubicBezTo>
                  <a:cubicBezTo>
                    <a:pt x="1" y="1709"/>
                    <a:pt x="526" y="2133"/>
                    <a:pt x="1075" y="2133"/>
                  </a:cubicBezTo>
                  <a:cubicBezTo>
                    <a:pt x="1336" y="2133"/>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0" name="Google Shape;3360;p66"/>
            <p:cNvSpPr/>
            <p:nvPr/>
          </p:nvSpPr>
          <p:spPr>
            <a:xfrm>
              <a:off x="6484575" y="1495200"/>
              <a:ext cx="62425" cy="53325"/>
            </a:xfrm>
            <a:custGeom>
              <a:avLst/>
              <a:gdLst/>
              <a:ahLst/>
              <a:cxnLst/>
              <a:rect l="l" t="t" r="r" b="b"/>
              <a:pathLst>
                <a:path w="2497" h="2133" extrusionOk="0">
                  <a:moveTo>
                    <a:pt x="1065" y="0"/>
                  </a:moveTo>
                  <a:cubicBezTo>
                    <a:pt x="480" y="0"/>
                    <a:pt x="1"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1" name="Google Shape;3361;p66"/>
            <p:cNvSpPr/>
            <p:nvPr/>
          </p:nvSpPr>
          <p:spPr>
            <a:xfrm>
              <a:off x="6560800"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2" name="Google Shape;3362;p66"/>
            <p:cNvSpPr/>
            <p:nvPr/>
          </p:nvSpPr>
          <p:spPr>
            <a:xfrm>
              <a:off x="656080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3" name="Google Shape;3363;p66"/>
            <p:cNvSpPr/>
            <p:nvPr/>
          </p:nvSpPr>
          <p:spPr>
            <a:xfrm>
              <a:off x="6637000" y="1418975"/>
              <a:ext cx="62225" cy="53350"/>
            </a:xfrm>
            <a:custGeom>
              <a:avLst/>
              <a:gdLst/>
              <a:ahLst/>
              <a:cxnLst/>
              <a:rect l="l" t="t" r="r" b="b"/>
              <a:pathLst>
                <a:path w="2489" h="2134" extrusionOk="0">
                  <a:moveTo>
                    <a:pt x="1066" y="1"/>
                  </a:moveTo>
                  <a:cubicBezTo>
                    <a:pt x="480" y="1"/>
                    <a:pt x="1" y="480"/>
                    <a:pt x="1" y="1065"/>
                  </a:cubicBezTo>
                  <a:cubicBezTo>
                    <a:pt x="1" y="1709"/>
                    <a:pt x="526" y="2133"/>
                    <a:pt x="1072" y="2133"/>
                  </a:cubicBezTo>
                  <a:cubicBezTo>
                    <a:pt x="1333" y="2133"/>
                    <a:pt x="1598" y="2037"/>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4" name="Google Shape;3364;p66"/>
            <p:cNvSpPr/>
            <p:nvPr/>
          </p:nvSpPr>
          <p:spPr>
            <a:xfrm>
              <a:off x="7094075" y="1495200"/>
              <a:ext cx="62425" cy="53325"/>
            </a:xfrm>
            <a:custGeom>
              <a:avLst/>
              <a:gdLst/>
              <a:ahLst/>
              <a:cxnLst/>
              <a:rect l="l" t="t" r="r" b="b"/>
              <a:pathLst>
                <a:path w="2497" h="2133" extrusionOk="0">
                  <a:moveTo>
                    <a:pt x="1066" y="0"/>
                  </a:moveTo>
                  <a:cubicBezTo>
                    <a:pt x="480" y="0"/>
                    <a:pt x="1" y="480"/>
                    <a:pt x="1" y="1065"/>
                  </a:cubicBezTo>
                  <a:cubicBezTo>
                    <a:pt x="1" y="1709"/>
                    <a:pt x="526" y="2133"/>
                    <a:pt x="1075" y="2133"/>
                  </a:cubicBezTo>
                  <a:cubicBezTo>
                    <a:pt x="1337" y="2133"/>
                    <a:pt x="1604" y="2036"/>
                    <a:pt x="1822" y="1821"/>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5" name="Google Shape;3365;p66"/>
            <p:cNvSpPr/>
            <p:nvPr/>
          </p:nvSpPr>
          <p:spPr>
            <a:xfrm>
              <a:off x="671322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6" name="Google Shape;3366;p66"/>
            <p:cNvSpPr/>
            <p:nvPr/>
          </p:nvSpPr>
          <p:spPr>
            <a:xfrm>
              <a:off x="678922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7" name="Google Shape;3367;p66"/>
            <p:cNvSpPr/>
            <p:nvPr/>
          </p:nvSpPr>
          <p:spPr>
            <a:xfrm>
              <a:off x="686565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8" name="Google Shape;3368;p66"/>
            <p:cNvSpPr/>
            <p:nvPr/>
          </p:nvSpPr>
          <p:spPr>
            <a:xfrm>
              <a:off x="701787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69" name="Google Shape;3369;p66"/>
            <p:cNvSpPr/>
            <p:nvPr/>
          </p:nvSpPr>
          <p:spPr>
            <a:xfrm>
              <a:off x="694185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0" name="Google Shape;3370;p66"/>
            <p:cNvSpPr/>
            <p:nvPr/>
          </p:nvSpPr>
          <p:spPr>
            <a:xfrm>
              <a:off x="686565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1" name="Google Shape;3371;p66"/>
            <p:cNvSpPr/>
            <p:nvPr/>
          </p:nvSpPr>
          <p:spPr>
            <a:xfrm>
              <a:off x="6789225" y="149520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2" name="Google Shape;3372;p66"/>
            <p:cNvSpPr/>
            <p:nvPr/>
          </p:nvSpPr>
          <p:spPr>
            <a:xfrm>
              <a:off x="671322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3" name="Google Shape;3373;p66"/>
            <p:cNvSpPr/>
            <p:nvPr/>
          </p:nvSpPr>
          <p:spPr>
            <a:xfrm>
              <a:off x="6637000" y="1495200"/>
              <a:ext cx="62225" cy="53325"/>
            </a:xfrm>
            <a:custGeom>
              <a:avLst/>
              <a:gdLst/>
              <a:ahLst/>
              <a:cxnLst/>
              <a:rect l="l" t="t" r="r" b="b"/>
              <a:pathLst>
                <a:path w="2489" h="2133" extrusionOk="0">
                  <a:moveTo>
                    <a:pt x="1066" y="0"/>
                  </a:moveTo>
                  <a:cubicBezTo>
                    <a:pt x="480"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4" name="Google Shape;3374;p66"/>
            <p:cNvSpPr/>
            <p:nvPr/>
          </p:nvSpPr>
          <p:spPr>
            <a:xfrm>
              <a:off x="6637000" y="1571400"/>
              <a:ext cx="62225" cy="53250"/>
            </a:xfrm>
            <a:custGeom>
              <a:avLst/>
              <a:gdLst/>
              <a:ahLst/>
              <a:cxnLst/>
              <a:rect l="l" t="t" r="r" b="b"/>
              <a:pathLst>
                <a:path w="2489" h="2130" extrusionOk="0">
                  <a:moveTo>
                    <a:pt x="1066" y="1"/>
                  </a:moveTo>
                  <a:cubicBezTo>
                    <a:pt x="480" y="1"/>
                    <a:pt x="1" y="472"/>
                    <a:pt x="1" y="1066"/>
                  </a:cubicBezTo>
                  <a:cubicBezTo>
                    <a:pt x="1" y="1703"/>
                    <a:pt x="525" y="2129"/>
                    <a:pt x="1071" y="2129"/>
                  </a:cubicBezTo>
                  <a:cubicBezTo>
                    <a:pt x="1332" y="2129"/>
                    <a:pt x="1598" y="2032"/>
                    <a:pt x="1813"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5" name="Google Shape;3375;p66"/>
            <p:cNvSpPr/>
            <p:nvPr/>
          </p:nvSpPr>
          <p:spPr>
            <a:xfrm>
              <a:off x="6560800" y="1571400"/>
              <a:ext cx="62200" cy="53250"/>
            </a:xfrm>
            <a:custGeom>
              <a:avLst/>
              <a:gdLst/>
              <a:ahLst/>
              <a:cxnLst/>
              <a:rect l="l" t="t" r="r" b="b"/>
              <a:pathLst>
                <a:path w="2488" h="2130" extrusionOk="0">
                  <a:moveTo>
                    <a:pt x="1065" y="1"/>
                  </a:moveTo>
                  <a:cubicBezTo>
                    <a:pt x="480" y="1"/>
                    <a:pt x="0" y="472"/>
                    <a:pt x="0" y="1066"/>
                  </a:cubicBezTo>
                  <a:cubicBezTo>
                    <a:pt x="0" y="1703"/>
                    <a:pt x="524"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6" name="Google Shape;3376;p66"/>
            <p:cNvSpPr/>
            <p:nvPr/>
          </p:nvSpPr>
          <p:spPr>
            <a:xfrm>
              <a:off x="6484575" y="1571400"/>
              <a:ext cx="62425" cy="53250"/>
            </a:xfrm>
            <a:custGeom>
              <a:avLst/>
              <a:gdLst/>
              <a:ahLst/>
              <a:cxnLst/>
              <a:rect l="l" t="t" r="r" b="b"/>
              <a:pathLst>
                <a:path w="2497" h="2130" extrusionOk="0">
                  <a:moveTo>
                    <a:pt x="1065" y="1"/>
                  </a:moveTo>
                  <a:cubicBezTo>
                    <a:pt x="480" y="1"/>
                    <a:pt x="1" y="472"/>
                    <a:pt x="1" y="1066"/>
                  </a:cubicBezTo>
                  <a:cubicBezTo>
                    <a:pt x="1" y="1703"/>
                    <a:pt x="525" y="2129"/>
                    <a:pt x="1073" y="2129"/>
                  </a:cubicBezTo>
                  <a:cubicBezTo>
                    <a:pt x="1335" y="2129"/>
                    <a:pt x="1603" y="2032"/>
                    <a:pt x="1822" y="1813"/>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7" name="Google Shape;3377;p66"/>
            <p:cNvSpPr/>
            <p:nvPr/>
          </p:nvSpPr>
          <p:spPr>
            <a:xfrm>
              <a:off x="6408350" y="1571400"/>
              <a:ext cx="62425" cy="53250"/>
            </a:xfrm>
            <a:custGeom>
              <a:avLst/>
              <a:gdLst/>
              <a:ahLst/>
              <a:cxnLst/>
              <a:rect l="l" t="t" r="r" b="b"/>
              <a:pathLst>
                <a:path w="2497" h="2130" extrusionOk="0">
                  <a:moveTo>
                    <a:pt x="1074" y="1"/>
                  </a:moveTo>
                  <a:cubicBezTo>
                    <a:pt x="481" y="1"/>
                    <a:pt x="9" y="472"/>
                    <a:pt x="1" y="1066"/>
                  </a:cubicBezTo>
                  <a:cubicBezTo>
                    <a:pt x="1" y="1703"/>
                    <a:pt x="525" y="2129"/>
                    <a:pt x="1074" y="2129"/>
                  </a:cubicBezTo>
                  <a:cubicBezTo>
                    <a:pt x="1336" y="2129"/>
                    <a:pt x="1604" y="2032"/>
                    <a:pt x="1822" y="1813"/>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8" name="Google Shape;3378;p66"/>
            <p:cNvSpPr/>
            <p:nvPr/>
          </p:nvSpPr>
          <p:spPr>
            <a:xfrm>
              <a:off x="63323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3"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79" name="Google Shape;3379;p66"/>
            <p:cNvSpPr/>
            <p:nvPr/>
          </p:nvSpPr>
          <p:spPr>
            <a:xfrm>
              <a:off x="5875275" y="2180700"/>
              <a:ext cx="62225" cy="53350"/>
            </a:xfrm>
            <a:custGeom>
              <a:avLst/>
              <a:gdLst/>
              <a:ahLst/>
              <a:cxnLst/>
              <a:rect l="l" t="t" r="r" b="b"/>
              <a:pathLst>
                <a:path w="2489" h="2134" extrusionOk="0">
                  <a:moveTo>
                    <a:pt x="1065" y="1"/>
                  </a:moveTo>
                  <a:cubicBezTo>
                    <a:pt x="480" y="1"/>
                    <a:pt x="0" y="480"/>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0" name="Google Shape;3380;p66"/>
            <p:cNvSpPr/>
            <p:nvPr/>
          </p:nvSpPr>
          <p:spPr>
            <a:xfrm>
              <a:off x="587527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1" name="Google Shape;3381;p66"/>
            <p:cNvSpPr/>
            <p:nvPr/>
          </p:nvSpPr>
          <p:spPr>
            <a:xfrm>
              <a:off x="595147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2" name="Google Shape;3382;p66"/>
            <p:cNvSpPr/>
            <p:nvPr/>
          </p:nvSpPr>
          <p:spPr>
            <a:xfrm>
              <a:off x="595147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3" name="Google Shape;3383;p66"/>
            <p:cNvSpPr/>
            <p:nvPr/>
          </p:nvSpPr>
          <p:spPr>
            <a:xfrm>
              <a:off x="595147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4" name="Google Shape;3384;p66"/>
            <p:cNvSpPr/>
            <p:nvPr/>
          </p:nvSpPr>
          <p:spPr>
            <a:xfrm>
              <a:off x="5951475"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5" name="Google Shape;3385;p66"/>
            <p:cNvSpPr/>
            <p:nvPr/>
          </p:nvSpPr>
          <p:spPr>
            <a:xfrm>
              <a:off x="595147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6" name="Google Shape;3386;p66"/>
            <p:cNvSpPr/>
            <p:nvPr/>
          </p:nvSpPr>
          <p:spPr>
            <a:xfrm>
              <a:off x="595147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7" name="Google Shape;3387;p66"/>
            <p:cNvSpPr/>
            <p:nvPr/>
          </p:nvSpPr>
          <p:spPr>
            <a:xfrm>
              <a:off x="5951475" y="1876050"/>
              <a:ext cx="62225" cy="53275"/>
            </a:xfrm>
            <a:custGeom>
              <a:avLst/>
              <a:gdLst/>
              <a:ahLst/>
              <a:cxnLst/>
              <a:rect l="l" t="t" r="r" b="b"/>
              <a:pathLst>
                <a:path w="2489" h="2131" extrusionOk="0">
                  <a:moveTo>
                    <a:pt x="1066" y="1"/>
                  </a:moveTo>
                  <a:cubicBezTo>
                    <a:pt x="472" y="1"/>
                    <a:pt x="1" y="472"/>
                    <a:pt x="1" y="1066"/>
                  </a:cubicBezTo>
                  <a:cubicBezTo>
                    <a:pt x="1" y="1707"/>
                    <a:pt x="523" y="2131"/>
                    <a:pt x="1068" y="2131"/>
                  </a:cubicBezTo>
                  <a:cubicBezTo>
                    <a:pt x="1330" y="2131"/>
                    <a:pt x="1597" y="2033"/>
                    <a:pt x="1814"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8" name="Google Shape;3388;p66"/>
            <p:cNvSpPr/>
            <p:nvPr/>
          </p:nvSpPr>
          <p:spPr>
            <a:xfrm>
              <a:off x="595147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89" name="Google Shape;3389;p66"/>
            <p:cNvSpPr/>
            <p:nvPr/>
          </p:nvSpPr>
          <p:spPr>
            <a:xfrm>
              <a:off x="595147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0" name="Google Shape;3390;p66"/>
            <p:cNvSpPr/>
            <p:nvPr/>
          </p:nvSpPr>
          <p:spPr>
            <a:xfrm>
              <a:off x="6027500" y="141897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1" name="Google Shape;3391;p66"/>
            <p:cNvSpPr/>
            <p:nvPr/>
          </p:nvSpPr>
          <p:spPr>
            <a:xfrm>
              <a:off x="6027500" y="14952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2" name="Google Shape;3392;p66"/>
            <p:cNvSpPr/>
            <p:nvPr/>
          </p:nvSpPr>
          <p:spPr>
            <a:xfrm>
              <a:off x="6027500" y="1571400"/>
              <a:ext cx="62425" cy="53250"/>
            </a:xfrm>
            <a:custGeom>
              <a:avLst/>
              <a:gdLst/>
              <a:ahLst/>
              <a:cxnLst/>
              <a:rect l="l" t="t" r="r" b="b"/>
              <a:pathLst>
                <a:path w="2497" h="2130" extrusionOk="0">
                  <a:moveTo>
                    <a:pt x="1073" y="1"/>
                  </a:moveTo>
                  <a:cubicBezTo>
                    <a:pt x="480" y="1"/>
                    <a:pt x="9" y="472"/>
                    <a:pt x="0" y="1066"/>
                  </a:cubicBezTo>
                  <a:cubicBezTo>
                    <a:pt x="0" y="1703"/>
                    <a:pt x="529" y="2129"/>
                    <a:pt x="1077" y="2129"/>
                  </a:cubicBezTo>
                  <a:cubicBezTo>
                    <a:pt x="1339" y="2129"/>
                    <a:pt x="1606" y="2032"/>
                    <a:pt x="1821" y="1813"/>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3" name="Google Shape;3393;p66"/>
            <p:cNvSpPr/>
            <p:nvPr/>
          </p:nvSpPr>
          <p:spPr>
            <a:xfrm>
              <a:off x="6027500" y="164740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4" name="Google Shape;3394;p66"/>
            <p:cNvSpPr/>
            <p:nvPr/>
          </p:nvSpPr>
          <p:spPr>
            <a:xfrm>
              <a:off x="6027500" y="1723625"/>
              <a:ext cx="62425" cy="53350"/>
            </a:xfrm>
            <a:custGeom>
              <a:avLst/>
              <a:gdLst/>
              <a:ahLst/>
              <a:cxnLst/>
              <a:rect l="l" t="t" r="r" b="b"/>
              <a:pathLst>
                <a:path w="2497" h="2134" extrusionOk="0">
                  <a:moveTo>
                    <a:pt x="1073" y="1"/>
                  </a:moveTo>
                  <a:cubicBezTo>
                    <a:pt x="480" y="1"/>
                    <a:pt x="9"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5" name="Google Shape;3395;p66"/>
            <p:cNvSpPr/>
            <p:nvPr/>
          </p:nvSpPr>
          <p:spPr>
            <a:xfrm>
              <a:off x="6027500" y="179985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6" name="Google Shape;3396;p66"/>
            <p:cNvSpPr/>
            <p:nvPr/>
          </p:nvSpPr>
          <p:spPr>
            <a:xfrm>
              <a:off x="6027500" y="1876050"/>
              <a:ext cx="62425" cy="53350"/>
            </a:xfrm>
            <a:custGeom>
              <a:avLst/>
              <a:gdLst/>
              <a:ahLst/>
              <a:cxnLst/>
              <a:rect l="l" t="t" r="r" b="b"/>
              <a:pathLst>
                <a:path w="2497" h="2134" extrusionOk="0">
                  <a:moveTo>
                    <a:pt x="1073" y="1"/>
                  </a:moveTo>
                  <a:cubicBezTo>
                    <a:pt x="480" y="1"/>
                    <a:pt x="9" y="472"/>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7" name="Google Shape;3397;p66"/>
            <p:cNvSpPr/>
            <p:nvPr/>
          </p:nvSpPr>
          <p:spPr>
            <a:xfrm>
              <a:off x="6027500" y="1952050"/>
              <a:ext cx="62425" cy="53450"/>
            </a:xfrm>
            <a:custGeom>
              <a:avLst/>
              <a:gdLst/>
              <a:ahLst/>
              <a:cxnLst/>
              <a:rect l="l" t="t" r="r" b="b"/>
              <a:pathLst>
                <a:path w="2497" h="2138" extrusionOk="0">
                  <a:moveTo>
                    <a:pt x="1073" y="1"/>
                  </a:moveTo>
                  <a:cubicBezTo>
                    <a:pt x="480" y="9"/>
                    <a:pt x="9" y="481"/>
                    <a:pt x="0" y="1074"/>
                  </a:cubicBezTo>
                  <a:cubicBezTo>
                    <a:pt x="0" y="1712"/>
                    <a:pt x="529" y="2138"/>
                    <a:pt x="1077" y="2138"/>
                  </a:cubicBezTo>
                  <a:cubicBezTo>
                    <a:pt x="1339" y="2138"/>
                    <a:pt x="1606"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8" name="Google Shape;3398;p66"/>
            <p:cNvSpPr/>
            <p:nvPr/>
          </p:nvSpPr>
          <p:spPr>
            <a:xfrm>
              <a:off x="6103700" y="141897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399" name="Google Shape;3399;p66"/>
            <p:cNvSpPr/>
            <p:nvPr/>
          </p:nvSpPr>
          <p:spPr>
            <a:xfrm>
              <a:off x="6103700" y="14952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0" name="Google Shape;3400;p66"/>
            <p:cNvSpPr/>
            <p:nvPr/>
          </p:nvSpPr>
          <p:spPr>
            <a:xfrm>
              <a:off x="6103700" y="1571400"/>
              <a:ext cx="62425" cy="53250"/>
            </a:xfrm>
            <a:custGeom>
              <a:avLst/>
              <a:gdLst/>
              <a:ahLst/>
              <a:cxnLst/>
              <a:rect l="l" t="t" r="r" b="b"/>
              <a:pathLst>
                <a:path w="2497" h="2130" extrusionOk="0">
                  <a:moveTo>
                    <a:pt x="1066" y="1"/>
                  </a:moveTo>
                  <a:cubicBezTo>
                    <a:pt x="481" y="1"/>
                    <a:pt x="9" y="472"/>
                    <a:pt x="1" y="1066"/>
                  </a:cubicBezTo>
                  <a:cubicBezTo>
                    <a:pt x="1" y="1703"/>
                    <a:pt x="525" y="2129"/>
                    <a:pt x="1074" y="2129"/>
                  </a:cubicBezTo>
                  <a:cubicBezTo>
                    <a:pt x="1336" y="2129"/>
                    <a:pt x="1604" y="2032"/>
                    <a:pt x="1822" y="1813"/>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1" name="Google Shape;3401;p66"/>
            <p:cNvSpPr/>
            <p:nvPr/>
          </p:nvSpPr>
          <p:spPr>
            <a:xfrm>
              <a:off x="6103700" y="1647400"/>
              <a:ext cx="62425" cy="53450"/>
            </a:xfrm>
            <a:custGeom>
              <a:avLst/>
              <a:gdLst/>
              <a:ahLst/>
              <a:cxnLst/>
              <a:rect l="l" t="t" r="r" b="b"/>
              <a:pathLst>
                <a:path w="2497" h="2138" extrusionOk="0">
                  <a:moveTo>
                    <a:pt x="1066" y="1"/>
                  </a:moveTo>
                  <a:cubicBezTo>
                    <a:pt x="481" y="9"/>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2" name="Google Shape;3402;p66"/>
            <p:cNvSpPr/>
            <p:nvPr/>
          </p:nvSpPr>
          <p:spPr>
            <a:xfrm>
              <a:off x="6103700" y="1723625"/>
              <a:ext cx="62425" cy="53350"/>
            </a:xfrm>
            <a:custGeom>
              <a:avLst/>
              <a:gdLst/>
              <a:ahLst/>
              <a:cxnLst/>
              <a:rect l="l" t="t" r="r" b="b"/>
              <a:pathLst>
                <a:path w="2497" h="2134" extrusionOk="0">
                  <a:moveTo>
                    <a:pt x="1066" y="1"/>
                  </a:moveTo>
                  <a:cubicBezTo>
                    <a:pt x="481" y="1"/>
                    <a:pt x="9" y="480"/>
                    <a:pt x="1" y="1065"/>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3" name="Google Shape;3403;p66"/>
            <p:cNvSpPr/>
            <p:nvPr/>
          </p:nvSpPr>
          <p:spPr>
            <a:xfrm>
              <a:off x="6103700" y="179985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4" name="Google Shape;3404;p66"/>
            <p:cNvSpPr/>
            <p:nvPr/>
          </p:nvSpPr>
          <p:spPr>
            <a:xfrm>
              <a:off x="6103700" y="1876050"/>
              <a:ext cx="62425" cy="53275"/>
            </a:xfrm>
            <a:custGeom>
              <a:avLst/>
              <a:gdLst/>
              <a:ahLst/>
              <a:cxnLst/>
              <a:rect l="l" t="t" r="r" b="b"/>
              <a:pathLst>
                <a:path w="2497" h="2131" extrusionOk="0">
                  <a:moveTo>
                    <a:pt x="1066" y="1"/>
                  </a:moveTo>
                  <a:cubicBezTo>
                    <a:pt x="481" y="1"/>
                    <a:pt x="9" y="472"/>
                    <a:pt x="1" y="1066"/>
                  </a:cubicBezTo>
                  <a:cubicBezTo>
                    <a:pt x="1" y="1707"/>
                    <a:pt x="523" y="2131"/>
                    <a:pt x="1070" y="2131"/>
                  </a:cubicBezTo>
                  <a:cubicBezTo>
                    <a:pt x="1333" y="2131"/>
                    <a:pt x="1603" y="2033"/>
                    <a:pt x="1822" y="1813"/>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5" name="Google Shape;3405;p66"/>
            <p:cNvSpPr/>
            <p:nvPr/>
          </p:nvSpPr>
          <p:spPr>
            <a:xfrm>
              <a:off x="6103700" y="1952050"/>
              <a:ext cx="62425" cy="53450"/>
            </a:xfrm>
            <a:custGeom>
              <a:avLst/>
              <a:gdLst/>
              <a:ahLst/>
              <a:cxnLst/>
              <a:rect l="l" t="t" r="r" b="b"/>
              <a:pathLst>
                <a:path w="2497" h="2138" extrusionOk="0">
                  <a:moveTo>
                    <a:pt x="1066" y="1"/>
                  </a:moveTo>
                  <a:cubicBezTo>
                    <a:pt x="481" y="9"/>
                    <a:pt x="9" y="481"/>
                    <a:pt x="1" y="1074"/>
                  </a:cubicBezTo>
                  <a:cubicBezTo>
                    <a:pt x="1" y="1712"/>
                    <a:pt x="525" y="2138"/>
                    <a:pt x="1074" y="2138"/>
                  </a:cubicBezTo>
                  <a:cubicBezTo>
                    <a:pt x="1336" y="2138"/>
                    <a:pt x="1604" y="2040"/>
                    <a:pt x="1822" y="1822"/>
                  </a:cubicBezTo>
                  <a:cubicBezTo>
                    <a:pt x="2497"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6" name="Google Shape;3406;p66"/>
            <p:cNvSpPr/>
            <p:nvPr/>
          </p:nvSpPr>
          <p:spPr>
            <a:xfrm>
              <a:off x="617992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7" name="Google Shape;3407;p66"/>
            <p:cNvSpPr/>
            <p:nvPr/>
          </p:nvSpPr>
          <p:spPr>
            <a:xfrm>
              <a:off x="617992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8" name="Google Shape;3408;p66"/>
            <p:cNvSpPr/>
            <p:nvPr/>
          </p:nvSpPr>
          <p:spPr>
            <a:xfrm>
              <a:off x="617992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09" name="Google Shape;3409;p66"/>
            <p:cNvSpPr/>
            <p:nvPr/>
          </p:nvSpPr>
          <p:spPr>
            <a:xfrm>
              <a:off x="6256150" y="141897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0" name="Google Shape;3410;p66"/>
            <p:cNvSpPr/>
            <p:nvPr/>
          </p:nvSpPr>
          <p:spPr>
            <a:xfrm>
              <a:off x="6256150" y="149520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1" name="Google Shape;3411;p66"/>
            <p:cNvSpPr/>
            <p:nvPr/>
          </p:nvSpPr>
          <p:spPr>
            <a:xfrm>
              <a:off x="6256150" y="1571400"/>
              <a:ext cx="62200" cy="53250"/>
            </a:xfrm>
            <a:custGeom>
              <a:avLst/>
              <a:gdLst/>
              <a:ahLst/>
              <a:cxnLst/>
              <a:rect l="l" t="t" r="r" b="b"/>
              <a:pathLst>
                <a:path w="2488" h="2130" extrusionOk="0">
                  <a:moveTo>
                    <a:pt x="1065" y="1"/>
                  </a:moveTo>
                  <a:cubicBezTo>
                    <a:pt x="480" y="1"/>
                    <a:pt x="0" y="472"/>
                    <a:pt x="0" y="1066"/>
                  </a:cubicBezTo>
                  <a:cubicBezTo>
                    <a:pt x="0" y="1703"/>
                    <a:pt x="524" y="2129"/>
                    <a:pt x="1070" y="2129"/>
                  </a:cubicBezTo>
                  <a:cubicBezTo>
                    <a:pt x="1331" y="2129"/>
                    <a:pt x="1597" y="2032"/>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2" name="Google Shape;3412;p66"/>
            <p:cNvSpPr/>
            <p:nvPr/>
          </p:nvSpPr>
          <p:spPr>
            <a:xfrm>
              <a:off x="6256150" y="164740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3" name="Google Shape;3413;p66"/>
            <p:cNvSpPr/>
            <p:nvPr/>
          </p:nvSpPr>
          <p:spPr>
            <a:xfrm>
              <a:off x="617992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4" name="Google Shape;3414;p66"/>
            <p:cNvSpPr/>
            <p:nvPr/>
          </p:nvSpPr>
          <p:spPr>
            <a:xfrm>
              <a:off x="617992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5" name="Google Shape;3415;p66"/>
            <p:cNvSpPr/>
            <p:nvPr/>
          </p:nvSpPr>
          <p:spPr>
            <a:xfrm>
              <a:off x="617992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6" name="Google Shape;3416;p66"/>
            <p:cNvSpPr/>
            <p:nvPr/>
          </p:nvSpPr>
          <p:spPr>
            <a:xfrm>
              <a:off x="6179925" y="1876050"/>
              <a:ext cx="62225" cy="53275"/>
            </a:xfrm>
            <a:custGeom>
              <a:avLst/>
              <a:gdLst/>
              <a:ahLst/>
              <a:cxnLst/>
              <a:rect l="l" t="t" r="r" b="b"/>
              <a:pathLst>
                <a:path w="2489" h="2131" extrusionOk="0">
                  <a:moveTo>
                    <a:pt x="1065" y="1"/>
                  </a:moveTo>
                  <a:cubicBezTo>
                    <a:pt x="480" y="1"/>
                    <a:pt x="0" y="472"/>
                    <a:pt x="0" y="1066"/>
                  </a:cubicBezTo>
                  <a:cubicBezTo>
                    <a:pt x="0" y="1707"/>
                    <a:pt x="523" y="2131"/>
                    <a:pt x="1070" y="2131"/>
                  </a:cubicBezTo>
                  <a:cubicBezTo>
                    <a:pt x="1333" y="2131"/>
                    <a:pt x="1602" y="2033"/>
                    <a:pt x="1821"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7" name="Google Shape;3417;p66"/>
            <p:cNvSpPr/>
            <p:nvPr/>
          </p:nvSpPr>
          <p:spPr>
            <a:xfrm>
              <a:off x="617992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8" name="Google Shape;3418;p66"/>
            <p:cNvSpPr/>
            <p:nvPr/>
          </p:nvSpPr>
          <p:spPr>
            <a:xfrm>
              <a:off x="617992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19" name="Google Shape;3419;p66"/>
            <p:cNvSpPr/>
            <p:nvPr/>
          </p:nvSpPr>
          <p:spPr>
            <a:xfrm>
              <a:off x="6103700" y="2028275"/>
              <a:ext cx="62425" cy="53450"/>
            </a:xfrm>
            <a:custGeom>
              <a:avLst/>
              <a:gdLst/>
              <a:ahLst/>
              <a:cxnLst/>
              <a:rect l="l" t="t" r="r" b="b"/>
              <a:pathLst>
                <a:path w="2497" h="2138" extrusionOk="0">
                  <a:moveTo>
                    <a:pt x="1066" y="1"/>
                  </a:moveTo>
                  <a:cubicBezTo>
                    <a:pt x="481" y="1"/>
                    <a:pt x="9" y="480"/>
                    <a:pt x="1" y="1065"/>
                  </a:cubicBezTo>
                  <a:cubicBezTo>
                    <a:pt x="1" y="1709"/>
                    <a:pt x="526" y="2137"/>
                    <a:pt x="1075" y="2137"/>
                  </a:cubicBezTo>
                  <a:cubicBezTo>
                    <a:pt x="1337" y="2137"/>
                    <a:pt x="1604" y="2040"/>
                    <a:pt x="1822" y="1821"/>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0" name="Google Shape;3420;p66"/>
            <p:cNvSpPr/>
            <p:nvPr/>
          </p:nvSpPr>
          <p:spPr>
            <a:xfrm>
              <a:off x="6027500" y="2028275"/>
              <a:ext cx="62425" cy="53450"/>
            </a:xfrm>
            <a:custGeom>
              <a:avLst/>
              <a:gdLst/>
              <a:ahLst/>
              <a:cxnLst/>
              <a:rect l="l" t="t" r="r" b="b"/>
              <a:pathLst>
                <a:path w="2497" h="2138" extrusionOk="0">
                  <a:moveTo>
                    <a:pt x="1073" y="1"/>
                  </a:moveTo>
                  <a:cubicBezTo>
                    <a:pt x="480" y="1"/>
                    <a:pt x="9" y="480"/>
                    <a:pt x="0" y="1065"/>
                  </a:cubicBezTo>
                  <a:cubicBezTo>
                    <a:pt x="0" y="1709"/>
                    <a:pt x="529" y="2137"/>
                    <a:pt x="1078" y="2137"/>
                  </a:cubicBezTo>
                  <a:cubicBezTo>
                    <a:pt x="1340" y="2137"/>
                    <a:pt x="1606" y="2040"/>
                    <a:pt x="1821" y="1821"/>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1" name="Google Shape;3421;p66"/>
            <p:cNvSpPr/>
            <p:nvPr/>
          </p:nvSpPr>
          <p:spPr>
            <a:xfrm>
              <a:off x="6027500" y="2104500"/>
              <a:ext cx="62425" cy="53325"/>
            </a:xfrm>
            <a:custGeom>
              <a:avLst/>
              <a:gdLst/>
              <a:ahLst/>
              <a:cxnLst/>
              <a:rect l="l" t="t" r="r" b="b"/>
              <a:pathLst>
                <a:path w="2497" h="2133" extrusionOk="0">
                  <a:moveTo>
                    <a:pt x="1073" y="0"/>
                  </a:moveTo>
                  <a:cubicBezTo>
                    <a:pt x="480" y="0"/>
                    <a:pt x="9"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2" name="Google Shape;3422;p66"/>
            <p:cNvSpPr/>
            <p:nvPr/>
          </p:nvSpPr>
          <p:spPr>
            <a:xfrm>
              <a:off x="595147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3" name="Google Shape;3423;p66"/>
            <p:cNvSpPr/>
            <p:nvPr/>
          </p:nvSpPr>
          <p:spPr>
            <a:xfrm>
              <a:off x="5494400" y="1647400"/>
              <a:ext cx="62225" cy="53450"/>
            </a:xfrm>
            <a:custGeom>
              <a:avLst/>
              <a:gdLst/>
              <a:ahLst/>
              <a:cxnLst/>
              <a:rect l="l" t="t" r="r" b="b"/>
              <a:pathLst>
                <a:path w="2489" h="2138" extrusionOk="0">
                  <a:moveTo>
                    <a:pt x="1066" y="1"/>
                  </a:moveTo>
                  <a:cubicBezTo>
                    <a:pt x="480" y="1"/>
                    <a:pt x="1" y="481"/>
                    <a:pt x="1" y="1066"/>
                  </a:cubicBezTo>
                  <a:cubicBezTo>
                    <a:pt x="1" y="1710"/>
                    <a:pt x="526" y="2138"/>
                    <a:pt x="1075" y="2138"/>
                  </a:cubicBezTo>
                  <a:cubicBezTo>
                    <a:pt x="1337" y="2138"/>
                    <a:pt x="1604"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4" name="Google Shape;3424;p66"/>
            <p:cNvSpPr/>
            <p:nvPr/>
          </p:nvSpPr>
          <p:spPr>
            <a:xfrm>
              <a:off x="5494400" y="172362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5" name="Google Shape;3425;p66"/>
            <p:cNvSpPr/>
            <p:nvPr/>
          </p:nvSpPr>
          <p:spPr>
            <a:xfrm>
              <a:off x="5494400" y="17998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6" name="Google Shape;3426;p66"/>
            <p:cNvSpPr/>
            <p:nvPr/>
          </p:nvSpPr>
          <p:spPr>
            <a:xfrm>
              <a:off x="5494400" y="1876050"/>
              <a:ext cx="62225" cy="53300"/>
            </a:xfrm>
            <a:custGeom>
              <a:avLst/>
              <a:gdLst/>
              <a:ahLst/>
              <a:cxnLst/>
              <a:rect l="l" t="t" r="r" b="b"/>
              <a:pathLst>
                <a:path w="2489" h="2132" extrusionOk="0">
                  <a:moveTo>
                    <a:pt x="1066" y="1"/>
                  </a:moveTo>
                  <a:cubicBezTo>
                    <a:pt x="480" y="1"/>
                    <a:pt x="1" y="472"/>
                    <a:pt x="1" y="1066"/>
                  </a:cubicBezTo>
                  <a:cubicBezTo>
                    <a:pt x="1" y="1705"/>
                    <a:pt x="525" y="2132"/>
                    <a:pt x="1072" y="2132"/>
                  </a:cubicBezTo>
                  <a:cubicBezTo>
                    <a:pt x="1332" y="2132"/>
                    <a:pt x="1597" y="2036"/>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7" name="Google Shape;3427;p66"/>
            <p:cNvSpPr/>
            <p:nvPr/>
          </p:nvSpPr>
          <p:spPr>
            <a:xfrm>
              <a:off x="5494400" y="1952050"/>
              <a:ext cx="62225" cy="53450"/>
            </a:xfrm>
            <a:custGeom>
              <a:avLst/>
              <a:gdLst/>
              <a:ahLst/>
              <a:cxnLst/>
              <a:rect l="l" t="t" r="r" b="b"/>
              <a:pathLst>
                <a:path w="2489" h="2138" extrusionOk="0">
                  <a:moveTo>
                    <a:pt x="1066" y="1"/>
                  </a:moveTo>
                  <a:cubicBezTo>
                    <a:pt x="480" y="9"/>
                    <a:pt x="1" y="481"/>
                    <a:pt x="1" y="1074"/>
                  </a:cubicBezTo>
                  <a:cubicBezTo>
                    <a:pt x="1" y="1712"/>
                    <a:pt x="525" y="2138"/>
                    <a:pt x="1074" y="2138"/>
                  </a:cubicBezTo>
                  <a:cubicBezTo>
                    <a:pt x="1336" y="2138"/>
                    <a:pt x="1604"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8" name="Google Shape;3428;p66"/>
            <p:cNvSpPr/>
            <p:nvPr/>
          </p:nvSpPr>
          <p:spPr>
            <a:xfrm>
              <a:off x="5494400" y="2028275"/>
              <a:ext cx="62225" cy="53450"/>
            </a:xfrm>
            <a:custGeom>
              <a:avLst/>
              <a:gdLst/>
              <a:ahLst/>
              <a:cxnLst/>
              <a:rect l="l" t="t" r="r" b="b"/>
              <a:pathLst>
                <a:path w="2489" h="2138" extrusionOk="0">
                  <a:moveTo>
                    <a:pt x="1066" y="1"/>
                  </a:moveTo>
                  <a:cubicBezTo>
                    <a:pt x="480" y="1"/>
                    <a:pt x="1" y="480"/>
                    <a:pt x="1" y="1065"/>
                  </a:cubicBezTo>
                  <a:cubicBezTo>
                    <a:pt x="1" y="1709"/>
                    <a:pt x="526" y="2137"/>
                    <a:pt x="1075" y="2137"/>
                  </a:cubicBezTo>
                  <a:cubicBezTo>
                    <a:pt x="1337" y="2137"/>
                    <a:pt x="1604" y="2040"/>
                    <a:pt x="1822" y="1821"/>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29" name="Google Shape;3429;p66"/>
            <p:cNvSpPr/>
            <p:nvPr/>
          </p:nvSpPr>
          <p:spPr>
            <a:xfrm>
              <a:off x="5494400" y="21045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0" name="Google Shape;3430;p66"/>
            <p:cNvSpPr/>
            <p:nvPr/>
          </p:nvSpPr>
          <p:spPr>
            <a:xfrm>
              <a:off x="5494400" y="2180700"/>
              <a:ext cx="62225" cy="53350"/>
            </a:xfrm>
            <a:custGeom>
              <a:avLst/>
              <a:gdLst/>
              <a:ahLst/>
              <a:cxnLst/>
              <a:rect l="l" t="t" r="r" b="b"/>
              <a:pathLst>
                <a:path w="2489" h="2134" extrusionOk="0">
                  <a:moveTo>
                    <a:pt x="1066" y="1"/>
                  </a:moveTo>
                  <a:cubicBezTo>
                    <a:pt x="480" y="1"/>
                    <a:pt x="1" y="480"/>
                    <a:pt x="1" y="1066"/>
                  </a:cubicBezTo>
                  <a:cubicBezTo>
                    <a:pt x="1" y="1709"/>
                    <a:pt x="526" y="2133"/>
                    <a:pt x="1075" y="2133"/>
                  </a:cubicBezTo>
                  <a:cubicBezTo>
                    <a:pt x="1337"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1" name="Google Shape;3431;p66"/>
            <p:cNvSpPr/>
            <p:nvPr/>
          </p:nvSpPr>
          <p:spPr>
            <a:xfrm>
              <a:off x="5494400" y="2256925"/>
              <a:ext cx="62375" cy="53425"/>
            </a:xfrm>
            <a:custGeom>
              <a:avLst/>
              <a:gdLst/>
              <a:ahLst/>
              <a:cxnLst/>
              <a:rect l="l" t="t" r="r" b="b"/>
              <a:pathLst>
                <a:path w="2495" h="2137" extrusionOk="0">
                  <a:moveTo>
                    <a:pt x="1076" y="0"/>
                  </a:moveTo>
                  <a:cubicBezTo>
                    <a:pt x="1072" y="0"/>
                    <a:pt x="1069" y="0"/>
                    <a:pt x="1066" y="0"/>
                  </a:cubicBezTo>
                  <a:cubicBezTo>
                    <a:pt x="480" y="0"/>
                    <a:pt x="1" y="480"/>
                    <a:pt x="1" y="1065"/>
                  </a:cubicBezTo>
                  <a:cubicBezTo>
                    <a:pt x="1" y="1709"/>
                    <a:pt x="530" y="2137"/>
                    <a:pt x="1078" y="2137"/>
                  </a:cubicBezTo>
                  <a:cubicBezTo>
                    <a:pt x="1340" y="2137"/>
                    <a:pt x="1606"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2" name="Google Shape;3432;p66"/>
            <p:cNvSpPr/>
            <p:nvPr/>
          </p:nvSpPr>
          <p:spPr>
            <a:xfrm>
              <a:off x="5494400" y="23331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3" name="Google Shape;3433;p66"/>
            <p:cNvSpPr/>
            <p:nvPr/>
          </p:nvSpPr>
          <p:spPr>
            <a:xfrm>
              <a:off x="549440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3"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4" name="Google Shape;3434;p66"/>
            <p:cNvSpPr/>
            <p:nvPr/>
          </p:nvSpPr>
          <p:spPr>
            <a:xfrm>
              <a:off x="5494400" y="2561575"/>
              <a:ext cx="62225" cy="53425"/>
            </a:xfrm>
            <a:custGeom>
              <a:avLst/>
              <a:gdLst/>
              <a:ahLst/>
              <a:cxnLst/>
              <a:rect l="l" t="t" r="r" b="b"/>
              <a:pathLst>
                <a:path w="2489" h="2137" extrusionOk="0">
                  <a:moveTo>
                    <a:pt x="1066" y="0"/>
                  </a:moveTo>
                  <a:cubicBezTo>
                    <a:pt x="480" y="0"/>
                    <a:pt x="1" y="480"/>
                    <a:pt x="1" y="1073"/>
                  </a:cubicBezTo>
                  <a:cubicBezTo>
                    <a:pt x="1" y="1711"/>
                    <a:pt x="522" y="2137"/>
                    <a:pt x="1067" y="2137"/>
                  </a:cubicBezTo>
                  <a:cubicBezTo>
                    <a:pt x="1329" y="2137"/>
                    <a:pt x="1595" y="2039"/>
                    <a:pt x="1814" y="1821"/>
                  </a:cubicBezTo>
                  <a:cubicBezTo>
                    <a:pt x="2488" y="1154"/>
                    <a:pt x="2017" y="8"/>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5" name="Google Shape;3435;p66"/>
            <p:cNvSpPr/>
            <p:nvPr/>
          </p:nvSpPr>
          <p:spPr>
            <a:xfrm>
              <a:off x="5494400" y="2637775"/>
              <a:ext cx="62225" cy="53450"/>
            </a:xfrm>
            <a:custGeom>
              <a:avLst/>
              <a:gdLst/>
              <a:ahLst/>
              <a:cxnLst/>
              <a:rect l="l" t="t" r="r" b="b"/>
              <a:pathLst>
                <a:path w="2489" h="2138" extrusionOk="0">
                  <a:moveTo>
                    <a:pt x="1066" y="1"/>
                  </a:moveTo>
                  <a:cubicBezTo>
                    <a:pt x="480" y="1"/>
                    <a:pt x="1" y="480"/>
                    <a:pt x="1" y="1074"/>
                  </a:cubicBezTo>
                  <a:cubicBezTo>
                    <a:pt x="1" y="1712"/>
                    <a:pt x="525" y="2137"/>
                    <a:pt x="1074" y="2137"/>
                  </a:cubicBezTo>
                  <a:cubicBezTo>
                    <a:pt x="1336" y="2137"/>
                    <a:pt x="1604"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6" name="Google Shape;3436;p66"/>
            <p:cNvSpPr/>
            <p:nvPr/>
          </p:nvSpPr>
          <p:spPr>
            <a:xfrm>
              <a:off x="549440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7" name="Google Shape;3437;p66"/>
            <p:cNvSpPr/>
            <p:nvPr/>
          </p:nvSpPr>
          <p:spPr>
            <a:xfrm>
              <a:off x="5494400" y="279020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8" name="Google Shape;3438;p66"/>
            <p:cNvSpPr/>
            <p:nvPr/>
          </p:nvSpPr>
          <p:spPr>
            <a:xfrm>
              <a:off x="5570625" y="1266550"/>
              <a:ext cx="62200" cy="53450"/>
            </a:xfrm>
            <a:custGeom>
              <a:avLst/>
              <a:gdLst/>
              <a:ahLst/>
              <a:cxnLst/>
              <a:rect l="l" t="t" r="r" b="b"/>
              <a:pathLst>
                <a:path w="2488" h="2138" extrusionOk="0">
                  <a:moveTo>
                    <a:pt x="1065" y="0"/>
                  </a:moveTo>
                  <a:cubicBezTo>
                    <a:pt x="472" y="9"/>
                    <a:pt x="0" y="480"/>
                    <a:pt x="0" y="1074"/>
                  </a:cubicBezTo>
                  <a:cubicBezTo>
                    <a:pt x="0" y="1711"/>
                    <a:pt x="525" y="2137"/>
                    <a:pt x="1071" y="2137"/>
                  </a:cubicBezTo>
                  <a:cubicBezTo>
                    <a:pt x="1332" y="2137"/>
                    <a:pt x="1598" y="2040"/>
                    <a:pt x="1813" y="1821"/>
                  </a:cubicBezTo>
                  <a:cubicBezTo>
                    <a:pt x="2488" y="1155"/>
                    <a:pt x="2016" y="9"/>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39" name="Google Shape;3439;p66"/>
            <p:cNvSpPr/>
            <p:nvPr/>
          </p:nvSpPr>
          <p:spPr>
            <a:xfrm>
              <a:off x="5570625" y="134275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0" name="Google Shape;3440;p66"/>
            <p:cNvSpPr/>
            <p:nvPr/>
          </p:nvSpPr>
          <p:spPr>
            <a:xfrm>
              <a:off x="5570625" y="141897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1" name="Google Shape;3441;p66"/>
            <p:cNvSpPr/>
            <p:nvPr/>
          </p:nvSpPr>
          <p:spPr>
            <a:xfrm>
              <a:off x="5570625" y="1495200"/>
              <a:ext cx="62200" cy="53325"/>
            </a:xfrm>
            <a:custGeom>
              <a:avLst/>
              <a:gdLst/>
              <a:ahLst/>
              <a:cxnLst/>
              <a:rect l="l" t="t" r="r" b="b"/>
              <a:pathLst>
                <a:path w="2488" h="2133" extrusionOk="0">
                  <a:moveTo>
                    <a:pt x="1065" y="0"/>
                  </a:moveTo>
                  <a:cubicBezTo>
                    <a:pt x="472" y="0"/>
                    <a:pt x="0" y="472"/>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2" name="Google Shape;3442;p66"/>
            <p:cNvSpPr/>
            <p:nvPr/>
          </p:nvSpPr>
          <p:spPr>
            <a:xfrm>
              <a:off x="5570625" y="1571400"/>
              <a:ext cx="62200" cy="53250"/>
            </a:xfrm>
            <a:custGeom>
              <a:avLst/>
              <a:gdLst/>
              <a:ahLst/>
              <a:cxnLst/>
              <a:rect l="l" t="t" r="r" b="b"/>
              <a:pathLst>
                <a:path w="2488" h="2130" extrusionOk="0">
                  <a:moveTo>
                    <a:pt x="1065" y="1"/>
                  </a:moveTo>
                  <a:cubicBezTo>
                    <a:pt x="472" y="1"/>
                    <a:pt x="0" y="472"/>
                    <a:pt x="0" y="1066"/>
                  </a:cubicBezTo>
                  <a:cubicBezTo>
                    <a:pt x="0" y="1703"/>
                    <a:pt x="525" y="2129"/>
                    <a:pt x="1071" y="2129"/>
                  </a:cubicBezTo>
                  <a:cubicBezTo>
                    <a:pt x="1332" y="2129"/>
                    <a:pt x="1598" y="2032"/>
                    <a:pt x="1813"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3" name="Google Shape;3443;p66"/>
            <p:cNvSpPr/>
            <p:nvPr/>
          </p:nvSpPr>
          <p:spPr>
            <a:xfrm>
              <a:off x="5570625" y="1647400"/>
              <a:ext cx="62200" cy="53450"/>
            </a:xfrm>
            <a:custGeom>
              <a:avLst/>
              <a:gdLst/>
              <a:ahLst/>
              <a:cxnLst/>
              <a:rect l="l" t="t" r="r" b="b"/>
              <a:pathLst>
                <a:path w="2488" h="2138" extrusionOk="0">
                  <a:moveTo>
                    <a:pt x="1065" y="1"/>
                  </a:moveTo>
                  <a:cubicBezTo>
                    <a:pt x="472" y="1"/>
                    <a:pt x="0" y="481"/>
                    <a:pt x="0" y="1066"/>
                  </a:cubicBezTo>
                  <a:cubicBezTo>
                    <a:pt x="0" y="1710"/>
                    <a:pt x="526" y="2138"/>
                    <a:pt x="1072" y="2138"/>
                  </a:cubicBezTo>
                  <a:cubicBezTo>
                    <a:pt x="1332" y="2138"/>
                    <a:pt x="1598"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4" name="Google Shape;3444;p66"/>
            <p:cNvSpPr/>
            <p:nvPr/>
          </p:nvSpPr>
          <p:spPr>
            <a:xfrm>
              <a:off x="5570625" y="1723625"/>
              <a:ext cx="62200" cy="53350"/>
            </a:xfrm>
            <a:custGeom>
              <a:avLst/>
              <a:gdLst/>
              <a:ahLst/>
              <a:cxnLst/>
              <a:rect l="l" t="t" r="r" b="b"/>
              <a:pathLst>
                <a:path w="2488"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5" name="Google Shape;3445;p66"/>
            <p:cNvSpPr/>
            <p:nvPr/>
          </p:nvSpPr>
          <p:spPr>
            <a:xfrm>
              <a:off x="5570625" y="179985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6" name="Google Shape;3446;p66"/>
            <p:cNvSpPr/>
            <p:nvPr/>
          </p:nvSpPr>
          <p:spPr>
            <a:xfrm>
              <a:off x="5570625" y="187605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7" name="Google Shape;3447;p66"/>
            <p:cNvSpPr/>
            <p:nvPr/>
          </p:nvSpPr>
          <p:spPr>
            <a:xfrm>
              <a:off x="5570625" y="1952050"/>
              <a:ext cx="62200" cy="53450"/>
            </a:xfrm>
            <a:custGeom>
              <a:avLst/>
              <a:gdLst/>
              <a:ahLst/>
              <a:cxnLst/>
              <a:rect l="l" t="t" r="r" b="b"/>
              <a:pathLst>
                <a:path w="2488" h="2138" extrusionOk="0">
                  <a:moveTo>
                    <a:pt x="1065" y="1"/>
                  </a:moveTo>
                  <a:cubicBezTo>
                    <a:pt x="472" y="9"/>
                    <a:pt x="0" y="481"/>
                    <a:pt x="0" y="1074"/>
                  </a:cubicBezTo>
                  <a:cubicBezTo>
                    <a:pt x="0" y="1712"/>
                    <a:pt x="525" y="2138"/>
                    <a:pt x="1071" y="2138"/>
                  </a:cubicBezTo>
                  <a:cubicBezTo>
                    <a:pt x="1332" y="2138"/>
                    <a:pt x="1598" y="2040"/>
                    <a:pt x="1813" y="1822"/>
                  </a:cubicBezTo>
                  <a:cubicBezTo>
                    <a:pt x="2488" y="1155"/>
                    <a:pt x="2016" y="9"/>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8" name="Google Shape;3448;p66"/>
            <p:cNvSpPr/>
            <p:nvPr/>
          </p:nvSpPr>
          <p:spPr>
            <a:xfrm>
              <a:off x="5570625" y="2028275"/>
              <a:ext cx="62200" cy="53450"/>
            </a:xfrm>
            <a:custGeom>
              <a:avLst/>
              <a:gdLst/>
              <a:ahLst/>
              <a:cxnLst/>
              <a:rect l="l" t="t" r="r" b="b"/>
              <a:pathLst>
                <a:path w="2488" h="2138" extrusionOk="0">
                  <a:moveTo>
                    <a:pt x="1065" y="1"/>
                  </a:moveTo>
                  <a:cubicBezTo>
                    <a:pt x="472" y="1"/>
                    <a:pt x="0" y="480"/>
                    <a:pt x="0" y="1065"/>
                  </a:cubicBezTo>
                  <a:cubicBezTo>
                    <a:pt x="0" y="1709"/>
                    <a:pt x="526" y="2137"/>
                    <a:pt x="1072" y="2137"/>
                  </a:cubicBezTo>
                  <a:cubicBezTo>
                    <a:pt x="1332" y="2137"/>
                    <a:pt x="1598" y="2040"/>
                    <a:pt x="1813" y="1821"/>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49" name="Google Shape;3449;p66"/>
            <p:cNvSpPr/>
            <p:nvPr/>
          </p:nvSpPr>
          <p:spPr>
            <a:xfrm>
              <a:off x="5570625" y="2104500"/>
              <a:ext cx="62200" cy="53325"/>
            </a:xfrm>
            <a:custGeom>
              <a:avLst/>
              <a:gdLst/>
              <a:ahLst/>
              <a:cxnLst/>
              <a:rect l="l" t="t" r="r" b="b"/>
              <a:pathLst>
                <a:path w="2488"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0" name="Google Shape;3450;p66"/>
            <p:cNvSpPr/>
            <p:nvPr/>
          </p:nvSpPr>
          <p:spPr>
            <a:xfrm>
              <a:off x="5570625" y="2180700"/>
              <a:ext cx="62200" cy="53350"/>
            </a:xfrm>
            <a:custGeom>
              <a:avLst/>
              <a:gdLst/>
              <a:ahLst/>
              <a:cxnLst/>
              <a:rect l="l" t="t" r="r" b="b"/>
              <a:pathLst>
                <a:path w="2488" h="2134" extrusionOk="0">
                  <a:moveTo>
                    <a:pt x="1065" y="1"/>
                  </a:moveTo>
                  <a:cubicBezTo>
                    <a:pt x="472" y="1"/>
                    <a:pt x="0" y="472"/>
                    <a:pt x="0" y="1066"/>
                  </a:cubicBezTo>
                  <a:cubicBezTo>
                    <a:pt x="0" y="1709"/>
                    <a:pt x="526" y="2133"/>
                    <a:pt x="1072" y="2133"/>
                  </a:cubicBezTo>
                  <a:cubicBezTo>
                    <a:pt x="1333"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1" name="Google Shape;3451;p66"/>
            <p:cNvSpPr/>
            <p:nvPr/>
          </p:nvSpPr>
          <p:spPr>
            <a:xfrm>
              <a:off x="5570625" y="2256925"/>
              <a:ext cx="62425" cy="53425"/>
            </a:xfrm>
            <a:custGeom>
              <a:avLst/>
              <a:gdLst/>
              <a:ahLst/>
              <a:cxnLst/>
              <a:rect l="l" t="t" r="r" b="b"/>
              <a:pathLst>
                <a:path w="2497" h="2137" extrusionOk="0">
                  <a:moveTo>
                    <a:pt x="1065" y="0"/>
                  </a:moveTo>
                  <a:cubicBezTo>
                    <a:pt x="472" y="0"/>
                    <a:pt x="0" y="480"/>
                    <a:pt x="0" y="1065"/>
                  </a:cubicBezTo>
                  <a:cubicBezTo>
                    <a:pt x="0" y="1709"/>
                    <a:pt x="526" y="2137"/>
                    <a:pt x="1074" y="2137"/>
                  </a:cubicBezTo>
                  <a:cubicBezTo>
                    <a:pt x="1336" y="2137"/>
                    <a:pt x="1603" y="2039"/>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2" name="Google Shape;3452;p66"/>
            <p:cNvSpPr/>
            <p:nvPr/>
          </p:nvSpPr>
          <p:spPr>
            <a:xfrm>
              <a:off x="5570625" y="2333125"/>
              <a:ext cx="62200" cy="53450"/>
            </a:xfrm>
            <a:custGeom>
              <a:avLst/>
              <a:gdLst/>
              <a:ahLst/>
              <a:cxnLst/>
              <a:rect l="l" t="t" r="r" b="b"/>
              <a:pathLst>
                <a:path w="2488" h="2138" extrusionOk="0">
                  <a:moveTo>
                    <a:pt x="1065" y="1"/>
                  </a:moveTo>
                  <a:cubicBezTo>
                    <a:pt x="472" y="1"/>
                    <a:pt x="0" y="480"/>
                    <a:pt x="0" y="1066"/>
                  </a:cubicBezTo>
                  <a:cubicBezTo>
                    <a:pt x="0" y="1709"/>
                    <a:pt x="526" y="2137"/>
                    <a:pt x="1072"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3" name="Google Shape;3453;p66"/>
            <p:cNvSpPr/>
            <p:nvPr/>
          </p:nvSpPr>
          <p:spPr>
            <a:xfrm>
              <a:off x="5570625" y="2485550"/>
              <a:ext cx="62200" cy="53300"/>
            </a:xfrm>
            <a:custGeom>
              <a:avLst/>
              <a:gdLst/>
              <a:ahLst/>
              <a:cxnLst/>
              <a:rect l="l" t="t" r="r" b="b"/>
              <a:pathLst>
                <a:path w="2488" h="2132" extrusionOk="0">
                  <a:moveTo>
                    <a:pt x="1065" y="1"/>
                  </a:moveTo>
                  <a:cubicBezTo>
                    <a:pt x="480" y="1"/>
                    <a:pt x="0" y="480"/>
                    <a:pt x="0" y="1066"/>
                  </a:cubicBezTo>
                  <a:cubicBezTo>
                    <a:pt x="0" y="1708"/>
                    <a:pt x="523" y="2131"/>
                    <a:pt x="1070"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4" name="Google Shape;3454;p66"/>
            <p:cNvSpPr/>
            <p:nvPr/>
          </p:nvSpPr>
          <p:spPr>
            <a:xfrm>
              <a:off x="5570625" y="2561575"/>
              <a:ext cx="62200" cy="53425"/>
            </a:xfrm>
            <a:custGeom>
              <a:avLst/>
              <a:gdLst/>
              <a:ahLst/>
              <a:cxnLst/>
              <a:rect l="l" t="t" r="r" b="b"/>
              <a:pathLst>
                <a:path w="2488"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16" y="8"/>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5" name="Google Shape;3455;p66"/>
            <p:cNvSpPr/>
            <p:nvPr/>
          </p:nvSpPr>
          <p:spPr>
            <a:xfrm>
              <a:off x="55706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6" name="Google Shape;3456;p66"/>
            <p:cNvSpPr/>
            <p:nvPr/>
          </p:nvSpPr>
          <p:spPr>
            <a:xfrm>
              <a:off x="5570625" y="2866425"/>
              <a:ext cx="62200" cy="53275"/>
            </a:xfrm>
            <a:custGeom>
              <a:avLst/>
              <a:gdLst/>
              <a:ahLst/>
              <a:cxnLst/>
              <a:rect l="l" t="t" r="r" b="b"/>
              <a:pathLst>
                <a:path w="2488" h="2131" extrusionOk="0">
                  <a:moveTo>
                    <a:pt x="1065" y="0"/>
                  </a:moveTo>
                  <a:cubicBezTo>
                    <a:pt x="480" y="0"/>
                    <a:pt x="0" y="472"/>
                    <a:pt x="0" y="1065"/>
                  </a:cubicBezTo>
                  <a:cubicBezTo>
                    <a:pt x="0" y="1707"/>
                    <a:pt x="523" y="2131"/>
                    <a:pt x="1070"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7" name="Google Shape;3457;p66"/>
            <p:cNvSpPr/>
            <p:nvPr/>
          </p:nvSpPr>
          <p:spPr>
            <a:xfrm>
              <a:off x="5570625" y="2790200"/>
              <a:ext cx="62200" cy="53350"/>
            </a:xfrm>
            <a:custGeom>
              <a:avLst/>
              <a:gdLst/>
              <a:ahLst/>
              <a:cxnLst/>
              <a:rect l="l" t="t" r="r" b="b"/>
              <a:pathLst>
                <a:path w="2488" h="2134" extrusionOk="0">
                  <a:moveTo>
                    <a:pt x="1065" y="1"/>
                  </a:moveTo>
                  <a:cubicBezTo>
                    <a:pt x="472" y="1"/>
                    <a:pt x="0" y="472"/>
                    <a:pt x="0" y="1066"/>
                  </a:cubicBezTo>
                  <a:cubicBezTo>
                    <a:pt x="0" y="1709"/>
                    <a:pt x="526" y="2134"/>
                    <a:pt x="1072" y="2134"/>
                  </a:cubicBezTo>
                  <a:cubicBezTo>
                    <a:pt x="1333"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8" name="Google Shape;3458;p66"/>
            <p:cNvSpPr/>
            <p:nvPr/>
          </p:nvSpPr>
          <p:spPr>
            <a:xfrm>
              <a:off x="5570625" y="271400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59" name="Google Shape;3459;p66"/>
            <p:cNvSpPr/>
            <p:nvPr/>
          </p:nvSpPr>
          <p:spPr>
            <a:xfrm>
              <a:off x="5646825"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0" name="Google Shape;3460;p66"/>
            <p:cNvSpPr/>
            <p:nvPr/>
          </p:nvSpPr>
          <p:spPr>
            <a:xfrm>
              <a:off x="56468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1" name="Google Shape;3461;p66"/>
            <p:cNvSpPr/>
            <p:nvPr/>
          </p:nvSpPr>
          <p:spPr>
            <a:xfrm>
              <a:off x="5646825"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2" name="Google Shape;3462;p66"/>
            <p:cNvSpPr/>
            <p:nvPr/>
          </p:nvSpPr>
          <p:spPr>
            <a:xfrm>
              <a:off x="5646825"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3" name="Google Shape;3463;p66"/>
            <p:cNvSpPr/>
            <p:nvPr/>
          </p:nvSpPr>
          <p:spPr>
            <a:xfrm>
              <a:off x="5646825"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4" name="Google Shape;3464;p66"/>
            <p:cNvSpPr/>
            <p:nvPr/>
          </p:nvSpPr>
          <p:spPr>
            <a:xfrm>
              <a:off x="5646825" y="179985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5" name="Google Shape;3465;p66"/>
            <p:cNvSpPr/>
            <p:nvPr/>
          </p:nvSpPr>
          <p:spPr>
            <a:xfrm>
              <a:off x="5646825" y="1876050"/>
              <a:ext cx="62225" cy="53350"/>
            </a:xfrm>
            <a:custGeom>
              <a:avLst/>
              <a:gdLst/>
              <a:ahLst/>
              <a:cxnLst/>
              <a:rect l="l" t="t" r="r" b="b"/>
              <a:pathLst>
                <a:path w="2489" h="2134" extrusionOk="0">
                  <a:moveTo>
                    <a:pt x="1066" y="1"/>
                  </a:moveTo>
                  <a:cubicBezTo>
                    <a:pt x="472" y="1"/>
                    <a:pt x="1" y="472"/>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6" name="Google Shape;3466;p66"/>
            <p:cNvSpPr/>
            <p:nvPr/>
          </p:nvSpPr>
          <p:spPr>
            <a:xfrm>
              <a:off x="5646825"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7" name="Google Shape;3467;p66"/>
            <p:cNvSpPr/>
            <p:nvPr/>
          </p:nvSpPr>
          <p:spPr>
            <a:xfrm>
              <a:off x="5646825" y="2028275"/>
              <a:ext cx="62225" cy="53450"/>
            </a:xfrm>
            <a:custGeom>
              <a:avLst/>
              <a:gdLst/>
              <a:ahLst/>
              <a:cxnLst/>
              <a:rect l="l" t="t" r="r" b="b"/>
              <a:pathLst>
                <a:path w="2489" h="2138" extrusionOk="0">
                  <a:moveTo>
                    <a:pt x="1066" y="1"/>
                  </a:moveTo>
                  <a:cubicBezTo>
                    <a:pt x="472" y="1"/>
                    <a:pt x="1" y="480"/>
                    <a:pt x="1" y="1065"/>
                  </a:cubicBezTo>
                  <a:cubicBezTo>
                    <a:pt x="1" y="1709"/>
                    <a:pt x="526" y="2137"/>
                    <a:pt x="1072" y="2137"/>
                  </a:cubicBezTo>
                  <a:cubicBezTo>
                    <a:pt x="1333" y="2137"/>
                    <a:pt x="1598" y="2040"/>
                    <a:pt x="1814" y="1821"/>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8" name="Google Shape;3468;p66"/>
            <p:cNvSpPr/>
            <p:nvPr/>
          </p:nvSpPr>
          <p:spPr>
            <a:xfrm>
              <a:off x="5646825" y="21045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69" name="Google Shape;3469;p66"/>
            <p:cNvSpPr/>
            <p:nvPr/>
          </p:nvSpPr>
          <p:spPr>
            <a:xfrm>
              <a:off x="564682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0" name="Google Shape;3470;p66"/>
            <p:cNvSpPr/>
            <p:nvPr/>
          </p:nvSpPr>
          <p:spPr>
            <a:xfrm>
              <a:off x="5646825" y="2256925"/>
              <a:ext cx="62375" cy="53425"/>
            </a:xfrm>
            <a:custGeom>
              <a:avLst/>
              <a:gdLst/>
              <a:ahLst/>
              <a:cxnLst/>
              <a:rect l="l" t="t" r="r" b="b"/>
              <a:pathLst>
                <a:path w="2495" h="2137" extrusionOk="0">
                  <a:moveTo>
                    <a:pt x="1076" y="0"/>
                  </a:moveTo>
                  <a:cubicBezTo>
                    <a:pt x="1073" y="0"/>
                    <a:pt x="1069" y="0"/>
                    <a:pt x="1066" y="0"/>
                  </a:cubicBezTo>
                  <a:cubicBezTo>
                    <a:pt x="472" y="0"/>
                    <a:pt x="1" y="480"/>
                    <a:pt x="1" y="1065"/>
                  </a:cubicBezTo>
                  <a:cubicBezTo>
                    <a:pt x="1" y="1709"/>
                    <a:pt x="526" y="2137"/>
                    <a:pt x="1075" y="2137"/>
                  </a:cubicBezTo>
                  <a:cubicBezTo>
                    <a:pt x="1337" y="2137"/>
                    <a:pt x="1604"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1" name="Google Shape;3471;p66"/>
            <p:cNvSpPr/>
            <p:nvPr/>
          </p:nvSpPr>
          <p:spPr>
            <a:xfrm>
              <a:off x="564682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2" name="Google Shape;3472;p66"/>
            <p:cNvSpPr/>
            <p:nvPr/>
          </p:nvSpPr>
          <p:spPr>
            <a:xfrm>
              <a:off x="5646825" y="2485550"/>
              <a:ext cx="62225" cy="53300"/>
            </a:xfrm>
            <a:custGeom>
              <a:avLst/>
              <a:gdLst/>
              <a:ahLst/>
              <a:cxnLst/>
              <a:rect l="l" t="t" r="r" b="b"/>
              <a:pathLst>
                <a:path w="2489" h="2132" extrusionOk="0">
                  <a:moveTo>
                    <a:pt x="1066" y="1"/>
                  </a:moveTo>
                  <a:cubicBezTo>
                    <a:pt x="472" y="1"/>
                    <a:pt x="1" y="472"/>
                    <a:pt x="1" y="1066"/>
                  </a:cubicBezTo>
                  <a:cubicBezTo>
                    <a:pt x="1" y="1708"/>
                    <a:pt x="523" y="2131"/>
                    <a:pt x="1068" y="2131"/>
                  </a:cubicBezTo>
                  <a:cubicBezTo>
                    <a:pt x="1330" y="2131"/>
                    <a:pt x="1597" y="2033"/>
                    <a:pt x="1814"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3" name="Google Shape;3473;p66"/>
            <p:cNvSpPr/>
            <p:nvPr/>
          </p:nvSpPr>
          <p:spPr>
            <a:xfrm>
              <a:off x="5646825"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4" y="1821"/>
                  </a:cubicBezTo>
                  <a:cubicBezTo>
                    <a:pt x="2489"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4" name="Google Shape;3474;p66"/>
            <p:cNvSpPr/>
            <p:nvPr/>
          </p:nvSpPr>
          <p:spPr>
            <a:xfrm>
              <a:off x="56468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5" name="Google Shape;3475;p66"/>
            <p:cNvSpPr/>
            <p:nvPr/>
          </p:nvSpPr>
          <p:spPr>
            <a:xfrm>
              <a:off x="5646825" y="2637775"/>
              <a:ext cx="62225" cy="53450"/>
            </a:xfrm>
            <a:custGeom>
              <a:avLst/>
              <a:gdLst/>
              <a:ahLst/>
              <a:cxnLst/>
              <a:rect l="l" t="t" r="r" b="b"/>
              <a:pathLst>
                <a:path w="2489" h="2138" extrusionOk="0">
                  <a:moveTo>
                    <a:pt x="1066" y="1"/>
                  </a:moveTo>
                  <a:cubicBezTo>
                    <a:pt x="472" y="1"/>
                    <a:pt x="1" y="480"/>
                    <a:pt x="1" y="1074"/>
                  </a:cubicBezTo>
                  <a:cubicBezTo>
                    <a:pt x="1" y="1712"/>
                    <a:pt x="525" y="2137"/>
                    <a:pt x="1071" y="2137"/>
                  </a:cubicBezTo>
                  <a:cubicBezTo>
                    <a:pt x="1332" y="2137"/>
                    <a:pt x="1598" y="2040"/>
                    <a:pt x="1814" y="1822"/>
                  </a:cubicBezTo>
                  <a:cubicBezTo>
                    <a:pt x="2489"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6" name="Google Shape;3476;p66"/>
            <p:cNvSpPr/>
            <p:nvPr/>
          </p:nvSpPr>
          <p:spPr>
            <a:xfrm>
              <a:off x="5723050" y="141897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7" name="Google Shape;3477;p66"/>
            <p:cNvSpPr/>
            <p:nvPr/>
          </p:nvSpPr>
          <p:spPr>
            <a:xfrm>
              <a:off x="5723050" y="14952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8" name="Google Shape;3478;p66"/>
            <p:cNvSpPr/>
            <p:nvPr/>
          </p:nvSpPr>
          <p:spPr>
            <a:xfrm>
              <a:off x="5723050" y="1571400"/>
              <a:ext cx="62150" cy="53250"/>
            </a:xfrm>
            <a:custGeom>
              <a:avLst/>
              <a:gdLst/>
              <a:ahLst/>
              <a:cxnLst/>
              <a:rect l="l" t="t" r="r" b="b"/>
              <a:pathLst>
                <a:path w="2486" h="2130" extrusionOk="0">
                  <a:moveTo>
                    <a:pt x="1075" y="1"/>
                  </a:moveTo>
                  <a:cubicBezTo>
                    <a:pt x="1072" y="1"/>
                    <a:pt x="1069" y="1"/>
                    <a:pt x="1065" y="1"/>
                  </a:cubicBezTo>
                  <a:cubicBezTo>
                    <a:pt x="472" y="1"/>
                    <a:pt x="0" y="472"/>
                    <a:pt x="0" y="1066"/>
                  </a:cubicBezTo>
                  <a:cubicBezTo>
                    <a:pt x="0" y="1703"/>
                    <a:pt x="525" y="2129"/>
                    <a:pt x="1071" y="2129"/>
                  </a:cubicBezTo>
                  <a:cubicBezTo>
                    <a:pt x="1332" y="2129"/>
                    <a:pt x="1598" y="2032"/>
                    <a:pt x="1813" y="1813"/>
                  </a:cubicBezTo>
                  <a:cubicBezTo>
                    <a:pt x="2486" y="1149"/>
                    <a:pt x="2012"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79" name="Google Shape;3479;p66"/>
            <p:cNvSpPr/>
            <p:nvPr/>
          </p:nvSpPr>
          <p:spPr>
            <a:xfrm>
              <a:off x="5723050" y="1647400"/>
              <a:ext cx="62225" cy="53450"/>
            </a:xfrm>
            <a:custGeom>
              <a:avLst/>
              <a:gdLst/>
              <a:ahLst/>
              <a:cxnLst/>
              <a:rect l="l" t="t" r="r" b="b"/>
              <a:pathLst>
                <a:path w="2489" h="2138" extrusionOk="0">
                  <a:moveTo>
                    <a:pt x="1065" y="1"/>
                  </a:moveTo>
                  <a:cubicBezTo>
                    <a:pt x="472" y="9"/>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0" name="Google Shape;3480;p66"/>
            <p:cNvSpPr/>
            <p:nvPr/>
          </p:nvSpPr>
          <p:spPr>
            <a:xfrm>
              <a:off x="5723050" y="1723625"/>
              <a:ext cx="62225" cy="53350"/>
            </a:xfrm>
            <a:custGeom>
              <a:avLst/>
              <a:gdLst/>
              <a:ahLst/>
              <a:cxnLst/>
              <a:rect l="l" t="t" r="r" b="b"/>
              <a:pathLst>
                <a:path w="2489" h="2134" extrusionOk="0">
                  <a:moveTo>
                    <a:pt x="1065" y="1"/>
                  </a:moveTo>
                  <a:cubicBezTo>
                    <a:pt x="472" y="1"/>
                    <a:pt x="0" y="480"/>
                    <a:pt x="0" y="1065"/>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1" name="Google Shape;3481;p66"/>
            <p:cNvSpPr/>
            <p:nvPr/>
          </p:nvSpPr>
          <p:spPr>
            <a:xfrm>
              <a:off x="5723050" y="179985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2" name="Google Shape;3482;p66"/>
            <p:cNvSpPr/>
            <p:nvPr/>
          </p:nvSpPr>
          <p:spPr>
            <a:xfrm>
              <a:off x="5723050" y="1876050"/>
              <a:ext cx="62225" cy="53275"/>
            </a:xfrm>
            <a:custGeom>
              <a:avLst/>
              <a:gdLst/>
              <a:ahLst/>
              <a:cxnLst/>
              <a:rect l="l" t="t" r="r" b="b"/>
              <a:pathLst>
                <a:path w="2489" h="2131" extrusionOk="0">
                  <a:moveTo>
                    <a:pt x="1065" y="1"/>
                  </a:moveTo>
                  <a:cubicBezTo>
                    <a:pt x="472" y="1"/>
                    <a:pt x="0" y="472"/>
                    <a:pt x="0" y="1066"/>
                  </a:cubicBezTo>
                  <a:cubicBezTo>
                    <a:pt x="0" y="1707"/>
                    <a:pt x="523" y="2131"/>
                    <a:pt x="1067" y="2131"/>
                  </a:cubicBezTo>
                  <a:cubicBezTo>
                    <a:pt x="1329" y="2131"/>
                    <a:pt x="1597" y="2033"/>
                    <a:pt x="1813" y="1813"/>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3" name="Google Shape;3483;p66"/>
            <p:cNvSpPr/>
            <p:nvPr/>
          </p:nvSpPr>
          <p:spPr>
            <a:xfrm>
              <a:off x="5723050" y="1952050"/>
              <a:ext cx="62225" cy="53450"/>
            </a:xfrm>
            <a:custGeom>
              <a:avLst/>
              <a:gdLst/>
              <a:ahLst/>
              <a:cxnLst/>
              <a:rect l="l" t="t" r="r" b="b"/>
              <a:pathLst>
                <a:path w="2489" h="2138" extrusionOk="0">
                  <a:moveTo>
                    <a:pt x="1065" y="1"/>
                  </a:moveTo>
                  <a:cubicBezTo>
                    <a:pt x="472" y="9"/>
                    <a:pt x="0" y="481"/>
                    <a:pt x="0" y="1074"/>
                  </a:cubicBezTo>
                  <a:cubicBezTo>
                    <a:pt x="0" y="1712"/>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4" name="Google Shape;3484;p66"/>
            <p:cNvSpPr/>
            <p:nvPr/>
          </p:nvSpPr>
          <p:spPr>
            <a:xfrm>
              <a:off x="5723050" y="2028275"/>
              <a:ext cx="62225" cy="53450"/>
            </a:xfrm>
            <a:custGeom>
              <a:avLst/>
              <a:gdLst/>
              <a:ahLst/>
              <a:cxnLst/>
              <a:rect l="l" t="t" r="r" b="b"/>
              <a:pathLst>
                <a:path w="2489" h="2138" extrusionOk="0">
                  <a:moveTo>
                    <a:pt x="1065" y="1"/>
                  </a:moveTo>
                  <a:cubicBezTo>
                    <a:pt x="472" y="1"/>
                    <a:pt x="0" y="480"/>
                    <a:pt x="0" y="1065"/>
                  </a:cubicBezTo>
                  <a:cubicBezTo>
                    <a:pt x="0" y="1709"/>
                    <a:pt x="526" y="2137"/>
                    <a:pt x="1072" y="2137"/>
                  </a:cubicBezTo>
                  <a:cubicBezTo>
                    <a:pt x="1332" y="2137"/>
                    <a:pt x="1598" y="2040"/>
                    <a:pt x="1813" y="1821"/>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5" name="Google Shape;3485;p66"/>
            <p:cNvSpPr/>
            <p:nvPr/>
          </p:nvSpPr>
          <p:spPr>
            <a:xfrm>
              <a:off x="5723050" y="2104500"/>
              <a:ext cx="62225" cy="53325"/>
            </a:xfrm>
            <a:custGeom>
              <a:avLst/>
              <a:gdLst/>
              <a:ahLst/>
              <a:cxnLst/>
              <a:rect l="l" t="t" r="r" b="b"/>
              <a:pathLst>
                <a:path w="2489" h="2133"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6" name="Google Shape;3486;p66"/>
            <p:cNvSpPr/>
            <p:nvPr/>
          </p:nvSpPr>
          <p:spPr>
            <a:xfrm>
              <a:off x="5723050" y="2180700"/>
              <a:ext cx="62225" cy="53350"/>
            </a:xfrm>
            <a:custGeom>
              <a:avLst/>
              <a:gdLst/>
              <a:ahLst/>
              <a:cxnLst/>
              <a:rect l="l" t="t" r="r" b="b"/>
              <a:pathLst>
                <a:path w="2489" h="2134" extrusionOk="0">
                  <a:moveTo>
                    <a:pt x="1065" y="1"/>
                  </a:moveTo>
                  <a:cubicBezTo>
                    <a:pt x="472" y="1"/>
                    <a:pt x="0" y="480"/>
                    <a:pt x="0" y="1066"/>
                  </a:cubicBezTo>
                  <a:cubicBezTo>
                    <a:pt x="0" y="1709"/>
                    <a:pt x="526" y="2133"/>
                    <a:pt x="1072" y="2133"/>
                  </a:cubicBezTo>
                  <a:cubicBezTo>
                    <a:pt x="1333" y="2133"/>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7" name="Google Shape;3487;p66"/>
            <p:cNvSpPr/>
            <p:nvPr/>
          </p:nvSpPr>
          <p:spPr>
            <a:xfrm>
              <a:off x="5723050" y="2256925"/>
              <a:ext cx="62350" cy="53425"/>
            </a:xfrm>
            <a:custGeom>
              <a:avLst/>
              <a:gdLst/>
              <a:ahLst/>
              <a:cxnLst/>
              <a:rect l="l" t="t" r="r" b="b"/>
              <a:pathLst>
                <a:path w="2494" h="2137" extrusionOk="0">
                  <a:moveTo>
                    <a:pt x="1075" y="0"/>
                  </a:moveTo>
                  <a:cubicBezTo>
                    <a:pt x="1072" y="0"/>
                    <a:pt x="1069" y="0"/>
                    <a:pt x="1065" y="0"/>
                  </a:cubicBezTo>
                  <a:cubicBezTo>
                    <a:pt x="472" y="0"/>
                    <a:pt x="0" y="480"/>
                    <a:pt x="0" y="1065"/>
                  </a:cubicBezTo>
                  <a:cubicBezTo>
                    <a:pt x="0" y="1709"/>
                    <a:pt x="526" y="2137"/>
                    <a:pt x="1074" y="2137"/>
                  </a:cubicBezTo>
                  <a:cubicBezTo>
                    <a:pt x="1336" y="2137"/>
                    <a:pt x="1603"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8" name="Google Shape;3488;p66"/>
            <p:cNvSpPr/>
            <p:nvPr/>
          </p:nvSpPr>
          <p:spPr>
            <a:xfrm>
              <a:off x="5723050" y="2333125"/>
              <a:ext cx="62225" cy="53450"/>
            </a:xfrm>
            <a:custGeom>
              <a:avLst/>
              <a:gdLst/>
              <a:ahLst/>
              <a:cxnLst/>
              <a:rect l="l" t="t" r="r" b="b"/>
              <a:pathLst>
                <a:path w="2489" h="2138" extrusionOk="0">
                  <a:moveTo>
                    <a:pt x="1065" y="1"/>
                  </a:moveTo>
                  <a:cubicBezTo>
                    <a:pt x="472" y="1"/>
                    <a:pt x="0" y="480"/>
                    <a:pt x="0" y="1066"/>
                  </a:cubicBezTo>
                  <a:cubicBezTo>
                    <a:pt x="0" y="1709"/>
                    <a:pt x="526" y="2137"/>
                    <a:pt x="1072"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89" name="Google Shape;3489;p66"/>
            <p:cNvSpPr/>
            <p:nvPr/>
          </p:nvSpPr>
          <p:spPr>
            <a:xfrm>
              <a:off x="5722850" y="2485550"/>
              <a:ext cx="62425" cy="53300"/>
            </a:xfrm>
            <a:custGeom>
              <a:avLst/>
              <a:gdLst/>
              <a:ahLst/>
              <a:cxnLst/>
              <a:rect l="l" t="t" r="r" b="b"/>
              <a:pathLst>
                <a:path w="2497" h="2132" extrusionOk="0">
                  <a:moveTo>
                    <a:pt x="1073" y="1"/>
                  </a:moveTo>
                  <a:cubicBezTo>
                    <a:pt x="480" y="1"/>
                    <a:pt x="8" y="480"/>
                    <a:pt x="0" y="1066"/>
                  </a:cubicBezTo>
                  <a:cubicBezTo>
                    <a:pt x="0" y="1708"/>
                    <a:pt x="526" y="2131"/>
                    <a:pt x="1073" y="2131"/>
                  </a:cubicBezTo>
                  <a:cubicBezTo>
                    <a:pt x="1336" y="2131"/>
                    <a:pt x="1605" y="2033"/>
                    <a:pt x="1821" y="1814"/>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0" name="Google Shape;3490;p66"/>
            <p:cNvSpPr/>
            <p:nvPr/>
          </p:nvSpPr>
          <p:spPr>
            <a:xfrm>
              <a:off x="5723050" y="2561575"/>
              <a:ext cx="62225" cy="53425"/>
            </a:xfrm>
            <a:custGeom>
              <a:avLst/>
              <a:gdLst/>
              <a:ahLst/>
              <a:cxnLst/>
              <a:rect l="l" t="t" r="r" b="b"/>
              <a:pathLst>
                <a:path w="2489" h="2137" extrusionOk="0">
                  <a:moveTo>
                    <a:pt x="1065" y="0"/>
                  </a:moveTo>
                  <a:cubicBezTo>
                    <a:pt x="472" y="8"/>
                    <a:pt x="0" y="480"/>
                    <a:pt x="0" y="1073"/>
                  </a:cubicBezTo>
                  <a:cubicBezTo>
                    <a:pt x="0" y="1711"/>
                    <a:pt x="525" y="2137"/>
                    <a:pt x="1071" y="2137"/>
                  </a:cubicBezTo>
                  <a:cubicBezTo>
                    <a:pt x="1332" y="2137"/>
                    <a:pt x="1598" y="2039"/>
                    <a:pt x="1813" y="1821"/>
                  </a:cubicBezTo>
                  <a:cubicBezTo>
                    <a:pt x="2488" y="1154"/>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1" name="Google Shape;3491;p66"/>
            <p:cNvSpPr/>
            <p:nvPr/>
          </p:nvSpPr>
          <p:spPr>
            <a:xfrm>
              <a:off x="5722850" y="2637775"/>
              <a:ext cx="62425" cy="53450"/>
            </a:xfrm>
            <a:custGeom>
              <a:avLst/>
              <a:gdLst/>
              <a:ahLst/>
              <a:cxnLst/>
              <a:rect l="l" t="t" r="r" b="b"/>
              <a:pathLst>
                <a:path w="2497" h="2138" extrusionOk="0">
                  <a:moveTo>
                    <a:pt x="1073" y="1"/>
                  </a:moveTo>
                  <a:cubicBezTo>
                    <a:pt x="480" y="9"/>
                    <a:pt x="8" y="480"/>
                    <a:pt x="0" y="1074"/>
                  </a:cubicBezTo>
                  <a:cubicBezTo>
                    <a:pt x="0" y="1712"/>
                    <a:pt x="529" y="2137"/>
                    <a:pt x="1077" y="2137"/>
                  </a:cubicBezTo>
                  <a:cubicBezTo>
                    <a:pt x="1339" y="2137"/>
                    <a:pt x="1606"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2" name="Google Shape;3492;p66"/>
            <p:cNvSpPr/>
            <p:nvPr/>
          </p:nvSpPr>
          <p:spPr>
            <a:xfrm>
              <a:off x="5799275" y="141897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3" name="Google Shape;3493;p66"/>
            <p:cNvSpPr/>
            <p:nvPr/>
          </p:nvSpPr>
          <p:spPr>
            <a:xfrm>
              <a:off x="5799275" y="149520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0"/>
                    <a:pt x="1067" y="2130"/>
                  </a:cubicBezTo>
                  <a:cubicBezTo>
                    <a:pt x="1329" y="2130"/>
                    <a:pt x="1596" y="2032"/>
                    <a:pt x="1813" y="1813"/>
                  </a:cubicBezTo>
                  <a:cubicBezTo>
                    <a:pt x="2485" y="1149"/>
                    <a:pt x="2011" y="0"/>
                    <a:pt x="106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4" name="Google Shape;3494;p66"/>
            <p:cNvSpPr/>
            <p:nvPr/>
          </p:nvSpPr>
          <p:spPr>
            <a:xfrm>
              <a:off x="5799275" y="1571400"/>
              <a:ext cx="62150" cy="53275"/>
            </a:xfrm>
            <a:custGeom>
              <a:avLst/>
              <a:gdLst/>
              <a:ahLst/>
              <a:cxnLst/>
              <a:rect l="l" t="t" r="r" b="b"/>
              <a:pathLst>
                <a:path w="2486" h="2131" extrusionOk="0">
                  <a:moveTo>
                    <a:pt x="1067" y="1"/>
                  </a:moveTo>
                  <a:cubicBezTo>
                    <a:pt x="1064" y="1"/>
                    <a:pt x="1060" y="1"/>
                    <a:pt x="1057" y="1"/>
                  </a:cubicBezTo>
                  <a:cubicBezTo>
                    <a:pt x="472" y="1"/>
                    <a:pt x="0" y="472"/>
                    <a:pt x="0" y="1066"/>
                  </a:cubicBezTo>
                  <a:cubicBezTo>
                    <a:pt x="0" y="1708"/>
                    <a:pt x="522" y="2131"/>
                    <a:pt x="1067" y="2131"/>
                  </a:cubicBezTo>
                  <a:cubicBezTo>
                    <a:pt x="1329" y="2131"/>
                    <a:pt x="1596" y="2033"/>
                    <a:pt x="1813" y="1813"/>
                  </a:cubicBezTo>
                  <a:cubicBezTo>
                    <a:pt x="2485" y="1141"/>
                    <a:pt x="2011" y="1"/>
                    <a:pt x="106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5" name="Google Shape;3495;p66"/>
            <p:cNvSpPr/>
            <p:nvPr/>
          </p:nvSpPr>
          <p:spPr>
            <a:xfrm>
              <a:off x="5799275" y="164740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6" name="Google Shape;3496;p66"/>
            <p:cNvSpPr/>
            <p:nvPr/>
          </p:nvSpPr>
          <p:spPr>
            <a:xfrm>
              <a:off x="5799275" y="1723625"/>
              <a:ext cx="62200" cy="53350"/>
            </a:xfrm>
            <a:custGeom>
              <a:avLst/>
              <a:gdLst/>
              <a:ahLst/>
              <a:cxnLst/>
              <a:rect l="l" t="t" r="r" b="b"/>
              <a:pathLst>
                <a:path w="2488" h="2134" extrusionOk="0">
                  <a:moveTo>
                    <a:pt x="1057" y="1"/>
                  </a:moveTo>
                  <a:cubicBezTo>
                    <a:pt x="472" y="1"/>
                    <a:pt x="0" y="480"/>
                    <a:pt x="0" y="1065"/>
                  </a:cubicBezTo>
                  <a:cubicBezTo>
                    <a:pt x="0" y="1709"/>
                    <a:pt x="525" y="2133"/>
                    <a:pt x="1074" y="2133"/>
                  </a:cubicBezTo>
                  <a:cubicBezTo>
                    <a:pt x="1336" y="2133"/>
                    <a:pt x="1603" y="2037"/>
                    <a:pt x="1821"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7" name="Google Shape;3497;p66"/>
            <p:cNvSpPr/>
            <p:nvPr/>
          </p:nvSpPr>
          <p:spPr>
            <a:xfrm>
              <a:off x="5799275" y="1799825"/>
              <a:ext cx="62150" cy="53300"/>
            </a:xfrm>
            <a:custGeom>
              <a:avLst/>
              <a:gdLst/>
              <a:ahLst/>
              <a:cxnLst/>
              <a:rect l="l" t="t" r="r" b="b"/>
              <a:pathLst>
                <a:path w="2486" h="2132" extrusionOk="0">
                  <a:moveTo>
                    <a:pt x="1067" y="1"/>
                  </a:moveTo>
                  <a:cubicBezTo>
                    <a:pt x="1064" y="1"/>
                    <a:pt x="1060" y="1"/>
                    <a:pt x="1057" y="1"/>
                  </a:cubicBezTo>
                  <a:cubicBezTo>
                    <a:pt x="472" y="1"/>
                    <a:pt x="0" y="481"/>
                    <a:pt x="0" y="1066"/>
                  </a:cubicBezTo>
                  <a:cubicBezTo>
                    <a:pt x="0" y="1708"/>
                    <a:pt x="522" y="2131"/>
                    <a:pt x="1069" y="2131"/>
                  </a:cubicBezTo>
                  <a:cubicBezTo>
                    <a:pt x="1333" y="2131"/>
                    <a:pt x="1602" y="2033"/>
                    <a:pt x="1821" y="1814"/>
                  </a:cubicBezTo>
                  <a:cubicBezTo>
                    <a:pt x="2485" y="1150"/>
                    <a:pt x="2011" y="1"/>
                    <a:pt x="106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8" name="Google Shape;3498;p66"/>
            <p:cNvSpPr/>
            <p:nvPr/>
          </p:nvSpPr>
          <p:spPr>
            <a:xfrm>
              <a:off x="5799275" y="187605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499" name="Google Shape;3499;p66"/>
            <p:cNvSpPr/>
            <p:nvPr/>
          </p:nvSpPr>
          <p:spPr>
            <a:xfrm>
              <a:off x="5799275" y="1952050"/>
              <a:ext cx="62200" cy="53500"/>
            </a:xfrm>
            <a:custGeom>
              <a:avLst/>
              <a:gdLst/>
              <a:ahLst/>
              <a:cxnLst/>
              <a:rect l="l" t="t" r="r" b="b"/>
              <a:pathLst>
                <a:path w="2488" h="2140" extrusionOk="0">
                  <a:moveTo>
                    <a:pt x="1057" y="1"/>
                  </a:moveTo>
                  <a:cubicBezTo>
                    <a:pt x="472" y="9"/>
                    <a:pt x="0" y="481"/>
                    <a:pt x="0" y="1074"/>
                  </a:cubicBezTo>
                  <a:cubicBezTo>
                    <a:pt x="0" y="1716"/>
                    <a:pt x="522" y="2139"/>
                    <a:pt x="1069" y="2139"/>
                  </a:cubicBezTo>
                  <a:cubicBezTo>
                    <a:pt x="1333" y="2139"/>
                    <a:pt x="1602" y="2041"/>
                    <a:pt x="1821"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0" name="Google Shape;3500;p66"/>
            <p:cNvSpPr/>
            <p:nvPr/>
          </p:nvSpPr>
          <p:spPr>
            <a:xfrm>
              <a:off x="5799275" y="2028275"/>
              <a:ext cx="62200" cy="53450"/>
            </a:xfrm>
            <a:custGeom>
              <a:avLst/>
              <a:gdLst/>
              <a:ahLst/>
              <a:cxnLst/>
              <a:rect l="l" t="t" r="r" b="b"/>
              <a:pathLst>
                <a:path w="2488" h="2138" extrusionOk="0">
                  <a:moveTo>
                    <a:pt x="1057" y="1"/>
                  </a:moveTo>
                  <a:cubicBezTo>
                    <a:pt x="472" y="9"/>
                    <a:pt x="0" y="480"/>
                    <a:pt x="0" y="1065"/>
                  </a:cubicBezTo>
                  <a:cubicBezTo>
                    <a:pt x="0" y="1709"/>
                    <a:pt x="525" y="2137"/>
                    <a:pt x="1074" y="2137"/>
                  </a:cubicBezTo>
                  <a:cubicBezTo>
                    <a:pt x="1336" y="2137"/>
                    <a:pt x="1603" y="2040"/>
                    <a:pt x="1821" y="1821"/>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1" name="Google Shape;3501;p66"/>
            <p:cNvSpPr/>
            <p:nvPr/>
          </p:nvSpPr>
          <p:spPr>
            <a:xfrm>
              <a:off x="5875275" y="141897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2" name="Google Shape;3502;p66"/>
            <p:cNvSpPr/>
            <p:nvPr/>
          </p:nvSpPr>
          <p:spPr>
            <a:xfrm>
              <a:off x="5875275" y="14952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3" name="Google Shape;3503;p66"/>
            <p:cNvSpPr/>
            <p:nvPr/>
          </p:nvSpPr>
          <p:spPr>
            <a:xfrm>
              <a:off x="5875275" y="1571400"/>
              <a:ext cx="62225" cy="53250"/>
            </a:xfrm>
            <a:custGeom>
              <a:avLst/>
              <a:gdLst/>
              <a:ahLst/>
              <a:cxnLst/>
              <a:rect l="l" t="t" r="r" b="b"/>
              <a:pathLst>
                <a:path w="2489"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4" name="Google Shape;3504;p66"/>
            <p:cNvSpPr/>
            <p:nvPr/>
          </p:nvSpPr>
          <p:spPr>
            <a:xfrm>
              <a:off x="5875275" y="164740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5" name="Google Shape;3505;p66"/>
            <p:cNvSpPr/>
            <p:nvPr/>
          </p:nvSpPr>
          <p:spPr>
            <a:xfrm>
              <a:off x="5875275" y="1723625"/>
              <a:ext cx="62225" cy="53350"/>
            </a:xfrm>
            <a:custGeom>
              <a:avLst/>
              <a:gdLst/>
              <a:ahLst/>
              <a:cxnLst/>
              <a:rect l="l" t="t" r="r" b="b"/>
              <a:pathLst>
                <a:path w="2489"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6" name="Google Shape;3506;p66"/>
            <p:cNvSpPr/>
            <p:nvPr/>
          </p:nvSpPr>
          <p:spPr>
            <a:xfrm>
              <a:off x="5875275" y="179985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7" name="Google Shape;3507;p66"/>
            <p:cNvSpPr/>
            <p:nvPr/>
          </p:nvSpPr>
          <p:spPr>
            <a:xfrm>
              <a:off x="5875275" y="1876050"/>
              <a:ext cx="62225" cy="53350"/>
            </a:xfrm>
            <a:custGeom>
              <a:avLst/>
              <a:gdLst/>
              <a:ahLst/>
              <a:cxnLst/>
              <a:rect l="l" t="t" r="r" b="b"/>
              <a:pathLst>
                <a:path w="2489" h="2134" extrusionOk="0">
                  <a:moveTo>
                    <a:pt x="1065" y="1"/>
                  </a:moveTo>
                  <a:cubicBezTo>
                    <a:pt x="480" y="1"/>
                    <a:pt x="0" y="472"/>
                    <a:pt x="0" y="1066"/>
                  </a:cubicBezTo>
                  <a:cubicBezTo>
                    <a:pt x="0" y="1709"/>
                    <a:pt x="526" y="2133"/>
                    <a:pt x="1074" y="2133"/>
                  </a:cubicBezTo>
                  <a:cubicBezTo>
                    <a:pt x="1336" y="2133"/>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8" name="Google Shape;3508;p66"/>
            <p:cNvSpPr/>
            <p:nvPr/>
          </p:nvSpPr>
          <p:spPr>
            <a:xfrm>
              <a:off x="5875275" y="1952050"/>
              <a:ext cx="62225" cy="53450"/>
            </a:xfrm>
            <a:custGeom>
              <a:avLst/>
              <a:gdLst/>
              <a:ahLst/>
              <a:cxnLst/>
              <a:rect l="l" t="t" r="r" b="b"/>
              <a:pathLst>
                <a:path w="2489" h="2138" extrusionOk="0">
                  <a:moveTo>
                    <a:pt x="1065" y="1"/>
                  </a:moveTo>
                  <a:cubicBezTo>
                    <a:pt x="480" y="9"/>
                    <a:pt x="0" y="481"/>
                    <a:pt x="0" y="1074"/>
                  </a:cubicBezTo>
                  <a:cubicBezTo>
                    <a:pt x="0" y="1712"/>
                    <a:pt x="525" y="2138"/>
                    <a:pt x="1073" y="2138"/>
                  </a:cubicBezTo>
                  <a:cubicBezTo>
                    <a:pt x="1335" y="2138"/>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09" name="Google Shape;3509;p66"/>
            <p:cNvSpPr/>
            <p:nvPr/>
          </p:nvSpPr>
          <p:spPr>
            <a:xfrm>
              <a:off x="5875275" y="2028275"/>
              <a:ext cx="62225" cy="53450"/>
            </a:xfrm>
            <a:custGeom>
              <a:avLst/>
              <a:gdLst/>
              <a:ahLst/>
              <a:cxnLst/>
              <a:rect l="l" t="t" r="r" b="b"/>
              <a:pathLst>
                <a:path w="2489" h="2138" extrusionOk="0">
                  <a:moveTo>
                    <a:pt x="1065" y="1"/>
                  </a:moveTo>
                  <a:cubicBezTo>
                    <a:pt x="480" y="1"/>
                    <a:pt x="0" y="480"/>
                    <a:pt x="0" y="1065"/>
                  </a:cubicBezTo>
                  <a:cubicBezTo>
                    <a:pt x="0" y="1709"/>
                    <a:pt x="526" y="2137"/>
                    <a:pt x="1074" y="2137"/>
                  </a:cubicBezTo>
                  <a:cubicBezTo>
                    <a:pt x="1336" y="2137"/>
                    <a:pt x="1603" y="2040"/>
                    <a:pt x="1821" y="1821"/>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0" name="Google Shape;3510;p66"/>
            <p:cNvSpPr/>
            <p:nvPr/>
          </p:nvSpPr>
          <p:spPr>
            <a:xfrm>
              <a:off x="587527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1" name="Google Shape;3511;p66"/>
            <p:cNvSpPr/>
            <p:nvPr/>
          </p:nvSpPr>
          <p:spPr>
            <a:xfrm>
              <a:off x="5799275" y="2104500"/>
              <a:ext cx="62200" cy="53325"/>
            </a:xfrm>
            <a:custGeom>
              <a:avLst/>
              <a:gdLst/>
              <a:ahLst/>
              <a:cxnLst/>
              <a:rect l="l" t="t" r="r" b="b"/>
              <a:pathLst>
                <a:path w="2488" h="2133"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2" name="Google Shape;3512;p66"/>
            <p:cNvSpPr/>
            <p:nvPr/>
          </p:nvSpPr>
          <p:spPr>
            <a:xfrm>
              <a:off x="5799275" y="2180700"/>
              <a:ext cx="62150" cy="53275"/>
            </a:xfrm>
            <a:custGeom>
              <a:avLst/>
              <a:gdLst/>
              <a:ahLst/>
              <a:cxnLst/>
              <a:rect l="l" t="t" r="r" b="b"/>
              <a:pathLst>
                <a:path w="2486" h="2131" extrusionOk="0">
                  <a:moveTo>
                    <a:pt x="1067" y="1"/>
                  </a:moveTo>
                  <a:cubicBezTo>
                    <a:pt x="1064" y="1"/>
                    <a:pt x="1060" y="1"/>
                    <a:pt x="1057" y="1"/>
                  </a:cubicBezTo>
                  <a:cubicBezTo>
                    <a:pt x="472" y="1"/>
                    <a:pt x="0" y="480"/>
                    <a:pt x="0" y="1066"/>
                  </a:cubicBezTo>
                  <a:cubicBezTo>
                    <a:pt x="0" y="1707"/>
                    <a:pt x="522" y="2131"/>
                    <a:pt x="1067" y="2131"/>
                  </a:cubicBezTo>
                  <a:cubicBezTo>
                    <a:pt x="1329" y="2131"/>
                    <a:pt x="1596" y="2033"/>
                    <a:pt x="1813" y="1813"/>
                  </a:cubicBezTo>
                  <a:cubicBezTo>
                    <a:pt x="2485" y="1149"/>
                    <a:pt x="2011" y="1"/>
                    <a:pt x="106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3" name="Google Shape;3513;p66"/>
            <p:cNvSpPr/>
            <p:nvPr/>
          </p:nvSpPr>
          <p:spPr>
            <a:xfrm>
              <a:off x="5799275" y="2256925"/>
              <a:ext cx="62350" cy="53425"/>
            </a:xfrm>
            <a:custGeom>
              <a:avLst/>
              <a:gdLst/>
              <a:ahLst/>
              <a:cxnLst/>
              <a:rect l="l" t="t" r="r" b="b"/>
              <a:pathLst>
                <a:path w="2494" h="2137" extrusionOk="0">
                  <a:moveTo>
                    <a:pt x="1067" y="0"/>
                  </a:moveTo>
                  <a:cubicBezTo>
                    <a:pt x="1064" y="0"/>
                    <a:pt x="1060" y="0"/>
                    <a:pt x="1057" y="0"/>
                  </a:cubicBezTo>
                  <a:cubicBezTo>
                    <a:pt x="472" y="0"/>
                    <a:pt x="0" y="480"/>
                    <a:pt x="0" y="1065"/>
                  </a:cubicBezTo>
                  <a:cubicBezTo>
                    <a:pt x="0" y="1709"/>
                    <a:pt x="529" y="2137"/>
                    <a:pt x="1077" y="2137"/>
                  </a:cubicBezTo>
                  <a:cubicBezTo>
                    <a:pt x="1339" y="2137"/>
                    <a:pt x="1606" y="2039"/>
                    <a:pt x="1821" y="1821"/>
                  </a:cubicBezTo>
                  <a:cubicBezTo>
                    <a:pt x="2493" y="1149"/>
                    <a:pt x="2019" y="0"/>
                    <a:pt x="106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4" name="Google Shape;3514;p66"/>
            <p:cNvSpPr/>
            <p:nvPr/>
          </p:nvSpPr>
          <p:spPr>
            <a:xfrm>
              <a:off x="5799275" y="2333125"/>
              <a:ext cx="62200" cy="53450"/>
            </a:xfrm>
            <a:custGeom>
              <a:avLst/>
              <a:gdLst/>
              <a:ahLst/>
              <a:cxnLst/>
              <a:rect l="l" t="t" r="r" b="b"/>
              <a:pathLst>
                <a:path w="2488" h="2138" extrusionOk="0">
                  <a:moveTo>
                    <a:pt x="1057" y="1"/>
                  </a:moveTo>
                  <a:cubicBezTo>
                    <a:pt x="472" y="9"/>
                    <a:pt x="0" y="480"/>
                    <a:pt x="0" y="1066"/>
                  </a:cubicBezTo>
                  <a:cubicBezTo>
                    <a:pt x="0" y="1709"/>
                    <a:pt x="525" y="2137"/>
                    <a:pt x="1071" y="2137"/>
                  </a:cubicBezTo>
                  <a:cubicBezTo>
                    <a:pt x="1332" y="2137"/>
                    <a:pt x="1597" y="2040"/>
                    <a:pt x="1813"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5" name="Google Shape;3515;p66"/>
            <p:cNvSpPr/>
            <p:nvPr/>
          </p:nvSpPr>
          <p:spPr>
            <a:xfrm>
              <a:off x="5799050" y="2637775"/>
              <a:ext cx="62425" cy="53450"/>
            </a:xfrm>
            <a:custGeom>
              <a:avLst/>
              <a:gdLst/>
              <a:ahLst/>
              <a:cxnLst/>
              <a:rect l="l" t="t" r="r" b="b"/>
              <a:pathLst>
                <a:path w="2497" h="2138" extrusionOk="0">
                  <a:moveTo>
                    <a:pt x="1066" y="1"/>
                  </a:moveTo>
                  <a:cubicBezTo>
                    <a:pt x="481" y="9"/>
                    <a:pt x="1" y="480"/>
                    <a:pt x="1" y="1074"/>
                  </a:cubicBezTo>
                  <a:cubicBezTo>
                    <a:pt x="1" y="1712"/>
                    <a:pt x="525" y="2137"/>
                    <a:pt x="1074" y="2137"/>
                  </a:cubicBezTo>
                  <a:cubicBezTo>
                    <a:pt x="1336"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6" name="Google Shape;3516;p66"/>
            <p:cNvSpPr/>
            <p:nvPr/>
          </p:nvSpPr>
          <p:spPr>
            <a:xfrm>
              <a:off x="5799275" y="2561575"/>
              <a:ext cx="62200" cy="53425"/>
            </a:xfrm>
            <a:custGeom>
              <a:avLst/>
              <a:gdLst/>
              <a:ahLst/>
              <a:cxnLst/>
              <a:rect l="l" t="t" r="r" b="b"/>
              <a:pathLst>
                <a:path w="2488" h="2137" extrusionOk="0">
                  <a:moveTo>
                    <a:pt x="1057" y="0"/>
                  </a:moveTo>
                  <a:cubicBezTo>
                    <a:pt x="472" y="8"/>
                    <a:pt x="0" y="480"/>
                    <a:pt x="0" y="1073"/>
                  </a:cubicBezTo>
                  <a:cubicBezTo>
                    <a:pt x="0" y="1711"/>
                    <a:pt x="524" y="2137"/>
                    <a:pt x="1070" y="2137"/>
                  </a:cubicBezTo>
                  <a:cubicBezTo>
                    <a:pt x="1331" y="2137"/>
                    <a:pt x="1597" y="2039"/>
                    <a:pt x="1813" y="1821"/>
                  </a:cubicBezTo>
                  <a:cubicBezTo>
                    <a:pt x="2488" y="1146"/>
                    <a:pt x="2008" y="0"/>
                    <a:pt x="105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7" name="Google Shape;3517;p66"/>
            <p:cNvSpPr/>
            <p:nvPr/>
          </p:nvSpPr>
          <p:spPr>
            <a:xfrm>
              <a:off x="5799050" y="2485550"/>
              <a:ext cx="62425" cy="53300"/>
            </a:xfrm>
            <a:custGeom>
              <a:avLst/>
              <a:gdLst/>
              <a:ahLst/>
              <a:cxnLst/>
              <a:rect l="l" t="t" r="r" b="b"/>
              <a:pathLst>
                <a:path w="2497" h="2132" extrusionOk="0">
                  <a:moveTo>
                    <a:pt x="1066" y="1"/>
                  </a:moveTo>
                  <a:cubicBezTo>
                    <a:pt x="481" y="1"/>
                    <a:pt x="1" y="472"/>
                    <a:pt x="1" y="1066"/>
                  </a:cubicBezTo>
                  <a:cubicBezTo>
                    <a:pt x="1" y="1708"/>
                    <a:pt x="523" y="2131"/>
                    <a:pt x="1070" y="2131"/>
                  </a:cubicBezTo>
                  <a:cubicBezTo>
                    <a:pt x="1333" y="2131"/>
                    <a:pt x="1603" y="2033"/>
                    <a:pt x="1822" y="1814"/>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8" name="Google Shape;3518;p66"/>
            <p:cNvSpPr/>
            <p:nvPr/>
          </p:nvSpPr>
          <p:spPr>
            <a:xfrm>
              <a:off x="5799275" y="2409350"/>
              <a:ext cx="62150" cy="53275"/>
            </a:xfrm>
            <a:custGeom>
              <a:avLst/>
              <a:gdLst/>
              <a:ahLst/>
              <a:cxnLst/>
              <a:rect l="l" t="t" r="r" b="b"/>
              <a:pathLst>
                <a:path w="2486" h="2131" extrusionOk="0">
                  <a:moveTo>
                    <a:pt x="1067" y="0"/>
                  </a:moveTo>
                  <a:cubicBezTo>
                    <a:pt x="1064" y="0"/>
                    <a:pt x="1060" y="0"/>
                    <a:pt x="1057" y="0"/>
                  </a:cubicBezTo>
                  <a:cubicBezTo>
                    <a:pt x="472" y="0"/>
                    <a:pt x="0" y="480"/>
                    <a:pt x="0" y="1065"/>
                  </a:cubicBezTo>
                  <a:cubicBezTo>
                    <a:pt x="0" y="1707"/>
                    <a:pt x="522" y="2131"/>
                    <a:pt x="1069" y="2131"/>
                  </a:cubicBezTo>
                  <a:cubicBezTo>
                    <a:pt x="1333" y="2131"/>
                    <a:pt x="1602" y="2032"/>
                    <a:pt x="1821" y="1813"/>
                  </a:cubicBezTo>
                  <a:cubicBezTo>
                    <a:pt x="2485" y="1149"/>
                    <a:pt x="2011" y="0"/>
                    <a:pt x="106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19" name="Google Shape;3519;p66"/>
            <p:cNvSpPr/>
            <p:nvPr/>
          </p:nvSpPr>
          <p:spPr>
            <a:xfrm>
              <a:off x="5723050" y="240935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0" name="Google Shape;3520;p66"/>
            <p:cNvSpPr/>
            <p:nvPr/>
          </p:nvSpPr>
          <p:spPr>
            <a:xfrm>
              <a:off x="564682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1" name="Google Shape;3521;p66"/>
            <p:cNvSpPr/>
            <p:nvPr/>
          </p:nvSpPr>
          <p:spPr>
            <a:xfrm>
              <a:off x="5570625" y="2409350"/>
              <a:ext cx="62200" cy="53350"/>
            </a:xfrm>
            <a:custGeom>
              <a:avLst/>
              <a:gdLst/>
              <a:ahLst/>
              <a:cxnLst/>
              <a:rect l="l" t="t" r="r" b="b"/>
              <a:pathLst>
                <a:path w="2488"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2" name="Google Shape;3522;p66"/>
            <p:cNvSpPr/>
            <p:nvPr/>
          </p:nvSpPr>
          <p:spPr>
            <a:xfrm>
              <a:off x="5494400" y="240935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7"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3" name="Google Shape;3523;p66"/>
            <p:cNvSpPr/>
            <p:nvPr/>
          </p:nvSpPr>
          <p:spPr>
            <a:xfrm>
              <a:off x="5418200" y="2409350"/>
              <a:ext cx="62425" cy="53350"/>
            </a:xfrm>
            <a:custGeom>
              <a:avLst/>
              <a:gdLst/>
              <a:ahLst/>
              <a:cxnLst/>
              <a:rect l="l" t="t" r="r" b="b"/>
              <a:pathLst>
                <a:path w="2497" h="2134"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4" name="Google Shape;3524;p66"/>
            <p:cNvSpPr/>
            <p:nvPr/>
          </p:nvSpPr>
          <p:spPr>
            <a:xfrm>
              <a:off x="5341975" y="240935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5" name="Google Shape;3525;p66"/>
            <p:cNvSpPr/>
            <p:nvPr/>
          </p:nvSpPr>
          <p:spPr>
            <a:xfrm>
              <a:off x="6027500" y="3399500"/>
              <a:ext cx="62425" cy="53350"/>
            </a:xfrm>
            <a:custGeom>
              <a:avLst/>
              <a:gdLst/>
              <a:ahLst/>
              <a:cxnLst/>
              <a:rect l="l" t="t" r="r" b="b"/>
              <a:pathLst>
                <a:path w="2497" h="2134" extrusionOk="0">
                  <a:moveTo>
                    <a:pt x="1073" y="1"/>
                  </a:moveTo>
                  <a:cubicBezTo>
                    <a:pt x="480" y="1"/>
                    <a:pt x="9" y="480"/>
                    <a:pt x="0" y="1066"/>
                  </a:cubicBezTo>
                  <a:cubicBezTo>
                    <a:pt x="0" y="1709"/>
                    <a:pt x="529" y="2134"/>
                    <a:pt x="1078" y="2134"/>
                  </a:cubicBezTo>
                  <a:cubicBezTo>
                    <a:pt x="1340" y="2134"/>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6" name="Google Shape;3526;p66"/>
            <p:cNvSpPr/>
            <p:nvPr/>
          </p:nvSpPr>
          <p:spPr>
            <a:xfrm>
              <a:off x="6027500" y="3323300"/>
              <a:ext cx="62425" cy="53425"/>
            </a:xfrm>
            <a:custGeom>
              <a:avLst/>
              <a:gdLst/>
              <a:ahLst/>
              <a:cxnLst/>
              <a:rect l="l" t="t" r="r" b="b"/>
              <a:pathLst>
                <a:path w="2497" h="2137" extrusionOk="0">
                  <a:moveTo>
                    <a:pt x="1073" y="0"/>
                  </a:moveTo>
                  <a:cubicBezTo>
                    <a:pt x="480" y="0"/>
                    <a:pt x="9" y="480"/>
                    <a:pt x="0" y="1065"/>
                  </a:cubicBezTo>
                  <a:cubicBezTo>
                    <a:pt x="0" y="1709"/>
                    <a:pt x="529" y="2137"/>
                    <a:pt x="1078" y="2137"/>
                  </a:cubicBezTo>
                  <a:cubicBezTo>
                    <a:pt x="1340" y="2137"/>
                    <a:pt x="1606" y="2039"/>
                    <a:pt x="1821" y="1821"/>
                  </a:cubicBezTo>
                  <a:cubicBezTo>
                    <a:pt x="2496" y="1154"/>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7" name="Google Shape;3527;p66"/>
            <p:cNvSpPr/>
            <p:nvPr/>
          </p:nvSpPr>
          <p:spPr>
            <a:xfrm>
              <a:off x="6103700" y="3171075"/>
              <a:ext cx="62425" cy="53275"/>
            </a:xfrm>
            <a:custGeom>
              <a:avLst/>
              <a:gdLst/>
              <a:ahLst/>
              <a:cxnLst/>
              <a:rect l="l" t="t" r="r" b="b"/>
              <a:pathLst>
                <a:path w="2497" h="2131" extrusionOk="0">
                  <a:moveTo>
                    <a:pt x="1066" y="0"/>
                  </a:moveTo>
                  <a:cubicBezTo>
                    <a:pt x="481" y="0"/>
                    <a:pt x="9" y="472"/>
                    <a:pt x="1" y="1065"/>
                  </a:cubicBezTo>
                  <a:cubicBezTo>
                    <a:pt x="1" y="1707"/>
                    <a:pt x="523" y="2131"/>
                    <a:pt x="1070" y="2131"/>
                  </a:cubicBezTo>
                  <a:cubicBezTo>
                    <a:pt x="1333" y="2131"/>
                    <a:pt x="1603" y="2032"/>
                    <a:pt x="1822" y="1813"/>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8" name="Google Shape;3528;p66"/>
            <p:cNvSpPr/>
            <p:nvPr/>
          </p:nvSpPr>
          <p:spPr>
            <a:xfrm>
              <a:off x="6103700" y="3094850"/>
              <a:ext cx="62425" cy="53350"/>
            </a:xfrm>
            <a:custGeom>
              <a:avLst/>
              <a:gdLst/>
              <a:ahLst/>
              <a:cxnLst/>
              <a:rect l="l" t="t" r="r" b="b"/>
              <a:pathLst>
                <a:path w="2497" h="2134" extrusionOk="0">
                  <a:moveTo>
                    <a:pt x="1066" y="1"/>
                  </a:moveTo>
                  <a:cubicBezTo>
                    <a:pt x="481" y="1"/>
                    <a:pt x="1" y="480"/>
                    <a:pt x="1" y="1066"/>
                  </a:cubicBezTo>
                  <a:cubicBezTo>
                    <a:pt x="1" y="1709"/>
                    <a:pt x="526" y="2134"/>
                    <a:pt x="1075" y="2134"/>
                  </a:cubicBezTo>
                  <a:cubicBezTo>
                    <a:pt x="1337" y="2134"/>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29" name="Google Shape;3529;p66"/>
            <p:cNvSpPr/>
            <p:nvPr/>
          </p:nvSpPr>
          <p:spPr>
            <a:xfrm>
              <a:off x="5951475" y="309485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0" name="Google Shape;3530;p66"/>
            <p:cNvSpPr/>
            <p:nvPr/>
          </p:nvSpPr>
          <p:spPr>
            <a:xfrm>
              <a:off x="595147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1" name="Google Shape;3531;p66"/>
            <p:cNvSpPr/>
            <p:nvPr/>
          </p:nvSpPr>
          <p:spPr>
            <a:xfrm>
              <a:off x="5875275" y="3399500"/>
              <a:ext cx="62225" cy="53350"/>
            </a:xfrm>
            <a:custGeom>
              <a:avLst/>
              <a:gdLst/>
              <a:ahLst/>
              <a:cxnLst/>
              <a:rect l="l" t="t" r="r" b="b"/>
              <a:pathLst>
                <a:path w="2489" h="2134" extrusionOk="0">
                  <a:moveTo>
                    <a:pt x="1065" y="1"/>
                  </a:moveTo>
                  <a:cubicBezTo>
                    <a:pt x="480" y="1"/>
                    <a:pt x="0" y="480"/>
                    <a:pt x="0" y="1066"/>
                  </a:cubicBezTo>
                  <a:cubicBezTo>
                    <a:pt x="0" y="1709"/>
                    <a:pt x="526" y="2134"/>
                    <a:pt x="1074" y="2134"/>
                  </a:cubicBezTo>
                  <a:cubicBezTo>
                    <a:pt x="1336" y="2134"/>
                    <a:pt x="1603" y="2037"/>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2" name="Google Shape;3532;p66"/>
            <p:cNvSpPr/>
            <p:nvPr/>
          </p:nvSpPr>
          <p:spPr>
            <a:xfrm>
              <a:off x="5875275" y="3323300"/>
              <a:ext cx="62225" cy="53425"/>
            </a:xfrm>
            <a:custGeom>
              <a:avLst/>
              <a:gdLst/>
              <a:ahLst/>
              <a:cxnLst/>
              <a:rect l="l" t="t" r="r" b="b"/>
              <a:pathLst>
                <a:path w="2489" h="2137" extrusionOk="0">
                  <a:moveTo>
                    <a:pt x="1065" y="0"/>
                  </a:moveTo>
                  <a:cubicBezTo>
                    <a:pt x="480" y="0"/>
                    <a:pt x="0" y="480"/>
                    <a:pt x="0" y="1065"/>
                  </a:cubicBezTo>
                  <a:cubicBezTo>
                    <a:pt x="0" y="1709"/>
                    <a:pt x="526" y="2137"/>
                    <a:pt x="1074" y="2137"/>
                  </a:cubicBezTo>
                  <a:cubicBezTo>
                    <a:pt x="1336"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3" name="Google Shape;3533;p66"/>
            <p:cNvSpPr/>
            <p:nvPr/>
          </p:nvSpPr>
          <p:spPr>
            <a:xfrm>
              <a:off x="5875275" y="3247075"/>
              <a:ext cx="62225" cy="53450"/>
            </a:xfrm>
            <a:custGeom>
              <a:avLst/>
              <a:gdLst/>
              <a:ahLst/>
              <a:cxnLst/>
              <a:rect l="l" t="t" r="r" b="b"/>
              <a:pathLst>
                <a:path w="2489" h="2138" extrusionOk="0">
                  <a:moveTo>
                    <a:pt x="1065" y="1"/>
                  </a:moveTo>
                  <a:cubicBezTo>
                    <a:pt x="480" y="9"/>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4" name="Google Shape;3534;p66"/>
            <p:cNvSpPr/>
            <p:nvPr/>
          </p:nvSpPr>
          <p:spPr>
            <a:xfrm>
              <a:off x="5799125" y="3399500"/>
              <a:ext cx="62350" cy="53450"/>
            </a:xfrm>
            <a:custGeom>
              <a:avLst/>
              <a:gdLst/>
              <a:ahLst/>
              <a:cxnLst/>
              <a:rect l="l" t="t" r="r" b="b"/>
              <a:pathLst>
                <a:path w="2494" h="2138" extrusionOk="0">
                  <a:moveTo>
                    <a:pt x="1063" y="1"/>
                  </a:moveTo>
                  <a:cubicBezTo>
                    <a:pt x="478" y="1"/>
                    <a:pt x="6" y="480"/>
                    <a:pt x="6" y="1066"/>
                  </a:cubicBezTo>
                  <a:cubicBezTo>
                    <a:pt x="1" y="1709"/>
                    <a:pt x="528" y="2137"/>
                    <a:pt x="1076" y="2137"/>
                  </a:cubicBezTo>
                  <a:cubicBezTo>
                    <a:pt x="1337" y="2137"/>
                    <a:pt x="1603" y="2040"/>
                    <a:pt x="1819" y="1822"/>
                  </a:cubicBezTo>
                  <a:cubicBezTo>
                    <a:pt x="2494" y="1147"/>
                    <a:pt x="2014" y="1"/>
                    <a:pt x="106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5" name="Google Shape;3535;p66"/>
            <p:cNvSpPr/>
            <p:nvPr/>
          </p:nvSpPr>
          <p:spPr>
            <a:xfrm>
              <a:off x="5799125" y="3323300"/>
              <a:ext cx="62350" cy="53425"/>
            </a:xfrm>
            <a:custGeom>
              <a:avLst/>
              <a:gdLst/>
              <a:ahLst/>
              <a:cxnLst/>
              <a:rect l="l" t="t" r="r" b="b"/>
              <a:pathLst>
                <a:path w="2494" h="2137" extrusionOk="0">
                  <a:moveTo>
                    <a:pt x="1063" y="0"/>
                  </a:moveTo>
                  <a:cubicBezTo>
                    <a:pt x="478" y="8"/>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6" name="Google Shape;3536;p66"/>
            <p:cNvSpPr/>
            <p:nvPr/>
          </p:nvSpPr>
          <p:spPr>
            <a:xfrm>
              <a:off x="6027500" y="3551925"/>
              <a:ext cx="62425" cy="53250"/>
            </a:xfrm>
            <a:custGeom>
              <a:avLst/>
              <a:gdLst/>
              <a:ahLst/>
              <a:cxnLst/>
              <a:rect l="l" t="t" r="r" b="b"/>
              <a:pathLst>
                <a:path w="2497" h="2130" extrusionOk="0">
                  <a:moveTo>
                    <a:pt x="1073" y="1"/>
                  </a:moveTo>
                  <a:cubicBezTo>
                    <a:pt x="480" y="1"/>
                    <a:pt x="9" y="472"/>
                    <a:pt x="0" y="1066"/>
                  </a:cubicBezTo>
                  <a:cubicBezTo>
                    <a:pt x="0" y="1704"/>
                    <a:pt x="529" y="2129"/>
                    <a:pt x="1077" y="2129"/>
                  </a:cubicBezTo>
                  <a:cubicBezTo>
                    <a:pt x="1339" y="2129"/>
                    <a:pt x="1606" y="2032"/>
                    <a:pt x="1821" y="1814"/>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7" name="Google Shape;3537;p66"/>
            <p:cNvSpPr/>
            <p:nvPr/>
          </p:nvSpPr>
          <p:spPr>
            <a:xfrm>
              <a:off x="5951475" y="3551925"/>
              <a:ext cx="62225" cy="53250"/>
            </a:xfrm>
            <a:custGeom>
              <a:avLst/>
              <a:gdLst/>
              <a:ahLst/>
              <a:cxnLst/>
              <a:rect l="l" t="t" r="r" b="b"/>
              <a:pathLst>
                <a:path w="2489" h="2130" extrusionOk="0">
                  <a:moveTo>
                    <a:pt x="1066" y="1"/>
                  </a:moveTo>
                  <a:cubicBezTo>
                    <a:pt x="472" y="1"/>
                    <a:pt x="1" y="472"/>
                    <a:pt x="1" y="1066"/>
                  </a:cubicBezTo>
                  <a:cubicBezTo>
                    <a:pt x="1" y="1704"/>
                    <a:pt x="525" y="2129"/>
                    <a:pt x="1071" y="2129"/>
                  </a:cubicBezTo>
                  <a:cubicBezTo>
                    <a:pt x="1332" y="2129"/>
                    <a:pt x="1598" y="2032"/>
                    <a:pt x="1814"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8" name="Google Shape;3538;p66"/>
            <p:cNvSpPr/>
            <p:nvPr/>
          </p:nvSpPr>
          <p:spPr>
            <a:xfrm>
              <a:off x="5875275" y="3551925"/>
              <a:ext cx="62225" cy="53250"/>
            </a:xfrm>
            <a:custGeom>
              <a:avLst/>
              <a:gdLst/>
              <a:ahLst/>
              <a:cxnLst/>
              <a:rect l="l" t="t" r="r" b="b"/>
              <a:pathLst>
                <a:path w="2489" h="2130" extrusionOk="0">
                  <a:moveTo>
                    <a:pt x="1065" y="1"/>
                  </a:moveTo>
                  <a:cubicBezTo>
                    <a:pt x="480" y="1"/>
                    <a:pt x="0" y="472"/>
                    <a:pt x="0" y="1066"/>
                  </a:cubicBezTo>
                  <a:cubicBezTo>
                    <a:pt x="0" y="1704"/>
                    <a:pt x="525" y="2129"/>
                    <a:pt x="1073" y="2129"/>
                  </a:cubicBezTo>
                  <a:cubicBezTo>
                    <a:pt x="1335" y="2129"/>
                    <a:pt x="1603" y="2032"/>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39" name="Google Shape;3539;p66"/>
            <p:cNvSpPr/>
            <p:nvPr/>
          </p:nvSpPr>
          <p:spPr>
            <a:xfrm>
              <a:off x="5799050" y="3551925"/>
              <a:ext cx="62375" cy="53300"/>
            </a:xfrm>
            <a:custGeom>
              <a:avLst/>
              <a:gdLst/>
              <a:ahLst/>
              <a:cxnLst/>
              <a:rect l="l" t="t" r="r" b="b"/>
              <a:pathLst>
                <a:path w="2495" h="2132" extrusionOk="0">
                  <a:moveTo>
                    <a:pt x="1076" y="1"/>
                  </a:moveTo>
                  <a:cubicBezTo>
                    <a:pt x="1073" y="1"/>
                    <a:pt x="1069" y="1"/>
                    <a:pt x="1066" y="1"/>
                  </a:cubicBezTo>
                  <a:cubicBezTo>
                    <a:pt x="481" y="1"/>
                    <a:pt x="1" y="480"/>
                    <a:pt x="9" y="1066"/>
                  </a:cubicBezTo>
                  <a:cubicBezTo>
                    <a:pt x="9" y="1708"/>
                    <a:pt x="531" y="2131"/>
                    <a:pt x="1078" y="2131"/>
                  </a:cubicBezTo>
                  <a:cubicBezTo>
                    <a:pt x="1342" y="2131"/>
                    <a:pt x="1611" y="2033"/>
                    <a:pt x="1830" y="1814"/>
                  </a:cubicBezTo>
                  <a:cubicBezTo>
                    <a:pt x="2494" y="1141"/>
                    <a:pt x="2020" y="1"/>
                    <a:pt x="107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0" name="Google Shape;3540;p66"/>
            <p:cNvSpPr/>
            <p:nvPr/>
          </p:nvSpPr>
          <p:spPr>
            <a:xfrm>
              <a:off x="5723050" y="3551925"/>
              <a:ext cx="62150" cy="53300"/>
            </a:xfrm>
            <a:custGeom>
              <a:avLst/>
              <a:gdLst/>
              <a:ahLst/>
              <a:cxnLst/>
              <a:rect l="l" t="t" r="r" b="b"/>
              <a:pathLst>
                <a:path w="2486" h="2132" extrusionOk="0">
                  <a:moveTo>
                    <a:pt x="1075" y="1"/>
                  </a:moveTo>
                  <a:cubicBezTo>
                    <a:pt x="1072" y="1"/>
                    <a:pt x="1069" y="1"/>
                    <a:pt x="1065" y="1"/>
                  </a:cubicBezTo>
                  <a:cubicBezTo>
                    <a:pt x="472" y="1"/>
                    <a:pt x="0" y="480"/>
                    <a:pt x="0" y="1066"/>
                  </a:cubicBezTo>
                  <a:cubicBezTo>
                    <a:pt x="0" y="1708"/>
                    <a:pt x="523" y="2131"/>
                    <a:pt x="1070" y="2131"/>
                  </a:cubicBezTo>
                  <a:cubicBezTo>
                    <a:pt x="1333" y="2131"/>
                    <a:pt x="1602" y="2033"/>
                    <a:pt x="1821" y="1814"/>
                  </a:cubicBezTo>
                  <a:cubicBezTo>
                    <a:pt x="2486" y="1141"/>
                    <a:pt x="2012" y="1"/>
                    <a:pt x="107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1" name="Google Shape;3541;p66"/>
            <p:cNvSpPr/>
            <p:nvPr/>
          </p:nvSpPr>
          <p:spPr>
            <a:xfrm>
              <a:off x="5723050" y="3475725"/>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7"/>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2" name="Google Shape;3542;p66"/>
            <p:cNvSpPr/>
            <p:nvPr/>
          </p:nvSpPr>
          <p:spPr>
            <a:xfrm>
              <a:off x="5646825" y="3475725"/>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7"/>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3" name="Google Shape;3543;p66"/>
            <p:cNvSpPr/>
            <p:nvPr/>
          </p:nvSpPr>
          <p:spPr>
            <a:xfrm>
              <a:off x="5646700" y="3399500"/>
              <a:ext cx="62350" cy="53350"/>
            </a:xfrm>
            <a:custGeom>
              <a:avLst/>
              <a:gdLst/>
              <a:ahLst/>
              <a:cxnLst/>
              <a:rect l="l" t="t" r="r" b="b"/>
              <a:pathLst>
                <a:path w="2494" h="2134" extrusionOk="0">
                  <a:moveTo>
                    <a:pt x="1071" y="1"/>
                  </a:moveTo>
                  <a:cubicBezTo>
                    <a:pt x="477" y="1"/>
                    <a:pt x="6" y="480"/>
                    <a:pt x="6" y="1066"/>
                  </a:cubicBezTo>
                  <a:cubicBezTo>
                    <a:pt x="0" y="1709"/>
                    <a:pt x="528" y="2134"/>
                    <a:pt x="1076" y="2134"/>
                  </a:cubicBezTo>
                  <a:cubicBezTo>
                    <a:pt x="1337" y="2134"/>
                    <a:pt x="1603" y="2037"/>
                    <a:pt x="1819" y="1822"/>
                  </a:cubicBezTo>
                  <a:cubicBezTo>
                    <a:pt x="2494" y="1147"/>
                    <a:pt x="2022"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4" name="Google Shape;3544;p66"/>
            <p:cNvSpPr/>
            <p:nvPr/>
          </p:nvSpPr>
          <p:spPr>
            <a:xfrm>
              <a:off x="5570475" y="3399500"/>
              <a:ext cx="62350" cy="53350"/>
            </a:xfrm>
            <a:custGeom>
              <a:avLst/>
              <a:gdLst/>
              <a:ahLst/>
              <a:cxnLst/>
              <a:rect l="l" t="t" r="r" b="b"/>
              <a:pathLst>
                <a:path w="2494" h="2134" extrusionOk="0">
                  <a:moveTo>
                    <a:pt x="1071" y="1"/>
                  </a:moveTo>
                  <a:cubicBezTo>
                    <a:pt x="486" y="1"/>
                    <a:pt x="6" y="480"/>
                    <a:pt x="6" y="1066"/>
                  </a:cubicBezTo>
                  <a:cubicBezTo>
                    <a:pt x="1" y="1709"/>
                    <a:pt x="528" y="2134"/>
                    <a:pt x="1076" y="2134"/>
                  </a:cubicBezTo>
                  <a:cubicBezTo>
                    <a:pt x="1338" y="2134"/>
                    <a:pt x="1604" y="2037"/>
                    <a:pt x="1819" y="1822"/>
                  </a:cubicBezTo>
                  <a:cubicBezTo>
                    <a:pt x="2494" y="1155"/>
                    <a:pt x="2022"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5" name="Google Shape;3545;p66"/>
            <p:cNvSpPr/>
            <p:nvPr/>
          </p:nvSpPr>
          <p:spPr>
            <a:xfrm>
              <a:off x="5570475" y="3323300"/>
              <a:ext cx="62350" cy="53425"/>
            </a:xfrm>
            <a:custGeom>
              <a:avLst/>
              <a:gdLst/>
              <a:ahLst/>
              <a:cxnLst/>
              <a:rect l="l" t="t" r="r" b="b"/>
              <a:pathLst>
                <a:path w="2494" h="2137" extrusionOk="0">
                  <a:moveTo>
                    <a:pt x="1071" y="0"/>
                  </a:moveTo>
                  <a:cubicBezTo>
                    <a:pt x="486" y="0"/>
                    <a:pt x="6" y="480"/>
                    <a:pt x="6" y="1065"/>
                  </a:cubicBezTo>
                  <a:cubicBezTo>
                    <a:pt x="1" y="1709"/>
                    <a:pt x="524" y="2137"/>
                    <a:pt x="1072" y="2137"/>
                  </a:cubicBezTo>
                  <a:cubicBezTo>
                    <a:pt x="1334" y="2137"/>
                    <a:pt x="1601"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6" name="Google Shape;3546;p66"/>
            <p:cNvSpPr/>
            <p:nvPr/>
          </p:nvSpPr>
          <p:spPr>
            <a:xfrm>
              <a:off x="5494275" y="3323300"/>
              <a:ext cx="62350" cy="53425"/>
            </a:xfrm>
            <a:custGeom>
              <a:avLst/>
              <a:gdLst/>
              <a:ahLst/>
              <a:cxnLst/>
              <a:rect l="l" t="t" r="r" b="b"/>
              <a:pathLst>
                <a:path w="2494" h="2137" extrusionOk="0">
                  <a:moveTo>
                    <a:pt x="1071" y="0"/>
                  </a:moveTo>
                  <a:cubicBezTo>
                    <a:pt x="485" y="0"/>
                    <a:pt x="6" y="480"/>
                    <a:pt x="6" y="1065"/>
                  </a:cubicBezTo>
                  <a:cubicBezTo>
                    <a:pt x="0" y="1709"/>
                    <a:pt x="524" y="2137"/>
                    <a:pt x="1072" y="2137"/>
                  </a:cubicBezTo>
                  <a:cubicBezTo>
                    <a:pt x="1333" y="2137"/>
                    <a:pt x="1601" y="2039"/>
                    <a:pt x="1819" y="1821"/>
                  </a:cubicBezTo>
                  <a:cubicBezTo>
                    <a:pt x="2493" y="1154"/>
                    <a:pt x="2022" y="8"/>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7" name="Google Shape;3547;p66"/>
            <p:cNvSpPr/>
            <p:nvPr/>
          </p:nvSpPr>
          <p:spPr>
            <a:xfrm>
              <a:off x="5494275" y="3247075"/>
              <a:ext cx="62350" cy="53500"/>
            </a:xfrm>
            <a:custGeom>
              <a:avLst/>
              <a:gdLst/>
              <a:ahLst/>
              <a:cxnLst/>
              <a:rect l="l" t="t" r="r" b="b"/>
              <a:pathLst>
                <a:path w="2494" h="2140" extrusionOk="0">
                  <a:moveTo>
                    <a:pt x="1071" y="1"/>
                  </a:moveTo>
                  <a:cubicBezTo>
                    <a:pt x="485" y="1"/>
                    <a:pt x="6" y="480"/>
                    <a:pt x="6" y="1066"/>
                  </a:cubicBezTo>
                  <a:cubicBezTo>
                    <a:pt x="0" y="1711"/>
                    <a:pt x="527" y="2140"/>
                    <a:pt x="1077" y="2140"/>
                  </a:cubicBezTo>
                  <a:cubicBezTo>
                    <a:pt x="1337" y="2140"/>
                    <a:pt x="1602" y="2044"/>
                    <a:pt x="1819" y="1830"/>
                  </a:cubicBezTo>
                  <a:cubicBezTo>
                    <a:pt x="2493" y="1155"/>
                    <a:pt x="2022" y="9"/>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8" name="Google Shape;3548;p66"/>
            <p:cNvSpPr/>
            <p:nvPr/>
          </p:nvSpPr>
          <p:spPr>
            <a:xfrm>
              <a:off x="5646700" y="3247075"/>
              <a:ext cx="62350" cy="53450"/>
            </a:xfrm>
            <a:custGeom>
              <a:avLst/>
              <a:gdLst/>
              <a:ahLst/>
              <a:cxnLst/>
              <a:rect l="l" t="t" r="r" b="b"/>
              <a:pathLst>
                <a:path w="2494" h="2138" extrusionOk="0">
                  <a:moveTo>
                    <a:pt x="1071" y="1"/>
                  </a:moveTo>
                  <a:cubicBezTo>
                    <a:pt x="486" y="9"/>
                    <a:pt x="6" y="480"/>
                    <a:pt x="6" y="1066"/>
                  </a:cubicBezTo>
                  <a:cubicBezTo>
                    <a:pt x="0" y="1709"/>
                    <a:pt x="524" y="2137"/>
                    <a:pt x="1072" y="2137"/>
                  </a:cubicBezTo>
                  <a:cubicBezTo>
                    <a:pt x="1333" y="2137"/>
                    <a:pt x="1601" y="2040"/>
                    <a:pt x="1819" y="1822"/>
                  </a:cubicBezTo>
                  <a:cubicBezTo>
                    <a:pt x="2494" y="1155"/>
                    <a:pt x="2022" y="1"/>
                    <a:pt x="1071"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49" name="Google Shape;3549;p66"/>
            <p:cNvSpPr/>
            <p:nvPr/>
          </p:nvSpPr>
          <p:spPr>
            <a:xfrm>
              <a:off x="5570625" y="3171075"/>
              <a:ext cx="62200" cy="53350"/>
            </a:xfrm>
            <a:custGeom>
              <a:avLst/>
              <a:gdLst/>
              <a:ahLst/>
              <a:cxnLst/>
              <a:rect l="l" t="t" r="r" b="b"/>
              <a:pathLst>
                <a:path w="2488" h="2134" extrusionOk="0">
                  <a:moveTo>
                    <a:pt x="1065" y="0"/>
                  </a:moveTo>
                  <a:cubicBezTo>
                    <a:pt x="472" y="0"/>
                    <a:pt x="0" y="472"/>
                    <a:pt x="0" y="1065"/>
                  </a:cubicBezTo>
                  <a:cubicBezTo>
                    <a:pt x="0" y="1709"/>
                    <a:pt x="526" y="2133"/>
                    <a:pt x="1072" y="2133"/>
                  </a:cubicBezTo>
                  <a:cubicBezTo>
                    <a:pt x="1333" y="2133"/>
                    <a:pt x="1598" y="2037"/>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0" name="Google Shape;3550;p66"/>
            <p:cNvSpPr/>
            <p:nvPr/>
          </p:nvSpPr>
          <p:spPr>
            <a:xfrm>
              <a:off x="5494400" y="3094850"/>
              <a:ext cx="62225" cy="53350"/>
            </a:xfrm>
            <a:custGeom>
              <a:avLst/>
              <a:gdLst/>
              <a:ahLst/>
              <a:cxnLst/>
              <a:rect l="l" t="t" r="r" b="b"/>
              <a:pathLst>
                <a:path w="2489" h="2134" extrusionOk="0">
                  <a:moveTo>
                    <a:pt x="1066" y="1"/>
                  </a:moveTo>
                  <a:cubicBezTo>
                    <a:pt x="480" y="1"/>
                    <a:pt x="1" y="480"/>
                    <a:pt x="1" y="1066"/>
                  </a:cubicBezTo>
                  <a:cubicBezTo>
                    <a:pt x="1" y="1709"/>
                    <a:pt x="526" y="2134"/>
                    <a:pt x="1075" y="2134"/>
                  </a:cubicBezTo>
                  <a:cubicBezTo>
                    <a:pt x="1337" y="2134"/>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1" name="Google Shape;3551;p66"/>
            <p:cNvSpPr/>
            <p:nvPr/>
          </p:nvSpPr>
          <p:spPr>
            <a:xfrm>
              <a:off x="7322525" y="1495200"/>
              <a:ext cx="62400" cy="53325"/>
            </a:xfrm>
            <a:custGeom>
              <a:avLst/>
              <a:gdLst/>
              <a:ahLst/>
              <a:cxnLst/>
              <a:rect l="l" t="t" r="r" b="b"/>
              <a:pathLst>
                <a:path w="2496" h="2133" extrusionOk="0">
                  <a:moveTo>
                    <a:pt x="1073" y="0"/>
                  </a:moveTo>
                  <a:cubicBezTo>
                    <a:pt x="480" y="0"/>
                    <a:pt x="8" y="480"/>
                    <a:pt x="0" y="1065"/>
                  </a:cubicBezTo>
                  <a:cubicBezTo>
                    <a:pt x="0" y="1709"/>
                    <a:pt x="529" y="2133"/>
                    <a:pt x="1078" y="2133"/>
                  </a:cubicBezTo>
                  <a:cubicBezTo>
                    <a:pt x="1340" y="2133"/>
                    <a:pt x="1606"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2" name="Google Shape;3552;p66"/>
            <p:cNvSpPr/>
            <p:nvPr/>
          </p:nvSpPr>
          <p:spPr>
            <a:xfrm>
              <a:off x="7246500"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3" name="Google Shape;3553;p66"/>
            <p:cNvSpPr/>
            <p:nvPr/>
          </p:nvSpPr>
          <p:spPr>
            <a:xfrm>
              <a:off x="724650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4" name="Google Shape;3554;p66"/>
            <p:cNvSpPr/>
            <p:nvPr/>
          </p:nvSpPr>
          <p:spPr>
            <a:xfrm>
              <a:off x="7170300" y="1495200"/>
              <a:ext cx="62200" cy="53325"/>
            </a:xfrm>
            <a:custGeom>
              <a:avLst/>
              <a:gdLst/>
              <a:ahLst/>
              <a:cxnLst/>
              <a:rect l="l" t="t" r="r" b="b"/>
              <a:pathLst>
                <a:path w="2488"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5" name="Google Shape;3555;p66"/>
            <p:cNvSpPr/>
            <p:nvPr/>
          </p:nvSpPr>
          <p:spPr>
            <a:xfrm>
              <a:off x="7170300" y="141897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6" name="Google Shape;3556;p66"/>
            <p:cNvSpPr/>
            <p:nvPr/>
          </p:nvSpPr>
          <p:spPr>
            <a:xfrm>
              <a:off x="7094075" y="1571400"/>
              <a:ext cx="62425" cy="53250"/>
            </a:xfrm>
            <a:custGeom>
              <a:avLst/>
              <a:gdLst/>
              <a:ahLst/>
              <a:cxnLst/>
              <a:rect l="l" t="t" r="r" b="b"/>
              <a:pathLst>
                <a:path w="2497" h="2130" extrusionOk="0">
                  <a:moveTo>
                    <a:pt x="1066" y="1"/>
                  </a:moveTo>
                  <a:cubicBezTo>
                    <a:pt x="480" y="1"/>
                    <a:pt x="1" y="472"/>
                    <a:pt x="1" y="1066"/>
                  </a:cubicBezTo>
                  <a:cubicBezTo>
                    <a:pt x="1" y="1703"/>
                    <a:pt x="525" y="2129"/>
                    <a:pt x="1073" y="2129"/>
                  </a:cubicBezTo>
                  <a:cubicBezTo>
                    <a:pt x="1336" y="2129"/>
                    <a:pt x="1603" y="2032"/>
                    <a:pt x="1822" y="1813"/>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7" name="Google Shape;3557;p66"/>
            <p:cNvSpPr/>
            <p:nvPr/>
          </p:nvSpPr>
          <p:spPr>
            <a:xfrm>
              <a:off x="7094075" y="1418975"/>
              <a:ext cx="62425" cy="53350"/>
            </a:xfrm>
            <a:custGeom>
              <a:avLst/>
              <a:gdLst/>
              <a:ahLst/>
              <a:cxnLst/>
              <a:rect l="l" t="t" r="r" b="b"/>
              <a:pathLst>
                <a:path w="2497" h="2134" extrusionOk="0">
                  <a:moveTo>
                    <a:pt x="1066" y="1"/>
                  </a:moveTo>
                  <a:cubicBezTo>
                    <a:pt x="480" y="1"/>
                    <a:pt x="1" y="480"/>
                    <a:pt x="1" y="1065"/>
                  </a:cubicBezTo>
                  <a:cubicBezTo>
                    <a:pt x="1" y="1709"/>
                    <a:pt x="526" y="2133"/>
                    <a:pt x="1075" y="2133"/>
                  </a:cubicBezTo>
                  <a:cubicBezTo>
                    <a:pt x="1337" y="2133"/>
                    <a:pt x="1604" y="2037"/>
                    <a:pt x="1822" y="1822"/>
                  </a:cubicBezTo>
                  <a:cubicBezTo>
                    <a:pt x="2496"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8" name="Google Shape;3558;p66"/>
            <p:cNvSpPr/>
            <p:nvPr/>
          </p:nvSpPr>
          <p:spPr>
            <a:xfrm>
              <a:off x="7017875" y="1571400"/>
              <a:ext cx="62400" cy="53250"/>
            </a:xfrm>
            <a:custGeom>
              <a:avLst/>
              <a:gdLst/>
              <a:ahLst/>
              <a:cxnLst/>
              <a:rect l="l" t="t" r="r" b="b"/>
              <a:pathLst>
                <a:path w="2496" h="2130" extrusionOk="0">
                  <a:moveTo>
                    <a:pt x="1073" y="1"/>
                  </a:moveTo>
                  <a:cubicBezTo>
                    <a:pt x="480" y="1"/>
                    <a:pt x="8" y="472"/>
                    <a:pt x="0" y="1066"/>
                  </a:cubicBezTo>
                  <a:cubicBezTo>
                    <a:pt x="0" y="1703"/>
                    <a:pt x="528" y="2129"/>
                    <a:pt x="1076" y="2129"/>
                  </a:cubicBezTo>
                  <a:cubicBezTo>
                    <a:pt x="1339" y="2129"/>
                    <a:pt x="1605" y="2032"/>
                    <a:pt x="1821" y="1813"/>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59" name="Google Shape;3559;p66"/>
            <p:cNvSpPr/>
            <p:nvPr/>
          </p:nvSpPr>
          <p:spPr>
            <a:xfrm>
              <a:off x="7017875" y="1418975"/>
              <a:ext cx="62400" cy="53350"/>
            </a:xfrm>
            <a:custGeom>
              <a:avLst/>
              <a:gdLst/>
              <a:ahLst/>
              <a:cxnLst/>
              <a:rect l="l" t="t" r="r" b="b"/>
              <a:pathLst>
                <a:path w="2496" h="2134" extrusionOk="0">
                  <a:moveTo>
                    <a:pt x="1073" y="1"/>
                  </a:moveTo>
                  <a:cubicBezTo>
                    <a:pt x="480" y="1"/>
                    <a:pt x="8" y="480"/>
                    <a:pt x="0" y="1065"/>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0" name="Google Shape;3560;p66"/>
            <p:cNvSpPr/>
            <p:nvPr/>
          </p:nvSpPr>
          <p:spPr>
            <a:xfrm>
              <a:off x="6941850" y="164740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1" name="Google Shape;3561;p66"/>
            <p:cNvSpPr/>
            <p:nvPr/>
          </p:nvSpPr>
          <p:spPr>
            <a:xfrm>
              <a:off x="6941850" y="1571400"/>
              <a:ext cx="62225" cy="53250"/>
            </a:xfrm>
            <a:custGeom>
              <a:avLst/>
              <a:gdLst/>
              <a:ahLst/>
              <a:cxnLst/>
              <a:rect l="l" t="t" r="r" b="b"/>
              <a:pathLst>
                <a:path w="2489" h="2130" extrusionOk="0">
                  <a:moveTo>
                    <a:pt x="1066" y="1"/>
                  </a:moveTo>
                  <a:cubicBezTo>
                    <a:pt x="472" y="1"/>
                    <a:pt x="1" y="472"/>
                    <a:pt x="1" y="1066"/>
                  </a:cubicBezTo>
                  <a:cubicBezTo>
                    <a:pt x="1" y="1703"/>
                    <a:pt x="525" y="2129"/>
                    <a:pt x="1071" y="2129"/>
                  </a:cubicBezTo>
                  <a:cubicBezTo>
                    <a:pt x="1332" y="2129"/>
                    <a:pt x="1598" y="2032"/>
                    <a:pt x="1814" y="1813"/>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2" name="Google Shape;3562;p66"/>
            <p:cNvSpPr/>
            <p:nvPr/>
          </p:nvSpPr>
          <p:spPr>
            <a:xfrm>
              <a:off x="6941850" y="141897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3" name="Google Shape;3563;p66"/>
            <p:cNvSpPr/>
            <p:nvPr/>
          </p:nvSpPr>
          <p:spPr>
            <a:xfrm>
              <a:off x="69418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4" name="Google Shape;3564;p66"/>
            <p:cNvSpPr/>
            <p:nvPr/>
          </p:nvSpPr>
          <p:spPr>
            <a:xfrm>
              <a:off x="6865650" y="1723625"/>
              <a:ext cx="62200" cy="53350"/>
            </a:xfrm>
            <a:custGeom>
              <a:avLst/>
              <a:gdLst/>
              <a:ahLst/>
              <a:cxnLst/>
              <a:rect l="l" t="t" r="r" b="b"/>
              <a:pathLst>
                <a:path w="2488" h="2134" extrusionOk="0">
                  <a:moveTo>
                    <a:pt x="1065" y="1"/>
                  </a:moveTo>
                  <a:cubicBezTo>
                    <a:pt x="480" y="1"/>
                    <a:pt x="0" y="480"/>
                    <a:pt x="0" y="1065"/>
                  </a:cubicBezTo>
                  <a:cubicBezTo>
                    <a:pt x="0" y="1709"/>
                    <a:pt x="526"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5" name="Google Shape;3565;p66"/>
            <p:cNvSpPr/>
            <p:nvPr/>
          </p:nvSpPr>
          <p:spPr>
            <a:xfrm>
              <a:off x="6865650" y="1647400"/>
              <a:ext cx="62200" cy="53450"/>
            </a:xfrm>
            <a:custGeom>
              <a:avLst/>
              <a:gdLst/>
              <a:ahLst/>
              <a:cxnLst/>
              <a:rect l="l" t="t" r="r" b="b"/>
              <a:pathLst>
                <a:path w="2488" h="2138" extrusionOk="0">
                  <a:moveTo>
                    <a:pt x="1065" y="1"/>
                  </a:moveTo>
                  <a:cubicBezTo>
                    <a:pt x="480" y="9"/>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6" name="Google Shape;3566;p66"/>
            <p:cNvSpPr/>
            <p:nvPr/>
          </p:nvSpPr>
          <p:spPr>
            <a:xfrm>
              <a:off x="6865650" y="1571400"/>
              <a:ext cx="62200" cy="53250"/>
            </a:xfrm>
            <a:custGeom>
              <a:avLst/>
              <a:gdLst/>
              <a:ahLst/>
              <a:cxnLst/>
              <a:rect l="l" t="t" r="r" b="b"/>
              <a:pathLst>
                <a:path w="2488" h="2130" extrusionOk="0">
                  <a:moveTo>
                    <a:pt x="1065" y="1"/>
                  </a:moveTo>
                  <a:cubicBezTo>
                    <a:pt x="480" y="1"/>
                    <a:pt x="0" y="472"/>
                    <a:pt x="0" y="1066"/>
                  </a:cubicBezTo>
                  <a:cubicBezTo>
                    <a:pt x="0" y="1703"/>
                    <a:pt x="525" y="2129"/>
                    <a:pt x="1073" y="2129"/>
                  </a:cubicBezTo>
                  <a:cubicBezTo>
                    <a:pt x="1335" y="2129"/>
                    <a:pt x="1603" y="2032"/>
                    <a:pt x="1821" y="1813"/>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7" name="Google Shape;3567;p66"/>
            <p:cNvSpPr/>
            <p:nvPr/>
          </p:nvSpPr>
          <p:spPr>
            <a:xfrm>
              <a:off x="686565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8" name="Google Shape;3568;p66"/>
            <p:cNvSpPr/>
            <p:nvPr/>
          </p:nvSpPr>
          <p:spPr>
            <a:xfrm>
              <a:off x="6789225" y="17998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25"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69" name="Google Shape;3569;p66"/>
            <p:cNvSpPr/>
            <p:nvPr/>
          </p:nvSpPr>
          <p:spPr>
            <a:xfrm>
              <a:off x="6789225" y="172362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25"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0" name="Google Shape;3570;p66"/>
            <p:cNvSpPr/>
            <p:nvPr/>
          </p:nvSpPr>
          <p:spPr>
            <a:xfrm>
              <a:off x="6789225" y="1571400"/>
              <a:ext cx="62425" cy="53250"/>
            </a:xfrm>
            <a:custGeom>
              <a:avLst/>
              <a:gdLst/>
              <a:ahLst/>
              <a:cxnLst/>
              <a:rect l="l" t="t" r="r" b="b"/>
              <a:pathLst>
                <a:path w="2497" h="2130" extrusionOk="0">
                  <a:moveTo>
                    <a:pt x="1074" y="1"/>
                  </a:moveTo>
                  <a:cubicBezTo>
                    <a:pt x="480" y="1"/>
                    <a:pt x="9" y="472"/>
                    <a:pt x="1" y="1066"/>
                  </a:cubicBezTo>
                  <a:cubicBezTo>
                    <a:pt x="1" y="1703"/>
                    <a:pt x="525" y="2129"/>
                    <a:pt x="1073" y="2129"/>
                  </a:cubicBezTo>
                  <a:cubicBezTo>
                    <a:pt x="1335" y="2129"/>
                    <a:pt x="1603" y="2032"/>
                    <a:pt x="1822" y="1813"/>
                  </a:cubicBezTo>
                  <a:cubicBezTo>
                    <a:pt x="2496" y="1147"/>
                    <a:pt x="2025"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1" name="Google Shape;3571;p66"/>
            <p:cNvSpPr/>
            <p:nvPr/>
          </p:nvSpPr>
          <p:spPr>
            <a:xfrm>
              <a:off x="6789225" y="1342750"/>
              <a:ext cx="62425" cy="53450"/>
            </a:xfrm>
            <a:custGeom>
              <a:avLst/>
              <a:gdLst/>
              <a:ahLst/>
              <a:cxnLst/>
              <a:rect l="l" t="t" r="r" b="b"/>
              <a:pathLst>
                <a:path w="2497" h="2138" extrusionOk="0">
                  <a:moveTo>
                    <a:pt x="1074" y="1"/>
                  </a:moveTo>
                  <a:cubicBezTo>
                    <a:pt x="480" y="1"/>
                    <a:pt x="9" y="481"/>
                    <a:pt x="1" y="1066"/>
                  </a:cubicBezTo>
                  <a:cubicBezTo>
                    <a:pt x="1" y="1710"/>
                    <a:pt x="526" y="2138"/>
                    <a:pt x="1074" y="2138"/>
                  </a:cubicBezTo>
                  <a:cubicBezTo>
                    <a:pt x="1336" y="2138"/>
                    <a:pt x="1604" y="2040"/>
                    <a:pt x="1822" y="1822"/>
                  </a:cubicBezTo>
                  <a:cubicBezTo>
                    <a:pt x="2496" y="1155"/>
                    <a:pt x="2025"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2" name="Google Shape;3572;p66"/>
            <p:cNvSpPr/>
            <p:nvPr/>
          </p:nvSpPr>
          <p:spPr>
            <a:xfrm>
              <a:off x="6713225" y="1876050"/>
              <a:ext cx="62200" cy="53275"/>
            </a:xfrm>
            <a:custGeom>
              <a:avLst/>
              <a:gdLst/>
              <a:ahLst/>
              <a:cxnLst/>
              <a:rect l="l" t="t" r="r" b="b"/>
              <a:pathLst>
                <a:path w="2488" h="2131" extrusionOk="0">
                  <a:moveTo>
                    <a:pt x="1065" y="1"/>
                  </a:moveTo>
                  <a:cubicBezTo>
                    <a:pt x="472" y="1"/>
                    <a:pt x="0" y="472"/>
                    <a:pt x="0" y="1066"/>
                  </a:cubicBezTo>
                  <a:cubicBezTo>
                    <a:pt x="0" y="1707"/>
                    <a:pt x="522" y="2131"/>
                    <a:pt x="1067" y="2131"/>
                  </a:cubicBezTo>
                  <a:cubicBezTo>
                    <a:pt x="1329" y="2131"/>
                    <a:pt x="1596" y="2033"/>
                    <a:pt x="1813" y="1813"/>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3" name="Google Shape;3573;p66"/>
            <p:cNvSpPr/>
            <p:nvPr/>
          </p:nvSpPr>
          <p:spPr>
            <a:xfrm>
              <a:off x="6713225" y="179985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4" name="Google Shape;3574;p66"/>
            <p:cNvSpPr/>
            <p:nvPr/>
          </p:nvSpPr>
          <p:spPr>
            <a:xfrm>
              <a:off x="6713225" y="1647400"/>
              <a:ext cx="62200" cy="53450"/>
            </a:xfrm>
            <a:custGeom>
              <a:avLst/>
              <a:gdLst/>
              <a:ahLst/>
              <a:cxnLst/>
              <a:rect l="l" t="t" r="r" b="b"/>
              <a:pathLst>
                <a:path w="2488" h="2138" extrusionOk="0">
                  <a:moveTo>
                    <a:pt x="1065" y="1"/>
                  </a:moveTo>
                  <a:cubicBezTo>
                    <a:pt x="472" y="9"/>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5" name="Google Shape;3575;p66"/>
            <p:cNvSpPr/>
            <p:nvPr/>
          </p:nvSpPr>
          <p:spPr>
            <a:xfrm>
              <a:off x="6713225" y="1571400"/>
              <a:ext cx="62200" cy="53250"/>
            </a:xfrm>
            <a:custGeom>
              <a:avLst/>
              <a:gdLst/>
              <a:ahLst/>
              <a:cxnLst/>
              <a:rect l="l" t="t" r="r" b="b"/>
              <a:pathLst>
                <a:path w="2488" h="2130" extrusionOk="0">
                  <a:moveTo>
                    <a:pt x="1065" y="1"/>
                  </a:moveTo>
                  <a:cubicBezTo>
                    <a:pt x="472" y="1"/>
                    <a:pt x="0" y="472"/>
                    <a:pt x="0" y="1066"/>
                  </a:cubicBezTo>
                  <a:cubicBezTo>
                    <a:pt x="0" y="1703"/>
                    <a:pt x="525" y="2129"/>
                    <a:pt x="1070" y="2129"/>
                  </a:cubicBezTo>
                  <a:cubicBezTo>
                    <a:pt x="1331" y="2129"/>
                    <a:pt x="1597" y="2032"/>
                    <a:pt x="1813" y="1813"/>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6" name="Google Shape;3576;p66"/>
            <p:cNvSpPr/>
            <p:nvPr/>
          </p:nvSpPr>
          <p:spPr>
            <a:xfrm>
              <a:off x="6713225" y="1342750"/>
              <a:ext cx="62200" cy="53450"/>
            </a:xfrm>
            <a:custGeom>
              <a:avLst/>
              <a:gdLst/>
              <a:ahLst/>
              <a:cxnLst/>
              <a:rect l="l" t="t" r="r" b="b"/>
              <a:pathLst>
                <a:path w="2488" h="2138" extrusionOk="0">
                  <a:moveTo>
                    <a:pt x="1065" y="1"/>
                  </a:moveTo>
                  <a:cubicBezTo>
                    <a:pt x="472" y="1"/>
                    <a:pt x="0" y="481"/>
                    <a:pt x="0" y="1066"/>
                  </a:cubicBezTo>
                  <a:cubicBezTo>
                    <a:pt x="0" y="1710"/>
                    <a:pt x="525" y="2138"/>
                    <a:pt x="1071"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7" name="Google Shape;3577;p66"/>
            <p:cNvSpPr/>
            <p:nvPr/>
          </p:nvSpPr>
          <p:spPr>
            <a:xfrm>
              <a:off x="6637000" y="164740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8" name="Google Shape;3578;p66"/>
            <p:cNvSpPr/>
            <p:nvPr/>
          </p:nvSpPr>
          <p:spPr>
            <a:xfrm>
              <a:off x="6637000" y="1342750"/>
              <a:ext cx="62225" cy="53450"/>
            </a:xfrm>
            <a:custGeom>
              <a:avLst/>
              <a:gdLst/>
              <a:ahLst/>
              <a:cxnLst/>
              <a:rect l="l" t="t" r="r" b="b"/>
              <a:pathLst>
                <a:path w="2489" h="2138" extrusionOk="0">
                  <a:moveTo>
                    <a:pt x="1066" y="1"/>
                  </a:moveTo>
                  <a:cubicBezTo>
                    <a:pt x="480" y="1"/>
                    <a:pt x="1" y="481"/>
                    <a:pt x="1" y="1066"/>
                  </a:cubicBezTo>
                  <a:cubicBezTo>
                    <a:pt x="1" y="1710"/>
                    <a:pt x="526" y="2138"/>
                    <a:pt x="1072" y="2138"/>
                  </a:cubicBezTo>
                  <a:cubicBezTo>
                    <a:pt x="1333" y="2138"/>
                    <a:pt x="1598" y="2040"/>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79" name="Google Shape;3579;p66"/>
            <p:cNvSpPr/>
            <p:nvPr/>
          </p:nvSpPr>
          <p:spPr>
            <a:xfrm>
              <a:off x="6560800" y="164740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0" name="Google Shape;3580;p66"/>
            <p:cNvSpPr/>
            <p:nvPr/>
          </p:nvSpPr>
          <p:spPr>
            <a:xfrm>
              <a:off x="6560800"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1" name="Google Shape;3581;p66"/>
            <p:cNvSpPr/>
            <p:nvPr/>
          </p:nvSpPr>
          <p:spPr>
            <a:xfrm>
              <a:off x="6560800" y="1266550"/>
              <a:ext cx="62200" cy="53450"/>
            </a:xfrm>
            <a:custGeom>
              <a:avLst/>
              <a:gdLst/>
              <a:ahLst/>
              <a:cxnLst/>
              <a:rect l="l" t="t" r="r" b="b"/>
              <a:pathLst>
                <a:path w="2488" h="2138" extrusionOk="0">
                  <a:moveTo>
                    <a:pt x="1065" y="0"/>
                  </a:moveTo>
                  <a:cubicBezTo>
                    <a:pt x="480" y="9"/>
                    <a:pt x="0" y="480"/>
                    <a:pt x="0" y="1074"/>
                  </a:cubicBezTo>
                  <a:cubicBezTo>
                    <a:pt x="0" y="1711"/>
                    <a:pt x="524"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2" name="Google Shape;3582;p66"/>
            <p:cNvSpPr/>
            <p:nvPr/>
          </p:nvSpPr>
          <p:spPr>
            <a:xfrm>
              <a:off x="6484575" y="1647400"/>
              <a:ext cx="62425" cy="53450"/>
            </a:xfrm>
            <a:custGeom>
              <a:avLst/>
              <a:gdLst/>
              <a:ahLst/>
              <a:cxnLst/>
              <a:rect l="l" t="t" r="r" b="b"/>
              <a:pathLst>
                <a:path w="2497" h="2138" extrusionOk="0">
                  <a:moveTo>
                    <a:pt x="1065" y="1"/>
                  </a:moveTo>
                  <a:cubicBezTo>
                    <a:pt x="480" y="9"/>
                    <a:pt x="1" y="481"/>
                    <a:pt x="1" y="1066"/>
                  </a:cubicBezTo>
                  <a:cubicBezTo>
                    <a:pt x="1" y="1710"/>
                    <a:pt x="526" y="2138"/>
                    <a:pt x="1074" y="2138"/>
                  </a:cubicBezTo>
                  <a:cubicBezTo>
                    <a:pt x="1336" y="2138"/>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3" name="Google Shape;3583;p66"/>
            <p:cNvSpPr/>
            <p:nvPr/>
          </p:nvSpPr>
          <p:spPr>
            <a:xfrm>
              <a:off x="6484575" y="1266550"/>
              <a:ext cx="62425" cy="53450"/>
            </a:xfrm>
            <a:custGeom>
              <a:avLst/>
              <a:gdLst/>
              <a:ahLst/>
              <a:cxnLst/>
              <a:rect l="l" t="t" r="r" b="b"/>
              <a:pathLst>
                <a:path w="2497" h="2138" extrusionOk="0">
                  <a:moveTo>
                    <a:pt x="1065" y="0"/>
                  </a:moveTo>
                  <a:cubicBezTo>
                    <a:pt x="480" y="9"/>
                    <a:pt x="1" y="480"/>
                    <a:pt x="1" y="1074"/>
                  </a:cubicBezTo>
                  <a:cubicBezTo>
                    <a:pt x="1" y="1711"/>
                    <a:pt x="525" y="2137"/>
                    <a:pt x="1073" y="2137"/>
                  </a:cubicBezTo>
                  <a:cubicBezTo>
                    <a:pt x="1335" y="2137"/>
                    <a:pt x="1603" y="2040"/>
                    <a:pt x="1822" y="1821"/>
                  </a:cubicBezTo>
                  <a:cubicBezTo>
                    <a:pt x="2496" y="1155"/>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4" name="Google Shape;3584;p66"/>
            <p:cNvSpPr/>
            <p:nvPr/>
          </p:nvSpPr>
          <p:spPr>
            <a:xfrm>
              <a:off x="6408350" y="2333125"/>
              <a:ext cx="62425" cy="53450"/>
            </a:xfrm>
            <a:custGeom>
              <a:avLst/>
              <a:gdLst/>
              <a:ahLst/>
              <a:cxnLst/>
              <a:rect l="l" t="t" r="r" b="b"/>
              <a:pathLst>
                <a:path w="2497" h="2138" extrusionOk="0">
                  <a:moveTo>
                    <a:pt x="1074" y="1"/>
                  </a:moveTo>
                  <a:cubicBezTo>
                    <a:pt x="481" y="1"/>
                    <a:pt x="1" y="480"/>
                    <a:pt x="1" y="1066"/>
                  </a:cubicBezTo>
                  <a:cubicBezTo>
                    <a:pt x="1" y="1709"/>
                    <a:pt x="526" y="2137"/>
                    <a:pt x="1075" y="2137"/>
                  </a:cubicBezTo>
                  <a:cubicBezTo>
                    <a:pt x="1337" y="2137"/>
                    <a:pt x="1604"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5" name="Google Shape;3585;p66"/>
            <p:cNvSpPr/>
            <p:nvPr/>
          </p:nvSpPr>
          <p:spPr>
            <a:xfrm>
              <a:off x="6408350" y="2256925"/>
              <a:ext cx="62575" cy="53425"/>
            </a:xfrm>
            <a:custGeom>
              <a:avLst/>
              <a:gdLst/>
              <a:ahLst/>
              <a:cxnLst/>
              <a:rect l="l" t="t" r="r" b="b"/>
              <a:pathLst>
                <a:path w="2503" h="2137" extrusionOk="0">
                  <a:moveTo>
                    <a:pt x="1084" y="0"/>
                  </a:moveTo>
                  <a:cubicBezTo>
                    <a:pt x="1081" y="0"/>
                    <a:pt x="1077" y="0"/>
                    <a:pt x="1074" y="0"/>
                  </a:cubicBezTo>
                  <a:cubicBezTo>
                    <a:pt x="481" y="0"/>
                    <a:pt x="1" y="480"/>
                    <a:pt x="1" y="1065"/>
                  </a:cubicBezTo>
                  <a:cubicBezTo>
                    <a:pt x="1" y="1709"/>
                    <a:pt x="530" y="2137"/>
                    <a:pt x="1081" y="2137"/>
                  </a:cubicBezTo>
                  <a:cubicBezTo>
                    <a:pt x="1344" y="2137"/>
                    <a:pt x="1612" y="2039"/>
                    <a:pt x="1830" y="1821"/>
                  </a:cubicBezTo>
                  <a:cubicBezTo>
                    <a:pt x="2502" y="1149"/>
                    <a:pt x="2029" y="0"/>
                    <a:pt x="108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6" name="Google Shape;3586;p66"/>
            <p:cNvSpPr/>
            <p:nvPr/>
          </p:nvSpPr>
          <p:spPr>
            <a:xfrm>
              <a:off x="6408350" y="210450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7" name="Google Shape;3587;p66"/>
            <p:cNvSpPr/>
            <p:nvPr/>
          </p:nvSpPr>
          <p:spPr>
            <a:xfrm>
              <a:off x="6408350" y="1799850"/>
              <a:ext cx="62425" cy="53325"/>
            </a:xfrm>
            <a:custGeom>
              <a:avLst/>
              <a:gdLst/>
              <a:ahLst/>
              <a:cxnLst/>
              <a:rect l="l" t="t" r="r" b="b"/>
              <a:pathLst>
                <a:path w="2497" h="2133" extrusionOk="0">
                  <a:moveTo>
                    <a:pt x="1074" y="0"/>
                  </a:moveTo>
                  <a:cubicBezTo>
                    <a:pt x="481" y="0"/>
                    <a:pt x="9" y="480"/>
                    <a:pt x="1" y="1065"/>
                  </a:cubicBezTo>
                  <a:cubicBezTo>
                    <a:pt x="1" y="1709"/>
                    <a:pt x="526" y="2133"/>
                    <a:pt x="1075" y="2133"/>
                  </a:cubicBezTo>
                  <a:cubicBezTo>
                    <a:pt x="1337" y="2133"/>
                    <a:pt x="1604"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8" name="Google Shape;3588;p66"/>
            <p:cNvSpPr/>
            <p:nvPr/>
          </p:nvSpPr>
          <p:spPr>
            <a:xfrm>
              <a:off x="6408350" y="164740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89" name="Google Shape;3589;p66"/>
            <p:cNvSpPr/>
            <p:nvPr/>
          </p:nvSpPr>
          <p:spPr>
            <a:xfrm>
              <a:off x="6408350" y="1342750"/>
              <a:ext cx="62425" cy="53450"/>
            </a:xfrm>
            <a:custGeom>
              <a:avLst/>
              <a:gdLst/>
              <a:ahLst/>
              <a:cxnLst/>
              <a:rect l="l" t="t" r="r" b="b"/>
              <a:pathLst>
                <a:path w="2497" h="2138" extrusionOk="0">
                  <a:moveTo>
                    <a:pt x="1074" y="1"/>
                  </a:moveTo>
                  <a:cubicBezTo>
                    <a:pt x="481" y="1"/>
                    <a:pt x="9" y="481"/>
                    <a:pt x="1" y="1066"/>
                  </a:cubicBezTo>
                  <a:cubicBezTo>
                    <a:pt x="1" y="1710"/>
                    <a:pt x="526" y="2138"/>
                    <a:pt x="1075" y="2138"/>
                  </a:cubicBezTo>
                  <a:cubicBezTo>
                    <a:pt x="1337" y="2138"/>
                    <a:pt x="1604" y="2040"/>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0" name="Google Shape;3590;p66"/>
            <p:cNvSpPr/>
            <p:nvPr/>
          </p:nvSpPr>
          <p:spPr>
            <a:xfrm>
              <a:off x="6408350" y="1266550"/>
              <a:ext cx="62425" cy="53450"/>
            </a:xfrm>
            <a:custGeom>
              <a:avLst/>
              <a:gdLst/>
              <a:ahLst/>
              <a:cxnLst/>
              <a:rect l="l" t="t" r="r" b="b"/>
              <a:pathLst>
                <a:path w="2497" h="2138" extrusionOk="0">
                  <a:moveTo>
                    <a:pt x="1074" y="0"/>
                  </a:moveTo>
                  <a:cubicBezTo>
                    <a:pt x="481" y="9"/>
                    <a:pt x="9" y="480"/>
                    <a:pt x="1" y="1074"/>
                  </a:cubicBezTo>
                  <a:cubicBezTo>
                    <a:pt x="1" y="1711"/>
                    <a:pt x="525" y="2137"/>
                    <a:pt x="1074" y="2137"/>
                  </a:cubicBezTo>
                  <a:cubicBezTo>
                    <a:pt x="1336" y="2137"/>
                    <a:pt x="1604" y="2040"/>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1" name="Google Shape;3591;p66"/>
            <p:cNvSpPr/>
            <p:nvPr/>
          </p:nvSpPr>
          <p:spPr>
            <a:xfrm>
              <a:off x="633235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2" name="Google Shape;3592;p66"/>
            <p:cNvSpPr/>
            <p:nvPr/>
          </p:nvSpPr>
          <p:spPr>
            <a:xfrm>
              <a:off x="633235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3" name="Google Shape;3593;p66"/>
            <p:cNvSpPr/>
            <p:nvPr/>
          </p:nvSpPr>
          <p:spPr>
            <a:xfrm>
              <a:off x="6332350" y="1952050"/>
              <a:ext cx="62225" cy="53450"/>
            </a:xfrm>
            <a:custGeom>
              <a:avLst/>
              <a:gdLst/>
              <a:ahLst/>
              <a:cxnLst/>
              <a:rect l="l" t="t" r="r" b="b"/>
              <a:pathLst>
                <a:path w="2489" h="2138" extrusionOk="0">
                  <a:moveTo>
                    <a:pt x="1066" y="1"/>
                  </a:moveTo>
                  <a:cubicBezTo>
                    <a:pt x="472" y="9"/>
                    <a:pt x="1" y="481"/>
                    <a:pt x="1" y="1074"/>
                  </a:cubicBezTo>
                  <a:cubicBezTo>
                    <a:pt x="1" y="1712"/>
                    <a:pt x="525" y="2138"/>
                    <a:pt x="1071" y="2138"/>
                  </a:cubicBezTo>
                  <a:cubicBezTo>
                    <a:pt x="1332" y="2138"/>
                    <a:pt x="1598" y="2040"/>
                    <a:pt x="1813" y="1822"/>
                  </a:cubicBezTo>
                  <a:cubicBezTo>
                    <a:pt x="2488" y="1155"/>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4" name="Google Shape;3594;p66"/>
            <p:cNvSpPr/>
            <p:nvPr/>
          </p:nvSpPr>
          <p:spPr>
            <a:xfrm>
              <a:off x="6332350" y="1876050"/>
              <a:ext cx="62225" cy="53275"/>
            </a:xfrm>
            <a:custGeom>
              <a:avLst/>
              <a:gdLst/>
              <a:ahLst/>
              <a:cxnLst/>
              <a:rect l="l" t="t" r="r" b="b"/>
              <a:pathLst>
                <a:path w="2489" h="2131" extrusionOk="0">
                  <a:moveTo>
                    <a:pt x="1066" y="1"/>
                  </a:moveTo>
                  <a:cubicBezTo>
                    <a:pt x="472" y="1"/>
                    <a:pt x="1" y="472"/>
                    <a:pt x="1" y="1066"/>
                  </a:cubicBezTo>
                  <a:cubicBezTo>
                    <a:pt x="1" y="1707"/>
                    <a:pt x="523" y="2131"/>
                    <a:pt x="1067" y="2131"/>
                  </a:cubicBezTo>
                  <a:cubicBezTo>
                    <a:pt x="1329" y="2131"/>
                    <a:pt x="1597" y="2033"/>
                    <a:pt x="1813" y="1813"/>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5" name="Google Shape;3595;p66"/>
            <p:cNvSpPr/>
            <p:nvPr/>
          </p:nvSpPr>
          <p:spPr>
            <a:xfrm>
              <a:off x="6332350" y="1723625"/>
              <a:ext cx="62225" cy="53350"/>
            </a:xfrm>
            <a:custGeom>
              <a:avLst/>
              <a:gdLst/>
              <a:ahLst/>
              <a:cxnLst/>
              <a:rect l="l" t="t" r="r" b="b"/>
              <a:pathLst>
                <a:path w="2489" h="2134" extrusionOk="0">
                  <a:moveTo>
                    <a:pt x="1066" y="1"/>
                  </a:moveTo>
                  <a:cubicBezTo>
                    <a:pt x="472" y="1"/>
                    <a:pt x="1" y="480"/>
                    <a:pt x="1" y="1065"/>
                  </a:cubicBezTo>
                  <a:cubicBezTo>
                    <a:pt x="1" y="1709"/>
                    <a:pt x="526" y="2133"/>
                    <a:pt x="1072" y="2133"/>
                  </a:cubicBezTo>
                  <a:cubicBezTo>
                    <a:pt x="1333" y="2133"/>
                    <a:pt x="1598" y="2037"/>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6" name="Google Shape;3596;p66"/>
            <p:cNvSpPr/>
            <p:nvPr/>
          </p:nvSpPr>
          <p:spPr>
            <a:xfrm>
              <a:off x="6332350" y="1647400"/>
              <a:ext cx="62225" cy="53450"/>
            </a:xfrm>
            <a:custGeom>
              <a:avLst/>
              <a:gdLst/>
              <a:ahLst/>
              <a:cxnLst/>
              <a:rect l="l" t="t" r="r" b="b"/>
              <a:pathLst>
                <a:path w="2489" h="2138" extrusionOk="0">
                  <a:moveTo>
                    <a:pt x="1066" y="1"/>
                  </a:moveTo>
                  <a:cubicBezTo>
                    <a:pt x="472" y="9"/>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7" name="Google Shape;3597;p66"/>
            <p:cNvSpPr/>
            <p:nvPr/>
          </p:nvSpPr>
          <p:spPr>
            <a:xfrm>
              <a:off x="6332350"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3"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8" name="Google Shape;3598;p66"/>
            <p:cNvSpPr/>
            <p:nvPr/>
          </p:nvSpPr>
          <p:spPr>
            <a:xfrm>
              <a:off x="6256150" y="2485550"/>
              <a:ext cx="62200" cy="53300"/>
            </a:xfrm>
            <a:custGeom>
              <a:avLst/>
              <a:gdLst/>
              <a:ahLst/>
              <a:cxnLst/>
              <a:rect l="l" t="t" r="r" b="b"/>
              <a:pathLst>
                <a:path w="2488" h="2132" extrusionOk="0">
                  <a:moveTo>
                    <a:pt x="1065" y="1"/>
                  </a:moveTo>
                  <a:cubicBezTo>
                    <a:pt x="472" y="1"/>
                    <a:pt x="0" y="472"/>
                    <a:pt x="0" y="1066"/>
                  </a:cubicBezTo>
                  <a:cubicBezTo>
                    <a:pt x="0" y="1708"/>
                    <a:pt x="522" y="2131"/>
                    <a:pt x="1067" y="2131"/>
                  </a:cubicBezTo>
                  <a:cubicBezTo>
                    <a:pt x="1329" y="2131"/>
                    <a:pt x="1596" y="2033"/>
                    <a:pt x="1813"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599" name="Google Shape;3599;p66"/>
            <p:cNvSpPr/>
            <p:nvPr/>
          </p:nvSpPr>
          <p:spPr>
            <a:xfrm>
              <a:off x="6256150" y="2409350"/>
              <a:ext cx="62200" cy="53350"/>
            </a:xfrm>
            <a:custGeom>
              <a:avLst/>
              <a:gdLst/>
              <a:ahLst/>
              <a:cxnLst/>
              <a:rect l="l" t="t" r="r" b="b"/>
              <a:pathLst>
                <a:path w="2488" h="2134"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0" name="Google Shape;3600;p66"/>
            <p:cNvSpPr/>
            <p:nvPr/>
          </p:nvSpPr>
          <p:spPr>
            <a:xfrm>
              <a:off x="6256150" y="2028275"/>
              <a:ext cx="62200" cy="53450"/>
            </a:xfrm>
            <a:custGeom>
              <a:avLst/>
              <a:gdLst/>
              <a:ahLst/>
              <a:cxnLst/>
              <a:rect l="l" t="t" r="r" b="b"/>
              <a:pathLst>
                <a:path w="2488" h="2138" extrusionOk="0">
                  <a:moveTo>
                    <a:pt x="1065" y="1"/>
                  </a:moveTo>
                  <a:cubicBezTo>
                    <a:pt x="480" y="1"/>
                    <a:pt x="0" y="480"/>
                    <a:pt x="0" y="1065"/>
                  </a:cubicBezTo>
                  <a:cubicBezTo>
                    <a:pt x="0" y="1709"/>
                    <a:pt x="525" y="2137"/>
                    <a:pt x="1071" y="2137"/>
                  </a:cubicBezTo>
                  <a:cubicBezTo>
                    <a:pt x="1332" y="2137"/>
                    <a:pt x="1597" y="2040"/>
                    <a:pt x="1813" y="1821"/>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1" name="Google Shape;3601;p66"/>
            <p:cNvSpPr/>
            <p:nvPr/>
          </p:nvSpPr>
          <p:spPr>
            <a:xfrm>
              <a:off x="6256150" y="1952050"/>
              <a:ext cx="62200" cy="53450"/>
            </a:xfrm>
            <a:custGeom>
              <a:avLst/>
              <a:gdLst/>
              <a:ahLst/>
              <a:cxnLst/>
              <a:rect l="l" t="t" r="r" b="b"/>
              <a:pathLst>
                <a:path w="2488" h="2138" extrusionOk="0">
                  <a:moveTo>
                    <a:pt x="1065" y="1"/>
                  </a:moveTo>
                  <a:cubicBezTo>
                    <a:pt x="480" y="9"/>
                    <a:pt x="0" y="481"/>
                    <a:pt x="0" y="1074"/>
                  </a:cubicBezTo>
                  <a:cubicBezTo>
                    <a:pt x="0" y="1712"/>
                    <a:pt x="524" y="2138"/>
                    <a:pt x="1070" y="2138"/>
                  </a:cubicBezTo>
                  <a:cubicBezTo>
                    <a:pt x="1331" y="2138"/>
                    <a:pt x="1597"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2" name="Google Shape;3602;p66"/>
            <p:cNvSpPr/>
            <p:nvPr/>
          </p:nvSpPr>
          <p:spPr>
            <a:xfrm>
              <a:off x="6256150" y="1876050"/>
              <a:ext cx="62200" cy="53350"/>
            </a:xfrm>
            <a:custGeom>
              <a:avLst/>
              <a:gdLst/>
              <a:ahLst/>
              <a:cxnLst/>
              <a:rect l="l" t="t" r="r" b="b"/>
              <a:pathLst>
                <a:path w="2488" h="2134" extrusionOk="0">
                  <a:moveTo>
                    <a:pt x="1065" y="1"/>
                  </a:moveTo>
                  <a:cubicBezTo>
                    <a:pt x="480" y="1"/>
                    <a:pt x="0" y="472"/>
                    <a:pt x="0" y="1066"/>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3" name="Google Shape;3603;p66"/>
            <p:cNvSpPr/>
            <p:nvPr/>
          </p:nvSpPr>
          <p:spPr>
            <a:xfrm>
              <a:off x="6256150" y="1799850"/>
              <a:ext cx="62200" cy="53325"/>
            </a:xfrm>
            <a:custGeom>
              <a:avLst/>
              <a:gdLst/>
              <a:ahLst/>
              <a:cxnLst/>
              <a:rect l="l" t="t" r="r" b="b"/>
              <a:pathLst>
                <a:path w="2488" h="2133" extrusionOk="0">
                  <a:moveTo>
                    <a:pt x="1065" y="0"/>
                  </a:moveTo>
                  <a:cubicBezTo>
                    <a:pt x="480" y="0"/>
                    <a:pt x="0" y="480"/>
                    <a:pt x="0" y="1065"/>
                  </a:cubicBezTo>
                  <a:cubicBezTo>
                    <a:pt x="0" y="1709"/>
                    <a:pt x="525" y="2133"/>
                    <a:pt x="1071"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4" name="Google Shape;3604;p66"/>
            <p:cNvSpPr/>
            <p:nvPr/>
          </p:nvSpPr>
          <p:spPr>
            <a:xfrm>
              <a:off x="6256150" y="1723625"/>
              <a:ext cx="62200" cy="53350"/>
            </a:xfrm>
            <a:custGeom>
              <a:avLst/>
              <a:gdLst/>
              <a:ahLst/>
              <a:cxnLst/>
              <a:rect l="l" t="t" r="r" b="b"/>
              <a:pathLst>
                <a:path w="2488" h="2134" extrusionOk="0">
                  <a:moveTo>
                    <a:pt x="1065" y="1"/>
                  </a:moveTo>
                  <a:cubicBezTo>
                    <a:pt x="480" y="1"/>
                    <a:pt x="0" y="480"/>
                    <a:pt x="0" y="1065"/>
                  </a:cubicBezTo>
                  <a:cubicBezTo>
                    <a:pt x="0" y="1709"/>
                    <a:pt x="525" y="2133"/>
                    <a:pt x="1071"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5" name="Google Shape;3605;p66"/>
            <p:cNvSpPr/>
            <p:nvPr/>
          </p:nvSpPr>
          <p:spPr>
            <a:xfrm>
              <a:off x="6256150" y="1342750"/>
              <a:ext cx="62200" cy="53450"/>
            </a:xfrm>
            <a:custGeom>
              <a:avLst/>
              <a:gdLst/>
              <a:ahLst/>
              <a:cxnLst/>
              <a:rect l="l" t="t" r="r" b="b"/>
              <a:pathLst>
                <a:path w="2488" h="2138" extrusionOk="0">
                  <a:moveTo>
                    <a:pt x="1065" y="1"/>
                  </a:moveTo>
                  <a:cubicBezTo>
                    <a:pt x="480" y="1"/>
                    <a:pt x="0" y="481"/>
                    <a:pt x="0" y="1066"/>
                  </a:cubicBezTo>
                  <a:cubicBezTo>
                    <a:pt x="0" y="1710"/>
                    <a:pt x="525" y="2138"/>
                    <a:pt x="1071" y="2138"/>
                  </a:cubicBezTo>
                  <a:cubicBezTo>
                    <a:pt x="1332" y="2138"/>
                    <a:pt x="1597" y="2040"/>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6" name="Google Shape;3606;p66"/>
            <p:cNvSpPr/>
            <p:nvPr/>
          </p:nvSpPr>
          <p:spPr>
            <a:xfrm>
              <a:off x="617992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7" name="Google Shape;3607;p66"/>
            <p:cNvSpPr/>
            <p:nvPr/>
          </p:nvSpPr>
          <p:spPr>
            <a:xfrm>
              <a:off x="6179925" y="240935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8" name="Google Shape;3608;p66"/>
            <p:cNvSpPr/>
            <p:nvPr/>
          </p:nvSpPr>
          <p:spPr>
            <a:xfrm>
              <a:off x="6179925" y="2104500"/>
              <a:ext cx="62225" cy="53325"/>
            </a:xfrm>
            <a:custGeom>
              <a:avLst/>
              <a:gdLst/>
              <a:ahLst/>
              <a:cxnLst/>
              <a:rect l="l" t="t" r="r" b="b"/>
              <a:pathLst>
                <a:path w="2489" h="2133"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09" name="Google Shape;3609;p66"/>
            <p:cNvSpPr/>
            <p:nvPr/>
          </p:nvSpPr>
          <p:spPr>
            <a:xfrm>
              <a:off x="617992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0" name="Google Shape;3610;p66"/>
            <p:cNvSpPr/>
            <p:nvPr/>
          </p:nvSpPr>
          <p:spPr>
            <a:xfrm>
              <a:off x="6103700" y="2333125"/>
              <a:ext cx="62425" cy="53450"/>
            </a:xfrm>
            <a:custGeom>
              <a:avLst/>
              <a:gdLst/>
              <a:ahLst/>
              <a:cxnLst/>
              <a:rect l="l" t="t" r="r" b="b"/>
              <a:pathLst>
                <a:path w="2497" h="2138" extrusionOk="0">
                  <a:moveTo>
                    <a:pt x="1066" y="1"/>
                  </a:moveTo>
                  <a:cubicBezTo>
                    <a:pt x="481" y="1"/>
                    <a:pt x="1" y="480"/>
                    <a:pt x="1" y="1066"/>
                  </a:cubicBezTo>
                  <a:cubicBezTo>
                    <a:pt x="1" y="1709"/>
                    <a:pt x="526" y="2137"/>
                    <a:pt x="1075" y="2137"/>
                  </a:cubicBezTo>
                  <a:cubicBezTo>
                    <a:pt x="1337" y="2137"/>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1" name="Google Shape;3611;p66"/>
            <p:cNvSpPr/>
            <p:nvPr/>
          </p:nvSpPr>
          <p:spPr>
            <a:xfrm>
              <a:off x="6103700" y="2256925"/>
              <a:ext cx="62575" cy="53425"/>
            </a:xfrm>
            <a:custGeom>
              <a:avLst/>
              <a:gdLst/>
              <a:ahLst/>
              <a:cxnLst/>
              <a:rect l="l" t="t" r="r" b="b"/>
              <a:pathLst>
                <a:path w="2503" h="2137" extrusionOk="0">
                  <a:moveTo>
                    <a:pt x="1076" y="0"/>
                  </a:moveTo>
                  <a:cubicBezTo>
                    <a:pt x="1073" y="0"/>
                    <a:pt x="1069" y="0"/>
                    <a:pt x="1066" y="0"/>
                  </a:cubicBezTo>
                  <a:cubicBezTo>
                    <a:pt x="481" y="0"/>
                    <a:pt x="1" y="480"/>
                    <a:pt x="1" y="1065"/>
                  </a:cubicBezTo>
                  <a:cubicBezTo>
                    <a:pt x="1" y="1709"/>
                    <a:pt x="530" y="2137"/>
                    <a:pt x="1081" y="2137"/>
                  </a:cubicBezTo>
                  <a:cubicBezTo>
                    <a:pt x="1344" y="2137"/>
                    <a:pt x="1612" y="2039"/>
                    <a:pt x="1830" y="1821"/>
                  </a:cubicBezTo>
                  <a:cubicBezTo>
                    <a:pt x="2502" y="1149"/>
                    <a:pt x="2029"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2" name="Google Shape;3612;p66"/>
            <p:cNvSpPr/>
            <p:nvPr/>
          </p:nvSpPr>
          <p:spPr>
            <a:xfrm>
              <a:off x="6103700" y="2180700"/>
              <a:ext cx="62425" cy="53350"/>
            </a:xfrm>
            <a:custGeom>
              <a:avLst/>
              <a:gdLst/>
              <a:ahLst/>
              <a:cxnLst/>
              <a:rect l="l" t="t" r="r" b="b"/>
              <a:pathLst>
                <a:path w="2497" h="2134" extrusionOk="0">
                  <a:moveTo>
                    <a:pt x="1066" y="1"/>
                  </a:moveTo>
                  <a:cubicBezTo>
                    <a:pt x="481" y="1"/>
                    <a:pt x="9" y="480"/>
                    <a:pt x="1" y="1066"/>
                  </a:cubicBezTo>
                  <a:cubicBezTo>
                    <a:pt x="1" y="1709"/>
                    <a:pt x="526" y="2133"/>
                    <a:pt x="1075" y="2133"/>
                  </a:cubicBezTo>
                  <a:cubicBezTo>
                    <a:pt x="1337" y="2133"/>
                    <a:pt x="1604" y="2037"/>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3" name="Google Shape;3613;p66"/>
            <p:cNvSpPr/>
            <p:nvPr/>
          </p:nvSpPr>
          <p:spPr>
            <a:xfrm>
              <a:off x="6103700" y="2104500"/>
              <a:ext cx="62425" cy="53325"/>
            </a:xfrm>
            <a:custGeom>
              <a:avLst/>
              <a:gdLst/>
              <a:ahLst/>
              <a:cxnLst/>
              <a:rect l="l" t="t" r="r" b="b"/>
              <a:pathLst>
                <a:path w="2497" h="2133" extrusionOk="0">
                  <a:moveTo>
                    <a:pt x="1066" y="0"/>
                  </a:moveTo>
                  <a:cubicBezTo>
                    <a:pt x="481" y="0"/>
                    <a:pt x="9" y="480"/>
                    <a:pt x="1" y="1065"/>
                  </a:cubicBezTo>
                  <a:cubicBezTo>
                    <a:pt x="1" y="1709"/>
                    <a:pt x="526" y="2133"/>
                    <a:pt x="1075" y="2133"/>
                  </a:cubicBezTo>
                  <a:cubicBezTo>
                    <a:pt x="1337" y="2133"/>
                    <a:pt x="1604" y="2036"/>
                    <a:pt x="1822" y="1821"/>
                  </a:cubicBezTo>
                  <a:cubicBezTo>
                    <a:pt x="2497"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4" name="Google Shape;3614;p66"/>
            <p:cNvSpPr/>
            <p:nvPr/>
          </p:nvSpPr>
          <p:spPr>
            <a:xfrm>
              <a:off x="6103700" y="1342750"/>
              <a:ext cx="62425" cy="53450"/>
            </a:xfrm>
            <a:custGeom>
              <a:avLst/>
              <a:gdLst/>
              <a:ahLst/>
              <a:cxnLst/>
              <a:rect l="l" t="t" r="r" b="b"/>
              <a:pathLst>
                <a:path w="2497" h="2138" extrusionOk="0">
                  <a:moveTo>
                    <a:pt x="1066" y="1"/>
                  </a:moveTo>
                  <a:cubicBezTo>
                    <a:pt x="481" y="1"/>
                    <a:pt x="9" y="481"/>
                    <a:pt x="1" y="1066"/>
                  </a:cubicBezTo>
                  <a:cubicBezTo>
                    <a:pt x="1" y="1710"/>
                    <a:pt x="526" y="2138"/>
                    <a:pt x="1075" y="2138"/>
                  </a:cubicBezTo>
                  <a:cubicBezTo>
                    <a:pt x="1337" y="2138"/>
                    <a:pt x="1604" y="2040"/>
                    <a:pt x="1822" y="1822"/>
                  </a:cubicBezTo>
                  <a:cubicBezTo>
                    <a:pt x="2497"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5" name="Google Shape;3615;p66"/>
            <p:cNvSpPr/>
            <p:nvPr/>
          </p:nvSpPr>
          <p:spPr>
            <a:xfrm>
              <a:off x="6027500" y="2180700"/>
              <a:ext cx="62425" cy="53350"/>
            </a:xfrm>
            <a:custGeom>
              <a:avLst/>
              <a:gdLst/>
              <a:ahLst/>
              <a:cxnLst/>
              <a:rect l="l" t="t" r="r" b="b"/>
              <a:pathLst>
                <a:path w="2497" h="2134" extrusionOk="0">
                  <a:moveTo>
                    <a:pt x="1073" y="1"/>
                  </a:moveTo>
                  <a:cubicBezTo>
                    <a:pt x="480" y="1"/>
                    <a:pt x="9" y="480"/>
                    <a:pt x="0" y="1066"/>
                  </a:cubicBezTo>
                  <a:cubicBezTo>
                    <a:pt x="0" y="1709"/>
                    <a:pt x="529" y="2133"/>
                    <a:pt x="1078" y="2133"/>
                  </a:cubicBezTo>
                  <a:cubicBezTo>
                    <a:pt x="1340" y="2133"/>
                    <a:pt x="1606"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6" name="Google Shape;3616;p66"/>
            <p:cNvSpPr/>
            <p:nvPr/>
          </p:nvSpPr>
          <p:spPr>
            <a:xfrm>
              <a:off x="6027500" y="1342750"/>
              <a:ext cx="62425" cy="53450"/>
            </a:xfrm>
            <a:custGeom>
              <a:avLst/>
              <a:gdLst/>
              <a:ahLst/>
              <a:cxnLst/>
              <a:rect l="l" t="t" r="r" b="b"/>
              <a:pathLst>
                <a:path w="2497" h="2138" extrusionOk="0">
                  <a:moveTo>
                    <a:pt x="1073" y="1"/>
                  </a:moveTo>
                  <a:cubicBezTo>
                    <a:pt x="480" y="1"/>
                    <a:pt x="9" y="481"/>
                    <a:pt x="0" y="1066"/>
                  </a:cubicBezTo>
                  <a:cubicBezTo>
                    <a:pt x="0" y="1710"/>
                    <a:pt x="529" y="2138"/>
                    <a:pt x="1078" y="2138"/>
                  </a:cubicBezTo>
                  <a:cubicBezTo>
                    <a:pt x="1340" y="2138"/>
                    <a:pt x="1606"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7" name="Google Shape;3617;p66"/>
            <p:cNvSpPr/>
            <p:nvPr/>
          </p:nvSpPr>
          <p:spPr>
            <a:xfrm>
              <a:off x="5951475"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3" y="2033"/>
                    <a:pt x="1822" y="1814"/>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8" name="Google Shape;3618;p66"/>
            <p:cNvSpPr/>
            <p:nvPr/>
          </p:nvSpPr>
          <p:spPr>
            <a:xfrm>
              <a:off x="5951475"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19" name="Google Shape;3619;p66"/>
            <p:cNvSpPr/>
            <p:nvPr/>
          </p:nvSpPr>
          <p:spPr>
            <a:xfrm>
              <a:off x="5951475"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0" name="Google Shape;3620;p66"/>
            <p:cNvSpPr/>
            <p:nvPr/>
          </p:nvSpPr>
          <p:spPr>
            <a:xfrm>
              <a:off x="5951475" y="2180700"/>
              <a:ext cx="62225" cy="53350"/>
            </a:xfrm>
            <a:custGeom>
              <a:avLst/>
              <a:gdLst/>
              <a:ahLst/>
              <a:cxnLst/>
              <a:rect l="l" t="t" r="r" b="b"/>
              <a:pathLst>
                <a:path w="2489" h="2134" extrusionOk="0">
                  <a:moveTo>
                    <a:pt x="1066" y="1"/>
                  </a:moveTo>
                  <a:cubicBezTo>
                    <a:pt x="472" y="1"/>
                    <a:pt x="1" y="480"/>
                    <a:pt x="1" y="1066"/>
                  </a:cubicBezTo>
                  <a:cubicBezTo>
                    <a:pt x="1" y="1709"/>
                    <a:pt x="526" y="2133"/>
                    <a:pt x="1072" y="2133"/>
                  </a:cubicBezTo>
                  <a:cubicBezTo>
                    <a:pt x="1333" y="2133"/>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1" name="Google Shape;3621;p66"/>
            <p:cNvSpPr/>
            <p:nvPr/>
          </p:nvSpPr>
          <p:spPr>
            <a:xfrm>
              <a:off x="595147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2" name="Google Shape;3622;p66"/>
            <p:cNvSpPr/>
            <p:nvPr/>
          </p:nvSpPr>
          <p:spPr>
            <a:xfrm>
              <a:off x="5875275" y="2714000"/>
              <a:ext cx="62225" cy="53350"/>
            </a:xfrm>
            <a:custGeom>
              <a:avLst/>
              <a:gdLst/>
              <a:ahLst/>
              <a:cxnLst/>
              <a:rect l="l" t="t" r="r" b="b"/>
              <a:pathLst>
                <a:path w="2489" h="2134" extrusionOk="0">
                  <a:moveTo>
                    <a:pt x="1065" y="0"/>
                  </a:moveTo>
                  <a:cubicBezTo>
                    <a:pt x="480" y="0"/>
                    <a:pt x="0" y="480"/>
                    <a:pt x="0" y="1065"/>
                  </a:cubicBezTo>
                  <a:cubicBezTo>
                    <a:pt x="0" y="1709"/>
                    <a:pt x="526" y="2133"/>
                    <a:pt x="1074" y="2133"/>
                  </a:cubicBezTo>
                  <a:cubicBezTo>
                    <a:pt x="1336" y="2133"/>
                    <a:pt x="1603" y="2036"/>
                    <a:pt x="1821" y="1821"/>
                  </a:cubicBezTo>
                  <a:cubicBezTo>
                    <a:pt x="2488"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3" name="Google Shape;3623;p66"/>
            <p:cNvSpPr/>
            <p:nvPr/>
          </p:nvSpPr>
          <p:spPr>
            <a:xfrm>
              <a:off x="5875275" y="2637775"/>
              <a:ext cx="62225" cy="53450"/>
            </a:xfrm>
            <a:custGeom>
              <a:avLst/>
              <a:gdLst/>
              <a:ahLst/>
              <a:cxnLst/>
              <a:rect l="l" t="t" r="r" b="b"/>
              <a:pathLst>
                <a:path w="2489"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4" name="Google Shape;3624;p66"/>
            <p:cNvSpPr/>
            <p:nvPr/>
          </p:nvSpPr>
          <p:spPr>
            <a:xfrm>
              <a:off x="5875275" y="2561575"/>
              <a:ext cx="62225" cy="53425"/>
            </a:xfrm>
            <a:custGeom>
              <a:avLst/>
              <a:gdLst/>
              <a:ahLst/>
              <a:cxnLst/>
              <a:rect l="l" t="t" r="r" b="b"/>
              <a:pathLst>
                <a:path w="2489"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5" name="Google Shape;3625;p66"/>
            <p:cNvSpPr/>
            <p:nvPr/>
          </p:nvSpPr>
          <p:spPr>
            <a:xfrm>
              <a:off x="5875275" y="2485550"/>
              <a:ext cx="62225" cy="53300"/>
            </a:xfrm>
            <a:custGeom>
              <a:avLst/>
              <a:gdLst/>
              <a:ahLst/>
              <a:cxnLst/>
              <a:rect l="l" t="t" r="r" b="b"/>
              <a:pathLst>
                <a:path w="2489" h="2132" extrusionOk="0">
                  <a:moveTo>
                    <a:pt x="1065" y="1"/>
                  </a:moveTo>
                  <a:cubicBezTo>
                    <a:pt x="480" y="1"/>
                    <a:pt x="0" y="472"/>
                    <a:pt x="0" y="1066"/>
                  </a:cubicBezTo>
                  <a:cubicBezTo>
                    <a:pt x="0" y="1708"/>
                    <a:pt x="523" y="2131"/>
                    <a:pt x="1070" y="2131"/>
                  </a:cubicBezTo>
                  <a:cubicBezTo>
                    <a:pt x="1333" y="2131"/>
                    <a:pt x="1602" y="2033"/>
                    <a:pt x="1821" y="1814"/>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6" name="Google Shape;3626;p66"/>
            <p:cNvSpPr/>
            <p:nvPr/>
          </p:nvSpPr>
          <p:spPr>
            <a:xfrm>
              <a:off x="5875275" y="2333125"/>
              <a:ext cx="62225" cy="53450"/>
            </a:xfrm>
            <a:custGeom>
              <a:avLst/>
              <a:gdLst/>
              <a:ahLst/>
              <a:cxnLst/>
              <a:rect l="l" t="t" r="r" b="b"/>
              <a:pathLst>
                <a:path w="2489" h="2138" extrusionOk="0">
                  <a:moveTo>
                    <a:pt x="1065" y="1"/>
                  </a:moveTo>
                  <a:cubicBezTo>
                    <a:pt x="480" y="1"/>
                    <a:pt x="0" y="480"/>
                    <a:pt x="0" y="1066"/>
                  </a:cubicBezTo>
                  <a:cubicBezTo>
                    <a:pt x="0" y="1709"/>
                    <a:pt x="526" y="2137"/>
                    <a:pt x="1074" y="2137"/>
                  </a:cubicBezTo>
                  <a:cubicBezTo>
                    <a:pt x="1336" y="2137"/>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7" name="Google Shape;3627;p66"/>
            <p:cNvSpPr/>
            <p:nvPr/>
          </p:nvSpPr>
          <p:spPr>
            <a:xfrm>
              <a:off x="5875275" y="2256925"/>
              <a:ext cx="62350" cy="53425"/>
            </a:xfrm>
            <a:custGeom>
              <a:avLst/>
              <a:gdLst/>
              <a:ahLst/>
              <a:cxnLst/>
              <a:rect l="l" t="t" r="r" b="b"/>
              <a:pathLst>
                <a:path w="2494" h="2137" extrusionOk="0">
                  <a:moveTo>
                    <a:pt x="1075" y="0"/>
                  </a:moveTo>
                  <a:cubicBezTo>
                    <a:pt x="1072" y="0"/>
                    <a:pt x="1069" y="0"/>
                    <a:pt x="1065" y="0"/>
                  </a:cubicBezTo>
                  <a:cubicBezTo>
                    <a:pt x="480" y="0"/>
                    <a:pt x="0" y="480"/>
                    <a:pt x="0" y="1065"/>
                  </a:cubicBezTo>
                  <a:cubicBezTo>
                    <a:pt x="0" y="1709"/>
                    <a:pt x="529" y="2137"/>
                    <a:pt x="1078" y="2137"/>
                  </a:cubicBezTo>
                  <a:cubicBezTo>
                    <a:pt x="1340" y="2137"/>
                    <a:pt x="1606" y="2039"/>
                    <a:pt x="1821" y="1821"/>
                  </a:cubicBezTo>
                  <a:cubicBezTo>
                    <a:pt x="2494" y="1149"/>
                    <a:pt x="2020"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8" name="Google Shape;3628;p66"/>
            <p:cNvSpPr/>
            <p:nvPr/>
          </p:nvSpPr>
          <p:spPr>
            <a:xfrm>
              <a:off x="5875275" y="1342750"/>
              <a:ext cx="62225" cy="53450"/>
            </a:xfrm>
            <a:custGeom>
              <a:avLst/>
              <a:gdLst/>
              <a:ahLst/>
              <a:cxnLst/>
              <a:rect l="l" t="t" r="r" b="b"/>
              <a:pathLst>
                <a:path w="2489" h="2138" extrusionOk="0">
                  <a:moveTo>
                    <a:pt x="1065" y="1"/>
                  </a:moveTo>
                  <a:cubicBezTo>
                    <a:pt x="480" y="1"/>
                    <a:pt x="0" y="481"/>
                    <a:pt x="0" y="1066"/>
                  </a:cubicBezTo>
                  <a:cubicBezTo>
                    <a:pt x="0" y="1710"/>
                    <a:pt x="526" y="2138"/>
                    <a:pt x="1074" y="2138"/>
                  </a:cubicBezTo>
                  <a:cubicBezTo>
                    <a:pt x="1336" y="2138"/>
                    <a:pt x="1603" y="2040"/>
                    <a:pt x="1821" y="1822"/>
                  </a:cubicBezTo>
                  <a:cubicBezTo>
                    <a:pt x="2488"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29" name="Google Shape;3629;p66"/>
            <p:cNvSpPr/>
            <p:nvPr/>
          </p:nvSpPr>
          <p:spPr>
            <a:xfrm>
              <a:off x="5799275" y="2714000"/>
              <a:ext cx="62200" cy="53350"/>
            </a:xfrm>
            <a:custGeom>
              <a:avLst/>
              <a:gdLst/>
              <a:ahLst/>
              <a:cxnLst/>
              <a:rect l="l" t="t" r="r" b="b"/>
              <a:pathLst>
                <a:path w="2488" h="2134" extrusionOk="0">
                  <a:moveTo>
                    <a:pt x="1057" y="0"/>
                  </a:moveTo>
                  <a:cubicBezTo>
                    <a:pt x="472" y="0"/>
                    <a:pt x="0" y="480"/>
                    <a:pt x="0" y="1065"/>
                  </a:cubicBezTo>
                  <a:cubicBezTo>
                    <a:pt x="0" y="1709"/>
                    <a:pt x="525" y="2133"/>
                    <a:pt x="1071" y="2133"/>
                  </a:cubicBezTo>
                  <a:cubicBezTo>
                    <a:pt x="1332" y="2133"/>
                    <a:pt x="1598" y="2036"/>
                    <a:pt x="1813" y="1821"/>
                  </a:cubicBezTo>
                  <a:cubicBezTo>
                    <a:pt x="2488" y="1146"/>
                    <a:pt x="2008" y="0"/>
                    <a:pt x="1057"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0" name="Google Shape;3630;p66"/>
            <p:cNvSpPr/>
            <p:nvPr/>
          </p:nvSpPr>
          <p:spPr>
            <a:xfrm>
              <a:off x="5799275" y="1342750"/>
              <a:ext cx="62200" cy="53450"/>
            </a:xfrm>
            <a:custGeom>
              <a:avLst/>
              <a:gdLst/>
              <a:ahLst/>
              <a:cxnLst/>
              <a:rect l="l" t="t" r="r" b="b"/>
              <a:pathLst>
                <a:path w="2488" h="2138" extrusionOk="0">
                  <a:moveTo>
                    <a:pt x="1057" y="1"/>
                  </a:moveTo>
                  <a:cubicBezTo>
                    <a:pt x="472" y="9"/>
                    <a:pt x="0" y="481"/>
                    <a:pt x="0" y="1066"/>
                  </a:cubicBezTo>
                  <a:cubicBezTo>
                    <a:pt x="0" y="1710"/>
                    <a:pt x="525" y="2138"/>
                    <a:pt x="1071" y="2138"/>
                  </a:cubicBezTo>
                  <a:cubicBezTo>
                    <a:pt x="1332" y="2138"/>
                    <a:pt x="1597" y="2040"/>
                    <a:pt x="1813" y="1822"/>
                  </a:cubicBezTo>
                  <a:cubicBezTo>
                    <a:pt x="2488" y="1147"/>
                    <a:pt x="2008" y="1"/>
                    <a:pt x="1057"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1" name="Google Shape;3631;p66"/>
            <p:cNvSpPr/>
            <p:nvPr/>
          </p:nvSpPr>
          <p:spPr>
            <a:xfrm>
              <a:off x="5799125" y="1190550"/>
              <a:ext cx="62350" cy="53425"/>
            </a:xfrm>
            <a:custGeom>
              <a:avLst/>
              <a:gdLst/>
              <a:ahLst/>
              <a:cxnLst/>
              <a:rect l="l" t="t" r="r" b="b"/>
              <a:pathLst>
                <a:path w="2494" h="2137" extrusionOk="0">
                  <a:moveTo>
                    <a:pt x="1063" y="0"/>
                  </a:moveTo>
                  <a:cubicBezTo>
                    <a:pt x="478" y="0"/>
                    <a:pt x="6" y="480"/>
                    <a:pt x="6" y="1065"/>
                  </a:cubicBezTo>
                  <a:cubicBezTo>
                    <a:pt x="1" y="1709"/>
                    <a:pt x="528" y="2137"/>
                    <a:pt x="1076" y="2137"/>
                  </a:cubicBezTo>
                  <a:cubicBezTo>
                    <a:pt x="1337" y="2137"/>
                    <a:pt x="1603" y="2039"/>
                    <a:pt x="1819" y="1821"/>
                  </a:cubicBezTo>
                  <a:cubicBezTo>
                    <a:pt x="2494" y="1146"/>
                    <a:pt x="2014" y="0"/>
                    <a:pt x="106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2" name="Google Shape;3632;p66"/>
            <p:cNvSpPr/>
            <p:nvPr/>
          </p:nvSpPr>
          <p:spPr>
            <a:xfrm>
              <a:off x="5723050" y="3094850"/>
              <a:ext cx="62225" cy="53350"/>
            </a:xfrm>
            <a:custGeom>
              <a:avLst/>
              <a:gdLst/>
              <a:ahLst/>
              <a:cxnLst/>
              <a:rect l="l" t="t" r="r" b="b"/>
              <a:pathLst>
                <a:path w="2489" h="2134" extrusionOk="0">
                  <a:moveTo>
                    <a:pt x="1065" y="1"/>
                  </a:moveTo>
                  <a:cubicBezTo>
                    <a:pt x="472" y="1"/>
                    <a:pt x="0" y="480"/>
                    <a:pt x="0" y="1066"/>
                  </a:cubicBezTo>
                  <a:cubicBezTo>
                    <a:pt x="0" y="1709"/>
                    <a:pt x="526" y="2134"/>
                    <a:pt x="1072" y="2134"/>
                  </a:cubicBezTo>
                  <a:cubicBezTo>
                    <a:pt x="1333" y="2134"/>
                    <a:pt x="1598" y="2037"/>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3" name="Google Shape;3633;p66"/>
            <p:cNvSpPr/>
            <p:nvPr/>
          </p:nvSpPr>
          <p:spPr>
            <a:xfrm>
              <a:off x="5723050" y="3018650"/>
              <a:ext cx="62225" cy="53425"/>
            </a:xfrm>
            <a:custGeom>
              <a:avLst/>
              <a:gdLst/>
              <a:ahLst/>
              <a:cxnLst/>
              <a:rect l="l" t="t" r="r" b="b"/>
              <a:pathLst>
                <a:path w="2489" h="2137" extrusionOk="0">
                  <a:moveTo>
                    <a:pt x="1065" y="0"/>
                  </a:moveTo>
                  <a:cubicBezTo>
                    <a:pt x="472" y="0"/>
                    <a:pt x="0" y="480"/>
                    <a:pt x="0" y="1065"/>
                  </a:cubicBezTo>
                  <a:cubicBezTo>
                    <a:pt x="0" y="1709"/>
                    <a:pt x="526" y="2137"/>
                    <a:pt x="1072" y="2137"/>
                  </a:cubicBezTo>
                  <a:cubicBezTo>
                    <a:pt x="1332" y="2137"/>
                    <a:pt x="1598" y="2039"/>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4" name="Google Shape;3634;p66"/>
            <p:cNvSpPr/>
            <p:nvPr/>
          </p:nvSpPr>
          <p:spPr>
            <a:xfrm>
              <a:off x="5723050" y="2942425"/>
              <a:ext cx="62225" cy="53450"/>
            </a:xfrm>
            <a:custGeom>
              <a:avLst/>
              <a:gdLst/>
              <a:ahLst/>
              <a:cxnLst/>
              <a:rect l="l" t="t" r="r" b="b"/>
              <a:pathLst>
                <a:path w="2489" h="2138" extrusionOk="0">
                  <a:moveTo>
                    <a:pt x="1065" y="1"/>
                  </a:moveTo>
                  <a:cubicBezTo>
                    <a:pt x="472" y="9"/>
                    <a:pt x="0" y="480"/>
                    <a:pt x="0" y="1074"/>
                  </a:cubicBezTo>
                  <a:cubicBezTo>
                    <a:pt x="0" y="1712"/>
                    <a:pt x="525" y="2137"/>
                    <a:pt x="1071" y="2137"/>
                  </a:cubicBezTo>
                  <a:cubicBezTo>
                    <a:pt x="1332" y="2137"/>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5" name="Google Shape;3635;p66"/>
            <p:cNvSpPr/>
            <p:nvPr/>
          </p:nvSpPr>
          <p:spPr>
            <a:xfrm>
              <a:off x="5723050" y="2714000"/>
              <a:ext cx="62225" cy="53350"/>
            </a:xfrm>
            <a:custGeom>
              <a:avLst/>
              <a:gdLst/>
              <a:ahLst/>
              <a:cxnLst/>
              <a:rect l="l" t="t" r="r" b="b"/>
              <a:pathLst>
                <a:path w="2489" h="2134" extrusionOk="0">
                  <a:moveTo>
                    <a:pt x="1065" y="0"/>
                  </a:moveTo>
                  <a:cubicBezTo>
                    <a:pt x="472" y="0"/>
                    <a:pt x="0" y="480"/>
                    <a:pt x="0" y="1065"/>
                  </a:cubicBezTo>
                  <a:cubicBezTo>
                    <a:pt x="0" y="1709"/>
                    <a:pt x="526" y="2133"/>
                    <a:pt x="1072" y="2133"/>
                  </a:cubicBezTo>
                  <a:cubicBezTo>
                    <a:pt x="1333" y="2133"/>
                    <a:pt x="1598" y="2036"/>
                    <a:pt x="1813" y="1821"/>
                  </a:cubicBezTo>
                  <a:cubicBezTo>
                    <a:pt x="2488" y="1146"/>
                    <a:pt x="2008"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6" name="Google Shape;3636;p66"/>
            <p:cNvSpPr/>
            <p:nvPr/>
          </p:nvSpPr>
          <p:spPr>
            <a:xfrm>
              <a:off x="5723050" y="1342750"/>
              <a:ext cx="62225" cy="53450"/>
            </a:xfrm>
            <a:custGeom>
              <a:avLst/>
              <a:gdLst/>
              <a:ahLst/>
              <a:cxnLst/>
              <a:rect l="l" t="t" r="r" b="b"/>
              <a:pathLst>
                <a:path w="2489" h="2138" extrusionOk="0">
                  <a:moveTo>
                    <a:pt x="1065" y="1"/>
                  </a:moveTo>
                  <a:cubicBezTo>
                    <a:pt x="472" y="1"/>
                    <a:pt x="0" y="481"/>
                    <a:pt x="0" y="1066"/>
                  </a:cubicBezTo>
                  <a:cubicBezTo>
                    <a:pt x="0" y="1710"/>
                    <a:pt x="526" y="2138"/>
                    <a:pt x="1072" y="2138"/>
                  </a:cubicBezTo>
                  <a:cubicBezTo>
                    <a:pt x="1332" y="2138"/>
                    <a:pt x="1598" y="2040"/>
                    <a:pt x="1813" y="1822"/>
                  </a:cubicBezTo>
                  <a:cubicBezTo>
                    <a:pt x="2488" y="1147"/>
                    <a:pt x="2008"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7" name="Google Shape;3637;p66"/>
            <p:cNvSpPr/>
            <p:nvPr/>
          </p:nvSpPr>
          <p:spPr>
            <a:xfrm>
              <a:off x="5722900" y="1190550"/>
              <a:ext cx="62375" cy="53425"/>
            </a:xfrm>
            <a:custGeom>
              <a:avLst/>
              <a:gdLst/>
              <a:ahLst/>
              <a:cxnLst/>
              <a:rect l="l" t="t" r="r" b="b"/>
              <a:pathLst>
                <a:path w="2495" h="2137" extrusionOk="0">
                  <a:moveTo>
                    <a:pt x="1071" y="0"/>
                  </a:moveTo>
                  <a:cubicBezTo>
                    <a:pt x="478" y="0"/>
                    <a:pt x="6" y="480"/>
                    <a:pt x="6" y="1065"/>
                  </a:cubicBezTo>
                  <a:cubicBezTo>
                    <a:pt x="1" y="1709"/>
                    <a:pt x="524" y="2137"/>
                    <a:pt x="1072" y="2137"/>
                  </a:cubicBezTo>
                  <a:cubicBezTo>
                    <a:pt x="1334" y="2137"/>
                    <a:pt x="1601" y="2039"/>
                    <a:pt x="1819" y="1821"/>
                  </a:cubicBezTo>
                  <a:cubicBezTo>
                    <a:pt x="2494" y="1146"/>
                    <a:pt x="2014"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8" name="Google Shape;3638;p66"/>
            <p:cNvSpPr/>
            <p:nvPr/>
          </p:nvSpPr>
          <p:spPr>
            <a:xfrm>
              <a:off x="56468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39" name="Google Shape;3639;p66"/>
            <p:cNvSpPr/>
            <p:nvPr/>
          </p:nvSpPr>
          <p:spPr>
            <a:xfrm>
              <a:off x="5646825" y="2866425"/>
              <a:ext cx="62225" cy="53275"/>
            </a:xfrm>
            <a:custGeom>
              <a:avLst/>
              <a:gdLst/>
              <a:ahLst/>
              <a:cxnLst/>
              <a:rect l="l" t="t" r="r" b="b"/>
              <a:pathLst>
                <a:path w="2489" h="2131" extrusionOk="0">
                  <a:moveTo>
                    <a:pt x="1066" y="0"/>
                  </a:moveTo>
                  <a:cubicBezTo>
                    <a:pt x="472" y="0"/>
                    <a:pt x="1" y="472"/>
                    <a:pt x="1" y="1065"/>
                  </a:cubicBezTo>
                  <a:cubicBezTo>
                    <a:pt x="1" y="1707"/>
                    <a:pt x="523" y="2131"/>
                    <a:pt x="1068" y="2131"/>
                  </a:cubicBezTo>
                  <a:cubicBezTo>
                    <a:pt x="1330" y="2131"/>
                    <a:pt x="1597" y="2032"/>
                    <a:pt x="1814" y="1813"/>
                  </a:cubicBezTo>
                  <a:cubicBezTo>
                    <a:pt x="2489"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0" name="Google Shape;3640;p66"/>
            <p:cNvSpPr/>
            <p:nvPr/>
          </p:nvSpPr>
          <p:spPr>
            <a:xfrm>
              <a:off x="56468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1" name="Google Shape;3641;p66"/>
            <p:cNvSpPr/>
            <p:nvPr/>
          </p:nvSpPr>
          <p:spPr>
            <a:xfrm>
              <a:off x="5646825" y="1342750"/>
              <a:ext cx="62225" cy="53450"/>
            </a:xfrm>
            <a:custGeom>
              <a:avLst/>
              <a:gdLst/>
              <a:ahLst/>
              <a:cxnLst/>
              <a:rect l="l" t="t" r="r" b="b"/>
              <a:pathLst>
                <a:path w="2489" h="2138" extrusionOk="0">
                  <a:moveTo>
                    <a:pt x="1066" y="1"/>
                  </a:moveTo>
                  <a:cubicBezTo>
                    <a:pt x="472" y="1"/>
                    <a:pt x="1" y="481"/>
                    <a:pt x="1" y="1066"/>
                  </a:cubicBezTo>
                  <a:cubicBezTo>
                    <a:pt x="1" y="1710"/>
                    <a:pt x="526" y="2138"/>
                    <a:pt x="1072" y="2138"/>
                  </a:cubicBezTo>
                  <a:cubicBezTo>
                    <a:pt x="1333" y="2138"/>
                    <a:pt x="1598" y="2040"/>
                    <a:pt x="1814" y="1822"/>
                  </a:cubicBezTo>
                  <a:cubicBezTo>
                    <a:pt x="2489"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2" name="Google Shape;3642;p66"/>
            <p:cNvSpPr/>
            <p:nvPr/>
          </p:nvSpPr>
          <p:spPr>
            <a:xfrm>
              <a:off x="5646825" y="1266550"/>
              <a:ext cx="62225" cy="53450"/>
            </a:xfrm>
            <a:custGeom>
              <a:avLst/>
              <a:gdLst/>
              <a:ahLst/>
              <a:cxnLst/>
              <a:rect l="l" t="t" r="r" b="b"/>
              <a:pathLst>
                <a:path w="2489" h="2138" extrusionOk="0">
                  <a:moveTo>
                    <a:pt x="1066" y="0"/>
                  </a:moveTo>
                  <a:cubicBezTo>
                    <a:pt x="472" y="9"/>
                    <a:pt x="1" y="480"/>
                    <a:pt x="1" y="1074"/>
                  </a:cubicBezTo>
                  <a:cubicBezTo>
                    <a:pt x="1" y="1711"/>
                    <a:pt x="525" y="2137"/>
                    <a:pt x="1071" y="2137"/>
                  </a:cubicBezTo>
                  <a:cubicBezTo>
                    <a:pt x="1332" y="2137"/>
                    <a:pt x="1598" y="2040"/>
                    <a:pt x="1814" y="1821"/>
                  </a:cubicBezTo>
                  <a:cubicBezTo>
                    <a:pt x="2489"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3" name="Google Shape;3643;p66"/>
            <p:cNvSpPr/>
            <p:nvPr/>
          </p:nvSpPr>
          <p:spPr>
            <a:xfrm>
              <a:off x="5646700" y="1190550"/>
              <a:ext cx="62350" cy="53425"/>
            </a:xfrm>
            <a:custGeom>
              <a:avLst/>
              <a:gdLst/>
              <a:ahLst/>
              <a:cxnLst/>
              <a:rect l="l" t="t" r="r" b="b"/>
              <a:pathLst>
                <a:path w="2494" h="2137" extrusionOk="0">
                  <a:moveTo>
                    <a:pt x="1071" y="0"/>
                  </a:moveTo>
                  <a:cubicBezTo>
                    <a:pt x="486" y="0"/>
                    <a:pt x="6" y="480"/>
                    <a:pt x="6" y="1065"/>
                  </a:cubicBezTo>
                  <a:cubicBezTo>
                    <a:pt x="0" y="1709"/>
                    <a:pt x="524" y="2137"/>
                    <a:pt x="1072" y="2137"/>
                  </a:cubicBezTo>
                  <a:cubicBezTo>
                    <a:pt x="1333" y="2137"/>
                    <a:pt x="1601" y="2039"/>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4" name="Google Shape;3644;p66"/>
            <p:cNvSpPr/>
            <p:nvPr/>
          </p:nvSpPr>
          <p:spPr>
            <a:xfrm>
              <a:off x="5570625" y="3018650"/>
              <a:ext cx="62200" cy="53425"/>
            </a:xfrm>
            <a:custGeom>
              <a:avLst/>
              <a:gdLst/>
              <a:ahLst/>
              <a:cxnLst/>
              <a:rect l="l" t="t" r="r" b="b"/>
              <a:pathLst>
                <a:path w="2488" h="2137" extrusionOk="0">
                  <a:moveTo>
                    <a:pt x="1065" y="0"/>
                  </a:moveTo>
                  <a:cubicBezTo>
                    <a:pt x="472" y="0"/>
                    <a:pt x="0" y="480"/>
                    <a:pt x="0" y="1065"/>
                  </a:cubicBezTo>
                  <a:cubicBezTo>
                    <a:pt x="0" y="1709"/>
                    <a:pt x="526" y="2137"/>
                    <a:pt x="1072" y="2137"/>
                  </a:cubicBezTo>
                  <a:cubicBezTo>
                    <a:pt x="1332" y="2137"/>
                    <a:pt x="1598" y="2039"/>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5" name="Google Shape;3645;p66"/>
            <p:cNvSpPr/>
            <p:nvPr/>
          </p:nvSpPr>
          <p:spPr>
            <a:xfrm>
              <a:off x="5570625" y="2942425"/>
              <a:ext cx="62200" cy="53450"/>
            </a:xfrm>
            <a:custGeom>
              <a:avLst/>
              <a:gdLst/>
              <a:ahLst/>
              <a:cxnLst/>
              <a:rect l="l" t="t" r="r" b="b"/>
              <a:pathLst>
                <a:path w="2488" h="2138" extrusionOk="0">
                  <a:moveTo>
                    <a:pt x="1065" y="1"/>
                  </a:moveTo>
                  <a:cubicBezTo>
                    <a:pt x="472" y="1"/>
                    <a:pt x="0" y="480"/>
                    <a:pt x="0" y="1074"/>
                  </a:cubicBezTo>
                  <a:cubicBezTo>
                    <a:pt x="0" y="1712"/>
                    <a:pt x="525" y="2137"/>
                    <a:pt x="1071" y="2137"/>
                  </a:cubicBezTo>
                  <a:cubicBezTo>
                    <a:pt x="1332" y="2137"/>
                    <a:pt x="1598" y="2040"/>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6" name="Google Shape;3646;p66"/>
            <p:cNvSpPr/>
            <p:nvPr/>
          </p:nvSpPr>
          <p:spPr>
            <a:xfrm>
              <a:off x="5570475" y="1190550"/>
              <a:ext cx="62350" cy="53325"/>
            </a:xfrm>
            <a:custGeom>
              <a:avLst/>
              <a:gdLst/>
              <a:ahLst/>
              <a:cxnLst/>
              <a:rect l="l" t="t" r="r" b="b"/>
              <a:pathLst>
                <a:path w="2494" h="2133" extrusionOk="0">
                  <a:moveTo>
                    <a:pt x="1071" y="0"/>
                  </a:moveTo>
                  <a:cubicBezTo>
                    <a:pt x="486" y="0"/>
                    <a:pt x="6" y="472"/>
                    <a:pt x="6" y="1065"/>
                  </a:cubicBezTo>
                  <a:cubicBezTo>
                    <a:pt x="1" y="1709"/>
                    <a:pt x="524" y="2133"/>
                    <a:pt x="1073" y="2133"/>
                  </a:cubicBezTo>
                  <a:cubicBezTo>
                    <a:pt x="1334" y="2133"/>
                    <a:pt x="1601" y="2036"/>
                    <a:pt x="1819" y="1821"/>
                  </a:cubicBezTo>
                  <a:cubicBezTo>
                    <a:pt x="2494"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7" name="Google Shape;3647;p66"/>
            <p:cNvSpPr/>
            <p:nvPr/>
          </p:nvSpPr>
          <p:spPr>
            <a:xfrm>
              <a:off x="5494400" y="2942425"/>
              <a:ext cx="62225" cy="53450"/>
            </a:xfrm>
            <a:custGeom>
              <a:avLst/>
              <a:gdLst/>
              <a:ahLst/>
              <a:cxnLst/>
              <a:rect l="l" t="t" r="r" b="b"/>
              <a:pathLst>
                <a:path w="2489" h="2138" extrusionOk="0">
                  <a:moveTo>
                    <a:pt x="1066" y="1"/>
                  </a:moveTo>
                  <a:cubicBezTo>
                    <a:pt x="480" y="1"/>
                    <a:pt x="1" y="480"/>
                    <a:pt x="1" y="1066"/>
                  </a:cubicBezTo>
                  <a:cubicBezTo>
                    <a:pt x="1" y="1709"/>
                    <a:pt x="526" y="2137"/>
                    <a:pt x="1075" y="2137"/>
                  </a:cubicBezTo>
                  <a:cubicBezTo>
                    <a:pt x="1337" y="2137"/>
                    <a:pt x="1604"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8" name="Google Shape;3648;p66"/>
            <p:cNvSpPr/>
            <p:nvPr/>
          </p:nvSpPr>
          <p:spPr>
            <a:xfrm>
              <a:off x="549440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3"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49" name="Google Shape;3649;p66"/>
            <p:cNvSpPr/>
            <p:nvPr/>
          </p:nvSpPr>
          <p:spPr>
            <a:xfrm>
              <a:off x="5494275" y="1190550"/>
              <a:ext cx="62350" cy="53325"/>
            </a:xfrm>
            <a:custGeom>
              <a:avLst/>
              <a:gdLst/>
              <a:ahLst/>
              <a:cxnLst/>
              <a:rect l="l" t="t" r="r" b="b"/>
              <a:pathLst>
                <a:path w="2494" h="2133" extrusionOk="0">
                  <a:moveTo>
                    <a:pt x="1071" y="0"/>
                  </a:moveTo>
                  <a:cubicBezTo>
                    <a:pt x="485" y="0"/>
                    <a:pt x="6" y="472"/>
                    <a:pt x="6" y="1065"/>
                  </a:cubicBezTo>
                  <a:cubicBezTo>
                    <a:pt x="0" y="1709"/>
                    <a:pt x="524" y="2133"/>
                    <a:pt x="1072" y="2133"/>
                  </a:cubicBezTo>
                  <a:cubicBezTo>
                    <a:pt x="1334" y="2133"/>
                    <a:pt x="1601" y="2036"/>
                    <a:pt x="1819" y="1821"/>
                  </a:cubicBezTo>
                  <a:cubicBezTo>
                    <a:pt x="2493" y="1154"/>
                    <a:pt x="2022" y="0"/>
                    <a:pt x="1071"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0" name="Google Shape;3650;p66"/>
            <p:cNvSpPr/>
            <p:nvPr/>
          </p:nvSpPr>
          <p:spPr>
            <a:xfrm>
              <a:off x="5418200" y="2866425"/>
              <a:ext cx="62425" cy="53275"/>
            </a:xfrm>
            <a:custGeom>
              <a:avLst/>
              <a:gdLst/>
              <a:ahLst/>
              <a:cxnLst/>
              <a:rect l="l" t="t" r="r" b="b"/>
              <a:pathLst>
                <a:path w="2497" h="2131" extrusionOk="0">
                  <a:moveTo>
                    <a:pt x="1065" y="0"/>
                  </a:moveTo>
                  <a:cubicBezTo>
                    <a:pt x="480" y="0"/>
                    <a:pt x="0" y="472"/>
                    <a:pt x="0" y="1065"/>
                  </a:cubicBezTo>
                  <a:cubicBezTo>
                    <a:pt x="0" y="1707"/>
                    <a:pt x="526" y="2131"/>
                    <a:pt x="1073" y="2131"/>
                  </a:cubicBezTo>
                  <a:cubicBezTo>
                    <a:pt x="1336" y="2131"/>
                    <a:pt x="1605" y="2032"/>
                    <a:pt x="1821" y="1813"/>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1" name="Google Shape;3651;p66"/>
            <p:cNvSpPr/>
            <p:nvPr/>
          </p:nvSpPr>
          <p:spPr>
            <a:xfrm>
              <a:off x="5418200" y="2790200"/>
              <a:ext cx="62425" cy="53350"/>
            </a:xfrm>
            <a:custGeom>
              <a:avLst/>
              <a:gdLst/>
              <a:ahLst/>
              <a:cxnLst/>
              <a:rect l="l" t="t" r="r" b="b"/>
              <a:pathLst>
                <a:path w="2497" h="2134" extrusionOk="0">
                  <a:moveTo>
                    <a:pt x="1065" y="1"/>
                  </a:moveTo>
                  <a:cubicBezTo>
                    <a:pt x="480" y="1"/>
                    <a:pt x="0" y="480"/>
                    <a:pt x="0" y="1066"/>
                  </a:cubicBezTo>
                  <a:cubicBezTo>
                    <a:pt x="0" y="1709"/>
                    <a:pt x="526" y="2134"/>
                    <a:pt x="1074" y="2134"/>
                  </a:cubicBezTo>
                  <a:cubicBezTo>
                    <a:pt x="1336" y="2134"/>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2" name="Google Shape;3652;p66"/>
            <p:cNvSpPr/>
            <p:nvPr/>
          </p:nvSpPr>
          <p:spPr>
            <a:xfrm>
              <a:off x="5418200" y="1266550"/>
              <a:ext cx="62425" cy="53450"/>
            </a:xfrm>
            <a:custGeom>
              <a:avLst/>
              <a:gdLst/>
              <a:ahLst/>
              <a:cxnLst/>
              <a:rect l="l" t="t" r="r" b="b"/>
              <a:pathLst>
                <a:path w="2497" h="2138" extrusionOk="0">
                  <a:moveTo>
                    <a:pt x="1065" y="0"/>
                  </a:moveTo>
                  <a:cubicBezTo>
                    <a:pt x="480" y="9"/>
                    <a:pt x="0" y="480"/>
                    <a:pt x="0" y="1074"/>
                  </a:cubicBezTo>
                  <a:cubicBezTo>
                    <a:pt x="0" y="1711"/>
                    <a:pt x="525" y="2137"/>
                    <a:pt x="1073" y="2137"/>
                  </a:cubicBezTo>
                  <a:cubicBezTo>
                    <a:pt x="1335" y="2137"/>
                    <a:pt x="1603" y="2040"/>
                    <a:pt x="1821" y="1821"/>
                  </a:cubicBezTo>
                  <a:cubicBezTo>
                    <a:pt x="2496"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3" name="Google Shape;3653;p66"/>
            <p:cNvSpPr/>
            <p:nvPr/>
          </p:nvSpPr>
          <p:spPr>
            <a:xfrm>
              <a:off x="5418200" y="1190550"/>
              <a:ext cx="62425" cy="53325"/>
            </a:xfrm>
            <a:custGeom>
              <a:avLst/>
              <a:gdLst/>
              <a:ahLst/>
              <a:cxnLst/>
              <a:rect l="l" t="t" r="r" b="b"/>
              <a:pathLst>
                <a:path w="2497" h="2133" extrusionOk="0">
                  <a:moveTo>
                    <a:pt x="1065" y="0"/>
                  </a:moveTo>
                  <a:cubicBezTo>
                    <a:pt x="480" y="0"/>
                    <a:pt x="0" y="480"/>
                    <a:pt x="0" y="1065"/>
                  </a:cubicBezTo>
                  <a:cubicBezTo>
                    <a:pt x="0" y="1709"/>
                    <a:pt x="526"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4" name="Google Shape;3654;p66"/>
            <p:cNvSpPr/>
            <p:nvPr/>
          </p:nvSpPr>
          <p:spPr>
            <a:xfrm>
              <a:off x="5341975" y="2714000"/>
              <a:ext cx="62425" cy="53350"/>
            </a:xfrm>
            <a:custGeom>
              <a:avLst/>
              <a:gdLst/>
              <a:ahLst/>
              <a:cxnLst/>
              <a:rect l="l" t="t" r="r" b="b"/>
              <a:pathLst>
                <a:path w="2497" h="2134" extrusionOk="0">
                  <a:moveTo>
                    <a:pt x="1074" y="0"/>
                  </a:moveTo>
                  <a:cubicBezTo>
                    <a:pt x="480" y="0"/>
                    <a:pt x="9" y="480"/>
                    <a:pt x="1" y="1065"/>
                  </a:cubicBezTo>
                  <a:cubicBezTo>
                    <a:pt x="1" y="1709"/>
                    <a:pt x="530" y="2133"/>
                    <a:pt x="1078" y="2133"/>
                  </a:cubicBezTo>
                  <a:cubicBezTo>
                    <a:pt x="1340" y="2133"/>
                    <a:pt x="1606"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5" name="Google Shape;3655;p66"/>
            <p:cNvSpPr/>
            <p:nvPr/>
          </p:nvSpPr>
          <p:spPr>
            <a:xfrm>
              <a:off x="5341975" y="1266550"/>
              <a:ext cx="62425" cy="53450"/>
            </a:xfrm>
            <a:custGeom>
              <a:avLst/>
              <a:gdLst/>
              <a:ahLst/>
              <a:cxnLst/>
              <a:rect l="l" t="t" r="r" b="b"/>
              <a:pathLst>
                <a:path w="2497" h="2138" extrusionOk="0">
                  <a:moveTo>
                    <a:pt x="1074" y="0"/>
                  </a:moveTo>
                  <a:cubicBezTo>
                    <a:pt x="480" y="9"/>
                    <a:pt x="9" y="480"/>
                    <a:pt x="1" y="1074"/>
                  </a:cubicBezTo>
                  <a:cubicBezTo>
                    <a:pt x="1" y="1711"/>
                    <a:pt x="529" y="2137"/>
                    <a:pt x="1077" y="2137"/>
                  </a:cubicBezTo>
                  <a:cubicBezTo>
                    <a:pt x="1339" y="2137"/>
                    <a:pt x="1606" y="2040"/>
                    <a:pt x="1822" y="1821"/>
                  </a:cubicBezTo>
                  <a:cubicBezTo>
                    <a:pt x="2497" y="1155"/>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6" name="Google Shape;3656;p66"/>
            <p:cNvSpPr/>
            <p:nvPr/>
          </p:nvSpPr>
          <p:spPr>
            <a:xfrm>
              <a:off x="5265775" y="2790200"/>
              <a:ext cx="62200" cy="53350"/>
            </a:xfrm>
            <a:custGeom>
              <a:avLst/>
              <a:gdLst/>
              <a:ahLst/>
              <a:cxnLst/>
              <a:rect l="l" t="t" r="r" b="b"/>
              <a:pathLst>
                <a:path w="2488" h="2134" extrusionOk="0">
                  <a:moveTo>
                    <a:pt x="1065" y="1"/>
                  </a:moveTo>
                  <a:cubicBezTo>
                    <a:pt x="480" y="1"/>
                    <a:pt x="0" y="472"/>
                    <a:pt x="0" y="1066"/>
                  </a:cubicBezTo>
                  <a:cubicBezTo>
                    <a:pt x="0" y="1709"/>
                    <a:pt x="522" y="2134"/>
                    <a:pt x="1068" y="2134"/>
                  </a:cubicBezTo>
                  <a:cubicBezTo>
                    <a:pt x="1329" y="2134"/>
                    <a:pt x="1595" y="2037"/>
                    <a:pt x="1813"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7" name="Google Shape;3657;p66"/>
            <p:cNvSpPr/>
            <p:nvPr/>
          </p:nvSpPr>
          <p:spPr>
            <a:xfrm>
              <a:off x="5265775" y="2714000"/>
              <a:ext cx="62200" cy="53350"/>
            </a:xfrm>
            <a:custGeom>
              <a:avLst/>
              <a:gdLst/>
              <a:ahLst/>
              <a:cxnLst/>
              <a:rect l="l" t="t" r="r" b="b"/>
              <a:pathLst>
                <a:path w="2488" h="2134" extrusionOk="0">
                  <a:moveTo>
                    <a:pt x="1065" y="0"/>
                  </a:moveTo>
                  <a:cubicBezTo>
                    <a:pt x="480" y="0"/>
                    <a:pt x="0" y="480"/>
                    <a:pt x="0" y="1065"/>
                  </a:cubicBezTo>
                  <a:cubicBezTo>
                    <a:pt x="0" y="1709"/>
                    <a:pt x="522" y="2133"/>
                    <a:pt x="1068" y="2133"/>
                  </a:cubicBezTo>
                  <a:cubicBezTo>
                    <a:pt x="1329" y="2133"/>
                    <a:pt x="1595" y="2036"/>
                    <a:pt x="1813" y="1821"/>
                  </a:cubicBezTo>
                  <a:cubicBezTo>
                    <a:pt x="2488" y="1155"/>
                    <a:pt x="2016" y="8"/>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8" name="Google Shape;3658;p66"/>
            <p:cNvSpPr/>
            <p:nvPr/>
          </p:nvSpPr>
          <p:spPr>
            <a:xfrm>
              <a:off x="5265775" y="1266550"/>
              <a:ext cx="62200" cy="53450"/>
            </a:xfrm>
            <a:custGeom>
              <a:avLst/>
              <a:gdLst/>
              <a:ahLst/>
              <a:cxnLst/>
              <a:rect l="l" t="t" r="r" b="b"/>
              <a:pathLst>
                <a:path w="2488" h="2138" extrusionOk="0">
                  <a:moveTo>
                    <a:pt x="1065" y="0"/>
                  </a:moveTo>
                  <a:cubicBezTo>
                    <a:pt x="480" y="0"/>
                    <a:pt x="0" y="480"/>
                    <a:pt x="0" y="1074"/>
                  </a:cubicBezTo>
                  <a:cubicBezTo>
                    <a:pt x="0" y="1711"/>
                    <a:pt x="521" y="2137"/>
                    <a:pt x="1067" y="2137"/>
                  </a:cubicBezTo>
                  <a:cubicBezTo>
                    <a:pt x="1328" y="2137"/>
                    <a:pt x="1595" y="2040"/>
                    <a:pt x="1813" y="1821"/>
                  </a:cubicBezTo>
                  <a:cubicBezTo>
                    <a:pt x="2488" y="1155"/>
                    <a:pt x="2016" y="9"/>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59" name="Google Shape;3659;p66"/>
            <p:cNvSpPr/>
            <p:nvPr/>
          </p:nvSpPr>
          <p:spPr>
            <a:xfrm>
              <a:off x="5189550" y="2866425"/>
              <a:ext cx="62425" cy="53275"/>
            </a:xfrm>
            <a:custGeom>
              <a:avLst/>
              <a:gdLst/>
              <a:ahLst/>
              <a:cxnLst/>
              <a:rect l="l" t="t" r="r" b="b"/>
              <a:pathLst>
                <a:path w="2497" h="2131" extrusionOk="0">
                  <a:moveTo>
                    <a:pt x="1066" y="0"/>
                  </a:moveTo>
                  <a:cubicBezTo>
                    <a:pt x="480" y="0"/>
                    <a:pt x="1" y="472"/>
                    <a:pt x="1" y="1065"/>
                  </a:cubicBezTo>
                  <a:cubicBezTo>
                    <a:pt x="1" y="1707"/>
                    <a:pt x="523" y="2131"/>
                    <a:pt x="1070" y="2131"/>
                  </a:cubicBezTo>
                  <a:cubicBezTo>
                    <a:pt x="1333" y="2131"/>
                    <a:pt x="1602" y="2032"/>
                    <a:pt x="1822" y="1813"/>
                  </a:cubicBezTo>
                  <a:cubicBezTo>
                    <a:pt x="2496"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0" name="Google Shape;3660;p66"/>
            <p:cNvSpPr/>
            <p:nvPr/>
          </p:nvSpPr>
          <p:spPr>
            <a:xfrm>
              <a:off x="5189550" y="2790200"/>
              <a:ext cx="62225" cy="53350"/>
            </a:xfrm>
            <a:custGeom>
              <a:avLst/>
              <a:gdLst/>
              <a:ahLst/>
              <a:cxnLst/>
              <a:rect l="l" t="t" r="r" b="b"/>
              <a:pathLst>
                <a:path w="2489" h="2134" extrusionOk="0">
                  <a:moveTo>
                    <a:pt x="1066" y="1"/>
                  </a:moveTo>
                  <a:cubicBezTo>
                    <a:pt x="480" y="1"/>
                    <a:pt x="1" y="472"/>
                    <a:pt x="1" y="1066"/>
                  </a:cubicBezTo>
                  <a:cubicBezTo>
                    <a:pt x="1" y="1709"/>
                    <a:pt x="522" y="2134"/>
                    <a:pt x="1069" y="2134"/>
                  </a:cubicBezTo>
                  <a:cubicBezTo>
                    <a:pt x="1329" y="2134"/>
                    <a:pt x="1596" y="2037"/>
                    <a:pt x="1814"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1" name="Google Shape;3661;p66"/>
            <p:cNvSpPr/>
            <p:nvPr/>
          </p:nvSpPr>
          <p:spPr>
            <a:xfrm>
              <a:off x="5189550" y="1342750"/>
              <a:ext cx="62225" cy="53350"/>
            </a:xfrm>
            <a:custGeom>
              <a:avLst/>
              <a:gdLst/>
              <a:ahLst/>
              <a:cxnLst/>
              <a:rect l="l" t="t" r="r" b="b"/>
              <a:pathLst>
                <a:path w="2489" h="2134" extrusionOk="0">
                  <a:moveTo>
                    <a:pt x="1066" y="1"/>
                  </a:moveTo>
                  <a:cubicBezTo>
                    <a:pt x="480" y="1"/>
                    <a:pt x="1" y="481"/>
                    <a:pt x="1" y="1066"/>
                  </a:cubicBezTo>
                  <a:cubicBezTo>
                    <a:pt x="1" y="1710"/>
                    <a:pt x="522" y="2134"/>
                    <a:pt x="1069" y="2134"/>
                  </a:cubicBezTo>
                  <a:cubicBezTo>
                    <a:pt x="1329" y="2134"/>
                    <a:pt x="1596" y="2037"/>
                    <a:pt x="1814" y="1822"/>
                  </a:cubicBezTo>
                  <a:cubicBezTo>
                    <a:pt x="2488" y="1155"/>
                    <a:pt x="2017" y="9"/>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2" name="Google Shape;3662;p66"/>
            <p:cNvSpPr/>
            <p:nvPr/>
          </p:nvSpPr>
          <p:spPr>
            <a:xfrm>
              <a:off x="5113350" y="3094850"/>
              <a:ext cx="62400" cy="53350"/>
            </a:xfrm>
            <a:custGeom>
              <a:avLst/>
              <a:gdLst/>
              <a:ahLst/>
              <a:cxnLst/>
              <a:rect l="l" t="t" r="r" b="b"/>
              <a:pathLst>
                <a:path w="2496" h="2134" extrusionOk="0">
                  <a:moveTo>
                    <a:pt x="1073" y="1"/>
                  </a:moveTo>
                  <a:cubicBezTo>
                    <a:pt x="480" y="1"/>
                    <a:pt x="0"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3" name="Google Shape;3663;p66"/>
            <p:cNvSpPr/>
            <p:nvPr/>
          </p:nvSpPr>
          <p:spPr>
            <a:xfrm>
              <a:off x="5113350" y="3018650"/>
              <a:ext cx="62400" cy="53425"/>
            </a:xfrm>
            <a:custGeom>
              <a:avLst/>
              <a:gdLst/>
              <a:ahLst/>
              <a:cxnLst/>
              <a:rect l="l" t="t" r="r" b="b"/>
              <a:pathLst>
                <a:path w="2496" h="2137" extrusionOk="0">
                  <a:moveTo>
                    <a:pt x="1073" y="0"/>
                  </a:moveTo>
                  <a:cubicBezTo>
                    <a:pt x="480" y="0"/>
                    <a:pt x="0" y="480"/>
                    <a:pt x="0" y="1065"/>
                  </a:cubicBezTo>
                  <a:cubicBezTo>
                    <a:pt x="0" y="1709"/>
                    <a:pt x="529" y="2137"/>
                    <a:pt x="1078" y="2137"/>
                  </a:cubicBezTo>
                  <a:cubicBezTo>
                    <a:pt x="1339" y="2137"/>
                    <a:pt x="1606" y="2039"/>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4" name="Google Shape;3664;p66"/>
            <p:cNvSpPr/>
            <p:nvPr/>
          </p:nvSpPr>
          <p:spPr>
            <a:xfrm>
              <a:off x="5113350" y="2942425"/>
              <a:ext cx="62400" cy="53450"/>
            </a:xfrm>
            <a:custGeom>
              <a:avLst/>
              <a:gdLst/>
              <a:ahLst/>
              <a:cxnLst/>
              <a:rect l="l" t="t" r="r" b="b"/>
              <a:pathLst>
                <a:path w="2496" h="2138" extrusionOk="0">
                  <a:moveTo>
                    <a:pt x="1073" y="1"/>
                  </a:moveTo>
                  <a:cubicBezTo>
                    <a:pt x="480" y="1"/>
                    <a:pt x="8" y="480"/>
                    <a:pt x="0" y="1066"/>
                  </a:cubicBezTo>
                  <a:cubicBezTo>
                    <a:pt x="0" y="1709"/>
                    <a:pt x="525" y="2137"/>
                    <a:pt x="1074" y="2137"/>
                  </a:cubicBezTo>
                  <a:cubicBezTo>
                    <a:pt x="1336" y="2137"/>
                    <a:pt x="1603" y="2040"/>
                    <a:pt x="1821" y="1822"/>
                  </a:cubicBezTo>
                  <a:cubicBezTo>
                    <a:pt x="2496" y="1155"/>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5" name="Google Shape;3665;p66"/>
            <p:cNvSpPr/>
            <p:nvPr/>
          </p:nvSpPr>
          <p:spPr>
            <a:xfrm>
              <a:off x="5113350" y="2866425"/>
              <a:ext cx="62400" cy="53275"/>
            </a:xfrm>
            <a:custGeom>
              <a:avLst/>
              <a:gdLst/>
              <a:ahLst/>
              <a:cxnLst/>
              <a:rect l="l" t="t" r="r" b="b"/>
              <a:pathLst>
                <a:path w="2496" h="2131" extrusionOk="0">
                  <a:moveTo>
                    <a:pt x="1073" y="0"/>
                  </a:moveTo>
                  <a:cubicBezTo>
                    <a:pt x="480" y="0"/>
                    <a:pt x="0" y="472"/>
                    <a:pt x="0" y="1065"/>
                  </a:cubicBezTo>
                  <a:cubicBezTo>
                    <a:pt x="0" y="1707"/>
                    <a:pt x="526" y="2131"/>
                    <a:pt x="1073" y="2131"/>
                  </a:cubicBezTo>
                  <a:cubicBezTo>
                    <a:pt x="1336" y="2131"/>
                    <a:pt x="1604" y="2032"/>
                    <a:pt x="1821" y="1813"/>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6" name="Google Shape;3666;p66"/>
            <p:cNvSpPr/>
            <p:nvPr/>
          </p:nvSpPr>
          <p:spPr>
            <a:xfrm>
              <a:off x="5113350" y="2790200"/>
              <a:ext cx="62400" cy="53350"/>
            </a:xfrm>
            <a:custGeom>
              <a:avLst/>
              <a:gdLst/>
              <a:ahLst/>
              <a:cxnLst/>
              <a:rect l="l" t="t" r="r" b="b"/>
              <a:pathLst>
                <a:path w="2496" h="2134" extrusionOk="0">
                  <a:moveTo>
                    <a:pt x="1073" y="1"/>
                  </a:moveTo>
                  <a:cubicBezTo>
                    <a:pt x="480" y="1"/>
                    <a:pt x="8" y="480"/>
                    <a:pt x="0" y="1066"/>
                  </a:cubicBezTo>
                  <a:cubicBezTo>
                    <a:pt x="0" y="1709"/>
                    <a:pt x="525" y="2134"/>
                    <a:pt x="1074" y="2134"/>
                  </a:cubicBezTo>
                  <a:cubicBezTo>
                    <a:pt x="1336" y="2134"/>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7" name="Google Shape;3667;p66"/>
            <p:cNvSpPr/>
            <p:nvPr/>
          </p:nvSpPr>
          <p:spPr>
            <a:xfrm>
              <a:off x="5113350" y="2714000"/>
              <a:ext cx="62400" cy="53350"/>
            </a:xfrm>
            <a:custGeom>
              <a:avLst/>
              <a:gdLst/>
              <a:ahLst/>
              <a:cxnLst/>
              <a:rect l="l" t="t" r="r" b="b"/>
              <a:pathLst>
                <a:path w="2496" h="2134" extrusionOk="0">
                  <a:moveTo>
                    <a:pt x="1073" y="0"/>
                  </a:moveTo>
                  <a:cubicBezTo>
                    <a:pt x="480" y="0"/>
                    <a:pt x="0" y="480"/>
                    <a:pt x="0" y="1065"/>
                  </a:cubicBezTo>
                  <a:cubicBezTo>
                    <a:pt x="0" y="1709"/>
                    <a:pt x="525" y="2133"/>
                    <a:pt x="1074" y="2133"/>
                  </a:cubicBezTo>
                  <a:cubicBezTo>
                    <a:pt x="1336" y="2133"/>
                    <a:pt x="1603" y="2036"/>
                    <a:pt x="1821" y="1821"/>
                  </a:cubicBezTo>
                  <a:cubicBezTo>
                    <a:pt x="2496" y="1146"/>
                    <a:pt x="2016" y="0"/>
                    <a:pt x="1073"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8" name="Google Shape;3668;p66"/>
            <p:cNvSpPr/>
            <p:nvPr/>
          </p:nvSpPr>
          <p:spPr>
            <a:xfrm>
              <a:off x="5113350" y="1418975"/>
              <a:ext cx="62400" cy="53350"/>
            </a:xfrm>
            <a:custGeom>
              <a:avLst/>
              <a:gdLst/>
              <a:ahLst/>
              <a:cxnLst/>
              <a:rect l="l" t="t" r="r" b="b"/>
              <a:pathLst>
                <a:path w="2496" h="2134" extrusionOk="0">
                  <a:moveTo>
                    <a:pt x="1073" y="1"/>
                  </a:moveTo>
                  <a:cubicBezTo>
                    <a:pt x="480" y="1"/>
                    <a:pt x="8" y="480"/>
                    <a:pt x="0" y="1065"/>
                  </a:cubicBezTo>
                  <a:cubicBezTo>
                    <a:pt x="0" y="1709"/>
                    <a:pt x="525" y="2133"/>
                    <a:pt x="1074" y="2133"/>
                  </a:cubicBezTo>
                  <a:cubicBezTo>
                    <a:pt x="1336" y="2133"/>
                    <a:pt x="1603" y="2037"/>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69" name="Google Shape;3669;p66"/>
            <p:cNvSpPr/>
            <p:nvPr/>
          </p:nvSpPr>
          <p:spPr>
            <a:xfrm>
              <a:off x="5113350" y="1342750"/>
              <a:ext cx="62400" cy="53450"/>
            </a:xfrm>
            <a:custGeom>
              <a:avLst/>
              <a:gdLst/>
              <a:ahLst/>
              <a:cxnLst/>
              <a:rect l="l" t="t" r="r" b="b"/>
              <a:pathLst>
                <a:path w="2496" h="2138" extrusionOk="0">
                  <a:moveTo>
                    <a:pt x="1073" y="1"/>
                  </a:moveTo>
                  <a:cubicBezTo>
                    <a:pt x="480" y="1"/>
                    <a:pt x="8" y="481"/>
                    <a:pt x="0" y="1066"/>
                  </a:cubicBezTo>
                  <a:cubicBezTo>
                    <a:pt x="0" y="1710"/>
                    <a:pt x="525" y="2138"/>
                    <a:pt x="1074" y="2138"/>
                  </a:cubicBezTo>
                  <a:cubicBezTo>
                    <a:pt x="1336" y="2138"/>
                    <a:pt x="1603" y="2040"/>
                    <a:pt x="1821" y="1822"/>
                  </a:cubicBezTo>
                  <a:cubicBezTo>
                    <a:pt x="2496" y="1147"/>
                    <a:pt x="2016" y="1"/>
                    <a:pt x="1073"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0" name="Google Shape;3670;p66"/>
            <p:cNvSpPr/>
            <p:nvPr/>
          </p:nvSpPr>
          <p:spPr>
            <a:xfrm>
              <a:off x="5037325" y="3018650"/>
              <a:ext cx="62225" cy="53425"/>
            </a:xfrm>
            <a:custGeom>
              <a:avLst/>
              <a:gdLst/>
              <a:ahLst/>
              <a:cxnLst/>
              <a:rect l="l" t="t" r="r" b="b"/>
              <a:pathLst>
                <a:path w="2489" h="2137" extrusionOk="0">
                  <a:moveTo>
                    <a:pt x="1066" y="0"/>
                  </a:moveTo>
                  <a:cubicBezTo>
                    <a:pt x="472" y="0"/>
                    <a:pt x="1" y="480"/>
                    <a:pt x="1" y="1065"/>
                  </a:cubicBezTo>
                  <a:cubicBezTo>
                    <a:pt x="1" y="1709"/>
                    <a:pt x="526" y="2137"/>
                    <a:pt x="1072" y="2137"/>
                  </a:cubicBezTo>
                  <a:cubicBezTo>
                    <a:pt x="1333" y="2137"/>
                    <a:pt x="1598" y="2039"/>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1" name="Google Shape;3671;p66"/>
            <p:cNvSpPr/>
            <p:nvPr/>
          </p:nvSpPr>
          <p:spPr>
            <a:xfrm>
              <a:off x="5037325" y="2942425"/>
              <a:ext cx="62225" cy="53450"/>
            </a:xfrm>
            <a:custGeom>
              <a:avLst/>
              <a:gdLst/>
              <a:ahLst/>
              <a:cxnLst/>
              <a:rect l="l" t="t" r="r" b="b"/>
              <a:pathLst>
                <a:path w="2489" h="2138" extrusionOk="0">
                  <a:moveTo>
                    <a:pt x="1066" y="1"/>
                  </a:moveTo>
                  <a:cubicBezTo>
                    <a:pt x="472" y="9"/>
                    <a:pt x="1" y="480"/>
                    <a:pt x="1" y="1066"/>
                  </a:cubicBezTo>
                  <a:cubicBezTo>
                    <a:pt x="1" y="1709"/>
                    <a:pt x="526" y="2137"/>
                    <a:pt x="1072" y="2137"/>
                  </a:cubicBezTo>
                  <a:cubicBezTo>
                    <a:pt x="1333"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2" name="Google Shape;3672;p66"/>
            <p:cNvSpPr/>
            <p:nvPr/>
          </p:nvSpPr>
          <p:spPr>
            <a:xfrm>
              <a:off x="5037325" y="2866425"/>
              <a:ext cx="62225" cy="53275"/>
            </a:xfrm>
            <a:custGeom>
              <a:avLst/>
              <a:gdLst/>
              <a:ahLst/>
              <a:cxnLst/>
              <a:rect l="l" t="t" r="r" b="b"/>
              <a:pathLst>
                <a:path w="2489" h="2131" extrusionOk="0">
                  <a:moveTo>
                    <a:pt x="1066" y="0"/>
                  </a:moveTo>
                  <a:cubicBezTo>
                    <a:pt x="472" y="0"/>
                    <a:pt x="1" y="472"/>
                    <a:pt x="1" y="1065"/>
                  </a:cubicBezTo>
                  <a:cubicBezTo>
                    <a:pt x="1" y="1707"/>
                    <a:pt x="523" y="2131"/>
                    <a:pt x="1067" y="2131"/>
                  </a:cubicBezTo>
                  <a:cubicBezTo>
                    <a:pt x="1330" y="2131"/>
                    <a:pt x="1597" y="2032"/>
                    <a:pt x="1814" y="1813"/>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3" name="Google Shape;3673;p66"/>
            <p:cNvSpPr/>
            <p:nvPr/>
          </p:nvSpPr>
          <p:spPr>
            <a:xfrm>
              <a:off x="5037325" y="2790200"/>
              <a:ext cx="62225" cy="53350"/>
            </a:xfrm>
            <a:custGeom>
              <a:avLst/>
              <a:gdLst/>
              <a:ahLst/>
              <a:cxnLst/>
              <a:rect l="l" t="t" r="r" b="b"/>
              <a:pathLst>
                <a:path w="2489" h="2134" extrusionOk="0">
                  <a:moveTo>
                    <a:pt x="1066" y="1"/>
                  </a:moveTo>
                  <a:cubicBezTo>
                    <a:pt x="472" y="1"/>
                    <a:pt x="1" y="480"/>
                    <a:pt x="1" y="1066"/>
                  </a:cubicBezTo>
                  <a:cubicBezTo>
                    <a:pt x="1" y="1709"/>
                    <a:pt x="526" y="2134"/>
                    <a:pt x="1072" y="2134"/>
                  </a:cubicBezTo>
                  <a:cubicBezTo>
                    <a:pt x="1333" y="2134"/>
                    <a:pt x="1598" y="2037"/>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4" name="Google Shape;3674;p66"/>
            <p:cNvSpPr/>
            <p:nvPr/>
          </p:nvSpPr>
          <p:spPr>
            <a:xfrm>
              <a:off x="5037325" y="271400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5" name="Google Shape;3675;p66"/>
            <p:cNvSpPr/>
            <p:nvPr/>
          </p:nvSpPr>
          <p:spPr>
            <a:xfrm>
              <a:off x="5037325" y="2637775"/>
              <a:ext cx="62225" cy="53450"/>
            </a:xfrm>
            <a:custGeom>
              <a:avLst/>
              <a:gdLst/>
              <a:ahLst/>
              <a:cxnLst/>
              <a:rect l="l" t="t" r="r" b="b"/>
              <a:pathLst>
                <a:path w="2489" h="2138" extrusionOk="0">
                  <a:moveTo>
                    <a:pt x="1066" y="1"/>
                  </a:moveTo>
                  <a:cubicBezTo>
                    <a:pt x="472" y="9"/>
                    <a:pt x="1" y="480"/>
                    <a:pt x="1" y="1074"/>
                  </a:cubicBezTo>
                  <a:cubicBezTo>
                    <a:pt x="1" y="1712"/>
                    <a:pt x="525" y="2137"/>
                    <a:pt x="1071" y="2137"/>
                  </a:cubicBezTo>
                  <a:cubicBezTo>
                    <a:pt x="1332" y="2137"/>
                    <a:pt x="1598" y="2040"/>
                    <a:pt x="1814" y="1822"/>
                  </a:cubicBezTo>
                  <a:cubicBezTo>
                    <a:pt x="2488" y="1147"/>
                    <a:pt x="2009"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6" name="Google Shape;3676;p66"/>
            <p:cNvSpPr/>
            <p:nvPr/>
          </p:nvSpPr>
          <p:spPr>
            <a:xfrm>
              <a:off x="5037325" y="1495200"/>
              <a:ext cx="62225" cy="53325"/>
            </a:xfrm>
            <a:custGeom>
              <a:avLst/>
              <a:gdLst/>
              <a:ahLst/>
              <a:cxnLst/>
              <a:rect l="l" t="t" r="r" b="b"/>
              <a:pathLst>
                <a:path w="2489" h="2133" extrusionOk="0">
                  <a:moveTo>
                    <a:pt x="1066" y="0"/>
                  </a:moveTo>
                  <a:cubicBezTo>
                    <a:pt x="472" y="0"/>
                    <a:pt x="1" y="480"/>
                    <a:pt x="1" y="1065"/>
                  </a:cubicBezTo>
                  <a:cubicBezTo>
                    <a:pt x="1" y="1709"/>
                    <a:pt x="526" y="2133"/>
                    <a:pt x="1072" y="2133"/>
                  </a:cubicBezTo>
                  <a:cubicBezTo>
                    <a:pt x="1333" y="2133"/>
                    <a:pt x="1598" y="2036"/>
                    <a:pt x="1814" y="1821"/>
                  </a:cubicBezTo>
                  <a:cubicBezTo>
                    <a:pt x="2488" y="1146"/>
                    <a:pt x="2009"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7" name="Google Shape;3677;p66"/>
            <p:cNvSpPr/>
            <p:nvPr/>
          </p:nvSpPr>
          <p:spPr>
            <a:xfrm>
              <a:off x="4961125" y="2714000"/>
              <a:ext cx="62200" cy="53350"/>
            </a:xfrm>
            <a:custGeom>
              <a:avLst/>
              <a:gdLst/>
              <a:ahLst/>
              <a:cxnLst/>
              <a:rect l="l" t="t" r="r" b="b"/>
              <a:pathLst>
                <a:path w="2488" h="2134"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8" name="Google Shape;3678;p66"/>
            <p:cNvSpPr/>
            <p:nvPr/>
          </p:nvSpPr>
          <p:spPr>
            <a:xfrm>
              <a:off x="4961125" y="2637775"/>
              <a:ext cx="62200" cy="53450"/>
            </a:xfrm>
            <a:custGeom>
              <a:avLst/>
              <a:gdLst/>
              <a:ahLst/>
              <a:cxnLst/>
              <a:rect l="l" t="t" r="r" b="b"/>
              <a:pathLst>
                <a:path w="2488" h="2138" extrusionOk="0">
                  <a:moveTo>
                    <a:pt x="1065" y="1"/>
                  </a:moveTo>
                  <a:cubicBezTo>
                    <a:pt x="480" y="9"/>
                    <a:pt x="0" y="480"/>
                    <a:pt x="0" y="1074"/>
                  </a:cubicBezTo>
                  <a:cubicBezTo>
                    <a:pt x="0" y="1712"/>
                    <a:pt x="525" y="2137"/>
                    <a:pt x="1073" y="2137"/>
                  </a:cubicBezTo>
                  <a:cubicBezTo>
                    <a:pt x="1335"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79" name="Google Shape;3679;p66"/>
            <p:cNvSpPr/>
            <p:nvPr/>
          </p:nvSpPr>
          <p:spPr>
            <a:xfrm>
              <a:off x="4961125"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0" name="Google Shape;3680;p66"/>
            <p:cNvSpPr/>
            <p:nvPr/>
          </p:nvSpPr>
          <p:spPr>
            <a:xfrm>
              <a:off x="4961125" y="141897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1" name="Google Shape;3681;p66"/>
            <p:cNvSpPr/>
            <p:nvPr/>
          </p:nvSpPr>
          <p:spPr>
            <a:xfrm>
              <a:off x="4961125" y="1342750"/>
              <a:ext cx="62200" cy="53450"/>
            </a:xfrm>
            <a:custGeom>
              <a:avLst/>
              <a:gdLst/>
              <a:ahLst/>
              <a:cxnLst/>
              <a:rect l="l" t="t" r="r" b="b"/>
              <a:pathLst>
                <a:path w="2488" h="2138" extrusionOk="0">
                  <a:moveTo>
                    <a:pt x="1065" y="1"/>
                  </a:moveTo>
                  <a:cubicBezTo>
                    <a:pt x="480" y="1"/>
                    <a:pt x="0" y="481"/>
                    <a:pt x="0" y="1066"/>
                  </a:cubicBezTo>
                  <a:cubicBezTo>
                    <a:pt x="0" y="1710"/>
                    <a:pt x="525" y="2138"/>
                    <a:pt x="1074" y="2138"/>
                  </a:cubicBezTo>
                  <a:cubicBezTo>
                    <a:pt x="1336" y="2138"/>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2" name="Google Shape;3682;p66"/>
            <p:cNvSpPr/>
            <p:nvPr/>
          </p:nvSpPr>
          <p:spPr>
            <a:xfrm>
              <a:off x="4961125" y="1266550"/>
              <a:ext cx="62200" cy="53450"/>
            </a:xfrm>
            <a:custGeom>
              <a:avLst/>
              <a:gdLst/>
              <a:ahLst/>
              <a:cxnLst/>
              <a:rect l="l" t="t" r="r" b="b"/>
              <a:pathLst>
                <a:path w="2488" h="2138" extrusionOk="0">
                  <a:moveTo>
                    <a:pt x="1065" y="0"/>
                  </a:moveTo>
                  <a:cubicBezTo>
                    <a:pt x="480" y="9"/>
                    <a:pt x="0" y="480"/>
                    <a:pt x="0" y="1074"/>
                  </a:cubicBezTo>
                  <a:cubicBezTo>
                    <a:pt x="0" y="1711"/>
                    <a:pt x="525" y="2137"/>
                    <a:pt x="1073" y="2137"/>
                  </a:cubicBezTo>
                  <a:cubicBezTo>
                    <a:pt x="1335" y="2137"/>
                    <a:pt x="1603" y="2040"/>
                    <a:pt x="1821"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3" name="Google Shape;3683;p66"/>
            <p:cNvSpPr/>
            <p:nvPr/>
          </p:nvSpPr>
          <p:spPr>
            <a:xfrm>
              <a:off x="4884900" y="2637775"/>
              <a:ext cx="62225" cy="53450"/>
            </a:xfrm>
            <a:custGeom>
              <a:avLst/>
              <a:gdLst/>
              <a:ahLst/>
              <a:cxnLst/>
              <a:rect l="l" t="t" r="r" b="b"/>
              <a:pathLst>
                <a:path w="2489" h="2138" extrusionOk="0">
                  <a:moveTo>
                    <a:pt x="1066" y="1"/>
                  </a:moveTo>
                  <a:cubicBezTo>
                    <a:pt x="480" y="1"/>
                    <a:pt x="1" y="480"/>
                    <a:pt x="1" y="1074"/>
                  </a:cubicBezTo>
                  <a:cubicBezTo>
                    <a:pt x="1" y="1712"/>
                    <a:pt x="525" y="2137"/>
                    <a:pt x="1073" y="2137"/>
                  </a:cubicBezTo>
                  <a:cubicBezTo>
                    <a:pt x="1336" y="2137"/>
                    <a:pt x="1603" y="2040"/>
                    <a:pt x="1822" y="1822"/>
                  </a:cubicBezTo>
                  <a:cubicBezTo>
                    <a:pt x="2488" y="1155"/>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4" name="Google Shape;3684;p66"/>
            <p:cNvSpPr/>
            <p:nvPr/>
          </p:nvSpPr>
          <p:spPr>
            <a:xfrm>
              <a:off x="4884900" y="1418975"/>
              <a:ext cx="62225" cy="53350"/>
            </a:xfrm>
            <a:custGeom>
              <a:avLst/>
              <a:gdLst/>
              <a:ahLst/>
              <a:cxnLst/>
              <a:rect l="l" t="t" r="r" b="b"/>
              <a:pathLst>
                <a:path w="2489" h="2134" extrusionOk="0">
                  <a:moveTo>
                    <a:pt x="1066" y="1"/>
                  </a:moveTo>
                  <a:cubicBezTo>
                    <a:pt x="480" y="1"/>
                    <a:pt x="1" y="480"/>
                    <a:pt x="1" y="1065"/>
                  </a:cubicBezTo>
                  <a:cubicBezTo>
                    <a:pt x="1" y="1709"/>
                    <a:pt x="526" y="2133"/>
                    <a:pt x="1075" y="2133"/>
                  </a:cubicBezTo>
                  <a:cubicBezTo>
                    <a:pt x="1336" y="2133"/>
                    <a:pt x="1604" y="2037"/>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5" name="Google Shape;3685;p66"/>
            <p:cNvSpPr/>
            <p:nvPr/>
          </p:nvSpPr>
          <p:spPr>
            <a:xfrm>
              <a:off x="488490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6" name="Google Shape;3686;p66"/>
            <p:cNvSpPr/>
            <p:nvPr/>
          </p:nvSpPr>
          <p:spPr>
            <a:xfrm>
              <a:off x="4884900" y="119055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7" name="Google Shape;3687;p66"/>
            <p:cNvSpPr/>
            <p:nvPr/>
          </p:nvSpPr>
          <p:spPr>
            <a:xfrm>
              <a:off x="4808700" y="2637775"/>
              <a:ext cx="62400" cy="53450"/>
            </a:xfrm>
            <a:custGeom>
              <a:avLst/>
              <a:gdLst/>
              <a:ahLst/>
              <a:cxnLst/>
              <a:rect l="l" t="t" r="r" b="b"/>
              <a:pathLst>
                <a:path w="2496" h="2138" extrusionOk="0">
                  <a:moveTo>
                    <a:pt x="1065" y="1"/>
                  </a:moveTo>
                  <a:cubicBezTo>
                    <a:pt x="480" y="9"/>
                    <a:pt x="0" y="480"/>
                    <a:pt x="0" y="1074"/>
                  </a:cubicBezTo>
                  <a:cubicBezTo>
                    <a:pt x="0" y="1712"/>
                    <a:pt x="525" y="2137"/>
                    <a:pt x="1073" y="2137"/>
                  </a:cubicBezTo>
                  <a:cubicBezTo>
                    <a:pt x="1335" y="2137"/>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8" name="Google Shape;3688;p66"/>
            <p:cNvSpPr/>
            <p:nvPr/>
          </p:nvSpPr>
          <p:spPr>
            <a:xfrm>
              <a:off x="4808700" y="2561575"/>
              <a:ext cx="62400" cy="53425"/>
            </a:xfrm>
            <a:custGeom>
              <a:avLst/>
              <a:gdLst/>
              <a:ahLst/>
              <a:cxnLst/>
              <a:rect l="l" t="t" r="r" b="b"/>
              <a:pathLst>
                <a:path w="2496" h="2137" extrusionOk="0">
                  <a:moveTo>
                    <a:pt x="1065" y="0"/>
                  </a:moveTo>
                  <a:cubicBezTo>
                    <a:pt x="480" y="8"/>
                    <a:pt x="0" y="480"/>
                    <a:pt x="0" y="1073"/>
                  </a:cubicBezTo>
                  <a:cubicBezTo>
                    <a:pt x="0" y="1711"/>
                    <a:pt x="525" y="2137"/>
                    <a:pt x="1073" y="2137"/>
                  </a:cubicBezTo>
                  <a:cubicBezTo>
                    <a:pt x="1335" y="2137"/>
                    <a:pt x="1603" y="2039"/>
                    <a:pt x="1821" y="1821"/>
                  </a:cubicBezTo>
                  <a:cubicBezTo>
                    <a:pt x="2496"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89" name="Google Shape;3689;p66"/>
            <p:cNvSpPr/>
            <p:nvPr/>
          </p:nvSpPr>
          <p:spPr>
            <a:xfrm>
              <a:off x="4808700" y="1418975"/>
              <a:ext cx="62400" cy="53350"/>
            </a:xfrm>
            <a:custGeom>
              <a:avLst/>
              <a:gdLst/>
              <a:ahLst/>
              <a:cxnLst/>
              <a:rect l="l" t="t" r="r" b="b"/>
              <a:pathLst>
                <a:path w="2496" h="2134" extrusionOk="0">
                  <a:moveTo>
                    <a:pt x="1065" y="1"/>
                  </a:moveTo>
                  <a:cubicBezTo>
                    <a:pt x="480" y="1"/>
                    <a:pt x="0" y="480"/>
                    <a:pt x="0" y="1065"/>
                  </a:cubicBezTo>
                  <a:cubicBezTo>
                    <a:pt x="0" y="1709"/>
                    <a:pt x="525" y="2133"/>
                    <a:pt x="1074" y="2133"/>
                  </a:cubicBezTo>
                  <a:cubicBezTo>
                    <a:pt x="1336" y="2133"/>
                    <a:pt x="1603" y="2037"/>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0" name="Google Shape;3690;p66"/>
            <p:cNvSpPr/>
            <p:nvPr/>
          </p:nvSpPr>
          <p:spPr>
            <a:xfrm>
              <a:off x="4808700" y="1342750"/>
              <a:ext cx="62400" cy="53450"/>
            </a:xfrm>
            <a:custGeom>
              <a:avLst/>
              <a:gdLst/>
              <a:ahLst/>
              <a:cxnLst/>
              <a:rect l="l" t="t" r="r" b="b"/>
              <a:pathLst>
                <a:path w="2496" h="2138" extrusionOk="0">
                  <a:moveTo>
                    <a:pt x="1065" y="1"/>
                  </a:moveTo>
                  <a:cubicBezTo>
                    <a:pt x="480" y="1"/>
                    <a:pt x="0" y="481"/>
                    <a:pt x="0" y="1066"/>
                  </a:cubicBezTo>
                  <a:cubicBezTo>
                    <a:pt x="0" y="1710"/>
                    <a:pt x="525" y="2138"/>
                    <a:pt x="1074" y="2138"/>
                  </a:cubicBezTo>
                  <a:cubicBezTo>
                    <a:pt x="1336" y="2138"/>
                    <a:pt x="1603" y="2040"/>
                    <a:pt x="1821" y="1822"/>
                  </a:cubicBezTo>
                  <a:cubicBezTo>
                    <a:pt x="2496"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1" name="Google Shape;3691;p66"/>
            <p:cNvSpPr/>
            <p:nvPr/>
          </p:nvSpPr>
          <p:spPr>
            <a:xfrm>
              <a:off x="4808700" y="1190550"/>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2" name="Google Shape;3692;p66"/>
            <p:cNvSpPr/>
            <p:nvPr/>
          </p:nvSpPr>
          <p:spPr>
            <a:xfrm>
              <a:off x="4808700" y="1038125"/>
              <a:ext cx="62400" cy="53325"/>
            </a:xfrm>
            <a:custGeom>
              <a:avLst/>
              <a:gdLst/>
              <a:ahLst/>
              <a:cxnLst/>
              <a:rect l="l" t="t" r="r" b="b"/>
              <a:pathLst>
                <a:path w="2496" h="2133" extrusionOk="0">
                  <a:moveTo>
                    <a:pt x="1065" y="0"/>
                  </a:moveTo>
                  <a:cubicBezTo>
                    <a:pt x="480" y="0"/>
                    <a:pt x="0" y="480"/>
                    <a:pt x="0" y="1065"/>
                  </a:cubicBezTo>
                  <a:cubicBezTo>
                    <a:pt x="0" y="1709"/>
                    <a:pt x="525" y="2133"/>
                    <a:pt x="1074" y="2133"/>
                  </a:cubicBezTo>
                  <a:cubicBezTo>
                    <a:pt x="1336" y="2133"/>
                    <a:pt x="1603" y="2036"/>
                    <a:pt x="1821" y="1821"/>
                  </a:cubicBezTo>
                  <a:cubicBezTo>
                    <a:pt x="2496"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3" name="Google Shape;3693;p66"/>
            <p:cNvSpPr/>
            <p:nvPr/>
          </p:nvSpPr>
          <p:spPr>
            <a:xfrm>
              <a:off x="4732475" y="2790200"/>
              <a:ext cx="62425" cy="53350"/>
            </a:xfrm>
            <a:custGeom>
              <a:avLst/>
              <a:gdLst/>
              <a:ahLst/>
              <a:cxnLst/>
              <a:rect l="l" t="t" r="r" b="b"/>
              <a:pathLst>
                <a:path w="2497" h="2134" extrusionOk="0">
                  <a:moveTo>
                    <a:pt x="1074" y="1"/>
                  </a:moveTo>
                  <a:cubicBezTo>
                    <a:pt x="480" y="1"/>
                    <a:pt x="9" y="480"/>
                    <a:pt x="1" y="1066"/>
                  </a:cubicBezTo>
                  <a:cubicBezTo>
                    <a:pt x="1" y="1709"/>
                    <a:pt x="526" y="2134"/>
                    <a:pt x="1075" y="2134"/>
                  </a:cubicBezTo>
                  <a:cubicBezTo>
                    <a:pt x="1336" y="2134"/>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4" name="Google Shape;3694;p66"/>
            <p:cNvSpPr/>
            <p:nvPr/>
          </p:nvSpPr>
          <p:spPr>
            <a:xfrm>
              <a:off x="4732475" y="2714000"/>
              <a:ext cx="62425" cy="53350"/>
            </a:xfrm>
            <a:custGeom>
              <a:avLst/>
              <a:gdLst/>
              <a:ahLst/>
              <a:cxnLst/>
              <a:rect l="l" t="t" r="r" b="b"/>
              <a:pathLst>
                <a:path w="2497" h="2134" extrusionOk="0">
                  <a:moveTo>
                    <a:pt x="1074" y="0"/>
                  </a:moveTo>
                  <a:cubicBezTo>
                    <a:pt x="480" y="0"/>
                    <a:pt x="1"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5" name="Google Shape;3695;p66"/>
            <p:cNvSpPr/>
            <p:nvPr/>
          </p:nvSpPr>
          <p:spPr>
            <a:xfrm>
              <a:off x="4732475" y="2561575"/>
              <a:ext cx="62425" cy="53425"/>
            </a:xfrm>
            <a:custGeom>
              <a:avLst/>
              <a:gdLst/>
              <a:ahLst/>
              <a:cxnLst/>
              <a:rect l="l" t="t" r="r" b="b"/>
              <a:pathLst>
                <a:path w="2497" h="2137" extrusionOk="0">
                  <a:moveTo>
                    <a:pt x="1074" y="0"/>
                  </a:moveTo>
                  <a:cubicBezTo>
                    <a:pt x="480" y="8"/>
                    <a:pt x="9" y="480"/>
                    <a:pt x="1" y="1073"/>
                  </a:cubicBezTo>
                  <a:cubicBezTo>
                    <a:pt x="1" y="1711"/>
                    <a:pt x="525" y="2137"/>
                    <a:pt x="1073" y="2137"/>
                  </a:cubicBezTo>
                  <a:cubicBezTo>
                    <a:pt x="1335" y="2137"/>
                    <a:pt x="1603" y="2039"/>
                    <a:pt x="1822" y="1821"/>
                  </a:cubicBezTo>
                  <a:cubicBezTo>
                    <a:pt x="2496"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6" name="Google Shape;3696;p66"/>
            <p:cNvSpPr/>
            <p:nvPr/>
          </p:nvSpPr>
          <p:spPr>
            <a:xfrm>
              <a:off x="4732475" y="1418975"/>
              <a:ext cx="62425" cy="53350"/>
            </a:xfrm>
            <a:custGeom>
              <a:avLst/>
              <a:gdLst/>
              <a:ahLst/>
              <a:cxnLst/>
              <a:rect l="l" t="t" r="r" b="b"/>
              <a:pathLst>
                <a:path w="2497" h="2134" extrusionOk="0">
                  <a:moveTo>
                    <a:pt x="1074" y="1"/>
                  </a:moveTo>
                  <a:cubicBezTo>
                    <a:pt x="480" y="1"/>
                    <a:pt x="9" y="480"/>
                    <a:pt x="1" y="1065"/>
                  </a:cubicBezTo>
                  <a:cubicBezTo>
                    <a:pt x="1" y="1709"/>
                    <a:pt x="526" y="2133"/>
                    <a:pt x="1075" y="2133"/>
                  </a:cubicBezTo>
                  <a:cubicBezTo>
                    <a:pt x="1336" y="2133"/>
                    <a:pt x="1604" y="2037"/>
                    <a:pt x="1822" y="1822"/>
                  </a:cubicBezTo>
                  <a:cubicBezTo>
                    <a:pt x="2496"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7" name="Google Shape;3697;p66"/>
            <p:cNvSpPr/>
            <p:nvPr/>
          </p:nvSpPr>
          <p:spPr>
            <a:xfrm>
              <a:off x="4732475" y="1190550"/>
              <a:ext cx="62425" cy="53325"/>
            </a:xfrm>
            <a:custGeom>
              <a:avLst/>
              <a:gdLst/>
              <a:ahLst/>
              <a:cxnLst/>
              <a:rect l="l" t="t" r="r" b="b"/>
              <a:pathLst>
                <a:path w="2497" h="2133" extrusionOk="0">
                  <a:moveTo>
                    <a:pt x="1074" y="0"/>
                  </a:moveTo>
                  <a:cubicBezTo>
                    <a:pt x="480" y="0"/>
                    <a:pt x="9" y="480"/>
                    <a:pt x="1" y="1065"/>
                  </a:cubicBezTo>
                  <a:cubicBezTo>
                    <a:pt x="1" y="1709"/>
                    <a:pt x="526" y="2133"/>
                    <a:pt x="1075" y="2133"/>
                  </a:cubicBezTo>
                  <a:cubicBezTo>
                    <a:pt x="1336" y="2133"/>
                    <a:pt x="1604" y="2036"/>
                    <a:pt x="1822" y="1821"/>
                  </a:cubicBezTo>
                  <a:cubicBezTo>
                    <a:pt x="2496"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8" name="Google Shape;3698;p66"/>
            <p:cNvSpPr/>
            <p:nvPr/>
          </p:nvSpPr>
          <p:spPr>
            <a:xfrm>
              <a:off x="4656475" y="2866425"/>
              <a:ext cx="62200" cy="53275"/>
            </a:xfrm>
            <a:custGeom>
              <a:avLst/>
              <a:gdLst/>
              <a:ahLst/>
              <a:cxnLst/>
              <a:rect l="l" t="t" r="r" b="b"/>
              <a:pathLst>
                <a:path w="2488" h="2131" extrusionOk="0">
                  <a:moveTo>
                    <a:pt x="1065" y="0"/>
                  </a:moveTo>
                  <a:cubicBezTo>
                    <a:pt x="472" y="0"/>
                    <a:pt x="0" y="472"/>
                    <a:pt x="0" y="1065"/>
                  </a:cubicBezTo>
                  <a:cubicBezTo>
                    <a:pt x="0" y="1707"/>
                    <a:pt x="522" y="2131"/>
                    <a:pt x="1069" y="2131"/>
                  </a:cubicBezTo>
                  <a:cubicBezTo>
                    <a:pt x="1333" y="2131"/>
                    <a:pt x="1602" y="2032"/>
                    <a:pt x="1821" y="1813"/>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699" name="Google Shape;3699;p66"/>
            <p:cNvSpPr/>
            <p:nvPr/>
          </p:nvSpPr>
          <p:spPr>
            <a:xfrm>
              <a:off x="4656475" y="2790200"/>
              <a:ext cx="62200" cy="53350"/>
            </a:xfrm>
            <a:custGeom>
              <a:avLst/>
              <a:gdLst/>
              <a:ahLst/>
              <a:cxnLst/>
              <a:rect l="l" t="t" r="r" b="b"/>
              <a:pathLst>
                <a:path w="2488" h="2134" extrusionOk="0">
                  <a:moveTo>
                    <a:pt x="1065" y="1"/>
                  </a:moveTo>
                  <a:cubicBezTo>
                    <a:pt x="472" y="1"/>
                    <a:pt x="0" y="480"/>
                    <a:pt x="0" y="1066"/>
                  </a:cubicBezTo>
                  <a:cubicBezTo>
                    <a:pt x="0" y="1709"/>
                    <a:pt x="525" y="2134"/>
                    <a:pt x="1072" y="2134"/>
                  </a:cubicBezTo>
                  <a:cubicBezTo>
                    <a:pt x="1332" y="2134"/>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0" name="Google Shape;3700;p66"/>
            <p:cNvSpPr/>
            <p:nvPr/>
          </p:nvSpPr>
          <p:spPr>
            <a:xfrm>
              <a:off x="4656475" y="2714000"/>
              <a:ext cx="62200" cy="53350"/>
            </a:xfrm>
            <a:custGeom>
              <a:avLst/>
              <a:gdLst/>
              <a:ahLst/>
              <a:cxnLst/>
              <a:rect l="l" t="t" r="r" b="b"/>
              <a:pathLst>
                <a:path w="2488" h="2134"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1" name="Google Shape;3701;p66"/>
            <p:cNvSpPr/>
            <p:nvPr/>
          </p:nvSpPr>
          <p:spPr>
            <a:xfrm>
              <a:off x="4656475" y="2485550"/>
              <a:ext cx="62200" cy="53300"/>
            </a:xfrm>
            <a:custGeom>
              <a:avLst/>
              <a:gdLst/>
              <a:ahLst/>
              <a:cxnLst/>
              <a:rect l="l" t="t" r="r" b="b"/>
              <a:pathLst>
                <a:path w="2488" h="2132" extrusionOk="0">
                  <a:moveTo>
                    <a:pt x="1065" y="1"/>
                  </a:moveTo>
                  <a:cubicBezTo>
                    <a:pt x="472" y="1"/>
                    <a:pt x="0" y="480"/>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2" name="Google Shape;3702;p66"/>
            <p:cNvSpPr/>
            <p:nvPr/>
          </p:nvSpPr>
          <p:spPr>
            <a:xfrm>
              <a:off x="4656475" y="1495200"/>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3" name="Google Shape;3703;p66"/>
            <p:cNvSpPr/>
            <p:nvPr/>
          </p:nvSpPr>
          <p:spPr>
            <a:xfrm>
              <a:off x="4656475" y="1418975"/>
              <a:ext cx="62200" cy="53350"/>
            </a:xfrm>
            <a:custGeom>
              <a:avLst/>
              <a:gdLst/>
              <a:ahLst/>
              <a:cxnLst/>
              <a:rect l="l" t="t" r="r" b="b"/>
              <a:pathLst>
                <a:path w="2488" h="2134" extrusionOk="0">
                  <a:moveTo>
                    <a:pt x="1065" y="1"/>
                  </a:moveTo>
                  <a:cubicBezTo>
                    <a:pt x="472" y="1"/>
                    <a:pt x="0" y="480"/>
                    <a:pt x="0" y="1065"/>
                  </a:cubicBezTo>
                  <a:cubicBezTo>
                    <a:pt x="0" y="1709"/>
                    <a:pt x="525" y="2133"/>
                    <a:pt x="1072" y="2133"/>
                  </a:cubicBezTo>
                  <a:cubicBezTo>
                    <a:pt x="1332" y="2133"/>
                    <a:pt x="1598" y="2037"/>
                    <a:pt x="1813"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4" name="Google Shape;3704;p66"/>
            <p:cNvSpPr/>
            <p:nvPr/>
          </p:nvSpPr>
          <p:spPr>
            <a:xfrm>
              <a:off x="4656475" y="1266550"/>
              <a:ext cx="62200" cy="53450"/>
            </a:xfrm>
            <a:custGeom>
              <a:avLst/>
              <a:gdLst/>
              <a:ahLst/>
              <a:cxnLst/>
              <a:rect l="l" t="t" r="r" b="b"/>
              <a:pathLst>
                <a:path w="2488" h="2138" extrusionOk="0">
                  <a:moveTo>
                    <a:pt x="1065" y="0"/>
                  </a:moveTo>
                  <a:cubicBezTo>
                    <a:pt x="472" y="9"/>
                    <a:pt x="0" y="480"/>
                    <a:pt x="0" y="1074"/>
                  </a:cubicBezTo>
                  <a:cubicBezTo>
                    <a:pt x="0" y="1711"/>
                    <a:pt x="525" y="2137"/>
                    <a:pt x="1070" y="2137"/>
                  </a:cubicBezTo>
                  <a:cubicBezTo>
                    <a:pt x="1331" y="2137"/>
                    <a:pt x="1597" y="2040"/>
                    <a:pt x="1813" y="1821"/>
                  </a:cubicBezTo>
                  <a:cubicBezTo>
                    <a:pt x="2488" y="1155"/>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5" name="Google Shape;3705;p66"/>
            <p:cNvSpPr/>
            <p:nvPr/>
          </p:nvSpPr>
          <p:spPr>
            <a:xfrm>
              <a:off x="4656475" y="1038125"/>
              <a:ext cx="62200" cy="53325"/>
            </a:xfrm>
            <a:custGeom>
              <a:avLst/>
              <a:gdLst/>
              <a:ahLst/>
              <a:cxnLst/>
              <a:rect l="l" t="t" r="r" b="b"/>
              <a:pathLst>
                <a:path w="2488" h="2133" extrusionOk="0">
                  <a:moveTo>
                    <a:pt x="1065" y="0"/>
                  </a:moveTo>
                  <a:cubicBezTo>
                    <a:pt x="472" y="0"/>
                    <a:pt x="0" y="480"/>
                    <a:pt x="0" y="1065"/>
                  </a:cubicBezTo>
                  <a:cubicBezTo>
                    <a:pt x="0" y="1709"/>
                    <a:pt x="525" y="2133"/>
                    <a:pt x="1072" y="2133"/>
                  </a:cubicBezTo>
                  <a:cubicBezTo>
                    <a:pt x="1332" y="2133"/>
                    <a:pt x="1598" y="2036"/>
                    <a:pt x="1813"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6" name="Google Shape;3706;p66"/>
            <p:cNvSpPr/>
            <p:nvPr/>
          </p:nvSpPr>
          <p:spPr>
            <a:xfrm>
              <a:off x="4580250" y="2942425"/>
              <a:ext cx="62225" cy="53450"/>
            </a:xfrm>
            <a:custGeom>
              <a:avLst/>
              <a:gdLst/>
              <a:ahLst/>
              <a:cxnLst/>
              <a:rect l="l" t="t" r="r" b="b"/>
              <a:pathLst>
                <a:path w="2489" h="2138" extrusionOk="0">
                  <a:moveTo>
                    <a:pt x="1066" y="1"/>
                  </a:moveTo>
                  <a:cubicBezTo>
                    <a:pt x="480" y="1"/>
                    <a:pt x="1" y="480"/>
                    <a:pt x="1" y="1066"/>
                  </a:cubicBezTo>
                  <a:cubicBezTo>
                    <a:pt x="1" y="1709"/>
                    <a:pt x="526" y="2137"/>
                    <a:pt x="1074" y="2137"/>
                  </a:cubicBezTo>
                  <a:cubicBezTo>
                    <a:pt x="1336" y="2137"/>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7" name="Google Shape;3707;p66"/>
            <p:cNvSpPr/>
            <p:nvPr/>
          </p:nvSpPr>
          <p:spPr>
            <a:xfrm>
              <a:off x="4580250" y="2866425"/>
              <a:ext cx="62225" cy="53275"/>
            </a:xfrm>
            <a:custGeom>
              <a:avLst/>
              <a:gdLst/>
              <a:ahLst/>
              <a:cxnLst/>
              <a:rect l="l" t="t" r="r" b="b"/>
              <a:pathLst>
                <a:path w="2489" h="2131" extrusionOk="0">
                  <a:moveTo>
                    <a:pt x="1066" y="0"/>
                  </a:moveTo>
                  <a:cubicBezTo>
                    <a:pt x="480" y="0"/>
                    <a:pt x="1" y="472"/>
                    <a:pt x="1" y="1065"/>
                  </a:cubicBezTo>
                  <a:cubicBezTo>
                    <a:pt x="1" y="1707"/>
                    <a:pt x="523" y="2131"/>
                    <a:pt x="1070" y="2131"/>
                  </a:cubicBezTo>
                  <a:cubicBezTo>
                    <a:pt x="1333" y="2131"/>
                    <a:pt x="1602" y="2032"/>
                    <a:pt x="1822" y="1813"/>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8" name="Google Shape;3708;p66"/>
            <p:cNvSpPr/>
            <p:nvPr/>
          </p:nvSpPr>
          <p:spPr>
            <a:xfrm>
              <a:off x="4580250" y="2714000"/>
              <a:ext cx="62225" cy="53350"/>
            </a:xfrm>
            <a:custGeom>
              <a:avLst/>
              <a:gdLst/>
              <a:ahLst/>
              <a:cxnLst/>
              <a:rect l="l" t="t" r="r" b="b"/>
              <a:pathLst>
                <a:path w="2489" h="2134"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09" name="Google Shape;3709;p66"/>
            <p:cNvSpPr/>
            <p:nvPr/>
          </p:nvSpPr>
          <p:spPr>
            <a:xfrm>
              <a:off x="4580250" y="2637775"/>
              <a:ext cx="62225" cy="53450"/>
            </a:xfrm>
            <a:custGeom>
              <a:avLst/>
              <a:gdLst/>
              <a:ahLst/>
              <a:cxnLst/>
              <a:rect l="l" t="t" r="r" b="b"/>
              <a:pathLst>
                <a:path w="2489" h="2138" extrusionOk="0">
                  <a:moveTo>
                    <a:pt x="1066" y="1"/>
                  </a:moveTo>
                  <a:cubicBezTo>
                    <a:pt x="480"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0" name="Google Shape;3710;p66"/>
            <p:cNvSpPr/>
            <p:nvPr/>
          </p:nvSpPr>
          <p:spPr>
            <a:xfrm>
              <a:off x="4580250" y="2485550"/>
              <a:ext cx="62225" cy="53300"/>
            </a:xfrm>
            <a:custGeom>
              <a:avLst/>
              <a:gdLst/>
              <a:ahLst/>
              <a:cxnLst/>
              <a:rect l="l" t="t" r="r" b="b"/>
              <a:pathLst>
                <a:path w="2489" h="2132" extrusionOk="0">
                  <a:moveTo>
                    <a:pt x="1066" y="1"/>
                  </a:moveTo>
                  <a:cubicBezTo>
                    <a:pt x="480" y="1"/>
                    <a:pt x="1" y="472"/>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1" name="Google Shape;3711;p66"/>
            <p:cNvSpPr/>
            <p:nvPr/>
          </p:nvSpPr>
          <p:spPr>
            <a:xfrm>
              <a:off x="4580250" y="1495200"/>
              <a:ext cx="62225" cy="53325"/>
            </a:xfrm>
            <a:custGeom>
              <a:avLst/>
              <a:gdLst/>
              <a:ahLst/>
              <a:cxnLst/>
              <a:rect l="l" t="t" r="r" b="b"/>
              <a:pathLst>
                <a:path w="2489" h="2133" extrusionOk="0">
                  <a:moveTo>
                    <a:pt x="1066" y="0"/>
                  </a:moveTo>
                  <a:cubicBezTo>
                    <a:pt x="480" y="0"/>
                    <a:pt x="1" y="480"/>
                    <a:pt x="1" y="1065"/>
                  </a:cubicBezTo>
                  <a:cubicBezTo>
                    <a:pt x="1" y="1709"/>
                    <a:pt x="526" y="2133"/>
                    <a:pt x="1075" y="2133"/>
                  </a:cubicBezTo>
                  <a:cubicBezTo>
                    <a:pt x="1336" y="2133"/>
                    <a:pt x="1604" y="2036"/>
                    <a:pt x="1822"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2" name="Google Shape;3712;p66"/>
            <p:cNvSpPr/>
            <p:nvPr/>
          </p:nvSpPr>
          <p:spPr>
            <a:xfrm>
              <a:off x="4580250" y="1342750"/>
              <a:ext cx="62225" cy="53450"/>
            </a:xfrm>
            <a:custGeom>
              <a:avLst/>
              <a:gdLst/>
              <a:ahLst/>
              <a:cxnLst/>
              <a:rect l="l" t="t" r="r" b="b"/>
              <a:pathLst>
                <a:path w="2489" h="2138" extrusionOk="0">
                  <a:moveTo>
                    <a:pt x="1066" y="1"/>
                  </a:moveTo>
                  <a:cubicBezTo>
                    <a:pt x="480" y="1"/>
                    <a:pt x="1" y="481"/>
                    <a:pt x="1" y="1066"/>
                  </a:cubicBezTo>
                  <a:cubicBezTo>
                    <a:pt x="1" y="1710"/>
                    <a:pt x="526" y="2138"/>
                    <a:pt x="1074" y="2138"/>
                  </a:cubicBezTo>
                  <a:cubicBezTo>
                    <a:pt x="1336" y="2138"/>
                    <a:pt x="1604"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3" name="Google Shape;3713;p66"/>
            <p:cNvSpPr/>
            <p:nvPr/>
          </p:nvSpPr>
          <p:spPr>
            <a:xfrm>
              <a:off x="4580250" y="1266550"/>
              <a:ext cx="62225" cy="53450"/>
            </a:xfrm>
            <a:custGeom>
              <a:avLst/>
              <a:gdLst/>
              <a:ahLst/>
              <a:cxnLst/>
              <a:rect l="l" t="t" r="r" b="b"/>
              <a:pathLst>
                <a:path w="2489" h="2138" extrusionOk="0">
                  <a:moveTo>
                    <a:pt x="1066" y="0"/>
                  </a:moveTo>
                  <a:cubicBezTo>
                    <a:pt x="480" y="9"/>
                    <a:pt x="1" y="480"/>
                    <a:pt x="1" y="1074"/>
                  </a:cubicBezTo>
                  <a:cubicBezTo>
                    <a:pt x="1" y="1711"/>
                    <a:pt x="525" y="2137"/>
                    <a:pt x="1073" y="2137"/>
                  </a:cubicBezTo>
                  <a:cubicBezTo>
                    <a:pt x="1336" y="2137"/>
                    <a:pt x="1603" y="2040"/>
                    <a:pt x="1822" y="1821"/>
                  </a:cubicBezTo>
                  <a:cubicBezTo>
                    <a:pt x="2488" y="1155"/>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4" name="Google Shape;3714;p66"/>
            <p:cNvSpPr/>
            <p:nvPr/>
          </p:nvSpPr>
          <p:spPr>
            <a:xfrm>
              <a:off x="4504050" y="29424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5" name="Google Shape;3715;p66"/>
            <p:cNvSpPr/>
            <p:nvPr/>
          </p:nvSpPr>
          <p:spPr>
            <a:xfrm>
              <a:off x="4504050" y="2637775"/>
              <a:ext cx="62200" cy="53450"/>
            </a:xfrm>
            <a:custGeom>
              <a:avLst/>
              <a:gdLst/>
              <a:ahLst/>
              <a:cxnLst/>
              <a:rect l="l" t="t" r="r" b="b"/>
              <a:pathLst>
                <a:path w="2488" h="2138" extrusionOk="0">
                  <a:moveTo>
                    <a:pt x="1065" y="1"/>
                  </a:moveTo>
                  <a:cubicBezTo>
                    <a:pt x="480" y="1"/>
                    <a:pt x="0" y="480"/>
                    <a:pt x="0" y="1074"/>
                  </a:cubicBezTo>
                  <a:cubicBezTo>
                    <a:pt x="0" y="1712"/>
                    <a:pt x="525" y="2137"/>
                    <a:pt x="1073" y="2137"/>
                  </a:cubicBezTo>
                  <a:cubicBezTo>
                    <a:pt x="1335" y="2137"/>
                    <a:pt x="1603" y="2040"/>
                    <a:pt x="1821" y="1822"/>
                  </a:cubicBezTo>
                  <a:cubicBezTo>
                    <a:pt x="2488" y="1155"/>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6" name="Google Shape;3716;p66"/>
            <p:cNvSpPr/>
            <p:nvPr/>
          </p:nvSpPr>
          <p:spPr>
            <a:xfrm>
              <a:off x="4504050" y="2561575"/>
              <a:ext cx="62200" cy="53425"/>
            </a:xfrm>
            <a:custGeom>
              <a:avLst/>
              <a:gdLst/>
              <a:ahLst/>
              <a:cxnLst/>
              <a:rect l="l" t="t" r="r" b="b"/>
              <a:pathLst>
                <a:path w="2488" h="2137" extrusionOk="0">
                  <a:moveTo>
                    <a:pt x="1065" y="0"/>
                  </a:moveTo>
                  <a:cubicBezTo>
                    <a:pt x="480" y="8"/>
                    <a:pt x="0" y="480"/>
                    <a:pt x="0" y="1073"/>
                  </a:cubicBezTo>
                  <a:cubicBezTo>
                    <a:pt x="0" y="1711"/>
                    <a:pt x="525" y="2137"/>
                    <a:pt x="1073" y="2137"/>
                  </a:cubicBezTo>
                  <a:cubicBezTo>
                    <a:pt x="1335" y="2137"/>
                    <a:pt x="1603" y="2039"/>
                    <a:pt x="1821" y="1821"/>
                  </a:cubicBezTo>
                  <a:cubicBezTo>
                    <a:pt x="2488" y="1154"/>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7" name="Google Shape;3717;p66"/>
            <p:cNvSpPr/>
            <p:nvPr/>
          </p:nvSpPr>
          <p:spPr>
            <a:xfrm>
              <a:off x="450405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8" name="Google Shape;3718;p66"/>
            <p:cNvSpPr/>
            <p:nvPr/>
          </p:nvSpPr>
          <p:spPr>
            <a:xfrm>
              <a:off x="4504050" y="1495200"/>
              <a:ext cx="62200" cy="53325"/>
            </a:xfrm>
            <a:custGeom>
              <a:avLst/>
              <a:gdLst/>
              <a:ahLst/>
              <a:cxnLst/>
              <a:rect l="l" t="t" r="r" b="b"/>
              <a:pathLst>
                <a:path w="2488" h="2133" extrusionOk="0">
                  <a:moveTo>
                    <a:pt x="1065" y="0"/>
                  </a:moveTo>
                  <a:cubicBezTo>
                    <a:pt x="480" y="0"/>
                    <a:pt x="0" y="480"/>
                    <a:pt x="0" y="1065"/>
                  </a:cubicBezTo>
                  <a:cubicBezTo>
                    <a:pt x="0" y="1709"/>
                    <a:pt x="525" y="2133"/>
                    <a:pt x="1074" y="2133"/>
                  </a:cubicBezTo>
                  <a:cubicBezTo>
                    <a:pt x="1336" y="2133"/>
                    <a:pt x="1603" y="2036"/>
                    <a:pt x="1821" y="1821"/>
                  </a:cubicBezTo>
                  <a:cubicBezTo>
                    <a:pt x="2488" y="1146"/>
                    <a:pt x="2016"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19" name="Google Shape;3719;p66"/>
            <p:cNvSpPr/>
            <p:nvPr/>
          </p:nvSpPr>
          <p:spPr>
            <a:xfrm>
              <a:off x="4504050" y="1114325"/>
              <a:ext cx="62200" cy="53350"/>
            </a:xfrm>
            <a:custGeom>
              <a:avLst/>
              <a:gdLst/>
              <a:ahLst/>
              <a:cxnLst/>
              <a:rect l="l" t="t" r="r" b="b"/>
              <a:pathLst>
                <a:path w="2488" h="2134" extrusionOk="0">
                  <a:moveTo>
                    <a:pt x="1065" y="1"/>
                  </a:moveTo>
                  <a:cubicBezTo>
                    <a:pt x="480" y="1"/>
                    <a:pt x="0" y="480"/>
                    <a:pt x="0" y="1065"/>
                  </a:cubicBezTo>
                  <a:cubicBezTo>
                    <a:pt x="0" y="1709"/>
                    <a:pt x="525" y="2133"/>
                    <a:pt x="1074" y="2133"/>
                  </a:cubicBezTo>
                  <a:cubicBezTo>
                    <a:pt x="1336" y="2133"/>
                    <a:pt x="1603" y="2037"/>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0" name="Google Shape;3720;p66"/>
            <p:cNvSpPr/>
            <p:nvPr/>
          </p:nvSpPr>
          <p:spPr>
            <a:xfrm>
              <a:off x="4427825" y="2942425"/>
              <a:ext cx="62425" cy="53450"/>
            </a:xfrm>
            <a:custGeom>
              <a:avLst/>
              <a:gdLst/>
              <a:ahLst/>
              <a:cxnLst/>
              <a:rect l="l" t="t" r="r" b="b"/>
              <a:pathLst>
                <a:path w="2497" h="2138" extrusionOk="0">
                  <a:moveTo>
                    <a:pt x="1065" y="1"/>
                  </a:moveTo>
                  <a:cubicBezTo>
                    <a:pt x="480" y="9"/>
                    <a:pt x="9" y="480"/>
                    <a:pt x="1" y="1066"/>
                  </a:cubicBezTo>
                  <a:cubicBezTo>
                    <a:pt x="1" y="1709"/>
                    <a:pt x="526" y="2137"/>
                    <a:pt x="1074" y="2137"/>
                  </a:cubicBezTo>
                  <a:cubicBezTo>
                    <a:pt x="1336" y="2137"/>
                    <a:pt x="1603" y="2040"/>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1" name="Google Shape;3721;p66"/>
            <p:cNvSpPr/>
            <p:nvPr/>
          </p:nvSpPr>
          <p:spPr>
            <a:xfrm>
              <a:off x="4427825" y="2866425"/>
              <a:ext cx="62425" cy="53275"/>
            </a:xfrm>
            <a:custGeom>
              <a:avLst/>
              <a:gdLst/>
              <a:ahLst/>
              <a:cxnLst/>
              <a:rect l="l" t="t" r="r" b="b"/>
              <a:pathLst>
                <a:path w="2497" h="2131" extrusionOk="0">
                  <a:moveTo>
                    <a:pt x="1065" y="0"/>
                  </a:moveTo>
                  <a:cubicBezTo>
                    <a:pt x="480" y="0"/>
                    <a:pt x="1" y="472"/>
                    <a:pt x="1" y="1065"/>
                  </a:cubicBezTo>
                  <a:cubicBezTo>
                    <a:pt x="1" y="1707"/>
                    <a:pt x="526" y="2131"/>
                    <a:pt x="1073" y="2131"/>
                  </a:cubicBezTo>
                  <a:cubicBezTo>
                    <a:pt x="1337" y="2131"/>
                    <a:pt x="1605" y="2032"/>
                    <a:pt x="1822" y="1813"/>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2" name="Google Shape;3722;p66"/>
            <p:cNvSpPr/>
            <p:nvPr/>
          </p:nvSpPr>
          <p:spPr>
            <a:xfrm>
              <a:off x="4427825" y="2790200"/>
              <a:ext cx="62425" cy="53350"/>
            </a:xfrm>
            <a:custGeom>
              <a:avLst/>
              <a:gdLst/>
              <a:ahLst/>
              <a:cxnLst/>
              <a:rect l="l" t="t" r="r" b="b"/>
              <a:pathLst>
                <a:path w="2497" h="2134" extrusionOk="0">
                  <a:moveTo>
                    <a:pt x="1065" y="1"/>
                  </a:moveTo>
                  <a:cubicBezTo>
                    <a:pt x="480" y="1"/>
                    <a:pt x="9" y="480"/>
                    <a:pt x="1" y="1066"/>
                  </a:cubicBezTo>
                  <a:cubicBezTo>
                    <a:pt x="1" y="1709"/>
                    <a:pt x="526" y="2134"/>
                    <a:pt x="1075" y="2134"/>
                  </a:cubicBezTo>
                  <a:cubicBezTo>
                    <a:pt x="1336" y="2134"/>
                    <a:pt x="1604" y="2037"/>
                    <a:pt x="1822"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3" name="Google Shape;3723;p66"/>
            <p:cNvSpPr/>
            <p:nvPr/>
          </p:nvSpPr>
          <p:spPr>
            <a:xfrm>
              <a:off x="4427825" y="2561575"/>
              <a:ext cx="62425" cy="53425"/>
            </a:xfrm>
            <a:custGeom>
              <a:avLst/>
              <a:gdLst/>
              <a:ahLst/>
              <a:cxnLst/>
              <a:rect l="l" t="t" r="r" b="b"/>
              <a:pathLst>
                <a:path w="2497" h="2137" extrusionOk="0">
                  <a:moveTo>
                    <a:pt x="1065" y="0"/>
                  </a:moveTo>
                  <a:cubicBezTo>
                    <a:pt x="480" y="8"/>
                    <a:pt x="9" y="480"/>
                    <a:pt x="1" y="1073"/>
                  </a:cubicBezTo>
                  <a:cubicBezTo>
                    <a:pt x="1" y="1711"/>
                    <a:pt x="525" y="2137"/>
                    <a:pt x="1073" y="2137"/>
                  </a:cubicBezTo>
                  <a:cubicBezTo>
                    <a:pt x="1335" y="2137"/>
                    <a:pt x="1603" y="2039"/>
                    <a:pt x="1822" y="1821"/>
                  </a:cubicBezTo>
                  <a:cubicBezTo>
                    <a:pt x="2496" y="1154"/>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4" name="Google Shape;3724;p66"/>
            <p:cNvSpPr/>
            <p:nvPr/>
          </p:nvSpPr>
          <p:spPr>
            <a:xfrm>
              <a:off x="4427825" y="2485550"/>
              <a:ext cx="62425" cy="53300"/>
            </a:xfrm>
            <a:custGeom>
              <a:avLst/>
              <a:gdLst/>
              <a:ahLst/>
              <a:cxnLst/>
              <a:rect l="l" t="t" r="r" b="b"/>
              <a:pathLst>
                <a:path w="2497" h="2132" extrusionOk="0">
                  <a:moveTo>
                    <a:pt x="1065" y="1"/>
                  </a:moveTo>
                  <a:cubicBezTo>
                    <a:pt x="480" y="1"/>
                    <a:pt x="1" y="480"/>
                    <a:pt x="1" y="1066"/>
                  </a:cubicBezTo>
                  <a:cubicBezTo>
                    <a:pt x="1" y="1708"/>
                    <a:pt x="526" y="2131"/>
                    <a:pt x="1073" y="2131"/>
                  </a:cubicBezTo>
                  <a:cubicBezTo>
                    <a:pt x="1337" y="2131"/>
                    <a:pt x="1605" y="2033"/>
                    <a:pt x="1822" y="1814"/>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5" name="Google Shape;3725;p66"/>
            <p:cNvSpPr/>
            <p:nvPr/>
          </p:nvSpPr>
          <p:spPr>
            <a:xfrm>
              <a:off x="4427825" y="2409350"/>
              <a:ext cx="62425" cy="53350"/>
            </a:xfrm>
            <a:custGeom>
              <a:avLst/>
              <a:gdLst/>
              <a:ahLst/>
              <a:cxnLst/>
              <a:rect l="l" t="t" r="r" b="b"/>
              <a:pathLst>
                <a:path w="2497" h="2134" extrusionOk="0">
                  <a:moveTo>
                    <a:pt x="1065" y="0"/>
                  </a:moveTo>
                  <a:cubicBezTo>
                    <a:pt x="480" y="0"/>
                    <a:pt x="9" y="480"/>
                    <a:pt x="1" y="1065"/>
                  </a:cubicBezTo>
                  <a:cubicBezTo>
                    <a:pt x="1" y="1709"/>
                    <a:pt x="526" y="2133"/>
                    <a:pt x="1075" y="2133"/>
                  </a:cubicBezTo>
                  <a:cubicBezTo>
                    <a:pt x="1336" y="2133"/>
                    <a:pt x="1604" y="2036"/>
                    <a:pt x="1822" y="1821"/>
                  </a:cubicBezTo>
                  <a:cubicBezTo>
                    <a:pt x="2496" y="1146"/>
                    <a:pt x="2017" y="0"/>
                    <a:pt x="106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6" name="Google Shape;3726;p66"/>
            <p:cNvSpPr/>
            <p:nvPr/>
          </p:nvSpPr>
          <p:spPr>
            <a:xfrm>
              <a:off x="4351600" y="2790200"/>
              <a:ext cx="62425" cy="53350"/>
            </a:xfrm>
            <a:custGeom>
              <a:avLst/>
              <a:gdLst/>
              <a:ahLst/>
              <a:cxnLst/>
              <a:rect l="l" t="t" r="r" b="b"/>
              <a:pathLst>
                <a:path w="2497" h="2134" extrusionOk="0">
                  <a:moveTo>
                    <a:pt x="1074" y="1"/>
                  </a:moveTo>
                  <a:cubicBezTo>
                    <a:pt x="481" y="1"/>
                    <a:pt x="9" y="480"/>
                    <a:pt x="1" y="1066"/>
                  </a:cubicBezTo>
                  <a:cubicBezTo>
                    <a:pt x="1" y="1709"/>
                    <a:pt x="530" y="2134"/>
                    <a:pt x="1079" y="2134"/>
                  </a:cubicBezTo>
                  <a:cubicBezTo>
                    <a:pt x="1340" y="2134"/>
                    <a:pt x="1607" y="2037"/>
                    <a:pt x="1822" y="1822"/>
                  </a:cubicBezTo>
                  <a:cubicBezTo>
                    <a:pt x="2497" y="1147"/>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7" name="Google Shape;3727;p66"/>
            <p:cNvSpPr/>
            <p:nvPr/>
          </p:nvSpPr>
          <p:spPr>
            <a:xfrm>
              <a:off x="4351600" y="2714000"/>
              <a:ext cx="62425" cy="53350"/>
            </a:xfrm>
            <a:custGeom>
              <a:avLst/>
              <a:gdLst/>
              <a:ahLst/>
              <a:cxnLst/>
              <a:rect l="l" t="t" r="r" b="b"/>
              <a:pathLst>
                <a:path w="2497" h="2134" extrusionOk="0">
                  <a:moveTo>
                    <a:pt x="1074" y="0"/>
                  </a:moveTo>
                  <a:cubicBezTo>
                    <a:pt x="481" y="0"/>
                    <a:pt x="9" y="480"/>
                    <a:pt x="1" y="1065"/>
                  </a:cubicBezTo>
                  <a:cubicBezTo>
                    <a:pt x="1" y="1709"/>
                    <a:pt x="530" y="2133"/>
                    <a:pt x="1079" y="2133"/>
                  </a:cubicBezTo>
                  <a:cubicBezTo>
                    <a:pt x="1340" y="2133"/>
                    <a:pt x="1607" y="2036"/>
                    <a:pt x="1822" y="1821"/>
                  </a:cubicBezTo>
                  <a:cubicBezTo>
                    <a:pt x="2497" y="1146"/>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8" name="Google Shape;3728;p66"/>
            <p:cNvSpPr/>
            <p:nvPr/>
          </p:nvSpPr>
          <p:spPr>
            <a:xfrm>
              <a:off x="4351600" y="2637775"/>
              <a:ext cx="62425" cy="53450"/>
            </a:xfrm>
            <a:custGeom>
              <a:avLst/>
              <a:gdLst/>
              <a:ahLst/>
              <a:cxnLst/>
              <a:rect l="l" t="t" r="r" b="b"/>
              <a:pathLst>
                <a:path w="2497" h="2138" extrusionOk="0">
                  <a:moveTo>
                    <a:pt x="1074" y="1"/>
                  </a:moveTo>
                  <a:cubicBezTo>
                    <a:pt x="481" y="1"/>
                    <a:pt x="9" y="480"/>
                    <a:pt x="1" y="1074"/>
                  </a:cubicBezTo>
                  <a:cubicBezTo>
                    <a:pt x="1" y="1712"/>
                    <a:pt x="529" y="2137"/>
                    <a:pt x="1077" y="2137"/>
                  </a:cubicBezTo>
                  <a:cubicBezTo>
                    <a:pt x="1339" y="2137"/>
                    <a:pt x="1606" y="2040"/>
                    <a:pt x="1822" y="1822"/>
                  </a:cubicBezTo>
                  <a:cubicBezTo>
                    <a:pt x="2497" y="1155"/>
                    <a:pt x="2017" y="1"/>
                    <a:pt x="1074"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29" name="Google Shape;3729;p66"/>
            <p:cNvSpPr/>
            <p:nvPr/>
          </p:nvSpPr>
          <p:spPr>
            <a:xfrm>
              <a:off x="4351600" y="2561575"/>
              <a:ext cx="62425" cy="53425"/>
            </a:xfrm>
            <a:custGeom>
              <a:avLst/>
              <a:gdLst/>
              <a:ahLst/>
              <a:cxnLst/>
              <a:rect l="l" t="t" r="r" b="b"/>
              <a:pathLst>
                <a:path w="2497" h="2137" extrusionOk="0">
                  <a:moveTo>
                    <a:pt x="1074" y="0"/>
                  </a:moveTo>
                  <a:cubicBezTo>
                    <a:pt x="481" y="8"/>
                    <a:pt x="9" y="480"/>
                    <a:pt x="1" y="1073"/>
                  </a:cubicBezTo>
                  <a:cubicBezTo>
                    <a:pt x="1" y="1711"/>
                    <a:pt x="529" y="2137"/>
                    <a:pt x="1077" y="2137"/>
                  </a:cubicBezTo>
                  <a:cubicBezTo>
                    <a:pt x="1339" y="2137"/>
                    <a:pt x="1606" y="2039"/>
                    <a:pt x="1822" y="1821"/>
                  </a:cubicBezTo>
                  <a:cubicBezTo>
                    <a:pt x="2497" y="1154"/>
                    <a:pt x="2017" y="0"/>
                    <a:pt x="1074"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0" name="Google Shape;3730;p66"/>
            <p:cNvSpPr/>
            <p:nvPr/>
          </p:nvSpPr>
          <p:spPr>
            <a:xfrm>
              <a:off x="4275600" y="2637775"/>
              <a:ext cx="62225" cy="53450"/>
            </a:xfrm>
            <a:custGeom>
              <a:avLst/>
              <a:gdLst/>
              <a:ahLst/>
              <a:cxnLst/>
              <a:rect l="l" t="t" r="r" b="b"/>
              <a:pathLst>
                <a:path w="2489" h="2138" extrusionOk="0">
                  <a:moveTo>
                    <a:pt x="1066" y="1"/>
                  </a:moveTo>
                  <a:cubicBezTo>
                    <a:pt x="472" y="9"/>
                    <a:pt x="1" y="480"/>
                    <a:pt x="1" y="1074"/>
                  </a:cubicBezTo>
                  <a:cubicBezTo>
                    <a:pt x="1" y="1712"/>
                    <a:pt x="525" y="2137"/>
                    <a:pt x="1073" y="2137"/>
                  </a:cubicBezTo>
                  <a:cubicBezTo>
                    <a:pt x="1336" y="2137"/>
                    <a:pt x="1603" y="2040"/>
                    <a:pt x="1822"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1" name="Google Shape;3731;p66"/>
            <p:cNvSpPr/>
            <p:nvPr/>
          </p:nvSpPr>
          <p:spPr>
            <a:xfrm>
              <a:off x="4275600" y="2561575"/>
              <a:ext cx="62225" cy="53425"/>
            </a:xfrm>
            <a:custGeom>
              <a:avLst/>
              <a:gdLst/>
              <a:ahLst/>
              <a:cxnLst/>
              <a:rect l="l" t="t" r="r" b="b"/>
              <a:pathLst>
                <a:path w="2489" h="2137" extrusionOk="0">
                  <a:moveTo>
                    <a:pt x="1066" y="0"/>
                  </a:moveTo>
                  <a:cubicBezTo>
                    <a:pt x="472" y="8"/>
                    <a:pt x="1" y="480"/>
                    <a:pt x="1" y="1073"/>
                  </a:cubicBezTo>
                  <a:cubicBezTo>
                    <a:pt x="1" y="1711"/>
                    <a:pt x="525" y="2137"/>
                    <a:pt x="1071" y="2137"/>
                  </a:cubicBezTo>
                  <a:cubicBezTo>
                    <a:pt x="1332" y="2137"/>
                    <a:pt x="1598" y="2039"/>
                    <a:pt x="1813" y="1821"/>
                  </a:cubicBezTo>
                  <a:cubicBezTo>
                    <a:pt x="2488" y="1154"/>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2" name="Google Shape;3732;p66"/>
            <p:cNvSpPr/>
            <p:nvPr/>
          </p:nvSpPr>
          <p:spPr>
            <a:xfrm>
              <a:off x="4275600" y="2485550"/>
              <a:ext cx="62225" cy="53300"/>
            </a:xfrm>
            <a:custGeom>
              <a:avLst/>
              <a:gdLst/>
              <a:ahLst/>
              <a:cxnLst/>
              <a:rect l="l" t="t" r="r" b="b"/>
              <a:pathLst>
                <a:path w="2489" h="2132" extrusionOk="0">
                  <a:moveTo>
                    <a:pt x="1066" y="1"/>
                  </a:moveTo>
                  <a:cubicBezTo>
                    <a:pt x="472" y="1"/>
                    <a:pt x="1" y="480"/>
                    <a:pt x="1" y="1066"/>
                  </a:cubicBezTo>
                  <a:cubicBezTo>
                    <a:pt x="1" y="1708"/>
                    <a:pt x="523" y="2131"/>
                    <a:pt x="1070" y="2131"/>
                  </a:cubicBezTo>
                  <a:cubicBezTo>
                    <a:pt x="1333" y="2131"/>
                    <a:pt x="1602" y="2033"/>
                    <a:pt x="1822" y="1814"/>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3" name="Google Shape;3733;p66"/>
            <p:cNvSpPr/>
            <p:nvPr/>
          </p:nvSpPr>
          <p:spPr>
            <a:xfrm>
              <a:off x="4275600" y="2409350"/>
              <a:ext cx="62225" cy="53350"/>
            </a:xfrm>
            <a:custGeom>
              <a:avLst/>
              <a:gdLst/>
              <a:ahLst/>
              <a:cxnLst/>
              <a:rect l="l" t="t" r="r" b="b"/>
              <a:pathLst>
                <a:path w="2489" h="2134" extrusionOk="0">
                  <a:moveTo>
                    <a:pt x="1066" y="0"/>
                  </a:moveTo>
                  <a:cubicBezTo>
                    <a:pt x="472" y="0"/>
                    <a:pt x="1" y="480"/>
                    <a:pt x="1" y="1065"/>
                  </a:cubicBezTo>
                  <a:cubicBezTo>
                    <a:pt x="1" y="1709"/>
                    <a:pt x="526" y="2133"/>
                    <a:pt x="1072" y="2133"/>
                  </a:cubicBezTo>
                  <a:cubicBezTo>
                    <a:pt x="1333" y="2133"/>
                    <a:pt x="1598" y="2036"/>
                    <a:pt x="1813" y="1821"/>
                  </a:cubicBezTo>
                  <a:cubicBezTo>
                    <a:pt x="2488" y="1146"/>
                    <a:pt x="2017" y="0"/>
                    <a:pt x="106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4" name="Google Shape;3734;p66"/>
            <p:cNvSpPr/>
            <p:nvPr/>
          </p:nvSpPr>
          <p:spPr>
            <a:xfrm>
              <a:off x="4275600" y="2333125"/>
              <a:ext cx="62225" cy="53450"/>
            </a:xfrm>
            <a:custGeom>
              <a:avLst/>
              <a:gdLst/>
              <a:ahLst/>
              <a:cxnLst/>
              <a:rect l="l" t="t" r="r" b="b"/>
              <a:pathLst>
                <a:path w="2489" h="2138" extrusionOk="0">
                  <a:moveTo>
                    <a:pt x="1066" y="1"/>
                  </a:moveTo>
                  <a:cubicBezTo>
                    <a:pt x="472" y="1"/>
                    <a:pt x="1" y="480"/>
                    <a:pt x="1" y="1066"/>
                  </a:cubicBezTo>
                  <a:cubicBezTo>
                    <a:pt x="1" y="1709"/>
                    <a:pt x="526" y="2137"/>
                    <a:pt x="1072" y="2137"/>
                  </a:cubicBezTo>
                  <a:cubicBezTo>
                    <a:pt x="1333" y="2137"/>
                    <a:pt x="1598" y="2040"/>
                    <a:pt x="1813" y="1822"/>
                  </a:cubicBezTo>
                  <a:cubicBezTo>
                    <a:pt x="2488" y="1147"/>
                    <a:pt x="2017" y="1"/>
                    <a:pt x="1066"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5" name="Google Shape;3735;p66"/>
            <p:cNvSpPr/>
            <p:nvPr/>
          </p:nvSpPr>
          <p:spPr>
            <a:xfrm>
              <a:off x="4275600" y="2256925"/>
              <a:ext cx="62350" cy="53425"/>
            </a:xfrm>
            <a:custGeom>
              <a:avLst/>
              <a:gdLst/>
              <a:ahLst/>
              <a:cxnLst/>
              <a:rect l="l" t="t" r="r" b="b"/>
              <a:pathLst>
                <a:path w="2494" h="2137" extrusionOk="0">
                  <a:moveTo>
                    <a:pt x="1076" y="0"/>
                  </a:moveTo>
                  <a:cubicBezTo>
                    <a:pt x="1072" y="0"/>
                    <a:pt x="1069" y="0"/>
                    <a:pt x="1066" y="0"/>
                  </a:cubicBezTo>
                  <a:cubicBezTo>
                    <a:pt x="472" y="0"/>
                    <a:pt x="1" y="480"/>
                    <a:pt x="1" y="1065"/>
                  </a:cubicBezTo>
                  <a:cubicBezTo>
                    <a:pt x="1" y="1709"/>
                    <a:pt x="526" y="2137"/>
                    <a:pt x="1074" y="2137"/>
                  </a:cubicBezTo>
                  <a:cubicBezTo>
                    <a:pt x="1336" y="2137"/>
                    <a:pt x="1604" y="2039"/>
                    <a:pt x="1822" y="1821"/>
                  </a:cubicBezTo>
                  <a:cubicBezTo>
                    <a:pt x="2494" y="1149"/>
                    <a:pt x="2020"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6" name="Google Shape;3736;p66"/>
            <p:cNvSpPr/>
            <p:nvPr/>
          </p:nvSpPr>
          <p:spPr>
            <a:xfrm>
              <a:off x="4199400" y="2485550"/>
              <a:ext cx="62200" cy="53300"/>
            </a:xfrm>
            <a:custGeom>
              <a:avLst/>
              <a:gdLst/>
              <a:ahLst/>
              <a:cxnLst/>
              <a:rect l="l" t="t" r="r" b="b"/>
              <a:pathLst>
                <a:path w="2488" h="2132" extrusionOk="0">
                  <a:moveTo>
                    <a:pt x="1065" y="1"/>
                  </a:moveTo>
                  <a:cubicBezTo>
                    <a:pt x="480" y="1"/>
                    <a:pt x="0" y="472"/>
                    <a:pt x="0" y="1066"/>
                  </a:cubicBezTo>
                  <a:cubicBezTo>
                    <a:pt x="0" y="1708"/>
                    <a:pt x="522" y="2131"/>
                    <a:pt x="1069" y="2131"/>
                  </a:cubicBezTo>
                  <a:cubicBezTo>
                    <a:pt x="1333" y="2131"/>
                    <a:pt x="1602" y="2033"/>
                    <a:pt x="1821" y="1814"/>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7" name="Google Shape;3737;p66"/>
            <p:cNvSpPr/>
            <p:nvPr/>
          </p:nvSpPr>
          <p:spPr>
            <a:xfrm>
              <a:off x="4199400" y="2333125"/>
              <a:ext cx="62200" cy="53450"/>
            </a:xfrm>
            <a:custGeom>
              <a:avLst/>
              <a:gdLst/>
              <a:ahLst/>
              <a:cxnLst/>
              <a:rect l="l" t="t" r="r" b="b"/>
              <a:pathLst>
                <a:path w="2488" h="2138" extrusionOk="0">
                  <a:moveTo>
                    <a:pt x="1065" y="1"/>
                  </a:moveTo>
                  <a:cubicBezTo>
                    <a:pt x="480" y="1"/>
                    <a:pt x="0" y="480"/>
                    <a:pt x="0" y="1066"/>
                  </a:cubicBezTo>
                  <a:cubicBezTo>
                    <a:pt x="0" y="1709"/>
                    <a:pt x="525" y="2137"/>
                    <a:pt x="1074" y="2137"/>
                  </a:cubicBezTo>
                  <a:cubicBezTo>
                    <a:pt x="1336" y="2137"/>
                    <a:pt x="1603" y="2040"/>
                    <a:pt x="1821" y="1822"/>
                  </a:cubicBezTo>
                  <a:cubicBezTo>
                    <a:pt x="2488" y="1147"/>
                    <a:pt x="2016"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8" name="Google Shape;3738;p66"/>
            <p:cNvSpPr/>
            <p:nvPr/>
          </p:nvSpPr>
          <p:spPr>
            <a:xfrm>
              <a:off x="4199400" y="2256925"/>
              <a:ext cx="62350" cy="53425"/>
            </a:xfrm>
            <a:custGeom>
              <a:avLst/>
              <a:gdLst/>
              <a:ahLst/>
              <a:cxnLst/>
              <a:rect l="l" t="t" r="r" b="b"/>
              <a:pathLst>
                <a:path w="2494" h="2137" extrusionOk="0">
                  <a:moveTo>
                    <a:pt x="1075" y="0"/>
                  </a:moveTo>
                  <a:cubicBezTo>
                    <a:pt x="1072" y="0"/>
                    <a:pt x="1068" y="0"/>
                    <a:pt x="1065" y="0"/>
                  </a:cubicBezTo>
                  <a:cubicBezTo>
                    <a:pt x="480" y="0"/>
                    <a:pt x="0" y="480"/>
                    <a:pt x="0" y="1065"/>
                  </a:cubicBezTo>
                  <a:cubicBezTo>
                    <a:pt x="0" y="1709"/>
                    <a:pt x="529" y="2137"/>
                    <a:pt x="1080" y="2137"/>
                  </a:cubicBezTo>
                  <a:cubicBezTo>
                    <a:pt x="1343" y="2137"/>
                    <a:pt x="1611" y="2039"/>
                    <a:pt x="1829" y="1821"/>
                  </a:cubicBezTo>
                  <a:cubicBezTo>
                    <a:pt x="2493" y="1149"/>
                    <a:pt x="2019" y="0"/>
                    <a:pt x="1075"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39" name="Google Shape;3739;p66"/>
            <p:cNvSpPr/>
            <p:nvPr/>
          </p:nvSpPr>
          <p:spPr>
            <a:xfrm>
              <a:off x="4123175" y="2333125"/>
              <a:ext cx="62425" cy="53450"/>
            </a:xfrm>
            <a:custGeom>
              <a:avLst/>
              <a:gdLst/>
              <a:ahLst/>
              <a:cxnLst/>
              <a:rect l="l" t="t" r="r" b="b"/>
              <a:pathLst>
                <a:path w="2497" h="2138" extrusionOk="0">
                  <a:moveTo>
                    <a:pt x="1065" y="1"/>
                  </a:moveTo>
                  <a:cubicBezTo>
                    <a:pt x="480" y="1"/>
                    <a:pt x="0" y="480"/>
                    <a:pt x="0" y="1066"/>
                  </a:cubicBezTo>
                  <a:cubicBezTo>
                    <a:pt x="0" y="1709"/>
                    <a:pt x="526" y="2137"/>
                    <a:pt x="1074" y="2137"/>
                  </a:cubicBezTo>
                  <a:cubicBezTo>
                    <a:pt x="1336" y="2137"/>
                    <a:pt x="1603" y="2040"/>
                    <a:pt x="1821" y="1822"/>
                  </a:cubicBezTo>
                  <a:cubicBezTo>
                    <a:pt x="2496" y="1147"/>
                    <a:pt x="2017" y="1"/>
                    <a:pt x="1065" y="1"/>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0" name="Google Shape;3740;p66"/>
            <p:cNvSpPr/>
            <p:nvPr/>
          </p:nvSpPr>
          <p:spPr>
            <a:xfrm>
              <a:off x="4123175" y="2256925"/>
              <a:ext cx="62350" cy="53425"/>
            </a:xfrm>
            <a:custGeom>
              <a:avLst/>
              <a:gdLst/>
              <a:ahLst/>
              <a:cxnLst/>
              <a:rect l="l" t="t" r="r" b="b"/>
              <a:pathLst>
                <a:path w="2494" h="2137" extrusionOk="0">
                  <a:moveTo>
                    <a:pt x="1076" y="0"/>
                  </a:moveTo>
                  <a:cubicBezTo>
                    <a:pt x="1072" y="0"/>
                    <a:pt x="1069" y="0"/>
                    <a:pt x="1065" y="0"/>
                  </a:cubicBezTo>
                  <a:cubicBezTo>
                    <a:pt x="480" y="0"/>
                    <a:pt x="0" y="480"/>
                    <a:pt x="0" y="1065"/>
                  </a:cubicBezTo>
                  <a:cubicBezTo>
                    <a:pt x="0" y="1709"/>
                    <a:pt x="529" y="2137"/>
                    <a:pt x="1080" y="2137"/>
                  </a:cubicBezTo>
                  <a:cubicBezTo>
                    <a:pt x="1343" y="2137"/>
                    <a:pt x="1612" y="2039"/>
                    <a:pt x="1830" y="1821"/>
                  </a:cubicBezTo>
                  <a:cubicBezTo>
                    <a:pt x="2494" y="1149"/>
                    <a:pt x="2028" y="0"/>
                    <a:pt x="1076" y="0"/>
                  </a:cubicBezTo>
                  <a:close/>
                </a:path>
              </a:pathLst>
            </a:custGeom>
            <a:solidFill>
              <a:srgbClr val="5F81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741" name="Google Shape;3741;p66"/>
          <p:cNvGrpSpPr/>
          <p:nvPr/>
        </p:nvGrpSpPr>
        <p:grpSpPr>
          <a:xfrm>
            <a:off x="7810075" y="1608737"/>
            <a:ext cx="3454453" cy="1840313"/>
            <a:chOff x="233350" y="949250"/>
            <a:chExt cx="7137300" cy="3802300"/>
          </a:xfrm>
        </p:grpSpPr>
        <p:sp>
          <p:nvSpPr>
            <p:cNvPr id="3742" name="Google Shape;3742;p66"/>
            <p:cNvSpPr/>
            <p:nvPr/>
          </p:nvSpPr>
          <p:spPr>
            <a:xfrm>
              <a:off x="4428450" y="2808675"/>
              <a:ext cx="1478900" cy="330100"/>
            </a:xfrm>
            <a:custGeom>
              <a:avLst/>
              <a:gdLst/>
              <a:ahLst/>
              <a:cxnLst/>
              <a:rect l="l" t="t" r="r" b="b"/>
              <a:pathLst>
                <a:path w="59156" h="13204" extrusionOk="0">
                  <a:moveTo>
                    <a:pt x="1" y="0"/>
                  </a:moveTo>
                  <a:lnTo>
                    <a:pt x="1" y="0"/>
                  </a:lnTo>
                  <a:close/>
                  <a:moveTo>
                    <a:pt x="59155" y="13203"/>
                  </a:move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3" name="Google Shape;3743;p66"/>
            <p:cNvSpPr/>
            <p:nvPr/>
          </p:nvSpPr>
          <p:spPr>
            <a:xfrm>
              <a:off x="2909400" y="1076125"/>
              <a:ext cx="4118650" cy="3109225"/>
            </a:xfrm>
            <a:custGeom>
              <a:avLst/>
              <a:gdLst/>
              <a:ahLst/>
              <a:cxnLst/>
              <a:rect l="l" t="t" r="r" b="b"/>
              <a:pathLst>
                <a:path w="164746" h="124369" extrusionOk="0">
                  <a:moveTo>
                    <a:pt x="49520" y="11070"/>
                  </a:moveTo>
                  <a:cubicBezTo>
                    <a:pt x="49737" y="11070"/>
                    <a:pt x="49861" y="11136"/>
                    <a:pt x="49875" y="11358"/>
                  </a:cubicBezTo>
                  <a:cubicBezTo>
                    <a:pt x="49875" y="11575"/>
                    <a:pt x="49818" y="11698"/>
                    <a:pt x="49684" y="11698"/>
                  </a:cubicBezTo>
                  <a:cubicBezTo>
                    <a:pt x="49636" y="11698"/>
                    <a:pt x="49580" y="11683"/>
                    <a:pt x="49512" y="11651"/>
                  </a:cubicBezTo>
                  <a:cubicBezTo>
                    <a:pt x="49305" y="11565"/>
                    <a:pt x="49115" y="11444"/>
                    <a:pt x="48925" y="11323"/>
                  </a:cubicBezTo>
                  <a:lnTo>
                    <a:pt x="49339" y="11081"/>
                  </a:lnTo>
                  <a:cubicBezTo>
                    <a:pt x="49405" y="11074"/>
                    <a:pt x="49465" y="11070"/>
                    <a:pt x="49520" y="11070"/>
                  </a:cubicBezTo>
                  <a:close/>
                  <a:moveTo>
                    <a:pt x="46983" y="11081"/>
                  </a:moveTo>
                  <a:cubicBezTo>
                    <a:pt x="47014" y="11081"/>
                    <a:pt x="47051" y="11087"/>
                    <a:pt x="47093" y="11098"/>
                  </a:cubicBezTo>
                  <a:cubicBezTo>
                    <a:pt x="47369" y="11185"/>
                    <a:pt x="47870" y="11168"/>
                    <a:pt x="47767" y="11686"/>
                  </a:cubicBezTo>
                  <a:cubicBezTo>
                    <a:pt x="47732" y="11893"/>
                    <a:pt x="47888" y="12274"/>
                    <a:pt x="47490" y="12343"/>
                  </a:cubicBezTo>
                  <a:cubicBezTo>
                    <a:pt x="47110" y="12222"/>
                    <a:pt x="46834" y="11893"/>
                    <a:pt x="46799" y="11496"/>
                  </a:cubicBezTo>
                  <a:cubicBezTo>
                    <a:pt x="46784" y="11302"/>
                    <a:pt x="46782" y="11081"/>
                    <a:pt x="46983" y="11081"/>
                  </a:cubicBezTo>
                  <a:close/>
                  <a:moveTo>
                    <a:pt x="38158" y="11530"/>
                  </a:moveTo>
                  <a:cubicBezTo>
                    <a:pt x="38279" y="11530"/>
                    <a:pt x="38417" y="11703"/>
                    <a:pt x="38642" y="11876"/>
                  </a:cubicBezTo>
                  <a:cubicBezTo>
                    <a:pt x="38366" y="12118"/>
                    <a:pt x="38089" y="12360"/>
                    <a:pt x="37778" y="12585"/>
                  </a:cubicBezTo>
                  <a:cubicBezTo>
                    <a:pt x="35549" y="13967"/>
                    <a:pt x="35514" y="15903"/>
                    <a:pt x="37692" y="17268"/>
                  </a:cubicBezTo>
                  <a:cubicBezTo>
                    <a:pt x="38003" y="17458"/>
                    <a:pt x="38227" y="17631"/>
                    <a:pt x="38158" y="18080"/>
                  </a:cubicBezTo>
                  <a:cubicBezTo>
                    <a:pt x="38106" y="18529"/>
                    <a:pt x="37951" y="18599"/>
                    <a:pt x="37553" y="18737"/>
                  </a:cubicBezTo>
                  <a:cubicBezTo>
                    <a:pt x="36568" y="19117"/>
                    <a:pt x="36309" y="19981"/>
                    <a:pt x="36378" y="20949"/>
                  </a:cubicBezTo>
                  <a:cubicBezTo>
                    <a:pt x="36427" y="21679"/>
                    <a:pt x="36279" y="22143"/>
                    <a:pt x="35819" y="22143"/>
                  </a:cubicBezTo>
                  <a:cubicBezTo>
                    <a:pt x="35625" y="22143"/>
                    <a:pt x="35377" y="22061"/>
                    <a:pt x="35065" y="21882"/>
                  </a:cubicBezTo>
                  <a:cubicBezTo>
                    <a:pt x="34913" y="21798"/>
                    <a:pt x="34745" y="21754"/>
                    <a:pt x="34578" y="21754"/>
                  </a:cubicBezTo>
                  <a:cubicBezTo>
                    <a:pt x="34403" y="21754"/>
                    <a:pt x="34230" y="21802"/>
                    <a:pt x="34080" y="21899"/>
                  </a:cubicBezTo>
                  <a:cubicBezTo>
                    <a:pt x="33134" y="22372"/>
                    <a:pt x="32094" y="22613"/>
                    <a:pt x="31041" y="22613"/>
                  </a:cubicBezTo>
                  <a:cubicBezTo>
                    <a:pt x="30747" y="22613"/>
                    <a:pt x="30451" y="22594"/>
                    <a:pt x="30157" y="22556"/>
                  </a:cubicBezTo>
                  <a:cubicBezTo>
                    <a:pt x="29915" y="22521"/>
                    <a:pt x="29759" y="22608"/>
                    <a:pt x="29829" y="22262"/>
                  </a:cubicBezTo>
                  <a:lnTo>
                    <a:pt x="29829" y="22262"/>
                  </a:lnTo>
                  <a:lnTo>
                    <a:pt x="29829" y="22279"/>
                  </a:lnTo>
                  <a:cubicBezTo>
                    <a:pt x="29898" y="21986"/>
                    <a:pt x="29984" y="21882"/>
                    <a:pt x="30364" y="21830"/>
                  </a:cubicBezTo>
                  <a:cubicBezTo>
                    <a:pt x="31505" y="21675"/>
                    <a:pt x="32836" y="21467"/>
                    <a:pt x="33354" y="20361"/>
                  </a:cubicBezTo>
                  <a:cubicBezTo>
                    <a:pt x="33821" y="19342"/>
                    <a:pt x="33872" y="18184"/>
                    <a:pt x="34927" y="17458"/>
                  </a:cubicBezTo>
                  <a:cubicBezTo>
                    <a:pt x="35238" y="17216"/>
                    <a:pt x="34978" y="16836"/>
                    <a:pt x="34667" y="16594"/>
                  </a:cubicBezTo>
                  <a:cubicBezTo>
                    <a:pt x="33216" y="15436"/>
                    <a:pt x="33907" y="14572"/>
                    <a:pt x="35099" y="13846"/>
                  </a:cubicBezTo>
                  <a:cubicBezTo>
                    <a:pt x="35860" y="13380"/>
                    <a:pt x="36724" y="13086"/>
                    <a:pt x="37018" y="12066"/>
                  </a:cubicBezTo>
                  <a:cubicBezTo>
                    <a:pt x="37156" y="11582"/>
                    <a:pt x="37709" y="11548"/>
                    <a:pt x="38158" y="11530"/>
                  </a:cubicBezTo>
                  <a:close/>
                  <a:moveTo>
                    <a:pt x="46802" y="32066"/>
                  </a:moveTo>
                  <a:cubicBezTo>
                    <a:pt x="47245" y="32066"/>
                    <a:pt x="47720" y="32469"/>
                    <a:pt x="47888" y="33080"/>
                  </a:cubicBezTo>
                  <a:cubicBezTo>
                    <a:pt x="48059" y="33754"/>
                    <a:pt x="48393" y="34225"/>
                    <a:pt x="48918" y="34225"/>
                  </a:cubicBezTo>
                  <a:cubicBezTo>
                    <a:pt x="49080" y="34225"/>
                    <a:pt x="49261" y="34181"/>
                    <a:pt x="49460" y="34083"/>
                  </a:cubicBezTo>
                  <a:cubicBezTo>
                    <a:pt x="50103" y="33764"/>
                    <a:pt x="50701" y="33627"/>
                    <a:pt x="51269" y="33627"/>
                  </a:cubicBezTo>
                  <a:cubicBezTo>
                    <a:pt x="52489" y="33627"/>
                    <a:pt x="53566" y="34260"/>
                    <a:pt x="54628" y="35085"/>
                  </a:cubicBezTo>
                  <a:cubicBezTo>
                    <a:pt x="54818" y="35223"/>
                    <a:pt x="55008" y="35396"/>
                    <a:pt x="55163" y="35586"/>
                  </a:cubicBezTo>
                  <a:cubicBezTo>
                    <a:pt x="55543" y="36053"/>
                    <a:pt x="56684" y="36070"/>
                    <a:pt x="56321" y="36917"/>
                  </a:cubicBezTo>
                  <a:lnTo>
                    <a:pt x="56321" y="36934"/>
                  </a:lnTo>
                  <a:cubicBezTo>
                    <a:pt x="56149" y="37350"/>
                    <a:pt x="55751" y="37415"/>
                    <a:pt x="55318" y="37415"/>
                  </a:cubicBezTo>
                  <a:cubicBezTo>
                    <a:pt x="55122" y="37415"/>
                    <a:pt x="54919" y="37401"/>
                    <a:pt x="54727" y="37401"/>
                  </a:cubicBezTo>
                  <a:cubicBezTo>
                    <a:pt x="54620" y="37401"/>
                    <a:pt x="54517" y="37405"/>
                    <a:pt x="54420" y="37418"/>
                  </a:cubicBezTo>
                  <a:cubicBezTo>
                    <a:pt x="54278" y="37432"/>
                    <a:pt x="54136" y="37440"/>
                    <a:pt x="53995" y="37440"/>
                  </a:cubicBezTo>
                  <a:cubicBezTo>
                    <a:pt x="53292" y="37440"/>
                    <a:pt x="52602" y="37262"/>
                    <a:pt x="51983" y="36917"/>
                  </a:cubicBezTo>
                  <a:cubicBezTo>
                    <a:pt x="51332" y="36539"/>
                    <a:pt x="50680" y="36418"/>
                    <a:pt x="50028" y="36418"/>
                  </a:cubicBezTo>
                  <a:cubicBezTo>
                    <a:pt x="48867" y="36418"/>
                    <a:pt x="47706" y="36802"/>
                    <a:pt x="46545" y="36802"/>
                  </a:cubicBezTo>
                  <a:cubicBezTo>
                    <a:pt x="46302" y="36802"/>
                    <a:pt x="46058" y="36785"/>
                    <a:pt x="45814" y="36744"/>
                  </a:cubicBezTo>
                  <a:cubicBezTo>
                    <a:pt x="44881" y="36588"/>
                    <a:pt x="44552" y="36105"/>
                    <a:pt x="44673" y="35241"/>
                  </a:cubicBezTo>
                  <a:cubicBezTo>
                    <a:pt x="44846" y="34083"/>
                    <a:pt x="45537" y="33115"/>
                    <a:pt x="46263" y="32320"/>
                  </a:cubicBezTo>
                  <a:cubicBezTo>
                    <a:pt x="46417" y="32145"/>
                    <a:pt x="46607" y="32066"/>
                    <a:pt x="46802" y="32066"/>
                  </a:cubicBezTo>
                  <a:close/>
                  <a:moveTo>
                    <a:pt x="64554" y="31370"/>
                  </a:moveTo>
                  <a:cubicBezTo>
                    <a:pt x="64860" y="31370"/>
                    <a:pt x="65185" y="31437"/>
                    <a:pt x="65532" y="31594"/>
                  </a:cubicBezTo>
                  <a:cubicBezTo>
                    <a:pt x="65878" y="31767"/>
                    <a:pt x="65930" y="32251"/>
                    <a:pt x="65636" y="32493"/>
                  </a:cubicBezTo>
                  <a:cubicBezTo>
                    <a:pt x="64063" y="34065"/>
                    <a:pt x="64184" y="35085"/>
                    <a:pt x="65895" y="36588"/>
                  </a:cubicBezTo>
                  <a:cubicBezTo>
                    <a:pt x="67243" y="37815"/>
                    <a:pt x="67762" y="39544"/>
                    <a:pt x="68211" y="41237"/>
                  </a:cubicBezTo>
                  <a:cubicBezTo>
                    <a:pt x="68364" y="41802"/>
                    <a:pt x="68057" y="41990"/>
                    <a:pt x="67435" y="41990"/>
                  </a:cubicBezTo>
                  <a:cubicBezTo>
                    <a:pt x="67353" y="41990"/>
                    <a:pt x="67266" y="41986"/>
                    <a:pt x="67174" y="41980"/>
                  </a:cubicBezTo>
                  <a:cubicBezTo>
                    <a:pt x="66517" y="41064"/>
                    <a:pt x="64271" y="41825"/>
                    <a:pt x="64547" y="39146"/>
                  </a:cubicBezTo>
                  <a:lnTo>
                    <a:pt x="64547" y="39146"/>
                  </a:lnTo>
                  <a:lnTo>
                    <a:pt x="64547" y="39181"/>
                  </a:lnTo>
                  <a:cubicBezTo>
                    <a:pt x="64685" y="37885"/>
                    <a:pt x="63113" y="36295"/>
                    <a:pt x="62076" y="35050"/>
                  </a:cubicBezTo>
                  <a:cubicBezTo>
                    <a:pt x="61281" y="34100"/>
                    <a:pt x="61385" y="33288"/>
                    <a:pt x="62076" y="32683"/>
                  </a:cubicBezTo>
                  <a:cubicBezTo>
                    <a:pt x="62786" y="32052"/>
                    <a:pt x="63577" y="31370"/>
                    <a:pt x="64554" y="31370"/>
                  </a:cubicBezTo>
                  <a:close/>
                  <a:moveTo>
                    <a:pt x="30705" y="33465"/>
                  </a:moveTo>
                  <a:cubicBezTo>
                    <a:pt x="30874" y="33465"/>
                    <a:pt x="31043" y="33637"/>
                    <a:pt x="31090" y="33720"/>
                  </a:cubicBezTo>
                  <a:cubicBezTo>
                    <a:pt x="31920" y="35120"/>
                    <a:pt x="33579" y="35258"/>
                    <a:pt x="34719" y="36226"/>
                  </a:cubicBezTo>
                  <a:cubicBezTo>
                    <a:pt x="36205" y="37487"/>
                    <a:pt x="36275" y="39354"/>
                    <a:pt x="37191" y="40822"/>
                  </a:cubicBezTo>
                  <a:cubicBezTo>
                    <a:pt x="37484" y="41289"/>
                    <a:pt x="37571" y="41980"/>
                    <a:pt x="37968" y="42274"/>
                  </a:cubicBezTo>
                  <a:cubicBezTo>
                    <a:pt x="38403" y="42594"/>
                    <a:pt x="39075" y="43217"/>
                    <a:pt x="39556" y="43217"/>
                  </a:cubicBezTo>
                  <a:cubicBezTo>
                    <a:pt x="39725" y="43217"/>
                    <a:pt x="39870" y="43141"/>
                    <a:pt x="39973" y="42948"/>
                  </a:cubicBezTo>
                  <a:cubicBezTo>
                    <a:pt x="40336" y="42274"/>
                    <a:pt x="41234" y="41289"/>
                    <a:pt x="40543" y="40183"/>
                  </a:cubicBezTo>
                  <a:cubicBezTo>
                    <a:pt x="40301" y="39803"/>
                    <a:pt x="39610" y="39215"/>
                    <a:pt x="40284" y="38904"/>
                  </a:cubicBezTo>
                  <a:cubicBezTo>
                    <a:pt x="40592" y="38765"/>
                    <a:pt x="41024" y="38302"/>
                    <a:pt x="41439" y="38302"/>
                  </a:cubicBezTo>
                  <a:cubicBezTo>
                    <a:pt x="41746" y="38302"/>
                    <a:pt x="42043" y="38557"/>
                    <a:pt x="42271" y="39388"/>
                  </a:cubicBezTo>
                  <a:cubicBezTo>
                    <a:pt x="42782" y="41200"/>
                    <a:pt x="43748" y="43327"/>
                    <a:pt x="46038" y="43327"/>
                  </a:cubicBezTo>
                  <a:cubicBezTo>
                    <a:pt x="46150" y="43327"/>
                    <a:pt x="46266" y="43321"/>
                    <a:pt x="46384" y="43311"/>
                  </a:cubicBezTo>
                  <a:cubicBezTo>
                    <a:pt x="46463" y="43304"/>
                    <a:pt x="46542" y="43300"/>
                    <a:pt x="46620" y="43300"/>
                  </a:cubicBezTo>
                  <a:cubicBezTo>
                    <a:pt x="47585" y="43300"/>
                    <a:pt x="48526" y="43802"/>
                    <a:pt x="49487" y="43802"/>
                  </a:cubicBezTo>
                  <a:cubicBezTo>
                    <a:pt x="49955" y="43802"/>
                    <a:pt x="50429" y="43683"/>
                    <a:pt x="50912" y="43328"/>
                  </a:cubicBezTo>
                  <a:cubicBezTo>
                    <a:pt x="51106" y="43191"/>
                    <a:pt x="51242" y="43135"/>
                    <a:pt x="51336" y="43135"/>
                  </a:cubicBezTo>
                  <a:cubicBezTo>
                    <a:pt x="51643" y="43135"/>
                    <a:pt x="51508" y="43736"/>
                    <a:pt x="51534" y="44054"/>
                  </a:cubicBezTo>
                  <a:cubicBezTo>
                    <a:pt x="51845" y="45488"/>
                    <a:pt x="50843" y="46629"/>
                    <a:pt x="50618" y="47942"/>
                  </a:cubicBezTo>
                  <a:cubicBezTo>
                    <a:pt x="50585" y="48144"/>
                    <a:pt x="50240" y="48444"/>
                    <a:pt x="50046" y="48444"/>
                  </a:cubicBezTo>
                  <a:cubicBezTo>
                    <a:pt x="50041" y="48444"/>
                    <a:pt x="50036" y="48444"/>
                    <a:pt x="50031" y="48444"/>
                  </a:cubicBezTo>
                  <a:cubicBezTo>
                    <a:pt x="49523" y="48389"/>
                    <a:pt x="49010" y="48372"/>
                    <a:pt x="48494" y="48372"/>
                  </a:cubicBezTo>
                  <a:cubicBezTo>
                    <a:pt x="47534" y="48372"/>
                    <a:pt x="46564" y="48433"/>
                    <a:pt x="45600" y="48433"/>
                  </a:cubicBezTo>
                  <a:cubicBezTo>
                    <a:pt x="43779" y="48433"/>
                    <a:pt x="41984" y="48215"/>
                    <a:pt x="40336" y="46957"/>
                  </a:cubicBezTo>
                  <a:cubicBezTo>
                    <a:pt x="40033" y="46726"/>
                    <a:pt x="39675" y="46623"/>
                    <a:pt x="39308" y="46623"/>
                  </a:cubicBezTo>
                  <a:cubicBezTo>
                    <a:pt x="38250" y="46623"/>
                    <a:pt x="37116" y="47478"/>
                    <a:pt x="37000" y="48582"/>
                  </a:cubicBezTo>
                  <a:cubicBezTo>
                    <a:pt x="36972" y="48947"/>
                    <a:pt x="36796" y="49426"/>
                    <a:pt x="36527" y="49426"/>
                  </a:cubicBezTo>
                  <a:cubicBezTo>
                    <a:pt x="36465" y="49426"/>
                    <a:pt x="36398" y="49400"/>
                    <a:pt x="36326" y="49342"/>
                  </a:cubicBezTo>
                  <a:cubicBezTo>
                    <a:pt x="35376" y="48582"/>
                    <a:pt x="34045" y="48772"/>
                    <a:pt x="33147" y="47752"/>
                  </a:cubicBezTo>
                  <a:cubicBezTo>
                    <a:pt x="32334" y="46819"/>
                    <a:pt x="30900" y="46785"/>
                    <a:pt x="29673" y="46525"/>
                  </a:cubicBezTo>
                  <a:cubicBezTo>
                    <a:pt x="28913" y="46370"/>
                    <a:pt x="27807" y="46422"/>
                    <a:pt x="28567" y="44953"/>
                  </a:cubicBezTo>
                  <a:cubicBezTo>
                    <a:pt x="28982" y="44158"/>
                    <a:pt x="29034" y="43000"/>
                    <a:pt x="28515" y="42257"/>
                  </a:cubicBezTo>
                  <a:cubicBezTo>
                    <a:pt x="28230" y="41853"/>
                    <a:pt x="27848" y="41722"/>
                    <a:pt x="27412" y="41722"/>
                  </a:cubicBezTo>
                  <a:cubicBezTo>
                    <a:pt x="27028" y="41722"/>
                    <a:pt x="26602" y="41823"/>
                    <a:pt x="26165" y="41928"/>
                  </a:cubicBezTo>
                  <a:cubicBezTo>
                    <a:pt x="25497" y="42091"/>
                    <a:pt x="24818" y="42128"/>
                    <a:pt x="24133" y="42128"/>
                  </a:cubicBezTo>
                  <a:cubicBezTo>
                    <a:pt x="23569" y="42128"/>
                    <a:pt x="23001" y="42103"/>
                    <a:pt x="22432" y="42103"/>
                  </a:cubicBezTo>
                  <a:cubicBezTo>
                    <a:pt x="21707" y="42103"/>
                    <a:pt x="20980" y="42143"/>
                    <a:pt x="20255" y="42326"/>
                  </a:cubicBezTo>
                  <a:cubicBezTo>
                    <a:pt x="19287" y="42585"/>
                    <a:pt x="18319" y="42862"/>
                    <a:pt x="17559" y="43380"/>
                  </a:cubicBezTo>
                  <a:cubicBezTo>
                    <a:pt x="17082" y="43705"/>
                    <a:pt x="16613" y="43798"/>
                    <a:pt x="16149" y="43798"/>
                  </a:cubicBezTo>
                  <a:cubicBezTo>
                    <a:pt x="15538" y="43798"/>
                    <a:pt x="14935" y="43638"/>
                    <a:pt x="14326" y="43638"/>
                  </a:cubicBezTo>
                  <a:cubicBezTo>
                    <a:pt x="14292" y="43638"/>
                    <a:pt x="14258" y="43638"/>
                    <a:pt x="14223" y="43639"/>
                  </a:cubicBezTo>
                  <a:cubicBezTo>
                    <a:pt x="14120" y="43622"/>
                    <a:pt x="14016" y="43570"/>
                    <a:pt x="13930" y="43466"/>
                  </a:cubicBezTo>
                  <a:cubicBezTo>
                    <a:pt x="14043" y="43169"/>
                    <a:pt x="14308" y="43115"/>
                    <a:pt x="14562" y="43115"/>
                  </a:cubicBezTo>
                  <a:cubicBezTo>
                    <a:pt x="14617" y="43115"/>
                    <a:pt x="14672" y="43118"/>
                    <a:pt x="14725" y="43121"/>
                  </a:cubicBezTo>
                  <a:cubicBezTo>
                    <a:pt x="14838" y="43129"/>
                    <a:pt x="14949" y="43134"/>
                    <a:pt x="15058" y="43134"/>
                  </a:cubicBezTo>
                  <a:cubicBezTo>
                    <a:pt x="16723" y="43134"/>
                    <a:pt x="17967" y="42165"/>
                    <a:pt x="18388" y="40771"/>
                  </a:cubicBezTo>
                  <a:cubicBezTo>
                    <a:pt x="18976" y="38921"/>
                    <a:pt x="20808" y="38282"/>
                    <a:pt x="21482" y="37090"/>
                  </a:cubicBezTo>
                  <a:cubicBezTo>
                    <a:pt x="22174" y="35865"/>
                    <a:pt x="22770" y="35535"/>
                    <a:pt x="23579" y="35535"/>
                  </a:cubicBezTo>
                  <a:cubicBezTo>
                    <a:pt x="23899" y="35535"/>
                    <a:pt x="24254" y="35587"/>
                    <a:pt x="24661" y="35655"/>
                  </a:cubicBezTo>
                  <a:cubicBezTo>
                    <a:pt x="24682" y="35658"/>
                    <a:pt x="24703" y="35660"/>
                    <a:pt x="24725" y="35660"/>
                  </a:cubicBezTo>
                  <a:cubicBezTo>
                    <a:pt x="25065" y="35660"/>
                    <a:pt x="25513" y="35293"/>
                    <a:pt x="25854" y="35033"/>
                  </a:cubicBezTo>
                  <a:cubicBezTo>
                    <a:pt x="26267" y="34730"/>
                    <a:pt x="26584" y="34570"/>
                    <a:pt x="26849" y="34570"/>
                  </a:cubicBezTo>
                  <a:cubicBezTo>
                    <a:pt x="27249" y="34570"/>
                    <a:pt x="27529" y="34935"/>
                    <a:pt x="27841" y="35724"/>
                  </a:cubicBezTo>
                  <a:cubicBezTo>
                    <a:pt x="28325" y="36969"/>
                    <a:pt x="29742" y="37574"/>
                    <a:pt x="30952" y="38161"/>
                  </a:cubicBezTo>
                  <a:cubicBezTo>
                    <a:pt x="31712" y="38524"/>
                    <a:pt x="32732" y="38852"/>
                    <a:pt x="32680" y="39716"/>
                  </a:cubicBezTo>
                  <a:cubicBezTo>
                    <a:pt x="32594" y="40753"/>
                    <a:pt x="31488" y="40546"/>
                    <a:pt x="30710" y="40615"/>
                  </a:cubicBezTo>
                  <a:cubicBezTo>
                    <a:pt x="30312" y="40650"/>
                    <a:pt x="29794" y="40598"/>
                    <a:pt x="29673" y="41134"/>
                  </a:cubicBezTo>
                  <a:cubicBezTo>
                    <a:pt x="29552" y="41669"/>
                    <a:pt x="30036" y="41825"/>
                    <a:pt x="30382" y="42032"/>
                  </a:cubicBezTo>
                  <a:cubicBezTo>
                    <a:pt x="30898" y="42336"/>
                    <a:pt x="31474" y="42934"/>
                    <a:pt x="32011" y="42934"/>
                  </a:cubicBezTo>
                  <a:cubicBezTo>
                    <a:pt x="32175" y="42934"/>
                    <a:pt x="32336" y="42878"/>
                    <a:pt x="32490" y="42741"/>
                  </a:cubicBezTo>
                  <a:cubicBezTo>
                    <a:pt x="33354" y="41963"/>
                    <a:pt x="33890" y="40788"/>
                    <a:pt x="34512" y="39751"/>
                  </a:cubicBezTo>
                  <a:cubicBezTo>
                    <a:pt x="34586" y="39617"/>
                    <a:pt x="34289" y="39329"/>
                    <a:pt x="34602" y="39329"/>
                  </a:cubicBezTo>
                  <a:cubicBezTo>
                    <a:pt x="34653" y="39329"/>
                    <a:pt x="34719" y="39337"/>
                    <a:pt x="34806" y="39354"/>
                  </a:cubicBezTo>
                  <a:cubicBezTo>
                    <a:pt x="34890" y="39373"/>
                    <a:pt x="34965" y="39381"/>
                    <a:pt x="35031" y="39381"/>
                  </a:cubicBezTo>
                  <a:cubicBezTo>
                    <a:pt x="35567" y="39381"/>
                    <a:pt x="35557" y="38814"/>
                    <a:pt x="35341" y="38507"/>
                  </a:cubicBezTo>
                  <a:cubicBezTo>
                    <a:pt x="34806" y="37781"/>
                    <a:pt x="34546" y="36658"/>
                    <a:pt x="33561" y="36468"/>
                  </a:cubicBezTo>
                  <a:cubicBezTo>
                    <a:pt x="32248" y="36208"/>
                    <a:pt x="31591" y="35206"/>
                    <a:pt x="30727" y="34411"/>
                  </a:cubicBezTo>
                  <a:cubicBezTo>
                    <a:pt x="30468" y="34169"/>
                    <a:pt x="30278" y="33910"/>
                    <a:pt x="30485" y="33599"/>
                  </a:cubicBezTo>
                  <a:cubicBezTo>
                    <a:pt x="30551" y="33501"/>
                    <a:pt x="30628" y="33465"/>
                    <a:pt x="30705" y="33465"/>
                  </a:cubicBezTo>
                  <a:close/>
                  <a:moveTo>
                    <a:pt x="65829" y="50622"/>
                  </a:moveTo>
                  <a:cubicBezTo>
                    <a:pt x="66138" y="50622"/>
                    <a:pt x="66376" y="50877"/>
                    <a:pt x="66569" y="51209"/>
                  </a:cubicBezTo>
                  <a:cubicBezTo>
                    <a:pt x="67601" y="52923"/>
                    <a:pt x="68767" y="54401"/>
                    <a:pt x="70703" y="54401"/>
                  </a:cubicBezTo>
                  <a:cubicBezTo>
                    <a:pt x="71167" y="54401"/>
                    <a:pt x="71676" y="54316"/>
                    <a:pt x="72237" y="54129"/>
                  </a:cubicBezTo>
                  <a:cubicBezTo>
                    <a:pt x="72263" y="54119"/>
                    <a:pt x="72291" y="54114"/>
                    <a:pt x="72320" y="54114"/>
                  </a:cubicBezTo>
                  <a:cubicBezTo>
                    <a:pt x="72487" y="54114"/>
                    <a:pt x="72701" y="54260"/>
                    <a:pt x="72877" y="54319"/>
                  </a:cubicBezTo>
                  <a:cubicBezTo>
                    <a:pt x="72687" y="54406"/>
                    <a:pt x="72514" y="54527"/>
                    <a:pt x="72358" y="54665"/>
                  </a:cubicBezTo>
                  <a:lnTo>
                    <a:pt x="72358" y="54682"/>
                  </a:lnTo>
                  <a:cubicBezTo>
                    <a:pt x="71675" y="55659"/>
                    <a:pt x="71022" y="56681"/>
                    <a:pt x="69648" y="56681"/>
                  </a:cubicBezTo>
                  <a:cubicBezTo>
                    <a:pt x="69564" y="56681"/>
                    <a:pt x="69476" y="56678"/>
                    <a:pt x="69386" y="56669"/>
                  </a:cubicBezTo>
                  <a:cubicBezTo>
                    <a:pt x="69196" y="56600"/>
                    <a:pt x="68850" y="56549"/>
                    <a:pt x="68850" y="56445"/>
                  </a:cubicBezTo>
                  <a:cubicBezTo>
                    <a:pt x="68660" y="54216"/>
                    <a:pt x="66258" y="53559"/>
                    <a:pt x="65532" y="51727"/>
                  </a:cubicBezTo>
                  <a:cubicBezTo>
                    <a:pt x="65394" y="51381"/>
                    <a:pt x="64945" y="50932"/>
                    <a:pt x="65584" y="50673"/>
                  </a:cubicBezTo>
                  <a:cubicBezTo>
                    <a:pt x="65670" y="50638"/>
                    <a:pt x="65752" y="50622"/>
                    <a:pt x="65829" y="50622"/>
                  </a:cubicBezTo>
                  <a:close/>
                  <a:moveTo>
                    <a:pt x="50497" y="52695"/>
                  </a:moveTo>
                  <a:lnTo>
                    <a:pt x="50497" y="52695"/>
                  </a:lnTo>
                  <a:cubicBezTo>
                    <a:pt x="51016" y="52885"/>
                    <a:pt x="51863" y="52937"/>
                    <a:pt x="52001" y="53265"/>
                  </a:cubicBezTo>
                  <a:cubicBezTo>
                    <a:pt x="53055" y="55840"/>
                    <a:pt x="55734" y="57464"/>
                    <a:pt x="56114" y="60420"/>
                  </a:cubicBezTo>
                  <a:cubicBezTo>
                    <a:pt x="56252" y="61439"/>
                    <a:pt x="57323" y="61802"/>
                    <a:pt x="57859" y="62580"/>
                  </a:cubicBezTo>
                  <a:cubicBezTo>
                    <a:pt x="59294" y="64654"/>
                    <a:pt x="60106" y="66952"/>
                    <a:pt x="60763" y="69337"/>
                  </a:cubicBezTo>
                  <a:cubicBezTo>
                    <a:pt x="58533" y="67643"/>
                    <a:pt x="56615" y="65656"/>
                    <a:pt x="55336" y="63133"/>
                  </a:cubicBezTo>
                  <a:cubicBezTo>
                    <a:pt x="55198" y="62874"/>
                    <a:pt x="55008" y="62614"/>
                    <a:pt x="55008" y="62355"/>
                  </a:cubicBezTo>
                  <a:cubicBezTo>
                    <a:pt x="54990" y="58916"/>
                    <a:pt x="52139" y="56739"/>
                    <a:pt x="51189" y="53697"/>
                  </a:cubicBezTo>
                  <a:cubicBezTo>
                    <a:pt x="51085" y="53334"/>
                    <a:pt x="50739" y="53040"/>
                    <a:pt x="50497" y="52695"/>
                  </a:cubicBezTo>
                  <a:close/>
                  <a:moveTo>
                    <a:pt x="87976" y="1"/>
                  </a:moveTo>
                  <a:cubicBezTo>
                    <a:pt x="87018" y="1"/>
                    <a:pt x="85745" y="1010"/>
                    <a:pt x="84455" y="1127"/>
                  </a:cubicBezTo>
                  <a:cubicBezTo>
                    <a:pt x="83776" y="1176"/>
                    <a:pt x="83111" y="1512"/>
                    <a:pt x="82448" y="1512"/>
                  </a:cubicBezTo>
                  <a:cubicBezTo>
                    <a:pt x="82403" y="1512"/>
                    <a:pt x="82358" y="1511"/>
                    <a:pt x="82313" y="1507"/>
                  </a:cubicBezTo>
                  <a:cubicBezTo>
                    <a:pt x="82281" y="1506"/>
                    <a:pt x="82250" y="1506"/>
                    <a:pt x="82218" y="1506"/>
                  </a:cubicBezTo>
                  <a:cubicBezTo>
                    <a:pt x="80376" y="1506"/>
                    <a:pt x="79245" y="3375"/>
                    <a:pt x="77443" y="3375"/>
                  </a:cubicBezTo>
                  <a:cubicBezTo>
                    <a:pt x="77340" y="3375"/>
                    <a:pt x="77235" y="3369"/>
                    <a:pt x="77128" y="3356"/>
                  </a:cubicBezTo>
                  <a:cubicBezTo>
                    <a:pt x="77026" y="3344"/>
                    <a:pt x="76928" y="3335"/>
                    <a:pt x="76837" y="3335"/>
                  </a:cubicBezTo>
                  <a:cubicBezTo>
                    <a:pt x="76434" y="3335"/>
                    <a:pt x="76136" y="3491"/>
                    <a:pt x="75953" y="4082"/>
                  </a:cubicBezTo>
                  <a:cubicBezTo>
                    <a:pt x="75843" y="4459"/>
                    <a:pt x="75132" y="4980"/>
                    <a:pt x="74758" y="4980"/>
                  </a:cubicBezTo>
                  <a:cubicBezTo>
                    <a:pt x="74720" y="4980"/>
                    <a:pt x="74687" y="4974"/>
                    <a:pt x="74657" y="4964"/>
                  </a:cubicBezTo>
                  <a:cubicBezTo>
                    <a:pt x="73910" y="4715"/>
                    <a:pt x="73366" y="4590"/>
                    <a:pt x="73013" y="4590"/>
                  </a:cubicBezTo>
                  <a:cubicBezTo>
                    <a:pt x="72190" y="4590"/>
                    <a:pt x="72409" y="5268"/>
                    <a:pt x="73534" y="6623"/>
                  </a:cubicBezTo>
                  <a:cubicBezTo>
                    <a:pt x="73585" y="6692"/>
                    <a:pt x="73499" y="6882"/>
                    <a:pt x="73482" y="7003"/>
                  </a:cubicBezTo>
                  <a:cubicBezTo>
                    <a:pt x="73413" y="6968"/>
                    <a:pt x="73292" y="6951"/>
                    <a:pt x="73240" y="6882"/>
                  </a:cubicBezTo>
                  <a:cubicBezTo>
                    <a:pt x="72877" y="6381"/>
                    <a:pt x="72324" y="5914"/>
                    <a:pt x="72220" y="5344"/>
                  </a:cubicBezTo>
                  <a:cubicBezTo>
                    <a:pt x="72065" y="4531"/>
                    <a:pt x="71961" y="3840"/>
                    <a:pt x="71010" y="3650"/>
                  </a:cubicBezTo>
                  <a:cubicBezTo>
                    <a:pt x="70839" y="3615"/>
                    <a:pt x="70680" y="3599"/>
                    <a:pt x="70533" y="3599"/>
                  </a:cubicBezTo>
                  <a:cubicBezTo>
                    <a:pt x="69359" y="3599"/>
                    <a:pt x="68898" y="4626"/>
                    <a:pt x="68315" y="5517"/>
                  </a:cubicBezTo>
                  <a:cubicBezTo>
                    <a:pt x="67865" y="6208"/>
                    <a:pt x="68349" y="6536"/>
                    <a:pt x="68729" y="6934"/>
                  </a:cubicBezTo>
                  <a:cubicBezTo>
                    <a:pt x="68798" y="7003"/>
                    <a:pt x="68850" y="7089"/>
                    <a:pt x="68902" y="7176"/>
                  </a:cubicBezTo>
                  <a:cubicBezTo>
                    <a:pt x="68817" y="7188"/>
                    <a:pt x="68731" y="7200"/>
                    <a:pt x="68645" y="7200"/>
                  </a:cubicBezTo>
                  <a:cubicBezTo>
                    <a:pt x="68610" y="7200"/>
                    <a:pt x="68575" y="7198"/>
                    <a:pt x="68539" y="7193"/>
                  </a:cubicBezTo>
                  <a:cubicBezTo>
                    <a:pt x="67376" y="7024"/>
                    <a:pt x="66212" y="6691"/>
                    <a:pt x="65033" y="6691"/>
                  </a:cubicBezTo>
                  <a:cubicBezTo>
                    <a:pt x="65003" y="6691"/>
                    <a:pt x="64974" y="6691"/>
                    <a:pt x="64945" y="6692"/>
                  </a:cubicBezTo>
                  <a:cubicBezTo>
                    <a:pt x="64584" y="6692"/>
                    <a:pt x="63909" y="6196"/>
                    <a:pt x="63437" y="6196"/>
                  </a:cubicBezTo>
                  <a:cubicBezTo>
                    <a:pt x="63072" y="6196"/>
                    <a:pt x="62827" y="6492"/>
                    <a:pt x="62940" y="7538"/>
                  </a:cubicBezTo>
                  <a:cubicBezTo>
                    <a:pt x="62940" y="7608"/>
                    <a:pt x="62525" y="7711"/>
                    <a:pt x="62283" y="7798"/>
                  </a:cubicBezTo>
                  <a:cubicBezTo>
                    <a:pt x="61879" y="7955"/>
                    <a:pt x="61464" y="8005"/>
                    <a:pt x="61043" y="8005"/>
                  </a:cubicBezTo>
                  <a:cubicBezTo>
                    <a:pt x="60325" y="8005"/>
                    <a:pt x="59591" y="7860"/>
                    <a:pt x="58870" y="7860"/>
                  </a:cubicBezTo>
                  <a:cubicBezTo>
                    <a:pt x="58295" y="7860"/>
                    <a:pt x="57729" y="7952"/>
                    <a:pt x="57185" y="8282"/>
                  </a:cubicBezTo>
                  <a:cubicBezTo>
                    <a:pt x="56736" y="8610"/>
                    <a:pt x="56304" y="8938"/>
                    <a:pt x="55837" y="9267"/>
                  </a:cubicBezTo>
                  <a:cubicBezTo>
                    <a:pt x="55671" y="9381"/>
                    <a:pt x="55417" y="9527"/>
                    <a:pt x="55226" y="9527"/>
                  </a:cubicBezTo>
                  <a:cubicBezTo>
                    <a:pt x="55100" y="9527"/>
                    <a:pt x="55001" y="9463"/>
                    <a:pt x="54973" y="9284"/>
                  </a:cubicBezTo>
                  <a:cubicBezTo>
                    <a:pt x="54819" y="8258"/>
                    <a:pt x="54209" y="8003"/>
                    <a:pt x="53545" y="8003"/>
                  </a:cubicBezTo>
                  <a:cubicBezTo>
                    <a:pt x="53313" y="8003"/>
                    <a:pt x="53075" y="8034"/>
                    <a:pt x="52848" y="8074"/>
                  </a:cubicBezTo>
                  <a:cubicBezTo>
                    <a:pt x="51897" y="8264"/>
                    <a:pt x="52416" y="9232"/>
                    <a:pt x="52295" y="9854"/>
                  </a:cubicBezTo>
                  <a:cubicBezTo>
                    <a:pt x="52156" y="10615"/>
                    <a:pt x="51344" y="10096"/>
                    <a:pt x="50998" y="10545"/>
                  </a:cubicBezTo>
                  <a:cubicBezTo>
                    <a:pt x="50949" y="10609"/>
                    <a:pt x="50910" y="10635"/>
                    <a:pt x="50880" y="10635"/>
                  </a:cubicBezTo>
                  <a:cubicBezTo>
                    <a:pt x="50805" y="10635"/>
                    <a:pt x="50789" y="10469"/>
                    <a:pt x="50826" y="10321"/>
                  </a:cubicBezTo>
                  <a:cubicBezTo>
                    <a:pt x="51033" y="8990"/>
                    <a:pt x="50221" y="8541"/>
                    <a:pt x="49115" y="8161"/>
                  </a:cubicBezTo>
                  <a:cubicBezTo>
                    <a:pt x="46903" y="7400"/>
                    <a:pt x="44535" y="7176"/>
                    <a:pt x="42392" y="6070"/>
                  </a:cubicBezTo>
                  <a:cubicBezTo>
                    <a:pt x="41667" y="5697"/>
                    <a:pt x="40852" y="5536"/>
                    <a:pt x="40032" y="5536"/>
                  </a:cubicBezTo>
                  <a:cubicBezTo>
                    <a:pt x="39367" y="5536"/>
                    <a:pt x="38699" y="5642"/>
                    <a:pt x="38072" y="5828"/>
                  </a:cubicBezTo>
                  <a:cubicBezTo>
                    <a:pt x="36033" y="6432"/>
                    <a:pt x="33838" y="6502"/>
                    <a:pt x="31989" y="7642"/>
                  </a:cubicBezTo>
                  <a:cubicBezTo>
                    <a:pt x="31263" y="8074"/>
                    <a:pt x="29206" y="7296"/>
                    <a:pt x="30226" y="9457"/>
                  </a:cubicBezTo>
                  <a:cubicBezTo>
                    <a:pt x="30278" y="9578"/>
                    <a:pt x="29984" y="9854"/>
                    <a:pt x="29863" y="10079"/>
                  </a:cubicBezTo>
                  <a:cubicBezTo>
                    <a:pt x="28653" y="12412"/>
                    <a:pt x="26234" y="13224"/>
                    <a:pt x="24229" y="14555"/>
                  </a:cubicBezTo>
                  <a:cubicBezTo>
                    <a:pt x="22536" y="15661"/>
                    <a:pt x="23486" y="17112"/>
                    <a:pt x="24022" y="18236"/>
                  </a:cubicBezTo>
                  <a:cubicBezTo>
                    <a:pt x="24328" y="18880"/>
                    <a:pt x="24972" y="19241"/>
                    <a:pt x="25627" y="19241"/>
                  </a:cubicBezTo>
                  <a:cubicBezTo>
                    <a:pt x="26008" y="19241"/>
                    <a:pt x="26393" y="19119"/>
                    <a:pt x="26718" y="18858"/>
                  </a:cubicBezTo>
                  <a:cubicBezTo>
                    <a:pt x="27228" y="18470"/>
                    <a:pt x="27609" y="18306"/>
                    <a:pt x="27903" y="18306"/>
                  </a:cubicBezTo>
                  <a:cubicBezTo>
                    <a:pt x="28524" y="18306"/>
                    <a:pt x="28748" y="19042"/>
                    <a:pt x="28947" y="19946"/>
                  </a:cubicBezTo>
                  <a:cubicBezTo>
                    <a:pt x="28982" y="20223"/>
                    <a:pt x="28999" y="20499"/>
                    <a:pt x="28982" y="20776"/>
                  </a:cubicBezTo>
                  <a:cubicBezTo>
                    <a:pt x="28774" y="20551"/>
                    <a:pt x="28446" y="20396"/>
                    <a:pt x="28342" y="20119"/>
                  </a:cubicBezTo>
                  <a:cubicBezTo>
                    <a:pt x="28124" y="19474"/>
                    <a:pt x="27849" y="19234"/>
                    <a:pt x="27528" y="19234"/>
                  </a:cubicBezTo>
                  <a:cubicBezTo>
                    <a:pt x="27212" y="19234"/>
                    <a:pt x="26853" y="19465"/>
                    <a:pt x="26459" y="19774"/>
                  </a:cubicBezTo>
                  <a:cubicBezTo>
                    <a:pt x="25646" y="20379"/>
                    <a:pt x="25958" y="21260"/>
                    <a:pt x="26130" y="21899"/>
                  </a:cubicBezTo>
                  <a:cubicBezTo>
                    <a:pt x="26459" y="23092"/>
                    <a:pt x="25802" y="23420"/>
                    <a:pt x="24938" y="23627"/>
                  </a:cubicBezTo>
                  <a:cubicBezTo>
                    <a:pt x="23901" y="23852"/>
                    <a:pt x="23072" y="24267"/>
                    <a:pt x="22553" y="25269"/>
                  </a:cubicBezTo>
                  <a:cubicBezTo>
                    <a:pt x="22273" y="25790"/>
                    <a:pt x="21682" y="26043"/>
                    <a:pt x="21157" y="26043"/>
                  </a:cubicBezTo>
                  <a:cubicBezTo>
                    <a:pt x="21003" y="26043"/>
                    <a:pt x="20855" y="26021"/>
                    <a:pt x="20721" y="25978"/>
                  </a:cubicBezTo>
                  <a:cubicBezTo>
                    <a:pt x="20116" y="25788"/>
                    <a:pt x="20963" y="25390"/>
                    <a:pt x="20946" y="24993"/>
                  </a:cubicBezTo>
                  <a:cubicBezTo>
                    <a:pt x="20929" y="24543"/>
                    <a:pt x="20738" y="24129"/>
                    <a:pt x="20410" y="23835"/>
                  </a:cubicBezTo>
                  <a:cubicBezTo>
                    <a:pt x="19477" y="22798"/>
                    <a:pt x="18354" y="21709"/>
                    <a:pt x="18215" y="20327"/>
                  </a:cubicBezTo>
                  <a:cubicBezTo>
                    <a:pt x="18098" y="19205"/>
                    <a:pt x="17332" y="17921"/>
                    <a:pt x="16200" y="17921"/>
                  </a:cubicBezTo>
                  <a:cubicBezTo>
                    <a:pt x="16163" y="17921"/>
                    <a:pt x="16127" y="17922"/>
                    <a:pt x="16090" y="17925"/>
                  </a:cubicBezTo>
                  <a:cubicBezTo>
                    <a:pt x="15105" y="17976"/>
                    <a:pt x="14068" y="18391"/>
                    <a:pt x="13930" y="19221"/>
                  </a:cubicBezTo>
                  <a:cubicBezTo>
                    <a:pt x="13670" y="20430"/>
                    <a:pt x="14137" y="21709"/>
                    <a:pt x="15122" y="22470"/>
                  </a:cubicBezTo>
                  <a:cubicBezTo>
                    <a:pt x="15952" y="23109"/>
                    <a:pt x="15952" y="23161"/>
                    <a:pt x="15589" y="23489"/>
                  </a:cubicBezTo>
                  <a:cubicBezTo>
                    <a:pt x="14448" y="24526"/>
                    <a:pt x="14915" y="26116"/>
                    <a:pt x="14292" y="27377"/>
                  </a:cubicBezTo>
                  <a:cubicBezTo>
                    <a:pt x="14143" y="27687"/>
                    <a:pt x="14420" y="27822"/>
                    <a:pt x="14760" y="27822"/>
                  </a:cubicBezTo>
                  <a:cubicBezTo>
                    <a:pt x="14932" y="27822"/>
                    <a:pt x="15121" y="27787"/>
                    <a:pt x="15278" y="27723"/>
                  </a:cubicBezTo>
                  <a:cubicBezTo>
                    <a:pt x="16510" y="27249"/>
                    <a:pt x="17772" y="26919"/>
                    <a:pt x="19089" y="26919"/>
                  </a:cubicBezTo>
                  <a:cubicBezTo>
                    <a:pt x="19212" y="26919"/>
                    <a:pt x="19336" y="26922"/>
                    <a:pt x="19460" y="26928"/>
                  </a:cubicBezTo>
                  <a:lnTo>
                    <a:pt x="19874" y="26928"/>
                  </a:lnTo>
                  <a:cubicBezTo>
                    <a:pt x="19840" y="26997"/>
                    <a:pt x="19823" y="27136"/>
                    <a:pt x="19753" y="27153"/>
                  </a:cubicBezTo>
                  <a:cubicBezTo>
                    <a:pt x="18630" y="27585"/>
                    <a:pt x="17507" y="28138"/>
                    <a:pt x="16349" y="28414"/>
                  </a:cubicBezTo>
                  <a:cubicBezTo>
                    <a:pt x="15692" y="28570"/>
                    <a:pt x="14915" y="28432"/>
                    <a:pt x="14707" y="29209"/>
                  </a:cubicBezTo>
                  <a:cubicBezTo>
                    <a:pt x="14500" y="30004"/>
                    <a:pt x="15260" y="30194"/>
                    <a:pt x="15813" y="30505"/>
                  </a:cubicBezTo>
                  <a:cubicBezTo>
                    <a:pt x="17161" y="31318"/>
                    <a:pt x="17369" y="32493"/>
                    <a:pt x="16867" y="33910"/>
                  </a:cubicBezTo>
                  <a:cubicBezTo>
                    <a:pt x="16664" y="34503"/>
                    <a:pt x="16349" y="34660"/>
                    <a:pt x="15995" y="34660"/>
                  </a:cubicBezTo>
                  <a:cubicBezTo>
                    <a:pt x="15626" y="34660"/>
                    <a:pt x="15216" y="34489"/>
                    <a:pt x="14846" y="34463"/>
                  </a:cubicBezTo>
                  <a:cubicBezTo>
                    <a:pt x="13916" y="34396"/>
                    <a:pt x="12987" y="34203"/>
                    <a:pt x="12042" y="34203"/>
                  </a:cubicBezTo>
                  <a:cubicBezTo>
                    <a:pt x="12003" y="34203"/>
                    <a:pt x="11964" y="34203"/>
                    <a:pt x="11925" y="34204"/>
                  </a:cubicBezTo>
                  <a:cubicBezTo>
                    <a:pt x="10957" y="34221"/>
                    <a:pt x="9834" y="34446"/>
                    <a:pt x="9989" y="35759"/>
                  </a:cubicBezTo>
                  <a:cubicBezTo>
                    <a:pt x="10128" y="37072"/>
                    <a:pt x="9834" y="38196"/>
                    <a:pt x="9592" y="39440"/>
                  </a:cubicBezTo>
                  <a:cubicBezTo>
                    <a:pt x="9385" y="40425"/>
                    <a:pt x="8693" y="42136"/>
                    <a:pt x="10542" y="42464"/>
                  </a:cubicBezTo>
                  <a:cubicBezTo>
                    <a:pt x="12305" y="42758"/>
                    <a:pt x="12668" y="43173"/>
                    <a:pt x="11735" y="44693"/>
                  </a:cubicBezTo>
                  <a:cubicBezTo>
                    <a:pt x="11389" y="45298"/>
                    <a:pt x="10888" y="45817"/>
                    <a:pt x="10300" y="46180"/>
                  </a:cubicBezTo>
                  <a:cubicBezTo>
                    <a:pt x="9108" y="46871"/>
                    <a:pt x="8175" y="47752"/>
                    <a:pt x="8313" y="49342"/>
                  </a:cubicBezTo>
                  <a:cubicBezTo>
                    <a:pt x="8365" y="49964"/>
                    <a:pt x="8140" y="50707"/>
                    <a:pt x="7535" y="50967"/>
                  </a:cubicBezTo>
                  <a:cubicBezTo>
                    <a:pt x="5168" y="52021"/>
                    <a:pt x="3768" y="53991"/>
                    <a:pt x="2662" y="56168"/>
                  </a:cubicBezTo>
                  <a:cubicBezTo>
                    <a:pt x="1781" y="57931"/>
                    <a:pt x="122" y="59469"/>
                    <a:pt x="1279" y="61888"/>
                  </a:cubicBezTo>
                  <a:cubicBezTo>
                    <a:pt x="1936" y="63236"/>
                    <a:pt x="1573" y="64792"/>
                    <a:pt x="830" y="66209"/>
                  </a:cubicBezTo>
                  <a:cubicBezTo>
                    <a:pt x="1" y="67781"/>
                    <a:pt x="744" y="70477"/>
                    <a:pt x="2126" y="71687"/>
                  </a:cubicBezTo>
                  <a:cubicBezTo>
                    <a:pt x="2420" y="71946"/>
                    <a:pt x="2662" y="72240"/>
                    <a:pt x="2818" y="72586"/>
                  </a:cubicBezTo>
                  <a:cubicBezTo>
                    <a:pt x="4027" y="75040"/>
                    <a:pt x="5462" y="77303"/>
                    <a:pt x="7881" y="78755"/>
                  </a:cubicBezTo>
                  <a:cubicBezTo>
                    <a:pt x="8455" y="79100"/>
                    <a:pt x="9053" y="79742"/>
                    <a:pt x="9645" y="79742"/>
                  </a:cubicBezTo>
                  <a:cubicBezTo>
                    <a:pt x="9766" y="79742"/>
                    <a:pt x="9887" y="79715"/>
                    <a:pt x="10007" y="79654"/>
                  </a:cubicBezTo>
                  <a:cubicBezTo>
                    <a:pt x="12824" y="78254"/>
                    <a:pt x="16142" y="79844"/>
                    <a:pt x="18889" y="77874"/>
                  </a:cubicBezTo>
                  <a:cubicBezTo>
                    <a:pt x="19326" y="77562"/>
                    <a:pt x="19938" y="77352"/>
                    <a:pt x="20558" y="77352"/>
                  </a:cubicBezTo>
                  <a:cubicBezTo>
                    <a:pt x="21313" y="77352"/>
                    <a:pt x="22079" y="77663"/>
                    <a:pt x="22553" y="78479"/>
                  </a:cubicBezTo>
                  <a:cubicBezTo>
                    <a:pt x="23034" y="79313"/>
                    <a:pt x="23538" y="79650"/>
                    <a:pt x="24283" y="79650"/>
                  </a:cubicBezTo>
                  <a:cubicBezTo>
                    <a:pt x="24448" y="79650"/>
                    <a:pt x="24626" y="79633"/>
                    <a:pt x="24817" y="79602"/>
                  </a:cubicBezTo>
                  <a:cubicBezTo>
                    <a:pt x="24994" y="79574"/>
                    <a:pt x="25161" y="79561"/>
                    <a:pt x="25317" y="79561"/>
                  </a:cubicBezTo>
                  <a:cubicBezTo>
                    <a:pt x="26715" y="79561"/>
                    <a:pt x="27271" y="80640"/>
                    <a:pt x="26960" y="82194"/>
                  </a:cubicBezTo>
                  <a:cubicBezTo>
                    <a:pt x="26683" y="83611"/>
                    <a:pt x="25750" y="85218"/>
                    <a:pt x="26545" y="86480"/>
                  </a:cubicBezTo>
                  <a:cubicBezTo>
                    <a:pt x="27461" y="87966"/>
                    <a:pt x="28515" y="89400"/>
                    <a:pt x="29206" y="90973"/>
                  </a:cubicBezTo>
                  <a:cubicBezTo>
                    <a:pt x="30416" y="93721"/>
                    <a:pt x="31298" y="96641"/>
                    <a:pt x="29777" y="99631"/>
                  </a:cubicBezTo>
                  <a:cubicBezTo>
                    <a:pt x="28809" y="101515"/>
                    <a:pt x="28619" y="103502"/>
                    <a:pt x="29535" y="105369"/>
                  </a:cubicBezTo>
                  <a:cubicBezTo>
                    <a:pt x="30503" y="107321"/>
                    <a:pt x="31228" y="109274"/>
                    <a:pt x="31488" y="111469"/>
                  </a:cubicBezTo>
                  <a:cubicBezTo>
                    <a:pt x="31712" y="113456"/>
                    <a:pt x="31695" y="115599"/>
                    <a:pt x="33371" y="117172"/>
                  </a:cubicBezTo>
                  <a:cubicBezTo>
                    <a:pt x="34322" y="118088"/>
                    <a:pt x="34581" y="119436"/>
                    <a:pt x="35013" y="120645"/>
                  </a:cubicBezTo>
                  <a:cubicBezTo>
                    <a:pt x="35393" y="121717"/>
                    <a:pt x="34546" y="123065"/>
                    <a:pt x="35843" y="123998"/>
                  </a:cubicBezTo>
                  <a:cubicBezTo>
                    <a:pt x="36206" y="124270"/>
                    <a:pt x="36549" y="124368"/>
                    <a:pt x="36881" y="124368"/>
                  </a:cubicBezTo>
                  <a:cubicBezTo>
                    <a:pt x="37735" y="124368"/>
                    <a:pt x="38515" y="123721"/>
                    <a:pt x="39372" y="123721"/>
                  </a:cubicBezTo>
                  <a:cubicBezTo>
                    <a:pt x="39388" y="123721"/>
                    <a:pt x="39404" y="123721"/>
                    <a:pt x="39420" y="123721"/>
                  </a:cubicBezTo>
                  <a:cubicBezTo>
                    <a:pt x="39526" y="123724"/>
                    <a:pt x="39630" y="123725"/>
                    <a:pt x="39734" y="123725"/>
                  </a:cubicBezTo>
                  <a:cubicBezTo>
                    <a:pt x="44937" y="123725"/>
                    <a:pt x="47636" y="120353"/>
                    <a:pt x="49754" y="116100"/>
                  </a:cubicBezTo>
                  <a:cubicBezTo>
                    <a:pt x="50186" y="115236"/>
                    <a:pt x="49720" y="113957"/>
                    <a:pt x="50826" y="113508"/>
                  </a:cubicBezTo>
                  <a:cubicBezTo>
                    <a:pt x="52761" y="112713"/>
                    <a:pt x="53193" y="111175"/>
                    <a:pt x="52692" y="109499"/>
                  </a:cubicBezTo>
                  <a:cubicBezTo>
                    <a:pt x="51949" y="107028"/>
                    <a:pt x="53297" y="106112"/>
                    <a:pt x="55181" y="105282"/>
                  </a:cubicBezTo>
                  <a:cubicBezTo>
                    <a:pt x="57773" y="104107"/>
                    <a:pt x="59449" y="98370"/>
                    <a:pt x="57963" y="96071"/>
                  </a:cubicBezTo>
                  <a:cubicBezTo>
                    <a:pt x="56770" y="94239"/>
                    <a:pt x="57099" y="92217"/>
                    <a:pt x="57444" y="90316"/>
                  </a:cubicBezTo>
                  <a:cubicBezTo>
                    <a:pt x="57911" y="87621"/>
                    <a:pt x="59933" y="85823"/>
                    <a:pt x="61851" y="84164"/>
                  </a:cubicBezTo>
                  <a:cubicBezTo>
                    <a:pt x="65601" y="80915"/>
                    <a:pt x="68055" y="76992"/>
                    <a:pt x="69109" y="72171"/>
                  </a:cubicBezTo>
                  <a:cubicBezTo>
                    <a:pt x="69271" y="71459"/>
                    <a:pt x="69266" y="70656"/>
                    <a:pt x="68371" y="70656"/>
                  </a:cubicBezTo>
                  <a:cubicBezTo>
                    <a:pt x="68311" y="70656"/>
                    <a:pt x="68246" y="70660"/>
                    <a:pt x="68176" y="70667"/>
                  </a:cubicBezTo>
                  <a:cubicBezTo>
                    <a:pt x="67157" y="70788"/>
                    <a:pt x="66154" y="71151"/>
                    <a:pt x="65152" y="71462"/>
                  </a:cubicBezTo>
                  <a:cubicBezTo>
                    <a:pt x="63960" y="71826"/>
                    <a:pt x="63201" y="72060"/>
                    <a:pt x="62664" y="72060"/>
                  </a:cubicBezTo>
                  <a:cubicBezTo>
                    <a:pt x="61727" y="72060"/>
                    <a:pt x="61469" y="71346"/>
                    <a:pt x="60772" y="69363"/>
                  </a:cubicBezTo>
                  <a:lnTo>
                    <a:pt x="60772" y="69363"/>
                  </a:lnTo>
                  <a:cubicBezTo>
                    <a:pt x="61180" y="69747"/>
                    <a:pt x="61467" y="70422"/>
                    <a:pt x="62074" y="70422"/>
                  </a:cubicBezTo>
                  <a:cubicBezTo>
                    <a:pt x="62180" y="70422"/>
                    <a:pt x="62295" y="70402"/>
                    <a:pt x="62422" y="70356"/>
                  </a:cubicBezTo>
                  <a:cubicBezTo>
                    <a:pt x="63925" y="69769"/>
                    <a:pt x="65359" y="68957"/>
                    <a:pt x="66897" y="68455"/>
                  </a:cubicBezTo>
                  <a:cubicBezTo>
                    <a:pt x="68660" y="67868"/>
                    <a:pt x="69732" y="66209"/>
                    <a:pt x="71391" y="65639"/>
                  </a:cubicBezTo>
                  <a:cubicBezTo>
                    <a:pt x="73706" y="64844"/>
                    <a:pt x="76713" y="61716"/>
                    <a:pt x="76852" y="59383"/>
                  </a:cubicBezTo>
                  <a:cubicBezTo>
                    <a:pt x="76834" y="59072"/>
                    <a:pt x="76713" y="58778"/>
                    <a:pt x="76506" y="58553"/>
                  </a:cubicBezTo>
                  <a:cubicBezTo>
                    <a:pt x="75918" y="57810"/>
                    <a:pt x="75279" y="57153"/>
                    <a:pt x="74294" y="56894"/>
                  </a:cubicBezTo>
                  <a:cubicBezTo>
                    <a:pt x="73724" y="56739"/>
                    <a:pt x="73378" y="56151"/>
                    <a:pt x="73516" y="55581"/>
                  </a:cubicBezTo>
                  <a:cubicBezTo>
                    <a:pt x="73547" y="55481"/>
                    <a:pt x="73596" y="55443"/>
                    <a:pt x="73658" y="55443"/>
                  </a:cubicBezTo>
                  <a:cubicBezTo>
                    <a:pt x="73842" y="55443"/>
                    <a:pt x="74139" y="55775"/>
                    <a:pt x="74398" y="55788"/>
                  </a:cubicBezTo>
                  <a:cubicBezTo>
                    <a:pt x="75366" y="55855"/>
                    <a:pt x="76333" y="56083"/>
                    <a:pt x="77301" y="56083"/>
                  </a:cubicBezTo>
                  <a:cubicBezTo>
                    <a:pt x="77336" y="56083"/>
                    <a:pt x="77370" y="56083"/>
                    <a:pt x="77405" y="56082"/>
                  </a:cubicBezTo>
                  <a:cubicBezTo>
                    <a:pt x="77727" y="56077"/>
                    <a:pt x="78047" y="56073"/>
                    <a:pt x="78365" y="56073"/>
                  </a:cubicBezTo>
                  <a:cubicBezTo>
                    <a:pt x="81373" y="56073"/>
                    <a:pt x="84145" y="56432"/>
                    <a:pt x="85786" y="59746"/>
                  </a:cubicBezTo>
                  <a:cubicBezTo>
                    <a:pt x="86136" y="60461"/>
                    <a:pt x="86996" y="61297"/>
                    <a:pt x="88011" y="61297"/>
                  </a:cubicBezTo>
                  <a:cubicBezTo>
                    <a:pt x="88148" y="61297"/>
                    <a:pt x="88288" y="61282"/>
                    <a:pt x="88430" y="61249"/>
                  </a:cubicBezTo>
                  <a:cubicBezTo>
                    <a:pt x="88585" y="61214"/>
                    <a:pt x="88707" y="61197"/>
                    <a:pt x="88805" y="61197"/>
                  </a:cubicBezTo>
                  <a:cubicBezTo>
                    <a:pt x="89186" y="61197"/>
                    <a:pt x="89184" y="61451"/>
                    <a:pt x="89225" y="61837"/>
                  </a:cubicBezTo>
                  <a:cubicBezTo>
                    <a:pt x="89830" y="66554"/>
                    <a:pt x="91990" y="70685"/>
                    <a:pt x="94133" y="74832"/>
                  </a:cubicBezTo>
                  <a:cubicBezTo>
                    <a:pt x="94475" y="75487"/>
                    <a:pt x="94875" y="75911"/>
                    <a:pt x="95290" y="75911"/>
                  </a:cubicBezTo>
                  <a:cubicBezTo>
                    <a:pt x="95652" y="75911"/>
                    <a:pt x="96025" y="75588"/>
                    <a:pt x="96380" y="74815"/>
                  </a:cubicBezTo>
                  <a:cubicBezTo>
                    <a:pt x="96622" y="74297"/>
                    <a:pt x="97036" y="73847"/>
                    <a:pt x="97382" y="73381"/>
                  </a:cubicBezTo>
                  <a:lnTo>
                    <a:pt x="97538" y="73225"/>
                  </a:lnTo>
                  <a:cubicBezTo>
                    <a:pt x="98212" y="71618"/>
                    <a:pt x="98056" y="69993"/>
                    <a:pt x="97831" y="68317"/>
                  </a:cubicBezTo>
                  <a:cubicBezTo>
                    <a:pt x="97762" y="67833"/>
                    <a:pt x="97589" y="67211"/>
                    <a:pt x="98194" y="67073"/>
                  </a:cubicBezTo>
                  <a:cubicBezTo>
                    <a:pt x="99784" y="66693"/>
                    <a:pt x="100268" y="65258"/>
                    <a:pt x="101149" y="64187"/>
                  </a:cubicBezTo>
                  <a:cubicBezTo>
                    <a:pt x="102117" y="63029"/>
                    <a:pt x="103137" y="61629"/>
                    <a:pt x="104243" y="60903"/>
                  </a:cubicBezTo>
                  <a:cubicBezTo>
                    <a:pt x="104825" y="60515"/>
                    <a:pt x="105739" y="59942"/>
                    <a:pt x="106690" y="59942"/>
                  </a:cubicBezTo>
                  <a:cubicBezTo>
                    <a:pt x="107432" y="59942"/>
                    <a:pt x="108196" y="60292"/>
                    <a:pt x="108840" y="61353"/>
                  </a:cubicBezTo>
                  <a:cubicBezTo>
                    <a:pt x="109600" y="62632"/>
                    <a:pt x="110965" y="63565"/>
                    <a:pt x="111017" y="65258"/>
                  </a:cubicBezTo>
                  <a:cubicBezTo>
                    <a:pt x="111034" y="65777"/>
                    <a:pt x="110793" y="66433"/>
                    <a:pt x="111536" y="66693"/>
                  </a:cubicBezTo>
                  <a:cubicBezTo>
                    <a:pt x="111822" y="66788"/>
                    <a:pt x="112112" y="66862"/>
                    <a:pt x="112391" y="66862"/>
                  </a:cubicBezTo>
                  <a:cubicBezTo>
                    <a:pt x="112769" y="66862"/>
                    <a:pt x="113129" y="66727"/>
                    <a:pt x="113437" y="66330"/>
                  </a:cubicBezTo>
                  <a:cubicBezTo>
                    <a:pt x="113540" y="66205"/>
                    <a:pt x="113700" y="66031"/>
                    <a:pt x="113856" y="66031"/>
                  </a:cubicBezTo>
                  <a:cubicBezTo>
                    <a:pt x="113960" y="66031"/>
                    <a:pt x="114062" y="66109"/>
                    <a:pt x="114145" y="66330"/>
                  </a:cubicBezTo>
                  <a:cubicBezTo>
                    <a:pt x="114543" y="67470"/>
                    <a:pt x="114802" y="68663"/>
                    <a:pt x="115286" y="69769"/>
                  </a:cubicBezTo>
                  <a:cubicBezTo>
                    <a:pt x="116271" y="72033"/>
                    <a:pt x="114940" y="74677"/>
                    <a:pt x="116858" y="76871"/>
                  </a:cubicBezTo>
                  <a:cubicBezTo>
                    <a:pt x="118241" y="78461"/>
                    <a:pt x="118362" y="80915"/>
                    <a:pt x="119900" y="82540"/>
                  </a:cubicBezTo>
                  <a:cubicBezTo>
                    <a:pt x="120401" y="82799"/>
                    <a:pt x="120885" y="83058"/>
                    <a:pt x="121386" y="83300"/>
                  </a:cubicBezTo>
                  <a:cubicBezTo>
                    <a:pt x="121538" y="83368"/>
                    <a:pt x="121699" y="83403"/>
                    <a:pt x="121846" y="83403"/>
                  </a:cubicBezTo>
                  <a:cubicBezTo>
                    <a:pt x="122184" y="83403"/>
                    <a:pt x="122445" y="83219"/>
                    <a:pt x="122337" y="82834"/>
                  </a:cubicBezTo>
                  <a:cubicBezTo>
                    <a:pt x="121818" y="80915"/>
                    <a:pt x="121991" y="78790"/>
                    <a:pt x="119969" y="77355"/>
                  </a:cubicBezTo>
                  <a:cubicBezTo>
                    <a:pt x="118414" y="76249"/>
                    <a:pt x="117239" y="74521"/>
                    <a:pt x="117463" y="72378"/>
                  </a:cubicBezTo>
                  <a:cubicBezTo>
                    <a:pt x="117528" y="71821"/>
                    <a:pt x="116912" y="70437"/>
                    <a:pt x="117695" y="70437"/>
                  </a:cubicBezTo>
                  <a:cubicBezTo>
                    <a:pt x="117955" y="70437"/>
                    <a:pt x="118371" y="70590"/>
                    <a:pt x="119019" y="70979"/>
                  </a:cubicBezTo>
                  <a:cubicBezTo>
                    <a:pt x="120194" y="71704"/>
                    <a:pt x="121386" y="72655"/>
                    <a:pt x="121749" y="73605"/>
                  </a:cubicBezTo>
                  <a:cubicBezTo>
                    <a:pt x="122096" y="74553"/>
                    <a:pt x="122434" y="74868"/>
                    <a:pt x="122776" y="74868"/>
                  </a:cubicBezTo>
                  <a:cubicBezTo>
                    <a:pt x="123251" y="74868"/>
                    <a:pt x="123732" y="74261"/>
                    <a:pt x="124255" y="73899"/>
                  </a:cubicBezTo>
                  <a:cubicBezTo>
                    <a:pt x="124531" y="73709"/>
                    <a:pt x="124721" y="73363"/>
                    <a:pt x="125015" y="73208"/>
                  </a:cubicBezTo>
                  <a:cubicBezTo>
                    <a:pt x="126743" y="72292"/>
                    <a:pt x="127210" y="70961"/>
                    <a:pt x="126743" y="69043"/>
                  </a:cubicBezTo>
                  <a:cubicBezTo>
                    <a:pt x="126294" y="67159"/>
                    <a:pt x="125292" y="65725"/>
                    <a:pt x="123892" y="64533"/>
                  </a:cubicBezTo>
                  <a:cubicBezTo>
                    <a:pt x="122596" y="63409"/>
                    <a:pt x="122285" y="62459"/>
                    <a:pt x="123546" y="61059"/>
                  </a:cubicBezTo>
                  <a:cubicBezTo>
                    <a:pt x="123952" y="60621"/>
                    <a:pt x="124332" y="60388"/>
                    <a:pt x="124705" y="60388"/>
                  </a:cubicBezTo>
                  <a:cubicBezTo>
                    <a:pt x="124936" y="60388"/>
                    <a:pt x="125164" y="60477"/>
                    <a:pt x="125395" y="60661"/>
                  </a:cubicBezTo>
                  <a:cubicBezTo>
                    <a:pt x="126000" y="61145"/>
                    <a:pt x="125810" y="61750"/>
                    <a:pt x="125119" y="62234"/>
                  </a:cubicBezTo>
                  <a:cubicBezTo>
                    <a:pt x="124618" y="62580"/>
                    <a:pt x="124445" y="63219"/>
                    <a:pt x="125050" y="63651"/>
                  </a:cubicBezTo>
                  <a:cubicBezTo>
                    <a:pt x="125442" y="63952"/>
                    <a:pt x="125858" y="64171"/>
                    <a:pt x="126268" y="64171"/>
                  </a:cubicBezTo>
                  <a:cubicBezTo>
                    <a:pt x="126635" y="64171"/>
                    <a:pt x="126996" y="63996"/>
                    <a:pt x="127331" y="63547"/>
                  </a:cubicBezTo>
                  <a:cubicBezTo>
                    <a:pt x="127694" y="63046"/>
                    <a:pt x="128247" y="62407"/>
                    <a:pt x="127469" y="61940"/>
                  </a:cubicBezTo>
                  <a:cubicBezTo>
                    <a:pt x="126398" y="61318"/>
                    <a:pt x="127037" y="61042"/>
                    <a:pt x="127590" y="60696"/>
                  </a:cubicBezTo>
                  <a:cubicBezTo>
                    <a:pt x="130061" y="59210"/>
                    <a:pt x="133449" y="59106"/>
                    <a:pt x="134693" y="55788"/>
                  </a:cubicBezTo>
                  <a:cubicBezTo>
                    <a:pt x="135298" y="54146"/>
                    <a:pt x="136093" y="52591"/>
                    <a:pt x="135851" y="50725"/>
                  </a:cubicBezTo>
                  <a:cubicBezTo>
                    <a:pt x="135522" y="48288"/>
                    <a:pt x="133932" y="46629"/>
                    <a:pt x="132498" y="44918"/>
                  </a:cubicBezTo>
                  <a:cubicBezTo>
                    <a:pt x="131772" y="44054"/>
                    <a:pt x="131859" y="43622"/>
                    <a:pt x="132775" y="43173"/>
                  </a:cubicBezTo>
                  <a:cubicBezTo>
                    <a:pt x="133120" y="43017"/>
                    <a:pt x="133397" y="42793"/>
                    <a:pt x="133362" y="42378"/>
                  </a:cubicBezTo>
                  <a:cubicBezTo>
                    <a:pt x="133345" y="41980"/>
                    <a:pt x="133051" y="41635"/>
                    <a:pt x="132671" y="41548"/>
                  </a:cubicBezTo>
                  <a:cubicBezTo>
                    <a:pt x="132227" y="41462"/>
                    <a:pt x="131713" y="41297"/>
                    <a:pt x="131292" y="41297"/>
                  </a:cubicBezTo>
                  <a:cubicBezTo>
                    <a:pt x="131122" y="41297"/>
                    <a:pt x="130968" y="41323"/>
                    <a:pt x="130839" y="41393"/>
                  </a:cubicBezTo>
                  <a:cubicBezTo>
                    <a:pt x="130667" y="41486"/>
                    <a:pt x="130517" y="41524"/>
                    <a:pt x="130385" y="41524"/>
                  </a:cubicBezTo>
                  <a:cubicBezTo>
                    <a:pt x="129751" y="41524"/>
                    <a:pt x="129496" y="40648"/>
                    <a:pt x="128935" y="40648"/>
                  </a:cubicBezTo>
                  <a:cubicBezTo>
                    <a:pt x="128871" y="40648"/>
                    <a:pt x="128804" y="40659"/>
                    <a:pt x="128731" y="40684"/>
                  </a:cubicBezTo>
                  <a:cubicBezTo>
                    <a:pt x="129025" y="40425"/>
                    <a:pt x="129336" y="40166"/>
                    <a:pt x="129612" y="39889"/>
                  </a:cubicBezTo>
                  <a:cubicBezTo>
                    <a:pt x="129699" y="39786"/>
                    <a:pt x="129768" y="39647"/>
                    <a:pt x="129802" y="39509"/>
                  </a:cubicBezTo>
                  <a:cubicBezTo>
                    <a:pt x="129896" y="39229"/>
                    <a:pt x="130059" y="38963"/>
                    <a:pt x="130355" y="38963"/>
                  </a:cubicBezTo>
                  <a:cubicBezTo>
                    <a:pt x="130388" y="38963"/>
                    <a:pt x="130423" y="38966"/>
                    <a:pt x="130459" y="38973"/>
                  </a:cubicBezTo>
                  <a:cubicBezTo>
                    <a:pt x="130822" y="39025"/>
                    <a:pt x="130718" y="39405"/>
                    <a:pt x="130753" y="39665"/>
                  </a:cubicBezTo>
                  <a:cubicBezTo>
                    <a:pt x="130885" y="40368"/>
                    <a:pt x="131150" y="40680"/>
                    <a:pt x="131522" y="40680"/>
                  </a:cubicBezTo>
                  <a:cubicBezTo>
                    <a:pt x="131781" y="40680"/>
                    <a:pt x="132092" y="40529"/>
                    <a:pt x="132446" y="40252"/>
                  </a:cubicBezTo>
                  <a:cubicBezTo>
                    <a:pt x="132816" y="39963"/>
                    <a:pt x="133198" y="39825"/>
                    <a:pt x="133552" y="39825"/>
                  </a:cubicBezTo>
                  <a:cubicBezTo>
                    <a:pt x="134190" y="39825"/>
                    <a:pt x="134735" y="40276"/>
                    <a:pt x="134935" y="41099"/>
                  </a:cubicBezTo>
                  <a:cubicBezTo>
                    <a:pt x="135004" y="41410"/>
                    <a:pt x="135246" y="41911"/>
                    <a:pt x="135436" y="41928"/>
                  </a:cubicBezTo>
                  <a:cubicBezTo>
                    <a:pt x="136836" y="42067"/>
                    <a:pt x="137130" y="43259"/>
                    <a:pt x="137441" y="44192"/>
                  </a:cubicBezTo>
                  <a:cubicBezTo>
                    <a:pt x="137757" y="45176"/>
                    <a:pt x="138205" y="45491"/>
                    <a:pt x="138710" y="45491"/>
                  </a:cubicBezTo>
                  <a:cubicBezTo>
                    <a:pt x="139226" y="45491"/>
                    <a:pt x="139803" y="45163"/>
                    <a:pt x="140361" y="44884"/>
                  </a:cubicBezTo>
                  <a:cubicBezTo>
                    <a:pt x="141813" y="44175"/>
                    <a:pt x="140586" y="43363"/>
                    <a:pt x="140327" y="42654"/>
                  </a:cubicBezTo>
                  <a:cubicBezTo>
                    <a:pt x="140188" y="42188"/>
                    <a:pt x="139739" y="41773"/>
                    <a:pt x="139324" y="41479"/>
                  </a:cubicBezTo>
                  <a:cubicBezTo>
                    <a:pt x="137717" y="40356"/>
                    <a:pt x="137648" y="38921"/>
                    <a:pt x="138305" y="37245"/>
                  </a:cubicBezTo>
                  <a:cubicBezTo>
                    <a:pt x="138533" y="36644"/>
                    <a:pt x="138753" y="36160"/>
                    <a:pt x="139216" y="36160"/>
                  </a:cubicBezTo>
                  <a:cubicBezTo>
                    <a:pt x="139418" y="36160"/>
                    <a:pt x="139666" y="36252"/>
                    <a:pt x="139981" y="36468"/>
                  </a:cubicBezTo>
                  <a:cubicBezTo>
                    <a:pt x="140121" y="36569"/>
                    <a:pt x="140268" y="36617"/>
                    <a:pt x="140413" y="36617"/>
                  </a:cubicBezTo>
                  <a:cubicBezTo>
                    <a:pt x="140661" y="36617"/>
                    <a:pt x="140902" y="36477"/>
                    <a:pt x="141087" y="36226"/>
                  </a:cubicBezTo>
                  <a:cubicBezTo>
                    <a:pt x="142573" y="34255"/>
                    <a:pt x="142850" y="29797"/>
                    <a:pt x="141640" y="27706"/>
                  </a:cubicBezTo>
                  <a:cubicBezTo>
                    <a:pt x="141485" y="27447"/>
                    <a:pt x="141104" y="27187"/>
                    <a:pt x="141398" y="26807"/>
                  </a:cubicBezTo>
                  <a:lnTo>
                    <a:pt x="141398" y="26807"/>
                  </a:lnTo>
                  <a:cubicBezTo>
                    <a:pt x="141623" y="26997"/>
                    <a:pt x="141917" y="27153"/>
                    <a:pt x="142072" y="27395"/>
                  </a:cubicBezTo>
                  <a:cubicBezTo>
                    <a:pt x="142988" y="28812"/>
                    <a:pt x="143869" y="30229"/>
                    <a:pt x="144733" y="31663"/>
                  </a:cubicBezTo>
                  <a:cubicBezTo>
                    <a:pt x="144984" y="32062"/>
                    <a:pt x="145261" y="32460"/>
                    <a:pt x="145713" y="32460"/>
                  </a:cubicBezTo>
                  <a:cubicBezTo>
                    <a:pt x="145790" y="32460"/>
                    <a:pt x="145872" y="32449"/>
                    <a:pt x="145960" y="32424"/>
                  </a:cubicBezTo>
                  <a:cubicBezTo>
                    <a:pt x="146323" y="32320"/>
                    <a:pt x="146825" y="32043"/>
                    <a:pt x="146928" y="31750"/>
                  </a:cubicBezTo>
                  <a:cubicBezTo>
                    <a:pt x="147118" y="31197"/>
                    <a:pt x="146496" y="30972"/>
                    <a:pt x="146151" y="30644"/>
                  </a:cubicBezTo>
                  <a:cubicBezTo>
                    <a:pt x="145805" y="30298"/>
                    <a:pt x="144889" y="29935"/>
                    <a:pt x="145511" y="29348"/>
                  </a:cubicBezTo>
                  <a:cubicBezTo>
                    <a:pt x="146220" y="28674"/>
                    <a:pt x="145701" y="28363"/>
                    <a:pt x="145373" y="27982"/>
                  </a:cubicBezTo>
                  <a:cubicBezTo>
                    <a:pt x="144924" y="27464"/>
                    <a:pt x="144353" y="27049"/>
                    <a:pt x="143904" y="26513"/>
                  </a:cubicBezTo>
                  <a:cubicBezTo>
                    <a:pt x="142452" y="24803"/>
                    <a:pt x="140309" y="24008"/>
                    <a:pt x="138927" y="23455"/>
                  </a:cubicBezTo>
                  <a:cubicBezTo>
                    <a:pt x="137233" y="22781"/>
                    <a:pt x="135350" y="23368"/>
                    <a:pt x="133794" y="22349"/>
                  </a:cubicBezTo>
                  <a:cubicBezTo>
                    <a:pt x="133621" y="22228"/>
                    <a:pt x="133120" y="22141"/>
                    <a:pt x="133379" y="21934"/>
                  </a:cubicBezTo>
                  <a:cubicBezTo>
                    <a:pt x="134416" y="21156"/>
                    <a:pt x="134192" y="19843"/>
                    <a:pt x="134814" y="18910"/>
                  </a:cubicBezTo>
                  <a:cubicBezTo>
                    <a:pt x="135183" y="18357"/>
                    <a:pt x="137525" y="17996"/>
                    <a:pt x="139389" y="17996"/>
                  </a:cubicBezTo>
                  <a:cubicBezTo>
                    <a:pt x="140321" y="17996"/>
                    <a:pt x="141133" y="18086"/>
                    <a:pt x="141519" y="18287"/>
                  </a:cubicBezTo>
                  <a:cubicBezTo>
                    <a:pt x="141913" y="18491"/>
                    <a:pt x="142318" y="18567"/>
                    <a:pt x="142722" y="18567"/>
                  </a:cubicBezTo>
                  <a:cubicBezTo>
                    <a:pt x="143310" y="18567"/>
                    <a:pt x="143896" y="18407"/>
                    <a:pt x="144440" y="18253"/>
                  </a:cubicBezTo>
                  <a:cubicBezTo>
                    <a:pt x="145183" y="18028"/>
                    <a:pt x="144301" y="17320"/>
                    <a:pt x="144440" y="16905"/>
                  </a:cubicBezTo>
                  <a:cubicBezTo>
                    <a:pt x="144595" y="16473"/>
                    <a:pt x="144232" y="15764"/>
                    <a:pt x="144803" y="15626"/>
                  </a:cubicBezTo>
                  <a:cubicBezTo>
                    <a:pt x="144894" y="15602"/>
                    <a:pt x="144986" y="15590"/>
                    <a:pt x="145078" y="15590"/>
                  </a:cubicBezTo>
                  <a:cubicBezTo>
                    <a:pt x="145503" y="15590"/>
                    <a:pt x="145922" y="15838"/>
                    <a:pt x="146306" y="16179"/>
                  </a:cubicBezTo>
                  <a:cubicBezTo>
                    <a:pt x="146709" y="16532"/>
                    <a:pt x="147171" y="16997"/>
                    <a:pt x="147617" y="16997"/>
                  </a:cubicBezTo>
                  <a:cubicBezTo>
                    <a:pt x="147935" y="16997"/>
                    <a:pt x="148244" y="16760"/>
                    <a:pt x="148518" y="16075"/>
                  </a:cubicBezTo>
                  <a:cubicBezTo>
                    <a:pt x="148584" y="15900"/>
                    <a:pt x="148692" y="15801"/>
                    <a:pt x="148828" y="15801"/>
                  </a:cubicBezTo>
                  <a:cubicBezTo>
                    <a:pt x="148906" y="15801"/>
                    <a:pt x="148994" y="15833"/>
                    <a:pt x="149088" y="15903"/>
                  </a:cubicBezTo>
                  <a:cubicBezTo>
                    <a:pt x="149348" y="16110"/>
                    <a:pt x="149348" y="16335"/>
                    <a:pt x="149192" y="16646"/>
                  </a:cubicBezTo>
                  <a:cubicBezTo>
                    <a:pt x="148743" y="17596"/>
                    <a:pt x="147965" y="18547"/>
                    <a:pt x="147965" y="19497"/>
                  </a:cubicBezTo>
                  <a:cubicBezTo>
                    <a:pt x="147931" y="21122"/>
                    <a:pt x="148708" y="22677"/>
                    <a:pt x="150022" y="23627"/>
                  </a:cubicBezTo>
                  <a:cubicBezTo>
                    <a:pt x="151231" y="24561"/>
                    <a:pt x="152631" y="25269"/>
                    <a:pt x="153582" y="26513"/>
                  </a:cubicBezTo>
                  <a:cubicBezTo>
                    <a:pt x="153835" y="26852"/>
                    <a:pt x="154112" y="27339"/>
                    <a:pt x="154580" y="27339"/>
                  </a:cubicBezTo>
                  <a:cubicBezTo>
                    <a:pt x="154686" y="27339"/>
                    <a:pt x="154802" y="27314"/>
                    <a:pt x="154930" y="27257"/>
                  </a:cubicBezTo>
                  <a:cubicBezTo>
                    <a:pt x="155621" y="26928"/>
                    <a:pt x="155673" y="26271"/>
                    <a:pt x="155604" y="25615"/>
                  </a:cubicBezTo>
                  <a:cubicBezTo>
                    <a:pt x="155448" y="24025"/>
                    <a:pt x="155863" y="22435"/>
                    <a:pt x="154739" y="20845"/>
                  </a:cubicBezTo>
                  <a:cubicBezTo>
                    <a:pt x="154065" y="19877"/>
                    <a:pt x="153772" y="18823"/>
                    <a:pt x="152406" y="18737"/>
                  </a:cubicBezTo>
                  <a:cubicBezTo>
                    <a:pt x="152044" y="18720"/>
                    <a:pt x="151940" y="18478"/>
                    <a:pt x="151888" y="18201"/>
                  </a:cubicBezTo>
                  <a:cubicBezTo>
                    <a:pt x="151820" y="17931"/>
                    <a:pt x="151918" y="17578"/>
                    <a:pt x="152229" y="17578"/>
                  </a:cubicBezTo>
                  <a:cubicBezTo>
                    <a:pt x="152236" y="17578"/>
                    <a:pt x="152243" y="17579"/>
                    <a:pt x="152251" y="17579"/>
                  </a:cubicBezTo>
                  <a:cubicBezTo>
                    <a:pt x="152284" y="17581"/>
                    <a:pt x="152317" y="17582"/>
                    <a:pt x="152350" y="17582"/>
                  </a:cubicBezTo>
                  <a:cubicBezTo>
                    <a:pt x="153000" y="17582"/>
                    <a:pt x="153628" y="17254"/>
                    <a:pt x="154277" y="17254"/>
                  </a:cubicBezTo>
                  <a:cubicBezTo>
                    <a:pt x="154558" y="17254"/>
                    <a:pt x="154844" y="17316"/>
                    <a:pt x="155137" y="17493"/>
                  </a:cubicBezTo>
                  <a:cubicBezTo>
                    <a:pt x="155393" y="17649"/>
                    <a:pt x="155627" y="17726"/>
                    <a:pt x="155836" y="17726"/>
                  </a:cubicBezTo>
                  <a:cubicBezTo>
                    <a:pt x="156249" y="17726"/>
                    <a:pt x="156566" y="17427"/>
                    <a:pt x="156761" y="16853"/>
                  </a:cubicBezTo>
                  <a:cubicBezTo>
                    <a:pt x="157072" y="15920"/>
                    <a:pt x="157954" y="15505"/>
                    <a:pt x="158662" y="15039"/>
                  </a:cubicBezTo>
                  <a:cubicBezTo>
                    <a:pt x="158771" y="14969"/>
                    <a:pt x="158912" y="14953"/>
                    <a:pt x="159064" y="14953"/>
                  </a:cubicBezTo>
                  <a:cubicBezTo>
                    <a:pt x="159192" y="14953"/>
                    <a:pt x="159327" y="14964"/>
                    <a:pt x="159458" y="14964"/>
                  </a:cubicBezTo>
                  <a:cubicBezTo>
                    <a:pt x="159792" y="14964"/>
                    <a:pt x="160100" y="14892"/>
                    <a:pt x="160183" y="14382"/>
                  </a:cubicBezTo>
                  <a:cubicBezTo>
                    <a:pt x="160304" y="13501"/>
                    <a:pt x="159475" y="13310"/>
                    <a:pt x="158887" y="12965"/>
                  </a:cubicBezTo>
                  <a:cubicBezTo>
                    <a:pt x="158662" y="12827"/>
                    <a:pt x="158334" y="12550"/>
                    <a:pt x="158351" y="12395"/>
                  </a:cubicBezTo>
                  <a:cubicBezTo>
                    <a:pt x="158404" y="12154"/>
                    <a:pt x="158582" y="12097"/>
                    <a:pt x="158776" y="12097"/>
                  </a:cubicBezTo>
                  <a:cubicBezTo>
                    <a:pt x="158903" y="12097"/>
                    <a:pt x="159037" y="12122"/>
                    <a:pt x="159146" y="12135"/>
                  </a:cubicBezTo>
                  <a:cubicBezTo>
                    <a:pt x="160460" y="12308"/>
                    <a:pt x="161652" y="12999"/>
                    <a:pt x="163017" y="12999"/>
                  </a:cubicBezTo>
                  <a:cubicBezTo>
                    <a:pt x="163570" y="12999"/>
                    <a:pt x="163795" y="12913"/>
                    <a:pt x="164002" y="12274"/>
                  </a:cubicBezTo>
                  <a:cubicBezTo>
                    <a:pt x="164745" y="10182"/>
                    <a:pt x="163311" y="10010"/>
                    <a:pt x="161998" y="9923"/>
                  </a:cubicBezTo>
                  <a:cubicBezTo>
                    <a:pt x="160218" y="9820"/>
                    <a:pt x="158438" y="9543"/>
                    <a:pt x="156710" y="9076"/>
                  </a:cubicBezTo>
                  <a:cubicBezTo>
                    <a:pt x="153313" y="8169"/>
                    <a:pt x="149984" y="6872"/>
                    <a:pt x="146431" y="6872"/>
                  </a:cubicBezTo>
                  <a:cubicBezTo>
                    <a:pt x="145249" y="6872"/>
                    <a:pt x="144041" y="7016"/>
                    <a:pt x="142798" y="7366"/>
                  </a:cubicBezTo>
                  <a:cubicBezTo>
                    <a:pt x="142441" y="7468"/>
                    <a:pt x="142044" y="7507"/>
                    <a:pt x="141624" y="7507"/>
                  </a:cubicBezTo>
                  <a:cubicBezTo>
                    <a:pt x="140475" y="7507"/>
                    <a:pt x="139148" y="7211"/>
                    <a:pt x="137959" y="7072"/>
                  </a:cubicBezTo>
                  <a:cubicBezTo>
                    <a:pt x="135760" y="6810"/>
                    <a:pt x="133765" y="5577"/>
                    <a:pt x="131513" y="5577"/>
                  </a:cubicBezTo>
                  <a:cubicBezTo>
                    <a:pt x="131235" y="5577"/>
                    <a:pt x="130953" y="5596"/>
                    <a:pt x="130666" y="5637"/>
                  </a:cubicBezTo>
                  <a:cubicBezTo>
                    <a:pt x="130197" y="5701"/>
                    <a:pt x="129713" y="5752"/>
                    <a:pt x="129231" y="5752"/>
                  </a:cubicBezTo>
                  <a:cubicBezTo>
                    <a:pt x="128525" y="5752"/>
                    <a:pt x="127823" y="5641"/>
                    <a:pt x="127175" y="5292"/>
                  </a:cubicBezTo>
                  <a:cubicBezTo>
                    <a:pt x="124583" y="3857"/>
                    <a:pt x="121352" y="4808"/>
                    <a:pt x="118811" y="3097"/>
                  </a:cubicBezTo>
                  <a:cubicBezTo>
                    <a:pt x="118623" y="2965"/>
                    <a:pt x="118385" y="2894"/>
                    <a:pt x="118144" y="2894"/>
                  </a:cubicBezTo>
                  <a:cubicBezTo>
                    <a:pt x="117786" y="2894"/>
                    <a:pt x="117421" y="3050"/>
                    <a:pt x="117204" y="3391"/>
                  </a:cubicBezTo>
                  <a:cubicBezTo>
                    <a:pt x="116737" y="4117"/>
                    <a:pt x="117601" y="4134"/>
                    <a:pt x="117930" y="4462"/>
                  </a:cubicBezTo>
                  <a:cubicBezTo>
                    <a:pt x="118103" y="4670"/>
                    <a:pt x="118154" y="4946"/>
                    <a:pt x="118068" y="5188"/>
                  </a:cubicBezTo>
                  <a:cubicBezTo>
                    <a:pt x="117958" y="5398"/>
                    <a:pt x="116241" y="5510"/>
                    <a:pt x="114740" y="5510"/>
                  </a:cubicBezTo>
                  <a:cubicBezTo>
                    <a:pt x="113645" y="5510"/>
                    <a:pt x="112664" y="5450"/>
                    <a:pt x="112503" y="5326"/>
                  </a:cubicBezTo>
                  <a:cubicBezTo>
                    <a:pt x="111242" y="4410"/>
                    <a:pt x="109825" y="3719"/>
                    <a:pt x="108321" y="3287"/>
                  </a:cubicBezTo>
                  <a:cubicBezTo>
                    <a:pt x="108108" y="3224"/>
                    <a:pt x="107902" y="3198"/>
                    <a:pt x="107703" y="3198"/>
                  </a:cubicBezTo>
                  <a:cubicBezTo>
                    <a:pt x="106742" y="3198"/>
                    <a:pt x="105934" y="3807"/>
                    <a:pt x="105084" y="3807"/>
                  </a:cubicBezTo>
                  <a:cubicBezTo>
                    <a:pt x="105000" y="3807"/>
                    <a:pt x="104915" y="3801"/>
                    <a:pt x="104830" y="3788"/>
                  </a:cubicBezTo>
                  <a:cubicBezTo>
                    <a:pt x="102083" y="3391"/>
                    <a:pt x="99266" y="3909"/>
                    <a:pt x="96760" y="1559"/>
                  </a:cubicBezTo>
                  <a:cubicBezTo>
                    <a:pt x="95295" y="185"/>
                    <a:pt x="93272" y="50"/>
                    <a:pt x="91223" y="50"/>
                  </a:cubicBezTo>
                  <a:cubicBezTo>
                    <a:pt x="90718" y="50"/>
                    <a:pt x="90212" y="58"/>
                    <a:pt x="89713" y="58"/>
                  </a:cubicBezTo>
                  <a:cubicBezTo>
                    <a:pt x="89152" y="58"/>
                    <a:pt x="88600" y="48"/>
                    <a:pt x="88067" y="4"/>
                  </a:cubicBezTo>
                  <a:cubicBezTo>
                    <a:pt x="88037" y="2"/>
                    <a:pt x="88007" y="1"/>
                    <a:pt x="87976"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4" name="Google Shape;3744;p66"/>
            <p:cNvSpPr/>
            <p:nvPr/>
          </p:nvSpPr>
          <p:spPr>
            <a:xfrm>
              <a:off x="5913800" y="3523050"/>
              <a:ext cx="1109075" cy="813875"/>
            </a:xfrm>
            <a:custGeom>
              <a:avLst/>
              <a:gdLst/>
              <a:ahLst/>
              <a:cxnLst/>
              <a:rect l="l" t="t" r="r" b="b"/>
              <a:pathLst>
                <a:path w="44363" h="32555" extrusionOk="0">
                  <a:moveTo>
                    <a:pt x="28245" y="1"/>
                  </a:moveTo>
                  <a:cubicBezTo>
                    <a:pt x="27747" y="1"/>
                    <a:pt x="27602" y="373"/>
                    <a:pt x="27634" y="804"/>
                  </a:cubicBezTo>
                  <a:cubicBezTo>
                    <a:pt x="27737" y="2117"/>
                    <a:pt x="27979" y="3482"/>
                    <a:pt x="27996" y="4778"/>
                  </a:cubicBezTo>
                  <a:cubicBezTo>
                    <a:pt x="28014" y="5660"/>
                    <a:pt x="28567" y="7094"/>
                    <a:pt x="27634" y="7267"/>
                  </a:cubicBezTo>
                  <a:cubicBezTo>
                    <a:pt x="27521" y="7286"/>
                    <a:pt x="27406" y="7295"/>
                    <a:pt x="27290" y="7295"/>
                  </a:cubicBezTo>
                  <a:cubicBezTo>
                    <a:pt x="25431" y="7295"/>
                    <a:pt x="23230" y="4918"/>
                    <a:pt x="23555" y="3275"/>
                  </a:cubicBezTo>
                  <a:cubicBezTo>
                    <a:pt x="23754" y="2264"/>
                    <a:pt x="23333" y="1317"/>
                    <a:pt x="22034" y="1317"/>
                  </a:cubicBezTo>
                  <a:cubicBezTo>
                    <a:pt x="21978" y="1317"/>
                    <a:pt x="21920" y="1318"/>
                    <a:pt x="21862" y="1322"/>
                  </a:cubicBezTo>
                  <a:cubicBezTo>
                    <a:pt x="21814" y="1325"/>
                    <a:pt x="21765" y="1327"/>
                    <a:pt x="21716" y="1327"/>
                  </a:cubicBezTo>
                  <a:cubicBezTo>
                    <a:pt x="20777" y="1327"/>
                    <a:pt x="19668" y="752"/>
                    <a:pt x="18692" y="752"/>
                  </a:cubicBezTo>
                  <a:cubicBezTo>
                    <a:pt x="18107" y="752"/>
                    <a:pt x="17570" y="958"/>
                    <a:pt x="17144" y="1616"/>
                  </a:cubicBezTo>
                  <a:cubicBezTo>
                    <a:pt x="16642" y="2376"/>
                    <a:pt x="15295" y="2826"/>
                    <a:pt x="15191" y="4035"/>
                  </a:cubicBezTo>
                  <a:cubicBezTo>
                    <a:pt x="15162" y="4430"/>
                    <a:pt x="15144" y="4616"/>
                    <a:pt x="15002" y="4616"/>
                  </a:cubicBezTo>
                  <a:cubicBezTo>
                    <a:pt x="14889" y="4616"/>
                    <a:pt x="14698" y="4499"/>
                    <a:pt x="14361" y="4277"/>
                  </a:cubicBezTo>
                  <a:cubicBezTo>
                    <a:pt x="13724" y="3844"/>
                    <a:pt x="13113" y="3612"/>
                    <a:pt x="12606" y="3612"/>
                  </a:cubicBezTo>
                  <a:cubicBezTo>
                    <a:pt x="12042" y="3612"/>
                    <a:pt x="11607" y="3900"/>
                    <a:pt x="11406" y="4519"/>
                  </a:cubicBezTo>
                  <a:cubicBezTo>
                    <a:pt x="10784" y="6334"/>
                    <a:pt x="8710" y="7215"/>
                    <a:pt x="8624" y="9392"/>
                  </a:cubicBezTo>
                  <a:cubicBezTo>
                    <a:pt x="8607" y="10153"/>
                    <a:pt x="7933" y="10619"/>
                    <a:pt x="7086" y="10879"/>
                  </a:cubicBezTo>
                  <a:cubicBezTo>
                    <a:pt x="5669" y="11311"/>
                    <a:pt x="4355" y="11864"/>
                    <a:pt x="3007" y="12382"/>
                  </a:cubicBezTo>
                  <a:cubicBezTo>
                    <a:pt x="1003" y="13160"/>
                    <a:pt x="0" y="16910"/>
                    <a:pt x="1538" y="19018"/>
                  </a:cubicBezTo>
                  <a:cubicBezTo>
                    <a:pt x="2835" y="20798"/>
                    <a:pt x="3128" y="22595"/>
                    <a:pt x="3992" y="24375"/>
                  </a:cubicBezTo>
                  <a:cubicBezTo>
                    <a:pt x="4494" y="25360"/>
                    <a:pt x="4424" y="26276"/>
                    <a:pt x="3750" y="26950"/>
                  </a:cubicBezTo>
                  <a:cubicBezTo>
                    <a:pt x="3353" y="27348"/>
                    <a:pt x="3509" y="27797"/>
                    <a:pt x="4148" y="28298"/>
                  </a:cubicBezTo>
                  <a:cubicBezTo>
                    <a:pt x="5020" y="28962"/>
                    <a:pt x="5824" y="29302"/>
                    <a:pt x="6549" y="29302"/>
                  </a:cubicBezTo>
                  <a:cubicBezTo>
                    <a:pt x="7089" y="29302"/>
                    <a:pt x="7586" y="29114"/>
                    <a:pt x="8036" y="28730"/>
                  </a:cubicBezTo>
                  <a:cubicBezTo>
                    <a:pt x="8740" y="28095"/>
                    <a:pt x="9643" y="27747"/>
                    <a:pt x="10576" y="27747"/>
                  </a:cubicBezTo>
                  <a:cubicBezTo>
                    <a:pt x="10811" y="27747"/>
                    <a:pt x="11049" y="27769"/>
                    <a:pt x="11285" y="27814"/>
                  </a:cubicBezTo>
                  <a:cubicBezTo>
                    <a:pt x="11420" y="27836"/>
                    <a:pt x="11551" y="27846"/>
                    <a:pt x="11676" y="27846"/>
                  </a:cubicBezTo>
                  <a:cubicBezTo>
                    <a:pt x="12065" y="27846"/>
                    <a:pt x="12402" y="27743"/>
                    <a:pt x="12650" y="27521"/>
                  </a:cubicBezTo>
                  <a:cubicBezTo>
                    <a:pt x="14551" y="25793"/>
                    <a:pt x="17368" y="25343"/>
                    <a:pt x="20047" y="24790"/>
                  </a:cubicBezTo>
                  <a:cubicBezTo>
                    <a:pt x="20247" y="24746"/>
                    <a:pt x="20464" y="24721"/>
                    <a:pt x="20691" y="24721"/>
                  </a:cubicBezTo>
                  <a:cubicBezTo>
                    <a:pt x="21623" y="24721"/>
                    <a:pt x="22712" y="25150"/>
                    <a:pt x="23365" y="26484"/>
                  </a:cubicBezTo>
                  <a:cubicBezTo>
                    <a:pt x="23667" y="27105"/>
                    <a:pt x="23855" y="28198"/>
                    <a:pt x="25083" y="28198"/>
                  </a:cubicBezTo>
                  <a:cubicBezTo>
                    <a:pt x="25120" y="28198"/>
                    <a:pt x="25158" y="28197"/>
                    <a:pt x="25197" y="28195"/>
                  </a:cubicBezTo>
                  <a:cubicBezTo>
                    <a:pt x="25345" y="28183"/>
                    <a:pt x="25455" y="28022"/>
                    <a:pt x="25593" y="28022"/>
                  </a:cubicBezTo>
                  <a:cubicBezTo>
                    <a:pt x="25664" y="28022"/>
                    <a:pt x="25742" y="28065"/>
                    <a:pt x="25836" y="28195"/>
                  </a:cubicBezTo>
                  <a:cubicBezTo>
                    <a:pt x="25923" y="28298"/>
                    <a:pt x="25767" y="28592"/>
                    <a:pt x="25612" y="28713"/>
                  </a:cubicBezTo>
                  <a:cubicBezTo>
                    <a:pt x="25318" y="28938"/>
                    <a:pt x="24903" y="29128"/>
                    <a:pt x="25283" y="29646"/>
                  </a:cubicBezTo>
                  <a:cubicBezTo>
                    <a:pt x="25508" y="29871"/>
                    <a:pt x="25802" y="30026"/>
                    <a:pt x="26113" y="30078"/>
                  </a:cubicBezTo>
                  <a:cubicBezTo>
                    <a:pt x="26172" y="30086"/>
                    <a:pt x="26229" y="30090"/>
                    <a:pt x="26283" y="30090"/>
                  </a:cubicBezTo>
                  <a:cubicBezTo>
                    <a:pt x="26710" y="30090"/>
                    <a:pt x="27006" y="29856"/>
                    <a:pt x="27098" y="29473"/>
                  </a:cubicBezTo>
                  <a:cubicBezTo>
                    <a:pt x="27115" y="29335"/>
                    <a:pt x="27098" y="29197"/>
                    <a:pt x="27029" y="29076"/>
                  </a:cubicBezTo>
                  <a:cubicBezTo>
                    <a:pt x="26976" y="28903"/>
                    <a:pt x="26992" y="28848"/>
                    <a:pt x="27041" y="28848"/>
                  </a:cubicBezTo>
                  <a:cubicBezTo>
                    <a:pt x="27105" y="28848"/>
                    <a:pt x="27225" y="28941"/>
                    <a:pt x="27322" y="28990"/>
                  </a:cubicBezTo>
                  <a:cubicBezTo>
                    <a:pt x="27824" y="29266"/>
                    <a:pt x="28463" y="29473"/>
                    <a:pt x="28169" y="30113"/>
                  </a:cubicBezTo>
                  <a:cubicBezTo>
                    <a:pt x="27945" y="30597"/>
                    <a:pt x="28117" y="31029"/>
                    <a:pt x="28809" y="31461"/>
                  </a:cubicBezTo>
                  <a:cubicBezTo>
                    <a:pt x="30199" y="32318"/>
                    <a:pt x="31628" y="32554"/>
                    <a:pt x="32898" y="32554"/>
                  </a:cubicBezTo>
                  <a:cubicBezTo>
                    <a:pt x="33522" y="32554"/>
                    <a:pt x="34108" y="32497"/>
                    <a:pt x="34633" y="32429"/>
                  </a:cubicBezTo>
                  <a:cubicBezTo>
                    <a:pt x="36672" y="32135"/>
                    <a:pt x="39299" y="31824"/>
                    <a:pt x="39299" y="29145"/>
                  </a:cubicBezTo>
                  <a:cubicBezTo>
                    <a:pt x="39299" y="28938"/>
                    <a:pt x="39541" y="28799"/>
                    <a:pt x="39592" y="28575"/>
                  </a:cubicBezTo>
                  <a:cubicBezTo>
                    <a:pt x="40024" y="26968"/>
                    <a:pt x="41804" y="26363"/>
                    <a:pt x="42496" y="24998"/>
                  </a:cubicBezTo>
                  <a:cubicBezTo>
                    <a:pt x="44224" y="21559"/>
                    <a:pt x="44362" y="17722"/>
                    <a:pt x="40232" y="13661"/>
                  </a:cubicBezTo>
                  <a:cubicBezTo>
                    <a:pt x="38953" y="12399"/>
                    <a:pt x="38037" y="10671"/>
                    <a:pt x="36309" y="9859"/>
                  </a:cubicBezTo>
                  <a:cubicBezTo>
                    <a:pt x="34494" y="9012"/>
                    <a:pt x="34080" y="7716"/>
                    <a:pt x="33509" y="6472"/>
                  </a:cubicBezTo>
                  <a:cubicBezTo>
                    <a:pt x="33388" y="5608"/>
                    <a:pt x="33008" y="4761"/>
                    <a:pt x="32213" y="4346"/>
                  </a:cubicBezTo>
                  <a:cubicBezTo>
                    <a:pt x="30658" y="3465"/>
                    <a:pt x="30278" y="2100"/>
                    <a:pt x="29414" y="942"/>
                  </a:cubicBezTo>
                  <a:cubicBezTo>
                    <a:pt x="29120" y="544"/>
                    <a:pt x="28947" y="78"/>
                    <a:pt x="28377" y="9"/>
                  </a:cubicBezTo>
                  <a:cubicBezTo>
                    <a:pt x="28330" y="3"/>
                    <a:pt x="28287" y="1"/>
                    <a:pt x="2824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5" name="Google Shape;3745;p66"/>
            <p:cNvSpPr/>
            <p:nvPr/>
          </p:nvSpPr>
          <p:spPr>
            <a:xfrm>
              <a:off x="6442175" y="3238700"/>
              <a:ext cx="571625" cy="311800"/>
            </a:xfrm>
            <a:custGeom>
              <a:avLst/>
              <a:gdLst/>
              <a:ahLst/>
              <a:cxnLst/>
              <a:rect l="l" t="t" r="r" b="b"/>
              <a:pathLst>
                <a:path w="22865" h="12472" extrusionOk="0">
                  <a:moveTo>
                    <a:pt x="3070" y="1"/>
                  </a:moveTo>
                  <a:cubicBezTo>
                    <a:pt x="2939" y="1"/>
                    <a:pt x="2792" y="15"/>
                    <a:pt x="2627" y="46"/>
                  </a:cubicBezTo>
                  <a:cubicBezTo>
                    <a:pt x="1833" y="202"/>
                    <a:pt x="830" y="29"/>
                    <a:pt x="415" y="927"/>
                  </a:cubicBezTo>
                  <a:cubicBezTo>
                    <a:pt x="1" y="1826"/>
                    <a:pt x="934" y="1861"/>
                    <a:pt x="1400" y="2189"/>
                  </a:cubicBezTo>
                  <a:cubicBezTo>
                    <a:pt x="1504" y="2258"/>
                    <a:pt x="1366" y="2569"/>
                    <a:pt x="1435" y="2742"/>
                  </a:cubicBezTo>
                  <a:cubicBezTo>
                    <a:pt x="1757" y="3623"/>
                    <a:pt x="1963" y="4886"/>
                    <a:pt x="3062" y="4886"/>
                  </a:cubicBezTo>
                  <a:cubicBezTo>
                    <a:pt x="3084" y="4886"/>
                    <a:pt x="3106" y="4886"/>
                    <a:pt x="3129" y="4885"/>
                  </a:cubicBezTo>
                  <a:cubicBezTo>
                    <a:pt x="3207" y="4880"/>
                    <a:pt x="3284" y="4878"/>
                    <a:pt x="3360" y="4878"/>
                  </a:cubicBezTo>
                  <a:cubicBezTo>
                    <a:pt x="4698" y="4878"/>
                    <a:pt x="5731" y="5570"/>
                    <a:pt x="6810" y="6077"/>
                  </a:cubicBezTo>
                  <a:cubicBezTo>
                    <a:pt x="7328" y="6319"/>
                    <a:pt x="8019" y="7322"/>
                    <a:pt x="7207" y="8203"/>
                  </a:cubicBezTo>
                  <a:cubicBezTo>
                    <a:pt x="6913" y="8531"/>
                    <a:pt x="6948" y="8911"/>
                    <a:pt x="7121" y="9292"/>
                  </a:cubicBezTo>
                  <a:cubicBezTo>
                    <a:pt x="7274" y="9613"/>
                    <a:pt x="7597" y="9810"/>
                    <a:pt x="7934" y="9810"/>
                  </a:cubicBezTo>
                  <a:cubicBezTo>
                    <a:pt x="8014" y="9810"/>
                    <a:pt x="8095" y="9799"/>
                    <a:pt x="8175" y="9775"/>
                  </a:cubicBezTo>
                  <a:cubicBezTo>
                    <a:pt x="8275" y="9755"/>
                    <a:pt x="8368" y="9745"/>
                    <a:pt x="8457" y="9745"/>
                  </a:cubicBezTo>
                  <a:cubicBezTo>
                    <a:pt x="8811" y="9745"/>
                    <a:pt x="9087" y="9900"/>
                    <a:pt x="9419" y="10121"/>
                  </a:cubicBezTo>
                  <a:cubicBezTo>
                    <a:pt x="10079" y="10569"/>
                    <a:pt x="10930" y="10787"/>
                    <a:pt x="11688" y="10787"/>
                  </a:cubicBezTo>
                  <a:cubicBezTo>
                    <a:pt x="12538" y="10787"/>
                    <a:pt x="13270" y="10513"/>
                    <a:pt x="13480" y="9983"/>
                  </a:cubicBezTo>
                  <a:cubicBezTo>
                    <a:pt x="13648" y="9563"/>
                    <a:pt x="13555" y="9014"/>
                    <a:pt x="14230" y="9014"/>
                  </a:cubicBezTo>
                  <a:cubicBezTo>
                    <a:pt x="14250" y="9014"/>
                    <a:pt x="14271" y="9014"/>
                    <a:pt x="14293" y="9015"/>
                  </a:cubicBezTo>
                  <a:cubicBezTo>
                    <a:pt x="15036" y="9050"/>
                    <a:pt x="15381" y="9516"/>
                    <a:pt x="15450" y="10138"/>
                  </a:cubicBezTo>
                  <a:cubicBezTo>
                    <a:pt x="15640" y="11486"/>
                    <a:pt x="16522" y="11953"/>
                    <a:pt x="17697" y="11988"/>
                  </a:cubicBezTo>
                  <a:cubicBezTo>
                    <a:pt x="18224" y="11988"/>
                    <a:pt x="18870" y="12472"/>
                    <a:pt x="19366" y="12472"/>
                  </a:cubicBezTo>
                  <a:cubicBezTo>
                    <a:pt x="19602" y="12472"/>
                    <a:pt x="19804" y="12362"/>
                    <a:pt x="19944" y="12039"/>
                  </a:cubicBezTo>
                  <a:cubicBezTo>
                    <a:pt x="20289" y="11210"/>
                    <a:pt x="19287" y="10398"/>
                    <a:pt x="18596" y="9758"/>
                  </a:cubicBezTo>
                  <a:cubicBezTo>
                    <a:pt x="18164" y="9361"/>
                    <a:pt x="17420" y="8825"/>
                    <a:pt x="17749" y="8272"/>
                  </a:cubicBezTo>
                  <a:cubicBezTo>
                    <a:pt x="17984" y="7884"/>
                    <a:pt x="18253" y="7197"/>
                    <a:pt x="18937" y="7197"/>
                  </a:cubicBezTo>
                  <a:cubicBezTo>
                    <a:pt x="19107" y="7197"/>
                    <a:pt x="19302" y="7239"/>
                    <a:pt x="19529" y="7339"/>
                  </a:cubicBezTo>
                  <a:cubicBezTo>
                    <a:pt x="19732" y="7429"/>
                    <a:pt x="19935" y="7468"/>
                    <a:pt x="20135" y="7468"/>
                  </a:cubicBezTo>
                  <a:cubicBezTo>
                    <a:pt x="20854" y="7468"/>
                    <a:pt x="21544" y="6970"/>
                    <a:pt x="22138" y="6578"/>
                  </a:cubicBezTo>
                  <a:cubicBezTo>
                    <a:pt x="22795" y="6146"/>
                    <a:pt x="22864" y="5248"/>
                    <a:pt x="22311" y="4643"/>
                  </a:cubicBezTo>
                  <a:cubicBezTo>
                    <a:pt x="22115" y="4425"/>
                    <a:pt x="21948" y="4340"/>
                    <a:pt x="21799" y="4340"/>
                  </a:cubicBezTo>
                  <a:cubicBezTo>
                    <a:pt x="21465" y="4340"/>
                    <a:pt x="21227" y="4774"/>
                    <a:pt x="20963" y="5110"/>
                  </a:cubicBezTo>
                  <a:cubicBezTo>
                    <a:pt x="20756" y="5334"/>
                    <a:pt x="20479" y="5472"/>
                    <a:pt x="20168" y="5507"/>
                  </a:cubicBezTo>
                  <a:cubicBezTo>
                    <a:pt x="20112" y="5512"/>
                    <a:pt x="20051" y="5514"/>
                    <a:pt x="19986" y="5514"/>
                  </a:cubicBezTo>
                  <a:cubicBezTo>
                    <a:pt x="18639" y="5514"/>
                    <a:pt x="15548" y="4518"/>
                    <a:pt x="14344" y="3727"/>
                  </a:cubicBezTo>
                  <a:cubicBezTo>
                    <a:pt x="13999" y="3485"/>
                    <a:pt x="13636" y="3295"/>
                    <a:pt x="13238" y="3139"/>
                  </a:cubicBezTo>
                  <a:cubicBezTo>
                    <a:pt x="11925" y="2690"/>
                    <a:pt x="10473" y="2465"/>
                    <a:pt x="9298" y="1774"/>
                  </a:cubicBezTo>
                  <a:cubicBezTo>
                    <a:pt x="8770" y="1458"/>
                    <a:pt x="8301" y="1322"/>
                    <a:pt x="7877" y="1322"/>
                  </a:cubicBezTo>
                  <a:cubicBezTo>
                    <a:pt x="7093" y="1322"/>
                    <a:pt x="6459" y="1787"/>
                    <a:pt x="5876" y="2448"/>
                  </a:cubicBezTo>
                  <a:cubicBezTo>
                    <a:pt x="5497" y="2886"/>
                    <a:pt x="5240" y="3062"/>
                    <a:pt x="5050" y="3062"/>
                  </a:cubicBezTo>
                  <a:cubicBezTo>
                    <a:pt x="4739" y="3062"/>
                    <a:pt x="4614" y="2586"/>
                    <a:pt x="4442" y="2016"/>
                  </a:cubicBezTo>
                  <a:cubicBezTo>
                    <a:pt x="4193" y="1191"/>
                    <a:pt x="4266" y="1"/>
                    <a:pt x="307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6" name="Google Shape;3746;p66"/>
            <p:cNvSpPr/>
            <p:nvPr/>
          </p:nvSpPr>
          <p:spPr>
            <a:xfrm>
              <a:off x="5898675" y="3029225"/>
              <a:ext cx="282150" cy="318450"/>
            </a:xfrm>
            <a:custGeom>
              <a:avLst/>
              <a:gdLst/>
              <a:ahLst/>
              <a:cxnLst/>
              <a:rect l="l" t="t" r="r" b="b"/>
              <a:pathLst>
                <a:path w="11286" h="12738" extrusionOk="0">
                  <a:moveTo>
                    <a:pt x="8163" y="0"/>
                  </a:moveTo>
                  <a:cubicBezTo>
                    <a:pt x="7646" y="0"/>
                    <a:pt x="7307" y="634"/>
                    <a:pt x="7121" y="1115"/>
                  </a:cubicBezTo>
                  <a:cubicBezTo>
                    <a:pt x="6498" y="2618"/>
                    <a:pt x="5081" y="3362"/>
                    <a:pt x="4027" y="4450"/>
                  </a:cubicBezTo>
                  <a:cubicBezTo>
                    <a:pt x="3562" y="4916"/>
                    <a:pt x="2753" y="5709"/>
                    <a:pt x="2170" y="5709"/>
                  </a:cubicBezTo>
                  <a:cubicBezTo>
                    <a:pt x="2125" y="5709"/>
                    <a:pt x="2082" y="5704"/>
                    <a:pt x="2040" y="5695"/>
                  </a:cubicBezTo>
                  <a:cubicBezTo>
                    <a:pt x="1767" y="5631"/>
                    <a:pt x="1536" y="5602"/>
                    <a:pt x="1339" y="5602"/>
                  </a:cubicBezTo>
                  <a:cubicBezTo>
                    <a:pt x="150" y="5602"/>
                    <a:pt x="215" y="6659"/>
                    <a:pt x="52" y="7475"/>
                  </a:cubicBezTo>
                  <a:cubicBezTo>
                    <a:pt x="1" y="9410"/>
                    <a:pt x="1625" y="11518"/>
                    <a:pt x="3267" y="12123"/>
                  </a:cubicBezTo>
                  <a:cubicBezTo>
                    <a:pt x="3638" y="12262"/>
                    <a:pt x="4019" y="12277"/>
                    <a:pt x="4389" y="12277"/>
                  </a:cubicBezTo>
                  <a:cubicBezTo>
                    <a:pt x="4488" y="12277"/>
                    <a:pt x="4586" y="12276"/>
                    <a:pt x="4683" y="12276"/>
                  </a:cubicBezTo>
                  <a:cubicBezTo>
                    <a:pt x="5034" y="12276"/>
                    <a:pt x="5369" y="12290"/>
                    <a:pt x="5669" y="12417"/>
                  </a:cubicBezTo>
                  <a:cubicBezTo>
                    <a:pt x="6156" y="12630"/>
                    <a:pt x="6559" y="12738"/>
                    <a:pt x="6895" y="12738"/>
                  </a:cubicBezTo>
                  <a:cubicBezTo>
                    <a:pt x="7678" y="12738"/>
                    <a:pt x="8093" y="12148"/>
                    <a:pt x="8348" y="10914"/>
                  </a:cubicBezTo>
                  <a:cubicBezTo>
                    <a:pt x="8572" y="9773"/>
                    <a:pt x="9073" y="8235"/>
                    <a:pt x="9937" y="7786"/>
                  </a:cubicBezTo>
                  <a:cubicBezTo>
                    <a:pt x="11268" y="7094"/>
                    <a:pt x="10577" y="6697"/>
                    <a:pt x="10231" y="6023"/>
                  </a:cubicBezTo>
                  <a:cubicBezTo>
                    <a:pt x="9782" y="5124"/>
                    <a:pt x="8797" y="4278"/>
                    <a:pt x="10058" y="3189"/>
                  </a:cubicBezTo>
                  <a:cubicBezTo>
                    <a:pt x="10404" y="2895"/>
                    <a:pt x="11285" y="2618"/>
                    <a:pt x="10853" y="1945"/>
                  </a:cubicBezTo>
                  <a:cubicBezTo>
                    <a:pt x="10266" y="1063"/>
                    <a:pt x="9402" y="286"/>
                    <a:pt x="8348" y="26"/>
                  </a:cubicBezTo>
                  <a:cubicBezTo>
                    <a:pt x="8284" y="9"/>
                    <a:pt x="8222" y="0"/>
                    <a:pt x="8163"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7" name="Google Shape;3747;p66"/>
            <p:cNvSpPr/>
            <p:nvPr/>
          </p:nvSpPr>
          <p:spPr>
            <a:xfrm>
              <a:off x="5544400" y="3065225"/>
              <a:ext cx="541800" cy="430700"/>
            </a:xfrm>
            <a:custGeom>
              <a:avLst/>
              <a:gdLst/>
              <a:ahLst/>
              <a:cxnLst/>
              <a:rect l="l" t="t" r="r" b="b"/>
              <a:pathLst>
                <a:path w="21672" h="17228" extrusionOk="0">
                  <a:moveTo>
                    <a:pt x="7484" y="4583"/>
                  </a:moveTo>
                  <a:lnTo>
                    <a:pt x="7484" y="4583"/>
                  </a:lnTo>
                  <a:cubicBezTo>
                    <a:pt x="7486" y="4586"/>
                    <a:pt x="7488" y="4589"/>
                    <a:pt x="7491" y="4592"/>
                  </a:cubicBezTo>
                  <a:lnTo>
                    <a:pt x="7491" y="4592"/>
                  </a:lnTo>
                  <a:cubicBezTo>
                    <a:pt x="7494" y="4595"/>
                    <a:pt x="7498" y="4597"/>
                    <a:pt x="7501" y="4600"/>
                  </a:cubicBezTo>
                  <a:lnTo>
                    <a:pt x="7484" y="4583"/>
                  </a:lnTo>
                  <a:close/>
                  <a:moveTo>
                    <a:pt x="1210" y="0"/>
                  </a:moveTo>
                  <a:cubicBezTo>
                    <a:pt x="910" y="0"/>
                    <a:pt x="646" y="84"/>
                    <a:pt x="415" y="314"/>
                  </a:cubicBezTo>
                  <a:cubicBezTo>
                    <a:pt x="1" y="712"/>
                    <a:pt x="260" y="1127"/>
                    <a:pt x="571" y="1403"/>
                  </a:cubicBezTo>
                  <a:cubicBezTo>
                    <a:pt x="1833" y="2561"/>
                    <a:pt x="2939" y="3874"/>
                    <a:pt x="3872" y="5309"/>
                  </a:cubicBezTo>
                  <a:cubicBezTo>
                    <a:pt x="5894" y="8264"/>
                    <a:pt x="6948" y="12014"/>
                    <a:pt x="10663" y="13552"/>
                  </a:cubicBezTo>
                  <a:cubicBezTo>
                    <a:pt x="10715" y="13587"/>
                    <a:pt x="10733" y="13656"/>
                    <a:pt x="10733" y="13725"/>
                  </a:cubicBezTo>
                  <a:cubicBezTo>
                    <a:pt x="10007" y="15522"/>
                    <a:pt x="11579" y="15401"/>
                    <a:pt x="12478" y="15660"/>
                  </a:cubicBezTo>
                  <a:cubicBezTo>
                    <a:pt x="14932" y="16334"/>
                    <a:pt x="17420" y="16801"/>
                    <a:pt x="19961" y="17043"/>
                  </a:cubicBezTo>
                  <a:cubicBezTo>
                    <a:pt x="20276" y="17079"/>
                    <a:pt x="20618" y="17227"/>
                    <a:pt x="20904" y="17227"/>
                  </a:cubicBezTo>
                  <a:cubicBezTo>
                    <a:pt x="21167" y="17227"/>
                    <a:pt x="21382" y="17101"/>
                    <a:pt x="21482" y="16645"/>
                  </a:cubicBezTo>
                  <a:cubicBezTo>
                    <a:pt x="21672" y="15816"/>
                    <a:pt x="20842" y="15626"/>
                    <a:pt x="20306" y="15280"/>
                  </a:cubicBezTo>
                  <a:cubicBezTo>
                    <a:pt x="18129" y="13932"/>
                    <a:pt x="15502" y="14347"/>
                    <a:pt x="13204" y="13448"/>
                  </a:cubicBezTo>
                  <a:cubicBezTo>
                    <a:pt x="13103" y="13410"/>
                    <a:pt x="12986" y="13400"/>
                    <a:pt x="12863" y="13400"/>
                  </a:cubicBezTo>
                  <a:cubicBezTo>
                    <a:pt x="12726" y="13400"/>
                    <a:pt x="12582" y="13412"/>
                    <a:pt x="12448" y="13412"/>
                  </a:cubicBezTo>
                  <a:cubicBezTo>
                    <a:pt x="12162" y="13412"/>
                    <a:pt x="11919" y="13355"/>
                    <a:pt x="11873" y="12999"/>
                  </a:cubicBezTo>
                  <a:cubicBezTo>
                    <a:pt x="11769" y="12221"/>
                    <a:pt x="11614" y="11288"/>
                    <a:pt x="12409" y="10666"/>
                  </a:cubicBezTo>
                  <a:cubicBezTo>
                    <a:pt x="12979" y="10199"/>
                    <a:pt x="12806" y="9836"/>
                    <a:pt x="12478" y="9249"/>
                  </a:cubicBezTo>
                  <a:cubicBezTo>
                    <a:pt x="11908" y="8195"/>
                    <a:pt x="10352" y="8558"/>
                    <a:pt x="10076" y="7849"/>
                  </a:cubicBezTo>
                  <a:cubicBezTo>
                    <a:pt x="9542" y="6419"/>
                    <a:pt x="8354" y="5659"/>
                    <a:pt x="7491" y="4592"/>
                  </a:cubicBezTo>
                  <a:lnTo>
                    <a:pt x="7491" y="4592"/>
                  </a:lnTo>
                  <a:cubicBezTo>
                    <a:pt x="6993" y="4179"/>
                    <a:pt x="6512" y="3733"/>
                    <a:pt x="5980" y="3339"/>
                  </a:cubicBezTo>
                  <a:cubicBezTo>
                    <a:pt x="4563" y="2285"/>
                    <a:pt x="3682" y="522"/>
                    <a:pt x="1763" y="72"/>
                  </a:cubicBezTo>
                  <a:cubicBezTo>
                    <a:pt x="1567" y="28"/>
                    <a:pt x="1383" y="0"/>
                    <a:pt x="1210"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8" name="Google Shape;3748;p66"/>
            <p:cNvSpPr/>
            <p:nvPr/>
          </p:nvSpPr>
          <p:spPr>
            <a:xfrm>
              <a:off x="4388700" y="3530600"/>
              <a:ext cx="227275" cy="395425"/>
            </a:xfrm>
            <a:custGeom>
              <a:avLst/>
              <a:gdLst/>
              <a:ahLst/>
              <a:cxnLst/>
              <a:rect l="l" t="t" r="r" b="b"/>
              <a:pathLst>
                <a:path w="9091" h="15817" extrusionOk="0">
                  <a:moveTo>
                    <a:pt x="7622" y="0"/>
                  </a:moveTo>
                  <a:cubicBezTo>
                    <a:pt x="7155" y="0"/>
                    <a:pt x="6965" y="363"/>
                    <a:pt x="6740" y="761"/>
                  </a:cubicBezTo>
                  <a:cubicBezTo>
                    <a:pt x="5963" y="2212"/>
                    <a:pt x="5323" y="3802"/>
                    <a:pt x="3405" y="4200"/>
                  </a:cubicBezTo>
                  <a:cubicBezTo>
                    <a:pt x="2645" y="4338"/>
                    <a:pt x="2247" y="4891"/>
                    <a:pt x="2109" y="5738"/>
                  </a:cubicBezTo>
                  <a:cubicBezTo>
                    <a:pt x="1781" y="7587"/>
                    <a:pt x="1971" y="9471"/>
                    <a:pt x="917" y="11285"/>
                  </a:cubicBezTo>
                  <a:cubicBezTo>
                    <a:pt x="1" y="12910"/>
                    <a:pt x="1660" y="15813"/>
                    <a:pt x="3077" y="15813"/>
                  </a:cubicBezTo>
                  <a:cubicBezTo>
                    <a:pt x="3125" y="15815"/>
                    <a:pt x="3172" y="15816"/>
                    <a:pt x="3219" y="15816"/>
                  </a:cubicBezTo>
                  <a:cubicBezTo>
                    <a:pt x="4640" y="15816"/>
                    <a:pt x="5279" y="14808"/>
                    <a:pt x="5496" y="13670"/>
                  </a:cubicBezTo>
                  <a:cubicBezTo>
                    <a:pt x="6049" y="11095"/>
                    <a:pt x="7034" y="8676"/>
                    <a:pt x="8002" y="6256"/>
                  </a:cubicBezTo>
                  <a:cubicBezTo>
                    <a:pt x="8745" y="4373"/>
                    <a:pt x="9091" y="2645"/>
                    <a:pt x="8192" y="778"/>
                  </a:cubicBezTo>
                  <a:cubicBezTo>
                    <a:pt x="8054" y="467"/>
                    <a:pt x="8106" y="18"/>
                    <a:pt x="762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49" name="Google Shape;3749;p66"/>
            <p:cNvSpPr/>
            <p:nvPr/>
          </p:nvSpPr>
          <p:spPr>
            <a:xfrm>
              <a:off x="6438300" y="1893850"/>
              <a:ext cx="267450" cy="418275"/>
            </a:xfrm>
            <a:custGeom>
              <a:avLst/>
              <a:gdLst/>
              <a:ahLst/>
              <a:cxnLst/>
              <a:rect l="l" t="t" r="r" b="b"/>
              <a:pathLst>
                <a:path w="10698" h="16731" extrusionOk="0">
                  <a:moveTo>
                    <a:pt x="4909" y="1"/>
                  </a:moveTo>
                  <a:cubicBezTo>
                    <a:pt x="4667" y="1"/>
                    <a:pt x="4504" y="61"/>
                    <a:pt x="4562" y="216"/>
                  </a:cubicBezTo>
                  <a:cubicBezTo>
                    <a:pt x="5064" y="1633"/>
                    <a:pt x="3992" y="3465"/>
                    <a:pt x="5444" y="4502"/>
                  </a:cubicBezTo>
                  <a:cubicBezTo>
                    <a:pt x="6654" y="5366"/>
                    <a:pt x="6515" y="6627"/>
                    <a:pt x="6913" y="7647"/>
                  </a:cubicBezTo>
                  <a:cubicBezTo>
                    <a:pt x="6804" y="8207"/>
                    <a:pt x="6835" y="9062"/>
                    <a:pt x="6426" y="9062"/>
                  </a:cubicBezTo>
                  <a:cubicBezTo>
                    <a:pt x="6380" y="9062"/>
                    <a:pt x="6330" y="9052"/>
                    <a:pt x="6273" y="9029"/>
                  </a:cubicBezTo>
                  <a:cubicBezTo>
                    <a:pt x="6019" y="8928"/>
                    <a:pt x="5817" y="8884"/>
                    <a:pt x="5657" y="8884"/>
                  </a:cubicBezTo>
                  <a:cubicBezTo>
                    <a:pt x="5131" y="8884"/>
                    <a:pt x="5047" y="9360"/>
                    <a:pt x="4995" y="9876"/>
                  </a:cubicBezTo>
                  <a:cubicBezTo>
                    <a:pt x="4925" y="10533"/>
                    <a:pt x="4614" y="10757"/>
                    <a:pt x="4044" y="10896"/>
                  </a:cubicBezTo>
                  <a:cubicBezTo>
                    <a:pt x="726" y="11673"/>
                    <a:pt x="0" y="13229"/>
                    <a:pt x="1659" y="16028"/>
                  </a:cubicBezTo>
                  <a:cubicBezTo>
                    <a:pt x="1834" y="16314"/>
                    <a:pt x="1935" y="16730"/>
                    <a:pt x="2351" y="16730"/>
                  </a:cubicBezTo>
                  <a:cubicBezTo>
                    <a:pt x="2389" y="16730"/>
                    <a:pt x="2429" y="16727"/>
                    <a:pt x="2471" y="16720"/>
                  </a:cubicBezTo>
                  <a:cubicBezTo>
                    <a:pt x="3007" y="16633"/>
                    <a:pt x="3197" y="16236"/>
                    <a:pt x="3301" y="15752"/>
                  </a:cubicBezTo>
                  <a:cubicBezTo>
                    <a:pt x="3405" y="15251"/>
                    <a:pt x="3301" y="14784"/>
                    <a:pt x="4009" y="14542"/>
                  </a:cubicBezTo>
                  <a:cubicBezTo>
                    <a:pt x="5651" y="13955"/>
                    <a:pt x="7241" y="13194"/>
                    <a:pt x="8866" y="12555"/>
                  </a:cubicBezTo>
                  <a:cubicBezTo>
                    <a:pt x="9298" y="12399"/>
                    <a:pt x="9643" y="12261"/>
                    <a:pt x="9799" y="11829"/>
                  </a:cubicBezTo>
                  <a:cubicBezTo>
                    <a:pt x="10300" y="10308"/>
                    <a:pt x="8866" y="5746"/>
                    <a:pt x="7604" y="4709"/>
                  </a:cubicBezTo>
                  <a:cubicBezTo>
                    <a:pt x="7397" y="4536"/>
                    <a:pt x="6809" y="4571"/>
                    <a:pt x="7016" y="4139"/>
                  </a:cubicBezTo>
                  <a:cubicBezTo>
                    <a:pt x="7082" y="4008"/>
                    <a:pt x="7166" y="3963"/>
                    <a:pt x="7262" y="3963"/>
                  </a:cubicBezTo>
                  <a:cubicBezTo>
                    <a:pt x="7468" y="3963"/>
                    <a:pt x="7725" y="4173"/>
                    <a:pt x="7950" y="4173"/>
                  </a:cubicBezTo>
                  <a:cubicBezTo>
                    <a:pt x="7979" y="4174"/>
                    <a:pt x="8009" y="4175"/>
                    <a:pt x="8039" y="4175"/>
                  </a:cubicBezTo>
                  <a:cubicBezTo>
                    <a:pt x="9008" y="4175"/>
                    <a:pt x="9913" y="3634"/>
                    <a:pt x="10265" y="2946"/>
                  </a:cubicBezTo>
                  <a:cubicBezTo>
                    <a:pt x="10697" y="2117"/>
                    <a:pt x="9695" y="1667"/>
                    <a:pt x="8987" y="1581"/>
                  </a:cubicBezTo>
                  <a:cubicBezTo>
                    <a:pt x="7811" y="1443"/>
                    <a:pt x="6930" y="786"/>
                    <a:pt x="5962" y="250"/>
                  </a:cubicBezTo>
                  <a:cubicBezTo>
                    <a:pt x="5704" y="111"/>
                    <a:pt x="5235" y="1"/>
                    <a:pt x="4909"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0" name="Google Shape;3750;p66"/>
            <p:cNvSpPr/>
            <p:nvPr/>
          </p:nvSpPr>
          <p:spPr>
            <a:xfrm>
              <a:off x="6901875" y="4220725"/>
              <a:ext cx="468775" cy="354550"/>
            </a:xfrm>
            <a:custGeom>
              <a:avLst/>
              <a:gdLst/>
              <a:ahLst/>
              <a:cxnLst/>
              <a:rect l="l" t="t" r="r" b="b"/>
              <a:pathLst>
                <a:path w="18751" h="14182" extrusionOk="0">
                  <a:moveTo>
                    <a:pt x="15666" y="0"/>
                  </a:moveTo>
                  <a:cubicBezTo>
                    <a:pt x="15588" y="0"/>
                    <a:pt x="15504" y="9"/>
                    <a:pt x="15415" y="28"/>
                  </a:cubicBezTo>
                  <a:cubicBezTo>
                    <a:pt x="14690" y="184"/>
                    <a:pt x="14759" y="772"/>
                    <a:pt x="14897" y="1290"/>
                  </a:cubicBezTo>
                  <a:cubicBezTo>
                    <a:pt x="15294" y="2845"/>
                    <a:pt x="14880" y="4038"/>
                    <a:pt x="13463" y="4850"/>
                  </a:cubicBezTo>
                  <a:cubicBezTo>
                    <a:pt x="13013" y="5109"/>
                    <a:pt x="12823" y="5472"/>
                    <a:pt x="13065" y="5991"/>
                  </a:cubicBezTo>
                  <a:cubicBezTo>
                    <a:pt x="13324" y="6578"/>
                    <a:pt x="12823" y="6803"/>
                    <a:pt x="12512" y="7097"/>
                  </a:cubicBezTo>
                  <a:cubicBezTo>
                    <a:pt x="12410" y="7191"/>
                    <a:pt x="12303" y="7233"/>
                    <a:pt x="12200" y="7233"/>
                  </a:cubicBezTo>
                  <a:cubicBezTo>
                    <a:pt x="12041" y="7233"/>
                    <a:pt x="11891" y="7133"/>
                    <a:pt x="11786" y="6976"/>
                  </a:cubicBezTo>
                  <a:cubicBezTo>
                    <a:pt x="11531" y="6610"/>
                    <a:pt x="11284" y="6477"/>
                    <a:pt x="11039" y="6477"/>
                  </a:cubicBezTo>
                  <a:cubicBezTo>
                    <a:pt x="10705" y="6477"/>
                    <a:pt x="10373" y="6726"/>
                    <a:pt x="10024" y="6976"/>
                  </a:cubicBezTo>
                  <a:cubicBezTo>
                    <a:pt x="8797" y="7891"/>
                    <a:pt x="7811" y="9188"/>
                    <a:pt x="6308" y="9637"/>
                  </a:cubicBezTo>
                  <a:cubicBezTo>
                    <a:pt x="4303" y="10242"/>
                    <a:pt x="2696" y="11572"/>
                    <a:pt x="812" y="12385"/>
                  </a:cubicBezTo>
                  <a:cubicBezTo>
                    <a:pt x="242" y="12627"/>
                    <a:pt x="0" y="13214"/>
                    <a:pt x="692" y="13577"/>
                  </a:cubicBezTo>
                  <a:cubicBezTo>
                    <a:pt x="1262" y="13888"/>
                    <a:pt x="1936" y="13992"/>
                    <a:pt x="2610" y="14182"/>
                  </a:cubicBezTo>
                  <a:cubicBezTo>
                    <a:pt x="3819" y="13854"/>
                    <a:pt x="4943" y="13249"/>
                    <a:pt x="5893" y="12436"/>
                  </a:cubicBezTo>
                  <a:cubicBezTo>
                    <a:pt x="7829" y="10743"/>
                    <a:pt x="10144" y="9447"/>
                    <a:pt x="12357" y="8496"/>
                  </a:cubicBezTo>
                  <a:cubicBezTo>
                    <a:pt x="14396" y="7615"/>
                    <a:pt x="15847" y="6042"/>
                    <a:pt x="17817" y="5213"/>
                  </a:cubicBezTo>
                  <a:cubicBezTo>
                    <a:pt x="18301" y="4988"/>
                    <a:pt x="18751" y="4452"/>
                    <a:pt x="18612" y="3848"/>
                  </a:cubicBezTo>
                  <a:cubicBezTo>
                    <a:pt x="18539" y="3538"/>
                    <a:pt x="18402" y="3442"/>
                    <a:pt x="18239" y="3442"/>
                  </a:cubicBezTo>
                  <a:cubicBezTo>
                    <a:pt x="18019" y="3442"/>
                    <a:pt x="17752" y="3615"/>
                    <a:pt x="17524" y="3675"/>
                  </a:cubicBezTo>
                  <a:cubicBezTo>
                    <a:pt x="17487" y="3682"/>
                    <a:pt x="17451" y="3686"/>
                    <a:pt x="17417" y="3686"/>
                  </a:cubicBezTo>
                  <a:cubicBezTo>
                    <a:pt x="17207" y="3686"/>
                    <a:pt x="17050" y="3554"/>
                    <a:pt x="17109" y="3346"/>
                  </a:cubicBezTo>
                  <a:cubicBezTo>
                    <a:pt x="17385" y="2431"/>
                    <a:pt x="16625" y="1791"/>
                    <a:pt x="16556" y="962"/>
                  </a:cubicBezTo>
                  <a:cubicBezTo>
                    <a:pt x="16526" y="461"/>
                    <a:pt x="16229" y="0"/>
                    <a:pt x="1566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1" name="Google Shape;3751;p66"/>
            <p:cNvSpPr/>
            <p:nvPr/>
          </p:nvSpPr>
          <p:spPr>
            <a:xfrm>
              <a:off x="6306100" y="2654825"/>
              <a:ext cx="232875" cy="385425"/>
            </a:xfrm>
            <a:custGeom>
              <a:avLst/>
              <a:gdLst/>
              <a:ahLst/>
              <a:cxnLst/>
              <a:rect l="l" t="t" r="r" b="b"/>
              <a:pathLst>
                <a:path w="9315" h="15417" extrusionOk="0">
                  <a:moveTo>
                    <a:pt x="6907" y="9941"/>
                  </a:moveTo>
                  <a:cubicBezTo>
                    <a:pt x="6738" y="10523"/>
                    <a:pt x="6645" y="11167"/>
                    <a:pt x="5910" y="11304"/>
                  </a:cubicBezTo>
                  <a:cubicBezTo>
                    <a:pt x="5905" y="11305"/>
                    <a:pt x="5899" y="11305"/>
                    <a:pt x="5892" y="11305"/>
                  </a:cubicBezTo>
                  <a:cubicBezTo>
                    <a:pt x="5767" y="11305"/>
                    <a:pt x="5547" y="11146"/>
                    <a:pt x="5547" y="11097"/>
                  </a:cubicBezTo>
                  <a:cubicBezTo>
                    <a:pt x="5616" y="10270"/>
                    <a:pt x="6304" y="10147"/>
                    <a:pt x="6907" y="9941"/>
                  </a:cubicBezTo>
                  <a:close/>
                  <a:moveTo>
                    <a:pt x="2345" y="1"/>
                  </a:moveTo>
                  <a:cubicBezTo>
                    <a:pt x="2049" y="1"/>
                    <a:pt x="1708" y="93"/>
                    <a:pt x="1419" y="93"/>
                  </a:cubicBezTo>
                  <a:cubicBezTo>
                    <a:pt x="1383" y="93"/>
                    <a:pt x="1348" y="92"/>
                    <a:pt x="1313" y="88"/>
                  </a:cubicBezTo>
                  <a:cubicBezTo>
                    <a:pt x="1306" y="88"/>
                    <a:pt x="1299" y="88"/>
                    <a:pt x="1292" y="88"/>
                  </a:cubicBezTo>
                  <a:cubicBezTo>
                    <a:pt x="885" y="88"/>
                    <a:pt x="504" y="561"/>
                    <a:pt x="639" y="883"/>
                  </a:cubicBezTo>
                  <a:cubicBezTo>
                    <a:pt x="1244" y="2283"/>
                    <a:pt x="0" y="3977"/>
                    <a:pt x="1348" y="5273"/>
                  </a:cubicBezTo>
                  <a:cubicBezTo>
                    <a:pt x="1538" y="5446"/>
                    <a:pt x="1383" y="5964"/>
                    <a:pt x="1538" y="6241"/>
                  </a:cubicBezTo>
                  <a:cubicBezTo>
                    <a:pt x="1851" y="6738"/>
                    <a:pt x="1941" y="7889"/>
                    <a:pt x="2501" y="7889"/>
                  </a:cubicBezTo>
                  <a:cubicBezTo>
                    <a:pt x="2623" y="7889"/>
                    <a:pt x="2766" y="7836"/>
                    <a:pt x="2938" y="7710"/>
                  </a:cubicBezTo>
                  <a:cubicBezTo>
                    <a:pt x="3345" y="7411"/>
                    <a:pt x="3664" y="7306"/>
                    <a:pt x="3951" y="7306"/>
                  </a:cubicBezTo>
                  <a:cubicBezTo>
                    <a:pt x="4345" y="7306"/>
                    <a:pt x="4678" y="7505"/>
                    <a:pt x="5098" y="7675"/>
                  </a:cubicBezTo>
                  <a:cubicBezTo>
                    <a:pt x="5375" y="7796"/>
                    <a:pt x="5651" y="7848"/>
                    <a:pt x="5668" y="8176"/>
                  </a:cubicBezTo>
                  <a:cubicBezTo>
                    <a:pt x="5668" y="8297"/>
                    <a:pt x="5547" y="8401"/>
                    <a:pt x="5478" y="8504"/>
                  </a:cubicBezTo>
                  <a:cubicBezTo>
                    <a:pt x="5288" y="8384"/>
                    <a:pt x="5098" y="8263"/>
                    <a:pt x="4908" y="8107"/>
                  </a:cubicBezTo>
                  <a:cubicBezTo>
                    <a:pt x="4670" y="7869"/>
                    <a:pt x="4349" y="7740"/>
                    <a:pt x="4020" y="7740"/>
                  </a:cubicBezTo>
                  <a:cubicBezTo>
                    <a:pt x="3895" y="7740"/>
                    <a:pt x="3770" y="7758"/>
                    <a:pt x="3646" y="7796"/>
                  </a:cubicBezTo>
                  <a:cubicBezTo>
                    <a:pt x="3059" y="7951"/>
                    <a:pt x="3284" y="8470"/>
                    <a:pt x="3249" y="8850"/>
                  </a:cubicBezTo>
                  <a:cubicBezTo>
                    <a:pt x="3180" y="10008"/>
                    <a:pt x="4701" y="11270"/>
                    <a:pt x="4580" y="11408"/>
                  </a:cubicBezTo>
                  <a:cubicBezTo>
                    <a:pt x="3042" y="13170"/>
                    <a:pt x="4251" y="13205"/>
                    <a:pt x="5599" y="13758"/>
                  </a:cubicBezTo>
                  <a:cubicBezTo>
                    <a:pt x="6014" y="13948"/>
                    <a:pt x="6429" y="15244"/>
                    <a:pt x="7379" y="15400"/>
                  </a:cubicBezTo>
                  <a:cubicBezTo>
                    <a:pt x="7454" y="15411"/>
                    <a:pt x="7523" y="15417"/>
                    <a:pt x="7586" y="15417"/>
                  </a:cubicBezTo>
                  <a:cubicBezTo>
                    <a:pt x="8462" y="15417"/>
                    <a:pt x="8316" y="14362"/>
                    <a:pt x="8606" y="13879"/>
                  </a:cubicBezTo>
                  <a:cubicBezTo>
                    <a:pt x="9315" y="12687"/>
                    <a:pt x="8554" y="11529"/>
                    <a:pt x="8105" y="10423"/>
                  </a:cubicBezTo>
                  <a:cubicBezTo>
                    <a:pt x="7967" y="10058"/>
                    <a:pt x="7709" y="9812"/>
                    <a:pt x="7353" y="9812"/>
                  </a:cubicBezTo>
                  <a:cubicBezTo>
                    <a:pt x="7222" y="9812"/>
                    <a:pt x="7078" y="9845"/>
                    <a:pt x="6922" y="9917"/>
                  </a:cubicBezTo>
                  <a:lnTo>
                    <a:pt x="6922" y="9917"/>
                  </a:lnTo>
                  <a:cubicBezTo>
                    <a:pt x="7290" y="9072"/>
                    <a:pt x="8114" y="7913"/>
                    <a:pt x="7103" y="7433"/>
                  </a:cubicBezTo>
                  <a:cubicBezTo>
                    <a:pt x="5789" y="6828"/>
                    <a:pt x="5530" y="5048"/>
                    <a:pt x="3854" y="4927"/>
                  </a:cubicBezTo>
                  <a:cubicBezTo>
                    <a:pt x="3335" y="4893"/>
                    <a:pt x="2886" y="4167"/>
                    <a:pt x="3318" y="3424"/>
                  </a:cubicBezTo>
                  <a:cubicBezTo>
                    <a:pt x="3975" y="2318"/>
                    <a:pt x="3353" y="1298"/>
                    <a:pt x="2955" y="348"/>
                  </a:cubicBezTo>
                  <a:cubicBezTo>
                    <a:pt x="2833" y="73"/>
                    <a:pt x="2607" y="1"/>
                    <a:pt x="234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2" name="Google Shape;3752;p66"/>
            <p:cNvSpPr/>
            <p:nvPr/>
          </p:nvSpPr>
          <p:spPr>
            <a:xfrm>
              <a:off x="6139750" y="3178550"/>
              <a:ext cx="185375" cy="227425"/>
            </a:xfrm>
            <a:custGeom>
              <a:avLst/>
              <a:gdLst/>
              <a:ahLst/>
              <a:cxnLst/>
              <a:rect l="l" t="t" r="r" b="b"/>
              <a:pathLst>
                <a:path w="7415" h="9097" extrusionOk="0">
                  <a:moveTo>
                    <a:pt x="6576" y="0"/>
                  </a:moveTo>
                  <a:cubicBezTo>
                    <a:pt x="6440" y="0"/>
                    <a:pt x="6314" y="46"/>
                    <a:pt x="6222" y="154"/>
                  </a:cubicBezTo>
                  <a:cubicBezTo>
                    <a:pt x="5928" y="483"/>
                    <a:pt x="5611" y="592"/>
                    <a:pt x="5290" y="592"/>
                  </a:cubicBezTo>
                  <a:cubicBezTo>
                    <a:pt x="4988" y="592"/>
                    <a:pt x="4683" y="496"/>
                    <a:pt x="4390" y="396"/>
                  </a:cubicBezTo>
                  <a:cubicBezTo>
                    <a:pt x="3964" y="242"/>
                    <a:pt x="3597" y="173"/>
                    <a:pt x="3279" y="173"/>
                  </a:cubicBezTo>
                  <a:cubicBezTo>
                    <a:pt x="1986" y="173"/>
                    <a:pt x="1492" y="1318"/>
                    <a:pt x="1020" y="2608"/>
                  </a:cubicBezTo>
                  <a:cubicBezTo>
                    <a:pt x="364" y="4353"/>
                    <a:pt x="1" y="6064"/>
                    <a:pt x="796" y="7360"/>
                  </a:cubicBezTo>
                  <a:cubicBezTo>
                    <a:pt x="847" y="8362"/>
                    <a:pt x="761" y="8984"/>
                    <a:pt x="1470" y="9088"/>
                  </a:cubicBezTo>
                  <a:cubicBezTo>
                    <a:pt x="1519" y="9094"/>
                    <a:pt x="1568" y="9097"/>
                    <a:pt x="1614" y="9097"/>
                  </a:cubicBezTo>
                  <a:cubicBezTo>
                    <a:pt x="2117" y="9097"/>
                    <a:pt x="2435" y="8762"/>
                    <a:pt x="2593" y="8224"/>
                  </a:cubicBezTo>
                  <a:cubicBezTo>
                    <a:pt x="2634" y="8075"/>
                    <a:pt x="2578" y="7743"/>
                    <a:pt x="2746" y="7743"/>
                  </a:cubicBezTo>
                  <a:cubicBezTo>
                    <a:pt x="2792" y="7743"/>
                    <a:pt x="2854" y="7768"/>
                    <a:pt x="2938" y="7827"/>
                  </a:cubicBezTo>
                  <a:cubicBezTo>
                    <a:pt x="3173" y="7995"/>
                    <a:pt x="3380" y="8062"/>
                    <a:pt x="3567" y="8062"/>
                  </a:cubicBezTo>
                  <a:cubicBezTo>
                    <a:pt x="4013" y="8062"/>
                    <a:pt x="4340" y="7677"/>
                    <a:pt x="4632" y="7360"/>
                  </a:cubicBezTo>
                  <a:cubicBezTo>
                    <a:pt x="5116" y="6842"/>
                    <a:pt x="4563" y="6358"/>
                    <a:pt x="4373" y="5839"/>
                  </a:cubicBezTo>
                  <a:cubicBezTo>
                    <a:pt x="4183" y="5321"/>
                    <a:pt x="3491" y="4750"/>
                    <a:pt x="4442" y="4249"/>
                  </a:cubicBezTo>
                  <a:cubicBezTo>
                    <a:pt x="4943" y="3990"/>
                    <a:pt x="5790" y="3852"/>
                    <a:pt x="5427" y="3057"/>
                  </a:cubicBezTo>
                  <a:cubicBezTo>
                    <a:pt x="5274" y="2713"/>
                    <a:pt x="5030" y="2616"/>
                    <a:pt x="4752" y="2616"/>
                  </a:cubicBezTo>
                  <a:cubicBezTo>
                    <a:pt x="4400" y="2616"/>
                    <a:pt x="3994" y="2771"/>
                    <a:pt x="3647" y="2780"/>
                  </a:cubicBezTo>
                  <a:cubicBezTo>
                    <a:pt x="3388" y="2815"/>
                    <a:pt x="3129" y="2850"/>
                    <a:pt x="2887" y="2919"/>
                  </a:cubicBezTo>
                  <a:cubicBezTo>
                    <a:pt x="2887" y="2746"/>
                    <a:pt x="2800" y="2487"/>
                    <a:pt x="2887" y="2435"/>
                  </a:cubicBezTo>
                  <a:cubicBezTo>
                    <a:pt x="3111" y="2262"/>
                    <a:pt x="3405" y="2037"/>
                    <a:pt x="3664" y="2037"/>
                  </a:cubicBezTo>
                  <a:cubicBezTo>
                    <a:pt x="4321" y="2055"/>
                    <a:pt x="4995" y="2262"/>
                    <a:pt x="5634" y="2262"/>
                  </a:cubicBezTo>
                  <a:cubicBezTo>
                    <a:pt x="6481" y="2262"/>
                    <a:pt x="6861" y="1553"/>
                    <a:pt x="7242" y="931"/>
                  </a:cubicBezTo>
                  <a:cubicBezTo>
                    <a:pt x="7414" y="689"/>
                    <a:pt x="7328" y="344"/>
                    <a:pt x="7086" y="188"/>
                  </a:cubicBezTo>
                  <a:cubicBezTo>
                    <a:pt x="6932" y="73"/>
                    <a:pt x="6746" y="0"/>
                    <a:pt x="657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3" name="Google Shape;3753;p66"/>
            <p:cNvSpPr/>
            <p:nvPr/>
          </p:nvSpPr>
          <p:spPr>
            <a:xfrm>
              <a:off x="4320000" y="1079225"/>
              <a:ext cx="260125" cy="163000"/>
            </a:xfrm>
            <a:custGeom>
              <a:avLst/>
              <a:gdLst/>
              <a:ahLst/>
              <a:cxnLst/>
              <a:rect l="l" t="t" r="r" b="b"/>
              <a:pathLst>
                <a:path w="10405" h="6520" extrusionOk="0">
                  <a:moveTo>
                    <a:pt x="8970" y="1"/>
                  </a:moveTo>
                  <a:cubicBezTo>
                    <a:pt x="6620" y="778"/>
                    <a:pt x="3786" y="294"/>
                    <a:pt x="1764" y="2576"/>
                  </a:cubicBezTo>
                  <a:cubicBezTo>
                    <a:pt x="502" y="3993"/>
                    <a:pt x="1" y="5410"/>
                    <a:pt x="1038" y="5876"/>
                  </a:cubicBezTo>
                  <a:cubicBezTo>
                    <a:pt x="2057" y="6274"/>
                    <a:pt x="3146" y="6499"/>
                    <a:pt x="4252" y="6516"/>
                  </a:cubicBezTo>
                  <a:cubicBezTo>
                    <a:pt x="4303" y="6518"/>
                    <a:pt x="4355" y="6520"/>
                    <a:pt x="4406" y="6520"/>
                  </a:cubicBezTo>
                  <a:cubicBezTo>
                    <a:pt x="4717" y="6520"/>
                    <a:pt x="5012" y="6455"/>
                    <a:pt x="5116" y="6084"/>
                  </a:cubicBezTo>
                  <a:cubicBezTo>
                    <a:pt x="5237" y="5652"/>
                    <a:pt x="4892" y="5479"/>
                    <a:pt x="4563" y="5323"/>
                  </a:cubicBezTo>
                  <a:cubicBezTo>
                    <a:pt x="3094" y="4598"/>
                    <a:pt x="3630" y="3924"/>
                    <a:pt x="4598" y="3198"/>
                  </a:cubicBezTo>
                  <a:cubicBezTo>
                    <a:pt x="5980" y="2144"/>
                    <a:pt x="7726" y="2126"/>
                    <a:pt x="9264" y="1487"/>
                  </a:cubicBezTo>
                  <a:cubicBezTo>
                    <a:pt x="9696" y="1331"/>
                    <a:pt x="10404" y="1556"/>
                    <a:pt x="10352" y="796"/>
                  </a:cubicBezTo>
                  <a:cubicBezTo>
                    <a:pt x="10301" y="35"/>
                    <a:pt x="9627" y="70"/>
                    <a:pt x="897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4" name="Google Shape;3754;p66"/>
            <p:cNvSpPr/>
            <p:nvPr/>
          </p:nvSpPr>
          <p:spPr>
            <a:xfrm>
              <a:off x="3605850" y="1017225"/>
              <a:ext cx="246275" cy="88775"/>
            </a:xfrm>
            <a:custGeom>
              <a:avLst/>
              <a:gdLst/>
              <a:ahLst/>
              <a:cxnLst/>
              <a:rect l="l" t="t" r="r" b="b"/>
              <a:pathLst>
                <a:path w="9851" h="3551" extrusionOk="0">
                  <a:moveTo>
                    <a:pt x="3896" y="1"/>
                  </a:moveTo>
                  <a:cubicBezTo>
                    <a:pt x="2951" y="1"/>
                    <a:pt x="1998" y="113"/>
                    <a:pt x="1055" y="130"/>
                  </a:cubicBezTo>
                  <a:cubicBezTo>
                    <a:pt x="674" y="130"/>
                    <a:pt x="260" y="217"/>
                    <a:pt x="121" y="649"/>
                  </a:cubicBezTo>
                  <a:cubicBezTo>
                    <a:pt x="0" y="1046"/>
                    <a:pt x="173" y="1461"/>
                    <a:pt x="536" y="1651"/>
                  </a:cubicBezTo>
                  <a:cubicBezTo>
                    <a:pt x="1487" y="2256"/>
                    <a:pt x="2489" y="2792"/>
                    <a:pt x="3474" y="3345"/>
                  </a:cubicBezTo>
                  <a:cubicBezTo>
                    <a:pt x="3715" y="3472"/>
                    <a:pt x="3939" y="3551"/>
                    <a:pt x="4149" y="3551"/>
                  </a:cubicBezTo>
                  <a:cubicBezTo>
                    <a:pt x="4450" y="3551"/>
                    <a:pt x="4723" y="3389"/>
                    <a:pt x="4978" y="2982"/>
                  </a:cubicBezTo>
                  <a:cubicBezTo>
                    <a:pt x="5203" y="2650"/>
                    <a:pt x="5511" y="2104"/>
                    <a:pt x="5931" y="2104"/>
                  </a:cubicBezTo>
                  <a:cubicBezTo>
                    <a:pt x="6058" y="2104"/>
                    <a:pt x="6195" y="2153"/>
                    <a:pt x="6343" y="2273"/>
                  </a:cubicBezTo>
                  <a:cubicBezTo>
                    <a:pt x="6982" y="2809"/>
                    <a:pt x="7673" y="2826"/>
                    <a:pt x="8365" y="2895"/>
                  </a:cubicBezTo>
                  <a:cubicBezTo>
                    <a:pt x="8588" y="2920"/>
                    <a:pt x="8869" y="3004"/>
                    <a:pt x="9118" y="3004"/>
                  </a:cubicBezTo>
                  <a:cubicBezTo>
                    <a:pt x="9390" y="3004"/>
                    <a:pt x="9623" y="2904"/>
                    <a:pt x="9695" y="2515"/>
                  </a:cubicBezTo>
                  <a:cubicBezTo>
                    <a:pt x="9851" y="1789"/>
                    <a:pt x="9142" y="1668"/>
                    <a:pt x="8641" y="1478"/>
                  </a:cubicBezTo>
                  <a:lnTo>
                    <a:pt x="6585" y="493"/>
                  </a:lnTo>
                  <a:cubicBezTo>
                    <a:pt x="5704" y="104"/>
                    <a:pt x="4803" y="1"/>
                    <a:pt x="3896"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5" name="Google Shape;3755;p66"/>
            <p:cNvSpPr/>
            <p:nvPr/>
          </p:nvSpPr>
          <p:spPr>
            <a:xfrm>
              <a:off x="3161275" y="1612775"/>
              <a:ext cx="115825" cy="115825"/>
            </a:xfrm>
            <a:custGeom>
              <a:avLst/>
              <a:gdLst/>
              <a:ahLst/>
              <a:cxnLst/>
              <a:rect l="l" t="t" r="r" b="b"/>
              <a:pathLst>
                <a:path w="4633" h="4633" extrusionOk="0">
                  <a:moveTo>
                    <a:pt x="2966" y="1"/>
                  </a:moveTo>
                  <a:cubicBezTo>
                    <a:pt x="2951" y="1"/>
                    <a:pt x="2936" y="1"/>
                    <a:pt x="2921" y="1"/>
                  </a:cubicBezTo>
                  <a:cubicBezTo>
                    <a:pt x="1729" y="36"/>
                    <a:pt x="1" y="2421"/>
                    <a:pt x="139" y="3803"/>
                  </a:cubicBezTo>
                  <a:cubicBezTo>
                    <a:pt x="139" y="4252"/>
                    <a:pt x="502" y="4615"/>
                    <a:pt x="951" y="4633"/>
                  </a:cubicBezTo>
                  <a:cubicBezTo>
                    <a:pt x="2956" y="4581"/>
                    <a:pt x="4632" y="3026"/>
                    <a:pt x="4529" y="1297"/>
                  </a:cubicBezTo>
                  <a:cubicBezTo>
                    <a:pt x="4478" y="482"/>
                    <a:pt x="3809" y="1"/>
                    <a:pt x="2966"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6" name="Google Shape;3756;p66"/>
            <p:cNvSpPr/>
            <p:nvPr/>
          </p:nvSpPr>
          <p:spPr>
            <a:xfrm>
              <a:off x="6082850" y="3458350"/>
              <a:ext cx="215350" cy="82375"/>
            </a:xfrm>
            <a:custGeom>
              <a:avLst/>
              <a:gdLst/>
              <a:ahLst/>
              <a:cxnLst/>
              <a:rect l="l" t="t" r="r" b="b"/>
              <a:pathLst>
                <a:path w="8614" h="3295" extrusionOk="0">
                  <a:moveTo>
                    <a:pt x="8412" y="834"/>
                  </a:moveTo>
                  <a:lnTo>
                    <a:pt x="8412" y="834"/>
                  </a:lnTo>
                  <a:cubicBezTo>
                    <a:pt x="8408" y="835"/>
                    <a:pt x="8404" y="836"/>
                    <a:pt x="8401" y="837"/>
                  </a:cubicBezTo>
                  <a:lnTo>
                    <a:pt x="8401" y="837"/>
                  </a:lnTo>
                  <a:cubicBezTo>
                    <a:pt x="8399" y="842"/>
                    <a:pt x="8396" y="846"/>
                    <a:pt x="8394" y="851"/>
                  </a:cubicBezTo>
                  <a:lnTo>
                    <a:pt x="8412" y="834"/>
                  </a:lnTo>
                  <a:close/>
                  <a:moveTo>
                    <a:pt x="6441" y="1"/>
                  </a:moveTo>
                  <a:cubicBezTo>
                    <a:pt x="5426" y="1"/>
                    <a:pt x="4424" y="103"/>
                    <a:pt x="3504" y="557"/>
                  </a:cubicBezTo>
                  <a:cubicBezTo>
                    <a:pt x="3268" y="683"/>
                    <a:pt x="3156" y="756"/>
                    <a:pt x="3064" y="756"/>
                  </a:cubicBezTo>
                  <a:cubicBezTo>
                    <a:pt x="2968" y="756"/>
                    <a:pt x="2895" y="675"/>
                    <a:pt x="2726" y="488"/>
                  </a:cubicBezTo>
                  <a:cubicBezTo>
                    <a:pt x="2440" y="160"/>
                    <a:pt x="2158" y="41"/>
                    <a:pt x="1882" y="41"/>
                  </a:cubicBezTo>
                  <a:cubicBezTo>
                    <a:pt x="1373" y="41"/>
                    <a:pt x="881" y="443"/>
                    <a:pt x="410" y="678"/>
                  </a:cubicBezTo>
                  <a:cubicBezTo>
                    <a:pt x="0" y="866"/>
                    <a:pt x="164" y="1612"/>
                    <a:pt x="452" y="1612"/>
                  </a:cubicBezTo>
                  <a:cubicBezTo>
                    <a:pt x="455" y="1612"/>
                    <a:pt x="459" y="1612"/>
                    <a:pt x="462" y="1612"/>
                  </a:cubicBezTo>
                  <a:cubicBezTo>
                    <a:pt x="518" y="1607"/>
                    <a:pt x="572" y="1605"/>
                    <a:pt x="625" y="1605"/>
                  </a:cubicBezTo>
                  <a:cubicBezTo>
                    <a:pt x="1895" y="1605"/>
                    <a:pt x="2508" y="2753"/>
                    <a:pt x="3504" y="3184"/>
                  </a:cubicBezTo>
                  <a:cubicBezTo>
                    <a:pt x="3665" y="3259"/>
                    <a:pt x="3818" y="3295"/>
                    <a:pt x="3955" y="3295"/>
                  </a:cubicBezTo>
                  <a:cubicBezTo>
                    <a:pt x="4389" y="3295"/>
                    <a:pt x="4667" y="2934"/>
                    <a:pt x="4575" y="2303"/>
                  </a:cubicBezTo>
                  <a:cubicBezTo>
                    <a:pt x="4523" y="1905"/>
                    <a:pt x="4541" y="1784"/>
                    <a:pt x="4973" y="1698"/>
                  </a:cubicBezTo>
                  <a:cubicBezTo>
                    <a:pt x="6127" y="1457"/>
                    <a:pt x="7264" y="1130"/>
                    <a:pt x="8401" y="837"/>
                  </a:cubicBezTo>
                  <a:lnTo>
                    <a:pt x="8401" y="837"/>
                  </a:lnTo>
                  <a:cubicBezTo>
                    <a:pt x="8535" y="525"/>
                    <a:pt x="8613" y="56"/>
                    <a:pt x="8256" y="56"/>
                  </a:cubicBezTo>
                  <a:cubicBezTo>
                    <a:pt x="7656" y="37"/>
                    <a:pt x="7046" y="1"/>
                    <a:pt x="6441"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7" name="Google Shape;3757;p66"/>
            <p:cNvSpPr/>
            <p:nvPr/>
          </p:nvSpPr>
          <p:spPr>
            <a:xfrm>
              <a:off x="5726825" y="1103850"/>
              <a:ext cx="262175" cy="54825"/>
            </a:xfrm>
            <a:custGeom>
              <a:avLst/>
              <a:gdLst/>
              <a:ahLst/>
              <a:cxnLst/>
              <a:rect l="l" t="t" r="r" b="b"/>
              <a:pathLst>
                <a:path w="10487" h="2193" extrusionOk="0">
                  <a:moveTo>
                    <a:pt x="2675" y="1"/>
                  </a:moveTo>
                  <a:cubicBezTo>
                    <a:pt x="2260" y="122"/>
                    <a:pt x="1984" y="208"/>
                    <a:pt x="1707" y="260"/>
                  </a:cubicBezTo>
                  <a:cubicBezTo>
                    <a:pt x="1625" y="276"/>
                    <a:pt x="1533" y="281"/>
                    <a:pt x="1436" y="281"/>
                  </a:cubicBezTo>
                  <a:cubicBezTo>
                    <a:pt x="1238" y="281"/>
                    <a:pt x="1018" y="259"/>
                    <a:pt x="814" y="259"/>
                  </a:cubicBezTo>
                  <a:cubicBezTo>
                    <a:pt x="370" y="259"/>
                    <a:pt x="1" y="367"/>
                    <a:pt x="83" y="1055"/>
                  </a:cubicBezTo>
                  <a:cubicBezTo>
                    <a:pt x="160" y="1671"/>
                    <a:pt x="629" y="1783"/>
                    <a:pt x="1147" y="1783"/>
                  </a:cubicBezTo>
                  <a:cubicBezTo>
                    <a:pt x="1443" y="1783"/>
                    <a:pt x="1754" y="1746"/>
                    <a:pt x="2018" y="1746"/>
                  </a:cubicBezTo>
                  <a:cubicBezTo>
                    <a:pt x="3176" y="1729"/>
                    <a:pt x="4334" y="1625"/>
                    <a:pt x="5488" y="1625"/>
                  </a:cubicBezTo>
                  <a:cubicBezTo>
                    <a:pt x="6641" y="1625"/>
                    <a:pt x="7790" y="1729"/>
                    <a:pt x="8931" y="2126"/>
                  </a:cubicBezTo>
                  <a:cubicBezTo>
                    <a:pt x="9064" y="2171"/>
                    <a:pt x="9201" y="2192"/>
                    <a:pt x="9336" y="2192"/>
                  </a:cubicBezTo>
                  <a:cubicBezTo>
                    <a:pt x="9780" y="2192"/>
                    <a:pt x="10194" y="1955"/>
                    <a:pt x="10314" y="1504"/>
                  </a:cubicBezTo>
                  <a:cubicBezTo>
                    <a:pt x="10486" y="813"/>
                    <a:pt x="9761" y="744"/>
                    <a:pt x="9294" y="606"/>
                  </a:cubicBezTo>
                  <a:cubicBezTo>
                    <a:pt x="8746" y="426"/>
                    <a:pt x="8189" y="370"/>
                    <a:pt x="7630" y="370"/>
                  </a:cubicBezTo>
                  <a:cubicBezTo>
                    <a:pt x="6715" y="370"/>
                    <a:pt x="5795" y="519"/>
                    <a:pt x="4900" y="519"/>
                  </a:cubicBezTo>
                  <a:cubicBezTo>
                    <a:pt x="4133" y="519"/>
                    <a:pt x="3384" y="409"/>
                    <a:pt x="267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8" name="Google Shape;3758;p66"/>
            <p:cNvSpPr/>
            <p:nvPr/>
          </p:nvSpPr>
          <p:spPr>
            <a:xfrm>
              <a:off x="6497925" y="4391525"/>
              <a:ext cx="125725" cy="97375"/>
            </a:xfrm>
            <a:custGeom>
              <a:avLst/>
              <a:gdLst/>
              <a:ahLst/>
              <a:cxnLst/>
              <a:rect l="l" t="t" r="r" b="b"/>
              <a:pathLst>
                <a:path w="5029" h="3895" extrusionOk="0">
                  <a:moveTo>
                    <a:pt x="4062" y="0"/>
                  </a:moveTo>
                  <a:cubicBezTo>
                    <a:pt x="3557" y="0"/>
                    <a:pt x="2937" y="491"/>
                    <a:pt x="2445" y="491"/>
                  </a:cubicBezTo>
                  <a:cubicBezTo>
                    <a:pt x="2234" y="491"/>
                    <a:pt x="2046" y="401"/>
                    <a:pt x="1901" y="144"/>
                  </a:cubicBezTo>
                  <a:cubicBezTo>
                    <a:pt x="0" y="403"/>
                    <a:pt x="570" y="1975"/>
                    <a:pt x="225" y="2960"/>
                  </a:cubicBezTo>
                  <a:cubicBezTo>
                    <a:pt x="38" y="3485"/>
                    <a:pt x="566" y="3894"/>
                    <a:pt x="1172" y="3894"/>
                  </a:cubicBezTo>
                  <a:cubicBezTo>
                    <a:pt x="1185" y="3894"/>
                    <a:pt x="1197" y="3894"/>
                    <a:pt x="1210" y="3894"/>
                  </a:cubicBezTo>
                  <a:cubicBezTo>
                    <a:pt x="2298" y="3876"/>
                    <a:pt x="5029" y="1630"/>
                    <a:pt x="4804" y="783"/>
                  </a:cubicBezTo>
                  <a:cubicBezTo>
                    <a:pt x="4638" y="185"/>
                    <a:pt x="4372" y="0"/>
                    <a:pt x="406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59" name="Google Shape;3759;p66"/>
            <p:cNvSpPr/>
            <p:nvPr/>
          </p:nvSpPr>
          <p:spPr>
            <a:xfrm>
              <a:off x="5334875" y="2906300"/>
              <a:ext cx="82100" cy="128050"/>
            </a:xfrm>
            <a:custGeom>
              <a:avLst/>
              <a:gdLst/>
              <a:ahLst/>
              <a:cxnLst/>
              <a:rect l="l" t="t" r="r" b="b"/>
              <a:pathLst>
                <a:path w="3284" h="5122" extrusionOk="0">
                  <a:moveTo>
                    <a:pt x="519" y="1"/>
                  </a:moveTo>
                  <a:lnTo>
                    <a:pt x="380" y="139"/>
                  </a:lnTo>
                  <a:cubicBezTo>
                    <a:pt x="104" y="1452"/>
                    <a:pt x="0" y="2766"/>
                    <a:pt x="380" y="4062"/>
                  </a:cubicBezTo>
                  <a:cubicBezTo>
                    <a:pt x="534" y="4660"/>
                    <a:pt x="796" y="5122"/>
                    <a:pt x="1420" y="5122"/>
                  </a:cubicBezTo>
                  <a:cubicBezTo>
                    <a:pt x="1500" y="5122"/>
                    <a:pt x="1585" y="5114"/>
                    <a:pt x="1676" y="5099"/>
                  </a:cubicBezTo>
                  <a:cubicBezTo>
                    <a:pt x="2471" y="4978"/>
                    <a:pt x="3284" y="4408"/>
                    <a:pt x="3111" y="3734"/>
                  </a:cubicBezTo>
                  <a:cubicBezTo>
                    <a:pt x="2748" y="2213"/>
                    <a:pt x="2108" y="744"/>
                    <a:pt x="519"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0" name="Google Shape;3760;p66"/>
            <p:cNvSpPr/>
            <p:nvPr/>
          </p:nvSpPr>
          <p:spPr>
            <a:xfrm>
              <a:off x="4869125" y="997550"/>
              <a:ext cx="160750" cy="66150"/>
            </a:xfrm>
            <a:custGeom>
              <a:avLst/>
              <a:gdLst/>
              <a:ahLst/>
              <a:cxnLst/>
              <a:rect l="l" t="t" r="r" b="b"/>
              <a:pathLst>
                <a:path w="6430" h="2646" extrusionOk="0">
                  <a:moveTo>
                    <a:pt x="1040" y="1"/>
                  </a:moveTo>
                  <a:cubicBezTo>
                    <a:pt x="589" y="1"/>
                    <a:pt x="239" y="358"/>
                    <a:pt x="104" y="814"/>
                  </a:cubicBezTo>
                  <a:cubicBezTo>
                    <a:pt x="1" y="1108"/>
                    <a:pt x="191" y="1419"/>
                    <a:pt x="502" y="1470"/>
                  </a:cubicBezTo>
                  <a:cubicBezTo>
                    <a:pt x="1971" y="1885"/>
                    <a:pt x="3440" y="2283"/>
                    <a:pt x="4736" y="2646"/>
                  </a:cubicBezTo>
                  <a:cubicBezTo>
                    <a:pt x="5427" y="2611"/>
                    <a:pt x="5928" y="2611"/>
                    <a:pt x="6239" y="2127"/>
                  </a:cubicBezTo>
                  <a:cubicBezTo>
                    <a:pt x="6429" y="1851"/>
                    <a:pt x="6308" y="1470"/>
                    <a:pt x="6066" y="1419"/>
                  </a:cubicBezTo>
                  <a:cubicBezTo>
                    <a:pt x="4373" y="1021"/>
                    <a:pt x="2852" y="36"/>
                    <a:pt x="1072" y="2"/>
                  </a:cubicBezTo>
                  <a:cubicBezTo>
                    <a:pt x="1061" y="1"/>
                    <a:pt x="1051" y="1"/>
                    <a:pt x="104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1" name="Google Shape;3761;p66"/>
            <p:cNvSpPr/>
            <p:nvPr/>
          </p:nvSpPr>
          <p:spPr>
            <a:xfrm>
              <a:off x="3763550" y="998475"/>
              <a:ext cx="117975" cy="55725"/>
            </a:xfrm>
            <a:custGeom>
              <a:avLst/>
              <a:gdLst/>
              <a:ahLst/>
              <a:cxnLst/>
              <a:rect l="l" t="t" r="r" b="b"/>
              <a:pathLst>
                <a:path w="4719" h="2229" extrusionOk="0">
                  <a:moveTo>
                    <a:pt x="747" y="0"/>
                  </a:moveTo>
                  <a:cubicBezTo>
                    <a:pt x="407" y="0"/>
                    <a:pt x="65" y="161"/>
                    <a:pt x="18" y="690"/>
                  </a:cubicBezTo>
                  <a:cubicBezTo>
                    <a:pt x="0" y="863"/>
                    <a:pt x="190" y="1053"/>
                    <a:pt x="277" y="1243"/>
                  </a:cubicBezTo>
                  <a:lnTo>
                    <a:pt x="2333" y="2228"/>
                  </a:lnTo>
                  <a:cubicBezTo>
                    <a:pt x="2437" y="2220"/>
                    <a:pt x="2541" y="2220"/>
                    <a:pt x="2644" y="2220"/>
                  </a:cubicBezTo>
                  <a:cubicBezTo>
                    <a:pt x="2748" y="2220"/>
                    <a:pt x="2852" y="2220"/>
                    <a:pt x="2955" y="2211"/>
                  </a:cubicBezTo>
                  <a:cubicBezTo>
                    <a:pt x="3647" y="2142"/>
                    <a:pt x="4718" y="2090"/>
                    <a:pt x="4511" y="1261"/>
                  </a:cubicBezTo>
                  <a:cubicBezTo>
                    <a:pt x="4255" y="308"/>
                    <a:pt x="3582" y="187"/>
                    <a:pt x="2842" y="187"/>
                  </a:cubicBezTo>
                  <a:cubicBezTo>
                    <a:pt x="2589" y="187"/>
                    <a:pt x="2328" y="201"/>
                    <a:pt x="2074" y="201"/>
                  </a:cubicBezTo>
                  <a:cubicBezTo>
                    <a:pt x="1762" y="201"/>
                    <a:pt x="1460" y="180"/>
                    <a:pt x="1193" y="85"/>
                  </a:cubicBezTo>
                  <a:cubicBezTo>
                    <a:pt x="1066" y="36"/>
                    <a:pt x="907" y="0"/>
                    <a:pt x="747"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2" name="Google Shape;3762;p66"/>
            <p:cNvSpPr/>
            <p:nvPr/>
          </p:nvSpPr>
          <p:spPr>
            <a:xfrm>
              <a:off x="6244750" y="3463175"/>
              <a:ext cx="127900" cy="76650"/>
            </a:xfrm>
            <a:custGeom>
              <a:avLst/>
              <a:gdLst/>
              <a:ahLst/>
              <a:cxnLst/>
              <a:rect l="l" t="t" r="r" b="b"/>
              <a:pathLst>
                <a:path w="5116" h="3066" extrusionOk="0">
                  <a:moveTo>
                    <a:pt x="4184" y="1"/>
                  </a:moveTo>
                  <a:cubicBezTo>
                    <a:pt x="4093" y="1"/>
                    <a:pt x="4000" y="13"/>
                    <a:pt x="3906" y="36"/>
                  </a:cubicBezTo>
                  <a:cubicBezTo>
                    <a:pt x="3232" y="209"/>
                    <a:pt x="2575" y="416"/>
                    <a:pt x="1918" y="641"/>
                  </a:cubicBezTo>
                  <a:lnTo>
                    <a:pt x="1936" y="641"/>
                  </a:lnTo>
                  <a:cubicBezTo>
                    <a:pt x="1659" y="848"/>
                    <a:pt x="1383" y="1038"/>
                    <a:pt x="1089" y="1194"/>
                  </a:cubicBezTo>
                  <a:cubicBezTo>
                    <a:pt x="432" y="1505"/>
                    <a:pt x="0" y="2093"/>
                    <a:pt x="311" y="2680"/>
                  </a:cubicBezTo>
                  <a:cubicBezTo>
                    <a:pt x="460" y="2964"/>
                    <a:pt x="650" y="3065"/>
                    <a:pt x="856" y="3065"/>
                  </a:cubicBezTo>
                  <a:cubicBezTo>
                    <a:pt x="1178" y="3065"/>
                    <a:pt x="1537" y="2818"/>
                    <a:pt x="1832" y="2628"/>
                  </a:cubicBezTo>
                  <a:cubicBezTo>
                    <a:pt x="2558" y="2093"/>
                    <a:pt x="3370" y="1695"/>
                    <a:pt x="4234" y="1436"/>
                  </a:cubicBezTo>
                  <a:cubicBezTo>
                    <a:pt x="4631" y="1332"/>
                    <a:pt x="5115" y="1108"/>
                    <a:pt x="4994" y="606"/>
                  </a:cubicBezTo>
                  <a:cubicBezTo>
                    <a:pt x="4883" y="203"/>
                    <a:pt x="4559" y="1"/>
                    <a:pt x="418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3" name="Google Shape;3763;p66"/>
            <p:cNvSpPr/>
            <p:nvPr/>
          </p:nvSpPr>
          <p:spPr>
            <a:xfrm>
              <a:off x="6286725" y="2464325"/>
              <a:ext cx="67775" cy="93850"/>
            </a:xfrm>
            <a:custGeom>
              <a:avLst/>
              <a:gdLst/>
              <a:ahLst/>
              <a:cxnLst/>
              <a:rect l="l" t="t" r="r" b="b"/>
              <a:pathLst>
                <a:path w="2711" h="3754" extrusionOk="0">
                  <a:moveTo>
                    <a:pt x="1532" y="0"/>
                  </a:moveTo>
                  <a:cubicBezTo>
                    <a:pt x="1516" y="0"/>
                    <a:pt x="1500" y="0"/>
                    <a:pt x="1484" y="1"/>
                  </a:cubicBezTo>
                  <a:cubicBezTo>
                    <a:pt x="187" y="53"/>
                    <a:pt x="239" y="1332"/>
                    <a:pt x="101" y="2265"/>
                  </a:cubicBezTo>
                  <a:cubicBezTo>
                    <a:pt x="1" y="3066"/>
                    <a:pt x="465" y="3754"/>
                    <a:pt x="1243" y="3754"/>
                  </a:cubicBezTo>
                  <a:cubicBezTo>
                    <a:pt x="1271" y="3754"/>
                    <a:pt x="1299" y="3753"/>
                    <a:pt x="1328" y="3751"/>
                  </a:cubicBezTo>
                  <a:cubicBezTo>
                    <a:pt x="2711" y="3682"/>
                    <a:pt x="1967" y="2403"/>
                    <a:pt x="2313" y="1815"/>
                  </a:cubicBezTo>
                  <a:cubicBezTo>
                    <a:pt x="2228" y="1050"/>
                    <a:pt x="2528" y="0"/>
                    <a:pt x="153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4" name="Google Shape;3764;p66"/>
            <p:cNvSpPr/>
            <p:nvPr/>
          </p:nvSpPr>
          <p:spPr>
            <a:xfrm>
              <a:off x="6279300" y="2861375"/>
              <a:ext cx="75625" cy="97275"/>
            </a:xfrm>
            <a:custGeom>
              <a:avLst/>
              <a:gdLst/>
              <a:ahLst/>
              <a:cxnLst/>
              <a:rect l="l" t="t" r="r" b="b"/>
              <a:pathLst>
                <a:path w="3025" h="3891" extrusionOk="0">
                  <a:moveTo>
                    <a:pt x="2403" y="1"/>
                  </a:moveTo>
                  <a:cubicBezTo>
                    <a:pt x="2178" y="1"/>
                    <a:pt x="1971" y="104"/>
                    <a:pt x="1850" y="277"/>
                  </a:cubicBezTo>
                  <a:cubicBezTo>
                    <a:pt x="1504" y="1193"/>
                    <a:pt x="882" y="1884"/>
                    <a:pt x="277" y="2610"/>
                  </a:cubicBezTo>
                  <a:cubicBezTo>
                    <a:pt x="35" y="2869"/>
                    <a:pt x="1" y="3284"/>
                    <a:pt x="208" y="3578"/>
                  </a:cubicBezTo>
                  <a:cubicBezTo>
                    <a:pt x="326" y="3766"/>
                    <a:pt x="507" y="3890"/>
                    <a:pt x="682" y="3890"/>
                  </a:cubicBezTo>
                  <a:cubicBezTo>
                    <a:pt x="764" y="3890"/>
                    <a:pt x="845" y="3863"/>
                    <a:pt x="916" y="3802"/>
                  </a:cubicBezTo>
                  <a:cubicBezTo>
                    <a:pt x="1815" y="3128"/>
                    <a:pt x="2731" y="2420"/>
                    <a:pt x="3025" y="1452"/>
                  </a:cubicBezTo>
                  <a:cubicBezTo>
                    <a:pt x="2973" y="744"/>
                    <a:pt x="2921" y="225"/>
                    <a:pt x="240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5" name="Google Shape;3765;p66"/>
            <p:cNvSpPr/>
            <p:nvPr/>
          </p:nvSpPr>
          <p:spPr>
            <a:xfrm>
              <a:off x="4145025" y="994975"/>
              <a:ext cx="111500" cy="47325"/>
            </a:xfrm>
            <a:custGeom>
              <a:avLst/>
              <a:gdLst/>
              <a:ahLst/>
              <a:cxnLst/>
              <a:rect l="l" t="t" r="r" b="b"/>
              <a:pathLst>
                <a:path w="4460" h="1893" extrusionOk="0">
                  <a:moveTo>
                    <a:pt x="1539" y="105"/>
                  </a:moveTo>
                  <a:cubicBezTo>
                    <a:pt x="969" y="243"/>
                    <a:pt x="139" y="1"/>
                    <a:pt x="70" y="744"/>
                  </a:cubicBezTo>
                  <a:cubicBezTo>
                    <a:pt x="1" y="1418"/>
                    <a:pt x="813" y="1418"/>
                    <a:pt x="1332" y="1556"/>
                  </a:cubicBezTo>
                  <a:cubicBezTo>
                    <a:pt x="1764" y="1677"/>
                    <a:pt x="2213" y="1764"/>
                    <a:pt x="2645" y="1815"/>
                  </a:cubicBezTo>
                  <a:cubicBezTo>
                    <a:pt x="2898" y="1847"/>
                    <a:pt x="3179" y="1893"/>
                    <a:pt x="3440" y="1893"/>
                  </a:cubicBezTo>
                  <a:cubicBezTo>
                    <a:pt x="3890" y="1893"/>
                    <a:pt x="4279" y="1756"/>
                    <a:pt x="4356" y="1176"/>
                  </a:cubicBezTo>
                  <a:cubicBezTo>
                    <a:pt x="4459" y="346"/>
                    <a:pt x="3561" y="416"/>
                    <a:pt x="2956" y="329"/>
                  </a:cubicBezTo>
                  <a:lnTo>
                    <a:pt x="1539" y="105"/>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6" name="Google Shape;3766;p66"/>
            <p:cNvSpPr/>
            <p:nvPr/>
          </p:nvSpPr>
          <p:spPr>
            <a:xfrm>
              <a:off x="7213625" y="3803350"/>
              <a:ext cx="74075" cy="80050"/>
            </a:xfrm>
            <a:custGeom>
              <a:avLst/>
              <a:gdLst/>
              <a:ahLst/>
              <a:cxnLst/>
              <a:rect l="l" t="t" r="r" b="b"/>
              <a:pathLst>
                <a:path w="2963" h="3202" extrusionOk="0">
                  <a:moveTo>
                    <a:pt x="573" y="1"/>
                  </a:moveTo>
                  <a:cubicBezTo>
                    <a:pt x="233" y="1"/>
                    <a:pt x="0" y="333"/>
                    <a:pt x="59" y="704"/>
                  </a:cubicBezTo>
                  <a:cubicBezTo>
                    <a:pt x="284" y="1965"/>
                    <a:pt x="1096" y="2777"/>
                    <a:pt x="2289" y="3175"/>
                  </a:cubicBezTo>
                  <a:cubicBezTo>
                    <a:pt x="2343" y="3193"/>
                    <a:pt x="2395" y="3202"/>
                    <a:pt x="2445" y="3202"/>
                  </a:cubicBezTo>
                  <a:cubicBezTo>
                    <a:pt x="2729" y="3202"/>
                    <a:pt x="2933" y="2914"/>
                    <a:pt x="2963" y="2414"/>
                  </a:cubicBezTo>
                  <a:cubicBezTo>
                    <a:pt x="2341" y="1619"/>
                    <a:pt x="1960" y="427"/>
                    <a:pt x="751" y="30"/>
                  </a:cubicBezTo>
                  <a:cubicBezTo>
                    <a:pt x="689" y="10"/>
                    <a:pt x="630" y="1"/>
                    <a:pt x="57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7" name="Google Shape;3767;p66"/>
            <p:cNvSpPr/>
            <p:nvPr/>
          </p:nvSpPr>
          <p:spPr>
            <a:xfrm>
              <a:off x="6542025" y="3118350"/>
              <a:ext cx="66075" cy="79800"/>
            </a:xfrm>
            <a:custGeom>
              <a:avLst/>
              <a:gdLst/>
              <a:ahLst/>
              <a:cxnLst/>
              <a:rect l="l" t="t" r="r" b="b"/>
              <a:pathLst>
                <a:path w="2643" h="3192" extrusionOk="0">
                  <a:moveTo>
                    <a:pt x="1295" y="1"/>
                  </a:moveTo>
                  <a:cubicBezTo>
                    <a:pt x="1273" y="1"/>
                    <a:pt x="1250" y="2"/>
                    <a:pt x="1226" y="4"/>
                  </a:cubicBezTo>
                  <a:cubicBezTo>
                    <a:pt x="275" y="108"/>
                    <a:pt x="51" y="954"/>
                    <a:pt x="33" y="1732"/>
                  </a:cubicBezTo>
                  <a:cubicBezTo>
                    <a:pt x="1" y="2354"/>
                    <a:pt x="200" y="3192"/>
                    <a:pt x="910" y="3192"/>
                  </a:cubicBezTo>
                  <a:cubicBezTo>
                    <a:pt x="950" y="3192"/>
                    <a:pt x="992" y="3189"/>
                    <a:pt x="1036" y="3184"/>
                  </a:cubicBezTo>
                  <a:cubicBezTo>
                    <a:pt x="2643" y="2959"/>
                    <a:pt x="1640" y="1767"/>
                    <a:pt x="1640" y="1110"/>
                  </a:cubicBezTo>
                  <a:cubicBezTo>
                    <a:pt x="1740" y="547"/>
                    <a:pt x="1792" y="1"/>
                    <a:pt x="129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8" name="Google Shape;3768;p66"/>
            <p:cNvSpPr/>
            <p:nvPr/>
          </p:nvSpPr>
          <p:spPr>
            <a:xfrm>
              <a:off x="4278100" y="987200"/>
              <a:ext cx="87225" cy="50150"/>
            </a:xfrm>
            <a:custGeom>
              <a:avLst/>
              <a:gdLst/>
              <a:ahLst/>
              <a:cxnLst/>
              <a:rect l="l" t="t" r="r" b="b"/>
              <a:pathLst>
                <a:path w="3489" h="2006" extrusionOk="0">
                  <a:moveTo>
                    <a:pt x="2519" y="46"/>
                  </a:moveTo>
                  <a:cubicBezTo>
                    <a:pt x="2407" y="46"/>
                    <a:pt x="2296" y="60"/>
                    <a:pt x="2195" y="87"/>
                  </a:cubicBezTo>
                  <a:cubicBezTo>
                    <a:pt x="1435" y="312"/>
                    <a:pt x="191" y="1"/>
                    <a:pt x="87" y="1107"/>
                  </a:cubicBezTo>
                  <a:cubicBezTo>
                    <a:pt x="1" y="1798"/>
                    <a:pt x="986" y="1746"/>
                    <a:pt x="1642" y="1781"/>
                  </a:cubicBezTo>
                  <a:cubicBezTo>
                    <a:pt x="2299" y="1556"/>
                    <a:pt x="3422" y="2005"/>
                    <a:pt x="3474" y="813"/>
                  </a:cubicBezTo>
                  <a:cubicBezTo>
                    <a:pt x="3488" y="284"/>
                    <a:pt x="2986" y="46"/>
                    <a:pt x="2519" y="46"/>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69" name="Google Shape;3769;p66"/>
            <p:cNvSpPr/>
            <p:nvPr/>
          </p:nvSpPr>
          <p:spPr>
            <a:xfrm>
              <a:off x="6595650" y="1204100"/>
              <a:ext cx="81075" cy="41800"/>
            </a:xfrm>
            <a:custGeom>
              <a:avLst/>
              <a:gdLst/>
              <a:ahLst/>
              <a:cxnLst/>
              <a:rect l="l" t="t" r="r" b="b"/>
              <a:pathLst>
                <a:path w="3243" h="1672" extrusionOk="0">
                  <a:moveTo>
                    <a:pt x="1466" y="121"/>
                  </a:moveTo>
                  <a:cubicBezTo>
                    <a:pt x="1366" y="163"/>
                    <a:pt x="1241" y="173"/>
                    <a:pt x="1106" y="173"/>
                  </a:cubicBezTo>
                  <a:cubicBezTo>
                    <a:pt x="987" y="173"/>
                    <a:pt x="861" y="165"/>
                    <a:pt x="738" y="165"/>
                  </a:cubicBezTo>
                  <a:cubicBezTo>
                    <a:pt x="371" y="165"/>
                    <a:pt x="34" y="234"/>
                    <a:pt x="14" y="778"/>
                  </a:cubicBezTo>
                  <a:cubicBezTo>
                    <a:pt x="0" y="1593"/>
                    <a:pt x="628" y="1660"/>
                    <a:pt x="1232" y="1660"/>
                  </a:cubicBezTo>
                  <a:cubicBezTo>
                    <a:pt x="1352" y="1660"/>
                    <a:pt x="1472" y="1658"/>
                    <a:pt x="1585" y="1658"/>
                  </a:cubicBezTo>
                  <a:cubicBezTo>
                    <a:pt x="1627" y="1658"/>
                    <a:pt x="1668" y="1658"/>
                    <a:pt x="1708" y="1659"/>
                  </a:cubicBezTo>
                  <a:cubicBezTo>
                    <a:pt x="1826" y="1666"/>
                    <a:pt x="1954" y="1672"/>
                    <a:pt x="2085" y="1672"/>
                  </a:cubicBezTo>
                  <a:cubicBezTo>
                    <a:pt x="2644" y="1672"/>
                    <a:pt x="3242" y="1563"/>
                    <a:pt x="3228" y="933"/>
                  </a:cubicBezTo>
                  <a:cubicBezTo>
                    <a:pt x="3194" y="0"/>
                    <a:pt x="2209" y="207"/>
                    <a:pt x="1466" y="12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0" name="Google Shape;3770;p66"/>
            <p:cNvSpPr/>
            <p:nvPr/>
          </p:nvSpPr>
          <p:spPr>
            <a:xfrm>
              <a:off x="5040350" y="1034625"/>
              <a:ext cx="81550" cy="46975"/>
            </a:xfrm>
            <a:custGeom>
              <a:avLst/>
              <a:gdLst/>
              <a:ahLst/>
              <a:cxnLst/>
              <a:rect l="l" t="t" r="r" b="b"/>
              <a:pathLst>
                <a:path w="3262" h="1879" extrusionOk="0">
                  <a:moveTo>
                    <a:pt x="1625" y="1"/>
                  </a:moveTo>
                  <a:cubicBezTo>
                    <a:pt x="803" y="1"/>
                    <a:pt x="279" y="461"/>
                    <a:pt x="99" y="1249"/>
                  </a:cubicBezTo>
                  <a:cubicBezTo>
                    <a:pt x="0" y="1616"/>
                    <a:pt x="339" y="1879"/>
                    <a:pt x="645" y="1879"/>
                  </a:cubicBezTo>
                  <a:cubicBezTo>
                    <a:pt x="714" y="1879"/>
                    <a:pt x="781" y="1865"/>
                    <a:pt x="842" y="1837"/>
                  </a:cubicBezTo>
                  <a:cubicBezTo>
                    <a:pt x="1620" y="1474"/>
                    <a:pt x="2829" y="1750"/>
                    <a:pt x="3106" y="800"/>
                  </a:cubicBezTo>
                  <a:cubicBezTo>
                    <a:pt x="3261" y="229"/>
                    <a:pt x="2363" y="22"/>
                    <a:pt x="1758" y="5"/>
                  </a:cubicBezTo>
                  <a:cubicBezTo>
                    <a:pt x="1713" y="2"/>
                    <a:pt x="1668" y="1"/>
                    <a:pt x="162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1" name="Google Shape;3771;p66"/>
            <p:cNvSpPr/>
            <p:nvPr/>
          </p:nvSpPr>
          <p:spPr>
            <a:xfrm>
              <a:off x="6380950" y="3302475"/>
              <a:ext cx="77800" cy="40225"/>
            </a:xfrm>
            <a:custGeom>
              <a:avLst/>
              <a:gdLst/>
              <a:ahLst/>
              <a:cxnLst/>
              <a:rect l="l" t="t" r="r" b="b"/>
              <a:pathLst>
                <a:path w="3112" h="1609" extrusionOk="0">
                  <a:moveTo>
                    <a:pt x="843" y="80"/>
                  </a:moveTo>
                  <a:cubicBezTo>
                    <a:pt x="352" y="80"/>
                    <a:pt x="1" y="466"/>
                    <a:pt x="65" y="882"/>
                  </a:cubicBezTo>
                  <a:cubicBezTo>
                    <a:pt x="161" y="1545"/>
                    <a:pt x="602" y="1578"/>
                    <a:pt x="1054" y="1578"/>
                  </a:cubicBezTo>
                  <a:cubicBezTo>
                    <a:pt x="1103" y="1578"/>
                    <a:pt x="1152" y="1577"/>
                    <a:pt x="1201" y="1577"/>
                  </a:cubicBezTo>
                  <a:cubicBezTo>
                    <a:pt x="1347" y="1577"/>
                    <a:pt x="1491" y="1581"/>
                    <a:pt x="1620" y="1608"/>
                  </a:cubicBezTo>
                  <a:cubicBezTo>
                    <a:pt x="1746" y="1549"/>
                    <a:pt x="1903" y="1535"/>
                    <a:pt x="2065" y="1535"/>
                  </a:cubicBezTo>
                  <a:cubicBezTo>
                    <a:pt x="2212" y="1535"/>
                    <a:pt x="2363" y="1547"/>
                    <a:pt x="2502" y="1547"/>
                  </a:cubicBezTo>
                  <a:cubicBezTo>
                    <a:pt x="2845" y="1547"/>
                    <a:pt x="3112" y="1478"/>
                    <a:pt x="3037" y="1003"/>
                  </a:cubicBezTo>
                  <a:cubicBezTo>
                    <a:pt x="2882" y="1"/>
                    <a:pt x="1741" y="191"/>
                    <a:pt x="963" y="87"/>
                  </a:cubicBezTo>
                  <a:cubicBezTo>
                    <a:pt x="923" y="82"/>
                    <a:pt x="882" y="80"/>
                    <a:pt x="843" y="8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2" name="Google Shape;3772;p66"/>
            <p:cNvSpPr/>
            <p:nvPr/>
          </p:nvSpPr>
          <p:spPr>
            <a:xfrm>
              <a:off x="4384825" y="996700"/>
              <a:ext cx="62025" cy="39775"/>
            </a:xfrm>
            <a:custGeom>
              <a:avLst/>
              <a:gdLst/>
              <a:ahLst/>
              <a:cxnLst/>
              <a:rect l="l" t="t" r="r" b="b"/>
              <a:pathLst>
                <a:path w="2481" h="1591" extrusionOk="0">
                  <a:moveTo>
                    <a:pt x="1811" y="155"/>
                  </a:moveTo>
                  <a:cubicBezTo>
                    <a:pt x="1713" y="155"/>
                    <a:pt x="1613" y="168"/>
                    <a:pt x="1521" y="191"/>
                  </a:cubicBezTo>
                  <a:cubicBezTo>
                    <a:pt x="985" y="312"/>
                    <a:pt x="121" y="1"/>
                    <a:pt x="52" y="917"/>
                  </a:cubicBezTo>
                  <a:cubicBezTo>
                    <a:pt x="0" y="1487"/>
                    <a:pt x="536" y="1574"/>
                    <a:pt x="1054" y="1591"/>
                  </a:cubicBezTo>
                  <a:cubicBezTo>
                    <a:pt x="1573" y="1418"/>
                    <a:pt x="2385" y="1556"/>
                    <a:pt x="2454" y="727"/>
                  </a:cubicBezTo>
                  <a:cubicBezTo>
                    <a:pt x="2481" y="311"/>
                    <a:pt x="2153" y="155"/>
                    <a:pt x="1811" y="155"/>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3" name="Google Shape;3773;p66"/>
            <p:cNvSpPr/>
            <p:nvPr/>
          </p:nvSpPr>
          <p:spPr>
            <a:xfrm>
              <a:off x="2100625" y="1004500"/>
              <a:ext cx="520200" cy="95050"/>
            </a:xfrm>
            <a:custGeom>
              <a:avLst/>
              <a:gdLst/>
              <a:ahLst/>
              <a:cxnLst/>
              <a:rect l="l" t="t" r="r" b="b"/>
              <a:pathLst>
                <a:path w="20808" h="3802" extrusionOk="0">
                  <a:moveTo>
                    <a:pt x="20756" y="0"/>
                  </a:moveTo>
                  <a:lnTo>
                    <a:pt x="20738" y="17"/>
                  </a:lnTo>
                  <a:lnTo>
                    <a:pt x="20773" y="17"/>
                  </a:lnTo>
                  <a:lnTo>
                    <a:pt x="20808" y="0"/>
                  </a:lnTo>
                  <a:close/>
                  <a:moveTo>
                    <a:pt x="1" y="3785"/>
                  </a:moveTo>
                  <a:lnTo>
                    <a:pt x="1" y="3802"/>
                  </a:lnTo>
                  <a:lnTo>
                    <a:pt x="18" y="3802"/>
                  </a:lnTo>
                  <a:lnTo>
                    <a:pt x="18" y="3785"/>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4" name="Google Shape;3774;p66"/>
            <p:cNvSpPr/>
            <p:nvPr/>
          </p:nvSpPr>
          <p:spPr>
            <a:xfrm>
              <a:off x="233350" y="949250"/>
              <a:ext cx="3232550" cy="3802300"/>
            </a:xfrm>
            <a:custGeom>
              <a:avLst/>
              <a:gdLst/>
              <a:ahLst/>
              <a:cxnLst/>
              <a:rect l="l" t="t" r="r" b="b"/>
              <a:pathLst>
                <a:path w="129302" h="152092" extrusionOk="0">
                  <a:moveTo>
                    <a:pt x="97270" y="1644"/>
                  </a:moveTo>
                  <a:cubicBezTo>
                    <a:pt x="97347" y="1644"/>
                    <a:pt x="97424" y="1648"/>
                    <a:pt x="97503" y="1657"/>
                  </a:cubicBezTo>
                  <a:cubicBezTo>
                    <a:pt x="97555" y="1674"/>
                    <a:pt x="97607" y="1692"/>
                    <a:pt x="97642" y="1709"/>
                  </a:cubicBezTo>
                  <a:lnTo>
                    <a:pt x="95601" y="2170"/>
                  </a:lnTo>
                  <a:lnTo>
                    <a:pt x="95601" y="2170"/>
                  </a:lnTo>
                  <a:cubicBezTo>
                    <a:pt x="96129" y="1917"/>
                    <a:pt x="96661" y="1644"/>
                    <a:pt x="97270" y="1644"/>
                  </a:cubicBezTo>
                  <a:close/>
                  <a:moveTo>
                    <a:pt x="95473" y="2210"/>
                  </a:moveTo>
                  <a:lnTo>
                    <a:pt x="95447" y="2227"/>
                  </a:lnTo>
                  <a:lnTo>
                    <a:pt x="95429" y="2227"/>
                  </a:lnTo>
                  <a:lnTo>
                    <a:pt x="95464" y="2210"/>
                  </a:lnTo>
                  <a:close/>
                  <a:moveTo>
                    <a:pt x="68358" y="8951"/>
                  </a:moveTo>
                  <a:cubicBezTo>
                    <a:pt x="68553" y="8951"/>
                    <a:pt x="68761" y="9049"/>
                    <a:pt x="68989" y="9313"/>
                  </a:cubicBezTo>
                  <a:cubicBezTo>
                    <a:pt x="69208" y="9280"/>
                    <a:pt x="69420" y="9268"/>
                    <a:pt x="69634" y="9268"/>
                  </a:cubicBezTo>
                  <a:cubicBezTo>
                    <a:pt x="69758" y="9268"/>
                    <a:pt x="69882" y="9272"/>
                    <a:pt x="70008" y="9278"/>
                  </a:cubicBezTo>
                  <a:cubicBezTo>
                    <a:pt x="70061" y="9286"/>
                    <a:pt x="70117" y="9289"/>
                    <a:pt x="70177" y="9289"/>
                  </a:cubicBezTo>
                  <a:cubicBezTo>
                    <a:pt x="70522" y="9289"/>
                    <a:pt x="70965" y="9176"/>
                    <a:pt x="71318" y="9176"/>
                  </a:cubicBezTo>
                  <a:cubicBezTo>
                    <a:pt x="71841" y="9176"/>
                    <a:pt x="72167" y="9425"/>
                    <a:pt x="71685" y="10661"/>
                  </a:cubicBezTo>
                  <a:cubicBezTo>
                    <a:pt x="71581" y="10937"/>
                    <a:pt x="71823" y="11265"/>
                    <a:pt x="72151" y="11386"/>
                  </a:cubicBezTo>
                  <a:cubicBezTo>
                    <a:pt x="72428" y="11438"/>
                    <a:pt x="72722" y="11490"/>
                    <a:pt x="72998" y="11507"/>
                  </a:cubicBezTo>
                  <a:cubicBezTo>
                    <a:pt x="72652" y="11922"/>
                    <a:pt x="72359" y="12406"/>
                    <a:pt x="71927" y="12717"/>
                  </a:cubicBezTo>
                  <a:cubicBezTo>
                    <a:pt x="71831" y="12786"/>
                    <a:pt x="71741" y="12813"/>
                    <a:pt x="71654" y="12813"/>
                  </a:cubicBezTo>
                  <a:cubicBezTo>
                    <a:pt x="71349" y="12813"/>
                    <a:pt x="71090" y="12473"/>
                    <a:pt x="70821" y="12406"/>
                  </a:cubicBezTo>
                  <a:cubicBezTo>
                    <a:pt x="69127" y="11939"/>
                    <a:pt x="69334" y="10488"/>
                    <a:pt x="68989" y="9313"/>
                  </a:cubicBezTo>
                  <a:lnTo>
                    <a:pt x="67330" y="9520"/>
                  </a:lnTo>
                  <a:cubicBezTo>
                    <a:pt x="67668" y="9295"/>
                    <a:pt x="67992" y="8951"/>
                    <a:pt x="68358" y="8951"/>
                  </a:cubicBezTo>
                  <a:close/>
                  <a:moveTo>
                    <a:pt x="51546" y="12467"/>
                  </a:moveTo>
                  <a:cubicBezTo>
                    <a:pt x="51593" y="12467"/>
                    <a:pt x="51647" y="12470"/>
                    <a:pt x="51707" y="12475"/>
                  </a:cubicBezTo>
                  <a:cubicBezTo>
                    <a:pt x="51897" y="12648"/>
                    <a:pt x="52157" y="12890"/>
                    <a:pt x="52433" y="13115"/>
                  </a:cubicBezTo>
                  <a:cubicBezTo>
                    <a:pt x="52260" y="13270"/>
                    <a:pt x="52053" y="13374"/>
                    <a:pt x="51845" y="13460"/>
                  </a:cubicBezTo>
                  <a:cubicBezTo>
                    <a:pt x="51802" y="13467"/>
                    <a:pt x="51764" y="13470"/>
                    <a:pt x="51729" y="13470"/>
                  </a:cubicBezTo>
                  <a:cubicBezTo>
                    <a:pt x="51300" y="13470"/>
                    <a:pt x="51439" y="13007"/>
                    <a:pt x="51327" y="12752"/>
                  </a:cubicBezTo>
                  <a:cubicBezTo>
                    <a:pt x="51225" y="12548"/>
                    <a:pt x="51295" y="12467"/>
                    <a:pt x="51546" y="12467"/>
                  </a:cubicBezTo>
                  <a:close/>
                  <a:moveTo>
                    <a:pt x="55481" y="12549"/>
                  </a:moveTo>
                  <a:cubicBezTo>
                    <a:pt x="55526" y="12549"/>
                    <a:pt x="55570" y="12553"/>
                    <a:pt x="55613" y="12562"/>
                  </a:cubicBezTo>
                  <a:lnTo>
                    <a:pt x="54576" y="13789"/>
                  </a:lnTo>
                  <a:lnTo>
                    <a:pt x="53954" y="13184"/>
                  </a:lnTo>
                  <a:cubicBezTo>
                    <a:pt x="54420" y="12976"/>
                    <a:pt x="54870" y="12752"/>
                    <a:pt x="55336" y="12562"/>
                  </a:cubicBezTo>
                  <a:cubicBezTo>
                    <a:pt x="55388" y="12553"/>
                    <a:pt x="55436" y="12549"/>
                    <a:pt x="55481" y="12549"/>
                  </a:cubicBezTo>
                  <a:close/>
                  <a:moveTo>
                    <a:pt x="116966" y="0"/>
                  </a:moveTo>
                  <a:cubicBezTo>
                    <a:pt x="112339" y="0"/>
                    <a:pt x="107712" y="747"/>
                    <a:pt x="103085" y="1035"/>
                  </a:cubicBezTo>
                  <a:cubicBezTo>
                    <a:pt x="101910" y="1104"/>
                    <a:pt x="100735" y="983"/>
                    <a:pt x="99542" y="1260"/>
                  </a:cubicBezTo>
                  <a:cubicBezTo>
                    <a:pt x="99533" y="1262"/>
                    <a:pt x="99523" y="1263"/>
                    <a:pt x="99512" y="1263"/>
                  </a:cubicBezTo>
                  <a:cubicBezTo>
                    <a:pt x="99194" y="1263"/>
                    <a:pt x="98389" y="307"/>
                    <a:pt x="97503" y="240"/>
                  </a:cubicBezTo>
                  <a:cubicBezTo>
                    <a:pt x="96554" y="172"/>
                    <a:pt x="95607" y="143"/>
                    <a:pt x="94661" y="143"/>
                  </a:cubicBezTo>
                  <a:cubicBezTo>
                    <a:pt x="91541" y="143"/>
                    <a:pt x="88432" y="459"/>
                    <a:pt x="85303" y="724"/>
                  </a:cubicBezTo>
                  <a:cubicBezTo>
                    <a:pt x="83379" y="875"/>
                    <a:pt x="81549" y="1637"/>
                    <a:pt x="79578" y="1637"/>
                  </a:cubicBezTo>
                  <a:cubicBezTo>
                    <a:pt x="79300" y="1637"/>
                    <a:pt x="79020" y="1622"/>
                    <a:pt x="78736" y="1588"/>
                  </a:cubicBezTo>
                  <a:cubicBezTo>
                    <a:pt x="78573" y="1568"/>
                    <a:pt x="78403" y="1557"/>
                    <a:pt x="78229" y="1557"/>
                  </a:cubicBezTo>
                  <a:cubicBezTo>
                    <a:pt x="77349" y="1557"/>
                    <a:pt x="76386" y="1840"/>
                    <a:pt x="75953" y="2677"/>
                  </a:cubicBezTo>
                  <a:cubicBezTo>
                    <a:pt x="75538" y="3489"/>
                    <a:pt x="76333" y="4163"/>
                    <a:pt x="76956" y="4750"/>
                  </a:cubicBezTo>
                  <a:cubicBezTo>
                    <a:pt x="77215" y="4992"/>
                    <a:pt x="77232" y="5511"/>
                    <a:pt x="77370" y="5891"/>
                  </a:cubicBezTo>
                  <a:cubicBezTo>
                    <a:pt x="77348" y="5890"/>
                    <a:pt x="77325" y="5889"/>
                    <a:pt x="77301" y="5889"/>
                  </a:cubicBezTo>
                  <a:cubicBezTo>
                    <a:pt x="77154" y="5889"/>
                    <a:pt x="76988" y="5912"/>
                    <a:pt x="76844" y="5912"/>
                  </a:cubicBezTo>
                  <a:cubicBezTo>
                    <a:pt x="76726" y="5912"/>
                    <a:pt x="76623" y="5896"/>
                    <a:pt x="76558" y="5839"/>
                  </a:cubicBezTo>
                  <a:cubicBezTo>
                    <a:pt x="76285" y="5586"/>
                    <a:pt x="76034" y="5489"/>
                    <a:pt x="75796" y="5489"/>
                  </a:cubicBezTo>
                  <a:cubicBezTo>
                    <a:pt x="75417" y="5489"/>
                    <a:pt x="75070" y="5733"/>
                    <a:pt x="74709" y="5977"/>
                  </a:cubicBezTo>
                  <a:lnTo>
                    <a:pt x="74709" y="5995"/>
                  </a:lnTo>
                  <a:lnTo>
                    <a:pt x="74692" y="5995"/>
                  </a:lnTo>
                  <a:cubicBezTo>
                    <a:pt x="74415" y="6358"/>
                    <a:pt x="73707" y="6479"/>
                    <a:pt x="73897" y="7066"/>
                  </a:cubicBezTo>
                  <a:cubicBezTo>
                    <a:pt x="74104" y="7654"/>
                    <a:pt x="74761" y="7671"/>
                    <a:pt x="75331" y="7723"/>
                  </a:cubicBezTo>
                  <a:lnTo>
                    <a:pt x="75625" y="7723"/>
                  </a:lnTo>
                  <a:lnTo>
                    <a:pt x="77146" y="7982"/>
                  </a:lnTo>
                  <a:cubicBezTo>
                    <a:pt x="76904" y="8068"/>
                    <a:pt x="76662" y="8120"/>
                    <a:pt x="76403" y="8120"/>
                  </a:cubicBezTo>
                  <a:cubicBezTo>
                    <a:pt x="76178" y="8103"/>
                    <a:pt x="75970" y="7930"/>
                    <a:pt x="75729" y="7861"/>
                  </a:cubicBezTo>
                  <a:cubicBezTo>
                    <a:pt x="75594" y="7823"/>
                    <a:pt x="75464" y="7807"/>
                    <a:pt x="75337" y="7807"/>
                  </a:cubicBezTo>
                  <a:cubicBezTo>
                    <a:pt x="74777" y="7807"/>
                    <a:pt x="74273" y="8116"/>
                    <a:pt x="73724" y="8172"/>
                  </a:cubicBezTo>
                  <a:cubicBezTo>
                    <a:pt x="73717" y="8173"/>
                    <a:pt x="73710" y="8174"/>
                    <a:pt x="73702" y="8174"/>
                  </a:cubicBezTo>
                  <a:cubicBezTo>
                    <a:pt x="73450" y="8174"/>
                    <a:pt x="72913" y="7613"/>
                    <a:pt x="72946" y="7394"/>
                  </a:cubicBezTo>
                  <a:cubicBezTo>
                    <a:pt x="73102" y="6479"/>
                    <a:pt x="73810" y="6098"/>
                    <a:pt x="74674" y="5995"/>
                  </a:cubicBezTo>
                  <a:lnTo>
                    <a:pt x="74674" y="5977"/>
                  </a:lnTo>
                  <a:cubicBezTo>
                    <a:pt x="74726" y="5545"/>
                    <a:pt x="74830" y="5113"/>
                    <a:pt x="74951" y="4681"/>
                  </a:cubicBezTo>
                  <a:cubicBezTo>
                    <a:pt x="75072" y="4370"/>
                    <a:pt x="75435" y="4076"/>
                    <a:pt x="75124" y="3748"/>
                  </a:cubicBezTo>
                  <a:cubicBezTo>
                    <a:pt x="74832" y="3467"/>
                    <a:pt x="74483" y="3396"/>
                    <a:pt x="74119" y="3396"/>
                  </a:cubicBezTo>
                  <a:cubicBezTo>
                    <a:pt x="73856" y="3396"/>
                    <a:pt x="73587" y="3433"/>
                    <a:pt x="73326" y="3454"/>
                  </a:cubicBezTo>
                  <a:cubicBezTo>
                    <a:pt x="72946" y="3506"/>
                    <a:pt x="72756" y="3748"/>
                    <a:pt x="72704" y="4180"/>
                  </a:cubicBezTo>
                  <a:cubicBezTo>
                    <a:pt x="72601" y="5252"/>
                    <a:pt x="72134" y="6098"/>
                    <a:pt x="70959" y="6340"/>
                  </a:cubicBezTo>
                  <a:cubicBezTo>
                    <a:pt x="70855" y="6427"/>
                    <a:pt x="70769" y="6513"/>
                    <a:pt x="70665" y="6617"/>
                  </a:cubicBezTo>
                  <a:cubicBezTo>
                    <a:pt x="70786" y="6859"/>
                    <a:pt x="70924" y="7083"/>
                    <a:pt x="71097" y="7291"/>
                  </a:cubicBezTo>
                  <a:cubicBezTo>
                    <a:pt x="71304" y="7412"/>
                    <a:pt x="71546" y="7515"/>
                    <a:pt x="71788" y="7567"/>
                  </a:cubicBezTo>
                  <a:cubicBezTo>
                    <a:pt x="71650" y="7550"/>
                    <a:pt x="71512" y="7541"/>
                    <a:pt x="71374" y="7541"/>
                  </a:cubicBezTo>
                  <a:cubicBezTo>
                    <a:pt x="71235" y="7541"/>
                    <a:pt x="71097" y="7550"/>
                    <a:pt x="70959" y="7567"/>
                  </a:cubicBezTo>
                  <a:cubicBezTo>
                    <a:pt x="70569" y="7671"/>
                    <a:pt x="70173" y="7708"/>
                    <a:pt x="69775" y="7708"/>
                  </a:cubicBezTo>
                  <a:cubicBezTo>
                    <a:pt x="68812" y="7708"/>
                    <a:pt x="67832" y="7494"/>
                    <a:pt x="66868" y="7494"/>
                  </a:cubicBezTo>
                  <a:cubicBezTo>
                    <a:pt x="66108" y="7494"/>
                    <a:pt x="65357" y="7627"/>
                    <a:pt x="64634" y="8103"/>
                  </a:cubicBezTo>
                  <a:cubicBezTo>
                    <a:pt x="64271" y="8345"/>
                    <a:pt x="63580" y="8379"/>
                    <a:pt x="63666" y="8863"/>
                  </a:cubicBezTo>
                  <a:cubicBezTo>
                    <a:pt x="63752" y="9382"/>
                    <a:pt x="64167" y="9900"/>
                    <a:pt x="64547" y="10315"/>
                  </a:cubicBezTo>
                  <a:cubicBezTo>
                    <a:pt x="64666" y="10447"/>
                    <a:pt x="64798" y="10498"/>
                    <a:pt x="64939" y="10498"/>
                  </a:cubicBezTo>
                  <a:cubicBezTo>
                    <a:pt x="65148" y="10498"/>
                    <a:pt x="65375" y="10387"/>
                    <a:pt x="65602" y="10263"/>
                  </a:cubicBezTo>
                  <a:cubicBezTo>
                    <a:pt x="66124" y="9977"/>
                    <a:pt x="66711" y="9789"/>
                    <a:pt x="67269" y="9556"/>
                  </a:cubicBezTo>
                  <a:lnTo>
                    <a:pt x="67269" y="9556"/>
                  </a:lnTo>
                  <a:cubicBezTo>
                    <a:pt x="66173" y="11022"/>
                    <a:pt x="64072" y="10911"/>
                    <a:pt x="62975" y="11974"/>
                  </a:cubicBezTo>
                  <a:cubicBezTo>
                    <a:pt x="62086" y="12850"/>
                    <a:pt x="61268" y="13162"/>
                    <a:pt x="60357" y="13162"/>
                  </a:cubicBezTo>
                  <a:cubicBezTo>
                    <a:pt x="59993" y="13162"/>
                    <a:pt x="59613" y="13112"/>
                    <a:pt x="59207" y="13028"/>
                  </a:cubicBezTo>
                  <a:cubicBezTo>
                    <a:pt x="58430" y="12873"/>
                    <a:pt x="57687" y="12510"/>
                    <a:pt x="56926" y="12233"/>
                  </a:cubicBezTo>
                  <a:cubicBezTo>
                    <a:pt x="57173" y="12050"/>
                    <a:pt x="57402" y="11981"/>
                    <a:pt x="57619" y="11981"/>
                  </a:cubicBezTo>
                  <a:cubicBezTo>
                    <a:pt x="58162" y="11981"/>
                    <a:pt x="58632" y="12416"/>
                    <a:pt x="59138" y="12613"/>
                  </a:cubicBezTo>
                  <a:cubicBezTo>
                    <a:pt x="59332" y="12687"/>
                    <a:pt x="59512" y="12718"/>
                    <a:pt x="59680" y="12718"/>
                  </a:cubicBezTo>
                  <a:cubicBezTo>
                    <a:pt x="60502" y="12718"/>
                    <a:pt x="61062" y="11967"/>
                    <a:pt x="61765" y="11680"/>
                  </a:cubicBezTo>
                  <a:cubicBezTo>
                    <a:pt x="62404" y="11421"/>
                    <a:pt x="61903" y="10851"/>
                    <a:pt x="61661" y="10384"/>
                  </a:cubicBezTo>
                  <a:cubicBezTo>
                    <a:pt x="61454" y="9987"/>
                    <a:pt x="61921" y="9745"/>
                    <a:pt x="62249" y="9537"/>
                  </a:cubicBezTo>
                  <a:cubicBezTo>
                    <a:pt x="62664" y="9295"/>
                    <a:pt x="63441" y="9226"/>
                    <a:pt x="63182" y="8518"/>
                  </a:cubicBezTo>
                  <a:cubicBezTo>
                    <a:pt x="63018" y="8098"/>
                    <a:pt x="62703" y="8030"/>
                    <a:pt x="62354" y="8030"/>
                  </a:cubicBezTo>
                  <a:cubicBezTo>
                    <a:pt x="62187" y="8030"/>
                    <a:pt x="62013" y="8045"/>
                    <a:pt x="61845" y="8045"/>
                  </a:cubicBezTo>
                  <a:cubicBezTo>
                    <a:pt x="61771" y="8045"/>
                    <a:pt x="61698" y="8042"/>
                    <a:pt x="61627" y="8034"/>
                  </a:cubicBezTo>
                  <a:cubicBezTo>
                    <a:pt x="61564" y="8027"/>
                    <a:pt x="61502" y="8024"/>
                    <a:pt x="61440" y="8024"/>
                  </a:cubicBezTo>
                  <a:cubicBezTo>
                    <a:pt x="60620" y="8024"/>
                    <a:pt x="59973" y="8583"/>
                    <a:pt x="59080" y="8583"/>
                  </a:cubicBezTo>
                  <a:cubicBezTo>
                    <a:pt x="59004" y="8583"/>
                    <a:pt x="58925" y="8579"/>
                    <a:pt x="58844" y="8570"/>
                  </a:cubicBezTo>
                  <a:cubicBezTo>
                    <a:pt x="57410" y="8414"/>
                    <a:pt x="56391" y="7671"/>
                    <a:pt x="55181" y="7187"/>
                  </a:cubicBezTo>
                  <a:cubicBezTo>
                    <a:pt x="54440" y="6892"/>
                    <a:pt x="53723" y="6767"/>
                    <a:pt x="53025" y="6767"/>
                  </a:cubicBezTo>
                  <a:cubicBezTo>
                    <a:pt x="51022" y="6767"/>
                    <a:pt x="49177" y="7799"/>
                    <a:pt x="47370" y="8812"/>
                  </a:cubicBezTo>
                  <a:cubicBezTo>
                    <a:pt x="46903" y="9071"/>
                    <a:pt x="46765" y="9434"/>
                    <a:pt x="46972" y="9969"/>
                  </a:cubicBezTo>
                  <a:cubicBezTo>
                    <a:pt x="47155" y="10426"/>
                    <a:pt x="47351" y="10748"/>
                    <a:pt x="47819" y="10748"/>
                  </a:cubicBezTo>
                  <a:cubicBezTo>
                    <a:pt x="47883" y="10748"/>
                    <a:pt x="47952" y="10742"/>
                    <a:pt x="48026" y="10730"/>
                  </a:cubicBezTo>
                  <a:lnTo>
                    <a:pt x="50498" y="10280"/>
                  </a:lnTo>
                  <a:cubicBezTo>
                    <a:pt x="50618" y="10263"/>
                    <a:pt x="50739" y="10229"/>
                    <a:pt x="50878" y="10194"/>
                  </a:cubicBezTo>
                  <a:lnTo>
                    <a:pt x="50878" y="10194"/>
                  </a:lnTo>
                  <a:cubicBezTo>
                    <a:pt x="50878" y="10298"/>
                    <a:pt x="50860" y="10401"/>
                    <a:pt x="50860" y="10505"/>
                  </a:cubicBezTo>
                  <a:cubicBezTo>
                    <a:pt x="50614" y="11663"/>
                    <a:pt x="50148" y="12321"/>
                    <a:pt x="49280" y="12321"/>
                  </a:cubicBezTo>
                  <a:cubicBezTo>
                    <a:pt x="48931" y="12321"/>
                    <a:pt x="48517" y="12214"/>
                    <a:pt x="48026" y="11991"/>
                  </a:cubicBezTo>
                  <a:cubicBezTo>
                    <a:pt x="46374" y="11254"/>
                    <a:pt x="44693" y="10979"/>
                    <a:pt x="42955" y="10979"/>
                  </a:cubicBezTo>
                  <a:cubicBezTo>
                    <a:pt x="42002" y="10979"/>
                    <a:pt x="41033" y="11062"/>
                    <a:pt x="40042" y="11196"/>
                  </a:cubicBezTo>
                  <a:cubicBezTo>
                    <a:pt x="38536" y="11404"/>
                    <a:pt x="37062" y="12285"/>
                    <a:pt x="35569" y="12285"/>
                  </a:cubicBezTo>
                  <a:cubicBezTo>
                    <a:pt x="35195" y="12285"/>
                    <a:pt x="34820" y="12230"/>
                    <a:pt x="34443" y="12095"/>
                  </a:cubicBezTo>
                  <a:cubicBezTo>
                    <a:pt x="32698" y="11490"/>
                    <a:pt x="30900" y="11110"/>
                    <a:pt x="29068" y="10920"/>
                  </a:cubicBezTo>
                  <a:cubicBezTo>
                    <a:pt x="27080" y="10698"/>
                    <a:pt x="25171" y="10202"/>
                    <a:pt x="23146" y="10202"/>
                  </a:cubicBezTo>
                  <a:cubicBezTo>
                    <a:pt x="22337" y="10202"/>
                    <a:pt x="21510" y="10281"/>
                    <a:pt x="20652" y="10488"/>
                  </a:cubicBezTo>
                  <a:cubicBezTo>
                    <a:pt x="18383" y="11055"/>
                    <a:pt x="16215" y="12269"/>
                    <a:pt x="13793" y="12269"/>
                  </a:cubicBezTo>
                  <a:cubicBezTo>
                    <a:pt x="13559" y="12269"/>
                    <a:pt x="13322" y="12258"/>
                    <a:pt x="13083" y="12233"/>
                  </a:cubicBezTo>
                  <a:cubicBezTo>
                    <a:pt x="13049" y="12230"/>
                    <a:pt x="13015" y="12229"/>
                    <a:pt x="12982" y="12229"/>
                  </a:cubicBezTo>
                  <a:cubicBezTo>
                    <a:pt x="12473" y="12229"/>
                    <a:pt x="12176" y="12605"/>
                    <a:pt x="12323" y="13287"/>
                  </a:cubicBezTo>
                  <a:cubicBezTo>
                    <a:pt x="12498" y="14071"/>
                    <a:pt x="12325" y="14707"/>
                    <a:pt x="11687" y="14707"/>
                  </a:cubicBezTo>
                  <a:cubicBezTo>
                    <a:pt x="11510" y="14707"/>
                    <a:pt x="11296" y="14658"/>
                    <a:pt x="11044" y="14549"/>
                  </a:cubicBezTo>
                  <a:cubicBezTo>
                    <a:pt x="10655" y="14378"/>
                    <a:pt x="10292" y="14308"/>
                    <a:pt x="9947" y="14308"/>
                  </a:cubicBezTo>
                  <a:cubicBezTo>
                    <a:pt x="9034" y="14308"/>
                    <a:pt x="8242" y="14801"/>
                    <a:pt x="7415" y="15240"/>
                  </a:cubicBezTo>
                  <a:cubicBezTo>
                    <a:pt x="6965" y="15482"/>
                    <a:pt x="6672" y="15914"/>
                    <a:pt x="6879" y="16467"/>
                  </a:cubicBezTo>
                  <a:cubicBezTo>
                    <a:pt x="7027" y="16886"/>
                    <a:pt x="7334" y="16988"/>
                    <a:pt x="7700" y="16988"/>
                  </a:cubicBezTo>
                  <a:cubicBezTo>
                    <a:pt x="7802" y="16988"/>
                    <a:pt x="7910" y="16980"/>
                    <a:pt x="8020" y="16968"/>
                  </a:cubicBezTo>
                  <a:cubicBezTo>
                    <a:pt x="8305" y="16929"/>
                    <a:pt x="8590" y="16910"/>
                    <a:pt x="8875" y="16910"/>
                  </a:cubicBezTo>
                  <a:cubicBezTo>
                    <a:pt x="8970" y="16910"/>
                    <a:pt x="9065" y="16912"/>
                    <a:pt x="9160" y="16917"/>
                  </a:cubicBezTo>
                  <a:cubicBezTo>
                    <a:pt x="9186" y="16919"/>
                    <a:pt x="9214" y="16920"/>
                    <a:pt x="9242" y="16920"/>
                  </a:cubicBezTo>
                  <a:cubicBezTo>
                    <a:pt x="9458" y="16920"/>
                    <a:pt x="9735" y="16862"/>
                    <a:pt x="9947" y="16862"/>
                  </a:cubicBezTo>
                  <a:cubicBezTo>
                    <a:pt x="10131" y="16862"/>
                    <a:pt x="10266" y="16906"/>
                    <a:pt x="10266" y="17072"/>
                  </a:cubicBezTo>
                  <a:cubicBezTo>
                    <a:pt x="10266" y="17498"/>
                    <a:pt x="9728" y="17637"/>
                    <a:pt x="9291" y="17637"/>
                  </a:cubicBezTo>
                  <a:cubicBezTo>
                    <a:pt x="9214" y="17637"/>
                    <a:pt x="9141" y="17633"/>
                    <a:pt x="9074" y="17625"/>
                  </a:cubicBezTo>
                  <a:cubicBezTo>
                    <a:pt x="8873" y="17604"/>
                    <a:pt x="8677" y="17594"/>
                    <a:pt x="8484" y="17594"/>
                  </a:cubicBezTo>
                  <a:cubicBezTo>
                    <a:pt x="6314" y="17594"/>
                    <a:pt x="4587" y="18859"/>
                    <a:pt x="2714" y="19716"/>
                  </a:cubicBezTo>
                  <a:cubicBezTo>
                    <a:pt x="1193" y="20407"/>
                    <a:pt x="2351" y="21548"/>
                    <a:pt x="2282" y="22429"/>
                  </a:cubicBezTo>
                  <a:cubicBezTo>
                    <a:pt x="2264" y="22814"/>
                    <a:pt x="2455" y="22907"/>
                    <a:pt x="2706" y="22907"/>
                  </a:cubicBezTo>
                  <a:cubicBezTo>
                    <a:pt x="2939" y="22907"/>
                    <a:pt x="3223" y="22827"/>
                    <a:pt x="3440" y="22827"/>
                  </a:cubicBezTo>
                  <a:cubicBezTo>
                    <a:pt x="3665" y="22827"/>
                    <a:pt x="3872" y="22982"/>
                    <a:pt x="4079" y="23069"/>
                  </a:cubicBezTo>
                  <a:cubicBezTo>
                    <a:pt x="3924" y="23242"/>
                    <a:pt x="3751" y="23380"/>
                    <a:pt x="3544" y="23501"/>
                  </a:cubicBezTo>
                  <a:cubicBezTo>
                    <a:pt x="2610" y="23881"/>
                    <a:pt x="1643" y="24192"/>
                    <a:pt x="709" y="24589"/>
                  </a:cubicBezTo>
                  <a:cubicBezTo>
                    <a:pt x="329" y="24745"/>
                    <a:pt x="1" y="25142"/>
                    <a:pt x="226" y="25609"/>
                  </a:cubicBezTo>
                  <a:cubicBezTo>
                    <a:pt x="325" y="25816"/>
                    <a:pt x="462" y="25880"/>
                    <a:pt x="615" y="25880"/>
                  </a:cubicBezTo>
                  <a:cubicBezTo>
                    <a:pt x="807" y="25880"/>
                    <a:pt x="1026" y="25778"/>
                    <a:pt x="1228" y="25730"/>
                  </a:cubicBezTo>
                  <a:cubicBezTo>
                    <a:pt x="2248" y="25454"/>
                    <a:pt x="3354" y="25350"/>
                    <a:pt x="4252" y="24866"/>
                  </a:cubicBezTo>
                  <a:cubicBezTo>
                    <a:pt x="4601" y="24679"/>
                    <a:pt x="4965" y="24620"/>
                    <a:pt x="5336" y="24620"/>
                  </a:cubicBezTo>
                  <a:cubicBezTo>
                    <a:pt x="5952" y="24620"/>
                    <a:pt x="6585" y="24782"/>
                    <a:pt x="7191" y="24782"/>
                  </a:cubicBezTo>
                  <a:cubicBezTo>
                    <a:pt x="7702" y="24782"/>
                    <a:pt x="8195" y="24667"/>
                    <a:pt x="8642" y="24244"/>
                  </a:cubicBezTo>
                  <a:cubicBezTo>
                    <a:pt x="9143" y="23760"/>
                    <a:pt x="9627" y="23276"/>
                    <a:pt x="10128" y="22809"/>
                  </a:cubicBezTo>
                  <a:cubicBezTo>
                    <a:pt x="10518" y="22438"/>
                    <a:pt x="10935" y="22335"/>
                    <a:pt x="11366" y="22335"/>
                  </a:cubicBezTo>
                  <a:cubicBezTo>
                    <a:pt x="11904" y="22335"/>
                    <a:pt x="12465" y="22495"/>
                    <a:pt x="13026" y="22495"/>
                  </a:cubicBezTo>
                  <a:cubicBezTo>
                    <a:pt x="13270" y="22495"/>
                    <a:pt x="13515" y="22465"/>
                    <a:pt x="13757" y="22377"/>
                  </a:cubicBezTo>
                  <a:cubicBezTo>
                    <a:pt x="14876" y="21972"/>
                    <a:pt x="15968" y="21278"/>
                    <a:pt x="17215" y="21278"/>
                  </a:cubicBezTo>
                  <a:cubicBezTo>
                    <a:pt x="17721" y="21278"/>
                    <a:pt x="18252" y="21392"/>
                    <a:pt x="18820" y="21686"/>
                  </a:cubicBezTo>
                  <a:cubicBezTo>
                    <a:pt x="20272" y="22429"/>
                    <a:pt x="22242" y="22343"/>
                    <a:pt x="21966" y="24780"/>
                  </a:cubicBezTo>
                  <a:cubicBezTo>
                    <a:pt x="21914" y="25212"/>
                    <a:pt x="22104" y="25868"/>
                    <a:pt x="22415" y="26127"/>
                  </a:cubicBezTo>
                  <a:cubicBezTo>
                    <a:pt x="23746" y="27251"/>
                    <a:pt x="23659" y="29411"/>
                    <a:pt x="23210" y="29981"/>
                  </a:cubicBezTo>
                  <a:cubicBezTo>
                    <a:pt x="22052" y="31485"/>
                    <a:pt x="22484" y="32573"/>
                    <a:pt x="22985" y="33973"/>
                  </a:cubicBezTo>
                  <a:cubicBezTo>
                    <a:pt x="23124" y="34405"/>
                    <a:pt x="22795" y="35045"/>
                    <a:pt x="22553" y="35529"/>
                  </a:cubicBezTo>
                  <a:cubicBezTo>
                    <a:pt x="21447" y="37844"/>
                    <a:pt x="19356" y="39469"/>
                    <a:pt x="18233" y="41802"/>
                  </a:cubicBezTo>
                  <a:cubicBezTo>
                    <a:pt x="17455" y="43409"/>
                    <a:pt x="17058" y="48783"/>
                    <a:pt x="18354" y="49734"/>
                  </a:cubicBezTo>
                  <a:cubicBezTo>
                    <a:pt x="20220" y="51116"/>
                    <a:pt x="19927" y="52862"/>
                    <a:pt x="20238" y="54659"/>
                  </a:cubicBezTo>
                  <a:cubicBezTo>
                    <a:pt x="20428" y="55748"/>
                    <a:pt x="20410" y="57528"/>
                    <a:pt x="20687" y="57752"/>
                  </a:cubicBezTo>
                  <a:cubicBezTo>
                    <a:pt x="22380" y="59083"/>
                    <a:pt x="22242" y="61364"/>
                    <a:pt x="23625" y="62764"/>
                  </a:cubicBezTo>
                  <a:cubicBezTo>
                    <a:pt x="23915" y="63066"/>
                    <a:pt x="24197" y="63258"/>
                    <a:pt x="24508" y="63258"/>
                  </a:cubicBezTo>
                  <a:cubicBezTo>
                    <a:pt x="24660" y="63258"/>
                    <a:pt x="24820" y="63212"/>
                    <a:pt x="24990" y="63110"/>
                  </a:cubicBezTo>
                  <a:cubicBezTo>
                    <a:pt x="25508" y="62816"/>
                    <a:pt x="25526" y="62246"/>
                    <a:pt x="25197" y="61831"/>
                  </a:cubicBezTo>
                  <a:cubicBezTo>
                    <a:pt x="23607" y="59671"/>
                    <a:pt x="23746" y="56888"/>
                    <a:pt x="22536" y="54590"/>
                  </a:cubicBezTo>
                  <a:cubicBezTo>
                    <a:pt x="22415" y="54348"/>
                    <a:pt x="22605" y="53933"/>
                    <a:pt x="22692" y="53605"/>
                  </a:cubicBezTo>
                  <a:cubicBezTo>
                    <a:pt x="22704" y="53568"/>
                    <a:pt x="22878" y="53539"/>
                    <a:pt x="22981" y="53539"/>
                  </a:cubicBezTo>
                  <a:cubicBezTo>
                    <a:pt x="23021" y="53539"/>
                    <a:pt x="23050" y="53543"/>
                    <a:pt x="23054" y="53553"/>
                  </a:cubicBezTo>
                  <a:cubicBezTo>
                    <a:pt x="23175" y="53812"/>
                    <a:pt x="23366" y="54106"/>
                    <a:pt x="23366" y="54400"/>
                  </a:cubicBezTo>
                  <a:cubicBezTo>
                    <a:pt x="23383" y="56819"/>
                    <a:pt x="24973" y="58617"/>
                    <a:pt x="26027" y="60569"/>
                  </a:cubicBezTo>
                  <a:cubicBezTo>
                    <a:pt x="26977" y="62297"/>
                    <a:pt x="28654" y="63663"/>
                    <a:pt x="27720" y="65978"/>
                  </a:cubicBezTo>
                  <a:cubicBezTo>
                    <a:pt x="27530" y="66445"/>
                    <a:pt x="27928" y="66791"/>
                    <a:pt x="28273" y="67136"/>
                  </a:cubicBezTo>
                  <a:cubicBezTo>
                    <a:pt x="29138" y="68000"/>
                    <a:pt x="30226" y="68536"/>
                    <a:pt x="31246" y="69193"/>
                  </a:cubicBezTo>
                  <a:cubicBezTo>
                    <a:pt x="32910" y="70222"/>
                    <a:pt x="34447" y="71516"/>
                    <a:pt x="36422" y="71516"/>
                  </a:cubicBezTo>
                  <a:cubicBezTo>
                    <a:pt x="36867" y="71516"/>
                    <a:pt x="37334" y="71451"/>
                    <a:pt x="37830" y="71301"/>
                  </a:cubicBezTo>
                  <a:cubicBezTo>
                    <a:pt x="37930" y="71272"/>
                    <a:pt x="38022" y="71258"/>
                    <a:pt x="38107" y="71258"/>
                  </a:cubicBezTo>
                  <a:cubicBezTo>
                    <a:pt x="38527" y="71258"/>
                    <a:pt x="38793" y="71582"/>
                    <a:pt x="39023" y="71941"/>
                  </a:cubicBezTo>
                  <a:cubicBezTo>
                    <a:pt x="39748" y="73098"/>
                    <a:pt x="40768" y="73721"/>
                    <a:pt x="42116" y="74032"/>
                  </a:cubicBezTo>
                  <a:cubicBezTo>
                    <a:pt x="43585" y="74360"/>
                    <a:pt x="45296" y="74775"/>
                    <a:pt x="45745" y="76399"/>
                  </a:cubicBezTo>
                  <a:cubicBezTo>
                    <a:pt x="46194" y="78110"/>
                    <a:pt x="47439" y="79112"/>
                    <a:pt x="48648" y="79907"/>
                  </a:cubicBezTo>
                  <a:cubicBezTo>
                    <a:pt x="49237" y="80296"/>
                    <a:pt x="50039" y="81326"/>
                    <a:pt x="50895" y="81326"/>
                  </a:cubicBezTo>
                  <a:cubicBezTo>
                    <a:pt x="51372" y="81326"/>
                    <a:pt x="51865" y="81007"/>
                    <a:pt x="52347" y="80080"/>
                  </a:cubicBezTo>
                  <a:cubicBezTo>
                    <a:pt x="52462" y="79850"/>
                    <a:pt x="52631" y="79714"/>
                    <a:pt x="52813" y="79714"/>
                  </a:cubicBezTo>
                  <a:cubicBezTo>
                    <a:pt x="53013" y="79714"/>
                    <a:pt x="53228" y="79880"/>
                    <a:pt x="53401" y="80270"/>
                  </a:cubicBezTo>
                  <a:cubicBezTo>
                    <a:pt x="54593" y="83156"/>
                    <a:pt x="53919" y="85697"/>
                    <a:pt x="51621" y="87943"/>
                  </a:cubicBezTo>
                  <a:cubicBezTo>
                    <a:pt x="50498" y="89049"/>
                    <a:pt x="49806" y="90604"/>
                    <a:pt x="50774" y="92194"/>
                  </a:cubicBezTo>
                  <a:cubicBezTo>
                    <a:pt x="51085" y="92730"/>
                    <a:pt x="51068" y="92886"/>
                    <a:pt x="50688" y="93283"/>
                  </a:cubicBezTo>
                  <a:cubicBezTo>
                    <a:pt x="49685" y="94337"/>
                    <a:pt x="49703" y="95875"/>
                    <a:pt x="50567" y="96636"/>
                  </a:cubicBezTo>
                  <a:cubicBezTo>
                    <a:pt x="52208" y="98087"/>
                    <a:pt x="52986" y="99971"/>
                    <a:pt x="53971" y="101803"/>
                  </a:cubicBezTo>
                  <a:cubicBezTo>
                    <a:pt x="55440" y="104516"/>
                    <a:pt x="56771" y="107281"/>
                    <a:pt x="59933" y="108629"/>
                  </a:cubicBezTo>
                  <a:cubicBezTo>
                    <a:pt x="61661" y="109372"/>
                    <a:pt x="62629" y="111014"/>
                    <a:pt x="62664" y="113122"/>
                  </a:cubicBezTo>
                  <a:cubicBezTo>
                    <a:pt x="62716" y="116319"/>
                    <a:pt x="62871" y="119516"/>
                    <a:pt x="63096" y="122713"/>
                  </a:cubicBezTo>
                  <a:cubicBezTo>
                    <a:pt x="63251" y="125115"/>
                    <a:pt x="64426" y="127431"/>
                    <a:pt x="63631" y="129920"/>
                  </a:cubicBezTo>
                  <a:cubicBezTo>
                    <a:pt x="63303" y="130922"/>
                    <a:pt x="63459" y="131907"/>
                    <a:pt x="63839" y="132875"/>
                  </a:cubicBezTo>
                  <a:cubicBezTo>
                    <a:pt x="64323" y="134067"/>
                    <a:pt x="64461" y="135363"/>
                    <a:pt x="64288" y="136642"/>
                  </a:cubicBezTo>
                  <a:cubicBezTo>
                    <a:pt x="64184" y="137593"/>
                    <a:pt x="64582" y="138664"/>
                    <a:pt x="65653" y="139148"/>
                  </a:cubicBezTo>
                  <a:cubicBezTo>
                    <a:pt x="65680" y="139159"/>
                    <a:pt x="65711" y="139163"/>
                    <a:pt x="65743" y="139163"/>
                  </a:cubicBezTo>
                  <a:cubicBezTo>
                    <a:pt x="65886" y="139163"/>
                    <a:pt x="66069" y="139076"/>
                    <a:pt x="66205" y="139076"/>
                  </a:cubicBezTo>
                  <a:cubicBezTo>
                    <a:pt x="66332" y="139076"/>
                    <a:pt x="66419" y="139151"/>
                    <a:pt x="66397" y="139442"/>
                  </a:cubicBezTo>
                  <a:cubicBezTo>
                    <a:pt x="66362" y="139995"/>
                    <a:pt x="67071" y="140565"/>
                    <a:pt x="66293" y="141135"/>
                  </a:cubicBezTo>
                  <a:cubicBezTo>
                    <a:pt x="65895" y="141412"/>
                    <a:pt x="65360" y="142259"/>
                    <a:pt x="65774" y="142414"/>
                  </a:cubicBezTo>
                  <a:cubicBezTo>
                    <a:pt x="66898" y="142846"/>
                    <a:pt x="66500" y="143797"/>
                    <a:pt x="66777" y="144488"/>
                  </a:cubicBezTo>
                  <a:cubicBezTo>
                    <a:pt x="67468" y="146164"/>
                    <a:pt x="68505" y="147668"/>
                    <a:pt x="69801" y="148929"/>
                  </a:cubicBezTo>
                  <a:cubicBezTo>
                    <a:pt x="71823" y="150906"/>
                    <a:pt x="74091" y="152091"/>
                    <a:pt x="76808" y="152091"/>
                  </a:cubicBezTo>
                  <a:cubicBezTo>
                    <a:pt x="77226" y="152091"/>
                    <a:pt x="77656" y="152063"/>
                    <a:pt x="78096" y="152005"/>
                  </a:cubicBezTo>
                  <a:cubicBezTo>
                    <a:pt x="78355" y="151953"/>
                    <a:pt x="78580" y="151781"/>
                    <a:pt x="78718" y="151556"/>
                  </a:cubicBezTo>
                  <a:cubicBezTo>
                    <a:pt x="78874" y="151262"/>
                    <a:pt x="78615" y="151038"/>
                    <a:pt x="78355" y="150882"/>
                  </a:cubicBezTo>
                  <a:cubicBezTo>
                    <a:pt x="77595" y="150415"/>
                    <a:pt x="76835" y="149914"/>
                    <a:pt x="76040" y="149482"/>
                  </a:cubicBezTo>
                  <a:cubicBezTo>
                    <a:pt x="73914" y="148342"/>
                    <a:pt x="73551" y="146648"/>
                    <a:pt x="74899" y="144695"/>
                  </a:cubicBezTo>
                  <a:cubicBezTo>
                    <a:pt x="75608" y="143658"/>
                    <a:pt x="75694" y="142570"/>
                    <a:pt x="74173" y="142017"/>
                  </a:cubicBezTo>
                  <a:cubicBezTo>
                    <a:pt x="73707" y="141861"/>
                    <a:pt x="72929" y="141550"/>
                    <a:pt x="73551" y="140997"/>
                  </a:cubicBezTo>
                  <a:cubicBezTo>
                    <a:pt x="74260" y="140340"/>
                    <a:pt x="74260" y="139597"/>
                    <a:pt x="74415" y="138837"/>
                  </a:cubicBezTo>
                  <a:cubicBezTo>
                    <a:pt x="74605" y="137783"/>
                    <a:pt x="73534" y="136193"/>
                    <a:pt x="75677" y="135985"/>
                  </a:cubicBezTo>
                  <a:cubicBezTo>
                    <a:pt x="75746" y="135985"/>
                    <a:pt x="75850" y="135588"/>
                    <a:pt x="75798" y="135432"/>
                  </a:cubicBezTo>
                  <a:cubicBezTo>
                    <a:pt x="75444" y="134260"/>
                    <a:pt x="75867" y="133923"/>
                    <a:pt x="76900" y="133923"/>
                  </a:cubicBezTo>
                  <a:cubicBezTo>
                    <a:pt x="76978" y="133923"/>
                    <a:pt x="77060" y="133925"/>
                    <a:pt x="77146" y="133929"/>
                  </a:cubicBezTo>
                  <a:cubicBezTo>
                    <a:pt x="77188" y="133931"/>
                    <a:pt x="77231" y="133932"/>
                    <a:pt x="77272" y="133932"/>
                  </a:cubicBezTo>
                  <a:cubicBezTo>
                    <a:pt x="78202" y="133932"/>
                    <a:pt x="78980" y="133388"/>
                    <a:pt x="79427" y="132512"/>
                  </a:cubicBezTo>
                  <a:cubicBezTo>
                    <a:pt x="79859" y="131648"/>
                    <a:pt x="79738" y="130836"/>
                    <a:pt x="79047" y="130110"/>
                  </a:cubicBezTo>
                  <a:cubicBezTo>
                    <a:pt x="78857" y="129902"/>
                    <a:pt x="78822" y="129557"/>
                    <a:pt x="78701" y="129280"/>
                  </a:cubicBezTo>
                  <a:lnTo>
                    <a:pt x="78701" y="129280"/>
                  </a:lnTo>
                  <a:cubicBezTo>
                    <a:pt x="78977" y="129298"/>
                    <a:pt x="79237" y="129332"/>
                    <a:pt x="79513" y="129384"/>
                  </a:cubicBezTo>
                  <a:cubicBezTo>
                    <a:pt x="79669" y="129427"/>
                    <a:pt x="79830" y="129448"/>
                    <a:pt x="79991" y="129448"/>
                  </a:cubicBezTo>
                  <a:cubicBezTo>
                    <a:pt x="80347" y="129448"/>
                    <a:pt x="80702" y="129344"/>
                    <a:pt x="80999" y="129142"/>
                  </a:cubicBezTo>
                  <a:cubicBezTo>
                    <a:pt x="82900" y="128001"/>
                    <a:pt x="83350" y="125841"/>
                    <a:pt x="84473" y="124148"/>
                  </a:cubicBezTo>
                  <a:cubicBezTo>
                    <a:pt x="85216" y="123024"/>
                    <a:pt x="86149" y="121815"/>
                    <a:pt x="85544" y="120225"/>
                  </a:cubicBezTo>
                  <a:cubicBezTo>
                    <a:pt x="85026" y="118808"/>
                    <a:pt x="85959" y="118186"/>
                    <a:pt x="86927" y="117356"/>
                  </a:cubicBezTo>
                  <a:cubicBezTo>
                    <a:pt x="88258" y="116233"/>
                    <a:pt x="90314" y="116371"/>
                    <a:pt x="91230" y="115213"/>
                  </a:cubicBezTo>
                  <a:cubicBezTo>
                    <a:pt x="93096" y="112846"/>
                    <a:pt x="93788" y="109908"/>
                    <a:pt x="93874" y="106866"/>
                  </a:cubicBezTo>
                  <a:cubicBezTo>
                    <a:pt x="93909" y="105743"/>
                    <a:pt x="93563" y="104637"/>
                    <a:pt x="94635" y="103635"/>
                  </a:cubicBezTo>
                  <a:cubicBezTo>
                    <a:pt x="95637" y="102650"/>
                    <a:pt x="96432" y="101492"/>
                    <a:pt x="97002" y="100213"/>
                  </a:cubicBezTo>
                  <a:cubicBezTo>
                    <a:pt x="98350" y="97189"/>
                    <a:pt x="97555" y="95668"/>
                    <a:pt x="93770" y="93404"/>
                  </a:cubicBezTo>
                  <a:cubicBezTo>
                    <a:pt x="92864" y="92866"/>
                    <a:pt x="92012" y="92178"/>
                    <a:pt x="90923" y="92178"/>
                  </a:cubicBezTo>
                  <a:cubicBezTo>
                    <a:pt x="90787" y="92178"/>
                    <a:pt x="90648" y="92189"/>
                    <a:pt x="90504" y="92212"/>
                  </a:cubicBezTo>
                  <a:cubicBezTo>
                    <a:pt x="90375" y="92232"/>
                    <a:pt x="90250" y="92241"/>
                    <a:pt x="90128" y="92241"/>
                  </a:cubicBezTo>
                  <a:cubicBezTo>
                    <a:pt x="89316" y="92241"/>
                    <a:pt x="88640" y="91827"/>
                    <a:pt x="87964" y="91451"/>
                  </a:cubicBezTo>
                  <a:cubicBezTo>
                    <a:pt x="86720" y="90760"/>
                    <a:pt x="85423" y="90190"/>
                    <a:pt x="84076" y="89740"/>
                  </a:cubicBezTo>
                  <a:cubicBezTo>
                    <a:pt x="83419" y="89533"/>
                    <a:pt x="82365" y="89412"/>
                    <a:pt x="82226" y="88306"/>
                  </a:cubicBezTo>
                  <a:cubicBezTo>
                    <a:pt x="81898" y="85511"/>
                    <a:pt x="80349" y="82231"/>
                    <a:pt x="77208" y="82231"/>
                  </a:cubicBezTo>
                  <a:cubicBezTo>
                    <a:pt x="77047" y="82231"/>
                    <a:pt x="76883" y="82240"/>
                    <a:pt x="76714" y="82258"/>
                  </a:cubicBezTo>
                  <a:cubicBezTo>
                    <a:pt x="76610" y="82274"/>
                    <a:pt x="76507" y="82282"/>
                    <a:pt x="76405" y="82282"/>
                  </a:cubicBezTo>
                  <a:cubicBezTo>
                    <a:pt x="75873" y="82282"/>
                    <a:pt x="75365" y="82061"/>
                    <a:pt x="75003" y="81670"/>
                  </a:cubicBezTo>
                  <a:cubicBezTo>
                    <a:pt x="73810" y="80478"/>
                    <a:pt x="72722" y="79147"/>
                    <a:pt x="71356" y="78179"/>
                  </a:cubicBezTo>
                  <a:cubicBezTo>
                    <a:pt x="70652" y="77672"/>
                    <a:pt x="69937" y="76844"/>
                    <a:pt x="68958" y="76844"/>
                  </a:cubicBezTo>
                  <a:cubicBezTo>
                    <a:pt x="68735" y="76844"/>
                    <a:pt x="68499" y="76887"/>
                    <a:pt x="68246" y="76987"/>
                  </a:cubicBezTo>
                  <a:cubicBezTo>
                    <a:pt x="68013" y="77081"/>
                    <a:pt x="67785" y="77113"/>
                    <a:pt x="67562" y="77113"/>
                  </a:cubicBezTo>
                  <a:cubicBezTo>
                    <a:pt x="67089" y="77113"/>
                    <a:pt x="66635" y="76969"/>
                    <a:pt x="66189" y="76969"/>
                  </a:cubicBezTo>
                  <a:cubicBezTo>
                    <a:pt x="64783" y="76969"/>
                    <a:pt x="63941" y="75706"/>
                    <a:pt x="62605" y="75706"/>
                  </a:cubicBezTo>
                  <a:cubicBezTo>
                    <a:pt x="62579" y="75706"/>
                    <a:pt x="62552" y="75707"/>
                    <a:pt x="62525" y="75708"/>
                  </a:cubicBezTo>
                  <a:cubicBezTo>
                    <a:pt x="62280" y="75708"/>
                    <a:pt x="61828" y="76012"/>
                    <a:pt x="61511" y="76012"/>
                  </a:cubicBezTo>
                  <a:cubicBezTo>
                    <a:pt x="61248" y="76012"/>
                    <a:pt x="61077" y="75802"/>
                    <a:pt x="61195" y="75034"/>
                  </a:cubicBezTo>
                  <a:cubicBezTo>
                    <a:pt x="61232" y="74788"/>
                    <a:pt x="60883" y="74612"/>
                    <a:pt x="60617" y="74612"/>
                  </a:cubicBezTo>
                  <a:cubicBezTo>
                    <a:pt x="60509" y="74612"/>
                    <a:pt x="60415" y="74641"/>
                    <a:pt x="60365" y="74706"/>
                  </a:cubicBezTo>
                  <a:cubicBezTo>
                    <a:pt x="59225" y="76088"/>
                    <a:pt x="57099" y="76071"/>
                    <a:pt x="56166" y="77747"/>
                  </a:cubicBezTo>
                  <a:cubicBezTo>
                    <a:pt x="55842" y="78325"/>
                    <a:pt x="55457" y="78771"/>
                    <a:pt x="54917" y="78771"/>
                  </a:cubicBezTo>
                  <a:cubicBezTo>
                    <a:pt x="54649" y="78771"/>
                    <a:pt x="54343" y="78661"/>
                    <a:pt x="53988" y="78404"/>
                  </a:cubicBezTo>
                  <a:cubicBezTo>
                    <a:pt x="53637" y="78125"/>
                    <a:pt x="53206" y="77982"/>
                    <a:pt x="52772" y="77982"/>
                  </a:cubicBezTo>
                  <a:cubicBezTo>
                    <a:pt x="52480" y="77982"/>
                    <a:pt x="52186" y="78047"/>
                    <a:pt x="51915" y="78179"/>
                  </a:cubicBezTo>
                  <a:cubicBezTo>
                    <a:pt x="51373" y="78410"/>
                    <a:pt x="50918" y="78527"/>
                    <a:pt x="50541" y="78527"/>
                  </a:cubicBezTo>
                  <a:cubicBezTo>
                    <a:pt x="49618" y="78527"/>
                    <a:pt x="49166" y="77825"/>
                    <a:pt x="49080" y="76365"/>
                  </a:cubicBezTo>
                  <a:cubicBezTo>
                    <a:pt x="49046" y="75397"/>
                    <a:pt x="49184" y="74446"/>
                    <a:pt x="49478" y="73530"/>
                  </a:cubicBezTo>
                  <a:cubicBezTo>
                    <a:pt x="50012" y="71861"/>
                    <a:pt x="49095" y="70692"/>
                    <a:pt x="47366" y="70692"/>
                  </a:cubicBezTo>
                  <a:cubicBezTo>
                    <a:pt x="47305" y="70692"/>
                    <a:pt x="47243" y="70693"/>
                    <a:pt x="47179" y="70696"/>
                  </a:cubicBezTo>
                  <a:cubicBezTo>
                    <a:pt x="46730" y="70714"/>
                    <a:pt x="46281" y="70765"/>
                    <a:pt x="45814" y="70783"/>
                  </a:cubicBezTo>
                  <a:cubicBezTo>
                    <a:pt x="45755" y="70784"/>
                    <a:pt x="45699" y="70786"/>
                    <a:pt x="45645" y="70786"/>
                  </a:cubicBezTo>
                  <a:cubicBezTo>
                    <a:pt x="45148" y="70786"/>
                    <a:pt x="44886" y="70683"/>
                    <a:pt x="45088" y="69919"/>
                  </a:cubicBezTo>
                  <a:cubicBezTo>
                    <a:pt x="45469" y="68484"/>
                    <a:pt x="46143" y="67240"/>
                    <a:pt x="46886" y="65996"/>
                  </a:cubicBezTo>
                  <a:cubicBezTo>
                    <a:pt x="47214" y="65443"/>
                    <a:pt x="47231" y="64993"/>
                    <a:pt x="46747" y="64613"/>
                  </a:cubicBezTo>
                  <a:cubicBezTo>
                    <a:pt x="46406" y="64334"/>
                    <a:pt x="45929" y="64209"/>
                    <a:pt x="45417" y="64209"/>
                  </a:cubicBezTo>
                  <a:cubicBezTo>
                    <a:pt x="44221" y="64209"/>
                    <a:pt x="42833" y="64889"/>
                    <a:pt x="42531" y="65857"/>
                  </a:cubicBezTo>
                  <a:cubicBezTo>
                    <a:pt x="42161" y="67044"/>
                    <a:pt x="40793" y="67929"/>
                    <a:pt x="39553" y="67929"/>
                  </a:cubicBezTo>
                  <a:cubicBezTo>
                    <a:pt x="39113" y="67929"/>
                    <a:pt x="38689" y="67817"/>
                    <a:pt x="38331" y="67568"/>
                  </a:cubicBezTo>
                  <a:cubicBezTo>
                    <a:pt x="36966" y="66601"/>
                    <a:pt x="35998" y="64872"/>
                    <a:pt x="36517" y="63455"/>
                  </a:cubicBezTo>
                  <a:cubicBezTo>
                    <a:pt x="37571" y="60569"/>
                    <a:pt x="37986" y="56802"/>
                    <a:pt x="41822" y="56093"/>
                  </a:cubicBezTo>
                  <a:cubicBezTo>
                    <a:pt x="44259" y="55627"/>
                    <a:pt x="46696" y="55299"/>
                    <a:pt x="49167" y="55126"/>
                  </a:cubicBezTo>
                  <a:cubicBezTo>
                    <a:pt x="49252" y="55120"/>
                    <a:pt x="49338" y="55117"/>
                    <a:pt x="49425" y="55117"/>
                  </a:cubicBezTo>
                  <a:cubicBezTo>
                    <a:pt x="50819" y="55117"/>
                    <a:pt x="52364" y="55920"/>
                    <a:pt x="51811" y="58133"/>
                  </a:cubicBezTo>
                  <a:cubicBezTo>
                    <a:pt x="51707" y="58582"/>
                    <a:pt x="52087" y="59204"/>
                    <a:pt x="52329" y="59688"/>
                  </a:cubicBezTo>
                  <a:cubicBezTo>
                    <a:pt x="52602" y="60250"/>
                    <a:pt x="52992" y="60846"/>
                    <a:pt x="53666" y="60846"/>
                  </a:cubicBezTo>
                  <a:cubicBezTo>
                    <a:pt x="53675" y="60846"/>
                    <a:pt x="53685" y="60846"/>
                    <a:pt x="53695" y="60846"/>
                  </a:cubicBezTo>
                  <a:cubicBezTo>
                    <a:pt x="54455" y="60811"/>
                    <a:pt x="54628" y="60085"/>
                    <a:pt x="54852" y="59498"/>
                  </a:cubicBezTo>
                  <a:cubicBezTo>
                    <a:pt x="55146" y="58703"/>
                    <a:pt x="55146" y="57822"/>
                    <a:pt x="54887" y="57027"/>
                  </a:cubicBezTo>
                  <a:cubicBezTo>
                    <a:pt x="54127" y="54642"/>
                    <a:pt x="54922" y="53017"/>
                    <a:pt x="57116" y="51894"/>
                  </a:cubicBezTo>
                  <a:cubicBezTo>
                    <a:pt x="58291" y="51307"/>
                    <a:pt x="59328" y="50442"/>
                    <a:pt x="60469" y="49786"/>
                  </a:cubicBezTo>
                  <a:cubicBezTo>
                    <a:pt x="62128" y="48818"/>
                    <a:pt x="61575" y="46641"/>
                    <a:pt x="63096" y="45448"/>
                  </a:cubicBezTo>
                  <a:cubicBezTo>
                    <a:pt x="64720" y="44169"/>
                    <a:pt x="65757" y="42113"/>
                    <a:pt x="68194" y="42061"/>
                  </a:cubicBezTo>
                  <a:cubicBezTo>
                    <a:pt x="68574" y="42044"/>
                    <a:pt x="69006" y="41888"/>
                    <a:pt x="69075" y="41456"/>
                  </a:cubicBezTo>
                  <a:cubicBezTo>
                    <a:pt x="69369" y="39711"/>
                    <a:pt x="70924" y="39417"/>
                    <a:pt x="72151" y="38760"/>
                  </a:cubicBezTo>
                  <a:cubicBezTo>
                    <a:pt x="72321" y="38667"/>
                    <a:pt x="72565" y="38512"/>
                    <a:pt x="72753" y="38512"/>
                  </a:cubicBezTo>
                  <a:cubicBezTo>
                    <a:pt x="72950" y="38512"/>
                    <a:pt x="73086" y="38680"/>
                    <a:pt x="73015" y="39261"/>
                  </a:cubicBezTo>
                  <a:cubicBezTo>
                    <a:pt x="72956" y="39796"/>
                    <a:pt x="73330" y="40078"/>
                    <a:pt x="73743" y="40078"/>
                  </a:cubicBezTo>
                  <a:cubicBezTo>
                    <a:pt x="73931" y="40078"/>
                    <a:pt x="74127" y="40020"/>
                    <a:pt x="74294" y="39901"/>
                  </a:cubicBezTo>
                  <a:cubicBezTo>
                    <a:pt x="75746" y="38898"/>
                    <a:pt x="77457" y="38501"/>
                    <a:pt x="78995" y="37723"/>
                  </a:cubicBezTo>
                  <a:cubicBezTo>
                    <a:pt x="79738" y="37326"/>
                    <a:pt x="80291" y="36773"/>
                    <a:pt x="79790" y="35995"/>
                  </a:cubicBezTo>
                  <a:cubicBezTo>
                    <a:pt x="79597" y="35708"/>
                    <a:pt x="79414" y="35603"/>
                    <a:pt x="79239" y="35603"/>
                  </a:cubicBezTo>
                  <a:cubicBezTo>
                    <a:pt x="78865" y="35603"/>
                    <a:pt x="78524" y="36083"/>
                    <a:pt x="78183" y="36306"/>
                  </a:cubicBezTo>
                  <a:cubicBezTo>
                    <a:pt x="77820" y="36545"/>
                    <a:pt x="77447" y="36741"/>
                    <a:pt x="77083" y="36741"/>
                  </a:cubicBezTo>
                  <a:cubicBezTo>
                    <a:pt x="76789" y="36741"/>
                    <a:pt x="76501" y="36612"/>
                    <a:pt x="76230" y="36272"/>
                  </a:cubicBezTo>
                  <a:cubicBezTo>
                    <a:pt x="75677" y="35563"/>
                    <a:pt x="76126" y="35148"/>
                    <a:pt x="76731" y="34751"/>
                  </a:cubicBezTo>
                  <a:cubicBezTo>
                    <a:pt x="77318" y="34371"/>
                    <a:pt x="77284" y="33818"/>
                    <a:pt x="77025" y="33196"/>
                  </a:cubicBezTo>
                  <a:cubicBezTo>
                    <a:pt x="76921" y="32919"/>
                    <a:pt x="76161" y="33023"/>
                    <a:pt x="76593" y="32643"/>
                  </a:cubicBezTo>
                  <a:cubicBezTo>
                    <a:pt x="76708" y="32536"/>
                    <a:pt x="76805" y="32492"/>
                    <a:pt x="76888" y="32492"/>
                  </a:cubicBezTo>
                  <a:cubicBezTo>
                    <a:pt x="77143" y="32492"/>
                    <a:pt x="77279" y="32892"/>
                    <a:pt x="77474" y="33126"/>
                  </a:cubicBezTo>
                  <a:cubicBezTo>
                    <a:pt x="77830" y="33563"/>
                    <a:pt x="78559" y="33892"/>
                    <a:pt x="79019" y="33892"/>
                  </a:cubicBezTo>
                  <a:cubicBezTo>
                    <a:pt x="79251" y="33892"/>
                    <a:pt x="79415" y="33808"/>
                    <a:pt x="79427" y="33610"/>
                  </a:cubicBezTo>
                  <a:cubicBezTo>
                    <a:pt x="79485" y="32639"/>
                    <a:pt x="79866" y="32465"/>
                    <a:pt x="80317" y="32465"/>
                  </a:cubicBezTo>
                  <a:cubicBezTo>
                    <a:pt x="80569" y="32465"/>
                    <a:pt x="80843" y="32519"/>
                    <a:pt x="81095" y="32519"/>
                  </a:cubicBezTo>
                  <a:cubicBezTo>
                    <a:pt x="81194" y="32519"/>
                    <a:pt x="81290" y="32511"/>
                    <a:pt x="81380" y="32487"/>
                  </a:cubicBezTo>
                  <a:cubicBezTo>
                    <a:pt x="81894" y="32340"/>
                    <a:pt x="82271" y="31830"/>
                    <a:pt x="82830" y="31830"/>
                  </a:cubicBezTo>
                  <a:cubicBezTo>
                    <a:pt x="82928" y="31830"/>
                    <a:pt x="83031" y="31846"/>
                    <a:pt x="83142" y="31882"/>
                  </a:cubicBezTo>
                  <a:cubicBezTo>
                    <a:pt x="82658" y="32470"/>
                    <a:pt x="82192" y="33075"/>
                    <a:pt x="81708" y="33679"/>
                  </a:cubicBezTo>
                  <a:cubicBezTo>
                    <a:pt x="81604" y="33766"/>
                    <a:pt x="81483" y="33835"/>
                    <a:pt x="81362" y="33904"/>
                  </a:cubicBezTo>
                  <a:cubicBezTo>
                    <a:pt x="81034" y="34129"/>
                    <a:pt x="80775" y="34423"/>
                    <a:pt x="80878" y="34872"/>
                  </a:cubicBezTo>
                  <a:cubicBezTo>
                    <a:pt x="80999" y="35304"/>
                    <a:pt x="81380" y="35252"/>
                    <a:pt x="81673" y="35425"/>
                  </a:cubicBezTo>
                  <a:cubicBezTo>
                    <a:pt x="81973" y="35596"/>
                    <a:pt x="82292" y="35648"/>
                    <a:pt x="82615" y="35648"/>
                  </a:cubicBezTo>
                  <a:cubicBezTo>
                    <a:pt x="83130" y="35648"/>
                    <a:pt x="83658" y="35514"/>
                    <a:pt x="84141" y="35514"/>
                  </a:cubicBezTo>
                  <a:cubicBezTo>
                    <a:pt x="84489" y="35514"/>
                    <a:pt x="84814" y="35584"/>
                    <a:pt x="85095" y="35822"/>
                  </a:cubicBezTo>
                  <a:cubicBezTo>
                    <a:pt x="85535" y="36187"/>
                    <a:pt x="85875" y="36332"/>
                    <a:pt x="86134" y="36332"/>
                  </a:cubicBezTo>
                  <a:cubicBezTo>
                    <a:pt x="86710" y="36332"/>
                    <a:pt x="86887" y="35618"/>
                    <a:pt x="86875" y="35010"/>
                  </a:cubicBezTo>
                  <a:cubicBezTo>
                    <a:pt x="86858" y="34215"/>
                    <a:pt x="87601" y="32729"/>
                    <a:pt x="85665" y="32625"/>
                  </a:cubicBezTo>
                  <a:cubicBezTo>
                    <a:pt x="84991" y="32591"/>
                    <a:pt x="85130" y="31986"/>
                    <a:pt x="85596" y="31485"/>
                  </a:cubicBezTo>
                  <a:cubicBezTo>
                    <a:pt x="87186" y="29791"/>
                    <a:pt x="86650" y="27527"/>
                    <a:pt x="84508" y="26767"/>
                  </a:cubicBezTo>
                  <a:cubicBezTo>
                    <a:pt x="84006" y="26594"/>
                    <a:pt x="83557" y="26214"/>
                    <a:pt x="83661" y="25834"/>
                  </a:cubicBezTo>
                  <a:cubicBezTo>
                    <a:pt x="83972" y="24503"/>
                    <a:pt x="83039" y="23432"/>
                    <a:pt x="83090" y="22170"/>
                  </a:cubicBezTo>
                  <a:cubicBezTo>
                    <a:pt x="83108" y="21773"/>
                    <a:pt x="83073" y="21375"/>
                    <a:pt x="82624" y="21220"/>
                  </a:cubicBezTo>
                  <a:cubicBezTo>
                    <a:pt x="82529" y="21188"/>
                    <a:pt x="82437" y="21174"/>
                    <a:pt x="82348" y="21174"/>
                  </a:cubicBezTo>
                  <a:cubicBezTo>
                    <a:pt x="82049" y="21174"/>
                    <a:pt x="81787" y="21339"/>
                    <a:pt x="81587" y="21565"/>
                  </a:cubicBezTo>
                  <a:cubicBezTo>
                    <a:pt x="81086" y="22135"/>
                    <a:pt x="80464" y="22602"/>
                    <a:pt x="79755" y="22913"/>
                  </a:cubicBezTo>
                  <a:cubicBezTo>
                    <a:pt x="79583" y="22995"/>
                    <a:pt x="79411" y="23071"/>
                    <a:pt x="79247" y="23071"/>
                  </a:cubicBezTo>
                  <a:cubicBezTo>
                    <a:pt x="79097" y="23071"/>
                    <a:pt x="78954" y="23008"/>
                    <a:pt x="78822" y="22827"/>
                  </a:cubicBezTo>
                  <a:cubicBezTo>
                    <a:pt x="78563" y="22498"/>
                    <a:pt x="78753" y="22274"/>
                    <a:pt x="78960" y="22015"/>
                  </a:cubicBezTo>
                  <a:cubicBezTo>
                    <a:pt x="79496" y="21254"/>
                    <a:pt x="79254" y="20736"/>
                    <a:pt x="78459" y="20338"/>
                  </a:cubicBezTo>
                  <a:cubicBezTo>
                    <a:pt x="78131" y="20165"/>
                    <a:pt x="77837" y="19941"/>
                    <a:pt x="77578" y="19664"/>
                  </a:cubicBezTo>
                  <a:cubicBezTo>
                    <a:pt x="77168" y="19146"/>
                    <a:pt x="76356" y="18913"/>
                    <a:pt x="75491" y="18913"/>
                  </a:cubicBezTo>
                  <a:cubicBezTo>
                    <a:pt x="74278" y="18913"/>
                    <a:pt x="72961" y="19371"/>
                    <a:pt x="72497" y="20148"/>
                  </a:cubicBezTo>
                  <a:cubicBezTo>
                    <a:pt x="72065" y="20874"/>
                    <a:pt x="71788" y="21824"/>
                    <a:pt x="70803" y="22170"/>
                  </a:cubicBezTo>
                  <a:cubicBezTo>
                    <a:pt x="70354" y="22326"/>
                    <a:pt x="70043" y="22792"/>
                    <a:pt x="70337" y="23276"/>
                  </a:cubicBezTo>
                  <a:cubicBezTo>
                    <a:pt x="71356" y="25004"/>
                    <a:pt x="70043" y="25488"/>
                    <a:pt x="68902" y="26024"/>
                  </a:cubicBezTo>
                  <a:cubicBezTo>
                    <a:pt x="67693" y="26577"/>
                    <a:pt x="66241" y="26801"/>
                    <a:pt x="66345" y="28685"/>
                  </a:cubicBezTo>
                  <a:cubicBezTo>
                    <a:pt x="66379" y="29117"/>
                    <a:pt x="65895" y="29601"/>
                    <a:pt x="65584" y="30016"/>
                  </a:cubicBezTo>
                  <a:cubicBezTo>
                    <a:pt x="65442" y="30197"/>
                    <a:pt x="65232" y="30465"/>
                    <a:pt x="64983" y="30465"/>
                  </a:cubicBezTo>
                  <a:cubicBezTo>
                    <a:pt x="64899" y="30465"/>
                    <a:pt x="64811" y="30435"/>
                    <a:pt x="64720" y="30361"/>
                  </a:cubicBezTo>
                  <a:cubicBezTo>
                    <a:pt x="64409" y="30120"/>
                    <a:pt x="64288" y="29705"/>
                    <a:pt x="64409" y="29342"/>
                  </a:cubicBezTo>
                  <a:cubicBezTo>
                    <a:pt x="64893" y="27596"/>
                    <a:pt x="65083" y="25989"/>
                    <a:pt x="62508" y="25903"/>
                  </a:cubicBezTo>
                  <a:cubicBezTo>
                    <a:pt x="62249" y="25903"/>
                    <a:pt x="61938" y="25644"/>
                    <a:pt x="61748" y="25436"/>
                  </a:cubicBezTo>
                  <a:cubicBezTo>
                    <a:pt x="61084" y="24759"/>
                    <a:pt x="60400" y="24243"/>
                    <a:pt x="59552" y="24243"/>
                  </a:cubicBezTo>
                  <a:cubicBezTo>
                    <a:pt x="59252" y="24243"/>
                    <a:pt x="58932" y="24307"/>
                    <a:pt x="58585" y="24451"/>
                  </a:cubicBezTo>
                  <a:cubicBezTo>
                    <a:pt x="58566" y="24457"/>
                    <a:pt x="58545" y="24459"/>
                    <a:pt x="58523" y="24459"/>
                  </a:cubicBezTo>
                  <a:cubicBezTo>
                    <a:pt x="58409" y="24459"/>
                    <a:pt x="58269" y="24394"/>
                    <a:pt x="58153" y="24365"/>
                  </a:cubicBezTo>
                  <a:cubicBezTo>
                    <a:pt x="58758" y="23501"/>
                    <a:pt x="57687" y="22429"/>
                    <a:pt x="58827" y="21462"/>
                  </a:cubicBezTo>
                  <a:cubicBezTo>
                    <a:pt x="61800" y="18990"/>
                    <a:pt x="65757" y="18558"/>
                    <a:pt x="68781" y="16294"/>
                  </a:cubicBezTo>
                  <a:lnTo>
                    <a:pt x="69455" y="15828"/>
                  </a:lnTo>
                  <a:cubicBezTo>
                    <a:pt x="70337" y="15586"/>
                    <a:pt x="71218" y="15206"/>
                    <a:pt x="72117" y="15119"/>
                  </a:cubicBezTo>
                  <a:cubicBezTo>
                    <a:pt x="74346" y="14912"/>
                    <a:pt x="75331" y="13910"/>
                    <a:pt x="75262" y="11767"/>
                  </a:cubicBezTo>
                  <a:cubicBezTo>
                    <a:pt x="75262" y="11596"/>
                    <a:pt x="75299" y="11543"/>
                    <a:pt x="75353" y="11543"/>
                  </a:cubicBezTo>
                  <a:cubicBezTo>
                    <a:pt x="75441" y="11543"/>
                    <a:pt x="75574" y="11687"/>
                    <a:pt x="75659" y="11698"/>
                  </a:cubicBezTo>
                  <a:cubicBezTo>
                    <a:pt x="76835" y="11749"/>
                    <a:pt x="77733" y="12683"/>
                    <a:pt x="78943" y="12752"/>
                  </a:cubicBezTo>
                  <a:cubicBezTo>
                    <a:pt x="79461" y="12769"/>
                    <a:pt x="79945" y="13391"/>
                    <a:pt x="80412" y="13789"/>
                  </a:cubicBezTo>
                  <a:cubicBezTo>
                    <a:pt x="80395" y="13944"/>
                    <a:pt x="80325" y="14082"/>
                    <a:pt x="80204" y="14203"/>
                  </a:cubicBezTo>
                  <a:cubicBezTo>
                    <a:pt x="79099" y="14649"/>
                    <a:pt x="78211" y="15599"/>
                    <a:pt x="76924" y="15599"/>
                  </a:cubicBezTo>
                  <a:cubicBezTo>
                    <a:pt x="76763" y="15599"/>
                    <a:pt x="76595" y="15584"/>
                    <a:pt x="76420" y="15551"/>
                  </a:cubicBezTo>
                  <a:cubicBezTo>
                    <a:pt x="76325" y="15534"/>
                    <a:pt x="76229" y="15525"/>
                    <a:pt x="76135" y="15525"/>
                  </a:cubicBezTo>
                  <a:cubicBezTo>
                    <a:pt x="75478" y="15525"/>
                    <a:pt x="74895" y="15947"/>
                    <a:pt x="74985" y="16778"/>
                  </a:cubicBezTo>
                  <a:cubicBezTo>
                    <a:pt x="75041" y="17437"/>
                    <a:pt x="75422" y="17620"/>
                    <a:pt x="75866" y="17620"/>
                  </a:cubicBezTo>
                  <a:cubicBezTo>
                    <a:pt x="76109" y="17620"/>
                    <a:pt x="76372" y="17565"/>
                    <a:pt x="76610" y="17504"/>
                  </a:cubicBezTo>
                  <a:cubicBezTo>
                    <a:pt x="76822" y="17451"/>
                    <a:pt x="77015" y="17425"/>
                    <a:pt x="77193" y="17425"/>
                  </a:cubicBezTo>
                  <a:cubicBezTo>
                    <a:pt x="77828" y="17425"/>
                    <a:pt x="78286" y="17750"/>
                    <a:pt x="78839" y="18316"/>
                  </a:cubicBezTo>
                  <a:cubicBezTo>
                    <a:pt x="79617" y="19094"/>
                    <a:pt x="80723" y="19612"/>
                    <a:pt x="81794" y="19993"/>
                  </a:cubicBezTo>
                  <a:cubicBezTo>
                    <a:pt x="81906" y="20034"/>
                    <a:pt x="82005" y="20053"/>
                    <a:pt x="82094" y="20053"/>
                  </a:cubicBezTo>
                  <a:cubicBezTo>
                    <a:pt x="82595" y="20053"/>
                    <a:pt x="82747" y="19445"/>
                    <a:pt x="82762" y="18887"/>
                  </a:cubicBezTo>
                  <a:cubicBezTo>
                    <a:pt x="82805" y="18878"/>
                    <a:pt x="82849" y="18874"/>
                    <a:pt x="82892" y="18874"/>
                  </a:cubicBezTo>
                  <a:cubicBezTo>
                    <a:pt x="82935" y="18874"/>
                    <a:pt x="82978" y="18878"/>
                    <a:pt x="83021" y="18887"/>
                  </a:cubicBezTo>
                  <a:cubicBezTo>
                    <a:pt x="83375" y="18985"/>
                    <a:pt x="83662" y="19030"/>
                    <a:pt x="83892" y="19030"/>
                  </a:cubicBezTo>
                  <a:cubicBezTo>
                    <a:pt x="85038" y="19030"/>
                    <a:pt x="84816" y="17932"/>
                    <a:pt x="84629" y="16882"/>
                  </a:cubicBezTo>
                  <a:cubicBezTo>
                    <a:pt x="84577" y="16588"/>
                    <a:pt x="84404" y="16122"/>
                    <a:pt x="84525" y="16018"/>
                  </a:cubicBezTo>
                  <a:cubicBezTo>
                    <a:pt x="84606" y="15948"/>
                    <a:pt x="84680" y="15920"/>
                    <a:pt x="84749" y="15920"/>
                  </a:cubicBezTo>
                  <a:cubicBezTo>
                    <a:pt x="84985" y="15920"/>
                    <a:pt x="85161" y="16252"/>
                    <a:pt x="85389" y="16346"/>
                  </a:cubicBezTo>
                  <a:cubicBezTo>
                    <a:pt x="85637" y="16436"/>
                    <a:pt x="85876" y="16474"/>
                    <a:pt x="86110" y="16474"/>
                  </a:cubicBezTo>
                  <a:cubicBezTo>
                    <a:pt x="86771" y="16474"/>
                    <a:pt x="87381" y="16174"/>
                    <a:pt x="87981" y="15931"/>
                  </a:cubicBezTo>
                  <a:cubicBezTo>
                    <a:pt x="88344" y="15793"/>
                    <a:pt x="88500" y="15275"/>
                    <a:pt x="88258" y="15033"/>
                  </a:cubicBezTo>
                  <a:cubicBezTo>
                    <a:pt x="87065" y="13754"/>
                    <a:pt x="85976" y="12406"/>
                    <a:pt x="84819" y="11110"/>
                  </a:cubicBezTo>
                  <a:cubicBezTo>
                    <a:pt x="84162" y="10350"/>
                    <a:pt x="83160" y="9779"/>
                    <a:pt x="82537" y="8915"/>
                  </a:cubicBezTo>
                  <a:cubicBezTo>
                    <a:pt x="82209" y="8379"/>
                    <a:pt x="81639" y="8034"/>
                    <a:pt x="81017" y="7999"/>
                  </a:cubicBezTo>
                  <a:cubicBezTo>
                    <a:pt x="80983" y="7995"/>
                    <a:pt x="80950" y="7994"/>
                    <a:pt x="80916" y="7994"/>
                  </a:cubicBezTo>
                  <a:cubicBezTo>
                    <a:pt x="80688" y="7994"/>
                    <a:pt x="80453" y="8074"/>
                    <a:pt x="80228" y="8074"/>
                  </a:cubicBezTo>
                  <a:cubicBezTo>
                    <a:pt x="80056" y="8074"/>
                    <a:pt x="79890" y="8027"/>
                    <a:pt x="79738" y="7861"/>
                  </a:cubicBezTo>
                  <a:cubicBezTo>
                    <a:pt x="80170" y="7757"/>
                    <a:pt x="80602" y="7654"/>
                    <a:pt x="81017" y="7585"/>
                  </a:cubicBezTo>
                  <a:cubicBezTo>
                    <a:pt x="81518" y="7481"/>
                    <a:pt x="82192" y="7567"/>
                    <a:pt x="82226" y="6859"/>
                  </a:cubicBezTo>
                  <a:cubicBezTo>
                    <a:pt x="82278" y="6202"/>
                    <a:pt x="81673" y="6167"/>
                    <a:pt x="81207" y="6046"/>
                  </a:cubicBezTo>
                  <a:cubicBezTo>
                    <a:pt x="81086" y="6012"/>
                    <a:pt x="80948" y="5960"/>
                    <a:pt x="80844" y="5891"/>
                  </a:cubicBezTo>
                  <a:cubicBezTo>
                    <a:pt x="80958" y="5878"/>
                    <a:pt x="81101" y="5837"/>
                    <a:pt x="81223" y="5837"/>
                  </a:cubicBezTo>
                  <a:cubicBezTo>
                    <a:pt x="81267" y="5837"/>
                    <a:pt x="81309" y="5843"/>
                    <a:pt x="81345" y="5856"/>
                  </a:cubicBezTo>
                  <a:cubicBezTo>
                    <a:pt x="81816" y="6065"/>
                    <a:pt x="82272" y="6151"/>
                    <a:pt x="82714" y="6151"/>
                  </a:cubicBezTo>
                  <a:cubicBezTo>
                    <a:pt x="83993" y="6151"/>
                    <a:pt x="85157" y="5437"/>
                    <a:pt x="86236" y="4923"/>
                  </a:cubicBezTo>
                  <a:cubicBezTo>
                    <a:pt x="89182" y="3528"/>
                    <a:pt x="92334" y="3094"/>
                    <a:pt x="95401" y="2235"/>
                  </a:cubicBezTo>
                  <a:lnTo>
                    <a:pt x="95401" y="2235"/>
                  </a:lnTo>
                  <a:cubicBezTo>
                    <a:pt x="93986" y="3267"/>
                    <a:pt x="92263" y="3834"/>
                    <a:pt x="90504" y="3834"/>
                  </a:cubicBezTo>
                  <a:cubicBezTo>
                    <a:pt x="90401" y="3834"/>
                    <a:pt x="90295" y="3831"/>
                    <a:pt x="90191" y="3831"/>
                  </a:cubicBezTo>
                  <a:cubicBezTo>
                    <a:pt x="89827" y="3831"/>
                    <a:pt x="89479" y="3873"/>
                    <a:pt x="89277" y="4249"/>
                  </a:cubicBezTo>
                  <a:cubicBezTo>
                    <a:pt x="89018" y="4802"/>
                    <a:pt x="89467" y="5113"/>
                    <a:pt x="89744" y="5528"/>
                  </a:cubicBezTo>
                  <a:cubicBezTo>
                    <a:pt x="90251" y="6307"/>
                    <a:pt x="90887" y="6586"/>
                    <a:pt x="91608" y="6586"/>
                  </a:cubicBezTo>
                  <a:cubicBezTo>
                    <a:pt x="91943" y="6586"/>
                    <a:pt x="92297" y="6525"/>
                    <a:pt x="92664" y="6427"/>
                  </a:cubicBezTo>
                  <a:cubicBezTo>
                    <a:pt x="93037" y="6322"/>
                    <a:pt x="93404" y="6272"/>
                    <a:pt x="93755" y="6272"/>
                  </a:cubicBezTo>
                  <a:cubicBezTo>
                    <a:pt x="95314" y="6272"/>
                    <a:pt x="96561" y="7243"/>
                    <a:pt x="96518" y="8639"/>
                  </a:cubicBezTo>
                  <a:cubicBezTo>
                    <a:pt x="96501" y="9123"/>
                    <a:pt x="96000" y="9710"/>
                    <a:pt x="96155" y="10073"/>
                  </a:cubicBezTo>
                  <a:cubicBezTo>
                    <a:pt x="96656" y="11300"/>
                    <a:pt x="95758" y="12302"/>
                    <a:pt x="95378" y="13045"/>
                  </a:cubicBezTo>
                  <a:cubicBezTo>
                    <a:pt x="94393" y="15016"/>
                    <a:pt x="93649" y="16709"/>
                    <a:pt x="95412" y="18541"/>
                  </a:cubicBezTo>
                  <a:cubicBezTo>
                    <a:pt x="95602" y="18714"/>
                    <a:pt x="95723" y="18938"/>
                    <a:pt x="95758" y="19180"/>
                  </a:cubicBezTo>
                  <a:cubicBezTo>
                    <a:pt x="95810" y="21358"/>
                    <a:pt x="97901" y="20788"/>
                    <a:pt x="99007" y="21479"/>
                  </a:cubicBezTo>
                  <a:cubicBezTo>
                    <a:pt x="99192" y="21597"/>
                    <a:pt x="99367" y="21648"/>
                    <a:pt x="99531" y="21648"/>
                  </a:cubicBezTo>
                  <a:cubicBezTo>
                    <a:pt x="100207" y="21648"/>
                    <a:pt x="100708" y="20784"/>
                    <a:pt x="101098" y="20200"/>
                  </a:cubicBezTo>
                  <a:cubicBezTo>
                    <a:pt x="102256" y="18472"/>
                    <a:pt x="104088" y="17055"/>
                    <a:pt x="105729" y="16536"/>
                  </a:cubicBezTo>
                  <a:cubicBezTo>
                    <a:pt x="109220" y="15396"/>
                    <a:pt x="112486" y="13547"/>
                    <a:pt x="116254" y="13115"/>
                  </a:cubicBezTo>
                  <a:cubicBezTo>
                    <a:pt x="117965" y="12907"/>
                    <a:pt x="119935" y="12320"/>
                    <a:pt x="120021" y="9883"/>
                  </a:cubicBezTo>
                  <a:cubicBezTo>
                    <a:pt x="120021" y="9693"/>
                    <a:pt x="120349" y="9485"/>
                    <a:pt x="120557" y="9330"/>
                  </a:cubicBezTo>
                  <a:cubicBezTo>
                    <a:pt x="121663" y="8552"/>
                    <a:pt x="123132" y="8034"/>
                    <a:pt x="122631" y="6202"/>
                  </a:cubicBezTo>
                  <a:cubicBezTo>
                    <a:pt x="122594" y="6055"/>
                    <a:pt x="122626" y="6020"/>
                    <a:pt x="122682" y="6020"/>
                  </a:cubicBezTo>
                  <a:cubicBezTo>
                    <a:pt x="122731" y="6020"/>
                    <a:pt x="122799" y="6046"/>
                    <a:pt x="122855" y="6046"/>
                  </a:cubicBezTo>
                  <a:cubicBezTo>
                    <a:pt x="122928" y="6051"/>
                    <a:pt x="122998" y="6053"/>
                    <a:pt x="123064" y="6053"/>
                  </a:cubicBezTo>
                  <a:cubicBezTo>
                    <a:pt x="124269" y="6053"/>
                    <a:pt x="124381" y="5321"/>
                    <a:pt x="123840" y="4387"/>
                  </a:cubicBezTo>
                  <a:cubicBezTo>
                    <a:pt x="123581" y="3921"/>
                    <a:pt x="123875" y="3955"/>
                    <a:pt x="124048" y="3817"/>
                  </a:cubicBezTo>
                  <a:cubicBezTo>
                    <a:pt x="125240" y="2867"/>
                    <a:pt x="126640" y="2728"/>
                    <a:pt x="128092" y="2659"/>
                  </a:cubicBezTo>
                  <a:cubicBezTo>
                    <a:pt x="128575" y="2625"/>
                    <a:pt x="129180" y="2521"/>
                    <a:pt x="129249" y="1934"/>
                  </a:cubicBezTo>
                  <a:cubicBezTo>
                    <a:pt x="129301" y="1363"/>
                    <a:pt x="128714" y="1242"/>
                    <a:pt x="128299" y="1190"/>
                  </a:cubicBezTo>
                  <a:cubicBezTo>
                    <a:pt x="125707" y="948"/>
                    <a:pt x="123132" y="430"/>
                    <a:pt x="120557" y="171"/>
                  </a:cubicBezTo>
                  <a:cubicBezTo>
                    <a:pt x="119360" y="50"/>
                    <a:pt x="118163" y="0"/>
                    <a:pt x="11696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5" name="Google Shape;3775;p66"/>
            <p:cNvSpPr/>
            <p:nvPr/>
          </p:nvSpPr>
          <p:spPr>
            <a:xfrm>
              <a:off x="1581325" y="1051125"/>
              <a:ext cx="283000" cy="91675"/>
            </a:xfrm>
            <a:custGeom>
              <a:avLst/>
              <a:gdLst/>
              <a:ahLst/>
              <a:cxnLst/>
              <a:rect l="l" t="t" r="r" b="b"/>
              <a:pathLst>
                <a:path w="11320" h="3667" extrusionOk="0">
                  <a:moveTo>
                    <a:pt x="6214" y="0"/>
                  </a:moveTo>
                  <a:cubicBezTo>
                    <a:pt x="5926" y="0"/>
                    <a:pt x="5584" y="48"/>
                    <a:pt x="5219" y="71"/>
                  </a:cubicBezTo>
                  <a:cubicBezTo>
                    <a:pt x="5082" y="56"/>
                    <a:pt x="4943" y="49"/>
                    <a:pt x="4804" y="49"/>
                  </a:cubicBezTo>
                  <a:cubicBezTo>
                    <a:pt x="3493" y="49"/>
                    <a:pt x="2115" y="667"/>
                    <a:pt x="709" y="1073"/>
                  </a:cubicBezTo>
                  <a:cubicBezTo>
                    <a:pt x="432" y="1177"/>
                    <a:pt x="208" y="1401"/>
                    <a:pt x="69" y="1678"/>
                  </a:cubicBezTo>
                  <a:cubicBezTo>
                    <a:pt x="0" y="1781"/>
                    <a:pt x="242" y="2213"/>
                    <a:pt x="363" y="2231"/>
                  </a:cubicBezTo>
                  <a:cubicBezTo>
                    <a:pt x="2163" y="2438"/>
                    <a:pt x="3786" y="3667"/>
                    <a:pt x="5640" y="3667"/>
                  </a:cubicBezTo>
                  <a:cubicBezTo>
                    <a:pt x="6100" y="3667"/>
                    <a:pt x="6574" y="3591"/>
                    <a:pt x="7068" y="3406"/>
                  </a:cubicBezTo>
                  <a:cubicBezTo>
                    <a:pt x="7396" y="3281"/>
                    <a:pt x="7767" y="3236"/>
                    <a:pt x="8142" y="3236"/>
                  </a:cubicBezTo>
                  <a:cubicBezTo>
                    <a:pt x="8439" y="3236"/>
                    <a:pt x="8738" y="3264"/>
                    <a:pt x="9021" y="3302"/>
                  </a:cubicBezTo>
                  <a:cubicBezTo>
                    <a:pt x="9277" y="3340"/>
                    <a:pt x="9523" y="3370"/>
                    <a:pt x="9759" y="3370"/>
                  </a:cubicBezTo>
                  <a:cubicBezTo>
                    <a:pt x="10271" y="3370"/>
                    <a:pt x="10728" y="3229"/>
                    <a:pt x="11095" y="2732"/>
                  </a:cubicBezTo>
                  <a:cubicBezTo>
                    <a:pt x="11320" y="2473"/>
                    <a:pt x="11268" y="2075"/>
                    <a:pt x="10991" y="1885"/>
                  </a:cubicBezTo>
                  <a:cubicBezTo>
                    <a:pt x="10479" y="1524"/>
                    <a:pt x="10006" y="1077"/>
                    <a:pt x="9430" y="1077"/>
                  </a:cubicBezTo>
                  <a:cubicBezTo>
                    <a:pt x="9151" y="1077"/>
                    <a:pt x="8847" y="1182"/>
                    <a:pt x="8503" y="1453"/>
                  </a:cubicBezTo>
                  <a:cubicBezTo>
                    <a:pt x="8280" y="1626"/>
                    <a:pt x="7919" y="1737"/>
                    <a:pt x="7612" y="1737"/>
                  </a:cubicBezTo>
                  <a:cubicBezTo>
                    <a:pt x="7277" y="1737"/>
                    <a:pt x="7006" y="1605"/>
                    <a:pt x="7051" y="1280"/>
                  </a:cubicBezTo>
                  <a:cubicBezTo>
                    <a:pt x="7179" y="207"/>
                    <a:pt x="6812" y="0"/>
                    <a:pt x="621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6" name="Google Shape;3776;p66"/>
            <p:cNvSpPr/>
            <p:nvPr/>
          </p:nvSpPr>
          <p:spPr>
            <a:xfrm>
              <a:off x="3144425" y="1319375"/>
              <a:ext cx="213450" cy="95575"/>
            </a:xfrm>
            <a:custGeom>
              <a:avLst/>
              <a:gdLst/>
              <a:ahLst/>
              <a:cxnLst/>
              <a:rect l="l" t="t" r="r" b="b"/>
              <a:pathLst>
                <a:path w="8538" h="3823" extrusionOk="0">
                  <a:moveTo>
                    <a:pt x="6155" y="1"/>
                  </a:moveTo>
                  <a:cubicBezTo>
                    <a:pt x="6054" y="1"/>
                    <a:pt x="5950" y="7"/>
                    <a:pt x="5842" y="20"/>
                  </a:cubicBezTo>
                  <a:cubicBezTo>
                    <a:pt x="4846" y="139"/>
                    <a:pt x="3874" y="469"/>
                    <a:pt x="2859" y="469"/>
                  </a:cubicBezTo>
                  <a:cubicBezTo>
                    <a:pt x="2396" y="469"/>
                    <a:pt x="1923" y="400"/>
                    <a:pt x="1435" y="211"/>
                  </a:cubicBezTo>
                  <a:cubicBezTo>
                    <a:pt x="1292" y="150"/>
                    <a:pt x="1133" y="113"/>
                    <a:pt x="974" y="113"/>
                  </a:cubicBezTo>
                  <a:cubicBezTo>
                    <a:pt x="501" y="113"/>
                    <a:pt x="35" y="441"/>
                    <a:pt x="35" y="1438"/>
                  </a:cubicBezTo>
                  <a:cubicBezTo>
                    <a:pt x="1" y="3771"/>
                    <a:pt x="1573" y="3580"/>
                    <a:pt x="3025" y="3822"/>
                  </a:cubicBezTo>
                  <a:cubicBezTo>
                    <a:pt x="4338" y="3753"/>
                    <a:pt x="5617" y="3408"/>
                    <a:pt x="6792" y="2837"/>
                  </a:cubicBezTo>
                  <a:cubicBezTo>
                    <a:pt x="7415" y="2526"/>
                    <a:pt x="8538" y="2474"/>
                    <a:pt x="8192" y="1541"/>
                  </a:cubicBezTo>
                  <a:cubicBezTo>
                    <a:pt x="7892" y="720"/>
                    <a:pt x="7218" y="1"/>
                    <a:pt x="615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7" name="Google Shape;3777;p66"/>
            <p:cNvSpPr/>
            <p:nvPr/>
          </p:nvSpPr>
          <p:spPr>
            <a:xfrm>
              <a:off x="1453000" y="2509000"/>
              <a:ext cx="263575" cy="113100"/>
            </a:xfrm>
            <a:custGeom>
              <a:avLst/>
              <a:gdLst/>
              <a:ahLst/>
              <a:cxnLst/>
              <a:rect l="l" t="t" r="r" b="b"/>
              <a:pathLst>
                <a:path w="10543" h="4524" extrusionOk="0">
                  <a:moveTo>
                    <a:pt x="3451" y="1"/>
                  </a:moveTo>
                  <a:cubicBezTo>
                    <a:pt x="2445" y="1"/>
                    <a:pt x="1486" y="228"/>
                    <a:pt x="761" y="702"/>
                  </a:cubicBezTo>
                  <a:cubicBezTo>
                    <a:pt x="398" y="927"/>
                    <a:pt x="1" y="1186"/>
                    <a:pt x="243" y="1687"/>
                  </a:cubicBezTo>
                  <a:cubicBezTo>
                    <a:pt x="390" y="1972"/>
                    <a:pt x="609" y="2083"/>
                    <a:pt x="855" y="2083"/>
                  </a:cubicBezTo>
                  <a:cubicBezTo>
                    <a:pt x="1012" y="2083"/>
                    <a:pt x="1180" y="2038"/>
                    <a:pt x="1349" y="1964"/>
                  </a:cubicBezTo>
                  <a:cubicBezTo>
                    <a:pt x="1677" y="1828"/>
                    <a:pt x="1990" y="1776"/>
                    <a:pt x="2298" y="1776"/>
                  </a:cubicBezTo>
                  <a:cubicBezTo>
                    <a:pt x="2932" y="1776"/>
                    <a:pt x="3543" y="1997"/>
                    <a:pt x="4217" y="2171"/>
                  </a:cubicBezTo>
                  <a:cubicBezTo>
                    <a:pt x="5708" y="2540"/>
                    <a:pt x="6405" y="4523"/>
                    <a:pt x="7868" y="4523"/>
                  </a:cubicBezTo>
                  <a:cubicBezTo>
                    <a:pt x="8118" y="4523"/>
                    <a:pt x="8391" y="4465"/>
                    <a:pt x="8693" y="4332"/>
                  </a:cubicBezTo>
                  <a:cubicBezTo>
                    <a:pt x="8824" y="4337"/>
                    <a:pt x="8947" y="4340"/>
                    <a:pt x="9062" y="4340"/>
                  </a:cubicBezTo>
                  <a:cubicBezTo>
                    <a:pt x="10032" y="4340"/>
                    <a:pt x="10475" y="4144"/>
                    <a:pt x="10491" y="3727"/>
                  </a:cubicBezTo>
                  <a:cubicBezTo>
                    <a:pt x="10542" y="2897"/>
                    <a:pt x="9817" y="2724"/>
                    <a:pt x="9264" y="2517"/>
                  </a:cubicBezTo>
                  <a:cubicBezTo>
                    <a:pt x="8711" y="2292"/>
                    <a:pt x="8209" y="1964"/>
                    <a:pt x="7777" y="1567"/>
                  </a:cubicBezTo>
                  <a:cubicBezTo>
                    <a:pt x="6685" y="547"/>
                    <a:pt x="5011" y="1"/>
                    <a:pt x="3451"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8" name="Google Shape;3778;p66"/>
            <p:cNvSpPr/>
            <p:nvPr/>
          </p:nvSpPr>
          <p:spPr>
            <a:xfrm>
              <a:off x="1880725" y="1020350"/>
              <a:ext cx="162025" cy="112025"/>
            </a:xfrm>
            <a:custGeom>
              <a:avLst/>
              <a:gdLst/>
              <a:ahLst/>
              <a:cxnLst/>
              <a:rect l="l" t="t" r="r" b="b"/>
              <a:pathLst>
                <a:path w="6481" h="4481" extrusionOk="0">
                  <a:moveTo>
                    <a:pt x="4294" y="0"/>
                  </a:moveTo>
                  <a:cubicBezTo>
                    <a:pt x="4062" y="0"/>
                    <a:pt x="3818" y="44"/>
                    <a:pt x="3560" y="144"/>
                  </a:cubicBezTo>
                  <a:cubicBezTo>
                    <a:pt x="3094" y="317"/>
                    <a:pt x="2593" y="541"/>
                    <a:pt x="2886" y="1198"/>
                  </a:cubicBezTo>
                  <a:cubicBezTo>
                    <a:pt x="3042" y="1509"/>
                    <a:pt x="3232" y="1820"/>
                    <a:pt x="3457" y="2114"/>
                  </a:cubicBezTo>
                  <a:cubicBezTo>
                    <a:pt x="3147" y="2260"/>
                    <a:pt x="2851" y="2348"/>
                    <a:pt x="2545" y="2348"/>
                  </a:cubicBezTo>
                  <a:cubicBezTo>
                    <a:pt x="2270" y="2348"/>
                    <a:pt x="1987" y="2277"/>
                    <a:pt x="1677" y="2114"/>
                  </a:cubicBezTo>
                  <a:cubicBezTo>
                    <a:pt x="1531" y="2037"/>
                    <a:pt x="1393" y="2002"/>
                    <a:pt x="1262" y="2002"/>
                  </a:cubicBezTo>
                  <a:cubicBezTo>
                    <a:pt x="867" y="2002"/>
                    <a:pt x="545" y="2320"/>
                    <a:pt x="311" y="2736"/>
                  </a:cubicBezTo>
                  <a:cubicBezTo>
                    <a:pt x="0" y="3289"/>
                    <a:pt x="467" y="3479"/>
                    <a:pt x="813" y="3807"/>
                  </a:cubicBezTo>
                  <a:cubicBezTo>
                    <a:pt x="1327" y="4309"/>
                    <a:pt x="1837" y="4480"/>
                    <a:pt x="2344" y="4480"/>
                  </a:cubicBezTo>
                  <a:cubicBezTo>
                    <a:pt x="3164" y="4480"/>
                    <a:pt x="3976" y="4032"/>
                    <a:pt x="4787" y="3807"/>
                  </a:cubicBezTo>
                  <a:lnTo>
                    <a:pt x="5081" y="3514"/>
                  </a:lnTo>
                  <a:cubicBezTo>
                    <a:pt x="5237" y="2788"/>
                    <a:pt x="5098" y="1924"/>
                    <a:pt x="6204" y="1734"/>
                  </a:cubicBezTo>
                  <a:cubicBezTo>
                    <a:pt x="6464" y="1699"/>
                    <a:pt x="6481" y="1129"/>
                    <a:pt x="6222" y="921"/>
                  </a:cubicBezTo>
                  <a:cubicBezTo>
                    <a:pt x="5644" y="436"/>
                    <a:pt x="5027" y="0"/>
                    <a:pt x="429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79" name="Google Shape;3779;p66"/>
            <p:cNvSpPr/>
            <p:nvPr/>
          </p:nvSpPr>
          <p:spPr>
            <a:xfrm>
              <a:off x="1688900" y="2603450"/>
              <a:ext cx="165050" cy="73950"/>
            </a:xfrm>
            <a:custGeom>
              <a:avLst/>
              <a:gdLst/>
              <a:ahLst/>
              <a:cxnLst/>
              <a:rect l="l" t="t" r="r" b="b"/>
              <a:pathLst>
                <a:path w="6602" h="2958" extrusionOk="0">
                  <a:moveTo>
                    <a:pt x="2842" y="0"/>
                  </a:moveTo>
                  <a:cubicBezTo>
                    <a:pt x="2588" y="0"/>
                    <a:pt x="2332" y="28"/>
                    <a:pt x="2074" y="87"/>
                  </a:cubicBezTo>
                  <a:cubicBezTo>
                    <a:pt x="1452" y="225"/>
                    <a:pt x="1055" y="1331"/>
                    <a:pt x="225" y="1694"/>
                  </a:cubicBezTo>
                  <a:cubicBezTo>
                    <a:pt x="0" y="1798"/>
                    <a:pt x="277" y="2247"/>
                    <a:pt x="536" y="2454"/>
                  </a:cubicBezTo>
                  <a:cubicBezTo>
                    <a:pt x="957" y="2789"/>
                    <a:pt x="2162" y="2958"/>
                    <a:pt x="3373" y="2958"/>
                  </a:cubicBezTo>
                  <a:cubicBezTo>
                    <a:pt x="4599" y="2958"/>
                    <a:pt x="5830" y="2785"/>
                    <a:pt x="6256" y="2437"/>
                  </a:cubicBezTo>
                  <a:cubicBezTo>
                    <a:pt x="6395" y="2282"/>
                    <a:pt x="6515" y="2109"/>
                    <a:pt x="6602" y="1919"/>
                  </a:cubicBezTo>
                  <a:cubicBezTo>
                    <a:pt x="6481" y="1711"/>
                    <a:pt x="6429" y="1469"/>
                    <a:pt x="6291" y="1366"/>
                  </a:cubicBezTo>
                  <a:cubicBezTo>
                    <a:pt x="5231" y="636"/>
                    <a:pt x="4065" y="0"/>
                    <a:pt x="284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0" name="Google Shape;3780;p66"/>
            <p:cNvSpPr/>
            <p:nvPr/>
          </p:nvSpPr>
          <p:spPr>
            <a:xfrm>
              <a:off x="1922200" y="1344925"/>
              <a:ext cx="129625" cy="64525"/>
            </a:xfrm>
            <a:custGeom>
              <a:avLst/>
              <a:gdLst/>
              <a:ahLst/>
              <a:cxnLst/>
              <a:rect l="l" t="t" r="r" b="b"/>
              <a:pathLst>
                <a:path w="5185" h="2581" extrusionOk="0">
                  <a:moveTo>
                    <a:pt x="1901" y="1"/>
                  </a:moveTo>
                  <a:lnTo>
                    <a:pt x="1227" y="467"/>
                  </a:lnTo>
                  <a:cubicBezTo>
                    <a:pt x="934" y="1020"/>
                    <a:pt x="0" y="1383"/>
                    <a:pt x="415" y="2144"/>
                  </a:cubicBezTo>
                  <a:cubicBezTo>
                    <a:pt x="602" y="2475"/>
                    <a:pt x="838" y="2581"/>
                    <a:pt x="1096" y="2581"/>
                  </a:cubicBezTo>
                  <a:cubicBezTo>
                    <a:pt x="1482" y="2581"/>
                    <a:pt x="1915" y="2344"/>
                    <a:pt x="2299" y="2282"/>
                  </a:cubicBezTo>
                  <a:cubicBezTo>
                    <a:pt x="2552" y="2236"/>
                    <a:pt x="2806" y="2213"/>
                    <a:pt x="3064" y="2213"/>
                  </a:cubicBezTo>
                  <a:cubicBezTo>
                    <a:pt x="3194" y="2213"/>
                    <a:pt x="3324" y="2219"/>
                    <a:pt x="3457" y="2230"/>
                  </a:cubicBezTo>
                  <a:cubicBezTo>
                    <a:pt x="3730" y="2245"/>
                    <a:pt x="4039" y="2324"/>
                    <a:pt x="4314" y="2324"/>
                  </a:cubicBezTo>
                  <a:cubicBezTo>
                    <a:pt x="4665" y="2324"/>
                    <a:pt x="4959" y="2195"/>
                    <a:pt x="5047" y="1643"/>
                  </a:cubicBezTo>
                  <a:cubicBezTo>
                    <a:pt x="5185" y="744"/>
                    <a:pt x="4563" y="277"/>
                    <a:pt x="3768" y="122"/>
                  </a:cubicBezTo>
                  <a:cubicBezTo>
                    <a:pt x="3146" y="35"/>
                    <a:pt x="2523" y="1"/>
                    <a:pt x="1901"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1" name="Google Shape;3781;p66"/>
            <p:cNvSpPr/>
            <p:nvPr/>
          </p:nvSpPr>
          <p:spPr>
            <a:xfrm>
              <a:off x="1787825" y="1030550"/>
              <a:ext cx="94250" cy="44825"/>
            </a:xfrm>
            <a:custGeom>
              <a:avLst/>
              <a:gdLst/>
              <a:ahLst/>
              <a:cxnLst/>
              <a:rect l="l" t="t" r="r" b="b"/>
              <a:pathLst>
                <a:path w="3770" h="1793" extrusionOk="0">
                  <a:moveTo>
                    <a:pt x="2929" y="0"/>
                  </a:moveTo>
                  <a:cubicBezTo>
                    <a:pt x="2800" y="0"/>
                    <a:pt x="2676" y="17"/>
                    <a:pt x="2576" y="47"/>
                  </a:cubicBezTo>
                  <a:cubicBezTo>
                    <a:pt x="2412" y="93"/>
                    <a:pt x="2229" y="105"/>
                    <a:pt x="2039" y="105"/>
                  </a:cubicBezTo>
                  <a:cubicBezTo>
                    <a:pt x="1817" y="105"/>
                    <a:pt x="1584" y="88"/>
                    <a:pt x="1360" y="88"/>
                  </a:cubicBezTo>
                  <a:cubicBezTo>
                    <a:pt x="763" y="88"/>
                    <a:pt x="227" y="208"/>
                    <a:pt x="105" y="1084"/>
                  </a:cubicBezTo>
                  <a:cubicBezTo>
                    <a:pt x="1" y="1792"/>
                    <a:pt x="865" y="1688"/>
                    <a:pt x="1504" y="1740"/>
                  </a:cubicBezTo>
                  <a:cubicBezTo>
                    <a:pt x="2265" y="1568"/>
                    <a:pt x="3405" y="1792"/>
                    <a:pt x="3665" y="652"/>
                  </a:cubicBezTo>
                  <a:cubicBezTo>
                    <a:pt x="3769" y="167"/>
                    <a:pt x="3329" y="0"/>
                    <a:pt x="2929"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2" name="Google Shape;3782;p66"/>
            <p:cNvSpPr/>
            <p:nvPr/>
          </p:nvSpPr>
          <p:spPr>
            <a:xfrm>
              <a:off x="1870350" y="2639275"/>
              <a:ext cx="59225" cy="44325"/>
            </a:xfrm>
            <a:custGeom>
              <a:avLst/>
              <a:gdLst/>
              <a:ahLst/>
              <a:cxnLst/>
              <a:rect l="l" t="t" r="r" b="b"/>
              <a:pathLst>
                <a:path w="2369" h="1773" extrusionOk="0">
                  <a:moveTo>
                    <a:pt x="922" y="1"/>
                  </a:moveTo>
                  <a:cubicBezTo>
                    <a:pt x="435" y="1"/>
                    <a:pt x="1" y="156"/>
                    <a:pt x="1" y="762"/>
                  </a:cubicBezTo>
                  <a:cubicBezTo>
                    <a:pt x="1" y="1414"/>
                    <a:pt x="337" y="1773"/>
                    <a:pt x="982" y="1773"/>
                  </a:cubicBezTo>
                  <a:cubicBezTo>
                    <a:pt x="1038" y="1773"/>
                    <a:pt x="1097" y="1770"/>
                    <a:pt x="1158" y="1765"/>
                  </a:cubicBezTo>
                  <a:cubicBezTo>
                    <a:pt x="1711" y="1730"/>
                    <a:pt x="2368" y="1678"/>
                    <a:pt x="2299" y="901"/>
                  </a:cubicBezTo>
                  <a:cubicBezTo>
                    <a:pt x="2264" y="175"/>
                    <a:pt x="1642" y="2"/>
                    <a:pt x="1003" y="2"/>
                  </a:cubicBezTo>
                  <a:cubicBezTo>
                    <a:pt x="976" y="1"/>
                    <a:pt x="949" y="1"/>
                    <a:pt x="922"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3" name="Google Shape;3783;p66"/>
            <p:cNvSpPr/>
            <p:nvPr/>
          </p:nvSpPr>
          <p:spPr>
            <a:xfrm>
              <a:off x="2264800" y="4630125"/>
              <a:ext cx="62675" cy="39225"/>
            </a:xfrm>
            <a:custGeom>
              <a:avLst/>
              <a:gdLst/>
              <a:ahLst/>
              <a:cxnLst/>
              <a:rect l="l" t="t" r="r" b="b"/>
              <a:pathLst>
                <a:path w="2507" h="1569" extrusionOk="0">
                  <a:moveTo>
                    <a:pt x="1176" y="52"/>
                  </a:moveTo>
                  <a:cubicBezTo>
                    <a:pt x="675" y="87"/>
                    <a:pt x="1" y="1"/>
                    <a:pt x="1" y="813"/>
                  </a:cubicBezTo>
                  <a:cubicBezTo>
                    <a:pt x="1" y="1241"/>
                    <a:pt x="341" y="1568"/>
                    <a:pt x="742" y="1568"/>
                  </a:cubicBezTo>
                  <a:cubicBezTo>
                    <a:pt x="811" y="1568"/>
                    <a:pt x="881" y="1559"/>
                    <a:pt x="951" y="1539"/>
                  </a:cubicBezTo>
                  <a:cubicBezTo>
                    <a:pt x="1077" y="1515"/>
                    <a:pt x="1221" y="1513"/>
                    <a:pt x="1369" y="1513"/>
                  </a:cubicBezTo>
                  <a:cubicBezTo>
                    <a:pt x="1403" y="1513"/>
                    <a:pt x="1437" y="1513"/>
                    <a:pt x="1471" y="1513"/>
                  </a:cubicBezTo>
                  <a:cubicBezTo>
                    <a:pt x="1947" y="1513"/>
                    <a:pt x="2434" y="1491"/>
                    <a:pt x="2472" y="830"/>
                  </a:cubicBezTo>
                  <a:cubicBezTo>
                    <a:pt x="2506" y="52"/>
                    <a:pt x="1781" y="87"/>
                    <a:pt x="1176" y="52"/>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4" name="Google Shape;3784;p66"/>
            <p:cNvSpPr/>
            <p:nvPr/>
          </p:nvSpPr>
          <p:spPr>
            <a:xfrm>
              <a:off x="1604225" y="2645350"/>
              <a:ext cx="56175" cy="38275"/>
            </a:xfrm>
            <a:custGeom>
              <a:avLst/>
              <a:gdLst/>
              <a:ahLst/>
              <a:cxnLst/>
              <a:rect l="l" t="t" r="r" b="b"/>
              <a:pathLst>
                <a:path w="2247" h="1531" extrusionOk="0">
                  <a:moveTo>
                    <a:pt x="1003" y="1"/>
                  </a:moveTo>
                  <a:cubicBezTo>
                    <a:pt x="536" y="35"/>
                    <a:pt x="0" y="1"/>
                    <a:pt x="17" y="554"/>
                  </a:cubicBezTo>
                  <a:cubicBezTo>
                    <a:pt x="17" y="1297"/>
                    <a:pt x="640" y="1452"/>
                    <a:pt x="1262" y="1522"/>
                  </a:cubicBezTo>
                  <a:cubicBezTo>
                    <a:pt x="1319" y="1528"/>
                    <a:pt x="1377" y="1531"/>
                    <a:pt x="1434" y="1531"/>
                  </a:cubicBezTo>
                  <a:cubicBezTo>
                    <a:pt x="1857" y="1531"/>
                    <a:pt x="2247" y="1352"/>
                    <a:pt x="2247" y="865"/>
                  </a:cubicBezTo>
                  <a:cubicBezTo>
                    <a:pt x="2247" y="18"/>
                    <a:pt x="1504" y="139"/>
                    <a:pt x="100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5" name="Google Shape;3785;p66"/>
            <p:cNvSpPr/>
            <p:nvPr/>
          </p:nvSpPr>
          <p:spPr>
            <a:xfrm>
              <a:off x="7045475" y="3384250"/>
              <a:ext cx="47375" cy="53550"/>
            </a:xfrm>
            <a:custGeom>
              <a:avLst/>
              <a:gdLst/>
              <a:ahLst/>
              <a:cxnLst/>
              <a:rect l="l" t="t" r="r" b="b"/>
              <a:pathLst>
                <a:path w="1895" h="2142" extrusionOk="0">
                  <a:moveTo>
                    <a:pt x="416" y="1"/>
                  </a:moveTo>
                  <a:cubicBezTo>
                    <a:pt x="93" y="1"/>
                    <a:pt x="0" y="338"/>
                    <a:pt x="63" y="618"/>
                  </a:cubicBezTo>
                  <a:cubicBezTo>
                    <a:pt x="201" y="1292"/>
                    <a:pt x="339" y="2035"/>
                    <a:pt x="1203" y="2139"/>
                  </a:cubicBezTo>
                  <a:cubicBezTo>
                    <a:pt x="1224" y="2141"/>
                    <a:pt x="1245" y="2142"/>
                    <a:pt x="1265" y="2142"/>
                  </a:cubicBezTo>
                  <a:cubicBezTo>
                    <a:pt x="1645" y="2142"/>
                    <a:pt x="1895" y="1835"/>
                    <a:pt x="1895" y="1327"/>
                  </a:cubicBezTo>
                  <a:cubicBezTo>
                    <a:pt x="1670" y="705"/>
                    <a:pt x="1273" y="169"/>
                    <a:pt x="529" y="13"/>
                  </a:cubicBezTo>
                  <a:cubicBezTo>
                    <a:pt x="489" y="5"/>
                    <a:pt x="451" y="1"/>
                    <a:pt x="416"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6" name="Google Shape;3786;p66"/>
            <p:cNvSpPr/>
            <p:nvPr/>
          </p:nvSpPr>
          <p:spPr>
            <a:xfrm>
              <a:off x="4291500" y="1250400"/>
              <a:ext cx="54900" cy="37900"/>
            </a:xfrm>
            <a:custGeom>
              <a:avLst/>
              <a:gdLst/>
              <a:ahLst/>
              <a:cxnLst/>
              <a:rect l="l" t="t" r="r" b="b"/>
              <a:pathLst>
                <a:path w="2196" h="1516" extrusionOk="0">
                  <a:moveTo>
                    <a:pt x="1013" y="0"/>
                  </a:moveTo>
                  <a:cubicBezTo>
                    <a:pt x="676" y="0"/>
                    <a:pt x="369" y="181"/>
                    <a:pt x="190" y="464"/>
                  </a:cubicBezTo>
                  <a:cubicBezTo>
                    <a:pt x="0" y="706"/>
                    <a:pt x="35" y="1034"/>
                    <a:pt x="259" y="1224"/>
                  </a:cubicBezTo>
                  <a:cubicBezTo>
                    <a:pt x="466" y="1444"/>
                    <a:pt x="678" y="1515"/>
                    <a:pt x="892" y="1515"/>
                  </a:cubicBezTo>
                  <a:cubicBezTo>
                    <a:pt x="1233" y="1515"/>
                    <a:pt x="1579" y="1336"/>
                    <a:pt x="1919" y="1293"/>
                  </a:cubicBezTo>
                  <a:cubicBezTo>
                    <a:pt x="2195" y="567"/>
                    <a:pt x="1901" y="153"/>
                    <a:pt x="1175" y="14"/>
                  </a:cubicBezTo>
                  <a:cubicBezTo>
                    <a:pt x="1121" y="5"/>
                    <a:pt x="1066" y="0"/>
                    <a:pt x="1013"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7" name="Google Shape;3787;p66"/>
            <p:cNvSpPr/>
            <p:nvPr/>
          </p:nvSpPr>
          <p:spPr>
            <a:xfrm>
              <a:off x="6323375" y="3314875"/>
              <a:ext cx="50125" cy="37325"/>
            </a:xfrm>
            <a:custGeom>
              <a:avLst/>
              <a:gdLst/>
              <a:ahLst/>
              <a:cxnLst/>
              <a:rect l="l" t="t" r="r" b="b"/>
              <a:pathLst>
                <a:path w="2005" h="1493" extrusionOk="0">
                  <a:moveTo>
                    <a:pt x="754" y="1"/>
                  </a:moveTo>
                  <a:cubicBezTo>
                    <a:pt x="409" y="1"/>
                    <a:pt x="93" y="129"/>
                    <a:pt x="52" y="542"/>
                  </a:cubicBezTo>
                  <a:cubicBezTo>
                    <a:pt x="0" y="1198"/>
                    <a:pt x="536" y="1371"/>
                    <a:pt x="1106" y="1492"/>
                  </a:cubicBezTo>
                  <a:cubicBezTo>
                    <a:pt x="1504" y="1475"/>
                    <a:pt x="1988" y="1440"/>
                    <a:pt x="1988" y="905"/>
                  </a:cubicBezTo>
                  <a:cubicBezTo>
                    <a:pt x="2005" y="317"/>
                    <a:pt x="1504" y="110"/>
                    <a:pt x="1020" y="23"/>
                  </a:cubicBezTo>
                  <a:cubicBezTo>
                    <a:pt x="932" y="9"/>
                    <a:pt x="842" y="1"/>
                    <a:pt x="75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8" name="Google Shape;3788;p66"/>
            <p:cNvSpPr/>
            <p:nvPr/>
          </p:nvSpPr>
          <p:spPr>
            <a:xfrm>
              <a:off x="6680225" y="1890750"/>
              <a:ext cx="46075" cy="42200"/>
            </a:xfrm>
            <a:custGeom>
              <a:avLst/>
              <a:gdLst/>
              <a:ahLst/>
              <a:cxnLst/>
              <a:rect l="l" t="t" r="r" b="b"/>
              <a:pathLst>
                <a:path w="1843" h="1688" extrusionOk="0">
                  <a:moveTo>
                    <a:pt x="1376" y="1"/>
                  </a:moveTo>
                  <a:cubicBezTo>
                    <a:pt x="1345" y="1"/>
                    <a:pt x="1312" y="4"/>
                    <a:pt x="1280" y="11"/>
                  </a:cubicBezTo>
                  <a:cubicBezTo>
                    <a:pt x="675" y="29"/>
                    <a:pt x="156" y="478"/>
                    <a:pt x="70" y="1083"/>
                  </a:cubicBezTo>
                  <a:cubicBezTo>
                    <a:pt x="1" y="1446"/>
                    <a:pt x="208" y="1670"/>
                    <a:pt x="675" y="1688"/>
                  </a:cubicBezTo>
                  <a:cubicBezTo>
                    <a:pt x="1193" y="1480"/>
                    <a:pt x="1643" y="1135"/>
                    <a:pt x="1781" y="513"/>
                  </a:cubicBezTo>
                  <a:cubicBezTo>
                    <a:pt x="1843" y="250"/>
                    <a:pt x="1642" y="1"/>
                    <a:pt x="1376"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89" name="Google Shape;3789;p66"/>
            <p:cNvSpPr/>
            <p:nvPr/>
          </p:nvSpPr>
          <p:spPr>
            <a:xfrm>
              <a:off x="3550975" y="1955400"/>
              <a:ext cx="53600" cy="126175"/>
            </a:xfrm>
            <a:custGeom>
              <a:avLst/>
              <a:gdLst/>
              <a:ahLst/>
              <a:cxnLst/>
              <a:rect l="l" t="t" r="r" b="b"/>
              <a:pathLst>
                <a:path w="2144" h="5047" extrusionOk="0">
                  <a:moveTo>
                    <a:pt x="1297" y="0"/>
                  </a:moveTo>
                  <a:cubicBezTo>
                    <a:pt x="778" y="0"/>
                    <a:pt x="260" y="363"/>
                    <a:pt x="364" y="795"/>
                  </a:cubicBezTo>
                  <a:cubicBezTo>
                    <a:pt x="640" y="1850"/>
                    <a:pt x="122" y="2731"/>
                    <a:pt x="1" y="3491"/>
                  </a:cubicBezTo>
                  <a:cubicBezTo>
                    <a:pt x="70" y="4338"/>
                    <a:pt x="1" y="5047"/>
                    <a:pt x="951" y="5047"/>
                  </a:cubicBezTo>
                  <a:cubicBezTo>
                    <a:pt x="1781" y="5047"/>
                    <a:pt x="1971" y="4476"/>
                    <a:pt x="2040" y="3785"/>
                  </a:cubicBezTo>
                  <a:cubicBezTo>
                    <a:pt x="2144" y="2748"/>
                    <a:pt x="1642" y="1746"/>
                    <a:pt x="1936" y="692"/>
                  </a:cubicBezTo>
                  <a:cubicBezTo>
                    <a:pt x="2023" y="381"/>
                    <a:pt x="1712" y="0"/>
                    <a:pt x="1297"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0" name="Google Shape;3790;p66"/>
            <p:cNvSpPr/>
            <p:nvPr/>
          </p:nvSpPr>
          <p:spPr>
            <a:xfrm>
              <a:off x="3910000" y="2161475"/>
              <a:ext cx="93775" cy="45400"/>
            </a:xfrm>
            <a:custGeom>
              <a:avLst/>
              <a:gdLst/>
              <a:ahLst/>
              <a:cxnLst/>
              <a:rect l="l" t="t" r="r" b="b"/>
              <a:pathLst>
                <a:path w="3751" h="1816" extrusionOk="0">
                  <a:moveTo>
                    <a:pt x="1383" y="1"/>
                  </a:moveTo>
                  <a:cubicBezTo>
                    <a:pt x="778" y="87"/>
                    <a:pt x="1" y="18"/>
                    <a:pt x="122" y="640"/>
                  </a:cubicBezTo>
                  <a:cubicBezTo>
                    <a:pt x="329" y="1625"/>
                    <a:pt x="1297" y="1815"/>
                    <a:pt x="2195" y="1815"/>
                  </a:cubicBezTo>
                  <a:cubicBezTo>
                    <a:pt x="2835" y="1815"/>
                    <a:pt x="3751" y="1712"/>
                    <a:pt x="3613" y="951"/>
                  </a:cubicBezTo>
                  <a:cubicBezTo>
                    <a:pt x="3466" y="240"/>
                    <a:pt x="2970" y="188"/>
                    <a:pt x="2455" y="188"/>
                  </a:cubicBezTo>
                  <a:cubicBezTo>
                    <a:pt x="2366" y="188"/>
                    <a:pt x="2276" y="189"/>
                    <a:pt x="2187" y="189"/>
                  </a:cubicBezTo>
                  <a:cubicBezTo>
                    <a:pt x="1880" y="189"/>
                    <a:pt x="1588" y="170"/>
                    <a:pt x="138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1" name="Google Shape;3791;p66"/>
            <p:cNvSpPr/>
            <p:nvPr/>
          </p:nvSpPr>
          <p:spPr>
            <a:xfrm>
              <a:off x="4125600" y="2173875"/>
              <a:ext cx="50575" cy="37600"/>
            </a:xfrm>
            <a:custGeom>
              <a:avLst/>
              <a:gdLst/>
              <a:ahLst/>
              <a:cxnLst/>
              <a:rect l="l" t="t" r="r" b="b"/>
              <a:pathLst>
                <a:path w="2023" h="1504" extrusionOk="0">
                  <a:moveTo>
                    <a:pt x="1294" y="1"/>
                  </a:moveTo>
                  <a:cubicBezTo>
                    <a:pt x="1249" y="1"/>
                    <a:pt x="1204" y="3"/>
                    <a:pt x="1158" y="6"/>
                  </a:cubicBezTo>
                  <a:cubicBezTo>
                    <a:pt x="691" y="144"/>
                    <a:pt x="0" y="109"/>
                    <a:pt x="17" y="904"/>
                  </a:cubicBezTo>
                  <a:cubicBezTo>
                    <a:pt x="17" y="1352"/>
                    <a:pt x="364" y="1503"/>
                    <a:pt x="748" y="1503"/>
                  </a:cubicBezTo>
                  <a:cubicBezTo>
                    <a:pt x="809" y="1503"/>
                    <a:pt x="872" y="1499"/>
                    <a:pt x="933" y="1492"/>
                  </a:cubicBezTo>
                  <a:cubicBezTo>
                    <a:pt x="1486" y="1440"/>
                    <a:pt x="2022" y="1233"/>
                    <a:pt x="2022" y="593"/>
                  </a:cubicBezTo>
                  <a:cubicBezTo>
                    <a:pt x="2022" y="156"/>
                    <a:pt x="1711" y="1"/>
                    <a:pt x="129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2" name="Google Shape;3792;p66"/>
            <p:cNvSpPr/>
            <p:nvPr/>
          </p:nvSpPr>
          <p:spPr>
            <a:xfrm>
              <a:off x="3415775" y="2038325"/>
              <a:ext cx="44925" cy="38175"/>
            </a:xfrm>
            <a:custGeom>
              <a:avLst/>
              <a:gdLst/>
              <a:ahLst/>
              <a:cxnLst/>
              <a:rect l="l" t="t" r="r" b="b"/>
              <a:pathLst>
                <a:path w="1797" h="1527" extrusionOk="0">
                  <a:moveTo>
                    <a:pt x="812" y="0"/>
                  </a:moveTo>
                  <a:cubicBezTo>
                    <a:pt x="383" y="0"/>
                    <a:pt x="1" y="211"/>
                    <a:pt x="34" y="710"/>
                  </a:cubicBezTo>
                  <a:cubicBezTo>
                    <a:pt x="34" y="1164"/>
                    <a:pt x="400" y="1527"/>
                    <a:pt x="845" y="1527"/>
                  </a:cubicBezTo>
                  <a:cubicBezTo>
                    <a:pt x="874" y="1527"/>
                    <a:pt x="903" y="1525"/>
                    <a:pt x="933" y="1522"/>
                  </a:cubicBezTo>
                  <a:cubicBezTo>
                    <a:pt x="1382" y="1522"/>
                    <a:pt x="1745" y="1315"/>
                    <a:pt x="1797" y="796"/>
                  </a:cubicBezTo>
                  <a:cubicBezTo>
                    <a:pt x="1745" y="226"/>
                    <a:pt x="1330" y="19"/>
                    <a:pt x="864" y="1"/>
                  </a:cubicBezTo>
                  <a:cubicBezTo>
                    <a:pt x="847" y="1"/>
                    <a:pt x="829" y="0"/>
                    <a:pt x="81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793" name="Google Shape;3793;p66"/>
          <p:cNvGrpSpPr/>
          <p:nvPr/>
        </p:nvGrpSpPr>
        <p:grpSpPr>
          <a:xfrm>
            <a:off x="10229314" y="4335100"/>
            <a:ext cx="138975" cy="427120"/>
            <a:chOff x="7564426" y="3224343"/>
            <a:chExt cx="119985" cy="368801"/>
          </a:xfrm>
        </p:grpSpPr>
        <p:sp>
          <p:nvSpPr>
            <p:cNvPr id="3794" name="Google Shape;3794;p66"/>
            <p:cNvSpPr/>
            <p:nvPr/>
          </p:nvSpPr>
          <p:spPr>
            <a:xfrm>
              <a:off x="7564426" y="3224379"/>
              <a:ext cx="119985" cy="368765"/>
            </a:xfrm>
            <a:custGeom>
              <a:avLst/>
              <a:gdLst/>
              <a:ahLst/>
              <a:cxnLst/>
              <a:rect l="l" t="t" r="r" b="b"/>
              <a:pathLst>
                <a:path w="13196" h="40557" extrusionOk="0">
                  <a:moveTo>
                    <a:pt x="2529" y="1"/>
                  </a:moveTo>
                  <a:lnTo>
                    <a:pt x="2547" y="1348"/>
                  </a:lnTo>
                  <a:lnTo>
                    <a:pt x="10244" y="1459"/>
                  </a:lnTo>
                  <a:lnTo>
                    <a:pt x="10227" y="108"/>
                  </a:lnTo>
                  <a:lnTo>
                    <a:pt x="2529" y="1"/>
                  </a:lnTo>
                  <a:close/>
                  <a:moveTo>
                    <a:pt x="3107" y="1850"/>
                  </a:moveTo>
                  <a:lnTo>
                    <a:pt x="556" y="15262"/>
                  </a:lnTo>
                  <a:lnTo>
                    <a:pt x="12617" y="15439"/>
                  </a:lnTo>
                  <a:lnTo>
                    <a:pt x="9489" y="1872"/>
                  </a:lnTo>
                  <a:lnTo>
                    <a:pt x="3107" y="1850"/>
                  </a:lnTo>
                  <a:close/>
                  <a:moveTo>
                    <a:pt x="1" y="15688"/>
                  </a:moveTo>
                  <a:lnTo>
                    <a:pt x="23" y="17035"/>
                  </a:lnTo>
                  <a:lnTo>
                    <a:pt x="13195" y="17226"/>
                  </a:lnTo>
                  <a:lnTo>
                    <a:pt x="13177" y="15879"/>
                  </a:lnTo>
                  <a:lnTo>
                    <a:pt x="1" y="15688"/>
                  </a:lnTo>
                  <a:close/>
                  <a:moveTo>
                    <a:pt x="4658" y="17528"/>
                  </a:moveTo>
                  <a:lnTo>
                    <a:pt x="4658" y="17528"/>
                  </a:lnTo>
                  <a:cubicBezTo>
                    <a:pt x="4685" y="21359"/>
                    <a:pt x="6027" y="32838"/>
                    <a:pt x="6902" y="40557"/>
                  </a:cubicBezTo>
                  <a:cubicBezTo>
                    <a:pt x="6902" y="40557"/>
                    <a:pt x="8813" y="21274"/>
                    <a:pt x="8560" y="17586"/>
                  </a:cubicBezTo>
                  <a:lnTo>
                    <a:pt x="4658" y="17528"/>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5" name="Google Shape;3795;p66"/>
            <p:cNvSpPr/>
            <p:nvPr/>
          </p:nvSpPr>
          <p:spPr>
            <a:xfrm>
              <a:off x="7564426" y="3224343"/>
              <a:ext cx="119985" cy="368801"/>
            </a:xfrm>
            <a:custGeom>
              <a:avLst/>
              <a:gdLst/>
              <a:ahLst/>
              <a:cxnLst/>
              <a:rect l="l" t="t" r="r" b="b"/>
              <a:pathLst>
                <a:path w="13196" h="40561" extrusionOk="0">
                  <a:moveTo>
                    <a:pt x="2529" y="1"/>
                  </a:moveTo>
                  <a:lnTo>
                    <a:pt x="2529" y="5"/>
                  </a:lnTo>
                  <a:lnTo>
                    <a:pt x="2547" y="1352"/>
                  </a:lnTo>
                  <a:lnTo>
                    <a:pt x="10244" y="1463"/>
                  </a:lnTo>
                  <a:lnTo>
                    <a:pt x="10227" y="112"/>
                  </a:lnTo>
                  <a:lnTo>
                    <a:pt x="2529" y="1"/>
                  </a:lnTo>
                  <a:close/>
                  <a:moveTo>
                    <a:pt x="3107" y="1854"/>
                  </a:moveTo>
                  <a:lnTo>
                    <a:pt x="556" y="15266"/>
                  </a:lnTo>
                  <a:lnTo>
                    <a:pt x="12617" y="15443"/>
                  </a:lnTo>
                  <a:lnTo>
                    <a:pt x="9489" y="1876"/>
                  </a:lnTo>
                  <a:lnTo>
                    <a:pt x="3107" y="1854"/>
                  </a:lnTo>
                  <a:close/>
                  <a:moveTo>
                    <a:pt x="1" y="15692"/>
                  </a:moveTo>
                  <a:lnTo>
                    <a:pt x="23" y="17039"/>
                  </a:lnTo>
                  <a:lnTo>
                    <a:pt x="13195" y="17230"/>
                  </a:lnTo>
                  <a:lnTo>
                    <a:pt x="13177" y="15883"/>
                  </a:lnTo>
                  <a:lnTo>
                    <a:pt x="1" y="15692"/>
                  </a:lnTo>
                  <a:close/>
                  <a:moveTo>
                    <a:pt x="4658" y="17532"/>
                  </a:moveTo>
                  <a:lnTo>
                    <a:pt x="4658" y="17532"/>
                  </a:lnTo>
                  <a:cubicBezTo>
                    <a:pt x="4685" y="21363"/>
                    <a:pt x="6027" y="32842"/>
                    <a:pt x="6902" y="40561"/>
                  </a:cubicBezTo>
                  <a:cubicBezTo>
                    <a:pt x="6902" y="40561"/>
                    <a:pt x="8813" y="21278"/>
                    <a:pt x="8560" y="17590"/>
                  </a:cubicBezTo>
                  <a:lnTo>
                    <a:pt x="4658" y="17532"/>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796" name="Google Shape;3796;p66"/>
          <p:cNvGrpSpPr/>
          <p:nvPr/>
        </p:nvGrpSpPr>
        <p:grpSpPr>
          <a:xfrm>
            <a:off x="9828631" y="4327236"/>
            <a:ext cx="252652" cy="442843"/>
            <a:chOff x="8370831" y="3202002"/>
            <a:chExt cx="218129" cy="382376"/>
          </a:xfrm>
        </p:grpSpPr>
        <p:sp>
          <p:nvSpPr>
            <p:cNvPr id="3797" name="Google Shape;3797;p66"/>
            <p:cNvSpPr/>
            <p:nvPr/>
          </p:nvSpPr>
          <p:spPr>
            <a:xfrm>
              <a:off x="8370831" y="3202002"/>
              <a:ext cx="218129" cy="382376"/>
            </a:xfrm>
            <a:custGeom>
              <a:avLst/>
              <a:gdLst/>
              <a:ahLst/>
              <a:cxnLst/>
              <a:rect l="l" t="t" r="r" b="b"/>
              <a:pathLst>
                <a:path w="23990" h="42054" extrusionOk="0">
                  <a:moveTo>
                    <a:pt x="11991" y="0"/>
                  </a:moveTo>
                  <a:cubicBezTo>
                    <a:pt x="11992" y="0"/>
                    <a:pt x="11992" y="0"/>
                    <a:pt x="11993" y="0"/>
                  </a:cubicBezTo>
                  <a:lnTo>
                    <a:pt x="11993" y="0"/>
                  </a:lnTo>
                  <a:cubicBezTo>
                    <a:pt x="11994" y="0"/>
                    <a:pt x="11995" y="0"/>
                    <a:pt x="11995" y="0"/>
                  </a:cubicBezTo>
                  <a:close/>
                  <a:moveTo>
                    <a:pt x="11993" y="0"/>
                  </a:moveTo>
                  <a:cubicBezTo>
                    <a:pt x="5373" y="1"/>
                    <a:pt x="1" y="4974"/>
                    <a:pt x="1" y="11110"/>
                  </a:cubicBezTo>
                  <a:cubicBezTo>
                    <a:pt x="1" y="14754"/>
                    <a:pt x="1894" y="17985"/>
                    <a:pt x="4823" y="20011"/>
                  </a:cubicBezTo>
                  <a:lnTo>
                    <a:pt x="12062" y="42054"/>
                  </a:lnTo>
                  <a:lnTo>
                    <a:pt x="18950" y="20154"/>
                  </a:lnTo>
                  <a:cubicBezTo>
                    <a:pt x="21999" y="18136"/>
                    <a:pt x="23990" y="14843"/>
                    <a:pt x="23990" y="11110"/>
                  </a:cubicBezTo>
                  <a:cubicBezTo>
                    <a:pt x="23990" y="4978"/>
                    <a:pt x="18618" y="1"/>
                    <a:pt x="11993" y="0"/>
                  </a:cubicBezTo>
                  <a:close/>
                </a:path>
              </a:pathLst>
            </a:custGeom>
            <a:solidFill>
              <a:srgbClr val="92A9B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798" name="Google Shape;3798;p66"/>
            <p:cNvSpPr/>
            <p:nvPr/>
          </p:nvSpPr>
          <p:spPr>
            <a:xfrm>
              <a:off x="8397745" y="3226607"/>
              <a:ext cx="164347" cy="152181"/>
            </a:xfrm>
            <a:custGeom>
              <a:avLst/>
              <a:gdLst/>
              <a:ahLst/>
              <a:cxnLst/>
              <a:rect l="l" t="t" r="r" b="b"/>
              <a:pathLst>
                <a:path w="18075" h="16737" extrusionOk="0">
                  <a:moveTo>
                    <a:pt x="9035" y="0"/>
                  </a:moveTo>
                  <a:cubicBezTo>
                    <a:pt x="4045" y="0"/>
                    <a:pt x="1" y="3747"/>
                    <a:pt x="1" y="8368"/>
                  </a:cubicBezTo>
                  <a:cubicBezTo>
                    <a:pt x="1" y="12990"/>
                    <a:pt x="4045" y="16736"/>
                    <a:pt x="9035" y="16736"/>
                  </a:cubicBezTo>
                  <a:cubicBezTo>
                    <a:pt x="14026" y="16736"/>
                    <a:pt x="18075" y="12990"/>
                    <a:pt x="18075" y="8368"/>
                  </a:cubicBezTo>
                  <a:cubicBezTo>
                    <a:pt x="18075" y="3747"/>
                    <a:pt x="14030" y="0"/>
                    <a:pt x="9035"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799" name="Google Shape;3799;p66"/>
          <p:cNvGrpSpPr/>
          <p:nvPr/>
        </p:nvGrpSpPr>
        <p:grpSpPr>
          <a:xfrm>
            <a:off x="10793151" y="4875412"/>
            <a:ext cx="412572" cy="356000"/>
            <a:chOff x="6742064" y="3750480"/>
            <a:chExt cx="399315" cy="344560"/>
          </a:xfrm>
        </p:grpSpPr>
        <p:sp>
          <p:nvSpPr>
            <p:cNvPr id="3800" name="Google Shape;3800;p66"/>
            <p:cNvSpPr/>
            <p:nvPr/>
          </p:nvSpPr>
          <p:spPr>
            <a:xfrm>
              <a:off x="6742064" y="3750480"/>
              <a:ext cx="399315" cy="344560"/>
            </a:xfrm>
            <a:custGeom>
              <a:avLst/>
              <a:gdLst/>
              <a:ahLst/>
              <a:cxnLst/>
              <a:rect l="l" t="t" r="r" b="b"/>
              <a:pathLst>
                <a:path w="43917" h="37895" extrusionOk="0">
                  <a:moveTo>
                    <a:pt x="37846" y="1"/>
                  </a:moveTo>
                  <a:lnTo>
                    <a:pt x="6071" y="1"/>
                  </a:lnTo>
                  <a:cubicBezTo>
                    <a:pt x="2729" y="1"/>
                    <a:pt x="0" y="2734"/>
                    <a:pt x="0" y="6071"/>
                  </a:cubicBezTo>
                  <a:lnTo>
                    <a:pt x="0" y="18212"/>
                  </a:lnTo>
                  <a:cubicBezTo>
                    <a:pt x="0" y="21550"/>
                    <a:pt x="2729" y="24278"/>
                    <a:pt x="6071" y="24278"/>
                  </a:cubicBezTo>
                  <a:lnTo>
                    <a:pt x="18927" y="24278"/>
                  </a:lnTo>
                  <a:cubicBezTo>
                    <a:pt x="19332" y="24278"/>
                    <a:pt x="19754" y="24705"/>
                    <a:pt x="19821" y="25105"/>
                  </a:cubicBezTo>
                  <a:lnTo>
                    <a:pt x="21958" y="37895"/>
                  </a:lnTo>
                  <a:lnTo>
                    <a:pt x="24096" y="25101"/>
                  </a:lnTo>
                  <a:cubicBezTo>
                    <a:pt x="24162" y="24687"/>
                    <a:pt x="24629" y="24278"/>
                    <a:pt x="25051" y="24278"/>
                  </a:cubicBezTo>
                  <a:lnTo>
                    <a:pt x="37846" y="24278"/>
                  </a:lnTo>
                  <a:cubicBezTo>
                    <a:pt x="41183" y="24278"/>
                    <a:pt x="43916" y="21550"/>
                    <a:pt x="43916" y="18212"/>
                  </a:cubicBezTo>
                  <a:lnTo>
                    <a:pt x="43916" y="6071"/>
                  </a:lnTo>
                  <a:cubicBezTo>
                    <a:pt x="43916" y="2734"/>
                    <a:pt x="41183" y="1"/>
                    <a:pt x="3784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1" name="Google Shape;3801;p66"/>
            <p:cNvSpPr/>
            <p:nvPr/>
          </p:nvSpPr>
          <p:spPr>
            <a:xfrm>
              <a:off x="6764168" y="3772584"/>
              <a:ext cx="355108" cy="176549"/>
            </a:xfrm>
            <a:custGeom>
              <a:avLst/>
              <a:gdLst/>
              <a:ahLst/>
              <a:cxnLst/>
              <a:rect l="l" t="t" r="r" b="b"/>
              <a:pathLst>
                <a:path w="39055" h="19417" extrusionOk="0">
                  <a:moveTo>
                    <a:pt x="3755" y="1"/>
                  </a:moveTo>
                  <a:lnTo>
                    <a:pt x="35295" y="1"/>
                  </a:lnTo>
                  <a:cubicBezTo>
                    <a:pt x="37370" y="10"/>
                    <a:pt x="39045" y="1685"/>
                    <a:pt x="39054" y="3756"/>
                  </a:cubicBezTo>
                  <a:lnTo>
                    <a:pt x="39054" y="15666"/>
                  </a:lnTo>
                  <a:cubicBezTo>
                    <a:pt x="39045" y="17737"/>
                    <a:pt x="37370" y="19412"/>
                    <a:pt x="35295" y="19417"/>
                  </a:cubicBezTo>
                  <a:lnTo>
                    <a:pt x="3755" y="19417"/>
                  </a:lnTo>
                  <a:cubicBezTo>
                    <a:pt x="1680" y="19412"/>
                    <a:pt x="5" y="17737"/>
                    <a:pt x="0" y="15666"/>
                  </a:cubicBezTo>
                  <a:lnTo>
                    <a:pt x="0" y="3756"/>
                  </a:lnTo>
                  <a:cubicBezTo>
                    <a:pt x="5" y="1685"/>
                    <a:pt x="1680" y="10"/>
                    <a:pt x="3755"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02" name="Google Shape;3802;p66"/>
          <p:cNvGrpSpPr/>
          <p:nvPr/>
        </p:nvGrpSpPr>
        <p:grpSpPr>
          <a:xfrm>
            <a:off x="10178510" y="5343475"/>
            <a:ext cx="240583" cy="375477"/>
            <a:chOff x="7248525" y="3739696"/>
            <a:chExt cx="230531" cy="359790"/>
          </a:xfrm>
        </p:grpSpPr>
        <p:sp>
          <p:nvSpPr>
            <p:cNvPr id="3803" name="Google Shape;3803;p66"/>
            <p:cNvSpPr/>
            <p:nvPr/>
          </p:nvSpPr>
          <p:spPr>
            <a:xfrm>
              <a:off x="7248525" y="3739696"/>
              <a:ext cx="230531" cy="359790"/>
            </a:xfrm>
            <a:custGeom>
              <a:avLst/>
              <a:gdLst/>
              <a:ahLst/>
              <a:cxnLst/>
              <a:rect l="l" t="t" r="r" b="b"/>
              <a:pathLst>
                <a:path w="25354" h="39570" extrusionOk="0">
                  <a:moveTo>
                    <a:pt x="19434" y="18"/>
                  </a:moveTo>
                  <a:lnTo>
                    <a:pt x="6338" y="5"/>
                  </a:lnTo>
                  <a:cubicBezTo>
                    <a:pt x="2854" y="0"/>
                    <a:pt x="1" y="2858"/>
                    <a:pt x="1" y="6342"/>
                  </a:cubicBezTo>
                  <a:lnTo>
                    <a:pt x="1" y="19016"/>
                  </a:lnTo>
                  <a:cubicBezTo>
                    <a:pt x="1" y="29006"/>
                    <a:pt x="6280" y="22820"/>
                    <a:pt x="12679" y="39570"/>
                  </a:cubicBezTo>
                  <a:cubicBezTo>
                    <a:pt x="19074" y="22820"/>
                    <a:pt x="25354" y="29006"/>
                    <a:pt x="25354" y="19016"/>
                  </a:cubicBezTo>
                  <a:lnTo>
                    <a:pt x="25354" y="6342"/>
                  </a:lnTo>
                  <a:cubicBezTo>
                    <a:pt x="25354" y="2858"/>
                    <a:pt x="22923" y="18"/>
                    <a:pt x="19434" y="18"/>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4" name="Google Shape;3804;p66"/>
            <p:cNvSpPr/>
            <p:nvPr/>
          </p:nvSpPr>
          <p:spPr>
            <a:xfrm>
              <a:off x="7271639" y="3762810"/>
              <a:ext cx="184350" cy="184387"/>
            </a:xfrm>
            <a:custGeom>
              <a:avLst/>
              <a:gdLst/>
              <a:ahLst/>
              <a:cxnLst/>
              <a:rect l="l" t="t" r="r" b="b"/>
              <a:pathLst>
                <a:path w="20275" h="20279" extrusionOk="0">
                  <a:moveTo>
                    <a:pt x="3738" y="0"/>
                  </a:moveTo>
                  <a:lnTo>
                    <a:pt x="16532" y="0"/>
                  </a:lnTo>
                  <a:cubicBezTo>
                    <a:pt x="18594" y="5"/>
                    <a:pt x="20270" y="1680"/>
                    <a:pt x="20274" y="3742"/>
                  </a:cubicBezTo>
                  <a:lnTo>
                    <a:pt x="20274" y="16536"/>
                  </a:lnTo>
                  <a:cubicBezTo>
                    <a:pt x="20270" y="18598"/>
                    <a:pt x="18594" y="20274"/>
                    <a:pt x="16532" y="20278"/>
                  </a:cubicBezTo>
                  <a:lnTo>
                    <a:pt x="3738" y="20278"/>
                  </a:lnTo>
                  <a:cubicBezTo>
                    <a:pt x="1676" y="20274"/>
                    <a:pt x="5" y="18598"/>
                    <a:pt x="1" y="16536"/>
                  </a:cubicBezTo>
                  <a:lnTo>
                    <a:pt x="1" y="3742"/>
                  </a:lnTo>
                  <a:cubicBezTo>
                    <a:pt x="5" y="1680"/>
                    <a:pt x="1676" y="5"/>
                    <a:pt x="3738"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05" name="Google Shape;3805;p66"/>
          <p:cNvGrpSpPr/>
          <p:nvPr/>
        </p:nvGrpSpPr>
        <p:grpSpPr>
          <a:xfrm>
            <a:off x="10506401" y="4867774"/>
            <a:ext cx="217195" cy="371613"/>
            <a:chOff x="7601242" y="3729267"/>
            <a:chExt cx="222566" cy="380803"/>
          </a:xfrm>
        </p:grpSpPr>
        <p:sp>
          <p:nvSpPr>
            <p:cNvPr id="3806" name="Google Shape;3806;p66"/>
            <p:cNvSpPr/>
            <p:nvPr/>
          </p:nvSpPr>
          <p:spPr>
            <a:xfrm>
              <a:off x="7601242" y="3729267"/>
              <a:ext cx="222566" cy="380803"/>
            </a:xfrm>
            <a:custGeom>
              <a:avLst/>
              <a:gdLst/>
              <a:ahLst/>
              <a:cxnLst/>
              <a:rect l="l" t="t" r="r" b="b"/>
              <a:pathLst>
                <a:path w="24478" h="41881" extrusionOk="0">
                  <a:moveTo>
                    <a:pt x="12239" y="1"/>
                  </a:moveTo>
                  <a:cubicBezTo>
                    <a:pt x="5480" y="1"/>
                    <a:pt x="0" y="5320"/>
                    <a:pt x="0" y="11875"/>
                  </a:cubicBezTo>
                  <a:cubicBezTo>
                    <a:pt x="0" y="17537"/>
                    <a:pt x="4080" y="22270"/>
                    <a:pt x="9537" y="23461"/>
                  </a:cubicBezTo>
                  <a:cubicBezTo>
                    <a:pt x="10235" y="23616"/>
                    <a:pt x="10190" y="24114"/>
                    <a:pt x="10270" y="24825"/>
                  </a:cubicBezTo>
                  <a:lnTo>
                    <a:pt x="12239" y="41881"/>
                  </a:lnTo>
                  <a:lnTo>
                    <a:pt x="14181" y="25065"/>
                  </a:lnTo>
                  <a:cubicBezTo>
                    <a:pt x="14257" y="24385"/>
                    <a:pt x="14230" y="23612"/>
                    <a:pt x="14897" y="23469"/>
                  </a:cubicBezTo>
                  <a:cubicBezTo>
                    <a:pt x="20381" y="22296"/>
                    <a:pt x="24478" y="17550"/>
                    <a:pt x="24478" y="11875"/>
                  </a:cubicBezTo>
                  <a:cubicBezTo>
                    <a:pt x="24478" y="5320"/>
                    <a:pt x="18998" y="1"/>
                    <a:pt x="1223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07" name="Google Shape;3807;p66"/>
            <p:cNvSpPr/>
            <p:nvPr/>
          </p:nvSpPr>
          <p:spPr>
            <a:xfrm>
              <a:off x="7621200" y="3748625"/>
              <a:ext cx="182696" cy="177276"/>
            </a:xfrm>
            <a:custGeom>
              <a:avLst/>
              <a:gdLst/>
              <a:ahLst/>
              <a:cxnLst/>
              <a:rect l="l" t="t" r="r" b="b"/>
              <a:pathLst>
                <a:path w="20093" h="19497" extrusionOk="0">
                  <a:moveTo>
                    <a:pt x="10044" y="19496"/>
                  </a:moveTo>
                  <a:cubicBezTo>
                    <a:pt x="15577" y="19496"/>
                    <a:pt x="20092" y="15119"/>
                    <a:pt x="20092" y="9751"/>
                  </a:cubicBezTo>
                  <a:cubicBezTo>
                    <a:pt x="20092" y="4378"/>
                    <a:pt x="15577" y="0"/>
                    <a:pt x="10044" y="0"/>
                  </a:cubicBezTo>
                  <a:cubicBezTo>
                    <a:pt x="4511" y="0"/>
                    <a:pt x="1" y="4378"/>
                    <a:pt x="1" y="9751"/>
                  </a:cubicBezTo>
                  <a:cubicBezTo>
                    <a:pt x="1" y="15119"/>
                    <a:pt x="4511" y="19496"/>
                    <a:pt x="10044" y="19496"/>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808" name="Google Shape;3808;p66"/>
          <p:cNvSpPr/>
          <p:nvPr/>
        </p:nvSpPr>
        <p:spPr>
          <a:xfrm>
            <a:off x="10461103" y="4350917"/>
            <a:ext cx="307792" cy="395433"/>
          </a:xfrm>
          <a:custGeom>
            <a:avLst/>
            <a:gdLst/>
            <a:ahLst/>
            <a:cxnLst/>
            <a:rect l="l" t="t" r="r" b="b"/>
            <a:pathLst>
              <a:path w="29230" h="37553" extrusionOk="0">
                <a:moveTo>
                  <a:pt x="9655" y="0"/>
                </a:moveTo>
                <a:cubicBezTo>
                  <a:pt x="7693" y="0"/>
                  <a:pt x="5983" y="1692"/>
                  <a:pt x="5974" y="3671"/>
                </a:cubicBezTo>
                <a:cubicBezTo>
                  <a:pt x="5974" y="4182"/>
                  <a:pt x="6085" y="4693"/>
                  <a:pt x="6245" y="5036"/>
                </a:cubicBezTo>
                <a:cubicBezTo>
                  <a:pt x="7169" y="7653"/>
                  <a:pt x="7369" y="9675"/>
                  <a:pt x="6863" y="11515"/>
                </a:cubicBezTo>
                <a:lnTo>
                  <a:pt x="6716" y="11933"/>
                </a:lnTo>
                <a:cubicBezTo>
                  <a:pt x="6089" y="13821"/>
                  <a:pt x="5018" y="16181"/>
                  <a:pt x="1850" y="19345"/>
                </a:cubicBezTo>
                <a:cubicBezTo>
                  <a:pt x="1" y="21194"/>
                  <a:pt x="623" y="24331"/>
                  <a:pt x="3041" y="25340"/>
                </a:cubicBezTo>
                <a:cubicBezTo>
                  <a:pt x="3475" y="25523"/>
                  <a:pt x="3948" y="25620"/>
                  <a:pt x="4422" y="25620"/>
                </a:cubicBezTo>
                <a:cubicBezTo>
                  <a:pt x="4433" y="25620"/>
                  <a:pt x="4443" y="25620"/>
                  <a:pt x="4454" y="25620"/>
                </a:cubicBezTo>
                <a:lnTo>
                  <a:pt x="12866" y="25620"/>
                </a:lnTo>
                <a:lnTo>
                  <a:pt x="14862" y="37552"/>
                </a:lnTo>
                <a:lnTo>
                  <a:pt x="16848" y="25625"/>
                </a:lnTo>
                <a:lnTo>
                  <a:pt x="25243" y="25625"/>
                </a:lnTo>
                <a:cubicBezTo>
                  <a:pt x="25254" y="25625"/>
                  <a:pt x="25264" y="25625"/>
                  <a:pt x="25275" y="25625"/>
                </a:cubicBezTo>
                <a:cubicBezTo>
                  <a:pt x="25753" y="25625"/>
                  <a:pt x="26230" y="25527"/>
                  <a:pt x="26669" y="25345"/>
                </a:cubicBezTo>
                <a:cubicBezTo>
                  <a:pt x="27576" y="24976"/>
                  <a:pt x="28292" y="24256"/>
                  <a:pt x="28660" y="23354"/>
                </a:cubicBezTo>
                <a:cubicBezTo>
                  <a:pt x="29229" y="21980"/>
                  <a:pt x="28914" y="20398"/>
                  <a:pt x="27865" y="19345"/>
                </a:cubicBezTo>
                <a:cubicBezTo>
                  <a:pt x="24701" y="16177"/>
                  <a:pt x="23630" y="13821"/>
                  <a:pt x="22999" y="11933"/>
                </a:cubicBezTo>
                <a:cubicBezTo>
                  <a:pt x="22354" y="9999"/>
                  <a:pt x="22505" y="7880"/>
                  <a:pt x="23443" y="5213"/>
                </a:cubicBezTo>
                <a:cubicBezTo>
                  <a:pt x="23661" y="4733"/>
                  <a:pt x="23772" y="4218"/>
                  <a:pt x="23772" y="3693"/>
                </a:cubicBezTo>
                <a:cubicBezTo>
                  <a:pt x="23759" y="1670"/>
                  <a:pt x="22105" y="27"/>
                  <a:pt x="20100" y="27"/>
                </a:cubicBezTo>
                <a:cubicBezTo>
                  <a:pt x="20098" y="27"/>
                  <a:pt x="20095" y="27"/>
                  <a:pt x="20092" y="27"/>
                </a:cubicBezTo>
                <a:lnTo>
                  <a:pt x="9662" y="0"/>
                </a:lnTo>
                <a:cubicBezTo>
                  <a:pt x="9660" y="0"/>
                  <a:pt x="9657" y="0"/>
                  <a:pt x="9655" y="0"/>
                </a:cubicBezTo>
                <a:close/>
              </a:path>
            </a:pathLst>
          </a:custGeom>
          <a:solidFill>
            <a:srgbClr val="A5B7C6">
              <a:alpha val="72320"/>
            </a:srgbClr>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09" name="Google Shape;3809;p66"/>
          <p:cNvGrpSpPr/>
          <p:nvPr/>
        </p:nvGrpSpPr>
        <p:grpSpPr>
          <a:xfrm>
            <a:off x="9825929" y="4869295"/>
            <a:ext cx="258057" cy="367987"/>
            <a:chOff x="8304647" y="3738687"/>
            <a:chExt cx="225076" cy="320956"/>
          </a:xfrm>
        </p:grpSpPr>
        <p:sp>
          <p:nvSpPr>
            <p:cNvPr id="3810" name="Google Shape;3810;p66"/>
            <p:cNvSpPr/>
            <p:nvPr/>
          </p:nvSpPr>
          <p:spPr>
            <a:xfrm>
              <a:off x="8335725"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E1E7E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1" name="Google Shape;3811;p66"/>
            <p:cNvSpPr/>
            <p:nvPr/>
          </p:nvSpPr>
          <p:spPr>
            <a:xfrm>
              <a:off x="8337943" y="3738687"/>
              <a:ext cx="191779" cy="86151"/>
            </a:xfrm>
            <a:custGeom>
              <a:avLst/>
              <a:gdLst/>
              <a:ahLst/>
              <a:cxnLst/>
              <a:rect l="l" t="t" r="r" b="b"/>
              <a:pathLst>
                <a:path w="21092" h="9475" extrusionOk="0">
                  <a:moveTo>
                    <a:pt x="1" y="0"/>
                  </a:moveTo>
                  <a:lnTo>
                    <a:pt x="432" y="9475"/>
                  </a:lnTo>
                  <a:lnTo>
                    <a:pt x="21092" y="9475"/>
                  </a:lnTo>
                  <a:lnTo>
                    <a:pt x="17648" y="4524"/>
                  </a:lnTo>
                  <a:lnTo>
                    <a:pt x="21092" y="0"/>
                  </a:lnTo>
                  <a:close/>
                </a:path>
              </a:pathLst>
            </a:custGeom>
            <a:solidFill>
              <a:srgbClr val="E1E7E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2" name="Google Shape;3812;p66"/>
            <p:cNvSpPr/>
            <p:nvPr/>
          </p:nvSpPr>
          <p:spPr>
            <a:xfrm>
              <a:off x="8304647" y="4044004"/>
              <a:ext cx="76341" cy="15639"/>
            </a:xfrm>
            <a:custGeom>
              <a:avLst/>
              <a:gdLst/>
              <a:ahLst/>
              <a:cxnLst/>
              <a:rect l="l" t="t" r="r" b="b"/>
              <a:pathLst>
                <a:path w="8396" h="1720" extrusionOk="0">
                  <a:moveTo>
                    <a:pt x="4200" y="0"/>
                  </a:moveTo>
                  <a:cubicBezTo>
                    <a:pt x="1881" y="0"/>
                    <a:pt x="1" y="382"/>
                    <a:pt x="1" y="862"/>
                  </a:cubicBezTo>
                  <a:cubicBezTo>
                    <a:pt x="1" y="1338"/>
                    <a:pt x="1881" y="1720"/>
                    <a:pt x="4200" y="1720"/>
                  </a:cubicBezTo>
                  <a:cubicBezTo>
                    <a:pt x="6516" y="1720"/>
                    <a:pt x="8395" y="1338"/>
                    <a:pt x="8395" y="862"/>
                  </a:cubicBezTo>
                  <a:cubicBezTo>
                    <a:pt x="8395" y="382"/>
                    <a:pt x="6516" y="0"/>
                    <a:pt x="4200" y="0"/>
                  </a:cubicBezTo>
                  <a:close/>
                </a:path>
              </a:pathLst>
            </a:custGeom>
            <a:solidFill>
              <a:srgbClr val="E1E7E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13" name="Google Shape;3813;p66"/>
          <p:cNvGrpSpPr/>
          <p:nvPr/>
        </p:nvGrpSpPr>
        <p:grpSpPr>
          <a:xfrm>
            <a:off x="10189252" y="4869295"/>
            <a:ext cx="237989" cy="367987"/>
            <a:chOff x="8615101" y="3738687"/>
            <a:chExt cx="207573" cy="320956"/>
          </a:xfrm>
        </p:grpSpPr>
        <p:sp>
          <p:nvSpPr>
            <p:cNvPr id="3814" name="Google Shape;3814;p66"/>
            <p:cNvSpPr/>
            <p:nvPr/>
          </p:nvSpPr>
          <p:spPr>
            <a:xfrm>
              <a:off x="8646134" y="3738687"/>
              <a:ext cx="12248" cy="309245"/>
            </a:xfrm>
            <a:custGeom>
              <a:avLst/>
              <a:gdLst/>
              <a:ahLst/>
              <a:cxnLst/>
              <a:rect l="l" t="t" r="r" b="b"/>
              <a:pathLst>
                <a:path w="1347" h="34011" extrusionOk="0">
                  <a:moveTo>
                    <a:pt x="0" y="0"/>
                  </a:moveTo>
                  <a:lnTo>
                    <a:pt x="0" y="34010"/>
                  </a:lnTo>
                  <a:lnTo>
                    <a:pt x="1347" y="34010"/>
                  </a:lnTo>
                  <a:lnTo>
                    <a:pt x="1347"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5" name="Google Shape;3815;p66"/>
            <p:cNvSpPr/>
            <p:nvPr/>
          </p:nvSpPr>
          <p:spPr>
            <a:xfrm>
              <a:off x="8615101" y="4044004"/>
              <a:ext cx="76332" cy="15639"/>
            </a:xfrm>
            <a:custGeom>
              <a:avLst/>
              <a:gdLst/>
              <a:ahLst/>
              <a:cxnLst/>
              <a:rect l="l" t="t" r="r" b="b"/>
              <a:pathLst>
                <a:path w="8395" h="1720" extrusionOk="0">
                  <a:moveTo>
                    <a:pt x="4195" y="0"/>
                  </a:moveTo>
                  <a:cubicBezTo>
                    <a:pt x="1875" y="0"/>
                    <a:pt x="0" y="382"/>
                    <a:pt x="0" y="862"/>
                  </a:cubicBezTo>
                  <a:cubicBezTo>
                    <a:pt x="0" y="1338"/>
                    <a:pt x="1875" y="1720"/>
                    <a:pt x="4195" y="1720"/>
                  </a:cubicBezTo>
                  <a:cubicBezTo>
                    <a:pt x="6515" y="1720"/>
                    <a:pt x="8395" y="1338"/>
                    <a:pt x="8395" y="862"/>
                  </a:cubicBezTo>
                  <a:cubicBezTo>
                    <a:pt x="8395" y="382"/>
                    <a:pt x="6515" y="0"/>
                    <a:pt x="419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16" name="Google Shape;3816;p66"/>
            <p:cNvSpPr/>
            <p:nvPr/>
          </p:nvSpPr>
          <p:spPr>
            <a:xfrm>
              <a:off x="8651953" y="3738687"/>
              <a:ext cx="170721" cy="99808"/>
            </a:xfrm>
            <a:custGeom>
              <a:avLst/>
              <a:gdLst/>
              <a:ahLst/>
              <a:cxnLst/>
              <a:rect l="l" t="t" r="r" b="b"/>
              <a:pathLst>
                <a:path w="18776" h="10977" extrusionOk="0">
                  <a:moveTo>
                    <a:pt x="707" y="0"/>
                  </a:moveTo>
                  <a:lnTo>
                    <a:pt x="0" y="10977"/>
                  </a:lnTo>
                  <a:lnTo>
                    <a:pt x="18776" y="4360"/>
                  </a:lnTo>
                  <a:lnTo>
                    <a:pt x="707"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817" name="Google Shape;3817;p66"/>
          <p:cNvSpPr/>
          <p:nvPr/>
        </p:nvSpPr>
        <p:spPr>
          <a:xfrm>
            <a:off x="10851173" y="4322472"/>
            <a:ext cx="296529" cy="384925"/>
          </a:xfrm>
          <a:custGeom>
            <a:avLst/>
            <a:gdLst/>
            <a:ahLst/>
            <a:cxnLst/>
            <a:rect l="l" t="t" r="r" b="b"/>
            <a:pathLst>
              <a:path w="2810" h="3648" extrusionOk="0">
                <a:moveTo>
                  <a:pt x="1365" y="241"/>
                </a:moveTo>
                <a:cubicBezTo>
                  <a:pt x="1630" y="241"/>
                  <a:pt x="1899" y="338"/>
                  <a:pt x="2120" y="555"/>
                </a:cubicBezTo>
                <a:cubicBezTo>
                  <a:pt x="2810" y="1245"/>
                  <a:pt x="2329" y="2416"/>
                  <a:pt x="1356" y="2416"/>
                </a:cubicBezTo>
                <a:cubicBezTo>
                  <a:pt x="764" y="2416"/>
                  <a:pt x="272" y="1935"/>
                  <a:pt x="272" y="1344"/>
                </a:cubicBezTo>
                <a:cubicBezTo>
                  <a:pt x="263" y="681"/>
                  <a:pt x="802" y="241"/>
                  <a:pt x="1365" y="241"/>
                </a:cubicBezTo>
                <a:close/>
                <a:moveTo>
                  <a:pt x="1356" y="1"/>
                </a:moveTo>
                <a:cubicBezTo>
                  <a:pt x="604" y="1"/>
                  <a:pt x="0" y="604"/>
                  <a:pt x="0" y="1356"/>
                </a:cubicBezTo>
                <a:cubicBezTo>
                  <a:pt x="0" y="2391"/>
                  <a:pt x="1183" y="3512"/>
                  <a:pt x="1331" y="3648"/>
                </a:cubicBezTo>
                <a:lnTo>
                  <a:pt x="1368" y="3648"/>
                </a:lnTo>
                <a:cubicBezTo>
                  <a:pt x="1528" y="3512"/>
                  <a:pt x="2711" y="2453"/>
                  <a:pt x="2711" y="1356"/>
                </a:cubicBezTo>
                <a:cubicBezTo>
                  <a:pt x="2711" y="604"/>
                  <a:pt x="2095" y="1"/>
                  <a:pt x="1356"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18" name="Google Shape;3818;p66"/>
          <p:cNvGrpSpPr/>
          <p:nvPr/>
        </p:nvGrpSpPr>
        <p:grpSpPr>
          <a:xfrm>
            <a:off x="8048859" y="5031279"/>
            <a:ext cx="743560" cy="681711"/>
            <a:chOff x="6015419" y="3716859"/>
            <a:chExt cx="557671" cy="511283"/>
          </a:xfrm>
        </p:grpSpPr>
        <p:sp>
          <p:nvSpPr>
            <p:cNvPr id="3819" name="Google Shape;3819;p66"/>
            <p:cNvSpPr/>
            <p:nvPr/>
          </p:nvSpPr>
          <p:spPr>
            <a:xfrm>
              <a:off x="6015419" y="3716859"/>
              <a:ext cx="557671" cy="511283"/>
            </a:xfrm>
            <a:custGeom>
              <a:avLst/>
              <a:gdLst/>
              <a:ahLst/>
              <a:cxnLst/>
              <a:rect l="l" t="t" r="r" b="b"/>
              <a:pathLst>
                <a:path w="96650" h="88649" extrusionOk="0">
                  <a:moveTo>
                    <a:pt x="48692" y="0"/>
                  </a:moveTo>
                  <a:cubicBezTo>
                    <a:pt x="46526" y="0"/>
                    <a:pt x="44332" y="152"/>
                    <a:pt x="42124" y="465"/>
                  </a:cubicBezTo>
                  <a:cubicBezTo>
                    <a:pt x="17336" y="3960"/>
                    <a:pt x="1" y="26441"/>
                    <a:pt x="3443" y="50679"/>
                  </a:cubicBezTo>
                  <a:cubicBezTo>
                    <a:pt x="6564" y="72751"/>
                    <a:pt x="25836" y="88649"/>
                    <a:pt x="48004" y="88649"/>
                  </a:cubicBezTo>
                  <a:cubicBezTo>
                    <a:pt x="50160" y="88649"/>
                    <a:pt x="52345" y="88498"/>
                    <a:pt x="54544" y="88188"/>
                  </a:cubicBezTo>
                  <a:cubicBezTo>
                    <a:pt x="79332" y="84675"/>
                    <a:pt x="96649" y="62194"/>
                    <a:pt x="93225" y="37975"/>
                  </a:cubicBezTo>
                  <a:cubicBezTo>
                    <a:pt x="90105" y="15895"/>
                    <a:pt x="70848" y="0"/>
                    <a:pt x="4869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20" name="Google Shape;3820;p66"/>
            <p:cNvGrpSpPr/>
            <p:nvPr/>
          </p:nvGrpSpPr>
          <p:grpSpPr>
            <a:xfrm>
              <a:off x="6036094" y="3716980"/>
              <a:ext cx="529860" cy="510468"/>
              <a:chOff x="6036094" y="3716980"/>
              <a:chExt cx="529860" cy="510468"/>
            </a:xfrm>
          </p:grpSpPr>
          <p:sp>
            <p:nvSpPr>
              <p:cNvPr id="3821" name="Google Shape;3821;p66"/>
              <p:cNvSpPr/>
              <p:nvPr/>
            </p:nvSpPr>
            <p:spPr>
              <a:xfrm>
                <a:off x="6220140" y="3716980"/>
                <a:ext cx="80065" cy="64273"/>
              </a:xfrm>
              <a:custGeom>
                <a:avLst/>
                <a:gdLst/>
                <a:ahLst/>
                <a:cxnLst/>
                <a:rect l="l" t="t" r="r" b="b"/>
                <a:pathLst>
                  <a:path w="13876" h="11144" extrusionOk="0">
                    <a:moveTo>
                      <a:pt x="11055" y="0"/>
                    </a:moveTo>
                    <a:cubicBezTo>
                      <a:pt x="9600" y="71"/>
                      <a:pt x="8127" y="213"/>
                      <a:pt x="6654" y="426"/>
                    </a:cubicBezTo>
                    <a:cubicBezTo>
                      <a:pt x="4401" y="746"/>
                      <a:pt x="2165" y="1225"/>
                      <a:pt x="1" y="1863"/>
                    </a:cubicBezTo>
                    <a:lnTo>
                      <a:pt x="54" y="2307"/>
                    </a:lnTo>
                    <a:lnTo>
                      <a:pt x="2165" y="2396"/>
                    </a:lnTo>
                    <a:lnTo>
                      <a:pt x="1739" y="4117"/>
                    </a:lnTo>
                    <a:lnTo>
                      <a:pt x="3194" y="4401"/>
                    </a:lnTo>
                    <a:lnTo>
                      <a:pt x="1828" y="5146"/>
                    </a:lnTo>
                    <a:cubicBezTo>
                      <a:pt x="2893" y="6015"/>
                      <a:pt x="1207" y="7417"/>
                      <a:pt x="2538" y="8393"/>
                    </a:cubicBezTo>
                    <a:cubicBezTo>
                      <a:pt x="3088" y="8783"/>
                      <a:pt x="3088" y="9937"/>
                      <a:pt x="3301" y="10611"/>
                    </a:cubicBezTo>
                    <a:lnTo>
                      <a:pt x="6335" y="11143"/>
                    </a:lnTo>
                    <a:cubicBezTo>
                      <a:pt x="6583" y="10611"/>
                      <a:pt x="6832" y="10061"/>
                      <a:pt x="7098" y="9493"/>
                    </a:cubicBezTo>
                    <a:cubicBezTo>
                      <a:pt x="7670" y="8245"/>
                      <a:pt x="7649" y="6456"/>
                      <a:pt x="9632" y="6456"/>
                    </a:cubicBezTo>
                    <a:cubicBezTo>
                      <a:pt x="9679" y="6456"/>
                      <a:pt x="9728" y="6457"/>
                      <a:pt x="9777" y="6459"/>
                    </a:cubicBezTo>
                    <a:cubicBezTo>
                      <a:pt x="10380" y="5217"/>
                      <a:pt x="11410" y="4791"/>
                      <a:pt x="12723" y="4685"/>
                    </a:cubicBezTo>
                    <a:cubicBezTo>
                      <a:pt x="13113" y="4649"/>
                      <a:pt x="13450" y="3939"/>
                      <a:pt x="13876" y="3443"/>
                    </a:cubicBezTo>
                    <a:cubicBezTo>
                      <a:pt x="13166" y="2378"/>
                      <a:pt x="12687" y="1012"/>
                      <a:pt x="11729" y="391"/>
                    </a:cubicBezTo>
                    <a:cubicBezTo>
                      <a:pt x="11516" y="249"/>
                      <a:pt x="11285" y="125"/>
                      <a:pt x="1105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2" name="Google Shape;3822;p66"/>
              <p:cNvSpPr/>
              <p:nvPr/>
            </p:nvSpPr>
            <p:spPr>
              <a:xfrm>
                <a:off x="6368562" y="3771936"/>
                <a:ext cx="39115" cy="36745"/>
              </a:xfrm>
              <a:custGeom>
                <a:avLst/>
                <a:gdLst/>
                <a:ahLst/>
                <a:cxnLst/>
                <a:rect l="l" t="t" r="r" b="b"/>
                <a:pathLst>
                  <a:path w="6779" h="6371" extrusionOk="0">
                    <a:moveTo>
                      <a:pt x="870" y="1"/>
                    </a:moveTo>
                    <a:lnTo>
                      <a:pt x="1" y="1154"/>
                    </a:lnTo>
                    <a:lnTo>
                      <a:pt x="1509" y="2698"/>
                    </a:lnTo>
                    <a:lnTo>
                      <a:pt x="2272" y="3283"/>
                    </a:lnTo>
                    <a:cubicBezTo>
                      <a:pt x="3567" y="3922"/>
                      <a:pt x="3301" y="5625"/>
                      <a:pt x="4436" y="6370"/>
                    </a:cubicBezTo>
                    <a:cubicBezTo>
                      <a:pt x="4880" y="5341"/>
                      <a:pt x="5838" y="5554"/>
                      <a:pt x="6654" y="5377"/>
                    </a:cubicBezTo>
                    <a:cubicBezTo>
                      <a:pt x="6778" y="4117"/>
                      <a:pt x="5732" y="3549"/>
                      <a:pt x="4933" y="3265"/>
                    </a:cubicBezTo>
                    <a:cubicBezTo>
                      <a:pt x="3762" y="2875"/>
                      <a:pt x="2928" y="2360"/>
                      <a:pt x="2325" y="1278"/>
                    </a:cubicBezTo>
                    <a:cubicBezTo>
                      <a:pt x="2023" y="746"/>
                      <a:pt x="1367" y="426"/>
                      <a:pt x="87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3" name="Google Shape;3823;p66"/>
              <p:cNvSpPr/>
              <p:nvPr/>
            </p:nvSpPr>
            <p:spPr>
              <a:xfrm>
                <a:off x="6304793" y="3747169"/>
                <a:ext cx="25088" cy="13311"/>
              </a:xfrm>
              <a:custGeom>
                <a:avLst/>
                <a:gdLst/>
                <a:ahLst/>
                <a:cxnLst/>
                <a:rect l="l" t="t" r="r" b="b"/>
                <a:pathLst>
                  <a:path w="4348" h="2308" extrusionOk="0">
                    <a:moveTo>
                      <a:pt x="3957" y="1"/>
                    </a:moveTo>
                    <a:cubicBezTo>
                      <a:pt x="2680" y="355"/>
                      <a:pt x="1296" y="143"/>
                      <a:pt x="0" y="906"/>
                    </a:cubicBezTo>
                    <a:cubicBezTo>
                      <a:pt x="728" y="1651"/>
                      <a:pt x="728" y="1615"/>
                      <a:pt x="1544" y="1757"/>
                    </a:cubicBezTo>
                    <a:cubicBezTo>
                      <a:pt x="2147" y="1917"/>
                      <a:pt x="2733" y="2094"/>
                      <a:pt x="3318" y="2307"/>
                    </a:cubicBezTo>
                    <a:lnTo>
                      <a:pt x="4348" y="639"/>
                    </a:lnTo>
                    <a:lnTo>
                      <a:pt x="3957"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4" name="Google Shape;3824;p66"/>
              <p:cNvSpPr/>
              <p:nvPr/>
            </p:nvSpPr>
            <p:spPr>
              <a:xfrm>
                <a:off x="6365182" y="3787492"/>
                <a:ext cx="18025" cy="16582"/>
              </a:xfrm>
              <a:custGeom>
                <a:avLst/>
                <a:gdLst/>
                <a:ahLst/>
                <a:cxnLst/>
                <a:rect l="l" t="t" r="r" b="b"/>
                <a:pathLst>
                  <a:path w="3124" h="2875" extrusionOk="0">
                    <a:moveTo>
                      <a:pt x="2095" y="1"/>
                    </a:moveTo>
                    <a:lnTo>
                      <a:pt x="1" y="1030"/>
                    </a:lnTo>
                    <a:cubicBezTo>
                      <a:pt x="498" y="1455"/>
                      <a:pt x="782" y="1615"/>
                      <a:pt x="941" y="1864"/>
                    </a:cubicBezTo>
                    <a:cubicBezTo>
                      <a:pt x="1119" y="2112"/>
                      <a:pt x="1154" y="2449"/>
                      <a:pt x="1279" y="2875"/>
                    </a:cubicBezTo>
                    <a:lnTo>
                      <a:pt x="3124" y="2467"/>
                    </a:lnTo>
                    <a:lnTo>
                      <a:pt x="2858" y="586"/>
                    </a:lnTo>
                    <a:lnTo>
                      <a:pt x="2095"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5" name="Google Shape;3825;p66"/>
              <p:cNvSpPr/>
              <p:nvPr/>
            </p:nvSpPr>
            <p:spPr>
              <a:xfrm>
                <a:off x="6367131" y="3727108"/>
                <a:ext cx="198823" cy="438001"/>
              </a:xfrm>
              <a:custGeom>
                <a:avLst/>
                <a:gdLst/>
                <a:ahLst/>
                <a:cxnLst/>
                <a:rect l="l" t="t" r="r" b="b"/>
                <a:pathLst>
                  <a:path w="34458" h="75943" extrusionOk="0">
                    <a:moveTo>
                      <a:pt x="8836" y="6211"/>
                    </a:moveTo>
                    <a:cubicBezTo>
                      <a:pt x="10061" y="6371"/>
                      <a:pt x="10061" y="6371"/>
                      <a:pt x="12438" y="9352"/>
                    </a:cubicBezTo>
                    <a:lnTo>
                      <a:pt x="10930" y="10416"/>
                    </a:lnTo>
                    <a:cubicBezTo>
                      <a:pt x="10646" y="10044"/>
                      <a:pt x="9244" y="10079"/>
                      <a:pt x="10309" y="8997"/>
                    </a:cubicBezTo>
                    <a:lnTo>
                      <a:pt x="8836" y="6211"/>
                    </a:lnTo>
                    <a:close/>
                    <a:moveTo>
                      <a:pt x="13237" y="17585"/>
                    </a:moveTo>
                    <a:cubicBezTo>
                      <a:pt x="14213" y="18330"/>
                      <a:pt x="14976" y="19235"/>
                      <a:pt x="15951" y="19572"/>
                    </a:cubicBezTo>
                    <a:cubicBezTo>
                      <a:pt x="17034" y="19945"/>
                      <a:pt x="17548" y="20761"/>
                      <a:pt x="18294" y="21506"/>
                    </a:cubicBezTo>
                    <a:lnTo>
                      <a:pt x="16892" y="22216"/>
                    </a:lnTo>
                    <a:lnTo>
                      <a:pt x="19092" y="23440"/>
                    </a:lnTo>
                    <a:lnTo>
                      <a:pt x="18826" y="19359"/>
                    </a:lnTo>
                    <a:lnTo>
                      <a:pt x="18826" y="19359"/>
                    </a:lnTo>
                    <a:cubicBezTo>
                      <a:pt x="19500" y="20264"/>
                      <a:pt x="19890" y="20867"/>
                      <a:pt x="20352" y="21382"/>
                    </a:cubicBezTo>
                    <a:cubicBezTo>
                      <a:pt x="20813" y="21914"/>
                      <a:pt x="21328" y="22340"/>
                      <a:pt x="22091" y="23050"/>
                    </a:cubicBezTo>
                    <a:lnTo>
                      <a:pt x="22587" y="21346"/>
                    </a:lnTo>
                    <a:lnTo>
                      <a:pt x="25267" y="23742"/>
                    </a:lnTo>
                    <a:lnTo>
                      <a:pt x="26402" y="22713"/>
                    </a:lnTo>
                    <a:lnTo>
                      <a:pt x="27999" y="26261"/>
                    </a:lnTo>
                    <a:cubicBezTo>
                      <a:pt x="27384" y="26597"/>
                      <a:pt x="26823" y="26720"/>
                      <a:pt x="26292" y="26720"/>
                    </a:cubicBezTo>
                    <a:cubicBezTo>
                      <a:pt x="24969" y="26720"/>
                      <a:pt x="23833" y="25957"/>
                      <a:pt x="22516" y="25818"/>
                    </a:cubicBezTo>
                    <a:cubicBezTo>
                      <a:pt x="22516" y="26527"/>
                      <a:pt x="22499" y="27131"/>
                      <a:pt x="22499" y="27787"/>
                    </a:cubicBezTo>
                    <a:cubicBezTo>
                      <a:pt x="22392" y="27787"/>
                      <a:pt x="22270" y="27819"/>
                      <a:pt x="22169" y="27819"/>
                    </a:cubicBezTo>
                    <a:cubicBezTo>
                      <a:pt x="22118" y="27819"/>
                      <a:pt x="22073" y="27811"/>
                      <a:pt x="22037" y="27787"/>
                    </a:cubicBezTo>
                    <a:cubicBezTo>
                      <a:pt x="21133" y="27288"/>
                      <a:pt x="20502" y="26308"/>
                      <a:pt x="19338" y="26308"/>
                    </a:cubicBezTo>
                    <a:cubicBezTo>
                      <a:pt x="19178" y="26308"/>
                      <a:pt x="19008" y="26327"/>
                      <a:pt x="18826" y="26368"/>
                    </a:cubicBezTo>
                    <a:cubicBezTo>
                      <a:pt x="18808" y="26372"/>
                      <a:pt x="18788" y="26375"/>
                      <a:pt x="18768" y="26375"/>
                    </a:cubicBezTo>
                    <a:cubicBezTo>
                      <a:pt x="18417" y="26375"/>
                      <a:pt x="17797" y="25667"/>
                      <a:pt x="17495" y="25197"/>
                    </a:cubicBezTo>
                    <a:cubicBezTo>
                      <a:pt x="16998" y="24416"/>
                      <a:pt x="16661" y="23529"/>
                      <a:pt x="16360" y="22925"/>
                    </a:cubicBezTo>
                    <a:cubicBezTo>
                      <a:pt x="16129" y="22764"/>
                      <a:pt x="15928" y="22701"/>
                      <a:pt x="15748" y="22701"/>
                    </a:cubicBezTo>
                    <a:cubicBezTo>
                      <a:pt x="15114" y="22701"/>
                      <a:pt x="14724" y="23479"/>
                      <a:pt x="14110" y="23479"/>
                    </a:cubicBezTo>
                    <a:cubicBezTo>
                      <a:pt x="13959" y="23479"/>
                      <a:pt x="13794" y="23432"/>
                      <a:pt x="13609" y="23316"/>
                    </a:cubicBezTo>
                    <a:cubicBezTo>
                      <a:pt x="13398" y="23182"/>
                      <a:pt x="13213" y="23127"/>
                      <a:pt x="13048" y="23127"/>
                    </a:cubicBezTo>
                    <a:cubicBezTo>
                      <a:pt x="12310" y="23127"/>
                      <a:pt x="11952" y="24236"/>
                      <a:pt x="11285" y="24540"/>
                    </a:cubicBezTo>
                    <a:cubicBezTo>
                      <a:pt x="10309" y="24984"/>
                      <a:pt x="9475" y="24913"/>
                      <a:pt x="8357" y="25126"/>
                    </a:cubicBezTo>
                    <a:cubicBezTo>
                      <a:pt x="8712" y="23440"/>
                      <a:pt x="10007" y="23263"/>
                      <a:pt x="10877" y="22588"/>
                    </a:cubicBezTo>
                    <a:cubicBezTo>
                      <a:pt x="9333" y="21453"/>
                      <a:pt x="11161" y="20583"/>
                      <a:pt x="11107" y="19732"/>
                    </a:cubicBezTo>
                    <a:cubicBezTo>
                      <a:pt x="10966" y="17815"/>
                      <a:pt x="13183" y="19075"/>
                      <a:pt x="13237" y="17585"/>
                    </a:cubicBezTo>
                    <a:close/>
                    <a:moveTo>
                      <a:pt x="444" y="1"/>
                    </a:moveTo>
                    <a:lnTo>
                      <a:pt x="444" y="1"/>
                    </a:lnTo>
                    <a:cubicBezTo>
                      <a:pt x="373" y="746"/>
                      <a:pt x="0" y="1438"/>
                      <a:pt x="1278" y="1758"/>
                    </a:cubicBezTo>
                    <a:cubicBezTo>
                      <a:pt x="2147" y="1953"/>
                      <a:pt x="2662" y="2929"/>
                      <a:pt x="2857" y="3869"/>
                    </a:cubicBezTo>
                    <a:cubicBezTo>
                      <a:pt x="3034" y="4756"/>
                      <a:pt x="3123" y="5643"/>
                      <a:pt x="3247" y="6530"/>
                    </a:cubicBezTo>
                    <a:lnTo>
                      <a:pt x="3549" y="6140"/>
                    </a:lnTo>
                    <a:lnTo>
                      <a:pt x="5412" y="8145"/>
                    </a:lnTo>
                    <a:lnTo>
                      <a:pt x="6654" y="6903"/>
                    </a:lnTo>
                    <a:lnTo>
                      <a:pt x="8393" y="10505"/>
                    </a:lnTo>
                    <a:lnTo>
                      <a:pt x="6654" y="14426"/>
                    </a:lnTo>
                    <a:lnTo>
                      <a:pt x="5944" y="14036"/>
                    </a:lnTo>
                    <a:cubicBezTo>
                      <a:pt x="5678" y="14338"/>
                      <a:pt x="5447" y="14657"/>
                      <a:pt x="5252" y="14976"/>
                    </a:cubicBezTo>
                    <a:cubicBezTo>
                      <a:pt x="5163" y="15154"/>
                      <a:pt x="5217" y="15402"/>
                      <a:pt x="5199" y="15615"/>
                    </a:cubicBezTo>
                    <a:cubicBezTo>
                      <a:pt x="7346" y="16591"/>
                      <a:pt x="7701" y="17017"/>
                      <a:pt x="8162" y="19004"/>
                    </a:cubicBezTo>
                    <a:lnTo>
                      <a:pt x="4471" y="18827"/>
                    </a:lnTo>
                    <a:lnTo>
                      <a:pt x="4471" y="18827"/>
                    </a:lnTo>
                    <a:cubicBezTo>
                      <a:pt x="4755" y="21754"/>
                      <a:pt x="5057" y="22606"/>
                      <a:pt x="6193" y="24114"/>
                    </a:cubicBezTo>
                    <a:lnTo>
                      <a:pt x="7754" y="24061"/>
                    </a:lnTo>
                    <a:lnTo>
                      <a:pt x="7754" y="24061"/>
                    </a:lnTo>
                    <a:cubicBezTo>
                      <a:pt x="8073" y="25480"/>
                      <a:pt x="7914" y="26740"/>
                      <a:pt x="6920" y="27379"/>
                    </a:cubicBezTo>
                    <a:cubicBezTo>
                      <a:pt x="5518" y="28319"/>
                      <a:pt x="7026" y="29703"/>
                      <a:pt x="5962" y="30857"/>
                    </a:cubicBezTo>
                    <a:cubicBezTo>
                      <a:pt x="4241" y="32720"/>
                      <a:pt x="3850" y="35399"/>
                      <a:pt x="2644" y="37812"/>
                    </a:cubicBezTo>
                    <a:lnTo>
                      <a:pt x="4471" y="38380"/>
                    </a:lnTo>
                    <a:cubicBezTo>
                      <a:pt x="4400" y="39161"/>
                      <a:pt x="4436" y="40012"/>
                      <a:pt x="4259" y="40829"/>
                    </a:cubicBezTo>
                    <a:cubicBezTo>
                      <a:pt x="3939" y="42319"/>
                      <a:pt x="4329" y="43579"/>
                      <a:pt x="5252" y="44732"/>
                    </a:cubicBezTo>
                    <a:cubicBezTo>
                      <a:pt x="5838" y="45460"/>
                      <a:pt x="6370" y="46240"/>
                      <a:pt x="7026" y="46932"/>
                    </a:cubicBezTo>
                    <a:cubicBezTo>
                      <a:pt x="7789" y="47731"/>
                      <a:pt x="9209" y="47678"/>
                      <a:pt x="9670" y="48920"/>
                    </a:cubicBezTo>
                    <a:cubicBezTo>
                      <a:pt x="9723" y="49026"/>
                      <a:pt x="9812" y="49097"/>
                      <a:pt x="9919" y="49132"/>
                    </a:cubicBezTo>
                    <a:cubicBezTo>
                      <a:pt x="10191" y="49213"/>
                      <a:pt x="10478" y="49350"/>
                      <a:pt x="10740" y="49350"/>
                    </a:cubicBezTo>
                    <a:cubicBezTo>
                      <a:pt x="10768" y="49350"/>
                      <a:pt x="10796" y="49349"/>
                      <a:pt x="10824" y="49345"/>
                    </a:cubicBezTo>
                    <a:cubicBezTo>
                      <a:pt x="11569" y="49257"/>
                      <a:pt x="12279" y="49257"/>
                      <a:pt x="12917" y="48547"/>
                    </a:cubicBezTo>
                    <a:cubicBezTo>
                      <a:pt x="12958" y="48500"/>
                      <a:pt x="13033" y="48481"/>
                      <a:pt x="13131" y="48481"/>
                    </a:cubicBezTo>
                    <a:cubicBezTo>
                      <a:pt x="13526" y="48481"/>
                      <a:pt x="14291" y="48790"/>
                      <a:pt x="14670" y="48790"/>
                    </a:cubicBezTo>
                    <a:cubicBezTo>
                      <a:pt x="14764" y="48790"/>
                      <a:pt x="14834" y="48771"/>
                      <a:pt x="14869" y="48724"/>
                    </a:cubicBezTo>
                    <a:cubicBezTo>
                      <a:pt x="15721" y="47642"/>
                      <a:pt x="16892" y="47944"/>
                      <a:pt x="17921" y="47695"/>
                    </a:cubicBezTo>
                    <a:cubicBezTo>
                      <a:pt x="17948" y="47687"/>
                      <a:pt x="17976" y="47684"/>
                      <a:pt x="18005" y="47684"/>
                    </a:cubicBezTo>
                    <a:cubicBezTo>
                      <a:pt x="18165" y="47684"/>
                      <a:pt x="18357" y="47795"/>
                      <a:pt x="18613" y="47855"/>
                    </a:cubicBezTo>
                    <a:cubicBezTo>
                      <a:pt x="18550" y="48716"/>
                      <a:pt x="18847" y="48890"/>
                      <a:pt x="19260" y="48890"/>
                    </a:cubicBezTo>
                    <a:cubicBezTo>
                      <a:pt x="19540" y="48890"/>
                      <a:pt x="19874" y="48810"/>
                      <a:pt x="20185" y="48810"/>
                    </a:cubicBezTo>
                    <a:cubicBezTo>
                      <a:pt x="20457" y="48810"/>
                      <a:pt x="20713" y="48871"/>
                      <a:pt x="20902" y="49097"/>
                    </a:cubicBezTo>
                    <a:cubicBezTo>
                      <a:pt x="20831" y="49558"/>
                      <a:pt x="20902" y="50233"/>
                      <a:pt x="20636" y="50765"/>
                    </a:cubicBezTo>
                    <a:cubicBezTo>
                      <a:pt x="20228" y="51546"/>
                      <a:pt x="21150" y="52592"/>
                      <a:pt x="20068" y="53178"/>
                    </a:cubicBezTo>
                    <a:cubicBezTo>
                      <a:pt x="21771" y="55112"/>
                      <a:pt x="20955" y="57649"/>
                      <a:pt x="21594" y="59424"/>
                    </a:cubicBezTo>
                    <a:cubicBezTo>
                      <a:pt x="20742" y="61713"/>
                      <a:pt x="19589" y="63327"/>
                      <a:pt x="19624" y="65776"/>
                    </a:cubicBezTo>
                    <a:cubicBezTo>
                      <a:pt x="19678" y="68597"/>
                      <a:pt x="18453" y="71436"/>
                      <a:pt x="17406" y="74168"/>
                    </a:cubicBezTo>
                    <a:cubicBezTo>
                      <a:pt x="17247" y="74577"/>
                      <a:pt x="17158" y="75002"/>
                      <a:pt x="16910" y="75943"/>
                    </a:cubicBezTo>
                    <a:cubicBezTo>
                      <a:pt x="28177" y="66379"/>
                      <a:pt x="34458" y="51617"/>
                      <a:pt x="32258" y="36144"/>
                    </a:cubicBezTo>
                    <a:cubicBezTo>
                      <a:pt x="29756" y="18472"/>
                      <a:pt x="16874" y="4756"/>
                      <a:pt x="44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6" name="Google Shape;3826;p66"/>
              <p:cNvSpPr/>
              <p:nvPr/>
            </p:nvSpPr>
            <p:spPr>
              <a:xfrm>
                <a:off x="6036094" y="3734681"/>
                <a:ext cx="181628" cy="303024"/>
              </a:xfrm>
              <a:custGeom>
                <a:avLst/>
                <a:gdLst/>
                <a:ahLst/>
                <a:cxnLst/>
                <a:rect l="l" t="t" r="r" b="b"/>
                <a:pathLst>
                  <a:path w="31478" h="52540" extrusionOk="0">
                    <a:moveTo>
                      <a:pt x="28337" y="1"/>
                    </a:moveTo>
                    <a:cubicBezTo>
                      <a:pt x="13326" y="5785"/>
                      <a:pt x="2556" y="18986"/>
                      <a:pt x="1" y="34405"/>
                    </a:cubicBezTo>
                    <a:cubicBezTo>
                      <a:pt x="516" y="36961"/>
                      <a:pt x="764" y="39569"/>
                      <a:pt x="1154" y="42159"/>
                    </a:cubicBezTo>
                    <a:cubicBezTo>
                      <a:pt x="1172" y="42266"/>
                      <a:pt x="1438" y="42355"/>
                      <a:pt x="1687" y="42496"/>
                    </a:cubicBezTo>
                    <a:cubicBezTo>
                      <a:pt x="1687" y="41574"/>
                      <a:pt x="1704" y="40704"/>
                      <a:pt x="1704" y="39835"/>
                    </a:cubicBezTo>
                    <a:lnTo>
                      <a:pt x="2112" y="39817"/>
                    </a:lnTo>
                    <a:lnTo>
                      <a:pt x="3905" y="45513"/>
                    </a:lnTo>
                    <a:cubicBezTo>
                      <a:pt x="4490" y="45956"/>
                      <a:pt x="5289" y="46595"/>
                      <a:pt x="6122" y="47145"/>
                    </a:cubicBezTo>
                    <a:cubicBezTo>
                      <a:pt x="6548" y="47465"/>
                      <a:pt x="7045" y="47678"/>
                      <a:pt x="7560" y="47784"/>
                    </a:cubicBezTo>
                    <a:cubicBezTo>
                      <a:pt x="9813" y="48068"/>
                      <a:pt x="12492" y="48884"/>
                      <a:pt x="13557" y="50481"/>
                    </a:cubicBezTo>
                    <a:cubicBezTo>
                      <a:pt x="14515" y="51971"/>
                      <a:pt x="15810" y="52202"/>
                      <a:pt x="16751" y="52539"/>
                    </a:cubicBezTo>
                    <a:lnTo>
                      <a:pt x="18827" y="51652"/>
                    </a:lnTo>
                    <a:cubicBezTo>
                      <a:pt x="18720" y="51475"/>
                      <a:pt x="18632" y="51155"/>
                      <a:pt x="18525" y="51138"/>
                    </a:cubicBezTo>
                    <a:cubicBezTo>
                      <a:pt x="15367" y="50960"/>
                      <a:pt x="15367" y="50978"/>
                      <a:pt x="14905" y="48015"/>
                    </a:cubicBezTo>
                    <a:cubicBezTo>
                      <a:pt x="14870" y="47695"/>
                      <a:pt x="14799" y="47376"/>
                      <a:pt x="14675" y="46755"/>
                    </a:cubicBezTo>
                    <a:lnTo>
                      <a:pt x="11818" y="46152"/>
                    </a:lnTo>
                    <a:lnTo>
                      <a:pt x="12031" y="42461"/>
                    </a:lnTo>
                    <a:cubicBezTo>
                      <a:pt x="12009" y="42460"/>
                      <a:pt x="11988" y="42460"/>
                      <a:pt x="11967" y="42460"/>
                    </a:cubicBezTo>
                    <a:cubicBezTo>
                      <a:pt x="9761" y="42460"/>
                      <a:pt x="10756" y="45214"/>
                      <a:pt x="9157" y="45531"/>
                    </a:cubicBezTo>
                    <a:cubicBezTo>
                      <a:pt x="7577" y="44537"/>
                      <a:pt x="7577" y="44537"/>
                      <a:pt x="6832" y="39036"/>
                    </a:cubicBezTo>
                    <a:cubicBezTo>
                      <a:pt x="7471" y="36162"/>
                      <a:pt x="10807" y="37120"/>
                      <a:pt x="11570" y="34867"/>
                    </a:cubicBezTo>
                    <a:lnTo>
                      <a:pt x="13876" y="35683"/>
                    </a:lnTo>
                    <a:cubicBezTo>
                      <a:pt x="13930" y="37014"/>
                      <a:pt x="14213" y="38274"/>
                      <a:pt x="15651" y="39090"/>
                    </a:cubicBezTo>
                    <a:lnTo>
                      <a:pt x="14870" y="33554"/>
                    </a:lnTo>
                    <a:cubicBezTo>
                      <a:pt x="15012" y="33305"/>
                      <a:pt x="15189" y="33092"/>
                      <a:pt x="15367" y="32880"/>
                    </a:cubicBezTo>
                    <a:cubicBezTo>
                      <a:pt x="16733" y="31584"/>
                      <a:pt x="18720" y="30662"/>
                      <a:pt x="18277" y="28231"/>
                    </a:cubicBezTo>
                    <a:cubicBezTo>
                      <a:pt x="19217" y="27148"/>
                      <a:pt x="19501" y="25569"/>
                      <a:pt x="20903" y="24824"/>
                    </a:cubicBezTo>
                    <a:cubicBezTo>
                      <a:pt x="21169" y="24664"/>
                      <a:pt x="21701" y="24540"/>
                      <a:pt x="21701" y="24416"/>
                    </a:cubicBezTo>
                    <a:cubicBezTo>
                      <a:pt x="21701" y="22606"/>
                      <a:pt x="23298" y="22375"/>
                      <a:pt x="24345" y="21453"/>
                    </a:cubicBezTo>
                    <a:cubicBezTo>
                      <a:pt x="24698" y="21969"/>
                      <a:pt x="25002" y="22149"/>
                      <a:pt x="25280" y="22149"/>
                    </a:cubicBezTo>
                    <a:cubicBezTo>
                      <a:pt x="25925" y="22149"/>
                      <a:pt x="26432" y="21185"/>
                      <a:pt x="27082" y="21185"/>
                    </a:cubicBezTo>
                    <a:cubicBezTo>
                      <a:pt x="27098" y="21185"/>
                      <a:pt x="27114" y="21185"/>
                      <a:pt x="27131" y="21187"/>
                    </a:cubicBezTo>
                    <a:cubicBezTo>
                      <a:pt x="27184" y="21187"/>
                      <a:pt x="27237" y="20867"/>
                      <a:pt x="27255" y="20832"/>
                    </a:cubicBezTo>
                    <a:lnTo>
                      <a:pt x="25250" y="19909"/>
                    </a:lnTo>
                    <a:lnTo>
                      <a:pt x="25835" y="18348"/>
                    </a:lnTo>
                    <a:lnTo>
                      <a:pt x="24274" y="17851"/>
                    </a:lnTo>
                    <a:cubicBezTo>
                      <a:pt x="25161" y="17514"/>
                      <a:pt x="26048" y="17727"/>
                      <a:pt x="26829" y="17531"/>
                    </a:cubicBezTo>
                    <a:cubicBezTo>
                      <a:pt x="27610" y="17336"/>
                      <a:pt x="28266" y="16751"/>
                      <a:pt x="28976" y="16325"/>
                    </a:cubicBezTo>
                    <a:cubicBezTo>
                      <a:pt x="29774" y="15846"/>
                      <a:pt x="30573" y="15349"/>
                      <a:pt x="31478" y="14781"/>
                    </a:cubicBezTo>
                    <a:cubicBezTo>
                      <a:pt x="30466" y="12723"/>
                      <a:pt x="27769" y="12049"/>
                      <a:pt x="27698" y="9565"/>
                    </a:cubicBezTo>
                    <a:lnTo>
                      <a:pt x="25143" y="11836"/>
                    </a:lnTo>
                    <a:cubicBezTo>
                      <a:pt x="25764" y="8571"/>
                      <a:pt x="23600" y="8908"/>
                      <a:pt x="22269" y="8465"/>
                    </a:cubicBezTo>
                    <a:cubicBezTo>
                      <a:pt x="21932" y="8855"/>
                      <a:pt x="21559" y="9032"/>
                      <a:pt x="21027" y="9316"/>
                    </a:cubicBezTo>
                    <a:lnTo>
                      <a:pt x="21825" y="10132"/>
                    </a:lnTo>
                    <a:lnTo>
                      <a:pt x="20353" y="11197"/>
                    </a:lnTo>
                    <a:cubicBezTo>
                      <a:pt x="21772" y="12244"/>
                      <a:pt x="20956" y="13628"/>
                      <a:pt x="20690" y="13734"/>
                    </a:cubicBezTo>
                    <a:cubicBezTo>
                      <a:pt x="18756" y="14444"/>
                      <a:pt x="19217" y="16396"/>
                      <a:pt x="18401" y="17620"/>
                    </a:cubicBezTo>
                    <a:lnTo>
                      <a:pt x="17460" y="16910"/>
                    </a:lnTo>
                    <a:cubicBezTo>
                      <a:pt x="17052" y="16502"/>
                      <a:pt x="17886" y="16360"/>
                      <a:pt x="17851" y="16023"/>
                    </a:cubicBezTo>
                    <a:cubicBezTo>
                      <a:pt x="17833" y="15580"/>
                      <a:pt x="17744" y="15136"/>
                      <a:pt x="17673" y="14639"/>
                    </a:cubicBezTo>
                    <a:lnTo>
                      <a:pt x="14781" y="13805"/>
                    </a:lnTo>
                    <a:cubicBezTo>
                      <a:pt x="14391" y="10558"/>
                      <a:pt x="17727" y="10026"/>
                      <a:pt x="19075" y="8056"/>
                    </a:cubicBezTo>
                    <a:cubicBezTo>
                      <a:pt x="19476" y="8451"/>
                      <a:pt x="19895" y="8555"/>
                      <a:pt x="20323" y="8555"/>
                    </a:cubicBezTo>
                    <a:cubicBezTo>
                      <a:pt x="20808" y="8555"/>
                      <a:pt x="21305" y="8420"/>
                      <a:pt x="21802" y="8420"/>
                    </a:cubicBezTo>
                    <a:cubicBezTo>
                      <a:pt x="21952" y="8420"/>
                      <a:pt x="22102" y="8433"/>
                      <a:pt x="22251" y="8465"/>
                    </a:cubicBezTo>
                    <a:cubicBezTo>
                      <a:pt x="22127" y="7702"/>
                      <a:pt x="22056" y="7152"/>
                      <a:pt x="21967" y="6495"/>
                    </a:cubicBezTo>
                    <a:cubicBezTo>
                      <a:pt x="23198" y="6481"/>
                      <a:pt x="23566" y="4540"/>
                      <a:pt x="24952" y="4540"/>
                    </a:cubicBezTo>
                    <a:cubicBezTo>
                      <a:pt x="25264" y="4540"/>
                      <a:pt x="25629" y="4639"/>
                      <a:pt x="26066" y="4880"/>
                    </a:cubicBezTo>
                    <a:cubicBezTo>
                      <a:pt x="25374" y="5963"/>
                      <a:pt x="24274" y="6335"/>
                      <a:pt x="23458" y="7010"/>
                    </a:cubicBezTo>
                    <a:lnTo>
                      <a:pt x="26243" y="8376"/>
                    </a:lnTo>
                    <a:lnTo>
                      <a:pt x="28089" y="7205"/>
                    </a:lnTo>
                    <a:lnTo>
                      <a:pt x="28160" y="5324"/>
                    </a:lnTo>
                    <a:cubicBezTo>
                      <a:pt x="28332" y="5383"/>
                      <a:pt x="28506" y="5414"/>
                      <a:pt x="28690" y="5414"/>
                    </a:cubicBezTo>
                    <a:cubicBezTo>
                      <a:pt x="29226" y="5414"/>
                      <a:pt x="29853" y="5151"/>
                      <a:pt x="30804" y="4543"/>
                    </a:cubicBezTo>
                    <a:lnTo>
                      <a:pt x="29029" y="3621"/>
                    </a:lnTo>
                    <a:lnTo>
                      <a:pt x="29561" y="2733"/>
                    </a:lnTo>
                    <a:lnTo>
                      <a:pt x="28231" y="1722"/>
                    </a:lnTo>
                    <a:cubicBezTo>
                      <a:pt x="28355" y="1190"/>
                      <a:pt x="28692" y="586"/>
                      <a:pt x="28515" y="232"/>
                    </a:cubicBezTo>
                    <a:cubicBezTo>
                      <a:pt x="28479" y="161"/>
                      <a:pt x="28408" y="72"/>
                      <a:pt x="28337"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7" name="Google Shape;3827;p66"/>
              <p:cNvSpPr/>
              <p:nvPr/>
            </p:nvSpPr>
            <p:spPr>
              <a:xfrm>
                <a:off x="6143575" y="4010833"/>
                <a:ext cx="186233" cy="216616"/>
              </a:xfrm>
              <a:custGeom>
                <a:avLst/>
                <a:gdLst/>
                <a:ahLst/>
                <a:cxnLst/>
                <a:rect l="l" t="t" r="r" b="b"/>
                <a:pathLst>
                  <a:path w="32276" h="37558" extrusionOk="0">
                    <a:moveTo>
                      <a:pt x="3376" y="1"/>
                    </a:moveTo>
                    <a:cubicBezTo>
                      <a:pt x="3358" y="1"/>
                      <a:pt x="3345" y="4"/>
                      <a:pt x="3336" y="12"/>
                    </a:cubicBezTo>
                    <a:cubicBezTo>
                      <a:pt x="905" y="2621"/>
                      <a:pt x="905" y="2621"/>
                      <a:pt x="1243" y="6400"/>
                    </a:cubicBezTo>
                    <a:cubicBezTo>
                      <a:pt x="1260" y="6595"/>
                      <a:pt x="1118" y="6790"/>
                      <a:pt x="1065" y="7003"/>
                    </a:cubicBezTo>
                    <a:cubicBezTo>
                      <a:pt x="693" y="8405"/>
                      <a:pt x="338" y="9807"/>
                      <a:pt x="1" y="11155"/>
                    </a:cubicBezTo>
                    <a:lnTo>
                      <a:pt x="1118" y="14012"/>
                    </a:lnTo>
                    <a:cubicBezTo>
                      <a:pt x="2147" y="15148"/>
                      <a:pt x="3106" y="16283"/>
                      <a:pt x="4188" y="17330"/>
                    </a:cubicBezTo>
                    <a:cubicBezTo>
                      <a:pt x="5271" y="18413"/>
                      <a:pt x="5677" y="20424"/>
                      <a:pt x="7592" y="20424"/>
                    </a:cubicBezTo>
                    <a:cubicBezTo>
                      <a:pt x="7779" y="20424"/>
                      <a:pt x="7980" y="20405"/>
                      <a:pt x="8198" y="20364"/>
                    </a:cubicBezTo>
                    <a:cubicBezTo>
                      <a:pt x="9263" y="21234"/>
                      <a:pt x="10735" y="21553"/>
                      <a:pt x="11179" y="23221"/>
                    </a:cubicBezTo>
                    <a:cubicBezTo>
                      <a:pt x="11587" y="24711"/>
                      <a:pt x="12669" y="26024"/>
                      <a:pt x="13024" y="27515"/>
                    </a:cubicBezTo>
                    <a:cubicBezTo>
                      <a:pt x="13361" y="28863"/>
                      <a:pt x="14461" y="29662"/>
                      <a:pt x="14834" y="30780"/>
                    </a:cubicBezTo>
                    <a:cubicBezTo>
                      <a:pt x="15278" y="32128"/>
                      <a:pt x="15970" y="33246"/>
                      <a:pt x="16573" y="34470"/>
                    </a:cubicBezTo>
                    <a:cubicBezTo>
                      <a:pt x="17070" y="35428"/>
                      <a:pt x="18223" y="35038"/>
                      <a:pt x="18525" y="36191"/>
                    </a:cubicBezTo>
                    <a:cubicBezTo>
                      <a:pt x="18631" y="36564"/>
                      <a:pt x="18844" y="36901"/>
                      <a:pt x="19146" y="37185"/>
                    </a:cubicBezTo>
                    <a:cubicBezTo>
                      <a:pt x="20299" y="37345"/>
                      <a:pt x="21470" y="37469"/>
                      <a:pt x="22659" y="37558"/>
                    </a:cubicBezTo>
                    <a:cubicBezTo>
                      <a:pt x="22559" y="37158"/>
                      <a:pt x="22490" y="36790"/>
                      <a:pt x="21808" y="36790"/>
                    </a:cubicBezTo>
                    <a:cubicBezTo>
                      <a:pt x="21763" y="36790"/>
                      <a:pt x="21716" y="36791"/>
                      <a:pt x="21665" y="36795"/>
                    </a:cubicBezTo>
                    <a:cubicBezTo>
                      <a:pt x="21645" y="36796"/>
                      <a:pt x="21626" y="36796"/>
                      <a:pt x="21608" y="36796"/>
                    </a:cubicBezTo>
                    <a:cubicBezTo>
                      <a:pt x="20725" y="36796"/>
                      <a:pt x="22437" y="35547"/>
                      <a:pt x="21115" y="35251"/>
                    </a:cubicBezTo>
                    <a:cubicBezTo>
                      <a:pt x="20388" y="35073"/>
                      <a:pt x="22109" y="33707"/>
                      <a:pt x="20725" y="33246"/>
                    </a:cubicBezTo>
                    <a:lnTo>
                      <a:pt x="20920" y="32980"/>
                    </a:lnTo>
                    <a:lnTo>
                      <a:pt x="22783" y="32394"/>
                    </a:lnTo>
                    <a:lnTo>
                      <a:pt x="21860" y="30017"/>
                    </a:lnTo>
                    <a:lnTo>
                      <a:pt x="23191" y="29839"/>
                    </a:lnTo>
                    <a:cubicBezTo>
                      <a:pt x="23599" y="29041"/>
                      <a:pt x="24007" y="28313"/>
                      <a:pt x="24380" y="27550"/>
                    </a:cubicBezTo>
                    <a:cubicBezTo>
                      <a:pt x="24646" y="26982"/>
                      <a:pt x="25178" y="26308"/>
                      <a:pt x="25036" y="25829"/>
                    </a:cubicBezTo>
                    <a:cubicBezTo>
                      <a:pt x="24451" y="23718"/>
                      <a:pt x="26083" y="22972"/>
                      <a:pt x="27343" y="22529"/>
                    </a:cubicBezTo>
                    <a:cubicBezTo>
                      <a:pt x="28603" y="22068"/>
                      <a:pt x="29082" y="21482"/>
                      <a:pt x="29242" y="20311"/>
                    </a:cubicBezTo>
                    <a:cubicBezTo>
                      <a:pt x="29419" y="19069"/>
                      <a:pt x="29809" y="17862"/>
                      <a:pt x="29898" y="16620"/>
                    </a:cubicBezTo>
                    <a:cubicBezTo>
                      <a:pt x="29987" y="15467"/>
                      <a:pt x="30005" y="14438"/>
                      <a:pt x="31087" y="13675"/>
                    </a:cubicBezTo>
                    <a:cubicBezTo>
                      <a:pt x="31442" y="13444"/>
                      <a:pt x="31531" y="12788"/>
                      <a:pt x="31655" y="12309"/>
                    </a:cubicBezTo>
                    <a:cubicBezTo>
                      <a:pt x="32276" y="10144"/>
                      <a:pt x="31868" y="9612"/>
                      <a:pt x="29490" y="9133"/>
                    </a:cubicBezTo>
                    <a:cubicBezTo>
                      <a:pt x="29100" y="9062"/>
                      <a:pt x="28816" y="8494"/>
                      <a:pt x="28266" y="7926"/>
                    </a:cubicBezTo>
                    <a:lnTo>
                      <a:pt x="24895" y="8778"/>
                    </a:lnTo>
                    <a:cubicBezTo>
                      <a:pt x="24522" y="7678"/>
                      <a:pt x="23315" y="7678"/>
                      <a:pt x="22215" y="7465"/>
                    </a:cubicBezTo>
                    <a:lnTo>
                      <a:pt x="21647" y="8157"/>
                    </a:lnTo>
                    <a:lnTo>
                      <a:pt x="18063" y="3597"/>
                    </a:lnTo>
                    <a:cubicBezTo>
                      <a:pt x="16840" y="3528"/>
                      <a:pt x="15905" y="3374"/>
                      <a:pt x="15067" y="3374"/>
                    </a:cubicBezTo>
                    <a:cubicBezTo>
                      <a:pt x="14823" y="3374"/>
                      <a:pt x="14587" y="3387"/>
                      <a:pt x="14355" y="3419"/>
                    </a:cubicBezTo>
                    <a:cubicBezTo>
                      <a:pt x="14295" y="3427"/>
                      <a:pt x="14238" y="3430"/>
                      <a:pt x="14183" y="3430"/>
                    </a:cubicBezTo>
                    <a:cubicBezTo>
                      <a:pt x="13092" y="3430"/>
                      <a:pt x="13035" y="1981"/>
                      <a:pt x="11835" y="1964"/>
                    </a:cubicBezTo>
                    <a:cubicBezTo>
                      <a:pt x="11108" y="1964"/>
                      <a:pt x="9901" y="1467"/>
                      <a:pt x="9582" y="438"/>
                    </a:cubicBezTo>
                    <a:cubicBezTo>
                      <a:pt x="8677" y="793"/>
                      <a:pt x="7914" y="1361"/>
                      <a:pt x="7133" y="1361"/>
                    </a:cubicBezTo>
                    <a:cubicBezTo>
                      <a:pt x="7119" y="1361"/>
                      <a:pt x="7105" y="1361"/>
                      <a:pt x="7091" y="1361"/>
                    </a:cubicBezTo>
                    <a:cubicBezTo>
                      <a:pt x="6288" y="1361"/>
                      <a:pt x="5470" y="877"/>
                      <a:pt x="4703" y="616"/>
                    </a:cubicBezTo>
                    <a:lnTo>
                      <a:pt x="4170" y="1184"/>
                    </a:lnTo>
                    <a:lnTo>
                      <a:pt x="3585" y="48"/>
                    </a:lnTo>
                    <a:cubicBezTo>
                      <a:pt x="3517" y="34"/>
                      <a:pt x="3429" y="1"/>
                      <a:pt x="337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8" name="Google Shape;3828;p66"/>
              <p:cNvSpPr/>
              <p:nvPr/>
            </p:nvSpPr>
            <p:spPr>
              <a:xfrm>
                <a:off x="6110513" y="3969114"/>
                <a:ext cx="33997" cy="13957"/>
              </a:xfrm>
              <a:custGeom>
                <a:avLst/>
                <a:gdLst/>
                <a:ahLst/>
                <a:cxnLst/>
                <a:rect l="l" t="t" r="r" b="b"/>
                <a:pathLst>
                  <a:path w="5892" h="2420" extrusionOk="0">
                    <a:moveTo>
                      <a:pt x="2076" y="1"/>
                    </a:moveTo>
                    <a:cubicBezTo>
                      <a:pt x="1454" y="1"/>
                      <a:pt x="791" y="230"/>
                      <a:pt x="0" y="592"/>
                    </a:cubicBezTo>
                    <a:cubicBezTo>
                      <a:pt x="564" y="957"/>
                      <a:pt x="1113" y="1415"/>
                      <a:pt x="1254" y="1415"/>
                    </a:cubicBezTo>
                    <a:cubicBezTo>
                      <a:pt x="1264" y="1415"/>
                      <a:pt x="1272" y="1412"/>
                      <a:pt x="1278" y="1408"/>
                    </a:cubicBezTo>
                    <a:cubicBezTo>
                      <a:pt x="1606" y="1108"/>
                      <a:pt x="1874" y="952"/>
                      <a:pt x="2167" y="952"/>
                    </a:cubicBezTo>
                    <a:cubicBezTo>
                      <a:pt x="2429" y="952"/>
                      <a:pt x="2710" y="1077"/>
                      <a:pt x="3070" y="1337"/>
                    </a:cubicBezTo>
                    <a:cubicBezTo>
                      <a:pt x="3815" y="1869"/>
                      <a:pt x="4773" y="2011"/>
                      <a:pt x="5838" y="2419"/>
                    </a:cubicBezTo>
                    <a:lnTo>
                      <a:pt x="5891" y="1071"/>
                    </a:lnTo>
                    <a:cubicBezTo>
                      <a:pt x="5040" y="893"/>
                      <a:pt x="4170" y="964"/>
                      <a:pt x="3656" y="574"/>
                    </a:cubicBezTo>
                    <a:cubicBezTo>
                      <a:pt x="3121" y="171"/>
                      <a:pt x="2614" y="1"/>
                      <a:pt x="207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29" name="Google Shape;3829;p66"/>
              <p:cNvSpPr/>
              <p:nvPr/>
            </p:nvSpPr>
            <p:spPr>
              <a:xfrm>
                <a:off x="6151865" y="3979381"/>
                <a:ext cx="35739" cy="11875"/>
              </a:xfrm>
              <a:custGeom>
                <a:avLst/>
                <a:gdLst/>
                <a:ahLst/>
                <a:cxnLst/>
                <a:rect l="l" t="t" r="r" b="b"/>
                <a:pathLst>
                  <a:path w="6194" h="2059" extrusionOk="0">
                    <a:moveTo>
                      <a:pt x="6193" y="0"/>
                    </a:moveTo>
                    <a:lnTo>
                      <a:pt x="6193" y="0"/>
                    </a:lnTo>
                    <a:cubicBezTo>
                      <a:pt x="4801" y="195"/>
                      <a:pt x="3970" y="433"/>
                      <a:pt x="3202" y="433"/>
                    </a:cubicBezTo>
                    <a:cubicBezTo>
                      <a:pt x="3128" y="433"/>
                      <a:pt x="3055" y="431"/>
                      <a:pt x="2982" y="426"/>
                    </a:cubicBezTo>
                    <a:cubicBezTo>
                      <a:pt x="2453" y="395"/>
                      <a:pt x="1944" y="74"/>
                      <a:pt x="1353" y="74"/>
                    </a:cubicBezTo>
                    <a:cubicBezTo>
                      <a:pt x="951" y="74"/>
                      <a:pt x="511" y="222"/>
                      <a:pt x="1" y="710"/>
                    </a:cubicBezTo>
                    <a:lnTo>
                      <a:pt x="1473" y="2059"/>
                    </a:lnTo>
                    <a:cubicBezTo>
                      <a:pt x="2432" y="409"/>
                      <a:pt x="4472" y="1526"/>
                      <a:pt x="619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0" name="Google Shape;3830;p66"/>
              <p:cNvSpPr/>
              <p:nvPr/>
            </p:nvSpPr>
            <p:spPr>
              <a:xfrm>
                <a:off x="6203762" y="3831292"/>
                <a:ext cx="19768" cy="12285"/>
              </a:xfrm>
              <a:custGeom>
                <a:avLst/>
                <a:gdLst/>
                <a:ahLst/>
                <a:cxnLst/>
                <a:rect l="l" t="t" r="r" b="b"/>
                <a:pathLst>
                  <a:path w="3426" h="2130" extrusionOk="0">
                    <a:moveTo>
                      <a:pt x="1473" y="1"/>
                    </a:moveTo>
                    <a:lnTo>
                      <a:pt x="1" y="1828"/>
                    </a:lnTo>
                    <a:lnTo>
                      <a:pt x="3372" y="2130"/>
                    </a:lnTo>
                    <a:cubicBezTo>
                      <a:pt x="3407" y="1917"/>
                      <a:pt x="3425" y="1704"/>
                      <a:pt x="3425" y="1509"/>
                    </a:cubicBezTo>
                    <a:cubicBezTo>
                      <a:pt x="3390" y="1172"/>
                      <a:pt x="3301" y="870"/>
                      <a:pt x="3248" y="586"/>
                    </a:cubicBezTo>
                    <a:lnTo>
                      <a:pt x="1473"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831" name="Google Shape;3831;p66"/>
          <p:cNvGrpSpPr/>
          <p:nvPr/>
        </p:nvGrpSpPr>
        <p:grpSpPr>
          <a:xfrm>
            <a:off x="8887372" y="4173638"/>
            <a:ext cx="768403" cy="682495"/>
            <a:chOff x="6644304" y="3073628"/>
            <a:chExt cx="576302" cy="511871"/>
          </a:xfrm>
        </p:grpSpPr>
        <p:sp>
          <p:nvSpPr>
            <p:cNvPr id="3832" name="Google Shape;3832;p66"/>
            <p:cNvSpPr/>
            <p:nvPr/>
          </p:nvSpPr>
          <p:spPr>
            <a:xfrm>
              <a:off x="6644304" y="3073628"/>
              <a:ext cx="576302" cy="511871"/>
            </a:xfrm>
            <a:custGeom>
              <a:avLst/>
              <a:gdLst/>
              <a:ahLst/>
              <a:cxnLst/>
              <a:rect l="l" t="t" r="r" b="b"/>
              <a:pathLst>
                <a:path w="99879" h="88751" extrusionOk="0">
                  <a:moveTo>
                    <a:pt x="50483" y="1"/>
                  </a:moveTo>
                  <a:cubicBezTo>
                    <a:pt x="46751" y="1"/>
                    <a:pt x="42953" y="456"/>
                    <a:pt x="39160" y="1409"/>
                  </a:cubicBezTo>
                  <a:cubicBezTo>
                    <a:pt x="14870" y="7513"/>
                    <a:pt x="1" y="31697"/>
                    <a:pt x="5963" y="55420"/>
                  </a:cubicBezTo>
                  <a:cubicBezTo>
                    <a:pt x="10993" y="75452"/>
                    <a:pt x="29236" y="88750"/>
                    <a:pt x="49406" y="88750"/>
                  </a:cubicBezTo>
                  <a:cubicBezTo>
                    <a:pt x="53141" y="88750"/>
                    <a:pt x="56941" y="88294"/>
                    <a:pt x="60736" y="87341"/>
                  </a:cubicBezTo>
                  <a:cubicBezTo>
                    <a:pt x="85027" y="81237"/>
                    <a:pt x="99878" y="57053"/>
                    <a:pt x="93917" y="33330"/>
                  </a:cubicBezTo>
                  <a:cubicBezTo>
                    <a:pt x="88901" y="13311"/>
                    <a:pt x="70655" y="1"/>
                    <a:pt x="5048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33" name="Google Shape;3833;p66"/>
            <p:cNvGrpSpPr/>
            <p:nvPr/>
          </p:nvGrpSpPr>
          <p:grpSpPr>
            <a:xfrm>
              <a:off x="6712169" y="3085440"/>
              <a:ext cx="481622" cy="494913"/>
              <a:chOff x="6712169" y="3085440"/>
              <a:chExt cx="481622" cy="494913"/>
            </a:xfrm>
          </p:grpSpPr>
          <p:sp>
            <p:nvSpPr>
              <p:cNvPr id="3834" name="Google Shape;3834;p66"/>
              <p:cNvSpPr/>
              <p:nvPr/>
            </p:nvSpPr>
            <p:spPr>
              <a:xfrm>
                <a:off x="6712169" y="3085440"/>
                <a:ext cx="238757" cy="315615"/>
              </a:xfrm>
              <a:custGeom>
                <a:avLst/>
                <a:gdLst/>
                <a:ahLst/>
                <a:cxnLst/>
                <a:rect l="l" t="t" r="r" b="b"/>
                <a:pathLst>
                  <a:path w="41379" h="54723" extrusionOk="0">
                    <a:moveTo>
                      <a:pt x="20938" y="3904"/>
                    </a:moveTo>
                    <a:lnTo>
                      <a:pt x="22677" y="6583"/>
                    </a:lnTo>
                    <a:lnTo>
                      <a:pt x="22091" y="7097"/>
                    </a:lnTo>
                    <a:lnTo>
                      <a:pt x="18951" y="4400"/>
                    </a:lnTo>
                    <a:lnTo>
                      <a:pt x="20938" y="3904"/>
                    </a:lnTo>
                    <a:close/>
                    <a:moveTo>
                      <a:pt x="25072" y="0"/>
                    </a:moveTo>
                    <a:lnTo>
                      <a:pt x="25072" y="0"/>
                    </a:lnTo>
                    <a:cubicBezTo>
                      <a:pt x="24433" y="195"/>
                      <a:pt x="23812" y="408"/>
                      <a:pt x="23191" y="621"/>
                    </a:cubicBezTo>
                    <a:lnTo>
                      <a:pt x="23493" y="1047"/>
                    </a:lnTo>
                    <a:lnTo>
                      <a:pt x="21861" y="1136"/>
                    </a:lnTo>
                    <a:cubicBezTo>
                      <a:pt x="20920" y="1491"/>
                      <a:pt x="19980" y="1899"/>
                      <a:pt x="19075" y="2307"/>
                    </a:cubicBezTo>
                    <a:lnTo>
                      <a:pt x="17709" y="4489"/>
                    </a:lnTo>
                    <a:lnTo>
                      <a:pt x="19341" y="6778"/>
                    </a:lnTo>
                    <a:lnTo>
                      <a:pt x="19341" y="6778"/>
                    </a:lnTo>
                    <a:lnTo>
                      <a:pt x="16697" y="6086"/>
                    </a:lnTo>
                    <a:lnTo>
                      <a:pt x="17017" y="4542"/>
                    </a:lnTo>
                    <a:lnTo>
                      <a:pt x="15473" y="4205"/>
                    </a:lnTo>
                    <a:cubicBezTo>
                      <a:pt x="14124" y="4968"/>
                      <a:pt x="12811" y="5820"/>
                      <a:pt x="11552" y="6725"/>
                    </a:cubicBezTo>
                    <a:lnTo>
                      <a:pt x="12581" y="6920"/>
                    </a:lnTo>
                    <a:lnTo>
                      <a:pt x="11836" y="8091"/>
                    </a:lnTo>
                    <a:cubicBezTo>
                      <a:pt x="11392" y="7967"/>
                      <a:pt x="10842" y="7772"/>
                      <a:pt x="10363" y="7612"/>
                    </a:cubicBezTo>
                    <a:cubicBezTo>
                      <a:pt x="6300" y="10753"/>
                      <a:pt x="2804" y="14567"/>
                      <a:pt x="1" y="18897"/>
                    </a:cubicBezTo>
                    <a:cubicBezTo>
                      <a:pt x="356" y="19536"/>
                      <a:pt x="498" y="20299"/>
                      <a:pt x="373" y="21026"/>
                    </a:cubicBezTo>
                    <a:cubicBezTo>
                      <a:pt x="285" y="21895"/>
                      <a:pt x="870" y="22800"/>
                      <a:pt x="977" y="23723"/>
                    </a:cubicBezTo>
                    <a:cubicBezTo>
                      <a:pt x="1101" y="24681"/>
                      <a:pt x="835" y="25710"/>
                      <a:pt x="1048" y="26633"/>
                    </a:cubicBezTo>
                    <a:cubicBezTo>
                      <a:pt x="1580" y="28922"/>
                      <a:pt x="1651" y="28904"/>
                      <a:pt x="1314" y="30696"/>
                    </a:cubicBezTo>
                    <a:cubicBezTo>
                      <a:pt x="1260" y="30998"/>
                      <a:pt x="1243" y="31335"/>
                      <a:pt x="1189" y="31654"/>
                    </a:cubicBezTo>
                    <a:cubicBezTo>
                      <a:pt x="906" y="33943"/>
                      <a:pt x="852" y="36090"/>
                      <a:pt x="2378" y="38184"/>
                    </a:cubicBezTo>
                    <a:cubicBezTo>
                      <a:pt x="3194" y="39302"/>
                      <a:pt x="4490" y="39461"/>
                      <a:pt x="5217" y="40473"/>
                    </a:cubicBezTo>
                    <a:cubicBezTo>
                      <a:pt x="5377" y="41147"/>
                      <a:pt x="5679" y="41821"/>
                      <a:pt x="5679" y="42496"/>
                    </a:cubicBezTo>
                    <a:cubicBezTo>
                      <a:pt x="5679" y="43170"/>
                      <a:pt x="7311" y="43347"/>
                      <a:pt x="6406" y="44146"/>
                    </a:cubicBezTo>
                    <a:lnTo>
                      <a:pt x="8429" y="45122"/>
                    </a:lnTo>
                    <a:lnTo>
                      <a:pt x="8429" y="45122"/>
                    </a:lnTo>
                    <a:lnTo>
                      <a:pt x="8269" y="43170"/>
                    </a:lnTo>
                    <a:lnTo>
                      <a:pt x="8269" y="43170"/>
                    </a:lnTo>
                    <a:cubicBezTo>
                      <a:pt x="8872" y="43613"/>
                      <a:pt x="9298" y="43826"/>
                      <a:pt x="9600" y="44146"/>
                    </a:cubicBezTo>
                    <a:cubicBezTo>
                      <a:pt x="10345" y="44909"/>
                      <a:pt x="10948" y="45849"/>
                      <a:pt x="11765" y="46523"/>
                    </a:cubicBezTo>
                    <a:cubicBezTo>
                      <a:pt x="12652" y="47251"/>
                      <a:pt x="13734" y="47730"/>
                      <a:pt x="13255" y="49167"/>
                    </a:cubicBezTo>
                    <a:cubicBezTo>
                      <a:pt x="15142" y="50239"/>
                      <a:pt x="17068" y="51273"/>
                      <a:pt x="19240" y="51273"/>
                    </a:cubicBezTo>
                    <a:cubicBezTo>
                      <a:pt x="19621" y="51273"/>
                      <a:pt x="20009" y="51241"/>
                      <a:pt x="20406" y="51172"/>
                    </a:cubicBezTo>
                    <a:cubicBezTo>
                      <a:pt x="21066" y="51051"/>
                      <a:pt x="21687" y="50867"/>
                      <a:pt x="22299" y="50867"/>
                    </a:cubicBezTo>
                    <a:cubicBezTo>
                      <a:pt x="22856" y="50867"/>
                      <a:pt x="23406" y="51019"/>
                      <a:pt x="23972" y="51509"/>
                    </a:cubicBezTo>
                    <a:cubicBezTo>
                      <a:pt x="24575" y="52042"/>
                      <a:pt x="25551" y="52219"/>
                      <a:pt x="26403" y="52414"/>
                    </a:cubicBezTo>
                    <a:cubicBezTo>
                      <a:pt x="26412" y="52417"/>
                      <a:pt x="26421" y="52418"/>
                      <a:pt x="26431" y="52418"/>
                    </a:cubicBezTo>
                    <a:cubicBezTo>
                      <a:pt x="26612" y="52418"/>
                      <a:pt x="26911" y="51958"/>
                      <a:pt x="27130" y="51722"/>
                    </a:cubicBezTo>
                    <a:cubicBezTo>
                      <a:pt x="29563" y="53875"/>
                      <a:pt x="30553" y="54722"/>
                      <a:pt x="31970" y="54722"/>
                    </a:cubicBezTo>
                    <a:cubicBezTo>
                      <a:pt x="32888" y="54722"/>
                      <a:pt x="33985" y="54367"/>
                      <a:pt x="35771" y="53780"/>
                    </a:cubicBezTo>
                    <a:cubicBezTo>
                      <a:pt x="35754" y="53674"/>
                      <a:pt x="35736" y="53568"/>
                      <a:pt x="35700" y="53461"/>
                    </a:cubicBezTo>
                    <a:cubicBezTo>
                      <a:pt x="35026" y="53479"/>
                      <a:pt x="34387" y="53550"/>
                      <a:pt x="33731" y="53568"/>
                    </a:cubicBezTo>
                    <a:cubicBezTo>
                      <a:pt x="33590" y="53572"/>
                      <a:pt x="33456" y="53574"/>
                      <a:pt x="33329" y="53574"/>
                    </a:cubicBezTo>
                    <a:cubicBezTo>
                      <a:pt x="31461" y="53574"/>
                      <a:pt x="31079" y="53047"/>
                      <a:pt x="30697" y="50871"/>
                    </a:cubicBezTo>
                    <a:cubicBezTo>
                      <a:pt x="30590" y="50179"/>
                      <a:pt x="30005" y="49575"/>
                      <a:pt x="29650" y="48972"/>
                    </a:cubicBezTo>
                    <a:lnTo>
                      <a:pt x="26030" y="49628"/>
                    </a:lnTo>
                    <a:lnTo>
                      <a:pt x="26030" y="49628"/>
                    </a:lnTo>
                    <a:lnTo>
                      <a:pt x="26385" y="45406"/>
                    </a:lnTo>
                    <a:lnTo>
                      <a:pt x="24167" y="45956"/>
                    </a:lnTo>
                    <a:cubicBezTo>
                      <a:pt x="23812" y="46931"/>
                      <a:pt x="24007" y="48085"/>
                      <a:pt x="22553" y="48564"/>
                    </a:cubicBezTo>
                    <a:cubicBezTo>
                      <a:pt x="22259" y="48659"/>
                      <a:pt x="21992" y="48700"/>
                      <a:pt x="21745" y="48700"/>
                    </a:cubicBezTo>
                    <a:cubicBezTo>
                      <a:pt x="20706" y="48700"/>
                      <a:pt x="20016" y="47976"/>
                      <a:pt x="19199" y="47517"/>
                    </a:cubicBezTo>
                    <a:lnTo>
                      <a:pt x="17851" y="42123"/>
                    </a:lnTo>
                    <a:cubicBezTo>
                      <a:pt x="19459" y="40109"/>
                      <a:pt x="19754" y="39740"/>
                      <a:pt x="21393" y="39740"/>
                    </a:cubicBezTo>
                    <a:cubicBezTo>
                      <a:pt x="21761" y="39740"/>
                      <a:pt x="22197" y="39758"/>
                      <a:pt x="22730" y="39781"/>
                    </a:cubicBezTo>
                    <a:lnTo>
                      <a:pt x="22890" y="38237"/>
                    </a:lnTo>
                    <a:lnTo>
                      <a:pt x="27042" y="38113"/>
                    </a:lnTo>
                    <a:lnTo>
                      <a:pt x="30324" y="41786"/>
                    </a:lnTo>
                    <a:cubicBezTo>
                      <a:pt x="30679" y="39550"/>
                      <a:pt x="29064" y="38290"/>
                      <a:pt x="28532" y="36374"/>
                    </a:cubicBezTo>
                    <a:cubicBezTo>
                      <a:pt x="29366" y="35363"/>
                      <a:pt x="30324" y="34280"/>
                      <a:pt x="31229" y="33163"/>
                    </a:cubicBezTo>
                    <a:cubicBezTo>
                      <a:pt x="32045" y="32133"/>
                      <a:pt x="31974" y="31885"/>
                      <a:pt x="30644" y="30359"/>
                    </a:cubicBezTo>
                    <a:cubicBezTo>
                      <a:pt x="31105" y="29916"/>
                      <a:pt x="31886" y="29490"/>
                      <a:pt x="31957" y="28993"/>
                    </a:cubicBezTo>
                    <a:cubicBezTo>
                      <a:pt x="32152" y="27378"/>
                      <a:pt x="33411" y="26757"/>
                      <a:pt x="34441" y="25906"/>
                    </a:cubicBezTo>
                    <a:lnTo>
                      <a:pt x="34245" y="24273"/>
                    </a:lnTo>
                    <a:lnTo>
                      <a:pt x="36588" y="22996"/>
                    </a:lnTo>
                    <a:lnTo>
                      <a:pt x="37120" y="24096"/>
                    </a:lnTo>
                    <a:lnTo>
                      <a:pt x="40438" y="20849"/>
                    </a:lnTo>
                    <a:lnTo>
                      <a:pt x="40048" y="20387"/>
                    </a:lnTo>
                    <a:lnTo>
                      <a:pt x="38184" y="21700"/>
                    </a:lnTo>
                    <a:lnTo>
                      <a:pt x="36410" y="20547"/>
                    </a:lnTo>
                    <a:cubicBezTo>
                      <a:pt x="37315" y="19429"/>
                      <a:pt x="38309" y="18631"/>
                      <a:pt x="38752" y="17584"/>
                    </a:cubicBezTo>
                    <a:cubicBezTo>
                      <a:pt x="39285" y="16377"/>
                      <a:pt x="40686" y="16271"/>
                      <a:pt x="41378" y="15295"/>
                    </a:cubicBezTo>
                    <a:cubicBezTo>
                      <a:pt x="40314" y="14177"/>
                      <a:pt x="39285" y="13663"/>
                      <a:pt x="37989" y="13521"/>
                    </a:cubicBezTo>
                    <a:cubicBezTo>
                      <a:pt x="37031" y="13467"/>
                      <a:pt x="36162" y="12971"/>
                      <a:pt x="35647" y="12154"/>
                    </a:cubicBezTo>
                    <a:cubicBezTo>
                      <a:pt x="35257" y="11622"/>
                      <a:pt x="34813" y="11161"/>
                      <a:pt x="34281" y="10770"/>
                    </a:cubicBezTo>
                    <a:cubicBezTo>
                      <a:pt x="34068" y="10593"/>
                      <a:pt x="33678" y="10628"/>
                      <a:pt x="33323" y="10557"/>
                    </a:cubicBezTo>
                    <a:lnTo>
                      <a:pt x="32773" y="12509"/>
                    </a:lnTo>
                    <a:cubicBezTo>
                      <a:pt x="31022" y="12013"/>
                      <a:pt x="29978" y="9739"/>
                      <a:pt x="28235" y="9739"/>
                    </a:cubicBezTo>
                    <a:cubicBezTo>
                      <a:pt x="27735" y="9739"/>
                      <a:pt x="27176" y="9927"/>
                      <a:pt x="26527" y="10398"/>
                    </a:cubicBezTo>
                    <a:cubicBezTo>
                      <a:pt x="26793" y="11711"/>
                      <a:pt x="25942" y="13290"/>
                      <a:pt x="27343" y="14479"/>
                    </a:cubicBezTo>
                    <a:cubicBezTo>
                      <a:pt x="27538" y="14638"/>
                      <a:pt x="27609" y="15295"/>
                      <a:pt x="27485" y="15419"/>
                    </a:cubicBezTo>
                    <a:cubicBezTo>
                      <a:pt x="26154" y="16590"/>
                      <a:pt x="27095" y="18169"/>
                      <a:pt x="26935" y="19447"/>
                    </a:cubicBezTo>
                    <a:cubicBezTo>
                      <a:pt x="26757" y="19471"/>
                      <a:pt x="26594" y="19483"/>
                      <a:pt x="26444" y="19483"/>
                    </a:cubicBezTo>
                    <a:cubicBezTo>
                      <a:pt x="24534" y="19483"/>
                      <a:pt x="24803" y="17604"/>
                      <a:pt x="24309" y="16732"/>
                    </a:cubicBezTo>
                    <a:cubicBezTo>
                      <a:pt x="23538" y="16756"/>
                      <a:pt x="22881" y="16829"/>
                      <a:pt x="22272" y="16829"/>
                    </a:cubicBezTo>
                    <a:cubicBezTo>
                      <a:pt x="21985" y="16829"/>
                      <a:pt x="21708" y="16813"/>
                      <a:pt x="21435" y="16768"/>
                    </a:cubicBezTo>
                    <a:cubicBezTo>
                      <a:pt x="20583" y="16626"/>
                      <a:pt x="19767" y="16235"/>
                      <a:pt x="18968" y="15880"/>
                    </a:cubicBezTo>
                    <a:cubicBezTo>
                      <a:pt x="18099" y="15508"/>
                      <a:pt x="17904" y="14745"/>
                      <a:pt x="18117" y="13929"/>
                    </a:cubicBezTo>
                    <a:cubicBezTo>
                      <a:pt x="18489" y="12562"/>
                      <a:pt x="19820" y="11799"/>
                      <a:pt x="20317" y="10433"/>
                    </a:cubicBezTo>
                    <a:cubicBezTo>
                      <a:pt x="20420" y="10159"/>
                      <a:pt x="20643" y="10069"/>
                      <a:pt x="20926" y="10069"/>
                    </a:cubicBezTo>
                    <a:cubicBezTo>
                      <a:pt x="21466" y="10069"/>
                      <a:pt x="22224" y="10398"/>
                      <a:pt x="22783" y="10398"/>
                    </a:cubicBezTo>
                    <a:cubicBezTo>
                      <a:pt x="23422" y="10398"/>
                      <a:pt x="24078" y="10114"/>
                      <a:pt x="25445" y="9777"/>
                    </a:cubicBezTo>
                    <a:lnTo>
                      <a:pt x="22925" y="8836"/>
                    </a:lnTo>
                    <a:cubicBezTo>
                      <a:pt x="23351" y="8002"/>
                      <a:pt x="23759" y="7435"/>
                      <a:pt x="23972" y="6796"/>
                    </a:cubicBezTo>
                    <a:cubicBezTo>
                      <a:pt x="24489" y="5333"/>
                      <a:pt x="24808" y="4715"/>
                      <a:pt x="25467" y="4715"/>
                    </a:cubicBezTo>
                    <a:cubicBezTo>
                      <a:pt x="25870" y="4715"/>
                      <a:pt x="26401" y="4947"/>
                      <a:pt x="27184" y="5359"/>
                    </a:cubicBezTo>
                    <a:cubicBezTo>
                      <a:pt x="27485" y="5518"/>
                      <a:pt x="27787" y="5713"/>
                      <a:pt x="28177" y="5944"/>
                    </a:cubicBezTo>
                    <a:lnTo>
                      <a:pt x="26012" y="8694"/>
                    </a:lnTo>
                    <a:cubicBezTo>
                      <a:pt x="26754" y="8600"/>
                      <a:pt x="27262" y="8535"/>
                      <a:pt x="27696" y="8535"/>
                    </a:cubicBezTo>
                    <a:cubicBezTo>
                      <a:pt x="28642" y="8535"/>
                      <a:pt x="29231" y="8844"/>
                      <a:pt x="31105" y="9830"/>
                    </a:cubicBezTo>
                    <a:lnTo>
                      <a:pt x="32844" y="8304"/>
                    </a:lnTo>
                    <a:lnTo>
                      <a:pt x="31886" y="7346"/>
                    </a:lnTo>
                    <a:lnTo>
                      <a:pt x="32861" y="5341"/>
                    </a:lnTo>
                    <a:lnTo>
                      <a:pt x="25232" y="2005"/>
                    </a:lnTo>
                    <a:lnTo>
                      <a:pt x="21577" y="2733"/>
                    </a:lnTo>
                    <a:lnTo>
                      <a:pt x="21452" y="2218"/>
                    </a:lnTo>
                    <a:lnTo>
                      <a:pt x="24540" y="1437"/>
                    </a:lnTo>
                    <a:lnTo>
                      <a:pt x="25072"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5" name="Google Shape;3835;p66"/>
              <p:cNvSpPr/>
              <p:nvPr/>
            </p:nvSpPr>
            <p:spPr>
              <a:xfrm>
                <a:off x="6913100" y="3367694"/>
                <a:ext cx="190537" cy="212659"/>
              </a:xfrm>
              <a:custGeom>
                <a:avLst/>
                <a:gdLst/>
                <a:ahLst/>
                <a:cxnLst/>
                <a:rect l="l" t="t" r="r" b="b"/>
                <a:pathLst>
                  <a:path w="33022" h="36872" extrusionOk="0">
                    <a:moveTo>
                      <a:pt x="11233" y="0"/>
                    </a:moveTo>
                    <a:cubicBezTo>
                      <a:pt x="10639" y="505"/>
                      <a:pt x="10418" y="1084"/>
                      <a:pt x="9687" y="1084"/>
                    </a:cubicBezTo>
                    <a:cubicBezTo>
                      <a:pt x="9544" y="1084"/>
                      <a:pt x="9381" y="1061"/>
                      <a:pt x="9192" y="1012"/>
                    </a:cubicBezTo>
                    <a:cubicBezTo>
                      <a:pt x="8542" y="845"/>
                      <a:pt x="7805" y="576"/>
                      <a:pt x="7089" y="576"/>
                    </a:cubicBezTo>
                    <a:cubicBezTo>
                      <a:pt x="6437" y="576"/>
                      <a:pt x="5804" y="799"/>
                      <a:pt x="5271" y="1526"/>
                    </a:cubicBezTo>
                    <a:lnTo>
                      <a:pt x="4632" y="231"/>
                    </a:lnTo>
                    <a:cubicBezTo>
                      <a:pt x="3940" y="1030"/>
                      <a:pt x="3780" y="2165"/>
                      <a:pt x="2591" y="2325"/>
                    </a:cubicBezTo>
                    <a:cubicBezTo>
                      <a:pt x="1208" y="2502"/>
                      <a:pt x="2538" y="4649"/>
                      <a:pt x="959" y="4844"/>
                    </a:cubicBezTo>
                    <a:lnTo>
                      <a:pt x="2006" y="8961"/>
                    </a:lnTo>
                    <a:lnTo>
                      <a:pt x="1" y="12190"/>
                    </a:lnTo>
                    <a:cubicBezTo>
                      <a:pt x="1190" y="12935"/>
                      <a:pt x="143" y="14302"/>
                      <a:pt x="640" y="15153"/>
                    </a:cubicBezTo>
                    <a:cubicBezTo>
                      <a:pt x="1882" y="15987"/>
                      <a:pt x="3071" y="16697"/>
                      <a:pt x="4135" y="17531"/>
                    </a:cubicBezTo>
                    <a:cubicBezTo>
                      <a:pt x="5058" y="18276"/>
                      <a:pt x="5732" y="19359"/>
                      <a:pt x="6726" y="19980"/>
                    </a:cubicBezTo>
                    <a:cubicBezTo>
                      <a:pt x="7808" y="20654"/>
                      <a:pt x="9121" y="20973"/>
                      <a:pt x="10044" y="21364"/>
                    </a:cubicBezTo>
                    <a:cubicBezTo>
                      <a:pt x="11250" y="25161"/>
                      <a:pt x="11587" y="28638"/>
                      <a:pt x="10878" y="32152"/>
                    </a:cubicBezTo>
                    <a:cubicBezTo>
                      <a:pt x="11091" y="32506"/>
                      <a:pt x="11623" y="32968"/>
                      <a:pt x="11605" y="33394"/>
                    </a:cubicBezTo>
                    <a:cubicBezTo>
                      <a:pt x="11552" y="34405"/>
                      <a:pt x="11605" y="35416"/>
                      <a:pt x="11783" y="36428"/>
                    </a:cubicBezTo>
                    <a:cubicBezTo>
                      <a:pt x="11800" y="36587"/>
                      <a:pt x="11836" y="36729"/>
                      <a:pt x="11871" y="36871"/>
                    </a:cubicBezTo>
                    <a:cubicBezTo>
                      <a:pt x="12634" y="36712"/>
                      <a:pt x="13379" y="36552"/>
                      <a:pt x="14125" y="36357"/>
                    </a:cubicBezTo>
                    <a:lnTo>
                      <a:pt x="14568" y="36233"/>
                    </a:lnTo>
                    <a:cubicBezTo>
                      <a:pt x="15172" y="34139"/>
                      <a:pt x="15828" y="32045"/>
                      <a:pt x="17798" y="30785"/>
                    </a:cubicBezTo>
                    <a:cubicBezTo>
                      <a:pt x="18543" y="30324"/>
                      <a:pt x="18951" y="29845"/>
                      <a:pt x="19235" y="29117"/>
                    </a:cubicBezTo>
                    <a:cubicBezTo>
                      <a:pt x="19377" y="28763"/>
                      <a:pt x="19465" y="28230"/>
                      <a:pt x="19732" y="28124"/>
                    </a:cubicBezTo>
                    <a:cubicBezTo>
                      <a:pt x="22233" y="27059"/>
                      <a:pt x="23334" y="24930"/>
                      <a:pt x="24008" y="22535"/>
                    </a:cubicBezTo>
                    <a:cubicBezTo>
                      <a:pt x="24345" y="21346"/>
                      <a:pt x="25232" y="20423"/>
                      <a:pt x="26403" y="20051"/>
                    </a:cubicBezTo>
                    <a:cubicBezTo>
                      <a:pt x="28550" y="19447"/>
                      <a:pt x="29065" y="17904"/>
                      <a:pt x="29615" y="16147"/>
                    </a:cubicBezTo>
                    <a:cubicBezTo>
                      <a:pt x="30449" y="13503"/>
                      <a:pt x="30999" y="10735"/>
                      <a:pt x="32844" y="8517"/>
                    </a:cubicBezTo>
                    <a:cubicBezTo>
                      <a:pt x="32933" y="8429"/>
                      <a:pt x="32986" y="8340"/>
                      <a:pt x="33021" y="8216"/>
                    </a:cubicBezTo>
                    <a:cubicBezTo>
                      <a:pt x="33021" y="7683"/>
                      <a:pt x="33021" y="7133"/>
                      <a:pt x="33021" y="6424"/>
                    </a:cubicBezTo>
                    <a:cubicBezTo>
                      <a:pt x="32898" y="6449"/>
                      <a:pt x="32778" y="6461"/>
                      <a:pt x="32662" y="6461"/>
                    </a:cubicBezTo>
                    <a:cubicBezTo>
                      <a:pt x="31610" y="6461"/>
                      <a:pt x="30838" y="5512"/>
                      <a:pt x="29835" y="5512"/>
                    </a:cubicBezTo>
                    <a:cubicBezTo>
                      <a:pt x="29647" y="5512"/>
                      <a:pt x="29450" y="5546"/>
                      <a:pt x="29242" y="5625"/>
                    </a:cubicBezTo>
                    <a:cubicBezTo>
                      <a:pt x="28763" y="5810"/>
                      <a:pt x="28295" y="5881"/>
                      <a:pt x="27833" y="5881"/>
                    </a:cubicBezTo>
                    <a:cubicBezTo>
                      <a:pt x="27010" y="5881"/>
                      <a:pt x="26203" y="5659"/>
                      <a:pt x="25374" y="5465"/>
                    </a:cubicBezTo>
                    <a:cubicBezTo>
                      <a:pt x="25322" y="5454"/>
                      <a:pt x="25270" y="5449"/>
                      <a:pt x="25215" y="5449"/>
                    </a:cubicBezTo>
                    <a:cubicBezTo>
                      <a:pt x="24767" y="5449"/>
                      <a:pt x="24231" y="5812"/>
                      <a:pt x="23582" y="6033"/>
                    </a:cubicBezTo>
                    <a:lnTo>
                      <a:pt x="20637" y="2112"/>
                    </a:lnTo>
                    <a:lnTo>
                      <a:pt x="16467" y="2201"/>
                    </a:lnTo>
                    <a:lnTo>
                      <a:pt x="11233"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6" name="Google Shape;3836;p66"/>
              <p:cNvSpPr/>
              <p:nvPr/>
            </p:nvSpPr>
            <p:spPr>
              <a:xfrm>
                <a:off x="7135734" y="3186037"/>
                <a:ext cx="58058" cy="152383"/>
              </a:xfrm>
              <a:custGeom>
                <a:avLst/>
                <a:gdLst/>
                <a:ahLst/>
                <a:cxnLst/>
                <a:rect l="l" t="t" r="r" b="b"/>
                <a:pathLst>
                  <a:path w="10062" h="26421" extrusionOk="0">
                    <a:moveTo>
                      <a:pt x="2520" y="1"/>
                    </a:moveTo>
                    <a:lnTo>
                      <a:pt x="2254" y="19"/>
                    </a:lnTo>
                    <a:cubicBezTo>
                      <a:pt x="2077" y="515"/>
                      <a:pt x="2041" y="1474"/>
                      <a:pt x="1545" y="1864"/>
                    </a:cubicBezTo>
                    <a:cubicBezTo>
                      <a:pt x="107" y="3035"/>
                      <a:pt x="214" y="4401"/>
                      <a:pt x="586" y="5927"/>
                    </a:cubicBezTo>
                    <a:cubicBezTo>
                      <a:pt x="746" y="6566"/>
                      <a:pt x="1012" y="7311"/>
                      <a:pt x="835" y="7897"/>
                    </a:cubicBezTo>
                    <a:cubicBezTo>
                      <a:pt x="1" y="10523"/>
                      <a:pt x="799" y="13202"/>
                      <a:pt x="72" y="15917"/>
                    </a:cubicBezTo>
                    <a:lnTo>
                      <a:pt x="1686" y="15846"/>
                    </a:lnTo>
                    <a:cubicBezTo>
                      <a:pt x="1811" y="17177"/>
                      <a:pt x="2698" y="18241"/>
                      <a:pt x="1970" y="19590"/>
                    </a:cubicBezTo>
                    <a:cubicBezTo>
                      <a:pt x="1740" y="20051"/>
                      <a:pt x="2024" y="21293"/>
                      <a:pt x="2414" y="21506"/>
                    </a:cubicBezTo>
                    <a:cubicBezTo>
                      <a:pt x="4596" y="22642"/>
                      <a:pt x="4632" y="25587"/>
                      <a:pt x="6885" y="26421"/>
                    </a:cubicBezTo>
                    <a:lnTo>
                      <a:pt x="10061" y="24079"/>
                    </a:lnTo>
                    <a:cubicBezTo>
                      <a:pt x="9973" y="15491"/>
                      <a:pt x="7364" y="7098"/>
                      <a:pt x="252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7" name="Google Shape;3837;p66"/>
              <p:cNvSpPr/>
              <p:nvPr/>
            </p:nvSpPr>
            <p:spPr>
              <a:xfrm>
                <a:off x="6870416" y="3332822"/>
                <a:ext cx="47510" cy="11685"/>
              </a:xfrm>
              <a:custGeom>
                <a:avLst/>
                <a:gdLst/>
                <a:ahLst/>
                <a:cxnLst/>
                <a:rect l="l" t="t" r="r" b="b"/>
                <a:pathLst>
                  <a:path w="8234" h="2026" extrusionOk="0">
                    <a:moveTo>
                      <a:pt x="3405" y="1"/>
                    </a:moveTo>
                    <a:cubicBezTo>
                      <a:pt x="2255" y="1"/>
                      <a:pt x="1201" y="655"/>
                      <a:pt x="1" y="919"/>
                    </a:cubicBezTo>
                    <a:cubicBezTo>
                      <a:pt x="371" y="1711"/>
                      <a:pt x="675" y="1974"/>
                      <a:pt x="943" y="1974"/>
                    </a:cubicBezTo>
                    <a:cubicBezTo>
                      <a:pt x="1419" y="1974"/>
                      <a:pt x="1781" y="1142"/>
                      <a:pt x="2201" y="972"/>
                    </a:cubicBezTo>
                    <a:cubicBezTo>
                      <a:pt x="2266" y="967"/>
                      <a:pt x="2330" y="964"/>
                      <a:pt x="2394" y="964"/>
                    </a:cubicBezTo>
                    <a:cubicBezTo>
                      <a:pt x="3717" y="964"/>
                      <a:pt x="4976" y="2025"/>
                      <a:pt x="6356" y="2025"/>
                    </a:cubicBezTo>
                    <a:cubicBezTo>
                      <a:pt x="6954" y="2025"/>
                      <a:pt x="7575" y="1826"/>
                      <a:pt x="8234" y="1256"/>
                    </a:cubicBezTo>
                    <a:cubicBezTo>
                      <a:pt x="7932" y="936"/>
                      <a:pt x="7684" y="440"/>
                      <a:pt x="7400" y="422"/>
                    </a:cubicBezTo>
                    <a:cubicBezTo>
                      <a:pt x="7374" y="421"/>
                      <a:pt x="7348" y="420"/>
                      <a:pt x="7322" y="420"/>
                    </a:cubicBezTo>
                    <a:cubicBezTo>
                      <a:pt x="6763" y="420"/>
                      <a:pt x="6090" y="679"/>
                      <a:pt x="5591" y="679"/>
                    </a:cubicBezTo>
                    <a:cubicBezTo>
                      <a:pt x="5418" y="679"/>
                      <a:pt x="5266" y="648"/>
                      <a:pt x="5147" y="564"/>
                    </a:cubicBezTo>
                    <a:cubicBezTo>
                      <a:pt x="4527" y="150"/>
                      <a:pt x="3955" y="1"/>
                      <a:pt x="340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38" name="Google Shape;3838;p66"/>
              <p:cNvSpPr/>
              <p:nvPr/>
            </p:nvSpPr>
            <p:spPr>
              <a:xfrm>
                <a:off x="6925590" y="3336277"/>
                <a:ext cx="38094" cy="14228"/>
              </a:xfrm>
              <a:custGeom>
                <a:avLst/>
                <a:gdLst/>
                <a:ahLst/>
                <a:cxnLst/>
                <a:rect l="l" t="t" r="r" b="b"/>
                <a:pathLst>
                  <a:path w="6602" h="2467" extrusionOk="0">
                    <a:moveTo>
                      <a:pt x="6601" y="0"/>
                    </a:moveTo>
                    <a:cubicBezTo>
                      <a:pt x="4188" y="231"/>
                      <a:pt x="2254" y="391"/>
                      <a:pt x="338" y="604"/>
                    </a:cubicBezTo>
                    <a:cubicBezTo>
                      <a:pt x="231" y="621"/>
                      <a:pt x="160" y="976"/>
                      <a:pt x="1" y="1384"/>
                    </a:cubicBezTo>
                    <a:lnTo>
                      <a:pt x="1438" y="2467"/>
                    </a:lnTo>
                    <a:cubicBezTo>
                      <a:pt x="2573" y="621"/>
                      <a:pt x="4862" y="1491"/>
                      <a:pt x="66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839" name="Google Shape;3839;p66"/>
            <p:cNvSpPr/>
            <p:nvPr/>
          </p:nvSpPr>
          <p:spPr>
            <a:xfrm>
              <a:off x="6867451" y="3073651"/>
              <a:ext cx="102383" cy="56919"/>
            </a:xfrm>
            <a:custGeom>
              <a:avLst/>
              <a:gdLst/>
              <a:ahLst/>
              <a:cxnLst/>
              <a:rect l="l" t="t" r="r" b="b"/>
              <a:pathLst>
                <a:path w="17744" h="9869" extrusionOk="0">
                  <a:moveTo>
                    <a:pt x="11775" y="1"/>
                  </a:moveTo>
                  <a:cubicBezTo>
                    <a:pt x="7969" y="1"/>
                    <a:pt x="4175" y="474"/>
                    <a:pt x="479" y="1405"/>
                  </a:cubicBezTo>
                  <a:lnTo>
                    <a:pt x="0" y="1530"/>
                  </a:lnTo>
                  <a:cubicBezTo>
                    <a:pt x="266" y="1749"/>
                    <a:pt x="570" y="1886"/>
                    <a:pt x="955" y="1886"/>
                  </a:cubicBezTo>
                  <a:cubicBezTo>
                    <a:pt x="1161" y="1886"/>
                    <a:pt x="1391" y="1847"/>
                    <a:pt x="1651" y="1760"/>
                  </a:cubicBezTo>
                  <a:cubicBezTo>
                    <a:pt x="2029" y="1630"/>
                    <a:pt x="2392" y="1564"/>
                    <a:pt x="2739" y="1564"/>
                  </a:cubicBezTo>
                  <a:cubicBezTo>
                    <a:pt x="3580" y="1564"/>
                    <a:pt x="4337" y="1950"/>
                    <a:pt x="5040" y="2754"/>
                  </a:cubicBezTo>
                  <a:cubicBezTo>
                    <a:pt x="5749" y="3588"/>
                    <a:pt x="7204" y="3428"/>
                    <a:pt x="7967" y="4422"/>
                  </a:cubicBezTo>
                  <a:cubicBezTo>
                    <a:pt x="8017" y="4486"/>
                    <a:pt x="8125" y="4504"/>
                    <a:pt x="8257" y="4504"/>
                  </a:cubicBezTo>
                  <a:cubicBezTo>
                    <a:pt x="8429" y="4504"/>
                    <a:pt x="8642" y="4473"/>
                    <a:pt x="8821" y="4473"/>
                  </a:cubicBezTo>
                  <a:cubicBezTo>
                    <a:pt x="8844" y="4473"/>
                    <a:pt x="8868" y="4474"/>
                    <a:pt x="8890" y="4475"/>
                  </a:cubicBezTo>
                  <a:lnTo>
                    <a:pt x="8233" y="6054"/>
                  </a:lnTo>
                  <a:cubicBezTo>
                    <a:pt x="9475" y="6533"/>
                    <a:pt x="11019" y="6640"/>
                    <a:pt x="11605" y="7420"/>
                  </a:cubicBezTo>
                  <a:cubicBezTo>
                    <a:pt x="13095" y="9479"/>
                    <a:pt x="15065" y="9745"/>
                    <a:pt x="17744" y="9869"/>
                  </a:cubicBezTo>
                  <a:cubicBezTo>
                    <a:pt x="17105" y="8982"/>
                    <a:pt x="16271" y="8325"/>
                    <a:pt x="16342" y="7828"/>
                  </a:cubicBezTo>
                  <a:cubicBezTo>
                    <a:pt x="16502" y="6888"/>
                    <a:pt x="16892" y="6125"/>
                    <a:pt x="15632" y="5717"/>
                  </a:cubicBezTo>
                  <a:lnTo>
                    <a:pt x="16857" y="4706"/>
                  </a:lnTo>
                  <a:lnTo>
                    <a:pt x="16484" y="3215"/>
                  </a:lnTo>
                  <a:cubicBezTo>
                    <a:pt x="16786" y="3073"/>
                    <a:pt x="17123" y="3002"/>
                    <a:pt x="17336" y="2772"/>
                  </a:cubicBezTo>
                  <a:cubicBezTo>
                    <a:pt x="17531" y="2559"/>
                    <a:pt x="17549" y="2222"/>
                    <a:pt x="17744" y="1689"/>
                  </a:cubicBezTo>
                  <a:cubicBezTo>
                    <a:pt x="16928" y="1441"/>
                    <a:pt x="16218" y="1281"/>
                    <a:pt x="15579" y="660"/>
                  </a:cubicBezTo>
                  <a:cubicBezTo>
                    <a:pt x="15384" y="465"/>
                    <a:pt x="15171" y="270"/>
                    <a:pt x="14940" y="110"/>
                  </a:cubicBezTo>
                  <a:cubicBezTo>
                    <a:pt x="13885" y="37"/>
                    <a:pt x="12830" y="1"/>
                    <a:pt x="1177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0" name="Google Shape;3840;p66"/>
            <p:cNvSpPr/>
            <p:nvPr/>
          </p:nvSpPr>
          <p:spPr>
            <a:xfrm>
              <a:off x="7069097" y="3119476"/>
              <a:ext cx="78535" cy="76898"/>
            </a:xfrm>
            <a:custGeom>
              <a:avLst/>
              <a:gdLst/>
              <a:ahLst/>
              <a:cxnLst/>
              <a:rect l="l" t="t" r="r" b="b"/>
              <a:pathLst>
                <a:path w="13611" h="13333" extrusionOk="0">
                  <a:moveTo>
                    <a:pt x="1947" y="1"/>
                  </a:moveTo>
                  <a:cubicBezTo>
                    <a:pt x="1321" y="1"/>
                    <a:pt x="678" y="263"/>
                    <a:pt x="1" y="842"/>
                  </a:cubicBezTo>
                  <a:lnTo>
                    <a:pt x="1420" y="2634"/>
                  </a:lnTo>
                  <a:lnTo>
                    <a:pt x="5856" y="2829"/>
                  </a:lnTo>
                  <a:lnTo>
                    <a:pt x="5342" y="5224"/>
                  </a:lnTo>
                  <a:lnTo>
                    <a:pt x="8802" y="7105"/>
                  </a:lnTo>
                  <a:lnTo>
                    <a:pt x="7453" y="8702"/>
                  </a:lnTo>
                  <a:lnTo>
                    <a:pt x="9884" y="12925"/>
                  </a:lnTo>
                  <a:lnTo>
                    <a:pt x="12386" y="13333"/>
                  </a:lnTo>
                  <a:cubicBezTo>
                    <a:pt x="11889" y="12109"/>
                    <a:pt x="13610" y="10813"/>
                    <a:pt x="11694" y="9891"/>
                  </a:cubicBezTo>
                  <a:cubicBezTo>
                    <a:pt x="11605" y="9181"/>
                    <a:pt x="11232" y="8436"/>
                    <a:pt x="11179" y="7726"/>
                  </a:cubicBezTo>
                  <a:cubicBezTo>
                    <a:pt x="8713" y="4852"/>
                    <a:pt x="5892" y="2297"/>
                    <a:pt x="2769" y="150"/>
                  </a:cubicBezTo>
                  <a:cubicBezTo>
                    <a:pt x="2497" y="52"/>
                    <a:pt x="2224" y="1"/>
                    <a:pt x="1947"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1" name="Google Shape;3841;p66"/>
            <p:cNvSpPr/>
            <p:nvPr/>
          </p:nvSpPr>
          <p:spPr>
            <a:xfrm>
              <a:off x="6946266" y="3181844"/>
              <a:ext cx="21095" cy="14742"/>
            </a:xfrm>
            <a:custGeom>
              <a:avLst/>
              <a:gdLst/>
              <a:ahLst/>
              <a:cxnLst/>
              <a:rect l="l" t="t" r="r" b="b"/>
              <a:pathLst>
                <a:path w="3656" h="2556" extrusionOk="0">
                  <a:moveTo>
                    <a:pt x="498" y="0"/>
                  </a:moveTo>
                  <a:cubicBezTo>
                    <a:pt x="444" y="426"/>
                    <a:pt x="373" y="852"/>
                    <a:pt x="302" y="1278"/>
                  </a:cubicBezTo>
                  <a:cubicBezTo>
                    <a:pt x="231" y="1686"/>
                    <a:pt x="107" y="2076"/>
                    <a:pt x="1" y="2555"/>
                  </a:cubicBezTo>
                  <a:lnTo>
                    <a:pt x="3656" y="2467"/>
                  </a:lnTo>
                  <a:lnTo>
                    <a:pt x="3319" y="1100"/>
                  </a:lnTo>
                  <a:lnTo>
                    <a:pt x="498"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842" name="Google Shape;3842;p66"/>
          <p:cNvSpPr/>
          <p:nvPr/>
        </p:nvSpPr>
        <p:spPr>
          <a:xfrm>
            <a:off x="9346085" y="4195808"/>
            <a:ext cx="32359" cy="14672"/>
          </a:xfrm>
          <a:custGeom>
            <a:avLst/>
            <a:gdLst/>
            <a:ahLst/>
            <a:cxnLst/>
            <a:rect l="l" t="t" r="r" b="b"/>
            <a:pathLst>
              <a:path w="4206" h="1908" extrusionOk="0">
                <a:moveTo>
                  <a:pt x="2533" y="1"/>
                </a:moveTo>
                <a:cubicBezTo>
                  <a:pt x="1985" y="1"/>
                  <a:pt x="1354" y="226"/>
                  <a:pt x="0" y="709"/>
                </a:cubicBezTo>
                <a:cubicBezTo>
                  <a:pt x="1204" y="1500"/>
                  <a:pt x="1825" y="1908"/>
                  <a:pt x="2340" y="1908"/>
                </a:cubicBezTo>
                <a:cubicBezTo>
                  <a:pt x="2889" y="1908"/>
                  <a:pt x="3319" y="1447"/>
                  <a:pt x="4206" y="496"/>
                </a:cubicBezTo>
                <a:cubicBezTo>
                  <a:pt x="3427" y="173"/>
                  <a:pt x="3012" y="1"/>
                  <a:pt x="253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43" name="Google Shape;3843;p66"/>
          <p:cNvGrpSpPr/>
          <p:nvPr/>
        </p:nvGrpSpPr>
        <p:grpSpPr>
          <a:xfrm>
            <a:off x="8897839" y="5030964"/>
            <a:ext cx="747508" cy="681803"/>
            <a:chOff x="6652154" y="3716623"/>
            <a:chExt cx="560631" cy="511352"/>
          </a:xfrm>
        </p:grpSpPr>
        <p:sp>
          <p:nvSpPr>
            <p:cNvPr id="3844" name="Google Shape;3844;p66"/>
            <p:cNvSpPr/>
            <p:nvPr/>
          </p:nvSpPr>
          <p:spPr>
            <a:xfrm>
              <a:off x="6652154" y="3716623"/>
              <a:ext cx="560631" cy="511352"/>
            </a:xfrm>
            <a:custGeom>
              <a:avLst/>
              <a:gdLst/>
              <a:ahLst/>
              <a:cxnLst/>
              <a:rect l="l" t="t" r="r" b="b"/>
              <a:pathLst>
                <a:path w="97163" h="88661" extrusionOk="0">
                  <a:moveTo>
                    <a:pt x="48942" y="1"/>
                  </a:moveTo>
                  <a:cubicBezTo>
                    <a:pt x="46560" y="1"/>
                    <a:pt x="44145" y="185"/>
                    <a:pt x="41715" y="565"/>
                  </a:cubicBezTo>
                  <a:cubicBezTo>
                    <a:pt x="16981" y="4433"/>
                    <a:pt x="0" y="27180"/>
                    <a:pt x="3779" y="51346"/>
                  </a:cubicBezTo>
                  <a:cubicBezTo>
                    <a:pt x="7187" y="73133"/>
                    <a:pt x="26312" y="88661"/>
                    <a:pt x="48182" y="88661"/>
                  </a:cubicBezTo>
                  <a:cubicBezTo>
                    <a:pt x="50571" y="88661"/>
                    <a:pt x="52993" y="88476"/>
                    <a:pt x="55431" y="88093"/>
                  </a:cubicBezTo>
                  <a:cubicBezTo>
                    <a:pt x="80165" y="84225"/>
                    <a:pt x="97163" y="61496"/>
                    <a:pt x="93366" y="37311"/>
                  </a:cubicBezTo>
                  <a:cubicBezTo>
                    <a:pt x="89958" y="15517"/>
                    <a:pt x="70820" y="1"/>
                    <a:pt x="4894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45" name="Google Shape;3845;p66"/>
            <p:cNvGrpSpPr/>
            <p:nvPr/>
          </p:nvGrpSpPr>
          <p:grpSpPr>
            <a:xfrm>
              <a:off x="6669657" y="3716715"/>
              <a:ext cx="466779" cy="464290"/>
              <a:chOff x="6669657" y="3716715"/>
              <a:chExt cx="466779" cy="464290"/>
            </a:xfrm>
          </p:grpSpPr>
          <p:sp>
            <p:nvSpPr>
              <p:cNvPr id="3846" name="Google Shape;3846;p66"/>
              <p:cNvSpPr/>
              <p:nvPr/>
            </p:nvSpPr>
            <p:spPr>
              <a:xfrm>
                <a:off x="6669657" y="3716715"/>
                <a:ext cx="386382" cy="464290"/>
              </a:xfrm>
              <a:custGeom>
                <a:avLst/>
                <a:gdLst/>
                <a:ahLst/>
                <a:cxnLst/>
                <a:rect l="l" t="t" r="r" b="b"/>
                <a:pathLst>
                  <a:path w="66964" h="80501" extrusionOk="0">
                    <a:moveTo>
                      <a:pt x="45863" y="0"/>
                    </a:moveTo>
                    <a:cubicBezTo>
                      <a:pt x="43461" y="0"/>
                      <a:pt x="41054" y="188"/>
                      <a:pt x="38663" y="566"/>
                    </a:cubicBezTo>
                    <a:cubicBezTo>
                      <a:pt x="20352" y="3441"/>
                      <a:pt x="6281" y="16660"/>
                      <a:pt x="1757" y="33161"/>
                    </a:cubicBezTo>
                    <a:lnTo>
                      <a:pt x="4081" y="32487"/>
                    </a:lnTo>
                    <a:lnTo>
                      <a:pt x="4081" y="32487"/>
                    </a:lnTo>
                    <a:cubicBezTo>
                      <a:pt x="4756" y="33871"/>
                      <a:pt x="3939" y="34971"/>
                      <a:pt x="3496" y="36213"/>
                    </a:cubicBezTo>
                    <a:cubicBezTo>
                      <a:pt x="3088" y="37384"/>
                      <a:pt x="2129" y="37207"/>
                      <a:pt x="1384" y="37295"/>
                    </a:cubicBezTo>
                    <a:cubicBezTo>
                      <a:pt x="1207" y="37313"/>
                      <a:pt x="1012" y="37348"/>
                      <a:pt x="816" y="37366"/>
                    </a:cubicBezTo>
                    <a:cubicBezTo>
                      <a:pt x="36" y="41997"/>
                      <a:pt x="0" y="46717"/>
                      <a:pt x="728" y="51348"/>
                    </a:cubicBezTo>
                    <a:cubicBezTo>
                      <a:pt x="2644" y="63591"/>
                      <a:pt x="9528" y="73847"/>
                      <a:pt x="19057" y="80501"/>
                    </a:cubicBezTo>
                    <a:cubicBezTo>
                      <a:pt x="18897" y="80217"/>
                      <a:pt x="18737" y="79950"/>
                      <a:pt x="18560" y="79684"/>
                    </a:cubicBezTo>
                    <a:cubicBezTo>
                      <a:pt x="18099" y="79010"/>
                      <a:pt x="17069" y="77928"/>
                      <a:pt x="17194" y="77768"/>
                    </a:cubicBezTo>
                    <a:cubicBezTo>
                      <a:pt x="18081" y="76703"/>
                      <a:pt x="16094" y="76632"/>
                      <a:pt x="16626" y="75834"/>
                    </a:cubicBezTo>
                    <a:cubicBezTo>
                      <a:pt x="15206" y="74876"/>
                      <a:pt x="14816" y="73652"/>
                      <a:pt x="15277" y="71948"/>
                    </a:cubicBezTo>
                    <a:cubicBezTo>
                      <a:pt x="15455" y="71292"/>
                      <a:pt x="15100" y="70529"/>
                      <a:pt x="14426" y="69854"/>
                    </a:cubicBezTo>
                    <a:cubicBezTo>
                      <a:pt x="13468" y="68896"/>
                      <a:pt x="12811" y="67601"/>
                      <a:pt x="12101" y="66394"/>
                    </a:cubicBezTo>
                    <a:cubicBezTo>
                      <a:pt x="11782" y="65862"/>
                      <a:pt x="11338" y="65152"/>
                      <a:pt x="11463" y="64620"/>
                    </a:cubicBezTo>
                    <a:cubicBezTo>
                      <a:pt x="11871" y="62739"/>
                      <a:pt x="12172" y="60734"/>
                      <a:pt x="13095" y="59102"/>
                    </a:cubicBezTo>
                    <a:cubicBezTo>
                      <a:pt x="14337" y="56919"/>
                      <a:pt x="14284" y="54914"/>
                      <a:pt x="13343" y="51969"/>
                    </a:cubicBezTo>
                    <a:lnTo>
                      <a:pt x="13343" y="51969"/>
                    </a:lnTo>
                    <a:cubicBezTo>
                      <a:pt x="12811" y="53619"/>
                      <a:pt x="11888" y="53229"/>
                      <a:pt x="11090" y="53353"/>
                    </a:cubicBezTo>
                    <a:cubicBezTo>
                      <a:pt x="10814" y="53401"/>
                      <a:pt x="10612" y="53439"/>
                      <a:pt x="10447" y="53439"/>
                    </a:cubicBezTo>
                    <a:cubicBezTo>
                      <a:pt x="9997" y="53439"/>
                      <a:pt x="9823" y="53151"/>
                      <a:pt x="9174" y="51969"/>
                    </a:cubicBezTo>
                    <a:cubicBezTo>
                      <a:pt x="7861" y="50763"/>
                      <a:pt x="6619" y="49485"/>
                      <a:pt x="5447" y="48136"/>
                    </a:cubicBezTo>
                    <a:cubicBezTo>
                      <a:pt x="5270" y="47853"/>
                      <a:pt x="5146" y="47551"/>
                      <a:pt x="5110" y="47214"/>
                    </a:cubicBezTo>
                    <a:cubicBezTo>
                      <a:pt x="4862" y="45759"/>
                      <a:pt x="4649" y="44304"/>
                      <a:pt x="4773" y="42796"/>
                    </a:cubicBezTo>
                    <a:lnTo>
                      <a:pt x="4773" y="42796"/>
                    </a:lnTo>
                    <a:lnTo>
                      <a:pt x="9653" y="51756"/>
                    </a:lnTo>
                    <a:cubicBezTo>
                      <a:pt x="11924" y="50745"/>
                      <a:pt x="13680" y="49201"/>
                      <a:pt x="15650" y="47995"/>
                    </a:cubicBezTo>
                    <a:cubicBezTo>
                      <a:pt x="17034" y="47161"/>
                      <a:pt x="17584" y="45954"/>
                      <a:pt x="18045" y="44606"/>
                    </a:cubicBezTo>
                    <a:cubicBezTo>
                      <a:pt x="18205" y="44109"/>
                      <a:pt x="18329" y="43594"/>
                      <a:pt x="18436" y="43080"/>
                    </a:cubicBezTo>
                    <a:lnTo>
                      <a:pt x="15597" y="40542"/>
                    </a:lnTo>
                    <a:lnTo>
                      <a:pt x="15224" y="41749"/>
                    </a:lnTo>
                    <a:cubicBezTo>
                      <a:pt x="14000" y="41092"/>
                      <a:pt x="12793" y="40507"/>
                      <a:pt x="11640" y="39833"/>
                    </a:cubicBezTo>
                    <a:cubicBezTo>
                      <a:pt x="10593" y="39212"/>
                      <a:pt x="10433" y="38395"/>
                      <a:pt x="11374" y="37082"/>
                    </a:cubicBezTo>
                    <a:lnTo>
                      <a:pt x="11374" y="37082"/>
                    </a:lnTo>
                    <a:cubicBezTo>
                      <a:pt x="12448" y="38789"/>
                      <a:pt x="13681" y="39825"/>
                      <a:pt x="15346" y="39825"/>
                    </a:cubicBezTo>
                    <a:cubicBezTo>
                      <a:pt x="15689" y="39825"/>
                      <a:pt x="16049" y="39781"/>
                      <a:pt x="16431" y="39691"/>
                    </a:cubicBezTo>
                    <a:cubicBezTo>
                      <a:pt x="16437" y="39689"/>
                      <a:pt x="16444" y="39688"/>
                      <a:pt x="16450" y="39688"/>
                    </a:cubicBezTo>
                    <a:cubicBezTo>
                      <a:pt x="16592" y="39688"/>
                      <a:pt x="16795" y="40029"/>
                      <a:pt x="16998" y="40063"/>
                    </a:cubicBezTo>
                    <a:cubicBezTo>
                      <a:pt x="17810" y="40257"/>
                      <a:pt x="18605" y="40492"/>
                      <a:pt x="19428" y="40492"/>
                    </a:cubicBezTo>
                    <a:cubicBezTo>
                      <a:pt x="19811" y="40492"/>
                      <a:pt x="20200" y="40441"/>
                      <a:pt x="20600" y="40312"/>
                    </a:cubicBezTo>
                    <a:cubicBezTo>
                      <a:pt x="21150" y="40152"/>
                      <a:pt x="21718" y="40045"/>
                      <a:pt x="22304" y="40010"/>
                    </a:cubicBezTo>
                    <a:cubicBezTo>
                      <a:pt x="24003" y="41489"/>
                      <a:pt x="25144" y="42940"/>
                      <a:pt x="27015" y="42940"/>
                    </a:cubicBezTo>
                    <a:cubicBezTo>
                      <a:pt x="27253" y="42940"/>
                      <a:pt x="27504" y="42917"/>
                      <a:pt x="27769" y="42867"/>
                    </a:cubicBezTo>
                    <a:cubicBezTo>
                      <a:pt x="27999" y="44251"/>
                      <a:pt x="27875" y="45564"/>
                      <a:pt x="28407" y="46486"/>
                    </a:cubicBezTo>
                    <a:cubicBezTo>
                      <a:pt x="29614" y="48616"/>
                      <a:pt x="31158" y="50532"/>
                      <a:pt x="32701" y="52732"/>
                    </a:cubicBezTo>
                    <a:lnTo>
                      <a:pt x="34600" y="50425"/>
                    </a:lnTo>
                    <a:lnTo>
                      <a:pt x="34103" y="47196"/>
                    </a:lnTo>
                    <a:cubicBezTo>
                      <a:pt x="34972" y="46096"/>
                      <a:pt x="36268" y="45173"/>
                      <a:pt x="36286" y="44251"/>
                    </a:cubicBezTo>
                    <a:cubicBezTo>
                      <a:pt x="36303" y="42707"/>
                      <a:pt x="38503" y="42955"/>
                      <a:pt x="38202" y="41394"/>
                    </a:cubicBezTo>
                    <a:cubicBezTo>
                      <a:pt x="38184" y="41305"/>
                      <a:pt x="39604" y="40986"/>
                      <a:pt x="40313" y="40702"/>
                    </a:cubicBezTo>
                    <a:cubicBezTo>
                      <a:pt x="40650" y="40560"/>
                      <a:pt x="40899" y="40223"/>
                      <a:pt x="41378" y="39797"/>
                    </a:cubicBezTo>
                    <a:lnTo>
                      <a:pt x="44785" y="44978"/>
                    </a:lnTo>
                    <a:lnTo>
                      <a:pt x="46630" y="43914"/>
                    </a:lnTo>
                    <a:cubicBezTo>
                      <a:pt x="47553" y="45102"/>
                      <a:pt x="46754" y="46699"/>
                      <a:pt x="48067" y="47480"/>
                    </a:cubicBezTo>
                    <a:cubicBezTo>
                      <a:pt x="47020" y="50124"/>
                      <a:pt x="48741" y="51508"/>
                      <a:pt x="50445" y="52980"/>
                    </a:cubicBezTo>
                    <a:cubicBezTo>
                      <a:pt x="50764" y="53247"/>
                      <a:pt x="50640" y="54010"/>
                      <a:pt x="50746" y="54684"/>
                    </a:cubicBezTo>
                    <a:cubicBezTo>
                      <a:pt x="49546" y="54279"/>
                      <a:pt x="48739" y="53108"/>
                      <a:pt x="47515" y="53108"/>
                    </a:cubicBezTo>
                    <a:cubicBezTo>
                      <a:pt x="47074" y="53108"/>
                      <a:pt x="46579" y="53260"/>
                      <a:pt x="45991" y="53655"/>
                    </a:cubicBezTo>
                    <a:cubicBezTo>
                      <a:pt x="46130" y="53637"/>
                      <a:pt x="46261" y="53629"/>
                      <a:pt x="46385" y="53629"/>
                    </a:cubicBezTo>
                    <a:cubicBezTo>
                      <a:pt x="47902" y="53629"/>
                      <a:pt x="48314" y="54868"/>
                      <a:pt x="48954" y="55606"/>
                    </a:cubicBezTo>
                    <a:cubicBezTo>
                      <a:pt x="49646" y="56387"/>
                      <a:pt x="51119" y="56937"/>
                      <a:pt x="50782" y="58712"/>
                    </a:cubicBezTo>
                    <a:cubicBezTo>
                      <a:pt x="50925" y="58653"/>
                      <a:pt x="51063" y="58628"/>
                      <a:pt x="51196" y="58628"/>
                    </a:cubicBezTo>
                    <a:cubicBezTo>
                      <a:pt x="52116" y="58628"/>
                      <a:pt x="52822" y="59846"/>
                      <a:pt x="53828" y="59846"/>
                    </a:cubicBezTo>
                    <a:cubicBezTo>
                      <a:pt x="54135" y="59846"/>
                      <a:pt x="54469" y="59733"/>
                      <a:pt x="54845" y="59439"/>
                    </a:cubicBezTo>
                    <a:lnTo>
                      <a:pt x="55431" y="57026"/>
                    </a:lnTo>
                    <a:cubicBezTo>
                      <a:pt x="55147" y="56955"/>
                      <a:pt x="54863" y="56902"/>
                      <a:pt x="54579" y="56849"/>
                    </a:cubicBezTo>
                    <a:cubicBezTo>
                      <a:pt x="53053" y="56760"/>
                      <a:pt x="51385" y="55819"/>
                      <a:pt x="51793" y="55269"/>
                    </a:cubicBezTo>
                    <a:lnTo>
                      <a:pt x="52787" y="54844"/>
                    </a:lnTo>
                    <a:lnTo>
                      <a:pt x="52414" y="52501"/>
                    </a:lnTo>
                    <a:cubicBezTo>
                      <a:pt x="48866" y="49893"/>
                      <a:pt x="48440" y="48917"/>
                      <a:pt x="49770" y="46291"/>
                    </a:cubicBezTo>
                    <a:lnTo>
                      <a:pt x="49770" y="46291"/>
                    </a:lnTo>
                    <a:cubicBezTo>
                      <a:pt x="50462" y="46859"/>
                      <a:pt x="51208" y="47338"/>
                      <a:pt x="51775" y="47977"/>
                    </a:cubicBezTo>
                    <a:cubicBezTo>
                      <a:pt x="52326" y="48562"/>
                      <a:pt x="52698" y="49325"/>
                      <a:pt x="53088" y="49929"/>
                    </a:cubicBezTo>
                    <a:lnTo>
                      <a:pt x="55821" y="46948"/>
                    </a:lnTo>
                    <a:lnTo>
                      <a:pt x="55200" y="42955"/>
                    </a:lnTo>
                    <a:lnTo>
                      <a:pt x="52805" y="41447"/>
                    </a:lnTo>
                    <a:lnTo>
                      <a:pt x="53585" y="38253"/>
                    </a:lnTo>
                    <a:lnTo>
                      <a:pt x="55111" y="39229"/>
                    </a:lnTo>
                    <a:cubicBezTo>
                      <a:pt x="55111" y="40045"/>
                      <a:pt x="55111" y="40542"/>
                      <a:pt x="55111" y="41039"/>
                    </a:cubicBezTo>
                    <a:lnTo>
                      <a:pt x="56300" y="41021"/>
                    </a:lnTo>
                    <a:lnTo>
                      <a:pt x="56034" y="38466"/>
                    </a:lnTo>
                    <a:cubicBezTo>
                      <a:pt x="59778" y="37011"/>
                      <a:pt x="60754" y="35876"/>
                      <a:pt x="62546" y="30925"/>
                    </a:cubicBezTo>
                    <a:lnTo>
                      <a:pt x="59370" y="25407"/>
                    </a:lnTo>
                    <a:lnTo>
                      <a:pt x="60754" y="24609"/>
                    </a:lnTo>
                    <a:cubicBezTo>
                      <a:pt x="60620" y="24079"/>
                      <a:pt x="60336" y="23926"/>
                      <a:pt x="59999" y="23926"/>
                    </a:cubicBezTo>
                    <a:cubicBezTo>
                      <a:pt x="59536" y="23926"/>
                      <a:pt x="58975" y="24215"/>
                      <a:pt x="58567" y="24215"/>
                    </a:cubicBezTo>
                    <a:cubicBezTo>
                      <a:pt x="58326" y="24215"/>
                      <a:pt x="58138" y="24114"/>
                      <a:pt x="58057" y="23792"/>
                    </a:cubicBezTo>
                    <a:lnTo>
                      <a:pt x="59316" y="21344"/>
                    </a:lnTo>
                    <a:lnTo>
                      <a:pt x="60062" y="22692"/>
                    </a:lnTo>
                    <a:lnTo>
                      <a:pt x="61286" y="21858"/>
                    </a:lnTo>
                    <a:lnTo>
                      <a:pt x="63504" y="23775"/>
                    </a:lnTo>
                    <a:lnTo>
                      <a:pt x="64178" y="27040"/>
                    </a:lnTo>
                    <a:cubicBezTo>
                      <a:pt x="64959" y="25993"/>
                      <a:pt x="65598" y="25478"/>
                      <a:pt x="65775" y="24822"/>
                    </a:cubicBezTo>
                    <a:cubicBezTo>
                      <a:pt x="66201" y="23367"/>
                      <a:pt x="64356" y="23225"/>
                      <a:pt x="64089" y="22515"/>
                    </a:cubicBezTo>
                    <a:lnTo>
                      <a:pt x="64444" y="18647"/>
                    </a:lnTo>
                    <a:cubicBezTo>
                      <a:pt x="66520" y="17955"/>
                      <a:pt x="66538" y="17902"/>
                      <a:pt x="66609" y="16305"/>
                    </a:cubicBezTo>
                    <a:cubicBezTo>
                      <a:pt x="66698" y="14229"/>
                      <a:pt x="66840" y="12171"/>
                      <a:pt x="66964" y="10059"/>
                    </a:cubicBezTo>
                    <a:cubicBezTo>
                      <a:pt x="65951" y="8994"/>
                      <a:pt x="64617" y="8884"/>
                      <a:pt x="63235" y="8884"/>
                    </a:cubicBezTo>
                    <a:cubicBezTo>
                      <a:pt x="62876" y="8884"/>
                      <a:pt x="62514" y="8891"/>
                      <a:pt x="62153" y="8891"/>
                    </a:cubicBezTo>
                    <a:cubicBezTo>
                      <a:pt x="62029" y="8891"/>
                      <a:pt x="61906" y="8890"/>
                      <a:pt x="61783" y="8888"/>
                    </a:cubicBezTo>
                    <a:cubicBezTo>
                      <a:pt x="61978" y="8001"/>
                      <a:pt x="62209" y="7362"/>
                      <a:pt x="62262" y="6741"/>
                    </a:cubicBezTo>
                    <a:cubicBezTo>
                      <a:pt x="62297" y="6102"/>
                      <a:pt x="62173" y="5464"/>
                      <a:pt x="62120" y="4701"/>
                    </a:cubicBezTo>
                    <a:lnTo>
                      <a:pt x="65119" y="4239"/>
                    </a:lnTo>
                    <a:cubicBezTo>
                      <a:pt x="59052" y="1427"/>
                      <a:pt x="52479" y="0"/>
                      <a:pt x="4586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7" name="Google Shape;3847;p66"/>
              <p:cNvSpPr/>
              <p:nvPr/>
            </p:nvSpPr>
            <p:spPr>
              <a:xfrm>
                <a:off x="7010819" y="4061082"/>
                <a:ext cx="117645" cy="102137"/>
              </a:xfrm>
              <a:custGeom>
                <a:avLst/>
                <a:gdLst/>
                <a:ahLst/>
                <a:cxnLst/>
                <a:rect l="l" t="t" r="r" b="b"/>
                <a:pathLst>
                  <a:path w="20389" h="17709" extrusionOk="0">
                    <a:moveTo>
                      <a:pt x="17567" y="0"/>
                    </a:moveTo>
                    <a:lnTo>
                      <a:pt x="17567" y="0"/>
                    </a:lnTo>
                    <a:cubicBezTo>
                      <a:pt x="17070" y="1331"/>
                      <a:pt x="16644" y="2697"/>
                      <a:pt x="16307" y="4081"/>
                    </a:cubicBezTo>
                    <a:cubicBezTo>
                      <a:pt x="16278" y="4199"/>
                      <a:pt x="16114" y="4268"/>
                      <a:pt x="16100" y="4268"/>
                    </a:cubicBezTo>
                    <a:cubicBezTo>
                      <a:pt x="16097" y="4268"/>
                      <a:pt x="16100" y="4265"/>
                      <a:pt x="16112" y="4259"/>
                    </a:cubicBezTo>
                    <a:lnTo>
                      <a:pt x="13912" y="3034"/>
                    </a:lnTo>
                    <a:lnTo>
                      <a:pt x="14391" y="1437"/>
                    </a:lnTo>
                    <a:lnTo>
                      <a:pt x="12617" y="337"/>
                    </a:lnTo>
                    <a:cubicBezTo>
                      <a:pt x="12563" y="2112"/>
                      <a:pt x="10416" y="1970"/>
                      <a:pt x="10523" y="3655"/>
                    </a:cubicBezTo>
                    <a:cubicBezTo>
                      <a:pt x="10523" y="3709"/>
                      <a:pt x="10239" y="3797"/>
                      <a:pt x="10079" y="3815"/>
                    </a:cubicBezTo>
                    <a:cubicBezTo>
                      <a:pt x="8287" y="4028"/>
                      <a:pt x="8553" y="4418"/>
                      <a:pt x="7276" y="5305"/>
                    </a:cubicBezTo>
                    <a:cubicBezTo>
                      <a:pt x="5785" y="6352"/>
                      <a:pt x="5466" y="8730"/>
                      <a:pt x="3017" y="8765"/>
                    </a:cubicBezTo>
                    <a:cubicBezTo>
                      <a:pt x="2166" y="8783"/>
                      <a:pt x="1154" y="9919"/>
                      <a:pt x="569" y="10770"/>
                    </a:cubicBezTo>
                    <a:cubicBezTo>
                      <a:pt x="178" y="11356"/>
                      <a:pt x="1" y="12705"/>
                      <a:pt x="374" y="13095"/>
                    </a:cubicBezTo>
                    <a:cubicBezTo>
                      <a:pt x="1687" y="14443"/>
                      <a:pt x="746" y="15810"/>
                      <a:pt x="569" y="17708"/>
                    </a:cubicBezTo>
                    <a:cubicBezTo>
                      <a:pt x="3337" y="16519"/>
                      <a:pt x="5839" y="15668"/>
                      <a:pt x="8074" y="14213"/>
                    </a:cubicBezTo>
                    <a:lnTo>
                      <a:pt x="10558" y="15934"/>
                    </a:lnTo>
                    <a:lnTo>
                      <a:pt x="9866" y="17336"/>
                    </a:lnTo>
                    <a:cubicBezTo>
                      <a:pt x="11960" y="17300"/>
                      <a:pt x="13592" y="16998"/>
                      <a:pt x="14710" y="15508"/>
                    </a:cubicBezTo>
                    <a:cubicBezTo>
                      <a:pt x="16094" y="13645"/>
                      <a:pt x="17585" y="11835"/>
                      <a:pt x="18773" y="9866"/>
                    </a:cubicBezTo>
                    <a:cubicBezTo>
                      <a:pt x="19590" y="8482"/>
                      <a:pt x="20388" y="6885"/>
                      <a:pt x="18862" y="5305"/>
                    </a:cubicBezTo>
                    <a:cubicBezTo>
                      <a:pt x="18596" y="5039"/>
                      <a:pt x="18330" y="4330"/>
                      <a:pt x="18472" y="4099"/>
                    </a:cubicBezTo>
                    <a:cubicBezTo>
                      <a:pt x="19732" y="2307"/>
                      <a:pt x="17372" y="1491"/>
                      <a:pt x="1756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8" name="Google Shape;3848;p66"/>
              <p:cNvSpPr/>
              <p:nvPr/>
            </p:nvSpPr>
            <p:spPr>
              <a:xfrm>
                <a:off x="6995058" y="4000087"/>
                <a:ext cx="41059" cy="51071"/>
              </a:xfrm>
              <a:custGeom>
                <a:avLst/>
                <a:gdLst/>
                <a:ahLst/>
                <a:cxnLst/>
                <a:rect l="l" t="t" r="r" b="b"/>
                <a:pathLst>
                  <a:path w="7116" h="8855" extrusionOk="0">
                    <a:moveTo>
                      <a:pt x="5359" y="0"/>
                    </a:moveTo>
                    <a:cubicBezTo>
                      <a:pt x="4649" y="976"/>
                      <a:pt x="3993" y="1774"/>
                      <a:pt x="3460" y="2644"/>
                    </a:cubicBezTo>
                    <a:cubicBezTo>
                      <a:pt x="2910" y="3513"/>
                      <a:pt x="1455" y="3638"/>
                      <a:pt x="1828" y="5181"/>
                    </a:cubicBezTo>
                    <a:cubicBezTo>
                      <a:pt x="1354" y="4803"/>
                      <a:pt x="1037" y="4660"/>
                      <a:pt x="815" y="4660"/>
                    </a:cubicBezTo>
                    <a:cubicBezTo>
                      <a:pt x="256" y="4660"/>
                      <a:pt x="305" y="5571"/>
                      <a:pt x="1" y="5926"/>
                    </a:cubicBezTo>
                    <a:cubicBezTo>
                      <a:pt x="1136" y="7417"/>
                      <a:pt x="1438" y="7577"/>
                      <a:pt x="5412" y="8854"/>
                    </a:cubicBezTo>
                    <a:cubicBezTo>
                      <a:pt x="5590" y="7896"/>
                      <a:pt x="5625" y="7239"/>
                      <a:pt x="5820" y="6636"/>
                    </a:cubicBezTo>
                    <a:cubicBezTo>
                      <a:pt x="6033" y="6015"/>
                      <a:pt x="6335" y="5430"/>
                      <a:pt x="6708" y="4880"/>
                    </a:cubicBezTo>
                    <a:cubicBezTo>
                      <a:pt x="7116" y="4294"/>
                      <a:pt x="5696" y="4170"/>
                      <a:pt x="6459" y="3354"/>
                    </a:cubicBezTo>
                    <a:cubicBezTo>
                      <a:pt x="6849" y="2928"/>
                      <a:pt x="6637" y="1686"/>
                      <a:pt x="6778" y="1384"/>
                    </a:cubicBezTo>
                    <a:cubicBezTo>
                      <a:pt x="6832" y="1224"/>
                      <a:pt x="6867" y="1047"/>
                      <a:pt x="6885" y="870"/>
                    </a:cubicBezTo>
                    <a:lnTo>
                      <a:pt x="5359"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49" name="Google Shape;3849;p66"/>
              <p:cNvSpPr/>
              <p:nvPr/>
            </p:nvSpPr>
            <p:spPr>
              <a:xfrm>
                <a:off x="7078892" y="4018504"/>
                <a:ext cx="57544" cy="36030"/>
              </a:xfrm>
              <a:custGeom>
                <a:avLst/>
                <a:gdLst/>
                <a:ahLst/>
                <a:cxnLst/>
                <a:rect l="l" t="t" r="r" b="b"/>
                <a:pathLst>
                  <a:path w="9973" h="6247" extrusionOk="0">
                    <a:moveTo>
                      <a:pt x="0" y="1"/>
                    </a:moveTo>
                    <a:lnTo>
                      <a:pt x="266" y="1722"/>
                    </a:lnTo>
                    <a:lnTo>
                      <a:pt x="1668" y="1970"/>
                    </a:lnTo>
                    <a:lnTo>
                      <a:pt x="870" y="3177"/>
                    </a:lnTo>
                    <a:cubicBezTo>
                      <a:pt x="1300" y="3058"/>
                      <a:pt x="1704" y="3001"/>
                      <a:pt x="2079" y="3001"/>
                    </a:cubicBezTo>
                    <a:cubicBezTo>
                      <a:pt x="3221" y="3001"/>
                      <a:pt x="4106" y="3533"/>
                      <a:pt x="4720" y="4508"/>
                    </a:cubicBezTo>
                    <a:cubicBezTo>
                      <a:pt x="5319" y="5452"/>
                      <a:pt x="5558" y="5867"/>
                      <a:pt x="5945" y="5867"/>
                    </a:cubicBezTo>
                    <a:cubicBezTo>
                      <a:pt x="6235" y="5867"/>
                      <a:pt x="6607" y="5635"/>
                      <a:pt x="7275" y="5218"/>
                    </a:cubicBezTo>
                    <a:cubicBezTo>
                      <a:pt x="7453" y="5111"/>
                      <a:pt x="7648" y="5058"/>
                      <a:pt x="7861" y="5022"/>
                    </a:cubicBezTo>
                    <a:lnTo>
                      <a:pt x="9564" y="6247"/>
                    </a:lnTo>
                    <a:lnTo>
                      <a:pt x="9972" y="5679"/>
                    </a:lnTo>
                    <a:cubicBezTo>
                      <a:pt x="9582" y="4809"/>
                      <a:pt x="9262" y="3887"/>
                      <a:pt x="8819" y="3035"/>
                    </a:cubicBezTo>
                    <a:cubicBezTo>
                      <a:pt x="8151" y="1821"/>
                      <a:pt x="7070" y="1194"/>
                      <a:pt x="5857" y="1194"/>
                    </a:cubicBezTo>
                    <a:cubicBezTo>
                      <a:pt x="5138" y="1194"/>
                      <a:pt x="4373" y="1415"/>
                      <a:pt x="3620" y="1864"/>
                    </a:cubicBezTo>
                    <a:cubicBezTo>
                      <a:pt x="3336" y="2024"/>
                      <a:pt x="3052" y="2166"/>
                      <a:pt x="2644" y="2396"/>
                    </a:cubicBezTo>
                    <a:lnTo>
                      <a:pt x="1970" y="462"/>
                    </a:lnTo>
                    <a:lnTo>
                      <a:pt x="0"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0" name="Google Shape;3850;p66"/>
              <p:cNvSpPr/>
              <p:nvPr/>
            </p:nvSpPr>
            <p:spPr>
              <a:xfrm>
                <a:off x="7051663" y="3806456"/>
                <a:ext cx="38503" cy="70819"/>
              </a:xfrm>
              <a:custGeom>
                <a:avLst/>
                <a:gdLst/>
                <a:ahLst/>
                <a:cxnLst/>
                <a:rect l="l" t="t" r="r" b="b"/>
                <a:pathLst>
                  <a:path w="6673" h="12279" extrusionOk="0">
                    <a:moveTo>
                      <a:pt x="6672" y="1"/>
                    </a:moveTo>
                    <a:lnTo>
                      <a:pt x="6672" y="1"/>
                    </a:lnTo>
                    <a:cubicBezTo>
                      <a:pt x="6223" y="198"/>
                      <a:pt x="5784" y="260"/>
                      <a:pt x="5357" y="260"/>
                    </a:cubicBezTo>
                    <a:cubicBezTo>
                      <a:pt x="4670" y="260"/>
                      <a:pt x="4013" y="100"/>
                      <a:pt x="3390" y="89"/>
                    </a:cubicBezTo>
                    <a:lnTo>
                      <a:pt x="3088" y="2786"/>
                    </a:lnTo>
                    <a:lnTo>
                      <a:pt x="4809" y="5164"/>
                    </a:lnTo>
                    <a:lnTo>
                      <a:pt x="1" y="10771"/>
                    </a:lnTo>
                    <a:lnTo>
                      <a:pt x="1083" y="12279"/>
                    </a:lnTo>
                    <a:lnTo>
                      <a:pt x="6388" y="7772"/>
                    </a:lnTo>
                    <a:cubicBezTo>
                      <a:pt x="4454" y="6495"/>
                      <a:pt x="6175" y="3709"/>
                      <a:pt x="4383" y="2502"/>
                    </a:cubicBezTo>
                    <a:lnTo>
                      <a:pt x="6672"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1" name="Google Shape;3851;p66"/>
              <p:cNvSpPr/>
              <p:nvPr/>
            </p:nvSpPr>
            <p:spPr>
              <a:xfrm>
                <a:off x="6984824" y="4061618"/>
                <a:ext cx="42081" cy="8893"/>
              </a:xfrm>
              <a:custGeom>
                <a:avLst/>
                <a:gdLst/>
                <a:ahLst/>
                <a:cxnLst/>
                <a:rect l="l" t="t" r="r" b="b"/>
                <a:pathLst>
                  <a:path w="7293" h="1542" extrusionOk="0">
                    <a:moveTo>
                      <a:pt x="4286" y="0"/>
                    </a:moveTo>
                    <a:cubicBezTo>
                      <a:pt x="2949" y="0"/>
                      <a:pt x="1596" y="367"/>
                      <a:pt x="0" y="510"/>
                    </a:cubicBezTo>
                    <a:cubicBezTo>
                      <a:pt x="787" y="973"/>
                      <a:pt x="1302" y="1542"/>
                      <a:pt x="1738" y="1542"/>
                    </a:cubicBezTo>
                    <a:cubicBezTo>
                      <a:pt x="1970" y="1542"/>
                      <a:pt x="2179" y="1380"/>
                      <a:pt x="2396" y="954"/>
                    </a:cubicBezTo>
                    <a:cubicBezTo>
                      <a:pt x="2708" y="1325"/>
                      <a:pt x="3056" y="1432"/>
                      <a:pt x="3417" y="1432"/>
                    </a:cubicBezTo>
                    <a:cubicBezTo>
                      <a:pt x="3816" y="1432"/>
                      <a:pt x="4231" y="1302"/>
                      <a:pt x="4631" y="1256"/>
                    </a:cubicBezTo>
                    <a:cubicBezTo>
                      <a:pt x="5394" y="1149"/>
                      <a:pt x="6157" y="1025"/>
                      <a:pt x="7293" y="830"/>
                    </a:cubicBezTo>
                    <a:cubicBezTo>
                      <a:pt x="6240" y="198"/>
                      <a:pt x="5268" y="0"/>
                      <a:pt x="428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2" name="Google Shape;3852;p66"/>
              <p:cNvSpPr/>
              <p:nvPr/>
            </p:nvSpPr>
            <p:spPr>
              <a:xfrm>
                <a:off x="7035181" y="4030478"/>
                <a:ext cx="15469" cy="21703"/>
              </a:xfrm>
              <a:custGeom>
                <a:avLst/>
                <a:gdLst/>
                <a:ahLst/>
                <a:cxnLst/>
                <a:rect l="l" t="t" r="r" b="b"/>
                <a:pathLst>
                  <a:path w="2681" h="3763" extrusionOk="0">
                    <a:moveTo>
                      <a:pt x="2662" y="1"/>
                    </a:moveTo>
                    <a:cubicBezTo>
                      <a:pt x="19" y="675"/>
                      <a:pt x="1" y="764"/>
                      <a:pt x="1012" y="3763"/>
                    </a:cubicBezTo>
                    <a:lnTo>
                      <a:pt x="1491" y="2148"/>
                    </a:lnTo>
                    <a:lnTo>
                      <a:pt x="2201" y="3408"/>
                    </a:lnTo>
                    <a:lnTo>
                      <a:pt x="2680" y="3372"/>
                    </a:lnTo>
                    <a:cubicBezTo>
                      <a:pt x="2574" y="2840"/>
                      <a:pt x="2485" y="2308"/>
                      <a:pt x="2450" y="1758"/>
                    </a:cubicBezTo>
                    <a:cubicBezTo>
                      <a:pt x="2485" y="1172"/>
                      <a:pt x="2556" y="586"/>
                      <a:pt x="266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3" name="Google Shape;3853;p66"/>
              <p:cNvSpPr/>
              <p:nvPr/>
            </p:nvSpPr>
            <p:spPr>
              <a:xfrm>
                <a:off x="7045011" y="3983609"/>
                <a:ext cx="19047" cy="18121"/>
              </a:xfrm>
              <a:custGeom>
                <a:avLst/>
                <a:gdLst/>
                <a:ahLst/>
                <a:cxnLst/>
                <a:rect l="l" t="t" r="r" b="b"/>
                <a:pathLst>
                  <a:path w="3301" h="3142" extrusionOk="0">
                    <a:moveTo>
                      <a:pt x="3301" y="0"/>
                    </a:moveTo>
                    <a:lnTo>
                      <a:pt x="0" y="1455"/>
                    </a:lnTo>
                    <a:lnTo>
                      <a:pt x="550" y="2520"/>
                    </a:lnTo>
                    <a:lnTo>
                      <a:pt x="1154" y="1793"/>
                    </a:lnTo>
                    <a:lnTo>
                      <a:pt x="2804" y="3141"/>
                    </a:lnTo>
                    <a:lnTo>
                      <a:pt x="3301"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4" name="Google Shape;3854;p66"/>
              <p:cNvSpPr/>
              <p:nvPr/>
            </p:nvSpPr>
            <p:spPr>
              <a:xfrm>
                <a:off x="7034362" y="3943182"/>
                <a:ext cx="9734" cy="24570"/>
              </a:xfrm>
              <a:custGeom>
                <a:avLst/>
                <a:gdLst/>
                <a:ahLst/>
                <a:cxnLst/>
                <a:rect l="l" t="t" r="r" b="b"/>
                <a:pathLst>
                  <a:path w="1687" h="4260" extrusionOk="0">
                    <a:moveTo>
                      <a:pt x="249" y="1"/>
                    </a:moveTo>
                    <a:cubicBezTo>
                      <a:pt x="1" y="2627"/>
                      <a:pt x="1" y="2627"/>
                      <a:pt x="977" y="4259"/>
                    </a:cubicBezTo>
                    <a:cubicBezTo>
                      <a:pt x="1687" y="1261"/>
                      <a:pt x="1687" y="1261"/>
                      <a:pt x="249"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5" name="Google Shape;3855;p66"/>
              <p:cNvSpPr/>
              <p:nvPr/>
            </p:nvSpPr>
            <p:spPr>
              <a:xfrm>
                <a:off x="6724214" y="4015234"/>
                <a:ext cx="1131" cy="513"/>
              </a:xfrm>
              <a:custGeom>
                <a:avLst/>
                <a:gdLst/>
                <a:ahLst/>
                <a:cxnLst/>
                <a:rect l="l" t="t" r="r" b="b"/>
                <a:pathLst>
                  <a:path w="196" h="89" extrusionOk="0">
                    <a:moveTo>
                      <a:pt x="196" y="0"/>
                    </a:moveTo>
                    <a:lnTo>
                      <a:pt x="1" y="89"/>
                    </a:lnTo>
                    <a:lnTo>
                      <a:pt x="1" y="89"/>
                    </a:lnTo>
                    <a:lnTo>
                      <a:pt x="196" y="18"/>
                    </a:lnTo>
                    <a:lnTo>
                      <a:pt x="196"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6" name="Google Shape;3856;p66"/>
              <p:cNvSpPr/>
              <p:nvPr/>
            </p:nvSpPr>
            <p:spPr>
              <a:xfrm>
                <a:off x="7071623" y="3755083"/>
                <a:ext cx="16589" cy="16380"/>
              </a:xfrm>
              <a:custGeom>
                <a:avLst/>
                <a:gdLst/>
                <a:ahLst/>
                <a:cxnLst/>
                <a:rect l="l" t="t" r="r" b="b"/>
                <a:pathLst>
                  <a:path w="2875" h="2840" extrusionOk="0">
                    <a:moveTo>
                      <a:pt x="1" y="0"/>
                    </a:moveTo>
                    <a:lnTo>
                      <a:pt x="1" y="0"/>
                    </a:lnTo>
                    <a:cubicBezTo>
                      <a:pt x="835" y="1029"/>
                      <a:pt x="1739" y="1970"/>
                      <a:pt x="2733" y="2839"/>
                    </a:cubicBezTo>
                    <a:cubicBezTo>
                      <a:pt x="2840" y="2520"/>
                      <a:pt x="2875" y="2201"/>
                      <a:pt x="2822" y="1881"/>
                    </a:cubicBezTo>
                    <a:cubicBezTo>
                      <a:pt x="1899" y="1225"/>
                      <a:pt x="959" y="604"/>
                      <a:pt x="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7" name="Google Shape;3857;p66"/>
              <p:cNvSpPr/>
              <p:nvPr/>
            </p:nvSpPr>
            <p:spPr>
              <a:xfrm>
                <a:off x="6722575" y="4015741"/>
                <a:ext cx="1541" cy="727"/>
              </a:xfrm>
              <a:custGeom>
                <a:avLst/>
                <a:gdLst/>
                <a:ahLst/>
                <a:cxnLst/>
                <a:rect l="l" t="t" r="r" b="b"/>
                <a:pathLst>
                  <a:path w="267" h="126" extrusionOk="0">
                    <a:moveTo>
                      <a:pt x="267" y="1"/>
                    </a:moveTo>
                    <a:cubicBezTo>
                      <a:pt x="178" y="36"/>
                      <a:pt x="89" y="72"/>
                      <a:pt x="1" y="125"/>
                    </a:cubicBezTo>
                    <a:cubicBezTo>
                      <a:pt x="107" y="90"/>
                      <a:pt x="178" y="36"/>
                      <a:pt x="267"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58" name="Google Shape;3858;p66"/>
              <p:cNvSpPr/>
              <p:nvPr/>
            </p:nvSpPr>
            <p:spPr>
              <a:xfrm>
                <a:off x="6772321" y="4116142"/>
                <a:ext cx="30927" cy="46769"/>
              </a:xfrm>
              <a:custGeom>
                <a:avLst/>
                <a:gdLst/>
                <a:ahLst/>
                <a:cxnLst/>
                <a:rect l="l" t="t" r="r" b="b"/>
                <a:pathLst>
                  <a:path w="5360" h="8109" extrusionOk="0">
                    <a:moveTo>
                      <a:pt x="1828" y="0"/>
                    </a:moveTo>
                    <a:lnTo>
                      <a:pt x="1" y="2946"/>
                    </a:lnTo>
                    <a:cubicBezTo>
                      <a:pt x="444" y="3762"/>
                      <a:pt x="1030" y="4738"/>
                      <a:pt x="1527" y="5785"/>
                    </a:cubicBezTo>
                    <a:cubicBezTo>
                      <a:pt x="2308" y="7328"/>
                      <a:pt x="3479" y="8091"/>
                      <a:pt x="5359" y="8109"/>
                    </a:cubicBezTo>
                    <a:cubicBezTo>
                      <a:pt x="4667" y="6689"/>
                      <a:pt x="3993" y="5625"/>
                      <a:pt x="3798" y="4205"/>
                    </a:cubicBezTo>
                    <a:cubicBezTo>
                      <a:pt x="3621" y="2768"/>
                      <a:pt x="2574" y="1491"/>
                      <a:pt x="1828"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859" name="Google Shape;3859;p66"/>
          <p:cNvGrpSpPr/>
          <p:nvPr/>
        </p:nvGrpSpPr>
        <p:grpSpPr>
          <a:xfrm>
            <a:off x="10489961" y="5406175"/>
            <a:ext cx="250076" cy="250076"/>
            <a:chOff x="8565775" y="671075"/>
            <a:chExt cx="441000" cy="441000"/>
          </a:xfrm>
        </p:grpSpPr>
        <p:sp>
          <p:nvSpPr>
            <p:cNvPr id="3860" name="Google Shape;3860;p66"/>
            <p:cNvSpPr/>
            <p:nvPr/>
          </p:nvSpPr>
          <p:spPr>
            <a:xfrm>
              <a:off x="8565775" y="671075"/>
              <a:ext cx="441000" cy="441000"/>
            </a:xfrm>
            <a:prstGeom prst="ellipse">
              <a:avLst/>
            </a:prstGeom>
            <a:gradFill>
              <a:gsLst>
                <a:gs pos="0">
                  <a:srgbClr val="869FB1">
                    <a:alpha val="65920"/>
                  </a:srgbClr>
                </a:gs>
                <a:gs pos="100000">
                  <a:srgbClr val="FFFFFF">
                    <a:alpha val="0"/>
                    <a:alpha val="65920"/>
                  </a:srgbClr>
                </a:gs>
              </a:gsLst>
              <a:path path="circle">
                <a:fillToRect l="50000" t="50000" r="50000" b="50000"/>
              </a:path>
              <a:tileRect/>
            </a:gra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1" name="Google Shape;3861;p66"/>
            <p:cNvSpPr/>
            <p:nvPr/>
          </p:nvSpPr>
          <p:spPr>
            <a:xfrm>
              <a:off x="8706625" y="811925"/>
              <a:ext cx="159300" cy="159300"/>
            </a:xfrm>
            <a:prstGeom prst="ellipse">
              <a:avLst/>
            </a:prstGeom>
            <a:solidFill>
              <a:srgbClr val="D7DFE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3862" name="Google Shape;3862;p66"/>
          <p:cNvSpPr/>
          <p:nvPr/>
        </p:nvSpPr>
        <p:spPr>
          <a:xfrm>
            <a:off x="10891581" y="5400736"/>
            <a:ext cx="258244" cy="260955"/>
          </a:xfrm>
          <a:custGeom>
            <a:avLst/>
            <a:gdLst/>
            <a:ahLst/>
            <a:cxnLst/>
            <a:rect l="l" t="t" r="r" b="b"/>
            <a:pathLst>
              <a:path w="194168" h="196207" extrusionOk="0">
                <a:moveTo>
                  <a:pt x="11576" y="0"/>
                </a:moveTo>
                <a:cubicBezTo>
                  <a:pt x="8883" y="0"/>
                  <a:pt x="6181" y="987"/>
                  <a:pt x="4103" y="3065"/>
                </a:cubicBezTo>
                <a:cubicBezTo>
                  <a:pt x="1026" y="5799"/>
                  <a:pt x="1" y="10243"/>
                  <a:pt x="1368" y="14004"/>
                </a:cubicBezTo>
                <a:lnTo>
                  <a:pt x="65293" y="189369"/>
                </a:lnTo>
                <a:cubicBezTo>
                  <a:pt x="67002" y="193471"/>
                  <a:pt x="70762" y="196206"/>
                  <a:pt x="74864" y="196206"/>
                </a:cubicBezTo>
                <a:cubicBezTo>
                  <a:pt x="79308" y="196206"/>
                  <a:pt x="83410" y="193813"/>
                  <a:pt x="85120" y="190053"/>
                </a:cubicBezTo>
                <a:lnTo>
                  <a:pt x="114176" y="124077"/>
                </a:lnTo>
                <a:cubicBezTo>
                  <a:pt x="115202" y="121342"/>
                  <a:pt x="117595" y="119291"/>
                  <a:pt x="119988" y="118266"/>
                </a:cubicBezTo>
                <a:lnTo>
                  <a:pt x="187331" y="92286"/>
                </a:lnTo>
                <a:cubicBezTo>
                  <a:pt x="191433" y="90577"/>
                  <a:pt x="193826" y="86816"/>
                  <a:pt x="193826" y="82714"/>
                </a:cubicBezTo>
                <a:cubicBezTo>
                  <a:pt x="194168" y="78270"/>
                  <a:pt x="191433" y="74510"/>
                  <a:pt x="187673" y="72801"/>
                </a:cubicBezTo>
                <a:lnTo>
                  <a:pt x="15384" y="672"/>
                </a:lnTo>
                <a:cubicBezTo>
                  <a:pt x="14163" y="228"/>
                  <a:pt x="12871" y="0"/>
                  <a:pt x="11576" y="0"/>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3" name="Google Shape;3863;p66"/>
          <p:cNvSpPr/>
          <p:nvPr/>
        </p:nvSpPr>
        <p:spPr>
          <a:xfrm flipH="1">
            <a:off x="9835898" y="5356010"/>
            <a:ext cx="238119" cy="350407"/>
          </a:xfrm>
          <a:custGeom>
            <a:avLst/>
            <a:gdLst/>
            <a:ahLst/>
            <a:cxnLst/>
            <a:rect l="l" t="t" r="r" b="b"/>
            <a:pathLst>
              <a:path w="133027" h="195758" extrusionOk="0">
                <a:moveTo>
                  <a:pt x="65846" y="26249"/>
                </a:moveTo>
                <a:cubicBezTo>
                  <a:pt x="87201" y="26249"/>
                  <a:pt x="104108" y="43156"/>
                  <a:pt x="104108" y="64511"/>
                </a:cubicBezTo>
                <a:cubicBezTo>
                  <a:pt x="104108" y="85422"/>
                  <a:pt x="87201" y="102328"/>
                  <a:pt x="65846" y="102328"/>
                </a:cubicBezTo>
                <a:cubicBezTo>
                  <a:pt x="44936" y="102328"/>
                  <a:pt x="28029" y="85422"/>
                  <a:pt x="28029" y="64511"/>
                </a:cubicBezTo>
                <a:cubicBezTo>
                  <a:pt x="28029" y="43156"/>
                  <a:pt x="44936" y="26249"/>
                  <a:pt x="65846" y="26249"/>
                </a:cubicBezTo>
                <a:close/>
                <a:moveTo>
                  <a:pt x="66291" y="0"/>
                </a:moveTo>
                <a:cubicBezTo>
                  <a:pt x="29809" y="0"/>
                  <a:pt x="0" y="29809"/>
                  <a:pt x="0" y="66291"/>
                </a:cubicBezTo>
                <a:cubicBezTo>
                  <a:pt x="0" y="84977"/>
                  <a:pt x="18241" y="118345"/>
                  <a:pt x="18241" y="118345"/>
                </a:cubicBezTo>
                <a:lnTo>
                  <a:pt x="64066" y="195758"/>
                </a:lnTo>
                <a:lnTo>
                  <a:pt x="111671" y="119234"/>
                </a:lnTo>
                <a:cubicBezTo>
                  <a:pt x="111671" y="119234"/>
                  <a:pt x="133027" y="87201"/>
                  <a:pt x="133027" y="66291"/>
                </a:cubicBezTo>
                <a:cubicBezTo>
                  <a:pt x="133027" y="29809"/>
                  <a:pt x="103218" y="0"/>
                  <a:pt x="66291" y="0"/>
                </a:cubicBezTo>
                <a:close/>
              </a:path>
            </a:pathLst>
          </a:custGeom>
          <a:solidFill>
            <a:srgbClr val="C9D4D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64" name="Google Shape;3864;p66"/>
          <p:cNvGrpSpPr/>
          <p:nvPr/>
        </p:nvGrpSpPr>
        <p:grpSpPr>
          <a:xfrm>
            <a:off x="8028434" y="4177134"/>
            <a:ext cx="783828" cy="683164"/>
            <a:chOff x="6000100" y="3076250"/>
            <a:chExt cx="587871" cy="512373"/>
          </a:xfrm>
        </p:grpSpPr>
        <p:sp>
          <p:nvSpPr>
            <p:cNvPr id="3865" name="Google Shape;3865;p66"/>
            <p:cNvSpPr/>
            <p:nvPr/>
          </p:nvSpPr>
          <p:spPr>
            <a:xfrm>
              <a:off x="6000100" y="3076250"/>
              <a:ext cx="587871" cy="512373"/>
            </a:xfrm>
            <a:custGeom>
              <a:avLst/>
              <a:gdLst/>
              <a:ahLst/>
              <a:cxnLst/>
              <a:rect l="l" t="t" r="r" b="b"/>
              <a:pathLst>
                <a:path w="101884" h="88838" extrusionOk="0">
                  <a:moveTo>
                    <a:pt x="50272" y="0"/>
                  </a:moveTo>
                  <a:cubicBezTo>
                    <a:pt x="31897" y="0"/>
                    <a:pt x="14791" y="11087"/>
                    <a:pt x="8322" y="29000"/>
                  </a:cubicBezTo>
                  <a:cubicBezTo>
                    <a:pt x="1" y="51995"/>
                    <a:pt x="12332" y="77546"/>
                    <a:pt x="35878" y="86063"/>
                  </a:cubicBezTo>
                  <a:cubicBezTo>
                    <a:pt x="41078" y="87945"/>
                    <a:pt x="46391" y="88838"/>
                    <a:pt x="51602" y="88838"/>
                  </a:cubicBezTo>
                  <a:cubicBezTo>
                    <a:pt x="69970" y="88838"/>
                    <a:pt x="87079" y="77751"/>
                    <a:pt x="93562" y="59838"/>
                  </a:cubicBezTo>
                  <a:cubicBezTo>
                    <a:pt x="101883" y="36843"/>
                    <a:pt x="89534" y="11292"/>
                    <a:pt x="66006" y="2775"/>
                  </a:cubicBezTo>
                  <a:cubicBezTo>
                    <a:pt x="60802" y="893"/>
                    <a:pt x="55486" y="0"/>
                    <a:pt x="50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66" name="Google Shape;3866;p66"/>
            <p:cNvGrpSpPr/>
            <p:nvPr/>
          </p:nvGrpSpPr>
          <p:grpSpPr>
            <a:xfrm>
              <a:off x="6031360" y="3076713"/>
              <a:ext cx="539107" cy="480965"/>
              <a:chOff x="6031360" y="3076713"/>
              <a:chExt cx="539107" cy="480965"/>
            </a:xfrm>
          </p:grpSpPr>
          <p:sp>
            <p:nvSpPr>
              <p:cNvPr id="3867" name="Google Shape;3867;p66"/>
              <p:cNvSpPr/>
              <p:nvPr/>
            </p:nvSpPr>
            <p:spPr>
              <a:xfrm>
                <a:off x="6160232" y="3107767"/>
                <a:ext cx="410235" cy="449911"/>
              </a:xfrm>
              <a:custGeom>
                <a:avLst/>
                <a:gdLst/>
                <a:ahLst/>
                <a:cxnLst/>
                <a:rect l="l" t="t" r="r" b="b"/>
                <a:pathLst>
                  <a:path w="71098" h="78008" extrusionOk="0">
                    <a:moveTo>
                      <a:pt x="36108" y="3531"/>
                    </a:moveTo>
                    <a:lnTo>
                      <a:pt x="36835" y="4631"/>
                    </a:lnTo>
                    <a:cubicBezTo>
                      <a:pt x="36551" y="4826"/>
                      <a:pt x="36268" y="5039"/>
                      <a:pt x="35948" y="5217"/>
                    </a:cubicBezTo>
                    <a:cubicBezTo>
                      <a:pt x="35043" y="5749"/>
                      <a:pt x="34635" y="6459"/>
                      <a:pt x="35132" y="7488"/>
                    </a:cubicBezTo>
                    <a:cubicBezTo>
                      <a:pt x="35486" y="8208"/>
                      <a:pt x="35984" y="8561"/>
                      <a:pt x="36635" y="8561"/>
                    </a:cubicBezTo>
                    <a:cubicBezTo>
                      <a:pt x="36866" y="8561"/>
                      <a:pt x="37116" y="8517"/>
                      <a:pt x="37385" y="8428"/>
                    </a:cubicBezTo>
                    <a:cubicBezTo>
                      <a:pt x="37776" y="8304"/>
                      <a:pt x="38184" y="8198"/>
                      <a:pt x="38752" y="8056"/>
                    </a:cubicBezTo>
                    <a:lnTo>
                      <a:pt x="38752" y="8056"/>
                    </a:lnTo>
                    <a:cubicBezTo>
                      <a:pt x="38412" y="9075"/>
                      <a:pt x="37909" y="9331"/>
                      <a:pt x="37373" y="9331"/>
                    </a:cubicBezTo>
                    <a:cubicBezTo>
                      <a:pt x="36833" y="9331"/>
                      <a:pt x="36258" y="9072"/>
                      <a:pt x="35779" y="9072"/>
                    </a:cubicBezTo>
                    <a:cubicBezTo>
                      <a:pt x="35690" y="9072"/>
                      <a:pt x="35604" y="9081"/>
                      <a:pt x="35522" y="9102"/>
                    </a:cubicBezTo>
                    <a:lnTo>
                      <a:pt x="33162" y="11977"/>
                    </a:lnTo>
                    <a:lnTo>
                      <a:pt x="28585" y="11037"/>
                    </a:lnTo>
                    <a:lnTo>
                      <a:pt x="31832" y="10238"/>
                    </a:lnTo>
                    <a:cubicBezTo>
                      <a:pt x="32825" y="8162"/>
                      <a:pt x="33127" y="7062"/>
                      <a:pt x="32914" y="6228"/>
                    </a:cubicBezTo>
                    <a:lnTo>
                      <a:pt x="36108" y="3531"/>
                    </a:lnTo>
                    <a:close/>
                    <a:moveTo>
                      <a:pt x="38947" y="36232"/>
                    </a:moveTo>
                    <a:lnTo>
                      <a:pt x="38947" y="36232"/>
                    </a:lnTo>
                    <a:cubicBezTo>
                      <a:pt x="40402" y="36374"/>
                      <a:pt x="40561" y="37705"/>
                      <a:pt x="41253" y="38486"/>
                    </a:cubicBezTo>
                    <a:cubicBezTo>
                      <a:pt x="40278" y="40029"/>
                      <a:pt x="42194" y="41076"/>
                      <a:pt x="41963" y="42673"/>
                    </a:cubicBezTo>
                    <a:cubicBezTo>
                      <a:pt x="41786" y="43862"/>
                      <a:pt x="42833" y="45264"/>
                      <a:pt x="43241" y="46648"/>
                    </a:cubicBezTo>
                    <a:cubicBezTo>
                      <a:pt x="43560" y="47641"/>
                      <a:pt x="43507" y="48741"/>
                      <a:pt x="43046" y="49699"/>
                    </a:cubicBezTo>
                    <a:lnTo>
                      <a:pt x="40473" y="45760"/>
                    </a:lnTo>
                    <a:cubicBezTo>
                      <a:pt x="41449" y="42726"/>
                      <a:pt x="39160" y="39728"/>
                      <a:pt x="38947" y="36232"/>
                    </a:cubicBezTo>
                    <a:close/>
                    <a:moveTo>
                      <a:pt x="36430" y="1"/>
                    </a:moveTo>
                    <a:cubicBezTo>
                      <a:pt x="35873" y="1"/>
                      <a:pt x="35316" y="87"/>
                      <a:pt x="34759" y="284"/>
                    </a:cubicBezTo>
                    <a:cubicBezTo>
                      <a:pt x="33659" y="657"/>
                      <a:pt x="32346" y="870"/>
                      <a:pt x="31885" y="2005"/>
                    </a:cubicBezTo>
                    <a:cubicBezTo>
                      <a:pt x="31264" y="3567"/>
                      <a:pt x="29809" y="3549"/>
                      <a:pt x="28656" y="3992"/>
                    </a:cubicBezTo>
                    <a:cubicBezTo>
                      <a:pt x="26331" y="4826"/>
                      <a:pt x="26012" y="5465"/>
                      <a:pt x="27006" y="7683"/>
                    </a:cubicBezTo>
                    <a:lnTo>
                      <a:pt x="29791" y="7736"/>
                    </a:lnTo>
                    <a:lnTo>
                      <a:pt x="29046" y="10327"/>
                    </a:lnTo>
                    <a:lnTo>
                      <a:pt x="28425" y="7736"/>
                    </a:lnTo>
                    <a:lnTo>
                      <a:pt x="26633" y="11143"/>
                    </a:lnTo>
                    <a:cubicBezTo>
                      <a:pt x="25746" y="11374"/>
                      <a:pt x="24734" y="11391"/>
                      <a:pt x="24113" y="11870"/>
                    </a:cubicBezTo>
                    <a:cubicBezTo>
                      <a:pt x="22960" y="12775"/>
                      <a:pt x="21328" y="12509"/>
                      <a:pt x="20352" y="13680"/>
                    </a:cubicBezTo>
                    <a:lnTo>
                      <a:pt x="19695" y="12900"/>
                    </a:lnTo>
                    <a:lnTo>
                      <a:pt x="18808" y="14106"/>
                    </a:lnTo>
                    <a:cubicBezTo>
                      <a:pt x="18523" y="13971"/>
                      <a:pt x="18518" y="13452"/>
                      <a:pt x="18160" y="13452"/>
                    </a:cubicBezTo>
                    <a:cubicBezTo>
                      <a:pt x="18049" y="13452"/>
                      <a:pt x="17905" y="13501"/>
                      <a:pt x="17708" y="13627"/>
                    </a:cubicBezTo>
                    <a:lnTo>
                      <a:pt x="18560" y="17193"/>
                    </a:lnTo>
                    <a:cubicBezTo>
                      <a:pt x="17972" y="17718"/>
                      <a:pt x="17385" y="18062"/>
                      <a:pt x="16823" y="18062"/>
                    </a:cubicBezTo>
                    <a:cubicBezTo>
                      <a:pt x="16435" y="18062"/>
                      <a:pt x="16059" y="17897"/>
                      <a:pt x="15703" y="17513"/>
                    </a:cubicBezTo>
                    <a:cubicBezTo>
                      <a:pt x="14869" y="16626"/>
                      <a:pt x="13929" y="16750"/>
                      <a:pt x="13112" y="16643"/>
                    </a:cubicBezTo>
                    <a:lnTo>
                      <a:pt x="11196" y="21381"/>
                    </a:lnTo>
                    <a:cubicBezTo>
                      <a:pt x="11922" y="22616"/>
                      <a:pt x="12753" y="22986"/>
                      <a:pt x="13632" y="22986"/>
                    </a:cubicBezTo>
                    <a:cubicBezTo>
                      <a:pt x="14835" y="22986"/>
                      <a:pt x="16130" y="22292"/>
                      <a:pt x="17371" y="22179"/>
                    </a:cubicBezTo>
                    <a:lnTo>
                      <a:pt x="17868" y="20618"/>
                    </a:lnTo>
                    <a:cubicBezTo>
                      <a:pt x="19961" y="20600"/>
                      <a:pt x="19961" y="20600"/>
                      <a:pt x="21594" y="18879"/>
                    </a:cubicBezTo>
                    <a:lnTo>
                      <a:pt x="22587" y="19784"/>
                    </a:lnTo>
                    <a:lnTo>
                      <a:pt x="24646" y="19181"/>
                    </a:lnTo>
                    <a:lnTo>
                      <a:pt x="28762" y="24788"/>
                    </a:lnTo>
                    <a:lnTo>
                      <a:pt x="24930" y="23971"/>
                    </a:lnTo>
                    <a:lnTo>
                      <a:pt x="24930" y="23971"/>
                    </a:lnTo>
                    <a:lnTo>
                      <a:pt x="26544" y="25746"/>
                    </a:lnTo>
                    <a:cubicBezTo>
                      <a:pt x="28177" y="25604"/>
                      <a:pt x="29507" y="24930"/>
                      <a:pt x="30182" y="23209"/>
                    </a:cubicBezTo>
                    <a:cubicBezTo>
                      <a:pt x="29738" y="22747"/>
                      <a:pt x="29365" y="22321"/>
                      <a:pt x="28957" y="21949"/>
                    </a:cubicBezTo>
                    <a:cubicBezTo>
                      <a:pt x="28017" y="21150"/>
                      <a:pt x="27165" y="20352"/>
                      <a:pt x="27502" y="18400"/>
                    </a:cubicBezTo>
                    <a:lnTo>
                      <a:pt x="27502" y="18400"/>
                    </a:lnTo>
                    <a:cubicBezTo>
                      <a:pt x="28336" y="19678"/>
                      <a:pt x="28709" y="20902"/>
                      <a:pt x="29472" y="21239"/>
                    </a:cubicBezTo>
                    <a:cubicBezTo>
                      <a:pt x="30678" y="21771"/>
                      <a:pt x="30785" y="22641"/>
                      <a:pt x="30927" y="23617"/>
                    </a:cubicBezTo>
                    <a:cubicBezTo>
                      <a:pt x="31016" y="24255"/>
                      <a:pt x="30874" y="24965"/>
                      <a:pt x="31087" y="25551"/>
                    </a:cubicBezTo>
                    <a:cubicBezTo>
                      <a:pt x="31282" y="26083"/>
                      <a:pt x="31832" y="26473"/>
                      <a:pt x="32187" y="26952"/>
                    </a:cubicBezTo>
                    <a:cubicBezTo>
                      <a:pt x="32275" y="27077"/>
                      <a:pt x="32329" y="27236"/>
                      <a:pt x="32329" y="27396"/>
                    </a:cubicBezTo>
                    <a:lnTo>
                      <a:pt x="34369" y="26225"/>
                    </a:lnTo>
                    <a:cubicBezTo>
                      <a:pt x="33860" y="25322"/>
                      <a:pt x="33670" y="24632"/>
                      <a:pt x="34867" y="24632"/>
                    </a:cubicBezTo>
                    <a:cubicBezTo>
                      <a:pt x="34964" y="24632"/>
                      <a:pt x="35070" y="24636"/>
                      <a:pt x="35185" y="24646"/>
                    </a:cubicBezTo>
                    <a:cubicBezTo>
                      <a:pt x="35416" y="25462"/>
                      <a:pt x="35718" y="26189"/>
                      <a:pt x="35753" y="26917"/>
                    </a:cubicBezTo>
                    <a:cubicBezTo>
                      <a:pt x="35859" y="28390"/>
                      <a:pt x="37013" y="29011"/>
                      <a:pt x="38024" y="29224"/>
                    </a:cubicBezTo>
                    <a:cubicBezTo>
                      <a:pt x="38126" y="29247"/>
                      <a:pt x="38227" y="29254"/>
                      <a:pt x="38330" y="29254"/>
                    </a:cubicBezTo>
                    <a:cubicBezTo>
                      <a:pt x="38476" y="29254"/>
                      <a:pt x="38623" y="29240"/>
                      <a:pt x="38773" y="29240"/>
                    </a:cubicBezTo>
                    <a:cubicBezTo>
                      <a:pt x="39073" y="29240"/>
                      <a:pt x="39384" y="29296"/>
                      <a:pt x="39710" y="29632"/>
                    </a:cubicBezTo>
                    <a:cubicBezTo>
                      <a:pt x="39812" y="29734"/>
                      <a:pt x="39986" y="29769"/>
                      <a:pt x="40202" y="29769"/>
                    </a:cubicBezTo>
                    <a:cubicBezTo>
                      <a:pt x="40620" y="29769"/>
                      <a:pt x="41193" y="29637"/>
                      <a:pt x="41697" y="29614"/>
                    </a:cubicBezTo>
                    <a:lnTo>
                      <a:pt x="41697" y="29614"/>
                    </a:lnTo>
                    <a:cubicBezTo>
                      <a:pt x="41182" y="31175"/>
                      <a:pt x="41608" y="32825"/>
                      <a:pt x="39657" y="33517"/>
                    </a:cubicBezTo>
                    <a:cubicBezTo>
                      <a:pt x="37368" y="32683"/>
                      <a:pt x="34369" y="33198"/>
                      <a:pt x="32488" y="30608"/>
                    </a:cubicBezTo>
                    <a:cubicBezTo>
                      <a:pt x="32240" y="30253"/>
                      <a:pt x="31388" y="30306"/>
                      <a:pt x="30820" y="30217"/>
                    </a:cubicBezTo>
                    <a:cubicBezTo>
                      <a:pt x="30607" y="30217"/>
                      <a:pt x="30395" y="30270"/>
                      <a:pt x="30182" y="30324"/>
                    </a:cubicBezTo>
                    <a:lnTo>
                      <a:pt x="29507" y="32151"/>
                    </a:lnTo>
                    <a:cubicBezTo>
                      <a:pt x="27875" y="31246"/>
                      <a:pt x="26686" y="29969"/>
                      <a:pt x="25373" y="29259"/>
                    </a:cubicBezTo>
                    <a:cubicBezTo>
                      <a:pt x="23918" y="28496"/>
                      <a:pt x="23794" y="27431"/>
                      <a:pt x="23794" y="26456"/>
                    </a:cubicBezTo>
                    <a:cubicBezTo>
                      <a:pt x="23808" y="24745"/>
                      <a:pt x="23906" y="24354"/>
                      <a:pt x="23055" y="24354"/>
                    </a:cubicBezTo>
                    <a:cubicBezTo>
                      <a:pt x="22802" y="24354"/>
                      <a:pt x="22466" y="24388"/>
                      <a:pt x="22020" y="24433"/>
                    </a:cubicBezTo>
                    <a:cubicBezTo>
                      <a:pt x="21712" y="24458"/>
                      <a:pt x="21377" y="24558"/>
                      <a:pt x="21074" y="24558"/>
                    </a:cubicBezTo>
                    <a:cubicBezTo>
                      <a:pt x="20958" y="24558"/>
                      <a:pt x="20846" y="24543"/>
                      <a:pt x="20742" y="24504"/>
                    </a:cubicBezTo>
                    <a:cubicBezTo>
                      <a:pt x="20157" y="24291"/>
                      <a:pt x="19678" y="23670"/>
                      <a:pt x="19092" y="23546"/>
                    </a:cubicBezTo>
                    <a:cubicBezTo>
                      <a:pt x="19019" y="23530"/>
                      <a:pt x="18944" y="23524"/>
                      <a:pt x="18868" y="23524"/>
                    </a:cubicBezTo>
                    <a:cubicBezTo>
                      <a:pt x="18388" y="23524"/>
                      <a:pt x="17849" y="23788"/>
                      <a:pt x="17363" y="23788"/>
                    </a:cubicBezTo>
                    <a:cubicBezTo>
                      <a:pt x="17305" y="23788"/>
                      <a:pt x="17249" y="23784"/>
                      <a:pt x="17193" y="23776"/>
                    </a:cubicBezTo>
                    <a:cubicBezTo>
                      <a:pt x="17025" y="23751"/>
                      <a:pt x="16855" y="23741"/>
                      <a:pt x="16686" y="23741"/>
                    </a:cubicBezTo>
                    <a:cubicBezTo>
                      <a:pt x="15885" y="23741"/>
                      <a:pt x="15077" y="23971"/>
                      <a:pt x="14280" y="23971"/>
                    </a:cubicBezTo>
                    <a:cubicBezTo>
                      <a:pt x="13809" y="23971"/>
                      <a:pt x="13342" y="23890"/>
                      <a:pt x="12882" y="23634"/>
                    </a:cubicBezTo>
                    <a:cubicBezTo>
                      <a:pt x="12688" y="23891"/>
                      <a:pt x="12389" y="23939"/>
                      <a:pt x="12067" y="23939"/>
                    </a:cubicBezTo>
                    <a:cubicBezTo>
                      <a:pt x="11878" y="23939"/>
                      <a:pt x="11682" y="23923"/>
                      <a:pt x="11494" y="23923"/>
                    </a:cubicBezTo>
                    <a:cubicBezTo>
                      <a:pt x="11005" y="23923"/>
                      <a:pt x="10573" y="24032"/>
                      <a:pt x="10486" y="24823"/>
                    </a:cubicBezTo>
                    <a:cubicBezTo>
                      <a:pt x="8943" y="25125"/>
                      <a:pt x="8925" y="26935"/>
                      <a:pt x="7594" y="27644"/>
                    </a:cubicBezTo>
                    <a:cubicBezTo>
                      <a:pt x="6636" y="28159"/>
                      <a:pt x="5270" y="28461"/>
                      <a:pt x="4720" y="29365"/>
                    </a:cubicBezTo>
                    <a:cubicBezTo>
                      <a:pt x="3992" y="30554"/>
                      <a:pt x="2733" y="30874"/>
                      <a:pt x="1899" y="31779"/>
                    </a:cubicBezTo>
                    <a:cubicBezTo>
                      <a:pt x="1420" y="32311"/>
                      <a:pt x="1100" y="33021"/>
                      <a:pt x="692" y="33695"/>
                    </a:cubicBezTo>
                    <a:lnTo>
                      <a:pt x="2058" y="34529"/>
                    </a:lnTo>
                    <a:lnTo>
                      <a:pt x="0" y="40331"/>
                    </a:lnTo>
                    <a:cubicBezTo>
                      <a:pt x="568" y="41839"/>
                      <a:pt x="1828" y="42460"/>
                      <a:pt x="1579" y="43844"/>
                    </a:cubicBezTo>
                    <a:cubicBezTo>
                      <a:pt x="1526" y="44093"/>
                      <a:pt x="4542" y="47659"/>
                      <a:pt x="4720" y="47677"/>
                    </a:cubicBezTo>
                    <a:cubicBezTo>
                      <a:pt x="6407" y="47823"/>
                      <a:pt x="7973" y="48589"/>
                      <a:pt x="9698" y="48589"/>
                    </a:cubicBezTo>
                    <a:cubicBezTo>
                      <a:pt x="10059" y="48589"/>
                      <a:pt x="10428" y="48555"/>
                      <a:pt x="10806" y="48475"/>
                    </a:cubicBezTo>
                    <a:cubicBezTo>
                      <a:pt x="10987" y="48438"/>
                      <a:pt x="11194" y="48420"/>
                      <a:pt x="11413" y="48420"/>
                    </a:cubicBezTo>
                    <a:cubicBezTo>
                      <a:pt x="12352" y="48420"/>
                      <a:pt x="13516" y="48748"/>
                      <a:pt x="13875" y="49309"/>
                    </a:cubicBezTo>
                    <a:cubicBezTo>
                      <a:pt x="14692" y="50587"/>
                      <a:pt x="15916" y="50622"/>
                      <a:pt x="17140" y="51048"/>
                    </a:cubicBezTo>
                    <a:lnTo>
                      <a:pt x="16076" y="56140"/>
                    </a:lnTo>
                    <a:cubicBezTo>
                      <a:pt x="17477" y="57542"/>
                      <a:pt x="16874" y="59405"/>
                      <a:pt x="17513" y="60896"/>
                    </a:cubicBezTo>
                    <a:cubicBezTo>
                      <a:pt x="17939" y="61907"/>
                      <a:pt x="17566" y="62439"/>
                      <a:pt x="17105" y="63291"/>
                    </a:cubicBezTo>
                    <a:cubicBezTo>
                      <a:pt x="16484" y="64409"/>
                      <a:pt x="14922" y="65544"/>
                      <a:pt x="15526" y="66751"/>
                    </a:cubicBezTo>
                    <a:cubicBezTo>
                      <a:pt x="16359" y="68454"/>
                      <a:pt x="16218" y="70264"/>
                      <a:pt x="16218" y="71879"/>
                    </a:cubicBezTo>
                    <a:cubicBezTo>
                      <a:pt x="16218" y="73795"/>
                      <a:pt x="17726" y="75427"/>
                      <a:pt x="16697" y="77361"/>
                    </a:cubicBezTo>
                    <a:cubicBezTo>
                      <a:pt x="17566" y="77539"/>
                      <a:pt x="18134" y="77610"/>
                      <a:pt x="18684" y="77787"/>
                    </a:cubicBezTo>
                    <a:cubicBezTo>
                      <a:pt x="19160" y="77941"/>
                      <a:pt x="19615" y="78007"/>
                      <a:pt x="20054" y="78007"/>
                    </a:cubicBezTo>
                    <a:cubicBezTo>
                      <a:pt x="21942" y="78007"/>
                      <a:pt x="23543" y="76798"/>
                      <a:pt x="25284" y="76208"/>
                    </a:cubicBezTo>
                    <a:cubicBezTo>
                      <a:pt x="25497" y="74416"/>
                      <a:pt x="27183" y="74310"/>
                      <a:pt x="28336" y="73671"/>
                    </a:cubicBezTo>
                    <a:cubicBezTo>
                      <a:pt x="29472" y="73032"/>
                      <a:pt x="29064" y="71826"/>
                      <a:pt x="29436" y="71240"/>
                    </a:cubicBezTo>
                    <a:cubicBezTo>
                      <a:pt x="30359" y="70814"/>
                      <a:pt x="31051" y="70495"/>
                      <a:pt x="31761" y="70175"/>
                    </a:cubicBezTo>
                    <a:cubicBezTo>
                      <a:pt x="32701" y="69750"/>
                      <a:pt x="34032" y="69998"/>
                      <a:pt x="34351" y="68472"/>
                    </a:cubicBezTo>
                    <a:cubicBezTo>
                      <a:pt x="34564" y="67407"/>
                      <a:pt x="35593" y="66680"/>
                      <a:pt x="35682" y="65456"/>
                    </a:cubicBezTo>
                    <a:cubicBezTo>
                      <a:pt x="35789" y="64196"/>
                      <a:pt x="36179" y="62972"/>
                      <a:pt x="36427" y="61783"/>
                    </a:cubicBezTo>
                    <a:cubicBezTo>
                      <a:pt x="38255" y="60576"/>
                      <a:pt x="39869" y="58979"/>
                      <a:pt x="41786" y="58376"/>
                    </a:cubicBezTo>
                    <a:cubicBezTo>
                      <a:pt x="44997" y="57365"/>
                      <a:pt x="46843" y="55306"/>
                      <a:pt x="48156" y="52432"/>
                    </a:cubicBezTo>
                    <a:cubicBezTo>
                      <a:pt x="47847" y="52304"/>
                      <a:pt x="47534" y="52259"/>
                      <a:pt x="47221" y="52259"/>
                    </a:cubicBezTo>
                    <a:cubicBezTo>
                      <a:pt x="46487" y="52259"/>
                      <a:pt x="45750" y="52505"/>
                      <a:pt x="45050" y="52505"/>
                    </a:cubicBezTo>
                    <a:cubicBezTo>
                      <a:pt x="44519" y="52505"/>
                      <a:pt x="44011" y="52363"/>
                      <a:pt x="43542" y="51864"/>
                    </a:cubicBezTo>
                    <a:cubicBezTo>
                      <a:pt x="44838" y="50108"/>
                      <a:pt x="44909" y="50037"/>
                      <a:pt x="46293" y="49859"/>
                    </a:cubicBezTo>
                    <a:cubicBezTo>
                      <a:pt x="49646" y="49451"/>
                      <a:pt x="52822" y="48599"/>
                      <a:pt x="55395" y="46222"/>
                    </a:cubicBezTo>
                    <a:cubicBezTo>
                      <a:pt x="55484" y="45760"/>
                      <a:pt x="55697" y="45281"/>
                      <a:pt x="55643" y="44838"/>
                    </a:cubicBezTo>
                    <a:cubicBezTo>
                      <a:pt x="55519" y="44022"/>
                      <a:pt x="55359" y="43205"/>
                      <a:pt x="55164" y="42389"/>
                    </a:cubicBezTo>
                    <a:lnTo>
                      <a:pt x="54224" y="42886"/>
                    </a:lnTo>
                    <a:lnTo>
                      <a:pt x="53887" y="41254"/>
                    </a:lnTo>
                    <a:lnTo>
                      <a:pt x="53017" y="42655"/>
                    </a:lnTo>
                    <a:cubicBezTo>
                      <a:pt x="51775" y="40810"/>
                      <a:pt x="49327" y="39763"/>
                      <a:pt x="49735" y="36906"/>
                    </a:cubicBezTo>
                    <a:lnTo>
                      <a:pt x="49735" y="36906"/>
                    </a:lnTo>
                    <a:cubicBezTo>
                      <a:pt x="51738" y="37643"/>
                      <a:pt x="51709" y="40841"/>
                      <a:pt x="54224" y="40841"/>
                    </a:cubicBezTo>
                    <a:cubicBezTo>
                      <a:pt x="54315" y="40841"/>
                      <a:pt x="54410" y="40836"/>
                      <a:pt x="54508" y="40828"/>
                    </a:cubicBezTo>
                    <a:cubicBezTo>
                      <a:pt x="55927" y="42620"/>
                      <a:pt x="57968" y="43134"/>
                      <a:pt x="59831" y="43365"/>
                    </a:cubicBezTo>
                    <a:lnTo>
                      <a:pt x="61091" y="47286"/>
                    </a:lnTo>
                    <a:lnTo>
                      <a:pt x="62244" y="46683"/>
                    </a:lnTo>
                    <a:lnTo>
                      <a:pt x="61215" y="57010"/>
                    </a:lnTo>
                    <a:cubicBezTo>
                      <a:pt x="61641" y="57382"/>
                      <a:pt x="62102" y="57613"/>
                      <a:pt x="62208" y="57950"/>
                    </a:cubicBezTo>
                    <a:cubicBezTo>
                      <a:pt x="62350" y="58411"/>
                      <a:pt x="62226" y="58944"/>
                      <a:pt x="62226" y="59547"/>
                    </a:cubicBezTo>
                    <a:cubicBezTo>
                      <a:pt x="64054" y="58323"/>
                      <a:pt x="61783" y="56531"/>
                      <a:pt x="63397" y="55164"/>
                    </a:cubicBezTo>
                    <a:cubicBezTo>
                      <a:pt x="64338" y="54348"/>
                      <a:pt x="63894" y="52503"/>
                      <a:pt x="65420" y="51421"/>
                    </a:cubicBezTo>
                    <a:cubicBezTo>
                      <a:pt x="66236" y="50835"/>
                      <a:pt x="66627" y="49575"/>
                      <a:pt x="67407" y="48670"/>
                    </a:cubicBezTo>
                    <a:cubicBezTo>
                      <a:pt x="71098" y="31370"/>
                      <a:pt x="63805" y="13556"/>
                      <a:pt x="49451" y="3265"/>
                    </a:cubicBezTo>
                    <a:lnTo>
                      <a:pt x="47836" y="4223"/>
                    </a:lnTo>
                    <a:lnTo>
                      <a:pt x="47286" y="3425"/>
                    </a:lnTo>
                    <a:lnTo>
                      <a:pt x="45068" y="5465"/>
                    </a:lnTo>
                    <a:lnTo>
                      <a:pt x="44802" y="2963"/>
                    </a:lnTo>
                    <a:cubicBezTo>
                      <a:pt x="44483" y="4383"/>
                      <a:pt x="44412" y="5554"/>
                      <a:pt x="43383" y="6193"/>
                    </a:cubicBezTo>
                    <a:lnTo>
                      <a:pt x="41094" y="4844"/>
                    </a:lnTo>
                    <a:lnTo>
                      <a:pt x="41253" y="4702"/>
                    </a:lnTo>
                    <a:lnTo>
                      <a:pt x="43436" y="4525"/>
                    </a:lnTo>
                    <a:cubicBezTo>
                      <a:pt x="43312" y="3975"/>
                      <a:pt x="43329" y="3673"/>
                      <a:pt x="43205" y="3567"/>
                    </a:cubicBezTo>
                    <a:cubicBezTo>
                      <a:pt x="41857" y="2502"/>
                      <a:pt x="40153" y="1934"/>
                      <a:pt x="38929" y="657"/>
                    </a:cubicBezTo>
                    <a:cubicBezTo>
                      <a:pt x="38787" y="497"/>
                      <a:pt x="38592" y="390"/>
                      <a:pt x="38379" y="319"/>
                    </a:cubicBezTo>
                    <a:cubicBezTo>
                      <a:pt x="37729" y="119"/>
                      <a:pt x="37080" y="1"/>
                      <a:pt x="3643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8" name="Google Shape;3868;p66"/>
              <p:cNvSpPr/>
              <p:nvPr/>
            </p:nvSpPr>
            <p:spPr>
              <a:xfrm>
                <a:off x="6031360" y="3319580"/>
                <a:ext cx="62149" cy="151155"/>
              </a:xfrm>
              <a:custGeom>
                <a:avLst/>
                <a:gdLst/>
                <a:ahLst/>
                <a:cxnLst/>
                <a:rect l="l" t="t" r="r" b="b"/>
                <a:pathLst>
                  <a:path w="10771" h="26208" extrusionOk="0">
                    <a:moveTo>
                      <a:pt x="266" y="1"/>
                    </a:moveTo>
                    <a:lnTo>
                      <a:pt x="266" y="1"/>
                    </a:lnTo>
                    <a:cubicBezTo>
                      <a:pt x="0" y="9316"/>
                      <a:pt x="2679" y="18489"/>
                      <a:pt x="7914" y="26208"/>
                    </a:cubicBezTo>
                    <a:lnTo>
                      <a:pt x="9014" y="25995"/>
                    </a:lnTo>
                    <a:cubicBezTo>
                      <a:pt x="9954" y="24078"/>
                      <a:pt x="9617" y="22073"/>
                      <a:pt x="9475" y="20068"/>
                    </a:cubicBezTo>
                    <a:cubicBezTo>
                      <a:pt x="9422" y="19412"/>
                      <a:pt x="9120" y="18347"/>
                      <a:pt x="9386" y="18188"/>
                    </a:cubicBezTo>
                    <a:cubicBezTo>
                      <a:pt x="10753" y="17336"/>
                      <a:pt x="10274" y="15881"/>
                      <a:pt x="10770" y="14834"/>
                    </a:cubicBezTo>
                    <a:cubicBezTo>
                      <a:pt x="9777" y="13415"/>
                      <a:pt x="8890" y="12137"/>
                      <a:pt x="7328" y="11161"/>
                    </a:cubicBezTo>
                    <a:cubicBezTo>
                      <a:pt x="5270" y="9901"/>
                      <a:pt x="3194" y="8216"/>
                      <a:pt x="3247" y="5235"/>
                    </a:cubicBezTo>
                    <a:cubicBezTo>
                      <a:pt x="3265" y="4649"/>
                      <a:pt x="2999" y="3709"/>
                      <a:pt x="2591" y="3514"/>
                    </a:cubicBezTo>
                    <a:cubicBezTo>
                      <a:pt x="1295" y="2893"/>
                      <a:pt x="479" y="1562"/>
                      <a:pt x="408" y="604"/>
                    </a:cubicBezTo>
                    <a:cubicBezTo>
                      <a:pt x="373" y="391"/>
                      <a:pt x="337" y="196"/>
                      <a:pt x="26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69" name="Google Shape;3869;p66"/>
              <p:cNvSpPr/>
              <p:nvPr/>
            </p:nvSpPr>
            <p:spPr>
              <a:xfrm>
                <a:off x="6189159" y="3076713"/>
                <a:ext cx="117131" cy="35868"/>
              </a:xfrm>
              <a:custGeom>
                <a:avLst/>
                <a:gdLst/>
                <a:ahLst/>
                <a:cxnLst/>
                <a:rect l="l" t="t" r="r" b="b"/>
                <a:pathLst>
                  <a:path w="20300" h="6219" extrusionOk="0">
                    <a:moveTo>
                      <a:pt x="17629" y="0"/>
                    </a:moveTo>
                    <a:cubicBezTo>
                      <a:pt x="12187" y="0"/>
                      <a:pt x="6775" y="976"/>
                      <a:pt x="1651" y="2882"/>
                    </a:cubicBezTo>
                    <a:cubicBezTo>
                      <a:pt x="1207" y="3344"/>
                      <a:pt x="764" y="3823"/>
                      <a:pt x="302" y="4266"/>
                    </a:cubicBezTo>
                    <a:cubicBezTo>
                      <a:pt x="1" y="4568"/>
                      <a:pt x="231" y="5402"/>
                      <a:pt x="214" y="6218"/>
                    </a:cubicBezTo>
                    <a:cubicBezTo>
                      <a:pt x="1402" y="5473"/>
                      <a:pt x="2201" y="4834"/>
                      <a:pt x="3141" y="4408"/>
                    </a:cubicBezTo>
                    <a:cubicBezTo>
                      <a:pt x="5525" y="3347"/>
                      <a:pt x="8003" y="2632"/>
                      <a:pt x="10607" y="2632"/>
                    </a:cubicBezTo>
                    <a:cubicBezTo>
                      <a:pt x="11182" y="2632"/>
                      <a:pt x="11763" y="2666"/>
                      <a:pt x="12350" y="2740"/>
                    </a:cubicBezTo>
                    <a:cubicBezTo>
                      <a:pt x="12586" y="2362"/>
                      <a:pt x="12876" y="2257"/>
                      <a:pt x="13186" y="2257"/>
                    </a:cubicBezTo>
                    <a:cubicBezTo>
                      <a:pt x="13571" y="2257"/>
                      <a:pt x="13986" y="2419"/>
                      <a:pt x="14364" y="2419"/>
                    </a:cubicBezTo>
                    <a:cubicBezTo>
                      <a:pt x="14550" y="2419"/>
                      <a:pt x="14727" y="2379"/>
                      <a:pt x="14887" y="2261"/>
                    </a:cubicBezTo>
                    <a:cubicBezTo>
                      <a:pt x="16502" y="1072"/>
                      <a:pt x="18472" y="718"/>
                      <a:pt x="20299" y="79"/>
                    </a:cubicBezTo>
                    <a:cubicBezTo>
                      <a:pt x="19409" y="26"/>
                      <a:pt x="18519" y="0"/>
                      <a:pt x="1762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0" name="Google Shape;3870;p66"/>
              <p:cNvSpPr/>
              <p:nvPr/>
            </p:nvSpPr>
            <p:spPr>
              <a:xfrm>
                <a:off x="6350006" y="3503923"/>
                <a:ext cx="45156" cy="42581"/>
              </a:xfrm>
              <a:custGeom>
                <a:avLst/>
                <a:gdLst/>
                <a:ahLst/>
                <a:cxnLst/>
                <a:rect l="l" t="t" r="r" b="b"/>
                <a:pathLst>
                  <a:path w="7826" h="7383" extrusionOk="0">
                    <a:moveTo>
                      <a:pt x="7648" y="1"/>
                    </a:moveTo>
                    <a:lnTo>
                      <a:pt x="7648" y="1"/>
                    </a:lnTo>
                    <a:cubicBezTo>
                      <a:pt x="6488" y="417"/>
                      <a:pt x="5728" y="1543"/>
                      <a:pt x="4541" y="1543"/>
                    </a:cubicBezTo>
                    <a:cubicBezTo>
                      <a:pt x="4311" y="1543"/>
                      <a:pt x="4065" y="1501"/>
                      <a:pt x="3797" y="1403"/>
                    </a:cubicBezTo>
                    <a:cubicBezTo>
                      <a:pt x="3766" y="1397"/>
                      <a:pt x="3735" y="1395"/>
                      <a:pt x="3704" y="1395"/>
                    </a:cubicBezTo>
                    <a:cubicBezTo>
                      <a:pt x="3523" y="1395"/>
                      <a:pt x="3348" y="1482"/>
                      <a:pt x="3212" y="1633"/>
                    </a:cubicBezTo>
                    <a:cubicBezTo>
                      <a:pt x="2520" y="3567"/>
                      <a:pt x="142" y="4490"/>
                      <a:pt x="0" y="7045"/>
                    </a:cubicBezTo>
                    <a:lnTo>
                      <a:pt x="1633" y="7382"/>
                    </a:lnTo>
                    <a:cubicBezTo>
                      <a:pt x="2662" y="6353"/>
                      <a:pt x="3655" y="5306"/>
                      <a:pt x="4844" y="4419"/>
                    </a:cubicBezTo>
                    <a:cubicBezTo>
                      <a:pt x="6211" y="3390"/>
                      <a:pt x="7825" y="2219"/>
                      <a:pt x="764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1" name="Google Shape;3871;p66"/>
              <p:cNvSpPr/>
              <p:nvPr/>
            </p:nvSpPr>
            <p:spPr>
              <a:xfrm>
                <a:off x="6262180" y="3141947"/>
                <a:ext cx="28469" cy="38688"/>
              </a:xfrm>
              <a:custGeom>
                <a:avLst/>
                <a:gdLst/>
                <a:ahLst/>
                <a:cxnLst/>
                <a:rect l="l" t="t" r="r" b="b"/>
                <a:pathLst>
                  <a:path w="4934" h="6708" extrusionOk="0">
                    <a:moveTo>
                      <a:pt x="2094" y="0"/>
                    </a:moveTo>
                    <a:lnTo>
                      <a:pt x="2094" y="0"/>
                    </a:lnTo>
                    <a:cubicBezTo>
                      <a:pt x="0" y="1420"/>
                      <a:pt x="3052" y="2467"/>
                      <a:pt x="1988" y="4454"/>
                    </a:cubicBezTo>
                    <a:lnTo>
                      <a:pt x="817" y="4756"/>
                    </a:lnTo>
                    <a:cubicBezTo>
                      <a:pt x="1243" y="6707"/>
                      <a:pt x="2822" y="6228"/>
                      <a:pt x="3851" y="6619"/>
                    </a:cubicBezTo>
                    <a:lnTo>
                      <a:pt x="4933" y="5430"/>
                    </a:lnTo>
                    <a:cubicBezTo>
                      <a:pt x="4685" y="3993"/>
                      <a:pt x="2768" y="2875"/>
                      <a:pt x="4206" y="1207"/>
                    </a:cubicBezTo>
                    <a:cubicBezTo>
                      <a:pt x="3883" y="979"/>
                      <a:pt x="3846" y="221"/>
                      <a:pt x="3400" y="221"/>
                    </a:cubicBezTo>
                    <a:cubicBezTo>
                      <a:pt x="3257" y="221"/>
                      <a:pt x="3072" y="299"/>
                      <a:pt x="2822" y="497"/>
                    </a:cubicBezTo>
                    <a:cubicBezTo>
                      <a:pt x="2815" y="502"/>
                      <a:pt x="2807" y="505"/>
                      <a:pt x="2796" y="505"/>
                    </a:cubicBezTo>
                    <a:cubicBezTo>
                      <a:pt x="2667" y="505"/>
                      <a:pt x="2259" y="115"/>
                      <a:pt x="209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2" name="Google Shape;3872;p66"/>
              <p:cNvSpPr/>
              <p:nvPr/>
            </p:nvSpPr>
            <p:spPr>
              <a:xfrm>
                <a:off x="6251907" y="3101042"/>
                <a:ext cx="26011" cy="13686"/>
              </a:xfrm>
              <a:custGeom>
                <a:avLst/>
                <a:gdLst/>
                <a:ahLst/>
                <a:cxnLst/>
                <a:rect l="l" t="t" r="r" b="b"/>
                <a:pathLst>
                  <a:path w="4508" h="2373" extrusionOk="0">
                    <a:moveTo>
                      <a:pt x="1606" y="0"/>
                    </a:moveTo>
                    <a:cubicBezTo>
                      <a:pt x="1091" y="0"/>
                      <a:pt x="558" y="171"/>
                      <a:pt x="0" y="723"/>
                    </a:cubicBezTo>
                    <a:cubicBezTo>
                      <a:pt x="430" y="1555"/>
                      <a:pt x="972" y="2195"/>
                      <a:pt x="1679" y="2195"/>
                    </a:cubicBezTo>
                    <a:cubicBezTo>
                      <a:pt x="1906" y="2195"/>
                      <a:pt x="2151" y="2129"/>
                      <a:pt x="2414" y="1982"/>
                    </a:cubicBezTo>
                    <a:cubicBezTo>
                      <a:pt x="2981" y="1663"/>
                      <a:pt x="4507" y="2373"/>
                      <a:pt x="4064" y="456"/>
                    </a:cubicBezTo>
                    <a:lnTo>
                      <a:pt x="4064" y="456"/>
                    </a:lnTo>
                    <a:cubicBezTo>
                      <a:pt x="4046" y="457"/>
                      <a:pt x="4028" y="457"/>
                      <a:pt x="4010" y="457"/>
                    </a:cubicBezTo>
                    <a:cubicBezTo>
                      <a:pt x="3239" y="457"/>
                      <a:pt x="2447" y="0"/>
                      <a:pt x="160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3" name="Google Shape;3873;p66"/>
              <p:cNvSpPr/>
              <p:nvPr/>
            </p:nvSpPr>
            <p:spPr>
              <a:xfrm>
                <a:off x="6250613" y="3155645"/>
                <a:ext cx="21609" cy="17008"/>
              </a:xfrm>
              <a:custGeom>
                <a:avLst/>
                <a:gdLst/>
                <a:ahLst/>
                <a:cxnLst/>
                <a:rect l="l" t="t" r="r" b="b"/>
                <a:pathLst>
                  <a:path w="3745" h="2949" extrusionOk="0">
                    <a:moveTo>
                      <a:pt x="1345" y="1"/>
                    </a:moveTo>
                    <a:cubicBezTo>
                      <a:pt x="985" y="1"/>
                      <a:pt x="770" y="142"/>
                      <a:pt x="568" y="429"/>
                    </a:cubicBezTo>
                    <a:cubicBezTo>
                      <a:pt x="213" y="943"/>
                      <a:pt x="249" y="1706"/>
                      <a:pt x="0" y="2948"/>
                    </a:cubicBezTo>
                    <a:lnTo>
                      <a:pt x="3744" y="695"/>
                    </a:lnTo>
                    <a:cubicBezTo>
                      <a:pt x="2515" y="235"/>
                      <a:pt x="1810" y="1"/>
                      <a:pt x="134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874" name="Google Shape;3874;p66"/>
          <p:cNvGrpSpPr/>
          <p:nvPr/>
        </p:nvGrpSpPr>
        <p:grpSpPr>
          <a:xfrm>
            <a:off x="4797047" y="4087843"/>
            <a:ext cx="2988459" cy="1774208"/>
            <a:chOff x="3597785" y="3065882"/>
            <a:chExt cx="2241344" cy="1330656"/>
          </a:xfrm>
        </p:grpSpPr>
        <p:grpSp>
          <p:nvGrpSpPr>
            <p:cNvPr id="3875" name="Google Shape;3875;p66"/>
            <p:cNvGrpSpPr/>
            <p:nvPr/>
          </p:nvGrpSpPr>
          <p:grpSpPr>
            <a:xfrm>
              <a:off x="5296908" y="3937355"/>
              <a:ext cx="143198" cy="32380"/>
              <a:chOff x="5296908" y="3937355"/>
              <a:chExt cx="143198" cy="32380"/>
            </a:xfrm>
          </p:grpSpPr>
          <p:sp>
            <p:nvSpPr>
              <p:cNvPr id="3876" name="Google Shape;3876;p66"/>
              <p:cNvSpPr/>
              <p:nvPr/>
            </p:nvSpPr>
            <p:spPr>
              <a:xfrm>
                <a:off x="5319457" y="3952794"/>
                <a:ext cx="111895" cy="8"/>
              </a:xfrm>
              <a:custGeom>
                <a:avLst/>
                <a:gdLst/>
                <a:ahLst/>
                <a:cxnLst/>
                <a:rect l="l" t="t" r="r" b="b"/>
                <a:pathLst>
                  <a:path w="14227" h="1" fill="none" extrusionOk="0">
                    <a:moveTo>
                      <a:pt x="1" y="0"/>
                    </a:moveTo>
                    <a:lnTo>
                      <a:pt x="142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877" name="Google Shape;3877;p66"/>
              <p:cNvGrpSpPr/>
              <p:nvPr/>
            </p:nvGrpSpPr>
            <p:grpSpPr>
              <a:xfrm>
                <a:off x="5402331" y="3937355"/>
                <a:ext cx="37776" cy="32380"/>
                <a:chOff x="5402331" y="3937355"/>
                <a:chExt cx="37776" cy="32380"/>
              </a:xfrm>
            </p:grpSpPr>
            <p:sp>
              <p:nvSpPr>
                <p:cNvPr id="3878" name="Google Shape;3878;p66"/>
                <p:cNvSpPr/>
                <p:nvPr/>
              </p:nvSpPr>
              <p:spPr>
                <a:xfrm>
                  <a:off x="5402331" y="3937355"/>
                  <a:ext cx="37776" cy="32380"/>
                </a:xfrm>
                <a:custGeom>
                  <a:avLst/>
                  <a:gdLst/>
                  <a:ahLst/>
                  <a:cxnLst/>
                  <a:rect l="l" t="t" r="r" b="b"/>
                  <a:pathLst>
                    <a:path w="4803" h="4117" extrusionOk="0">
                      <a:moveTo>
                        <a:pt x="2737" y="1"/>
                      </a:moveTo>
                      <a:cubicBezTo>
                        <a:pt x="2231" y="1"/>
                        <a:pt x="1714" y="189"/>
                        <a:pt x="1294" y="609"/>
                      </a:cubicBezTo>
                      <a:cubicBezTo>
                        <a:pt x="0" y="1903"/>
                        <a:pt x="919" y="4117"/>
                        <a:pt x="2746" y="4117"/>
                      </a:cubicBezTo>
                      <a:cubicBezTo>
                        <a:pt x="3883" y="4117"/>
                        <a:pt x="4802" y="3185"/>
                        <a:pt x="4802" y="2060"/>
                      </a:cubicBezTo>
                      <a:cubicBezTo>
                        <a:pt x="4802"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79" name="Google Shape;3879;p66"/>
                <p:cNvSpPr/>
                <p:nvPr/>
              </p:nvSpPr>
              <p:spPr>
                <a:xfrm>
                  <a:off x="5415174" y="3946990"/>
                  <a:ext cx="15321" cy="13064"/>
                </a:xfrm>
                <a:custGeom>
                  <a:avLst/>
                  <a:gdLst/>
                  <a:ahLst/>
                  <a:cxnLst/>
                  <a:rect l="l" t="t" r="r" b="b"/>
                  <a:pathLst>
                    <a:path w="1948" h="1661" extrusionOk="0">
                      <a:moveTo>
                        <a:pt x="1113" y="1"/>
                      </a:moveTo>
                      <a:cubicBezTo>
                        <a:pt x="375" y="1"/>
                        <a:pt x="0" y="896"/>
                        <a:pt x="532" y="1416"/>
                      </a:cubicBezTo>
                      <a:cubicBezTo>
                        <a:pt x="701" y="1585"/>
                        <a:pt x="910" y="1661"/>
                        <a:pt x="1114" y="1661"/>
                      </a:cubicBezTo>
                      <a:cubicBezTo>
                        <a:pt x="1540" y="1661"/>
                        <a:pt x="1948" y="1333"/>
                        <a:pt x="1948" y="835"/>
                      </a:cubicBezTo>
                      <a:cubicBezTo>
                        <a:pt x="1948" y="376"/>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80" name="Google Shape;3880;p66"/>
              <p:cNvGrpSpPr/>
              <p:nvPr/>
            </p:nvGrpSpPr>
            <p:grpSpPr>
              <a:xfrm>
                <a:off x="5296908" y="3937355"/>
                <a:ext cx="37783" cy="32380"/>
                <a:chOff x="5296908" y="3937355"/>
                <a:chExt cx="37783" cy="32380"/>
              </a:xfrm>
            </p:grpSpPr>
            <p:sp>
              <p:nvSpPr>
                <p:cNvPr id="3881" name="Google Shape;3881;p66"/>
                <p:cNvSpPr/>
                <p:nvPr/>
              </p:nvSpPr>
              <p:spPr>
                <a:xfrm>
                  <a:off x="5296908" y="3937355"/>
                  <a:ext cx="37783" cy="32380"/>
                </a:xfrm>
                <a:custGeom>
                  <a:avLst/>
                  <a:gdLst/>
                  <a:ahLst/>
                  <a:cxnLst/>
                  <a:rect l="l" t="t" r="r" b="b"/>
                  <a:pathLst>
                    <a:path w="4804" h="4117" extrusionOk="0">
                      <a:moveTo>
                        <a:pt x="2738" y="1"/>
                      </a:moveTo>
                      <a:cubicBezTo>
                        <a:pt x="2231" y="1"/>
                        <a:pt x="1715" y="189"/>
                        <a:pt x="1295" y="609"/>
                      </a:cubicBezTo>
                      <a:cubicBezTo>
                        <a:pt x="1" y="1903"/>
                        <a:pt x="920" y="4117"/>
                        <a:pt x="2747" y="4117"/>
                      </a:cubicBezTo>
                      <a:cubicBezTo>
                        <a:pt x="3884" y="4117"/>
                        <a:pt x="4803" y="3185"/>
                        <a:pt x="4803" y="2060"/>
                      </a:cubicBezTo>
                      <a:cubicBezTo>
                        <a:pt x="4803" y="818"/>
                        <a:pt x="3792"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2" name="Google Shape;3882;p66"/>
                <p:cNvSpPr/>
                <p:nvPr/>
              </p:nvSpPr>
              <p:spPr>
                <a:xfrm>
                  <a:off x="5309846" y="3946990"/>
                  <a:ext cx="15235" cy="13064"/>
                </a:xfrm>
                <a:custGeom>
                  <a:avLst/>
                  <a:gdLst/>
                  <a:ahLst/>
                  <a:cxnLst/>
                  <a:rect l="l" t="t" r="r" b="b"/>
                  <a:pathLst>
                    <a:path w="1937" h="1661" extrusionOk="0">
                      <a:moveTo>
                        <a:pt x="1102" y="1"/>
                      </a:moveTo>
                      <a:cubicBezTo>
                        <a:pt x="364" y="1"/>
                        <a:pt x="1" y="896"/>
                        <a:pt x="521" y="1416"/>
                      </a:cubicBezTo>
                      <a:cubicBezTo>
                        <a:pt x="690" y="1585"/>
                        <a:pt x="899" y="1661"/>
                        <a:pt x="1103" y="1661"/>
                      </a:cubicBezTo>
                      <a:cubicBezTo>
                        <a:pt x="1528" y="1661"/>
                        <a:pt x="1936" y="1333"/>
                        <a:pt x="1936" y="835"/>
                      </a:cubicBezTo>
                      <a:cubicBezTo>
                        <a:pt x="1936" y="376"/>
                        <a:pt x="1561" y="1"/>
                        <a:pt x="110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883" name="Google Shape;3883;p66"/>
            <p:cNvGrpSpPr/>
            <p:nvPr/>
          </p:nvGrpSpPr>
          <p:grpSpPr>
            <a:xfrm>
              <a:off x="4724163" y="3119631"/>
              <a:ext cx="120838" cy="84218"/>
              <a:chOff x="4724163" y="3119631"/>
              <a:chExt cx="120838" cy="84218"/>
            </a:xfrm>
          </p:grpSpPr>
          <p:grpSp>
            <p:nvGrpSpPr>
              <p:cNvPr id="3884" name="Google Shape;3884;p66"/>
              <p:cNvGrpSpPr/>
              <p:nvPr/>
            </p:nvGrpSpPr>
            <p:grpSpPr>
              <a:xfrm>
                <a:off x="4746712" y="3132773"/>
                <a:ext cx="86869" cy="56424"/>
                <a:chOff x="4746712" y="3132773"/>
                <a:chExt cx="86869" cy="56424"/>
              </a:xfrm>
            </p:grpSpPr>
            <p:sp>
              <p:nvSpPr>
                <p:cNvPr id="3885" name="Google Shape;3885;p66"/>
                <p:cNvSpPr/>
                <p:nvPr/>
              </p:nvSpPr>
              <p:spPr>
                <a:xfrm>
                  <a:off x="4746712" y="3132773"/>
                  <a:ext cx="86869" cy="56424"/>
                </a:xfrm>
                <a:custGeom>
                  <a:avLst/>
                  <a:gdLst/>
                  <a:ahLst/>
                  <a:cxnLst/>
                  <a:rect l="l" t="t" r="r" b="b"/>
                  <a:pathLst>
                    <a:path w="11045" h="7174" fill="none" extrusionOk="0">
                      <a:moveTo>
                        <a:pt x="0" y="1597"/>
                      </a:moveTo>
                      <a:cubicBezTo>
                        <a:pt x="242" y="1743"/>
                        <a:pt x="3532" y="7174"/>
                        <a:pt x="3532" y="7174"/>
                      </a:cubicBezTo>
                      <a:lnTo>
                        <a:pt x="6290" y="3315"/>
                      </a:lnTo>
                      <a:lnTo>
                        <a:pt x="11044" y="1"/>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6" name="Google Shape;3886;p66"/>
                <p:cNvSpPr/>
                <p:nvPr/>
              </p:nvSpPr>
              <p:spPr>
                <a:xfrm>
                  <a:off x="4746712" y="3145334"/>
                  <a:ext cx="49479" cy="13520"/>
                </a:xfrm>
                <a:custGeom>
                  <a:avLst/>
                  <a:gdLst/>
                  <a:ahLst/>
                  <a:cxnLst/>
                  <a:rect l="l" t="t" r="r" b="b"/>
                  <a:pathLst>
                    <a:path w="6291" h="1719" fill="none" extrusionOk="0">
                      <a:moveTo>
                        <a:pt x="0" y="0"/>
                      </a:moveTo>
                      <a:lnTo>
                        <a:pt x="6290" y="171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87" name="Google Shape;3887;p66"/>
              <p:cNvGrpSpPr/>
              <p:nvPr/>
            </p:nvGrpSpPr>
            <p:grpSpPr>
              <a:xfrm>
                <a:off x="4773634" y="3143336"/>
                <a:ext cx="37776" cy="32451"/>
                <a:chOff x="4773634" y="3143336"/>
                <a:chExt cx="37776" cy="32451"/>
              </a:xfrm>
            </p:grpSpPr>
            <p:sp>
              <p:nvSpPr>
                <p:cNvPr id="3888" name="Google Shape;3888;p66"/>
                <p:cNvSpPr/>
                <p:nvPr/>
              </p:nvSpPr>
              <p:spPr>
                <a:xfrm>
                  <a:off x="4773634" y="3143336"/>
                  <a:ext cx="37776" cy="32451"/>
                </a:xfrm>
                <a:custGeom>
                  <a:avLst/>
                  <a:gdLst/>
                  <a:ahLst/>
                  <a:cxnLst/>
                  <a:rect l="l" t="t" r="r" b="b"/>
                  <a:pathLst>
                    <a:path w="4803" h="4126" extrusionOk="0">
                      <a:moveTo>
                        <a:pt x="2730" y="0"/>
                      </a:moveTo>
                      <a:cubicBezTo>
                        <a:pt x="2226" y="0"/>
                        <a:pt x="1713" y="187"/>
                        <a:pt x="1295" y="605"/>
                      </a:cubicBezTo>
                      <a:cubicBezTo>
                        <a:pt x="1" y="1900"/>
                        <a:pt x="920" y="4125"/>
                        <a:pt x="2746" y="4125"/>
                      </a:cubicBezTo>
                      <a:cubicBezTo>
                        <a:pt x="3884" y="4125"/>
                        <a:pt x="4803" y="3206"/>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89" name="Google Shape;3889;p66"/>
                <p:cNvSpPr/>
                <p:nvPr/>
              </p:nvSpPr>
              <p:spPr>
                <a:xfrm>
                  <a:off x="4788664" y="3153041"/>
                  <a:ext cx="13048" cy="13040"/>
                </a:xfrm>
                <a:custGeom>
                  <a:avLst/>
                  <a:gdLst/>
                  <a:ahLst/>
                  <a:cxnLst/>
                  <a:rect l="l" t="t" r="r" b="b"/>
                  <a:pathLst>
                    <a:path w="1659" h="1658" extrusionOk="0">
                      <a:moveTo>
                        <a:pt x="835" y="0"/>
                      </a:moveTo>
                      <a:cubicBezTo>
                        <a:pt x="376" y="0"/>
                        <a:pt x="1" y="375"/>
                        <a:pt x="1" y="835"/>
                      </a:cubicBezTo>
                      <a:cubicBezTo>
                        <a:pt x="1" y="1295"/>
                        <a:pt x="376" y="1657"/>
                        <a:pt x="835" y="1657"/>
                      </a:cubicBezTo>
                      <a:cubicBezTo>
                        <a:pt x="1295" y="1657"/>
                        <a:pt x="1658" y="1295"/>
                        <a:pt x="1658" y="835"/>
                      </a:cubicBezTo>
                      <a:cubicBezTo>
                        <a:pt x="1658"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90" name="Google Shape;3890;p66"/>
              <p:cNvGrpSpPr/>
              <p:nvPr/>
            </p:nvGrpSpPr>
            <p:grpSpPr>
              <a:xfrm>
                <a:off x="4724163" y="3131248"/>
                <a:ext cx="37776" cy="32459"/>
                <a:chOff x="4724163" y="3131248"/>
                <a:chExt cx="37776" cy="32459"/>
              </a:xfrm>
            </p:grpSpPr>
            <p:sp>
              <p:nvSpPr>
                <p:cNvPr id="3891" name="Google Shape;3891;p66"/>
                <p:cNvSpPr/>
                <p:nvPr/>
              </p:nvSpPr>
              <p:spPr>
                <a:xfrm>
                  <a:off x="4724163" y="3131248"/>
                  <a:ext cx="37776" cy="32459"/>
                </a:xfrm>
                <a:custGeom>
                  <a:avLst/>
                  <a:gdLst/>
                  <a:ahLst/>
                  <a:cxnLst/>
                  <a:rect l="l" t="t" r="r" b="b"/>
                  <a:pathLst>
                    <a:path w="4803" h="4127" extrusionOk="0">
                      <a:moveTo>
                        <a:pt x="2730" y="1"/>
                      </a:moveTo>
                      <a:cubicBezTo>
                        <a:pt x="2226" y="1"/>
                        <a:pt x="1712" y="188"/>
                        <a:pt x="1295" y="606"/>
                      </a:cubicBezTo>
                      <a:cubicBezTo>
                        <a:pt x="0" y="1900"/>
                        <a:pt x="920" y="4114"/>
                        <a:pt x="2746"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2" name="Google Shape;3892;p66"/>
                <p:cNvSpPr/>
                <p:nvPr/>
              </p:nvSpPr>
              <p:spPr>
                <a:xfrm>
                  <a:off x="4739288" y="3140953"/>
                  <a:ext cx="13040" cy="13048"/>
                </a:xfrm>
                <a:custGeom>
                  <a:avLst/>
                  <a:gdLst/>
                  <a:ahLst/>
                  <a:cxnLst/>
                  <a:rect l="l" t="t" r="r" b="b"/>
                  <a:pathLst>
                    <a:path w="1658" h="1659" extrusionOk="0">
                      <a:moveTo>
                        <a:pt x="823" y="1"/>
                      </a:moveTo>
                      <a:cubicBezTo>
                        <a:pt x="363" y="1"/>
                        <a:pt x="1" y="376"/>
                        <a:pt x="1" y="823"/>
                      </a:cubicBezTo>
                      <a:cubicBezTo>
                        <a:pt x="1"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93" name="Google Shape;3893;p66"/>
              <p:cNvGrpSpPr/>
              <p:nvPr/>
            </p:nvGrpSpPr>
            <p:grpSpPr>
              <a:xfrm>
                <a:off x="4755081" y="3176054"/>
                <a:ext cx="32357" cy="27795"/>
                <a:chOff x="4755081" y="3176054"/>
                <a:chExt cx="32357" cy="27795"/>
              </a:xfrm>
            </p:grpSpPr>
            <p:sp>
              <p:nvSpPr>
                <p:cNvPr id="3894" name="Google Shape;3894;p66"/>
                <p:cNvSpPr/>
                <p:nvPr/>
              </p:nvSpPr>
              <p:spPr>
                <a:xfrm>
                  <a:off x="4755081" y="3176054"/>
                  <a:ext cx="32357" cy="27795"/>
                </a:xfrm>
                <a:custGeom>
                  <a:avLst/>
                  <a:gdLst/>
                  <a:ahLst/>
                  <a:cxnLst/>
                  <a:rect l="l" t="t" r="r" b="b"/>
                  <a:pathLst>
                    <a:path w="4114" h="3534" extrusionOk="0">
                      <a:moveTo>
                        <a:pt x="2338" y="0"/>
                      </a:moveTo>
                      <a:cubicBezTo>
                        <a:pt x="1904" y="0"/>
                        <a:pt x="1462" y="162"/>
                        <a:pt x="1101" y="522"/>
                      </a:cubicBezTo>
                      <a:cubicBezTo>
                        <a:pt x="1" y="1635"/>
                        <a:pt x="787" y="3534"/>
                        <a:pt x="2360" y="3534"/>
                      </a:cubicBezTo>
                      <a:cubicBezTo>
                        <a:pt x="3327" y="3534"/>
                        <a:pt x="4114" y="2735"/>
                        <a:pt x="4114" y="1768"/>
                      </a:cubicBezTo>
                      <a:cubicBezTo>
                        <a:pt x="4114" y="704"/>
                        <a:pt x="3245" y="0"/>
                        <a:pt x="23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5" name="Google Shape;3895;p66"/>
                <p:cNvSpPr/>
                <p:nvPr/>
              </p:nvSpPr>
              <p:spPr>
                <a:xfrm>
                  <a:off x="4767924" y="3185768"/>
                  <a:ext cx="9902" cy="8392"/>
                </a:xfrm>
                <a:custGeom>
                  <a:avLst/>
                  <a:gdLst/>
                  <a:ahLst/>
                  <a:cxnLst/>
                  <a:rect l="l" t="t" r="r" b="b"/>
                  <a:pathLst>
                    <a:path w="1259" h="1067" extrusionOk="0">
                      <a:moveTo>
                        <a:pt x="714" y="0"/>
                      </a:moveTo>
                      <a:cubicBezTo>
                        <a:pt x="243" y="0"/>
                        <a:pt x="1" y="569"/>
                        <a:pt x="339" y="908"/>
                      </a:cubicBezTo>
                      <a:cubicBezTo>
                        <a:pt x="449" y="1017"/>
                        <a:pt x="584" y="1066"/>
                        <a:pt x="716" y="1066"/>
                      </a:cubicBezTo>
                      <a:cubicBezTo>
                        <a:pt x="993" y="1066"/>
                        <a:pt x="1259" y="852"/>
                        <a:pt x="1259" y="533"/>
                      </a:cubicBezTo>
                      <a:cubicBezTo>
                        <a:pt x="1259" y="230"/>
                        <a:pt x="1017" y="0"/>
                        <a:pt x="7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896" name="Google Shape;3896;p66"/>
              <p:cNvGrpSpPr/>
              <p:nvPr/>
            </p:nvGrpSpPr>
            <p:grpSpPr>
              <a:xfrm>
                <a:off x="4812550" y="3119631"/>
                <a:ext cx="32451" cy="27803"/>
                <a:chOff x="4812550" y="3119631"/>
                <a:chExt cx="32451" cy="27803"/>
              </a:xfrm>
            </p:grpSpPr>
            <p:sp>
              <p:nvSpPr>
                <p:cNvPr id="3897" name="Google Shape;3897;p66"/>
                <p:cNvSpPr/>
                <p:nvPr/>
              </p:nvSpPr>
              <p:spPr>
                <a:xfrm>
                  <a:off x="4812550" y="3119631"/>
                  <a:ext cx="32451" cy="27803"/>
                </a:xfrm>
                <a:custGeom>
                  <a:avLst/>
                  <a:gdLst/>
                  <a:ahLst/>
                  <a:cxnLst/>
                  <a:rect l="l" t="t" r="r" b="b"/>
                  <a:pathLst>
                    <a:path w="4126" h="3535" extrusionOk="0">
                      <a:moveTo>
                        <a:pt x="2350" y="1"/>
                      </a:moveTo>
                      <a:cubicBezTo>
                        <a:pt x="1916" y="1"/>
                        <a:pt x="1473" y="162"/>
                        <a:pt x="1113" y="522"/>
                      </a:cubicBezTo>
                      <a:cubicBezTo>
                        <a:pt x="0" y="1635"/>
                        <a:pt x="798" y="3534"/>
                        <a:pt x="2371" y="3534"/>
                      </a:cubicBezTo>
                      <a:cubicBezTo>
                        <a:pt x="3339" y="3534"/>
                        <a:pt x="4125" y="2748"/>
                        <a:pt x="4125" y="1768"/>
                      </a:cubicBezTo>
                      <a:cubicBezTo>
                        <a:pt x="4125" y="705"/>
                        <a:pt x="3256" y="1"/>
                        <a:pt x="235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898" name="Google Shape;3898;p66"/>
                <p:cNvSpPr/>
                <p:nvPr/>
              </p:nvSpPr>
              <p:spPr>
                <a:xfrm>
                  <a:off x="4826912" y="3129352"/>
                  <a:ext cx="8478" cy="8376"/>
                </a:xfrm>
                <a:custGeom>
                  <a:avLst/>
                  <a:gdLst/>
                  <a:ahLst/>
                  <a:cxnLst/>
                  <a:rect l="l" t="t" r="r" b="b"/>
                  <a:pathLst>
                    <a:path w="1078" h="1065" extrusionOk="0">
                      <a:moveTo>
                        <a:pt x="533" y="0"/>
                      </a:moveTo>
                      <a:cubicBezTo>
                        <a:pt x="243" y="0"/>
                        <a:pt x="1" y="242"/>
                        <a:pt x="1" y="532"/>
                      </a:cubicBezTo>
                      <a:cubicBezTo>
                        <a:pt x="1" y="835"/>
                        <a:pt x="243" y="1065"/>
                        <a:pt x="533" y="1065"/>
                      </a:cubicBezTo>
                      <a:cubicBezTo>
                        <a:pt x="835" y="1065"/>
                        <a:pt x="1077" y="835"/>
                        <a:pt x="1077" y="532"/>
                      </a:cubicBezTo>
                      <a:cubicBezTo>
                        <a:pt x="1077" y="242"/>
                        <a:pt x="835" y="0"/>
                        <a:pt x="53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899" name="Google Shape;3899;p66"/>
            <p:cNvGrpSpPr/>
            <p:nvPr/>
          </p:nvGrpSpPr>
          <p:grpSpPr>
            <a:xfrm>
              <a:off x="5382826" y="4027197"/>
              <a:ext cx="268967" cy="250422"/>
              <a:chOff x="5382826" y="4027197"/>
              <a:chExt cx="268967" cy="250422"/>
            </a:xfrm>
          </p:grpSpPr>
          <p:grpSp>
            <p:nvGrpSpPr>
              <p:cNvPr id="3900" name="Google Shape;3900;p66"/>
              <p:cNvGrpSpPr/>
              <p:nvPr/>
            </p:nvGrpSpPr>
            <p:grpSpPr>
              <a:xfrm>
                <a:off x="5405280" y="4042510"/>
                <a:ext cx="237570" cy="218647"/>
                <a:chOff x="5405280" y="4042510"/>
                <a:chExt cx="237570" cy="218647"/>
              </a:xfrm>
            </p:grpSpPr>
            <p:sp>
              <p:nvSpPr>
                <p:cNvPr id="3901" name="Google Shape;3901;p66"/>
                <p:cNvSpPr/>
                <p:nvPr/>
              </p:nvSpPr>
              <p:spPr>
                <a:xfrm>
                  <a:off x="5405280" y="4042510"/>
                  <a:ext cx="144999" cy="173832"/>
                </a:xfrm>
                <a:custGeom>
                  <a:avLst/>
                  <a:gdLst/>
                  <a:ahLst/>
                  <a:cxnLst/>
                  <a:rect l="l" t="t" r="r" b="b"/>
                  <a:pathLst>
                    <a:path w="18436" h="22102" fill="none" extrusionOk="0">
                      <a:moveTo>
                        <a:pt x="0" y="12037"/>
                      </a:moveTo>
                      <a:cubicBezTo>
                        <a:pt x="702" y="12073"/>
                        <a:pt x="12302" y="22101"/>
                        <a:pt x="12302" y="22101"/>
                      </a:cubicBezTo>
                      <a:lnTo>
                        <a:pt x="11819" y="13005"/>
                      </a:lnTo>
                      <a:lnTo>
                        <a:pt x="18435" y="1"/>
                      </a:lnTo>
                      <a:lnTo>
                        <a:pt x="0" y="125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2" name="Google Shape;3902;p66"/>
                <p:cNvSpPr/>
                <p:nvPr/>
              </p:nvSpPr>
              <p:spPr>
                <a:xfrm>
                  <a:off x="5502036" y="4125093"/>
                  <a:ext cx="134350" cy="135585"/>
                </a:xfrm>
                <a:custGeom>
                  <a:avLst/>
                  <a:gdLst/>
                  <a:ahLst/>
                  <a:cxnLst/>
                  <a:rect l="l" t="t" r="r" b="b"/>
                  <a:pathLst>
                    <a:path w="17082" h="17239" fill="none" extrusionOk="0">
                      <a:moveTo>
                        <a:pt x="13513" y="17239"/>
                      </a:moveTo>
                      <a:lnTo>
                        <a:pt x="12690" y="8614"/>
                      </a:lnTo>
                      <a:lnTo>
                        <a:pt x="17081" y="1"/>
                      </a:lnTo>
                      <a:lnTo>
                        <a:pt x="0" y="2021"/>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3" name="Google Shape;3903;p66"/>
                <p:cNvSpPr/>
                <p:nvPr/>
              </p:nvSpPr>
              <p:spPr>
                <a:xfrm>
                  <a:off x="5543704" y="4042990"/>
                  <a:ext cx="99146" cy="81639"/>
                </a:xfrm>
                <a:custGeom>
                  <a:avLst/>
                  <a:gdLst/>
                  <a:ahLst/>
                  <a:cxnLst/>
                  <a:rect l="l" t="t" r="r" b="b"/>
                  <a:pathLst>
                    <a:path w="12606" h="10380" fill="none" extrusionOk="0">
                      <a:moveTo>
                        <a:pt x="1" y="0"/>
                      </a:moveTo>
                      <a:lnTo>
                        <a:pt x="12606" y="1037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4" name="Google Shape;3904;p66"/>
                <p:cNvSpPr/>
                <p:nvPr/>
              </p:nvSpPr>
              <p:spPr>
                <a:xfrm>
                  <a:off x="5501941" y="4140980"/>
                  <a:ext cx="103708" cy="51862"/>
                </a:xfrm>
                <a:custGeom>
                  <a:avLst/>
                  <a:gdLst/>
                  <a:ahLst/>
                  <a:cxnLst/>
                  <a:rect l="l" t="t" r="r" b="b"/>
                  <a:pathLst>
                    <a:path w="13186" h="6594" fill="none" extrusionOk="0">
                      <a:moveTo>
                        <a:pt x="13186" y="6594"/>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5" name="Google Shape;3905;p66"/>
                <p:cNvSpPr/>
                <p:nvPr/>
              </p:nvSpPr>
              <p:spPr>
                <a:xfrm>
                  <a:off x="5495854" y="4211010"/>
                  <a:ext cx="105989" cy="50147"/>
                </a:xfrm>
                <a:custGeom>
                  <a:avLst/>
                  <a:gdLst/>
                  <a:ahLst/>
                  <a:cxnLst/>
                  <a:rect l="l" t="t" r="r" b="b"/>
                  <a:pathLst>
                    <a:path w="13476" h="6376" fill="none" extrusionOk="0">
                      <a:moveTo>
                        <a:pt x="0" y="0"/>
                      </a:moveTo>
                      <a:lnTo>
                        <a:pt x="13476" y="637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6" name="Google Shape;3906;p66"/>
                <p:cNvSpPr/>
                <p:nvPr/>
              </p:nvSpPr>
              <p:spPr>
                <a:xfrm>
                  <a:off x="5405280" y="4134420"/>
                  <a:ext cx="96669" cy="6567"/>
                </a:xfrm>
                <a:custGeom>
                  <a:avLst/>
                  <a:gdLst/>
                  <a:ahLst/>
                  <a:cxnLst/>
                  <a:rect l="l" t="t" r="r" b="b"/>
                  <a:pathLst>
                    <a:path w="12291" h="835" fill="none" extrusionOk="0">
                      <a:moveTo>
                        <a:pt x="12290" y="835"/>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07" name="Google Shape;3907;p66"/>
              <p:cNvGrpSpPr/>
              <p:nvPr/>
            </p:nvGrpSpPr>
            <p:grpSpPr>
              <a:xfrm>
                <a:off x="5382826" y="4125549"/>
                <a:ext cx="37776" cy="32380"/>
                <a:chOff x="5382826" y="4125549"/>
                <a:chExt cx="37776" cy="32380"/>
              </a:xfrm>
            </p:grpSpPr>
            <p:sp>
              <p:nvSpPr>
                <p:cNvPr id="3908" name="Google Shape;3908;p66"/>
                <p:cNvSpPr/>
                <p:nvPr/>
              </p:nvSpPr>
              <p:spPr>
                <a:xfrm>
                  <a:off x="5382826" y="4125549"/>
                  <a:ext cx="37776" cy="32380"/>
                </a:xfrm>
                <a:custGeom>
                  <a:avLst/>
                  <a:gdLst/>
                  <a:ahLst/>
                  <a:cxnLst/>
                  <a:rect l="l" t="t" r="r" b="b"/>
                  <a:pathLst>
                    <a:path w="4803" h="4117" extrusionOk="0">
                      <a:moveTo>
                        <a:pt x="2734" y="0"/>
                      </a:moveTo>
                      <a:cubicBezTo>
                        <a:pt x="2229" y="0"/>
                        <a:pt x="1714" y="188"/>
                        <a:pt x="1295" y="608"/>
                      </a:cubicBezTo>
                      <a:cubicBezTo>
                        <a:pt x="0" y="1902"/>
                        <a:pt x="907" y="4116"/>
                        <a:pt x="2746" y="4116"/>
                      </a:cubicBezTo>
                      <a:cubicBezTo>
                        <a:pt x="3871" y="4116"/>
                        <a:pt x="4790" y="3197"/>
                        <a:pt x="4803" y="2060"/>
                      </a:cubicBezTo>
                      <a:cubicBezTo>
                        <a:pt x="4794" y="817"/>
                        <a:pt x="3787" y="0"/>
                        <a:pt x="273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09" name="Google Shape;3909;p66"/>
                <p:cNvSpPr/>
                <p:nvPr/>
              </p:nvSpPr>
              <p:spPr>
                <a:xfrm>
                  <a:off x="5395669" y="4135176"/>
                  <a:ext cx="15227" cy="13072"/>
                </a:xfrm>
                <a:custGeom>
                  <a:avLst/>
                  <a:gdLst/>
                  <a:ahLst/>
                  <a:cxnLst/>
                  <a:rect l="l" t="t" r="r" b="b"/>
                  <a:pathLst>
                    <a:path w="1936" h="1662" extrusionOk="0">
                      <a:moveTo>
                        <a:pt x="1113" y="1"/>
                      </a:moveTo>
                      <a:cubicBezTo>
                        <a:pt x="375" y="1"/>
                        <a:pt x="0" y="896"/>
                        <a:pt x="520" y="1416"/>
                      </a:cubicBezTo>
                      <a:cubicBezTo>
                        <a:pt x="689" y="1585"/>
                        <a:pt x="898" y="1661"/>
                        <a:pt x="1103" y="1661"/>
                      </a:cubicBezTo>
                      <a:cubicBezTo>
                        <a:pt x="1528" y="1661"/>
                        <a:pt x="1936" y="1334"/>
                        <a:pt x="1936" y="836"/>
                      </a:cubicBezTo>
                      <a:cubicBezTo>
                        <a:pt x="1936" y="376"/>
                        <a:pt x="1561"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10" name="Google Shape;3910;p66"/>
              <p:cNvGrpSpPr/>
              <p:nvPr/>
            </p:nvGrpSpPr>
            <p:grpSpPr>
              <a:xfrm>
                <a:off x="5475680" y="4195587"/>
                <a:ext cx="37783" cy="32364"/>
                <a:chOff x="5475680" y="4195587"/>
                <a:chExt cx="37783" cy="32364"/>
              </a:xfrm>
            </p:grpSpPr>
            <p:sp>
              <p:nvSpPr>
                <p:cNvPr id="3911" name="Google Shape;3911;p66"/>
                <p:cNvSpPr/>
                <p:nvPr/>
              </p:nvSpPr>
              <p:spPr>
                <a:xfrm>
                  <a:off x="5475680" y="4195587"/>
                  <a:ext cx="37783" cy="32364"/>
                </a:xfrm>
                <a:custGeom>
                  <a:avLst/>
                  <a:gdLst/>
                  <a:ahLst/>
                  <a:cxnLst/>
                  <a:rect l="l" t="t" r="r" b="b"/>
                  <a:pathLst>
                    <a:path w="4804" h="4115" extrusionOk="0">
                      <a:moveTo>
                        <a:pt x="2732" y="1"/>
                      </a:moveTo>
                      <a:cubicBezTo>
                        <a:pt x="2228" y="1"/>
                        <a:pt x="1713" y="188"/>
                        <a:pt x="1295" y="606"/>
                      </a:cubicBezTo>
                      <a:cubicBezTo>
                        <a:pt x="1" y="1901"/>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2" name="Google Shape;3912;p66"/>
                <p:cNvSpPr/>
                <p:nvPr/>
              </p:nvSpPr>
              <p:spPr>
                <a:xfrm>
                  <a:off x="5488523" y="4205300"/>
                  <a:ext cx="15329" cy="13040"/>
                </a:xfrm>
                <a:custGeom>
                  <a:avLst/>
                  <a:gdLst/>
                  <a:ahLst/>
                  <a:cxnLst/>
                  <a:rect l="l" t="t" r="r" b="b"/>
                  <a:pathLst>
                    <a:path w="1949" h="1658" extrusionOk="0">
                      <a:moveTo>
                        <a:pt x="1114" y="0"/>
                      </a:moveTo>
                      <a:cubicBezTo>
                        <a:pt x="376" y="0"/>
                        <a:pt x="1" y="883"/>
                        <a:pt x="533" y="1416"/>
                      </a:cubicBezTo>
                      <a:cubicBezTo>
                        <a:pt x="700" y="1583"/>
                        <a:pt x="905" y="1657"/>
                        <a:pt x="1106" y="1657"/>
                      </a:cubicBezTo>
                      <a:cubicBezTo>
                        <a:pt x="1531" y="1657"/>
                        <a:pt x="1940" y="1324"/>
                        <a:pt x="1948" y="823"/>
                      </a:cubicBezTo>
                      <a:cubicBezTo>
                        <a:pt x="1948" y="363"/>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13" name="Google Shape;3913;p66"/>
              <p:cNvGrpSpPr/>
              <p:nvPr/>
            </p:nvGrpSpPr>
            <p:grpSpPr>
              <a:xfrm>
                <a:off x="5532575" y="4027197"/>
                <a:ext cx="33308" cy="32262"/>
                <a:chOff x="5532575" y="4027197"/>
                <a:chExt cx="33308" cy="32262"/>
              </a:xfrm>
            </p:grpSpPr>
            <p:sp>
              <p:nvSpPr>
                <p:cNvPr id="3914" name="Google Shape;3914;p66"/>
                <p:cNvSpPr/>
                <p:nvPr/>
              </p:nvSpPr>
              <p:spPr>
                <a:xfrm>
                  <a:off x="5532575" y="4027197"/>
                  <a:ext cx="33308" cy="32262"/>
                </a:xfrm>
                <a:custGeom>
                  <a:avLst/>
                  <a:gdLst/>
                  <a:ahLst/>
                  <a:cxnLst/>
                  <a:rect l="l" t="t" r="r" b="b"/>
                  <a:pathLst>
                    <a:path w="4235" h="4102" extrusionOk="0">
                      <a:moveTo>
                        <a:pt x="1984" y="0"/>
                      </a:moveTo>
                      <a:cubicBezTo>
                        <a:pt x="871" y="49"/>
                        <a:pt x="0" y="1004"/>
                        <a:pt x="37" y="2117"/>
                      </a:cubicBezTo>
                      <a:cubicBezTo>
                        <a:pt x="73" y="3227"/>
                        <a:pt x="980" y="4101"/>
                        <a:pt x="2084" y="4101"/>
                      </a:cubicBezTo>
                      <a:cubicBezTo>
                        <a:pt x="2099" y="4101"/>
                        <a:pt x="2114" y="4101"/>
                        <a:pt x="2130" y="4101"/>
                      </a:cubicBezTo>
                      <a:lnTo>
                        <a:pt x="2275" y="4101"/>
                      </a:lnTo>
                      <a:cubicBezTo>
                        <a:pt x="3375" y="4028"/>
                        <a:pt x="4234" y="3085"/>
                        <a:pt x="4186" y="1984"/>
                      </a:cubicBezTo>
                      <a:cubicBezTo>
                        <a:pt x="4150" y="871"/>
                        <a:pt x="3242" y="0"/>
                        <a:pt x="21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5" name="Google Shape;3915;p66"/>
                <p:cNvSpPr/>
                <p:nvPr/>
              </p:nvSpPr>
              <p:spPr>
                <a:xfrm>
                  <a:off x="5540661" y="4036792"/>
                  <a:ext cx="15502" cy="13064"/>
                </a:xfrm>
                <a:custGeom>
                  <a:avLst/>
                  <a:gdLst/>
                  <a:ahLst/>
                  <a:cxnLst/>
                  <a:rect l="l" t="t" r="r" b="b"/>
                  <a:pathLst>
                    <a:path w="1971" h="1661" extrusionOk="0">
                      <a:moveTo>
                        <a:pt x="1098" y="1"/>
                      </a:moveTo>
                      <a:cubicBezTo>
                        <a:pt x="1083" y="1"/>
                        <a:pt x="1068" y="1"/>
                        <a:pt x="1053" y="2"/>
                      </a:cubicBezTo>
                      <a:cubicBezTo>
                        <a:pt x="315" y="50"/>
                        <a:pt x="1" y="970"/>
                        <a:pt x="557" y="1453"/>
                      </a:cubicBezTo>
                      <a:cubicBezTo>
                        <a:pt x="721" y="1596"/>
                        <a:pt x="913" y="1660"/>
                        <a:pt x="1100" y="1660"/>
                      </a:cubicBezTo>
                      <a:cubicBezTo>
                        <a:pt x="1548" y="1660"/>
                        <a:pt x="1970" y="1296"/>
                        <a:pt x="1936" y="776"/>
                      </a:cubicBezTo>
                      <a:cubicBezTo>
                        <a:pt x="1901" y="332"/>
                        <a:pt x="1527" y="1"/>
                        <a:pt x="109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16" name="Google Shape;3916;p66"/>
              <p:cNvGrpSpPr/>
              <p:nvPr/>
            </p:nvGrpSpPr>
            <p:grpSpPr>
              <a:xfrm>
                <a:off x="5590706" y="4245348"/>
                <a:ext cx="33497" cy="32270"/>
                <a:chOff x="5590706" y="4245348"/>
                <a:chExt cx="33497" cy="32270"/>
              </a:xfrm>
            </p:grpSpPr>
            <p:sp>
              <p:nvSpPr>
                <p:cNvPr id="3917" name="Google Shape;3917;p66"/>
                <p:cNvSpPr/>
                <p:nvPr/>
              </p:nvSpPr>
              <p:spPr>
                <a:xfrm>
                  <a:off x="5590706" y="4245348"/>
                  <a:ext cx="33497" cy="32270"/>
                </a:xfrm>
                <a:custGeom>
                  <a:avLst/>
                  <a:gdLst/>
                  <a:ahLst/>
                  <a:cxnLst/>
                  <a:rect l="l" t="t" r="r" b="b"/>
                  <a:pathLst>
                    <a:path w="4259" h="4103" extrusionOk="0">
                      <a:moveTo>
                        <a:pt x="2175" y="0"/>
                      </a:moveTo>
                      <a:cubicBezTo>
                        <a:pt x="2160" y="0"/>
                        <a:pt x="2145" y="1"/>
                        <a:pt x="2130" y="1"/>
                      </a:cubicBezTo>
                      <a:lnTo>
                        <a:pt x="1984" y="1"/>
                      </a:lnTo>
                      <a:cubicBezTo>
                        <a:pt x="872" y="49"/>
                        <a:pt x="1" y="993"/>
                        <a:pt x="37" y="2118"/>
                      </a:cubicBezTo>
                      <a:cubicBezTo>
                        <a:pt x="73" y="3228"/>
                        <a:pt x="980" y="4102"/>
                        <a:pt x="2085" y="4102"/>
                      </a:cubicBezTo>
                      <a:cubicBezTo>
                        <a:pt x="2100" y="4102"/>
                        <a:pt x="2115" y="4102"/>
                        <a:pt x="2130" y="4102"/>
                      </a:cubicBezTo>
                      <a:lnTo>
                        <a:pt x="2275" y="4102"/>
                      </a:lnTo>
                      <a:cubicBezTo>
                        <a:pt x="3388" y="4041"/>
                        <a:pt x="4259" y="3098"/>
                        <a:pt x="4222" y="1985"/>
                      </a:cubicBezTo>
                      <a:cubicBezTo>
                        <a:pt x="4175" y="875"/>
                        <a:pt x="3279" y="0"/>
                        <a:pt x="21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18" name="Google Shape;3918;p66"/>
                <p:cNvSpPr/>
                <p:nvPr/>
              </p:nvSpPr>
              <p:spPr>
                <a:xfrm>
                  <a:off x="5598791" y="4254944"/>
                  <a:ext cx="15408" cy="13048"/>
                </a:xfrm>
                <a:custGeom>
                  <a:avLst/>
                  <a:gdLst/>
                  <a:ahLst/>
                  <a:cxnLst/>
                  <a:rect l="l" t="t" r="r" b="b"/>
                  <a:pathLst>
                    <a:path w="1959" h="1659" extrusionOk="0">
                      <a:moveTo>
                        <a:pt x="1106" y="0"/>
                      </a:moveTo>
                      <a:cubicBezTo>
                        <a:pt x="1085" y="0"/>
                        <a:pt x="1063" y="1"/>
                        <a:pt x="1041" y="3"/>
                      </a:cubicBezTo>
                      <a:cubicBezTo>
                        <a:pt x="303" y="51"/>
                        <a:pt x="1" y="970"/>
                        <a:pt x="557" y="1454"/>
                      </a:cubicBezTo>
                      <a:cubicBezTo>
                        <a:pt x="720" y="1596"/>
                        <a:pt x="909" y="1659"/>
                        <a:pt x="1093" y="1659"/>
                      </a:cubicBezTo>
                      <a:cubicBezTo>
                        <a:pt x="1538" y="1659"/>
                        <a:pt x="1958" y="1290"/>
                        <a:pt x="1924" y="777"/>
                      </a:cubicBezTo>
                      <a:cubicBezTo>
                        <a:pt x="1901" y="339"/>
                        <a:pt x="1538" y="0"/>
                        <a:pt x="110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19" name="Google Shape;3919;p66"/>
              <p:cNvGrpSpPr/>
              <p:nvPr/>
            </p:nvGrpSpPr>
            <p:grpSpPr>
              <a:xfrm>
                <a:off x="5618681" y="4109677"/>
                <a:ext cx="33112" cy="32357"/>
                <a:chOff x="5618681" y="4109677"/>
                <a:chExt cx="33112" cy="32357"/>
              </a:xfrm>
            </p:grpSpPr>
            <p:sp>
              <p:nvSpPr>
                <p:cNvPr id="3920" name="Google Shape;3920;p66"/>
                <p:cNvSpPr/>
                <p:nvPr/>
              </p:nvSpPr>
              <p:spPr>
                <a:xfrm>
                  <a:off x="5618681" y="4109677"/>
                  <a:ext cx="33112" cy="32357"/>
                </a:xfrm>
                <a:custGeom>
                  <a:avLst/>
                  <a:gdLst/>
                  <a:ahLst/>
                  <a:cxnLst/>
                  <a:rect l="l" t="t" r="r" b="b"/>
                  <a:pathLst>
                    <a:path w="4210" h="4114" extrusionOk="0">
                      <a:moveTo>
                        <a:pt x="1984" y="1"/>
                      </a:moveTo>
                      <a:cubicBezTo>
                        <a:pt x="871" y="61"/>
                        <a:pt x="0" y="1005"/>
                        <a:pt x="36" y="2130"/>
                      </a:cubicBezTo>
                      <a:cubicBezTo>
                        <a:pt x="84" y="3235"/>
                        <a:pt x="992" y="4114"/>
                        <a:pt x="2106" y="4114"/>
                      </a:cubicBezTo>
                      <a:cubicBezTo>
                        <a:pt x="2114" y="4114"/>
                        <a:pt x="2121" y="4114"/>
                        <a:pt x="2129" y="4114"/>
                      </a:cubicBezTo>
                      <a:lnTo>
                        <a:pt x="2274" y="4114"/>
                      </a:lnTo>
                      <a:cubicBezTo>
                        <a:pt x="3375" y="4029"/>
                        <a:pt x="4210" y="3086"/>
                        <a:pt x="4173" y="1985"/>
                      </a:cubicBezTo>
                      <a:cubicBezTo>
                        <a:pt x="4137" y="884"/>
                        <a:pt x="3230" y="13"/>
                        <a:pt x="21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1" name="Google Shape;3921;p66"/>
                <p:cNvSpPr/>
                <p:nvPr/>
              </p:nvSpPr>
              <p:spPr>
                <a:xfrm>
                  <a:off x="5626767" y="4119280"/>
                  <a:ext cx="15494" cy="13056"/>
                </a:xfrm>
                <a:custGeom>
                  <a:avLst/>
                  <a:gdLst/>
                  <a:ahLst/>
                  <a:cxnLst/>
                  <a:rect l="l" t="t" r="r" b="b"/>
                  <a:pathLst>
                    <a:path w="1970" h="1660" extrusionOk="0">
                      <a:moveTo>
                        <a:pt x="1098" y="1"/>
                      </a:moveTo>
                      <a:cubicBezTo>
                        <a:pt x="1083" y="1"/>
                        <a:pt x="1068" y="1"/>
                        <a:pt x="1053" y="2"/>
                      </a:cubicBezTo>
                      <a:cubicBezTo>
                        <a:pt x="315" y="62"/>
                        <a:pt x="0" y="970"/>
                        <a:pt x="557" y="1453"/>
                      </a:cubicBezTo>
                      <a:cubicBezTo>
                        <a:pt x="721" y="1596"/>
                        <a:pt x="913" y="1660"/>
                        <a:pt x="1100" y="1660"/>
                      </a:cubicBezTo>
                      <a:cubicBezTo>
                        <a:pt x="1547" y="1660"/>
                        <a:pt x="1970" y="1296"/>
                        <a:pt x="1936" y="776"/>
                      </a:cubicBezTo>
                      <a:cubicBezTo>
                        <a:pt x="1901" y="332"/>
                        <a:pt x="1527" y="1"/>
                        <a:pt x="109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22" name="Google Shape;3922;p66"/>
              <p:cNvGrpSpPr/>
              <p:nvPr/>
            </p:nvGrpSpPr>
            <p:grpSpPr>
              <a:xfrm>
                <a:off x="5479298" y="4128262"/>
                <a:ext cx="31405" cy="26906"/>
                <a:chOff x="5479298" y="4128262"/>
                <a:chExt cx="31405" cy="26906"/>
              </a:xfrm>
            </p:grpSpPr>
            <p:sp>
              <p:nvSpPr>
                <p:cNvPr id="3923" name="Google Shape;3923;p66"/>
                <p:cNvSpPr/>
                <p:nvPr/>
              </p:nvSpPr>
              <p:spPr>
                <a:xfrm>
                  <a:off x="5479298" y="4128262"/>
                  <a:ext cx="31405" cy="26906"/>
                </a:xfrm>
                <a:custGeom>
                  <a:avLst/>
                  <a:gdLst/>
                  <a:ahLst/>
                  <a:cxnLst/>
                  <a:rect l="l" t="t" r="r" b="b"/>
                  <a:pathLst>
                    <a:path w="3993" h="3421" extrusionOk="0">
                      <a:moveTo>
                        <a:pt x="2273" y="1"/>
                      </a:moveTo>
                      <a:cubicBezTo>
                        <a:pt x="1853" y="1"/>
                        <a:pt x="1425" y="157"/>
                        <a:pt x="1077" y="505"/>
                      </a:cubicBezTo>
                      <a:cubicBezTo>
                        <a:pt x="0" y="1582"/>
                        <a:pt x="762" y="3420"/>
                        <a:pt x="2287" y="3420"/>
                      </a:cubicBezTo>
                      <a:cubicBezTo>
                        <a:pt x="3230" y="3420"/>
                        <a:pt x="3992" y="2658"/>
                        <a:pt x="3992" y="1715"/>
                      </a:cubicBezTo>
                      <a:cubicBezTo>
                        <a:pt x="3992" y="683"/>
                        <a:pt x="3150"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4" name="Google Shape;3924;p66"/>
                <p:cNvSpPr/>
                <p:nvPr/>
              </p:nvSpPr>
              <p:spPr>
                <a:xfrm>
                  <a:off x="5493471" y="4137936"/>
                  <a:ext cx="7621" cy="7621"/>
                </a:xfrm>
                <a:custGeom>
                  <a:avLst/>
                  <a:gdLst/>
                  <a:ahLst/>
                  <a:cxnLst/>
                  <a:rect l="l" t="t" r="r" b="b"/>
                  <a:pathLst>
                    <a:path w="969" h="969" extrusionOk="0">
                      <a:moveTo>
                        <a:pt x="485" y="1"/>
                      </a:moveTo>
                      <a:cubicBezTo>
                        <a:pt x="218" y="1"/>
                        <a:pt x="1" y="218"/>
                        <a:pt x="1" y="485"/>
                      </a:cubicBezTo>
                      <a:cubicBezTo>
                        <a:pt x="1" y="751"/>
                        <a:pt x="218" y="968"/>
                        <a:pt x="485" y="968"/>
                      </a:cubicBezTo>
                      <a:cubicBezTo>
                        <a:pt x="751" y="968"/>
                        <a:pt x="968" y="751"/>
                        <a:pt x="968" y="485"/>
                      </a:cubicBezTo>
                      <a:cubicBezTo>
                        <a:pt x="968"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25" name="Google Shape;3925;p66"/>
              <p:cNvGrpSpPr/>
              <p:nvPr/>
            </p:nvGrpSpPr>
            <p:grpSpPr>
              <a:xfrm>
                <a:off x="5582903" y="4180116"/>
                <a:ext cx="31499" cy="26898"/>
                <a:chOff x="5582903" y="4180116"/>
                <a:chExt cx="31499" cy="26898"/>
              </a:xfrm>
            </p:grpSpPr>
            <p:sp>
              <p:nvSpPr>
                <p:cNvPr id="3926" name="Google Shape;3926;p66"/>
                <p:cNvSpPr/>
                <p:nvPr/>
              </p:nvSpPr>
              <p:spPr>
                <a:xfrm>
                  <a:off x="5582903" y="4180116"/>
                  <a:ext cx="31499" cy="26898"/>
                </a:xfrm>
                <a:custGeom>
                  <a:avLst/>
                  <a:gdLst/>
                  <a:ahLst/>
                  <a:cxnLst/>
                  <a:rect l="l" t="t" r="r" b="b"/>
                  <a:pathLst>
                    <a:path w="4005" h="3420" extrusionOk="0">
                      <a:moveTo>
                        <a:pt x="2276" y="1"/>
                      </a:moveTo>
                      <a:cubicBezTo>
                        <a:pt x="1855" y="1"/>
                        <a:pt x="1425" y="156"/>
                        <a:pt x="1077" y="505"/>
                      </a:cubicBezTo>
                      <a:cubicBezTo>
                        <a:pt x="1" y="1581"/>
                        <a:pt x="763" y="3420"/>
                        <a:pt x="2287" y="3420"/>
                      </a:cubicBezTo>
                      <a:cubicBezTo>
                        <a:pt x="3231" y="3420"/>
                        <a:pt x="4005" y="2658"/>
                        <a:pt x="4005" y="1714"/>
                      </a:cubicBezTo>
                      <a:cubicBezTo>
                        <a:pt x="4005"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27" name="Google Shape;3927;p66"/>
                <p:cNvSpPr/>
                <p:nvPr/>
              </p:nvSpPr>
              <p:spPr>
                <a:xfrm>
                  <a:off x="5597084" y="4189790"/>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928" name="Google Shape;3928;p66"/>
            <p:cNvGrpSpPr/>
            <p:nvPr/>
          </p:nvGrpSpPr>
          <p:grpSpPr>
            <a:xfrm>
              <a:off x="3977681" y="3230323"/>
              <a:ext cx="94584" cy="84085"/>
              <a:chOff x="3977681" y="3230323"/>
              <a:chExt cx="94584" cy="84085"/>
            </a:xfrm>
          </p:grpSpPr>
          <p:grpSp>
            <p:nvGrpSpPr>
              <p:cNvPr id="3929" name="Google Shape;3929;p66"/>
              <p:cNvGrpSpPr/>
              <p:nvPr/>
            </p:nvGrpSpPr>
            <p:grpSpPr>
              <a:xfrm>
                <a:off x="4000135" y="3243041"/>
                <a:ext cx="59570" cy="57186"/>
                <a:chOff x="4000135" y="3243041"/>
                <a:chExt cx="59570" cy="57186"/>
              </a:xfrm>
            </p:grpSpPr>
            <p:sp>
              <p:nvSpPr>
                <p:cNvPr id="3930" name="Google Shape;3930;p66"/>
                <p:cNvSpPr/>
                <p:nvPr/>
              </p:nvSpPr>
              <p:spPr>
                <a:xfrm>
                  <a:off x="4000135" y="3243041"/>
                  <a:ext cx="59570" cy="57092"/>
                </a:xfrm>
                <a:custGeom>
                  <a:avLst/>
                  <a:gdLst/>
                  <a:ahLst/>
                  <a:cxnLst/>
                  <a:rect l="l" t="t" r="r" b="b"/>
                  <a:pathLst>
                    <a:path w="7574" h="7259" fill="none" extrusionOk="0">
                      <a:moveTo>
                        <a:pt x="1" y="2323"/>
                      </a:moveTo>
                      <a:lnTo>
                        <a:pt x="2577" y="7259"/>
                      </a:lnTo>
                      <a:lnTo>
                        <a:pt x="7573" y="4114"/>
                      </a:lnTo>
                      <a:lnTo>
                        <a:pt x="5541" y="1"/>
                      </a:lnTo>
                      <a:lnTo>
                        <a:pt x="352" y="232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1" name="Google Shape;3931;p66"/>
                <p:cNvSpPr/>
                <p:nvPr/>
              </p:nvSpPr>
              <p:spPr>
                <a:xfrm>
                  <a:off x="4024210" y="3246847"/>
                  <a:ext cx="15706" cy="53380"/>
                </a:xfrm>
                <a:custGeom>
                  <a:avLst/>
                  <a:gdLst/>
                  <a:ahLst/>
                  <a:cxnLst/>
                  <a:rect l="l" t="t" r="r" b="b"/>
                  <a:pathLst>
                    <a:path w="1997" h="6787" fill="none" extrusionOk="0">
                      <a:moveTo>
                        <a:pt x="0" y="6787"/>
                      </a:moveTo>
                      <a:lnTo>
                        <a:pt x="199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2" name="Google Shape;3932;p66"/>
                <p:cNvSpPr/>
                <p:nvPr/>
              </p:nvSpPr>
              <p:spPr>
                <a:xfrm>
                  <a:off x="4002896" y="3261311"/>
                  <a:ext cx="56809" cy="14086"/>
                </a:xfrm>
                <a:custGeom>
                  <a:avLst/>
                  <a:gdLst/>
                  <a:ahLst/>
                  <a:cxnLst/>
                  <a:rect l="l" t="t" r="r" b="b"/>
                  <a:pathLst>
                    <a:path w="7223" h="1791" fill="none" extrusionOk="0">
                      <a:moveTo>
                        <a:pt x="7222" y="179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33" name="Google Shape;3933;p66"/>
              <p:cNvGrpSpPr/>
              <p:nvPr/>
            </p:nvGrpSpPr>
            <p:grpSpPr>
              <a:xfrm>
                <a:off x="3977681" y="3245872"/>
                <a:ext cx="37783" cy="32380"/>
                <a:chOff x="3977681" y="3245872"/>
                <a:chExt cx="37783" cy="32380"/>
              </a:xfrm>
            </p:grpSpPr>
            <p:sp>
              <p:nvSpPr>
                <p:cNvPr id="3934" name="Google Shape;3934;p66"/>
                <p:cNvSpPr/>
                <p:nvPr/>
              </p:nvSpPr>
              <p:spPr>
                <a:xfrm>
                  <a:off x="3977681" y="3245872"/>
                  <a:ext cx="37783" cy="32380"/>
                </a:xfrm>
                <a:custGeom>
                  <a:avLst/>
                  <a:gdLst/>
                  <a:ahLst/>
                  <a:cxnLst/>
                  <a:rect l="l" t="t" r="r" b="b"/>
                  <a:pathLst>
                    <a:path w="4804" h="4117" extrusionOk="0">
                      <a:moveTo>
                        <a:pt x="2726" y="1"/>
                      </a:moveTo>
                      <a:cubicBezTo>
                        <a:pt x="2219" y="1"/>
                        <a:pt x="1703" y="189"/>
                        <a:pt x="1283" y="608"/>
                      </a:cubicBezTo>
                      <a:cubicBezTo>
                        <a:pt x="1" y="1903"/>
                        <a:pt x="908" y="4117"/>
                        <a:pt x="2747" y="4117"/>
                      </a:cubicBezTo>
                      <a:cubicBezTo>
                        <a:pt x="3872" y="4104"/>
                        <a:pt x="4791" y="3185"/>
                        <a:pt x="4803" y="2060"/>
                      </a:cubicBezTo>
                      <a:cubicBezTo>
                        <a:pt x="4795" y="818"/>
                        <a:pt x="3782" y="1"/>
                        <a:pt x="272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5" name="Google Shape;3935;p66"/>
                <p:cNvSpPr/>
                <p:nvPr/>
              </p:nvSpPr>
              <p:spPr>
                <a:xfrm>
                  <a:off x="3992718" y="3255507"/>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36" name="Google Shape;3936;p66"/>
              <p:cNvGrpSpPr/>
              <p:nvPr/>
            </p:nvGrpSpPr>
            <p:grpSpPr>
              <a:xfrm>
                <a:off x="4040860" y="3262672"/>
                <a:ext cx="31405" cy="27001"/>
                <a:chOff x="4040860" y="3262672"/>
                <a:chExt cx="31405" cy="27001"/>
              </a:xfrm>
            </p:grpSpPr>
            <p:sp>
              <p:nvSpPr>
                <p:cNvPr id="3937" name="Google Shape;3937;p66"/>
                <p:cNvSpPr/>
                <p:nvPr/>
              </p:nvSpPr>
              <p:spPr>
                <a:xfrm>
                  <a:off x="4040860" y="3262672"/>
                  <a:ext cx="31405" cy="27001"/>
                </a:xfrm>
                <a:custGeom>
                  <a:avLst/>
                  <a:gdLst/>
                  <a:ahLst/>
                  <a:cxnLst/>
                  <a:rect l="l" t="t" r="r" b="b"/>
                  <a:pathLst>
                    <a:path w="3993" h="3433" extrusionOk="0">
                      <a:moveTo>
                        <a:pt x="2272" y="1"/>
                      </a:moveTo>
                      <a:cubicBezTo>
                        <a:pt x="1853" y="1"/>
                        <a:pt x="1425" y="157"/>
                        <a:pt x="1077" y="505"/>
                      </a:cubicBezTo>
                      <a:cubicBezTo>
                        <a:pt x="0" y="1581"/>
                        <a:pt x="762" y="3420"/>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38" name="Google Shape;3938;p66"/>
                <p:cNvSpPr/>
                <p:nvPr/>
              </p:nvSpPr>
              <p:spPr>
                <a:xfrm>
                  <a:off x="4054938" y="3272346"/>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39" name="Google Shape;3939;p66"/>
              <p:cNvGrpSpPr/>
              <p:nvPr/>
            </p:nvGrpSpPr>
            <p:grpSpPr>
              <a:xfrm>
                <a:off x="4021072" y="3230323"/>
                <a:ext cx="31397" cy="26906"/>
                <a:chOff x="4021072" y="3230323"/>
                <a:chExt cx="31397" cy="26906"/>
              </a:xfrm>
            </p:grpSpPr>
            <p:sp>
              <p:nvSpPr>
                <p:cNvPr id="3940" name="Google Shape;3940;p66"/>
                <p:cNvSpPr/>
                <p:nvPr/>
              </p:nvSpPr>
              <p:spPr>
                <a:xfrm>
                  <a:off x="4021072" y="3230323"/>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1" name="Google Shape;3941;p66"/>
                <p:cNvSpPr/>
                <p:nvPr/>
              </p:nvSpPr>
              <p:spPr>
                <a:xfrm>
                  <a:off x="403524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42" name="Google Shape;3942;p66"/>
              <p:cNvGrpSpPr/>
              <p:nvPr/>
            </p:nvGrpSpPr>
            <p:grpSpPr>
              <a:xfrm>
                <a:off x="4001472" y="3287462"/>
                <a:ext cx="31499" cy="26945"/>
                <a:chOff x="4001472" y="3287462"/>
                <a:chExt cx="31499" cy="26945"/>
              </a:xfrm>
            </p:grpSpPr>
            <p:sp>
              <p:nvSpPr>
                <p:cNvPr id="3943" name="Google Shape;3943;p66"/>
                <p:cNvSpPr/>
                <p:nvPr/>
              </p:nvSpPr>
              <p:spPr>
                <a:xfrm>
                  <a:off x="4001472" y="3287462"/>
                  <a:ext cx="31499" cy="26945"/>
                </a:xfrm>
                <a:custGeom>
                  <a:avLst/>
                  <a:gdLst/>
                  <a:ahLst/>
                  <a:cxnLst/>
                  <a:rect l="l" t="t" r="r" b="b"/>
                  <a:pathLst>
                    <a:path w="4005" h="3426" extrusionOk="0">
                      <a:moveTo>
                        <a:pt x="2276" y="1"/>
                      </a:moveTo>
                      <a:cubicBezTo>
                        <a:pt x="1854" y="1"/>
                        <a:pt x="1425" y="158"/>
                        <a:pt x="1077" y="510"/>
                      </a:cubicBezTo>
                      <a:cubicBezTo>
                        <a:pt x="0" y="1587"/>
                        <a:pt x="762" y="3425"/>
                        <a:pt x="2286" y="3425"/>
                      </a:cubicBezTo>
                      <a:cubicBezTo>
                        <a:pt x="3230" y="3425"/>
                        <a:pt x="3992" y="2663"/>
                        <a:pt x="4004" y="1720"/>
                      </a:cubicBezTo>
                      <a:cubicBezTo>
                        <a:pt x="4004" y="688"/>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4" name="Google Shape;3944;p66"/>
                <p:cNvSpPr/>
                <p:nvPr/>
              </p:nvSpPr>
              <p:spPr>
                <a:xfrm>
                  <a:off x="4014410" y="3297175"/>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06"/>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945" name="Google Shape;3945;p66"/>
            <p:cNvGrpSpPr/>
            <p:nvPr/>
          </p:nvGrpSpPr>
          <p:grpSpPr>
            <a:xfrm>
              <a:off x="4084715" y="3258865"/>
              <a:ext cx="184961" cy="137268"/>
              <a:chOff x="4084715" y="3258865"/>
              <a:chExt cx="184961" cy="137268"/>
            </a:xfrm>
          </p:grpSpPr>
          <p:grpSp>
            <p:nvGrpSpPr>
              <p:cNvPr id="3946" name="Google Shape;3946;p66"/>
              <p:cNvGrpSpPr/>
              <p:nvPr/>
            </p:nvGrpSpPr>
            <p:grpSpPr>
              <a:xfrm>
                <a:off x="4107453" y="3271583"/>
                <a:ext cx="153470" cy="110275"/>
                <a:chOff x="4107453" y="3271583"/>
                <a:chExt cx="153470" cy="110275"/>
              </a:xfrm>
            </p:grpSpPr>
            <p:sp>
              <p:nvSpPr>
                <p:cNvPr id="3947" name="Google Shape;3947;p66"/>
                <p:cNvSpPr/>
                <p:nvPr/>
              </p:nvSpPr>
              <p:spPr>
                <a:xfrm>
                  <a:off x="4107453" y="3271583"/>
                  <a:ext cx="153470" cy="110275"/>
                </a:xfrm>
                <a:custGeom>
                  <a:avLst/>
                  <a:gdLst/>
                  <a:ahLst/>
                  <a:cxnLst/>
                  <a:rect l="l" t="t" r="r" b="b"/>
                  <a:pathLst>
                    <a:path w="19513" h="14021" fill="none" extrusionOk="0">
                      <a:moveTo>
                        <a:pt x="19513" y="14021"/>
                      </a:moveTo>
                      <a:lnTo>
                        <a:pt x="14844" y="968"/>
                      </a:lnTo>
                      <a:lnTo>
                        <a:pt x="5674" y="1"/>
                      </a:lnTo>
                      <a:lnTo>
                        <a:pt x="1" y="968"/>
                      </a:lnTo>
                      <a:lnTo>
                        <a:pt x="8977" y="2674"/>
                      </a:lnTo>
                      <a:lnTo>
                        <a:pt x="14360" y="10102"/>
                      </a:lnTo>
                      <a:lnTo>
                        <a:pt x="19029" y="140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8" name="Google Shape;3948;p66"/>
                <p:cNvSpPr/>
                <p:nvPr/>
              </p:nvSpPr>
              <p:spPr>
                <a:xfrm>
                  <a:off x="4155886" y="3271968"/>
                  <a:ext cx="22171" cy="20559"/>
                </a:xfrm>
                <a:custGeom>
                  <a:avLst/>
                  <a:gdLst/>
                  <a:ahLst/>
                  <a:cxnLst/>
                  <a:rect l="l" t="t" r="r" b="b"/>
                  <a:pathLst>
                    <a:path w="2819" h="2614" fill="none" extrusionOk="0">
                      <a:moveTo>
                        <a:pt x="2819" y="2613"/>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49" name="Google Shape;3949;p66"/>
                <p:cNvSpPr/>
                <p:nvPr/>
              </p:nvSpPr>
              <p:spPr>
                <a:xfrm>
                  <a:off x="4178049" y="3279196"/>
                  <a:ext cx="42345" cy="13331"/>
                </a:xfrm>
                <a:custGeom>
                  <a:avLst/>
                  <a:gdLst/>
                  <a:ahLst/>
                  <a:cxnLst/>
                  <a:rect l="l" t="t" r="r" b="b"/>
                  <a:pathLst>
                    <a:path w="5384" h="1695" fill="none" extrusionOk="0">
                      <a:moveTo>
                        <a:pt x="1" y="1694"/>
                      </a:moveTo>
                      <a:lnTo>
                        <a:pt x="538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0" name="Google Shape;3950;p66"/>
                <p:cNvSpPr/>
                <p:nvPr/>
              </p:nvSpPr>
              <p:spPr>
                <a:xfrm>
                  <a:off x="4220387" y="3279196"/>
                  <a:ext cx="8" cy="71745"/>
                </a:xfrm>
                <a:custGeom>
                  <a:avLst/>
                  <a:gdLst/>
                  <a:ahLst/>
                  <a:cxnLst/>
                  <a:rect l="l" t="t" r="r" b="b"/>
                  <a:pathLst>
                    <a:path w="1" h="9122" fill="none" extrusionOk="0">
                      <a:moveTo>
                        <a:pt x="1" y="0"/>
                      </a:moveTo>
                      <a:lnTo>
                        <a:pt x="1" y="91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51" name="Google Shape;3951;p66"/>
              <p:cNvGrpSpPr/>
              <p:nvPr/>
            </p:nvGrpSpPr>
            <p:grpSpPr>
              <a:xfrm>
                <a:off x="4136947" y="3258865"/>
                <a:ext cx="31499" cy="27001"/>
                <a:chOff x="4136947" y="3258865"/>
                <a:chExt cx="31499" cy="27001"/>
              </a:xfrm>
            </p:grpSpPr>
            <p:sp>
              <p:nvSpPr>
                <p:cNvPr id="3952" name="Google Shape;3952;p66"/>
                <p:cNvSpPr/>
                <p:nvPr/>
              </p:nvSpPr>
              <p:spPr>
                <a:xfrm>
                  <a:off x="4136947" y="3258865"/>
                  <a:ext cx="31499" cy="27001"/>
                </a:xfrm>
                <a:custGeom>
                  <a:avLst/>
                  <a:gdLst/>
                  <a:ahLst/>
                  <a:cxnLst/>
                  <a:rect l="l" t="t" r="r" b="b"/>
                  <a:pathLst>
                    <a:path w="4005" h="3433" extrusionOk="0">
                      <a:moveTo>
                        <a:pt x="2285" y="1"/>
                      </a:moveTo>
                      <a:cubicBezTo>
                        <a:pt x="1866" y="1"/>
                        <a:pt x="1438" y="157"/>
                        <a:pt x="1090" y="505"/>
                      </a:cubicBezTo>
                      <a:cubicBezTo>
                        <a:pt x="1" y="1581"/>
                        <a:pt x="775" y="3432"/>
                        <a:pt x="2299" y="3432"/>
                      </a:cubicBezTo>
                      <a:cubicBezTo>
                        <a:pt x="3243" y="3420"/>
                        <a:pt x="4005" y="2658"/>
                        <a:pt x="4005" y="1715"/>
                      </a:cubicBezTo>
                      <a:cubicBezTo>
                        <a:pt x="4005"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3" name="Google Shape;3953;p66"/>
                <p:cNvSpPr/>
                <p:nvPr/>
              </p:nvSpPr>
              <p:spPr>
                <a:xfrm>
                  <a:off x="4151222" y="3268539"/>
                  <a:ext cx="7621" cy="7621"/>
                </a:xfrm>
                <a:custGeom>
                  <a:avLst/>
                  <a:gdLst/>
                  <a:ahLst/>
                  <a:cxnLst/>
                  <a:rect l="l" t="t" r="r" b="b"/>
                  <a:pathLst>
                    <a:path w="969" h="969" extrusionOk="0">
                      <a:moveTo>
                        <a:pt x="484" y="1"/>
                      </a:moveTo>
                      <a:cubicBezTo>
                        <a:pt x="206" y="1"/>
                        <a:pt x="0" y="218"/>
                        <a:pt x="0" y="485"/>
                      </a:cubicBezTo>
                      <a:cubicBezTo>
                        <a:pt x="0" y="751"/>
                        <a:pt x="206"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54" name="Google Shape;3954;p66"/>
              <p:cNvGrpSpPr/>
              <p:nvPr/>
            </p:nvGrpSpPr>
            <p:grpSpPr>
              <a:xfrm>
                <a:off x="4084715" y="3266478"/>
                <a:ext cx="31468" cy="26898"/>
                <a:chOff x="4084715" y="3266478"/>
                <a:chExt cx="31468" cy="26898"/>
              </a:xfrm>
            </p:grpSpPr>
            <p:sp>
              <p:nvSpPr>
                <p:cNvPr id="3955" name="Google Shape;3955;p66"/>
                <p:cNvSpPr/>
                <p:nvPr/>
              </p:nvSpPr>
              <p:spPr>
                <a:xfrm>
                  <a:off x="4084715" y="3266478"/>
                  <a:ext cx="31468" cy="26898"/>
                </a:xfrm>
                <a:custGeom>
                  <a:avLst/>
                  <a:gdLst/>
                  <a:ahLst/>
                  <a:cxnLst/>
                  <a:rect l="l" t="t" r="r" b="b"/>
                  <a:pathLst>
                    <a:path w="4001" h="3420" extrusionOk="0">
                      <a:moveTo>
                        <a:pt x="2279" y="1"/>
                      </a:moveTo>
                      <a:cubicBezTo>
                        <a:pt x="1859" y="1"/>
                        <a:pt x="1429" y="157"/>
                        <a:pt x="1077" y="505"/>
                      </a:cubicBezTo>
                      <a:cubicBezTo>
                        <a:pt x="1" y="1581"/>
                        <a:pt x="763" y="3420"/>
                        <a:pt x="2287" y="3420"/>
                      </a:cubicBezTo>
                      <a:cubicBezTo>
                        <a:pt x="3231" y="3420"/>
                        <a:pt x="3993" y="2658"/>
                        <a:pt x="3993" y="1726"/>
                      </a:cubicBezTo>
                      <a:cubicBezTo>
                        <a:pt x="4001" y="686"/>
                        <a:pt x="3161" y="1"/>
                        <a:pt x="227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6" name="Google Shape;3956;p66"/>
                <p:cNvSpPr/>
                <p:nvPr/>
              </p:nvSpPr>
              <p:spPr>
                <a:xfrm>
                  <a:off x="4098896" y="3276152"/>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57" name="Google Shape;3957;p66"/>
              <p:cNvGrpSpPr/>
              <p:nvPr/>
            </p:nvGrpSpPr>
            <p:grpSpPr>
              <a:xfrm>
                <a:off x="4159213" y="3279849"/>
                <a:ext cx="31405" cy="26945"/>
                <a:chOff x="4159213" y="3279849"/>
                <a:chExt cx="31405" cy="26945"/>
              </a:xfrm>
            </p:grpSpPr>
            <p:sp>
              <p:nvSpPr>
                <p:cNvPr id="3958" name="Google Shape;3958;p66"/>
                <p:cNvSpPr/>
                <p:nvPr/>
              </p:nvSpPr>
              <p:spPr>
                <a:xfrm>
                  <a:off x="4159213" y="3279849"/>
                  <a:ext cx="31405" cy="26945"/>
                </a:xfrm>
                <a:custGeom>
                  <a:avLst/>
                  <a:gdLst/>
                  <a:ahLst/>
                  <a:cxnLst/>
                  <a:rect l="l" t="t" r="r" b="b"/>
                  <a:pathLst>
                    <a:path w="3993" h="3426" extrusionOk="0">
                      <a:moveTo>
                        <a:pt x="2273" y="1"/>
                      </a:moveTo>
                      <a:cubicBezTo>
                        <a:pt x="1853" y="1"/>
                        <a:pt x="1425" y="158"/>
                        <a:pt x="1077" y="510"/>
                      </a:cubicBezTo>
                      <a:cubicBezTo>
                        <a:pt x="1" y="1587"/>
                        <a:pt x="763" y="3426"/>
                        <a:pt x="2287" y="3426"/>
                      </a:cubicBezTo>
                      <a:cubicBezTo>
                        <a:pt x="3230" y="3426"/>
                        <a:pt x="3992" y="2663"/>
                        <a:pt x="3992" y="1720"/>
                      </a:cubicBezTo>
                      <a:cubicBezTo>
                        <a:pt x="3992" y="689"/>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59" name="Google Shape;3959;p66"/>
                <p:cNvSpPr/>
                <p:nvPr/>
              </p:nvSpPr>
              <p:spPr>
                <a:xfrm>
                  <a:off x="4173385" y="3289570"/>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60" name="Google Shape;3960;p66"/>
              <p:cNvGrpSpPr/>
              <p:nvPr/>
            </p:nvGrpSpPr>
            <p:grpSpPr>
              <a:xfrm>
                <a:off x="4201550" y="3266502"/>
                <a:ext cx="31405" cy="26883"/>
                <a:chOff x="4201550" y="3266502"/>
                <a:chExt cx="31405" cy="26883"/>
              </a:xfrm>
            </p:grpSpPr>
            <p:sp>
              <p:nvSpPr>
                <p:cNvPr id="3961" name="Google Shape;3961;p66"/>
                <p:cNvSpPr/>
                <p:nvPr/>
              </p:nvSpPr>
              <p:spPr>
                <a:xfrm>
                  <a:off x="4201550" y="3266502"/>
                  <a:ext cx="31405" cy="26883"/>
                </a:xfrm>
                <a:custGeom>
                  <a:avLst/>
                  <a:gdLst/>
                  <a:ahLst/>
                  <a:cxnLst/>
                  <a:rect l="l" t="t" r="r" b="b"/>
                  <a:pathLst>
                    <a:path w="3993" h="3418" extrusionOk="0">
                      <a:moveTo>
                        <a:pt x="2266" y="1"/>
                      </a:moveTo>
                      <a:cubicBezTo>
                        <a:pt x="1849" y="1"/>
                        <a:pt x="1423" y="155"/>
                        <a:pt x="1077" y="502"/>
                      </a:cubicBezTo>
                      <a:cubicBezTo>
                        <a:pt x="1" y="1566"/>
                        <a:pt x="751" y="3417"/>
                        <a:pt x="2275" y="3417"/>
                      </a:cubicBezTo>
                      <a:cubicBezTo>
                        <a:pt x="2282" y="3417"/>
                        <a:pt x="2290" y="3417"/>
                        <a:pt x="2297" y="3417"/>
                      </a:cubicBezTo>
                      <a:cubicBezTo>
                        <a:pt x="3230" y="3417"/>
                        <a:pt x="3993" y="2660"/>
                        <a:pt x="3993" y="1723"/>
                      </a:cubicBezTo>
                      <a:cubicBezTo>
                        <a:pt x="3993" y="689"/>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2" name="Google Shape;3962;p66"/>
                <p:cNvSpPr/>
                <p:nvPr/>
              </p:nvSpPr>
              <p:spPr>
                <a:xfrm>
                  <a:off x="4214331" y="3276247"/>
                  <a:ext cx="8919" cy="7582"/>
                </a:xfrm>
                <a:custGeom>
                  <a:avLst/>
                  <a:gdLst/>
                  <a:ahLst/>
                  <a:cxnLst/>
                  <a:rect l="l" t="t" r="r" b="b"/>
                  <a:pathLst>
                    <a:path w="1134" h="964" extrusionOk="0">
                      <a:moveTo>
                        <a:pt x="635" y="0"/>
                      </a:moveTo>
                      <a:cubicBezTo>
                        <a:pt x="209" y="0"/>
                        <a:pt x="0" y="512"/>
                        <a:pt x="311" y="823"/>
                      </a:cubicBezTo>
                      <a:cubicBezTo>
                        <a:pt x="408" y="920"/>
                        <a:pt x="528" y="964"/>
                        <a:pt x="646" y="964"/>
                      </a:cubicBezTo>
                      <a:cubicBezTo>
                        <a:pt x="895" y="964"/>
                        <a:pt x="1134" y="771"/>
                        <a:pt x="1134" y="484"/>
                      </a:cubicBezTo>
                      <a:cubicBezTo>
                        <a:pt x="1134" y="206"/>
                        <a:pt x="916" y="0"/>
                        <a:pt x="650" y="0"/>
                      </a:cubicBezTo>
                      <a:cubicBezTo>
                        <a:pt x="645" y="0"/>
                        <a:pt x="640" y="0"/>
                        <a:pt x="6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63" name="Google Shape;3963;p66"/>
              <p:cNvGrpSpPr/>
              <p:nvPr/>
            </p:nvGrpSpPr>
            <p:grpSpPr>
              <a:xfrm>
                <a:off x="4201550" y="3338278"/>
                <a:ext cx="31405" cy="26930"/>
                <a:chOff x="4201550" y="3338278"/>
                <a:chExt cx="31405" cy="26930"/>
              </a:xfrm>
            </p:grpSpPr>
            <p:sp>
              <p:nvSpPr>
                <p:cNvPr id="3964" name="Google Shape;3964;p66"/>
                <p:cNvSpPr/>
                <p:nvPr/>
              </p:nvSpPr>
              <p:spPr>
                <a:xfrm>
                  <a:off x="4201550" y="3338278"/>
                  <a:ext cx="31405" cy="26930"/>
                </a:xfrm>
                <a:custGeom>
                  <a:avLst/>
                  <a:gdLst/>
                  <a:ahLst/>
                  <a:cxnLst/>
                  <a:rect l="l" t="t" r="r" b="b"/>
                  <a:pathLst>
                    <a:path w="3993" h="3424" extrusionOk="0">
                      <a:moveTo>
                        <a:pt x="2266" y="1"/>
                      </a:moveTo>
                      <a:cubicBezTo>
                        <a:pt x="1848" y="1"/>
                        <a:pt x="1423" y="154"/>
                        <a:pt x="1077" y="497"/>
                      </a:cubicBezTo>
                      <a:cubicBezTo>
                        <a:pt x="1" y="1573"/>
                        <a:pt x="751" y="3412"/>
                        <a:pt x="2275" y="3424"/>
                      </a:cubicBezTo>
                      <a:cubicBezTo>
                        <a:pt x="3218" y="3424"/>
                        <a:pt x="3993" y="2662"/>
                        <a:pt x="3993" y="1718"/>
                      </a:cubicBezTo>
                      <a:cubicBezTo>
                        <a:pt x="3993" y="684"/>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5" name="Google Shape;3965;p66"/>
                <p:cNvSpPr/>
                <p:nvPr/>
              </p:nvSpPr>
              <p:spPr>
                <a:xfrm>
                  <a:off x="4214331" y="3347976"/>
                  <a:ext cx="8919" cy="7590"/>
                </a:xfrm>
                <a:custGeom>
                  <a:avLst/>
                  <a:gdLst/>
                  <a:ahLst/>
                  <a:cxnLst/>
                  <a:rect l="l" t="t" r="r" b="b"/>
                  <a:pathLst>
                    <a:path w="1134" h="965" extrusionOk="0">
                      <a:moveTo>
                        <a:pt x="671" y="1"/>
                      </a:moveTo>
                      <a:cubicBezTo>
                        <a:pt x="664" y="1"/>
                        <a:pt x="657" y="1"/>
                        <a:pt x="650" y="1"/>
                      </a:cubicBezTo>
                      <a:cubicBezTo>
                        <a:pt x="645" y="1"/>
                        <a:pt x="640" y="1"/>
                        <a:pt x="635" y="1"/>
                      </a:cubicBezTo>
                      <a:cubicBezTo>
                        <a:pt x="209" y="1"/>
                        <a:pt x="0" y="513"/>
                        <a:pt x="311" y="824"/>
                      </a:cubicBezTo>
                      <a:cubicBezTo>
                        <a:pt x="408" y="921"/>
                        <a:pt x="528" y="965"/>
                        <a:pt x="646" y="965"/>
                      </a:cubicBezTo>
                      <a:cubicBezTo>
                        <a:pt x="895" y="965"/>
                        <a:pt x="1134" y="772"/>
                        <a:pt x="1134" y="485"/>
                      </a:cubicBezTo>
                      <a:cubicBezTo>
                        <a:pt x="1134" y="214"/>
                        <a:pt x="927" y="1"/>
                        <a:pt x="67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66" name="Google Shape;3966;p66"/>
              <p:cNvGrpSpPr/>
              <p:nvPr/>
            </p:nvGrpSpPr>
            <p:grpSpPr>
              <a:xfrm>
                <a:off x="4238272" y="3369132"/>
                <a:ext cx="31405" cy="27001"/>
                <a:chOff x="4238272" y="3369132"/>
                <a:chExt cx="31405" cy="27001"/>
              </a:xfrm>
            </p:grpSpPr>
            <p:sp>
              <p:nvSpPr>
                <p:cNvPr id="3967" name="Google Shape;3967;p66"/>
                <p:cNvSpPr/>
                <p:nvPr/>
              </p:nvSpPr>
              <p:spPr>
                <a:xfrm>
                  <a:off x="4238272" y="3369132"/>
                  <a:ext cx="31405" cy="27001"/>
                </a:xfrm>
                <a:custGeom>
                  <a:avLst/>
                  <a:gdLst/>
                  <a:ahLst/>
                  <a:cxnLst/>
                  <a:rect l="l" t="t" r="r" b="b"/>
                  <a:pathLst>
                    <a:path w="3993" h="3433" extrusionOk="0">
                      <a:moveTo>
                        <a:pt x="2273" y="1"/>
                      </a:moveTo>
                      <a:cubicBezTo>
                        <a:pt x="1854" y="1"/>
                        <a:pt x="1426" y="157"/>
                        <a:pt x="1078"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68" name="Google Shape;3968;p66"/>
                <p:cNvSpPr/>
                <p:nvPr/>
              </p:nvSpPr>
              <p:spPr>
                <a:xfrm>
                  <a:off x="4251217" y="3378806"/>
                  <a:ext cx="8856" cy="7605"/>
                </a:xfrm>
                <a:custGeom>
                  <a:avLst/>
                  <a:gdLst/>
                  <a:ahLst/>
                  <a:cxnLst/>
                  <a:rect l="l" t="t" r="r" b="b"/>
                  <a:pathLst>
                    <a:path w="1126" h="967" extrusionOk="0">
                      <a:moveTo>
                        <a:pt x="641" y="1"/>
                      </a:moveTo>
                      <a:cubicBezTo>
                        <a:pt x="206" y="1"/>
                        <a:pt x="0" y="521"/>
                        <a:pt x="303" y="823"/>
                      </a:cubicBezTo>
                      <a:cubicBezTo>
                        <a:pt x="401" y="922"/>
                        <a:pt x="524" y="967"/>
                        <a:pt x="643" y="967"/>
                      </a:cubicBezTo>
                      <a:cubicBezTo>
                        <a:pt x="889" y="967"/>
                        <a:pt x="1125" y="778"/>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969" name="Google Shape;3969;p66"/>
            <p:cNvGrpSpPr/>
            <p:nvPr/>
          </p:nvGrpSpPr>
          <p:grpSpPr>
            <a:xfrm>
              <a:off x="4068639" y="3200169"/>
              <a:ext cx="77643" cy="37272"/>
              <a:chOff x="4068639" y="3200169"/>
              <a:chExt cx="77643" cy="37272"/>
            </a:xfrm>
          </p:grpSpPr>
          <p:sp>
            <p:nvSpPr>
              <p:cNvPr id="3970" name="Google Shape;3970;p66"/>
              <p:cNvSpPr/>
              <p:nvPr/>
            </p:nvSpPr>
            <p:spPr>
              <a:xfrm>
                <a:off x="4087570" y="3212886"/>
                <a:ext cx="49958" cy="10374"/>
              </a:xfrm>
              <a:custGeom>
                <a:avLst/>
                <a:gdLst/>
                <a:ahLst/>
                <a:cxnLst/>
                <a:rect l="l" t="t" r="r" b="b"/>
                <a:pathLst>
                  <a:path w="6352" h="1319" fill="none" extrusionOk="0">
                    <a:moveTo>
                      <a:pt x="1" y="1319"/>
                    </a:moveTo>
                    <a:lnTo>
                      <a:pt x="635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3971" name="Google Shape;3971;p66"/>
              <p:cNvGrpSpPr/>
              <p:nvPr/>
            </p:nvGrpSpPr>
            <p:grpSpPr>
              <a:xfrm>
                <a:off x="4114878" y="3200169"/>
                <a:ext cx="31405" cy="26993"/>
                <a:chOff x="4114878" y="3200169"/>
                <a:chExt cx="31405" cy="26993"/>
              </a:xfrm>
            </p:grpSpPr>
            <p:sp>
              <p:nvSpPr>
                <p:cNvPr id="3972" name="Google Shape;3972;p66"/>
                <p:cNvSpPr/>
                <p:nvPr/>
              </p:nvSpPr>
              <p:spPr>
                <a:xfrm>
                  <a:off x="4114878" y="3200169"/>
                  <a:ext cx="31405" cy="26993"/>
                </a:xfrm>
                <a:custGeom>
                  <a:avLst/>
                  <a:gdLst/>
                  <a:ahLst/>
                  <a:cxnLst/>
                  <a:rect l="l" t="t" r="r" b="b"/>
                  <a:pathLst>
                    <a:path w="3993" h="3432" extrusionOk="0">
                      <a:moveTo>
                        <a:pt x="2273" y="0"/>
                      </a:moveTo>
                      <a:cubicBezTo>
                        <a:pt x="1853" y="0"/>
                        <a:pt x="1425" y="156"/>
                        <a:pt x="1077" y="504"/>
                      </a:cubicBezTo>
                      <a:cubicBezTo>
                        <a:pt x="0" y="1581"/>
                        <a:pt x="763" y="3432"/>
                        <a:pt x="2287" y="3432"/>
                      </a:cubicBezTo>
                      <a:cubicBezTo>
                        <a:pt x="3230" y="3432"/>
                        <a:pt x="3992" y="2657"/>
                        <a:pt x="3992" y="1714"/>
                      </a:cubicBezTo>
                      <a:cubicBezTo>
                        <a:pt x="3992"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3" name="Google Shape;3973;p66"/>
                <p:cNvSpPr/>
                <p:nvPr/>
              </p:nvSpPr>
              <p:spPr>
                <a:xfrm>
                  <a:off x="4127721" y="3209835"/>
                  <a:ext cx="8950" cy="7684"/>
                </a:xfrm>
                <a:custGeom>
                  <a:avLst/>
                  <a:gdLst/>
                  <a:ahLst/>
                  <a:cxnLst/>
                  <a:rect l="l" t="t" r="r" b="b"/>
                  <a:pathLst>
                    <a:path w="1138" h="977" extrusionOk="0">
                      <a:moveTo>
                        <a:pt x="654" y="1"/>
                      </a:moveTo>
                      <a:cubicBezTo>
                        <a:pt x="218" y="1"/>
                        <a:pt x="1" y="521"/>
                        <a:pt x="303" y="836"/>
                      </a:cubicBezTo>
                      <a:cubicBezTo>
                        <a:pt x="400" y="933"/>
                        <a:pt x="519" y="976"/>
                        <a:pt x="637" y="976"/>
                      </a:cubicBezTo>
                      <a:cubicBezTo>
                        <a:pt x="887" y="976"/>
                        <a:pt x="1129" y="781"/>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74" name="Google Shape;3974;p66"/>
              <p:cNvGrpSpPr/>
              <p:nvPr/>
            </p:nvGrpSpPr>
            <p:grpSpPr>
              <a:xfrm>
                <a:off x="4068639" y="3210535"/>
                <a:ext cx="31499" cy="26906"/>
                <a:chOff x="4068639" y="3210535"/>
                <a:chExt cx="31499" cy="26906"/>
              </a:xfrm>
            </p:grpSpPr>
            <p:sp>
              <p:nvSpPr>
                <p:cNvPr id="3975" name="Google Shape;3975;p66"/>
                <p:cNvSpPr/>
                <p:nvPr/>
              </p:nvSpPr>
              <p:spPr>
                <a:xfrm>
                  <a:off x="4068639" y="3210535"/>
                  <a:ext cx="31499" cy="26906"/>
                </a:xfrm>
                <a:custGeom>
                  <a:avLst/>
                  <a:gdLst/>
                  <a:ahLst/>
                  <a:cxnLst/>
                  <a:rect l="l" t="t" r="r" b="b"/>
                  <a:pathLst>
                    <a:path w="4005" h="3421" extrusionOk="0">
                      <a:moveTo>
                        <a:pt x="2285" y="1"/>
                      </a:moveTo>
                      <a:cubicBezTo>
                        <a:pt x="1865" y="1"/>
                        <a:pt x="1437" y="157"/>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76" name="Google Shape;3976;p66"/>
                <p:cNvSpPr/>
                <p:nvPr/>
              </p:nvSpPr>
              <p:spPr>
                <a:xfrm>
                  <a:off x="4081577" y="3220209"/>
                  <a:ext cx="8856" cy="7582"/>
                </a:xfrm>
                <a:custGeom>
                  <a:avLst/>
                  <a:gdLst/>
                  <a:ahLst/>
                  <a:cxnLst/>
                  <a:rect l="l" t="t" r="r" b="b"/>
                  <a:pathLst>
                    <a:path w="1126" h="964" extrusionOk="0">
                      <a:moveTo>
                        <a:pt x="642" y="1"/>
                      </a:moveTo>
                      <a:cubicBezTo>
                        <a:pt x="218" y="1"/>
                        <a:pt x="1" y="521"/>
                        <a:pt x="303" y="823"/>
                      </a:cubicBezTo>
                      <a:cubicBezTo>
                        <a:pt x="400" y="920"/>
                        <a:pt x="520" y="964"/>
                        <a:pt x="638" y="964"/>
                      </a:cubicBezTo>
                      <a:cubicBezTo>
                        <a:pt x="887" y="964"/>
                        <a:pt x="1126" y="771"/>
                        <a:pt x="1126" y="484"/>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3977" name="Google Shape;3977;p66"/>
            <p:cNvGrpSpPr/>
            <p:nvPr/>
          </p:nvGrpSpPr>
          <p:grpSpPr>
            <a:xfrm>
              <a:off x="3869702" y="3066935"/>
              <a:ext cx="382664" cy="190294"/>
              <a:chOff x="3869702" y="3066935"/>
              <a:chExt cx="382664" cy="190294"/>
            </a:xfrm>
          </p:grpSpPr>
          <p:grpSp>
            <p:nvGrpSpPr>
              <p:cNvPr id="3978" name="Google Shape;3978;p66"/>
              <p:cNvGrpSpPr/>
              <p:nvPr/>
            </p:nvGrpSpPr>
            <p:grpSpPr>
              <a:xfrm>
                <a:off x="3888633" y="3082351"/>
                <a:ext cx="351172" cy="160698"/>
                <a:chOff x="3888633" y="3082351"/>
                <a:chExt cx="351172" cy="160698"/>
              </a:xfrm>
            </p:grpSpPr>
            <p:sp>
              <p:nvSpPr>
                <p:cNvPr id="3979" name="Google Shape;3979;p66"/>
                <p:cNvSpPr/>
                <p:nvPr/>
              </p:nvSpPr>
              <p:spPr>
                <a:xfrm>
                  <a:off x="3892440" y="3082351"/>
                  <a:ext cx="347366" cy="160698"/>
                </a:xfrm>
                <a:custGeom>
                  <a:avLst/>
                  <a:gdLst/>
                  <a:ahLst/>
                  <a:cxnLst/>
                  <a:rect l="l" t="t" r="r" b="b"/>
                  <a:pathLst>
                    <a:path w="44166" h="20432" fill="none" extrusionOk="0">
                      <a:moveTo>
                        <a:pt x="7041" y="11529"/>
                      </a:moveTo>
                      <a:lnTo>
                        <a:pt x="22440" y="4162"/>
                      </a:lnTo>
                      <a:lnTo>
                        <a:pt x="34815" y="0"/>
                      </a:lnTo>
                      <a:lnTo>
                        <a:pt x="44166" y="484"/>
                      </a:lnTo>
                      <a:lnTo>
                        <a:pt x="38964" y="8565"/>
                      </a:lnTo>
                      <a:lnTo>
                        <a:pt x="33012" y="10065"/>
                      </a:lnTo>
                      <a:lnTo>
                        <a:pt x="22440" y="4839"/>
                      </a:lnTo>
                      <a:lnTo>
                        <a:pt x="18750" y="15424"/>
                      </a:lnTo>
                      <a:cubicBezTo>
                        <a:pt x="18750" y="15424"/>
                        <a:pt x="6206" y="11154"/>
                        <a:pt x="6557" y="11516"/>
                      </a:cubicBezTo>
                      <a:lnTo>
                        <a:pt x="0" y="2043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0" name="Google Shape;3980;p66"/>
                <p:cNvSpPr/>
                <p:nvPr/>
              </p:nvSpPr>
              <p:spPr>
                <a:xfrm>
                  <a:off x="3888633" y="3172924"/>
                  <a:ext cx="72979" cy="70124"/>
                </a:xfrm>
                <a:custGeom>
                  <a:avLst/>
                  <a:gdLst/>
                  <a:ahLst/>
                  <a:cxnLst/>
                  <a:rect l="l" t="t" r="r" b="b"/>
                  <a:pathLst>
                    <a:path w="9279" h="8916" fill="none" extrusionOk="0">
                      <a:moveTo>
                        <a:pt x="0" y="8916"/>
                      </a:moveTo>
                      <a:lnTo>
                        <a:pt x="9279" y="6883"/>
                      </a:lnTo>
                      <a:lnTo>
                        <a:pt x="704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1" name="Google Shape;3981;p66"/>
                <p:cNvSpPr/>
                <p:nvPr/>
              </p:nvSpPr>
              <p:spPr>
                <a:xfrm>
                  <a:off x="3960370" y="3203653"/>
                  <a:ext cx="79547" cy="19607"/>
                </a:xfrm>
                <a:custGeom>
                  <a:avLst/>
                  <a:gdLst/>
                  <a:ahLst/>
                  <a:cxnLst/>
                  <a:rect l="l" t="t" r="r" b="b"/>
                  <a:pathLst>
                    <a:path w="10114" h="2493" fill="none" extrusionOk="0">
                      <a:moveTo>
                        <a:pt x="0" y="2493"/>
                      </a:moveTo>
                      <a:lnTo>
                        <a:pt x="1011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2" name="Google Shape;3982;p66"/>
                <p:cNvSpPr/>
                <p:nvPr/>
              </p:nvSpPr>
              <p:spPr>
                <a:xfrm>
                  <a:off x="4043613" y="3161504"/>
                  <a:ext cx="108474" cy="42156"/>
                </a:xfrm>
                <a:custGeom>
                  <a:avLst/>
                  <a:gdLst/>
                  <a:ahLst/>
                  <a:cxnLst/>
                  <a:rect l="l" t="t" r="r" b="b"/>
                  <a:pathLst>
                    <a:path w="13792" h="5360" fill="none" extrusionOk="0">
                      <a:moveTo>
                        <a:pt x="1" y="5360"/>
                      </a:moveTo>
                      <a:lnTo>
                        <a:pt x="1379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3" name="Google Shape;3983;p66"/>
                <p:cNvSpPr/>
                <p:nvPr/>
              </p:nvSpPr>
              <p:spPr>
                <a:xfrm>
                  <a:off x="4152079" y="3082351"/>
                  <a:ext cx="17224" cy="82968"/>
                </a:xfrm>
                <a:custGeom>
                  <a:avLst/>
                  <a:gdLst/>
                  <a:ahLst/>
                  <a:cxnLst/>
                  <a:rect l="l" t="t" r="r" b="b"/>
                  <a:pathLst>
                    <a:path w="2190" h="10549" fill="none" extrusionOk="0">
                      <a:moveTo>
                        <a:pt x="0" y="10549"/>
                      </a:moveTo>
                      <a:lnTo>
                        <a:pt x="219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4" name="Google Shape;3984;p66"/>
                <p:cNvSpPr/>
                <p:nvPr/>
              </p:nvSpPr>
              <p:spPr>
                <a:xfrm>
                  <a:off x="4169296" y="3082351"/>
                  <a:ext cx="25797" cy="63557"/>
                </a:xfrm>
                <a:custGeom>
                  <a:avLst/>
                  <a:gdLst/>
                  <a:ahLst/>
                  <a:cxnLst/>
                  <a:rect l="l" t="t" r="r" b="b"/>
                  <a:pathLst>
                    <a:path w="3280" h="8081" fill="none" extrusionOk="0">
                      <a:moveTo>
                        <a:pt x="1" y="0"/>
                      </a:moveTo>
                      <a:lnTo>
                        <a:pt x="3279" y="808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85" name="Google Shape;3985;p66"/>
              <p:cNvGrpSpPr/>
              <p:nvPr/>
            </p:nvGrpSpPr>
            <p:grpSpPr>
              <a:xfrm>
                <a:off x="4143703" y="3066935"/>
                <a:ext cx="37783" cy="32357"/>
                <a:chOff x="4143703" y="3066935"/>
                <a:chExt cx="37783" cy="32357"/>
              </a:xfrm>
            </p:grpSpPr>
            <p:sp>
              <p:nvSpPr>
                <p:cNvPr id="3986" name="Google Shape;3986;p66"/>
                <p:cNvSpPr/>
                <p:nvPr/>
              </p:nvSpPr>
              <p:spPr>
                <a:xfrm>
                  <a:off x="4143703" y="3066935"/>
                  <a:ext cx="37783" cy="32357"/>
                </a:xfrm>
                <a:custGeom>
                  <a:avLst/>
                  <a:gdLst/>
                  <a:ahLst/>
                  <a:cxnLst/>
                  <a:rect l="l" t="t" r="r" b="b"/>
                  <a:pathLst>
                    <a:path w="4804" h="4114" extrusionOk="0">
                      <a:moveTo>
                        <a:pt x="2731" y="0"/>
                      </a:moveTo>
                      <a:cubicBezTo>
                        <a:pt x="2227" y="0"/>
                        <a:pt x="1713" y="188"/>
                        <a:pt x="1295" y="605"/>
                      </a:cubicBezTo>
                      <a:cubicBezTo>
                        <a:pt x="1" y="1900"/>
                        <a:pt x="920" y="4114"/>
                        <a:pt x="2747" y="4114"/>
                      </a:cubicBezTo>
                      <a:cubicBezTo>
                        <a:pt x="3884" y="4114"/>
                        <a:pt x="4803" y="3194"/>
                        <a:pt x="4803" y="2069"/>
                      </a:cubicBezTo>
                      <a:cubicBezTo>
                        <a:pt x="4803" y="824"/>
                        <a:pt x="3788" y="0"/>
                        <a:pt x="27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87" name="Google Shape;3987;p66"/>
                <p:cNvSpPr/>
                <p:nvPr/>
              </p:nvSpPr>
              <p:spPr>
                <a:xfrm>
                  <a:off x="4158741" y="3076641"/>
                  <a:ext cx="13040" cy="13040"/>
                </a:xfrm>
                <a:custGeom>
                  <a:avLst/>
                  <a:gdLst/>
                  <a:ahLst/>
                  <a:cxnLst/>
                  <a:rect l="l" t="t" r="r" b="b"/>
                  <a:pathLst>
                    <a:path w="1658" h="1658" extrusionOk="0">
                      <a:moveTo>
                        <a:pt x="835" y="1"/>
                      </a:moveTo>
                      <a:cubicBezTo>
                        <a:pt x="375" y="1"/>
                        <a:pt x="0" y="376"/>
                        <a:pt x="0" y="823"/>
                      </a:cubicBezTo>
                      <a:cubicBezTo>
                        <a:pt x="0" y="1283"/>
                        <a:pt x="375" y="1658"/>
                        <a:pt x="835" y="1658"/>
                      </a:cubicBezTo>
                      <a:cubicBezTo>
                        <a:pt x="1294" y="1658"/>
                        <a:pt x="1657" y="1283"/>
                        <a:pt x="1657" y="823"/>
                      </a:cubicBezTo>
                      <a:cubicBezTo>
                        <a:pt x="1657" y="376"/>
                        <a:pt x="1294"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88" name="Google Shape;3988;p66"/>
              <p:cNvGrpSpPr/>
              <p:nvPr/>
            </p:nvGrpSpPr>
            <p:grpSpPr>
              <a:xfrm>
                <a:off x="4044565" y="3103563"/>
                <a:ext cx="37783" cy="32451"/>
                <a:chOff x="4044565" y="3103563"/>
                <a:chExt cx="37783" cy="32451"/>
              </a:xfrm>
            </p:grpSpPr>
            <p:sp>
              <p:nvSpPr>
                <p:cNvPr id="3989" name="Google Shape;3989;p66"/>
                <p:cNvSpPr/>
                <p:nvPr/>
              </p:nvSpPr>
              <p:spPr>
                <a:xfrm>
                  <a:off x="4044565" y="3103563"/>
                  <a:ext cx="37783" cy="32451"/>
                </a:xfrm>
                <a:custGeom>
                  <a:avLst/>
                  <a:gdLst/>
                  <a:ahLst/>
                  <a:cxnLst/>
                  <a:rect l="l" t="t" r="r" b="b"/>
                  <a:pathLst>
                    <a:path w="4804" h="4126" extrusionOk="0">
                      <a:moveTo>
                        <a:pt x="2731" y="1"/>
                      </a:moveTo>
                      <a:cubicBezTo>
                        <a:pt x="2227" y="1"/>
                        <a:pt x="1713" y="188"/>
                        <a:pt x="1295" y="606"/>
                      </a:cubicBezTo>
                      <a:cubicBezTo>
                        <a:pt x="1" y="1900"/>
                        <a:pt x="908" y="4114"/>
                        <a:pt x="2747" y="4126"/>
                      </a:cubicBezTo>
                      <a:cubicBezTo>
                        <a:pt x="3884" y="4114"/>
                        <a:pt x="4803" y="3194"/>
                        <a:pt x="4803" y="2069"/>
                      </a:cubicBezTo>
                      <a:cubicBezTo>
                        <a:pt x="4803" y="824"/>
                        <a:pt x="3788" y="1"/>
                        <a:pt x="273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0" name="Google Shape;3990;p66"/>
                <p:cNvSpPr/>
                <p:nvPr/>
              </p:nvSpPr>
              <p:spPr>
                <a:xfrm>
                  <a:off x="4059602" y="3113268"/>
                  <a:ext cx="13040" cy="13048"/>
                </a:xfrm>
                <a:custGeom>
                  <a:avLst/>
                  <a:gdLst/>
                  <a:ahLst/>
                  <a:cxnLst/>
                  <a:rect l="l" t="t" r="r" b="b"/>
                  <a:pathLst>
                    <a:path w="1658" h="1659" extrusionOk="0">
                      <a:moveTo>
                        <a:pt x="835" y="1"/>
                      </a:moveTo>
                      <a:cubicBezTo>
                        <a:pt x="375" y="1"/>
                        <a:pt x="0" y="376"/>
                        <a:pt x="0" y="835"/>
                      </a:cubicBezTo>
                      <a:cubicBezTo>
                        <a:pt x="0" y="1283"/>
                        <a:pt x="375" y="1658"/>
                        <a:pt x="835" y="1658"/>
                      </a:cubicBezTo>
                      <a:cubicBezTo>
                        <a:pt x="1295" y="1658"/>
                        <a:pt x="1657" y="1283"/>
                        <a:pt x="1657" y="835"/>
                      </a:cubicBezTo>
                      <a:cubicBezTo>
                        <a:pt x="1657"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91" name="Google Shape;3991;p66"/>
              <p:cNvGrpSpPr/>
              <p:nvPr/>
            </p:nvGrpSpPr>
            <p:grpSpPr>
              <a:xfrm>
                <a:off x="4017454" y="3188237"/>
                <a:ext cx="37776" cy="32357"/>
                <a:chOff x="4017454" y="3188237"/>
                <a:chExt cx="37776" cy="32357"/>
              </a:xfrm>
            </p:grpSpPr>
            <p:sp>
              <p:nvSpPr>
                <p:cNvPr id="3992" name="Google Shape;3992;p66"/>
                <p:cNvSpPr/>
                <p:nvPr/>
              </p:nvSpPr>
              <p:spPr>
                <a:xfrm>
                  <a:off x="4017454" y="3188237"/>
                  <a:ext cx="37776" cy="32357"/>
                </a:xfrm>
                <a:custGeom>
                  <a:avLst/>
                  <a:gdLst/>
                  <a:ahLst/>
                  <a:cxnLst/>
                  <a:rect l="l" t="t" r="r" b="b"/>
                  <a:pathLst>
                    <a:path w="4803" h="4114" extrusionOk="0">
                      <a:moveTo>
                        <a:pt x="2732" y="0"/>
                      </a:moveTo>
                      <a:cubicBezTo>
                        <a:pt x="2227" y="0"/>
                        <a:pt x="1713" y="188"/>
                        <a:pt x="1295" y="606"/>
                      </a:cubicBezTo>
                      <a:cubicBezTo>
                        <a:pt x="0" y="1900"/>
                        <a:pt x="908"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3" name="Google Shape;3993;p66"/>
                <p:cNvSpPr/>
                <p:nvPr/>
              </p:nvSpPr>
              <p:spPr>
                <a:xfrm>
                  <a:off x="4032484" y="3197943"/>
                  <a:ext cx="13040" cy="13048"/>
                </a:xfrm>
                <a:custGeom>
                  <a:avLst/>
                  <a:gdLst/>
                  <a:ahLst/>
                  <a:cxnLst/>
                  <a:rect l="l" t="t" r="r" b="b"/>
                  <a:pathLst>
                    <a:path w="1658" h="1659" extrusionOk="0">
                      <a:moveTo>
                        <a:pt x="835" y="1"/>
                      </a:moveTo>
                      <a:cubicBezTo>
                        <a:pt x="376" y="1"/>
                        <a:pt x="1" y="376"/>
                        <a:pt x="1" y="823"/>
                      </a:cubicBezTo>
                      <a:cubicBezTo>
                        <a:pt x="1" y="1283"/>
                        <a:pt x="376" y="1658"/>
                        <a:pt x="835" y="1658"/>
                      </a:cubicBezTo>
                      <a:cubicBezTo>
                        <a:pt x="1295" y="1658"/>
                        <a:pt x="1658" y="1283"/>
                        <a:pt x="1658" y="823"/>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94" name="Google Shape;3994;p66"/>
              <p:cNvGrpSpPr/>
              <p:nvPr/>
            </p:nvGrpSpPr>
            <p:grpSpPr>
              <a:xfrm>
                <a:off x="3921548" y="3157509"/>
                <a:ext cx="37783" cy="32357"/>
                <a:chOff x="3921548" y="3157509"/>
                <a:chExt cx="37783" cy="32357"/>
              </a:xfrm>
            </p:grpSpPr>
            <p:sp>
              <p:nvSpPr>
                <p:cNvPr id="3995" name="Google Shape;3995;p66"/>
                <p:cNvSpPr/>
                <p:nvPr/>
              </p:nvSpPr>
              <p:spPr>
                <a:xfrm>
                  <a:off x="3921548" y="3157509"/>
                  <a:ext cx="37783" cy="32357"/>
                </a:xfrm>
                <a:custGeom>
                  <a:avLst/>
                  <a:gdLst/>
                  <a:ahLst/>
                  <a:cxnLst/>
                  <a:rect l="l" t="t" r="r" b="b"/>
                  <a:pathLst>
                    <a:path w="4804" h="4114" extrusionOk="0">
                      <a:moveTo>
                        <a:pt x="2732" y="0"/>
                      </a:moveTo>
                      <a:cubicBezTo>
                        <a:pt x="2228" y="0"/>
                        <a:pt x="1713" y="187"/>
                        <a:pt x="1295" y="606"/>
                      </a:cubicBezTo>
                      <a:cubicBezTo>
                        <a:pt x="1" y="1900"/>
                        <a:pt x="908" y="4114"/>
                        <a:pt x="2747" y="4114"/>
                      </a:cubicBezTo>
                      <a:cubicBezTo>
                        <a:pt x="3872"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6" name="Google Shape;3996;p66"/>
                <p:cNvSpPr/>
                <p:nvPr/>
              </p:nvSpPr>
              <p:spPr>
                <a:xfrm>
                  <a:off x="3936586" y="3167214"/>
                  <a:ext cx="13040" cy="13040"/>
                </a:xfrm>
                <a:custGeom>
                  <a:avLst/>
                  <a:gdLst/>
                  <a:ahLst/>
                  <a:cxnLst/>
                  <a:rect l="l" t="t" r="r" b="b"/>
                  <a:pathLst>
                    <a:path w="1658" h="1658" extrusionOk="0">
                      <a:moveTo>
                        <a:pt x="835" y="1"/>
                      </a:moveTo>
                      <a:cubicBezTo>
                        <a:pt x="375" y="1"/>
                        <a:pt x="0" y="364"/>
                        <a:pt x="0" y="823"/>
                      </a:cubicBezTo>
                      <a:cubicBezTo>
                        <a:pt x="0" y="1283"/>
                        <a:pt x="375" y="1658"/>
                        <a:pt x="835" y="1658"/>
                      </a:cubicBezTo>
                      <a:cubicBezTo>
                        <a:pt x="1282" y="1658"/>
                        <a:pt x="1657" y="1283"/>
                        <a:pt x="1657" y="823"/>
                      </a:cubicBezTo>
                      <a:cubicBezTo>
                        <a:pt x="1657" y="364"/>
                        <a:pt x="1282"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3997" name="Google Shape;3997;p66"/>
              <p:cNvGrpSpPr/>
              <p:nvPr/>
            </p:nvGrpSpPr>
            <p:grpSpPr>
              <a:xfrm>
                <a:off x="3939056" y="3211620"/>
                <a:ext cx="37783" cy="32380"/>
                <a:chOff x="3939056" y="3211620"/>
                <a:chExt cx="37783" cy="32380"/>
              </a:xfrm>
            </p:grpSpPr>
            <p:sp>
              <p:nvSpPr>
                <p:cNvPr id="3998" name="Google Shape;3998;p66"/>
                <p:cNvSpPr/>
                <p:nvPr/>
              </p:nvSpPr>
              <p:spPr>
                <a:xfrm>
                  <a:off x="3939056" y="3211620"/>
                  <a:ext cx="37783" cy="32380"/>
                </a:xfrm>
                <a:custGeom>
                  <a:avLst/>
                  <a:gdLst/>
                  <a:ahLst/>
                  <a:cxnLst/>
                  <a:rect l="l" t="t" r="r" b="b"/>
                  <a:pathLst>
                    <a:path w="4804" h="4117" extrusionOk="0">
                      <a:moveTo>
                        <a:pt x="2737" y="1"/>
                      </a:moveTo>
                      <a:cubicBezTo>
                        <a:pt x="2231" y="1"/>
                        <a:pt x="1715" y="189"/>
                        <a:pt x="1295" y="609"/>
                      </a:cubicBezTo>
                      <a:cubicBezTo>
                        <a:pt x="1" y="1903"/>
                        <a:pt x="920" y="4117"/>
                        <a:pt x="2759"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3999" name="Google Shape;3999;p66"/>
                <p:cNvSpPr/>
                <p:nvPr/>
              </p:nvSpPr>
              <p:spPr>
                <a:xfrm>
                  <a:off x="3954188" y="3221255"/>
                  <a:ext cx="13040" cy="13040"/>
                </a:xfrm>
                <a:custGeom>
                  <a:avLst/>
                  <a:gdLst/>
                  <a:ahLst/>
                  <a:cxnLst/>
                  <a:rect l="l" t="t" r="r" b="b"/>
                  <a:pathLst>
                    <a:path w="1658" h="1658" extrusionOk="0">
                      <a:moveTo>
                        <a:pt x="823" y="1"/>
                      </a:moveTo>
                      <a:cubicBezTo>
                        <a:pt x="375" y="1"/>
                        <a:pt x="0" y="376"/>
                        <a:pt x="0" y="835"/>
                      </a:cubicBezTo>
                      <a:cubicBezTo>
                        <a:pt x="0" y="1295"/>
                        <a:pt x="375"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00" name="Google Shape;4000;p66"/>
              <p:cNvGrpSpPr/>
              <p:nvPr/>
            </p:nvGrpSpPr>
            <p:grpSpPr>
              <a:xfrm>
                <a:off x="4176240" y="3136965"/>
                <a:ext cx="31405" cy="26930"/>
                <a:chOff x="4176240" y="3136965"/>
                <a:chExt cx="31405" cy="26930"/>
              </a:xfrm>
            </p:grpSpPr>
            <p:sp>
              <p:nvSpPr>
                <p:cNvPr id="4001" name="Google Shape;4001;p66"/>
                <p:cNvSpPr/>
                <p:nvPr/>
              </p:nvSpPr>
              <p:spPr>
                <a:xfrm>
                  <a:off x="4176240" y="3136965"/>
                  <a:ext cx="31405" cy="26930"/>
                </a:xfrm>
                <a:custGeom>
                  <a:avLst/>
                  <a:gdLst/>
                  <a:ahLst/>
                  <a:cxnLst/>
                  <a:rect l="l" t="t" r="r" b="b"/>
                  <a:pathLst>
                    <a:path w="3993" h="3424" extrusionOk="0">
                      <a:moveTo>
                        <a:pt x="2268" y="1"/>
                      </a:moveTo>
                      <a:cubicBezTo>
                        <a:pt x="1846" y="1"/>
                        <a:pt x="1415" y="158"/>
                        <a:pt x="1065" y="508"/>
                      </a:cubicBezTo>
                      <a:cubicBezTo>
                        <a:pt x="1" y="1585"/>
                        <a:pt x="763" y="3423"/>
                        <a:pt x="2275" y="3423"/>
                      </a:cubicBezTo>
                      <a:cubicBezTo>
                        <a:pt x="3231" y="3423"/>
                        <a:pt x="3993" y="2649"/>
                        <a:pt x="3993" y="1705"/>
                      </a:cubicBezTo>
                      <a:cubicBezTo>
                        <a:pt x="3985" y="677"/>
                        <a:pt x="3145" y="1"/>
                        <a:pt x="226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2" name="Google Shape;4002;p66"/>
                <p:cNvSpPr/>
                <p:nvPr/>
              </p:nvSpPr>
              <p:spPr>
                <a:xfrm>
                  <a:off x="4190327" y="3146663"/>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03" name="Google Shape;4003;p66"/>
              <p:cNvGrpSpPr/>
              <p:nvPr/>
            </p:nvGrpSpPr>
            <p:grpSpPr>
              <a:xfrm>
                <a:off x="4133148" y="3152593"/>
                <a:ext cx="31499" cy="27001"/>
                <a:chOff x="4133148" y="3152593"/>
                <a:chExt cx="31499" cy="27001"/>
              </a:xfrm>
            </p:grpSpPr>
            <p:sp>
              <p:nvSpPr>
                <p:cNvPr id="4004" name="Google Shape;4004;p66"/>
                <p:cNvSpPr/>
                <p:nvPr/>
              </p:nvSpPr>
              <p:spPr>
                <a:xfrm>
                  <a:off x="4133148" y="3152593"/>
                  <a:ext cx="31499" cy="27001"/>
                </a:xfrm>
                <a:custGeom>
                  <a:avLst/>
                  <a:gdLst/>
                  <a:ahLst/>
                  <a:cxnLst/>
                  <a:rect l="l" t="t" r="r" b="b"/>
                  <a:pathLst>
                    <a:path w="4005" h="3433" extrusionOk="0">
                      <a:moveTo>
                        <a:pt x="2284" y="1"/>
                      </a:moveTo>
                      <a:cubicBezTo>
                        <a:pt x="1865" y="1"/>
                        <a:pt x="1437" y="157"/>
                        <a:pt x="1089" y="505"/>
                      </a:cubicBezTo>
                      <a:cubicBezTo>
                        <a:pt x="0" y="1581"/>
                        <a:pt x="774" y="3432"/>
                        <a:pt x="2298" y="3432"/>
                      </a:cubicBezTo>
                      <a:cubicBezTo>
                        <a:pt x="3242" y="3432"/>
                        <a:pt x="4004" y="2658"/>
                        <a:pt x="4004" y="1714"/>
                      </a:cubicBezTo>
                      <a:cubicBezTo>
                        <a:pt x="4004" y="683"/>
                        <a:pt x="3162" y="1"/>
                        <a:pt x="228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5" name="Google Shape;4005;p66"/>
                <p:cNvSpPr/>
                <p:nvPr/>
              </p:nvSpPr>
              <p:spPr>
                <a:xfrm>
                  <a:off x="4147321" y="316226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63" y="968"/>
                        <a:pt x="968" y="751"/>
                        <a:pt x="968" y="484"/>
                      </a:cubicBezTo>
                      <a:cubicBezTo>
                        <a:pt x="968" y="218"/>
                        <a:pt x="763"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06" name="Google Shape;4006;p66"/>
              <p:cNvGrpSpPr/>
              <p:nvPr/>
            </p:nvGrpSpPr>
            <p:grpSpPr>
              <a:xfrm>
                <a:off x="4220866" y="3073534"/>
                <a:ext cx="31499" cy="26898"/>
                <a:chOff x="4220866" y="3073534"/>
                <a:chExt cx="31499" cy="26898"/>
              </a:xfrm>
            </p:grpSpPr>
            <p:sp>
              <p:nvSpPr>
                <p:cNvPr id="4007" name="Google Shape;4007;p66"/>
                <p:cNvSpPr/>
                <p:nvPr/>
              </p:nvSpPr>
              <p:spPr>
                <a:xfrm>
                  <a:off x="4220866" y="307353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08" name="Google Shape;4008;p66"/>
                <p:cNvSpPr/>
                <p:nvPr/>
              </p:nvSpPr>
              <p:spPr>
                <a:xfrm>
                  <a:off x="4235039" y="3083114"/>
                  <a:ext cx="7621" cy="7613"/>
                </a:xfrm>
                <a:custGeom>
                  <a:avLst/>
                  <a:gdLst/>
                  <a:ahLst/>
                  <a:cxnLst/>
                  <a:rect l="l" t="t" r="r" b="b"/>
                  <a:pathLst>
                    <a:path w="969" h="968" extrusionOk="0">
                      <a:moveTo>
                        <a:pt x="485" y="0"/>
                      </a:moveTo>
                      <a:cubicBezTo>
                        <a:pt x="218" y="0"/>
                        <a:pt x="1" y="218"/>
                        <a:pt x="1" y="484"/>
                      </a:cubicBezTo>
                      <a:cubicBezTo>
                        <a:pt x="1" y="750"/>
                        <a:pt x="218" y="968"/>
                        <a:pt x="485" y="968"/>
                      </a:cubicBezTo>
                      <a:cubicBezTo>
                        <a:pt x="751" y="968"/>
                        <a:pt x="968" y="750"/>
                        <a:pt x="968" y="484"/>
                      </a:cubicBezTo>
                      <a:cubicBezTo>
                        <a:pt x="968"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09" name="Google Shape;4009;p66"/>
              <p:cNvGrpSpPr/>
              <p:nvPr/>
            </p:nvGrpSpPr>
            <p:grpSpPr>
              <a:xfrm>
                <a:off x="3869702" y="3230323"/>
                <a:ext cx="31499" cy="26906"/>
                <a:chOff x="3869702" y="3230323"/>
                <a:chExt cx="31499" cy="26906"/>
              </a:xfrm>
            </p:grpSpPr>
            <p:sp>
              <p:nvSpPr>
                <p:cNvPr id="4010" name="Google Shape;4010;p66"/>
                <p:cNvSpPr/>
                <p:nvPr/>
              </p:nvSpPr>
              <p:spPr>
                <a:xfrm>
                  <a:off x="3869702" y="3230323"/>
                  <a:ext cx="31499" cy="26906"/>
                </a:xfrm>
                <a:custGeom>
                  <a:avLst/>
                  <a:gdLst/>
                  <a:ahLst/>
                  <a:cxnLst/>
                  <a:rect l="l" t="t" r="r" b="b"/>
                  <a:pathLst>
                    <a:path w="4005" h="3421" extrusionOk="0">
                      <a:moveTo>
                        <a:pt x="2275" y="1"/>
                      </a:moveTo>
                      <a:cubicBezTo>
                        <a:pt x="1854" y="1"/>
                        <a:pt x="1425" y="157"/>
                        <a:pt x="1077" y="505"/>
                      </a:cubicBezTo>
                      <a:cubicBezTo>
                        <a:pt x="0" y="1581"/>
                        <a:pt x="762" y="3420"/>
                        <a:pt x="2286" y="3420"/>
                      </a:cubicBezTo>
                      <a:cubicBezTo>
                        <a:pt x="3230" y="3420"/>
                        <a:pt x="3992"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1" name="Google Shape;4011;p66"/>
                <p:cNvSpPr/>
                <p:nvPr/>
              </p:nvSpPr>
              <p:spPr>
                <a:xfrm>
                  <a:off x="3883875" y="3239997"/>
                  <a:ext cx="7621" cy="7621"/>
                </a:xfrm>
                <a:custGeom>
                  <a:avLst/>
                  <a:gdLst/>
                  <a:ahLst/>
                  <a:cxnLst/>
                  <a:rect l="l" t="t" r="r" b="b"/>
                  <a:pathLst>
                    <a:path w="969"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012" name="Google Shape;4012;p66"/>
            <p:cNvGrpSpPr/>
            <p:nvPr/>
          </p:nvGrpSpPr>
          <p:grpSpPr>
            <a:xfrm>
              <a:off x="4271383" y="3065882"/>
              <a:ext cx="304556" cy="341663"/>
              <a:chOff x="4271383" y="3065882"/>
              <a:chExt cx="304556" cy="341663"/>
            </a:xfrm>
          </p:grpSpPr>
          <p:grpSp>
            <p:nvGrpSpPr>
              <p:cNvPr id="4013" name="Google Shape;4013;p66"/>
              <p:cNvGrpSpPr/>
              <p:nvPr/>
            </p:nvGrpSpPr>
            <p:grpSpPr>
              <a:xfrm>
                <a:off x="4293838" y="3078639"/>
                <a:ext cx="269353" cy="311973"/>
                <a:chOff x="4293838" y="3078639"/>
                <a:chExt cx="269353" cy="311973"/>
              </a:xfrm>
            </p:grpSpPr>
            <p:sp>
              <p:nvSpPr>
                <p:cNvPr id="4014" name="Google Shape;4014;p66"/>
                <p:cNvSpPr/>
                <p:nvPr/>
              </p:nvSpPr>
              <p:spPr>
                <a:xfrm>
                  <a:off x="4293838" y="3078639"/>
                  <a:ext cx="269353" cy="311973"/>
                </a:xfrm>
                <a:custGeom>
                  <a:avLst/>
                  <a:gdLst/>
                  <a:ahLst/>
                  <a:cxnLst/>
                  <a:rect l="l" t="t" r="r" b="b"/>
                  <a:pathLst>
                    <a:path w="34247" h="39666" fill="none" extrusionOk="0">
                      <a:moveTo>
                        <a:pt x="13" y="16730"/>
                      </a:moveTo>
                      <a:lnTo>
                        <a:pt x="7162" y="27690"/>
                      </a:lnTo>
                      <a:lnTo>
                        <a:pt x="8480" y="39666"/>
                      </a:lnTo>
                      <a:lnTo>
                        <a:pt x="18182" y="34138"/>
                      </a:lnTo>
                      <a:lnTo>
                        <a:pt x="26371" y="29807"/>
                      </a:lnTo>
                      <a:cubicBezTo>
                        <a:pt x="26371" y="29807"/>
                        <a:pt x="33605" y="34694"/>
                        <a:pt x="33932" y="35456"/>
                      </a:cubicBezTo>
                      <a:cubicBezTo>
                        <a:pt x="34246" y="36218"/>
                        <a:pt x="32263" y="18388"/>
                        <a:pt x="32263" y="18388"/>
                      </a:cubicBezTo>
                      <a:lnTo>
                        <a:pt x="28428" y="2928"/>
                      </a:lnTo>
                      <a:lnTo>
                        <a:pt x="12932" y="1"/>
                      </a:lnTo>
                      <a:lnTo>
                        <a:pt x="1670" y="2650"/>
                      </a:lnTo>
                      <a:lnTo>
                        <a:pt x="0" y="171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5" name="Google Shape;4015;p66"/>
                <p:cNvSpPr/>
                <p:nvPr/>
              </p:nvSpPr>
              <p:spPr>
                <a:xfrm>
                  <a:off x="4306965" y="3099473"/>
                  <a:ext cx="62519" cy="69652"/>
                </a:xfrm>
                <a:custGeom>
                  <a:avLst/>
                  <a:gdLst/>
                  <a:ahLst/>
                  <a:cxnLst/>
                  <a:rect l="l" t="t" r="r" b="b"/>
                  <a:pathLst>
                    <a:path w="7949" h="8856" fill="none" extrusionOk="0">
                      <a:moveTo>
                        <a:pt x="1" y="1"/>
                      </a:moveTo>
                      <a:lnTo>
                        <a:pt x="7948" y="885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6" name="Google Shape;4016;p66"/>
                <p:cNvSpPr/>
                <p:nvPr/>
              </p:nvSpPr>
              <p:spPr>
                <a:xfrm>
                  <a:off x="4369476" y="3169118"/>
                  <a:ext cx="26072" cy="98666"/>
                </a:xfrm>
                <a:custGeom>
                  <a:avLst/>
                  <a:gdLst/>
                  <a:ahLst/>
                  <a:cxnLst/>
                  <a:rect l="l" t="t" r="r" b="b"/>
                  <a:pathLst>
                    <a:path w="3315" h="12545" fill="none" extrusionOk="0">
                      <a:moveTo>
                        <a:pt x="0" y="1"/>
                      </a:moveTo>
                      <a:lnTo>
                        <a:pt x="3315" y="1254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7" name="Google Shape;4017;p66"/>
                <p:cNvSpPr/>
                <p:nvPr/>
              </p:nvSpPr>
              <p:spPr>
                <a:xfrm>
                  <a:off x="4399347" y="3078639"/>
                  <a:ext cx="60041" cy="110558"/>
                </a:xfrm>
                <a:custGeom>
                  <a:avLst/>
                  <a:gdLst/>
                  <a:ahLst/>
                  <a:cxnLst/>
                  <a:rect l="l" t="t" r="r" b="b"/>
                  <a:pathLst>
                    <a:path w="7634" h="14057" fill="none" extrusionOk="0">
                      <a:moveTo>
                        <a:pt x="7634" y="14057"/>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8" name="Google Shape;4018;p66"/>
                <p:cNvSpPr/>
                <p:nvPr/>
              </p:nvSpPr>
              <p:spPr>
                <a:xfrm>
                  <a:off x="4373282" y="3169118"/>
                  <a:ext cx="82299" cy="20079"/>
                </a:xfrm>
                <a:custGeom>
                  <a:avLst/>
                  <a:gdLst/>
                  <a:ahLst/>
                  <a:cxnLst/>
                  <a:rect l="l" t="t" r="r" b="b"/>
                  <a:pathLst>
                    <a:path w="10464" h="2553" fill="none" extrusionOk="0">
                      <a:moveTo>
                        <a:pt x="0" y="1"/>
                      </a:moveTo>
                      <a:lnTo>
                        <a:pt x="10464" y="255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19" name="Google Shape;4019;p66"/>
                <p:cNvSpPr/>
                <p:nvPr/>
              </p:nvSpPr>
              <p:spPr>
                <a:xfrm>
                  <a:off x="4369476" y="3078639"/>
                  <a:ext cx="29879" cy="90487"/>
                </a:xfrm>
                <a:custGeom>
                  <a:avLst/>
                  <a:gdLst/>
                  <a:ahLst/>
                  <a:cxnLst/>
                  <a:rect l="l" t="t" r="r" b="b"/>
                  <a:pathLst>
                    <a:path w="3799" h="11505" fill="none" extrusionOk="0">
                      <a:moveTo>
                        <a:pt x="0" y="11505"/>
                      </a:moveTo>
                      <a:lnTo>
                        <a:pt x="379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0" name="Google Shape;4020;p66"/>
                <p:cNvSpPr/>
                <p:nvPr/>
              </p:nvSpPr>
              <p:spPr>
                <a:xfrm>
                  <a:off x="4293932" y="3169118"/>
                  <a:ext cx="75551" cy="41110"/>
                </a:xfrm>
                <a:custGeom>
                  <a:avLst/>
                  <a:gdLst/>
                  <a:ahLst/>
                  <a:cxnLst/>
                  <a:rect l="l" t="t" r="r" b="b"/>
                  <a:pathLst>
                    <a:path w="9606" h="5227" fill="none" extrusionOk="0">
                      <a:moveTo>
                        <a:pt x="1" y="5226"/>
                      </a:moveTo>
                      <a:lnTo>
                        <a:pt x="9605"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1" name="Google Shape;4021;p66"/>
                <p:cNvSpPr/>
                <p:nvPr/>
              </p:nvSpPr>
              <p:spPr>
                <a:xfrm>
                  <a:off x="4350159" y="3267776"/>
                  <a:ext cx="45389" cy="27032"/>
                </a:xfrm>
                <a:custGeom>
                  <a:avLst/>
                  <a:gdLst/>
                  <a:ahLst/>
                  <a:cxnLst/>
                  <a:rect l="l" t="t" r="r" b="b"/>
                  <a:pathLst>
                    <a:path w="5771" h="3437" fill="none" extrusionOk="0">
                      <a:moveTo>
                        <a:pt x="1" y="3436"/>
                      </a:moveTo>
                      <a:lnTo>
                        <a:pt x="577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2" name="Google Shape;4022;p66"/>
                <p:cNvSpPr/>
                <p:nvPr/>
              </p:nvSpPr>
              <p:spPr>
                <a:xfrm>
                  <a:off x="4395540" y="3267776"/>
                  <a:ext cx="38830" cy="76031"/>
                </a:xfrm>
                <a:custGeom>
                  <a:avLst/>
                  <a:gdLst/>
                  <a:ahLst/>
                  <a:cxnLst/>
                  <a:rect l="l" t="t" r="r" b="b"/>
                  <a:pathLst>
                    <a:path w="4937" h="9667" fill="none" extrusionOk="0">
                      <a:moveTo>
                        <a:pt x="1" y="1"/>
                      </a:moveTo>
                      <a:lnTo>
                        <a:pt x="4936" y="96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3" name="Google Shape;4023;p66"/>
                <p:cNvSpPr/>
                <p:nvPr/>
              </p:nvSpPr>
              <p:spPr>
                <a:xfrm>
                  <a:off x="4360439" y="3267776"/>
                  <a:ext cx="35109" cy="121978"/>
                </a:xfrm>
                <a:custGeom>
                  <a:avLst/>
                  <a:gdLst/>
                  <a:ahLst/>
                  <a:cxnLst/>
                  <a:rect l="l" t="t" r="r" b="b"/>
                  <a:pathLst>
                    <a:path w="4464" h="15509" fill="none" extrusionOk="0">
                      <a:moveTo>
                        <a:pt x="0" y="15509"/>
                      </a:moveTo>
                      <a:lnTo>
                        <a:pt x="446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4" name="Google Shape;4024;p66"/>
                <p:cNvSpPr/>
                <p:nvPr/>
              </p:nvSpPr>
              <p:spPr>
                <a:xfrm>
                  <a:off x="4293932" y="3210220"/>
                  <a:ext cx="101616" cy="57564"/>
                </a:xfrm>
                <a:custGeom>
                  <a:avLst/>
                  <a:gdLst/>
                  <a:ahLst/>
                  <a:cxnLst/>
                  <a:rect l="l" t="t" r="r" b="b"/>
                  <a:pathLst>
                    <a:path w="12920" h="7319" fill="none" extrusionOk="0">
                      <a:moveTo>
                        <a:pt x="1" y="0"/>
                      </a:moveTo>
                      <a:lnTo>
                        <a:pt x="12920" y="73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5" name="Google Shape;4025;p66"/>
                <p:cNvSpPr/>
                <p:nvPr/>
              </p:nvSpPr>
              <p:spPr>
                <a:xfrm>
                  <a:off x="4395540" y="3186436"/>
                  <a:ext cx="66420" cy="79735"/>
                </a:xfrm>
                <a:custGeom>
                  <a:avLst/>
                  <a:gdLst/>
                  <a:ahLst/>
                  <a:cxnLst/>
                  <a:rect l="l" t="t" r="r" b="b"/>
                  <a:pathLst>
                    <a:path w="8445" h="10138" fill="none" extrusionOk="0">
                      <a:moveTo>
                        <a:pt x="8444" y="0"/>
                      </a:moveTo>
                      <a:lnTo>
                        <a:pt x="1" y="1013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6" name="Google Shape;4026;p66"/>
                <p:cNvSpPr/>
                <p:nvPr/>
              </p:nvSpPr>
              <p:spPr>
                <a:xfrm>
                  <a:off x="4459380" y="3189669"/>
                  <a:ext cx="41873" cy="123402"/>
                </a:xfrm>
                <a:custGeom>
                  <a:avLst/>
                  <a:gdLst/>
                  <a:ahLst/>
                  <a:cxnLst/>
                  <a:rect l="l" t="t" r="r" b="b"/>
                  <a:pathLst>
                    <a:path w="5324" h="15690" fill="none" extrusionOk="0">
                      <a:moveTo>
                        <a:pt x="1" y="0"/>
                      </a:moveTo>
                      <a:lnTo>
                        <a:pt x="5323" y="1569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7" name="Google Shape;4027;p66"/>
                <p:cNvSpPr/>
                <p:nvPr/>
              </p:nvSpPr>
              <p:spPr>
                <a:xfrm>
                  <a:off x="4395540" y="3267776"/>
                  <a:ext cx="105713" cy="45295"/>
                </a:xfrm>
                <a:custGeom>
                  <a:avLst/>
                  <a:gdLst/>
                  <a:ahLst/>
                  <a:cxnLst/>
                  <a:rect l="l" t="t" r="r" b="b"/>
                  <a:pathLst>
                    <a:path w="13441" h="5759" fill="none" extrusionOk="0">
                      <a:moveTo>
                        <a:pt x="1" y="1"/>
                      </a:moveTo>
                      <a:lnTo>
                        <a:pt x="13440" y="575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8" name="Google Shape;4028;p66"/>
                <p:cNvSpPr/>
                <p:nvPr/>
              </p:nvSpPr>
              <p:spPr>
                <a:xfrm>
                  <a:off x="4501246" y="3223252"/>
                  <a:ext cx="46435" cy="89818"/>
                </a:xfrm>
                <a:custGeom>
                  <a:avLst/>
                  <a:gdLst/>
                  <a:ahLst/>
                  <a:cxnLst/>
                  <a:rect l="l" t="t" r="r" b="b"/>
                  <a:pathLst>
                    <a:path w="5904" h="11420" fill="none" extrusionOk="0">
                      <a:moveTo>
                        <a:pt x="0" y="11420"/>
                      </a:moveTo>
                      <a:lnTo>
                        <a:pt x="590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29" name="Google Shape;4029;p66"/>
                <p:cNvSpPr/>
                <p:nvPr/>
              </p:nvSpPr>
              <p:spPr>
                <a:xfrm>
                  <a:off x="4459671" y="3104231"/>
                  <a:ext cx="58421" cy="84966"/>
                </a:xfrm>
                <a:custGeom>
                  <a:avLst/>
                  <a:gdLst/>
                  <a:ahLst/>
                  <a:cxnLst/>
                  <a:rect l="l" t="t" r="r" b="b"/>
                  <a:pathLst>
                    <a:path w="7428" h="10803" fill="none" extrusionOk="0">
                      <a:moveTo>
                        <a:pt x="0" y="10803"/>
                      </a:moveTo>
                      <a:lnTo>
                        <a:pt x="7428"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0" name="Google Shape;4030;p66"/>
                <p:cNvSpPr/>
                <p:nvPr/>
              </p:nvSpPr>
              <p:spPr>
                <a:xfrm>
                  <a:off x="4459671" y="3189189"/>
                  <a:ext cx="86586" cy="36737"/>
                </a:xfrm>
                <a:custGeom>
                  <a:avLst/>
                  <a:gdLst/>
                  <a:ahLst/>
                  <a:cxnLst/>
                  <a:rect l="l" t="t" r="r" b="b"/>
                  <a:pathLst>
                    <a:path w="11009" h="4671" fill="none" extrusionOk="0">
                      <a:moveTo>
                        <a:pt x="0" y="1"/>
                      </a:moveTo>
                      <a:lnTo>
                        <a:pt x="11008" y="467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31" name="Google Shape;4031;p66"/>
              <p:cNvGrpSpPr/>
              <p:nvPr/>
            </p:nvGrpSpPr>
            <p:grpSpPr>
              <a:xfrm>
                <a:off x="4538164" y="3342061"/>
                <a:ext cx="37776" cy="32380"/>
                <a:chOff x="4538164" y="3342061"/>
                <a:chExt cx="37776" cy="32380"/>
              </a:xfrm>
            </p:grpSpPr>
            <p:sp>
              <p:nvSpPr>
                <p:cNvPr id="4032" name="Google Shape;4032;p66"/>
                <p:cNvSpPr/>
                <p:nvPr/>
              </p:nvSpPr>
              <p:spPr>
                <a:xfrm>
                  <a:off x="4538164" y="3342061"/>
                  <a:ext cx="37776" cy="32380"/>
                </a:xfrm>
                <a:custGeom>
                  <a:avLst/>
                  <a:gdLst/>
                  <a:ahLst/>
                  <a:cxnLst/>
                  <a:rect l="l" t="t" r="r" b="b"/>
                  <a:pathLst>
                    <a:path w="4803" h="4117" extrusionOk="0">
                      <a:moveTo>
                        <a:pt x="2737" y="0"/>
                      </a:moveTo>
                      <a:cubicBezTo>
                        <a:pt x="2231" y="0"/>
                        <a:pt x="1714" y="189"/>
                        <a:pt x="1294" y="608"/>
                      </a:cubicBezTo>
                      <a:cubicBezTo>
                        <a:pt x="0" y="1903"/>
                        <a:pt x="919" y="4116"/>
                        <a:pt x="2746" y="4116"/>
                      </a:cubicBezTo>
                      <a:cubicBezTo>
                        <a:pt x="3883" y="4116"/>
                        <a:pt x="4802" y="3197"/>
                        <a:pt x="4802" y="2060"/>
                      </a:cubicBezTo>
                      <a:cubicBezTo>
                        <a:pt x="4802" y="817"/>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3" name="Google Shape;4033;p66"/>
                <p:cNvSpPr/>
                <p:nvPr/>
              </p:nvSpPr>
              <p:spPr>
                <a:xfrm>
                  <a:off x="4553194" y="3351790"/>
                  <a:ext cx="13040" cy="13040"/>
                </a:xfrm>
                <a:custGeom>
                  <a:avLst/>
                  <a:gdLst/>
                  <a:ahLst/>
                  <a:cxnLst/>
                  <a:rect l="l" t="t" r="r" b="b"/>
                  <a:pathLst>
                    <a:path w="1658" h="1658" extrusionOk="0">
                      <a:moveTo>
                        <a:pt x="835" y="0"/>
                      </a:moveTo>
                      <a:cubicBezTo>
                        <a:pt x="375" y="0"/>
                        <a:pt x="0" y="363"/>
                        <a:pt x="0" y="823"/>
                      </a:cubicBezTo>
                      <a:cubicBezTo>
                        <a:pt x="0" y="1283"/>
                        <a:pt x="375"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34" name="Google Shape;4034;p66"/>
              <p:cNvGrpSpPr/>
              <p:nvPr/>
            </p:nvGrpSpPr>
            <p:grpSpPr>
              <a:xfrm>
                <a:off x="4271383" y="3194742"/>
                <a:ext cx="37783" cy="32420"/>
                <a:chOff x="4271383" y="3194742"/>
                <a:chExt cx="37783" cy="32420"/>
              </a:xfrm>
            </p:grpSpPr>
            <p:sp>
              <p:nvSpPr>
                <p:cNvPr id="4035" name="Google Shape;4035;p66"/>
                <p:cNvSpPr/>
                <p:nvPr/>
              </p:nvSpPr>
              <p:spPr>
                <a:xfrm>
                  <a:off x="4271383" y="3194742"/>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6" name="Google Shape;4036;p66"/>
                <p:cNvSpPr/>
                <p:nvPr/>
              </p:nvSpPr>
              <p:spPr>
                <a:xfrm>
                  <a:off x="4286516" y="3204416"/>
                  <a:ext cx="13040" cy="13040"/>
                </a:xfrm>
                <a:custGeom>
                  <a:avLst/>
                  <a:gdLst/>
                  <a:ahLst/>
                  <a:cxnLst/>
                  <a:rect l="l" t="t" r="r" b="b"/>
                  <a:pathLst>
                    <a:path w="1658" h="1658" extrusionOk="0">
                      <a:moveTo>
                        <a:pt x="823" y="0"/>
                      </a:moveTo>
                      <a:cubicBezTo>
                        <a:pt x="363" y="0"/>
                        <a:pt x="0" y="375"/>
                        <a:pt x="0" y="835"/>
                      </a:cubicBezTo>
                      <a:cubicBezTo>
                        <a:pt x="0" y="1295"/>
                        <a:pt x="363" y="1658"/>
                        <a:pt x="823" y="1658"/>
                      </a:cubicBezTo>
                      <a:cubicBezTo>
                        <a:pt x="1282" y="1658"/>
                        <a:pt x="1657" y="1295"/>
                        <a:pt x="1657" y="835"/>
                      </a:cubicBezTo>
                      <a:cubicBezTo>
                        <a:pt x="1657" y="375"/>
                        <a:pt x="1282"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37" name="Google Shape;4037;p66"/>
              <p:cNvGrpSpPr/>
              <p:nvPr/>
            </p:nvGrpSpPr>
            <p:grpSpPr>
              <a:xfrm>
                <a:off x="4284416" y="3084058"/>
                <a:ext cx="37783" cy="32357"/>
                <a:chOff x="4284416" y="3084058"/>
                <a:chExt cx="37783" cy="32357"/>
              </a:xfrm>
            </p:grpSpPr>
            <p:sp>
              <p:nvSpPr>
                <p:cNvPr id="4038" name="Google Shape;4038;p66"/>
                <p:cNvSpPr/>
                <p:nvPr/>
              </p:nvSpPr>
              <p:spPr>
                <a:xfrm>
                  <a:off x="4284416" y="3084058"/>
                  <a:ext cx="37783" cy="32357"/>
                </a:xfrm>
                <a:custGeom>
                  <a:avLst/>
                  <a:gdLst/>
                  <a:ahLst/>
                  <a:cxnLst/>
                  <a:rect l="l" t="t" r="r" b="b"/>
                  <a:pathLst>
                    <a:path w="4804" h="4114"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39" name="Google Shape;4039;p66"/>
                <p:cNvSpPr/>
                <p:nvPr/>
              </p:nvSpPr>
              <p:spPr>
                <a:xfrm>
                  <a:off x="4299548" y="3093763"/>
                  <a:ext cx="13040" cy="13048"/>
                </a:xfrm>
                <a:custGeom>
                  <a:avLst/>
                  <a:gdLst/>
                  <a:ahLst/>
                  <a:cxnLst/>
                  <a:rect l="l" t="t" r="r" b="b"/>
                  <a:pathLst>
                    <a:path w="1658" h="1659" extrusionOk="0">
                      <a:moveTo>
                        <a:pt x="823" y="1"/>
                      </a:moveTo>
                      <a:cubicBezTo>
                        <a:pt x="363" y="1"/>
                        <a:pt x="0" y="364"/>
                        <a:pt x="0" y="824"/>
                      </a:cubicBezTo>
                      <a:cubicBezTo>
                        <a:pt x="0" y="1283"/>
                        <a:pt x="363"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40" name="Google Shape;4040;p66"/>
              <p:cNvGrpSpPr/>
              <p:nvPr/>
            </p:nvGrpSpPr>
            <p:grpSpPr>
              <a:xfrm>
                <a:off x="4478697" y="3297561"/>
                <a:ext cx="37776" cy="32451"/>
                <a:chOff x="4478697" y="3297561"/>
                <a:chExt cx="37776" cy="32451"/>
              </a:xfrm>
            </p:grpSpPr>
            <p:sp>
              <p:nvSpPr>
                <p:cNvPr id="4041" name="Google Shape;4041;p66"/>
                <p:cNvSpPr/>
                <p:nvPr/>
              </p:nvSpPr>
              <p:spPr>
                <a:xfrm>
                  <a:off x="4478697" y="3297561"/>
                  <a:ext cx="37776" cy="32451"/>
                </a:xfrm>
                <a:custGeom>
                  <a:avLst/>
                  <a:gdLst/>
                  <a:ahLst/>
                  <a:cxnLst/>
                  <a:rect l="l" t="t" r="r" b="b"/>
                  <a:pathLst>
                    <a:path w="4803" h="4126" extrusionOk="0">
                      <a:moveTo>
                        <a:pt x="2730" y="0"/>
                      </a:moveTo>
                      <a:cubicBezTo>
                        <a:pt x="2226" y="0"/>
                        <a:pt x="1713" y="187"/>
                        <a:pt x="1295" y="605"/>
                      </a:cubicBezTo>
                      <a:cubicBezTo>
                        <a:pt x="1" y="1899"/>
                        <a:pt x="920" y="4125"/>
                        <a:pt x="2746" y="4125"/>
                      </a:cubicBezTo>
                      <a:cubicBezTo>
                        <a:pt x="3884"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2" name="Google Shape;4042;p66"/>
                <p:cNvSpPr/>
                <p:nvPr/>
              </p:nvSpPr>
              <p:spPr>
                <a:xfrm>
                  <a:off x="4493727" y="3307361"/>
                  <a:ext cx="13048" cy="13040"/>
                </a:xfrm>
                <a:custGeom>
                  <a:avLst/>
                  <a:gdLst/>
                  <a:ahLst/>
                  <a:cxnLst/>
                  <a:rect l="l" t="t" r="r" b="b"/>
                  <a:pathLst>
                    <a:path w="1659" h="1658" extrusionOk="0">
                      <a:moveTo>
                        <a:pt x="835" y="0"/>
                      </a:moveTo>
                      <a:cubicBezTo>
                        <a:pt x="376" y="0"/>
                        <a:pt x="1" y="363"/>
                        <a:pt x="1" y="823"/>
                      </a:cubicBezTo>
                      <a:cubicBezTo>
                        <a:pt x="1" y="1282"/>
                        <a:pt x="376" y="1657"/>
                        <a:pt x="835" y="1657"/>
                      </a:cubicBezTo>
                      <a:cubicBezTo>
                        <a:pt x="1295" y="1657"/>
                        <a:pt x="1658" y="1282"/>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43" name="Google Shape;4043;p66"/>
              <p:cNvGrpSpPr/>
              <p:nvPr/>
            </p:nvGrpSpPr>
            <p:grpSpPr>
              <a:xfrm>
                <a:off x="4411813" y="3331711"/>
                <a:ext cx="37776" cy="32451"/>
                <a:chOff x="4411813" y="3331711"/>
                <a:chExt cx="37776" cy="32451"/>
              </a:xfrm>
            </p:grpSpPr>
            <p:sp>
              <p:nvSpPr>
                <p:cNvPr id="4044" name="Google Shape;4044;p66"/>
                <p:cNvSpPr/>
                <p:nvPr/>
              </p:nvSpPr>
              <p:spPr>
                <a:xfrm>
                  <a:off x="4411813" y="3331711"/>
                  <a:ext cx="37776" cy="32451"/>
                </a:xfrm>
                <a:custGeom>
                  <a:avLst/>
                  <a:gdLst/>
                  <a:ahLst/>
                  <a:cxnLst/>
                  <a:rect l="l" t="t" r="r" b="b"/>
                  <a:pathLst>
                    <a:path w="4803" h="4126" extrusionOk="0">
                      <a:moveTo>
                        <a:pt x="2730" y="1"/>
                      </a:moveTo>
                      <a:cubicBezTo>
                        <a:pt x="2226" y="1"/>
                        <a:pt x="1713" y="188"/>
                        <a:pt x="1295" y="606"/>
                      </a:cubicBezTo>
                      <a:cubicBezTo>
                        <a:pt x="0" y="1900"/>
                        <a:pt x="920" y="4126"/>
                        <a:pt x="2759" y="4126"/>
                      </a:cubicBezTo>
                      <a:cubicBezTo>
                        <a:pt x="3884" y="4114"/>
                        <a:pt x="4803" y="3194"/>
                        <a:pt x="4803" y="2069"/>
                      </a:cubicBezTo>
                      <a:cubicBezTo>
                        <a:pt x="4803" y="824"/>
                        <a:pt x="3788"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5" name="Google Shape;4045;p66"/>
                <p:cNvSpPr/>
                <p:nvPr/>
              </p:nvSpPr>
              <p:spPr>
                <a:xfrm>
                  <a:off x="4426937" y="3341416"/>
                  <a:ext cx="13048" cy="13048"/>
                </a:xfrm>
                <a:custGeom>
                  <a:avLst/>
                  <a:gdLst/>
                  <a:ahLst/>
                  <a:cxnLst/>
                  <a:rect l="l" t="t" r="r" b="b"/>
                  <a:pathLst>
                    <a:path w="1659" h="1659" extrusionOk="0">
                      <a:moveTo>
                        <a:pt x="823" y="1"/>
                      </a:moveTo>
                      <a:cubicBezTo>
                        <a:pt x="376" y="1"/>
                        <a:pt x="1" y="376"/>
                        <a:pt x="1" y="823"/>
                      </a:cubicBezTo>
                      <a:cubicBezTo>
                        <a:pt x="1" y="1283"/>
                        <a:pt x="376"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46" name="Google Shape;4046;p66"/>
              <p:cNvGrpSpPr/>
              <p:nvPr/>
            </p:nvGrpSpPr>
            <p:grpSpPr>
              <a:xfrm>
                <a:off x="4337984" y="3375188"/>
                <a:ext cx="37776" cy="32357"/>
                <a:chOff x="4337984" y="3375188"/>
                <a:chExt cx="37776" cy="32357"/>
              </a:xfrm>
            </p:grpSpPr>
            <p:sp>
              <p:nvSpPr>
                <p:cNvPr id="4047" name="Google Shape;4047;p66"/>
                <p:cNvSpPr/>
                <p:nvPr/>
              </p:nvSpPr>
              <p:spPr>
                <a:xfrm>
                  <a:off x="4337984" y="3375188"/>
                  <a:ext cx="37776" cy="32357"/>
                </a:xfrm>
                <a:custGeom>
                  <a:avLst/>
                  <a:gdLst/>
                  <a:ahLst/>
                  <a:cxnLst/>
                  <a:rect l="l" t="t" r="r" b="b"/>
                  <a:pathLst>
                    <a:path w="4803" h="4114" extrusionOk="0">
                      <a:moveTo>
                        <a:pt x="2732" y="1"/>
                      </a:moveTo>
                      <a:cubicBezTo>
                        <a:pt x="2227" y="1"/>
                        <a:pt x="1713" y="188"/>
                        <a:pt x="1295" y="606"/>
                      </a:cubicBezTo>
                      <a:cubicBezTo>
                        <a:pt x="0" y="1900"/>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48" name="Google Shape;4048;p66"/>
                <p:cNvSpPr/>
                <p:nvPr/>
              </p:nvSpPr>
              <p:spPr>
                <a:xfrm>
                  <a:off x="4353108" y="3384894"/>
                  <a:ext cx="13048" cy="13048"/>
                </a:xfrm>
                <a:custGeom>
                  <a:avLst/>
                  <a:gdLst/>
                  <a:ahLst/>
                  <a:cxnLst/>
                  <a:rect l="l" t="t" r="r" b="b"/>
                  <a:pathLst>
                    <a:path w="1659" h="1659" extrusionOk="0">
                      <a:moveTo>
                        <a:pt x="823" y="1"/>
                      </a:moveTo>
                      <a:cubicBezTo>
                        <a:pt x="364" y="1"/>
                        <a:pt x="1" y="364"/>
                        <a:pt x="1" y="824"/>
                      </a:cubicBezTo>
                      <a:cubicBezTo>
                        <a:pt x="1" y="1283"/>
                        <a:pt x="364" y="1658"/>
                        <a:pt x="823" y="1658"/>
                      </a:cubicBezTo>
                      <a:cubicBezTo>
                        <a:pt x="1283" y="1658"/>
                        <a:pt x="1658" y="1283"/>
                        <a:pt x="1658" y="824"/>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49" name="Google Shape;4049;p66"/>
              <p:cNvGrpSpPr/>
              <p:nvPr/>
            </p:nvGrpSpPr>
            <p:grpSpPr>
              <a:xfrm>
                <a:off x="4494867" y="3090530"/>
                <a:ext cx="37878" cy="32451"/>
                <a:chOff x="4494867" y="3090530"/>
                <a:chExt cx="37878" cy="32451"/>
              </a:xfrm>
            </p:grpSpPr>
            <p:sp>
              <p:nvSpPr>
                <p:cNvPr id="4050" name="Google Shape;4050;p66"/>
                <p:cNvSpPr/>
                <p:nvPr/>
              </p:nvSpPr>
              <p:spPr>
                <a:xfrm>
                  <a:off x="4494867" y="3090530"/>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96" y="4114"/>
                        <a:pt x="4803" y="3194"/>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1" name="Google Shape;4051;p66"/>
                <p:cNvSpPr/>
                <p:nvPr/>
              </p:nvSpPr>
              <p:spPr>
                <a:xfrm>
                  <a:off x="4510000" y="3100236"/>
                  <a:ext cx="13040" cy="13040"/>
                </a:xfrm>
                <a:custGeom>
                  <a:avLst/>
                  <a:gdLst/>
                  <a:ahLst/>
                  <a:cxnLst/>
                  <a:rect l="l" t="t" r="r" b="b"/>
                  <a:pathLst>
                    <a:path w="1658" h="1658" extrusionOk="0">
                      <a:moveTo>
                        <a:pt x="835" y="1"/>
                      </a:moveTo>
                      <a:cubicBezTo>
                        <a:pt x="375" y="1"/>
                        <a:pt x="0" y="376"/>
                        <a:pt x="0" y="835"/>
                      </a:cubicBezTo>
                      <a:cubicBezTo>
                        <a:pt x="0" y="1283"/>
                        <a:pt x="375"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52" name="Google Shape;4052;p66"/>
              <p:cNvGrpSpPr/>
              <p:nvPr/>
            </p:nvGrpSpPr>
            <p:grpSpPr>
              <a:xfrm>
                <a:off x="4525124" y="3207774"/>
                <a:ext cx="37783" cy="32420"/>
                <a:chOff x="4525124" y="3207774"/>
                <a:chExt cx="37783" cy="32420"/>
              </a:xfrm>
            </p:grpSpPr>
            <p:sp>
              <p:nvSpPr>
                <p:cNvPr id="4053" name="Google Shape;4053;p66"/>
                <p:cNvSpPr/>
                <p:nvPr/>
              </p:nvSpPr>
              <p:spPr>
                <a:xfrm>
                  <a:off x="4525124" y="3207774"/>
                  <a:ext cx="37783" cy="32420"/>
                </a:xfrm>
                <a:custGeom>
                  <a:avLst/>
                  <a:gdLst/>
                  <a:ahLst/>
                  <a:cxnLst/>
                  <a:rect l="l" t="t" r="r" b="b"/>
                  <a:pathLst>
                    <a:path w="4804" h="4122" extrusionOk="0">
                      <a:moveTo>
                        <a:pt x="2738" y="0"/>
                      </a:moveTo>
                      <a:cubicBezTo>
                        <a:pt x="2231" y="0"/>
                        <a:pt x="1715" y="190"/>
                        <a:pt x="1295" y="614"/>
                      </a:cubicBezTo>
                      <a:cubicBezTo>
                        <a:pt x="1" y="1908"/>
                        <a:pt x="920" y="4122"/>
                        <a:pt x="2747" y="4122"/>
                      </a:cubicBezTo>
                      <a:cubicBezTo>
                        <a:pt x="3884" y="4122"/>
                        <a:pt x="4803" y="3202"/>
                        <a:pt x="4803" y="2065"/>
                      </a:cubicBezTo>
                      <a:cubicBezTo>
                        <a:pt x="4803" y="823"/>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4" name="Google Shape;4054;p66"/>
                <p:cNvSpPr/>
                <p:nvPr/>
              </p:nvSpPr>
              <p:spPr>
                <a:xfrm>
                  <a:off x="4540256" y="3217448"/>
                  <a:ext cx="13040" cy="13040"/>
                </a:xfrm>
                <a:custGeom>
                  <a:avLst/>
                  <a:gdLst/>
                  <a:ahLst/>
                  <a:cxnLst/>
                  <a:rect l="l" t="t" r="r" b="b"/>
                  <a:pathLst>
                    <a:path w="1658" h="1658" extrusionOk="0">
                      <a:moveTo>
                        <a:pt x="823" y="1"/>
                      </a:moveTo>
                      <a:cubicBezTo>
                        <a:pt x="363" y="1"/>
                        <a:pt x="0" y="376"/>
                        <a:pt x="0" y="835"/>
                      </a:cubicBezTo>
                      <a:cubicBezTo>
                        <a:pt x="0" y="1295"/>
                        <a:pt x="363" y="1658"/>
                        <a:pt x="823" y="1658"/>
                      </a:cubicBezTo>
                      <a:cubicBezTo>
                        <a:pt x="1282" y="1658"/>
                        <a:pt x="1657" y="1295"/>
                        <a:pt x="1657" y="835"/>
                      </a:cubicBezTo>
                      <a:cubicBezTo>
                        <a:pt x="1657" y="376"/>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55" name="Google Shape;4055;p66"/>
              <p:cNvGrpSpPr/>
              <p:nvPr/>
            </p:nvGrpSpPr>
            <p:grpSpPr>
              <a:xfrm>
                <a:off x="4440544" y="3176479"/>
                <a:ext cx="31499" cy="26898"/>
                <a:chOff x="4440544" y="3176479"/>
                <a:chExt cx="31499" cy="26898"/>
              </a:xfrm>
            </p:grpSpPr>
            <p:sp>
              <p:nvSpPr>
                <p:cNvPr id="4056" name="Google Shape;4056;p66"/>
                <p:cNvSpPr/>
                <p:nvPr/>
              </p:nvSpPr>
              <p:spPr>
                <a:xfrm>
                  <a:off x="4440544" y="3176479"/>
                  <a:ext cx="31499" cy="26898"/>
                </a:xfrm>
                <a:custGeom>
                  <a:avLst/>
                  <a:gdLst/>
                  <a:ahLst/>
                  <a:cxnLst/>
                  <a:rect l="l" t="t" r="r" b="b"/>
                  <a:pathLst>
                    <a:path w="4005" h="3420" extrusionOk="0">
                      <a:moveTo>
                        <a:pt x="2281" y="0"/>
                      </a:moveTo>
                      <a:cubicBezTo>
                        <a:pt x="1860" y="0"/>
                        <a:pt x="1429" y="156"/>
                        <a:pt x="1077" y="504"/>
                      </a:cubicBezTo>
                      <a:cubicBezTo>
                        <a:pt x="1" y="1581"/>
                        <a:pt x="763" y="3419"/>
                        <a:pt x="2287" y="3419"/>
                      </a:cubicBezTo>
                      <a:cubicBezTo>
                        <a:pt x="3231" y="3419"/>
                        <a:pt x="3993" y="2657"/>
                        <a:pt x="4005" y="1714"/>
                      </a:cubicBezTo>
                      <a:cubicBezTo>
                        <a:pt x="4005" y="682"/>
                        <a:pt x="3163" y="0"/>
                        <a:pt x="228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57" name="Google Shape;4057;p66"/>
                <p:cNvSpPr/>
                <p:nvPr/>
              </p:nvSpPr>
              <p:spPr>
                <a:xfrm>
                  <a:off x="4454724" y="3186145"/>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58" name="Google Shape;4058;p66"/>
              <p:cNvGrpSpPr/>
              <p:nvPr/>
            </p:nvGrpSpPr>
            <p:grpSpPr>
              <a:xfrm>
                <a:off x="4350545" y="3156400"/>
                <a:ext cx="31405" cy="27001"/>
                <a:chOff x="4350545" y="3156400"/>
                <a:chExt cx="31405" cy="27001"/>
              </a:xfrm>
            </p:grpSpPr>
            <p:sp>
              <p:nvSpPr>
                <p:cNvPr id="4059" name="Google Shape;4059;p66"/>
                <p:cNvSpPr/>
                <p:nvPr/>
              </p:nvSpPr>
              <p:spPr>
                <a:xfrm>
                  <a:off x="4350545" y="3156400"/>
                  <a:ext cx="31405" cy="27001"/>
                </a:xfrm>
                <a:custGeom>
                  <a:avLst/>
                  <a:gdLst/>
                  <a:ahLst/>
                  <a:cxnLst/>
                  <a:rect l="l" t="t" r="r" b="b"/>
                  <a:pathLst>
                    <a:path w="3993" h="3433" extrusionOk="0">
                      <a:moveTo>
                        <a:pt x="2272" y="1"/>
                      </a:moveTo>
                      <a:cubicBezTo>
                        <a:pt x="1853" y="1"/>
                        <a:pt x="1425" y="156"/>
                        <a:pt x="1077" y="505"/>
                      </a:cubicBezTo>
                      <a:cubicBezTo>
                        <a:pt x="0" y="1581"/>
                        <a:pt x="762" y="3432"/>
                        <a:pt x="2286" y="3432"/>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0" name="Google Shape;4060;p66"/>
                <p:cNvSpPr/>
                <p:nvPr/>
              </p:nvSpPr>
              <p:spPr>
                <a:xfrm>
                  <a:off x="4364717" y="3166074"/>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61" name="Google Shape;4061;p66"/>
              <p:cNvGrpSpPr/>
              <p:nvPr/>
            </p:nvGrpSpPr>
            <p:grpSpPr>
              <a:xfrm>
                <a:off x="4376703" y="3255058"/>
                <a:ext cx="31405" cy="27001"/>
                <a:chOff x="4376703" y="3255058"/>
                <a:chExt cx="31405" cy="27001"/>
              </a:xfrm>
            </p:grpSpPr>
            <p:sp>
              <p:nvSpPr>
                <p:cNvPr id="4062" name="Google Shape;4062;p66"/>
                <p:cNvSpPr/>
                <p:nvPr/>
              </p:nvSpPr>
              <p:spPr>
                <a:xfrm>
                  <a:off x="4376703" y="3255058"/>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32"/>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3" name="Google Shape;4063;p66"/>
                <p:cNvSpPr/>
                <p:nvPr/>
              </p:nvSpPr>
              <p:spPr>
                <a:xfrm>
                  <a:off x="4390884" y="3264732"/>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64" name="Google Shape;4064;p66"/>
              <p:cNvGrpSpPr/>
              <p:nvPr/>
            </p:nvGrpSpPr>
            <p:grpSpPr>
              <a:xfrm>
                <a:off x="4331322" y="3283656"/>
                <a:ext cx="31405" cy="26945"/>
                <a:chOff x="4331322" y="3283656"/>
                <a:chExt cx="31405" cy="26945"/>
              </a:xfrm>
            </p:grpSpPr>
            <p:sp>
              <p:nvSpPr>
                <p:cNvPr id="4065" name="Google Shape;4065;p66"/>
                <p:cNvSpPr/>
                <p:nvPr/>
              </p:nvSpPr>
              <p:spPr>
                <a:xfrm>
                  <a:off x="4331322" y="3283656"/>
                  <a:ext cx="31405" cy="26945"/>
                </a:xfrm>
                <a:custGeom>
                  <a:avLst/>
                  <a:gdLst/>
                  <a:ahLst/>
                  <a:cxnLst/>
                  <a:rect l="l" t="t" r="r" b="b"/>
                  <a:pathLst>
                    <a:path w="3993" h="3426" extrusionOk="0">
                      <a:moveTo>
                        <a:pt x="2273" y="1"/>
                      </a:moveTo>
                      <a:cubicBezTo>
                        <a:pt x="1853" y="1"/>
                        <a:pt x="1425" y="158"/>
                        <a:pt x="1077" y="510"/>
                      </a:cubicBezTo>
                      <a:cubicBezTo>
                        <a:pt x="1" y="1587"/>
                        <a:pt x="763" y="3425"/>
                        <a:pt x="2287" y="3425"/>
                      </a:cubicBezTo>
                      <a:cubicBezTo>
                        <a:pt x="3230" y="3425"/>
                        <a:pt x="3993" y="2663"/>
                        <a:pt x="3993" y="1720"/>
                      </a:cubicBezTo>
                      <a:cubicBezTo>
                        <a:pt x="3993" y="689"/>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6" name="Google Shape;4066;p66"/>
                <p:cNvSpPr/>
                <p:nvPr/>
              </p:nvSpPr>
              <p:spPr>
                <a:xfrm>
                  <a:off x="4345503" y="3293274"/>
                  <a:ext cx="7613" cy="7621"/>
                </a:xfrm>
                <a:custGeom>
                  <a:avLst/>
                  <a:gdLst/>
                  <a:ahLst/>
                  <a:cxnLst/>
                  <a:rect l="l" t="t" r="r" b="b"/>
                  <a:pathLst>
                    <a:path w="968" h="969" extrusionOk="0">
                      <a:moveTo>
                        <a:pt x="484" y="1"/>
                      </a:moveTo>
                      <a:cubicBezTo>
                        <a:pt x="218" y="1"/>
                        <a:pt x="0" y="219"/>
                        <a:pt x="0" y="485"/>
                      </a:cubicBezTo>
                      <a:cubicBezTo>
                        <a:pt x="0" y="763"/>
                        <a:pt x="218" y="969"/>
                        <a:pt x="484" y="969"/>
                      </a:cubicBezTo>
                      <a:cubicBezTo>
                        <a:pt x="750" y="969"/>
                        <a:pt x="968" y="763"/>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067" name="Google Shape;4067;p66"/>
              <p:cNvGrpSpPr/>
              <p:nvPr/>
            </p:nvGrpSpPr>
            <p:grpSpPr>
              <a:xfrm>
                <a:off x="4380510" y="3065882"/>
                <a:ext cx="31405" cy="26938"/>
                <a:chOff x="4380510" y="3065882"/>
                <a:chExt cx="31405" cy="26938"/>
              </a:xfrm>
            </p:grpSpPr>
            <p:sp>
              <p:nvSpPr>
                <p:cNvPr id="4068" name="Google Shape;4068;p66"/>
                <p:cNvSpPr/>
                <p:nvPr/>
              </p:nvSpPr>
              <p:spPr>
                <a:xfrm>
                  <a:off x="4380510" y="3065882"/>
                  <a:ext cx="31405" cy="26938"/>
                </a:xfrm>
                <a:custGeom>
                  <a:avLst/>
                  <a:gdLst/>
                  <a:ahLst/>
                  <a:cxnLst/>
                  <a:rect l="l" t="t" r="r" b="b"/>
                  <a:pathLst>
                    <a:path w="3993" h="3425" extrusionOk="0">
                      <a:moveTo>
                        <a:pt x="2273" y="0"/>
                      </a:moveTo>
                      <a:cubicBezTo>
                        <a:pt x="1853" y="0"/>
                        <a:pt x="1426" y="157"/>
                        <a:pt x="1077" y="510"/>
                      </a:cubicBezTo>
                      <a:cubicBezTo>
                        <a:pt x="1" y="1586"/>
                        <a:pt x="763" y="3425"/>
                        <a:pt x="2287" y="3425"/>
                      </a:cubicBezTo>
                      <a:cubicBezTo>
                        <a:pt x="3230" y="3425"/>
                        <a:pt x="3993" y="2663"/>
                        <a:pt x="3993" y="1719"/>
                      </a:cubicBezTo>
                      <a:cubicBezTo>
                        <a:pt x="3993" y="688"/>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69" name="Google Shape;4069;p66"/>
                <p:cNvSpPr/>
                <p:nvPr/>
              </p:nvSpPr>
              <p:spPr>
                <a:xfrm>
                  <a:off x="4393354" y="3075500"/>
                  <a:ext cx="8950" cy="7676"/>
                </a:xfrm>
                <a:custGeom>
                  <a:avLst/>
                  <a:gdLst/>
                  <a:ahLst/>
                  <a:cxnLst/>
                  <a:rect l="l" t="t" r="r" b="b"/>
                  <a:pathLst>
                    <a:path w="1138" h="976" extrusionOk="0">
                      <a:moveTo>
                        <a:pt x="654" y="0"/>
                      </a:moveTo>
                      <a:cubicBezTo>
                        <a:pt x="218" y="0"/>
                        <a:pt x="1" y="521"/>
                        <a:pt x="303" y="835"/>
                      </a:cubicBezTo>
                      <a:cubicBezTo>
                        <a:pt x="401" y="932"/>
                        <a:pt x="522" y="976"/>
                        <a:pt x="641" y="976"/>
                      </a:cubicBezTo>
                      <a:cubicBezTo>
                        <a:pt x="893" y="976"/>
                        <a:pt x="1138" y="783"/>
                        <a:pt x="1138" y="496"/>
                      </a:cubicBezTo>
                      <a:cubicBezTo>
                        <a:pt x="1138" y="218"/>
                        <a:pt x="920" y="12"/>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070" name="Google Shape;4070;p66"/>
            <p:cNvGrpSpPr/>
            <p:nvPr/>
          </p:nvGrpSpPr>
          <p:grpSpPr>
            <a:xfrm>
              <a:off x="4558998" y="3188237"/>
              <a:ext cx="1280131" cy="1052746"/>
              <a:chOff x="4558998" y="3188237"/>
              <a:chExt cx="1280131" cy="1052746"/>
            </a:xfrm>
          </p:grpSpPr>
          <p:sp>
            <p:nvSpPr>
              <p:cNvPr id="4071" name="Google Shape;4071;p66"/>
              <p:cNvSpPr/>
              <p:nvPr/>
            </p:nvSpPr>
            <p:spPr>
              <a:xfrm>
                <a:off x="4916156" y="3750813"/>
                <a:ext cx="8" cy="8"/>
              </a:xfrm>
              <a:custGeom>
                <a:avLst/>
                <a:gdLst/>
                <a:ahLst/>
                <a:cxnLst/>
                <a:rect l="l" t="t" r="r" b="b"/>
                <a:pathLst>
                  <a:path w="1" h="1" fill="none" extrusionOk="0">
                    <a:moveTo>
                      <a:pt x="0" y="0"/>
                    </a:move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072" name="Google Shape;4072;p66"/>
              <p:cNvGrpSpPr/>
              <p:nvPr/>
            </p:nvGrpSpPr>
            <p:grpSpPr>
              <a:xfrm>
                <a:off x="4579164" y="3203653"/>
                <a:ext cx="1244833" cy="1020397"/>
                <a:chOff x="4579164" y="3203653"/>
                <a:chExt cx="1244833" cy="1020397"/>
              </a:xfrm>
            </p:grpSpPr>
            <p:sp>
              <p:nvSpPr>
                <p:cNvPr id="4073" name="Google Shape;4073;p66"/>
                <p:cNvSpPr/>
                <p:nvPr/>
              </p:nvSpPr>
              <p:spPr>
                <a:xfrm>
                  <a:off x="5490144" y="3482892"/>
                  <a:ext cx="58995" cy="4955"/>
                </a:xfrm>
                <a:custGeom>
                  <a:avLst/>
                  <a:gdLst/>
                  <a:ahLst/>
                  <a:cxnLst/>
                  <a:rect l="l" t="t" r="r" b="b"/>
                  <a:pathLst>
                    <a:path w="7501" h="630" fill="none" extrusionOk="0">
                      <a:moveTo>
                        <a:pt x="0" y="630"/>
                      </a:moveTo>
                      <a:lnTo>
                        <a:pt x="750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4" name="Google Shape;4074;p66"/>
                <p:cNvSpPr/>
                <p:nvPr/>
              </p:nvSpPr>
              <p:spPr>
                <a:xfrm>
                  <a:off x="5490616" y="3482892"/>
                  <a:ext cx="66137" cy="77360"/>
                </a:xfrm>
                <a:custGeom>
                  <a:avLst/>
                  <a:gdLst/>
                  <a:ahLst/>
                  <a:cxnLst/>
                  <a:rect l="l" t="t" r="r" b="b"/>
                  <a:pathLst>
                    <a:path w="8409" h="9836" fill="none" extrusionOk="0">
                      <a:moveTo>
                        <a:pt x="1" y="1"/>
                      </a:moveTo>
                      <a:lnTo>
                        <a:pt x="8408" y="98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075" name="Google Shape;4075;p66"/>
                <p:cNvGrpSpPr/>
                <p:nvPr/>
              </p:nvGrpSpPr>
              <p:grpSpPr>
                <a:xfrm>
                  <a:off x="4579164" y="3203653"/>
                  <a:ext cx="1244833" cy="1020397"/>
                  <a:chOff x="4579164" y="3203653"/>
                  <a:chExt cx="1244833" cy="1020397"/>
                </a:xfrm>
              </p:grpSpPr>
              <p:sp>
                <p:nvSpPr>
                  <p:cNvPr id="4076" name="Google Shape;4076;p66"/>
                  <p:cNvSpPr/>
                  <p:nvPr/>
                </p:nvSpPr>
                <p:spPr>
                  <a:xfrm>
                    <a:off x="4787909" y="3833395"/>
                    <a:ext cx="69267" cy="22266"/>
                  </a:xfrm>
                  <a:custGeom>
                    <a:avLst/>
                    <a:gdLst/>
                    <a:ahLst/>
                    <a:cxnLst/>
                    <a:rect l="l" t="t" r="r" b="b"/>
                    <a:pathLst>
                      <a:path w="8807" h="2831" fill="none" extrusionOk="0">
                        <a:moveTo>
                          <a:pt x="8806" y="0"/>
                        </a:moveTo>
                        <a:lnTo>
                          <a:pt x="0" y="283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77" name="Google Shape;4077;p66"/>
                  <p:cNvSpPr/>
                  <p:nvPr/>
                </p:nvSpPr>
                <p:spPr>
                  <a:xfrm>
                    <a:off x="4857263" y="3819695"/>
                    <a:ext cx="69936" cy="14181"/>
                  </a:xfrm>
                  <a:custGeom>
                    <a:avLst/>
                    <a:gdLst/>
                    <a:ahLst/>
                    <a:cxnLst/>
                    <a:rect l="l" t="t" r="r" b="b"/>
                    <a:pathLst>
                      <a:path w="8892" h="1803" fill="none" extrusionOk="0">
                        <a:moveTo>
                          <a:pt x="1" y="1803"/>
                        </a:moveTo>
                        <a:lnTo>
                          <a:pt x="889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078" name="Google Shape;4078;p66"/>
                  <p:cNvGrpSpPr/>
                  <p:nvPr/>
                </p:nvGrpSpPr>
                <p:grpSpPr>
                  <a:xfrm>
                    <a:off x="4579164" y="3203653"/>
                    <a:ext cx="1244833" cy="1020397"/>
                    <a:chOff x="4579164" y="3203653"/>
                    <a:chExt cx="1244833" cy="1020397"/>
                  </a:xfrm>
                </p:grpSpPr>
                <p:sp>
                  <p:nvSpPr>
                    <p:cNvPr id="4079" name="Google Shape;4079;p66"/>
                    <p:cNvSpPr/>
                    <p:nvPr/>
                  </p:nvSpPr>
                  <p:spPr>
                    <a:xfrm>
                      <a:off x="4930329" y="3363965"/>
                      <a:ext cx="23894" cy="102764"/>
                    </a:xfrm>
                    <a:custGeom>
                      <a:avLst/>
                      <a:gdLst/>
                      <a:ahLst/>
                      <a:cxnLst/>
                      <a:rect l="l" t="t" r="r" b="b"/>
                      <a:pathLst>
                        <a:path w="3038" h="13066" fill="none" extrusionOk="0">
                          <a:moveTo>
                            <a:pt x="3037" y="13065"/>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0" name="Google Shape;4080;p66"/>
                    <p:cNvSpPr/>
                    <p:nvPr/>
                  </p:nvSpPr>
                  <p:spPr>
                    <a:xfrm>
                      <a:off x="4849846" y="3385948"/>
                      <a:ext cx="104085" cy="79256"/>
                    </a:xfrm>
                    <a:custGeom>
                      <a:avLst/>
                      <a:gdLst/>
                      <a:ahLst/>
                      <a:cxnLst/>
                      <a:rect l="l" t="t" r="r" b="b"/>
                      <a:pathLst>
                        <a:path w="13234" h="10077" fill="none" extrusionOk="0">
                          <a:moveTo>
                            <a:pt x="0" y="0"/>
                          </a:moveTo>
                          <a:lnTo>
                            <a:pt x="13234" y="1007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1" name="Google Shape;4081;p66"/>
                    <p:cNvSpPr/>
                    <p:nvPr/>
                  </p:nvSpPr>
                  <p:spPr>
                    <a:xfrm>
                      <a:off x="4849650" y="3306598"/>
                      <a:ext cx="45869" cy="79358"/>
                    </a:xfrm>
                    <a:custGeom>
                      <a:avLst/>
                      <a:gdLst/>
                      <a:ahLst/>
                      <a:cxnLst/>
                      <a:rect l="l" t="t" r="r" b="b"/>
                      <a:pathLst>
                        <a:path w="5832" h="10090" fill="none" extrusionOk="0">
                          <a:moveTo>
                            <a:pt x="5831" y="0"/>
                          </a:moveTo>
                          <a:lnTo>
                            <a:pt x="1" y="1008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2" name="Google Shape;4082;p66"/>
                    <p:cNvSpPr/>
                    <p:nvPr/>
                  </p:nvSpPr>
                  <p:spPr>
                    <a:xfrm>
                      <a:off x="4849650" y="3361299"/>
                      <a:ext cx="84305" cy="24657"/>
                    </a:xfrm>
                    <a:custGeom>
                      <a:avLst/>
                      <a:gdLst/>
                      <a:ahLst/>
                      <a:cxnLst/>
                      <a:rect l="l" t="t" r="r" b="b"/>
                      <a:pathLst>
                        <a:path w="10719" h="3135" fill="none" extrusionOk="0">
                          <a:moveTo>
                            <a:pt x="1" y="3134"/>
                          </a:moveTo>
                          <a:lnTo>
                            <a:pt x="1071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3" name="Google Shape;4083;p66"/>
                    <p:cNvSpPr/>
                    <p:nvPr/>
                  </p:nvSpPr>
                  <p:spPr>
                    <a:xfrm>
                      <a:off x="4789616" y="3306598"/>
                      <a:ext cx="19702" cy="54709"/>
                    </a:xfrm>
                    <a:custGeom>
                      <a:avLst/>
                      <a:gdLst/>
                      <a:ahLst/>
                      <a:cxnLst/>
                      <a:rect l="l" t="t" r="r" b="b"/>
                      <a:pathLst>
                        <a:path w="2505" h="6956" fill="none" extrusionOk="0">
                          <a:moveTo>
                            <a:pt x="2505" y="6956"/>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4" name="Google Shape;4084;p66"/>
                    <p:cNvSpPr/>
                    <p:nvPr/>
                  </p:nvSpPr>
                  <p:spPr>
                    <a:xfrm>
                      <a:off x="4738242" y="3357500"/>
                      <a:ext cx="74883" cy="10280"/>
                    </a:xfrm>
                    <a:custGeom>
                      <a:avLst/>
                      <a:gdLst/>
                      <a:ahLst/>
                      <a:cxnLst/>
                      <a:rect l="l" t="t" r="r" b="b"/>
                      <a:pathLst>
                        <a:path w="9521" h="1307" fill="none" extrusionOk="0">
                          <a:moveTo>
                            <a:pt x="1" y="1307"/>
                          </a:moveTo>
                          <a:lnTo>
                            <a:pt x="952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5" name="Google Shape;4085;p66"/>
                    <p:cNvSpPr/>
                    <p:nvPr/>
                  </p:nvSpPr>
                  <p:spPr>
                    <a:xfrm>
                      <a:off x="4710274" y="3357500"/>
                      <a:ext cx="99044" cy="63557"/>
                    </a:xfrm>
                    <a:custGeom>
                      <a:avLst/>
                      <a:gdLst/>
                      <a:ahLst/>
                      <a:cxnLst/>
                      <a:rect l="l" t="t" r="r" b="b"/>
                      <a:pathLst>
                        <a:path w="12593" h="8081" fill="none" extrusionOk="0">
                          <a:moveTo>
                            <a:pt x="0" y="8081"/>
                          </a:moveTo>
                          <a:lnTo>
                            <a:pt x="1259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6" name="Google Shape;4086;p66"/>
                    <p:cNvSpPr/>
                    <p:nvPr/>
                  </p:nvSpPr>
                  <p:spPr>
                    <a:xfrm>
                      <a:off x="4809310" y="3306598"/>
                      <a:ext cx="87443" cy="50910"/>
                    </a:xfrm>
                    <a:custGeom>
                      <a:avLst/>
                      <a:gdLst/>
                      <a:ahLst/>
                      <a:cxnLst/>
                      <a:rect l="l" t="t" r="r" b="b"/>
                      <a:pathLst>
                        <a:path w="11118" h="6473" fill="none" extrusionOk="0">
                          <a:moveTo>
                            <a:pt x="1" y="6472"/>
                          </a:moveTo>
                          <a:lnTo>
                            <a:pt x="1111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087" name="Google Shape;4087;p66"/>
                    <p:cNvGrpSpPr/>
                    <p:nvPr/>
                  </p:nvGrpSpPr>
                  <p:grpSpPr>
                    <a:xfrm>
                      <a:off x="4579164" y="3203653"/>
                      <a:ext cx="1244833" cy="1020397"/>
                      <a:chOff x="4579164" y="3203653"/>
                      <a:chExt cx="1244833" cy="1020397"/>
                    </a:xfrm>
                  </p:grpSpPr>
                  <p:sp>
                    <p:nvSpPr>
                      <p:cNvPr id="4088" name="Google Shape;4088;p66"/>
                      <p:cNvSpPr/>
                      <p:nvPr/>
                    </p:nvSpPr>
                    <p:spPr>
                      <a:xfrm>
                        <a:off x="4617986" y="3614284"/>
                        <a:ext cx="53002" cy="21031"/>
                      </a:xfrm>
                      <a:custGeom>
                        <a:avLst/>
                        <a:gdLst/>
                        <a:ahLst/>
                        <a:cxnLst/>
                        <a:rect l="l" t="t" r="r" b="b"/>
                        <a:pathLst>
                          <a:path w="6739" h="2674" fill="none" extrusionOk="0">
                            <a:moveTo>
                              <a:pt x="0" y="0"/>
                            </a:moveTo>
                            <a:lnTo>
                              <a:pt x="6738" y="267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89" name="Google Shape;4089;p66"/>
                      <p:cNvSpPr/>
                      <p:nvPr/>
                    </p:nvSpPr>
                    <p:spPr>
                      <a:xfrm>
                        <a:off x="4624545" y="3589069"/>
                        <a:ext cx="43682" cy="63180"/>
                      </a:xfrm>
                      <a:custGeom>
                        <a:avLst/>
                        <a:gdLst/>
                        <a:ahLst/>
                        <a:cxnLst/>
                        <a:rect l="l" t="t" r="r" b="b"/>
                        <a:pathLst>
                          <a:path w="5554" h="8033" fill="none" extrusionOk="0">
                            <a:moveTo>
                              <a:pt x="1" y="8033"/>
                            </a:moveTo>
                            <a:lnTo>
                              <a:pt x="555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0" name="Google Shape;4090;p66"/>
                      <p:cNvSpPr/>
                      <p:nvPr/>
                    </p:nvSpPr>
                    <p:spPr>
                      <a:xfrm>
                        <a:off x="4668220" y="3517907"/>
                        <a:ext cx="112178" cy="71170"/>
                      </a:xfrm>
                      <a:custGeom>
                        <a:avLst/>
                        <a:gdLst/>
                        <a:ahLst/>
                        <a:cxnLst/>
                        <a:rect l="l" t="t" r="r" b="b"/>
                        <a:pathLst>
                          <a:path w="14263" h="9049" fill="none" extrusionOk="0">
                            <a:moveTo>
                              <a:pt x="0" y="9049"/>
                            </a:moveTo>
                            <a:lnTo>
                              <a:pt x="1426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1" name="Google Shape;4091;p66"/>
                      <p:cNvSpPr/>
                      <p:nvPr/>
                    </p:nvSpPr>
                    <p:spPr>
                      <a:xfrm>
                        <a:off x="4706562" y="3516766"/>
                        <a:ext cx="77455" cy="79924"/>
                      </a:xfrm>
                      <a:custGeom>
                        <a:avLst/>
                        <a:gdLst/>
                        <a:ahLst/>
                        <a:cxnLst/>
                        <a:rect l="l" t="t" r="r" b="b"/>
                        <a:pathLst>
                          <a:path w="9848" h="10162" fill="none" extrusionOk="0">
                            <a:moveTo>
                              <a:pt x="0" y="10161"/>
                            </a:moveTo>
                            <a:lnTo>
                              <a:pt x="984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2" name="Google Shape;4092;p66"/>
                      <p:cNvSpPr/>
                      <p:nvPr/>
                    </p:nvSpPr>
                    <p:spPr>
                      <a:xfrm>
                        <a:off x="4763646" y="3516766"/>
                        <a:ext cx="20370" cy="52806"/>
                      </a:xfrm>
                      <a:custGeom>
                        <a:avLst/>
                        <a:gdLst/>
                        <a:ahLst/>
                        <a:cxnLst/>
                        <a:rect l="l" t="t" r="r" b="b"/>
                        <a:pathLst>
                          <a:path w="2590" h="6714" fill="none" extrusionOk="0">
                            <a:moveTo>
                              <a:pt x="0" y="6714"/>
                            </a:moveTo>
                            <a:lnTo>
                              <a:pt x="258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3" name="Google Shape;4093;p66"/>
                      <p:cNvSpPr/>
                      <p:nvPr/>
                    </p:nvSpPr>
                    <p:spPr>
                      <a:xfrm>
                        <a:off x="4783151" y="3520565"/>
                        <a:ext cx="45861" cy="97432"/>
                      </a:xfrm>
                      <a:custGeom>
                        <a:avLst/>
                        <a:gdLst/>
                        <a:ahLst/>
                        <a:cxnLst/>
                        <a:rect l="l" t="t" r="r" b="b"/>
                        <a:pathLst>
                          <a:path w="5831" h="12388" fill="none" extrusionOk="0">
                            <a:moveTo>
                              <a:pt x="5831" y="1238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4" name="Google Shape;4094;p66"/>
                      <p:cNvSpPr/>
                      <p:nvPr/>
                    </p:nvSpPr>
                    <p:spPr>
                      <a:xfrm>
                        <a:off x="4738242" y="3483175"/>
                        <a:ext cx="44917" cy="37398"/>
                      </a:xfrm>
                      <a:custGeom>
                        <a:avLst/>
                        <a:gdLst/>
                        <a:ahLst/>
                        <a:cxnLst/>
                        <a:rect l="l" t="t" r="r" b="b"/>
                        <a:pathLst>
                          <a:path w="5711" h="4755" fill="none" extrusionOk="0">
                            <a:moveTo>
                              <a:pt x="1" y="1"/>
                            </a:moveTo>
                            <a:lnTo>
                              <a:pt x="5710" y="475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5" name="Google Shape;4095;p66"/>
                      <p:cNvSpPr/>
                      <p:nvPr/>
                    </p:nvSpPr>
                    <p:spPr>
                      <a:xfrm>
                        <a:off x="4704941" y="3501823"/>
                        <a:ext cx="78217" cy="18750"/>
                      </a:xfrm>
                      <a:custGeom>
                        <a:avLst/>
                        <a:gdLst/>
                        <a:ahLst/>
                        <a:cxnLst/>
                        <a:rect l="l" t="t" r="r" b="b"/>
                        <a:pathLst>
                          <a:path w="9945" h="2384" fill="none" extrusionOk="0">
                            <a:moveTo>
                              <a:pt x="1" y="1"/>
                            </a:moveTo>
                            <a:lnTo>
                              <a:pt x="9944" y="238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6" name="Google Shape;4096;p66"/>
                      <p:cNvSpPr/>
                      <p:nvPr/>
                    </p:nvSpPr>
                    <p:spPr>
                      <a:xfrm>
                        <a:off x="4668220" y="3520565"/>
                        <a:ext cx="115796" cy="19324"/>
                      </a:xfrm>
                      <a:custGeom>
                        <a:avLst/>
                        <a:gdLst/>
                        <a:ahLst/>
                        <a:cxnLst/>
                        <a:rect l="l" t="t" r="r" b="b"/>
                        <a:pathLst>
                          <a:path w="14723" h="2457" fill="none" extrusionOk="0">
                            <a:moveTo>
                              <a:pt x="0" y="2457"/>
                            </a:moveTo>
                            <a:lnTo>
                              <a:pt x="14722"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7" name="Google Shape;4097;p66"/>
                      <p:cNvSpPr/>
                      <p:nvPr/>
                    </p:nvSpPr>
                    <p:spPr>
                      <a:xfrm>
                        <a:off x="4813117" y="3462915"/>
                        <a:ext cx="40347" cy="51193"/>
                      </a:xfrm>
                      <a:custGeom>
                        <a:avLst/>
                        <a:gdLst/>
                        <a:ahLst/>
                        <a:cxnLst/>
                        <a:rect l="l" t="t" r="r" b="b"/>
                        <a:pathLst>
                          <a:path w="5130" h="6509" fill="none" extrusionOk="0">
                            <a:moveTo>
                              <a:pt x="5130" y="6508"/>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8" name="Google Shape;4098;p66"/>
                      <p:cNvSpPr/>
                      <p:nvPr/>
                    </p:nvSpPr>
                    <p:spPr>
                      <a:xfrm>
                        <a:off x="4787807" y="3462915"/>
                        <a:ext cx="25317" cy="55000"/>
                      </a:xfrm>
                      <a:custGeom>
                        <a:avLst/>
                        <a:gdLst/>
                        <a:ahLst/>
                        <a:cxnLst/>
                        <a:rect l="l" t="t" r="r" b="b"/>
                        <a:pathLst>
                          <a:path w="3219" h="6993" fill="none" extrusionOk="0">
                            <a:moveTo>
                              <a:pt x="1" y="6992"/>
                            </a:moveTo>
                            <a:lnTo>
                              <a:pt x="321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099" name="Google Shape;4099;p66"/>
                      <p:cNvSpPr/>
                      <p:nvPr/>
                    </p:nvSpPr>
                    <p:spPr>
                      <a:xfrm>
                        <a:off x="4781342" y="3514100"/>
                        <a:ext cx="72311" cy="6953"/>
                      </a:xfrm>
                      <a:custGeom>
                        <a:avLst/>
                        <a:gdLst/>
                        <a:ahLst/>
                        <a:cxnLst/>
                        <a:rect l="l" t="t" r="r" b="b"/>
                        <a:pathLst>
                          <a:path w="9194" h="884" fill="none" extrusionOk="0">
                            <a:moveTo>
                              <a:pt x="0" y="883"/>
                            </a:moveTo>
                            <a:lnTo>
                              <a:pt x="919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0" name="Google Shape;4100;p66"/>
                      <p:cNvSpPr/>
                      <p:nvPr/>
                    </p:nvSpPr>
                    <p:spPr>
                      <a:xfrm>
                        <a:off x="4853645" y="3514100"/>
                        <a:ext cx="26175" cy="59184"/>
                      </a:xfrm>
                      <a:custGeom>
                        <a:avLst/>
                        <a:gdLst/>
                        <a:ahLst/>
                        <a:cxnLst/>
                        <a:rect l="l" t="t" r="r" b="b"/>
                        <a:pathLst>
                          <a:path w="3328" h="7525" fill="none" extrusionOk="0">
                            <a:moveTo>
                              <a:pt x="1" y="0"/>
                            </a:moveTo>
                            <a:lnTo>
                              <a:pt x="3328" y="752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1" name="Google Shape;4101;p66"/>
                      <p:cNvSpPr/>
                      <p:nvPr/>
                    </p:nvSpPr>
                    <p:spPr>
                      <a:xfrm>
                        <a:off x="4827392" y="3514100"/>
                        <a:ext cx="26261" cy="100381"/>
                      </a:xfrm>
                      <a:custGeom>
                        <a:avLst/>
                        <a:gdLst/>
                        <a:ahLst/>
                        <a:cxnLst/>
                        <a:rect l="l" t="t" r="r" b="b"/>
                        <a:pathLst>
                          <a:path w="3339" h="12763" fill="none" extrusionOk="0">
                            <a:moveTo>
                              <a:pt x="3339" y="0"/>
                            </a:moveTo>
                            <a:lnTo>
                              <a:pt x="0" y="1276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02" name="Google Shape;4102;p66"/>
                      <p:cNvGrpSpPr/>
                      <p:nvPr/>
                    </p:nvGrpSpPr>
                    <p:grpSpPr>
                      <a:xfrm>
                        <a:off x="4579164" y="3203653"/>
                        <a:ext cx="1244833" cy="1020397"/>
                        <a:chOff x="4579164" y="3203653"/>
                        <a:chExt cx="1244833" cy="1020397"/>
                      </a:xfrm>
                    </p:grpSpPr>
                    <p:sp>
                      <p:nvSpPr>
                        <p:cNvPr id="4103" name="Google Shape;4103;p66"/>
                        <p:cNvSpPr/>
                        <p:nvPr/>
                      </p:nvSpPr>
                      <p:spPr>
                        <a:xfrm>
                          <a:off x="4879812" y="3466721"/>
                          <a:ext cx="74411" cy="106563"/>
                        </a:xfrm>
                        <a:custGeom>
                          <a:avLst/>
                          <a:gdLst/>
                          <a:ahLst/>
                          <a:cxnLst/>
                          <a:rect l="l" t="t" r="r" b="b"/>
                          <a:pathLst>
                            <a:path w="9461" h="13549" fill="none" extrusionOk="0">
                              <a:moveTo>
                                <a:pt x="1" y="13549"/>
                              </a:moveTo>
                              <a:lnTo>
                                <a:pt x="946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4" name="Google Shape;4104;p66"/>
                        <p:cNvSpPr/>
                        <p:nvPr/>
                      </p:nvSpPr>
                      <p:spPr>
                        <a:xfrm>
                          <a:off x="4954215" y="3408017"/>
                          <a:ext cx="105989" cy="58712"/>
                        </a:xfrm>
                        <a:custGeom>
                          <a:avLst/>
                          <a:gdLst/>
                          <a:ahLst/>
                          <a:cxnLst/>
                          <a:rect l="l" t="t" r="r" b="b"/>
                          <a:pathLst>
                            <a:path w="13476" h="7465" fill="none" extrusionOk="0">
                              <a:moveTo>
                                <a:pt x="0" y="7464"/>
                              </a:moveTo>
                              <a:lnTo>
                                <a:pt x="1347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5" name="Google Shape;4105;p66"/>
                        <p:cNvSpPr/>
                        <p:nvPr/>
                      </p:nvSpPr>
                      <p:spPr>
                        <a:xfrm>
                          <a:off x="4953924" y="3465195"/>
                          <a:ext cx="119792" cy="54811"/>
                        </a:xfrm>
                        <a:custGeom>
                          <a:avLst/>
                          <a:gdLst/>
                          <a:ahLst/>
                          <a:cxnLst/>
                          <a:rect l="l" t="t" r="r" b="b"/>
                          <a:pathLst>
                            <a:path w="15231" h="6969" fill="none" extrusionOk="0">
                              <a:moveTo>
                                <a:pt x="1" y="1"/>
                              </a:moveTo>
                              <a:lnTo>
                                <a:pt x="15231" y="696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6" name="Google Shape;4106;p66"/>
                        <p:cNvSpPr/>
                        <p:nvPr/>
                      </p:nvSpPr>
                      <p:spPr>
                        <a:xfrm>
                          <a:off x="5073708" y="3521045"/>
                          <a:ext cx="26938" cy="71839"/>
                        </a:xfrm>
                        <a:custGeom>
                          <a:avLst/>
                          <a:gdLst/>
                          <a:ahLst/>
                          <a:cxnLst/>
                          <a:rect l="l" t="t" r="r" b="b"/>
                          <a:pathLst>
                            <a:path w="3425" h="9134" fill="none" extrusionOk="0">
                              <a:moveTo>
                                <a:pt x="1" y="0"/>
                              </a:moveTo>
                              <a:lnTo>
                                <a:pt x="3424" y="913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7" name="Google Shape;4107;p66"/>
                        <p:cNvSpPr/>
                        <p:nvPr/>
                      </p:nvSpPr>
                      <p:spPr>
                        <a:xfrm>
                          <a:off x="5100637" y="3586309"/>
                          <a:ext cx="26741" cy="81167"/>
                        </a:xfrm>
                        <a:custGeom>
                          <a:avLst/>
                          <a:gdLst/>
                          <a:ahLst/>
                          <a:cxnLst/>
                          <a:rect l="l" t="t" r="r" b="b"/>
                          <a:pathLst>
                            <a:path w="3400" h="10320" fill="none" extrusionOk="0">
                              <a:moveTo>
                                <a:pt x="3399" y="1031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8" name="Google Shape;4108;p66"/>
                        <p:cNvSpPr/>
                        <p:nvPr/>
                      </p:nvSpPr>
                      <p:spPr>
                        <a:xfrm>
                          <a:off x="5088549" y="3252840"/>
                          <a:ext cx="693968" cy="520624"/>
                        </a:xfrm>
                        <a:custGeom>
                          <a:avLst/>
                          <a:gdLst/>
                          <a:ahLst/>
                          <a:cxnLst/>
                          <a:rect l="l" t="t" r="r" b="b"/>
                          <a:pathLst>
                            <a:path w="88235" h="66195" fill="none" extrusionOk="0">
                              <a:moveTo>
                                <a:pt x="1" y="63509"/>
                              </a:moveTo>
                              <a:lnTo>
                                <a:pt x="1537" y="42400"/>
                              </a:lnTo>
                              <a:lnTo>
                                <a:pt x="10077" y="22210"/>
                              </a:lnTo>
                              <a:cubicBezTo>
                                <a:pt x="10077" y="22210"/>
                                <a:pt x="14202" y="33218"/>
                                <a:pt x="14202" y="32384"/>
                              </a:cubicBezTo>
                              <a:cubicBezTo>
                                <a:pt x="14202" y="31561"/>
                                <a:pt x="26009" y="8976"/>
                                <a:pt x="26009" y="8976"/>
                              </a:cubicBezTo>
                              <a:lnTo>
                                <a:pt x="33618" y="31077"/>
                              </a:lnTo>
                              <a:lnTo>
                                <a:pt x="15025" y="46779"/>
                              </a:lnTo>
                              <a:lnTo>
                                <a:pt x="36037" y="48944"/>
                              </a:lnTo>
                              <a:lnTo>
                                <a:pt x="27557" y="58863"/>
                              </a:lnTo>
                              <a:lnTo>
                                <a:pt x="40803" y="66194"/>
                              </a:lnTo>
                              <a:lnTo>
                                <a:pt x="43586" y="48448"/>
                              </a:lnTo>
                              <a:lnTo>
                                <a:pt x="51122" y="29734"/>
                              </a:lnTo>
                              <a:lnTo>
                                <a:pt x="49670" y="16694"/>
                              </a:lnTo>
                              <a:lnTo>
                                <a:pt x="65263" y="21376"/>
                              </a:lnTo>
                              <a:lnTo>
                                <a:pt x="68819" y="9448"/>
                              </a:lnTo>
                              <a:lnTo>
                                <a:pt x="66098" y="1"/>
                              </a:lnTo>
                              <a:lnTo>
                                <a:pt x="88235" y="200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09" name="Google Shape;4109;p66"/>
                        <p:cNvSpPr/>
                        <p:nvPr/>
                      </p:nvSpPr>
                      <p:spPr>
                        <a:xfrm>
                          <a:off x="5060203" y="3203653"/>
                          <a:ext cx="544588" cy="316354"/>
                        </a:xfrm>
                        <a:custGeom>
                          <a:avLst/>
                          <a:gdLst/>
                          <a:ahLst/>
                          <a:cxnLst/>
                          <a:rect l="l" t="t" r="r" b="b"/>
                          <a:pathLst>
                            <a:path w="69242" h="40223" fill="none" extrusionOk="0">
                              <a:moveTo>
                                <a:pt x="69242" y="6255"/>
                              </a:moveTo>
                              <a:lnTo>
                                <a:pt x="53274" y="22948"/>
                              </a:lnTo>
                              <a:lnTo>
                                <a:pt x="45532" y="5432"/>
                              </a:lnTo>
                              <a:lnTo>
                                <a:pt x="29613" y="14747"/>
                              </a:lnTo>
                              <a:lnTo>
                                <a:pt x="28790" y="1"/>
                              </a:lnTo>
                              <a:lnTo>
                                <a:pt x="13500" y="28912"/>
                              </a:lnTo>
                              <a:lnTo>
                                <a:pt x="4306" y="13089"/>
                              </a:lnTo>
                              <a:lnTo>
                                <a:pt x="0" y="25984"/>
                              </a:lnTo>
                              <a:lnTo>
                                <a:pt x="1718" y="4022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0" name="Google Shape;4110;p66"/>
                        <p:cNvSpPr/>
                        <p:nvPr/>
                      </p:nvSpPr>
                      <p:spPr>
                        <a:xfrm>
                          <a:off x="5127371" y="3507533"/>
                          <a:ext cx="124739" cy="267835"/>
                        </a:xfrm>
                        <a:custGeom>
                          <a:avLst/>
                          <a:gdLst/>
                          <a:ahLst/>
                          <a:cxnLst/>
                          <a:rect l="l" t="t" r="r" b="b"/>
                          <a:pathLst>
                            <a:path w="15860" h="34054" fill="none" extrusionOk="0">
                              <a:moveTo>
                                <a:pt x="9266" y="1"/>
                              </a:moveTo>
                              <a:lnTo>
                                <a:pt x="10101" y="14396"/>
                              </a:lnTo>
                              <a:lnTo>
                                <a:pt x="15859" y="34053"/>
                              </a:lnTo>
                              <a:lnTo>
                                <a:pt x="0" y="19851"/>
                              </a:lnTo>
                              <a:lnTo>
                                <a:pt x="1234" y="336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1" name="Google Shape;4111;p66"/>
                        <p:cNvSpPr/>
                        <p:nvPr/>
                      </p:nvSpPr>
                      <p:spPr>
                        <a:xfrm>
                          <a:off x="5100637" y="3507533"/>
                          <a:ext cx="99618" cy="78784"/>
                        </a:xfrm>
                        <a:custGeom>
                          <a:avLst/>
                          <a:gdLst/>
                          <a:ahLst/>
                          <a:cxnLst/>
                          <a:rect l="l" t="t" r="r" b="b"/>
                          <a:pathLst>
                            <a:path w="12666" h="10017" fill="none" extrusionOk="0">
                              <a:moveTo>
                                <a:pt x="0" y="10017"/>
                              </a:moveTo>
                              <a:lnTo>
                                <a:pt x="12665"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2" name="Google Shape;4112;p66"/>
                        <p:cNvSpPr/>
                        <p:nvPr/>
                      </p:nvSpPr>
                      <p:spPr>
                        <a:xfrm>
                          <a:off x="5200248" y="3501068"/>
                          <a:ext cx="156514" cy="6473"/>
                        </a:xfrm>
                        <a:custGeom>
                          <a:avLst/>
                          <a:gdLst/>
                          <a:ahLst/>
                          <a:cxnLst/>
                          <a:rect l="l" t="t" r="r" b="b"/>
                          <a:pathLst>
                            <a:path w="19900" h="823" fill="none" extrusionOk="0">
                              <a:moveTo>
                                <a:pt x="0" y="823"/>
                              </a:moveTo>
                              <a:lnTo>
                                <a:pt x="1990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3" name="Google Shape;4113;p66"/>
                        <p:cNvSpPr/>
                        <p:nvPr/>
                      </p:nvSpPr>
                      <p:spPr>
                        <a:xfrm>
                          <a:off x="5127371" y="3507533"/>
                          <a:ext cx="72885" cy="155853"/>
                        </a:xfrm>
                        <a:custGeom>
                          <a:avLst/>
                          <a:gdLst/>
                          <a:ahLst/>
                          <a:cxnLst/>
                          <a:rect l="l" t="t" r="r" b="b"/>
                          <a:pathLst>
                            <a:path w="9267" h="19816" fill="none" extrusionOk="0">
                              <a:moveTo>
                                <a:pt x="9266" y="1"/>
                              </a:moveTo>
                              <a:lnTo>
                                <a:pt x="0" y="1981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4" name="Google Shape;4114;p66"/>
                        <p:cNvSpPr/>
                        <p:nvPr/>
                      </p:nvSpPr>
                      <p:spPr>
                        <a:xfrm>
                          <a:off x="5352947" y="3384139"/>
                          <a:ext cx="126265" cy="117692"/>
                        </a:xfrm>
                        <a:custGeom>
                          <a:avLst/>
                          <a:gdLst/>
                          <a:ahLst/>
                          <a:cxnLst/>
                          <a:rect l="l" t="t" r="r" b="b"/>
                          <a:pathLst>
                            <a:path w="16054" h="14964" fill="none" extrusionOk="0">
                              <a:moveTo>
                                <a:pt x="1" y="14964"/>
                              </a:moveTo>
                              <a:lnTo>
                                <a:pt x="1605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5" name="Google Shape;4115;p66"/>
                        <p:cNvSpPr/>
                        <p:nvPr/>
                      </p:nvSpPr>
                      <p:spPr>
                        <a:xfrm>
                          <a:off x="5356753" y="3246375"/>
                          <a:ext cx="61567" cy="254700"/>
                        </a:xfrm>
                        <a:custGeom>
                          <a:avLst/>
                          <a:gdLst/>
                          <a:ahLst/>
                          <a:cxnLst/>
                          <a:rect l="l" t="t" r="r" b="b"/>
                          <a:pathLst>
                            <a:path w="7828" h="32384" fill="none" extrusionOk="0">
                              <a:moveTo>
                                <a:pt x="1" y="32383"/>
                              </a:moveTo>
                              <a:lnTo>
                                <a:pt x="78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6" name="Google Shape;4116;p66"/>
                        <p:cNvSpPr/>
                        <p:nvPr/>
                      </p:nvSpPr>
                      <p:spPr>
                        <a:xfrm>
                          <a:off x="5352947" y="3486698"/>
                          <a:ext cx="141483" cy="10571"/>
                        </a:xfrm>
                        <a:custGeom>
                          <a:avLst/>
                          <a:gdLst/>
                          <a:ahLst/>
                          <a:cxnLst/>
                          <a:rect l="l" t="t" r="r" b="b"/>
                          <a:pathLst>
                            <a:path w="17989" h="1344" fill="none" extrusionOk="0">
                              <a:moveTo>
                                <a:pt x="1" y="1343"/>
                              </a:moveTo>
                              <a:lnTo>
                                <a:pt x="1798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7" name="Google Shape;4117;p66"/>
                        <p:cNvSpPr/>
                        <p:nvPr/>
                      </p:nvSpPr>
                      <p:spPr>
                        <a:xfrm>
                          <a:off x="5353898" y="3501068"/>
                          <a:ext cx="18089" cy="136725"/>
                        </a:xfrm>
                        <a:custGeom>
                          <a:avLst/>
                          <a:gdLst/>
                          <a:ahLst/>
                          <a:cxnLst/>
                          <a:rect l="l" t="t" r="r" b="b"/>
                          <a:pathLst>
                            <a:path w="2300" h="17384" fill="none" extrusionOk="0">
                              <a:moveTo>
                                <a:pt x="1" y="0"/>
                              </a:moveTo>
                              <a:lnTo>
                                <a:pt x="2299" y="1738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8" name="Google Shape;4118;p66"/>
                        <p:cNvSpPr/>
                        <p:nvPr/>
                      </p:nvSpPr>
                      <p:spPr>
                        <a:xfrm>
                          <a:off x="5206721" y="3620749"/>
                          <a:ext cx="102379" cy="98863"/>
                        </a:xfrm>
                        <a:custGeom>
                          <a:avLst/>
                          <a:gdLst/>
                          <a:ahLst/>
                          <a:cxnLst/>
                          <a:rect l="l" t="t" r="r" b="b"/>
                          <a:pathLst>
                            <a:path w="13017" h="12570" fill="none" extrusionOk="0">
                              <a:moveTo>
                                <a:pt x="0" y="1"/>
                              </a:moveTo>
                              <a:lnTo>
                                <a:pt x="13016" y="125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19" name="Google Shape;4119;p66"/>
                        <p:cNvSpPr/>
                        <p:nvPr/>
                      </p:nvSpPr>
                      <p:spPr>
                        <a:xfrm>
                          <a:off x="5293102" y="3715798"/>
                          <a:ext cx="15997" cy="101238"/>
                        </a:xfrm>
                        <a:custGeom>
                          <a:avLst/>
                          <a:gdLst/>
                          <a:ahLst/>
                          <a:cxnLst/>
                          <a:rect l="l" t="t" r="r" b="b"/>
                          <a:pathLst>
                            <a:path w="2034" h="12872" fill="none" extrusionOk="0">
                              <a:moveTo>
                                <a:pt x="2033" y="0"/>
                              </a:moveTo>
                              <a:lnTo>
                                <a:pt x="1" y="1287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0" name="Google Shape;4120;p66"/>
                        <p:cNvSpPr/>
                        <p:nvPr/>
                      </p:nvSpPr>
                      <p:spPr>
                        <a:xfrm>
                          <a:off x="5127371" y="3659854"/>
                          <a:ext cx="92862" cy="134539"/>
                        </a:xfrm>
                        <a:custGeom>
                          <a:avLst/>
                          <a:gdLst/>
                          <a:ahLst/>
                          <a:cxnLst/>
                          <a:rect l="l" t="t" r="r" b="b"/>
                          <a:pathLst>
                            <a:path w="11807" h="17106" fill="none" extrusionOk="0">
                              <a:moveTo>
                                <a:pt x="11807" y="17105"/>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1" name="Google Shape;4121;p66"/>
                        <p:cNvSpPr/>
                        <p:nvPr/>
                      </p:nvSpPr>
                      <p:spPr>
                        <a:xfrm>
                          <a:off x="5479203" y="3327149"/>
                          <a:ext cx="150615" cy="56998"/>
                        </a:xfrm>
                        <a:custGeom>
                          <a:avLst/>
                          <a:gdLst/>
                          <a:ahLst/>
                          <a:cxnLst/>
                          <a:rect l="l" t="t" r="r" b="b"/>
                          <a:pathLst>
                            <a:path w="19150" h="7247" fill="none" extrusionOk="0">
                              <a:moveTo>
                                <a:pt x="19149" y="0"/>
                              </a:moveTo>
                              <a:lnTo>
                                <a:pt x="0" y="72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2" name="Google Shape;4122;p66"/>
                        <p:cNvSpPr/>
                        <p:nvPr/>
                      </p:nvSpPr>
                      <p:spPr>
                        <a:xfrm>
                          <a:off x="5371980" y="3633790"/>
                          <a:ext cx="59373" cy="4003"/>
                        </a:xfrm>
                        <a:custGeom>
                          <a:avLst/>
                          <a:gdLst/>
                          <a:ahLst/>
                          <a:cxnLst/>
                          <a:rect l="l" t="t" r="r" b="b"/>
                          <a:pathLst>
                            <a:path w="7549" h="509" fill="none" extrusionOk="0">
                              <a:moveTo>
                                <a:pt x="0" y="508"/>
                              </a:moveTo>
                              <a:lnTo>
                                <a:pt x="754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3" name="Google Shape;4123;p66"/>
                        <p:cNvSpPr/>
                        <p:nvPr/>
                      </p:nvSpPr>
                      <p:spPr>
                        <a:xfrm>
                          <a:off x="5352947" y="3497261"/>
                          <a:ext cx="78406" cy="136536"/>
                        </a:xfrm>
                        <a:custGeom>
                          <a:avLst/>
                          <a:gdLst/>
                          <a:ahLst/>
                          <a:cxnLst/>
                          <a:rect l="l" t="t" r="r" b="b"/>
                          <a:pathLst>
                            <a:path w="9969" h="17360" fill="none" extrusionOk="0">
                              <a:moveTo>
                                <a:pt x="9969" y="17359"/>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4" name="Google Shape;4124;p66"/>
                        <p:cNvSpPr/>
                        <p:nvPr/>
                      </p:nvSpPr>
                      <p:spPr>
                        <a:xfrm>
                          <a:off x="4917296" y="3466721"/>
                          <a:ext cx="40733" cy="122356"/>
                        </a:xfrm>
                        <a:custGeom>
                          <a:avLst/>
                          <a:gdLst/>
                          <a:ahLst/>
                          <a:cxnLst/>
                          <a:rect l="l" t="t" r="r" b="b"/>
                          <a:pathLst>
                            <a:path w="5179" h="15557" fill="none" extrusionOk="0">
                              <a:moveTo>
                                <a:pt x="1" y="15557"/>
                              </a:moveTo>
                              <a:lnTo>
                                <a:pt x="517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5" name="Google Shape;4125;p66"/>
                        <p:cNvSpPr/>
                        <p:nvPr/>
                      </p:nvSpPr>
                      <p:spPr>
                        <a:xfrm>
                          <a:off x="5060203" y="3408017"/>
                          <a:ext cx="111416" cy="19513"/>
                        </a:xfrm>
                        <a:custGeom>
                          <a:avLst/>
                          <a:gdLst/>
                          <a:ahLst/>
                          <a:cxnLst/>
                          <a:rect l="l" t="t" r="r" b="b"/>
                          <a:pathLst>
                            <a:path w="14166" h="2481" fill="none" extrusionOk="0">
                              <a:moveTo>
                                <a:pt x="0" y="0"/>
                              </a:moveTo>
                              <a:lnTo>
                                <a:pt x="14165" y="248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26" name="Google Shape;4126;p66"/>
                        <p:cNvSpPr/>
                        <p:nvPr/>
                      </p:nvSpPr>
                      <p:spPr>
                        <a:xfrm>
                          <a:off x="5127371" y="3620749"/>
                          <a:ext cx="79358" cy="42636"/>
                        </a:xfrm>
                        <a:custGeom>
                          <a:avLst/>
                          <a:gdLst/>
                          <a:ahLst/>
                          <a:cxnLst/>
                          <a:rect l="l" t="t" r="r" b="b"/>
                          <a:pathLst>
                            <a:path w="10090" h="5421" fill="none" extrusionOk="0">
                              <a:moveTo>
                                <a:pt x="0" y="5420"/>
                              </a:moveTo>
                              <a:lnTo>
                                <a:pt x="1008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27" name="Google Shape;4127;p66"/>
                        <p:cNvGrpSpPr/>
                        <p:nvPr/>
                      </p:nvGrpSpPr>
                      <p:grpSpPr>
                        <a:xfrm>
                          <a:off x="4579164" y="3203653"/>
                          <a:ext cx="1244833" cy="1020397"/>
                          <a:chOff x="4579164" y="3203653"/>
                          <a:chExt cx="1244833" cy="1020397"/>
                        </a:xfrm>
                      </p:grpSpPr>
                      <p:sp>
                        <p:nvSpPr>
                          <p:cNvPr id="4128" name="Google Shape;4128;p66"/>
                          <p:cNvSpPr/>
                          <p:nvPr/>
                        </p:nvSpPr>
                        <p:spPr>
                          <a:xfrm>
                            <a:off x="4949551" y="3708185"/>
                            <a:ext cx="37972" cy="3815"/>
                          </a:xfrm>
                          <a:custGeom>
                            <a:avLst/>
                            <a:gdLst/>
                            <a:ahLst/>
                            <a:cxnLst/>
                            <a:rect l="l" t="t" r="r" b="b"/>
                            <a:pathLst>
                              <a:path w="4828" h="485" fill="none" extrusionOk="0">
                                <a:moveTo>
                                  <a:pt x="0" y="1"/>
                                </a:moveTo>
                                <a:lnTo>
                                  <a:pt x="4827" y="48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29" name="Google Shape;4129;p66"/>
                          <p:cNvGrpSpPr/>
                          <p:nvPr/>
                        </p:nvGrpSpPr>
                        <p:grpSpPr>
                          <a:xfrm>
                            <a:off x="4579164" y="3203653"/>
                            <a:ext cx="1244833" cy="1020397"/>
                            <a:chOff x="4579164" y="3203653"/>
                            <a:chExt cx="1244833" cy="1020397"/>
                          </a:xfrm>
                        </p:grpSpPr>
                        <p:sp>
                          <p:nvSpPr>
                            <p:cNvPr id="4130" name="Google Shape;4130;p66"/>
                            <p:cNvSpPr/>
                            <p:nvPr/>
                          </p:nvSpPr>
                          <p:spPr>
                            <a:xfrm>
                              <a:off x="4953357" y="3586309"/>
                              <a:ext cx="147288" cy="121884"/>
                            </a:xfrm>
                            <a:custGeom>
                              <a:avLst/>
                              <a:gdLst/>
                              <a:ahLst/>
                              <a:cxnLst/>
                              <a:rect l="l" t="t" r="r" b="b"/>
                              <a:pathLst>
                                <a:path w="18727" h="15497" fill="none" extrusionOk="0">
                                  <a:moveTo>
                                    <a:pt x="18726" y="1"/>
                                  </a:moveTo>
                                  <a:lnTo>
                                    <a:pt x="0" y="1549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1" name="Google Shape;4131;p66"/>
                            <p:cNvSpPr/>
                            <p:nvPr/>
                          </p:nvSpPr>
                          <p:spPr>
                            <a:xfrm>
                              <a:off x="4987515" y="3592876"/>
                              <a:ext cx="113130" cy="119123"/>
                            </a:xfrm>
                            <a:custGeom>
                              <a:avLst/>
                              <a:gdLst/>
                              <a:ahLst/>
                              <a:cxnLst/>
                              <a:rect l="l" t="t" r="r" b="b"/>
                              <a:pathLst>
                                <a:path w="14384" h="15146" fill="none" extrusionOk="0">
                                  <a:moveTo>
                                    <a:pt x="0" y="15146"/>
                                  </a:moveTo>
                                  <a:lnTo>
                                    <a:pt x="14383"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2" name="Google Shape;4132;p66"/>
                            <p:cNvSpPr/>
                            <p:nvPr/>
                          </p:nvSpPr>
                          <p:spPr>
                            <a:xfrm>
                              <a:off x="4913395" y="3708185"/>
                              <a:ext cx="39970" cy="45389"/>
                            </a:xfrm>
                            <a:custGeom>
                              <a:avLst/>
                              <a:gdLst/>
                              <a:ahLst/>
                              <a:cxnLst/>
                              <a:rect l="l" t="t" r="r" b="b"/>
                              <a:pathLst>
                                <a:path w="5082" h="5771" fill="none" extrusionOk="0">
                                  <a:moveTo>
                                    <a:pt x="1" y="5771"/>
                                  </a:moveTo>
                                  <a:lnTo>
                                    <a:pt x="508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3" name="Google Shape;4133;p66"/>
                            <p:cNvSpPr/>
                            <p:nvPr/>
                          </p:nvSpPr>
                          <p:spPr>
                            <a:xfrm>
                              <a:off x="4888943" y="3704378"/>
                              <a:ext cx="60616" cy="26080"/>
                            </a:xfrm>
                            <a:custGeom>
                              <a:avLst/>
                              <a:gdLst/>
                              <a:ahLst/>
                              <a:cxnLst/>
                              <a:rect l="l" t="t" r="r" b="b"/>
                              <a:pathLst>
                                <a:path w="7707" h="3316" fill="none" extrusionOk="0">
                                  <a:moveTo>
                                    <a:pt x="1" y="3315"/>
                                  </a:moveTo>
                                  <a:lnTo>
                                    <a:pt x="770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4" name="Google Shape;4134;p66"/>
                            <p:cNvSpPr/>
                            <p:nvPr/>
                          </p:nvSpPr>
                          <p:spPr>
                            <a:xfrm>
                              <a:off x="4917296" y="3589069"/>
                              <a:ext cx="32262" cy="119123"/>
                            </a:xfrm>
                            <a:custGeom>
                              <a:avLst/>
                              <a:gdLst/>
                              <a:ahLst/>
                              <a:cxnLst/>
                              <a:rect l="l" t="t" r="r" b="b"/>
                              <a:pathLst>
                                <a:path w="4102" h="15146" fill="none" extrusionOk="0">
                                  <a:moveTo>
                                    <a:pt x="1" y="1"/>
                                  </a:moveTo>
                                  <a:lnTo>
                                    <a:pt x="4101" y="151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5" name="Google Shape;4135;p66"/>
                            <p:cNvSpPr/>
                            <p:nvPr/>
                          </p:nvSpPr>
                          <p:spPr>
                            <a:xfrm>
                              <a:off x="4949551" y="3708185"/>
                              <a:ext cx="22840" cy="72885"/>
                            </a:xfrm>
                            <a:custGeom>
                              <a:avLst/>
                              <a:gdLst/>
                              <a:ahLst/>
                              <a:cxnLst/>
                              <a:rect l="l" t="t" r="r" b="b"/>
                              <a:pathLst>
                                <a:path w="2904" h="9267" fill="none" extrusionOk="0">
                                  <a:moveTo>
                                    <a:pt x="0" y="1"/>
                                  </a:moveTo>
                                  <a:lnTo>
                                    <a:pt x="2904" y="926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6" name="Google Shape;4136;p66"/>
                            <p:cNvSpPr/>
                            <p:nvPr/>
                          </p:nvSpPr>
                          <p:spPr>
                            <a:xfrm>
                              <a:off x="4912066" y="3752237"/>
                              <a:ext cx="60325" cy="28833"/>
                            </a:xfrm>
                            <a:custGeom>
                              <a:avLst/>
                              <a:gdLst/>
                              <a:ahLst/>
                              <a:cxnLst/>
                              <a:rect l="l" t="t" r="r" b="b"/>
                              <a:pathLst>
                                <a:path w="7670" h="3666" fill="none" extrusionOk="0">
                                  <a:moveTo>
                                    <a:pt x="0" y="1"/>
                                  </a:moveTo>
                                  <a:lnTo>
                                    <a:pt x="7670" y="36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37" name="Google Shape;4137;p66"/>
                            <p:cNvGrpSpPr/>
                            <p:nvPr/>
                          </p:nvGrpSpPr>
                          <p:grpSpPr>
                            <a:xfrm>
                              <a:off x="4579164" y="3203653"/>
                              <a:ext cx="1244833" cy="1020397"/>
                              <a:chOff x="4579164" y="3203653"/>
                              <a:chExt cx="1244833" cy="1020397"/>
                            </a:xfrm>
                          </p:grpSpPr>
                          <p:sp>
                            <p:nvSpPr>
                              <p:cNvPr id="4138" name="Google Shape;4138;p66"/>
                              <p:cNvSpPr/>
                              <p:nvPr/>
                            </p:nvSpPr>
                            <p:spPr>
                              <a:xfrm>
                                <a:off x="4590301" y="3738347"/>
                                <a:ext cx="92956" cy="91722"/>
                              </a:xfrm>
                              <a:custGeom>
                                <a:avLst/>
                                <a:gdLst/>
                                <a:ahLst/>
                                <a:cxnLst/>
                                <a:rect l="l" t="t" r="r" b="b"/>
                                <a:pathLst>
                                  <a:path w="11819" h="11662" fill="none" extrusionOk="0">
                                    <a:moveTo>
                                      <a:pt x="0" y="0"/>
                                    </a:moveTo>
                                    <a:lnTo>
                                      <a:pt x="11819" y="1166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39" name="Google Shape;4139;p66"/>
                              <p:cNvSpPr/>
                              <p:nvPr/>
                            </p:nvSpPr>
                            <p:spPr>
                              <a:xfrm>
                                <a:off x="4683250" y="3652241"/>
                                <a:ext cx="33591" cy="177828"/>
                              </a:xfrm>
                              <a:custGeom>
                                <a:avLst/>
                                <a:gdLst/>
                                <a:ahLst/>
                                <a:cxnLst/>
                                <a:rect l="l" t="t" r="r" b="b"/>
                                <a:pathLst>
                                  <a:path w="4271" h="22610" fill="none" extrusionOk="0">
                                    <a:moveTo>
                                      <a:pt x="1" y="22610"/>
                                    </a:moveTo>
                                    <a:lnTo>
                                      <a:pt x="427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0" name="Google Shape;4140;p66"/>
                              <p:cNvSpPr/>
                              <p:nvPr/>
                            </p:nvSpPr>
                            <p:spPr>
                              <a:xfrm>
                                <a:off x="4716833" y="3652241"/>
                                <a:ext cx="70982" cy="207707"/>
                              </a:xfrm>
                              <a:custGeom>
                                <a:avLst/>
                                <a:gdLst/>
                                <a:ahLst/>
                                <a:cxnLst/>
                                <a:rect l="l" t="t" r="r" b="b"/>
                                <a:pathLst>
                                  <a:path w="9025" h="26409" fill="none" extrusionOk="0">
                                    <a:moveTo>
                                      <a:pt x="1" y="1"/>
                                    </a:moveTo>
                                    <a:lnTo>
                                      <a:pt x="9025" y="2640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1" name="Google Shape;4141;p66"/>
                              <p:cNvSpPr/>
                              <p:nvPr/>
                            </p:nvSpPr>
                            <p:spPr>
                              <a:xfrm>
                                <a:off x="4813117" y="3694578"/>
                                <a:ext cx="44154" cy="139297"/>
                              </a:xfrm>
                              <a:custGeom>
                                <a:avLst/>
                                <a:gdLst/>
                                <a:ahLst/>
                                <a:cxnLst/>
                                <a:rect l="l" t="t" r="r" b="b"/>
                                <a:pathLst>
                                  <a:path w="5614" h="17711" fill="none" extrusionOk="0">
                                    <a:moveTo>
                                      <a:pt x="5614" y="1771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2" name="Google Shape;4142;p66"/>
                              <p:cNvSpPr/>
                              <p:nvPr/>
                            </p:nvSpPr>
                            <p:spPr>
                              <a:xfrm>
                                <a:off x="4787807" y="3694578"/>
                                <a:ext cx="25317" cy="165369"/>
                              </a:xfrm>
                              <a:custGeom>
                                <a:avLst/>
                                <a:gdLst/>
                                <a:ahLst/>
                                <a:cxnLst/>
                                <a:rect l="l" t="t" r="r" b="b"/>
                                <a:pathLst>
                                  <a:path w="3219" h="21026" fill="none" extrusionOk="0">
                                    <a:moveTo>
                                      <a:pt x="3219" y="1"/>
                                    </a:moveTo>
                                    <a:lnTo>
                                      <a:pt x="1" y="2102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3" name="Google Shape;4143;p66"/>
                              <p:cNvSpPr/>
                              <p:nvPr/>
                            </p:nvSpPr>
                            <p:spPr>
                              <a:xfrm>
                                <a:off x="4683250" y="3830061"/>
                                <a:ext cx="106374" cy="25223"/>
                              </a:xfrm>
                              <a:custGeom>
                                <a:avLst/>
                                <a:gdLst/>
                                <a:ahLst/>
                                <a:cxnLst/>
                                <a:rect l="l" t="t" r="r" b="b"/>
                                <a:pathLst>
                                  <a:path w="13525" h="3207" fill="none" extrusionOk="0">
                                    <a:moveTo>
                                      <a:pt x="1" y="1"/>
                                    </a:moveTo>
                                    <a:lnTo>
                                      <a:pt x="13525" y="320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4" name="Google Shape;4144;p66"/>
                              <p:cNvSpPr/>
                              <p:nvPr/>
                            </p:nvSpPr>
                            <p:spPr>
                              <a:xfrm>
                                <a:off x="4670980" y="3830061"/>
                                <a:ext cx="12277" cy="79263"/>
                              </a:xfrm>
                              <a:custGeom>
                                <a:avLst/>
                                <a:gdLst/>
                                <a:ahLst/>
                                <a:cxnLst/>
                                <a:rect l="l" t="t" r="r" b="b"/>
                                <a:pathLst>
                                  <a:path w="1561" h="10078" fill="none" extrusionOk="0">
                                    <a:moveTo>
                                      <a:pt x="1561" y="1"/>
                                    </a:moveTo>
                                    <a:lnTo>
                                      <a:pt x="0" y="1007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5" name="Google Shape;4145;p66"/>
                              <p:cNvSpPr/>
                              <p:nvPr/>
                            </p:nvSpPr>
                            <p:spPr>
                              <a:xfrm>
                                <a:off x="4583828" y="3830061"/>
                                <a:ext cx="99429" cy="34543"/>
                              </a:xfrm>
                              <a:custGeom>
                                <a:avLst/>
                                <a:gdLst/>
                                <a:ahLst/>
                                <a:cxnLst/>
                                <a:rect l="l" t="t" r="r" b="b"/>
                                <a:pathLst>
                                  <a:path w="12642" h="4392" fill="none" extrusionOk="0">
                                    <a:moveTo>
                                      <a:pt x="0" y="4392"/>
                                    </a:moveTo>
                                    <a:lnTo>
                                      <a:pt x="12642"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6" name="Google Shape;4146;p66"/>
                              <p:cNvSpPr/>
                              <p:nvPr/>
                            </p:nvSpPr>
                            <p:spPr>
                              <a:xfrm>
                                <a:off x="4683250" y="3830061"/>
                                <a:ext cx="50336" cy="117983"/>
                              </a:xfrm>
                              <a:custGeom>
                                <a:avLst/>
                                <a:gdLst/>
                                <a:ahLst/>
                                <a:cxnLst/>
                                <a:rect l="l" t="t" r="r" b="b"/>
                                <a:pathLst>
                                  <a:path w="6400" h="15001" fill="none" extrusionOk="0">
                                    <a:moveTo>
                                      <a:pt x="1" y="1"/>
                                    </a:moveTo>
                                    <a:lnTo>
                                      <a:pt x="6400" y="1500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7" name="Google Shape;4147;p66"/>
                              <p:cNvSpPr/>
                              <p:nvPr/>
                            </p:nvSpPr>
                            <p:spPr>
                              <a:xfrm>
                                <a:off x="4733578" y="3855276"/>
                                <a:ext cx="56046" cy="92768"/>
                              </a:xfrm>
                              <a:custGeom>
                                <a:avLst/>
                                <a:gdLst/>
                                <a:ahLst/>
                                <a:cxnLst/>
                                <a:rect l="l" t="t" r="r" b="b"/>
                                <a:pathLst>
                                  <a:path w="7126" h="11795" fill="none" extrusionOk="0">
                                    <a:moveTo>
                                      <a:pt x="1" y="11795"/>
                                    </a:moveTo>
                                    <a:lnTo>
                                      <a:pt x="712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8" name="Google Shape;4148;p66"/>
                              <p:cNvSpPr/>
                              <p:nvPr/>
                            </p:nvSpPr>
                            <p:spPr>
                              <a:xfrm>
                                <a:off x="4888943" y="3730450"/>
                                <a:ext cx="34928" cy="89252"/>
                              </a:xfrm>
                              <a:custGeom>
                                <a:avLst/>
                                <a:gdLst/>
                                <a:ahLst/>
                                <a:cxnLst/>
                                <a:rect l="l" t="t" r="r" b="b"/>
                                <a:pathLst>
                                  <a:path w="4441" h="11348" fill="none" extrusionOk="0">
                                    <a:moveTo>
                                      <a:pt x="4440" y="11347"/>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49" name="Google Shape;4149;p66"/>
                              <p:cNvSpPr/>
                              <p:nvPr/>
                            </p:nvSpPr>
                            <p:spPr>
                              <a:xfrm>
                                <a:off x="4590301" y="3667468"/>
                                <a:ext cx="49762" cy="70887"/>
                              </a:xfrm>
                              <a:custGeom>
                                <a:avLst/>
                                <a:gdLst/>
                                <a:ahLst/>
                                <a:cxnLst/>
                                <a:rect l="l" t="t" r="r" b="b"/>
                                <a:pathLst>
                                  <a:path w="6327" h="9013" fill="none" extrusionOk="0">
                                    <a:moveTo>
                                      <a:pt x="0" y="9012"/>
                                    </a:moveTo>
                                    <a:lnTo>
                                      <a:pt x="632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0" name="Google Shape;4150;p66"/>
                              <p:cNvSpPr/>
                              <p:nvPr/>
                            </p:nvSpPr>
                            <p:spPr>
                              <a:xfrm>
                                <a:off x="4640338" y="3648536"/>
                                <a:ext cx="80593" cy="20268"/>
                              </a:xfrm>
                              <a:custGeom>
                                <a:avLst/>
                                <a:gdLst/>
                                <a:ahLst/>
                                <a:cxnLst/>
                                <a:rect l="l" t="t" r="r" b="b"/>
                                <a:pathLst>
                                  <a:path w="10247" h="2577" fill="none" extrusionOk="0">
                                    <a:moveTo>
                                      <a:pt x="1" y="2577"/>
                                    </a:moveTo>
                                    <a:lnTo>
                                      <a:pt x="1024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51" name="Google Shape;4151;p66"/>
                              <p:cNvGrpSpPr/>
                              <p:nvPr/>
                            </p:nvGrpSpPr>
                            <p:grpSpPr>
                              <a:xfrm>
                                <a:off x="4579164" y="3203653"/>
                                <a:ext cx="1244833" cy="1020397"/>
                                <a:chOff x="4579164" y="3203653"/>
                                <a:chExt cx="1244833" cy="1020397"/>
                              </a:xfrm>
                            </p:grpSpPr>
                            <p:sp>
                              <p:nvSpPr>
                                <p:cNvPr id="4152" name="Google Shape;4152;p66"/>
                                <p:cNvSpPr/>
                                <p:nvPr/>
                              </p:nvSpPr>
                              <p:spPr>
                                <a:xfrm>
                                  <a:off x="4753083" y="3966015"/>
                                  <a:ext cx="92964" cy="53765"/>
                                </a:xfrm>
                                <a:custGeom>
                                  <a:avLst/>
                                  <a:gdLst/>
                                  <a:ahLst/>
                                  <a:cxnLst/>
                                  <a:rect l="l" t="t" r="r" b="b"/>
                                  <a:pathLst>
                                    <a:path w="11820" h="6836" fill="none" extrusionOk="0">
                                      <a:moveTo>
                                        <a:pt x="1" y="6836"/>
                                      </a:moveTo>
                                      <a:lnTo>
                                        <a:pt x="1181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3" name="Google Shape;4153;p66"/>
                                <p:cNvSpPr/>
                                <p:nvPr/>
                              </p:nvSpPr>
                              <p:spPr>
                                <a:xfrm>
                                  <a:off x="4846040" y="3952794"/>
                                  <a:ext cx="103519" cy="13135"/>
                                </a:xfrm>
                                <a:custGeom>
                                  <a:avLst/>
                                  <a:gdLst/>
                                  <a:ahLst/>
                                  <a:cxnLst/>
                                  <a:rect l="l" t="t" r="r" b="b"/>
                                  <a:pathLst>
                                    <a:path w="13162" h="1670" fill="none" extrusionOk="0">
                                      <a:moveTo>
                                        <a:pt x="13161" y="0"/>
                                      </a:moveTo>
                                      <a:lnTo>
                                        <a:pt x="0" y="167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4" name="Google Shape;4154;p66"/>
                                <p:cNvSpPr/>
                                <p:nvPr/>
                              </p:nvSpPr>
                              <p:spPr>
                                <a:xfrm>
                                  <a:off x="4846040" y="3962216"/>
                                  <a:ext cx="64800" cy="128066"/>
                                </a:xfrm>
                                <a:custGeom>
                                  <a:avLst/>
                                  <a:gdLst/>
                                  <a:ahLst/>
                                  <a:cxnLst/>
                                  <a:rect l="l" t="t" r="r" b="b"/>
                                  <a:pathLst>
                                    <a:path w="8239" h="16283" fill="none" extrusionOk="0">
                                      <a:moveTo>
                                        <a:pt x="0" y="0"/>
                                      </a:moveTo>
                                      <a:lnTo>
                                        <a:pt x="8238" y="1628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5" name="Google Shape;4155;p66"/>
                                <p:cNvSpPr/>
                                <p:nvPr/>
                              </p:nvSpPr>
                              <p:spPr>
                                <a:xfrm>
                                  <a:off x="4842233" y="3962216"/>
                                  <a:ext cx="3815" cy="164787"/>
                                </a:xfrm>
                                <a:custGeom>
                                  <a:avLst/>
                                  <a:gdLst/>
                                  <a:ahLst/>
                                  <a:cxnLst/>
                                  <a:rect l="l" t="t" r="r" b="b"/>
                                  <a:pathLst>
                                    <a:path w="485" h="20952" fill="none" extrusionOk="0">
                                      <a:moveTo>
                                        <a:pt x="0" y="20952"/>
                                      </a:moveTo>
                                      <a:lnTo>
                                        <a:pt x="48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6" name="Google Shape;4156;p66"/>
                                <p:cNvSpPr/>
                                <p:nvPr/>
                              </p:nvSpPr>
                              <p:spPr>
                                <a:xfrm>
                                  <a:off x="4842233" y="4123189"/>
                                  <a:ext cx="37587" cy="53002"/>
                                </a:xfrm>
                                <a:custGeom>
                                  <a:avLst/>
                                  <a:gdLst/>
                                  <a:ahLst/>
                                  <a:cxnLst/>
                                  <a:rect l="l" t="t" r="r" b="b"/>
                                  <a:pathLst>
                                    <a:path w="4779" h="6739" fill="none" extrusionOk="0">
                                      <a:moveTo>
                                        <a:pt x="4779" y="6739"/>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7" name="Google Shape;4157;p66"/>
                                <p:cNvSpPr/>
                                <p:nvPr/>
                              </p:nvSpPr>
                              <p:spPr>
                                <a:xfrm>
                                  <a:off x="4770779" y="4118525"/>
                                  <a:ext cx="71461" cy="4672"/>
                                </a:xfrm>
                                <a:custGeom>
                                  <a:avLst/>
                                  <a:gdLst/>
                                  <a:ahLst/>
                                  <a:cxnLst/>
                                  <a:rect l="l" t="t" r="r" b="b"/>
                                  <a:pathLst>
                                    <a:path w="9086" h="594" fill="none" extrusionOk="0">
                                      <a:moveTo>
                                        <a:pt x="9085" y="594"/>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58" name="Google Shape;4158;p66"/>
                                <p:cNvSpPr/>
                                <p:nvPr/>
                              </p:nvSpPr>
                              <p:spPr>
                                <a:xfrm>
                                  <a:off x="4842233" y="4090274"/>
                                  <a:ext cx="68606" cy="32923"/>
                                </a:xfrm>
                                <a:custGeom>
                                  <a:avLst/>
                                  <a:gdLst/>
                                  <a:ahLst/>
                                  <a:cxnLst/>
                                  <a:rect l="l" t="t" r="r" b="b"/>
                                  <a:pathLst>
                                    <a:path w="8723" h="4186" fill="none" extrusionOk="0">
                                      <a:moveTo>
                                        <a:pt x="0" y="4186"/>
                                      </a:moveTo>
                                      <a:lnTo>
                                        <a:pt x="872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59" name="Google Shape;4159;p66"/>
                                <p:cNvGrpSpPr/>
                                <p:nvPr/>
                              </p:nvGrpSpPr>
                              <p:grpSpPr>
                                <a:xfrm>
                                  <a:off x="4579164" y="3203653"/>
                                  <a:ext cx="1244833" cy="1020397"/>
                                  <a:chOff x="4579164" y="3203653"/>
                                  <a:chExt cx="1244833" cy="1020397"/>
                                </a:xfrm>
                              </p:grpSpPr>
                              <p:sp>
                                <p:nvSpPr>
                                  <p:cNvPr id="4160" name="Google Shape;4160;p66"/>
                                  <p:cNvSpPr/>
                                  <p:nvPr/>
                                </p:nvSpPr>
                                <p:spPr>
                                  <a:xfrm>
                                    <a:off x="4788476" y="3855276"/>
                                    <a:ext cx="57572" cy="110747"/>
                                  </a:xfrm>
                                  <a:custGeom>
                                    <a:avLst/>
                                    <a:gdLst/>
                                    <a:ahLst/>
                                    <a:cxnLst/>
                                    <a:rect l="l" t="t" r="r" b="b"/>
                                    <a:pathLst>
                                      <a:path w="7320" h="14081" fill="none" extrusionOk="0">
                                        <a:moveTo>
                                          <a:pt x="7319" y="14081"/>
                                        </a:moveTo>
                                        <a:lnTo>
                                          <a:pt x="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1" name="Google Shape;4161;p66"/>
                                  <p:cNvSpPr/>
                                  <p:nvPr/>
                                </p:nvSpPr>
                                <p:spPr>
                                  <a:xfrm>
                                    <a:off x="4846040" y="3833867"/>
                                    <a:ext cx="11231" cy="132156"/>
                                  </a:xfrm>
                                  <a:custGeom>
                                    <a:avLst/>
                                    <a:gdLst/>
                                    <a:ahLst/>
                                    <a:cxnLst/>
                                    <a:rect l="l" t="t" r="r" b="b"/>
                                    <a:pathLst>
                                      <a:path w="1428" h="16803" fill="none" extrusionOk="0">
                                        <a:moveTo>
                                          <a:pt x="0" y="16803"/>
                                        </a:moveTo>
                                        <a:lnTo>
                                          <a:pt x="1428"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2" name="Google Shape;4162;p66"/>
                                  <p:cNvSpPr/>
                                  <p:nvPr/>
                                </p:nvSpPr>
                                <p:spPr>
                                  <a:xfrm>
                                    <a:off x="4761554" y="3854796"/>
                                    <a:ext cx="26261" cy="164984"/>
                                  </a:xfrm>
                                  <a:custGeom>
                                    <a:avLst/>
                                    <a:gdLst/>
                                    <a:ahLst/>
                                    <a:cxnLst/>
                                    <a:rect l="l" t="t" r="r" b="b"/>
                                    <a:pathLst>
                                      <a:path w="3339" h="20977" fill="none" extrusionOk="0">
                                        <a:moveTo>
                                          <a:pt x="0" y="20977"/>
                                        </a:moveTo>
                                        <a:lnTo>
                                          <a:pt x="333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3" name="Google Shape;4163;p66"/>
                                  <p:cNvSpPr/>
                                  <p:nvPr/>
                                </p:nvSpPr>
                                <p:spPr>
                                  <a:xfrm>
                                    <a:off x="4846991" y="3818263"/>
                                    <a:ext cx="74025" cy="146242"/>
                                  </a:xfrm>
                                  <a:custGeom>
                                    <a:avLst/>
                                    <a:gdLst/>
                                    <a:ahLst/>
                                    <a:cxnLst/>
                                    <a:rect l="l" t="t" r="r" b="b"/>
                                    <a:pathLst>
                                      <a:path w="9412" h="18594" fill="none" extrusionOk="0">
                                        <a:moveTo>
                                          <a:pt x="0" y="18593"/>
                                        </a:moveTo>
                                        <a:lnTo>
                                          <a:pt x="941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4" name="Google Shape;4164;p66"/>
                                  <p:cNvSpPr/>
                                  <p:nvPr/>
                                </p:nvSpPr>
                                <p:spPr>
                                  <a:xfrm>
                                    <a:off x="4927191" y="3823305"/>
                                    <a:ext cx="22368" cy="129497"/>
                                  </a:xfrm>
                                  <a:custGeom>
                                    <a:avLst/>
                                    <a:gdLst/>
                                    <a:ahLst/>
                                    <a:cxnLst/>
                                    <a:rect l="l" t="t" r="r" b="b"/>
                                    <a:pathLst>
                                      <a:path w="2844" h="16465" fill="none" extrusionOk="0">
                                        <a:moveTo>
                                          <a:pt x="1" y="1"/>
                                        </a:moveTo>
                                        <a:lnTo>
                                          <a:pt x="2843" y="1646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165" name="Google Shape;4165;p66"/>
                                  <p:cNvGrpSpPr/>
                                  <p:nvPr/>
                                </p:nvGrpSpPr>
                                <p:grpSpPr>
                                  <a:xfrm>
                                    <a:off x="4579164" y="3203653"/>
                                    <a:ext cx="1244833" cy="1020397"/>
                                    <a:chOff x="4579164" y="3203653"/>
                                    <a:chExt cx="1244833" cy="1020397"/>
                                  </a:xfrm>
                                </p:grpSpPr>
                                <p:sp>
                                  <p:nvSpPr>
                                    <p:cNvPr id="4166" name="Google Shape;4166;p66"/>
                                    <p:cNvSpPr/>
                                    <p:nvPr/>
                                  </p:nvSpPr>
                                  <p:spPr>
                                    <a:xfrm>
                                      <a:off x="4579164" y="3652241"/>
                                      <a:ext cx="422626" cy="571809"/>
                                    </a:xfrm>
                                    <a:custGeom>
                                      <a:avLst/>
                                      <a:gdLst/>
                                      <a:ahLst/>
                                      <a:cxnLst/>
                                      <a:rect l="l" t="t" r="r" b="b"/>
                                      <a:pathLst>
                                        <a:path w="53735" h="72703" fill="none" extrusionOk="0">
                                          <a:moveTo>
                                            <a:pt x="27593" y="71880"/>
                                          </a:moveTo>
                                          <a:lnTo>
                                            <a:pt x="23771" y="58694"/>
                                          </a:lnTo>
                                          <a:lnTo>
                                            <a:pt x="22936" y="46731"/>
                                          </a:lnTo>
                                          <a:lnTo>
                                            <a:pt x="19972" y="37380"/>
                                          </a:lnTo>
                                          <a:lnTo>
                                            <a:pt x="11674" y="32686"/>
                                          </a:lnTo>
                                          <a:lnTo>
                                            <a:pt x="1" y="27001"/>
                                          </a:lnTo>
                                          <a:lnTo>
                                            <a:pt x="1392" y="10610"/>
                                          </a:lnTo>
                                          <a:lnTo>
                                            <a:pt x="17517" y="1"/>
                                          </a:lnTo>
                                          <a:lnTo>
                                            <a:pt x="29747" y="5384"/>
                                          </a:lnTo>
                                          <a:lnTo>
                                            <a:pt x="43827" y="21291"/>
                                          </a:lnTo>
                                          <a:lnTo>
                                            <a:pt x="49343" y="27122"/>
                                          </a:lnTo>
                                          <a:lnTo>
                                            <a:pt x="53735" y="25815"/>
                                          </a:lnTo>
                                          <a:lnTo>
                                            <a:pt x="50347" y="35940"/>
                                          </a:lnTo>
                                          <a:lnTo>
                                            <a:pt x="47093" y="38214"/>
                                          </a:lnTo>
                                          <a:lnTo>
                                            <a:pt x="44069" y="44275"/>
                                          </a:lnTo>
                                          <a:lnTo>
                                            <a:pt x="45073" y="51944"/>
                                          </a:lnTo>
                                          <a:lnTo>
                                            <a:pt x="42170" y="55694"/>
                                          </a:lnTo>
                                          <a:lnTo>
                                            <a:pt x="38227" y="66025"/>
                                          </a:lnTo>
                                          <a:lnTo>
                                            <a:pt x="27593" y="727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7" name="Google Shape;4167;p66"/>
                                    <p:cNvSpPr/>
                                    <p:nvPr/>
                                  </p:nvSpPr>
                                  <p:spPr>
                                    <a:xfrm>
                                      <a:off x="4617986" y="3203653"/>
                                      <a:ext cx="1206011" cy="684357"/>
                                    </a:xfrm>
                                    <a:custGeom>
                                      <a:avLst/>
                                      <a:gdLst/>
                                      <a:ahLst/>
                                      <a:cxnLst/>
                                      <a:rect l="l" t="t" r="r" b="b"/>
                                      <a:pathLst>
                                        <a:path w="153339" h="87013" fill="none" extrusionOk="0">
                                          <a:moveTo>
                                            <a:pt x="24811" y="62214"/>
                                          </a:moveTo>
                                          <a:lnTo>
                                            <a:pt x="34452" y="66980"/>
                                          </a:lnTo>
                                          <a:lnTo>
                                            <a:pt x="37549" y="69920"/>
                                          </a:lnTo>
                                          <a:lnTo>
                                            <a:pt x="41274" y="77698"/>
                                          </a:lnTo>
                                          <a:lnTo>
                                            <a:pt x="46270" y="79222"/>
                                          </a:lnTo>
                                          <a:lnTo>
                                            <a:pt x="55899" y="72775"/>
                                          </a:lnTo>
                                          <a:lnTo>
                                            <a:pt x="52645" y="69085"/>
                                          </a:lnTo>
                                          <a:lnTo>
                                            <a:pt x="48291" y="70234"/>
                                          </a:lnTo>
                                          <a:lnTo>
                                            <a:pt x="46585" y="64634"/>
                                          </a:lnTo>
                                          <a:lnTo>
                                            <a:pt x="48774" y="66097"/>
                                          </a:lnTo>
                                          <a:lnTo>
                                            <a:pt x="59698" y="70234"/>
                                          </a:lnTo>
                                          <a:lnTo>
                                            <a:pt x="65988" y="72279"/>
                                          </a:lnTo>
                                          <a:lnTo>
                                            <a:pt x="66315" y="75944"/>
                                          </a:lnTo>
                                          <a:lnTo>
                                            <a:pt x="70960" y="87013"/>
                                          </a:lnTo>
                                          <a:lnTo>
                                            <a:pt x="76573" y="75944"/>
                                          </a:lnTo>
                                          <a:lnTo>
                                            <a:pt x="80831" y="72932"/>
                                          </a:lnTo>
                                          <a:lnTo>
                                            <a:pt x="86069" y="78146"/>
                                          </a:lnTo>
                                          <a:lnTo>
                                            <a:pt x="88355" y="83928"/>
                                          </a:lnTo>
                                          <a:lnTo>
                                            <a:pt x="94633" y="84037"/>
                                          </a:lnTo>
                                          <a:lnTo>
                                            <a:pt x="94270" y="74299"/>
                                          </a:lnTo>
                                          <a:lnTo>
                                            <a:pt x="100936" y="72690"/>
                                          </a:lnTo>
                                          <a:lnTo>
                                            <a:pt x="106682" y="64307"/>
                                          </a:lnTo>
                                          <a:lnTo>
                                            <a:pt x="106319" y="56553"/>
                                          </a:lnTo>
                                          <a:lnTo>
                                            <a:pt x="103416" y="54690"/>
                                          </a:lnTo>
                                          <a:lnTo>
                                            <a:pt x="106827" y="53105"/>
                                          </a:lnTo>
                                          <a:lnTo>
                                            <a:pt x="120194" y="45339"/>
                                          </a:lnTo>
                                          <a:lnTo>
                                            <a:pt x="122528" y="36859"/>
                                          </a:lnTo>
                                          <a:lnTo>
                                            <a:pt x="118851" y="35493"/>
                                          </a:lnTo>
                                          <a:lnTo>
                                            <a:pt x="125093" y="28464"/>
                                          </a:lnTo>
                                          <a:lnTo>
                                            <a:pt x="148536" y="25972"/>
                                          </a:lnTo>
                                          <a:lnTo>
                                            <a:pt x="153339" y="12255"/>
                                          </a:lnTo>
                                          <a:lnTo>
                                            <a:pt x="125468" y="6255"/>
                                          </a:lnTo>
                                          <a:lnTo>
                                            <a:pt x="101758" y="5432"/>
                                          </a:lnTo>
                                          <a:lnTo>
                                            <a:pt x="85016" y="1"/>
                                          </a:lnTo>
                                          <a:lnTo>
                                            <a:pt x="60532" y="12255"/>
                                          </a:lnTo>
                                          <a:lnTo>
                                            <a:pt x="39714" y="20214"/>
                                          </a:lnTo>
                                          <a:lnTo>
                                            <a:pt x="35444" y="13089"/>
                                          </a:lnTo>
                                          <a:lnTo>
                                            <a:pt x="22186" y="13464"/>
                                          </a:lnTo>
                                          <a:lnTo>
                                            <a:pt x="15291" y="21351"/>
                                          </a:lnTo>
                                          <a:lnTo>
                                            <a:pt x="11831" y="27484"/>
                                          </a:lnTo>
                                          <a:lnTo>
                                            <a:pt x="21581" y="26614"/>
                                          </a:lnTo>
                                          <a:lnTo>
                                            <a:pt x="24532" y="19561"/>
                                          </a:lnTo>
                                          <a:lnTo>
                                            <a:pt x="29480" y="22694"/>
                                          </a:lnTo>
                                          <a:lnTo>
                                            <a:pt x="24811" y="32964"/>
                                          </a:lnTo>
                                          <a:lnTo>
                                            <a:pt x="20262" y="35541"/>
                                          </a:lnTo>
                                          <a:lnTo>
                                            <a:pt x="15569" y="31368"/>
                                          </a:lnTo>
                                          <a:lnTo>
                                            <a:pt x="15061" y="35650"/>
                                          </a:lnTo>
                                          <a:lnTo>
                                            <a:pt x="11057" y="37924"/>
                                          </a:lnTo>
                                          <a:lnTo>
                                            <a:pt x="6024" y="43089"/>
                                          </a:lnTo>
                                          <a:lnTo>
                                            <a:pt x="6387" y="49210"/>
                                          </a:lnTo>
                                          <a:lnTo>
                                            <a:pt x="992" y="49210"/>
                                          </a:lnTo>
                                          <a:lnTo>
                                            <a:pt x="0" y="52198"/>
                                          </a:lnTo>
                                          <a:lnTo>
                                            <a:pt x="835" y="57037"/>
                                          </a:lnTo>
                                          <a:lnTo>
                                            <a:pt x="6726" y="55198"/>
                                          </a:lnTo>
                                          <a:lnTo>
                                            <a:pt x="10924" y="50069"/>
                                          </a:lnTo>
                                          <a:lnTo>
                                            <a:pt x="16367" y="50686"/>
                                          </a:lnTo>
                                          <a:lnTo>
                                            <a:pt x="18049" y="46670"/>
                                          </a:lnTo>
                                          <a:lnTo>
                                            <a:pt x="23093" y="54363"/>
                                          </a:lnTo>
                                          <a:lnTo>
                                            <a:pt x="26528" y="56105"/>
                                          </a:lnTo>
                                          <a:lnTo>
                                            <a:pt x="26734" y="52210"/>
                                          </a:lnTo>
                                          <a:lnTo>
                                            <a:pt x="33835" y="47069"/>
                                          </a:lnTo>
                                          <a:lnTo>
                                            <a:pt x="38069" y="49488"/>
                                          </a:lnTo>
                                          <a:lnTo>
                                            <a:pt x="36278" y="53045"/>
                                          </a:lnTo>
                                          <a:lnTo>
                                            <a:pt x="28343" y="55392"/>
                                          </a:lnTo>
                                          <a:cubicBezTo>
                                            <a:pt x="28343" y="55392"/>
                                            <a:pt x="31041" y="58888"/>
                                            <a:pt x="31319" y="58984"/>
                                          </a:cubicBezTo>
                                          <a:cubicBezTo>
                                            <a:pt x="31597" y="59069"/>
                                            <a:pt x="36278" y="58150"/>
                                            <a:pt x="36278" y="58150"/>
                                          </a:cubicBezTo>
                                          <a:lnTo>
                                            <a:pt x="35456" y="61948"/>
                                          </a:lnTo>
                                          <a:lnTo>
                                            <a:pt x="30920" y="63255"/>
                                          </a:lnTo>
                                          <a:lnTo>
                                            <a:pt x="24823" y="6214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8" name="Google Shape;4168;p66"/>
                                    <p:cNvSpPr/>
                                    <p:nvPr/>
                                  </p:nvSpPr>
                                  <p:spPr>
                                    <a:xfrm>
                                      <a:off x="4906356" y="3466721"/>
                                      <a:ext cx="194289" cy="358880"/>
                                    </a:xfrm>
                                    <a:custGeom>
                                      <a:avLst/>
                                      <a:gdLst/>
                                      <a:ahLst/>
                                      <a:cxnLst/>
                                      <a:rect l="l" t="t" r="r" b="b"/>
                                      <a:pathLst>
                                        <a:path w="24703" h="45630" fill="none" extrusionOk="0">
                                          <a:moveTo>
                                            <a:pt x="8396" y="39968"/>
                                          </a:moveTo>
                                          <a:lnTo>
                                            <a:pt x="9835" y="45629"/>
                                          </a:lnTo>
                                          <a:lnTo>
                                            <a:pt x="11626" y="36786"/>
                                          </a:lnTo>
                                          <a:lnTo>
                                            <a:pt x="5492" y="30218"/>
                                          </a:lnTo>
                                          <a:lnTo>
                                            <a:pt x="1" y="25016"/>
                                          </a:lnTo>
                                          <a:lnTo>
                                            <a:pt x="1392" y="16040"/>
                                          </a:lnTo>
                                          <a:lnTo>
                                            <a:pt x="24702" y="15206"/>
                                          </a:lnTo>
                                          <a:lnTo>
                                            <a:pt x="6472"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69" name="Google Shape;4169;p66"/>
                                    <p:cNvSpPr/>
                                    <p:nvPr/>
                                  </p:nvSpPr>
                                  <p:spPr>
                                    <a:xfrm>
                                      <a:off x="4972383" y="3756043"/>
                                      <a:ext cx="25412" cy="25026"/>
                                    </a:xfrm>
                                    <a:custGeom>
                                      <a:avLst/>
                                      <a:gdLst/>
                                      <a:ahLst/>
                                      <a:cxnLst/>
                                      <a:rect l="l" t="t" r="r" b="b"/>
                                      <a:pathLst>
                                        <a:path w="3231" h="3182" fill="none" extrusionOk="0">
                                          <a:moveTo>
                                            <a:pt x="1" y="3182"/>
                                          </a:moveTo>
                                          <a:lnTo>
                                            <a:pt x="3231"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sp>
                          <p:nvSpPr>
                            <p:cNvPr id="4170" name="Google Shape;4170;p66"/>
                            <p:cNvSpPr/>
                            <p:nvPr/>
                          </p:nvSpPr>
                          <p:spPr>
                            <a:xfrm>
                              <a:off x="4890375" y="3688019"/>
                              <a:ext cx="5144" cy="43769"/>
                            </a:xfrm>
                            <a:custGeom>
                              <a:avLst/>
                              <a:gdLst/>
                              <a:ahLst/>
                              <a:cxnLst/>
                              <a:rect l="l" t="t" r="r" b="b"/>
                              <a:pathLst>
                                <a:path w="654" h="5565" fill="none" extrusionOk="0">
                                  <a:moveTo>
                                    <a:pt x="653" y="0"/>
                                  </a:moveTo>
                                  <a:lnTo>
                                    <a:pt x="0" y="556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1" name="Google Shape;4171;p66"/>
                            <p:cNvSpPr/>
                            <p:nvPr/>
                          </p:nvSpPr>
                          <p:spPr>
                            <a:xfrm>
                              <a:off x="4899317" y="3688019"/>
                              <a:ext cx="54048" cy="20174"/>
                            </a:xfrm>
                            <a:custGeom>
                              <a:avLst/>
                              <a:gdLst/>
                              <a:ahLst/>
                              <a:cxnLst/>
                              <a:rect l="l" t="t" r="r" b="b"/>
                              <a:pathLst>
                                <a:path w="6872" h="2565" fill="none" extrusionOk="0">
                                  <a:moveTo>
                                    <a:pt x="0" y="0"/>
                                  </a:moveTo>
                                  <a:lnTo>
                                    <a:pt x="6871" y="256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2" name="Google Shape;4172;p66"/>
                            <p:cNvSpPr/>
                            <p:nvPr/>
                          </p:nvSpPr>
                          <p:spPr>
                            <a:xfrm>
                              <a:off x="4862690" y="3700571"/>
                              <a:ext cx="27693" cy="31216"/>
                            </a:xfrm>
                            <a:custGeom>
                              <a:avLst/>
                              <a:gdLst/>
                              <a:ahLst/>
                              <a:cxnLst/>
                              <a:rect l="l" t="t" r="r" b="b"/>
                              <a:pathLst>
                                <a:path w="3521" h="3969" fill="none" extrusionOk="0">
                                  <a:moveTo>
                                    <a:pt x="0" y="1"/>
                                  </a:moveTo>
                                  <a:lnTo>
                                    <a:pt x="3520" y="396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sp>
                      <p:nvSpPr>
                        <p:cNvPr id="4173" name="Google Shape;4173;p66"/>
                        <p:cNvSpPr/>
                        <p:nvPr/>
                      </p:nvSpPr>
                      <p:spPr>
                        <a:xfrm>
                          <a:off x="4953924" y="3297081"/>
                          <a:ext cx="146053" cy="168122"/>
                        </a:xfrm>
                        <a:custGeom>
                          <a:avLst/>
                          <a:gdLst/>
                          <a:ahLst/>
                          <a:cxnLst/>
                          <a:rect l="l" t="t" r="r" b="b"/>
                          <a:pathLst>
                            <a:path w="18570" h="21376" fill="none" extrusionOk="0">
                              <a:moveTo>
                                <a:pt x="1" y="21376"/>
                              </a:moveTo>
                              <a:lnTo>
                                <a:pt x="1856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grpSp>
          <p:grpSp>
            <p:nvGrpSpPr>
              <p:cNvPr id="4174" name="Google Shape;4174;p66"/>
              <p:cNvGrpSpPr/>
              <p:nvPr/>
            </p:nvGrpSpPr>
            <p:grpSpPr>
              <a:xfrm>
                <a:off x="4595437" y="3598775"/>
                <a:ext cx="37776" cy="32451"/>
                <a:chOff x="4595437" y="3598775"/>
                <a:chExt cx="37776" cy="32451"/>
              </a:xfrm>
            </p:grpSpPr>
            <p:sp>
              <p:nvSpPr>
                <p:cNvPr id="4175" name="Google Shape;4175;p66"/>
                <p:cNvSpPr/>
                <p:nvPr/>
              </p:nvSpPr>
              <p:spPr>
                <a:xfrm>
                  <a:off x="4595437" y="3598775"/>
                  <a:ext cx="37776" cy="32451"/>
                </a:xfrm>
                <a:custGeom>
                  <a:avLst/>
                  <a:gdLst/>
                  <a:ahLst/>
                  <a:cxnLst/>
                  <a:rect l="l" t="t" r="r" b="b"/>
                  <a:pathLst>
                    <a:path w="4803" h="4126" extrusionOk="0">
                      <a:moveTo>
                        <a:pt x="2730" y="0"/>
                      </a:moveTo>
                      <a:cubicBezTo>
                        <a:pt x="2226" y="0"/>
                        <a:pt x="1712" y="187"/>
                        <a:pt x="1295" y="605"/>
                      </a:cubicBezTo>
                      <a:cubicBezTo>
                        <a:pt x="0" y="1900"/>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6" name="Google Shape;4176;p66"/>
                <p:cNvSpPr/>
                <p:nvPr/>
              </p:nvSpPr>
              <p:spPr>
                <a:xfrm>
                  <a:off x="4610561" y="3608480"/>
                  <a:ext cx="13040" cy="13040"/>
                </a:xfrm>
                <a:custGeom>
                  <a:avLst/>
                  <a:gdLst/>
                  <a:ahLst/>
                  <a:cxnLst/>
                  <a:rect l="l" t="t" r="r" b="b"/>
                  <a:pathLst>
                    <a:path w="1658" h="1658" extrusionOk="0">
                      <a:moveTo>
                        <a:pt x="835" y="0"/>
                      </a:moveTo>
                      <a:cubicBezTo>
                        <a:pt x="376" y="0"/>
                        <a:pt x="1" y="375"/>
                        <a:pt x="1" y="835"/>
                      </a:cubicBezTo>
                      <a:cubicBezTo>
                        <a:pt x="1" y="1283"/>
                        <a:pt x="376" y="1658"/>
                        <a:pt x="835" y="1658"/>
                      </a:cubicBezTo>
                      <a:cubicBezTo>
                        <a:pt x="1283" y="1658"/>
                        <a:pt x="1658" y="1283"/>
                        <a:pt x="1658" y="835"/>
                      </a:cubicBezTo>
                      <a:cubicBezTo>
                        <a:pt x="1658" y="375"/>
                        <a:pt x="1283"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77" name="Google Shape;4177;p66"/>
              <p:cNvGrpSpPr/>
              <p:nvPr/>
            </p:nvGrpSpPr>
            <p:grpSpPr>
              <a:xfrm>
                <a:off x="4641864" y="3524443"/>
                <a:ext cx="37776" cy="32380"/>
                <a:chOff x="4641864" y="3524443"/>
                <a:chExt cx="37776" cy="32380"/>
              </a:xfrm>
            </p:grpSpPr>
            <p:sp>
              <p:nvSpPr>
                <p:cNvPr id="4178" name="Google Shape;4178;p66"/>
                <p:cNvSpPr/>
                <p:nvPr/>
              </p:nvSpPr>
              <p:spPr>
                <a:xfrm>
                  <a:off x="4641864" y="3524443"/>
                  <a:ext cx="37776" cy="32380"/>
                </a:xfrm>
                <a:custGeom>
                  <a:avLst/>
                  <a:gdLst/>
                  <a:ahLst/>
                  <a:cxnLst/>
                  <a:rect l="l" t="t" r="r" b="b"/>
                  <a:pathLst>
                    <a:path w="4803" h="4117" extrusionOk="0">
                      <a:moveTo>
                        <a:pt x="2737" y="1"/>
                      </a:moveTo>
                      <a:cubicBezTo>
                        <a:pt x="2231" y="1"/>
                        <a:pt x="1715" y="189"/>
                        <a:pt x="1295" y="609"/>
                      </a:cubicBezTo>
                      <a:cubicBezTo>
                        <a:pt x="0" y="1903"/>
                        <a:pt x="908" y="4117"/>
                        <a:pt x="2746" y="4117"/>
                      </a:cubicBezTo>
                      <a:cubicBezTo>
                        <a:pt x="3884" y="4117"/>
                        <a:pt x="4803" y="3197"/>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79" name="Google Shape;4179;p66"/>
                <p:cNvSpPr/>
                <p:nvPr/>
              </p:nvSpPr>
              <p:spPr>
                <a:xfrm>
                  <a:off x="4656988" y="3534077"/>
                  <a:ext cx="13048" cy="13040"/>
                </a:xfrm>
                <a:custGeom>
                  <a:avLst/>
                  <a:gdLst/>
                  <a:ahLst/>
                  <a:cxnLst/>
                  <a:rect l="l" t="t" r="r" b="b"/>
                  <a:pathLst>
                    <a:path w="1659" h="1658" extrusionOk="0">
                      <a:moveTo>
                        <a:pt x="823" y="1"/>
                      </a:moveTo>
                      <a:cubicBezTo>
                        <a:pt x="376" y="1"/>
                        <a:pt x="1" y="376"/>
                        <a:pt x="1" y="835"/>
                      </a:cubicBezTo>
                      <a:cubicBezTo>
                        <a:pt x="1" y="1295"/>
                        <a:pt x="376"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80" name="Google Shape;4180;p66"/>
              <p:cNvGrpSpPr/>
              <p:nvPr/>
            </p:nvGrpSpPr>
            <p:grpSpPr>
              <a:xfrm>
                <a:off x="4648431" y="3893901"/>
                <a:ext cx="37776" cy="32357"/>
                <a:chOff x="4648431" y="3893901"/>
                <a:chExt cx="37776" cy="32357"/>
              </a:xfrm>
            </p:grpSpPr>
            <p:sp>
              <p:nvSpPr>
                <p:cNvPr id="4181" name="Google Shape;4181;p66"/>
                <p:cNvSpPr/>
                <p:nvPr/>
              </p:nvSpPr>
              <p:spPr>
                <a:xfrm>
                  <a:off x="4648431" y="3893901"/>
                  <a:ext cx="37776" cy="32357"/>
                </a:xfrm>
                <a:custGeom>
                  <a:avLst/>
                  <a:gdLst/>
                  <a:ahLst/>
                  <a:cxnLst/>
                  <a:rect l="l" t="t" r="r" b="b"/>
                  <a:pathLst>
                    <a:path w="4803" h="4114" extrusionOk="0">
                      <a:moveTo>
                        <a:pt x="2732" y="0"/>
                      </a:moveTo>
                      <a:cubicBezTo>
                        <a:pt x="2227" y="0"/>
                        <a:pt x="1713" y="187"/>
                        <a:pt x="1295" y="605"/>
                      </a:cubicBezTo>
                      <a:cubicBezTo>
                        <a:pt x="0" y="1900"/>
                        <a:pt x="920" y="4113"/>
                        <a:pt x="2746" y="4113"/>
                      </a:cubicBezTo>
                      <a:cubicBezTo>
                        <a:pt x="3883" y="4113"/>
                        <a:pt x="4803" y="3194"/>
                        <a:pt x="4803" y="2057"/>
                      </a:cubicBezTo>
                      <a:cubicBezTo>
                        <a:pt x="4803" y="821"/>
                        <a:pt x="3788"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2" name="Google Shape;4182;p66"/>
                <p:cNvSpPr/>
                <p:nvPr/>
              </p:nvSpPr>
              <p:spPr>
                <a:xfrm>
                  <a:off x="4663556" y="3903606"/>
                  <a:ext cx="13040" cy="13040"/>
                </a:xfrm>
                <a:custGeom>
                  <a:avLst/>
                  <a:gdLst/>
                  <a:ahLst/>
                  <a:cxnLst/>
                  <a:rect l="l" t="t" r="r" b="b"/>
                  <a:pathLst>
                    <a:path w="1658" h="1658" extrusionOk="0">
                      <a:moveTo>
                        <a:pt x="823" y="0"/>
                      </a:moveTo>
                      <a:cubicBezTo>
                        <a:pt x="363" y="0"/>
                        <a:pt x="1" y="375"/>
                        <a:pt x="1" y="823"/>
                      </a:cubicBezTo>
                      <a:cubicBezTo>
                        <a:pt x="1" y="1283"/>
                        <a:pt x="363"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83" name="Google Shape;4183;p66"/>
              <p:cNvGrpSpPr/>
              <p:nvPr/>
            </p:nvGrpSpPr>
            <p:grpSpPr>
              <a:xfrm>
                <a:off x="4567752" y="3722908"/>
                <a:ext cx="37870" cy="32380"/>
                <a:chOff x="4567752" y="3722908"/>
                <a:chExt cx="37870" cy="32380"/>
              </a:xfrm>
            </p:grpSpPr>
            <p:sp>
              <p:nvSpPr>
                <p:cNvPr id="4184" name="Google Shape;4184;p66"/>
                <p:cNvSpPr/>
                <p:nvPr/>
              </p:nvSpPr>
              <p:spPr>
                <a:xfrm>
                  <a:off x="4567752" y="3722908"/>
                  <a:ext cx="37870" cy="32380"/>
                </a:xfrm>
                <a:custGeom>
                  <a:avLst/>
                  <a:gdLst/>
                  <a:ahLst/>
                  <a:cxnLst/>
                  <a:rect l="l" t="t" r="r" b="b"/>
                  <a:pathLst>
                    <a:path w="4815" h="4117" extrusionOk="0">
                      <a:moveTo>
                        <a:pt x="2749" y="1"/>
                      </a:moveTo>
                      <a:cubicBezTo>
                        <a:pt x="2243" y="1"/>
                        <a:pt x="1726" y="189"/>
                        <a:pt x="1307" y="609"/>
                      </a:cubicBezTo>
                      <a:cubicBezTo>
                        <a:pt x="0" y="1903"/>
                        <a:pt x="919" y="4117"/>
                        <a:pt x="2758" y="4117"/>
                      </a:cubicBezTo>
                      <a:cubicBezTo>
                        <a:pt x="3895" y="4117"/>
                        <a:pt x="4815" y="3197"/>
                        <a:pt x="4815" y="2060"/>
                      </a:cubicBezTo>
                      <a:cubicBezTo>
                        <a:pt x="4815" y="818"/>
                        <a:pt x="3804" y="1"/>
                        <a:pt x="274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5" name="Google Shape;4185;p66"/>
                <p:cNvSpPr/>
                <p:nvPr/>
              </p:nvSpPr>
              <p:spPr>
                <a:xfrm>
                  <a:off x="4580690" y="3732543"/>
                  <a:ext cx="15227" cy="13064"/>
                </a:xfrm>
                <a:custGeom>
                  <a:avLst/>
                  <a:gdLst/>
                  <a:ahLst/>
                  <a:cxnLst/>
                  <a:rect l="l" t="t" r="r" b="b"/>
                  <a:pathLst>
                    <a:path w="1936" h="1661" extrusionOk="0">
                      <a:moveTo>
                        <a:pt x="1113" y="0"/>
                      </a:moveTo>
                      <a:cubicBezTo>
                        <a:pt x="375" y="0"/>
                        <a:pt x="0" y="896"/>
                        <a:pt x="520" y="1416"/>
                      </a:cubicBezTo>
                      <a:cubicBezTo>
                        <a:pt x="689" y="1585"/>
                        <a:pt x="898" y="1661"/>
                        <a:pt x="1103" y="1661"/>
                      </a:cubicBezTo>
                      <a:cubicBezTo>
                        <a:pt x="1528" y="1661"/>
                        <a:pt x="1936" y="1333"/>
                        <a:pt x="1936" y="835"/>
                      </a:cubicBezTo>
                      <a:cubicBezTo>
                        <a:pt x="1936" y="375"/>
                        <a:pt x="1573"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86" name="Google Shape;4186;p66"/>
              <p:cNvGrpSpPr/>
              <p:nvPr/>
            </p:nvGrpSpPr>
            <p:grpSpPr>
              <a:xfrm>
                <a:off x="4617506" y="3652052"/>
                <a:ext cx="37783" cy="32357"/>
                <a:chOff x="4617506" y="3652052"/>
                <a:chExt cx="37783" cy="32357"/>
              </a:xfrm>
            </p:grpSpPr>
            <p:sp>
              <p:nvSpPr>
                <p:cNvPr id="4187" name="Google Shape;4187;p66"/>
                <p:cNvSpPr/>
                <p:nvPr/>
              </p:nvSpPr>
              <p:spPr>
                <a:xfrm>
                  <a:off x="4617506" y="3652052"/>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88" name="Google Shape;4188;p66"/>
                <p:cNvSpPr/>
                <p:nvPr/>
              </p:nvSpPr>
              <p:spPr>
                <a:xfrm>
                  <a:off x="4632638" y="3661758"/>
                  <a:ext cx="13040" cy="13040"/>
                </a:xfrm>
                <a:custGeom>
                  <a:avLst/>
                  <a:gdLst/>
                  <a:ahLst/>
                  <a:cxnLst/>
                  <a:rect l="l" t="t" r="r" b="b"/>
                  <a:pathLst>
                    <a:path w="1658" h="1658" extrusionOk="0">
                      <a:moveTo>
                        <a:pt x="823" y="1"/>
                      </a:moveTo>
                      <a:cubicBezTo>
                        <a:pt x="363" y="1"/>
                        <a:pt x="0" y="363"/>
                        <a:pt x="0" y="823"/>
                      </a:cubicBezTo>
                      <a:cubicBezTo>
                        <a:pt x="0" y="1283"/>
                        <a:pt x="363" y="1658"/>
                        <a:pt x="823" y="1658"/>
                      </a:cubicBezTo>
                      <a:cubicBezTo>
                        <a:pt x="1282" y="1658"/>
                        <a:pt x="1657" y="1283"/>
                        <a:pt x="1657" y="823"/>
                      </a:cubicBezTo>
                      <a:cubicBezTo>
                        <a:pt x="1657" y="363"/>
                        <a:pt x="1282"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89" name="Google Shape;4189;p66"/>
              <p:cNvGrpSpPr/>
              <p:nvPr/>
            </p:nvGrpSpPr>
            <p:grpSpPr>
              <a:xfrm>
                <a:off x="4739005" y="3554149"/>
                <a:ext cx="37870" cy="32357"/>
                <a:chOff x="4739005" y="3554149"/>
                <a:chExt cx="37870" cy="32357"/>
              </a:xfrm>
            </p:grpSpPr>
            <p:sp>
              <p:nvSpPr>
                <p:cNvPr id="4190" name="Google Shape;4190;p66"/>
                <p:cNvSpPr/>
                <p:nvPr/>
              </p:nvSpPr>
              <p:spPr>
                <a:xfrm>
                  <a:off x="4739005" y="3554149"/>
                  <a:ext cx="37870" cy="32357"/>
                </a:xfrm>
                <a:custGeom>
                  <a:avLst/>
                  <a:gdLst/>
                  <a:ahLst/>
                  <a:cxnLst/>
                  <a:rect l="l" t="t" r="r" b="b"/>
                  <a:pathLst>
                    <a:path w="4815" h="4114" extrusionOk="0">
                      <a:moveTo>
                        <a:pt x="2744" y="1"/>
                      </a:moveTo>
                      <a:cubicBezTo>
                        <a:pt x="2239" y="1"/>
                        <a:pt x="1725" y="188"/>
                        <a:pt x="1307" y="606"/>
                      </a:cubicBezTo>
                      <a:cubicBezTo>
                        <a:pt x="0" y="1900"/>
                        <a:pt x="920" y="4114"/>
                        <a:pt x="2758" y="4114"/>
                      </a:cubicBezTo>
                      <a:cubicBezTo>
                        <a:pt x="3895" y="4114"/>
                        <a:pt x="4815" y="3195"/>
                        <a:pt x="4815" y="2058"/>
                      </a:cubicBezTo>
                      <a:cubicBezTo>
                        <a:pt x="4815" y="821"/>
                        <a:pt x="3801" y="1"/>
                        <a:pt x="274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1" name="Google Shape;4191;p66"/>
                <p:cNvSpPr/>
                <p:nvPr/>
              </p:nvSpPr>
              <p:spPr>
                <a:xfrm>
                  <a:off x="4751943" y="3563854"/>
                  <a:ext cx="15227" cy="13048"/>
                </a:xfrm>
                <a:custGeom>
                  <a:avLst/>
                  <a:gdLst/>
                  <a:ahLst/>
                  <a:cxnLst/>
                  <a:rect l="l" t="t" r="r" b="b"/>
                  <a:pathLst>
                    <a:path w="1936" h="1659" extrusionOk="0">
                      <a:moveTo>
                        <a:pt x="1113" y="1"/>
                      </a:moveTo>
                      <a:cubicBezTo>
                        <a:pt x="375" y="1"/>
                        <a:pt x="0" y="896"/>
                        <a:pt x="521" y="1416"/>
                      </a:cubicBezTo>
                      <a:cubicBezTo>
                        <a:pt x="692" y="1583"/>
                        <a:pt x="899" y="1658"/>
                        <a:pt x="1101" y="1658"/>
                      </a:cubicBezTo>
                      <a:cubicBezTo>
                        <a:pt x="1529" y="1658"/>
                        <a:pt x="1936" y="1324"/>
                        <a:pt x="1936" y="824"/>
                      </a:cubicBezTo>
                      <a:cubicBezTo>
                        <a:pt x="1936" y="364"/>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92" name="Google Shape;4192;p66"/>
              <p:cNvGrpSpPr/>
              <p:nvPr/>
            </p:nvGrpSpPr>
            <p:grpSpPr>
              <a:xfrm>
                <a:off x="4806557" y="3630258"/>
                <a:ext cx="37776" cy="32364"/>
                <a:chOff x="4806557" y="3630258"/>
                <a:chExt cx="37776" cy="32364"/>
              </a:xfrm>
            </p:grpSpPr>
            <p:sp>
              <p:nvSpPr>
                <p:cNvPr id="4193" name="Google Shape;4193;p66"/>
                <p:cNvSpPr/>
                <p:nvPr/>
              </p:nvSpPr>
              <p:spPr>
                <a:xfrm>
                  <a:off x="4806557" y="3630258"/>
                  <a:ext cx="37776" cy="32364"/>
                </a:xfrm>
                <a:custGeom>
                  <a:avLst/>
                  <a:gdLst/>
                  <a:ahLst/>
                  <a:cxnLst/>
                  <a:rect l="l" t="t" r="r" b="b"/>
                  <a:pathLst>
                    <a:path w="4803" h="4115" extrusionOk="0">
                      <a:moveTo>
                        <a:pt x="2732" y="1"/>
                      </a:moveTo>
                      <a:cubicBezTo>
                        <a:pt x="2227" y="1"/>
                        <a:pt x="1713" y="188"/>
                        <a:pt x="1294" y="606"/>
                      </a:cubicBezTo>
                      <a:cubicBezTo>
                        <a:pt x="0" y="1901"/>
                        <a:pt x="907" y="4114"/>
                        <a:pt x="2746" y="4114"/>
                      </a:cubicBezTo>
                      <a:cubicBezTo>
                        <a:pt x="3883" y="4114"/>
                        <a:pt x="4802" y="3195"/>
                        <a:pt x="4802" y="2058"/>
                      </a:cubicBezTo>
                      <a:cubicBezTo>
                        <a:pt x="4802" y="822"/>
                        <a:pt x="3788"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4" name="Google Shape;4194;p66"/>
                <p:cNvSpPr/>
                <p:nvPr/>
              </p:nvSpPr>
              <p:spPr>
                <a:xfrm>
                  <a:off x="4819495" y="3639972"/>
                  <a:ext cx="15227" cy="13040"/>
                </a:xfrm>
                <a:custGeom>
                  <a:avLst/>
                  <a:gdLst/>
                  <a:ahLst/>
                  <a:cxnLst/>
                  <a:rect l="l" t="t" r="r" b="b"/>
                  <a:pathLst>
                    <a:path w="1936" h="1658" extrusionOk="0">
                      <a:moveTo>
                        <a:pt x="1113" y="0"/>
                      </a:moveTo>
                      <a:cubicBezTo>
                        <a:pt x="363" y="0"/>
                        <a:pt x="0" y="896"/>
                        <a:pt x="520" y="1416"/>
                      </a:cubicBezTo>
                      <a:cubicBezTo>
                        <a:pt x="687" y="1583"/>
                        <a:pt x="893" y="1657"/>
                        <a:pt x="1096" y="1657"/>
                      </a:cubicBezTo>
                      <a:cubicBezTo>
                        <a:pt x="1523" y="1657"/>
                        <a:pt x="1936" y="1324"/>
                        <a:pt x="1936" y="823"/>
                      </a:cubicBezTo>
                      <a:cubicBezTo>
                        <a:pt x="1936" y="363"/>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95" name="Google Shape;4195;p66"/>
              <p:cNvGrpSpPr/>
              <p:nvPr/>
            </p:nvGrpSpPr>
            <p:grpSpPr>
              <a:xfrm>
                <a:off x="4737007" y="4004357"/>
                <a:ext cx="37870" cy="32357"/>
                <a:chOff x="4737007" y="4004357"/>
                <a:chExt cx="37870" cy="32357"/>
              </a:xfrm>
            </p:grpSpPr>
            <p:sp>
              <p:nvSpPr>
                <p:cNvPr id="4196" name="Google Shape;4196;p66"/>
                <p:cNvSpPr/>
                <p:nvPr/>
              </p:nvSpPr>
              <p:spPr>
                <a:xfrm>
                  <a:off x="4737007" y="4004357"/>
                  <a:ext cx="37870" cy="32357"/>
                </a:xfrm>
                <a:custGeom>
                  <a:avLst/>
                  <a:gdLst/>
                  <a:ahLst/>
                  <a:cxnLst/>
                  <a:rect l="l" t="t" r="r" b="b"/>
                  <a:pathLst>
                    <a:path w="4815" h="4114" extrusionOk="0">
                      <a:moveTo>
                        <a:pt x="2740" y="0"/>
                      </a:moveTo>
                      <a:cubicBezTo>
                        <a:pt x="2234" y="0"/>
                        <a:pt x="1717" y="187"/>
                        <a:pt x="1295" y="606"/>
                      </a:cubicBezTo>
                      <a:cubicBezTo>
                        <a:pt x="0" y="1900"/>
                        <a:pt x="920" y="4114"/>
                        <a:pt x="2758" y="4114"/>
                      </a:cubicBezTo>
                      <a:cubicBezTo>
                        <a:pt x="3895" y="4114"/>
                        <a:pt x="4803" y="3194"/>
                        <a:pt x="4815" y="2057"/>
                      </a:cubicBezTo>
                      <a:cubicBezTo>
                        <a:pt x="4815" y="821"/>
                        <a:pt x="3801" y="0"/>
                        <a:pt x="274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197" name="Google Shape;4197;p66"/>
                <p:cNvSpPr/>
                <p:nvPr/>
              </p:nvSpPr>
              <p:spPr>
                <a:xfrm>
                  <a:off x="4752131" y="4014062"/>
                  <a:ext cx="13040" cy="13048"/>
                </a:xfrm>
                <a:custGeom>
                  <a:avLst/>
                  <a:gdLst/>
                  <a:ahLst/>
                  <a:cxnLst/>
                  <a:rect l="l" t="t" r="r" b="b"/>
                  <a:pathLst>
                    <a:path w="1658" h="1659" extrusionOk="0">
                      <a:moveTo>
                        <a:pt x="835" y="1"/>
                      </a:moveTo>
                      <a:cubicBezTo>
                        <a:pt x="376" y="1"/>
                        <a:pt x="1" y="364"/>
                        <a:pt x="1" y="823"/>
                      </a:cubicBezTo>
                      <a:cubicBezTo>
                        <a:pt x="1" y="1283"/>
                        <a:pt x="376" y="1658"/>
                        <a:pt x="835" y="1658"/>
                      </a:cubicBezTo>
                      <a:cubicBezTo>
                        <a:pt x="1295" y="1658"/>
                        <a:pt x="1658" y="1283"/>
                        <a:pt x="1658" y="823"/>
                      </a:cubicBezTo>
                      <a:cubicBezTo>
                        <a:pt x="1658" y="364"/>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198" name="Google Shape;4198;p66"/>
              <p:cNvGrpSpPr/>
              <p:nvPr/>
            </p:nvGrpSpPr>
            <p:grpSpPr>
              <a:xfrm>
                <a:off x="4773634" y="4208627"/>
                <a:ext cx="37776" cy="32357"/>
                <a:chOff x="4773634" y="4208627"/>
                <a:chExt cx="37776" cy="32357"/>
              </a:xfrm>
            </p:grpSpPr>
            <p:sp>
              <p:nvSpPr>
                <p:cNvPr id="4199" name="Google Shape;4199;p66"/>
                <p:cNvSpPr/>
                <p:nvPr/>
              </p:nvSpPr>
              <p:spPr>
                <a:xfrm>
                  <a:off x="4773634" y="4208627"/>
                  <a:ext cx="37776" cy="32357"/>
                </a:xfrm>
                <a:custGeom>
                  <a:avLst/>
                  <a:gdLst/>
                  <a:ahLst/>
                  <a:cxnLst/>
                  <a:rect l="l" t="t" r="r" b="b"/>
                  <a:pathLst>
                    <a:path w="4803" h="4114" extrusionOk="0">
                      <a:moveTo>
                        <a:pt x="2732" y="0"/>
                      </a:moveTo>
                      <a:cubicBezTo>
                        <a:pt x="2227" y="0"/>
                        <a:pt x="1713" y="187"/>
                        <a:pt x="1295" y="605"/>
                      </a:cubicBezTo>
                      <a:cubicBezTo>
                        <a:pt x="1" y="1900"/>
                        <a:pt x="920" y="4114"/>
                        <a:pt x="2746"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0" name="Google Shape;4200;p66"/>
                <p:cNvSpPr/>
                <p:nvPr/>
              </p:nvSpPr>
              <p:spPr>
                <a:xfrm>
                  <a:off x="4788664" y="4218332"/>
                  <a:ext cx="13048" cy="13040"/>
                </a:xfrm>
                <a:custGeom>
                  <a:avLst/>
                  <a:gdLst/>
                  <a:ahLst/>
                  <a:cxnLst/>
                  <a:rect l="l" t="t" r="r" b="b"/>
                  <a:pathLst>
                    <a:path w="1659"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01" name="Google Shape;4201;p66"/>
              <p:cNvGrpSpPr/>
              <p:nvPr/>
            </p:nvGrpSpPr>
            <p:grpSpPr>
              <a:xfrm>
                <a:off x="4888282" y="4074764"/>
                <a:ext cx="37776" cy="32451"/>
                <a:chOff x="4888282" y="4074764"/>
                <a:chExt cx="37776" cy="32451"/>
              </a:xfrm>
            </p:grpSpPr>
            <p:sp>
              <p:nvSpPr>
                <p:cNvPr id="4202" name="Google Shape;4202;p66"/>
                <p:cNvSpPr/>
                <p:nvPr/>
              </p:nvSpPr>
              <p:spPr>
                <a:xfrm>
                  <a:off x="4888282" y="4074764"/>
                  <a:ext cx="37776" cy="32451"/>
                </a:xfrm>
                <a:custGeom>
                  <a:avLst/>
                  <a:gdLst/>
                  <a:ahLst/>
                  <a:cxnLst/>
                  <a:rect l="l" t="t" r="r" b="b"/>
                  <a:pathLst>
                    <a:path w="4803" h="4126" extrusionOk="0">
                      <a:moveTo>
                        <a:pt x="2730" y="0"/>
                      </a:moveTo>
                      <a:cubicBezTo>
                        <a:pt x="2226" y="0"/>
                        <a:pt x="1712" y="187"/>
                        <a:pt x="1294" y="605"/>
                      </a:cubicBezTo>
                      <a:cubicBezTo>
                        <a:pt x="0" y="1912"/>
                        <a:pt x="919" y="4125"/>
                        <a:pt x="2746" y="4125"/>
                      </a:cubicBezTo>
                      <a:cubicBezTo>
                        <a:pt x="3883" y="4125"/>
                        <a:pt x="4803" y="3206"/>
                        <a:pt x="4803" y="2069"/>
                      </a:cubicBezTo>
                      <a:cubicBezTo>
                        <a:pt x="4803" y="824"/>
                        <a:pt x="3787"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3" name="Google Shape;4203;p66"/>
                <p:cNvSpPr/>
                <p:nvPr/>
              </p:nvSpPr>
              <p:spPr>
                <a:xfrm>
                  <a:off x="4901220" y="4084470"/>
                  <a:ext cx="15227" cy="13064"/>
                </a:xfrm>
                <a:custGeom>
                  <a:avLst/>
                  <a:gdLst/>
                  <a:ahLst/>
                  <a:cxnLst/>
                  <a:rect l="l" t="t" r="r" b="b"/>
                  <a:pathLst>
                    <a:path w="1936" h="1661" extrusionOk="0">
                      <a:moveTo>
                        <a:pt x="1101" y="0"/>
                      </a:moveTo>
                      <a:cubicBezTo>
                        <a:pt x="363" y="0"/>
                        <a:pt x="0" y="896"/>
                        <a:pt x="520" y="1416"/>
                      </a:cubicBezTo>
                      <a:cubicBezTo>
                        <a:pt x="689" y="1585"/>
                        <a:pt x="898" y="1660"/>
                        <a:pt x="1103" y="1660"/>
                      </a:cubicBezTo>
                      <a:cubicBezTo>
                        <a:pt x="1528" y="1660"/>
                        <a:pt x="1936" y="1333"/>
                        <a:pt x="1936" y="835"/>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04" name="Google Shape;4204;p66"/>
              <p:cNvGrpSpPr/>
              <p:nvPr/>
            </p:nvGrpSpPr>
            <p:grpSpPr>
              <a:xfrm>
                <a:off x="4901315" y="3804271"/>
                <a:ext cx="37776" cy="32364"/>
                <a:chOff x="4901315" y="3804271"/>
                <a:chExt cx="37776" cy="32364"/>
              </a:xfrm>
            </p:grpSpPr>
            <p:sp>
              <p:nvSpPr>
                <p:cNvPr id="4205" name="Google Shape;4205;p66"/>
                <p:cNvSpPr/>
                <p:nvPr/>
              </p:nvSpPr>
              <p:spPr>
                <a:xfrm>
                  <a:off x="4901315" y="3804271"/>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6" name="Google Shape;4206;p66"/>
                <p:cNvSpPr/>
                <p:nvPr/>
              </p:nvSpPr>
              <p:spPr>
                <a:xfrm>
                  <a:off x="4914253" y="3813985"/>
                  <a:ext cx="15235" cy="13040"/>
                </a:xfrm>
                <a:custGeom>
                  <a:avLst/>
                  <a:gdLst/>
                  <a:ahLst/>
                  <a:cxnLst/>
                  <a:rect l="l" t="t" r="r" b="b"/>
                  <a:pathLst>
                    <a:path w="1937" h="1658" extrusionOk="0">
                      <a:moveTo>
                        <a:pt x="1101" y="0"/>
                      </a:moveTo>
                      <a:cubicBezTo>
                        <a:pt x="363"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07" name="Google Shape;4207;p66"/>
              <p:cNvGrpSpPr/>
              <p:nvPr/>
            </p:nvGrpSpPr>
            <p:grpSpPr>
              <a:xfrm>
                <a:off x="4866394" y="3715035"/>
                <a:ext cx="37846" cy="32357"/>
                <a:chOff x="4866394" y="3715035"/>
                <a:chExt cx="37846" cy="32357"/>
              </a:xfrm>
            </p:grpSpPr>
            <p:sp>
              <p:nvSpPr>
                <p:cNvPr id="4208" name="Google Shape;4208;p66"/>
                <p:cNvSpPr/>
                <p:nvPr/>
              </p:nvSpPr>
              <p:spPr>
                <a:xfrm>
                  <a:off x="4866394" y="3715035"/>
                  <a:ext cx="37846" cy="32357"/>
                </a:xfrm>
                <a:custGeom>
                  <a:avLst/>
                  <a:gdLst/>
                  <a:ahLst/>
                  <a:cxnLst/>
                  <a:rect l="l" t="t" r="r" b="b"/>
                  <a:pathLst>
                    <a:path w="4812" h="4114" extrusionOk="0">
                      <a:moveTo>
                        <a:pt x="2735" y="0"/>
                      </a:moveTo>
                      <a:cubicBezTo>
                        <a:pt x="2229" y="0"/>
                        <a:pt x="1714" y="187"/>
                        <a:pt x="1295" y="606"/>
                      </a:cubicBezTo>
                      <a:cubicBezTo>
                        <a:pt x="1" y="1900"/>
                        <a:pt x="920" y="4114"/>
                        <a:pt x="2747" y="4114"/>
                      </a:cubicBezTo>
                      <a:cubicBezTo>
                        <a:pt x="3884" y="4114"/>
                        <a:pt x="4803" y="3194"/>
                        <a:pt x="4803" y="2057"/>
                      </a:cubicBezTo>
                      <a:cubicBezTo>
                        <a:pt x="4811" y="821"/>
                        <a:pt x="3794" y="0"/>
                        <a:pt x="273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09" name="Google Shape;4209;p66"/>
                <p:cNvSpPr/>
                <p:nvPr/>
              </p:nvSpPr>
              <p:spPr>
                <a:xfrm>
                  <a:off x="4879340" y="3724646"/>
                  <a:ext cx="15227" cy="13103"/>
                </a:xfrm>
                <a:custGeom>
                  <a:avLst/>
                  <a:gdLst/>
                  <a:ahLst/>
                  <a:cxnLst/>
                  <a:rect l="l" t="t" r="r" b="b"/>
                  <a:pathLst>
                    <a:path w="1936" h="1666" extrusionOk="0">
                      <a:moveTo>
                        <a:pt x="1101" y="0"/>
                      </a:moveTo>
                      <a:cubicBezTo>
                        <a:pt x="363" y="0"/>
                        <a:pt x="0" y="896"/>
                        <a:pt x="520" y="1416"/>
                      </a:cubicBezTo>
                      <a:cubicBezTo>
                        <a:pt x="689" y="1589"/>
                        <a:pt x="898" y="1666"/>
                        <a:pt x="1103" y="1666"/>
                      </a:cubicBezTo>
                      <a:cubicBezTo>
                        <a:pt x="1528" y="1666"/>
                        <a:pt x="1936" y="1333"/>
                        <a:pt x="1936" y="835"/>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10" name="Google Shape;4210;p66"/>
              <p:cNvGrpSpPr/>
              <p:nvPr/>
            </p:nvGrpSpPr>
            <p:grpSpPr>
              <a:xfrm>
                <a:off x="4979233" y="3839798"/>
                <a:ext cx="37878" cy="32420"/>
                <a:chOff x="4979233" y="3839798"/>
                <a:chExt cx="37878" cy="32420"/>
              </a:xfrm>
            </p:grpSpPr>
            <p:sp>
              <p:nvSpPr>
                <p:cNvPr id="4211" name="Google Shape;4211;p66"/>
                <p:cNvSpPr/>
                <p:nvPr/>
              </p:nvSpPr>
              <p:spPr>
                <a:xfrm>
                  <a:off x="4979233" y="3839798"/>
                  <a:ext cx="37878" cy="32420"/>
                </a:xfrm>
                <a:custGeom>
                  <a:avLst/>
                  <a:gdLst/>
                  <a:ahLst/>
                  <a:cxnLst/>
                  <a:rect l="l" t="t" r="r" b="b"/>
                  <a:pathLst>
                    <a:path w="4816" h="4122" extrusionOk="0">
                      <a:moveTo>
                        <a:pt x="2738" y="0"/>
                      </a:moveTo>
                      <a:cubicBezTo>
                        <a:pt x="2231" y="0"/>
                        <a:pt x="1715" y="190"/>
                        <a:pt x="1295" y="613"/>
                      </a:cubicBezTo>
                      <a:cubicBezTo>
                        <a:pt x="1" y="1908"/>
                        <a:pt x="920" y="4122"/>
                        <a:pt x="2759" y="4122"/>
                      </a:cubicBezTo>
                      <a:cubicBezTo>
                        <a:pt x="3884" y="4122"/>
                        <a:pt x="4803" y="3202"/>
                        <a:pt x="4815" y="2065"/>
                      </a:cubicBezTo>
                      <a:cubicBezTo>
                        <a:pt x="4807" y="823"/>
                        <a:pt x="3794"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2" name="Google Shape;4212;p66"/>
                <p:cNvSpPr/>
                <p:nvPr/>
              </p:nvSpPr>
              <p:spPr>
                <a:xfrm>
                  <a:off x="4994366" y="384947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13" name="Google Shape;4213;p66"/>
              <p:cNvGrpSpPr/>
              <p:nvPr/>
            </p:nvGrpSpPr>
            <p:grpSpPr>
              <a:xfrm>
                <a:off x="4790662" y="3679147"/>
                <a:ext cx="37783" cy="32380"/>
                <a:chOff x="4790662" y="3679147"/>
                <a:chExt cx="37783" cy="32380"/>
              </a:xfrm>
            </p:grpSpPr>
            <p:sp>
              <p:nvSpPr>
                <p:cNvPr id="4214" name="Google Shape;4214;p66"/>
                <p:cNvSpPr/>
                <p:nvPr/>
              </p:nvSpPr>
              <p:spPr>
                <a:xfrm>
                  <a:off x="4790662" y="3679147"/>
                  <a:ext cx="37783" cy="32380"/>
                </a:xfrm>
                <a:custGeom>
                  <a:avLst/>
                  <a:gdLst/>
                  <a:ahLst/>
                  <a:cxnLst/>
                  <a:rect l="l" t="t" r="r" b="b"/>
                  <a:pathLst>
                    <a:path w="4804" h="4117" extrusionOk="0">
                      <a:moveTo>
                        <a:pt x="2738" y="0"/>
                      </a:moveTo>
                      <a:cubicBezTo>
                        <a:pt x="2231" y="0"/>
                        <a:pt x="1715" y="188"/>
                        <a:pt x="1295" y="608"/>
                      </a:cubicBezTo>
                      <a:cubicBezTo>
                        <a:pt x="1" y="1902"/>
                        <a:pt x="908" y="4116"/>
                        <a:pt x="2747" y="4116"/>
                      </a:cubicBezTo>
                      <a:cubicBezTo>
                        <a:pt x="3884" y="4116"/>
                        <a:pt x="4803" y="3197"/>
                        <a:pt x="4803" y="2060"/>
                      </a:cubicBezTo>
                      <a:cubicBezTo>
                        <a:pt x="4803" y="817"/>
                        <a:pt x="3793"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5" name="Google Shape;4215;p66"/>
                <p:cNvSpPr/>
                <p:nvPr/>
              </p:nvSpPr>
              <p:spPr>
                <a:xfrm>
                  <a:off x="4803506" y="3688774"/>
                  <a:ext cx="15235" cy="13072"/>
                </a:xfrm>
                <a:custGeom>
                  <a:avLst/>
                  <a:gdLst/>
                  <a:ahLst/>
                  <a:cxnLst/>
                  <a:rect l="l" t="t" r="r" b="b"/>
                  <a:pathLst>
                    <a:path w="1937" h="1662" extrusionOk="0">
                      <a:moveTo>
                        <a:pt x="1114" y="1"/>
                      </a:moveTo>
                      <a:cubicBezTo>
                        <a:pt x="376" y="1"/>
                        <a:pt x="1" y="896"/>
                        <a:pt x="521" y="1416"/>
                      </a:cubicBezTo>
                      <a:cubicBezTo>
                        <a:pt x="694" y="1585"/>
                        <a:pt x="904" y="1661"/>
                        <a:pt x="1109" y="1661"/>
                      </a:cubicBezTo>
                      <a:cubicBezTo>
                        <a:pt x="1534" y="1661"/>
                        <a:pt x="1936" y="1334"/>
                        <a:pt x="1936" y="836"/>
                      </a:cubicBezTo>
                      <a:cubicBezTo>
                        <a:pt x="1936" y="376"/>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16" name="Google Shape;4216;p66"/>
              <p:cNvGrpSpPr/>
              <p:nvPr/>
            </p:nvGrpSpPr>
            <p:grpSpPr>
              <a:xfrm>
                <a:off x="4857263" y="3557861"/>
                <a:ext cx="37776" cy="32357"/>
                <a:chOff x="4857263" y="3557861"/>
                <a:chExt cx="37776" cy="32357"/>
              </a:xfrm>
            </p:grpSpPr>
            <p:sp>
              <p:nvSpPr>
                <p:cNvPr id="4217" name="Google Shape;4217;p66"/>
                <p:cNvSpPr/>
                <p:nvPr/>
              </p:nvSpPr>
              <p:spPr>
                <a:xfrm>
                  <a:off x="4857263" y="3557861"/>
                  <a:ext cx="37776" cy="32357"/>
                </a:xfrm>
                <a:custGeom>
                  <a:avLst/>
                  <a:gdLst/>
                  <a:ahLst/>
                  <a:cxnLst/>
                  <a:rect l="l" t="t" r="r" b="b"/>
                  <a:pathLst>
                    <a:path w="4803" h="4114" extrusionOk="0">
                      <a:moveTo>
                        <a:pt x="2732" y="0"/>
                      </a:moveTo>
                      <a:cubicBezTo>
                        <a:pt x="2228" y="0"/>
                        <a:pt x="1713" y="187"/>
                        <a:pt x="1295" y="606"/>
                      </a:cubicBezTo>
                      <a:cubicBezTo>
                        <a:pt x="1" y="1900"/>
                        <a:pt x="908"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18" name="Google Shape;4218;p66"/>
                <p:cNvSpPr/>
                <p:nvPr/>
              </p:nvSpPr>
              <p:spPr>
                <a:xfrm>
                  <a:off x="4870106" y="3567566"/>
                  <a:ext cx="15329" cy="13040"/>
                </a:xfrm>
                <a:custGeom>
                  <a:avLst/>
                  <a:gdLst/>
                  <a:ahLst/>
                  <a:cxnLst/>
                  <a:rect l="l" t="t" r="r" b="b"/>
                  <a:pathLst>
                    <a:path w="1949" h="1658" extrusionOk="0">
                      <a:moveTo>
                        <a:pt x="1114" y="1"/>
                      </a:moveTo>
                      <a:cubicBezTo>
                        <a:pt x="376" y="1"/>
                        <a:pt x="1" y="896"/>
                        <a:pt x="533" y="1416"/>
                      </a:cubicBezTo>
                      <a:cubicBezTo>
                        <a:pt x="700" y="1583"/>
                        <a:pt x="905" y="1658"/>
                        <a:pt x="1105" y="1658"/>
                      </a:cubicBezTo>
                      <a:cubicBezTo>
                        <a:pt x="1529" y="1658"/>
                        <a:pt x="1936" y="1324"/>
                        <a:pt x="1936" y="823"/>
                      </a:cubicBezTo>
                      <a:cubicBezTo>
                        <a:pt x="1948" y="364"/>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19" name="Google Shape;4219;p66"/>
              <p:cNvGrpSpPr/>
              <p:nvPr/>
            </p:nvGrpSpPr>
            <p:grpSpPr>
              <a:xfrm>
                <a:off x="4883902" y="3648033"/>
                <a:ext cx="37783" cy="32380"/>
                <a:chOff x="4883902" y="3648033"/>
                <a:chExt cx="37783" cy="32380"/>
              </a:xfrm>
            </p:grpSpPr>
            <p:sp>
              <p:nvSpPr>
                <p:cNvPr id="4220" name="Google Shape;4220;p66"/>
                <p:cNvSpPr/>
                <p:nvPr/>
              </p:nvSpPr>
              <p:spPr>
                <a:xfrm>
                  <a:off x="4883902" y="3648033"/>
                  <a:ext cx="37783" cy="32380"/>
                </a:xfrm>
                <a:custGeom>
                  <a:avLst/>
                  <a:gdLst/>
                  <a:ahLst/>
                  <a:cxnLst/>
                  <a:rect l="l" t="t" r="r" b="b"/>
                  <a:pathLst>
                    <a:path w="4804" h="4117" extrusionOk="0">
                      <a:moveTo>
                        <a:pt x="2731" y="0"/>
                      </a:moveTo>
                      <a:cubicBezTo>
                        <a:pt x="2226" y="0"/>
                        <a:pt x="1711" y="188"/>
                        <a:pt x="1295" y="608"/>
                      </a:cubicBezTo>
                      <a:cubicBezTo>
                        <a:pt x="1" y="1903"/>
                        <a:pt x="920" y="4104"/>
                        <a:pt x="2747" y="4116"/>
                      </a:cubicBezTo>
                      <a:cubicBezTo>
                        <a:pt x="3884" y="4104"/>
                        <a:pt x="4803" y="3185"/>
                        <a:pt x="4803" y="2048"/>
                      </a:cubicBezTo>
                      <a:cubicBezTo>
                        <a:pt x="4795" y="814"/>
                        <a:pt x="3783" y="0"/>
                        <a:pt x="27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1" name="Google Shape;4221;p66"/>
                <p:cNvSpPr/>
                <p:nvPr/>
              </p:nvSpPr>
              <p:spPr>
                <a:xfrm>
                  <a:off x="4896745" y="3657668"/>
                  <a:ext cx="15329" cy="13009"/>
                </a:xfrm>
                <a:custGeom>
                  <a:avLst/>
                  <a:gdLst/>
                  <a:ahLst/>
                  <a:cxnLst/>
                  <a:rect l="l" t="t" r="r" b="b"/>
                  <a:pathLst>
                    <a:path w="1949" h="1654" extrusionOk="0">
                      <a:moveTo>
                        <a:pt x="1114" y="0"/>
                      </a:moveTo>
                      <a:cubicBezTo>
                        <a:pt x="376" y="0"/>
                        <a:pt x="1" y="883"/>
                        <a:pt x="533" y="1404"/>
                      </a:cubicBezTo>
                      <a:cubicBezTo>
                        <a:pt x="702" y="1577"/>
                        <a:pt x="911" y="1654"/>
                        <a:pt x="1115" y="1654"/>
                      </a:cubicBezTo>
                      <a:cubicBezTo>
                        <a:pt x="1541" y="1654"/>
                        <a:pt x="1948" y="1321"/>
                        <a:pt x="1948" y="823"/>
                      </a:cubicBezTo>
                      <a:cubicBezTo>
                        <a:pt x="1948" y="363"/>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22" name="Google Shape;4222;p66"/>
              <p:cNvGrpSpPr/>
              <p:nvPr/>
            </p:nvGrpSpPr>
            <p:grpSpPr>
              <a:xfrm>
                <a:off x="4907780" y="3347220"/>
                <a:ext cx="37878" cy="32357"/>
                <a:chOff x="4907780" y="3347220"/>
                <a:chExt cx="37878" cy="32357"/>
              </a:xfrm>
            </p:grpSpPr>
            <p:sp>
              <p:nvSpPr>
                <p:cNvPr id="4223" name="Google Shape;4223;p66"/>
                <p:cNvSpPr/>
                <p:nvPr/>
              </p:nvSpPr>
              <p:spPr>
                <a:xfrm>
                  <a:off x="4907780" y="3347220"/>
                  <a:ext cx="37878" cy="32357"/>
                </a:xfrm>
                <a:custGeom>
                  <a:avLst/>
                  <a:gdLst/>
                  <a:ahLst/>
                  <a:cxnLst/>
                  <a:rect l="l" t="t" r="r" b="b"/>
                  <a:pathLst>
                    <a:path w="4816" h="4114" extrusionOk="0">
                      <a:moveTo>
                        <a:pt x="2733" y="0"/>
                      </a:moveTo>
                      <a:cubicBezTo>
                        <a:pt x="2228" y="0"/>
                        <a:pt x="1714" y="187"/>
                        <a:pt x="1295" y="606"/>
                      </a:cubicBezTo>
                      <a:cubicBezTo>
                        <a:pt x="1" y="1900"/>
                        <a:pt x="920" y="4114"/>
                        <a:pt x="2759" y="4114"/>
                      </a:cubicBezTo>
                      <a:cubicBezTo>
                        <a:pt x="3884" y="4114"/>
                        <a:pt x="4803" y="3194"/>
                        <a:pt x="4815" y="2057"/>
                      </a:cubicBezTo>
                      <a:cubicBezTo>
                        <a:pt x="4807" y="821"/>
                        <a:pt x="3791" y="0"/>
                        <a:pt x="273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4" name="Google Shape;4224;p66"/>
                <p:cNvSpPr/>
                <p:nvPr/>
              </p:nvSpPr>
              <p:spPr>
                <a:xfrm>
                  <a:off x="4922912" y="3356926"/>
                  <a:ext cx="13040" cy="13040"/>
                </a:xfrm>
                <a:custGeom>
                  <a:avLst/>
                  <a:gdLst/>
                  <a:ahLst/>
                  <a:cxnLst/>
                  <a:rect l="l" t="t" r="r" b="b"/>
                  <a:pathLst>
                    <a:path w="1658" h="1658" extrusionOk="0">
                      <a:moveTo>
                        <a:pt x="835" y="1"/>
                      </a:moveTo>
                      <a:cubicBezTo>
                        <a:pt x="375" y="1"/>
                        <a:pt x="0" y="363"/>
                        <a:pt x="0" y="823"/>
                      </a:cubicBezTo>
                      <a:cubicBezTo>
                        <a:pt x="0" y="1283"/>
                        <a:pt x="375" y="1658"/>
                        <a:pt x="835" y="1658"/>
                      </a:cubicBezTo>
                      <a:cubicBezTo>
                        <a:pt x="1283" y="1658"/>
                        <a:pt x="1658" y="1283"/>
                        <a:pt x="1658" y="823"/>
                      </a:cubicBezTo>
                      <a:cubicBezTo>
                        <a:pt x="1658" y="363"/>
                        <a:pt x="1283"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25" name="Google Shape;4225;p66"/>
              <p:cNvGrpSpPr/>
              <p:nvPr/>
            </p:nvGrpSpPr>
            <p:grpSpPr>
              <a:xfrm>
                <a:off x="5065048" y="3738150"/>
                <a:ext cx="37783" cy="32364"/>
                <a:chOff x="5065048" y="3738150"/>
                <a:chExt cx="37783" cy="32364"/>
              </a:xfrm>
            </p:grpSpPr>
            <p:sp>
              <p:nvSpPr>
                <p:cNvPr id="4226" name="Google Shape;4226;p66"/>
                <p:cNvSpPr/>
                <p:nvPr/>
              </p:nvSpPr>
              <p:spPr>
                <a:xfrm>
                  <a:off x="5065048" y="3738150"/>
                  <a:ext cx="37783" cy="32364"/>
                </a:xfrm>
                <a:custGeom>
                  <a:avLst/>
                  <a:gdLst/>
                  <a:ahLst/>
                  <a:cxnLst/>
                  <a:rect l="l" t="t" r="r" b="b"/>
                  <a:pathLst>
                    <a:path w="4804" h="4115" extrusionOk="0">
                      <a:moveTo>
                        <a:pt x="2732" y="1"/>
                      </a:moveTo>
                      <a:cubicBezTo>
                        <a:pt x="2228" y="1"/>
                        <a:pt x="1714"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27" name="Google Shape;4227;p66"/>
                <p:cNvSpPr/>
                <p:nvPr/>
              </p:nvSpPr>
              <p:spPr>
                <a:xfrm>
                  <a:off x="5077994" y="3747761"/>
                  <a:ext cx="15227" cy="13072"/>
                </a:xfrm>
                <a:custGeom>
                  <a:avLst/>
                  <a:gdLst/>
                  <a:ahLst/>
                  <a:cxnLst/>
                  <a:rect l="l" t="t" r="r" b="b"/>
                  <a:pathLst>
                    <a:path w="1936" h="1662" extrusionOk="0">
                      <a:moveTo>
                        <a:pt x="1101" y="1"/>
                      </a:moveTo>
                      <a:cubicBezTo>
                        <a:pt x="363" y="1"/>
                        <a:pt x="0" y="896"/>
                        <a:pt x="520" y="1416"/>
                      </a:cubicBezTo>
                      <a:cubicBezTo>
                        <a:pt x="689" y="1585"/>
                        <a:pt x="898" y="1661"/>
                        <a:pt x="1102" y="1661"/>
                      </a:cubicBezTo>
                      <a:cubicBezTo>
                        <a:pt x="1528" y="1661"/>
                        <a:pt x="1936" y="1334"/>
                        <a:pt x="1936" y="836"/>
                      </a:cubicBezTo>
                      <a:cubicBezTo>
                        <a:pt x="1936" y="376"/>
                        <a:pt x="1561" y="1"/>
                        <a:pt x="110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28" name="Google Shape;4228;p66"/>
              <p:cNvGrpSpPr/>
              <p:nvPr/>
            </p:nvGrpSpPr>
            <p:grpSpPr>
              <a:xfrm>
                <a:off x="5071616" y="3284615"/>
                <a:ext cx="37783" cy="32357"/>
                <a:chOff x="5071616" y="3284615"/>
                <a:chExt cx="37783" cy="32357"/>
              </a:xfrm>
            </p:grpSpPr>
            <p:sp>
              <p:nvSpPr>
                <p:cNvPr id="4229" name="Google Shape;4229;p66"/>
                <p:cNvSpPr/>
                <p:nvPr/>
              </p:nvSpPr>
              <p:spPr>
                <a:xfrm>
                  <a:off x="5071616" y="3284615"/>
                  <a:ext cx="37783" cy="32357"/>
                </a:xfrm>
                <a:custGeom>
                  <a:avLst/>
                  <a:gdLst/>
                  <a:ahLst/>
                  <a:cxnLst/>
                  <a:rect l="l" t="t" r="r" b="b"/>
                  <a:pathLst>
                    <a:path w="4804" h="4114" extrusionOk="0">
                      <a:moveTo>
                        <a:pt x="2732" y="0"/>
                      </a:moveTo>
                      <a:cubicBezTo>
                        <a:pt x="2228" y="0"/>
                        <a:pt x="1713" y="188"/>
                        <a:pt x="1295" y="606"/>
                      </a:cubicBezTo>
                      <a:cubicBezTo>
                        <a:pt x="1" y="1900"/>
                        <a:pt x="908" y="4114"/>
                        <a:pt x="2747" y="4114"/>
                      </a:cubicBezTo>
                      <a:cubicBezTo>
                        <a:pt x="3872" y="4114"/>
                        <a:pt x="4791"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0" name="Google Shape;4230;p66"/>
                <p:cNvSpPr/>
                <p:nvPr/>
              </p:nvSpPr>
              <p:spPr>
                <a:xfrm>
                  <a:off x="5086646" y="3294320"/>
                  <a:ext cx="13048" cy="13048"/>
                </a:xfrm>
                <a:custGeom>
                  <a:avLst/>
                  <a:gdLst/>
                  <a:ahLst/>
                  <a:cxnLst/>
                  <a:rect l="l" t="t" r="r" b="b"/>
                  <a:pathLst>
                    <a:path w="1659" h="1659" extrusionOk="0">
                      <a:moveTo>
                        <a:pt x="836" y="1"/>
                      </a:moveTo>
                      <a:cubicBezTo>
                        <a:pt x="376" y="1"/>
                        <a:pt x="1" y="364"/>
                        <a:pt x="1" y="823"/>
                      </a:cubicBezTo>
                      <a:cubicBezTo>
                        <a:pt x="1" y="1283"/>
                        <a:pt x="376" y="1658"/>
                        <a:pt x="836" y="1658"/>
                      </a:cubicBezTo>
                      <a:cubicBezTo>
                        <a:pt x="1283" y="1658"/>
                        <a:pt x="1658" y="1283"/>
                        <a:pt x="1658" y="823"/>
                      </a:cubicBezTo>
                      <a:cubicBezTo>
                        <a:pt x="1658" y="364"/>
                        <a:pt x="1283" y="1"/>
                        <a:pt x="83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31" name="Google Shape;4231;p66"/>
              <p:cNvGrpSpPr/>
              <p:nvPr/>
            </p:nvGrpSpPr>
            <p:grpSpPr>
              <a:xfrm>
                <a:off x="5389291" y="3759921"/>
                <a:ext cx="37783" cy="32380"/>
                <a:chOff x="5389291" y="3759921"/>
                <a:chExt cx="37783" cy="32380"/>
              </a:xfrm>
            </p:grpSpPr>
            <p:sp>
              <p:nvSpPr>
                <p:cNvPr id="4232" name="Google Shape;4232;p66"/>
                <p:cNvSpPr/>
                <p:nvPr/>
              </p:nvSpPr>
              <p:spPr>
                <a:xfrm>
                  <a:off x="5389291" y="3759921"/>
                  <a:ext cx="37783" cy="32380"/>
                </a:xfrm>
                <a:custGeom>
                  <a:avLst/>
                  <a:gdLst/>
                  <a:ahLst/>
                  <a:cxnLst/>
                  <a:rect l="l" t="t" r="r" b="b"/>
                  <a:pathLst>
                    <a:path w="4804" h="4117" extrusionOk="0">
                      <a:moveTo>
                        <a:pt x="2738" y="0"/>
                      </a:moveTo>
                      <a:cubicBezTo>
                        <a:pt x="2231" y="0"/>
                        <a:pt x="1715" y="188"/>
                        <a:pt x="1295" y="608"/>
                      </a:cubicBezTo>
                      <a:cubicBezTo>
                        <a:pt x="1" y="1903"/>
                        <a:pt x="920" y="4116"/>
                        <a:pt x="2747" y="4116"/>
                      </a:cubicBezTo>
                      <a:cubicBezTo>
                        <a:pt x="3884" y="4116"/>
                        <a:pt x="4803" y="3197"/>
                        <a:pt x="4803" y="2060"/>
                      </a:cubicBezTo>
                      <a:cubicBezTo>
                        <a:pt x="4803" y="817"/>
                        <a:pt x="3792"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3" name="Google Shape;4233;p66"/>
                <p:cNvSpPr/>
                <p:nvPr/>
              </p:nvSpPr>
              <p:spPr>
                <a:xfrm>
                  <a:off x="5402229" y="3769555"/>
                  <a:ext cx="15235" cy="13064"/>
                </a:xfrm>
                <a:custGeom>
                  <a:avLst/>
                  <a:gdLst/>
                  <a:ahLst/>
                  <a:cxnLst/>
                  <a:rect l="l" t="t" r="r" b="b"/>
                  <a:pathLst>
                    <a:path w="1937" h="1661" extrusionOk="0">
                      <a:moveTo>
                        <a:pt x="1114" y="0"/>
                      </a:moveTo>
                      <a:cubicBezTo>
                        <a:pt x="364" y="0"/>
                        <a:pt x="1" y="895"/>
                        <a:pt x="521" y="1415"/>
                      </a:cubicBezTo>
                      <a:cubicBezTo>
                        <a:pt x="690" y="1584"/>
                        <a:pt x="899" y="1660"/>
                        <a:pt x="1103" y="1660"/>
                      </a:cubicBezTo>
                      <a:cubicBezTo>
                        <a:pt x="1528" y="1660"/>
                        <a:pt x="1936" y="1333"/>
                        <a:pt x="1936" y="835"/>
                      </a:cubicBezTo>
                      <a:cubicBezTo>
                        <a:pt x="1936" y="375"/>
                        <a:pt x="1561"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34" name="Google Shape;4234;p66"/>
              <p:cNvGrpSpPr/>
              <p:nvPr/>
            </p:nvGrpSpPr>
            <p:grpSpPr>
              <a:xfrm>
                <a:off x="5431534" y="3632932"/>
                <a:ext cx="37878" cy="32451"/>
                <a:chOff x="5431534" y="3632932"/>
                <a:chExt cx="37878" cy="32451"/>
              </a:xfrm>
            </p:grpSpPr>
            <p:sp>
              <p:nvSpPr>
                <p:cNvPr id="4235" name="Google Shape;4235;p66"/>
                <p:cNvSpPr/>
                <p:nvPr/>
              </p:nvSpPr>
              <p:spPr>
                <a:xfrm>
                  <a:off x="5431534" y="3632932"/>
                  <a:ext cx="37878" cy="32451"/>
                </a:xfrm>
                <a:custGeom>
                  <a:avLst/>
                  <a:gdLst/>
                  <a:ahLst/>
                  <a:cxnLst/>
                  <a:rect l="l" t="t" r="r" b="b"/>
                  <a:pathLst>
                    <a:path w="4816" h="4126" extrusionOk="0">
                      <a:moveTo>
                        <a:pt x="2734" y="0"/>
                      </a:moveTo>
                      <a:cubicBezTo>
                        <a:pt x="2228" y="0"/>
                        <a:pt x="1713" y="187"/>
                        <a:pt x="1295" y="605"/>
                      </a:cubicBezTo>
                      <a:cubicBezTo>
                        <a:pt x="1" y="1899"/>
                        <a:pt x="920" y="4125"/>
                        <a:pt x="2759" y="4125"/>
                      </a:cubicBezTo>
                      <a:cubicBezTo>
                        <a:pt x="3896" y="4113"/>
                        <a:pt x="4815" y="3194"/>
                        <a:pt x="4815" y="2069"/>
                      </a:cubicBezTo>
                      <a:cubicBezTo>
                        <a:pt x="4815" y="824"/>
                        <a:pt x="3795" y="0"/>
                        <a:pt x="273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6" name="Google Shape;4236;p66"/>
                <p:cNvSpPr/>
                <p:nvPr/>
              </p:nvSpPr>
              <p:spPr>
                <a:xfrm>
                  <a:off x="5444472" y="3642638"/>
                  <a:ext cx="15235" cy="13064"/>
                </a:xfrm>
                <a:custGeom>
                  <a:avLst/>
                  <a:gdLst/>
                  <a:ahLst/>
                  <a:cxnLst/>
                  <a:rect l="l" t="t" r="r" b="b"/>
                  <a:pathLst>
                    <a:path w="1937" h="1661" extrusionOk="0">
                      <a:moveTo>
                        <a:pt x="1114" y="0"/>
                      </a:moveTo>
                      <a:cubicBezTo>
                        <a:pt x="376" y="0"/>
                        <a:pt x="1" y="895"/>
                        <a:pt x="521" y="1415"/>
                      </a:cubicBezTo>
                      <a:cubicBezTo>
                        <a:pt x="690" y="1584"/>
                        <a:pt x="899" y="1660"/>
                        <a:pt x="1103" y="1660"/>
                      </a:cubicBezTo>
                      <a:cubicBezTo>
                        <a:pt x="1528" y="1660"/>
                        <a:pt x="1936" y="1333"/>
                        <a:pt x="1936" y="835"/>
                      </a:cubicBezTo>
                      <a:cubicBezTo>
                        <a:pt x="1936" y="375"/>
                        <a:pt x="1573" y="0"/>
                        <a:pt x="111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37" name="Google Shape;4237;p66"/>
              <p:cNvGrpSpPr/>
              <p:nvPr/>
            </p:nvGrpSpPr>
            <p:grpSpPr>
              <a:xfrm>
                <a:off x="5540755" y="3544829"/>
                <a:ext cx="37783" cy="32357"/>
                <a:chOff x="5540755" y="3544829"/>
                <a:chExt cx="37783" cy="32357"/>
              </a:xfrm>
            </p:grpSpPr>
            <p:sp>
              <p:nvSpPr>
                <p:cNvPr id="4238" name="Google Shape;4238;p66"/>
                <p:cNvSpPr/>
                <p:nvPr/>
              </p:nvSpPr>
              <p:spPr>
                <a:xfrm>
                  <a:off x="5540755" y="3544829"/>
                  <a:ext cx="37783" cy="32357"/>
                </a:xfrm>
                <a:custGeom>
                  <a:avLst/>
                  <a:gdLst/>
                  <a:ahLst/>
                  <a:cxnLst/>
                  <a:rect l="l" t="t" r="r" b="b"/>
                  <a:pathLst>
                    <a:path w="4804" h="4114" extrusionOk="0">
                      <a:moveTo>
                        <a:pt x="2732" y="0"/>
                      </a:moveTo>
                      <a:cubicBezTo>
                        <a:pt x="2228" y="0"/>
                        <a:pt x="1713" y="187"/>
                        <a:pt x="1295" y="605"/>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39" name="Google Shape;4239;p66"/>
                <p:cNvSpPr/>
                <p:nvPr/>
              </p:nvSpPr>
              <p:spPr>
                <a:xfrm>
                  <a:off x="5553693" y="3554534"/>
                  <a:ext cx="15235" cy="13040"/>
                </a:xfrm>
                <a:custGeom>
                  <a:avLst/>
                  <a:gdLst/>
                  <a:ahLst/>
                  <a:cxnLst/>
                  <a:rect l="l" t="t" r="r" b="b"/>
                  <a:pathLst>
                    <a:path w="1937" h="1658" extrusionOk="0">
                      <a:moveTo>
                        <a:pt x="1102" y="0"/>
                      </a:moveTo>
                      <a:cubicBezTo>
                        <a:pt x="364" y="0"/>
                        <a:pt x="1" y="896"/>
                        <a:pt x="521" y="1416"/>
                      </a:cubicBezTo>
                      <a:cubicBezTo>
                        <a:pt x="688" y="1583"/>
                        <a:pt x="894" y="1658"/>
                        <a:pt x="1096" y="1658"/>
                      </a:cubicBezTo>
                      <a:cubicBezTo>
                        <a:pt x="1524" y="1658"/>
                        <a:pt x="1936" y="1324"/>
                        <a:pt x="1936" y="823"/>
                      </a:cubicBezTo>
                      <a:cubicBezTo>
                        <a:pt x="1936" y="363"/>
                        <a:pt x="1561" y="0"/>
                        <a:pt x="110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40" name="Google Shape;4240;p66"/>
              <p:cNvGrpSpPr/>
              <p:nvPr/>
            </p:nvGrpSpPr>
            <p:grpSpPr>
              <a:xfrm>
                <a:off x="5579293" y="3412107"/>
                <a:ext cx="37776" cy="32357"/>
                <a:chOff x="5579293" y="3412107"/>
                <a:chExt cx="37776" cy="32357"/>
              </a:xfrm>
            </p:grpSpPr>
            <p:sp>
              <p:nvSpPr>
                <p:cNvPr id="4241" name="Google Shape;4241;p66"/>
                <p:cNvSpPr/>
                <p:nvPr/>
              </p:nvSpPr>
              <p:spPr>
                <a:xfrm>
                  <a:off x="5579293" y="3412107"/>
                  <a:ext cx="37776" cy="32357"/>
                </a:xfrm>
                <a:custGeom>
                  <a:avLst/>
                  <a:gdLst/>
                  <a:ahLst/>
                  <a:cxnLst/>
                  <a:rect l="l" t="t" r="r" b="b"/>
                  <a:pathLst>
                    <a:path w="4803" h="4114" extrusionOk="0">
                      <a:moveTo>
                        <a:pt x="2732" y="0"/>
                      </a:moveTo>
                      <a:cubicBezTo>
                        <a:pt x="2227" y="0"/>
                        <a:pt x="1713" y="187"/>
                        <a:pt x="1294" y="605"/>
                      </a:cubicBezTo>
                      <a:cubicBezTo>
                        <a:pt x="0" y="1900"/>
                        <a:pt x="919" y="4114"/>
                        <a:pt x="2746" y="4114"/>
                      </a:cubicBezTo>
                      <a:cubicBezTo>
                        <a:pt x="3883" y="4114"/>
                        <a:pt x="4802" y="3194"/>
                        <a:pt x="4802" y="2057"/>
                      </a:cubicBezTo>
                      <a:cubicBezTo>
                        <a:pt x="4802" y="821"/>
                        <a:pt x="3788"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2" name="Google Shape;4242;p66"/>
                <p:cNvSpPr/>
                <p:nvPr/>
              </p:nvSpPr>
              <p:spPr>
                <a:xfrm>
                  <a:off x="5594418" y="3421812"/>
                  <a:ext cx="13040" cy="13040"/>
                </a:xfrm>
                <a:custGeom>
                  <a:avLst/>
                  <a:gdLst/>
                  <a:ahLst/>
                  <a:cxnLst/>
                  <a:rect l="l" t="t" r="r" b="b"/>
                  <a:pathLst>
                    <a:path w="1658" h="1658" extrusionOk="0">
                      <a:moveTo>
                        <a:pt x="823" y="1"/>
                      </a:moveTo>
                      <a:cubicBezTo>
                        <a:pt x="375" y="1"/>
                        <a:pt x="0" y="363"/>
                        <a:pt x="0" y="823"/>
                      </a:cubicBezTo>
                      <a:cubicBezTo>
                        <a:pt x="0" y="1283"/>
                        <a:pt x="375"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43" name="Google Shape;4243;p66"/>
              <p:cNvGrpSpPr/>
              <p:nvPr/>
            </p:nvGrpSpPr>
            <p:grpSpPr>
              <a:xfrm>
                <a:off x="5801346" y="3284615"/>
                <a:ext cx="37783" cy="32357"/>
                <a:chOff x="5801346" y="3284615"/>
                <a:chExt cx="37783" cy="32357"/>
              </a:xfrm>
            </p:grpSpPr>
            <p:sp>
              <p:nvSpPr>
                <p:cNvPr id="4244" name="Google Shape;4244;p66"/>
                <p:cNvSpPr/>
                <p:nvPr/>
              </p:nvSpPr>
              <p:spPr>
                <a:xfrm>
                  <a:off x="5801346" y="3284615"/>
                  <a:ext cx="37783" cy="32357"/>
                </a:xfrm>
                <a:custGeom>
                  <a:avLst/>
                  <a:gdLst/>
                  <a:ahLst/>
                  <a:cxnLst/>
                  <a:rect l="l" t="t" r="r" b="b"/>
                  <a:pathLst>
                    <a:path w="4804" h="4114" extrusionOk="0">
                      <a:moveTo>
                        <a:pt x="2732" y="0"/>
                      </a:moveTo>
                      <a:cubicBezTo>
                        <a:pt x="2228" y="0"/>
                        <a:pt x="1714" y="188"/>
                        <a:pt x="1295" y="606"/>
                      </a:cubicBezTo>
                      <a:cubicBezTo>
                        <a:pt x="1" y="1900"/>
                        <a:pt x="920" y="4114"/>
                        <a:pt x="2759" y="4114"/>
                      </a:cubicBezTo>
                      <a:cubicBezTo>
                        <a:pt x="3884"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5" name="Google Shape;4245;p66"/>
                <p:cNvSpPr/>
                <p:nvPr/>
              </p:nvSpPr>
              <p:spPr>
                <a:xfrm>
                  <a:off x="5816478" y="3294320"/>
                  <a:ext cx="13040" cy="13048"/>
                </a:xfrm>
                <a:custGeom>
                  <a:avLst/>
                  <a:gdLst/>
                  <a:ahLst/>
                  <a:cxnLst/>
                  <a:rect l="l" t="t" r="r" b="b"/>
                  <a:pathLst>
                    <a:path w="1658" h="1659" extrusionOk="0">
                      <a:moveTo>
                        <a:pt x="835" y="1"/>
                      </a:moveTo>
                      <a:cubicBezTo>
                        <a:pt x="375" y="1"/>
                        <a:pt x="0" y="364"/>
                        <a:pt x="0" y="823"/>
                      </a:cubicBezTo>
                      <a:cubicBezTo>
                        <a:pt x="0" y="1283"/>
                        <a:pt x="375" y="1658"/>
                        <a:pt x="835" y="1658"/>
                      </a:cubicBezTo>
                      <a:cubicBezTo>
                        <a:pt x="1283" y="1658"/>
                        <a:pt x="1658" y="1283"/>
                        <a:pt x="1658" y="823"/>
                      </a:cubicBezTo>
                      <a:cubicBezTo>
                        <a:pt x="1658" y="364"/>
                        <a:pt x="1283"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46" name="Google Shape;4246;p66"/>
              <p:cNvGrpSpPr/>
              <p:nvPr/>
            </p:nvGrpSpPr>
            <p:grpSpPr>
              <a:xfrm>
                <a:off x="5763578" y="3399067"/>
                <a:ext cx="37776" cy="32364"/>
                <a:chOff x="5763578" y="3399067"/>
                <a:chExt cx="37776" cy="32364"/>
              </a:xfrm>
            </p:grpSpPr>
            <p:sp>
              <p:nvSpPr>
                <p:cNvPr id="4247" name="Google Shape;4247;p66"/>
                <p:cNvSpPr/>
                <p:nvPr/>
              </p:nvSpPr>
              <p:spPr>
                <a:xfrm>
                  <a:off x="5763578" y="3399067"/>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4"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48" name="Google Shape;4248;p66"/>
                <p:cNvSpPr/>
                <p:nvPr/>
              </p:nvSpPr>
              <p:spPr>
                <a:xfrm>
                  <a:off x="5776516" y="3408780"/>
                  <a:ext cx="15235" cy="13040"/>
                </a:xfrm>
                <a:custGeom>
                  <a:avLst/>
                  <a:gdLst/>
                  <a:ahLst/>
                  <a:cxnLst/>
                  <a:rect l="l" t="t" r="r" b="b"/>
                  <a:pathLst>
                    <a:path w="1937" h="1658" extrusionOk="0">
                      <a:moveTo>
                        <a:pt x="1101" y="0"/>
                      </a:moveTo>
                      <a:cubicBezTo>
                        <a:pt x="364" y="0"/>
                        <a:pt x="1" y="895"/>
                        <a:pt x="521" y="1416"/>
                      </a:cubicBezTo>
                      <a:cubicBezTo>
                        <a:pt x="688" y="1583"/>
                        <a:pt x="894" y="1657"/>
                        <a:pt x="1096" y="1657"/>
                      </a:cubicBezTo>
                      <a:cubicBezTo>
                        <a:pt x="1524" y="1657"/>
                        <a:pt x="1936" y="1324"/>
                        <a:pt x="1936" y="823"/>
                      </a:cubicBezTo>
                      <a:cubicBezTo>
                        <a:pt x="1936" y="363"/>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49" name="Google Shape;4249;p66"/>
              <p:cNvGrpSpPr/>
              <p:nvPr/>
            </p:nvGrpSpPr>
            <p:grpSpPr>
              <a:xfrm>
                <a:off x="5395858" y="3230952"/>
                <a:ext cx="37776" cy="32364"/>
                <a:chOff x="5395858" y="3230952"/>
                <a:chExt cx="37776" cy="32364"/>
              </a:xfrm>
            </p:grpSpPr>
            <p:sp>
              <p:nvSpPr>
                <p:cNvPr id="4250" name="Google Shape;4250;p66"/>
                <p:cNvSpPr/>
                <p:nvPr/>
              </p:nvSpPr>
              <p:spPr>
                <a:xfrm>
                  <a:off x="5395858" y="3230952"/>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2"/>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1" name="Google Shape;4251;p66"/>
                <p:cNvSpPr/>
                <p:nvPr/>
              </p:nvSpPr>
              <p:spPr>
                <a:xfrm>
                  <a:off x="5408702" y="3240571"/>
                  <a:ext cx="15227" cy="13064"/>
                </a:xfrm>
                <a:custGeom>
                  <a:avLst/>
                  <a:gdLst/>
                  <a:ahLst/>
                  <a:cxnLst/>
                  <a:rect l="l" t="t" r="r" b="b"/>
                  <a:pathLst>
                    <a:path w="1936" h="1661" extrusionOk="0">
                      <a:moveTo>
                        <a:pt x="1113" y="0"/>
                      </a:moveTo>
                      <a:cubicBezTo>
                        <a:pt x="375" y="0"/>
                        <a:pt x="0" y="895"/>
                        <a:pt x="521" y="1416"/>
                      </a:cubicBezTo>
                      <a:cubicBezTo>
                        <a:pt x="690" y="1585"/>
                        <a:pt x="898" y="1660"/>
                        <a:pt x="1103" y="1660"/>
                      </a:cubicBezTo>
                      <a:cubicBezTo>
                        <a:pt x="1528" y="1660"/>
                        <a:pt x="1936" y="1333"/>
                        <a:pt x="1936" y="835"/>
                      </a:cubicBezTo>
                      <a:cubicBezTo>
                        <a:pt x="1936" y="375"/>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52" name="Google Shape;4252;p66"/>
              <p:cNvGrpSpPr/>
              <p:nvPr/>
            </p:nvGrpSpPr>
            <p:grpSpPr>
              <a:xfrm>
                <a:off x="5264088" y="3188237"/>
                <a:ext cx="37776" cy="32357"/>
                <a:chOff x="5264088" y="3188237"/>
                <a:chExt cx="37776" cy="32357"/>
              </a:xfrm>
            </p:grpSpPr>
            <p:sp>
              <p:nvSpPr>
                <p:cNvPr id="4253" name="Google Shape;4253;p66"/>
                <p:cNvSpPr/>
                <p:nvPr/>
              </p:nvSpPr>
              <p:spPr>
                <a:xfrm>
                  <a:off x="5264088" y="3188237"/>
                  <a:ext cx="37776" cy="32357"/>
                </a:xfrm>
                <a:custGeom>
                  <a:avLst/>
                  <a:gdLst/>
                  <a:ahLst/>
                  <a:cxnLst/>
                  <a:rect l="l" t="t" r="r" b="b"/>
                  <a:pathLst>
                    <a:path w="4803" h="4114" extrusionOk="0">
                      <a:moveTo>
                        <a:pt x="2732" y="0"/>
                      </a:moveTo>
                      <a:cubicBezTo>
                        <a:pt x="2227" y="0"/>
                        <a:pt x="1713" y="188"/>
                        <a:pt x="1295" y="606"/>
                      </a:cubicBezTo>
                      <a:cubicBezTo>
                        <a:pt x="0" y="1900"/>
                        <a:pt x="920" y="4114"/>
                        <a:pt x="2746" y="4114"/>
                      </a:cubicBezTo>
                      <a:cubicBezTo>
                        <a:pt x="3883" y="4114"/>
                        <a:pt x="4803" y="3195"/>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4" name="Google Shape;4254;p66"/>
                <p:cNvSpPr/>
                <p:nvPr/>
              </p:nvSpPr>
              <p:spPr>
                <a:xfrm>
                  <a:off x="5279212" y="3197943"/>
                  <a:ext cx="13048" cy="13048"/>
                </a:xfrm>
                <a:custGeom>
                  <a:avLst/>
                  <a:gdLst/>
                  <a:ahLst/>
                  <a:cxnLst/>
                  <a:rect l="l" t="t" r="r" b="b"/>
                  <a:pathLst>
                    <a:path w="1659" h="1659" extrusionOk="0">
                      <a:moveTo>
                        <a:pt x="823" y="1"/>
                      </a:moveTo>
                      <a:cubicBezTo>
                        <a:pt x="364" y="1"/>
                        <a:pt x="1" y="376"/>
                        <a:pt x="1" y="823"/>
                      </a:cubicBezTo>
                      <a:cubicBezTo>
                        <a:pt x="1" y="1283"/>
                        <a:pt x="364"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55" name="Google Shape;4255;p66"/>
              <p:cNvGrpSpPr/>
              <p:nvPr/>
            </p:nvGrpSpPr>
            <p:grpSpPr>
              <a:xfrm>
                <a:off x="5585758" y="3237425"/>
                <a:ext cx="37878" cy="32357"/>
                <a:chOff x="5585758" y="3237425"/>
                <a:chExt cx="37878" cy="32357"/>
              </a:xfrm>
            </p:grpSpPr>
            <p:sp>
              <p:nvSpPr>
                <p:cNvPr id="4256" name="Google Shape;4256;p66"/>
                <p:cNvSpPr/>
                <p:nvPr/>
              </p:nvSpPr>
              <p:spPr>
                <a:xfrm>
                  <a:off x="5585758" y="3237425"/>
                  <a:ext cx="37878" cy="32357"/>
                </a:xfrm>
                <a:custGeom>
                  <a:avLst/>
                  <a:gdLst/>
                  <a:ahLst/>
                  <a:cxnLst/>
                  <a:rect l="l" t="t" r="r" b="b"/>
                  <a:pathLst>
                    <a:path w="4816" h="4114" extrusionOk="0">
                      <a:moveTo>
                        <a:pt x="2744" y="0"/>
                      </a:moveTo>
                      <a:cubicBezTo>
                        <a:pt x="2240" y="0"/>
                        <a:pt x="1725" y="188"/>
                        <a:pt x="1307" y="606"/>
                      </a:cubicBezTo>
                      <a:cubicBezTo>
                        <a:pt x="1" y="1900"/>
                        <a:pt x="920" y="4114"/>
                        <a:pt x="2759" y="4114"/>
                      </a:cubicBezTo>
                      <a:cubicBezTo>
                        <a:pt x="3896" y="4114"/>
                        <a:pt x="4815" y="3195"/>
                        <a:pt x="4815" y="2057"/>
                      </a:cubicBezTo>
                      <a:cubicBezTo>
                        <a:pt x="4815" y="821"/>
                        <a:pt x="3801" y="0"/>
                        <a:pt x="274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57" name="Google Shape;4257;p66"/>
                <p:cNvSpPr/>
                <p:nvPr/>
              </p:nvSpPr>
              <p:spPr>
                <a:xfrm>
                  <a:off x="5598696" y="3247130"/>
                  <a:ext cx="15235" cy="13048"/>
                </a:xfrm>
                <a:custGeom>
                  <a:avLst/>
                  <a:gdLst/>
                  <a:ahLst/>
                  <a:cxnLst/>
                  <a:rect l="l" t="t" r="r" b="b"/>
                  <a:pathLst>
                    <a:path w="1937" h="1659" extrusionOk="0">
                      <a:moveTo>
                        <a:pt x="1114" y="1"/>
                      </a:moveTo>
                      <a:cubicBezTo>
                        <a:pt x="376" y="1"/>
                        <a:pt x="1" y="896"/>
                        <a:pt x="521" y="1416"/>
                      </a:cubicBezTo>
                      <a:cubicBezTo>
                        <a:pt x="692" y="1583"/>
                        <a:pt x="899" y="1658"/>
                        <a:pt x="1102" y="1658"/>
                      </a:cubicBezTo>
                      <a:cubicBezTo>
                        <a:pt x="1529" y="1658"/>
                        <a:pt x="1936" y="1324"/>
                        <a:pt x="1936" y="823"/>
                      </a:cubicBezTo>
                      <a:cubicBezTo>
                        <a:pt x="1936" y="376"/>
                        <a:pt x="1573" y="1"/>
                        <a:pt x="111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58" name="Google Shape;4258;p66"/>
              <p:cNvGrpSpPr/>
              <p:nvPr/>
            </p:nvGrpSpPr>
            <p:grpSpPr>
              <a:xfrm>
                <a:off x="4874196" y="3291088"/>
                <a:ext cx="37878" cy="32451"/>
                <a:chOff x="4874196" y="3291088"/>
                <a:chExt cx="37878" cy="32451"/>
              </a:xfrm>
            </p:grpSpPr>
            <p:sp>
              <p:nvSpPr>
                <p:cNvPr id="4259" name="Google Shape;4259;p66"/>
                <p:cNvSpPr/>
                <p:nvPr/>
              </p:nvSpPr>
              <p:spPr>
                <a:xfrm>
                  <a:off x="4874196"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0" name="Google Shape;4260;p66"/>
                <p:cNvSpPr/>
                <p:nvPr/>
              </p:nvSpPr>
              <p:spPr>
                <a:xfrm>
                  <a:off x="4889328" y="3300793"/>
                  <a:ext cx="13040" cy="13040"/>
                </a:xfrm>
                <a:custGeom>
                  <a:avLst/>
                  <a:gdLst/>
                  <a:ahLst/>
                  <a:cxnLst/>
                  <a:rect l="l" t="t" r="r" b="b"/>
                  <a:pathLst>
                    <a:path w="1658" h="1658" extrusionOk="0">
                      <a:moveTo>
                        <a:pt x="835" y="0"/>
                      </a:moveTo>
                      <a:cubicBezTo>
                        <a:pt x="375" y="0"/>
                        <a:pt x="0" y="375"/>
                        <a:pt x="0" y="835"/>
                      </a:cubicBezTo>
                      <a:cubicBezTo>
                        <a:pt x="0" y="1283"/>
                        <a:pt x="375" y="1658"/>
                        <a:pt x="835" y="1658"/>
                      </a:cubicBezTo>
                      <a:cubicBezTo>
                        <a:pt x="1295" y="1658"/>
                        <a:pt x="1657" y="1283"/>
                        <a:pt x="1657" y="835"/>
                      </a:cubicBezTo>
                      <a:cubicBezTo>
                        <a:pt x="1657"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61" name="Google Shape;4261;p66"/>
              <p:cNvGrpSpPr/>
              <p:nvPr/>
            </p:nvGrpSpPr>
            <p:grpSpPr>
              <a:xfrm>
                <a:off x="5197770" y="3785466"/>
                <a:ext cx="37783" cy="32427"/>
                <a:chOff x="5197770" y="3785466"/>
                <a:chExt cx="37783" cy="32427"/>
              </a:xfrm>
            </p:grpSpPr>
            <p:sp>
              <p:nvSpPr>
                <p:cNvPr id="4262" name="Google Shape;4262;p66"/>
                <p:cNvSpPr/>
                <p:nvPr/>
              </p:nvSpPr>
              <p:spPr>
                <a:xfrm>
                  <a:off x="5197770" y="3785466"/>
                  <a:ext cx="37783" cy="32427"/>
                </a:xfrm>
                <a:custGeom>
                  <a:avLst/>
                  <a:gdLst/>
                  <a:ahLst/>
                  <a:cxnLst/>
                  <a:rect l="l" t="t" r="r" b="b"/>
                  <a:pathLst>
                    <a:path w="4804" h="4123" extrusionOk="0">
                      <a:moveTo>
                        <a:pt x="2738" y="1"/>
                      </a:moveTo>
                      <a:cubicBezTo>
                        <a:pt x="2232" y="1"/>
                        <a:pt x="1715" y="190"/>
                        <a:pt x="1295" y="614"/>
                      </a:cubicBezTo>
                      <a:cubicBezTo>
                        <a:pt x="1" y="1909"/>
                        <a:pt x="908"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3" name="Google Shape;4263;p66"/>
                <p:cNvSpPr/>
                <p:nvPr/>
              </p:nvSpPr>
              <p:spPr>
                <a:xfrm>
                  <a:off x="5212808" y="3795148"/>
                  <a:ext cx="13040" cy="13040"/>
                </a:xfrm>
                <a:custGeom>
                  <a:avLst/>
                  <a:gdLst/>
                  <a:ahLst/>
                  <a:cxnLst/>
                  <a:rect l="l" t="t" r="r" b="b"/>
                  <a:pathLst>
                    <a:path w="1658" h="1658" extrusionOk="0">
                      <a:moveTo>
                        <a:pt x="835" y="0"/>
                      </a:moveTo>
                      <a:cubicBezTo>
                        <a:pt x="375" y="0"/>
                        <a:pt x="0" y="375"/>
                        <a:pt x="0" y="835"/>
                      </a:cubicBezTo>
                      <a:cubicBezTo>
                        <a:pt x="0" y="1294"/>
                        <a:pt x="375" y="1657"/>
                        <a:pt x="835" y="1657"/>
                      </a:cubicBezTo>
                      <a:cubicBezTo>
                        <a:pt x="1295" y="1657"/>
                        <a:pt x="1657" y="1294"/>
                        <a:pt x="1657" y="835"/>
                      </a:cubicBezTo>
                      <a:cubicBezTo>
                        <a:pt x="1657"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64" name="Google Shape;4264;p66"/>
              <p:cNvGrpSpPr/>
              <p:nvPr/>
            </p:nvGrpSpPr>
            <p:grpSpPr>
              <a:xfrm>
                <a:off x="5177699" y="3492117"/>
                <a:ext cx="37776" cy="32357"/>
                <a:chOff x="5177699" y="3492117"/>
                <a:chExt cx="37776" cy="32357"/>
              </a:xfrm>
            </p:grpSpPr>
            <p:sp>
              <p:nvSpPr>
                <p:cNvPr id="4265" name="Google Shape;4265;p66"/>
                <p:cNvSpPr/>
                <p:nvPr/>
              </p:nvSpPr>
              <p:spPr>
                <a:xfrm>
                  <a:off x="5177699" y="3492117"/>
                  <a:ext cx="37776" cy="32357"/>
                </a:xfrm>
                <a:custGeom>
                  <a:avLst/>
                  <a:gdLst/>
                  <a:ahLst/>
                  <a:cxnLst/>
                  <a:rect l="l" t="t" r="r" b="b"/>
                  <a:pathLst>
                    <a:path w="4803" h="4114" extrusionOk="0">
                      <a:moveTo>
                        <a:pt x="2736" y="1"/>
                      </a:moveTo>
                      <a:cubicBezTo>
                        <a:pt x="2232" y="1"/>
                        <a:pt x="1717" y="188"/>
                        <a:pt x="1295" y="606"/>
                      </a:cubicBezTo>
                      <a:cubicBezTo>
                        <a:pt x="1" y="1900"/>
                        <a:pt x="920" y="4114"/>
                        <a:pt x="2746" y="4114"/>
                      </a:cubicBezTo>
                      <a:cubicBezTo>
                        <a:pt x="3884" y="4114"/>
                        <a:pt x="4803" y="3195"/>
                        <a:pt x="4803" y="2070"/>
                      </a:cubicBezTo>
                      <a:cubicBezTo>
                        <a:pt x="4803" y="824"/>
                        <a:pt x="3793" y="1"/>
                        <a:pt x="273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6" name="Google Shape;4266;p66"/>
                <p:cNvSpPr/>
                <p:nvPr/>
              </p:nvSpPr>
              <p:spPr>
                <a:xfrm>
                  <a:off x="5192823" y="3501823"/>
                  <a:ext cx="13048" cy="13048"/>
                </a:xfrm>
                <a:custGeom>
                  <a:avLst/>
                  <a:gdLst/>
                  <a:ahLst/>
                  <a:cxnLst/>
                  <a:rect l="l" t="t" r="r" b="b"/>
                  <a:pathLst>
                    <a:path w="1659" h="1659" extrusionOk="0">
                      <a:moveTo>
                        <a:pt x="823" y="1"/>
                      </a:moveTo>
                      <a:cubicBezTo>
                        <a:pt x="376" y="1"/>
                        <a:pt x="1" y="364"/>
                        <a:pt x="1" y="823"/>
                      </a:cubicBezTo>
                      <a:cubicBezTo>
                        <a:pt x="1" y="1283"/>
                        <a:pt x="376"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67" name="Google Shape;4267;p66"/>
              <p:cNvGrpSpPr/>
              <p:nvPr/>
            </p:nvGrpSpPr>
            <p:grpSpPr>
              <a:xfrm>
                <a:off x="5349431" y="3622346"/>
                <a:ext cx="37870" cy="32380"/>
                <a:chOff x="5349431" y="3622346"/>
                <a:chExt cx="37870" cy="32380"/>
              </a:xfrm>
            </p:grpSpPr>
            <p:sp>
              <p:nvSpPr>
                <p:cNvPr id="4268" name="Google Shape;4268;p66"/>
                <p:cNvSpPr/>
                <p:nvPr/>
              </p:nvSpPr>
              <p:spPr>
                <a:xfrm>
                  <a:off x="5349431" y="3622346"/>
                  <a:ext cx="37870" cy="32380"/>
                </a:xfrm>
                <a:custGeom>
                  <a:avLst/>
                  <a:gdLst/>
                  <a:ahLst/>
                  <a:cxnLst/>
                  <a:rect l="l" t="t" r="r" b="b"/>
                  <a:pathLst>
                    <a:path w="4815" h="4117" extrusionOk="0">
                      <a:moveTo>
                        <a:pt x="2740" y="0"/>
                      </a:moveTo>
                      <a:cubicBezTo>
                        <a:pt x="2232" y="0"/>
                        <a:pt x="1714" y="189"/>
                        <a:pt x="1295" y="608"/>
                      </a:cubicBezTo>
                      <a:cubicBezTo>
                        <a:pt x="0" y="1903"/>
                        <a:pt x="920" y="4116"/>
                        <a:pt x="2758" y="4116"/>
                      </a:cubicBezTo>
                      <a:cubicBezTo>
                        <a:pt x="3883" y="4116"/>
                        <a:pt x="4815" y="3197"/>
                        <a:pt x="4815" y="2060"/>
                      </a:cubicBezTo>
                      <a:cubicBezTo>
                        <a:pt x="4815" y="817"/>
                        <a:pt x="3798" y="0"/>
                        <a:pt x="274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69" name="Google Shape;4269;p66"/>
                <p:cNvSpPr/>
                <p:nvPr/>
              </p:nvSpPr>
              <p:spPr>
                <a:xfrm>
                  <a:off x="5362369" y="3632075"/>
                  <a:ext cx="15227" cy="13040"/>
                </a:xfrm>
                <a:custGeom>
                  <a:avLst/>
                  <a:gdLst/>
                  <a:ahLst/>
                  <a:cxnLst/>
                  <a:rect l="l" t="t" r="r" b="b"/>
                  <a:pathLst>
                    <a:path w="1936" h="1658" extrusionOk="0">
                      <a:moveTo>
                        <a:pt x="1134" y="0"/>
                      </a:moveTo>
                      <a:cubicBezTo>
                        <a:pt x="1127" y="0"/>
                        <a:pt x="1120" y="0"/>
                        <a:pt x="1113" y="0"/>
                      </a:cubicBezTo>
                      <a:cubicBezTo>
                        <a:pt x="363" y="0"/>
                        <a:pt x="0" y="883"/>
                        <a:pt x="521" y="1416"/>
                      </a:cubicBezTo>
                      <a:cubicBezTo>
                        <a:pt x="691" y="1583"/>
                        <a:pt x="899" y="1657"/>
                        <a:pt x="1101" y="1657"/>
                      </a:cubicBezTo>
                      <a:cubicBezTo>
                        <a:pt x="1529" y="1657"/>
                        <a:pt x="1936" y="1324"/>
                        <a:pt x="1936" y="823"/>
                      </a:cubicBezTo>
                      <a:cubicBezTo>
                        <a:pt x="1936" y="370"/>
                        <a:pt x="1573" y="0"/>
                        <a:pt x="113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70" name="Google Shape;4270;p66"/>
              <p:cNvGrpSpPr/>
              <p:nvPr/>
            </p:nvGrpSpPr>
            <p:grpSpPr>
              <a:xfrm>
                <a:off x="5068855" y="3563980"/>
                <a:ext cx="53954" cy="46223"/>
                <a:chOff x="5068855" y="3563980"/>
                <a:chExt cx="53954" cy="46223"/>
              </a:xfrm>
            </p:grpSpPr>
            <p:sp>
              <p:nvSpPr>
                <p:cNvPr id="4271" name="Google Shape;4271;p66"/>
                <p:cNvSpPr/>
                <p:nvPr/>
              </p:nvSpPr>
              <p:spPr>
                <a:xfrm>
                  <a:off x="5068855" y="3563980"/>
                  <a:ext cx="53954" cy="46223"/>
                </a:xfrm>
                <a:custGeom>
                  <a:avLst/>
                  <a:gdLst/>
                  <a:ahLst/>
                  <a:cxnLst/>
                  <a:rect l="l" t="t" r="r" b="b"/>
                  <a:pathLst>
                    <a:path w="6860" h="5877" extrusionOk="0">
                      <a:moveTo>
                        <a:pt x="3909" y="0"/>
                      </a:moveTo>
                      <a:cubicBezTo>
                        <a:pt x="3187" y="0"/>
                        <a:pt x="2451" y="269"/>
                        <a:pt x="1852" y="868"/>
                      </a:cubicBezTo>
                      <a:cubicBezTo>
                        <a:pt x="1" y="2719"/>
                        <a:pt x="1307" y="5876"/>
                        <a:pt x="3920" y="5876"/>
                      </a:cubicBezTo>
                      <a:cubicBezTo>
                        <a:pt x="5541" y="5876"/>
                        <a:pt x="6848" y="4558"/>
                        <a:pt x="6860" y="2937"/>
                      </a:cubicBezTo>
                      <a:cubicBezTo>
                        <a:pt x="6860" y="1170"/>
                        <a:pt x="5416" y="0"/>
                        <a:pt x="390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2" name="Google Shape;4272;p66"/>
                <p:cNvSpPr/>
                <p:nvPr/>
              </p:nvSpPr>
              <p:spPr>
                <a:xfrm>
                  <a:off x="5086268" y="3573654"/>
                  <a:ext cx="26835" cy="26843"/>
                </a:xfrm>
                <a:custGeom>
                  <a:avLst/>
                  <a:gdLst/>
                  <a:ahLst/>
                  <a:cxnLst/>
                  <a:rect l="l" t="t" r="r" b="b"/>
                  <a:pathLst>
                    <a:path w="3412" h="3413" extrusionOk="0">
                      <a:moveTo>
                        <a:pt x="1706" y="1"/>
                      </a:moveTo>
                      <a:cubicBezTo>
                        <a:pt x="763" y="1"/>
                        <a:pt x="1" y="763"/>
                        <a:pt x="1" y="1707"/>
                      </a:cubicBezTo>
                      <a:cubicBezTo>
                        <a:pt x="1" y="2650"/>
                        <a:pt x="763" y="3412"/>
                        <a:pt x="1706" y="3412"/>
                      </a:cubicBezTo>
                      <a:cubicBezTo>
                        <a:pt x="2650" y="3412"/>
                        <a:pt x="3412" y="2650"/>
                        <a:pt x="3412" y="1707"/>
                      </a:cubicBezTo>
                      <a:cubicBezTo>
                        <a:pt x="3412" y="763"/>
                        <a:pt x="2650" y="1"/>
                        <a:pt x="170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73" name="Google Shape;4273;p66"/>
              <p:cNvGrpSpPr/>
              <p:nvPr/>
            </p:nvGrpSpPr>
            <p:grpSpPr>
              <a:xfrm>
                <a:off x="5037654" y="3392507"/>
                <a:ext cx="37870" cy="32451"/>
                <a:chOff x="5037654" y="3392507"/>
                <a:chExt cx="37870" cy="32451"/>
              </a:xfrm>
            </p:grpSpPr>
            <p:sp>
              <p:nvSpPr>
                <p:cNvPr id="4274" name="Google Shape;4274;p66"/>
                <p:cNvSpPr/>
                <p:nvPr/>
              </p:nvSpPr>
              <p:spPr>
                <a:xfrm>
                  <a:off x="5037654" y="3392507"/>
                  <a:ext cx="37870" cy="32451"/>
                </a:xfrm>
                <a:custGeom>
                  <a:avLst/>
                  <a:gdLst/>
                  <a:ahLst/>
                  <a:cxnLst/>
                  <a:rect l="l" t="t" r="r" b="b"/>
                  <a:pathLst>
                    <a:path w="4815" h="4126" extrusionOk="0">
                      <a:moveTo>
                        <a:pt x="2742" y="1"/>
                      </a:moveTo>
                      <a:cubicBezTo>
                        <a:pt x="2238" y="1"/>
                        <a:pt x="1724" y="188"/>
                        <a:pt x="1307" y="606"/>
                      </a:cubicBezTo>
                      <a:cubicBezTo>
                        <a:pt x="0" y="1912"/>
                        <a:pt x="919" y="4126"/>
                        <a:pt x="2758" y="4126"/>
                      </a:cubicBezTo>
                      <a:cubicBezTo>
                        <a:pt x="3895" y="4114"/>
                        <a:pt x="4815" y="3194"/>
                        <a:pt x="4815" y="2069"/>
                      </a:cubicBezTo>
                      <a:cubicBezTo>
                        <a:pt x="4815" y="824"/>
                        <a:pt x="3799" y="1"/>
                        <a:pt x="274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5" name="Google Shape;4275;p66"/>
                <p:cNvSpPr/>
                <p:nvPr/>
              </p:nvSpPr>
              <p:spPr>
                <a:xfrm>
                  <a:off x="5050592" y="3402213"/>
                  <a:ext cx="15227" cy="13064"/>
                </a:xfrm>
                <a:custGeom>
                  <a:avLst/>
                  <a:gdLst/>
                  <a:ahLst/>
                  <a:cxnLst/>
                  <a:rect l="l" t="t" r="r" b="b"/>
                  <a:pathLst>
                    <a:path w="1936" h="1661" extrusionOk="0">
                      <a:moveTo>
                        <a:pt x="1113" y="1"/>
                      </a:moveTo>
                      <a:cubicBezTo>
                        <a:pt x="375" y="1"/>
                        <a:pt x="0" y="896"/>
                        <a:pt x="520" y="1416"/>
                      </a:cubicBezTo>
                      <a:cubicBezTo>
                        <a:pt x="689" y="1585"/>
                        <a:pt x="898" y="1661"/>
                        <a:pt x="1103" y="1661"/>
                      </a:cubicBezTo>
                      <a:cubicBezTo>
                        <a:pt x="1528" y="1661"/>
                        <a:pt x="1936" y="1333"/>
                        <a:pt x="1936" y="835"/>
                      </a:cubicBezTo>
                      <a:cubicBezTo>
                        <a:pt x="1936" y="376"/>
                        <a:pt x="1573" y="1"/>
                        <a:pt x="111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76" name="Google Shape;4276;p66"/>
              <p:cNvGrpSpPr/>
              <p:nvPr/>
            </p:nvGrpSpPr>
            <p:grpSpPr>
              <a:xfrm>
                <a:off x="5456560" y="3368629"/>
                <a:ext cx="37870" cy="32451"/>
                <a:chOff x="5456560" y="3368629"/>
                <a:chExt cx="37870" cy="32451"/>
              </a:xfrm>
            </p:grpSpPr>
            <p:sp>
              <p:nvSpPr>
                <p:cNvPr id="4277" name="Google Shape;4277;p66"/>
                <p:cNvSpPr/>
                <p:nvPr/>
              </p:nvSpPr>
              <p:spPr>
                <a:xfrm>
                  <a:off x="5456560" y="3368629"/>
                  <a:ext cx="37870" cy="32451"/>
                </a:xfrm>
                <a:custGeom>
                  <a:avLst/>
                  <a:gdLst/>
                  <a:ahLst/>
                  <a:cxnLst/>
                  <a:rect l="l" t="t" r="r" b="b"/>
                  <a:pathLst>
                    <a:path w="4815" h="4126" extrusionOk="0">
                      <a:moveTo>
                        <a:pt x="2742" y="0"/>
                      </a:moveTo>
                      <a:cubicBezTo>
                        <a:pt x="2238" y="0"/>
                        <a:pt x="1724" y="187"/>
                        <a:pt x="1307" y="605"/>
                      </a:cubicBezTo>
                      <a:cubicBezTo>
                        <a:pt x="0" y="1912"/>
                        <a:pt x="920" y="4125"/>
                        <a:pt x="2758" y="4125"/>
                      </a:cubicBezTo>
                      <a:cubicBezTo>
                        <a:pt x="3895" y="4113"/>
                        <a:pt x="4815" y="3194"/>
                        <a:pt x="4815" y="2069"/>
                      </a:cubicBezTo>
                      <a:cubicBezTo>
                        <a:pt x="4815" y="824"/>
                        <a:pt x="3800" y="0"/>
                        <a:pt x="274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78" name="Google Shape;4278;p66"/>
                <p:cNvSpPr/>
                <p:nvPr/>
              </p:nvSpPr>
              <p:spPr>
                <a:xfrm>
                  <a:off x="5469498" y="3378334"/>
                  <a:ext cx="15227" cy="13064"/>
                </a:xfrm>
                <a:custGeom>
                  <a:avLst/>
                  <a:gdLst/>
                  <a:ahLst/>
                  <a:cxnLst/>
                  <a:rect l="l" t="t" r="r" b="b"/>
                  <a:pathLst>
                    <a:path w="1936" h="1661" extrusionOk="0">
                      <a:moveTo>
                        <a:pt x="1113" y="0"/>
                      </a:moveTo>
                      <a:cubicBezTo>
                        <a:pt x="375" y="0"/>
                        <a:pt x="0" y="895"/>
                        <a:pt x="520" y="1416"/>
                      </a:cubicBezTo>
                      <a:cubicBezTo>
                        <a:pt x="693" y="1585"/>
                        <a:pt x="903" y="1660"/>
                        <a:pt x="1108" y="1660"/>
                      </a:cubicBezTo>
                      <a:cubicBezTo>
                        <a:pt x="1533" y="1660"/>
                        <a:pt x="1936" y="1333"/>
                        <a:pt x="1936" y="835"/>
                      </a:cubicBezTo>
                      <a:cubicBezTo>
                        <a:pt x="1936" y="375"/>
                        <a:pt x="1573"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79" name="Google Shape;4279;p66"/>
              <p:cNvGrpSpPr/>
              <p:nvPr/>
            </p:nvGrpSpPr>
            <p:grpSpPr>
              <a:xfrm>
                <a:off x="4755749" y="3501516"/>
                <a:ext cx="46246" cy="39608"/>
                <a:chOff x="4755749" y="3501516"/>
                <a:chExt cx="46246" cy="39608"/>
              </a:xfrm>
            </p:grpSpPr>
            <p:sp>
              <p:nvSpPr>
                <p:cNvPr id="4280" name="Google Shape;4280;p66"/>
                <p:cNvSpPr/>
                <p:nvPr/>
              </p:nvSpPr>
              <p:spPr>
                <a:xfrm>
                  <a:off x="4755749" y="3501516"/>
                  <a:ext cx="46246" cy="39608"/>
                </a:xfrm>
                <a:custGeom>
                  <a:avLst/>
                  <a:gdLst/>
                  <a:ahLst/>
                  <a:cxnLst/>
                  <a:rect l="l" t="t" r="r" b="b"/>
                  <a:pathLst>
                    <a:path w="5880" h="5036" extrusionOk="0">
                      <a:moveTo>
                        <a:pt x="3345" y="0"/>
                      </a:moveTo>
                      <a:cubicBezTo>
                        <a:pt x="2727" y="0"/>
                        <a:pt x="2097" y="229"/>
                        <a:pt x="1585" y="741"/>
                      </a:cubicBezTo>
                      <a:cubicBezTo>
                        <a:pt x="0" y="2326"/>
                        <a:pt x="1125" y="5036"/>
                        <a:pt x="3363" y="5036"/>
                      </a:cubicBezTo>
                      <a:cubicBezTo>
                        <a:pt x="4754" y="5036"/>
                        <a:pt x="5879" y="3911"/>
                        <a:pt x="5879" y="2520"/>
                      </a:cubicBezTo>
                      <a:cubicBezTo>
                        <a:pt x="5879" y="1005"/>
                        <a:pt x="4638" y="0"/>
                        <a:pt x="334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1" name="Google Shape;4281;p66"/>
                <p:cNvSpPr/>
                <p:nvPr/>
              </p:nvSpPr>
              <p:spPr>
                <a:xfrm>
                  <a:off x="4768687" y="3511245"/>
                  <a:ext cx="23697" cy="20221"/>
                </a:xfrm>
                <a:custGeom>
                  <a:avLst/>
                  <a:gdLst/>
                  <a:ahLst/>
                  <a:cxnLst/>
                  <a:rect l="l" t="t" r="r" b="b"/>
                  <a:pathLst>
                    <a:path w="3013" h="2571" extrusionOk="0">
                      <a:moveTo>
                        <a:pt x="1718" y="0"/>
                      </a:moveTo>
                      <a:cubicBezTo>
                        <a:pt x="569" y="0"/>
                        <a:pt x="0" y="1379"/>
                        <a:pt x="811" y="2190"/>
                      </a:cubicBezTo>
                      <a:cubicBezTo>
                        <a:pt x="1074" y="2453"/>
                        <a:pt x="1398" y="2571"/>
                        <a:pt x="1715" y="2571"/>
                      </a:cubicBezTo>
                      <a:cubicBezTo>
                        <a:pt x="2377" y="2571"/>
                        <a:pt x="3013" y="2059"/>
                        <a:pt x="3013" y="1283"/>
                      </a:cubicBezTo>
                      <a:cubicBezTo>
                        <a:pt x="3013" y="581"/>
                        <a:pt x="2432" y="0"/>
                        <a:pt x="1718"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82" name="Google Shape;4282;p66"/>
              <p:cNvGrpSpPr/>
              <p:nvPr/>
            </p:nvGrpSpPr>
            <p:grpSpPr>
              <a:xfrm>
                <a:off x="4681346" y="3485582"/>
                <a:ext cx="37783" cy="32427"/>
                <a:chOff x="4681346" y="3485582"/>
                <a:chExt cx="37783" cy="32427"/>
              </a:xfrm>
            </p:grpSpPr>
            <p:sp>
              <p:nvSpPr>
                <p:cNvPr id="4283" name="Google Shape;4283;p66"/>
                <p:cNvSpPr/>
                <p:nvPr/>
              </p:nvSpPr>
              <p:spPr>
                <a:xfrm>
                  <a:off x="4681346" y="3485582"/>
                  <a:ext cx="37783" cy="32427"/>
                </a:xfrm>
                <a:custGeom>
                  <a:avLst/>
                  <a:gdLst/>
                  <a:ahLst/>
                  <a:cxnLst/>
                  <a:rect l="l" t="t" r="r" b="b"/>
                  <a:pathLst>
                    <a:path w="4804" h="4123" extrusionOk="0">
                      <a:moveTo>
                        <a:pt x="2738" y="1"/>
                      </a:moveTo>
                      <a:cubicBezTo>
                        <a:pt x="2231" y="1"/>
                        <a:pt x="1715" y="191"/>
                        <a:pt x="1295" y="614"/>
                      </a:cubicBezTo>
                      <a:cubicBezTo>
                        <a:pt x="1" y="1909"/>
                        <a:pt x="920" y="4122"/>
                        <a:pt x="2747" y="4122"/>
                      </a:cubicBezTo>
                      <a:cubicBezTo>
                        <a:pt x="3884" y="4122"/>
                        <a:pt x="4803" y="3203"/>
                        <a:pt x="4803" y="2066"/>
                      </a:cubicBezTo>
                      <a:cubicBezTo>
                        <a:pt x="4803" y="824"/>
                        <a:pt x="3793" y="1"/>
                        <a:pt x="27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4" name="Google Shape;4284;p66"/>
                <p:cNvSpPr/>
                <p:nvPr/>
              </p:nvSpPr>
              <p:spPr>
                <a:xfrm>
                  <a:off x="4696479" y="3495263"/>
                  <a:ext cx="13040" cy="13040"/>
                </a:xfrm>
                <a:custGeom>
                  <a:avLst/>
                  <a:gdLst/>
                  <a:ahLst/>
                  <a:cxnLst/>
                  <a:rect l="l" t="t" r="r" b="b"/>
                  <a:pathLst>
                    <a:path w="1658" h="1658" extrusionOk="0">
                      <a:moveTo>
                        <a:pt x="823" y="0"/>
                      </a:moveTo>
                      <a:cubicBezTo>
                        <a:pt x="363" y="0"/>
                        <a:pt x="0" y="375"/>
                        <a:pt x="0" y="835"/>
                      </a:cubicBezTo>
                      <a:cubicBezTo>
                        <a:pt x="0" y="1295"/>
                        <a:pt x="363" y="1657"/>
                        <a:pt x="823" y="1657"/>
                      </a:cubicBezTo>
                      <a:cubicBezTo>
                        <a:pt x="1282" y="1657"/>
                        <a:pt x="1657" y="1295"/>
                        <a:pt x="1657" y="835"/>
                      </a:cubicBezTo>
                      <a:cubicBezTo>
                        <a:pt x="1657" y="375"/>
                        <a:pt x="1282"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85" name="Google Shape;4285;p66"/>
              <p:cNvGrpSpPr/>
              <p:nvPr/>
            </p:nvGrpSpPr>
            <p:grpSpPr>
              <a:xfrm>
                <a:off x="4767067" y="3291088"/>
                <a:ext cx="37878" cy="32451"/>
                <a:chOff x="4767067" y="3291088"/>
                <a:chExt cx="37878" cy="32451"/>
              </a:xfrm>
            </p:grpSpPr>
            <p:sp>
              <p:nvSpPr>
                <p:cNvPr id="4286" name="Google Shape;4286;p66"/>
                <p:cNvSpPr/>
                <p:nvPr/>
              </p:nvSpPr>
              <p:spPr>
                <a:xfrm>
                  <a:off x="4767067" y="3291088"/>
                  <a:ext cx="37878" cy="32451"/>
                </a:xfrm>
                <a:custGeom>
                  <a:avLst/>
                  <a:gdLst/>
                  <a:ahLst/>
                  <a:cxnLst/>
                  <a:rect l="l" t="t" r="r" b="b"/>
                  <a:pathLst>
                    <a:path w="4816" h="4126" extrusionOk="0">
                      <a:moveTo>
                        <a:pt x="2739" y="0"/>
                      </a:moveTo>
                      <a:cubicBezTo>
                        <a:pt x="2233" y="0"/>
                        <a:pt x="1717" y="188"/>
                        <a:pt x="1295" y="605"/>
                      </a:cubicBezTo>
                      <a:cubicBezTo>
                        <a:pt x="1" y="1900"/>
                        <a:pt x="920" y="4126"/>
                        <a:pt x="2759" y="4126"/>
                      </a:cubicBezTo>
                      <a:cubicBezTo>
                        <a:pt x="3884" y="4113"/>
                        <a:pt x="4803" y="3206"/>
                        <a:pt x="4815" y="2069"/>
                      </a:cubicBezTo>
                      <a:cubicBezTo>
                        <a:pt x="4815" y="824"/>
                        <a:pt x="3800" y="0"/>
                        <a:pt x="273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87" name="Google Shape;4287;p66"/>
                <p:cNvSpPr/>
                <p:nvPr/>
              </p:nvSpPr>
              <p:spPr>
                <a:xfrm>
                  <a:off x="4780036" y="3300888"/>
                  <a:ext cx="15203" cy="13009"/>
                </a:xfrm>
                <a:custGeom>
                  <a:avLst/>
                  <a:gdLst/>
                  <a:ahLst/>
                  <a:cxnLst/>
                  <a:rect l="l" t="t" r="r" b="b"/>
                  <a:pathLst>
                    <a:path w="1933" h="1654" extrusionOk="0">
                      <a:moveTo>
                        <a:pt x="1131" y="0"/>
                      </a:moveTo>
                      <a:cubicBezTo>
                        <a:pt x="1124" y="0"/>
                        <a:pt x="1117" y="0"/>
                        <a:pt x="1110" y="1"/>
                      </a:cubicBezTo>
                      <a:cubicBezTo>
                        <a:pt x="1105" y="0"/>
                        <a:pt x="1100" y="0"/>
                        <a:pt x="1095" y="0"/>
                      </a:cubicBezTo>
                      <a:cubicBezTo>
                        <a:pt x="367" y="0"/>
                        <a:pt x="0" y="887"/>
                        <a:pt x="517" y="1404"/>
                      </a:cubicBezTo>
                      <a:cubicBezTo>
                        <a:pt x="686" y="1577"/>
                        <a:pt x="895" y="1654"/>
                        <a:pt x="1100" y="1654"/>
                      </a:cubicBezTo>
                      <a:cubicBezTo>
                        <a:pt x="1525" y="1654"/>
                        <a:pt x="1932" y="1321"/>
                        <a:pt x="1932" y="823"/>
                      </a:cubicBezTo>
                      <a:cubicBezTo>
                        <a:pt x="1932" y="371"/>
                        <a:pt x="1569" y="0"/>
                        <a:pt x="113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88" name="Google Shape;4288;p66"/>
              <p:cNvGrpSpPr/>
              <p:nvPr/>
            </p:nvGrpSpPr>
            <p:grpSpPr>
              <a:xfrm>
                <a:off x="4687819" y="3405539"/>
                <a:ext cx="37776" cy="32451"/>
                <a:chOff x="4687819" y="3405539"/>
                <a:chExt cx="37776" cy="32451"/>
              </a:xfrm>
            </p:grpSpPr>
            <p:sp>
              <p:nvSpPr>
                <p:cNvPr id="4289" name="Google Shape;4289;p66"/>
                <p:cNvSpPr/>
                <p:nvPr/>
              </p:nvSpPr>
              <p:spPr>
                <a:xfrm>
                  <a:off x="4687819" y="3405539"/>
                  <a:ext cx="37776" cy="32451"/>
                </a:xfrm>
                <a:custGeom>
                  <a:avLst/>
                  <a:gdLst/>
                  <a:ahLst/>
                  <a:cxnLst/>
                  <a:rect l="l" t="t" r="r" b="b"/>
                  <a:pathLst>
                    <a:path w="4803" h="4126" extrusionOk="0">
                      <a:moveTo>
                        <a:pt x="2730" y="1"/>
                      </a:moveTo>
                      <a:cubicBezTo>
                        <a:pt x="2226" y="1"/>
                        <a:pt x="1712" y="188"/>
                        <a:pt x="1295" y="606"/>
                      </a:cubicBezTo>
                      <a:cubicBezTo>
                        <a:pt x="0" y="1912"/>
                        <a:pt x="920" y="4126"/>
                        <a:pt x="2758" y="4126"/>
                      </a:cubicBezTo>
                      <a:cubicBezTo>
                        <a:pt x="3883" y="4114"/>
                        <a:pt x="4803" y="3195"/>
                        <a:pt x="4803" y="2070"/>
                      </a:cubicBezTo>
                      <a:cubicBezTo>
                        <a:pt x="4803" y="824"/>
                        <a:pt x="3787" y="1"/>
                        <a:pt x="273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0" name="Google Shape;4290;p66"/>
                <p:cNvSpPr/>
                <p:nvPr/>
              </p:nvSpPr>
              <p:spPr>
                <a:xfrm>
                  <a:off x="4702944" y="3415245"/>
                  <a:ext cx="13040" cy="13048"/>
                </a:xfrm>
                <a:custGeom>
                  <a:avLst/>
                  <a:gdLst/>
                  <a:ahLst/>
                  <a:cxnLst/>
                  <a:rect l="l" t="t" r="r" b="b"/>
                  <a:pathLst>
                    <a:path w="1658" h="1659" extrusionOk="0">
                      <a:moveTo>
                        <a:pt x="823" y="1"/>
                      </a:moveTo>
                      <a:cubicBezTo>
                        <a:pt x="376" y="1"/>
                        <a:pt x="1" y="376"/>
                        <a:pt x="1" y="836"/>
                      </a:cubicBezTo>
                      <a:cubicBezTo>
                        <a:pt x="1" y="1295"/>
                        <a:pt x="376" y="1658"/>
                        <a:pt x="823" y="1658"/>
                      </a:cubicBezTo>
                      <a:cubicBezTo>
                        <a:pt x="1283" y="1658"/>
                        <a:pt x="1658" y="1295"/>
                        <a:pt x="1658" y="836"/>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91" name="Google Shape;4291;p66"/>
              <p:cNvGrpSpPr/>
              <p:nvPr/>
            </p:nvGrpSpPr>
            <p:grpSpPr>
              <a:xfrm>
                <a:off x="4923101" y="3444809"/>
                <a:ext cx="52813" cy="45318"/>
                <a:chOff x="4923101" y="3444809"/>
                <a:chExt cx="52813" cy="45318"/>
              </a:xfrm>
            </p:grpSpPr>
            <p:sp>
              <p:nvSpPr>
                <p:cNvPr id="4292" name="Google Shape;4292;p66"/>
                <p:cNvSpPr/>
                <p:nvPr/>
              </p:nvSpPr>
              <p:spPr>
                <a:xfrm>
                  <a:off x="4923101" y="3444809"/>
                  <a:ext cx="52813" cy="45318"/>
                </a:xfrm>
                <a:custGeom>
                  <a:avLst/>
                  <a:gdLst/>
                  <a:ahLst/>
                  <a:cxnLst/>
                  <a:rect l="l" t="t" r="r" b="b"/>
                  <a:pathLst>
                    <a:path w="6715" h="5762" extrusionOk="0">
                      <a:moveTo>
                        <a:pt x="3823" y="1"/>
                      </a:moveTo>
                      <a:cubicBezTo>
                        <a:pt x="3117" y="1"/>
                        <a:pt x="2398" y="263"/>
                        <a:pt x="1815" y="851"/>
                      </a:cubicBezTo>
                      <a:cubicBezTo>
                        <a:pt x="1" y="2665"/>
                        <a:pt x="1283" y="5762"/>
                        <a:pt x="3847" y="5762"/>
                      </a:cubicBezTo>
                      <a:cubicBezTo>
                        <a:pt x="5432" y="5762"/>
                        <a:pt x="6714" y="4468"/>
                        <a:pt x="6714" y="2883"/>
                      </a:cubicBezTo>
                      <a:cubicBezTo>
                        <a:pt x="6714" y="1148"/>
                        <a:pt x="5298" y="1"/>
                        <a:pt x="38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3" name="Google Shape;4293;p66"/>
                <p:cNvSpPr/>
                <p:nvPr/>
              </p:nvSpPr>
              <p:spPr>
                <a:xfrm>
                  <a:off x="4936039" y="3454538"/>
                  <a:ext cx="30265" cy="25915"/>
                </a:xfrm>
                <a:custGeom>
                  <a:avLst/>
                  <a:gdLst/>
                  <a:ahLst/>
                  <a:cxnLst/>
                  <a:rect l="l" t="t" r="r" b="b"/>
                  <a:pathLst>
                    <a:path w="3848" h="3295" extrusionOk="0">
                      <a:moveTo>
                        <a:pt x="2202" y="1"/>
                      </a:moveTo>
                      <a:cubicBezTo>
                        <a:pt x="727" y="1"/>
                        <a:pt x="1" y="1779"/>
                        <a:pt x="1029" y="2807"/>
                      </a:cubicBezTo>
                      <a:cubicBezTo>
                        <a:pt x="1365" y="3144"/>
                        <a:pt x="1779" y="3294"/>
                        <a:pt x="2185" y="3294"/>
                      </a:cubicBezTo>
                      <a:cubicBezTo>
                        <a:pt x="3034" y="3294"/>
                        <a:pt x="3847" y="2636"/>
                        <a:pt x="3847" y="1646"/>
                      </a:cubicBezTo>
                      <a:cubicBezTo>
                        <a:pt x="3847" y="739"/>
                        <a:pt x="3110" y="1"/>
                        <a:pt x="220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94" name="Google Shape;4294;p66"/>
              <p:cNvGrpSpPr/>
              <p:nvPr/>
            </p:nvGrpSpPr>
            <p:grpSpPr>
              <a:xfrm>
                <a:off x="4846040" y="3654750"/>
                <a:ext cx="31405" cy="26993"/>
                <a:chOff x="4846040" y="3654750"/>
                <a:chExt cx="31405" cy="26993"/>
              </a:xfrm>
            </p:grpSpPr>
            <p:sp>
              <p:nvSpPr>
                <p:cNvPr id="4295" name="Google Shape;4295;p66"/>
                <p:cNvSpPr/>
                <p:nvPr/>
              </p:nvSpPr>
              <p:spPr>
                <a:xfrm>
                  <a:off x="4846040" y="3654750"/>
                  <a:ext cx="31405" cy="26993"/>
                </a:xfrm>
                <a:custGeom>
                  <a:avLst/>
                  <a:gdLst/>
                  <a:ahLst/>
                  <a:cxnLst/>
                  <a:rect l="l" t="t" r="r" b="b"/>
                  <a:pathLst>
                    <a:path w="3993" h="3432" extrusionOk="0">
                      <a:moveTo>
                        <a:pt x="2272" y="0"/>
                      </a:moveTo>
                      <a:cubicBezTo>
                        <a:pt x="1853" y="0"/>
                        <a:pt x="1425" y="156"/>
                        <a:pt x="1077" y="504"/>
                      </a:cubicBezTo>
                      <a:cubicBezTo>
                        <a:pt x="0" y="1581"/>
                        <a:pt x="750" y="3432"/>
                        <a:pt x="2274" y="3432"/>
                      </a:cubicBezTo>
                      <a:cubicBezTo>
                        <a:pt x="3218" y="3432"/>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6" name="Google Shape;4296;p66"/>
                <p:cNvSpPr/>
                <p:nvPr/>
              </p:nvSpPr>
              <p:spPr>
                <a:xfrm>
                  <a:off x="4858883" y="3664424"/>
                  <a:ext cx="8856" cy="7676"/>
                </a:xfrm>
                <a:custGeom>
                  <a:avLst/>
                  <a:gdLst/>
                  <a:ahLst/>
                  <a:cxnLst/>
                  <a:rect l="l" t="t" r="r" b="b"/>
                  <a:pathLst>
                    <a:path w="1126" h="976" extrusionOk="0">
                      <a:moveTo>
                        <a:pt x="641" y="0"/>
                      </a:moveTo>
                      <a:cubicBezTo>
                        <a:pt x="218" y="0"/>
                        <a:pt x="0" y="520"/>
                        <a:pt x="303" y="835"/>
                      </a:cubicBezTo>
                      <a:cubicBezTo>
                        <a:pt x="400"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297" name="Google Shape;4297;p66"/>
              <p:cNvGrpSpPr/>
              <p:nvPr/>
            </p:nvGrpSpPr>
            <p:grpSpPr>
              <a:xfrm>
                <a:off x="4925673" y="3691700"/>
                <a:ext cx="40253" cy="34472"/>
                <a:chOff x="4925673" y="3691700"/>
                <a:chExt cx="40253" cy="34472"/>
              </a:xfrm>
            </p:grpSpPr>
            <p:sp>
              <p:nvSpPr>
                <p:cNvPr id="4298" name="Google Shape;4298;p66"/>
                <p:cNvSpPr/>
                <p:nvPr/>
              </p:nvSpPr>
              <p:spPr>
                <a:xfrm>
                  <a:off x="4925673" y="3691700"/>
                  <a:ext cx="40253" cy="34472"/>
                </a:xfrm>
                <a:custGeom>
                  <a:avLst/>
                  <a:gdLst/>
                  <a:ahLst/>
                  <a:cxnLst/>
                  <a:rect l="l" t="t" r="r" b="b"/>
                  <a:pathLst>
                    <a:path w="5118" h="4383" extrusionOk="0">
                      <a:moveTo>
                        <a:pt x="2908" y="0"/>
                      </a:moveTo>
                      <a:cubicBezTo>
                        <a:pt x="2371" y="0"/>
                        <a:pt x="1825" y="200"/>
                        <a:pt x="1379" y="645"/>
                      </a:cubicBezTo>
                      <a:cubicBezTo>
                        <a:pt x="0" y="2024"/>
                        <a:pt x="968" y="4383"/>
                        <a:pt x="2915" y="4383"/>
                      </a:cubicBezTo>
                      <a:cubicBezTo>
                        <a:pt x="4125" y="4383"/>
                        <a:pt x="5105" y="3403"/>
                        <a:pt x="5117" y="2193"/>
                      </a:cubicBezTo>
                      <a:cubicBezTo>
                        <a:pt x="5109" y="875"/>
                        <a:pt x="4031" y="0"/>
                        <a:pt x="290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299" name="Google Shape;4299;p66"/>
                <p:cNvSpPr/>
                <p:nvPr/>
              </p:nvSpPr>
              <p:spPr>
                <a:xfrm>
                  <a:off x="4938516" y="3701334"/>
                  <a:ext cx="17704" cy="15187"/>
                </a:xfrm>
                <a:custGeom>
                  <a:avLst/>
                  <a:gdLst/>
                  <a:ahLst/>
                  <a:cxnLst/>
                  <a:rect l="l" t="t" r="r" b="b"/>
                  <a:pathLst>
                    <a:path w="2251" h="1931" extrusionOk="0">
                      <a:moveTo>
                        <a:pt x="1295" y="1"/>
                      </a:moveTo>
                      <a:cubicBezTo>
                        <a:pt x="436" y="1"/>
                        <a:pt x="0" y="1041"/>
                        <a:pt x="605" y="1646"/>
                      </a:cubicBezTo>
                      <a:cubicBezTo>
                        <a:pt x="801" y="1842"/>
                        <a:pt x="1043" y="1930"/>
                        <a:pt x="1281" y="1930"/>
                      </a:cubicBezTo>
                      <a:cubicBezTo>
                        <a:pt x="1775" y="1930"/>
                        <a:pt x="2250" y="1549"/>
                        <a:pt x="2250" y="968"/>
                      </a:cubicBezTo>
                      <a:cubicBezTo>
                        <a:pt x="2250" y="436"/>
                        <a:pt x="1827" y="1"/>
                        <a:pt x="129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00" name="Google Shape;4300;p66"/>
              <p:cNvGrpSpPr/>
              <p:nvPr/>
            </p:nvGrpSpPr>
            <p:grpSpPr>
              <a:xfrm>
                <a:off x="4894653" y="3740848"/>
                <a:ext cx="31405" cy="26906"/>
                <a:chOff x="4894653" y="3740848"/>
                <a:chExt cx="31405" cy="26906"/>
              </a:xfrm>
            </p:grpSpPr>
            <p:sp>
              <p:nvSpPr>
                <p:cNvPr id="4301" name="Google Shape;4301;p66"/>
                <p:cNvSpPr/>
                <p:nvPr/>
              </p:nvSpPr>
              <p:spPr>
                <a:xfrm>
                  <a:off x="4894653" y="3740848"/>
                  <a:ext cx="31405" cy="26906"/>
                </a:xfrm>
                <a:custGeom>
                  <a:avLst/>
                  <a:gdLst/>
                  <a:ahLst/>
                  <a:cxnLst/>
                  <a:rect l="l" t="t" r="r" b="b"/>
                  <a:pathLst>
                    <a:path w="3993" h="3421" extrusionOk="0">
                      <a:moveTo>
                        <a:pt x="2273" y="1"/>
                      </a:moveTo>
                      <a:cubicBezTo>
                        <a:pt x="1853" y="1"/>
                        <a:pt x="1425" y="157"/>
                        <a:pt x="1077" y="505"/>
                      </a:cubicBezTo>
                      <a:cubicBezTo>
                        <a:pt x="1" y="1582"/>
                        <a:pt x="763" y="3420"/>
                        <a:pt x="2287" y="3420"/>
                      </a:cubicBezTo>
                      <a:cubicBezTo>
                        <a:pt x="3230" y="3420"/>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2" name="Google Shape;4302;p66"/>
                <p:cNvSpPr/>
                <p:nvPr/>
              </p:nvSpPr>
              <p:spPr>
                <a:xfrm>
                  <a:off x="4907497" y="3750522"/>
                  <a:ext cx="8950" cy="7605"/>
                </a:xfrm>
                <a:custGeom>
                  <a:avLst/>
                  <a:gdLst/>
                  <a:ahLst/>
                  <a:cxnLst/>
                  <a:rect l="l" t="t" r="r" b="b"/>
                  <a:pathLst>
                    <a:path w="1138" h="967" extrusionOk="0">
                      <a:moveTo>
                        <a:pt x="654" y="1"/>
                      </a:moveTo>
                      <a:cubicBezTo>
                        <a:pt x="218" y="1"/>
                        <a:pt x="1" y="521"/>
                        <a:pt x="303" y="823"/>
                      </a:cubicBezTo>
                      <a:cubicBezTo>
                        <a:pt x="406" y="922"/>
                        <a:pt x="531" y="967"/>
                        <a:pt x="652"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03" name="Google Shape;4303;p66"/>
              <p:cNvGrpSpPr/>
              <p:nvPr/>
            </p:nvGrpSpPr>
            <p:grpSpPr>
              <a:xfrm>
                <a:off x="4962300" y="3696348"/>
                <a:ext cx="38255" cy="32773"/>
                <a:chOff x="4962300" y="3696348"/>
                <a:chExt cx="38255" cy="32773"/>
              </a:xfrm>
            </p:grpSpPr>
            <p:sp>
              <p:nvSpPr>
                <p:cNvPr id="4304" name="Google Shape;4304;p66"/>
                <p:cNvSpPr/>
                <p:nvPr/>
              </p:nvSpPr>
              <p:spPr>
                <a:xfrm>
                  <a:off x="4962300" y="3696348"/>
                  <a:ext cx="38255" cy="32773"/>
                </a:xfrm>
                <a:custGeom>
                  <a:avLst/>
                  <a:gdLst/>
                  <a:ahLst/>
                  <a:cxnLst/>
                  <a:rect l="l" t="t" r="r" b="b"/>
                  <a:pathLst>
                    <a:path w="4864" h="4167" extrusionOk="0">
                      <a:moveTo>
                        <a:pt x="2767" y="1"/>
                      </a:moveTo>
                      <a:cubicBezTo>
                        <a:pt x="2259" y="1"/>
                        <a:pt x="1740" y="189"/>
                        <a:pt x="1319" y="611"/>
                      </a:cubicBezTo>
                      <a:cubicBezTo>
                        <a:pt x="0" y="1929"/>
                        <a:pt x="932" y="4167"/>
                        <a:pt x="2783" y="4167"/>
                      </a:cubicBezTo>
                      <a:cubicBezTo>
                        <a:pt x="3932" y="4167"/>
                        <a:pt x="4863" y="3236"/>
                        <a:pt x="4863" y="2086"/>
                      </a:cubicBezTo>
                      <a:cubicBezTo>
                        <a:pt x="4863" y="833"/>
                        <a:pt x="3836" y="1"/>
                        <a:pt x="276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5" name="Google Shape;4305;p66"/>
                <p:cNvSpPr/>
                <p:nvPr/>
              </p:nvSpPr>
              <p:spPr>
                <a:xfrm>
                  <a:off x="4975238" y="3706093"/>
                  <a:ext cx="15612" cy="13386"/>
                </a:xfrm>
                <a:custGeom>
                  <a:avLst/>
                  <a:gdLst/>
                  <a:ahLst/>
                  <a:cxnLst/>
                  <a:rect l="l" t="t" r="r" b="b"/>
                  <a:pathLst>
                    <a:path w="1985" h="1702" extrusionOk="0">
                      <a:moveTo>
                        <a:pt x="1138" y="1"/>
                      </a:moveTo>
                      <a:cubicBezTo>
                        <a:pt x="388" y="1"/>
                        <a:pt x="1" y="908"/>
                        <a:pt x="533" y="1452"/>
                      </a:cubicBezTo>
                      <a:cubicBezTo>
                        <a:pt x="709" y="1624"/>
                        <a:pt x="923" y="1702"/>
                        <a:pt x="1132" y="1702"/>
                      </a:cubicBezTo>
                      <a:cubicBezTo>
                        <a:pt x="1569" y="1702"/>
                        <a:pt x="1984" y="1363"/>
                        <a:pt x="1984" y="847"/>
                      </a:cubicBezTo>
                      <a:cubicBezTo>
                        <a:pt x="1984" y="376"/>
                        <a:pt x="1609" y="1"/>
                        <a:pt x="113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06" name="Google Shape;4306;p66"/>
              <p:cNvGrpSpPr/>
              <p:nvPr/>
            </p:nvGrpSpPr>
            <p:grpSpPr>
              <a:xfrm>
                <a:off x="4980185" y="3743349"/>
                <a:ext cx="31499" cy="26969"/>
                <a:chOff x="4980185" y="3743349"/>
                <a:chExt cx="31499" cy="26969"/>
              </a:xfrm>
            </p:grpSpPr>
            <p:sp>
              <p:nvSpPr>
                <p:cNvPr id="4307" name="Google Shape;4307;p66"/>
                <p:cNvSpPr/>
                <p:nvPr/>
              </p:nvSpPr>
              <p:spPr>
                <a:xfrm>
                  <a:off x="4980185" y="3743349"/>
                  <a:ext cx="31499" cy="26969"/>
                </a:xfrm>
                <a:custGeom>
                  <a:avLst/>
                  <a:gdLst/>
                  <a:ahLst/>
                  <a:cxnLst/>
                  <a:rect l="l" t="t" r="r" b="b"/>
                  <a:pathLst>
                    <a:path w="4005" h="3429" extrusionOk="0">
                      <a:moveTo>
                        <a:pt x="2274" y="0"/>
                      </a:moveTo>
                      <a:cubicBezTo>
                        <a:pt x="1855" y="0"/>
                        <a:pt x="1427" y="155"/>
                        <a:pt x="1077" y="501"/>
                      </a:cubicBezTo>
                      <a:cubicBezTo>
                        <a:pt x="1" y="1578"/>
                        <a:pt x="763" y="3429"/>
                        <a:pt x="2287" y="3429"/>
                      </a:cubicBezTo>
                      <a:cubicBezTo>
                        <a:pt x="3230" y="3429"/>
                        <a:pt x="3993" y="2667"/>
                        <a:pt x="4005" y="1723"/>
                      </a:cubicBezTo>
                      <a:cubicBezTo>
                        <a:pt x="4005" y="689"/>
                        <a:pt x="3158" y="0"/>
                        <a:pt x="227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08" name="Google Shape;4308;p66"/>
                <p:cNvSpPr/>
                <p:nvPr/>
              </p:nvSpPr>
              <p:spPr>
                <a:xfrm>
                  <a:off x="4993123" y="3753094"/>
                  <a:ext cx="8856" cy="7605"/>
                </a:xfrm>
                <a:custGeom>
                  <a:avLst/>
                  <a:gdLst/>
                  <a:ahLst/>
                  <a:cxnLst/>
                  <a:rect l="l" t="t" r="r" b="b"/>
                  <a:pathLst>
                    <a:path w="1126" h="967" extrusionOk="0">
                      <a:moveTo>
                        <a:pt x="642" y="0"/>
                      </a:moveTo>
                      <a:cubicBezTo>
                        <a:pt x="206" y="0"/>
                        <a:pt x="1" y="521"/>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09" name="Google Shape;4309;p66"/>
              <p:cNvGrpSpPr/>
              <p:nvPr/>
            </p:nvGrpSpPr>
            <p:grpSpPr>
              <a:xfrm>
                <a:off x="5013768" y="3734312"/>
                <a:ext cx="31499" cy="26969"/>
                <a:chOff x="5013768" y="3734312"/>
                <a:chExt cx="31499" cy="26969"/>
              </a:xfrm>
            </p:grpSpPr>
            <p:sp>
              <p:nvSpPr>
                <p:cNvPr id="4310" name="Google Shape;4310;p66"/>
                <p:cNvSpPr/>
                <p:nvPr/>
              </p:nvSpPr>
              <p:spPr>
                <a:xfrm>
                  <a:off x="5013768" y="3734312"/>
                  <a:ext cx="31499" cy="26969"/>
                </a:xfrm>
                <a:custGeom>
                  <a:avLst/>
                  <a:gdLst/>
                  <a:ahLst/>
                  <a:cxnLst/>
                  <a:rect l="l" t="t" r="r" b="b"/>
                  <a:pathLst>
                    <a:path w="4005" h="3429" extrusionOk="0">
                      <a:moveTo>
                        <a:pt x="2281" y="1"/>
                      </a:moveTo>
                      <a:cubicBezTo>
                        <a:pt x="1858" y="1"/>
                        <a:pt x="1428" y="159"/>
                        <a:pt x="1077" y="513"/>
                      </a:cubicBezTo>
                      <a:cubicBezTo>
                        <a:pt x="1" y="1590"/>
                        <a:pt x="775" y="3429"/>
                        <a:pt x="2299" y="3429"/>
                      </a:cubicBezTo>
                      <a:cubicBezTo>
                        <a:pt x="3231" y="3417"/>
                        <a:pt x="3993" y="2655"/>
                        <a:pt x="4005" y="1711"/>
                      </a:cubicBezTo>
                      <a:cubicBezTo>
                        <a:pt x="3997" y="682"/>
                        <a:pt x="3157" y="1"/>
                        <a:pt x="228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1" name="Google Shape;4311;p66"/>
                <p:cNvSpPr/>
                <p:nvPr/>
              </p:nvSpPr>
              <p:spPr>
                <a:xfrm>
                  <a:off x="5028043" y="3743963"/>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12" name="Google Shape;4312;p66"/>
              <p:cNvGrpSpPr/>
              <p:nvPr/>
            </p:nvGrpSpPr>
            <p:grpSpPr>
              <a:xfrm>
                <a:off x="5036703" y="3764545"/>
                <a:ext cx="31499" cy="26898"/>
                <a:chOff x="5036703" y="3764545"/>
                <a:chExt cx="31499" cy="26898"/>
              </a:xfrm>
            </p:grpSpPr>
            <p:sp>
              <p:nvSpPr>
                <p:cNvPr id="4313" name="Google Shape;4313;p66"/>
                <p:cNvSpPr/>
                <p:nvPr/>
              </p:nvSpPr>
              <p:spPr>
                <a:xfrm>
                  <a:off x="5036703" y="3764545"/>
                  <a:ext cx="31499" cy="26898"/>
                </a:xfrm>
                <a:custGeom>
                  <a:avLst/>
                  <a:gdLst/>
                  <a:ahLst/>
                  <a:cxnLst/>
                  <a:rect l="l" t="t" r="r" b="b"/>
                  <a:pathLst>
                    <a:path w="4005" h="3420" extrusionOk="0">
                      <a:moveTo>
                        <a:pt x="2284" y="0"/>
                      </a:moveTo>
                      <a:cubicBezTo>
                        <a:pt x="1865" y="0"/>
                        <a:pt x="1437" y="156"/>
                        <a:pt x="1089" y="504"/>
                      </a:cubicBezTo>
                      <a:cubicBezTo>
                        <a:pt x="0" y="1581"/>
                        <a:pt x="774" y="3419"/>
                        <a:pt x="2298" y="3419"/>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4" name="Google Shape;4314;p66"/>
                <p:cNvSpPr/>
                <p:nvPr/>
              </p:nvSpPr>
              <p:spPr>
                <a:xfrm>
                  <a:off x="5049641" y="3774211"/>
                  <a:ext cx="8856" cy="7605"/>
                </a:xfrm>
                <a:custGeom>
                  <a:avLst/>
                  <a:gdLst/>
                  <a:ahLst/>
                  <a:cxnLst/>
                  <a:rect l="l" t="t" r="r" b="b"/>
                  <a:pathLst>
                    <a:path w="1126" h="967" extrusionOk="0">
                      <a:moveTo>
                        <a:pt x="653" y="1"/>
                      </a:moveTo>
                      <a:cubicBezTo>
                        <a:pt x="218" y="1"/>
                        <a:pt x="0" y="521"/>
                        <a:pt x="303" y="823"/>
                      </a:cubicBezTo>
                      <a:cubicBezTo>
                        <a:pt x="402" y="922"/>
                        <a:pt x="524" y="967"/>
                        <a:pt x="643" y="967"/>
                      </a:cubicBezTo>
                      <a:cubicBezTo>
                        <a:pt x="890" y="967"/>
                        <a:pt x="1125" y="778"/>
                        <a:pt x="1125" y="485"/>
                      </a:cubicBezTo>
                      <a:cubicBezTo>
                        <a:pt x="1125" y="219"/>
                        <a:pt x="920"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15" name="Google Shape;4315;p66"/>
              <p:cNvGrpSpPr/>
              <p:nvPr/>
            </p:nvGrpSpPr>
            <p:grpSpPr>
              <a:xfrm>
                <a:off x="4953546" y="3768352"/>
                <a:ext cx="31405" cy="26898"/>
                <a:chOff x="4953546" y="3768352"/>
                <a:chExt cx="31405" cy="26898"/>
              </a:xfrm>
            </p:grpSpPr>
            <p:sp>
              <p:nvSpPr>
                <p:cNvPr id="4316" name="Google Shape;4316;p66"/>
                <p:cNvSpPr/>
                <p:nvPr/>
              </p:nvSpPr>
              <p:spPr>
                <a:xfrm>
                  <a:off x="4953546" y="3768352"/>
                  <a:ext cx="31405" cy="26898"/>
                </a:xfrm>
                <a:custGeom>
                  <a:avLst/>
                  <a:gdLst/>
                  <a:ahLst/>
                  <a:cxnLst/>
                  <a:rect l="l" t="t" r="r" b="b"/>
                  <a:pathLst>
                    <a:path w="3993" h="3420" extrusionOk="0">
                      <a:moveTo>
                        <a:pt x="2271" y="0"/>
                      </a:moveTo>
                      <a:cubicBezTo>
                        <a:pt x="1852" y="0"/>
                        <a:pt x="1425" y="156"/>
                        <a:pt x="1077" y="504"/>
                      </a:cubicBezTo>
                      <a:cubicBezTo>
                        <a:pt x="1" y="1581"/>
                        <a:pt x="751" y="3419"/>
                        <a:pt x="2287" y="3419"/>
                      </a:cubicBezTo>
                      <a:cubicBezTo>
                        <a:pt x="3218" y="3419"/>
                        <a:pt x="3992" y="2657"/>
                        <a:pt x="3992" y="1726"/>
                      </a:cubicBezTo>
                      <a:cubicBezTo>
                        <a:pt x="3992" y="686"/>
                        <a:pt x="3150" y="0"/>
                        <a:pt x="227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17" name="Google Shape;4317;p66"/>
                <p:cNvSpPr/>
                <p:nvPr/>
              </p:nvSpPr>
              <p:spPr>
                <a:xfrm>
                  <a:off x="4966390" y="3778018"/>
                  <a:ext cx="8950" cy="7684"/>
                </a:xfrm>
                <a:custGeom>
                  <a:avLst/>
                  <a:gdLst/>
                  <a:ahLst/>
                  <a:cxnLst/>
                  <a:rect l="l" t="t" r="r" b="b"/>
                  <a:pathLst>
                    <a:path w="1138" h="977" extrusionOk="0">
                      <a:moveTo>
                        <a:pt x="654" y="1"/>
                      </a:moveTo>
                      <a:cubicBezTo>
                        <a:pt x="218" y="1"/>
                        <a:pt x="1" y="533"/>
                        <a:pt x="303" y="835"/>
                      </a:cubicBezTo>
                      <a:cubicBezTo>
                        <a:pt x="404" y="933"/>
                        <a:pt x="527" y="976"/>
                        <a:pt x="647" y="976"/>
                      </a:cubicBezTo>
                      <a:cubicBezTo>
                        <a:pt x="899" y="976"/>
                        <a:pt x="1138" y="784"/>
                        <a:pt x="1138" y="497"/>
                      </a:cubicBezTo>
                      <a:cubicBezTo>
                        <a:pt x="1138" y="218"/>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18" name="Google Shape;4318;p66"/>
              <p:cNvGrpSpPr/>
              <p:nvPr/>
            </p:nvGrpSpPr>
            <p:grpSpPr>
              <a:xfrm>
                <a:off x="4964770" y="3814016"/>
                <a:ext cx="31499" cy="26993"/>
                <a:chOff x="4964770" y="3814016"/>
                <a:chExt cx="31499" cy="26993"/>
              </a:xfrm>
            </p:grpSpPr>
            <p:sp>
              <p:nvSpPr>
                <p:cNvPr id="4319" name="Google Shape;4319;p66"/>
                <p:cNvSpPr/>
                <p:nvPr/>
              </p:nvSpPr>
              <p:spPr>
                <a:xfrm>
                  <a:off x="4964770" y="3814016"/>
                  <a:ext cx="31499" cy="26993"/>
                </a:xfrm>
                <a:custGeom>
                  <a:avLst/>
                  <a:gdLst/>
                  <a:ahLst/>
                  <a:cxnLst/>
                  <a:rect l="l" t="t" r="r" b="b"/>
                  <a:pathLst>
                    <a:path w="4005" h="3432" extrusionOk="0">
                      <a:moveTo>
                        <a:pt x="2276" y="0"/>
                      </a:moveTo>
                      <a:cubicBezTo>
                        <a:pt x="1855" y="0"/>
                        <a:pt x="1426" y="156"/>
                        <a:pt x="1078" y="504"/>
                      </a:cubicBezTo>
                      <a:cubicBezTo>
                        <a:pt x="1" y="1581"/>
                        <a:pt x="763" y="3432"/>
                        <a:pt x="2287" y="3432"/>
                      </a:cubicBezTo>
                      <a:cubicBezTo>
                        <a:pt x="3231" y="3432"/>
                        <a:pt x="3993" y="2658"/>
                        <a:pt x="4005" y="1714"/>
                      </a:cubicBezTo>
                      <a:cubicBezTo>
                        <a:pt x="4005" y="683"/>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0" name="Google Shape;4320;p66"/>
                <p:cNvSpPr/>
                <p:nvPr/>
              </p:nvSpPr>
              <p:spPr>
                <a:xfrm>
                  <a:off x="4977715" y="3823690"/>
                  <a:ext cx="8856" cy="7676"/>
                </a:xfrm>
                <a:custGeom>
                  <a:avLst/>
                  <a:gdLst/>
                  <a:ahLst/>
                  <a:cxnLst/>
                  <a:rect l="l" t="t" r="r" b="b"/>
                  <a:pathLst>
                    <a:path w="1126" h="976" extrusionOk="0">
                      <a:moveTo>
                        <a:pt x="641" y="0"/>
                      </a:moveTo>
                      <a:cubicBezTo>
                        <a:pt x="206" y="0"/>
                        <a:pt x="0" y="520"/>
                        <a:pt x="303" y="835"/>
                      </a:cubicBezTo>
                      <a:cubicBezTo>
                        <a:pt x="399" y="932"/>
                        <a:pt x="519" y="975"/>
                        <a:pt x="636" y="975"/>
                      </a:cubicBezTo>
                      <a:cubicBezTo>
                        <a:pt x="885" y="975"/>
                        <a:pt x="1125" y="780"/>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21" name="Google Shape;4321;p66"/>
              <p:cNvGrpSpPr/>
              <p:nvPr/>
            </p:nvGrpSpPr>
            <p:grpSpPr>
              <a:xfrm>
                <a:off x="4923290" y="3800504"/>
                <a:ext cx="31468" cy="26898"/>
                <a:chOff x="4923290" y="3800504"/>
                <a:chExt cx="31468" cy="26898"/>
              </a:xfrm>
            </p:grpSpPr>
            <p:sp>
              <p:nvSpPr>
                <p:cNvPr id="4322" name="Google Shape;4322;p66"/>
                <p:cNvSpPr/>
                <p:nvPr/>
              </p:nvSpPr>
              <p:spPr>
                <a:xfrm>
                  <a:off x="4923290" y="3800504"/>
                  <a:ext cx="31468" cy="26898"/>
                </a:xfrm>
                <a:custGeom>
                  <a:avLst/>
                  <a:gdLst/>
                  <a:ahLst/>
                  <a:cxnLst/>
                  <a:rect l="l" t="t" r="r" b="b"/>
                  <a:pathLst>
                    <a:path w="4001" h="3420" extrusionOk="0">
                      <a:moveTo>
                        <a:pt x="2276" y="1"/>
                      </a:moveTo>
                      <a:cubicBezTo>
                        <a:pt x="1855" y="1"/>
                        <a:pt x="1426" y="156"/>
                        <a:pt x="1077" y="505"/>
                      </a:cubicBezTo>
                      <a:cubicBezTo>
                        <a:pt x="1" y="1581"/>
                        <a:pt x="763" y="3420"/>
                        <a:pt x="2287" y="3420"/>
                      </a:cubicBezTo>
                      <a:cubicBezTo>
                        <a:pt x="3231" y="3420"/>
                        <a:pt x="3993" y="2658"/>
                        <a:pt x="3993" y="1714"/>
                      </a:cubicBezTo>
                      <a:cubicBezTo>
                        <a:pt x="4001" y="683"/>
                        <a:pt x="3156"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3" name="Google Shape;4323;p66"/>
                <p:cNvSpPr/>
                <p:nvPr/>
              </p:nvSpPr>
              <p:spPr>
                <a:xfrm>
                  <a:off x="4937470" y="3810178"/>
                  <a:ext cx="7613" cy="7621"/>
                </a:xfrm>
                <a:custGeom>
                  <a:avLst/>
                  <a:gdLst/>
                  <a:ahLst/>
                  <a:cxnLst/>
                  <a:rect l="l" t="t" r="r" b="b"/>
                  <a:pathLst>
                    <a:path w="968"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24" name="Google Shape;4324;p66"/>
              <p:cNvGrpSpPr/>
              <p:nvPr/>
            </p:nvGrpSpPr>
            <p:grpSpPr>
              <a:xfrm>
                <a:off x="5108534" y="3650943"/>
                <a:ext cx="31405" cy="26993"/>
                <a:chOff x="5108534" y="3650943"/>
                <a:chExt cx="31405" cy="26993"/>
              </a:xfrm>
            </p:grpSpPr>
            <p:sp>
              <p:nvSpPr>
                <p:cNvPr id="4325" name="Google Shape;4325;p66"/>
                <p:cNvSpPr/>
                <p:nvPr/>
              </p:nvSpPr>
              <p:spPr>
                <a:xfrm>
                  <a:off x="5108534" y="3650943"/>
                  <a:ext cx="31405" cy="26993"/>
                </a:xfrm>
                <a:custGeom>
                  <a:avLst/>
                  <a:gdLst/>
                  <a:ahLst/>
                  <a:cxnLst/>
                  <a:rect l="l" t="t" r="r" b="b"/>
                  <a:pathLst>
                    <a:path w="3993" h="3432" extrusionOk="0">
                      <a:moveTo>
                        <a:pt x="2272" y="1"/>
                      </a:moveTo>
                      <a:cubicBezTo>
                        <a:pt x="1853" y="1"/>
                        <a:pt x="1425" y="156"/>
                        <a:pt x="1077" y="505"/>
                      </a:cubicBezTo>
                      <a:cubicBezTo>
                        <a:pt x="0" y="1581"/>
                        <a:pt x="762" y="3432"/>
                        <a:pt x="2286" y="3432"/>
                      </a:cubicBezTo>
                      <a:cubicBezTo>
                        <a:pt x="3230" y="3432"/>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6" name="Google Shape;4326;p66"/>
                <p:cNvSpPr/>
                <p:nvPr/>
              </p:nvSpPr>
              <p:spPr>
                <a:xfrm>
                  <a:off x="5122707" y="3660617"/>
                  <a:ext cx="7621" cy="7621"/>
                </a:xfrm>
                <a:custGeom>
                  <a:avLst/>
                  <a:gdLst/>
                  <a:ahLst/>
                  <a:cxnLst/>
                  <a:rect l="l" t="t" r="r" b="b"/>
                  <a:pathLst>
                    <a:path w="969" h="969" extrusionOk="0">
                      <a:moveTo>
                        <a:pt x="484" y="0"/>
                      </a:moveTo>
                      <a:cubicBezTo>
                        <a:pt x="218" y="0"/>
                        <a:pt x="1" y="218"/>
                        <a:pt x="1" y="484"/>
                      </a:cubicBezTo>
                      <a:cubicBezTo>
                        <a:pt x="1" y="750"/>
                        <a:pt x="218" y="968"/>
                        <a:pt x="484" y="968"/>
                      </a:cubicBezTo>
                      <a:cubicBezTo>
                        <a:pt x="751" y="968"/>
                        <a:pt x="968" y="750"/>
                        <a:pt x="968" y="484"/>
                      </a:cubicBezTo>
                      <a:cubicBezTo>
                        <a:pt x="968" y="218"/>
                        <a:pt x="751"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27" name="Google Shape;4327;p66"/>
              <p:cNvGrpSpPr/>
              <p:nvPr/>
            </p:nvGrpSpPr>
            <p:grpSpPr>
              <a:xfrm>
                <a:off x="5119380" y="3760739"/>
                <a:ext cx="31499" cy="26993"/>
                <a:chOff x="5119380" y="3760739"/>
                <a:chExt cx="31499" cy="26993"/>
              </a:xfrm>
            </p:grpSpPr>
            <p:sp>
              <p:nvSpPr>
                <p:cNvPr id="4328" name="Google Shape;4328;p66"/>
                <p:cNvSpPr/>
                <p:nvPr/>
              </p:nvSpPr>
              <p:spPr>
                <a:xfrm>
                  <a:off x="5119380" y="3760739"/>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20"/>
                        <a:pt x="3992" y="2657"/>
                        <a:pt x="4004" y="1714"/>
                      </a:cubicBezTo>
                      <a:cubicBezTo>
                        <a:pt x="4004" y="683"/>
                        <a:pt x="3157" y="0"/>
                        <a:pt x="22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29" name="Google Shape;4329;p66"/>
                <p:cNvSpPr/>
                <p:nvPr/>
              </p:nvSpPr>
              <p:spPr>
                <a:xfrm>
                  <a:off x="5132318" y="3770405"/>
                  <a:ext cx="8856" cy="7653"/>
                </a:xfrm>
                <a:custGeom>
                  <a:avLst/>
                  <a:gdLst/>
                  <a:ahLst/>
                  <a:cxnLst/>
                  <a:rect l="l" t="t" r="r" b="b"/>
                  <a:pathLst>
                    <a:path w="1126" h="973" extrusionOk="0">
                      <a:moveTo>
                        <a:pt x="641" y="1"/>
                      </a:moveTo>
                      <a:cubicBezTo>
                        <a:pt x="206" y="1"/>
                        <a:pt x="0" y="521"/>
                        <a:pt x="303" y="824"/>
                      </a:cubicBezTo>
                      <a:cubicBezTo>
                        <a:pt x="402" y="926"/>
                        <a:pt x="524" y="972"/>
                        <a:pt x="644" y="972"/>
                      </a:cubicBezTo>
                      <a:cubicBezTo>
                        <a:pt x="890" y="972"/>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30" name="Google Shape;4330;p66"/>
              <p:cNvGrpSpPr/>
              <p:nvPr/>
            </p:nvGrpSpPr>
            <p:grpSpPr>
              <a:xfrm>
                <a:off x="5119380" y="3788235"/>
                <a:ext cx="31499" cy="26993"/>
                <a:chOff x="5119380" y="3788235"/>
                <a:chExt cx="31499" cy="26993"/>
              </a:xfrm>
            </p:grpSpPr>
            <p:sp>
              <p:nvSpPr>
                <p:cNvPr id="4331" name="Google Shape;4331;p66"/>
                <p:cNvSpPr/>
                <p:nvPr/>
              </p:nvSpPr>
              <p:spPr>
                <a:xfrm>
                  <a:off x="5119380" y="3788235"/>
                  <a:ext cx="31499" cy="26993"/>
                </a:xfrm>
                <a:custGeom>
                  <a:avLst/>
                  <a:gdLst/>
                  <a:ahLst/>
                  <a:cxnLst/>
                  <a:rect l="l" t="t" r="r" b="b"/>
                  <a:pathLst>
                    <a:path w="4005" h="3432" extrusionOk="0">
                      <a:moveTo>
                        <a:pt x="2275" y="0"/>
                      </a:moveTo>
                      <a:cubicBezTo>
                        <a:pt x="1854" y="0"/>
                        <a:pt x="1425" y="156"/>
                        <a:pt x="1077" y="504"/>
                      </a:cubicBezTo>
                      <a:cubicBezTo>
                        <a:pt x="0" y="1581"/>
                        <a:pt x="762" y="3432"/>
                        <a:pt x="2286" y="3432"/>
                      </a:cubicBezTo>
                      <a:cubicBezTo>
                        <a:pt x="3230" y="3419"/>
                        <a:pt x="3992" y="2657"/>
                        <a:pt x="4004" y="1714"/>
                      </a:cubicBezTo>
                      <a:cubicBezTo>
                        <a:pt x="4004" y="683"/>
                        <a:pt x="3157" y="0"/>
                        <a:pt x="227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2" name="Google Shape;4332;p66"/>
                <p:cNvSpPr/>
                <p:nvPr/>
              </p:nvSpPr>
              <p:spPr>
                <a:xfrm>
                  <a:off x="5132318" y="3797901"/>
                  <a:ext cx="8856" cy="7605"/>
                </a:xfrm>
                <a:custGeom>
                  <a:avLst/>
                  <a:gdLst/>
                  <a:ahLst/>
                  <a:cxnLst/>
                  <a:rect l="l" t="t" r="r" b="b"/>
                  <a:pathLst>
                    <a:path w="1126" h="967" extrusionOk="0">
                      <a:moveTo>
                        <a:pt x="641" y="1"/>
                      </a:moveTo>
                      <a:cubicBezTo>
                        <a:pt x="206" y="1"/>
                        <a:pt x="0" y="521"/>
                        <a:pt x="303" y="824"/>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33" name="Google Shape;4333;p66"/>
              <p:cNvGrpSpPr/>
              <p:nvPr/>
            </p:nvGrpSpPr>
            <p:grpSpPr>
              <a:xfrm>
                <a:off x="5158005" y="3875284"/>
                <a:ext cx="31405" cy="27001"/>
                <a:chOff x="5158005" y="3875284"/>
                <a:chExt cx="31405" cy="27001"/>
              </a:xfrm>
            </p:grpSpPr>
            <p:sp>
              <p:nvSpPr>
                <p:cNvPr id="4334" name="Google Shape;4334;p66"/>
                <p:cNvSpPr/>
                <p:nvPr/>
              </p:nvSpPr>
              <p:spPr>
                <a:xfrm>
                  <a:off x="5158005" y="3875284"/>
                  <a:ext cx="31405" cy="27001"/>
                </a:xfrm>
                <a:custGeom>
                  <a:avLst/>
                  <a:gdLst/>
                  <a:ahLst/>
                  <a:cxnLst/>
                  <a:rect l="l" t="t" r="r" b="b"/>
                  <a:pathLst>
                    <a:path w="3993" h="3433" extrusionOk="0">
                      <a:moveTo>
                        <a:pt x="2273" y="1"/>
                      </a:moveTo>
                      <a:cubicBezTo>
                        <a:pt x="1853" y="1"/>
                        <a:pt x="1425" y="157"/>
                        <a:pt x="1077" y="505"/>
                      </a:cubicBezTo>
                      <a:cubicBezTo>
                        <a:pt x="0" y="1581"/>
                        <a:pt x="763" y="3432"/>
                        <a:pt x="2287" y="3432"/>
                      </a:cubicBezTo>
                      <a:cubicBezTo>
                        <a:pt x="3230" y="3432"/>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5" name="Google Shape;4335;p66"/>
                <p:cNvSpPr/>
                <p:nvPr/>
              </p:nvSpPr>
              <p:spPr>
                <a:xfrm>
                  <a:off x="5170848" y="3884958"/>
                  <a:ext cx="8950" cy="7645"/>
                </a:xfrm>
                <a:custGeom>
                  <a:avLst/>
                  <a:gdLst/>
                  <a:ahLst/>
                  <a:cxnLst/>
                  <a:rect l="l" t="t" r="r" b="b"/>
                  <a:pathLst>
                    <a:path w="1138" h="972" extrusionOk="0">
                      <a:moveTo>
                        <a:pt x="654" y="0"/>
                      </a:moveTo>
                      <a:cubicBezTo>
                        <a:pt x="218" y="0"/>
                        <a:pt x="1" y="521"/>
                        <a:pt x="303" y="823"/>
                      </a:cubicBezTo>
                      <a:cubicBezTo>
                        <a:pt x="406" y="926"/>
                        <a:pt x="531" y="972"/>
                        <a:pt x="652" y="972"/>
                      </a:cubicBezTo>
                      <a:cubicBezTo>
                        <a:pt x="902" y="972"/>
                        <a:pt x="1138"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36" name="Google Shape;4336;p66"/>
              <p:cNvGrpSpPr/>
              <p:nvPr/>
            </p:nvGrpSpPr>
            <p:grpSpPr>
              <a:xfrm>
                <a:off x="5233163" y="3764545"/>
                <a:ext cx="31499" cy="26898"/>
                <a:chOff x="5233163" y="3764545"/>
                <a:chExt cx="31499" cy="26898"/>
              </a:xfrm>
            </p:grpSpPr>
            <p:sp>
              <p:nvSpPr>
                <p:cNvPr id="4337" name="Google Shape;4337;p66"/>
                <p:cNvSpPr/>
                <p:nvPr/>
              </p:nvSpPr>
              <p:spPr>
                <a:xfrm>
                  <a:off x="5233163" y="3764545"/>
                  <a:ext cx="31499" cy="26898"/>
                </a:xfrm>
                <a:custGeom>
                  <a:avLst/>
                  <a:gdLst/>
                  <a:ahLst/>
                  <a:cxnLst/>
                  <a:rect l="l" t="t" r="r" b="b"/>
                  <a:pathLst>
                    <a:path w="4005" h="3420" extrusionOk="0">
                      <a:moveTo>
                        <a:pt x="2276" y="0"/>
                      </a:moveTo>
                      <a:cubicBezTo>
                        <a:pt x="1855" y="0"/>
                        <a:pt x="1426" y="156"/>
                        <a:pt x="1078" y="504"/>
                      </a:cubicBezTo>
                      <a:cubicBezTo>
                        <a:pt x="1" y="1581"/>
                        <a:pt x="763" y="3419"/>
                        <a:pt x="2287" y="3419"/>
                      </a:cubicBezTo>
                      <a:cubicBezTo>
                        <a:pt x="3231" y="3419"/>
                        <a:pt x="4005" y="2657"/>
                        <a:pt x="4005" y="1714"/>
                      </a:cubicBezTo>
                      <a:cubicBezTo>
                        <a:pt x="4005" y="682"/>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38" name="Google Shape;4338;p66"/>
                <p:cNvSpPr/>
                <p:nvPr/>
              </p:nvSpPr>
              <p:spPr>
                <a:xfrm>
                  <a:off x="5246108" y="3774211"/>
                  <a:ext cx="8856" cy="7590"/>
                </a:xfrm>
                <a:custGeom>
                  <a:avLst/>
                  <a:gdLst/>
                  <a:ahLst/>
                  <a:cxnLst/>
                  <a:rect l="l" t="t" r="r" b="b"/>
                  <a:pathLst>
                    <a:path w="1126" h="965" extrusionOk="0">
                      <a:moveTo>
                        <a:pt x="641" y="1"/>
                      </a:moveTo>
                      <a:cubicBezTo>
                        <a:pt x="218" y="1"/>
                        <a:pt x="0" y="521"/>
                        <a:pt x="303" y="823"/>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39" name="Google Shape;4339;p66"/>
              <p:cNvGrpSpPr/>
              <p:nvPr/>
            </p:nvGrpSpPr>
            <p:grpSpPr>
              <a:xfrm>
                <a:off x="5276168" y="3805545"/>
                <a:ext cx="31499" cy="26906"/>
                <a:chOff x="5276168" y="3805545"/>
                <a:chExt cx="31499" cy="26906"/>
              </a:xfrm>
            </p:grpSpPr>
            <p:sp>
              <p:nvSpPr>
                <p:cNvPr id="4340" name="Google Shape;4340;p66"/>
                <p:cNvSpPr/>
                <p:nvPr/>
              </p:nvSpPr>
              <p:spPr>
                <a:xfrm>
                  <a:off x="5276168" y="3805545"/>
                  <a:ext cx="31499" cy="26906"/>
                </a:xfrm>
                <a:custGeom>
                  <a:avLst/>
                  <a:gdLst/>
                  <a:ahLst/>
                  <a:cxnLst/>
                  <a:rect l="l" t="t" r="r" b="b"/>
                  <a:pathLst>
                    <a:path w="4005" h="3421" extrusionOk="0">
                      <a:moveTo>
                        <a:pt x="2281" y="1"/>
                      </a:moveTo>
                      <a:cubicBezTo>
                        <a:pt x="1860" y="1"/>
                        <a:pt x="1429" y="157"/>
                        <a:pt x="1077" y="505"/>
                      </a:cubicBezTo>
                      <a:cubicBezTo>
                        <a:pt x="1" y="1581"/>
                        <a:pt x="763" y="3420"/>
                        <a:pt x="2287" y="3420"/>
                      </a:cubicBezTo>
                      <a:cubicBezTo>
                        <a:pt x="3231" y="3420"/>
                        <a:pt x="4005" y="2658"/>
                        <a:pt x="4005" y="1714"/>
                      </a:cubicBezTo>
                      <a:cubicBezTo>
                        <a:pt x="4005" y="683"/>
                        <a:pt x="3163" y="1"/>
                        <a:pt x="228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1" name="Google Shape;4341;p66"/>
                <p:cNvSpPr/>
                <p:nvPr/>
              </p:nvSpPr>
              <p:spPr>
                <a:xfrm>
                  <a:off x="5289106" y="3815219"/>
                  <a:ext cx="8856" cy="7605"/>
                </a:xfrm>
                <a:custGeom>
                  <a:avLst/>
                  <a:gdLst/>
                  <a:ahLst/>
                  <a:cxnLst/>
                  <a:rect l="l" t="t" r="r" b="b"/>
                  <a:pathLst>
                    <a:path w="1126" h="967" extrusionOk="0">
                      <a:moveTo>
                        <a:pt x="642" y="1"/>
                      </a:moveTo>
                      <a:cubicBezTo>
                        <a:pt x="219" y="1"/>
                        <a:pt x="1" y="521"/>
                        <a:pt x="303" y="823"/>
                      </a:cubicBezTo>
                      <a:cubicBezTo>
                        <a:pt x="402" y="922"/>
                        <a:pt x="524" y="967"/>
                        <a:pt x="644" y="967"/>
                      </a:cubicBezTo>
                      <a:cubicBezTo>
                        <a:pt x="890" y="967"/>
                        <a:pt x="1126" y="778"/>
                        <a:pt x="1126" y="484"/>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42" name="Google Shape;4342;p66"/>
              <p:cNvGrpSpPr/>
              <p:nvPr/>
            </p:nvGrpSpPr>
            <p:grpSpPr>
              <a:xfrm>
                <a:off x="5294053" y="3851933"/>
                <a:ext cx="31405" cy="26945"/>
                <a:chOff x="5294053" y="3851933"/>
                <a:chExt cx="31405" cy="26945"/>
              </a:xfrm>
            </p:grpSpPr>
            <p:sp>
              <p:nvSpPr>
                <p:cNvPr id="4343" name="Google Shape;4343;p66"/>
                <p:cNvSpPr/>
                <p:nvPr/>
              </p:nvSpPr>
              <p:spPr>
                <a:xfrm>
                  <a:off x="5294053" y="3851933"/>
                  <a:ext cx="31405" cy="26945"/>
                </a:xfrm>
                <a:custGeom>
                  <a:avLst/>
                  <a:gdLst/>
                  <a:ahLst/>
                  <a:cxnLst/>
                  <a:rect l="l" t="t" r="r" b="b"/>
                  <a:pathLst>
                    <a:path w="3993" h="3426" extrusionOk="0">
                      <a:moveTo>
                        <a:pt x="2273" y="1"/>
                      </a:moveTo>
                      <a:cubicBezTo>
                        <a:pt x="1854" y="1"/>
                        <a:pt x="1426" y="158"/>
                        <a:pt x="1077" y="510"/>
                      </a:cubicBezTo>
                      <a:cubicBezTo>
                        <a:pt x="1" y="1587"/>
                        <a:pt x="763" y="3425"/>
                        <a:pt x="2287" y="3425"/>
                      </a:cubicBezTo>
                      <a:cubicBezTo>
                        <a:pt x="3231" y="3425"/>
                        <a:pt x="3993" y="2663"/>
                        <a:pt x="3993" y="1720"/>
                      </a:cubicBezTo>
                      <a:cubicBezTo>
                        <a:pt x="3993" y="688"/>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4" name="Google Shape;4344;p66"/>
                <p:cNvSpPr/>
                <p:nvPr/>
              </p:nvSpPr>
              <p:spPr>
                <a:xfrm>
                  <a:off x="5308234" y="3861552"/>
                  <a:ext cx="7621" cy="7621"/>
                </a:xfrm>
                <a:custGeom>
                  <a:avLst/>
                  <a:gdLst/>
                  <a:ahLst/>
                  <a:cxnLst/>
                  <a:rect l="l" t="t" r="r" b="b"/>
                  <a:pathLst>
                    <a:path w="969" h="969" extrusionOk="0">
                      <a:moveTo>
                        <a:pt x="484" y="1"/>
                      </a:moveTo>
                      <a:cubicBezTo>
                        <a:pt x="218" y="1"/>
                        <a:pt x="0" y="218"/>
                        <a:pt x="0" y="485"/>
                      </a:cubicBezTo>
                      <a:cubicBezTo>
                        <a:pt x="0" y="763"/>
                        <a:pt x="218" y="968"/>
                        <a:pt x="484" y="968"/>
                      </a:cubicBezTo>
                      <a:cubicBezTo>
                        <a:pt x="750" y="968"/>
                        <a:pt x="968" y="763"/>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45" name="Google Shape;4345;p66"/>
              <p:cNvGrpSpPr/>
              <p:nvPr/>
            </p:nvGrpSpPr>
            <p:grpSpPr>
              <a:xfrm>
                <a:off x="5341723" y="3851902"/>
                <a:ext cx="31405" cy="26977"/>
                <a:chOff x="5341723" y="3851902"/>
                <a:chExt cx="31405" cy="26977"/>
              </a:xfrm>
            </p:grpSpPr>
            <p:sp>
              <p:nvSpPr>
                <p:cNvPr id="4346" name="Google Shape;4346;p66"/>
                <p:cNvSpPr/>
                <p:nvPr/>
              </p:nvSpPr>
              <p:spPr>
                <a:xfrm>
                  <a:off x="5341723" y="3851902"/>
                  <a:ext cx="31405" cy="26977"/>
                </a:xfrm>
                <a:custGeom>
                  <a:avLst/>
                  <a:gdLst/>
                  <a:ahLst/>
                  <a:cxnLst/>
                  <a:rect l="l" t="t" r="r" b="b"/>
                  <a:pathLst>
                    <a:path w="3993" h="3430" extrusionOk="0">
                      <a:moveTo>
                        <a:pt x="2266" y="1"/>
                      </a:moveTo>
                      <a:cubicBezTo>
                        <a:pt x="1848" y="1"/>
                        <a:pt x="1423" y="156"/>
                        <a:pt x="1077" y="502"/>
                      </a:cubicBezTo>
                      <a:cubicBezTo>
                        <a:pt x="0" y="1578"/>
                        <a:pt x="762" y="3429"/>
                        <a:pt x="2287" y="3429"/>
                      </a:cubicBezTo>
                      <a:cubicBezTo>
                        <a:pt x="3230" y="3429"/>
                        <a:pt x="3992" y="2667"/>
                        <a:pt x="3992" y="1724"/>
                      </a:cubicBezTo>
                      <a:cubicBezTo>
                        <a:pt x="3992" y="690"/>
                        <a:pt x="3146" y="1"/>
                        <a:pt x="226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47" name="Google Shape;4347;p66"/>
                <p:cNvSpPr/>
                <p:nvPr/>
              </p:nvSpPr>
              <p:spPr>
                <a:xfrm>
                  <a:off x="5354567" y="3861647"/>
                  <a:ext cx="8950" cy="7590"/>
                </a:xfrm>
                <a:custGeom>
                  <a:avLst/>
                  <a:gdLst/>
                  <a:ahLst/>
                  <a:cxnLst/>
                  <a:rect l="l" t="t" r="r" b="b"/>
                  <a:pathLst>
                    <a:path w="1138" h="965" extrusionOk="0">
                      <a:moveTo>
                        <a:pt x="654" y="1"/>
                      </a:moveTo>
                      <a:cubicBezTo>
                        <a:pt x="218" y="1"/>
                        <a:pt x="0" y="521"/>
                        <a:pt x="303" y="823"/>
                      </a:cubicBezTo>
                      <a:cubicBezTo>
                        <a:pt x="404" y="921"/>
                        <a:pt x="527" y="964"/>
                        <a:pt x="646" y="964"/>
                      </a:cubicBezTo>
                      <a:cubicBezTo>
                        <a:pt x="898" y="964"/>
                        <a:pt x="1138" y="772"/>
                        <a:pt x="1138" y="485"/>
                      </a:cubicBezTo>
                      <a:cubicBezTo>
                        <a:pt x="1138" y="206"/>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48" name="Google Shape;4348;p66"/>
              <p:cNvGrpSpPr/>
              <p:nvPr/>
            </p:nvGrpSpPr>
            <p:grpSpPr>
              <a:xfrm>
                <a:off x="5054871" y="3507855"/>
                <a:ext cx="31405" cy="26993"/>
                <a:chOff x="5054871" y="3507855"/>
                <a:chExt cx="31405" cy="26993"/>
              </a:xfrm>
            </p:grpSpPr>
            <p:sp>
              <p:nvSpPr>
                <p:cNvPr id="4349" name="Google Shape;4349;p66"/>
                <p:cNvSpPr/>
                <p:nvPr/>
              </p:nvSpPr>
              <p:spPr>
                <a:xfrm>
                  <a:off x="5054871" y="3507855"/>
                  <a:ext cx="31405" cy="26993"/>
                </a:xfrm>
                <a:custGeom>
                  <a:avLst/>
                  <a:gdLst/>
                  <a:ahLst/>
                  <a:cxnLst/>
                  <a:rect l="l" t="t" r="r" b="b"/>
                  <a:pathLst>
                    <a:path w="3993" h="3432" extrusionOk="0">
                      <a:moveTo>
                        <a:pt x="2273" y="0"/>
                      </a:moveTo>
                      <a:cubicBezTo>
                        <a:pt x="1853" y="0"/>
                        <a:pt x="1425" y="156"/>
                        <a:pt x="1077" y="504"/>
                      </a:cubicBezTo>
                      <a:cubicBezTo>
                        <a:pt x="1" y="1581"/>
                        <a:pt x="763" y="3431"/>
                        <a:pt x="2287" y="3431"/>
                      </a:cubicBezTo>
                      <a:cubicBezTo>
                        <a:pt x="3230" y="3431"/>
                        <a:pt x="3993" y="2657"/>
                        <a:pt x="3993" y="1714"/>
                      </a:cubicBezTo>
                      <a:cubicBezTo>
                        <a:pt x="3993" y="682"/>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0" name="Google Shape;4350;p66"/>
                <p:cNvSpPr/>
                <p:nvPr/>
              </p:nvSpPr>
              <p:spPr>
                <a:xfrm>
                  <a:off x="5067715" y="3517521"/>
                  <a:ext cx="8950" cy="7605"/>
                </a:xfrm>
                <a:custGeom>
                  <a:avLst/>
                  <a:gdLst/>
                  <a:ahLst/>
                  <a:cxnLst/>
                  <a:rect l="l" t="t" r="r" b="b"/>
                  <a:pathLst>
                    <a:path w="1138" h="967" extrusionOk="0">
                      <a:moveTo>
                        <a:pt x="654" y="1"/>
                      </a:moveTo>
                      <a:cubicBezTo>
                        <a:pt x="218" y="1"/>
                        <a:pt x="1" y="521"/>
                        <a:pt x="315" y="823"/>
                      </a:cubicBezTo>
                      <a:cubicBezTo>
                        <a:pt x="414" y="922"/>
                        <a:pt x="536" y="967"/>
                        <a:pt x="656" y="967"/>
                      </a:cubicBezTo>
                      <a:cubicBezTo>
                        <a:pt x="902" y="967"/>
                        <a:pt x="1138" y="778"/>
                        <a:pt x="1138" y="485"/>
                      </a:cubicBezTo>
                      <a:cubicBezTo>
                        <a:pt x="1138" y="219"/>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51" name="Google Shape;4351;p66"/>
              <p:cNvGrpSpPr/>
              <p:nvPr/>
            </p:nvGrpSpPr>
            <p:grpSpPr>
              <a:xfrm>
                <a:off x="4876579" y="3675325"/>
                <a:ext cx="31405" cy="26969"/>
                <a:chOff x="4876579" y="3675325"/>
                <a:chExt cx="31405" cy="26969"/>
              </a:xfrm>
            </p:grpSpPr>
            <p:sp>
              <p:nvSpPr>
                <p:cNvPr id="4352" name="Google Shape;4352;p66"/>
                <p:cNvSpPr/>
                <p:nvPr/>
              </p:nvSpPr>
              <p:spPr>
                <a:xfrm>
                  <a:off x="4876579" y="3675325"/>
                  <a:ext cx="31405" cy="26969"/>
                </a:xfrm>
                <a:custGeom>
                  <a:avLst/>
                  <a:gdLst/>
                  <a:ahLst/>
                  <a:cxnLst/>
                  <a:rect l="l" t="t" r="r" b="b"/>
                  <a:pathLst>
                    <a:path w="3993" h="3429" extrusionOk="0">
                      <a:moveTo>
                        <a:pt x="2266" y="0"/>
                      </a:moveTo>
                      <a:cubicBezTo>
                        <a:pt x="1848" y="0"/>
                        <a:pt x="1423" y="155"/>
                        <a:pt x="1077" y="501"/>
                      </a:cubicBezTo>
                      <a:cubicBezTo>
                        <a:pt x="0" y="1578"/>
                        <a:pt x="762" y="3429"/>
                        <a:pt x="2287" y="3429"/>
                      </a:cubicBezTo>
                      <a:cubicBezTo>
                        <a:pt x="3230" y="3429"/>
                        <a:pt x="3992" y="2667"/>
                        <a:pt x="3992" y="1723"/>
                      </a:cubicBezTo>
                      <a:cubicBezTo>
                        <a:pt x="3992" y="689"/>
                        <a:pt x="3146" y="0"/>
                        <a:pt x="226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3" name="Google Shape;4353;p66"/>
                <p:cNvSpPr/>
                <p:nvPr/>
              </p:nvSpPr>
              <p:spPr>
                <a:xfrm>
                  <a:off x="4889517" y="3684975"/>
                  <a:ext cx="8856" cy="7676"/>
                </a:xfrm>
                <a:custGeom>
                  <a:avLst/>
                  <a:gdLst/>
                  <a:ahLst/>
                  <a:cxnLst/>
                  <a:rect l="l" t="t" r="r" b="b"/>
                  <a:pathLst>
                    <a:path w="1126" h="976" extrusionOk="0">
                      <a:moveTo>
                        <a:pt x="642" y="0"/>
                      </a:moveTo>
                      <a:cubicBezTo>
                        <a:pt x="218" y="12"/>
                        <a:pt x="0" y="520"/>
                        <a:pt x="303" y="835"/>
                      </a:cubicBezTo>
                      <a:cubicBezTo>
                        <a:pt x="400" y="932"/>
                        <a:pt x="520" y="976"/>
                        <a:pt x="638" y="976"/>
                      </a:cubicBezTo>
                      <a:cubicBezTo>
                        <a:pt x="886" y="976"/>
                        <a:pt x="1125" y="783"/>
                        <a:pt x="1125" y="496"/>
                      </a:cubicBezTo>
                      <a:cubicBezTo>
                        <a:pt x="1125"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54" name="Google Shape;4354;p66"/>
              <p:cNvGrpSpPr/>
              <p:nvPr/>
            </p:nvGrpSpPr>
            <p:grpSpPr>
              <a:xfrm>
                <a:off x="4842233" y="3688333"/>
                <a:ext cx="31405" cy="26993"/>
                <a:chOff x="4842233" y="3688333"/>
                <a:chExt cx="31405" cy="26993"/>
              </a:xfrm>
            </p:grpSpPr>
            <p:sp>
              <p:nvSpPr>
                <p:cNvPr id="4355" name="Google Shape;4355;p66"/>
                <p:cNvSpPr/>
                <p:nvPr/>
              </p:nvSpPr>
              <p:spPr>
                <a:xfrm>
                  <a:off x="4842233" y="3688333"/>
                  <a:ext cx="31405" cy="26993"/>
                </a:xfrm>
                <a:custGeom>
                  <a:avLst/>
                  <a:gdLst/>
                  <a:ahLst/>
                  <a:cxnLst/>
                  <a:rect l="l" t="t" r="r" b="b"/>
                  <a:pathLst>
                    <a:path w="3993" h="3432" extrusionOk="0">
                      <a:moveTo>
                        <a:pt x="2273" y="1"/>
                      </a:moveTo>
                      <a:cubicBezTo>
                        <a:pt x="1853" y="1"/>
                        <a:pt x="1425" y="156"/>
                        <a:pt x="1077" y="505"/>
                      </a:cubicBezTo>
                      <a:cubicBezTo>
                        <a:pt x="0" y="1581"/>
                        <a:pt x="762" y="3420"/>
                        <a:pt x="2287" y="3432"/>
                      </a:cubicBezTo>
                      <a:cubicBezTo>
                        <a:pt x="3230" y="3432"/>
                        <a:pt x="3992" y="2658"/>
                        <a:pt x="3992" y="1714"/>
                      </a:cubicBezTo>
                      <a:cubicBezTo>
                        <a:pt x="3992" y="683"/>
                        <a:pt x="3150"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6" name="Google Shape;4356;p66"/>
                <p:cNvSpPr/>
                <p:nvPr/>
              </p:nvSpPr>
              <p:spPr>
                <a:xfrm>
                  <a:off x="4855076" y="3698094"/>
                  <a:ext cx="8856" cy="7590"/>
                </a:xfrm>
                <a:custGeom>
                  <a:avLst/>
                  <a:gdLst/>
                  <a:ahLst/>
                  <a:cxnLst/>
                  <a:rect l="l" t="t" r="r" b="b"/>
                  <a:pathLst>
                    <a:path w="1126" h="965" extrusionOk="0">
                      <a:moveTo>
                        <a:pt x="664" y="1"/>
                      </a:moveTo>
                      <a:cubicBezTo>
                        <a:pt x="656" y="1"/>
                        <a:pt x="649" y="1"/>
                        <a:pt x="641" y="1"/>
                      </a:cubicBezTo>
                      <a:cubicBezTo>
                        <a:pt x="218" y="1"/>
                        <a:pt x="0" y="522"/>
                        <a:pt x="303" y="824"/>
                      </a:cubicBezTo>
                      <a:cubicBezTo>
                        <a:pt x="400" y="921"/>
                        <a:pt x="520" y="965"/>
                        <a:pt x="638" y="965"/>
                      </a:cubicBezTo>
                      <a:cubicBezTo>
                        <a:pt x="886" y="965"/>
                        <a:pt x="1125" y="772"/>
                        <a:pt x="1125" y="485"/>
                      </a:cubicBezTo>
                      <a:cubicBezTo>
                        <a:pt x="1125" y="215"/>
                        <a:pt x="931" y="1"/>
                        <a:pt x="66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57" name="Google Shape;4357;p66"/>
              <p:cNvGrpSpPr/>
              <p:nvPr/>
            </p:nvGrpSpPr>
            <p:grpSpPr>
              <a:xfrm>
                <a:off x="5187876" y="3608032"/>
                <a:ext cx="31405" cy="27001"/>
                <a:chOff x="5187876" y="3608032"/>
                <a:chExt cx="31405" cy="27001"/>
              </a:xfrm>
            </p:grpSpPr>
            <p:sp>
              <p:nvSpPr>
                <p:cNvPr id="4358" name="Google Shape;4358;p66"/>
                <p:cNvSpPr/>
                <p:nvPr/>
              </p:nvSpPr>
              <p:spPr>
                <a:xfrm>
                  <a:off x="5187876" y="3608032"/>
                  <a:ext cx="31405" cy="27001"/>
                </a:xfrm>
                <a:custGeom>
                  <a:avLst/>
                  <a:gdLst/>
                  <a:ahLst/>
                  <a:cxnLst/>
                  <a:rect l="l" t="t" r="r" b="b"/>
                  <a:pathLst>
                    <a:path w="3993" h="3433" extrusionOk="0">
                      <a:moveTo>
                        <a:pt x="2273" y="1"/>
                      </a:moveTo>
                      <a:cubicBezTo>
                        <a:pt x="1853" y="1"/>
                        <a:pt x="1426" y="157"/>
                        <a:pt x="1077" y="505"/>
                      </a:cubicBezTo>
                      <a:cubicBezTo>
                        <a:pt x="1" y="1582"/>
                        <a:pt x="763" y="3432"/>
                        <a:pt x="2287" y="3432"/>
                      </a:cubicBezTo>
                      <a:cubicBezTo>
                        <a:pt x="3231" y="3420"/>
                        <a:pt x="3993" y="2658"/>
                        <a:pt x="3993" y="1715"/>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59" name="Google Shape;4359;p66"/>
                <p:cNvSpPr/>
                <p:nvPr/>
              </p:nvSpPr>
              <p:spPr>
                <a:xfrm>
                  <a:off x="5202057" y="3617706"/>
                  <a:ext cx="7621" cy="7621"/>
                </a:xfrm>
                <a:custGeom>
                  <a:avLst/>
                  <a:gdLst/>
                  <a:ahLst/>
                  <a:cxnLst/>
                  <a:rect l="l" t="t" r="r" b="b"/>
                  <a:pathLst>
                    <a:path w="969"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360" name="Google Shape;4360;p66"/>
              <p:cNvSpPr/>
              <p:nvPr/>
            </p:nvSpPr>
            <p:spPr>
              <a:xfrm>
                <a:off x="5142589" y="3410030"/>
                <a:ext cx="42542" cy="36525"/>
              </a:xfrm>
              <a:custGeom>
                <a:avLst/>
                <a:gdLst/>
                <a:ahLst/>
                <a:cxnLst/>
                <a:rect l="l" t="t" r="r" b="b"/>
                <a:pathLst>
                  <a:path w="5409" h="4644" extrusionOk="0">
                    <a:moveTo>
                      <a:pt x="3085" y="1"/>
                    </a:moveTo>
                    <a:cubicBezTo>
                      <a:pt x="2516" y="1"/>
                      <a:pt x="1935" y="213"/>
                      <a:pt x="1465" y="688"/>
                    </a:cubicBezTo>
                    <a:cubicBezTo>
                      <a:pt x="1" y="2140"/>
                      <a:pt x="1029" y="4632"/>
                      <a:pt x="3098" y="4644"/>
                    </a:cubicBezTo>
                    <a:cubicBezTo>
                      <a:pt x="4380" y="4632"/>
                      <a:pt x="5408" y="3603"/>
                      <a:pt x="5408" y="2321"/>
                    </a:cubicBezTo>
                    <a:cubicBezTo>
                      <a:pt x="5408" y="923"/>
                      <a:pt x="4270" y="1"/>
                      <a:pt x="30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1" name="Google Shape;4361;p66"/>
              <p:cNvSpPr/>
              <p:nvPr/>
            </p:nvSpPr>
            <p:spPr>
              <a:xfrm>
                <a:off x="5158382" y="3419720"/>
                <a:ext cx="17138" cy="17130"/>
              </a:xfrm>
              <a:custGeom>
                <a:avLst/>
                <a:gdLst/>
                <a:ahLst/>
                <a:cxnLst/>
                <a:rect l="l" t="t" r="r" b="b"/>
                <a:pathLst>
                  <a:path w="2179" h="2178" extrusionOk="0">
                    <a:moveTo>
                      <a:pt x="1090" y="0"/>
                    </a:moveTo>
                    <a:cubicBezTo>
                      <a:pt x="485" y="0"/>
                      <a:pt x="1" y="484"/>
                      <a:pt x="1" y="1089"/>
                    </a:cubicBezTo>
                    <a:cubicBezTo>
                      <a:pt x="1" y="1694"/>
                      <a:pt x="485" y="2178"/>
                      <a:pt x="1090" y="2178"/>
                    </a:cubicBezTo>
                    <a:cubicBezTo>
                      <a:pt x="1694" y="2178"/>
                      <a:pt x="2178" y="1694"/>
                      <a:pt x="2178" y="1089"/>
                    </a:cubicBezTo>
                    <a:cubicBezTo>
                      <a:pt x="2178" y="484"/>
                      <a:pt x="1694" y="0"/>
                      <a:pt x="109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362" name="Google Shape;4362;p66"/>
              <p:cNvGrpSpPr/>
              <p:nvPr/>
            </p:nvGrpSpPr>
            <p:grpSpPr>
              <a:xfrm>
                <a:off x="5269224" y="3304167"/>
                <a:ext cx="40253" cy="34402"/>
                <a:chOff x="5269224" y="3304167"/>
                <a:chExt cx="40253" cy="34402"/>
              </a:xfrm>
            </p:grpSpPr>
            <p:sp>
              <p:nvSpPr>
                <p:cNvPr id="4363" name="Google Shape;4363;p66"/>
                <p:cNvSpPr/>
                <p:nvPr/>
              </p:nvSpPr>
              <p:spPr>
                <a:xfrm>
                  <a:off x="5269224" y="3304167"/>
                  <a:ext cx="40253" cy="34402"/>
                </a:xfrm>
                <a:custGeom>
                  <a:avLst/>
                  <a:gdLst/>
                  <a:ahLst/>
                  <a:cxnLst/>
                  <a:rect l="l" t="t" r="r" b="b"/>
                  <a:pathLst>
                    <a:path w="5118" h="4374" extrusionOk="0">
                      <a:moveTo>
                        <a:pt x="2915" y="0"/>
                      </a:moveTo>
                      <a:cubicBezTo>
                        <a:pt x="2376" y="0"/>
                        <a:pt x="1827" y="201"/>
                        <a:pt x="1380" y="648"/>
                      </a:cubicBezTo>
                      <a:cubicBezTo>
                        <a:pt x="1" y="2015"/>
                        <a:pt x="980" y="4374"/>
                        <a:pt x="2928" y="4374"/>
                      </a:cubicBezTo>
                      <a:cubicBezTo>
                        <a:pt x="4126" y="4374"/>
                        <a:pt x="5105" y="3394"/>
                        <a:pt x="5118" y="2184"/>
                      </a:cubicBezTo>
                      <a:cubicBezTo>
                        <a:pt x="5109" y="869"/>
                        <a:pt x="4036" y="0"/>
                        <a:pt x="291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4" name="Google Shape;4364;p66"/>
                <p:cNvSpPr/>
                <p:nvPr/>
              </p:nvSpPr>
              <p:spPr>
                <a:xfrm>
                  <a:off x="5284639" y="3313826"/>
                  <a:ext cx="15132" cy="15140"/>
                </a:xfrm>
                <a:custGeom>
                  <a:avLst/>
                  <a:gdLst/>
                  <a:ahLst/>
                  <a:cxnLst/>
                  <a:rect l="l" t="t" r="r" b="b"/>
                  <a:pathLst>
                    <a:path w="1924" h="1925" extrusionOk="0">
                      <a:moveTo>
                        <a:pt x="968" y="1"/>
                      </a:moveTo>
                      <a:cubicBezTo>
                        <a:pt x="436" y="1"/>
                        <a:pt x="0" y="436"/>
                        <a:pt x="0" y="956"/>
                      </a:cubicBezTo>
                      <a:cubicBezTo>
                        <a:pt x="0" y="1489"/>
                        <a:pt x="436" y="1924"/>
                        <a:pt x="968" y="1924"/>
                      </a:cubicBezTo>
                      <a:cubicBezTo>
                        <a:pt x="1500" y="1924"/>
                        <a:pt x="1924" y="1489"/>
                        <a:pt x="1924" y="956"/>
                      </a:cubicBezTo>
                      <a:cubicBezTo>
                        <a:pt x="1924" y="436"/>
                        <a:pt x="1500" y="1"/>
                        <a:pt x="96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65" name="Google Shape;4365;p66"/>
              <p:cNvGrpSpPr/>
              <p:nvPr/>
            </p:nvGrpSpPr>
            <p:grpSpPr>
              <a:xfrm>
                <a:off x="5327354" y="3476615"/>
                <a:ext cx="49864" cy="42723"/>
                <a:chOff x="5327354" y="3476615"/>
                <a:chExt cx="49864" cy="42723"/>
              </a:xfrm>
            </p:grpSpPr>
            <p:sp>
              <p:nvSpPr>
                <p:cNvPr id="4366" name="Google Shape;4366;p66"/>
                <p:cNvSpPr/>
                <p:nvPr/>
              </p:nvSpPr>
              <p:spPr>
                <a:xfrm>
                  <a:off x="5327354" y="3476615"/>
                  <a:ext cx="49864" cy="42723"/>
                </a:xfrm>
                <a:custGeom>
                  <a:avLst/>
                  <a:gdLst/>
                  <a:ahLst/>
                  <a:cxnLst/>
                  <a:rect l="l" t="t" r="r" b="b"/>
                  <a:pathLst>
                    <a:path w="6340" h="5432" extrusionOk="0">
                      <a:moveTo>
                        <a:pt x="3602" y="1"/>
                      </a:moveTo>
                      <a:cubicBezTo>
                        <a:pt x="2936" y="1"/>
                        <a:pt x="2257" y="248"/>
                        <a:pt x="1706" y="799"/>
                      </a:cubicBezTo>
                      <a:cubicBezTo>
                        <a:pt x="1" y="2504"/>
                        <a:pt x="1210" y="5432"/>
                        <a:pt x="3630" y="5432"/>
                      </a:cubicBezTo>
                      <a:cubicBezTo>
                        <a:pt x="5118" y="5432"/>
                        <a:pt x="6339" y="4222"/>
                        <a:pt x="6339" y="2722"/>
                      </a:cubicBezTo>
                      <a:cubicBezTo>
                        <a:pt x="6339" y="1084"/>
                        <a:pt x="4998" y="1"/>
                        <a:pt x="360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7" name="Google Shape;4367;p66"/>
                <p:cNvSpPr/>
                <p:nvPr/>
              </p:nvSpPr>
              <p:spPr>
                <a:xfrm>
                  <a:off x="5340197" y="3486321"/>
                  <a:ext cx="27315" cy="23406"/>
                </a:xfrm>
                <a:custGeom>
                  <a:avLst/>
                  <a:gdLst/>
                  <a:ahLst/>
                  <a:cxnLst/>
                  <a:rect l="l" t="t" r="r" b="b"/>
                  <a:pathLst>
                    <a:path w="3473" h="2976" extrusionOk="0">
                      <a:moveTo>
                        <a:pt x="1985" y="0"/>
                      </a:moveTo>
                      <a:cubicBezTo>
                        <a:pt x="666" y="0"/>
                        <a:pt x="1" y="1597"/>
                        <a:pt x="944" y="2540"/>
                      </a:cubicBezTo>
                      <a:cubicBezTo>
                        <a:pt x="1245" y="2841"/>
                        <a:pt x="1614" y="2975"/>
                        <a:pt x="1977" y="2975"/>
                      </a:cubicBezTo>
                      <a:cubicBezTo>
                        <a:pt x="2739" y="2975"/>
                        <a:pt x="3473" y="2381"/>
                        <a:pt x="3473" y="1488"/>
                      </a:cubicBezTo>
                      <a:cubicBezTo>
                        <a:pt x="3473" y="665"/>
                        <a:pt x="2807" y="0"/>
                        <a:pt x="19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368" name="Google Shape;4368;p66"/>
              <p:cNvSpPr/>
              <p:nvPr/>
            </p:nvSpPr>
            <p:spPr>
              <a:xfrm>
                <a:off x="5290255" y="3703080"/>
                <a:ext cx="31397" cy="26898"/>
              </a:xfrm>
              <a:custGeom>
                <a:avLst/>
                <a:gdLst/>
                <a:ahLst/>
                <a:cxnLst/>
                <a:rect l="l" t="t" r="r" b="b"/>
                <a:pathLst>
                  <a:path w="3992" h="3420" extrusionOk="0">
                    <a:moveTo>
                      <a:pt x="2272" y="1"/>
                    </a:moveTo>
                    <a:cubicBezTo>
                      <a:pt x="1853" y="1"/>
                      <a:pt x="1425" y="156"/>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69" name="Google Shape;4369;p66"/>
              <p:cNvSpPr/>
              <p:nvPr/>
            </p:nvSpPr>
            <p:spPr>
              <a:xfrm>
                <a:off x="5304427" y="3712754"/>
                <a:ext cx="7621" cy="7621"/>
              </a:xfrm>
              <a:custGeom>
                <a:avLst/>
                <a:gdLst/>
                <a:ahLst/>
                <a:cxnLst/>
                <a:rect l="l" t="t" r="r" b="b"/>
                <a:pathLst>
                  <a:path w="969" h="969"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370" name="Google Shape;4370;p66"/>
              <p:cNvGrpSpPr/>
              <p:nvPr/>
            </p:nvGrpSpPr>
            <p:grpSpPr>
              <a:xfrm>
                <a:off x="5341723" y="3775957"/>
                <a:ext cx="31405" cy="26898"/>
                <a:chOff x="5341723" y="3775957"/>
                <a:chExt cx="31405" cy="26898"/>
              </a:xfrm>
            </p:grpSpPr>
            <p:sp>
              <p:nvSpPr>
                <p:cNvPr id="4371" name="Google Shape;4371;p66"/>
                <p:cNvSpPr/>
                <p:nvPr/>
              </p:nvSpPr>
              <p:spPr>
                <a:xfrm>
                  <a:off x="5341723" y="3775957"/>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2" name="Google Shape;4372;p66"/>
                <p:cNvSpPr/>
                <p:nvPr/>
              </p:nvSpPr>
              <p:spPr>
                <a:xfrm>
                  <a:off x="5354567" y="3785631"/>
                  <a:ext cx="8950" cy="7605"/>
                </a:xfrm>
                <a:custGeom>
                  <a:avLst/>
                  <a:gdLst/>
                  <a:ahLst/>
                  <a:cxnLst/>
                  <a:rect l="l" t="t" r="r" b="b"/>
                  <a:pathLst>
                    <a:path w="1138" h="967" extrusionOk="0">
                      <a:moveTo>
                        <a:pt x="654" y="0"/>
                      </a:moveTo>
                      <a:cubicBezTo>
                        <a:pt x="218" y="0"/>
                        <a:pt x="0" y="521"/>
                        <a:pt x="303" y="823"/>
                      </a:cubicBezTo>
                      <a:cubicBezTo>
                        <a:pt x="402" y="922"/>
                        <a:pt x="525" y="966"/>
                        <a:pt x="646" y="966"/>
                      </a:cubicBezTo>
                      <a:cubicBezTo>
                        <a:pt x="896" y="966"/>
                        <a:pt x="1138"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73" name="Google Shape;4373;p66"/>
              <p:cNvGrpSpPr/>
              <p:nvPr/>
            </p:nvGrpSpPr>
            <p:grpSpPr>
              <a:xfrm>
                <a:off x="5439053" y="3699274"/>
                <a:ext cx="31405" cy="26898"/>
                <a:chOff x="5439053" y="3699274"/>
                <a:chExt cx="31405" cy="26898"/>
              </a:xfrm>
            </p:grpSpPr>
            <p:sp>
              <p:nvSpPr>
                <p:cNvPr id="4374" name="Google Shape;4374;p66"/>
                <p:cNvSpPr/>
                <p:nvPr/>
              </p:nvSpPr>
              <p:spPr>
                <a:xfrm>
                  <a:off x="5439053" y="3699274"/>
                  <a:ext cx="31405" cy="26898"/>
                </a:xfrm>
                <a:custGeom>
                  <a:avLst/>
                  <a:gdLst/>
                  <a:ahLst/>
                  <a:cxnLst/>
                  <a:rect l="l" t="t" r="r" b="b"/>
                  <a:pathLst>
                    <a:path w="3993" h="3420" extrusionOk="0">
                      <a:moveTo>
                        <a:pt x="2273" y="1"/>
                      </a:moveTo>
                      <a:cubicBezTo>
                        <a:pt x="1853" y="1"/>
                        <a:pt x="1425" y="157"/>
                        <a:pt x="1077" y="505"/>
                      </a:cubicBezTo>
                      <a:cubicBezTo>
                        <a:pt x="0" y="1581"/>
                        <a:pt x="762"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5" name="Google Shape;4375;p66"/>
                <p:cNvSpPr/>
                <p:nvPr/>
              </p:nvSpPr>
              <p:spPr>
                <a:xfrm>
                  <a:off x="5453225" y="3708948"/>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76" name="Google Shape;4376;p66"/>
              <p:cNvGrpSpPr/>
              <p:nvPr/>
            </p:nvGrpSpPr>
            <p:grpSpPr>
              <a:xfrm>
                <a:off x="5412414" y="3622307"/>
                <a:ext cx="31499" cy="26993"/>
                <a:chOff x="5412414" y="3622307"/>
                <a:chExt cx="31499" cy="26993"/>
              </a:xfrm>
            </p:grpSpPr>
            <p:sp>
              <p:nvSpPr>
                <p:cNvPr id="4377" name="Google Shape;4377;p66"/>
                <p:cNvSpPr/>
                <p:nvPr/>
              </p:nvSpPr>
              <p:spPr>
                <a:xfrm>
                  <a:off x="5412414" y="3622307"/>
                  <a:ext cx="31499" cy="26993"/>
                </a:xfrm>
                <a:custGeom>
                  <a:avLst/>
                  <a:gdLst/>
                  <a:ahLst/>
                  <a:cxnLst/>
                  <a:rect l="l" t="t" r="r" b="b"/>
                  <a:pathLst>
                    <a:path w="4005" h="3432" extrusionOk="0">
                      <a:moveTo>
                        <a:pt x="2285" y="0"/>
                      </a:moveTo>
                      <a:cubicBezTo>
                        <a:pt x="1865" y="0"/>
                        <a:pt x="1437" y="156"/>
                        <a:pt x="1089" y="504"/>
                      </a:cubicBezTo>
                      <a:cubicBezTo>
                        <a:pt x="0" y="1581"/>
                        <a:pt x="774" y="3432"/>
                        <a:pt x="2299" y="3432"/>
                      </a:cubicBezTo>
                      <a:cubicBezTo>
                        <a:pt x="3242" y="3432"/>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78" name="Google Shape;4378;p66"/>
                <p:cNvSpPr/>
                <p:nvPr/>
              </p:nvSpPr>
              <p:spPr>
                <a:xfrm>
                  <a:off x="5426681" y="3632075"/>
                  <a:ext cx="7527" cy="7519"/>
                </a:xfrm>
                <a:custGeom>
                  <a:avLst/>
                  <a:gdLst/>
                  <a:ahLst/>
                  <a:cxnLst/>
                  <a:rect l="l" t="t" r="r" b="b"/>
                  <a:pathLst>
                    <a:path w="957" h="956" extrusionOk="0">
                      <a:moveTo>
                        <a:pt x="485" y="0"/>
                      </a:moveTo>
                      <a:cubicBezTo>
                        <a:pt x="206" y="0"/>
                        <a:pt x="1" y="206"/>
                        <a:pt x="1" y="472"/>
                      </a:cubicBezTo>
                      <a:cubicBezTo>
                        <a:pt x="1" y="738"/>
                        <a:pt x="206" y="956"/>
                        <a:pt x="485" y="956"/>
                      </a:cubicBezTo>
                      <a:cubicBezTo>
                        <a:pt x="751" y="956"/>
                        <a:pt x="956" y="738"/>
                        <a:pt x="956" y="472"/>
                      </a:cubicBezTo>
                      <a:cubicBezTo>
                        <a:pt x="956" y="206"/>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79" name="Google Shape;4379;p66"/>
              <p:cNvGrpSpPr/>
              <p:nvPr/>
            </p:nvGrpSpPr>
            <p:grpSpPr>
              <a:xfrm>
                <a:off x="5476254" y="3473949"/>
                <a:ext cx="26835" cy="26930"/>
                <a:chOff x="5476254" y="3473949"/>
                <a:chExt cx="26835" cy="26930"/>
              </a:xfrm>
            </p:grpSpPr>
            <p:sp>
              <p:nvSpPr>
                <p:cNvPr id="4380" name="Google Shape;4380;p66"/>
                <p:cNvSpPr/>
                <p:nvPr/>
              </p:nvSpPr>
              <p:spPr>
                <a:xfrm>
                  <a:off x="5476254" y="3473949"/>
                  <a:ext cx="26835" cy="26930"/>
                </a:xfrm>
                <a:custGeom>
                  <a:avLst/>
                  <a:gdLst/>
                  <a:ahLst/>
                  <a:cxnLst/>
                  <a:rect l="l" t="t" r="r" b="b"/>
                  <a:pathLst>
                    <a:path w="3412" h="3424" extrusionOk="0">
                      <a:moveTo>
                        <a:pt x="1706" y="1"/>
                      </a:moveTo>
                      <a:cubicBezTo>
                        <a:pt x="762" y="1"/>
                        <a:pt x="0" y="775"/>
                        <a:pt x="0" y="1718"/>
                      </a:cubicBezTo>
                      <a:cubicBezTo>
                        <a:pt x="0" y="2662"/>
                        <a:pt x="762" y="3424"/>
                        <a:pt x="1706" y="3424"/>
                      </a:cubicBezTo>
                      <a:cubicBezTo>
                        <a:pt x="2649" y="3424"/>
                        <a:pt x="3411" y="2662"/>
                        <a:pt x="3411" y="1718"/>
                      </a:cubicBezTo>
                      <a:cubicBezTo>
                        <a:pt x="3411" y="775"/>
                        <a:pt x="2649" y="1"/>
                        <a:pt x="170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1" name="Google Shape;4381;p66"/>
                <p:cNvSpPr/>
                <p:nvPr/>
              </p:nvSpPr>
              <p:spPr>
                <a:xfrm>
                  <a:off x="5485857" y="3483655"/>
                  <a:ext cx="7621" cy="7621"/>
                </a:xfrm>
                <a:custGeom>
                  <a:avLst/>
                  <a:gdLst/>
                  <a:ahLst/>
                  <a:cxnLst/>
                  <a:rect l="l" t="t" r="r" b="b"/>
                  <a:pathLst>
                    <a:path w="969" h="969"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82" name="Google Shape;4382;p66"/>
              <p:cNvGrpSpPr/>
              <p:nvPr/>
            </p:nvGrpSpPr>
            <p:grpSpPr>
              <a:xfrm>
                <a:off x="5564547" y="3481594"/>
                <a:ext cx="31397" cy="26898"/>
                <a:chOff x="5564547" y="3481594"/>
                <a:chExt cx="31397" cy="26898"/>
              </a:xfrm>
            </p:grpSpPr>
            <p:sp>
              <p:nvSpPr>
                <p:cNvPr id="4383" name="Google Shape;4383;p66"/>
                <p:cNvSpPr/>
                <p:nvPr/>
              </p:nvSpPr>
              <p:spPr>
                <a:xfrm>
                  <a:off x="5564547" y="3481594"/>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4" name="Google Shape;4384;p66"/>
                <p:cNvSpPr/>
                <p:nvPr/>
              </p:nvSpPr>
              <p:spPr>
                <a:xfrm>
                  <a:off x="5578719" y="3491268"/>
                  <a:ext cx="7621" cy="7613"/>
                </a:xfrm>
                <a:custGeom>
                  <a:avLst/>
                  <a:gdLst/>
                  <a:ahLst/>
                  <a:cxnLst/>
                  <a:rect l="l" t="t" r="r" b="b"/>
                  <a:pathLst>
                    <a:path w="969"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85" name="Google Shape;4385;p66"/>
              <p:cNvGrpSpPr/>
              <p:nvPr/>
            </p:nvGrpSpPr>
            <p:grpSpPr>
              <a:xfrm>
                <a:off x="5534101" y="3470174"/>
                <a:ext cx="31397" cy="26906"/>
                <a:chOff x="5534101" y="3470174"/>
                <a:chExt cx="31397" cy="26906"/>
              </a:xfrm>
            </p:grpSpPr>
            <p:sp>
              <p:nvSpPr>
                <p:cNvPr id="4386" name="Google Shape;4386;p66"/>
                <p:cNvSpPr/>
                <p:nvPr/>
              </p:nvSpPr>
              <p:spPr>
                <a:xfrm>
                  <a:off x="5534101" y="3470174"/>
                  <a:ext cx="31397" cy="26906"/>
                </a:xfrm>
                <a:custGeom>
                  <a:avLst/>
                  <a:gdLst/>
                  <a:ahLst/>
                  <a:cxnLst/>
                  <a:rect l="l" t="t" r="r" b="b"/>
                  <a:pathLst>
                    <a:path w="3992" h="3421" extrusionOk="0">
                      <a:moveTo>
                        <a:pt x="2272" y="1"/>
                      </a:moveTo>
                      <a:cubicBezTo>
                        <a:pt x="1853" y="1"/>
                        <a:pt x="1425" y="157"/>
                        <a:pt x="1077" y="505"/>
                      </a:cubicBezTo>
                      <a:cubicBezTo>
                        <a:pt x="0" y="1581"/>
                        <a:pt x="762" y="3420"/>
                        <a:pt x="2286" y="3420"/>
                      </a:cubicBezTo>
                      <a:cubicBezTo>
                        <a:pt x="3230" y="3420"/>
                        <a:pt x="3992" y="2658"/>
                        <a:pt x="3992" y="1714"/>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87" name="Google Shape;4387;p66"/>
                <p:cNvSpPr/>
                <p:nvPr/>
              </p:nvSpPr>
              <p:spPr>
                <a:xfrm>
                  <a:off x="5546945" y="3479848"/>
                  <a:ext cx="8950" cy="7582"/>
                </a:xfrm>
                <a:custGeom>
                  <a:avLst/>
                  <a:gdLst/>
                  <a:ahLst/>
                  <a:cxnLst/>
                  <a:rect l="l" t="t" r="r" b="b"/>
                  <a:pathLst>
                    <a:path w="1138" h="964" extrusionOk="0">
                      <a:moveTo>
                        <a:pt x="653" y="1"/>
                      </a:moveTo>
                      <a:cubicBezTo>
                        <a:pt x="218" y="1"/>
                        <a:pt x="0" y="521"/>
                        <a:pt x="303" y="823"/>
                      </a:cubicBezTo>
                      <a:cubicBezTo>
                        <a:pt x="404" y="921"/>
                        <a:pt x="526" y="964"/>
                        <a:pt x="646" y="964"/>
                      </a:cubicBezTo>
                      <a:cubicBezTo>
                        <a:pt x="898" y="964"/>
                        <a:pt x="1137" y="771"/>
                        <a:pt x="1137" y="484"/>
                      </a:cubicBezTo>
                      <a:cubicBezTo>
                        <a:pt x="1137" y="218"/>
                        <a:pt x="919"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88" name="Google Shape;4388;p66"/>
              <p:cNvGrpSpPr/>
              <p:nvPr/>
            </p:nvGrpSpPr>
            <p:grpSpPr>
              <a:xfrm>
                <a:off x="5610879" y="3314486"/>
                <a:ext cx="31499" cy="26938"/>
                <a:chOff x="5610879" y="3314486"/>
                <a:chExt cx="31499" cy="26938"/>
              </a:xfrm>
            </p:grpSpPr>
            <p:sp>
              <p:nvSpPr>
                <p:cNvPr id="4389" name="Google Shape;4389;p66"/>
                <p:cNvSpPr/>
                <p:nvPr/>
              </p:nvSpPr>
              <p:spPr>
                <a:xfrm>
                  <a:off x="5610879" y="3314486"/>
                  <a:ext cx="31499" cy="26938"/>
                </a:xfrm>
                <a:custGeom>
                  <a:avLst/>
                  <a:gdLst/>
                  <a:ahLst/>
                  <a:cxnLst/>
                  <a:rect l="l" t="t" r="r" b="b"/>
                  <a:pathLst>
                    <a:path w="4005" h="3425" extrusionOk="0">
                      <a:moveTo>
                        <a:pt x="2285" y="0"/>
                      </a:moveTo>
                      <a:cubicBezTo>
                        <a:pt x="1865" y="0"/>
                        <a:pt x="1437" y="157"/>
                        <a:pt x="1089" y="509"/>
                      </a:cubicBezTo>
                      <a:cubicBezTo>
                        <a:pt x="0" y="1586"/>
                        <a:pt x="774" y="3425"/>
                        <a:pt x="2299" y="3425"/>
                      </a:cubicBezTo>
                      <a:cubicBezTo>
                        <a:pt x="3242" y="3425"/>
                        <a:pt x="4004" y="2663"/>
                        <a:pt x="4004" y="1719"/>
                      </a:cubicBezTo>
                      <a:cubicBezTo>
                        <a:pt x="4004" y="688"/>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0" name="Google Shape;4390;p66"/>
                <p:cNvSpPr/>
                <p:nvPr/>
              </p:nvSpPr>
              <p:spPr>
                <a:xfrm>
                  <a:off x="5623817" y="3324192"/>
                  <a:ext cx="8950" cy="7590"/>
                </a:xfrm>
                <a:custGeom>
                  <a:avLst/>
                  <a:gdLst/>
                  <a:ahLst/>
                  <a:cxnLst/>
                  <a:rect l="l" t="t" r="r" b="b"/>
                  <a:pathLst>
                    <a:path w="1138" h="965" extrusionOk="0">
                      <a:moveTo>
                        <a:pt x="675" y="1"/>
                      </a:moveTo>
                      <a:cubicBezTo>
                        <a:pt x="668" y="1"/>
                        <a:pt x="661" y="1"/>
                        <a:pt x="654" y="1"/>
                      </a:cubicBezTo>
                      <a:cubicBezTo>
                        <a:pt x="218" y="1"/>
                        <a:pt x="0" y="509"/>
                        <a:pt x="303" y="824"/>
                      </a:cubicBezTo>
                      <a:cubicBezTo>
                        <a:pt x="404" y="921"/>
                        <a:pt x="525" y="965"/>
                        <a:pt x="644" y="965"/>
                      </a:cubicBezTo>
                      <a:cubicBezTo>
                        <a:pt x="893" y="965"/>
                        <a:pt x="1129" y="772"/>
                        <a:pt x="1137" y="485"/>
                      </a:cubicBezTo>
                      <a:cubicBezTo>
                        <a:pt x="1137" y="214"/>
                        <a:pt x="931" y="1"/>
                        <a:pt x="67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91" name="Google Shape;4391;p66"/>
              <p:cNvGrpSpPr/>
              <p:nvPr/>
            </p:nvGrpSpPr>
            <p:grpSpPr>
              <a:xfrm>
                <a:off x="4834525" y="3501382"/>
                <a:ext cx="31499" cy="26898"/>
                <a:chOff x="4834525" y="3501382"/>
                <a:chExt cx="31499" cy="26898"/>
              </a:xfrm>
            </p:grpSpPr>
            <p:sp>
              <p:nvSpPr>
                <p:cNvPr id="4392" name="Google Shape;4392;p66"/>
                <p:cNvSpPr/>
                <p:nvPr/>
              </p:nvSpPr>
              <p:spPr>
                <a:xfrm>
                  <a:off x="4834525" y="3501382"/>
                  <a:ext cx="31499" cy="26898"/>
                </a:xfrm>
                <a:custGeom>
                  <a:avLst/>
                  <a:gdLst/>
                  <a:ahLst/>
                  <a:cxnLst/>
                  <a:rect l="l" t="t" r="r" b="b"/>
                  <a:pathLst>
                    <a:path w="4005" h="3420" extrusionOk="0">
                      <a:moveTo>
                        <a:pt x="2285" y="0"/>
                      </a:moveTo>
                      <a:cubicBezTo>
                        <a:pt x="1865" y="0"/>
                        <a:pt x="1437" y="156"/>
                        <a:pt x="1089" y="504"/>
                      </a:cubicBezTo>
                      <a:cubicBezTo>
                        <a:pt x="0" y="1581"/>
                        <a:pt x="775"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3" name="Google Shape;4393;p66"/>
                <p:cNvSpPr/>
                <p:nvPr/>
              </p:nvSpPr>
              <p:spPr>
                <a:xfrm>
                  <a:off x="4847463" y="3511056"/>
                  <a:ext cx="8950" cy="7605"/>
                </a:xfrm>
                <a:custGeom>
                  <a:avLst/>
                  <a:gdLst/>
                  <a:ahLst/>
                  <a:cxnLst/>
                  <a:rect l="l" t="t" r="r" b="b"/>
                  <a:pathLst>
                    <a:path w="1138" h="967" extrusionOk="0">
                      <a:moveTo>
                        <a:pt x="654" y="0"/>
                      </a:moveTo>
                      <a:cubicBezTo>
                        <a:pt x="218" y="0"/>
                        <a:pt x="1" y="520"/>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94" name="Google Shape;4394;p66"/>
              <p:cNvGrpSpPr/>
              <p:nvPr/>
            </p:nvGrpSpPr>
            <p:grpSpPr>
              <a:xfrm>
                <a:off x="4898460" y="3580158"/>
                <a:ext cx="31405" cy="26898"/>
                <a:chOff x="4898460" y="3580158"/>
                <a:chExt cx="31405" cy="26898"/>
              </a:xfrm>
            </p:grpSpPr>
            <p:sp>
              <p:nvSpPr>
                <p:cNvPr id="4395" name="Google Shape;4395;p66"/>
                <p:cNvSpPr/>
                <p:nvPr/>
              </p:nvSpPr>
              <p:spPr>
                <a:xfrm>
                  <a:off x="4898460" y="3580158"/>
                  <a:ext cx="31405" cy="26898"/>
                </a:xfrm>
                <a:custGeom>
                  <a:avLst/>
                  <a:gdLst/>
                  <a:ahLst/>
                  <a:cxnLst/>
                  <a:rect l="l" t="t" r="r" b="b"/>
                  <a:pathLst>
                    <a:path w="3993" h="3420" extrusionOk="0">
                      <a:moveTo>
                        <a:pt x="2273" y="1"/>
                      </a:moveTo>
                      <a:cubicBezTo>
                        <a:pt x="1853" y="1"/>
                        <a:pt x="1425" y="156"/>
                        <a:pt x="1077" y="505"/>
                      </a:cubicBezTo>
                      <a:cubicBezTo>
                        <a:pt x="0"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6" name="Google Shape;4396;p66"/>
                <p:cNvSpPr/>
                <p:nvPr/>
              </p:nvSpPr>
              <p:spPr>
                <a:xfrm>
                  <a:off x="4911303" y="3589832"/>
                  <a:ext cx="8950" cy="7605"/>
                </a:xfrm>
                <a:custGeom>
                  <a:avLst/>
                  <a:gdLst/>
                  <a:ahLst/>
                  <a:cxnLst/>
                  <a:rect l="l" t="t" r="r" b="b"/>
                  <a:pathLst>
                    <a:path w="1138" h="967" extrusionOk="0">
                      <a:moveTo>
                        <a:pt x="654" y="0"/>
                      </a:moveTo>
                      <a:cubicBezTo>
                        <a:pt x="218" y="0"/>
                        <a:pt x="1" y="521"/>
                        <a:pt x="303" y="823"/>
                      </a:cubicBezTo>
                      <a:cubicBezTo>
                        <a:pt x="402" y="922"/>
                        <a:pt x="524" y="966"/>
                        <a:pt x="644" y="966"/>
                      </a:cubicBezTo>
                      <a:cubicBezTo>
                        <a:pt x="891" y="966"/>
                        <a:pt x="1130" y="777"/>
                        <a:pt x="1138" y="484"/>
                      </a:cubicBezTo>
                      <a:cubicBezTo>
                        <a:pt x="1138"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397" name="Google Shape;4397;p66"/>
              <p:cNvGrpSpPr/>
              <p:nvPr/>
            </p:nvGrpSpPr>
            <p:grpSpPr>
              <a:xfrm>
                <a:off x="4882667" y="3608032"/>
                <a:ext cx="31499" cy="27001"/>
                <a:chOff x="4882667" y="3608032"/>
                <a:chExt cx="31499" cy="27001"/>
              </a:xfrm>
            </p:grpSpPr>
            <p:sp>
              <p:nvSpPr>
                <p:cNvPr id="4398" name="Google Shape;4398;p66"/>
                <p:cNvSpPr/>
                <p:nvPr/>
              </p:nvSpPr>
              <p:spPr>
                <a:xfrm>
                  <a:off x="4882667" y="3608032"/>
                  <a:ext cx="31499" cy="27001"/>
                </a:xfrm>
                <a:custGeom>
                  <a:avLst/>
                  <a:gdLst/>
                  <a:ahLst/>
                  <a:cxnLst/>
                  <a:rect l="l" t="t" r="r" b="b"/>
                  <a:pathLst>
                    <a:path w="4005" h="3433" extrusionOk="0">
                      <a:moveTo>
                        <a:pt x="2276" y="1"/>
                      </a:moveTo>
                      <a:cubicBezTo>
                        <a:pt x="1854" y="1"/>
                        <a:pt x="1425" y="157"/>
                        <a:pt x="1077" y="505"/>
                      </a:cubicBezTo>
                      <a:cubicBezTo>
                        <a:pt x="0" y="1582"/>
                        <a:pt x="763" y="3432"/>
                        <a:pt x="2287" y="3432"/>
                      </a:cubicBezTo>
                      <a:cubicBezTo>
                        <a:pt x="3230" y="3420"/>
                        <a:pt x="4004" y="2658"/>
                        <a:pt x="4004" y="1715"/>
                      </a:cubicBezTo>
                      <a:cubicBezTo>
                        <a:pt x="4004"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399" name="Google Shape;4399;p66"/>
                <p:cNvSpPr/>
                <p:nvPr/>
              </p:nvSpPr>
              <p:spPr>
                <a:xfrm>
                  <a:off x="4895605" y="3617706"/>
                  <a:ext cx="8950" cy="7653"/>
                </a:xfrm>
                <a:custGeom>
                  <a:avLst/>
                  <a:gdLst/>
                  <a:ahLst/>
                  <a:cxnLst/>
                  <a:rect l="l" t="t" r="r" b="b"/>
                  <a:pathLst>
                    <a:path w="1138" h="973" extrusionOk="0">
                      <a:moveTo>
                        <a:pt x="642" y="1"/>
                      </a:moveTo>
                      <a:cubicBezTo>
                        <a:pt x="218" y="1"/>
                        <a:pt x="1" y="521"/>
                        <a:pt x="303" y="823"/>
                      </a:cubicBezTo>
                      <a:cubicBezTo>
                        <a:pt x="402" y="926"/>
                        <a:pt x="524" y="972"/>
                        <a:pt x="644" y="972"/>
                      </a:cubicBezTo>
                      <a:cubicBezTo>
                        <a:pt x="891" y="972"/>
                        <a:pt x="1130" y="778"/>
                        <a:pt x="1138" y="485"/>
                      </a:cubicBezTo>
                      <a:cubicBezTo>
                        <a:pt x="1138"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00" name="Google Shape;4400;p66"/>
              <p:cNvGrpSpPr/>
              <p:nvPr/>
            </p:nvGrpSpPr>
            <p:grpSpPr>
              <a:xfrm>
                <a:off x="4843373" y="3631407"/>
                <a:ext cx="16273" cy="16186"/>
                <a:chOff x="4843373" y="3631407"/>
                <a:chExt cx="16273" cy="16186"/>
              </a:xfrm>
            </p:grpSpPr>
            <p:sp>
              <p:nvSpPr>
                <p:cNvPr id="4401" name="Google Shape;4401;p66"/>
                <p:cNvSpPr/>
                <p:nvPr/>
              </p:nvSpPr>
              <p:spPr>
                <a:xfrm>
                  <a:off x="4843373" y="3631407"/>
                  <a:ext cx="16273" cy="16186"/>
                </a:xfrm>
                <a:custGeom>
                  <a:avLst/>
                  <a:gdLst/>
                  <a:ahLst/>
                  <a:cxnLst/>
                  <a:rect l="l" t="t" r="r" b="b"/>
                  <a:pathLst>
                    <a:path w="2069" h="2058" extrusionOk="0">
                      <a:moveTo>
                        <a:pt x="1029" y="1"/>
                      </a:moveTo>
                      <a:cubicBezTo>
                        <a:pt x="460" y="1"/>
                        <a:pt x="0" y="460"/>
                        <a:pt x="0" y="1029"/>
                      </a:cubicBezTo>
                      <a:cubicBezTo>
                        <a:pt x="0" y="1597"/>
                        <a:pt x="460" y="2057"/>
                        <a:pt x="1029" y="2057"/>
                      </a:cubicBezTo>
                      <a:cubicBezTo>
                        <a:pt x="1609" y="2057"/>
                        <a:pt x="2069" y="1597"/>
                        <a:pt x="2069" y="1029"/>
                      </a:cubicBezTo>
                      <a:cubicBezTo>
                        <a:pt x="2069" y="460"/>
                        <a:pt x="1609" y="1"/>
                        <a:pt x="10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2" name="Google Shape;4402;p66"/>
                <p:cNvSpPr/>
                <p:nvPr/>
              </p:nvSpPr>
              <p:spPr>
                <a:xfrm>
                  <a:off x="4849178" y="3637211"/>
                  <a:ext cx="4672" cy="4577"/>
                </a:xfrm>
                <a:custGeom>
                  <a:avLst/>
                  <a:gdLst/>
                  <a:ahLst/>
                  <a:cxnLst/>
                  <a:rect l="l" t="t" r="r" b="b"/>
                  <a:pathLst>
                    <a:path w="594" h="582" extrusionOk="0">
                      <a:moveTo>
                        <a:pt x="291" y="1"/>
                      </a:moveTo>
                      <a:cubicBezTo>
                        <a:pt x="133" y="1"/>
                        <a:pt x="0" y="134"/>
                        <a:pt x="0" y="291"/>
                      </a:cubicBezTo>
                      <a:cubicBezTo>
                        <a:pt x="0" y="460"/>
                        <a:pt x="133" y="581"/>
                        <a:pt x="291" y="581"/>
                      </a:cubicBezTo>
                      <a:cubicBezTo>
                        <a:pt x="460" y="581"/>
                        <a:pt x="593" y="460"/>
                        <a:pt x="593" y="291"/>
                      </a:cubicBezTo>
                      <a:cubicBezTo>
                        <a:pt x="593" y="134"/>
                        <a:pt x="460" y="1"/>
                        <a:pt x="29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03" name="Google Shape;4403;p66"/>
              <p:cNvGrpSpPr/>
              <p:nvPr/>
            </p:nvGrpSpPr>
            <p:grpSpPr>
              <a:xfrm>
                <a:off x="4727773" y="3591578"/>
                <a:ext cx="31499" cy="26898"/>
                <a:chOff x="4727773" y="3591578"/>
                <a:chExt cx="31499" cy="26898"/>
              </a:xfrm>
            </p:grpSpPr>
            <p:sp>
              <p:nvSpPr>
                <p:cNvPr id="4404" name="Google Shape;4404;p66"/>
                <p:cNvSpPr/>
                <p:nvPr/>
              </p:nvSpPr>
              <p:spPr>
                <a:xfrm>
                  <a:off x="4727773" y="3591578"/>
                  <a:ext cx="31499" cy="26898"/>
                </a:xfrm>
                <a:custGeom>
                  <a:avLst/>
                  <a:gdLst/>
                  <a:ahLst/>
                  <a:cxnLst/>
                  <a:rect l="l" t="t" r="r" b="b"/>
                  <a:pathLst>
                    <a:path w="4005" h="3420" extrusionOk="0">
                      <a:moveTo>
                        <a:pt x="2276" y="0"/>
                      </a:moveTo>
                      <a:cubicBezTo>
                        <a:pt x="1855" y="0"/>
                        <a:pt x="1426" y="156"/>
                        <a:pt x="1077" y="504"/>
                      </a:cubicBezTo>
                      <a:cubicBezTo>
                        <a:pt x="1" y="1581"/>
                        <a:pt x="763" y="3419"/>
                        <a:pt x="2287" y="3419"/>
                      </a:cubicBezTo>
                      <a:cubicBezTo>
                        <a:pt x="3231" y="3419"/>
                        <a:pt x="3993" y="2657"/>
                        <a:pt x="4005" y="1714"/>
                      </a:cubicBezTo>
                      <a:cubicBezTo>
                        <a:pt x="4005" y="683"/>
                        <a:pt x="3158"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5" name="Google Shape;4405;p66"/>
                <p:cNvSpPr/>
                <p:nvPr/>
              </p:nvSpPr>
              <p:spPr>
                <a:xfrm>
                  <a:off x="4740719" y="3601244"/>
                  <a:ext cx="8856" cy="7590"/>
                </a:xfrm>
                <a:custGeom>
                  <a:avLst/>
                  <a:gdLst/>
                  <a:ahLst/>
                  <a:cxnLst/>
                  <a:rect l="l" t="t" r="r" b="b"/>
                  <a:pathLst>
                    <a:path w="1126" h="965" extrusionOk="0">
                      <a:moveTo>
                        <a:pt x="641" y="1"/>
                      </a:moveTo>
                      <a:cubicBezTo>
                        <a:pt x="206" y="1"/>
                        <a:pt x="0" y="521"/>
                        <a:pt x="302" y="824"/>
                      </a:cubicBezTo>
                      <a:cubicBezTo>
                        <a:pt x="400" y="921"/>
                        <a:pt x="520" y="964"/>
                        <a:pt x="638" y="964"/>
                      </a:cubicBezTo>
                      <a:cubicBezTo>
                        <a:pt x="886" y="964"/>
                        <a:pt x="1125" y="772"/>
                        <a:pt x="1125" y="485"/>
                      </a:cubicBezTo>
                      <a:cubicBezTo>
                        <a:pt x="1125" y="219"/>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406" name="Google Shape;4406;p66"/>
              <p:cNvSpPr/>
              <p:nvPr/>
            </p:nvSpPr>
            <p:spPr>
              <a:xfrm>
                <a:off x="4652041" y="3622590"/>
                <a:ext cx="31405" cy="26906"/>
              </a:xfrm>
              <a:custGeom>
                <a:avLst/>
                <a:gdLst/>
                <a:ahLst/>
                <a:cxnLst/>
                <a:rect l="l" t="t" r="r" b="b"/>
                <a:pathLst>
                  <a:path w="3993" h="3421" extrusionOk="0">
                    <a:moveTo>
                      <a:pt x="2273" y="1"/>
                    </a:moveTo>
                    <a:cubicBezTo>
                      <a:pt x="1853" y="1"/>
                      <a:pt x="1426" y="157"/>
                      <a:pt x="1077" y="505"/>
                    </a:cubicBezTo>
                    <a:cubicBezTo>
                      <a:pt x="1" y="1581"/>
                      <a:pt x="763" y="3420"/>
                      <a:pt x="2287" y="3420"/>
                    </a:cubicBezTo>
                    <a:cubicBezTo>
                      <a:pt x="3231" y="3420"/>
                      <a:pt x="3993" y="2658"/>
                      <a:pt x="3993" y="1714"/>
                    </a:cubicBezTo>
                    <a:cubicBezTo>
                      <a:pt x="3993"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07" name="Google Shape;4407;p66"/>
              <p:cNvSpPr/>
              <p:nvPr/>
            </p:nvSpPr>
            <p:spPr>
              <a:xfrm>
                <a:off x="4666222" y="3632264"/>
                <a:ext cx="7613" cy="7621"/>
              </a:xfrm>
              <a:custGeom>
                <a:avLst/>
                <a:gdLst/>
                <a:ahLst/>
                <a:cxnLst/>
                <a:rect l="l" t="t" r="r" b="b"/>
                <a:pathLst>
                  <a:path w="968" h="969" extrusionOk="0">
                    <a:moveTo>
                      <a:pt x="484" y="1"/>
                    </a:moveTo>
                    <a:cubicBezTo>
                      <a:pt x="218" y="1"/>
                      <a:pt x="0" y="218"/>
                      <a:pt x="0" y="484"/>
                    </a:cubicBezTo>
                    <a:cubicBezTo>
                      <a:pt x="0" y="751"/>
                      <a:pt x="218" y="968"/>
                      <a:pt x="484" y="968"/>
                    </a:cubicBezTo>
                    <a:cubicBezTo>
                      <a:pt x="750" y="968"/>
                      <a:pt x="968" y="751"/>
                      <a:pt x="968" y="484"/>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408" name="Google Shape;4408;p66"/>
              <p:cNvGrpSpPr/>
              <p:nvPr/>
            </p:nvGrpSpPr>
            <p:grpSpPr>
              <a:xfrm>
                <a:off x="4609421" y="3577398"/>
                <a:ext cx="31499" cy="27001"/>
                <a:chOff x="4609421" y="3577398"/>
                <a:chExt cx="31499" cy="27001"/>
              </a:xfrm>
            </p:grpSpPr>
            <p:sp>
              <p:nvSpPr>
                <p:cNvPr id="4409" name="Google Shape;4409;p66"/>
                <p:cNvSpPr/>
                <p:nvPr/>
              </p:nvSpPr>
              <p:spPr>
                <a:xfrm>
                  <a:off x="4609421" y="3577398"/>
                  <a:ext cx="31499" cy="27001"/>
                </a:xfrm>
                <a:custGeom>
                  <a:avLst/>
                  <a:gdLst/>
                  <a:ahLst/>
                  <a:cxnLst/>
                  <a:rect l="l" t="t" r="r" b="b"/>
                  <a:pathLst>
                    <a:path w="4005" h="3433" extrusionOk="0">
                      <a:moveTo>
                        <a:pt x="2273" y="1"/>
                      </a:moveTo>
                      <a:cubicBezTo>
                        <a:pt x="1853" y="1"/>
                        <a:pt x="1425" y="157"/>
                        <a:pt x="1077" y="505"/>
                      </a:cubicBezTo>
                      <a:cubicBezTo>
                        <a:pt x="0" y="1581"/>
                        <a:pt x="763" y="3432"/>
                        <a:pt x="2287" y="3432"/>
                      </a:cubicBezTo>
                      <a:cubicBezTo>
                        <a:pt x="3230" y="3432"/>
                        <a:pt x="3992" y="2658"/>
                        <a:pt x="4005" y="1714"/>
                      </a:cubicBezTo>
                      <a:cubicBezTo>
                        <a:pt x="3996" y="683"/>
                        <a:pt x="3152"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0" name="Google Shape;4410;p66"/>
                <p:cNvSpPr/>
                <p:nvPr/>
              </p:nvSpPr>
              <p:spPr>
                <a:xfrm>
                  <a:off x="4623594" y="3587072"/>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11" name="Google Shape;4411;p66"/>
              <p:cNvGrpSpPr/>
              <p:nvPr/>
            </p:nvGrpSpPr>
            <p:grpSpPr>
              <a:xfrm>
                <a:off x="4649289" y="3577398"/>
                <a:ext cx="31499" cy="27001"/>
                <a:chOff x="4649289" y="3577398"/>
                <a:chExt cx="31499" cy="27001"/>
              </a:xfrm>
            </p:grpSpPr>
            <p:sp>
              <p:nvSpPr>
                <p:cNvPr id="4412" name="Google Shape;4412;p66"/>
                <p:cNvSpPr/>
                <p:nvPr/>
              </p:nvSpPr>
              <p:spPr>
                <a:xfrm>
                  <a:off x="4649289" y="3577398"/>
                  <a:ext cx="31499" cy="27001"/>
                </a:xfrm>
                <a:custGeom>
                  <a:avLst/>
                  <a:gdLst/>
                  <a:ahLst/>
                  <a:cxnLst/>
                  <a:rect l="l" t="t" r="r" b="b"/>
                  <a:pathLst>
                    <a:path w="4005" h="3433" extrusionOk="0">
                      <a:moveTo>
                        <a:pt x="2275" y="1"/>
                      </a:moveTo>
                      <a:cubicBezTo>
                        <a:pt x="1854" y="1"/>
                        <a:pt x="1425" y="157"/>
                        <a:pt x="1077" y="505"/>
                      </a:cubicBezTo>
                      <a:cubicBezTo>
                        <a:pt x="0" y="1581"/>
                        <a:pt x="762" y="3432"/>
                        <a:pt x="2286"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3" name="Google Shape;4413;p66"/>
                <p:cNvSpPr/>
                <p:nvPr/>
              </p:nvSpPr>
              <p:spPr>
                <a:xfrm>
                  <a:off x="4662227" y="3587072"/>
                  <a:ext cx="8856" cy="7676"/>
                </a:xfrm>
                <a:custGeom>
                  <a:avLst/>
                  <a:gdLst/>
                  <a:ahLst/>
                  <a:cxnLst/>
                  <a:rect l="l" t="t" r="r" b="b"/>
                  <a:pathLst>
                    <a:path w="1126" h="976" extrusionOk="0">
                      <a:moveTo>
                        <a:pt x="641" y="1"/>
                      </a:moveTo>
                      <a:cubicBezTo>
                        <a:pt x="218" y="1"/>
                        <a:pt x="0" y="521"/>
                        <a:pt x="303" y="835"/>
                      </a:cubicBezTo>
                      <a:cubicBezTo>
                        <a:pt x="400" y="932"/>
                        <a:pt x="519" y="976"/>
                        <a:pt x="636" y="976"/>
                      </a:cubicBezTo>
                      <a:cubicBezTo>
                        <a:pt x="885" y="976"/>
                        <a:pt x="1125" y="780"/>
                        <a:pt x="1125" y="484"/>
                      </a:cubicBezTo>
                      <a:cubicBezTo>
                        <a:pt x="1125" y="218"/>
                        <a:pt x="907"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14" name="Google Shape;4414;p66"/>
              <p:cNvGrpSpPr/>
              <p:nvPr/>
            </p:nvGrpSpPr>
            <p:grpSpPr>
              <a:xfrm>
                <a:off x="4605614" y="3639523"/>
                <a:ext cx="31499" cy="26906"/>
                <a:chOff x="4605614" y="3639523"/>
                <a:chExt cx="31499" cy="26906"/>
              </a:xfrm>
            </p:grpSpPr>
            <p:sp>
              <p:nvSpPr>
                <p:cNvPr id="4415" name="Google Shape;4415;p66"/>
                <p:cNvSpPr/>
                <p:nvPr/>
              </p:nvSpPr>
              <p:spPr>
                <a:xfrm>
                  <a:off x="4605614" y="3639523"/>
                  <a:ext cx="31499" cy="26906"/>
                </a:xfrm>
                <a:custGeom>
                  <a:avLst/>
                  <a:gdLst/>
                  <a:ahLst/>
                  <a:cxnLst/>
                  <a:rect l="l" t="t" r="r" b="b"/>
                  <a:pathLst>
                    <a:path w="4005" h="3421" extrusionOk="0">
                      <a:moveTo>
                        <a:pt x="2276" y="1"/>
                      </a:moveTo>
                      <a:cubicBezTo>
                        <a:pt x="1855" y="1"/>
                        <a:pt x="1425" y="157"/>
                        <a:pt x="1077" y="505"/>
                      </a:cubicBezTo>
                      <a:cubicBezTo>
                        <a:pt x="1" y="1582"/>
                        <a:pt x="763" y="3420"/>
                        <a:pt x="2287" y="3420"/>
                      </a:cubicBezTo>
                      <a:cubicBezTo>
                        <a:pt x="3230" y="3420"/>
                        <a:pt x="3993" y="2658"/>
                        <a:pt x="4005" y="1715"/>
                      </a:cubicBezTo>
                      <a:cubicBezTo>
                        <a:pt x="4005" y="683"/>
                        <a:pt x="3157" y="1"/>
                        <a:pt x="227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6" name="Google Shape;4416;p66"/>
                <p:cNvSpPr/>
                <p:nvPr/>
              </p:nvSpPr>
              <p:spPr>
                <a:xfrm>
                  <a:off x="4619795" y="3649197"/>
                  <a:ext cx="7613" cy="7621"/>
                </a:xfrm>
                <a:custGeom>
                  <a:avLst/>
                  <a:gdLst/>
                  <a:ahLst/>
                  <a:cxnLst/>
                  <a:rect l="l" t="t" r="r" b="b"/>
                  <a:pathLst>
                    <a:path w="968" h="969" extrusionOk="0">
                      <a:moveTo>
                        <a:pt x="484" y="1"/>
                      </a:moveTo>
                      <a:cubicBezTo>
                        <a:pt x="218" y="1"/>
                        <a:pt x="0" y="218"/>
                        <a:pt x="0" y="485"/>
                      </a:cubicBezTo>
                      <a:cubicBezTo>
                        <a:pt x="0" y="751"/>
                        <a:pt x="218" y="968"/>
                        <a:pt x="484" y="968"/>
                      </a:cubicBezTo>
                      <a:cubicBezTo>
                        <a:pt x="750" y="968"/>
                        <a:pt x="968" y="751"/>
                        <a:pt x="968" y="485"/>
                      </a:cubicBezTo>
                      <a:cubicBezTo>
                        <a:pt x="968" y="218"/>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17" name="Google Shape;4417;p66"/>
              <p:cNvGrpSpPr/>
              <p:nvPr/>
            </p:nvGrpSpPr>
            <p:grpSpPr>
              <a:xfrm>
                <a:off x="4785149" y="3618846"/>
                <a:ext cx="26930" cy="26843"/>
                <a:chOff x="4785149" y="3618846"/>
                <a:chExt cx="26930" cy="26843"/>
              </a:xfrm>
            </p:grpSpPr>
            <p:sp>
              <p:nvSpPr>
                <p:cNvPr id="4418" name="Google Shape;4418;p66"/>
                <p:cNvSpPr/>
                <p:nvPr/>
              </p:nvSpPr>
              <p:spPr>
                <a:xfrm>
                  <a:off x="4785149" y="3618846"/>
                  <a:ext cx="26930" cy="26843"/>
                </a:xfrm>
                <a:custGeom>
                  <a:avLst/>
                  <a:gdLst/>
                  <a:ahLst/>
                  <a:cxnLst/>
                  <a:rect l="l" t="t" r="r" b="b"/>
                  <a:pathLst>
                    <a:path w="3424" h="3413" extrusionOk="0">
                      <a:moveTo>
                        <a:pt x="1718" y="1"/>
                      </a:moveTo>
                      <a:cubicBezTo>
                        <a:pt x="774" y="1"/>
                        <a:pt x="0" y="763"/>
                        <a:pt x="0" y="1707"/>
                      </a:cubicBezTo>
                      <a:cubicBezTo>
                        <a:pt x="0" y="2650"/>
                        <a:pt x="774" y="3412"/>
                        <a:pt x="1718" y="3412"/>
                      </a:cubicBezTo>
                      <a:cubicBezTo>
                        <a:pt x="2662" y="3412"/>
                        <a:pt x="3424" y="2650"/>
                        <a:pt x="3424" y="1707"/>
                      </a:cubicBezTo>
                      <a:cubicBezTo>
                        <a:pt x="3424" y="763"/>
                        <a:pt x="2662" y="1"/>
                        <a:pt x="171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19" name="Google Shape;4419;p66"/>
                <p:cNvSpPr/>
                <p:nvPr/>
              </p:nvSpPr>
              <p:spPr>
                <a:xfrm>
                  <a:off x="4793611" y="3628457"/>
                  <a:ext cx="8856" cy="7590"/>
                </a:xfrm>
                <a:custGeom>
                  <a:avLst/>
                  <a:gdLst/>
                  <a:ahLst/>
                  <a:cxnLst/>
                  <a:rect l="l" t="t" r="r" b="b"/>
                  <a:pathLst>
                    <a:path w="1126" h="965" extrusionOk="0">
                      <a:moveTo>
                        <a:pt x="642" y="1"/>
                      </a:moveTo>
                      <a:cubicBezTo>
                        <a:pt x="206" y="1"/>
                        <a:pt x="1" y="521"/>
                        <a:pt x="303" y="823"/>
                      </a:cubicBezTo>
                      <a:cubicBezTo>
                        <a:pt x="401" y="921"/>
                        <a:pt x="521" y="964"/>
                        <a:pt x="639" y="964"/>
                      </a:cubicBezTo>
                      <a:cubicBezTo>
                        <a:pt x="887" y="964"/>
                        <a:pt x="1126" y="772"/>
                        <a:pt x="1126" y="485"/>
                      </a:cubicBezTo>
                      <a:cubicBezTo>
                        <a:pt x="1126" y="218"/>
                        <a:pt x="908"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20" name="Google Shape;4420;p66"/>
              <p:cNvGrpSpPr/>
              <p:nvPr/>
            </p:nvGrpSpPr>
            <p:grpSpPr>
              <a:xfrm>
                <a:off x="4810167" y="3601567"/>
                <a:ext cx="31405" cy="26898"/>
                <a:chOff x="4810167" y="3601567"/>
                <a:chExt cx="31405" cy="26898"/>
              </a:xfrm>
            </p:grpSpPr>
            <p:sp>
              <p:nvSpPr>
                <p:cNvPr id="4421" name="Google Shape;4421;p66"/>
                <p:cNvSpPr/>
                <p:nvPr/>
              </p:nvSpPr>
              <p:spPr>
                <a:xfrm>
                  <a:off x="4810167" y="3601567"/>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1" y="3420"/>
                        <a:pt x="3993" y="2658"/>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2" name="Google Shape;4422;p66"/>
                <p:cNvSpPr/>
                <p:nvPr/>
              </p:nvSpPr>
              <p:spPr>
                <a:xfrm>
                  <a:off x="4824348" y="3611241"/>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23" name="Google Shape;4423;p66"/>
              <p:cNvGrpSpPr/>
              <p:nvPr/>
            </p:nvGrpSpPr>
            <p:grpSpPr>
              <a:xfrm>
                <a:off x="4831002" y="3373230"/>
                <a:ext cx="31405" cy="26898"/>
                <a:chOff x="4831002" y="3373230"/>
                <a:chExt cx="31405" cy="26898"/>
              </a:xfrm>
            </p:grpSpPr>
            <p:sp>
              <p:nvSpPr>
                <p:cNvPr id="4424" name="Google Shape;4424;p66"/>
                <p:cNvSpPr/>
                <p:nvPr/>
              </p:nvSpPr>
              <p:spPr>
                <a:xfrm>
                  <a:off x="4831002" y="3373230"/>
                  <a:ext cx="31405" cy="26898"/>
                </a:xfrm>
                <a:custGeom>
                  <a:avLst/>
                  <a:gdLst/>
                  <a:ahLst/>
                  <a:cxnLst/>
                  <a:rect l="l" t="t" r="r" b="b"/>
                  <a:pathLst>
                    <a:path w="3993" h="3420" extrusionOk="0">
                      <a:moveTo>
                        <a:pt x="2273" y="0"/>
                      </a:moveTo>
                      <a:cubicBezTo>
                        <a:pt x="1853" y="0"/>
                        <a:pt x="1426" y="156"/>
                        <a:pt x="1077" y="504"/>
                      </a:cubicBezTo>
                      <a:cubicBezTo>
                        <a:pt x="1" y="1581"/>
                        <a:pt x="763" y="3419"/>
                        <a:pt x="2287" y="3419"/>
                      </a:cubicBezTo>
                      <a:cubicBezTo>
                        <a:pt x="3231" y="3419"/>
                        <a:pt x="3993" y="2657"/>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5" name="Google Shape;4425;p66"/>
                <p:cNvSpPr/>
                <p:nvPr/>
              </p:nvSpPr>
              <p:spPr>
                <a:xfrm>
                  <a:off x="4845182" y="3382896"/>
                  <a:ext cx="7519" cy="7621"/>
                </a:xfrm>
                <a:custGeom>
                  <a:avLst/>
                  <a:gdLst/>
                  <a:ahLst/>
                  <a:cxnLst/>
                  <a:rect l="l" t="t" r="r" b="b"/>
                  <a:pathLst>
                    <a:path w="956" h="969" extrusionOk="0">
                      <a:moveTo>
                        <a:pt x="472" y="1"/>
                      </a:moveTo>
                      <a:cubicBezTo>
                        <a:pt x="206" y="1"/>
                        <a:pt x="0" y="219"/>
                        <a:pt x="0" y="485"/>
                      </a:cubicBezTo>
                      <a:cubicBezTo>
                        <a:pt x="0" y="751"/>
                        <a:pt x="206" y="969"/>
                        <a:pt x="472" y="969"/>
                      </a:cubicBezTo>
                      <a:cubicBezTo>
                        <a:pt x="750" y="969"/>
                        <a:pt x="956" y="751"/>
                        <a:pt x="956" y="485"/>
                      </a:cubicBezTo>
                      <a:cubicBezTo>
                        <a:pt x="956" y="219"/>
                        <a:pt x="750" y="1"/>
                        <a:pt x="47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26" name="Google Shape;4426;p66"/>
              <p:cNvGrpSpPr/>
              <p:nvPr/>
            </p:nvGrpSpPr>
            <p:grpSpPr>
              <a:xfrm>
                <a:off x="4719311" y="3355054"/>
                <a:ext cx="31499" cy="27001"/>
                <a:chOff x="4719311" y="3355054"/>
                <a:chExt cx="31499" cy="27001"/>
              </a:xfrm>
            </p:grpSpPr>
            <p:sp>
              <p:nvSpPr>
                <p:cNvPr id="4427" name="Google Shape;4427;p66"/>
                <p:cNvSpPr/>
                <p:nvPr/>
              </p:nvSpPr>
              <p:spPr>
                <a:xfrm>
                  <a:off x="4719311" y="3355054"/>
                  <a:ext cx="31499" cy="27001"/>
                </a:xfrm>
                <a:custGeom>
                  <a:avLst/>
                  <a:gdLst/>
                  <a:ahLst/>
                  <a:cxnLst/>
                  <a:rect l="l" t="t" r="r" b="b"/>
                  <a:pathLst>
                    <a:path w="4005" h="3433" extrusionOk="0">
                      <a:moveTo>
                        <a:pt x="2275" y="1"/>
                      </a:moveTo>
                      <a:cubicBezTo>
                        <a:pt x="1854" y="1"/>
                        <a:pt x="1425" y="157"/>
                        <a:pt x="1077" y="505"/>
                      </a:cubicBezTo>
                      <a:cubicBezTo>
                        <a:pt x="0" y="1581"/>
                        <a:pt x="762" y="3432"/>
                        <a:pt x="2287" y="3432"/>
                      </a:cubicBezTo>
                      <a:cubicBezTo>
                        <a:pt x="3230" y="3432"/>
                        <a:pt x="4004" y="2658"/>
                        <a:pt x="4004" y="1714"/>
                      </a:cubicBezTo>
                      <a:cubicBezTo>
                        <a:pt x="4004" y="683"/>
                        <a:pt x="3157" y="1"/>
                        <a:pt x="227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28" name="Google Shape;4428;p66"/>
                <p:cNvSpPr/>
                <p:nvPr/>
              </p:nvSpPr>
              <p:spPr>
                <a:xfrm>
                  <a:off x="4733578" y="3364822"/>
                  <a:ext cx="7527" cy="7527"/>
                </a:xfrm>
                <a:custGeom>
                  <a:avLst/>
                  <a:gdLst/>
                  <a:ahLst/>
                  <a:cxnLst/>
                  <a:rect l="l" t="t" r="r" b="b"/>
                  <a:pathLst>
                    <a:path w="957" h="957" extrusionOk="0">
                      <a:moveTo>
                        <a:pt x="473" y="1"/>
                      </a:moveTo>
                      <a:cubicBezTo>
                        <a:pt x="206" y="1"/>
                        <a:pt x="1" y="206"/>
                        <a:pt x="1" y="472"/>
                      </a:cubicBezTo>
                      <a:cubicBezTo>
                        <a:pt x="1" y="738"/>
                        <a:pt x="206" y="956"/>
                        <a:pt x="473" y="956"/>
                      </a:cubicBezTo>
                      <a:cubicBezTo>
                        <a:pt x="751" y="956"/>
                        <a:pt x="956" y="738"/>
                        <a:pt x="956" y="472"/>
                      </a:cubicBezTo>
                      <a:cubicBezTo>
                        <a:pt x="956" y="206"/>
                        <a:pt x="751" y="1"/>
                        <a:pt x="47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29" name="Google Shape;4429;p66"/>
              <p:cNvGrpSpPr/>
              <p:nvPr/>
            </p:nvGrpSpPr>
            <p:grpSpPr>
              <a:xfrm>
                <a:off x="4798755" y="3450260"/>
                <a:ext cx="26930" cy="26930"/>
                <a:chOff x="4798755" y="3450260"/>
                <a:chExt cx="26930" cy="26930"/>
              </a:xfrm>
            </p:grpSpPr>
            <p:sp>
              <p:nvSpPr>
                <p:cNvPr id="4430" name="Google Shape;4430;p66"/>
                <p:cNvSpPr/>
                <p:nvPr/>
              </p:nvSpPr>
              <p:spPr>
                <a:xfrm>
                  <a:off x="4798755" y="3450260"/>
                  <a:ext cx="26930" cy="26930"/>
                </a:xfrm>
                <a:custGeom>
                  <a:avLst/>
                  <a:gdLst/>
                  <a:ahLst/>
                  <a:cxnLst/>
                  <a:rect l="l" t="t" r="r" b="b"/>
                  <a:pathLst>
                    <a:path w="3424" h="3424" extrusionOk="0">
                      <a:moveTo>
                        <a:pt x="1718" y="0"/>
                      </a:moveTo>
                      <a:cubicBezTo>
                        <a:pt x="774" y="0"/>
                        <a:pt x="0" y="763"/>
                        <a:pt x="0" y="1706"/>
                      </a:cubicBezTo>
                      <a:cubicBezTo>
                        <a:pt x="0" y="2650"/>
                        <a:pt x="774" y="3424"/>
                        <a:pt x="1718" y="3424"/>
                      </a:cubicBezTo>
                      <a:cubicBezTo>
                        <a:pt x="2661" y="3424"/>
                        <a:pt x="3423" y="2650"/>
                        <a:pt x="3423" y="1706"/>
                      </a:cubicBezTo>
                      <a:cubicBezTo>
                        <a:pt x="3423" y="763"/>
                        <a:pt x="2661" y="0"/>
                        <a:pt x="171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1" name="Google Shape;4431;p66"/>
                <p:cNvSpPr/>
                <p:nvPr/>
              </p:nvSpPr>
              <p:spPr>
                <a:xfrm>
                  <a:off x="4807218" y="3459871"/>
                  <a:ext cx="8856" cy="7605"/>
                </a:xfrm>
                <a:custGeom>
                  <a:avLst/>
                  <a:gdLst/>
                  <a:ahLst/>
                  <a:cxnLst/>
                  <a:rect l="l" t="t" r="r" b="b"/>
                  <a:pathLst>
                    <a:path w="1126" h="967" extrusionOk="0">
                      <a:moveTo>
                        <a:pt x="642" y="0"/>
                      </a:moveTo>
                      <a:cubicBezTo>
                        <a:pt x="206" y="0"/>
                        <a:pt x="1" y="520"/>
                        <a:pt x="303" y="823"/>
                      </a:cubicBezTo>
                      <a:cubicBezTo>
                        <a:pt x="402" y="922"/>
                        <a:pt x="524" y="966"/>
                        <a:pt x="644" y="966"/>
                      </a:cubicBezTo>
                      <a:cubicBezTo>
                        <a:pt x="890" y="966"/>
                        <a:pt x="1126" y="777"/>
                        <a:pt x="1126" y="484"/>
                      </a:cubicBezTo>
                      <a:cubicBezTo>
                        <a:pt x="1126" y="218"/>
                        <a:pt x="908"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32" name="Google Shape;4432;p66"/>
              <p:cNvGrpSpPr/>
              <p:nvPr/>
            </p:nvGrpSpPr>
            <p:grpSpPr>
              <a:xfrm>
                <a:off x="4645576" y="3467555"/>
                <a:ext cx="31405" cy="26953"/>
                <a:chOff x="4645576" y="3467555"/>
                <a:chExt cx="31405" cy="26953"/>
              </a:xfrm>
            </p:grpSpPr>
            <p:sp>
              <p:nvSpPr>
                <p:cNvPr id="4433" name="Google Shape;4433;p66"/>
                <p:cNvSpPr/>
                <p:nvPr/>
              </p:nvSpPr>
              <p:spPr>
                <a:xfrm>
                  <a:off x="4645576" y="3467555"/>
                  <a:ext cx="31405" cy="26953"/>
                </a:xfrm>
                <a:custGeom>
                  <a:avLst/>
                  <a:gdLst/>
                  <a:ahLst/>
                  <a:cxnLst/>
                  <a:rect l="l" t="t" r="r" b="b"/>
                  <a:pathLst>
                    <a:path w="3993" h="3427" extrusionOk="0">
                      <a:moveTo>
                        <a:pt x="2272" y="0"/>
                      </a:moveTo>
                      <a:cubicBezTo>
                        <a:pt x="1853" y="0"/>
                        <a:pt x="1425" y="155"/>
                        <a:pt x="1077" y="499"/>
                      </a:cubicBezTo>
                      <a:cubicBezTo>
                        <a:pt x="0" y="1576"/>
                        <a:pt x="750" y="3414"/>
                        <a:pt x="2274" y="3426"/>
                      </a:cubicBezTo>
                      <a:cubicBezTo>
                        <a:pt x="3218" y="3426"/>
                        <a:pt x="3992" y="2652"/>
                        <a:pt x="3992" y="1709"/>
                      </a:cubicBezTo>
                      <a:cubicBezTo>
                        <a:pt x="3992" y="677"/>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4" name="Google Shape;4434;p66"/>
                <p:cNvSpPr/>
                <p:nvPr/>
              </p:nvSpPr>
              <p:spPr>
                <a:xfrm>
                  <a:off x="4659749" y="3477182"/>
                  <a:ext cx="7527" cy="7621"/>
                </a:xfrm>
                <a:custGeom>
                  <a:avLst/>
                  <a:gdLst/>
                  <a:ahLst/>
                  <a:cxnLst/>
                  <a:rect l="l" t="t" r="r" b="b"/>
                  <a:pathLst>
                    <a:path w="957" h="969" extrusionOk="0">
                      <a:moveTo>
                        <a:pt x="472" y="1"/>
                      </a:moveTo>
                      <a:cubicBezTo>
                        <a:pt x="206" y="1"/>
                        <a:pt x="1" y="219"/>
                        <a:pt x="1" y="485"/>
                      </a:cubicBezTo>
                      <a:cubicBezTo>
                        <a:pt x="1" y="751"/>
                        <a:pt x="206" y="969"/>
                        <a:pt x="472" y="969"/>
                      </a:cubicBezTo>
                      <a:cubicBezTo>
                        <a:pt x="751" y="969"/>
                        <a:pt x="956" y="751"/>
                        <a:pt x="956" y="485"/>
                      </a:cubicBezTo>
                      <a:cubicBezTo>
                        <a:pt x="956" y="219"/>
                        <a:pt x="751" y="1"/>
                        <a:pt x="47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35" name="Google Shape;4435;p66"/>
              <p:cNvGrpSpPr/>
              <p:nvPr/>
            </p:nvGrpSpPr>
            <p:grpSpPr>
              <a:xfrm>
                <a:off x="4687631" y="3583965"/>
                <a:ext cx="31499" cy="26898"/>
                <a:chOff x="4687631" y="3583965"/>
                <a:chExt cx="31499" cy="26898"/>
              </a:xfrm>
            </p:grpSpPr>
            <p:sp>
              <p:nvSpPr>
                <p:cNvPr id="4436" name="Google Shape;4436;p66"/>
                <p:cNvSpPr/>
                <p:nvPr/>
              </p:nvSpPr>
              <p:spPr>
                <a:xfrm>
                  <a:off x="4687631" y="3583965"/>
                  <a:ext cx="31499" cy="26898"/>
                </a:xfrm>
                <a:custGeom>
                  <a:avLst/>
                  <a:gdLst/>
                  <a:ahLst/>
                  <a:cxnLst/>
                  <a:rect l="l" t="t" r="r" b="b"/>
                  <a:pathLst>
                    <a:path w="4005" h="3420" extrusionOk="0">
                      <a:moveTo>
                        <a:pt x="2284" y="0"/>
                      </a:moveTo>
                      <a:cubicBezTo>
                        <a:pt x="1865" y="0"/>
                        <a:pt x="1437" y="156"/>
                        <a:pt x="1089" y="504"/>
                      </a:cubicBezTo>
                      <a:cubicBezTo>
                        <a:pt x="0" y="1581"/>
                        <a:pt x="774" y="3420"/>
                        <a:pt x="2298" y="3420"/>
                      </a:cubicBezTo>
                      <a:cubicBezTo>
                        <a:pt x="3242" y="3420"/>
                        <a:pt x="4004" y="2658"/>
                        <a:pt x="4004" y="1714"/>
                      </a:cubicBezTo>
                      <a:cubicBezTo>
                        <a:pt x="4004" y="683"/>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37" name="Google Shape;4437;p66"/>
                <p:cNvSpPr/>
                <p:nvPr/>
              </p:nvSpPr>
              <p:spPr>
                <a:xfrm>
                  <a:off x="4700568" y="3593639"/>
                  <a:ext cx="8950" cy="7582"/>
                </a:xfrm>
                <a:custGeom>
                  <a:avLst/>
                  <a:gdLst/>
                  <a:ahLst/>
                  <a:cxnLst/>
                  <a:rect l="l" t="t" r="r" b="b"/>
                  <a:pathLst>
                    <a:path w="1138" h="964" extrusionOk="0">
                      <a:moveTo>
                        <a:pt x="641" y="0"/>
                      </a:moveTo>
                      <a:cubicBezTo>
                        <a:pt x="218" y="0"/>
                        <a:pt x="0" y="520"/>
                        <a:pt x="303" y="823"/>
                      </a:cubicBezTo>
                      <a:cubicBezTo>
                        <a:pt x="404" y="920"/>
                        <a:pt x="525" y="964"/>
                        <a:pt x="644" y="964"/>
                      </a:cubicBezTo>
                      <a:cubicBezTo>
                        <a:pt x="893" y="964"/>
                        <a:pt x="1129" y="771"/>
                        <a:pt x="1137" y="484"/>
                      </a:cubicBezTo>
                      <a:cubicBezTo>
                        <a:pt x="1137" y="218"/>
                        <a:pt x="920"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38" name="Google Shape;4438;p66"/>
              <p:cNvGrpSpPr/>
              <p:nvPr/>
            </p:nvGrpSpPr>
            <p:grpSpPr>
              <a:xfrm>
                <a:off x="4719311" y="3471314"/>
                <a:ext cx="31499" cy="27001"/>
                <a:chOff x="4719311" y="3471314"/>
                <a:chExt cx="31499" cy="27001"/>
              </a:xfrm>
            </p:grpSpPr>
            <p:sp>
              <p:nvSpPr>
                <p:cNvPr id="4439" name="Google Shape;4439;p66"/>
                <p:cNvSpPr/>
                <p:nvPr/>
              </p:nvSpPr>
              <p:spPr>
                <a:xfrm>
                  <a:off x="4719311" y="3471314"/>
                  <a:ext cx="31499" cy="27001"/>
                </a:xfrm>
                <a:custGeom>
                  <a:avLst/>
                  <a:gdLst/>
                  <a:ahLst/>
                  <a:cxnLst/>
                  <a:rect l="l" t="t" r="r" b="b"/>
                  <a:pathLst>
                    <a:path w="4005" h="3433" extrusionOk="0">
                      <a:moveTo>
                        <a:pt x="2285" y="1"/>
                      </a:moveTo>
                      <a:cubicBezTo>
                        <a:pt x="1865" y="1"/>
                        <a:pt x="1437" y="157"/>
                        <a:pt x="1089" y="505"/>
                      </a:cubicBezTo>
                      <a:cubicBezTo>
                        <a:pt x="0" y="1581"/>
                        <a:pt x="774" y="3432"/>
                        <a:pt x="2299" y="3432"/>
                      </a:cubicBezTo>
                      <a:cubicBezTo>
                        <a:pt x="3242" y="3432"/>
                        <a:pt x="4004" y="2658"/>
                        <a:pt x="4004" y="1715"/>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0" name="Google Shape;4440;p66"/>
                <p:cNvSpPr/>
                <p:nvPr/>
              </p:nvSpPr>
              <p:spPr>
                <a:xfrm>
                  <a:off x="4732249"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41" name="Google Shape;4441;p66"/>
              <p:cNvGrpSpPr/>
              <p:nvPr/>
            </p:nvGrpSpPr>
            <p:grpSpPr>
              <a:xfrm>
                <a:off x="4719311" y="3434404"/>
                <a:ext cx="31499" cy="26898"/>
                <a:chOff x="4719311" y="3434404"/>
                <a:chExt cx="31499" cy="26898"/>
              </a:xfrm>
            </p:grpSpPr>
            <p:sp>
              <p:nvSpPr>
                <p:cNvPr id="4442" name="Google Shape;4442;p66"/>
                <p:cNvSpPr/>
                <p:nvPr/>
              </p:nvSpPr>
              <p:spPr>
                <a:xfrm>
                  <a:off x="4719311" y="3434404"/>
                  <a:ext cx="31499" cy="26898"/>
                </a:xfrm>
                <a:custGeom>
                  <a:avLst/>
                  <a:gdLst/>
                  <a:ahLst/>
                  <a:cxnLst/>
                  <a:rect l="l" t="t" r="r" b="b"/>
                  <a:pathLst>
                    <a:path w="4005" h="3420" extrusionOk="0">
                      <a:moveTo>
                        <a:pt x="2285" y="0"/>
                      </a:moveTo>
                      <a:cubicBezTo>
                        <a:pt x="1865" y="0"/>
                        <a:pt x="1437" y="156"/>
                        <a:pt x="1089" y="504"/>
                      </a:cubicBezTo>
                      <a:cubicBezTo>
                        <a:pt x="0" y="1581"/>
                        <a:pt x="774" y="3420"/>
                        <a:pt x="2299" y="3420"/>
                      </a:cubicBezTo>
                      <a:cubicBezTo>
                        <a:pt x="3242" y="3420"/>
                        <a:pt x="4004" y="2658"/>
                        <a:pt x="4004" y="1714"/>
                      </a:cubicBezTo>
                      <a:cubicBezTo>
                        <a:pt x="4004"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3" name="Google Shape;4443;p66"/>
                <p:cNvSpPr/>
                <p:nvPr/>
              </p:nvSpPr>
              <p:spPr>
                <a:xfrm>
                  <a:off x="4732249" y="3444078"/>
                  <a:ext cx="8856" cy="7582"/>
                </a:xfrm>
                <a:custGeom>
                  <a:avLst/>
                  <a:gdLst/>
                  <a:ahLst/>
                  <a:cxnLst/>
                  <a:rect l="l" t="t" r="r" b="b"/>
                  <a:pathLst>
                    <a:path w="1126" h="964" extrusionOk="0">
                      <a:moveTo>
                        <a:pt x="642" y="0"/>
                      </a:moveTo>
                      <a:cubicBezTo>
                        <a:pt x="218" y="0"/>
                        <a:pt x="0" y="520"/>
                        <a:pt x="303" y="823"/>
                      </a:cubicBezTo>
                      <a:cubicBezTo>
                        <a:pt x="400" y="920"/>
                        <a:pt x="520" y="964"/>
                        <a:pt x="638" y="964"/>
                      </a:cubicBezTo>
                      <a:cubicBezTo>
                        <a:pt x="886" y="964"/>
                        <a:pt x="1125" y="771"/>
                        <a:pt x="1125" y="484"/>
                      </a:cubicBezTo>
                      <a:cubicBezTo>
                        <a:pt x="1125" y="218"/>
                        <a:pt x="920" y="0"/>
                        <a:pt x="64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44" name="Google Shape;4444;p66"/>
              <p:cNvGrpSpPr/>
              <p:nvPr/>
            </p:nvGrpSpPr>
            <p:grpSpPr>
              <a:xfrm>
                <a:off x="4768876" y="3401772"/>
                <a:ext cx="31499" cy="26898"/>
                <a:chOff x="4768876" y="3401772"/>
                <a:chExt cx="31499" cy="26898"/>
              </a:xfrm>
            </p:grpSpPr>
            <p:sp>
              <p:nvSpPr>
                <p:cNvPr id="4445" name="Google Shape;4445;p66"/>
                <p:cNvSpPr/>
                <p:nvPr/>
              </p:nvSpPr>
              <p:spPr>
                <a:xfrm>
                  <a:off x="4768876" y="3401772"/>
                  <a:ext cx="31499" cy="26898"/>
                </a:xfrm>
                <a:custGeom>
                  <a:avLst/>
                  <a:gdLst/>
                  <a:ahLst/>
                  <a:cxnLst/>
                  <a:rect l="l" t="t" r="r" b="b"/>
                  <a:pathLst>
                    <a:path w="4005" h="3420" extrusionOk="0">
                      <a:moveTo>
                        <a:pt x="2276" y="0"/>
                      </a:moveTo>
                      <a:cubicBezTo>
                        <a:pt x="1855" y="0"/>
                        <a:pt x="1425" y="156"/>
                        <a:pt x="1077" y="504"/>
                      </a:cubicBezTo>
                      <a:cubicBezTo>
                        <a:pt x="1" y="1581"/>
                        <a:pt x="763" y="3419"/>
                        <a:pt x="2287" y="3419"/>
                      </a:cubicBezTo>
                      <a:cubicBezTo>
                        <a:pt x="3231" y="3419"/>
                        <a:pt x="4005" y="2657"/>
                        <a:pt x="4005" y="1714"/>
                      </a:cubicBezTo>
                      <a:cubicBezTo>
                        <a:pt x="4005" y="683"/>
                        <a:pt x="3157" y="0"/>
                        <a:pt x="227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6" name="Google Shape;4446;p66"/>
                <p:cNvSpPr/>
                <p:nvPr/>
              </p:nvSpPr>
              <p:spPr>
                <a:xfrm>
                  <a:off x="4783057" y="3411438"/>
                  <a:ext cx="7613" cy="7621"/>
                </a:xfrm>
                <a:custGeom>
                  <a:avLst/>
                  <a:gdLst/>
                  <a:ahLst/>
                  <a:cxnLst/>
                  <a:rect l="l" t="t" r="r" b="b"/>
                  <a:pathLst>
                    <a:path w="968" h="969" extrusionOk="0">
                      <a:moveTo>
                        <a:pt x="484" y="1"/>
                      </a:moveTo>
                      <a:cubicBezTo>
                        <a:pt x="218" y="1"/>
                        <a:pt x="0" y="219"/>
                        <a:pt x="0" y="485"/>
                      </a:cubicBezTo>
                      <a:cubicBezTo>
                        <a:pt x="0" y="751"/>
                        <a:pt x="218" y="969"/>
                        <a:pt x="484" y="969"/>
                      </a:cubicBezTo>
                      <a:cubicBezTo>
                        <a:pt x="750" y="969"/>
                        <a:pt x="968" y="751"/>
                        <a:pt x="968" y="485"/>
                      </a:cubicBezTo>
                      <a:cubicBezTo>
                        <a:pt x="968" y="219"/>
                        <a:pt x="750" y="1"/>
                        <a:pt x="48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47" name="Google Shape;4447;p66"/>
              <p:cNvGrpSpPr/>
              <p:nvPr/>
            </p:nvGrpSpPr>
            <p:grpSpPr>
              <a:xfrm>
                <a:off x="4762214" y="3471377"/>
                <a:ext cx="26938" cy="26938"/>
                <a:chOff x="4762214" y="3471377"/>
                <a:chExt cx="26938" cy="26938"/>
              </a:xfrm>
            </p:grpSpPr>
            <p:sp>
              <p:nvSpPr>
                <p:cNvPr id="4448" name="Google Shape;4448;p66"/>
                <p:cNvSpPr/>
                <p:nvPr/>
              </p:nvSpPr>
              <p:spPr>
                <a:xfrm>
                  <a:off x="4762214" y="3471377"/>
                  <a:ext cx="26938" cy="26938"/>
                </a:xfrm>
                <a:custGeom>
                  <a:avLst/>
                  <a:gdLst/>
                  <a:ahLst/>
                  <a:cxnLst/>
                  <a:rect l="l" t="t" r="r" b="b"/>
                  <a:pathLst>
                    <a:path w="3425" h="3425" extrusionOk="0">
                      <a:moveTo>
                        <a:pt x="1707" y="1"/>
                      </a:moveTo>
                      <a:cubicBezTo>
                        <a:pt x="763" y="1"/>
                        <a:pt x="1" y="763"/>
                        <a:pt x="1" y="1707"/>
                      </a:cubicBezTo>
                      <a:cubicBezTo>
                        <a:pt x="1" y="2650"/>
                        <a:pt x="763" y="3424"/>
                        <a:pt x="1707" y="3424"/>
                      </a:cubicBezTo>
                      <a:cubicBezTo>
                        <a:pt x="2662" y="3424"/>
                        <a:pt x="3424" y="2650"/>
                        <a:pt x="3424" y="1707"/>
                      </a:cubicBezTo>
                      <a:cubicBezTo>
                        <a:pt x="3424" y="763"/>
                        <a:pt x="2662" y="1"/>
                        <a:pt x="170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49" name="Google Shape;4449;p66"/>
                <p:cNvSpPr/>
                <p:nvPr/>
              </p:nvSpPr>
              <p:spPr>
                <a:xfrm>
                  <a:off x="4770591" y="3480988"/>
                  <a:ext cx="8856" cy="7605"/>
                </a:xfrm>
                <a:custGeom>
                  <a:avLst/>
                  <a:gdLst/>
                  <a:ahLst/>
                  <a:cxnLst/>
                  <a:rect l="l" t="t" r="r" b="b"/>
                  <a:pathLst>
                    <a:path w="1126" h="967" extrusionOk="0">
                      <a:moveTo>
                        <a:pt x="642" y="1"/>
                      </a:moveTo>
                      <a:cubicBezTo>
                        <a:pt x="218" y="1"/>
                        <a:pt x="0" y="521"/>
                        <a:pt x="303" y="823"/>
                      </a:cubicBezTo>
                      <a:cubicBezTo>
                        <a:pt x="402" y="922"/>
                        <a:pt x="524" y="967"/>
                        <a:pt x="643" y="967"/>
                      </a:cubicBezTo>
                      <a:cubicBezTo>
                        <a:pt x="890" y="967"/>
                        <a:pt x="1125" y="778"/>
                        <a:pt x="1125" y="485"/>
                      </a:cubicBezTo>
                      <a:cubicBezTo>
                        <a:pt x="1125" y="218"/>
                        <a:pt x="920" y="1"/>
                        <a:pt x="64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50" name="Google Shape;4450;p66"/>
              <p:cNvGrpSpPr/>
              <p:nvPr/>
            </p:nvGrpSpPr>
            <p:grpSpPr>
              <a:xfrm>
                <a:off x="4790473" y="3344782"/>
                <a:ext cx="31405" cy="26898"/>
                <a:chOff x="4790473" y="3344782"/>
                <a:chExt cx="31405" cy="26898"/>
              </a:xfrm>
            </p:grpSpPr>
            <p:sp>
              <p:nvSpPr>
                <p:cNvPr id="4451" name="Google Shape;4451;p66"/>
                <p:cNvSpPr/>
                <p:nvPr/>
              </p:nvSpPr>
              <p:spPr>
                <a:xfrm>
                  <a:off x="4790473" y="3344782"/>
                  <a:ext cx="31405" cy="26898"/>
                </a:xfrm>
                <a:custGeom>
                  <a:avLst/>
                  <a:gdLst/>
                  <a:ahLst/>
                  <a:cxnLst/>
                  <a:rect l="l" t="t" r="r" b="b"/>
                  <a:pathLst>
                    <a:path w="3993" h="3420" extrusionOk="0">
                      <a:moveTo>
                        <a:pt x="2273" y="0"/>
                      </a:moveTo>
                      <a:cubicBezTo>
                        <a:pt x="1853" y="0"/>
                        <a:pt x="1425" y="156"/>
                        <a:pt x="1077" y="504"/>
                      </a:cubicBezTo>
                      <a:cubicBezTo>
                        <a:pt x="1" y="1581"/>
                        <a:pt x="763" y="3420"/>
                        <a:pt x="2287" y="3420"/>
                      </a:cubicBezTo>
                      <a:cubicBezTo>
                        <a:pt x="3230" y="3420"/>
                        <a:pt x="3993" y="2657"/>
                        <a:pt x="3993" y="1714"/>
                      </a:cubicBezTo>
                      <a:cubicBezTo>
                        <a:pt x="3993"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2" name="Google Shape;4452;p66"/>
                <p:cNvSpPr/>
                <p:nvPr/>
              </p:nvSpPr>
              <p:spPr>
                <a:xfrm>
                  <a:off x="4804654" y="3354456"/>
                  <a:ext cx="7613" cy="7613"/>
                </a:xfrm>
                <a:custGeom>
                  <a:avLst/>
                  <a:gdLst/>
                  <a:ahLst/>
                  <a:cxnLst/>
                  <a:rect l="l" t="t" r="r" b="b"/>
                  <a:pathLst>
                    <a:path w="968" h="968" extrusionOk="0">
                      <a:moveTo>
                        <a:pt x="484" y="0"/>
                      </a:moveTo>
                      <a:cubicBezTo>
                        <a:pt x="218" y="0"/>
                        <a:pt x="0" y="218"/>
                        <a:pt x="0" y="484"/>
                      </a:cubicBezTo>
                      <a:cubicBezTo>
                        <a:pt x="0" y="750"/>
                        <a:pt x="218"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53" name="Google Shape;4453;p66"/>
              <p:cNvGrpSpPr/>
              <p:nvPr/>
            </p:nvGrpSpPr>
            <p:grpSpPr>
              <a:xfrm>
                <a:off x="4823774" y="3950733"/>
                <a:ext cx="37398" cy="32034"/>
                <a:chOff x="4823774" y="3950733"/>
                <a:chExt cx="37398" cy="32034"/>
              </a:xfrm>
            </p:grpSpPr>
            <p:sp>
              <p:nvSpPr>
                <p:cNvPr id="4454" name="Google Shape;4454;p66"/>
                <p:cNvSpPr/>
                <p:nvPr/>
              </p:nvSpPr>
              <p:spPr>
                <a:xfrm>
                  <a:off x="4823774" y="3950733"/>
                  <a:ext cx="37398" cy="32034"/>
                </a:xfrm>
                <a:custGeom>
                  <a:avLst/>
                  <a:gdLst/>
                  <a:ahLst/>
                  <a:cxnLst/>
                  <a:rect l="l" t="t" r="r" b="b"/>
                  <a:pathLst>
                    <a:path w="4755" h="4073" extrusionOk="0">
                      <a:moveTo>
                        <a:pt x="2707" y="1"/>
                      </a:moveTo>
                      <a:cubicBezTo>
                        <a:pt x="2207" y="1"/>
                        <a:pt x="1698" y="186"/>
                        <a:pt x="1283" y="601"/>
                      </a:cubicBezTo>
                      <a:cubicBezTo>
                        <a:pt x="1" y="1883"/>
                        <a:pt x="908" y="4073"/>
                        <a:pt x="2722" y="4073"/>
                      </a:cubicBezTo>
                      <a:cubicBezTo>
                        <a:pt x="3835" y="4073"/>
                        <a:pt x="4755" y="3166"/>
                        <a:pt x="4755" y="2041"/>
                      </a:cubicBezTo>
                      <a:cubicBezTo>
                        <a:pt x="4755" y="813"/>
                        <a:pt x="3752" y="1"/>
                        <a:pt x="270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5" name="Google Shape;4455;p66"/>
                <p:cNvSpPr/>
                <p:nvPr/>
              </p:nvSpPr>
              <p:spPr>
                <a:xfrm>
                  <a:off x="4836617" y="3960407"/>
                  <a:ext cx="14849" cy="12718"/>
                </a:xfrm>
                <a:custGeom>
                  <a:avLst/>
                  <a:gdLst/>
                  <a:ahLst/>
                  <a:cxnLst/>
                  <a:rect l="l" t="t" r="r" b="b"/>
                  <a:pathLst>
                    <a:path w="1888" h="1617" extrusionOk="0">
                      <a:moveTo>
                        <a:pt x="1089" y="0"/>
                      </a:moveTo>
                      <a:cubicBezTo>
                        <a:pt x="363" y="0"/>
                        <a:pt x="1" y="871"/>
                        <a:pt x="509" y="1379"/>
                      </a:cubicBezTo>
                      <a:cubicBezTo>
                        <a:pt x="673" y="1543"/>
                        <a:pt x="874" y="1616"/>
                        <a:pt x="1073" y="1616"/>
                      </a:cubicBezTo>
                      <a:cubicBezTo>
                        <a:pt x="1488" y="1616"/>
                        <a:pt x="1888" y="1294"/>
                        <a:pt x="1888" y="811"/>
                      </a:cubicBezTo>
                      <a:cubicBezTo>
                        <a:pt x="1888" y="363"/>
                        <a:pt x="1537" y="0"/>
                        <a:pt x="108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56" name="Google Shape;4456;p66"/>
              <p:cNvGrpSpPr/>
              <p:nvPr/>
            </p:nvGrpSpPr>
            <p:grpSpPr>
              <a:xfrm>
                <a:off x="4823396" y="4110566"/>
                <a:ext cx="31405" cy="26906"/>
                <a:chOff x="4823396" y="4110566"/>
                <a:chExt cx="31405" cy="26906"/>
              </a:xfrm>
            </p:grpSpPr>
            <p:sp>
              <p:nvSpPr>
                <p:cNvPr id="4457" name="Google Shape;4457;p66"/>
                <p:cNvSpPr/>
                <p:nvPr/>
              </p:nvSpPr>
              <p:spPr>
                <a:xfrm>
                  <a:off x="4823396" y="4110566"/>
                  <a:ext cx="31405" cy="26906"/>
                </a:xfrm>
                <a:custGeom>
                  <a:avLst/>
                  <a:gdLst/>
                  <a:ahLst/>
                  <a:cxnLst/>
                  <a:rect l="l" t="t" r="r" b="b"/>
                  <a:pathLst>
                    <a:path w="3993" h="3421" extrusionOk="0">
                      <a:moveTo>
                        <a:pt x="2272" y="1"/>
                      </a:moveTo>
                      <a:cubicBezTo>
                        <a:pt x="1853" y="1"/>
                        <a:pt x="1425" y="157"/>
                        <a:pt x="1077" y="505"/>
                      </a:cubicBezTo>
                      <a:cubicBezTo>
                        <a:pt x="0" y="1582"/>
                        <a:pt x="762" y="3420"/>
                        <a:pt x="2286" y="3420"/>
                      </a:cubicBezTo>
                      <a:cubicBezTo>
                        <a:pt x="3230" y="3420"/>
                        <a:pt x="3992" y="2658"/>
                        <a:pt x="3992" y="1715"/>
                      </a:cubicBezTo>
                      <a:cubicBezTo>
                        <a:pt x="3992" y="683"/>
                        <a:pt x="3150" y="1"/>
                        <a:pt x="227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58" name="Google Shape;4458;p66"/>
                <p:cNvSpPr/>
                <p:nvPr/>
              </p:nvSpPr>
              <p:spPr>
                <a:xfrm>
                  <a:off x="4836240" y="4120145"/>
                  <a:ext cx="8950" cy="7684"/>
                </a:xfrm>
                <a:custGeom>
                  <a:avLst/>
                  <a:gdLst/>
                  <a:ahLst/>
                  <a:cxnLst/>
                  <a:rect l="l" t="t" r="r" b="b"/>
                  <a:pathLst>
                    <a:path w="1138" h="977" extrusionOk="0">
                      <a:moveTo>
                        <a:pt x="653" y="1"/>
                      </a:moveTo>
                      <a:cubicBezTo>
                        <a:pt x="218" y="1"/>
                        <a:pt x="0" y="533"/>
                        <a:pt x="303" y="835"/>
                      </a:cubicBezTo>
                      <a:cubicBezTo>
                        <a:pt x="404" y="933"/>
                        <a:pt x="527" y="976"/>
                        <a:pt x="646" y="976"/>
                      </a:cubicBezTo>
                      <a:cubicBezTo>
                        <a:pt x="898" y="976"/>
                        <a:pt x="1137" y="784"/>
                        <a:pt x="1137" y="497"/>
                      </a:cubicBezTo>
                      <a:cubicBezTo>
                        <a:pt x="1137" y="218"/>
                        <a:pt x="920"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59" name="Google Shape;4459;p66"/>
              <p:cNvGrpSpPr/>
              <p:nvPr/>
            </p:nvGrpSpPr>
            <p:grpSpPr>
              <a:xfrm>
                <a:off x="4838332" y="3821150"/>
                <a:ext cx="31499" cy="26898"/>
                <a:chOff x="4838332" y="3821150"/>
                <a:chExt cx="31499" cy="26898"/>
              </a:xfrm>
            </p:grpSpPr>
            <p:sp>
              <p:nvSpPr>
                <p:cNvPr id="4460" name="Google Shape;4460;p66"/>
                <p:cNvSpPr/>
                <p:nvPr/>
              </p:nvSpPr>
              <p:spPr>
                <a:xfrm>
                  <a:off x="4838332" y="3821150"/>
                  <a:ext cx="31499" cy="26898"/>
                </a:xfrm>
                <a:custGeom>
                  <a:avLst/>
                  <a:gdLst/>
                  <a:ahLst/>
                  <a:cxnLst/>
                  <a:rect l="l" t="t" r="r" b="b"/>
                  <a:pathLst>
                    <a:path w="4005" h="3420" extrusionOk="0">
                      <a:moveTo>
                        <a:pt x="2285" y="1"/>
                      </a:moveTo>
                      <a:cubicBezTo>
                        <a:pt x="1865" y="1"/>
                        <a:pt x="1437" y="156"/>
                        <a:pt x="1089" y="505"/>
                      </a:cubicBezTo>
                      <a:cubicBezTo>
                        <a:pt x="0" y="1581"/>
                        <a:pt x="775" y="3420"/>
                        <a:pt x="2299" y="3420"/>
                      </a:cubicBezTo>
                      <a:cubicBezTo>
                        <a:pt x="3242" y="3420"/>
                        <a:pt x="4004" y="2658"/>
                        <a:pt x="4004" y="1714"/>
                      </a:cubicBezTo>
                      <a:cubicBezTo>
                        <a:pt x="4004"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1" name="Google Shape;4461;p66"/>
                <p:cNvSpPr/>
                <p:nvPr/>
              </p:nvSpPr>
              <p:spPr>
                <a:xfrm>
                  <a:off x="4851270" y="3830824"/>
                  <a:ext cx="8950" cy="7582"/>
                </a:xfrm>
                <a:custGeom>
                  <a:avLst/>
                  <a:gdLst/>
                  <a:ahLst/>
                  <a:cxnLst/>
                  <a:rect l="l" t="t" r="r" b="b"/>
                  <a:pathLst>
                    <a:path w="1138" h="964" extrusionOk="0">
                      <a:moveTo>
                        <a:pt x="654" y="0"/>
                      </a:moveTo>
                      <a:cubicBezTo>
                        <a:pt x="218" y="0"/>
                        <a:pt x="0" y="521"/>
                        <a:pt x="303" y="823"/>
                      </a:cubicBezTo>
                      <a:cubicBezTo>
                        <a:pt x="404" y="920"/>
                        <a:pt x="526" y="964"/>
                        <a:pt x="644" y="964"/>
                      </a:cubicBezTo>
                      <a:cubicBezTo>
                        <a:pt x="893" y="964"/>
                        <a:pt x="1129" y="771"/>
                        <a:pt x="1138" y="484"/>
                      </a:cubicBezTo>
                      <a:cubicBezTo>
                        <a:pt x="1125" y="218"/>
                        <a:pt x="920" y="0"/>
                        <a:pt x="65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62" name="Google Shape;4462;p66"/>
              <p:cNvGrpSpPr/>
              <p:nvPr/>
            </p:nvGrpSpPr>
            <p:grpSpPr>
              <a:xfrm>
                <a:off x="4661275" y="3815007"/>
                <a:ext cx="36824" cy="31523"/>
                <a:chOff x="4661275" y="3815007"/>
                <a:chExt cx="36824" cy="31523"/>
              </a:xfrm>
            </p:grpSpPr>
            <p:sp>
              <p:nvSpPr>
                <p:cNvPr id="4463" name="Google Shape;4463;p66"/>
                <p:cNvSpPr/>
                <p:nvPr/>
              </p:nvSpPr>
              <p:spPr>
                <a:xfrm>
                  <a:off x="4661275" y="3815007"/>
                  <a:ext cx="36824" cy="31523"/>
                </a:xfrm>
                <a:custGeom>
                  <a:avLst/>
                  <a:gdLst/>
                  <a:ahLst/>
                  <a:cxnLst/>
                  <a:rect l="l" t="t" r="r" b="b"/>
                  <a:pathLst>
                    <a:path w="4682" h="4008" extrusionOk="0">
                      <a:moveTo>
                        <a:pt x="2663" y="0"/>
                      </a:moveTo>
                      <a:cubicBezTo>
                        <a:pt x="2169" y="0"/>
                        <a:pt x="1666" y="184"/>
                        <a:pt x="1258" y="596"/>
                      </a:cubicBezTo>
                      <a:cubicBezTo>
                        <a:pt x="0" y="1854"/>
                        <a:pt x="895" y="4007"/>
                        <a:pt x="2674" y="4007"/>
                      </a:cubicBezTo>
                      <a:cubicBezTo>
                        <a:pt x="3774" y="4007"/>
                        <a:pt x="4682" y="3112"/>
                        <a:pt x="4682" y="2011"/>
                      </a:cubicBezTo>
                      <a:cubicBezTo>
                        <a:pt x="4682" y="801"/>
                        <a:pt x="3692" y="0"/>
                        <a:pt x="266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4" name="Google Shape;4464;p66"/>
                <p:cNvSpPr/>
                <p:nvPr/>
              </p:nvSpPr>
              <p:spPr>
                <a:xfrm>
                  <a:off x="4676211" y="3824736"/>
                  <a:ext cx="12183" cy="12183"/>
                </a:xfrm>
                <a:custGeom>
                  <a:avLst/>
                  <a:gdLst/>
                  <a:ahLst/>
                  <a:cxnLst/>
                  <a:rect l="l" t="t" r="r" b="b"/>
                  <a:pathLst>
                    <a:path w="1549" h="1549" extrusionOk="0">
                      <a:moveTo>
                        <a:pt x="775" y="0"/>
                      </a:moveTo>
                      <a:cubicBezTo>
                        <a:pt x="351" y="0"/>
                        <a:pt x="0" y="339"/>
                        <a:pt x="0" y="774"/>
                      </a:cubicBezTo>
                      <a:cubicBezTo>
                        <a:pt x="0" y="1198"/>
                        <a:pt x="351" y="1549"/>
                        <a:pt x="775" y="1549"/>
                      </a:cubicBezTo>
                      <a:cubicBezTo>
                        <a:pt x="1210" y="1549"/>
                        <a:pt x="1549" y="1198"/>
                        <a:pt x="1549" y="774"/>
                      </a:cubicBezTo>
                      <a:cubicBezTo>
                        <a:pt x="1549" y="339"/>
                        <a:pt x="1210" y="0"/>
                        <a:pt x="77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65" name="Google Shape;4465;p66"/>
              <p:cNvGrpSpPr/>
              <p:nvPr/>
            </p:nvGrpSpPr>
            <p:grpSpPr>
              <a:xfrm>
                <a:off x="4558998" y="3851037"/>
                <a:ext cx="33591" cy="28699"/>
                <a:chOff x="4558998" y="3851037"/>
                <a:chExt cx="33591" cy="28699"/>
              </a:xfrm>
            </p:grpSpPr>
            <p:sp>
              <p:nvSpPr>
                <p:cNvPr id="4466" name="Google Shape;4466;p66"/>
                <p:cNvSpPr/>
                <p:nvPr/>
              </p:nvSpPr>
              <p:spPr>
                <a:xfrm>
                  <a:off x="4558998" y="3851037"/>
                  <a:ext cx="33591" cy="28699"/>
                </a:xfrm>
                <a:custGeom>
                  <a:avLst/>
                  <a:gdLst/>
                  <a:ahLst/>
                  <a:cxnLst/>
                  <a:rect l="l" t="t" r="r" b="b"/>
                  <a:pathLst>
                    <a:path w="4271" h="3649" extrusionOk="0">
                      <a:moveTo>
                        <a:pt x="2430" y="0"/>
                      </a:moveTo>
                      <a:cubicBezTo>
                        <a:pt x="1980" y="0"/>
                        <a:pt x="1522" y="167"/>
                        <a:pt x="1149" y="539"/>
                      </a:cubicBezTo>
                      <a:cubicBezTo>
                        <a:pt x="0" y="1688"/>
                        <a:pt x="823" y="3648"/>
                        <a:pt x="2444" y="3648"/>
                      </a:cubicBezTo>
                      <a:cubicBezTo>
                        <a:pt x="3448" y="3648"/>
                        <a:pt x="4270" y="2838"/>
                        <a:pt x="4270" y="1822"/>
                      </a:cubicBezTo>
                      <a:cubicBezTo>
                        <a:pt x="4270" y="726"/>
                        <a:pt x="3369" y="0"/>
                        <a:pt x="24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67" name="Google Shape;4467;p66"/>
                <p:cNvSpPr/>
                <p:nvPr/>
              </p:nvSpPr>
              <p:spPr>
                <a:xfrm>
                  <a:off x="4573557" y="3860695"/>
                  <a:ext cx="9328" cy="9430"/>
                </a:xfrm>
                <a:custGeom>
                  <a:avLst/>
                  <a:gdLst/>
                  <a:ahLst/>
                  <a:cxnLst/>
                  <a:rect l="l" t="t" r="r" b="b"/>
                  <a:pathLst>
                    <a:path w="1186" h="1199" extrusionOk="0">
                      <a:moveTo>
                        <a:pt x="593" y="1"/>
                      </a:moveTo>
                      <a:cubicBezTo>
                        <a:pt x="266" y="1"/>
                        <a:pt x="0" y="267"/>
                        <a:pt x="0" y="594"/>
                      </a:cubicBezTo>
                      <a:cubicBezTo>
                        <a:pt x="0" y="932"/>
                        <a:pt x="266" y="1198"/>
                        <a:pt x="593" y="1198"/>
                      </a:cubicBezTo>
                      <a:cubicBezTo>
                        <a:pt x="919" y="1198"/>
                        <a:pt x="1185" y="932"/>
                        <a:pt x="1185" y="594"/>
                      </a:cubicBezTo>
                      <a:cubicBezTo>
                        <a:pt x="1185" y="267"/>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68" name="Google Shape;4468;p66"/>
              <p:cNvGrpSpPr/>
              <p:nvPr/>
            </p:nvGrpSpPr>
            <p:grpSpPr>
              <a:xfrm>
                <a:off x="4696762" y="3638587"/>
                <a:ext cx="33591" cy="28794"/>
                <a:chOff x="4696762" y="3638587"/>
                <a:chExt cx="33591" cy="28794"/>
              </a:xfrm>
            </p:grpSpPr>
            <p:sp>
              <p:nvSpPr>
                <p:cNvPr id="4469" name="Google Shape;4469;p66"/>
                <p:cNvSpPr/>
                <p:nvPr/>
              </p:nvSpPr>
              <p:spPr>
                <a:xfrm>
                  <a:off x="4696762" y="3638587"/>
                  <a:ext cx="33591" cy="28794"/>
                </a:xfrm>
                <a:custGeom>
                  <a:avLst/>
                  <a:gdLst/>
                  <a:ahLst/>
                  <a:cxnLst/>
                  <a:rect l="l" t="t" r="r" b="b"/>
                  <a:pathLst>
                    <a:path w="4271" h="3661" extrusionOk="0">
                      <a:moveTo>
                        <a:pt x="2426" y="1"/>
                      </a:moveTo>
                      <a:cubicBezTo>
                        <a:pt x="1978" y="1"/>
                        <a:pt x="1521" y="167"/>
                        <a:pt x="1150" y="539"/>
                      </a:cubicBezTo>
                      <a:cubicBezTo>
                        <a:pt x="0" y="1688"/>
                        <a:pt x="823" y="3660"/>
                        <a:pt x="2444" y="3660"/>
                      </a:cubicBezTo>
                      <a:cubicBezTo>
                        <a:pt x="3448" y="3648"/>
                        <a:pt x="4258" y="2838"/>
                        <a:pt x="4270" y="1834"/>
                      </a:cubicBezTo>
                      <a:cubicBezTo>
                        <a:pt x="4262" y="729"/>
                        <a:pt x="3363" y="1"/>
                        <a:pt x="242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0" name="Google Shape;4470;p66"/>
                <p:cNvSpPr/>
                <p:nvPr/>
              </p:nvSpPr>
              <p:spPr>
                <a:xfrm>
                  <a:off x="4711320" y="3648245"/>
                  <a:ext cx="9328" cy="9430"/>
                </a:xfrm>
                <a:custGeom>
                  <a:avLst/>
                  <a:gdLst/>
                  <a:ahLst/>
                  <a:cxnLst/>
                  <a:rect l="l" t="t" r="r" b="b"/>
                  <a:pathLst>
                    <a:path w="1186" h="1199" extrusionOk="0">
                      <a:moveTo>
                        <a:pt x="593" y="1"/>
                      </a:moveTo>
                      <a:cubicBezTo>
                        <a:pt x="266" y="1"/>
                        <a:pt x="0" y="279"/>
                        <a:pt x="0" y="606"/>
                      </a:cubicBezTo>
                      <a:cubicBezTo>
                        <a:pt x="0" y="932"/>
                        <a:pt x="266" y="1198"/>
                        <a:pt x="593" y="1198"/>
                      </a:cubicBezTo>
                      <a:cubicBezTo>
                        <a:pt x="919" y="1198"/>
                        <a:pt x="1186" y="932"/>
                        <a:pt x="1186" y="606"/>
                      </a:cubicBezTo>
                      <a:cubicBezTo>
                        <a:pt x="1186" y="279"/>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71" name="Google Shape;4471;p66"/>
              <p:cNvGrpSpPr/>
              <p:nvPr/>
            </p:nvGrpSpPr>
            <p:grpSpPr>
              <a:xfrm>
                <a:off x="4929479" y="3939140"/>
                <a:ext cx="33497" cy="28692"/>
                <a:chOff x="4929479" y="3939140"/>
                <a:chExt cx="33497" cy="28692"/>
              </a:xfrm>
            </p:grpSpPr>
            <p:sp>
              <p:nvSpPr>
                <p:cNvPr id="4472" name="Google Shape;4472;p66"/>
                <p:cNvSpPr/>
                <p:nvPr/>
              </p:nvSpPr>
              <p:spPr>
                <a:xfrm>
                  <a:off x="4929479" y="3939140"/>
                  <a:ext cx="33497" cy="28692"/>
                </a:xfrm>
                <a:custGeom>
                  <a:avLst/>
                  <a:gdLst/>
                  <a:ahLst/>
                  <a:cxnLst/>
                  <a:rect l="l" t="t" r="r" b="b"/>
                  <a:pathLst>
                    <a:path w="4259" h="3648" extrusionOk="0">
                      <a:moveTo>
                        <a:pt x="2426" y="0"/>
                      </a:moveTo>
                      <a:cubicBezTo>
                        <a:pt x="1978" y="0"/>
                        <a:pt x="1521" y="167"/>
                        <a:pt x="1149" y="539"/>
                      </a:cubicBezTo>
                      <a:cubicBezTo>
                        <a:pt x="0" y="1688"/>
                        <a:pt x="811" y="3648"/>
                        <a:pt x="2431" y="3648"/>
                      </a:cubicBezTo>
                      <a:cubicBezTo>
                        <a:pt x="3448" y="3648"/>
                        <a:pt x="4258" y="2837"/>
                        <a:pt x="4258" y="1833"/>
                      </a:cubicBezTo>
                      <a:cubicBezTo>
                        <a:pt x="4258" y="729"/>
                        <a:pt x="3361" y="0"/>
                        <a:pt x="242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3" name="Google Shape;4473;p66"/>
                <p:cNvSpPr/>
                <p:nvPr/>
              </p:nvSpPr>
              <p:spPr>
                <a:xfrm>
                  <a:off x="4943935" y="3948893"/>
                  <a:ext cx="9430" cy="9328"/>
                </a:xfrm>
                <a:custGeom>
                  <a:avLst/>
                  <a:gdLst/>
                  <a:ahLst/>
                  <a:cxnLst/>
                  <a:rect l="l" t="t" r="r" b="b"/>
                  <a:pathLst>
                    <a:path w="1199" h="1186" extrusionOk="0">
                      <a:moveTo>
                        <a:pt x="593" y="0"/>
                      </a:moveTo>
                      <a:cubicBezTo>
                        <a:pt x="267" y="0"/>
                        <a:pt x="1" y="267"/>
                        <a:pt x="1" y="593"/>
                      </a:cubicBezTo>
                      <a:cubicBezTo>
                        <a:pt x="1" y="920"/>
                        <a:pt x="267" y="1186"/>
                        <a:pt x="593" y="1186"/>
                      </a:cubicBezTo>
                      <a:cubicBezTo>
                        <a:pt x="932" y="1186"/>
                        <a:pt x="1198" y="920"/>
                        <a:pt x="1198" y="593"/>
                      </a:cubicBezTo>
                      <a:cubicBezTo>
                        <a:pt x="1198" y="267"/>
                        <a:pt x="932" y="0"/>
                        <a:pt x="59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74" name="Google Shape;4474;p66"/>
              <p:cNvGrpSpPr/>
              <p:nvPr/>
            </p:nvGrpSpPr>
            <p:grpSpPr>
              <a:xfrm>
                <a:off x="4907119" y="3986039"/>
                <a:ext cx="33497" cy="28699"/>
                <a:chOff x="4907119" y="3986039"/>
                <a:chExt cx="33497" cy="28699"/>
              </a:xfrm>
            </p:grpSpPr>
            <p:sp>
              <p:nvSpPr>
                <p:cNvPr id="4475" name="Google Shape;4475;p66"/>
                <p:cNvSpPr/>
                <p:nvPr/>
              </p:nvSpPr>
              <p:spPr>
                <a:xfrm>
                  <a:off x="4907119" y="3986039"/>
                  <a:ext cx="33497" cy="28699"/>
                </a:xfrm>
                <a:custGeom>
                  <a:avLst/>
                  <a:gdLst/>
                  <a:ahLst/>
                  <a:cxnLst/>
                  <a:rect l="l" t="t" r="r" b="b"/>
                  <a:pathLst>
                    <a:path w="4259" h="3649" extrusionOk="0">
                      <a:moveTo>
                        <a:pt x="2427" y="1"/>
                      </a:moveTo>
                      <a:cubicBezTo>
                        <a:pt x="1979" y="1"/>
                        <a:pt x="1522" y="167"/>
                        <a:pt x="1149" y="540"/>
                      </a:cubicBezTo>
                      <a:cubicBezTo>
                        <a:pt x="0" y="1689"/>
                        <a:pt x="811" y="3648"/>
                        <a:pt x="2444" y="3648"/>
                      </a:cubicBezTo>
                      <a:cubicBezTo>
                        <a:pt x="3448" y="3648"/>
                        <a:pt x="4258" y="2826"/>
                        <a:pt x="4258" y="1822"/>
                      </a:cubicBezTo>
                      <a:cubicBezTo>
                        <a:pt x="4258" y="726"/>
                        <a:pt x="3363"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6" name="Google Shape;4476;p66"/>
                <p:cNvSpPr/>
                <p:nvPr/>
              </p:nvSpPr>
              <p:spPr>
                <a:xfrm>
                  <a:off x="4921583" y="3995705"/>
                  <a:ext cx="9422" cy="9328"/>
                </a:xfrm>
                <a:custGeom>
                  <a:avLst/>
                  <a:gdLst/>
                  <a:ahLst/>
                  <a:cxnLst/>
                  <a:rect l="l" t="t" r="r" b="b"/>
                  <a:pathLst>
                    <a:path w="1198" h="1186" extrusionOk="0">
                      <a:moveTo>
                        <a:pt x="605" y="0"/>
                      </a:moveTo>
                      <a:cubicBezTo>
                        <a:pt x="266" y="0"/>
                        <a:pt x="0" y="266"/>
                        <a:pt x="0" y="593"/>
                      </a:cubicBezTo>
                      <a:cubicBezTo>
                        <a:pt x="0" y="919"/>
                        <a:pt x="266" y="1186"/>
                        <a:pt x="605" y="1186"/>
                      </a:cubicBezTo>
                      <a:cubicBezTo>
                        <a:pt x="931" y="1186"/>
                        <a:pt x="1198" y="919"/>
                        <a:pt x="1198" y="593"/>
                      </a:cubicBezTo>
                      <a:cubicBezTo>
                        <a:pt x="1198" y="266"/>
                        <a:pt x="931" y="0"/>
                        <a:pt x="60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77" name="Google Shape;4477;p66"/>
              <p:cNvGrpSpPr/>
              <p:nvPr/>
            </p:nvGrpSpPr>
            <p:grpSpPr>
              <a:xfrm>
                <a:off x="4911783" y="4048102"/>
                <a:ext cx="33591" cy="28762"/>
                <a:chOff x="4911783" y="4048102"/>
                <a:chExt cx="33591" cy="28762"/>
              </a:xfrm>
            </p:grpSpPr>
            <p:sp>
              <p:nvSpPr>
                <p:cNvPr id="4478" name="Google Shape;4478;p66"/>
                <p:cNvSpPr/>
                <p:nvPr/>
              </p:nvSpPr>
              <p:spPr>
                <a:xfrm>
                  <a:off x="4911783" y="4048102"/>
                  <a:ext cx="33591" cy="28762"/>
                </a:xfrm>
                <a:custGeom>
                  <a:avLst/>
                  <a:gdLst/>
                  <a:ahLst/>
                  <a:cxnLst/>
                  <a:rect l="l" t="t" r="r" b="b"/>
                  <a:pathLst>
                    <a:path w="4271" h="3657" extrusionOk="0">
                      <a:moveTo>
                        <a:pt x="2422" y="0"/>
                      </a:moveTo>
                      <a:cubicBezTo>
                        <a:pt x="1974" y="0"/>
                        <a:pt x="1519" y="166"/>
                        <a:pt x="1149" y="536"/>
                      </a:cubicBezTo>
                      <a:cubicBezTo>
                        <a:pt x="0" y="1685"/>
                        <a:pt x="823" y="3657"/>
                        <a:pt x="2456" y="3657"/>
                      </a:cubicBezTo>
                      <a:cubicBezTo>
                        <a:pt x="3448" y="3645"/>
                        <a:pt x="4258" y="2834"/>
                        <a:pt x="4270" y="1842"/>
                      </a:cubicBezTo>
                      <a:cubicBezTo>
                        <a:pt x="4270" y="735"/>
                        <a:pt x="3364" y="0"/>
                        <a:pt x="242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79" name="Google Shape;4479;p66"/>
                <p:cNvSpPr/>
                <p:nvPr/>
              </p:nvSpPr>
              <p:spPr>
                <a:xfrm>
                  <a:off x="4926333" y="4057831"/>
                  <a:ext cx="9336" cy="9328"/>
                </a:xfrm>
                <a:custGeom>
                  <a:avLst/>
                  <a:gdLst/>
                  <a:ahLst/>
                  <a:cxnLst/>
                  <a:rect l="l" t="t" r="r" b="b"/>
                  <a:pathLst>
                    <a:path w="1187" h="1186" extrusionOk="0">
                      <a:moveTo>
                        <a:pt x="594" y="0"/>
                      </a:moveTo>
                      <a:cubicBezTo>
                        <a:pt x="267" y="0"/>
                        <a:pt x="1" y="266"/>
                        <a:pt x="1" y="593"/>
                      </a:cubicBezTo>
                      <a:cubicBezTo>
                        <a:pt x="1" y="920"/>
                        <a:pt x="267" y="1186"/>
                        <a:pt x="594" y="1186"/>
                      </a:cubicBezTo>
                      <a:cubicBezTo>
                        <a:pt x="920" y="1186"/>
                        <a:pt x="1186" y="920"/>
                        <a:pt x="1186" y="593"/>
                      </a:cubicBezTo>
                      <a:cubicBezTo>
                        <a:pt x="1186" y="266"/>
                        <a:pt x="920" y="0"/>
                        <a:pt x="59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480" name="Google Shape;4480;p66"/>
              <p:cNvSpPr/>
              <p:nvPr/>
            </p:nvSpPr>
            <p:spPr>
              <a:xfrm>
                <a:off x="4713506" y="3934476"/>
                <a:ext cx="33497" cy="28692"/>
              </a:xfrm>
              <a:custGeom>
                <a:avLst/>
                <a:gdLst/>
                <a:ahLst/>
                <a:cxnLst/>
                <a:rect l="l" t="t" r="r" b="b"/>
                <a:pathLst>
                  <a:path w="4259" h="3648" extrusionOk="0">
                    <a:moveTo>
                      <a:pt x="2422" y="0"/>
                    </a:moveTo>
                    <a:cubicBezTo>
                      <a:pt x="1974" y="0"/>
                      <a:pt x="1518" y="167"/>
                      <a:pt x="1150" y="539"/>
                    </a:cubicBezTo>
                    <a:cubicBezTo>
                      <a:pt x="0" y="1688"/>
                      <a:pt x="811" y="3648"/>
                      <a:pt x="2432" y="3648"/>
                    </a:cubicBezTo>
                    <a:cubicBezTo>
                      <a:pt x="3436" y="3648"/>
                      <a:pt x="4258" y="2838"/>
                      <a:pt x="4258" y="1821"/>
                    </a:cubicBezTo>
                    <a:cubicBezTo>
                      <a:pt x="4258" y="726"/>
                      <a:pt x="3357" y="0"/>
                      <a:pt x="242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1" name="Google Shape;4481;p66"/>
              <p:cNvSpPr/>
              <p:nvPr/>
            </p:nvSpPr>
            <p:spPr>
              <a:xfrm>
                <a:off x="4727970" y="3944135"/>
                <a:ext cx="9328" cy="9430"/>
              </a:xfrm>
              <a:custGeom>
                <a:avLst/>
                <a:gdLst/>
                <a:ahLst/>
                <a:cxnLst/>
                <a:rect l="l" t="t" r="r" b="b"/>
                <a:pathLst>
                  <a:path w="1186" h="1199" extrusionOk="0">
                    <a:moveTo>
                      <a:pt x="593" y="1"/>
                    </a:moveTo>
                    <a:cubicBezTo>
                      <a:pt x="266" y="1"/>
                      <a:pt x="0" y="267"/>
                      <a:pt x="0" y="593"/>
                    </a:cubicBezTo>
                    <a:cubicBezTo>
                      <a:pt x="0" y="932"/>
                      <a:pt x="266" y="1198"/>
                      <a:pt x="593" y="1198"/>
                    </a:cubicBezTo>
                    <a:cubicBezTo>
                      <a:pt x="919" y="1198"/>
                      <a:pt x="1186" y="932"/>
                      <a:pt x="1186" y="593"/>
                    </a:cubicBezTo>
                    <a:cubicBezTo>
                      <a:pt x="1186" y="267"/>
                      <a:pt x="919"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482" name="Google Shape;4482;p66"/>
              <p:cNvGrpSpPr/>
              <p:nvPr/>
            </p:nvGrpSpPr>
            <p:grpSpPr>
              <a:xfrm>
                <a:off x="4762623" y="3837847"/>
                <a:ext cx="42416" cy="36273"/>
                <a:chOff x="4762623" y="3837847"/>
                <a:chExt cx="42416" cy="36273"/>
              </a:xfrm>
            </p:grpSpPr>
            <p:sp>
              <p:nvSpPr>
                <p:cNvPr id="4483" name="Google Shape;4483;p66"/>
                <p:cNvSpPr/>
                <p:nvPr/>
              </p:nvSpPr>
              <p:spPr>
                <a:xfrm>
                  <a:off x="4762623" y="3837847"/>
                  <a:ext cx="42416" cy="36273"/>
                </a:xfrm>
                <a:custGeom>
                  <a:avLst/>
                  <a:gdLst/>
                  <a:ahLst/>
                  <a:cxnLst/>
                  <a:rect l="l" t="t" r="r" b="b"/>
                  <a:pathLst>
                    <a:path w="5393" h="4612" extrusionOk="0">
                      <a:moveTo>
                        <a:pt x="3064" y="1"/>
                      </a:moveTo>
                      <a:cubicBezTo>
                        <a:pt x="2496" y="1"/>
                        <a:pt x="1918" y="211"/>
                        <a:pt x="1449" y="680"/>
                      </a:cubicBezTo>
                      <a:cubicBezTo>
                        <a:pt x="1" y="2128"/>
                        <a:pt x="1033" y="4611"/>
                        <a:pt x="3067" y="4611"/>
                      </a:cubicBezTo>
                      <a:cubicBezTo>
                        <a:pt x="3072" y="4611"/>
                        <a:pt x="3077" y="4611"/>
                        <a:pt x="3082" y="4611"/>
                      </a:cubicBezTo>
                      <a:cubicBezTo>
                        <a:pt x="4352" y="4611"/>
                        <a:pt x="5380" y="3583"/>
                        <a:pt x="5392" y="2313"/>
                      </a:cubicBezTo>
                      <a:cubicBezTo>
                        <a:pt x="5392" y="921"/>
                        <a:pt x="4251" y="1"/>
                        <a:pt x="306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4" name="Google Shape;4484;p66"/>
                <p:cNvSpPr/>
                <p:nvPr/>
              </p:nvSpPr>
              <p:spPr>
                <a:xfrm>
                  <a:off x="4775538" y="3847568"/>
                  <a:ext cx="19796" cy="16957"/>
                </a:xfrm>
                <a:custGeom>
                  <a:avLst/>
                  <a:gdLst/>
                  <a:ahLst/>
                  <a:cxnLst/>
                  <a:rect l="l" t="t" r="r" b="b"/>
                  <a:pathLst>
                    <a:path w="2517" h="2156" extrusionOk="0">
                      <a:moveTo>
                        <a:pt x="1440" y="0"/>
                      </a:moveTo>
                      <a:cubicBezTo>
                        <a:pt x="484" y="0"/>
                        <a:pt x="0" y="1162"/>
                        <a:pt x="678" y="1839"/>
                      </a:cubicBezTo>
                      <a:cubicBezTo>
                        <a:pt x="896" y="2058"/>
                        <a:pt x="1165" y="2155"/>
                        <a:pt x="1429" y="2155"/>
                      </a:cubicBezTo>
                      <a:cubicBezTo>
                        <a:pt x="1984" y="2155"/>
                        <a:pt x="2517" y="1724"/>
                        <a:pt x="2517" y="1077"/>
                      </a:cubicBezTo>
                      <a:cubicBezTo>
                        <a:pt x="2517" y="484"/>
                        <a:pt x="2045" y="0"/>
                        <a:pt x="144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85" name="Google Shape;4485;p66"/>
              <p:cNvGrpSpPr/>
              <p:nvPr/>
            </p:nvGrpSpPr>
            <p:grpSpPr>
              <a:xfrm>
                <a:off x="4746044" y="4104966"/>
                <a:ext cx="33497" cy="28699"/>
                <a:chOff x="4746044" y="4104966"/>
                <a:chExt cx="33497" cy="28699"/>
              </a:xfrm>
            </p:grpSpPr>
            <p:sp>
              <p:nvSpPr>
                <p:cNvPr id="4486" name="Google Shape;4486;p66"/>
                <p:cNvSpPr/>
                <p:nvPr/>
              </p:nvSpPr>
              <p:spPr>
                <a:xfrm>
                  <a:off x="4746044" y="4104966"/>
                  <a:ext cx="33497" cy="28699"/>
                </a:xfrm>
                <a:custGeom>
                  <a:avLst/>
                  <a:gdLst/>
                  <a:ahLst/>
                  <a:cxnLst/>
                  <a:rect l="l" t="t" r="r" b="b"/>
                  <a:pathLst>
                    <a:path w="4259" h="3649" extrusionOk="0">
                      <a:moveTo>
                        <a:pt x="2428" y="1"/>
                      </a:moveTo>
                      <a:cubicBezTo>
                        <a:pt x="1979" y="1"/>
                        <a:pt x="1522" y="167"/>
                        <a:pt x="1150" y="540"/>
                      </a:cubicBezTo>
                      <a:cubicBezTo>
                        <a:pt x="0" y="1677"/>
                        <a:pt x="811" y="3648"/>
                        <a:pt x="2432" y="3648"/>
                      </a:cubicBezTo>
                      <a:cubicBezTo>
                        <a:pt x="3436" y="3648"/>
                        <a:pt x="4259" y="2826"/>
                        <a:pt x="4259" y="1822"/>
                      </a:cubicBezTo>
                      <a:cubicBezTo>
                        <a:pt x="4259" y="726"/>
                        <a:pt x="3363" y="1"/>
                        <a:pt x="242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87" name="Google Shape;4487;p66"/>
                <p:cNvSpPr/>
                <p:nvPr/>
              </p:nvSpPr>
              <p:spPr>
                <a:xfrm>
                  <a:off x="4758887" y="4114632"/>
                  <a:ext cx="11042" cy="9375"/>
                </a:xfrm>
                <a:custGeom>
                  <a:avLst/>
                  <a:gdLst/>
                  <a:ahLst/>
                  <a:cxnLst/>
                  <a:rect l="l" t="t" r="r" b="b"/>
                  <a:pathLst>
                    <a:path w="1404" h="1192" extrusionOk="0">
                      <a:moveTo>
                        <a:pt x="799" y="0"/>
                      </a:moveTo>
                      <a:cubicBezTo>
                        <a:pt x="267" y="0"/>
                        <a:pt x="1" y="641"/>
                        <a:pt x="376" y="1016"/>
                      </a:cubicBezTo>
                      <a:cubicBezTo>
                        <a:pt x="497" y="1137"/>
                        <a:pt x="645" y="1191"/>
                        <a:pt x="792" y="1191"/>
                      </a:cubicBezTo>
                      <a:cubicBezTo>
                        <a:pt x="1099" y="1191"/>
                        <a:pt x="1396" y="953"/>
                        <a:pt x="1404" y="593"/>
                      </a:cubicBezTo>
                      <a:cubicBezTo>
                        <a:pt x="1404" y="266"/>
                        <a:pt x="1126"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488" name="Google Shape;4488;p66"/>
              <p:cNvGrpSpPr/>
              <p:nvPr/>
            </p:nvGrpSpPr>
            <p:grpSpPr>
              <a:xfrm>
                <a:off x="4859646" y="4162554"/>
                <a:ext cx="33591" cy="28762"/>
                <a:chOff x="4859646" y="4162554"/>
                <a:chExt cx="33591" cy="28762"/>
              </a:xfrm>
            </p:grpSpPr>
            <p:sp>
              <p:nvSpPr>
                <p:cNvPr id="4489" name="Google Shape;4489;p66"/>
                <p:cNvSpPr/>
                <p:nvPr/>
              </p:nvSpPr>
              <p:spPr>
                <a:xfrm>
                  <a:off x="4859646" y="4162554"/>
                  <a:ext cx="33591" cy="28762"/>
                </a:xfrm>
                <a:custGeom>
                  <a:avLst/>
                  <a:gdLst/>
                  <a:ahLst/>
                  <a:cxnLst/>
                  <a:rect l="l" t="t" r="r" b="b"/>
                  <a:pathLst>
                    <a:path w="4271" h="3657" extrusionOk="0">
                      <a:moveTo>
                        <a:pt x="2423" y="0"/>
                      </a:moveTo>
                      <a:cubicBezTo>
                        <a:pt x="1975" y="0"/>
                        <a:pt x="1520" y="166"/>
                        <a:pt x="1149" y="536"/>
                      </a:cubicBezTo>
                      <a:cubicBezTo>
                        <a:pt x="0" y="1685"/>
                        <a:pt x="823" y="3657"/>
                        <a:pt x="2444" y="3657"/>
                      </a:cubicBezTo>
                      <a:cubicBezTo>
                        <a:pt x="3448" y="3657"/>
                        <a:pt x="4258" y="2834"/>
                        <a:pt x="4270" y="1830"/>
                      </a:cubicBezTo>
                      <a:cubicBezTo>
                        <a:pt x="4270" y="732"/>
                        <a:pt x="3365" y="0"/>
                        <a:pt x="242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0" name="Google Shape;4490;p66"/>
                <p:cNvSpPr/>
                <p:nvPr/>
              </p:nvSpPr>
              <p:spPr>
                <a:xfrm>
                  <a:off x="4874196" y="4172283"/>
                  <a:ext cx="9336" cy="9336"/>
                </a:xfrm>
                <a:custGeom>
                  <a:avLst/>
                  <a:gdLst/>
                  <a:ahLst/>
                  <a:cxnLst/>
                  <a:rect l="l" t="t" r="r" b="b"/>
                  <a:pathLst>
                    <a:path w="1187" h="1187" extrusionOk="0">
                      <a:moveTo>
                        <a:pt x="594" y="1"/>
                      </a:moveTo>
                      <a:cubicBezTo>
                        <a:pt x="267" y="1"/>
                        <a:pt x="1" y="267"/>
                        <a:pt x="1" y="593"/>
                      </a:cubicBezTo>
                      <a:cubicBezTo>
                        <a:pt x="1" y="920"/>
                        <a:pt x="267" y="1186"/>
                        <a:pt x="594" y="1186"/>
                      </a:cubicBezTo>
                      <a:cubicBezTo>
                        <a:pt x="920" y="1186"/>
                        <a:pt x="1186" y="920"/>
                        <a:pt x="1186" y="593"/>
                      </a:cubicBezTo>
                      <a:cubicBezTo>
                        <a:pt x="1186" y="267"/>
                        <a:pt x="920" y="1"/>
                        <a:pt x="59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491" name="Google Shape;4491;p66"/>
            <p:cNvGrpSpPr/>
            <p:nvPr/>
          </p:nvGrpSpPr>
          <p:grpSpPr>
            <a:xfrm>
              <a:off x="3597785" y="3274438"/>
              <a:ext cx="855610" cy="1122100"/>
              <a:chOff x="3597785" y="3274438"/>
              <a:chExt cx="855610" cy="1122100"/>
            </a:xfrm>
          </p:grpSpPr>
          <p:grpSp>
            <p:nvGrpSpPr>
              <p:cNvPr id="4492" name="Google Shape;4492;p66"/>
              <p:cNvGrpSpPr/>
              <p:nvPr/>
            </p:nvGrpSpPr>
            <p:grpSpPr>
              <a:xfrm>
                <a:off x="3617857" y="3284717"/>
                <a:ext cx="826785" cy="1099165"/>
                <a:chOff x="3617857" y="3284717"/>
                <a:chExt cx="826785" cy="1099165"/>
              </a:xfrm>
            </p:grpSpPr>
            <p:sp>
              <p:nvSpPr>
                <p:cNvPr id="4493" name="Google Shape;4493;p66"/>
                <p:cNvSpPr/>
                <p:nvPr/>
              </p:nvSpPr>
              <p:spPr>
                <a:xfrm>
                  <a:off x="4155028" y="3869354"/>
                  <a:ext cx="289613" cy="514528"/>
                </a:xfrm>
                <a:custGeom>
                  <a:avLst/>
                  <a:gdLst/>
                  <a:ahLst/>
                  <a:cxnLst/>
                  <a:rect l="l" t="t" r="r" b="b"/>
                  <a:pathLst>
                    <a:path w="36823" h="65420" fill="none" extrusionOk="0">
                      <a:moveTo>
                        <a:pt x="5928" y="64827"/>
                      </a:moveTo>
                      <a:lnTo>
                        <a:pt x="6158" y="49755"/>
                      </a:lnTo>
                      <a:lnTo>
                        <a:pt x="8202" y="42327"/>
                      </a:lnTo>
                      <a:lnTo>
                        <a:pt x="8795" y="36351"/>
                      </a:lnTo>
                      <a:lnTo>
                        <a:pt x="8795" y="28912"/>
                      </a:lnTo>
                      <a:lnTo>
                        <a:pt x="3049" y="23347"/>
                      </a:lnTo>
                      <a:lnTo>
                        <a:pt x="0" y="12291"/>
                      </a:lnTo>
                      <a:lnTo>
                        <a:pt x="11601" y="1"/>
                      </a:lnTo>
                      <a:lnTo>
                        <a:pt x="19319" y="4259"/>
                      </a:lnTo>
                      <a:lnTo>
                        <a:pt x="27266" y="11747"/>
                      </a:lnTo>
                      <a:lnTo>
                        <a:pt x="36823" y="15472"/>
                      </a:lnTo>
                      <a:lnTo>
                        <a:pt x="34827" y="25803"/>
                      </a:lnTo>
                      <a:lnTo>
                        <a:pt x="26722" y="36944"/>
                      </a:lnTo>
                      <a:lnTo>
                        <a:pt x="19924" y="49198"/>
                      </a:lnTo>
                      <a:lnTo>
                        <a:pt x="11008" y="60690"/>
                      </a:lnTo>
                      <a:lnTo>
                        <a:pt x="5335" y="6542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4" name="Google Shape;4494;p66"/>
                <p:cNvSpPr/>
                <p:nvPr/>
              </p:nvSpPr>
              <p:spPr>
                <a:xfrm>
                  <a:off x="3617857" y="3284717"/>
                  <a:ext cx="662957" cy="685970"/>
                </a:xfrm>
                <a:custGeom>
                  <a:avLst/>
                  <a:gdLst/>
                  <a:ahLst/>
                  <a:cxnLst/>
                  <a:rect l="l" t="t" r="r" b="b"/>
                  <a:pathLst>
                    <a:path w="84292" h="87218" fill="none" extrusionOk="0">
                      <a:moveTo>
                        <a:pt x="79900" y="75157"/>
                      </a:moveTo>
                      <a:lnTo>
                        <a:pt x="77916" y="83262"/>
                      </a:lnTo>
                      <a:lnTo>
                        <a:pt x="68299" y="87218"/>
                      </a:lnTo>
                      <a:lnTo>
                        <a:pt x="61610" y="72314"/>
                      </a:lnTo>
                      <a:lnTo>
                        <a:pt x="48376" y="64524"/>
                      </a:lnTo>
                      <a:lnTo>
                        <a:pt x="37489" y="50685"/>
                      </a:lnTo>
                      <a:lnTo>
                        <a:pt x="32771" y="39181"/>
                      </a:lnTo>
                      <a:lnTo>
                        <a:pt x="28525" y="27000"/>
                      </a:lnTo>
                      <a:lnTo>
                        <a:pt x="19779" y="19379"/>
                      </a:lnTo>
                      <a:lnTo>
                        <a:pt x="1" y="14057"/>
                      </a:lnTo>
                      <a:lnTo>
                        <a:pt x="5227" y="0"/>
                      </a:lnTo>
                      <a:lnTo>
                        <a:pt x="40380" y="3605"/>
                      </a:lnTo>
                      <a:lnTo>
                        <a:pt x="53662" y="9254"/>
                      </a:lnTo>
                      <a:lnTo>
                        <a:pt x="56711" y="17734"/>
                      </a:lnTo>
                      <a:lnTo>
                        <a:pt x="69727" y="26177"/>
                      </a:lnTo>
                      <a:lnTo>
                        <a:pt x="84291" y="20649"/>
                      </a:lnTo>
                      <a:lnTo>
                        <a:pt x="79465" y="38165"/>
                      </a:lnTo>
                      <a:lnTo>
                        <a:pt x="72207" y="46960"/>
                      </a:lnTo>
                      <a:lnTo>
                        <a:pt x="64791" y="54677"/>
                      </a:lnTo>
                      <a:lnTo>
                        <a:pt x="54497" y="63206"/>
                      </a:lnTo>
                      <a:lnTo>
                        <a:pt x="62094" y="63556"/>
                      </a:lnTo>
                      <a:lnTo>
                        <a:pt x="66098" y="74335"/>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5" name="Google Shape;4495;p66"/>
                <p:cNvSpPr/>
                <p:nvPr/>
              </p:nvSpPr>
              <p:spPr>
                <a:xfrm>
                  <a:off x="4230666" y="3943372"/>
                  <a:ext cx="15612" cy="77934"/>
                </a:xfrm>
                <a:custGeom>
                  <a:avLst/>
                  <a:gdLst/>
                  <a:ahLst/>
                  <a:cxnLst/>
                  <a:rect l="l" t="t" r="r" b="b"/>
                  <a:pathLst>
                    <a:path w="1985" h="9909" fill="none" extrusionOk="0">
                      <a:moveTo>
                        <a:pt x="1984" y="9908"/>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6" name="Google Shape;4496;p66"/>
                <p:cNvSpPr/>
                <p:nvPr/>
              </p:nvSpPr>
              <p:spPr>
                <a:xfrm>
                  <a:off x="4230666" y="3902843"/>
                  <a:ext cx="138817" cy="116937"/>
                </a:xfrm>
                <a:custGeom>
                  <a:avLst/>
                  <a:gdLst/>
                  <a:ahLst/>
                  <a:cxnLst/>
                  <a:rect l="l" t="t" r="r" b="b"/>
                  <a:pathLst>
                    <a:path w="17650" h="14868" fill="none" extrusionOk="0">
                      <a:moveTo>
                        <a:pt x="11952" y="14868"/>
                      </a:moveTo>
                      <a:lnTo>
                        <a:pt x="0" y="4670"/>
                      </a:lnTo>
                      <a:lnTo>
                        <a:pt x="9702" y="1"/>
                      </a:lnTo>
                      <a:lnTo>
                        <a:pt x="17649" y="7489"/>
                      </a:lnTo>
                      <a:close/>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7" name="Google Shape;4497;p66"/>
                <p:cNvSpPr/>
                <p:nvPr/>
              </p:nvSpPr>
              <p:spPr>
                <a:xfrm>
                  <a:off x="4234473" y="3939573"/>
                  <a:ext cx="143953" cy="22171"/>
                </a:xfrm>
                <a:custGeom>
                  <a:avLst/>
                  <a:gdLst/>
                  <a:ahLst/>
                  <a:cxnLst/>
                  <a:rect l="l" t="t" r="r" b="b"/>
                  <a:pathLst>
                    <a:path w="18303" h="2819" fill="none" extrusionOk="0">
                      <a:moveTo>
                        <a:pt x="0" y="0"/>
                      </a:moveTo>
                      <a:lnTo>
                        <a:pt x="18303" y="28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8" name="Google Shape;4498;p66"/>
                <p:cNvSpPr/>
                <p:nvPr/>
              </p:nvSpPr>
              <p:spPr>
                <a:xfrm>
                  <a:off x="4300405" y="4023579"/>
                  <a:ext cx="24264" cy="112650"/>
                </a:xfrm>
                <a:custGeom>
                  <a:avLst/>
                  <a:gdLst/>
                  <a:ahLst/>
                  <a:cxnLst/>
                  <a:rect l="l" t="t" r="r" b="b"/>
                  <a:pathLst>
                    <a:path w="3085" h="14323" fill="none" extrusionOk="0">
                      <a:moveTo>
                        <a:pt x="0" y="14323"/>
                      </a:moveTo>
                      <a:lnTo>
                        <a:pt x="3085"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499" name="Google Shape;4499;p66"/>
                <p:cNvSpPr/>
                <p:nvPr/>
              </p:nvSpPr>
              <p:spPr>
                <a:xfrm>
                  <a:off x="4324661" y="4019772"/>
                  <a:ext cx="40544" cy="140154"/>
                </a:xfrm>
                <a:custGeom>
                  <a:avLst/>
                  <a:gdLst/>
                  <a:ahLst/>
                  <a:cxnLst/>
                  <a:rect l="l" t="t" r="r" b="b"/>
                  <a:pathLst>
                    <a:path w="5155" h="17820" fill="none" extrusionOk="0">
                      <a:moveTo>
                        <a:pt x="1" y="1"/>
                      </a:moveTo>
                      <a:lnTo>
                        <a:pt x="5154" y="1781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0" name="Google Shape;4500;p66"/>
                <p:cNvSpPr/>
                <p:nvPr/>
              </p:nvSpPr>
              <p:spPr>
                <a:xfrm>
                  <a:off x="4324661" y="4019772"/>
                  <a:ext cx="104282" cy="52522"/>
                </a:xfrm>
                <a:custGeom>
                  <a:avLst/>
                  <a:gdLst/>
                  <a:ahLst/>
                  <a:cxnLst/>
                  <a:rect l="l" t="t" r="r" b="b"/>
                  <a:pathLst>
                    <a:path w="13259" h="6678" fill="none" extrusionOk="0">
                      <a:moveTo>
                        <a:pt x="1" y="1"/>
                      </a:moveTo>
                      <a:lnTo>
                        <a:pt x="13259" y="667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1" name="Google Shape;4501;p66"/>
                <p:cNvSpPr/>
                <p:nvPr/>
              </p:nvSpPr>
              <p:spPr>
                <a:xfrm>
                  <a:off x="4328467" y="3989901"/>
                  <a:ext cx="113421" cy="29879"/>
                </a:xfrm>
                <a:custGeom>
                  <a:avLst/>
                  <a:gdLst/>
                  <a:ahLst/>
                  <a:cxnLst/>
                  <a:rect l="l" t="t" r="r" b="b"/>
                  <a:pathLst>
                    <a:path w="14421" h="3799" fill="none" extrusionOk="0">
                      <a:moveTo>
                        <a:pt x="14420" y="0"/>
                      </a:moveTo>
                      <a:lnTo>
                        <a:pt x="1" y="379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2" name="Google Shape;4502;p66"/>
                <p:cNvSpPr/>
                <p:nvPr/>
              </p:nvSpPr>
              <p:spPr>
                <a:xfrm>
                  <a:off x="4224193" y="4019772"/>
                  <a:ext cx="23886" cy="76975"/>
                </a:xfrm>
                <a:custGeom>
                  <a:avLst/>
                  <a:gdLst/>
                  <a:ahLst/>
                  <a:cxnLst/>
                  <a:rect l="l" t="t" r="r" b="b"/>
                  <a:pathLst>
                    <a:path w="3037" h="9787" fill="none" extrusionOk="0">
                      <a:moveTo>
                        <a:pt x="1" y="9787"/>
                      </a:moveTo>
                      <a:lnTo>
                        <a:pt x="3037"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3" name="Google Shape;4503;p66"/>
                <p:cNvSpPr/>
                <p:nvPr/>
              </p:nvSpPr>
              <p:spPr>
                <a:xfrm>
                  <a:off x="4248071" y="4019772"/>
                  <a:ext cx="52342" cy="116457"/>
                </a:xfrm>
                <a:custGeom>
                  <a:avLst/>
                  <a:gdLst/>
                  <a:ahLst/>
                  <a:cxnLst/>
                  <a:rect l="l" t="t" r="r" b="b"/>
                  <a:pathLst>
                    <a:path w="6655" h="14807" fill="none" extrusionOk="0">
                      <a:moveTo>
                        <a:pt x="1" y="1"/>
                      </a:moveTo>
                      <a:lnTo>
                        <a:pt x="6654" y="1480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4" name="Google Shape;4504;p66"/>
                <p:cNvSpPr/>
                <p:nvPr/>
              </p:nvSpPr>
              <p:spPr>
                <a:xfrm>
                  <a:off x="4300405" y="4138982"/>
                  <a:ext cx="6567" cy="119029"/>
                </a:xfrm>
                <a:custGeom>
                  <a:avLst/>
                  <a:gdLst/>
                  <a:ahLst/>
                  <a:cxnLst/>
                  <a:rect l="l" t="t" r="r" b="b"/>
                  <a:pathLst>
                    <a:path w="835" h="15134" fill="none" extrusionOk="0">
                      <a:moveTo>
                        <a:pt x="0" y="1"/>
                      </a:moveTo>
                      <a:lnTo>
                        <a:pt x="835" y="1513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5" name="Google Shape;4505;p66"/>
                <p:cNvSpPr/>
                <p:nvPr/>
              </p:nvSpPr>
              <p:spPr>
                <a:xfrm>
                  <a:off x="4219726" y="4200164"/>
                  <a:ext cx="85343" cy="60513"/>
                </a:xfrm>
                <a:custGeom>
                  <a:avLst/>
                  <a:gdLst/>
                  <a:ahLst/>
                  <a:cxnLst/>
                  <a:rect l="l" t="t" r="r" b="b"/>
                  <a:pathLst>
                    <a:path w="10851" h="7694" fill="none" extrusionOk="0">
                      <a:moveTo>
                        <a:pt x="0" y="0"/>
                      </a:moveTo>
                      <a:lnTo>
                        <a:pt x="10851" y="769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6" name="Google Shape;4506;p66"/>
                <p:cNvSpPr/>
                <p:nvPr/>
              </p:nvSpPr>
              <p:spPr>
                <a:xfrm>
                  <a:off x="4223430" y="4137275"/>
                  <a:ext cx="81930" cy="15132"/>
                </a:xfrm>
                <a:custGeom>
                  <a:avLst/>
                  <a:gdLst/>
                  <a:ahLst/>
                  <a:cxnLst/>
                  <a:rect l="l" t="t" r="r" b="b"/>
                  <a:pathLst>
                    <a:path w="10417" h="1924" fill="none" extrusionOk="0">
                      <a:moveTo>
                        <a:pt x="1" y="1923"/>
                      </a:moveTo>
                      <a:lnTo>
                        <a:pt x="10416"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7" name="Google Shape;4507;p66"/>
                <p:cNvSpPr/>
                <p:nvPr/>
              </p:nvSpPr>
              <p:spPr>
                <a:xfrm>
                  <a:off x="4303638" y="4138982"/>
                  <a:ext cx="59947" cy="23894"/>
                </a:xfrm>
                <a:custGeom>
                  <a:avLst/>
                  <a:gdLst/>
                  <a:ahLst/>
                  <a:cxnLst/>
                  <a:rect l="l" t="t" r="r" b="b"/>
                  <a:pathLst>
                    <a:path w="7622" h="3038" fill="none" extrusionOk="0">
                      <a:moveTo>
                        <a:pt x="7621" y="3037"/>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8" name="Google Shape;4508;p66"/>
                <p:cNvSpPr/>
                <p:nvPr/>
              </p:nvSpPr>
              <p:spPr>
                <a:xfrm>
                  <a:off x="4201644" y="4267237"/>
                  <a:ext cx="39970" cy="77164"/>
                </a:xfrm>
                <a:custGeom>
                  <a:avLst/>
                  <a:gdLst/>
                  <a:ahLst/>
                  <a:cxnLst/>
                  <a:rect l="l" t="t" r="r" b="b"/>
                  <a:pathLst>
                    <a:path w="5082" h="9811" fill="none" extrusionOk="0">
                      <a:moveTo>
                        <a:pt x="1" y="0"/>
                      </a:moveTo>
                      <a:lnTo>
                        <a:pt x="5081" y="981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09" name="Google Shape;4509;p66"/>
                <p:cNvSpPr/>
                <p:nvPr/>
              </p:nvSpPr>
              <p:spPr>
                <a:xfrm>
                  <a:off x="4203831" y="4258003"/>
                  <a:ext cx="103142" cy="9241"/>
                </a:xfrm>
                <a:custGeom>
                  <a:avLst/>
                  <a:gdLst/>
                  <a:ahLst/>
                  <a:cxnLst/>
                  <a:rect l="l" t="t" r="r" b="b"/>
                  <a:pathLst>
                    <a:path w="13114" h="1175" fill="none" extrusionOk="0">
                      <a:moveTo>
                        <a:pt x="1" y="1174"/>
                      </a:moveTo>
                      <a:lnTo>
                        <a:pt x="1311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0" name="Google Shape;4510;p66"/>
                <p:cNvSpPr/>
                <p:nvPr/>
              </p:nvSpPr>
              <p:spPr>
                <a:xfrm>
                  <a:off x="4179001" y="3943372"/>
                  <a:ext cx="51673" cy="104951"/>
                </a:xfrm>
                <a:custGeom>
                  <a:avLst/>
                  <a:gdLst/>
                  <a:ahLst/>
                  <a:cxnLst/>
                  <a:rect l="l" t="t" r="r" b="b"/>
                  <a:pathLst>
                    <a:path w="6570" h="13344" fill="none" extrusionOk="0">
                      <a:moveTo>
                        <a:pt x="1" y="13344"/>
                      </a:moveTo>
                      <a:lnTo>
                        <a:pt x="656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1" name="Google Shape;4511;p66"/>
                <p:cNvSpPr/>
                <p:nvPr/>
              </p:nvSpPr>
              <p:spPr>
                <a:xfrm>
                  <a:off x="4248071" y="4019772"/>
                  <a:ext cx="76597" cy="8"/>
                </a:xfrm>
                <a:custGeom>
                  <a:avLst/>
                  <a:gdLst/>
                  <a:ahLst/>
                  <a:cxnLst/>
                  <a:rect l="l" t="t" r="r" b="b"/>
                  <a:pathLst>
                    <a:path w="9739" h="1" fill="none" extrusionOk="0">
                      <a:moveTo>
                        <a:pt x="1" y="1"/>
                      </a:moveTo>
                      <a:lnTo>
                        <a:pt x="9739"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2" name="Google Shape;4512;p66"/>
                <p:cNvSpPr/>
                <p:nvPr/>
              </p:nvSpPr>
              <p:spPr>
                <a:xfrm>
                  <a:off x="4219529" y="4138982"/>
                  <a:ext cx="84116" cy="63282"/>
                </a:xfrm>
                <a:custGeom>
                  <a:avLst/>
                  <a:gdLst/>
                  <a:ahLst/>
                  <a:cxnLst/>
                  <a:rect l="l" t="t" r="r" b="b"/>
                  <a:pathLst>
                    <a:path w="10695" h="8046" fill="none" extrusionOk="0">
                      <a:moveTo>
                        <a:pt x="1" y="8045"/>
                      </a:moveTo>
                      <a:lnTo>
                        <a:pt x="10694"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3" name="Google Shape;4513;p66"/>
                <p:cNvSpPr/>
                <p:nvPr/>
              </p:nvSpPr>
              <p:spPr>
                <a:xfrm>
                  <a:off x="3654964" y="3289853"/>
                  <a:ext cx="46820" cy="63848"/>
                </a:xfrm>
                <a:custGeom>
                  <a:avLst/>
                  <a:gdLst/>
                  <a:ahLst/>
                  <a:cxnLst/>
                  <a:rect l="l" t="t" r="r" b="b"/>
                  <a:pathLst>
                    <a:path w="5953" h="8118" fill="none" extrusionOk="0">
                      <a:moveTo>
                        <a:pt x="1" y="0"/>
                      </a:moveTo>
                      <a:lnTo>
                        <a:pt x="5952" y="8117"/>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4" name="Google Shape;4514;p66"/>
                <p:cNvSpPr/>
                <p:nvPr/>
              </p:nvSpPr>
              <p:spPr>
                <a:xfrm>
                  <a:off x="3619760" y="3353693"/>
                  <a:ext cx="85736" cy="36730"/>
                </a:xfrm>
                <a:custGeom>
                  <a:avLst/>
                  <a:gdLst/>
                  <a:ahLst/>
                  <a:cxnLst/>
                  <a:rect l="l" t="t" r="r" b="b"/>
                  <a:pathLst>
                    <a:path w="10901" h="4670" fill="none" extrusionOk="0">
                      <a:moveTo>
                        <a:pt x="1" y="4670"/>
                      </a:moveTo>
                      <a:lnTo>
                        <a:pt x="1090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5" name="Google Shape;4515;p66"/>
                <p:cNvSpPr/>
                <p:nvPr/>
              </p:nvSpPr>
              <p:spPr>
                <a:xfrm>
                  <a:off x="3703011" y="3354739"/>
                  <a:ext cx="70415" cy="79350"/>
                </a:xfrm>
                <a:custGeom>
                  <a:avLst/>
                  <a:gdLst/>
                  <a:ahLst/>
                  <a:cxnLst/>
                  <a:rect l="l" t="t" r="r" b="b"/>
                  <a:pathLst>
                    <a:path w="8953" h="10089" fill="none" extrusionOk="0">
                      <a:moveTo>
                        <a:pt x="1" y="0"/>
                      </a:moveTo>
                      <a:lnTo>
                        <a:pt x="8952" y="10089"/>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6" name="Google Shape;4516;p66"/>
                <p:cNvSpPr/>
                <p:nvPr/>
              </p:nvSpPr>
              <p:spPr>
                <a:xfrm>
                  <a:off x="3779884" y="3366443"/>
                  <a:ext cx="34449" cy="67647"/>
                </a:xfrm>
                <a:custGeom>
                  <a:avLst/>
                  <a:gdLst/>
                  <a:ahLst/>
                  <a:cxnLst/>
                  <a:rect l="l" t="t" r="r" b="b"/>
                  <a:pathLst>
                    <a:path w="4380" h="8601" fill="none" extrusionOk="0">
                      <a:moveTo>
                        <a:pt x="1" y="8601"/>
                      </a:moveTo>
                      <a:lnTo>
                        <a:pt x="438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7" name="Google Shape;4517;p66"/>
                <p:cNvSpPr/>
                <p:nvPr/>
              </p:nvSpPr>
              <p:spPr>
                <a:xfrm>
                  <a:off x="3701776" y="3353693"/>
                  <a:ext cx="116363" cy="12757"/>
                </a:xfrm>
                <a:custGeom>
                  <a:avLst/>
                  <a:gdLst/>
                  <a:ahLst/>
                  <a:cxnLst/>
                  <a:rect l="l" t="t" r="r" b="b"/>
                  <a:pathLst>
                    <a:path w="14795" h="1622" fill="none" extrusionOk="0">
                      <a:moveTo>
                        <a:pt x="14795" y="1621"/>
                      </a:moveTo>
                      <a:lnTo>
                        <a:pt x="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8" name="Google Shape;4518;p66"/>
                <p:cNvSpPr/>
                <p:nvPr/>
              </p:nvSpPr>
              <p:spPr>
                <a:xfrm>
                  <a:off x="3701776" y="3313063"/>
                  <a:ext cx="227204" cy="40638"/>
                </a:xfrm>
                <a:custGeom>
                  <a:avLst/>
                  <a:gdLst/>
                  <a:ahLst/>
                  <a:cxnLst/>
                  <a:rect l="l" t="t" r="r" b="b"/>
                  <a:pathLst>
                    <a:path w="28888" h="5167" fill="none" extrusionOk="0">
                      <a:moveTo>
                        <a:pt x="28887" y="1"/>
                      </a:moveTo>
                      <a:lnTo>
                        <a:pt x="0" y="51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19" name="Google Shape;4519;p66"/>
                <p:cNvSpPr/>
                <p:nvPr/>
              </p:nvSpPr>
              <p:spPr>
                <a:xfrm>
                  <a:off x="3888633" y="3313063"/>
                  <a:ext cx="40347" cy="114467"/>
                </a:xfrm>
                <a:custGeom>
                  <a:avLst/>
                  <a:gdLst/>
                  <a:ahLst/>
                  <a:cxnLst/>
                  <a:rect l="l" t="t" r="r" b="b"/>
                  <a:pathLst>
                    <a:path w="5130" h="14554" fill="none" extrusionOk="0">
                      <a:moveTo>
                        <a:pt x="5129" y="1"/>
                      </a:moveTo>
                      <a:lnTo>
                        <a:pt x="0" y="1455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0" name="Google Shape;4520;p66"/>
                <p:cNvSpPr/>
                <p:nvPr/>
              </p:nvSpPr>
              <p:spPr>
                <a:xfrm>
                  <a:off x="3814325" y="3366443"/>
                  <a:ext cx="74316" cy="61087"/>
                </a:xfrm>
                <a:custGeom>
                  <a:avLst/>
                  <a:gdLst/>
                  <a:ahLst/>
                  <a:cxnLst/>
                  <a:rect l="l" t="t" r="r" b="b"/>
                  <a:pathLst>
                    <a:path w="9449" h="7767" fill="none" extrusionOk="0">
                      <a:moveTo>
                        <a:pt x="1" y="0"/>
                      </a:moveTo>
                      <a:lnTo>
                        <a:pt x="9448" y="776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1" name="Google Shape;4521;p66"/>
                <p:cNvSpPr/>
                <p:nvPr/>
              </p:nvSpPr>
              <p:spPr>
                <a:xfrm>
                  <a:off x="3838399" y="3427522"/>
                  <a:ext cx="50242" cy="67749"/>
                </a:xfrm>
                <a:custGeom>
                  <a:avLst/>
                  <a:gdLst/>
                  <a:ahLst/>
                  <a:cxnLst/>
                  <a:rect l="l" t="t" r="r" b="b"/>
                  <a:pathLst>
                    <a:path w="6388" h="8614" fill="none" extrusionOk="0">
                      <a:moveTo>
                        <a:pt x="0" y="8613"/>
                      </a:moveTo>
                      <a:lnTo>
                        <a:pt x="638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2" name="Google Shape;4522;p66"/>
                <p:cNvSpPr/>
                <p:nvPr/>
              </p:nvSpPr>
              <p:spPr>
                <a:xfrm>
                  <a:off x="3814325" y="3313063"/>
                  <a:ext cx="114656" cy="53388"/>
                </a:xfrm>
                <a:custGeom>
                  <a:avLst/>
                  <a:gdLst/>
                  <a:ahLst/>
                  <a:cxnLst/>
                  <a:rect l="l" t="t" r="r" b="b"/>
                  <a:pathLst>
                    <a:path w="14578" h="6788" fill="none" extrusionOk="0">
                      <a:moveTo>
                        <a:pt x="1" y="6787"/>
                      </a:moveTo>
                      <a:lnTo>
                        <a:pt x="14577"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3" name="Google Shape;4523;p66"/>
                <p:cNvSpPr/>
                <p:nvPr/>
              </p:nvSpPr>
              <p:spPr>
                <a:xfrm>
                  <a:off x="3888633" y="3427522"/>
                  <a:ext cx="55377" cy="76212"/>
                </a:xfrm>
                <a:custGeom>
                  <a:avLst/>
                  <a:gdLst/>
                  <a:ahLst/>
                  <a:cxnLst/>
                  <a:rect l="l" t="t" r="r" b="b"/>
                  <a:pathLst>
                    <a:path w="7041" h="9690" fill="none" extrusionOk="0">
                      <a:moveTo>
                        <a:pt x="0" y="0"/>
                      </a:moveTo>
                      <a:lnTo>
                        <a:pt x="7041" y="969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4" name="Google Shape;4524;p66"/>
                <p:cNvSpPr/>
                <p:nvPr/>
              </p:nvSpPr>
              <p:spPr>
                <a:xfrm>
                  <a:off x="3944003" y="3406208"/>
                  <a:ext cx="40631" cy="97526"/>
                </a:xfrm>
                <a:custGeom>
                  <a:avLst/>
                  <a:gdLst/>
                  <a:ahLst/>
                  <a:cxnLst/>
                  <a:rect l="l" t="t" r="r" b="b"/>
                  <a:pathLst>
                    <a:path w="5166" h="12400" fill="none" extrusionOk="0">
                      <a:moveTo>
                        <a:pt x="1" y="12400"/>
                      </a:moveTo>
                      <a:lnTo>
                        <a:pt x="516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5" name="Google Shape;4525;p66"/>
                <p:cNvSpPr/>
                <p:nvPr/>
              </p:nvSpPr>
              <p:spPr>
                <a:xfrm>
                  <a:off x="3984625" y="3357500"/>
                  <a:ext cx="55291" cy="48716"/>
                </a:xfrm>
                <a:custGeom>
                  <a:avLst/>
                  <a:gdLst/>
                  <a:ahLst/>
                  <a:cxnLst/>
                  <a:rect l="l" t="t" r="r" b="b"/>
                  <a:pathLst>
                    <a:path w="7030" h="6194" fill="none" extrusionOk="0">
                      <a:moveTo>
                        <a:pt x="1" y="6194"/>
                      </a:moveTo>
                      <a:lnTo>
                        <a:pt x="7029"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6" name="Google Shape;4526;p66"/>
                <p:cNvSpPr/>
                <p:nvPr/>
              </p:nvSpPr>
              <p:spPr>
                <a:xfrm>
                  <a:off x="3888633" y="3406208"/>
                  <a:ext cx="96000" cy="21322"/>
                </a:xfrm>
                <a:custGeom>
                  <a:avLst/>
                  <a:gdLst/>
                  <a:ahLst/>
                  <a:cxnLst/>
                  <a:rect l="l" t="t" r="r" b="b"/>
                  <a:pathLst>
                    <a:path w="12206" h="2711" fill="none" extrusionOk="0">
                      <a:moveTo>
                        <a:pt x="0" y="2710"/>
                      </a:moveTo>
                      <a:lnTo>
                        <a:pt x="1220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7" name="Google Shape;4527;p66"/>
                <p:cNvSpPr/>
                <p:nvPr/>
              </p:nvSpPr>
              <p:spPr>
                <a:xfrm>
                  <a:off x="3984625" y="3406208"/>
                  <a:ext cx="42251" cy="136348"/>
                </a:xfrm>
                <a:custGeom>
                  <a:avLst/>
                  <a:gdLst/>
                  <a:ahLst/>
                  <a:cxnLst/>
                  <a:rect l="l" t="t" r="r" b="b"/>
                  <a:pathLst>
                    <a:path w="5372" h="17336" fill="none" extrusionOk="0">
                      <a:moveTo>
                        <a:pt x="1" y="1"/>
                      </a:moveTo>
                      <a:lnTo>
                        <a:pt x="5372" y="173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8" name="Google Shape;4528;p66"/>
                <p:cNvSpPr/>
                <p:nvPr/>
              </p:nvSpPr>
              <p:spPr>
                <a:xfrm>
                  <a:off x="4026868" y="3427522"/>
                  <a:ext cx="35597" cy="115033"/>
                </a:xfrm>
                <a:custGeom>
                  <a:avLst/>
                  <a:gdLst/>
                  <a:ahLst/>
                  <a:cxnLst/>
                  <a:rect l="l" t="t" r="r" b="b"/>
                  <a:pathLst>
                    <a:path w="4526" h="14626" fill="none" extrusionOk="0">
                      <a:moveTo>
                        <a:pt x="1" y="14625"/>
                      </a:moveTo>
                      <a:lnTo>
                        <a:pt x="4525"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29" name="Google Shape;4529;p66"/>
                <p:cNvSpPr/>
                <p:nvPr/>
              </p:nvSpPr>
              <p:spPr>
                <a:xfrm>
                  <a:off x="3876261" y="3542548"/>
                  <a:ext cx="150615" cy="52051"/>
                </a:xfrm>
                <a:custGeom>
                  <a:avLst/>
                  <a:gdLst/>
                  <a:ahLst/>
                  <a:cxnLst/>
                  <a:rect l="l" t="t" r="r" b="b"/>
                  <a:pathLst>
                    <a:path w="19150" h="6618" fill="none" extrusionOk="0">
                      <a:moveTo>
                        <a:pt x="1" y="6617"/>
                      </a:moveTo>
                      <a:lnTo>
                        <a:pt x="19150"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0" name="Google Shape;4530;p66"/>
                <p:cNvSpPr/>
                <p:nvPr/>
              </p:nvSpPr>
              <p:spPr>
                <a:xfrm>
                  <a:off x="4006702" y="3542548"/>
                  <a:ext cx="20174" cy="99044"/>
                </a:xfrm>
                <a:custGeom>
                  <a:avLst/>
                  <a:gdLst/>
                  <a:ahLst/>
                  <a:cxnLst/>
                  <a:rect l="l" t="t" r="r" b="b"/>
                  <a:pathLst>
                    <a:path w="2565" h="12593" fill="none" extrusionOk="0">
                      <a:moveTo>
                        <a:pt x="2565" y="0"/>
                      </a:moveTo>
                      <a:lnTo>
                        <a:pt x="0" y="1259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1" name="Google Shape;4531;p66"/>
                <p:cNvSpPr/>
                <p:nvPr/>
              </p:nvSpPr>
              <p:spPr>
                <a:xfrm>
                  <a:off x="3912700" y="3641584"/>
                  <a:ext cx="97817" cy="41779"/>
                </a:xfrm>
                <a:custGeom>
                  <a:avLst/>
                  <a:gdLst/>
                  <a:ahLst/>
                  <a:cxnLst/>
                  <a:rect l="l" t="t" r="r" b="b"/>
                  <a:pathLst>
                    <a:path w="12437" h="5312" fill="none" extrusionOk="0">
                      <a:moveTo>
                        <a:pt x="1" y="5311"/>
                      </a:moveTo>
                      <a:lnTo>
                        <a:pt x="12436"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2" name="Google Shape;4532;p66"/>
                <p:cNvSpPr/>
                <p:nvPr/>
              </p:nvSpPr>
              <p:spPr>
                <a:xfrm>
                  <a:off x="3875601" y="3503726"/>
                  <a:ext cx="68410" cy="89158"/>
                </a:xfrm>
                <a:custGeom>
                  <a:avLst/>
                  <a:gdLst/>
                  <a:ahLst/>
                  <a:cxnLst/>
                  <a:rect l="l" t="t" r="r" b="b"/>
                  <a:pathLst>
                    <a:path w="8698" h="11336" fill="none" extrusionOk="0">
                      <a:moveTo>
                        <a:pt x="8698" y="1"/>
                      </a:moveTo>
                      <a:lnTo>
                        <a:pt x="0" y="11335"/>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3" name="Google Shape;4533;p66"/>
                <p:cNvSpPr/>
                <p:nvPr/>
              </p:nvSpPr>
              <p:spPr>
                <a:xfrm>
                  <a:off x="3944003" y="3503726"/>
                  <a:ext cx="89441" cy="36163"/>
                </a:xfrm>
                <a:custGeom>
                  <a:avLst/>
                  <a:gdLst/>
                  <a:ahLst/>
                  <a:cxnLst/>
                  <a:rect l="l" t="t" r="r" b="b"/>
                  <a:pathLst>
                    <a:path w="11372" h="4598" fill="none" extrusionOk="0">
                      <a:moveTo>
                        <a:pt x="1" y="1"/>
                      </a:moveTo>
                      <a:lnTo>
                        <a:pt x="11372" y="459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4" name="Google Shape;4534;p66"/>
                <p:cNvSpPr/>
                <p:nvPr/>
              </p:nvSpPr>
              <p:spPr>
                <a:xfrm>
                  <a:off x="4033436" y="3490599"/>
                  <a:ext cx="132824" cy="49290"/>
                </a:xfrm>
                <a:custGeom>
                  <a:avLst/>
                  <a:gdLst/>
                  <a:ahLst/>
                  <a:cxnLst/>
                  <a:rect l="l" t="t" r="r" b="b"/>
                  <a:pathLst>
                    <a:path w="16888" h="6267" fill="none" extrusionOk="0">
                      <a:moveTo>
                        <a:pt x="1" y="6267"/>
                      </a:moveTo>
                      <a:lnTo>
                        <a:pt x="16888"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5" name="Google Shape;4535;p66"/>
                <p:cNvSpPr/>
                <p:nvPr/>
              </p:nvSpPr>
              <p:spPr>
                <a:xfrm>
                  <a:off x="4166252" y="3490599"/>
                  <a:ext cx="73459" cy="95528"/>
                </a:xfrm>
                <a:custGeom>
                  <a:avLst/>
                  <a:gdLst/>
                  <a:ahLst/>
                  <a:cxnLst/>
                  <a:rect l="l" t="t" r="r" b="b"/>
                  <a:pathLst>
                    <a:path w="9340" h="12146" fill="none" extrusionOk="0">
                      <a:moveTo>
                        <a:pt x="1" y="0"/>
                      </a:moveTo>
                      <a:lnTo>
                        <a:pt x="9339" y="12146"/>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6" name="Google Shape;4536;p66"/>
                <p:cNvSpPr/>
                <p:nvPr/>
              </p:nvSpPr>
              <p:spPr>
                <a:xfrm>
                  <a:off x="4027726" y="3539882"/>
                  <a:ext cx="211985" cy="39970"/>
                </a:xfrm>
                <a:custGeom>
                  <a:avLst/>
                  <a:gdLst/>
                  <a:ahLst/>
                  <a:cxnLst/>
                  <a:rect l="l" t="t" r="r" b="b"/>
                  <a:pathLst>
                    <a:path w="26953" h="5082" fill="none" extrusionOk="0">
                      <a:moveTo>
                        <a:pt x="26952" y="5081"/>
                      </a:moveTo>
                      <a:lnTo>
                        <a:pt x="1"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7" name="Google Shape;4537;p66"/>
                <p:cNvSpPr/>
                <p:nvPr/>
              </p:nvSpPr>
              <p:spPr>
                <a:xfrm>
                  <a:off x="4027726" y="3539882"/>
                  <a:ext cx="99720" cy="174878"/>
                </a:xfrm>
                <a:custGeom>
                  <a:avLst/>
                  <a:gdLst/>
                  <a:ahLst/>
                  <a:cxnLst/>
                  <a:rect l="l" t="t" r="r" b="b"/>
                  <a:pathLst>
                    <a:path w="12679" h="22235" fill="none" extrusionOk="0">
                      <a:moveTo>
                        <a:pt x="1" y="1"/>
                      </a:moveTo>
                      <a:lnTo>
                        <a:pt x="12678" y="2223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8" name="Google Shape;4538;p66"/>
                <p:cNvSpPr/>
                <p:nvPr/>
              </p:nvSpPr>
              <p:spPr>
                <a:xfrm>
                  <a:off x="4027726" y="3539882"/>
                  <a:ext cx="159754" cy="111707"/>
                </a:xfrm>
                <a:custGeom>
                  <a:avLst/>
                  <a:gdLst/>
                  <a:ahLst/>
                  <a:cxnLst/>
                  <a:rect l="l" t="t" r="r" b="b"/>
                  <a:pathLst>
                    <a:path w="20312" h="14203" fill="none" extrusionOk="0">
                      <a:moveTo>
                        <a:pt x="1" y="1"/>
                      </a:moveTo>
                      <a:lnTo>
                        <a:pt x="20311" y="142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39" name="Google Shape;4539;p66"/>
                <p:cNvSpPr/>
                <p:nvPr/>
              </p:nvSpPr>
              <p:spPr>
                <a:xfrm>
                  <a:off x="4006702" y="3641584"/>
                  <a:ext cx="120743" cy="73176"/>
                </a:xfrm>
                <a:custGeom>
                  <a:avLst/>
                  <a:gdLst/>
                  <a:ahLst/>
                  <a:cxnLst/>
                  <a:rect l="l" t="t" r="r" b="b"/>
                  <a:pathLst>
                    <a:path w="15352" h="9304" fill="none" extrusionOk="0">
                      <a:moveTo>
                        <a:pt x="0" y="1"/>
                      </a:moveTo>
                      <a:lnTo>
                        <a:pt x="15351" y="9303"/>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0" name="Google Shape;4540;p66"/>
                <p:cNvSpPr/>
                <p:nvPr/>
              </p:nvSpPr>
              <p:spPr>
                <a:xfrm>
                  <a:off x="4006702" y="3641584"/>
                  <a:ext cx="39773" cy="140249"/>
                </a:xfrm>
                <a:custGeom>
                  <a:avLst/>
                  <a:gdLst/>
                  <a:ahLst/>
                  <a:cxnLst/>
                  <a:rect l="l" t="t" r="r" b="b"/>
                  <a:pathLst>
                    <a:path w="5057" h="17832" fill="none" extrusionOk="0">
                      <a:moveTo>
                        <a:pt x="5057" y="17832"/>
                      </a:moveTo>
                      <a:lnTo>
                        <a:pt x="0"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1" name="Google Shape;4541;p66"/>
                <p:cNvSpPr/>
                <p:nvPr/>
              </p:nvSpPr>
              <p:spPr>
                <a:xfrm>
                  <a:off x="3996423" y="3784585"/>
                  <a:ext cx="51862" cy="10280"/>
                </a:xfrm>
                <a:custGeom>
                  <a:avLst/>
                  <a:gdLst/>
                  <a:ahLst/>
                  <a:cxnLst/>
                  <a:rect l="l" t="t" r="r" b="b"/>
                  <a:pathLst>
                    <a:path w="6594" h="1307" fill="none" extrusionOk="0">
                      <a:moveTo>
                        <a:pt x="1" y="1307"/>
                      </a:moveTo>
                      <a:lnTo>
                        <a:pt x="6594"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2" name="Google Shape;4542;p66"/>
                <p:cNvSpPr/>
                <p:nvPr/>
              </p:nvSpPr>
              <p:spPr>
                <a:xfrm>
                  <a:off x="4048277" y="3784585"/>
                  <a:ext cx="47583" cy="68890"/>
                </a:xfrm>
                <a:custGeom>
                  <a:avLst/>
                  <a:gdLst/>
                  <a:ahLst/>
                  <a:cxnLst/>
                  <a:rect l="l" t="t" r="r" b="b"/>
                  <a:pathLst>
                    <a:path w="6050" h="8759" fill="none" extrusionOk="0">
                      <a:moveTo>
                        <a:pt x="1" y="0"/>
                      </a:moveTo>
                      <a:lnTo>
                        <a:pt x="6049" y="8758"/>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3" name="Google Shape;4543;p66"/>
                <p:cNvSpPr/>
                <p:nvPr/>
              </p:nvSpPr>
              <p:spPr>
                <a:xfrm>
                  <a:off x="4095947" y="3788392"/>
                  <a:ext cx="10280" cy="64894"/>
                </a:xfrm>
                <a:custGeom>
                  <a:avLst/>
                  <a:gdLst/>
                  <a:ahLst/>
                  <a:cxnLst/>
                  <a:rect l="l" t="t" r="r" b="b"/>
                  <a:pathLst>
                    <a:path w="1307" h="8251" fill="none" extrusionOk="0">
                      <a:moveTo>
                        <a:pt x="0" y="8250"/>
                      </a:moveTo>
                      <a:lnTo>
                        <a:pt x="1307" y="0"/>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4" name="Google Shape;4544;p66"/>
                <p:cNvSpPr/>
                <p:nvPr/>
              </p:nvSpPr>
              <p:spPr>
                <a:xfrm>
                  <a:off x="4095852" y="3853467"/>
                  <a:ext cx="45672" cy="15895"/>
                </a:xfrm>
                <a:custGeom>
                  <a:avLst/>
                  <a:gdLst/>
                  <a:ahLst/>
                  <a:cxnLst/>
                  <a:rect l="l" t="t" r="r" b="b"/>
                  <a:pathLst>
                    <a:path w="5807" h="2021" fill="none" extrusionOk="0">
                      <a:moveTo>
                        <a:pt x="0" y="0"/>
                      </a:moveTo>
                      <a:lnTo>
                        <a:pt x="5807" y="202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5" name="Google Shape;4545;p66"/>
                <p:cNvSpPr/>
                <p:nvPr/>
              </p:nvSpPr>
              <p:spPr>
                <a:xfrm>
                  <a:off x="4138567" y="3868308"/>
                  <a:ext cx="16469" cy="101710"/>
                </a:xfrm>
                <a:custGeom>
                  <a:avLst/>
                  <a:gdLst/>
                  <a:ahLst/>
                  <a:cxnLst/>
                  <a:rect l="l" t="t" r="r" b="b"/>
                  <a:pathLst>
                    <a:path w="2094" h="12932" fill="none" extrusionOk="0">
                      <a:moveTo>
                        <a:pt x="1" y="1"/>
                      </a:moveTo>
                      <a:lnTo>
                        <a:pt x="2093" y="1293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6" name="Google Shape;4546;p66"/>
                <p:cNvSpPr/>
                <p:nvPr/>
              </p:nvSpPr>
              <p:spPr>
                <a:xfrm>
                  <a:off x="3875601" y="3592876"/>
                  <a:ext cx="131110" cy="48716"/>
                </a:xfrm>
                <a:custGeom>
                  <a:avLst/>
                  <a:gdLst/>
                  <a:ahLst/>
                  <a:cxnLst/>
                  <a:rect l="l" t="t" r="r" b="b"/>
                  <a:pathLst>
                    <a:path w="16670" h="6194" fill="none" extrusionOk="0">
                      <a:moveTo>
                        <a:pt x="0" y="0"/>
                      </a:moveTo>
                      <a:lnTo>
                        <a:pt x="16669" y="6194"/>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7" name="Google Shape;4547;p66"/>
                <p:cNvSpPr/>
                <p:nvPr/>
              </p:nvSpPr>
              <p:spPr>
                <a:xfrm>
                  <a:off x="4164828" y="3394410"/>
                  <a:ext cx="26458" cy="93153"/>
                </a:xfrm>
                <a:custGeom>
                  <a:avLst/>
                  <a:gdLst/>
                  <a:ahLst/>
                  <a:cxnLst/>
                  <a:rect l="l" t="t" r="r" b="b"/>
                  <a:pathLst>
                    <a:path w="3364" h="11844" fill="none" extrusionOk="0">
                      <a:moveTo>
                        <a:pt x="0" y="11843"/>
                      </a:moveTo>
                      <a:lnTo>
                        <a:pt x="3363" y="1"/>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48" name="Google Shape;4548;p66"/>
                <p:cNvSpPr/>
                <p:nvPr/>
              </p:nvSpPr>
              <p:spPr>
                <a:xfrm>
                  <a:off x="4191278" y="3394410"/>
                  <a:ext cx="86586" cy="52719"/>
                </a:xfrm>
                <a:custGeom>
                  <a:avLst/>
                  <a:gdLst/>
                  <a:ahLst/>
                  <a:cxnLst/>
                  <a:rect l="l" t="t" r="r" b="b"/>
                  <a:pathLst>
                    <a:path w="11009" h="6703" fill="none" extrusionOk="0">
                      <a:moveTo>
                        <a:pt x="0" y="1"/>
                      </a:moveTo>
                      <a:lnTo>
                        <a:pt x="11008" y="6702"/>
                      </a:lnTo>
                    </a:path>
                  </a:pathLst>
                </a:custGeom>
                <a:noFill/>
                <a:ln w="1825" cap="flat" cmpd="sng">
                  <a:solidFill>
                    <a:srgbClr val="A5B7C5"/>
                  </a:solidFill>
                  <a:prstDash val="solid"/>
                  <a:miter lim="12096"/>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49" name="Google Shape;4549;p66"/>
              <p:cNvGrpSpPr/>
              <p:nvPr/>
            </p:nvGrpSpPr>
            <p:grpSpPr>
              <a:xfrm>
                <a:off x="4180904" y="4251758"/>
                <a:ext cx="37783" cy="32420"/>
                <a:chOff x="4180904" y="4251758"/>
                <a:chExt cx="37783" cy="32420"/>
              </a:xfrm>
            </p:grpSpPr>
            <p:sp>
              <p:nvSpPr>
                <p:cNvPr id="4550" name="Google Shape;4550;p66"/>
                <p:cNvSpPr/>
                <p:nvPr/>
              </p:nvSpPr>
              <p:spPr>
                <a:xfrm>
                  <a:off x="4180904" y="4251758"/>
                  <a:ext cx="37783" cy="32420"/>
                </a:xfrm>
                <a:custGeom>
                  <a:avLst/>
                  <a:gdLst/>
                  <a:ahLst/>
                  <a:cxnLst/>
                  <a:rect l="l" t="t" r="r" b="b"/>
                  <a:pathLst>
                    <a:path w="4804" h="4122" extrusionOk="0">
                      <a:moveTo>
                        <a:pt x="2738" y="0"/>
                      </a:moveTo>
                      <a:cubicBezTo>
                        <a:pt x="2231" y="0"/>
                        <a:pt x="1715" y="190"/>
                        <a:pt x="1295" y="613"/>
                      </a:cubicBezTo>
                      <a:cubicBezTo>
                        <a:pt x="1" y="1908"/>
                        <a:pt x="920" y="4121"/>
                        <a:pt x="2759" y="4121"/>
                      </a:cubicBezTo>
                      <a:cubicBezTo>
                        <a:pt x="3884" y="4109"/>
                        <a:pt x="4803" y="3190"/>
                        <a:pt x="4803" y="2065"/>
                      </a:cubicBezTo>
                      <a:cubicBezTo>
                        <a:pt x="4803" y="823"/>
                        <a:pt x="3792" y="0"/>
                        <a:pt x="273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1" name="Google Shape;4551;p66"/>
                <p:cNvSpPr/>
                <p:nvPr/>
              </p:nvSpPr>
              <p:spPr>
                <a:xfrm>
                  <a:off x="4196037" y="4261432"/>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52" name="Google Shape;4552;p66"/>
              <p:cNvGrpSpPr/>
              <p:nvPr/>
            </p:nvGrpSpPr>
            <p:grpSpPr>
              <a:xfrm>
                <a:off x="4201644" y="4081324"/>
                <a:ext cx="37783" cy="32364"/>
                <a:chOff x="4201644" y="4081324"/>
                <a:chExt cx="37783" cy="32364"/>
              </a:xfrm>
            </p:grpSpPr>
            <p:sp>
              <p:nvSpPr>
                <p:cNvPr id="4553" name="Google Shape;4553;p66"/>
                <p:cNvSpPr/>
                <p:nvPr/>
              </p:nvSpPr>
              <p:spPr>
                <a:xfrm>
                  <a:off x="4201644" y="4081324"/>
                  <a:ext cx="37783" cy="32364"/>
                </a:xfrm>
                <a:custGeom>
                  <a:avLst/>
                  <a:gdLst/>
                  <a:ahLst/>
                  <a:cxnLst/>
                  <a:rect l="l" t="t" r="r" b="b"/>
                  <a:pathLst>
                    <a:path w="4804" h="4115" extrusionOk="0">
                      <a:moveTo>
                        <a:pt x="2732" y="1"/>
                      </a:moveTo>
                      <a:cubicBezTo>
                        <a:pt x="2228" y="1"/>
                        <a:pt x="1713" y="188"/>
                        <a:pt x="1295" y="606"/>
                      </a:cubicBezTo>
                      <a:cubicBezTo>
                        <a:pt x="1" y="1900"/>
                        <a:pt x="920" y="4114"/>
                        <a:pt x="2747"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4" name="Google Shape;4554;p66"/>
                <p:cNvSpPr/>
                <p:nvPr/>
              </p:nvSpPr>
              <p:spPr>
                <a:xfrm>
                  <a:off x="4214582" y="4091037"/>
                  <a:ext cx="15235" cy="13040"/>
                </a:xfrm>
                <a:custGeom>
                  <a:avLst/>
                  <a:gdLst/>
                  <a:ahLst/>
                  <a:cxnLst/>
                  <a:rect l="l" t="t" r="r" b="b"/>
                  <a:pathLst>
                    <a:path w="1937" h="1658" extrusionOk="0">
                      <a:moveTo>
                        <a:pt x="1102" y="0"/>
                      </a:moveTo>
                      <a:cubicBezTo>
                        <a:pt x="364" y="0"/>
                        <a:pt x="1" y="883"/>
                        <a:pt x="521" y="1415"/>
                      </a:cubicBezTo>
                      <a:cubicBezTo>
                        <a:pt x="688" y="1582"/>
                        <a:pt x="894" y="1657"/>
                        <a:pt x="1096" y="1657"/>
                      </a:cubicBezTo>
                      <a:cubicBezTo>
                        <a:pt x="1524" y="1657"/>
                        <a:pt x="1936" y="1323"/>
                        <a:pt x="1936" y="823"/>
                      </a:cubicBezTo>
                      <a:cubicBezTo>
                        <a:pt x="1936" y="363"/>
                        <a:pt x="1561" y="0"/>
                        <a:pt x="1102"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55" name="Google Shape;4555;p66"/>
              <p:cNvGrpSpPr/>
              <p:nvPr/>
            </p:nvGrpSpPr>
            <p:grpSpPr>
              <a:xfrm>
                <a:off x="4284416" y="3887428"/>
                <a:ext cx="37783" cy="32451"/>
                <a:chOff x="4284416" y="3887428"/>
                <a:chExt cx="37783" cy="32451"/>
              </a:xfrm>
            </p:grpSpPr>
            <p:sp>
              <p:nvSpPr>
                <p:cNvPr id="4556" name="Google Shape;4556;p66"/>
                <p:cNvSpPr/>
                <p:nvPr/>
              </p:nvSpPr>
              <p:spPr>
                <a:xfrm>
                  <a:off x="4284416" y="3887428"/>
                  <a:ext cx="37783" cy="32451"/>
                </a:xfrm>
                <a:custGeom>
                  <a:avLst/>
                  <a:gdLst/>
                  <a:ahLst/>
                  <a:cxnLst/>
                  <a:rect l="l" t="t" r="r" b="b"/>
                  <a:pathLst>
                    <a:path w="4804" h="4126" extrusionOk="0">
                      <a:moveTo>
                        <a:pt x="2731" y="1"/>
                      </a:moveTo>
                      <a:cubicBezTo>
                        <a:pt x="2227" y="1"/>
                        <a:pt x="1713" y="188"/>
                        <a:pt x="1295" y="606"/>
                      </a:cubicBezTo>
                      <a:cubicBezTo>
                        <a:pt x="1" y="1900"/>
                        <a:pt x="920" y="4126"/>
                        <a:pt x="2747" y="4126"/>
                      </a:cubicBezTo>
                      <a:cubicBezTo>
                        <a:pt x="3884" y="4114"/>
                        <a:pt x="4803" y="3195"/>
                        <a:pt x="4803" y="2070"/>
                      </a:cubicBezTo>
                      <a:cubicBezTo>
                        <a:pt x="4803" y="824"/>
                        <a:pt x="3788" y="1"/>
                        <a:pt x="273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57" name="Google Shape;4557;p66"/>
                <p:cNvSpPr/>
                <p:nvPr/>
              </p:nvSpPr>
              <p:spPr>
                <a:xfrm>
                  <a:off x="4299548" y="3897039"/>
                  <a:ext cx="13040" cy="13048"/>
                </a:xfrm>
                <a:custGeom>
                  <a:avLst/>
                  <a:gdLst/>
                  <a:ahLst/>
                  <a:cxnLst/>
                  <a:rect l="l" t="t" r="r" b="b"/>
                  <a:pathLst>
                    <a:path w="1658" h="1659" extrusionOk="0">
                      <a:moveTo>
                        <a:pt x="823" y="1"/>
                      </a:moveTo>
                      <a:cubicBezTo>
                        <a:pt x="363" y="1"/>
                        <a:pt x="0" y="376"/>
                        <a:pt x="0" y="835"/>
                      </a:cubicBezTo>
                      <a:cubicBezTo>
                        <a:pt x="0"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58" name="Google Shape;4558;p66"/>
              <p:cNvGrpSpPr/>
              <p:nvPr/>
            </p:nvGrpSpPr>
            <p:grpSpPr>
              <a:xfrm>
                <a:off x="4223721" y="3860404"/>
                <a:ext cx="37870" cy="32364"/>
                <a:chOff x="4223721" y="3860404"/>
                <a:chExt cx="37870" cy="32364"/>
              </a:xfrm>
            </p:grpSpPr>
            <p:sp>
              <p:nvSpPr>
                <p:cNvPr id="4559" name="Google Shape;4559;p66"/>
                <p:cNvSpPr/>
                <p:nvPr/>
              </p:nvSpPr>
              <p:spPr>
                <a:xfrm>
                  <a:off x="4223721" y="3860404"/>
                  <a:ext cx="37870" cy="32364"/>
                </a:xfrm>
                <a:custGeom>
                  <a:avLst/>
                  <a:gdLst/>
                  <a:ahLst/>
                  <a:cxnLst/>
                  <a:rect l="l" t="t" r="r" b="b"/>
                  <a:pathLst>
                    <a:path w="4815" h="4115" extrusionOk="0">
                      <a:moveTo>
                        <a:pt x="2735" y="1"/>
                      </a:moveTo>
                      <a:cubicBezTo>
                        <a:pt x="2228" y="1"/>
                        <a:pt x="1713" y="188"/>
                        <a:pt x="1295" y="606"/>
                      </a:cubicBezTo>
                      <a:cubicBezTo>
                        <a:pt x="0" y="1901"/>
                        <a:pt x="920" y="4114"/>
                        <a:pt x="2758" y="4114"/>
                      </a:cubicBezTo>
                      <a:cubicBezTo>
                        <a:pt x="3883" y="4114"/>
                        <a:pt x="4803" y="3195"/>
                        <a:pt x="4815" y="2058"/>
                      </a:cubicBezTo>
                      <a:cubicBezTo>
                        <a:pt x="4815" y="822"/>
                        <a:pt x="3795" y="1"/>
                        <a:pt x="273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0" name="Google Shape;4560;p66"/>
                <p:cNvSpPr/>
                <p:nvPr/>
              </p:nvSpPr>
              <p:spPr>
                <a:xfrm>
                  <a:off x="4238846" y="3870117"/>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83" y="1658"/>
                        <a:pt x="1658" y="1283"/>
                        <a:pt x="1658" y="823"/>
                      </a:cubicBezTo>
                      <a:cubicBezTo>
                        <a:pt x="1658" y="363"/>
                        <a:pt x="1283"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61" name="Google Shape;4561;p66"/>
              <p:cNvGrpSpPr/>
              <p:nvPr/>
            </p:nvGrpSpPr>
            <p:grpSpPr>
              <a:xfrm>
                <a:off x="4104889" y="3699242"/>
                <a:ext cx="37776" cy="32357"/>
                <a:chOff x="4104889" y="3699242"/>
                <a:chExt cx="37776" cy="32357"/>
              </a:xfrm>
            </p:grpSpPr>
            <p:sp>
              <p:nvSpPr>
                <p:cNvPr id="4562" name="Google Shape;4562;p66"/>
                <p:cNvSpPr/>
                <p:nvPr/>
              </p:nvSpPr>
              <p:spPr>
                <a:xfrm>
                  <a:off x="4104889" y="3699242"/>
                  <a:ext cx="37776" cy="32357"/>
                </a:xfrm>
                <a:custGeom>
                  <a:avLst/>
                  <a:gdLst/>
                  <a:ahLst/>
                  <a:cxnLst/>
                  <a:rect l="l" t="t" r="r" b="b"/>
                  <a:pathLst>
                    <a:path w="4803" h="4114" extrusionOk="0">
                      <a:moveTo>
                        <a:pt x="2730" y="0"/>
                      </a:moveTo>
                      <a:cubicBezTo>
                        <a:pt x="2226" y="0"/>
                        <a:pt x="1712" y="188"/>
                        <a:pt x="1295" y="605"/>
                      </a:cubicBezTo>
                      <a:cubicBezTo>
                        <a:pt x="0" y="1900"/>
                        <a:pt x="920" y="4114"/>
                        <a:pt x="2746" y="4114"/>
                      </a:cubicBezTo>
                      <a:cubicBezTo>
                        <a:pt x="3883" y="4114"/>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3" name="Google Shape;4563;p66"/>
                <p:cNvSpPr/>
                <p:nvPr/>
              </p:nvSpPr>
              <p:spPr>
                <a:xfrm>
                  <a:off x="4120013" y="3708948"/>
                  <a:ext cx="13040" cy="13040"/>
                </a:xfrm>
                <a:custGeom>
                  <a:avLst/>
                  <a:gdLst/>
                  <a:ahLst/>
                  <a:cxnLst/>
                  <a:rect l="l" t="t" r="r" b="b"/>
                  <a:pathLst>
                    <a:path w="1658" h="1658" extrusionOk="0">
                      <a:moveTo>
                        <a:pt x="823" y="0"/>
                      </a:moveTo>
                      <a:cubicBezTo>
                        <a:pt x="376" y="0"/>
                        <a:pt x="1" y="375"/>
                        <a:pt x="1" y="823"/>
                      </a:cubicBezTo>
                      <a:cubicBezTo>
                        <a:pt x="1" y="1283"/>
                        <a:pt x="376" y="1658"/>
                        <a:pt x="823" y="1658"/>
                      </a:cubicBezTo>
                      <a:cubicBezTo>
                        <a:pt x="1283" y="1658"/>
                        <a:pt x="1658" y="1283"/>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64" name="Google Shape;4564;p66"/>
              <p:cNvGrpSpPr/>
              <p:nvPr/>
            </p:nvGrpSpPr>
            <p:grpSpPr>
              <a:xfrm>
                <a:off x="4143608" y="3475121"/>
                <a:ext cx="37878" cy="32420"/>
                <a:chOff x="4143608" y="3475121"/>
                <a:chExt cx="37878" cy="32420"/>
              </a:xfrm>
            </p:grpSpPr>
            <p:sp>
              <p:nvSpPr>
                <p:cNvPr id="4565" name="Google Shape;4565;p66"/>
                <p:cNvSpPr/>
                <p:nvPr/>
              </p:nvSpPr>
              <p:spPr>
                <a:xfrm>
                  <a:off x="4143608" y="3475121"/>
                  <a:ext cx="37878" cy="32420"/>
                </a:xfrm>
                <a:custGeom>
                  <a:avLst/>
                  <a:gdLst/>
                  <a:ahLst/>
                  <a:cxnLst/>
                  <a:rect l="l" t="t" r="r" b="b"/>
                  <a:pathLst>
                    <a:path w="4816" h="4122" extrusionOk="0">
                      <a:moveTo>
                        <a:pt x="2750" y="0"/>
                      </a:moveTo>
                      <a:cubicBezTo>
                        <a:pt x="2244" y="0"/>
                        <a:pt x="1727" y="190"/>
                        <a:pt x="1307" y="614"/>
                      </a:cubicBezTo>
                      <a:cubicBezTo>
                        <a:pt x="1" y="1908"/>
                        <a:pt x="920" y="4122"/>
                        <a:pt x="2759" y="4122"/>
                      </a:cubicBezTo>
                      <a:cubicBezTo>
                        <a:pt x="3896" y="4122"/>
                        <a:pt x="4815" y="3202"/>
                        <a:pt x="4815" y="2065"/>
                      </a:cubicBezTo>
                      <a:cubicBezTo>
                        <a:pt x="4815" y="823"/>
                        <a:pt x="3805" y="0"/>
                        <a:pt x="275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6" name="Google Shape;4566;p66"/>
                <p:cNvSpPr/>
                <p:nvPr/>
              </p:nvSpPr>
              <p:spPr>
                <a:xfrm>
                  <a:off x="4158741" y="3484795"/>
                  <a:ext cx="13040" cy="13040"/>
                </a:xfrm>
                <a:custGeom>
                  <a:avLst/>
                  <a:gdLst/>
                  <a:ahLst/>
                  <a:cxnLst/>
                  <a:rect l="l" t="t" r="r" b="b"/>
                  <a:pathLst>
                    <a:path w="1658" h="1658" extrusionOk="0">
                      <a:moveTo>
                        <a:pt x="835" y="1"/>
                      </a:moveTo>
                      <a:cubicBezTo>
                        <a:pt x="375" y="1"/>
                        <a:pt x="0" y="376"/>
                        <a:pt x="0" y="835"/>
                      </a:cubicBezTo>
                      <a:cubicBezTo>
                        <a:pt x="0" y="1295"/>
                        <a:pt x="375" y="1658"/>
                        <a:pt x="835" y="1658"/>
                      </a:cubicBezTo>
                      <a:cubicBezTo>
                        <a:pt x="1294" y="1658"/>
                        <a:pt x="1657" y="1295"/>
                        <a:pt x="1657" y="835"/>
                      </a:cubicBezTo>
                      <a:cubicBezTo>
                        <a:pt x="1657" y="376"/>
                        <a:pt x="1294"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67" name="Google Shape;4567;p66"/>
              <p:cNvGrpSpPr/>
              <p:nvPr/>
            </p:nvGrpSpPr>
            <p:grpSpPr>
              <a:xfrm>
                <a:off x="4217248" y="3570893"/>
                <a:ext cx="37776" cy="32364"/>
                <a:chOff x="4217248" y="3570893"/>
                <a:chExt cx="37776" cy="32364"/>
              </a:xfrm>
            </p:grpSpPr>
            <p:sp>
              <p:nvSpPr>
                <p:cNvPr id="4568" name="Google Shape;4568;p66"/>
                <p:cNvSpPr/>
                <p:nvPr/>
              </p:nvSpPr>
              <p:spPr>
                <a:xfrm>
                  <a:off x="4217248" y="3570893"/>
                  <a:ext cx="37776" cy="32364"/>
                </a:xfrm>
                <a:custGeom>
                  <a:avLst/>
                  <a:gdLst/>
                  <a:ahLst/>
                  <a:cxnLst/>
                  <a:rect l="l" t="t" r="r" b="b"/>
                  <a:pathLst>
                    <a:path w="4803" h="4115" extrusionOk="0">
                      <a:moveTo>
                        <a:pt x="2732" y="1"/>
                      </a:moveTo>
                      <a:cubicBezTo>
                        <a:pt x="2228" y="1"/>
                        <a:pt x="1713" y="188"/>
                        <a:pt x="1295" y="606"/>
                      </a:cubicBezTo>
                      <a:cubicBezTo>
                        <a:pt x="1" y="1900"/>
                        <a:pt x="920" y="4114"/>
                        <a:pt x="2759" y="4114"/>
                      </a:cubicBezTo>
                      <a:cubicBezTo>
                        <a:pt x="3884"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69" name="Google Shape;4569;p66"/>
                <p:cNvSpPr/>
                <p:nvPr/>
              </p:nvSpPr>
              <p:spPr>
                <a:xfrm>
                  <a:off x="4232373" y="3580599"/>
                  <a:ext cx="13048" cy="13048"/>
                </a:xfrm>
                <a:custGeom>
                  <a:avLst/>
                  <a:gdLst/>
                  <a:ahLst/>
                  <a:cxnLst/>
                  <a:rect l="l" t="t" r="r" b="b"/>
                  <a:pathLst>
                    <a:path w="1659" h="1659" extrusionOk="0">
                      <a:moveTo>
                        <a:pt x="824" y="1"/>
                      </a:moveTo>
                      <a:cubicBezTo>
                        <a:pt x="364" y="1"/>
                        <a:pt x="1" y="376"/>
                        <a:pt x="1" y="824"/>
                      </a:cubicBezTo>
                      <a:cubicBezTo>
                        <a:pt x="1" y="1283"/>
                        <a:pt x="364" y="1658"/>
                        <a:pt x="824" y="1658"/>
                      </a:cubicBezTo>
                      <a:cubicBezTo>
                        <a:pt x="1283" y="1658"/>
                        <a:pt x="1658" y="1283"/>
                        <a:pt x="1658" y="824"/>
                      </a:cubicBezTo>
                      <a:cubicBezTo>
                        <a:pt x="1658" y="376"/>
                        <a:pt x="1283" y="1"/>
                        <a:pt x="82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70" name="Google Shape;4570;p66"/>
              <p:cNvGrpSpPr/>
              <p:nvPr/>
            </p:nvGrpSpPr>
            <p:grpSpPr>
              <a:xfrm>
                <a:off x="4255307" y="3431612"/>
                <a:ext cx="37776" cy="32451"/>
                <a:chOff x="4255307" y="3431612"/>
                <a:chExt cx="37776" cy="32451"/>
              </a:xfrm>
            </p:grpSpPr>
            <p:sp>
              <p:nvSpPr>
                <p:cNvPr id="4571" name="Google Shape;4571;p66"/>
                <p:cNvSpPr/>
                <p:nvPr/>
              </p:nvSpPr>
              <p:spPr>
                <a:xfrm>
                  <a:off x="4255307" y="3431612"/>
                  <a:ext cx="37776" cy="32451"/>
                </a:xfrm>
                <a:custGeom>
                  <a:avLst/>
                  <a:gdLst/>
                  <a:ahLst/>
                  <a:cxnLst/>
                  <a:rect l="l" t="t" r="r" b="b"/>
                  <a:pathLst>
                    <a:path w="4803" h="4126" extrusionOk="0">
                      <a:moveTo>
                        <a:pt x="2730" y="0"/>
                      </a:moveTo>
                      <a:cubicBezTo>
                        <a:pt x="2226" y="0"/>
                        <a:pt x="1712" y="187"/>
                        <a:pt x="1295" y="605"/>
                      </a:cubicBezTo>
                      <a:cubicBezTo>
                        <a:pt x="0" y="1912"/>
                        <a:pt x="920" y="4125"/>
                        <a:pt x="2758"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2" name="Google Shape;4572;p66"/>
                <p:cNvSpPr/>
                <p:nvPr/>
              </p:nvSpPr>
              <p:spPr>
                <a:xfrm>
                  <a:off x="4270432" y="3441317"/>
                  <a:ext cx="13040" cy="13040"/>
                </a:xfrm>
                <a:custGeom>
                  <a:avLst/>
                  <a:gdLst/>
                  <a:ahLst/>
                  <a:cxnLst/>
                  <a:rect l="l" t="t" r="r" b="b"/>
                  <a:pathLst>
                    <a:path w="1658" h="1658" extrusionOk="0">
                      <a:moveTo>
                        <a:pt x="835" y="0"/>
                      </a:moveTo>
                      <a:cubicBezTo>
                        <a:pt x="376" y="0"/>
                        <a:pt x="1" y="375"/>
                        <a:pt x="1" y="835"/>
                      </a:cubicBezTo>
                      <a:cubicBezTo>
                        <a:pt x="1" y="1295"/>
                        <a:pt x="376" y="1658"/>
                        <a:pt x="835" y="1658"/>
                      </a:cubicBezTo>
                      <a:cubicBezTo>
                        <a:pt x="1295" y="1658"/>
                        <a:pt x="1658" y="1295"/>
                        <a:pt x="1658" y="835"/>
                      </a:cubicBezTo>
                      <a:cubicBezTo>
                        <a:pt x="1658" y="375"/>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73" name="Google Shape;4573;p66"/>
              <p:cNvGrpSpPr/>
              <p:nvPr/>
            </p:nvGrpSpPr>
            <p:grpSpPr>
              <a:xfrm>
                <a:off x="3853052" y="3577398"/>
                <a:ext cx="37776" cy="32420"/>
                <a:chOff x="3853052" y="3577398"/>
                <a:chExt cx="37776" cy="32420"/>
              </a:xfrm>
            </p:grpSpPr>
            <p:sp>
              <p:nvSpPr>
                <p:cNvPr id="4574" name="Google Shape;4574;p66"/>
                <p:cNvSpPr/>
                <p:nvPr/>
              </p:nvSpPr>
              <p:spPr>
                <a:xfrm>
                  <a:off x="3853052" y="3577398"/>
                  <a:ext cx="37776" cy="32420"/>
                </a:xfrm>
                <a:custGeom>
                  <a:avLst/>
                  <a:gdLst/>
                  <a:ahLst/>
                  <a:cxnLst/>
                  <a:rect l="l" t="t" r="r" b="b"/>
                  <a:pathLst>
                    <a:path w="4803" h="4122" extrusionOk="0">
                      <a:moveTo>
                        <a:pt x="2737" y="0"/>
                      </a:moveTo>
                      <a:cubicBezTo>
                        <a:pt x="2231" y="0"/>
                        <a:pt x="1714" y="190"/>
                        <a:pt x="1294" y="614"/>
                      </a:cubicBezTo>
                      <a:cubicBezTo>
                        <a:pt x="0" y="1908"/>
                        <a:pt x="919" y="4122"/>
                        <a:pt x="2746" y="4122"/>
                      </a:cubicBezTo>
                      <a:cubicBezTo>
                        <a:pt x="3883" y="4122"/>
                        <a:pt x="4803" y="3202"/>
                        <a:pt x="4803" y="2065"/>
                      </a:cubicBezTo>
                      <a:cubicBezTo>
                        <a:pt x="4803" y="823"/>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5" name="Google Shape;4575;p66"/>
                <p:cNvSpPr/>
                <p:nvPr/>
              </p:nvSpPr>
              <p:spPr>
                <a:xfrm>
                  <a:off x="3868176" y="3587072"/>
                  <a:ext cx="13040" cy="13040"/>
                </a:xfrm>
                <a:custGeom>
                  <a:avLst/>
                  <a:gdLst/>
                  <a:ahLst/>
                  <a:cxnLst/>
                  <a:rect l="l" t="t" r="r" b="b"/>
                  <a:pathLst>
                    <a:path w="1658" h="1658" extrusionOk="0">
                      <a:moveTo>
                        <a:pt x="823" y="1"/>
                      </a:moveTo>
                      <a:cubicBezTo>
                        <a:pt x="363" y="1"/>
                        <a:pt x="1" y="376"/>
                        <a:pt x="1" y="835"/>
                      </a:cubicBezTo>
                      <a:cubicBezTo>
                        <a:pt x="1" y="1295"/>
                        <a:pt x="363" y="1658"/>
                        <a:pt x="823" y="1658"/>
                      </a:cubicBezTo>
                      <a:cubicBezTo>
                        <a:pt x="1283" y="1658"/>
                        <a:pt x="1658" y="1295"/>
                        <a:pt x="1658" y="835"/>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76" name="Google Shape;4576;p66"/>
              <p:cNvGrpSpPr/>
              <p:nvPr/>
            </p:nvGrpSpPr>
            <p:grpSpPr>
              <a:xfrm>
                <a:off x="4039908" y="3412107"/>
                <a:ext cx="37776" cy="32357"/>
                <a:chOff x="4039908" y="3412107"/>
                <a:chExt cx="37776" cy="32357"/>
              </a:xfrm>
            </p:grpSpPr>
            <p:sp>
              <p:nvSpPr>
                <p:cNvPr id="4577" name="Google Shape;4577;p66"/>
                <p:cNvSpPr/>
                <p:nvPr/>
              </p:nvSpPr>
              <p:spPr>
                <a:xfrm>
                  <a:off x="4039908"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78" name="Google Shape;4578;p66"/>
                <p:cNvSpPr/>
                <p:nvPr/>
              </p:nvSpPr>
              <p:spPr>
                <a:xfrm>
                  <a:off x="4055033" y="3421812"/>
                  <a:ext cx="13040" cy="13040"/>
                </a:xfrm>
                <a:custGeom>
                  <a:avLst/>
                  <a:gdLst/>
                  <a:ahLst/>
                  <a:cxnLst/>
                  <a:rect l="l" t="t" r="r" b="b"/>
                  <a:pathLst>
                    <a:path w="1658" h="1658" extrusionOk="0">
                      <a:moveTo>
                        <a:pt x="823" y="1"/>
                      </a:moveTo>
                      <a:cubicBezTo>
                        <a:pt x="363" y="1"/>
                        <a:pt x="1" y="363"/>
                        <a:pt x="1" y="823"/>
                      </a:cubicBezTo>
                      <a:cubicBezTo>
                        <a:pt x="1" y="1283"/>
                        <a:pt x="363"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79" name="Google Shape;4579;p66"/>
              <p:cNvGrpSpPr/>
              <p:nvPr/>
            </p:nvGrpSpPr>
            <p:grpSpPr>
              <a:xfrm>
                <a:off x="4017360" y="3342061"/>
                <a:ext cx="37870" cy="32380"/>
                <a:chOff x="4017360" y="3342061"/>
                <a:chExt cx="37870" cy="32380"/>
              </a:xfrm>
            </p:grpSpPr>
            <p:sp>
              <p:nvSpPr>
                <p:cNvPr id="4580" name="Google Shape;4580;p66"/>
                <p:cNvSpPr/>
                <p:nvPr/>
              </p:nvSpPr>
              <p:spPr>
                <a:xfrm>
                  <a:off x="4017360" y="3342061"/>
                  <a:ext cx="37870" cy="32380"/>
                </a:xfrm>
                <a:custGeom>
                  <a:avLst/>
                  <a:gdLst/>
                  <a:ahLst/>
                  <a:cxnLst/>
                  <a:rect l="l" t="t" r="r" b="b"/>
                  <a:pathLst>
                    <a:path w="4815" h="4117" extrusionOk="0">
                      <a:moveTo>
                        <a:pt x="2749" y="0"/>
                      </a:moveTo>
                      <a:cubicBezTo>
                        <a:pt x="2243" y="0"/>
                        <a:pt x="1726" y="189"/>
                        <a:pt x="1307" y="608"/>
                      </a:cubicBezTo>
                      <a:cubicBezTo>
                        <a:pt x="0" y="1903"/>
                        <a:pt x="920" y="4116"/>
                        <a:pt x="2758" y="4116"/>
                      </a:cubicBezTo>
                      <a:cubicBezTo>
                        <a:pt x="3895" y="4116"/>
                        <a:pt x="4815" y="3197"/>
                        <a:pt x="4815" y="2060"/>
                      </a:cubicBezTo>
                      <a:cubicBezTo>
                        <a:pt x="4815" y="817"/>
                        <a:pt x="3804" y="0"/>
                        <a:pt x="2749"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1" name="Google Shape;4581;p66"/>
                <p:cNvSpPr/>
                <p:nvPr/>
              </p:nvSpPr>
              <p:spPr>
                <a:xfrm>
                  <a:off x="4032484" y="3351790"/>
                  <a:ext cx="13040" cy="13040"/>
                </a:xfrm>
                <a:custGeom>
                  <a:avLst/>
                  <a:gdLst/>
                  <a:ahLst/>
                  <a:cxnLst/>
                  <a:rect l="l" t="t" r="r" b="b"/>
                  <a:pathLst>
                    <a:path w="1658" h="1658" extrusionOk="0">
                      <a:moveTo>
                        <a:pt x="835" y="0"/>
                      </a:moveTo>
                      <a:cubicBezTo>
                        <a:pt x="376" y="0"/>
                        <a:pt x="1" y="363"/>
                        <a:pt x="1" y="823"/>
                      </a:cubicBezTo>
                      <a:cubicBezTo>
                        <a:pt x="1" y="1283"/>
                        <a:pt x="376" y="1658"/>
                        <a:pt x="835" y="1658"/>
                      </a:cubicBezTo>
                      <a:cubicBezTo>
                        <a:pt x="1295" y="1658"/>
                        <a:pt x="1658" y="1283"/>
                        <a:pt x="1658" y="823"/>
                      </a:cubicBezTo>
                      <a:cubicBezTo>
                        <a:pt x="1658" y="363"/>
                        <a:pt x="1295"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582" name="Google Shape;4582;p66"/>
              <p:cNvSpPr/>
              <p:nvPr/>
            </p:nvSpPr>
            <p:spPr>
              <a:xfrm>
                <a:off x="3998712" y="3520180"/>
                <a:ext cx="47764" cy="40929"/>
              </a:xfrm>
              <a:custGeom>
                <a:avLst/>
                <a:gdLst/>
                <a:ahLst/>
                <a:cxnLst/>
                <a:rect l="l" t="t" r="r" b="b"/>
                <a:pathLst>
                  <a:path w="6073" h="5204" extrusionOk="0">
                    <a:moveTo>
                      <a:pt x="3457" y="0"/>
                    </a:moveTo>
                    <a:cubicBezTo>
                      <a:pt x="2821" y="0"/>
                      <a:pt x="2173" y="236"/>
                      <a:pt x="1645" y="764"/>
                    </a:cubicBezTo>
                    <a:cubicBezTo>
                      <a:pt x="0" y="2397"/>
                      <a:pt x="1162" y="5191"/>
                      <a:pt x="3472" y="5203"/>
                    </a:cubicBezTo>
                    <a:cubicBezTo>
                      <a:pt x="4899" y="5191"/>
                      <a:pt x="6061" y="4030"/>
                      <a:pt x="6073" y="2602"/>
                    </a:cubicBezTo>
                    <a:cubicBezTo>
                      <a:pt x="6073" y="1038"/>
                      <a:pt x="4792" y="0"/>
                      <a:pt x="345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3" name="Google Shape;4583;p66"/>
              <p:cNvSpPr/>
              <p:nvPr/>
            </p:nvSpPr>
            <p:spPr>
              <a:xfrm>
                <a:off x="4011744" y="3529893"/>
                <a:ext cx="25026" cy="21448"/>
              </a:xfrm>
              <a:custGeom>
                <a:avLst/>
                <a:gdLst/>
                <a:ahLst/>
                <a:cxnLst/>
                <a:rect l="l" t="t" r="r" b="b"/>
                <a:pathLst>
                  <a:path w="3182" h="2727" extrusionOk="0">
                    <a:moveTo>
                      <a:pt x="1815" y="0"/>
                    </a:moveTo>
                    <a:cubicBezTo>
                      <a:pt x="605" y="0"/>
                      <a:pt x="1" y="1464"/>
                      <a:pt x="847" y="2323"/>
                    </a:cubicBezTo>
                    <a:cubicBezTo>
                      <a:pt x="1126" y="2601"/>
                      <a:pt x="1468" y="2726"/>
                      <a:pt x="1803" y="2726"/>
                    </a:cubicBezTo>
                    <a:cubicBezTo>
                      <a:pt x="2503" y="2726"/>
                      <a:pt x="3174" y="2185"/>
                      <a:pt x="3182" y="1367"/>
                    </a:cubicBezTo>
                    <a:cubicBezTo>
                      <a:pt x="3182" y="605"/>
                      <a:pt x="2565" y="0"/>
                      <a:pt x="181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584" name="Google Shape;4584;p66"/>
              <p:cNvGrpSpPr/>
              <p:nvPr/>
            </p:nvGrpSpPr>
            <p:grpSpPr>
              <a:xfrm>
                <a:off x="3750870" y="3418650"/>
                <a:ext cx="37776" cy="32380"/>
                <a:chOff x="3750870" y="3418650"/>
                <a:chExt cx="37776" cy="32380"/>
              </a:xfrm>
            </p:grpSpPr>
            <p:sp>
              <p:nvSpPr>
                <p:cNvPr id="4585" name="Google Shape;4585;p66"/>
                <p:cNvSpPr/>
                <p:nvPr/>
              </p:nvSpPr>
              <p:spPr>
                <a:xfrm>
                  <a:off x="3750870" y="3418650"/>
                  <a:ext cx="37776" cy="32380"/>
                </a:xfrm>
                <a:custGeom>
                  <a:avLst/>
                  <a:gdLst/>
                  <a:ahLst/>
                  <a:cxnLst/>
                  <a:rect l="l" t="t" r="r" b="b"/>
                  <a:pathLst>
                    <a:path w="4803" h="4117" extrusionOk="0">
                      <a:moveTo>
                        <a:pt x="2737" y="0"/>
                      </a:moveTo>
                      <a:cubicBezTo>
                        <a:pt x="2231" y="0"/>
                        <a:pt x="1714" y="188"/>
                        <a:pt x="1295" y="608"/>
                      </a:cubicBezTo>
                      <a:cubicBezTo>
                        <a:pt x="0" y="1903"/>
                        <a:pt x="920" y="4116"/>
                        <a:pt x="2746" y="4116"/>
                      </a:cubicBezTo>
                      <a:cubicBezTo>
                        <a:pt x="3883" y="4104"/>
                        <a:pt x="4803" y="3185"/>
                        <a:pt x="4803" y="2060"/>
                      </a:cubicBezTo>
                      <a:cubicBezTo>
                        <a:pt x="4803" y="817"/>
                        <a:pt x="3792" y="0"/>
                        <a:pt x="27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6" name="Google Shape;4586;p66"/>
                <p:cNvSpPr/>
                <p:nvPr/>
              </p:nvSpPr>
              <p:spPr>
                <a:xfrm>
                  <a:off x="3765994" y="3428285"/>
                  <a:ext cx="13040" cy="13040"/>
                </a:xfrm>
                <a:custGeom>
                  <a:avLst/>
                  <a:gdLst/>
                  <a:ahLst/>
                  <a:cxnLst/>
                  <a:rect l="l" t="t" r="r" b="b"/>
                  <a:pathLst>
                    <a:path w="1658" h="1658" extrusionOk="0">
                      <a:moveTo>
                        <a:pt x="823" y="0"/>
                      </a:moveTo>
                      <a:cubicBezTo>
                        <a:pt x="363" y="0"/>
                        <a:pt x="1" y="375"/>
                        <a:pt x="1" y="835"/>
                      </a:cubicBezTo>
                      <a:cubicBezTo>
                        <a:pt x="1" y="1294"/>
                        <a:pt x="363" y="1657"/>
                        <a:pt x="823" y="1657"/>
                      </a:cubicBezTo>
                      <a:cubicBezTo>
                        <a:pt x="1283" y="1657"/>
                        <a:pt x="1658" y="1294"/>
                        <a:pt x="1658" y="835"/>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87" name="Google Shape;4587;p66"/>
              <p:cNvGrpSpPr/>
              <p:nvPr/>
            </p:nvGrpSpPr>
            <p:grpSpPr>
              <a:xfrm>
                <a:off x="3632509" y="3274438"/>
                <a:ext cx="37783" cy="32357"/>
                <a:chOff x="3632509" y="3274438"/>
                <a:chExt cx="37783" cy="32357"/>
              </a:xfrm>
            </p:grpSpPr>
            <p:sp>
              <p:nvSpPr>
                <p:cNvPr id="4588" name="Google Shape;4588;p66"/>
                <p:cNvSpPr/>
                <p:nvPr/>
              </p:nvSpPr>
              <p:spPr>
                <a:xfrm>
                  <a:off x="3632509" y="3274438"/>
                  <a:ext cx="37783" cy="32357"/>
                </a:xfrm>
                <a:custGeom>
                  <a:avLst/>
                  <a:gdLst/>
                  <a:ahLst/>
                  <a:cxnLst/>
                  <a:rect l="l" t="t" r="r" b="b"/>
                  <a:pathLst>
                    <a:path w="4804" h="4114" extrusionOk="0">
                      <a:moveTo>
                        <a:pt x="2732" y="0"/>
                      </a:moveTo>
                      <a:cubicBezTo>
                        <a:pt x="2228" y="0"/>
                        <a:pt x="1713" y="187"/>
                        <a:pt x="1295" y="605"/>
                      </a:cubicBezTo>
                      <a:cubicBezTo>
                        <a:pt x="1" y="1900"/>
                        <a:pt x="908" y="4114"/>
                        <a:pt x="2747" y="4114"/>
                      </a:cubicBezTo>
                      <a:cubicBezTo>
                        <a:pt x="3872" y="4114"/>
                        <a:pt x="4791"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89" name="Google Shape;4589;p66"/>
                <p:cNvSpPr/>
                <p:nvPr/>
              </p:nvSpPr>
              <p:spPr>
                <a:xfrm>
                  <a:off x="3647547" y="3284049"/>
                  <a:ext cx="13040" cy="13040"/>
                </a:xfrm>
                <a:custGeom>
                  <a:avLst/>
                  <a:gdLst/>
                  <a:ahLst/>
                  <a:cxnLst/>
                  <a:rect l="l" t="t" r="r" b="b"/>
                  <a:pathLst>
                    <a:path w="1658" h="1658" extrusionOk="0">
                      <a:moveTo>
                        <a:pt x="835" y="0"/>
                      </a:moveTo>
                      <a:cubicBezTo>
                        <a:pt x="375" y="0"/>
                        <a:pt x="0" y="375"/>
                        <a:pt x="0" y="835"/>
                      </a:cubicBezTo>
                      <a:cubicBezTo>
                        <a:pt x="0" y="1295"/>
                        <a:pt x="375" y="1658"/>
                        <a:pt x="835" y="1658"/>
                      </a:cubicBezTo>
                      <a:cubicBezTo>
                        <a:pt x="1282" y="1658"/>
                        <a:pt x="1657" y="1295"/>
                        <a:pt x="1657" y="835"/>
                      </a:cubicBezTo>
                      <a:cubicBezTo>
                        <a:pt x="1657" y="375"/>
                        <a:pt x="1282" y="0"/>
                        <a:pt x="83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90" name="Google Shape;4590;p66"/>
              <p:cNvGrpSpPr/>
              <p:nvPr/>
            </p:nvGrpSpPr>
            <p:grpSpPr>
              <a:xfrm>
                <a:off x="3906424" y="3297561"/>
                <a:ext cx="37776" cy="32451"/>
                <a:chOff x="3906424" y="3297561"/>
                <a:chExt cx="37776" cy="32451"/>
              </a:xfrm>
            </p:grpSpPr>
            <p:sp>
              <p:nvSpPr>
                <p:cNvPr id="4591" name="Google Shape;4591;p66"/>
                <p:cNvSpPr/>
                <p:nvPr/>
              </p:nvSpPr>
              <p:spPr>
                <a:xfrm>
                  <a:off x="3906424" y="3297561"/>
                  <a:ext cx="37776" cy="32451"/>
                </a:xfrm>
                <a:custGeom>
                  <a:avLst/>
                  <a:gdLst/>
                  <a:ahLst/>
                  <a:cxnLst/>
                  <a:rect l="l" t="t" r="r" b="b"/>
                  <a:pathLst>
                    <a:path w="4803" h="4126" extrusionOk="0">
                      <a:moveTo>
                        <a:pt x="2730" y="0"/>
                      </a:moveTo>
                      <a:cubicBezTo>
                        <a:pt x="2226" y="0"/>
                        <a:pt x="1713" y="187"/>
                        <a:pt x="1295" y="605"/>
                      </a:cubicBezTo>
                      <a:cubicBezTo>
                        <a:pt x="0" y="1899"/>
                        <a:pt x="920" y="4125"/>
                        <a:pt x="2746" y="4125"/>
                      </a:cubicBezTo>
                      <a:cubicBezTo>
                        <a:pt x="3883" y="4113"/>
                        <a:pt x="4803" y="3194"/>
                        <a:pt x="4803" y="2069"/>
                      </a:cubicBezTo>
                      <a:cubicBezTo>
                        <a:pt x="4803" y="824"/>
                        <a:pt x="3788"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2" name="Google Shape;4592;p66"/>
                <p:cNvSpPr/>
                <p:nvPr/>
              </p:nvSpPr>
              <p:spPr>
                <a:xfrm>
                  <a:off x="3921548" y="3307361"/>
                  <a:ext cx="13048" cy="13040"/>
                </a:xfrm>
                <a:custGeom>
                  <a:avLst/>
                  <a:gdLst/>
                  <a:ahLst/>
                  <a:cxnLst/>
                  <a:rect l="l" t="t" r="r" b="b"/>
                  <a:pathLst>
                    <a:path w="1659" h="1658" extrusionOk="0">
                      <a:moveTo>
                        <a:pt x="823" y="0"/>
                      </a:moveTo>
                      <a:cubicBezTo>
                        <a:pt x="364" y="0"/>
                        <a:pt x="1" y="363"/>
                        <a:pt x="1" y="823"/>
                      </a:cubicBezTo>
                      <a:cubicBezTo>
                        <a:pt x="1" y="1282"/>
                        <a:pt x="364" y="1657"/>
                        <a:pt x="823" y="1657"/>
                      </a:cubicBezTo>
                      <a:cubicBezTo>
                        <a:pt x="1283" y="1657"/>
                        <a:pt x="1658" y="1282"/>
                        <a:pt x="1658" y="823"/>
                      </a:cubicBezTo>
                      <a:cubicBezTo>
                        <a:pt x="1658" y="363"/>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93" name="Google Shape;4593;p66"/>
              <p:cNvGrpSpPr/>
              <p:nvPr/>
            </p:nvGrpSpPr>
            <p:grpSpPr>
              <a:xfrm>
                <a:off x="3866084" y="3412107"/>
                <a:ext cx="37776" cy="32357"/>
                <a:chOff x="3866084" y="3412107"/>
                <a:chExt cx="37776" cy="32357"/>
              </a:xfrm>
            </p:grpSpPr>
            <p:sp>
              <p:nvSpPr>
                <p:cNvPr id="4594" name="Google Shape;4594;p66"/>
                <p:cNvSpPr/>
                <p:nvPr/>
              </p:nvSpPr>
              <p:spPr>
                <a:xfrm>
                  <a:off x="3866084" y="3412107"/>
                  <a:ext cx="37776" cy="32357"/>
                </a:xfrm>
                <a:custGeom>
                  <a:avLst/>
                  <a:gdLst/>
                  <a:ahLst/>
                  <a:cxnLst/>
                  <a:rect l="l" t="t" r="r" b="b"/>
                  <a:pathLst>
                    <a:path w="4803" h="4114" extrusionOk="0">
                      <a:moveTo>
                        <a:pt x="2732" y="0"/>
                      </a:moveTo>
                      <a:cubicBezTo>
                        <a:pt x="2227" y="0"/>
                        <a:pt x="1713" y="187"/>
                        <a:pt x="1295" y="605"/>
                      </a:cubicBezTo>
                      <a:cubicBezTo>
                        <a:pt x="0" y="1900"/>
                        <a:pt x="920" y="4114"/>
                        <a:pt x="2746" y="4114"/>
                      </a:cubicBezTo>
                      <a:cubicBezTo>
                        <a:pt x="3883"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5" name="Google Shape;4595;p66"/>
                <p:cNvSpPr/>
                <p:nvPr/>
              </p:nvSpPr>
              <p:spPr>
                <a:xfrm>
                  <a:off x="3881208" y="3421812"/>
                  <a:ext cx="13048" cy="13040"/>
                </a:xfrm>
                <a:custGeom>
                  <a:avLst/>
                  <a:gdLst/>
                  <a:ahLst/>
                  <a:cxnLst/>
                  <a:rect l="l" t="t" r="r" b="b"/>
                  <a:pathLst>
                    <a:path w="1659" h="1658" extrusionOk="0">
                      <a:moveTo>
                        <a:pt x="823" y="1"/>
                      </a:moveTo>
                      <a:cubicBezTo>
                        <a:pt x="364" y="1"/>
                        <a:pt x="1" y="363"/>
                        <a:pt x="1" y="823"/>
                      </a:cubicBezTo>
                      <a:cubicBezTo>
                        <a:pt x="1" y="1283"/>
                        <a:pt x="364" y="1658"/>
                        <a:pt x="823" y="1658"/>
                      </a:cubicBezTo>
                      <a:cubicBezTo>
                        <a:pt x="1283" y="1658"/>
                        <a:pt x="1658" y="1283"/>
                        <a:pt x="1658" y="823"/>
                      </a:cubicBezTo>
                      <a:cubicBezTo>
                        <a:pt x="1658" y="363"/>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96" name="Google Shape;4596;p66"/>
              <p:cNvGrpSpPr/>
              <p:nvPr/>
            </p:nvGrpSpPr>
            <p:grpSpPr>
              <a:xfrm>
                <a:off x="4023919" y="3766409"/>
                <a:ext cx="37783" cy="32357"/>
                <a:chOff x="4023919" y="3766409"/>
                <a:chExt cx="37783" cy="32357"/>
              </a:xfrm>
            </p:grpSpPr>
            <p:sp>
              <p:nvSpPr>
                <p:cNvPr id="4597" name="Google Shape;4597;p66"/>
                <p:cNvSpPr/>
                <p:nvPr/>
              </p:nvSpPr>
              <p:spPr>
                <a:xfrm>
                  <a:off x="4023919" y="3766409"/>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598" name="Google Shape;4598;p66"/>
                <p:cNvSpPr/>
                <p:nvPr/>
              </p:nvSpPr>
              <p:spPr>
                <a:xfrm>
                  <a:off x="4039051" y="3776115"/>
                  <a:ext cx="13040" cy="13048"/>
                </a:xfrm>
                <a:custGeom>
                  <a:avLst/>
                  <a:gdLst/>
                  <a:ahLst/>
                  <a:cxnLst/>
                  <a:rect l="l" t="t" r="r" b="b"/>
                  <a:pathLst>
                    <a:path w="1658" h="1659" extrusionOk="0">
                      <a:moveTo>
                        <a:pt x="823" y="1"/>
                      </a:moveTo>
                      <a:cubicBezTo>
                        <a:pt x="363" y="1"/>
                        <a:pt x="0" y="376"/>
                        <a:pt x="0" y="823"/>
                      </a:cubicBezTo>
                      <a:cubicBezTo>
                        <a:pt x="0" y="1283"/>
                        <a:pt x="363" y="1658"/>
                        <a:pt x="823" y="1658"/>
                      </a:cubicBezTo>
                      <a:cubicBezTo>
                        <a:pt x="1283" y="1658"/>
                        <a:pt x="1658" y="1283"/>
                        <a:pt x="1658" y="823"/>
                      </a:cubicBezTo>
                      <a:cubicBezTo>
                        <a:pt x="1658" y="376"/>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599" name="Google Shape;4599;p66"/>
              <p:cNvGrpSpPr/>
              <p:nvPr/>
            </p:nvGrpSpPr>
            <p:grpSpPr>
              <a:xfrm>
                <a:off x="3973882" y="3779449"/>
                <a:ext cx="37776" cy="32357"/>
                <a:chOff x="3973882" y="3779449"/>
                <a:chExt cx="37776" cy="32357"/>
              </a:xfrm>
            </p:grpSpPr>
            <p:sp>
              <p:nvSpPr>
                <p:cNvPr id="4600" name="Google Shape;4600;p66"/>
                <p:cNvSpPr/>
                <p:nvPr/>
              </p:nvSpPr>
              <p:spPr>
                <a:xfrm>
                  <a:off x="3973882" y="3779449"/>
                  <a:ext cx="37776" cy="32357"/>
                </a:xfrm>
                <a:custGeom>
                  <a:avLst/>
                  <a:gdLst/>
                  <a:ahLst/>
                  <a:cxnLst/>
                  <a:rect l="l" t="t" r="r" b="b"/>
                  <a:pathLst>
                    <a:path w="4803" h="4114" extrusionOk="0">
                      <a:moveTo>
                        <a:pt x="2730" y="0"/>
                      </a:moveTo>
                      <a:cubicBezTo>
                        <a:pt x="2226" y="0"/>
                        <a:pt x="1712" y="187"/>
                        <a:pt x="1294" y="605"/>
                      </a:cubicBezTo>
                      <a:cubicBezTo>
                        <a:pt x="0" y="1899"/>
                        <a:pt x="919" y="4113"/>
                        <a:pt x="2746" y="4113"/>
                      </a:cubicBezTo>
                      <a:cubicBezTo>
                        <a:pt x="3883" y="4113"/>
                        <a:pt x="4802" y="3194"/>
                        <a:pt x="4802" y="2069"/>
                      </a:cubicBezTo>
                      <a:cubicBezTo>
                        <a:pt x="4802" y="824"/>
                        <a:pt x="3787" y="0"/>
                        <a:pt x="273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1" name="Google Shape;4601;p66"/>
                <p:cNvSpPr/>
                <p:nvPr/>
              </p:nvSpPr>
              <p:spPr>
                <a:xfrm>
                  <a:off x="3989006" y="3789155"/>
                  <a:ext cx="13040" cy="13040"/>
                </a:xfrm>
                <a:custGeom>
                  <a:avLst/>
                  <a:gdLst/>
                  <a:ahLst/>
                  <a:cxnLst/>
                  <a:rect l="l" t="t" r="r" b="b"/>
                  <a:pathLst>
                    <a:path w="1658" h="1658" extrusionOk="0">
                      <a:moveTo>
                        <a:pt x="823" y="0"/>
                      </a:moveTo>
                      <a:cubicBezTo>
                        <a:pt x="363" y="0"/>
                        <a:pt x="0" y="375"/>
                        <a:pt x="0" y="823"/>
                      </a:cubicBezTo>
                      <a:cubicBezTo>
                        <a:pt x="0" y="1282"/>
                        <a:pt x="363" y="1657"/>
                        <a:pt x="823" y="1657"/>
                      </a:cubicBezTo>
                      <a:cubicBezTo>
                        <a:pt x="1283" y="1657"/>
                        <a:pt x="1658" y="1282"/>
                        <a:pt x="1658" y="823"/>
                      </a:cubicBezTo>
                      <a:cubicBezTo>
                        <a:pt x="1658" y="375"/>
                        <a:pt x="1283" y="0"/>
                        <a:pt x="82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02" name="Google Shape;4602;p66"/>
              <p:cNvGrpSpPr/>
              <p:nvPr/>
            </p:nvGrpSpPr>
            <p:grpSpPr>
              <a:xfrm>
                <a:off x="4073398" y="3838028"/>
                <a:ext cx="37776" cy="32380"/>
                <a:chOff x="4073398" y="3838028"/>
                <a:chExt cx="37776" cy="32380"/>
              </a:xfrm>
            </p:grpSpPr>
            <p:sp>
              <p:nvSpPr>
                <p:cNvPr id="4603" name="Google Shape;4603;p66"/>
                <p:cNvSpPr/>
                <p:nvPr/>
              </p:nvSpPr>
              <p:spPr>
                <a:xfrm>
                  <a:off x="4073398" y="3838028"/>
                  <a:ext cx="37776" cy="32380"/>
                </a:xfrm>
                <a:custGeom>
                  <a:avLst/>
                  <a:gdLst/>
                  <a:ahLst/>
                  <a:cxnLst/>
                  <a:rect l="l" t="t" r="r" b="b"/>
                  <a:pathLst>
                    <a:path w="4803" h="4117" extrusionOk="0">
                      <a:moveTo>
                        <a:pt x="2737" y="1"/>
                      </a:moveTo>
                      <a:cubicBezTo>
                        <a:pt x="2231" y="1"/>
                        <a:pt x="1714" y="189"/>
                        <a:pt x="1295" y="609"/>
                      </a:cubicBezTo>
                      <a:cubicBezTo>
                        <a:pt x="0" y="1891"/>
                        <a:pt x="920" y="4105"/>
                        <a:pt x="2746" y="4117"/>
                      </a:cubicBezTo>
                      <a:cubicBezTo>
                        <a:pt x="3883" y="4105"/>
                        <a:pt x="4803" y="3185"/>
                        <a:pt x="4803" y="2060"/>
                      </a:cubicBezTo>
                      <a:cubicBezTo>
                        <a:pt x="4803" y="818"/>
                        <a:pt x="3792" y="1"/>
                        <a:pt x="27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4" name="Google Shape;4604;p66"/>
                <p:cNvSpPr/>
                <p:nvPr/>
              </p:nvSpPr>
              <p:spPr>
                <a:xfrm>
                  <a:off x="4088428" y="3847663"/>
                  <a:ext cx="13040" cy="13040"/>
                </a:xfrm>
                <a:custGeom>
                  <a:avLst/>
                  <a:gdLst/>
                  <a:ahLst/>
                  <a:cxnLst/>
                  <a:rect l="l" t="t" r="r" b="b"/>
                  <a:pathLst>
                    <a:path w="1658" h="1658" extrusionOk="0">
                      <a:moveTo>
                        <a:pt x="835" y="1"/>
                      </a:moveTo>
                      <a:cubicBezTo>
                        <a:pt x="376" y="1"/>
                        <a:pt x="1" y="376"/>
                        <a:pt x="1" y="835"/>
                      </a:cubicBezTo>
                      <a:cubicBezTo>
                        <a:pt x="1" y="1283"/>
                        <a:pt x="376" y="1658"/>
                        <a:pt x="835" y="1658"/>
                      </a:cubicBezTo>
                      <a:cubicBezTo>
                        <a:pt x="1295" y="1658"/>
                        <a:pt x="1658" y="1283"/>
                        <a:pt x="1658" y="835"/>
                      </a:cubicBezTo>
                      <a:cubicBezTo>
                        <a:pt x="1658" y="376"/>
                        <a:pt x="1295" y="1"/>
                        <a:pt x="83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05" name="Google Shape;4605;p66"/>
              <p:cNvGrpSpPr/>
              <p:nvPr/>
            </p:nvGrpSpPr>
            <p:grpSpPr>
              <a:xfrm>
                <a:off x="4342672" y="4144496"/>
                <a:ext cx="37752" cy="32364"/>
                <a:chOff x="4342672" y="4144496"/>
                <a:chExt cx="37752" cy="32364"/>
              </a:xfrm>
            </p:grpSpPr>
            <p:sp>
              <p:nvSpPr>
                <p:cNvPr id="4606" name="Google Shape;4606;p66"/>
                <p:cNvSpPr/>
                <p:nvPr/>
              </p:nvSpPr>
              <p:spPr>
                <a:xfrm>
                  <a:off x="4342672" y="4144496"/>
                  <a:ext cx="37752" cy="32364"/>
                </a:xfrm>
                <a:custGeom>
                  <a:avLst/>
                  <a:gdLst/>
                  <a:ahLst/>
                  <a:cxnLst/>
                  <a:rect l="l" t="t" r="r" b="b"/>
                  <a:pathLst>
                    <a:path w="4800" h="4115" extrusionOk="0">
                      <a:moveTo>
                        <a:pt x="2729" y="1"/>
                      </a:moveTo>
                      <a:cubicBezTo>
                        <a:pt x="2224" y="1"/>
                        <a:pt x="1710" y="188"/>
                        <a:pt x="1291" y="606"/>
                      </a:cubicBezTo>
                      <a:cubicBezTo>
                        <a:pt x="1" y="1897"/>
                        <a:pt x="912" y="4114"/>
                        <a:pt x="2740" y="4114"/>
                      </a:cubicBezTo>
                      <a:cubicBezTo>
                        <a:pt x="2745" y="4114"/>
                        <a:pt x="2750" y="4114"/>
                        <a:pt x="2755" y="4114"/>
                      </a:cubicBezTo>
                      <a:cubicBezTo>
                        <a:pt x="3880" y="4114"/>
                        <a:pt x="4800" y="3195"/>
                        <a:pt x="4800" y="2058"/>
                      </a:cubicBezTo>
                      <a:cubicBezTo>
                        <a:pt x="4800" y="822"/>
                        <a:pt x="3785" y="1"/>
                        <a:pt x="2729"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07" name="Google Shape;4607;p66"/>
                <p:cNvSpPr/>
                <p:nvPr/>
              </p:nvSpPr>
              <p:spPr>
                <a:xfrm>
                  <a:off x="4355586" y="4154209"/>
                  <a:ext cx="15227" cy="13040"/>
                </a:xfrm>
                <a:custGeom>
                  <a:avLst/>
                  <a:gdLst/>
                  <a:ahLst/>
                  <a:cxnLst/>
                  <a:rect l="l" t="t" r="r" b="b"/>
                  <a:pathLst>
                    <a:path w="1936" h="1658" extrusionOk="0">
                      <a:moveTo>
                        <a:pt x="1101" y="0"/>
                      </a:moveTo>
                      <a:cubicBezTo>
                        <a:pt x="363" y="0"/>
                        <a:pt x="0" y="895"/>
                        <a:pt x="520" y="1416"/>
                      </a:cubicBezTo>
                      <a:cubicBezTo>
                        <a:pt x="688" y="1583"/>
                        <a:pt x="893" y="1657"/>
                        <a:pt x="1096" y="1657"/>
                      </a:cubicBezTo>
                      <a:cubicBezTo>
                        <a:pt x="1523" y="1657"/>
                        <a:pt x="1936" y="1324"/>
                        <a:pt x="1936" y="823"/>
                      </a:cubicBezTo>
                      <a:cubicBezTo>
                        <a:pt x="1936" y="375"/>
                        <a:pt x="1561" y="0"/>
                        <a:pt x="110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08" name="Google Shape;4608;p66"/>
              <p:cNvGrpSpPr/>
              <p:nvPr/>
            </p:nvGrpSpPr>
            <p:grpSpPr>
              <a:xfrm>
                <a:off x="4406386" y="4056872"/>
                <a:ext cx="37783" cy="32364"/>
                <a:chOff x="4406386" y="4056872"/>
                <a:chExt cx="37783" cy="32364"/>
              </a:xfrm>
            </p:grpSpPr>
            <p:sp>
              <p:nvSpPr>
                <p:cNvPr id="4609" name="Google Shape;4609;p66"/>
                <p:cNvSpPr/>
                <p:nvPr/>
              </p:nvSpPr>
              <p:spPr>
                <a:xfrm>
                  <a:off x="4406386" y="4056872"/>
                  <a:ext cx="37783" cy="32364"/>
                </a:xfrm>
                <a:custGeom>
                  <a:avLst/>
                  <a:gdLst/>
                  <a:ahLst/>
                  <a:cxnLst/>
                  <a:rect l="l" t="t" r="r" b="b"/>
                  <a:pathLst>
                    <a:path w="4804" h="4115" extrusionOk="0">
                      <a:moveTo>
                        <a:pt x="2733" y="1"/>
                      </a:moveTo>
                      <a:cubicBezTo>
                        <a:pt x="2228" y="1"/>
                        <a:pt x="1714" y="188"/>
                        <a:pt x="1295" y="606"/>
                      </a:cubicBezTo>
                      <a:cubicBezTo>
                        <a:pt x="1" y="1900"/>
                        <a:pt x="920" y="4114"/>
                        <a:pt x="2747" y="4114"/>
                      </a:cubicBezTo>
                      <a:cubicBezTo>
                        <a:pt x="3884" y="4114"/>
                        <a:pt x="4803" y="3195"/>
                        <a:pt x="4803" y="2058"/>
                      </a:cubicBezTo>
                      <a:cubicBezTo>
                        <a:pt x="4803" y="821"/>
                        <a:pt x="3789" y="1"/>
                        <a:pt x="273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0" name="Google Shape;4610;p66"/>
                <p:cNvSpPr/>
                <p:nvPr/>
              </p:nvSpPr>
              <p:spPr>
                <a:xfrm>
                  <a:off x="4419332" y="4066577"/>
                  <a:ext cx="15227" cy="13017"/>
                </a:xfrm>
                <a:custGeom>
                  <a:avLst/>
                  <a:gdLst/>
                  <a:ahLst/>
                  <a:cxnLst/>
                  <a:rect l="l" t="t" r="r" b="b"/>
                  <a:pathLst>
                    <a:path w="1936" h="1655" extrusionOk="0">
                      <a:moveTo>
                        <a:pt x="1123" y="1"/>
                      </a:moveTo>
                      <a:cubicBezTo>
                        <a:pt x="1115" y="1"/>
                        <a:pt x="1108" y="1"/>
                        <a:pt x="1101" y="1"/>
                      </a:cubicBezTo>
                      <a:cubicBezTo>
                        <a:pt x="363" y="1"/>
                        <a:pt x="0" y="884"/>
                        <a:pt x="520" y="1404"/>
                      </a:cubicBezTo>
                      <a:cubicBezTo>
                        <a:pt x="689" y="1577"/>
                        <a:pt x="898" y="1655"/>
                        <a:pt x="1103" y="1655"/>
                      </a:cubicBezTo>
                      <a:cubicBezTo>
                        <a:pt x="1528" y="1655"/>
                        <a:pt x="1936" y="1322"/>
                        <a:pt x="1936" y="824"/>
                      </a:cubicBezTo>
                      <a:cubicBezTo>
                        <a:pt x="1936" y="371"/>
                        <a:pt x="1572" y="1"/>
                        <a:pt x="11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11" name="Google Shape;4611;p66"/>
              <p:cNvGrpSpPr/>
              <p:nvPr/>
            </p:nvGrpSpPr>
            <p:grpSpPr>
              <a:xfrm>
                <a:off x="4284416" y="4245254"/>
                <a:ext cx="37783" cy="32357"/>
                <a:chOff x="4284416" y="4245254"/>
                <a:chExt cx="37783" cy="32357"/>
              </a:xfrm>
            </p:grpSpPr>
            <p:sp>
              <p:nvSpPr>
                <p:cNvPr id="4612" name="Google Shape;4612;p66"/>
                <p:cNvSpPr/>
                <p:nvPr/>
              </p:nvSpPr>
              <p:spPr>
                <a:xfrm>
                  <a:off x="4284416" y="4245254"/>
                  <a:ext cx="37783" cy="32357"/>
                </a:xfrm>
                <a:custGeom>
                  <a:avLst/>
                  <a:gdLst/>
                  <a:ahLst/>
                  <a:cxnLst/>
                  <a:rect l="l" t="t" r="r" b="b"/>
                  <a:pathLst>
                    <a:path w="4804" h="4114" extrusionOk="0">
                      <a:moveTo>
                        <a:pt x="2732" y="0"/>
                      </a:moveTo>
                      <a:cubicBezTo>
                        <a:pt x="2228" y="0"/>
                        <a:pt x="1714" y="187"/>
                        <a:pt x="1295" y="606"/>
                      </a:cubicBezTo>
                      <a:cubicBezTo>
                        <a:pt x="1" y="1900"/>
                        <a:pt x="920" y="4114"/>
                        <a:pt x="2747" y="4114"/>
                      </a:cubicBezTo>
                      <a:cubicBezTo>
                        <a:pt x="3884" y="4114"/>
                        <a:pt x="4803" y="3194"/>
                        <a:pt x="4803" y="2057"/>
                      </a:cubicBezTo>
                      <a:cubicBezTo>
                        <a:pt x="4803" y="821"/>
                        <a:pt x="3789" y="0"/>
                        <a:pt x="273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3" name="Google Shape;4613;p66"/>
                <p:cNvSpPr/>
                <p:nvPr/>
              </p:nvSpPr>
              <p:spPr>
                <a:xfrm>
                  <a:off x="4299548" y="4254959"/>
                  <a:ext cx="13040" cy="13040"/>
                </a:xfrm>
                <a:custGeom>
                  <a:avLst/>
                  <a:gdLst/>
                  <a:ahLst/>
                  <a:cxnLst/>
                  <a:rect l="l" t="t" r="r" b="b"/>
                  <a:pathLst>
                    <a:path w="1658" h="1658" extrusionOk="0">
                      <a:moveTo>
                        <a:pt x="823" y="1"/>
                      </a:moveTo>
                      <a:cubicBezTo>
                        <a:pt x="363" y="1"/>
                        <a:pt x="0" y="364"/>
                        <a:pt x="0" y="823"/>
                      </a:cubicBezTo>
                      <a:cubicBezTo>
                        <a:pt x="0" y="1283"/>
                        <a:pt x="363" y="1658"/>
                        <a:pt x="823" y="1658"/>
                      </a:cubicBezTo>
                      <a:cubicBezTo>
                        <a:pt x="1283" y="1658"/>
                        <a:pt x="1658" y="1283"/>
                        <a:pt x="1658" y="823"/>
                      </a:cubicBezTo>
                      <a:cubicBezTo>
                        <a:pt x="1658" y="364"/>
                        <a:pt x="1283" y="1"/>
                        <a:pt x="82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14" name="Google Shape;4614;p66"/>
              <p:cNvGrpSpPr/>
              <p:nvPr/>
            </p:nvGrpSpPr>
            <p:grpSpPr>
              <a:xfrm>
                <a:off x="4219057" y="4331258"/>
                <a:ext cx="37776" cy="32364"/>
                <a:chOff x="4219057" y="4331258"/>
                <a:chExt cx="37776" cy="32364"/>
              </a:xfrm>
            </p:grpSpPr>
            <p:sp>
              <p:nvSpPr>
                <p:cNvPr id="4615" name="Google Shape;4615;p66"/>
                <p:cNvSpPr/>
                <p:nvPr/>
              </p:nvSpPr>
              <p:spPr>
                <a:xfrm>
                  <a:off x="4219057" y="4331258"/>
                  <a:ext cx="37776" cy="32364"/>
                </a:xfrm>
                <a:custGeom>
                  <a:avLst/>
                  <a:gdLst/>
                  <a:ahLst/>
                  <a:cxnLst/>
                  <a:rect l="l" t="t" r="r" b="b"/>
                  <a:pathLst>
                    <a:path w="4803" h="4115" extrusionOk="0">
                      <a:moveTo>
                        <a:pt x="2732" y="1"/>
                      </a:moveTo>
                      <a:cubicBezTo>
                        <a:pt x="2227" y="1"/>
                        <a:pt x="1713" y="188"/>
                        <a:pt x="1295" y="606"/>
                      </a:cubicBezTo>
                      <a:cubicBezTo>
                        <a:pt x="0" y="1901"/>
                        <a:pt x="920" y="4114"/>
                        <a:pt x="2746" y="4114"/>
                      </a:cubicBezTo>
                      <a:cubicBezTo>
                        <a:pt x="3883" y="4114"/>
                        <a:pt x="4803" y="3195"/>
                        <a:pt x="4803" y="2058"/>
                      </a:cubicBezTo>
                      <a:cubicBezTo>
                        <a:pt x="4803" y="821"/>
                        <a:pt x="3789" y="1"/>
                        <a:pt x="273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6" name="Google Shape;4616;p66"/>
                <p:cNvSpPr/>
                <p:nvPr/>
              </p:nvSpPr>
              <p:spPr>
                <a:xfrm>
                  <a:off x="4231995" y="4340971"/>
                  <a:ext cx="15235" cy="13040"/>
                </a:xfrm>
                <a:custGeom>
                  <a:avLst/>
                  <a:gdLst/>
                  <a:ahLst/>
                  <a:cxnLst/>
                  <a:rect l="l" t="t" r="r" b="b"/>
                  <a:pathLst>
                    <a:path w="1937" h="1658" extrusionOk="0">
                      <a:moveTo>
                        <a:pt x="1113" y="0"/>
                      </a:moveTo>
                      <a:cubicBezTo>
                        <a:pt x="363" y="0"/>
                        <a:pt x="1" y="895"/>
                        <a:pt x="521" y="1416"/>
                      </a:cubicBezTo>
                      <a:cubicBezTo>
                        <a:pt x="688" y="1583"/>
                        <a:pt x="894" y="1657"/>
                        <a:pt x="1096" y="1657"/>
                      </a:cubicBezTo>
                      <a:cubicBezTo>
                        <a:pt x="1524" y="1657"/>
                        <a:pt x="1936" y="1324"/>
                        <a:pt x="1936" y="823"/>
                      </a:cubicBezTo>
                      <a:cubicBezTo>
                        <a:pt x="1936" y="375"/>
                        <a:pt x="1561" y="0"/>
                        <a:pt x="1113"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17" name="Google Shape;4617;p66"/>
              <p:cNvGrpSpPr/>
              <p:nvPr/>
            </p:nvGrpSpPr>
            <p:grpSpPr>
              <a:xfrm>
                <a:off x="4204122" y="4141688"/>
                <a:ext cx="33497" cy="28699"/>
                <a:chOff x="4204122" y="4141688"/>
                <a:chExt cx="33497" cy="28699"/>
              </a:xfrm>
            </p:grpSpPr>
            <p:sp>
              <p:nvSpPr>
                <p:cNvPr id="4618" name="Google Shape;4618;p66"/>
                <p:cNvSpPr/>
                <p:nvPr/>
              </p:nvSpPr>
              <p:spPr>
                <a:xfrm>
                  <a:off x="4204122" y="4141688"/>
                  <a:ext cx="33497" cy="28699"/>
                </a:xfrm>
                <a:custGeom>
                  <a:avLst/>
                  <a:gdLst/>
                  <a:ahLst/>
                  <a:cxnLst/>
                  <a:rect l="l" t="t" r="r" b="b"/>
                  <a:pathLst>
                    <a:path w="4259" h="3649" extrusionOk="0">
                      <a:moveTo>
                        <a:pt x="2427" y="1"/>
                      </a:moveTo>
                      <a:cubicBezTo>
                        <a:pt x="1979" y="1"/>
                        <a:pt x="1522" y="168"/>
                        <a:pt x="1149" y="540"/>
                      </a:cubicBezTo>
                      <a:cubicBezTo>
                        <a:pt x="0" y="1677"/>
                        <a:pt x="811" y="3649"/>
                        <a:pt x="2432" y="3649"/>
                      </a:cubicBezTo>
                      <a:cubicBezTo>
                        <a:pt x="3448" y="3649"/>
                        <a:pt x="4258" y="2826"/>
                        <a:pt x="4258" y="1822"/>
                      </a:cubicBezTo>
                      <a:cubicBezTo>
                        <a:pt x="4258" y="726"/>
                        <a:pt x="3363"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19" name="Google Shape;4619;p66"/>
                <p:cNvSpPr/>
                <p:nvPr/>
              </p:nvSpPr>
              <p:spPr>
                <a:xfrm>
                  <a:off x="4216965" y="4151259"/>
                  <a:ext cx="11042" cy="9399"/>
                </a:xfrm>
                <a:custGeom>
                  <a:avLst/>
                  <a:gdLst/>
                  <a:ahLst/>
                  <a:cxnLst/>
                  <a:rect l="l" t="t" r="r" b="b"/>
                  <a:pathLst>
                    <a:path w="1404" h="1195" extrusionOk="0">
                      <a:moveTo>
                        <a:pt x="799" y="0"/>
                      </a:moveTo>
                      <a:cubicBezTo>
                        <a:pt x="266" y="0"/>
                        <a:pt x="0" y="641"/>
                        <a:pt x="375" y="1016"/>
                      </a:cubicBezTo>
                      <a:cubicBezTo>
                        <a:pt x="498" y="1139"/>
                        <a:pt x="650" y="1195"/>
                        <a:pt x="799" y="1195"/>
                      </a:cubicBezTo>
                      <a:cubicBezTo>
                        <a:pt x="1103" y="1195"/>
                        <a:pt x="1395" y="963"/>
                        <a:pt x="1404" y="605"/>
                      </a:cubicBezTo>
                      <a:cubicBezTo>
                        <a:pt x="1404" y="278"/>
                        <a:pt x="1137"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20" name="Google Shape;4620;p66"/>
              <p:cNvGrpSpPr/>
              <p:nvPr/>
            </p:nvGrpSpPr>
            <p:grpSpPr>
              <a:xfrm>
                <a:off x="4301546" y="4003869"/>
                <a:ext cx="38916" cy="33324"/>
                <a:chOff x="4301546" y="4003869"/>
                <a:chExt cx="38916" cy="33324"/>
              </a:xfrm>
            </p:grpSpPr>
            <p:sp>
              <p:nvSpPr>
                <p:cNvPr id="4621" name="Google Shape;4621;p66"/>
                <p:cNvSpPr/>
                <p:nvPr/>
              </p:nvSpPr>
              <p:spPr>
                <a:xfrm>
                  <a:off x="4301546" y="4003869"/>
                  <a:ext cx="38916" cy="33324"/>
                </a:xfrm>
                <a:custGeom>
                  <a:avLst/>
                  <a:gdLst/>
                  <a:ahLst/>
                  <a:cxnLst/>
                  <a:rect l="l" t="t" r="r" b="b"/>
                  <a:pathLst>
                    <a:path w="4948" h="4237" extrusionOk="0">
                      <a:moveTo>
                        <a:pt x="2818" y="1"/>
                      </a:moveTo>
                      <a:cubicBezTo>
                        <a:pt x="2295" y="1"/>
                        <a:pt x="1763" y="196"/>
                        <a:pt x="1331" y="631"/>
                      </a:cubicBezTo>
                      <a:cubicBezTo>
                        <a:pt x="0" y="1962"/>
                        <a:pt x="944" y="4236"/>
                        <a:pt x="2831" y="4236"/>
                      </a:cubicBezTo>
                      <a:cubicBezTo>
                        <a:pt x="3992" y="4236"/>
                        <a:pt x="4948" y="3293"/>
                        <a:pt x="4948" y="2119"/>
                      </a:cubicBezTo>
                      <a:cubicBezTo>
                        <a:pt x="4948" y="845"/>
                        <a:pt x="3905" y="1"/>
                        <a:pt x="281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2" name="Google Shape;4622;p66"/>
                <p:cNvSpPr/>
                <p:nvPr/>
              </p:nvSpPr>
              <p:spPr>
                <a:xfrm>
                  <a:off x="4314389" y="4013590"/>
                  <a:ext cx="16469" cy="14000"/>
                </a:xfrm>
                <a:custGeom>
                  <a:avLst/>
                  <a:gdLst/>
                  <a:ahLst/>
                  <a:cxnLst/>
                  <a:rect l="l" t="t" r="r" b="b"/>
                  <a:pathLst>
                    <a:path w="2094" h="1780" extrusionOk="0">
                      <a:moveTo>
                        <a:pt x="1220" y="0"/>
                      </a:moveTo>
                      <a:cubicBezTo>
                        <a:pt x="1213" y="0"/>
                        <a:pt x="1205" y="0"/>
                        <a:pt x="1198" y="0"/>
                      </a:cubicBezTo>
                      <a:cubicBezTo>
                        <a:pt x="400" y="0"/>
                        <a:pt x="0" y="956"/>
                        <a:pt x="569" y="1512"/>
                      </a:cubicBezTo>
                      <a:cubicBezTo>
                        <a:pt x="750" y="1697"/>
                        <a:pt x="974" y="1780"/>
                        <a:pt x="1194" y="1780"/>
                      </a:cubicBezTo>
                      <a:cubicBezTo>
                        <a:pt x="1652" y="1780"/>
                        <a:pt x="2093" y="1422"/>
                        <a:pt x="2093" y="883"/>
                      </a:cubicBezTo>
                      <a:cubicBezTo>
                        <a:pt x="2093" y="395"/>
                        <a:pt x="1706" y="0"/>
                        <a:pt x="122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23" name="Google Shape;4623;p66"/>
              <p:cNvGrpSpPr/>
              <p:nvPr/>
            </p:nvGrpSpPr>
            <p:grpSpPr>
              <a:xfrm>
                <a:off x="4210681" y="3924669"/>
                <a:ext cx="36549" cy="31366"/>
                <a:chOff x="4210681" y="3924669"/>
                <a:chExt cx="36549" cy="31366"/>
              </a:xfrm>
            </p:grpSpPr>
            <p:sp>
              <p:nvSpPr>
                <p:cNvPr id="4624" name="Google Shape;4624;p66"/>
                <p:cNvSpPr/>
                <p:nvPr/>
              </p:nvSpPr>
              <p:spPr>
                <a:xfrm>
                  <a:off x="4210681" y="3924669"/>
                  <a:ext cx="36549" cy="31366"/>
                </a:xfrm>
                <a:custGeom>
                  <a:avLst/>
                  <a:gdLst/>
                  <a:ahLst/>
                  <a:cxnLst/>
                  <a:rect l="l" t="t" r="r" b="b"/>
                  <a:pathLst>
                    <a:path w="4647" h="3988" extrusionOk="0">
                      <a:moveTo>
                        <a:pt x="2642" y="0"/>
                      </a:moveTo>
                      <a:cubicBezTo>
                        <a:pt x="2152" y="0"/>
                        <a:pt x="1654" y="182"/>
                        <a:pt x="1247" y="589"/>
                      </a:cubicBezTo>
                      <a:cubicBezTo>
                        <a:pt x="1" y="1847"/>
                        <a:pt x="884" y="3988"/>
                        <a:pt x="2662" y="3988"/>
                      </a:cubicBezTo>
                      <a:cubicBezTo>
                        <a:pt x="3751" y="3976"/>
                        <a:pt x="4646" y="3093"/>
                        <a:pt x="4646" y="1992"/>
                      </a:cubicBezTo>
                      <a:cubicBezTo>
                        <a:pt x="4646" y="797"/>
                        <a:pt x="3665" y="0"/>
                        <a:pt x="264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5" name="Google Shape;4625;p66"/>
                <p:cNvSpPr/>
                <p:nvPr/>
              </p:nvSpPr>
              <p:spPr>
                <a:xfrm>
                  <a:off x="4225625" y="3934335"/>
                  <a:ext cx="11994" cy="11994"/>
                </a:xfrm>
                <a:custGeom>
                  <a:avLst/>
                  <a:gdLst/>
                  <a:ahLst/>
                  <a:cxnLst/>
                  <a:rect l="l" t="t" r="r" b="b"/>
                  <a:pathLst>
                    <a:path w="1525" h="1525" extrusionOk="0">
                      <a:moveTo>
                        <a:pt x="762" y="1"/>
                      </a:moveTo>
                      <a:cubicBezTo>
                        <a:pt x="339" y="1"/>
                        <a:pt x="0" y="339"/>
                        <a:pt x="0" y="763"/>
                      </a:cubicBezTo>
                      <a:cubicBezTo>
                        <a:pt x="0" y="1186"/>
                        <a:pt x="339" y="1525"/>
                        <a:pt x="762" y="1525"/>
                      </a:cubicBezTo>
                      <a:cubicBezTo>
                        <a:pt x="1173" y="1525"/>
                        <a:pt x="1524" y="1186"/>
                        <a:pt x="1524" y="763"/>
                      </a:cubicBezTo>
                      <a:cubicBezTo>
                        <a:pt x="1524" y="339"/>
                        <a:pt x="1173" y="1"/>
                        <a:pt x="76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26" name="Google Shape;4626;p66"/>
              <p:cNvGrpSpPr/>
              <p:nvPr/>
            </p:nvGrpSpPr>
            <p:grpSpPr>
              <a:xfrm>
                <a:off x="3987771" y="3628874"/>
                <a:ext cx="31499" cy="26993"/>
                <a:chOff x="3987771" y="3628874"/>
                <a:chExt cx="31499" cy="26993"/>
              </a:xfrm>
            </p:grpSpPr>
            <p:sp>
              <p:nvSpPr>
                <p:cNvPr id="4627" name="Google Shape;4627;p66"/>
                <p:cNvSpPr/>
                <p:nvPr/>
              </p:nvSpPr>
              <p:spPr>
                <a:xfrm>
                  <a:off x="3987771" y="3628874"/>
                  <a:ext cx="31499" cy="26993"/>
                </a:xfrm>
                <a:custGeom>
                  <a:avLst/>
                  <a:gdLst/>
                  <a:ahLst/>
                  <a:cxnLst/>
                  <a:rect l="l" t="t" r="r" b="b"/>
                  <a:pathLst>
                    <a:path w="4005" h="3432" extrusionOk="0">
                      <a:moveTo>
                        <a:pt x="2284" y="0"/>
                      </a:moveTo>
                      <a:cubicBezTo>
                        <a:pt x="1865" y="0"/>
                        <a:pt x="1437" y="156"/>
                        <a:pt x="1089" y="504"/>
                      </a:cubicBezTo>
                      <a:cubicBezTo>
                        <a:pt x="0" y="1581"/>
                        <a:pt x="774" y="3432"/>
                        <a:pt x="2299" y="3432"/>
                      </a:cubicBezTo>
                      <a:cubicBezTo>
                        <a:pt x="3242" y="3419"/>
                        <a:pt x="4004" y="2657"/>
                        <a:pt x="4004" y="1714"/>
                      </a:cubicBezTo>
                      <a:cubicBezTo>
                        <a:pt x="4004" y="682"/>
                        <a:pt x="3162" y="0"/>
                        <a:pt x="228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28" name="Google Shape;4628;p66"/>
                <p:cNvSpPr/>
                <p:nvPr/>
              </p:nvSpPr>
              <p:spPr>
                <a:xfrm>
                  <a:off x="4000709" y="3638540"/>
                  <a:ext cx="8856" cy="7605"/>
                </a:xfrm>
                <a:custGeom>
                  <a:avLst/>
                  <a:gdLst/>
                  <a:ahLst/>
                  <a:cxnLst/>
                  <a:rect l="l" t="t" r="r" b="b"/>
                  <a:pathLst>
                    <a:path w="1126" h="967" extrusionOk="0">
                      <a:moveTo>
                        <a:pt x="641" y="1"/>
                      </a:moveTo>
                      <a:cubicBezTo>
                        <a:pt x="218" y="1"/>
                        <a:pt x="0" y="521"/>
                        <a:pt x="303" y="823"/>
                      </a:cubicBezTo>
                      <a:cubicBezTo>
                        <a:pt x="402" y="922"/>
                        <a:pt x="524" y="967"/>
                        <a:pt x="643" y="967"/>
                      </a:cubicBezTo>
                      <a:cubicBezTo>
                        <a:pt x="890" y="967"/>
                        <a:pt x="1125" y="778"/>
                        <a:pt x="1125" y="485"/>
                      </a:cubicBezTo>
                      <a:cubicBezTo>
                        <a:pt x="1125" y="219"/>
                        <a:pt x="908" y="1"/>
                        <a:pt x="64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29" name="Google Shape;4629;p66"/>
              <p:cNvGrpSpPr/>
              <p:nvPr/>
            </p:nvGrpSpPr>
            <p:grpSpPr>
              <a:xfrm>
                <a:off x="4087382" y="3775674"/>
                <a:ext cx="31405" cy="26898"/>
                <a:chOff x="4087382" y="3775674"/>
                <a:chExt cx="31405" cy="26898"/>
              </a:xfrm>
            </p:grpSpPr>
            <p:sp>
              <p:nvSpPr>
                <p:cNvPr id="4630" name="Google Shape;4630;p66"/>
                <p:cNvSpPr/>
                <p:nvPr/>
              </p:nvSpPr>
              <p:spPr>
                <a:xfrm>
                  <a:off x="4087382" y="3775674"/>
                  <a:ext cx="31405" cy="26898"/>
                </a:xfrm>
                <a:custGeom>
                  <a:avLst/>
                  <a:gdLst/>
                  <a:ahLst/>
                  <a:cxnLst/>
                  <a:rect l="l" t="t" r="r" b="b"/>
                  <a:pathLst>
                    <a:path w="3993" h="3420" extrusionOk="0">
                      <a:moveTo>
                        <a:pt x="2273" y="0"/>
                      </a:moveTo>
                      <a:cubicBezTo>
                        <a:pt x="1853" y="0"/>
                        <a:pt x="1425" y="156"/>
                        <a:pt x="1077" y="504"/>
                      </a:cubicBezTo>
                      <a:cubicBezTo>
                        <a:pt x="0" y="1581"/>
                        <a:pt x="750" y="3420"/>
                        <a:pt x="2275" y="3420"/>
                      </a:cubicBezTo>
                      <a:cubicBezTo>
                        <a:pt x="3230" y="3420"/>
                        <a:pt x="3992" y="2658"/>
                        <a:pt x="3992" y="1714"/>
                      </a:cubicBezTo>
                      <a:cubicBezTo>
                        <a:pt x="3992" y="683"/>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1" name="Google Shape;4631;p66"/>
                <p:cNvSpPr/>
                <p:nvPr/>
              </p:nvSpPr>
              <p:spPr>
                <a:xfrm>
                  <a:off x="4101460" y="3785348"/>
                  <a:ext cx="7621" cy="7613"/>
                </a:xfrm>
                <a:custGeom>
                  <a:avLst/>
                  <a:gdLst/>
                  <a:ahLst/>
                  <a:cxnLst/>
                  <a:rect l="l" t="t" r="r" b="b"/>
                  <a:pathLst>
                    <a:path w="969" h="968" extrusionOk="0">
                      <a:moveTo>
                        <a:pt x="485" y="0"/>
                      </a:moveTo>
                      <a:cubicBezTo>
                        <a:pt x="219" y="0"/>
                        <a:pt x="1" y="218"/>
                        <a:pt x="1" y="484"/>
                      </a:cubicBezTo>
                      <a:cubicBezTo>
                        <a:pt x="1" y="750"/>
                        <a:pt x="219" y="968"/>
                        <a:pt x="485" y="968"/>
                      </a:cubicBezTo>
                      <a:cubicBezTo>
                        <a:pt x="751" y="968"/>
                        <a:pt x="969" y="750"/>
                        <a:pt x="969" y="484"/>
                      </a:cubicBezTo>
                      <a:cubicBezTo>
                        <a:pt x="969" y="218"/>
                        <a:pt x="751" y="0"/>
                        <a:pt x="48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32" name="Google Shape;4632;p66"/>
              <p:cNvGrpSpPr/>
              <p:nvPr/>
            </p:nvGrpSpPr>
            <p:grpSpPr>
              <a:xfrm>
                <a:off x="4118873" y="3856637"/>
                <a:ext cx="31405" cy="26906"/>
                <a:chOff x="4118873" y="3856637"/>
                <a:chExt cx="31405" cy="26906"/>
              </a:xfrm>
            </p:grpSpPr>
            <p:sp>
              <p:nvSpPr>
                <p:cNvPr id="4633" name="Google Shape;4633;p66"/>
                <p:cNvSpPr/>
                <p:nvPr/>
              </p:nvSpPr>
              <p:spPr>
                <a:xfrm>
                  <a:off x="4118873" y="3856637"/>
                  <a:ext cx="31405" cy="26906"/>
                </a:xfrm>
                <a:custGeom>
                  <a:avLst/>
                  <a:gdLst/>
                  <a:ahLst/>
                  <a:cxnLst/>
                  <a:rect l="l" t="t" r="r" b="b"/>
                  <a:pathLst>
                    <a:path w="3993" h="3421" extrusionOk="0">
                      <a:moveTo>
                        <a:pt x="2273" y="1"/>
                      </a:moveTo>
                      <a:cubicBezTo>
                        <a:pt x="1853" y="1"/>
                        <a:pt x="1425" y="157"/>
                        <a:pt x="1077" y="505"/>
                      </a:cubicBezTo>
                      <a:cubicBezTo>
                        <a:pt x="1" y="1581"/>
                        <a:pt x="763" y="3420"/>
                        <a:pt x="2287" y="3420"/>
                      </a:cubicBezTo>
                      <a:cubicBezTo>
                        <a:pt x="3230" y="3420"/>
                        <a:pt x="3992" y="2658"/>
                        <a:pt x="3992" y="1714"/>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4" name="Google Shape;4634;p66"/>
                <p:cNvSpPr/>
                <p:nvPr/>
              </p:nvSpPr>
              <p:spPr>
                <a:xfrm>
                  <a:off x="4133046" y="3866310"/>
                  <a:ext cx="7621" cy="7621"/>
                </a:xfrm>
                <a:custGeom>
                  <a:avLst/>
                  <a:gdLst/>
                  <a:ahLst/>
                  <a:cxnLst/>
                  <a:rect l="l" t="t" r="r" b="b"/>
                  <a:pathLst>
                    <a:path w="969" h="969" extrusionOk="0">
                      <a:moveTo>
                        <a:pt x="485" y="1"/>
                      </a:moveTo>
                      <a:cubicBezTo>
                        <a:pt x="219" y="1"/>
                        <a:pt x="1" y="218"/>
                        <a:pt x="1" y="484"/>
                      </a:cubicBezTo>
                      <a:cubicBezTo>
                        <a:pt x="1" y="751"/>
                        <a:pt x="219" y="968"/>
                        <a:pt x="485" y="968"/>
                      </a:cubicBezTo>
                      <a:cubicBezTo>
                        <a:pt x="751" y="968"/>
                        <a:pt x="969" y="751"/>
                        <a:pt x="969" y="484"/>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35" name="Google Shape;4635;p66"/>
              <p:cNvGrpSpPr/>
              <p:nvPr/>
            </p:nvGrpSpPr>
            <p:grpSpPr>
              <a:xfrm>
                <a:off x="4168541" y="3639523"/>
                <a:ext cx="31499" cy="26906"/>
                <a:chOff x="4168541" y="3639523"/>
                <a:chExt cx="31499" cy="26906"/>
              </a:xfrm>
            </p:grpSpPr>
            <p:sp>
              <p:nvSpPr>
                <p:cNvPr id="4636" name="Google Shape;4636;p66"/>
                <p:cNvSpPr/>
                <p:nvPr/>
              </p:nvSpPr>
              <p:spPr>
                <a:xfrm>
                  <a:off x="4168541" y="3639523"/>
                  <a:ext cx="31499" cy="26906"/>
                </a:xfrm>
                <a:custGeom>
                  <a:avLst/>
                  <a:gdLst/>
                  <a:ahLst/>
                  <a:cxnLst/>
                  <a:rect l="l" t="t" r="r" b="b"/>
                  <a:pathLst>
                    <a:path w="4005" h="3421" extrusionOk="0">
                      <a:moveTo>
                        <a:pt x="2284" y="1"/>
                      </a:moveTo>
                      <a:cubicBezTo>
                        <a:pt x="1865" y="1"/>
                        <a:pt x="1437" y="157"/>
                        <a:pt x="1089" y="505"/>
                      </a:cubicBezTo>
                      <a:cubicBezTo>
                        <a:pt x="0" y="1582"/>
                        <a:pt x="774" y="3420"/>
                        <a:pt x="2298" y="3420"/>
                      </a:cubicBezTo>
                      <a:cubicBezTo>
                        <a:pt x="3242" y="3420"/>
                        <a:pt x="4004" y="2658"/>
                        <a:pt x="4004" y="1715"/>
                      </a:cubicBezTo>
                      <a:cubicBezTo>
                        <a:pt x="4004" y="683"/>
                        <a:pt x="3162" y="1"/>
                        <a:pt x="228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37" name="Google Shape;4637;p66"/>
                <p:cNvSpPr/>
                <p:nvPr/>
              </p:nvSpPr>
              <p:spPr>
                <a:xfrm>
                  <a:off x="4182713" y="3649197"/>
                  <a:ext cx="7716" cy="7621"/>
                </a:xfrm>
                <a:custGeom>
                  <a:avLst/>
                  <a:gdLst/>
                  <a:ahLst/>
                  <a:cxnLst/>
                  <a:rect l="l" t="t" r="r" b="b"/>
                  <a:pathLst>
                    <a:path w="981" h="969" extrusionOk="0">
                      <a:moveTo>
                        <a:pt x="496" y="1"/>
                      </a:moveTo>
                      <a:cubicBezTo>
                        <a:pt x="218" y="1"/>
                        <a:pt x="0" y="218"/>
                        <a:pt x="0" y="485"/>
                      </a:cubicBezTo>
                      <a:cubicBezTo>
                        <a:pt x="0" y="751"/>
                        <a:pt x="218" y="968"/>
                        <a:pt x="496" y="968"/>
                      </a:cubicBezTo>
                      <a:cubicBezTo>
                        <a:pt x="763" y="968"/>
                        <a:pt x="980" y="751"/>
                        <a:pt x="980" y="485"/>
                      </a:cubicBezTo>
                      <a:cubicBezTo>
                        <a:pt x="980" y="218"/>
                        <a:pt x="763" y="1"/>
                        <a:pt x="49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38" name="Google Shape;4638;p66"/>
              <p:cNvGrpSpPr/>
              <p:nvPr/>
            </p:nvGrpSpPr>
            <p:grpSpPr>
              <a:xfrm>
                <a:off x="3965789" y="3393545"/>
                <a:ext cx="31405" cy="26945"/>
                <a:chOff x="3965789" y="3393545"/>
                <a:chExt cx="31405" cy="26945"/>
              </a:xfrm>
            </p:grpSpPr>
            <p:sp>
              <p:nvSpPr>
                <p:cNvPr id="4639" name="Google Shape;4639;p66"/>
                <p:cNvSpPr/>
                <p:nvPr/>
              </p:nvSpPr>
              <p:spPr>
                <a:xfrm>
                  <a:off x="3965789" y="3393545"/>
                  <a:ext cx="31405" cy="26945"/>
                </a:xfrm>
                <a:custGeom>
                  <a:avLst/>
                  <a:gdLst/>
                  <a:ahLst/>
                  <a:cxnLst/>
                  <a:rect l="l" t="t" r="r" b="b"/>
                  <a:pathLst>
                    <a:path w="3993" h="3426" extrusionOk="0">
                      <a:moveTo>
                        <a:pt x="2273" y="0"/>
                      </a:moveTo>
                      <a:cubicBezTo>
                        <a:pt x="1854" y="0"/>
                        <a:pt x="1426" y="158"/>
                        <a:pt x="1077" y="510"/>
                      </a:cubicBezTo>
                      <a:cubicBezTo>
                        <a:pt x="1" y="1586"/>
                        <a:pt x="763" y="3425"/>
                        <a:pt x="2287" y="3425"/>
                      </a:cubicBezTo>
                      <a:cubicBezTo>
                        <a:pt x="3231" y="3425"/>
                        <a:pt x="3993" y="2663"/>
                        <a:pt x="3993" y="1720"/>
                      </a:cubicBezTo>
                      <a:cubicBezTo>
                        <a:pt x="3993" y="688"/>
                        <a:pt x="3151" y="0"/>
                        <a:pt x="227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0" name="Google Shape;4640;p66"/>
                <p:cNvSpPr/>
                <p:nvPr/>
              </p:nvSpPr>
              <p:spPr>
                <a:xfrm>
                  <a:off x="3978632" y="3403259"/>
                  <a:ext cx="8950" cy="7590"/>
                </a:xfrm>
                <a:custGeom>
                  <a:avLst/>
                  <a:gdLst/>
                  <a:ahLst/>
                  <a:cxnLst/>
                  <a:rect l="l" t="t" r="r" b="b"/>
                  <a:pathLst>
                    <a:path w="1138" h="965" extrusionOk="0">
                      <a:moveTo>
                        <a:pt x="654" y="1"/>
                      </a:moveTo>
                      <a:cubicBezTo>
                        <a:pt x="219" y="1"/>
                        <a:pt x="1" y="509"/>
                        <a:pt x="315" y="823"/>
                      </a:cubicBezTo>
                      <a:cubicBezTo>
                        <a:pt x="413" y="921"/>
                        <a:pt x="533" y="964"/>
                        <a:pt x="651" y="964"/>
                      </a:cubicBezTo>
                      <a:cubicBezTo>
                        <a:pt x="899" y="964"/>
                        <a:pt x="1138" y="772"/>
                        <a:pt x="1138" y="485"/>
                      </a:cubicBezTo>
                      <a:cubicBezTo>
                        <a:pt x="1138" y="206"/>
                        <a:pt x="920" y="1"/>
                        <a:pt x="6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41" name="Google Shape;4641;p66"/>
              <p:cNvGrpSpPr/>
              <p:nvPr/>
            </p:nvGrpSpPr>
            <p:grpSpPr>
              <a:xfrm>
                <a:off x="3925166" y="3491008"/>
                <a:ext cx="31405" cy="27001"/>
                <a:chOff x="3925166" y="3491008"/>
                <a:chExt cx="31405" cy="27001"/>
              </a:xfrm>
            </p:grpSpPr>
            <p:sp>
              <p:nvSpPr>
                <p:cNvPr id="4642" name="Google Shape;4642;p66"/>
                <p:cNvSpPr/>
                <p:nvPr/>
              </p:nvSpPr>
              <p:spPr>
                <a:xfrm>
                  <a:off x="3925166" y="3491008"/>
                  <a:ext cx="31405" cy="27001"/>
                </a:xfrm>
                <a:custGeom>
                  <a:avLst/>
                  <a:gdLst/>
                  <a:ahLst/>
                  <a:cxnLst/>
                  <a:rect l="l" t="t" r="r" b="b"/>
                  <a:pathLst>
                    <a:path w="3993" h="3433" extrusionOk="0">
                      <a:moveTo>
                        <a:pt x="2273" y="1"/>
                      </a:moveTo>
                      <a:cubicBezTo>
                        <a:pt x="1853" y="1"/>
                        <a:pt x="1425" y="157"/>
                        <a:pt x="1077" y="505"/>
                      </a:cubicBezTo>
                      <a:cubicBezTo>
                        <a:pt x="0" y="1582"/>
                        <a:pt x="763" y="3432"/>
                        <a:pt x="2287" y="3432"/>
                      </a:cubicBezTo>
                      <a:cubicBezTo>
                        <a:pt x="3230" y="3432"/>
                        <a:pt x="3992" y="2658"/>
                        <a:pt x="3992" y="1715"/>
                      </a:cubicBezTo>
                      <a:cubicBezTo>
                        <a:pt x="3992" y="683"/>
                        <a:pt x="3151" y="1"/>
                        <a:pt x="227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3" name="Google Shape;4643;p66"/>
                <p:cNvSpPr/>
                <p:nvPr/>
              </p:nvSpPr>
              <p:spPr>
                <a:xfrm>
                  <a:off x="3939339" y="3500682"/>
                  <a:ext cx="7621" cy="7621"/>
                </a:xfrm>
                <a:custGeom>
                  <a:avLst/>
                  <a:gdLst/>
                  <a:ahLst/>
                  <a:cxnLst/>
                  <a:rect l="l" t="t" r="r" b="b"/>
                  <a:pathLst>
                    <a:path w="969" h="969" extrusionOk="0">
                      <a:moveTo>
                        <a:pt x="485" y="1"/>
                      </a:moveTo>
                      <a:cubicBezTo>
                        <a:pt x="219" y="1"/>
                        <a:pt x="1" y="218"/>
                        <a:pt x="1" y="485"/>
                      </a:cubicBezTo>
                      <a:cubicBezTo>
                        <a:pt x="1" y="751"/>
                        <a:pt x="219" y="968"/>
                        <a:pt x="485" y="968"/>
                      </a:cubicBezTo>
                      <a:cubicBezTo>
                        <a:pt x="751" y="968"/>
                        <a:pt x="969" y="751"/>
                        <a:pt x="969" y="485"/>
                      </a:cubicBezTo>
                      <a:cubicBezTo>
                        <a:pt x="969" y="218"/>
                        <a:pt x="751" y="1"/>
                        <a:pt x="48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44" name="Google Shape;4644;p66"/>
              <p:cNvGrpSpPr/>
              <p:nvPr/>
            </p:nvGrpSpPr>
            <p:grpSpPr>
              <a:xfrm>
                <a:off x="3682845" y="3340976"/>
                <a:ext cx="31397" cy="26898"/>
                <a:chOff x="3682845" y="3340976"/>
                <a:chExt cx="31397" cy="26898"/>
              </a:xfrm>
            </p:grpSpPr>
            <p:sp>
              <p:nvSpPr>
                <p:cNvPr id="4645" name="Google Shape;4645;p66"/>
                <p:cNvSpPr/>
                <p:nvPr/>
              </p:nvSpPr>
              <p:spPr>
                <a:xfrm>
                  <a:off x="3682845" y="3340976"/>
                  <a:ext cx="31397" cy="26898"/>
                </a:xfrm>
                <a:custGeom>
                  <a:avLst/>
                  <a:gdLst/>
                  <a:ahLst/>
                  <a:cxnLst/>
                  <a:rect l="l" t="t" r="r" b="b"/>
                  <a:pathLst>
                    <a:path w="3992" h="3420" extrusionOk="0">
                      <a:moveTo>
                        <a:pt x="2272" y="0"/>
                      </a:moveTo>
                      <a:cubicBezTo>
                        <a:pt x="1853" y="0"/>
                        <a:pt x="1425" y="156"/>
                        <a:pt x="1077" y="504"/>
                      </a:cubicBezTo>
                      <a:cubicBezTo>
                        <a:pt x="0" y="1581"/>
                        <a:pt x="762" y="3420"/>
                        <a:pt x="2286" y="3420"/>
                      </a:cubicBezTo>
                      <a:cubicBezTo>
                        <a:pt x="3230" y="3420"/>
                        <a:pt x="3992" y="2658"/>
                        <a:pt x="3992" y="1714"/>
                      </a:cubicBezTo>
                      <a:cubicBezTo>
                        <a:pt x="3992" y="683"/>
                        <a:pt x="3150" y="0"/>
                        <a:pt x="2272"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6" name="Google Shape;4646;p66"/>
                <p:cNvSpPr/>
                <p:nvPr/>
              </p:nvSpPr>
              <p:spPr>
                <a:xfrm>
                  <a:off x="3695783" y="3350650"/>
                  <a:ext cx="8856" cy="7645"/>
                </a:xfrm>
                <a:custGeom>
                  <a:avLst/>
                  <a:gdLst/>
                  <a:ahLst/>
                  <a:cxnLst/>
                  <a:rect l="l" t="t" r="r" b="b"/>
                  <a:pathLst>
                    <a:path w="1126" h="972" extrusionOk="0">
                      <a:moveTo>
                        <a:pt x="641" y="0"/>
                      </a:moveTo>
                      <a:cubicBezTo>
                        <a:pt x="206" y="0"/>
                        <a:pt x="0" y="520"/>
                        <a:pt x="303" y="823"/>
                      </a:cubicBezTo>
                      <a:cubicBezTo>
                        <a:pt x="401" y="926"/>
                        <a:pt x="524" y="972"/>
                        <a:pt x="643" y="972"/>
                      </a:cubicBezTo>
                      <a:cubicBezTo>
                        <a:pt x="890" y="972"/>
                        <a:pt x="1125" y="777"/>
                        <a:pt x="1125" y="484"/>
                      </a:cubicBezTo>
                      <a:cubicBezTo>
                        <a:pt x="1125" y="218"/>
                        <a:pt x="907" y="0"/>
                        <a:pt x="64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47" name="Google Shape;4647;p66"/>
              <p:cNvGrpSpPr/>
              <p:nvPr/>
            </p:nvGrpSpPr>
            <p:grpSpPr>
              <a:xfrm>
                <a:off x="3795393" y="3353725"/>
                <a:ext cx="31499" cy="26993"/>
                <a:chOff x="3795393" y="3353725"/>
                <a:chExt cx="31499" cy="26993"/>
              </a:xfrm>
            </p:grpSpPr>
            <p:sp>
              <p:nvSpPr>
                <p:cNvPr id="4648" name="Google Shape;4648;p66"/>
                <p:cNvSpPr/>
                <p:nvPr/>
              </p:nvSpPr>
              <p:spPr>
                <a:xfrm>
                  <a:off x="3795393" y="3353725"/>
                  <a:ext cx="31499" cy="26993"/>
                </a:xfrm>
                <a:custGeom>
                  <a:avLst/>
                  <a:gdLst/>
                  <a:ahLst/>
                  <a:cxnLst/>
                  <a:rect l="l" t="t" r="r" b="b"/>
                  <a:pathLst>
                    <a:path w="4005" h="3432" extrusionOk="0">
                      <a:moveTo>
                        <a:pt x="2285" y="0"/>
                      </a:moveTo>
                      <a:cubicBezTo>
                        <a:pt x="1865" y="0"/>
                        <a:pt x="1437" y="156"/>
                        <a:pt x="1089" y="504"/>
                      </a:cubicBezTo>
                      <a:cubicBezTo>
                        <a:pt x="0" y="1581"/>
                        <a:pt x="775" y="3432"/>
                        <a:pt x="2299" y="3432"/>
                      </a:cubicBezTo>
                      <a:cubicBezTo>
                        <a:pt x="3242" y="3432"/>
                        <a:pt x="4005" y="2658"/>
                        <a:pt x="4005" y="1714"/>
                      </a:cubicBezTo>
                      <a:cubicBezTo>
                        <a:pt x="4005" y="683"/>
                        <a:pt x="3163" y="0"/>
                        <a:pt x="228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49" name="Google Shape;4649;p66"/>
                <p:cNvSpPr/>
                <p:nvPr/>
              </p:nvSpPr>
              <p:spPr>
                <a:xfrm>
                  <a:off x="3809668" y="3363399"/>
                  <a:ext cx="7613" cy="7613"/>
                </a:xfrm>
                <a:custGeom>
                  <a:avLst/>
                  <a:gdLst/>
                  <a:ahLst/>
                  <a:cxnLst/>
                  <a:rect l="l" t="t" r="r" b="b"/>
                  <a:pathLst>
                    <a:path w="968" h="968" extrusionOk="0">
                      <a:moveTo>
                        <a:pt x="484" y="0"/>
                      </a:moveTo>
                      <a:cubicBezTo>
                        <a:pt x="206" y="0"/>
                        <a:pt x="0" y="218"/>
                        <a:pt x="0" y="484"/>
                      </a:cubicBezTo>
                      <a:cubicBezTo>
                        <a:pt x="0" y="750"/>
                        <a:pt x="206" y="968"/>
                        <a:pt x="484" y="968"/>
                      </a:cubicBezTo>
                      <a:cubicBezTo>
                        <a:pt x="750" y="968"/>
                        <a:pt x="968" y="750"/>
                        <a:pt x="968" y="484"/>
                      </a:cubicBezTo>
                      <a:cubicBezTo>
                        <a:pt x="968" y="218"/>
                        <a:pt x="750" y="0"/>
                        <a:pt x="484"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50" name="Google Shape;4650;p66"/>
              <p:cNvGrpSpPr/>
              <p:nvPr/>
            </p:nvGrpSpPr>
            <p:grpSpPr>
              <a:xfrm>
                <a:off x="4176909" y="4363221"/>
                <a:ext cx="38924" cy="33316"/>
                <a:chOff x="4176909" y="4363221"/>
                <a:chExt cx="38924" cy="33316"/>
              </a:xfrm>
            </p:grpSpPr>
            <p:sp>
              <p:nvSpPr>
                <p:cNvPr id="4651" name="Google Shape;4651;p66"/>
                <p:cNvSpPr/>
                <p:nvPr/>
              </p:nvSpPr>
              <p:spPr>
                <a:xfrm>
                  <a:off x="4176909" y="4363221"/>
                  <a:ext cx="38924" cy="33316"/>
                </a:xfrm>
                <a:custGeom>
                  <a:avLst/>
                  <a:gdLst/>
                  <a:ahLst/>
                  <a:cxnLst/>
                  <a:rect l="l" t="t" r="r" b="b"/>
                  <a:pathLst>
                    <a:path w="4949" h="4236" extrusionOk="0">
                      <a:moveTo>
                        <a:pt x="2823" y="0"/>
                      </a:moveTo>
                      <a:cubicBezTo>
                        <a:pt x="2301" y="0"/>
                        <a:pt x="1767" y="195"/>
                        <a:pt x="1331" y="631"/>
                      </a:cubicBezTo>
                      <a:cubicBezTo>
                        <a:pt x="1" y="1961"/>
                        <a:pt x="944" y="4236"/>
                        <a:pt x="2831" y="4236"/>
                      </a:cubicBezTo>
                      <a:cubicBezTo>
                        <a:pt x="4005" y="4236"/>
                        <a:pt x="4948" y="3292"/>
                        <a:pt x="4948" y="2119"/>
                      </a:cubicBezTo>
                      <a:cubicBezTo>
                        <a:pt x="4948" y="844"/>
                        <a:pt x="3911" y="0"/>
                        <a:pt x="282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2" name="Google Shape;4652;p66"/>
                <p:cNvSpPr/>
                <p:nvPr/>
              </p:nvSpPr>
              <p:spPr>
                <a:xfrm>
                  <a:off x="4192230" y="4372934"/>
                  <a:ext cx="13897" cy="13992"/>
                </a:xfrm>
                <a:custGeom>
                  <a:avLst/>
                  <a:gdLst/>
                  <a:ahLst/>
                  <a:cxnLst/>
                  <a:rect l="l" t="t" r="r" b="b"/>
                  <a:pathLst>
                    <a:path w="1767" h="1779" extrusionOk="0">
                      <a:moveTo>
                        <a:pt x="883" y="1"/>
                      </a:moveTo>
                      <a:cubicBezTo>
                        <a:pt x="399" y="1"/>
                        <a:pt x="0" y="400"/>
                        <a:pt x="0" y="896"/>
                      </a:cubicBezTo>
                      <a:cubicBezTo>
                        <a:pt x="0" y="1380"/>
                        <a:pt x="399" y="1779"/>
                        <a:pt x="883" y="1779"/>
                      </a:cubicBezTo>
                      <a:cubicBezTo>
                        <a:pt x="1379" y="1779"/>
                        <a:pt x="1766" y="1380"/>
                        <a:pt x="1766" y="896"/>
                      </a:cubicBezTo>
                      <a:cubicBezTo>
                        <a:pt x="1766" y="400"/>
                        <a:pt x="1379" y="1"/>
                        <a:pt x="88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53" name="Google Shape;4653;p66"/>
              <p:cNvGrpSpPr/>
              <p:nvPr/>
            </p:nvGrpSpPr>
            <p:grpSpPr>
              <a:xfrm>
                <a:off x="4226191" y="4007660"/>
                <a:ext cx="33560" cy="28770"/>
                <a:chOff x="4226191" y="4007660"/>
                <a:chExt cx="33560" cy="28770"/>
              </a:xfrm>
            </p:grpSpPr>
            <p:sp>
              <p:nvSpPr>
                <p:cNvPr id="4654" name="Google Shape;4654;p66"/>
                <p:cNvSpPr/>
                <p:nvPr/>
              </p:nvSpPr>
              <p:spPr>
                <a:xfrm>
                  <a:off x="4226191" y="4007660"/>
                  <a:ext cx="33560" cy="28770"/>
                </a:xfrm>
                <a:custGeom>
                  <a:avLst/>
                  <a:gdLst/>
                  <a:ahLst/>
                  <a:cxnLst/>
                  <a:rect l="l" t="t" r="r" b="b"/>
                  <a:pathLst>
                    <a:path w="4267" h="3658" extrusionOk="0">
                      <a:moveTo>
                        <a:pt x="2427" y="1"/>
                      </a:moveTo>
                      <a:cubicBezTo>
                        <a:pt x="1980" y="1"/>
                        <a:pt x="1524" y="167"/>
                        <a:pt x="1150" y="537"/>
                      </a:cubicBezTo>
                      <a:cubicBezTo>
                        <a:pt x="1" y="1686"/>
                        <a:pt x="811" y="3645"/>
                        <a:pt x="2444" y="3658"/>
                      </a:cubicBezTo>
                      <a:cubicBezTo>
                        <a:pt x="3436" y="3645"/>
                        <a:pt x="4259" y="2835"/>
                        <a:pt x="4259" y="1843"/>
                      </a:cubicBezTo>
                      <a:cubicBezTo>
                        <a:pt x="4267" y="736"/>
                        <a:pt x="3369" y="1"/>
                        <a:pt x="242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5" name="Google Shape;4655;p66"/>
                <p:cNvSpPr/>
                <p:nvPr/>
              </p:nvSpPr>
              <p:spPr>
                <a:xfrm>
                  <a:off x="4239129" y="4017397"/>
                  <a:ext cx="10948" cy="9383"/>
                </a:xfrm>
                <a:custGeom>
                  <a:avLst/>
                  <a:gdLst/>
                  <a:ahLst/>
                  <a:cxnLst/>
                  <a:rect l="l" t="t" r="r" b="b"/>
                  <a:pathLst>
                    <a:path w="1392" h="1193" extrusionOk="0">
                      <a:moveTo>
                        <a:pt x="787" y="0"/>
                      </a:moveTo>
                      <a:cubicBezTo>
                        <a:pt x="267" y="0"/>
                        <a:pt x="1" y="641"/>
                        <a:pt x="376" y="1016"/>
                      </a:cubicBezTo>
                      <a:cubicBezTo>
                        <a:pt x="497" y="1138"/>
                        <a:pt x="647" y="1192"/>
                        <a:pt x="794" y="1192"/>
                      </a:cubicBezTo>
                      <a:cubicBezTo>
                        <a:pt x="1099" y="1192"/>
                        <a:pt x="1392" y="957"/>
                        <a:pt x="1392" y="605"/>
                      </a:cubicBezTo>
                      <a:cubicBezTo>
                        <a:pt x="1392" y="266"/>
                        <a:pt x="1126" y="0"/>
                        <a:pt x="78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56" name="Google Shape;4656;p66"/>
              <p:cNvGrpSpPr/>
              <p:nvPr/>
            </p:nvGrpSpPr>
            <p:grpSpPr>
              <a:xfrm>
                <a:off x="3597785" y="3377045"/>
                <a:ext cx="33591" cy="28699"/>
                <a:chOff x="3597785" y="3377045"/>
                <a:chExt cx="33591" cy="28699"/>
              </a:xfrm>
            </p:grpSpPr>
            <p:sp>
              <p:nvSpPr>
                <p:cNvPr id="4657" name="Google Shape;4657;p66"/>
                <p:cNvSpPr/>
                <p:nvPr/>
              </p:nvSpPr>
              <p:spPr>
                <a:xfrm>
                  <a:off x="3597785" y="3377045"/>
                  <a:ext cx="33591" cy="28699"/>
                </a:xfrm>
                <a:custGeom>
                  <a:avLst/>
                  <a:gdLst/>
                  <a:ahLst/>
                  <a:cxnLst/>
                  <a:rect l="l" t="t" r="r" b="b"/>
                  <a:pathLst>
                    <a:path w="4271" h="3649" extrusionOk="0">
                      <a:moveTo>
                        <a:pt x="2428" y="0"/>
                      </a:moveTo>
                      <a:cubicBezTo>
                        <a:pt x="1979" y="0"/>
                        <a:pt x="1522" y="167"/>
                        <a:pt x="1150" y="539"/>
                      </a:cubicBezTo>
                      <a:cubicBezTo>
                        <a:pt x="0" y="1676"/>
                        <a:pt x="811" y="3648"/>
                        <a:pt x="2444" y="3648"/>
                      </a:cubicBezTo>
                      <a:cubicBezTo>
                        <a:pt x="3448" y="3648"/>
                        <a:pt x="4259" y="2826"/>
                        <a:pt x="4271" y="1822"/>
                      </a:cubicBezTo>
                      <a:cubicBezTo>
                        <a:pt x="4262" y="726"/>
                        <a:pt x="3364" y="0"/>
                        <a:pt x="242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58" name="Google Shape;4658;p66"/>
                <p:cNvSpPr/>
                <p:nvPr/>
              </p:nvSpPr>
              <p:spPr>
                <a:xfrm>
                  <a:off x="3612343" y="3386703"/>
                  <a:ext cx="9328" cy="9336"/>
                </a:xfrm>
                <a:custGeom>
                  <a:avLst/>
                  <a:gdLst/>
                  <a:ahLst/>
                  <a:cxnLst/>
                  <a:rect l="l" t="t" r="r" b="b"/>
                  <a:pathLst>
                    <a:path w="1186" h="1187" extrusionOk="0">
                      <a:moveTo>
                        <a:pt x="593" y="1"/>
                      </a:moveTo>
                      <a:cubicBezTo>
                        <a:pt x="266" y="1"/>
                        <a:pt x="0" y="267"/>
                        <a:pt x="0" y="594"/>
                      </a:cubicBezTo>
                      <a:cubicBezTo>
                        <a:pt x="0" y="920"/>
                        <a:pt x="266" y="1186"/>
                        <a:pt x="593" y="1186"/>
                      </a:cubicBezTo>
                      <a:cubicBezTo>
                        <a:pt x="920" y="1186"/>
                        <a:pt x="1186" y="920"/>
                        <a:pt x="1186" y="594"/>
                      </a:cubicBezTo>
                      <a:cubicBezTo>
                        <a:pt x="1186" y="267"/>
                        <a:pt x="920"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59" name="Google Shape;4659;p66"/>
              <p:cNvGrpSpPr/>
              <p:nvPr/>
            </p:nvGrpSpPr>
            <p:grpSpPr>
              <a:xfrm>
                <a:off x="3887870" y="3669796"/>
                <a:ext cx="33591" cy="28692"/>
                <a:chOff x="3887870" y="3669796"/>
                <a:chExt cx="33591" cy="28692"/>
              </a:xfrm>
            </p:grpSpPr>
            <p:sp>
              <p:nvSpPr>
                <p:cNvPr id="4660" name="Google Shape;4660;p66"/>
                <p:cNvSpPr/>
                <p:nvPr/>
              </p:nvSpPr>
              <p:spPr>
                <a:xfrm>
                  <a:off x="3887870" y="3669796"/>
                  <a:ext cx="33591" cy="28692"/>
                </a:xfrm>
                <a:custGeom>
                  <a:avLst/>
                  <a:gdLst/>
                  <a:ahLst/>
                  <a:cxnLst/>
                  <a:rect l="l" t="t" r="r" b="b"/>
                  <a:pathLst>
                    <a:path w="4271" h="3648" extrusionOk="0">
                      <a:moveTo>
                        <a:pt x="2431" y="0"/>
                      </a:moveTo>
                      <a:cubicBezTo>
                        <a:pt x="1981" y="0"/>
                        <a:pt x="1522" y="167"/>
                        <a:pt x="1150" y="539"/>
                      </a:cubicBezTo>
                      <a:cubicBezTo>
                        <a:pt x="1" y="1676"/>
                        <a:pt x="823" y="3648"/>
                        <a:pt x="2444" y="3648"/>
                      </a:cubicBezTo>
                      <a:cubicBezTo>
                        <a:pt x="3448" y="3648"/>
                        <a:pt x="4271" y="2825"/>
                        <a:pt x="4271" y="1821"/>
                      </a:cubicBezTo>
                      <a:cubicBezTo>
                        <a:pt x="4271" y="725"/>
                        <a:pt x="3370" y="0"/>
                        <a:pt x="24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1" name="Google Shape;4661;p66"/>
                <p:cNvSpPr/>
                <p:nvPr/>
              </p:nvSpPr>
              <p:spPr>
                <a:xfrm>
                  <a:off x="3902428" y="3679454"/>
                  <a:ext cx="9422" cy="9328"/>
                </a:xfrm>
                <a:custGeom>
                  <a:avLst/>
                  <a:gdLst/>
                  <a:ahLst/>
                  <a:cxnLst/>
                  <a:rect l="l" t="t" r="r" b="b"/>
                  <a:pathLst>
                    <a:path w="1198" h="1186" extrusionOk="0">
                      <a:moveTo>
                        <a:pt x="593" y="1"/>
                      </a:moveTo>
                      <a:cubicBezTo>
                        <a:pt x="266" y="1"/>
                        <a:pt x="0" y="267"/>
                        <a:pt x="0" y="593"/>
                      </a:cubicBezTo>
                      <a:cubicBezTo>
                        <a:pt x="0" y="920"/>
                        <a:pt x="266" y="1186"/>
                        <a:pt x="593" y="1186"/>
                      </a:cubicBezTo>
                      <a:cubicBezTo>
                        <a:pt x="932" y="1186"/>
                        <a:pt x="1198" y="920"/>
                        <a:pt x="1198" y="593"/>
                      </a:cubicBezTo>
                      <a:cubicBezTo>
                        <a:pt x="1198" y="267"/>
                        <a:pt x="932" y="1"/>
                        <a:pt x="59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62" name="Google Shape;4662;p66"/>
              <p:cNvGrpSpPr/>
              <p:nvPr/>
            </p:nvGrpSpPr>
            <p:grpSpPr>
              <a:xfrm>
                <a:off x="3818320" y="3481625"/>
                <a:ext cx="33497" cy="28770"/>
                <a:chOff x="3818320" y="3481625"/>
                <a:chExt cx="33497" cy="28770"/>
              </a:xfrm>
            </p:grpSpPr>
            <p:sp>
              <p:nvSpPr>
                <p:cNvPr id="4663" name="Google Shape;4663;p66"/>
                <p:cNvSpPr/>
                <p:nvPr/>
              </p:nvSpPr>
              <p:spPr>
                <a:xfrm>
                  <a:off x="3818320" y="3481625"/>
                  <a:ext cx="33497" cy="28770"/>
                </a:xfrm>
                <a:custGeom>
                  <a:avLst/>
                  <a:gdLst/>
                  <a:ahLst/>
                  <a:cxnLst/>
                  <a:rect l="l" t="t" r="r" b="b"/>
                  <a:pathLst>
                    <a:path w="4259" h="3658" extrusionOk="0">
                      <a:moveTo>
                        <a:pt x="2421" y="1"/>
                      </a:moveTo>
                      <a:cubicBezTo>
                        <a:pt x="1975" y="1"/>
                        <a:pt x="1520" y="166"/>
                        <a:pt x="1150" y="537"/>
                      </a:cubicBezTo>
                      <a:cubicBezTo>
                        <a:pt x="1" y="1686"/>
                        <a:pt x="811" y="3658"/>
                        <a:pt x="2432" y="3658"/>
                      </a:cubicBezTo>
                      <a:cubicBezTo>
                        <a:pt x="3448" y="3658"/>
                        <a:pt x="4259" y="2835"/>
                        <a:pt x="4259" y="1831"/>
                      </a:cubicBezTo>
                      <a:cubicBezTo>
                        <a:pt x="4259" y="732"/>
                        <a:pt x="3359" y="1"/>
                        <a:pt x="242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4" name="Google Shape;4664;p66"/>
                <p:cNvSpPr/>
                <p:nvPr/>
              </p:nvSpPr>
              <p:spPr>
                <a:xfrm>
                  <a:off x="3831258" y="3491362"/>
                  <a:ext cx="10956" cy="9375"/>
                </a:xfrm>
                <a:custGeom>
                  <a:avLst/>
                  <a:gdLst/>
                  <a:ahLst/>
                  <a:cxnLst/>
                  <a:rect l="l" t="t" r="r" b="b"/>
                  <a:pathLst>
                    <a:path w="1393" h="1192" extrusionOk="0">
                      <a:moveTo>
                        <a:pt x="787" y="0"/>
                      </a:moveTo>
                      <a:cubicBezTo>
                        <a:pt x="267" y="0"/>
                        <a:pt x="1" y="641"/>
                        <a:pt x="376" y="1016"/>
                      </a:cubicBezTo>
                      <a:cubicBezTo>
                        <a:pt x="497" y="1137"/>
                        <a:pt x="646" y="1192"/>
                        <a:pt x="792" y="1192"/>
                      </a:cubicBezTo>
                      <a:cubicBezTo>
                        <a:pt x="1098" y="1192"/>
                        <a:pt x="1392" y="953"/>
                        <a:pt x="1392" y="593"/>
                      </a:cubicBezTo>
                      <a:cubicBezTo>
                        <a:pt x="1392" y="266"/>
                        <a:pt x="1126" y="0"/>
                        <a:pt x="78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65" name="Google Shape;4665;p66"/>
              <p:cNvGrpSpPr/>
              <p:nvPr/>
            </p:nvGrpSpPr>
            <p:grpSpPr>
              <a:xfrm>
                <a:off x="4278139" y="4120948"/>
                <a:ext cx="37492" cy="32129"/>
                <a:chOff x="4278139" y="4120948"/>
                <a:chExt cx="37492" cy="32129"/>
              </a:xfrm>
            </p:grpSpPr>
            <p:sp>
              <p:nvSpPr>
                <p:cNvPr id="4666" name="Google Shape;4666;p66"/>
                <p:cNvSpPr/>
                <p:nvPr/>
              </p:nvSpPr>
              <p:spPr>
                <a:xfrm>
                  <a:off x="4278139" y="4120948"/>
                  <a:ext cx="37492" cy="32129"/>
                </a:xfrm>
                <a:custGeom>
                  <a:avLst/>
                  <a:gdLst/>
                  <a:ahLst/>
                  <a:cxnLst/>
                  <a:rect l="l" t="t" r="r" b="b"/>
                  <a:pathLst>
                    <a:path w="4767" h="4085" extrusionOk="0">
                      <a:moveTo>
                        <a:pt x="2708" y="0"/>
                      </a:moveTo>
                      <a:cubicBezTo>
                        <a:pt x="2207" y="0"/>
                        <a:pt x="1697" y="186"/>
                        <a:pt x="1283" y="600"/>
                      </a:cubicBezTo>
                      <a:cubicBezTo>
                        <a:pt x="1" y="1895"/>
                        <a:pt x="908" y="4084"/>
                        <a:pt x="2722" y="4084"/>
                      </a:cubicBezTo>
                      <a:cubicBezTo>
                        <a:pt x="3847" y="4084"/>
                        <a:pt x="4755" y="3177"/>
                        <a:pt x="4767" y="2052"/>
                      </a:cubicBezTo>
                      <a:cubicBezTo>
                        <a:pt x="4767" y="815"/>
                        <a:pt x="3758" y="0"/>
                        <a:pt x="2708"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67" name="Google Shape;4667;p66"/>
                <p:cNvSpPr/>
                <p:nvPr/>
              </p:nvSpPr>
              <p:spPr>
                <a:xfrm>
                  <a:off x="4290983" y="4130614"/>
                  <a:ext cx="14943" cy="12812"/>
                </a:xfrm>
                <a:custGeom>
                  <a:avLst/>
                  <a:gdLst/>
                  <a:ahLst/>
                  <a:cxnLst/>
                  <a:rect l="l" t="t" r="r" b="b"/>
                  <a:pathLst>
                    <a:path w="1900" h="1629" extrusionOk="0">
                      <a:moveTo>
                        <a:pt x="1089" y="0"/>
                      </a:moveTo>
                      <a:cubicBezTo>
                        <a:pt x="363" y="0"/>
                        <a:pt x="1" y="883"/>
                        <a:pt x="509" y="1391"/>
                      </a:cubicBezTo>
                      <a:cubicBezTo>
                        <a:pt x="673" y="1555"/>
                        <a:pt x="876" y="1629"/>
                        <a:pt x="1076" y="1629"/>
                      </a:cubicBezTo>
                      <a:cubicBezTo>
                        <a:pt x="1495" y="1629"/>
                        <a:pt x="1900" y="1306"/>
                        <a:pt x="1900" y="823"/>
                      </a:cubicBezTo>
                      <a:cubicBezTo>
                        <a:pt x="1900" y="363"/>
                        <a:pt x="1537" y="0"/>
                        <a:pt x="108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68" name="Google Shape;4668;p66"/>
              <p:cNvGrpSpPr/>
              <p:nvPr/>
            </p:nvGrpSpPr>
            <p:grpSpPr>
              <a:xfrm>
                <a:off x="4419898" y="3977388"/>
                <a:ext cx="33497" cy="28692"/>
                <a:chOff x="4419898" y="3977388"/>
                <a:chExt cx="33497" cy="28692"/>
              </a:xfrm>
            </p:grpSpPr>
            <p:sp>
              <p:nvSpPr>
                <p:cNvPr id="4669" name="Google Shape;4669;p66"/>
                <p:cNvSpPr/>
                <p:nvPr/>
              </p:nvSpPr>
              <p:spPr>
                <a:xfrm>
                  <a:off x="4419898" y="3977388"/>
                  <a:ext cx="33497" cy="28692"/>
                </a:xfrm>
                <a:custGeom>
                  <a:avLst/>
                  <a:gdLst/>
                  <a:ahLst/>
                  <a:cxnLst/>
                  <a:rect l="l" t="t" r="r" b="b"/>
                  <a:pathLst>
                    <a:path w="4259" h="3648" extrusionOk="0">
                      <a:moveTo>
                        <a:pt x="2426" y="0"/>
                      </a:moveTo>
                      <a:cubicBezTo>
                        <a:pt x="1979" y="0"/>
                        <a:pt x="1522" y="167"/>
                        <a:pt x="1150" y="539"/>
                      </a:cubicBezTo>
                      <a:cubicBezTo>
                        <a:pt x="1" y="1688"/>
                        <a:pt x="811" y="3648"/>
                        <a:pt x="2432" y="3648"/>
                      </a:cubicBezTo>
                      <a:cubicBezTo>
                        <a:pt x="3448" y="3648"/>
                        <a:pt x="4259" y="2837"/>
                        <a:pt x="4259" y="1833"/>
                      </a:cubicBezTo>
                      <a:cubicBezTo>
                        <a:pt x="4259" y="729"/>
                        <a:pt x="3362" y="0"/>
                        <a:pt x="242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0" name="Google Shape;4670;p66"/>
                <p:cNvSpPr/>
                <p:nvPr/>
              </p:nvSpPr>
              <p:spPr>
                <a:xfrm>
                  <a:off x="4432742" y="3987046"/>
                  <a:ext cx="11042" cy="9399"/>
                </a:xfrm>
                <a:custGeom>
                  <a:avLst/>
                  <a:gdLst/>
                  <a:ahLst/>
                  <a:cxnLst/>
                  <a:rect l="l" t="t" r="r" b="b"/>
                  <a:pathLst>
                    <a:path w="1404" h="1195" extrusionOk="0">
                      <a:moveTo>
                        <a:pt x="799" y="0"/>
                      </a:moveTo>
                      <a:cubicBezTo>
                        <a:pt x="267" y="0"/>
                        <a:pt x="1" y="641"/>
                        <a:pt x="376" y="1016"/>
                      </a:cubicBezTo>
                      <a:cubicBezTo>
                        <a:pt x="499" y="1139"/>
                        <a:pt x="650" y="1195"/>
                        <a:pt x="799" y="1195"/>
                      </a:cubicBezTo>
                      <a:cubicBezTo>
                        <a:pt x="1104" y="1195"/>
                        <a:pt x="1396" y="963"/>
                        <a:pt x="1404" y="605"/>
                      </a:cubicBezTo>
                      <a:cubicBezTo>
                        <a:pt x="1404" y="266"/>
                        <a:pt x="1138" y="0"/>
                        <a:pt x="79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71" name="Google Shape;4671;p66"/>
              <p:cNvGrpSpPr/>
              <p:nvPr/>
            </p:nvGrpSpPr>
            <p:grpSpPr>
              <a:xfrm>
                <a:off x="4158930" y="4034684"/>
                <a:ext cx="33497" cy="28762"/>
                <a:chOff x="4158930" y="4034684"/>
                <a:chExt cx="33497" cy="28762"/>
              </a:xfrm>
            </p:grpSpPr>
            <p:sp>
              <p:nvSpPr>
                <p:cNvPr id="4672" name="Google Shape;4672;p66"/>
                <p:cNvSpPr/>
                <p:nvPr/>
              </p:nvSpPr>
              <p:spPr>
                <a:xfrm>
                  <a:off x="4158930" y="4034684"/>
                  <a:ext cx="33497" cy="28762"/>
                </a:xfrm>
                <a:custGeom>
                  <a:avLst/>
                  <a:gdLst/>
                  <a:ahLst/>
                  <a:cxnLst/>
                  <a:rect l="l" t="t" r="r" b="b"/>
                  <a:pathLst>
                    <a:path w="4259" h="3657" extrusionOk="0">
                      <a:moveTo>
                        <a:pt x="2421" y="0"/>
                      </a:moveTo>
                      <a:cubicBezTo>
                        <a:pt x="1974" y="0"/>
                        <a:pt x="1520" y="166"/>
                        <a:pt x="1149" y="536"/>
                      </a:cubicBezTo>
                      <a:cubicBezTo>
                        <a:pt x="0" y="1685"/>
                        <a:pt x="811" y="3645"/>
                        <a:pt x="2432" y="3657"/>
                      </a:cubicBezTo>
                      <a:cubicBezTo>
                        <a:pt x="3436" y="3645"/>
                        <a:pt x="4258" y="2834"/>
                        <a:pt x="4258" y="1830"/>
                      </a:cubicBezTo>
                      <a:cubicBezTo>
                        <a:pt x="4258" y="732"/>
                        <a:pt x="3358" y="0"/>
                        <a:pt x="242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3" name="Google Shape;4673;p66"/>
                <p:cNvSpPr/>
                <p:nvPr/>
              </p:nvSpPr>
              <p:spPr>
                <a:xfrm>
                  <a:off x="4173385" y="4044319"/>
                  <a:ext cx="9336" cy="9430"/>
                </a:xfrm>
                <a:custGeom>
                  <a:avLst/>
                  <a:gdLst/>
                  <a:ahLst/>
                  <a:cxnLst/>
                  <a:rect l="l" t="t" r="r" b="b"/>
                  <a:pathLst>
                    <a:path w="1187" h="1199" extrusionOk="0">
                      <a:moveTo>
                        <a:pt x="594" y="1"/>
                      </a:moveTo>
                      <a:cubicBezTo>
                        <a:pt x="267" y="1"/>
                        <a:pt x="1" y="279"/>
                        <a:pt x="1" y="605"/>
                      </a:cubicBezTo>
                      <a:cubicBezTo>
                        <a:pt x="1" y="932"/>
                        <a:pt x="267" y="1198"/>
                        <a:pt x="594" y="1198"/>
                      </a:cubicBezTo>
                      <a:cubicBezTo>
                        <a:pt x="920" y="1198"/>
                        <a:pt x="1186" y="932"/>
                        <a:pt x="1186" y="605"/>
                      </a:cubicBezTo>
                      <a:cubicBezTo>
                        <a:pt x="1186" y="279"/>
                        <a:pt x="920" y="1"/>
                        <a:pt x="59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74" name="Google Shape;4674;p66"/>
              <p:cNvGrpSpPr/>
              <p:nvPr/>
            </p:nvGrpSpPr>
            <p:grpSpPr>
              <a:xfrm>
                <a:off x="4134949" y="3957049"/>
                <a:ext cx="33497" cy="28770"/>
                <a:chOff x="4134949" y="3957049"/>
                <a:chExt cx="33497" cy="28770"/>
              </a:xfrm>
            </p:grpSpPr>
            <p:sp>
              <p:nvSpPr>
                <p:cNvPr id="4675" name="Google Shape;4675;p66"/>
                <p:cNvSpPr/>
                <p:nvPr/>
              </p:nvSpPr>
              <p:spPr>
                <a:xfrm>
                  <a:off x="4134949" y="3957049"/>
                  <a:ext cx="33497" cy="28770"/>
                </a:xfrm>
                <a:custGeom>
                  <a:avLst/>
                  <a:gdLst/>
                  <a:ahLst/>
                  <a:cxnLst/>
                  <a:rect l="l" t="t" r="r" b="b"/>
                  <a:pathLst>
                    <a:path w="4259" h="3658" extrusionOk="0">
                      <a:moveTo>
                        <a:pt x="2421" y="0"/>
                      </a:moveTo>
                      <a:cubicBezTo>
                        <a:pt x="1975" y="0"/>
                        <a:pt x="1520" y="166"/>
                        <a:pt x="1150" y="536"/>
                      </a:cubicBezTo>
                      <a:cubicBezTo>
                        <a:pt x="1" y="1685"/>
                        <a:pt x="811" y="3657"/>
                        <a:pt x="2432" y="3657"/>
                      </a:cubicBezTo>
                      <a:cubicBezTo>
                        <a:pt x="3436" y="3657"/>
                        <a:pt x="4259" y="2834"/>
                        <a:pt x="4259" y="1830"/>
                      </a:cubicBezTo>
                      <a:cubicBezTo>
                        <a:pt x="4259" y="732"/>
                        <a:pt x="3359" y="0"/>
                        <a:pt x="242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6" name="Google Shape;4676;p66"/>
                <p:cNvSpPr/>
                <p:nvPr/>
              </p:nvSpPr>
              <p:spPr>
                <a:xfrm>
                  <a:off x="4147793" y="3966778"/>
                  <a:ext cx="10956" cy="9383"/>
                </a:xfrm>
                <a:custGeom>
                  <a:avLst/>
                  <a:gdLst/>
                  <a:ahLst/>
                  <a:cxnLst/>
                  <a:rect l="l" t="t" r="r" b="b"/>
                  <a:pathLst>
                    <a:path w="1393" h="1193" extrusionOk="0">
                      <a:moveTo>
                        <a:pt x="799" y="1"/>
                      </a:moveTo>
                      <a:cubicBezTo>
                        <a:pt x="267" y="1"/>
                        <a:pt x="1" y="642"/>
                        <a:pt x="376" y="1017"/>
                      </a:cubicBezTo>
                      <a:cubicBezTo>
                        <a:pt x="497" y="1138"/>
                        <a:pt x="646" y="1192"/>
                        <a:pt x="792" y="1192"/>
                      </a:cubicBezTo>
                      <a:cubicBezTo>
                        <a:pt x="1098" y="1192"/>
                        <a:pt x="1392" y="954"/>
                        <a:pt x="1392" y="593"/>
                      </a:cubicBezTo>
                      <a:cubicBezTo>
                        <a:pt x="1392" y="267"/>
                        <a:pt x="1126" y="1"/>
                        <a:pt x="799"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77" name="Google Shape;4677;p66"/>
              <p:cNvGrpSpPr/>
              <p:nvPr/>
            </p:nvGrpSpPr>
            <p:grpSpPr>
              <a:xfrm>
                <a:off x="4193653" y="4184403"/>
                <a:ext cx="43580" cy="37264"/>
                <a:chOff x="4193653" y="4184403"/>
                <a:chExt cx="43580" cy="37264"/>
              </a:xfrm>
            </p:grpSpPr>
            <p:sp>
              <p:nvSpPr>
                <p:cNvPr id="4678" name="Google Shape;4678;p66"/>
                <p:cNvSpPr/>
                <p:nvPr/>
              </p:nvSpPr>
              <p:spPr>
                <a:xfrm>
                  <a:off x="4193653" y="4184403"/>
                  <a:ext cx="43580" cy="37264"/>
                </a:xfrm>
                <a:custGeom>
                  <a:avLst/>
                  <a:gdLst/>
                  <a:ahLst/>
                  <a:cxnLst/>
                  <a:rect l="l" t="t" r="r" b="b"/>
                  <a:pathLst>
                    <a:path w="5541" h="4738" extrusionOk="0">
                      <a:moveTo>
                        <a:pt x="3156" y="1"/>
                      </a:moveTo>
                      <a:cubicBezTo>
                        <a:pt x="2575" y="1"/>
                        <a:pt x="1982" y="216"/>
                        <a:pt x="1501" y="698"/>
                      </a:cubicBezTo>
                      <a:cubicBezTo>
                        <a:pt x="1" y="2185"/>
                        <a:pt x="1065" y="4738"/>
                        <a:pt x="3170" y="4738"/>
                      </a:cubicBezTo>
                      <a:cubicBezTo>
                        <a:pt x="4476" y="4738"/>
                        <a:pt x="5529" y="3673"/>
                        <a:pt x="5541" y="2367"/>
                      </a:cubicBezTo>
                      <a:cubicBezTo>
                        <a:pt x="5541" y="943"/>
                        <a:pt x="4373" y="1"/>
                        <a:pt x="315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79" name="Google Shape;4679;p66"/>
                <p:cNvSpPr/>
                <p:nvPr/>
              </p:nvSpPr>
              <p:spPr>
                <a:xfrm>
                  <a:off x="4206591" y="4194069"/>
                  <a:ext cx="20944" cy="17948"/>
                </a:xfrm>
                <a:custGeom>
                  <a:avLst/>
                  <a:gdLst/>
                  <a:ahLst/>
                  <a:cxnLst/>
                  <a:rect l="l" t="t" r="r" b="b"/>
                  <a:pathLst>
                    <a:path w="2663" h="2282" extrusionOk="0">
                      <a:moveTo>
                        <a:pt x="1525" y="1"/>
                      </a:moveTo>
                      <a:cubicBezTo>
                        <a:pt x="509" y="1"/>
                        <a:pt x="1" y="1223"/>
                        <a:pt x="714" y="1948"/>
                      </a:cubicBezTo>
                      <a:cubicBezTo>
                        <a:pt x="948" y="2179"/>
                        <a:pt x="1234" y="2282"/>
                        <a:pt x="1514" y="2282"/>
                      </a:cubicBezTo>
                      <a:cubicBezTo>
                        <a:pt x="2101" y="2282"/>
                        <a:pt x="2662" y="1826"/>
                        <a:pt x="2662" y="1138"/>
                      </a:cubicBezTo>
                      <a:cubicBezTo>
                        <a:pt x="2662" y="509"/>
                        <a:pt x="2154" y="1"/>
                        <a:pt x="1525"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80" name="Google Shape;4680;p66"/>
              <p:cNvGrpSpPr/>
              <p:nvPr/>
            </p:nvGrpSpPr>
            <p:grpSpPr>
              <a:xfrm>
                <a:off x="4343600" y="3943844"/>
                <a:ext cx="43580" cy="37312"/>
                <a:chOff x="4343600" y="3943844"/>
                <a:chExt cx="43580" cy="37312"/>
              </a:xfrm>
            </p:grpSpPr>
            <p:sp>
              <p:nvSpPr>
                <p:cNvPr id="4681" name="Google Shape;4681;p66"/>
                <p:cNvSpPr/>
                <p:nvPr/>
              </p:nvSpPr>
              <p:spPr>
                <a:xfrm>
                  <a:off x="4343600" y="3943844"/>
                  <a:ext cx="43580" cy="37312"/>
                </a:xfrm>
                <a:custGeom>
                  <a:avLst/>
                  <a:gdLst/>
                  <a:ahLst/>
                  <a:cxnLst/>
                  <a:rect l="l" t="t" r="r" b="b"/>
                  <a:pathLst>
                    <a:path w="5541" h="4744" extrusionOk="0">
                      <a:moveTo>
                        <a:pt x="3156" y="1"/>
                      </a:moveTo>
                      <a:cubicBezTo>
                        <a:pt x="2574" y="1"/>
                        <a:pt x="1982" y="218"/>
                        <a:pt x="1500" y="703"/>
                      </a:cubicBezTo>
                      <a:cubicBezTo>
                        <a:pt x="0" y="2191"/>
                        <a:pt x="1065" y="4743"/>
                        <a:pt x="3169" y="4743"/>
                      </a:cubicBezTo>
                      <a:cubicBezTo>
                        <a:pt x="4476" y="4731"/>
                        <a:pt x="5528" y="3679"/>
                        <a:pt x="5540" y="2372"/>
                      </a:cubicBezTo>
                      <a:cubicBezTo>
                        <a:pt x="5540" y="949"/>
                        <a:pt x="4373" y="1"/>
                        <a:pt x="315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2" name="Google Shape;4682;p66"/>
                <p:cNvSpPr/>
                <p:nvPr/>
              </p:nvSpPr>
              <p:spPr>
                <a:xfrm>
                  <a:off x="4359581" y="3953557"/>
                  <a:ext cx="17893" cy="17893"/>
                </a:xfrm>
                <a:custGeom>
                  <a:avLst/>
                  <a:gdLst/>
                  <a:ahLst/>
                  <a:cxnLst/>
                  <a:rect l="l" t="t" r="r" b="b"/>
                  <a:pathLst>
                    <a:path w="2275" h="2275" extrusionOk="0">
                      <a:moveTo>
                        <a:pt x="1137" y="0"/>
                      </a:moveTo>
                      <a:cubicBezTo>
                        <a:pt x="508" y="0"/>
                        <a:pt x="0" y="508"/>
                        <a:pt x="0" y="1137"/>
                      </a:cubicBezTo>
                      <a:cubicBezTo>
                        <a:pt x="0" y="1766"/>
                        <a:pt x="508" y="2274"/>
                        <a:pt x="1137" y="2274"/>
                      </a:cubicBezTo>
                      <a:cubicBezTo>
                        <a:pt x="1766" y="2274"/>
                        <a:pt x="2275" y="1766"/>
                        <a:pt x="2275" y="1137"/>
                      </a:cubicBezTo>
                      <a:cubicBezTo>
                        <a:pt x="2275" y="508"/>
                        <a:pt x="1766" y="0"/>
                        <a:pt x="1137"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683" name="Google Shape;4683;p66"/>
              <p:cNvGrpSpPr/>
              <p:nvPr/>
            </p:nvGrpSpPr>
            <p:grpSpPr>
              <a:xfrm>
                <a:off x="4172339" y="3381693"/>
                <a:ext cx="31499" cy="27001"/>
                <a:chOff x="4172339" y="3381693"/>
                <a:chExt cx="31499" cy="27001"/>
              </a:xfrm>
            </p:grpSpPr>
            <p:sp>
              <p:nvSpPr>
                <p:cNvPr id="4684" name="Google Shape;4684;p66"/>
                <p:cNvSpPr/>
                <p:nvPr/>
              </p:nvSpPr>
              <p:spPr>
                <a:xfrm>
                  <a:off x="4172339" y="3381693"/>
                  <a:ext cx="31499" cy="27001"/>
                </a:xfrm>
                <a:custGeom>
                  <a:avLst/>
                  <a:gdLst/>
                  <a:ahLst/>
                  <a:cxnLst/>
                  <a:rect l="l" t="t" r="r" b="b"/>
                  <a:pathLst>
                    <a:path w="4005" h="3433" extrusionOk="0">
                      <a:moveTo>
                        <a:pt x="2285" y="1"/>
                      </a:moveTo>
                      <a:cubicBezTo>
                        <a:pt x="1866" y="1"/>
                        <a:pt x="1438" y="157"/>
                        <a:pt x="1090" y="505"/>
                      </a:cubicBezTo>
                      <a:cubicBezTo>
                        <a:pt x="1" y="1581"/>
                        <a:pt x="775" y="3420"/>
                        <a:pt x="2299" y="3432"/>
                      </a:cubicBezTo>
                      <a:cubicBezTo>
                        <a:pt x="3243" y="3420"/>
                        <a:pt x="4005" y="2658"/>
                        <a:pt x="4005" y="1714"/>
                      </a:cubicBezTo>
                      <a:cubicBezTo>
                        <a:pt x="4005" y="683"/>
                        <a:pt x="3163" y="1"/>
                        <a:pt x="2285"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685" name="Google Shape;4685;p66"/>
                <p:cNvSpPr/>
                <p:nvPr/>
              </p:nvSpPr>
              <p:spPr>
                <a:xfrm>
                  <a:off x="4185285" y="3391367"/>
                  <a:ext cx="8856" cy="7605"/>
                </a:xfrm>
                <a:custGeom>
                  <a:avLst/>
                  <a:gdLst/>
                  <a:ahLst/>
                  <a:cxnLst/>
                  <a:rect l="l" t="t" r="r" b="b"/>
                  <a:pathLst>
                    <a:path w="1126" h="967" extrusionOk="0">
                      <a:moveTo>
                        <a:pt x="653" y="1"/>
                      </a:moveTo>
                      <a:cubicBezTo>
                        <a:pt x="218" y="1"/>
                        <a:pt x="0" y="521"/>
                        <a:pt x="302" y="823"/>
                      </a:cubicBezTo>
                      <a:cubicBezTo>
                        <a:pt x="401" y="922"/>
                        <a:pt x="523" y="967"/>
                        <a:pt x="643" y="967"/>
                      </a:cubicBezTo>
                      <a:cubicBezTo>
                        <a:pt x="889" y="967"/>
                        <a:pt x="1125" y="778"/>
                        <a:pt x="1125" y="484"/>
                      </a:cubicBezTo>
                      <a:cubicBezTo>
                        <a:pt x="1125" y="218"/>
                        <a:pt x="919" y="1"/>
                        <a:pt x="65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689"/>
        <p:cNvGrpSpPr/>
        <p:nvPr/>
      </p:nvGrpSpPr>
      <p:grpSpPr>
        <a:xfrm>
          <a:off x="0" y="0"/>
          <a:ext cx="0" cy="0"/>
          <a:chOff x="0" y="0"/>
          <a:chExt cx="0" cy="0"/>
        </a:xfrm>
      </p:grpSpPr>
      <p:grpSp>
        <p:nvGrpSpPr>
          <p:cNvPr id="4690" name="Google Shape;4690;p67"/>
          <p:cNvGrpSpPr/>
          <p:nvPr/>
        </p:nvGrpSpPr>
        <p:grpSpPr>
          <a:xfrm>
            <a:off x="972366" y="1567646"/>
            <a:ext cx="3343732" cy="274985"/>
            <a:chOff x="106648" y="895722"/>
            <a:chExt cx="4481413" cy="374300"/>
          </a:xfrm>
        </p:grpSpPr>
        <p:grpSp>
          <p:nvGrpSpPr>
            <p:cNvPr id="4691" name="Google Shape;4691;p67"/>
            <p:cNvGrpSpPr/>
            <p:nvPr/>
          </p:nvGrpSpPr>
          <p:grpSpPr>
            <a:xfrm>
              <a:off x="2233276" y="895722"/>
              <a:ext cx="1082667" cy="223591"/>
              <a:chOff x="4808316" y="2800065"/>
              <a:chExt cx="1999386" cy="412910"/>
            </a:xfrm>
          </p:grpSpPr>
          <p:sp>
            <p:nvSpPr>
              <p:cNvPr id="4692" name="Google Shape;4692;p67"/>
              <p:cNvSpPr/>
              <p:nvPr/>
            </p:nvSpPr>
            <p:spPr>
              <a:xfrm>
                <a:off x="4849302" y="3079475"/>
                <a:ext cx="1958400" cy="1335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693" name="Google Shape;4693;p67"/>
              <p:cNvGrpSpPr/>
              <p:nvPr/>
            </p:nvGrpSpPr>
            <p:grpSpPr>
              <a:xfrm>
                <a:off x="4808316" y="2800065"/>
                <a:ext cx="92400" cy="411825"/>
                <a:chOff x="845575" y="2563700"/>
                <a:chExt cx="92400" cy="411825"/>
              </a:xfrm>
            </p:grpSpPr>
            <p:cxnSp>
              <p:nvCxnSpPr>
                <p:cNvPr id="4694" name="Google Shape;4694;p67"/>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695" name="Google Shape;4695;p67"/>
                <p:cNvSpPr/>
                <p:nvPr/>
              </p:nvSpPr>
              <p:spPr>
                <a:xfrm>
                  <a:off x="845575"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696" name="Google Shape;4696;p67"/>
            <p:cNvGrpSpPr/>
            <p:nvPr/>
          </p:nvGrpSpPr>
          <p:grpSpPr>
            <a:xfrm>
              <a:off x="106648" y="895722"/>
              <a:ext cx="1088401" cy="223591"/>
              <a:chOff x="881025" y="2800065"/>
              <a:chExt cx="2009975" cy="412910"/>
            </a:xfrm>
          </p:grpSpPr>
          <p:sp>
            <p:nvSpPr>
              <p:cNvPr id="4697" name="Google Shape;4697;p67"/>
              <p:cNvSpPr/>
              <p:nvPr/>
            </p:nvSpPr>
            <p:spPr>
              <a:xfrm>
                <a:off x="932600" y="3079475"/>
                <a:ext cx="1958400" cy="1335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698" name="Google Shape;4698;p67"/>
              <p:cNvGrpSpPr/>
              <p:nvPr/>
            </p:nvGrpSpPr>
            <p:grpSpPr>
              <a:xfrm>
                <a:off x="881025" y="2800065"/>
                <a:ext cx="92400" cy="411825"/>
                <a:chOff x="845575" y="2563700"/>
                <a:chExt cx="92400" cy="411825"/>
              </a:xfrm>
            </p:grpSpPr>
            <p:cxnSp>
              <p:nvCxnSpPr>
                <p:cNvPr id="4699" name="Google Shape;4699;p67"/>
                <p:cNvCxnSpPr/>
                <p:nvPr/>
              </p:nvCxnSpPr>
              <p:spPr>
                <a:xfrm>
                  <a:off x="891775"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700" name="Google Shape;4700;p67"/>
                <p:cNvSpPr/>
                <p:nvPr/>
              </p:nvSpPr>
              <p:spPr>
                <a:xfrm>
                  <a:off x="845575"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701" name="Google Shape;4701;p67"/>
            <p:cNvGrpSpPr/>
            <p:nvPr/>
          </p:nvGrpSpPr>
          <p:grpSpPr>
            <a:xfrm>
              <a:off x="1172346" y="1047018"/>
              <a:ext cx="1083151" cy="223003"/>
              <a:chOff x="2849073" y="3079467"/>
              <a:chExt cx="2000279" cy="411825"/>
            </a:xfrm>
          </p:grpSpPr>
          <p:sp>
            <p:nvSpPr>
              <p:cNvPr id="4702" name="Google Shape;4702;p67"/>
              <p:cNvSpPr/>
              <p:nvPr/>
            </p:nvSpPr>
            <p:spPr>
              <a:xfrm>
                <a:off x="2890952" y="3079475"/>
                <a:ext cx="1958400" cy="1335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703" name="Google Shape;4703;p67"/>
              <p:cNvGrpSpPr/>
              <p:nvPr/>
            </p:nvGrpSpPr>
            <p:grpSpPr>
              <a:xfrm rot="10800000">
                <a:off x="2849073" y="3079467"/>
                <a:ext cx="92400" cy="411825"/>
                <a:chOff x="2070100" y="2563700"/>
                <a:chExt cx="92400" cy="411825"/>
              </a:xfrm>
            </p:grpSpPr>
            <p:cxnSp>
              <p:nvCxnSpPr>
                <p:cNvPr id="4704" name="Google Shape;4704;p67"/>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705" name="Google Shape;4705;p67"/>
                <p:cNvSpPr/>
                <p:nvPr/>
              </p:nvSpPr>
              <p:spPr>
                <a:xfrm>
                  <a:off x="2070100"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706" name="Google Shape;4706;p67"/>
            <p:cNvGrpSpPr/>
            <p:nvPr/>
          </p:nvGrpSpPr>
          <p:grpSpPr>
            <a:xfrm>
              <a:off x="3290132" y="1047018"/>
              <a:ext cx="1297929" cy="223003"/>
              <a:chOff x="6760035" y="3079467"/>
              <a:chExt cx="2396914" cy="411825"/>
            </a:xfrm>
          </p:grpSpPr>
          <p:sp>
            <p:nvSpPr>
              <p:cNvPr id="4707" name="Google Shape;4707;p67"/>
              <p:cNvSpPr/>
              <p:nvPr/>
            </p:nvSpPr>
            <p:spPr>
              <a:xfrm>
                <a:off x="6807650" y="3079475"/>
                <a:ext cx="2349300" cy="1335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708" name="Google Shape;4708;p67"/>
              <p:cNvGrpSpPr/>
              <p:nvPr/>
            </p:nvGrpSpPr>
            <p:grpSpPr>
              <a:xfrm rot="10800000">
                <a:off x="6760035" y="3079467"/>
                <a:ext cx="92400" cy="411825"/>
                <a:chOff x="2070100" y="2563700"/>
                <a:chExt cx="92400" cy="411825"/>
              </a:xfrm>
            </p:grpSpPr>
            <p:cxnSp>
              <p:nvCxnSpPr>
                <p:cNvPr id="4709" name="Google Shape;4709;p67"/>
                <p:cNvCxnSpPr/>
                <p:nvPr/>
              </p:nvCxnSpPr>
              <p:spPr>
                <a:xfrm>
                  <a:off x="2116300" y="2616125"/>
                  <a:ext cx="0" cy="359400"/>
                </a:xfrm>
                <a:prstGeom prst="straightConnector1">
                  <a:avLst/>
                </a:prstGeom>
                <a:noFill/>
                <a:ln w="9525" cap="flat" cmpd="sng">
                  <a:solidFill>
                    <a:srgbClr val="667E92"/>
                  </a:solidFill>
                  <a:prstDash val="solid"/>
                  <a:round/>
                  <a:headEnd type="none" w="sm" len="sm"/>
                  <a:tailEnd type="none" w="sm" len="sm"/>
                </a:ln>
              </p:spPr>
            </p:cxnSp>
            <p:sp>
              <p:nvSpPr>
                <p:cNvPr id="4710" name="Google Shape;4710;p67"/>
                <p:cNvSpPr/>
                <p:nvPr/>
              </p:nvSpPr>
              <p:spPr>
                <a:xfrm>
                  <a:off x="2070100" y="2563700"/>
                  <a:ext cx="92400" cy="924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4711" name="Google Shape;4711;p67"/>
          <p:cNvGrpSpPr/>
          <p:nvPr/>
        </p:nvGrpSpPr>
        <p:grpSpPr>
          <a:xfrm>
            <a:off x="2862715" y="4766808"/>
            <a:ext cx="1448935" cy="1065905"/>
            <a:chOff x="2183288" y="3555572"/>
            <a:chExt cx="1136241" cy="835873"/>
          </a:xfrm>
        </p:grpSpPr>
        <p:sp>
          <p:nvSpPr>
            <p:cNvPr id="4712" name="Google Shape;4712;p67"/>
            <p:cNvSpPr/>
            <p:nvPr/>
          </p:nvSpPr>
          <p:spPr>
            <a:xfrm>
              <a:off x="2673740"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713" name="Google Shape;4713;p67"/>
            <p:cNvGrpSpPr/>
            <p:nvPr/>
          </p:nvGrpSpPr>
          <p:grpSpPr>
            <a:xfrm>
              <a:off x="2205895" y="3637269"/>
              <a:ext cx="1089848" cy="724993"/>
              <a:chOff x="2205895" y="3637269"/>
              <a:chExt cx="1089848" cy="724993"/>
            </a:xfrm>
          </p:grpSpPr>
          <p:sp>
            <p:nvSpPr>
              <p:cNvPr id="4714" name="Google Shape;4714;p67"/>
              <p:cNvSpPr/>
              <p:nvPr/>
            </p:nvSpPr>
            <p:spPr>
              <a:xfrm>
                <a:off x="2205895" y="4204394"/>
                <a:ext cx="555376" cy="157849"/>
              </a:xfrm>
              <a:custGeom>
                <a:avLst/>
                <a:gdLst/>
                <a:ahLst/>
                <a:cxnLst/>
                <a:rect l="l" t="t" r="r" b="b"/>
                <a:pathLst>
                  <a:path w="128485" h="36518" extrusionOk="0">
                    <a:moveTo>
                      <a:pt x="2706" y="1"/>
                    </a:moveTo>
                    <a:lnTo>
                      <a:pt x="1" y="326"/>
                    </a:lnTo>
                    <a:cubicBezTo>
                      <a:pt x="1461" y="10577"/>
                      <a:pt x="6547" y="19612"/>
                      <a:pt x="13850" y="26130"/>
                    </a:cubicBezTo>
                    <a:cubicBezTo>
                      <a:pt x="21288" y="32568"/>
                      <a:pt x="30999" y="36517"/>
                      <a:pt x="41575" y="36517"/>
                    </a:cubicBezTo>
                    <a:lnTo>
                      <a:pt x="128484" y="36517"/>
                    </a:lnTo>
                    <a:lnTo>
                      <a:pt x="128484" y="33812"/>
                    </a:lnTo>
                    <a:lnTo>
                      <a:pt x="41575" y="33812"/>
                    </a:lnTo>
                    <a:cubicBezTo>
                      <a:pt x="31675" y="33812"/>
                      <a:pt x="22641" y="30188"/>
                      <a:pt x="15662" y="24102"/>
                    </a:cubicBezTo>
                    <a:cubicBezTo>
                      <a:pt x="8792" y="18016"/>
                      <a:pt x="4058" y="9468"/>
                      <a:pt x="2706"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5" name="Google Shape;4715;p67"/>
              <p:cNvSpPr/>
              <p:nvPr/>
            </p:nvSpPr>
            <p:spPr>
              <a:xfrm>
                <a:off x="2206834" y="3993916"/>
                <a:ext cx="218757" cy="153401"/>
              </a:xfrm>
              <a:custGeom>
                <a:avLst/>
                <a:gdLst/>
                <a:ahLst/>
                <a:cxnLst/>
                <a:rect l="l" t="t" r="r" b="b"/>
                <a:pathLst>
                  <a:path w="50609" h="35489" extrusionOk="0">
                    <a:moveTo>
                      <a:pt x="41358" y="0"/>
                    </a:moveTo>
                    <a:cubicBezTo>
                      <a:pt x="30998" y="0"/>
                      <a:pt x="21423" y="3814"/>
                      <a:pt x="14093" y="10144"/>
                    </a:cubicBezTo>
                    <a:cubicBezTo>
                      <a:pt x="6762" y="16338"/>
                      <a:pt x="1596" y="25129"/>
                      <a:pt x="0" y="35029"/>
                    </a:cubicBezTo>
                    <a:lnTo>
                      <a:pt x="2597" y="35489"/>
                    </a:lnTo>
                    <a:cubicBezTo>
                      <a:pt x="4166" y="26238"/>
                      <a:pt x="9034" y="18015"/>
                      <a:pt x="15905" y="12173"/>
                    </a:cubicBezTo>
                    <a:cubicBezTo>
                      <a:pt x="22775" y="6303"/>
                      <a:pt x="31675" y="2705"/>
                      <a:pt x="41358" y="2705"/>
                    </a:cubicBezTo>
                    <a:lnTo>
                      <a:pt x="50609" y="2705"/>
                    </a:lnTo>
                    <a:lnTo>
                      <a:pt x="50609"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6" name="Google Shape;4716;p67"/>
              <p:cNvSpPr/>
              <p:nvPr/>
            </p:nvSpPr>
            <p:spPr>
              <a:xfrm>
                <a:off x="2487003" y="3847747"/>
                <a:ext cx="808740" cy="157849"/>
              </a:xfrm>
              <a:custGeom>
                <a:avLst/>
                <a:gdLst/>
                <a:ahLst/>
                <a:cxnLst/>
                <a:rect l="l" t="t" r="r" b="b"/>
                <a:pathLst>
                  <a:path w="187100" h="36518" extrusionOk="0">
                    <a:moveTo>
                      <a:pt x="184395" y="1"/>
                    </a:moveTo>
                    <a:cubicBezTo>
                      <a:pt x="183150" y="9468"/>
                      <a:pt x="178309" y="17908"/>
                      <a:pt x="171438" y="23994"/>
                    </a:cubicBezTo>
                    <a:cubicBezTo>
                      <a:pt x="164432" y="30080"/>
                      <a:pt x="155425" y="33812"/>
                      <a:pt x="145498" y="33812"/>
                    </a:cubicBezTo>
                    <a:lnTo>
                      <a:pt x="1" y="33812"/>
                    </a:lnTo>
                    <a:lnTo>
                      <a:pt x="1" y="36517"/>
                    </a:lnTo>
                    <a:lnTo>
                      <a:pt x="145498" y="36517"/>
                    </a:lnTo>
                    <a:cubicBezTo>
                      <a:pt x="156101" y="36517"/>
                      <a:pt x="165785" y="32568"/>
                      <a:pt x="173223" y="26022"/>
                    </a:cubicBezTo>
                    <a:cubicBezTo>
                      <a:pt x="180554" y="19612"/>
                      <a:pt x="185747" y="10469"/>
                      <a:pt x="187100" y="326"/>
                    </a:cubicBezTo>
                    <a:lnTo>
                      <a:pt x="184395" y="1"/>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7" name="Google Shape;4717;p67"/>
              <p:cNvSpPr/>
              <p:nvPr/>
            </p:nvSpPr>
            <p:spPr>
              <a:xfrm>
                <a:off x="2919192" y="3637269"/>
                <a:ext cx="375081" cy="148491"/>
              </a:xfrm>
              <a:custGeom>
                <a:avLst/>
                <a:gdLst/>
                <a:ahLst/>
                <a:cxnLst/>
                <a:rect l="l" t="t" r="r" b="b"/>
                <a:pathLst>
                  <a:path w="86774" h="34353" extrusionOk="0">
                    <a:moveTo>
                      <a:pt x="0" y="0"/>
                    </a:moveTo>
                    <a:lnTo>
                      <a:pt x="0" y="2705"/>
                    </a:lnTo>
                    <a:lnTo>
                      <a:pt x="45524" y="2705"/>
                    </a:lnTo>
                    <a:cubicBezTo>
                      <a:pt x="54991" y="2705"/>
                      <a:pt x="63674" y="6195"/>
                      <a:pt x="70545" y="11821"/>
                    </a:cubicBezTo>
                    <a:cubicBezTo>
                      <a:pt x="77415" y="17582"/>
                      <a:pt x="82284" y="25454"/>
                      <a:pt x="84177" y="34353"/>
                    </a:cubicBezTo>
                    <a:lnTo>
                      <a:pt x="86774" y="33920"/>
                    </a:lnTo>
                    <a:cubicBezTo>
                      <a:pt x="84854" y="24345"/>
                      <a:pt x="79579" y="15878"/>
                      <a:pt x="72249" y="9792"/>
                    </a:cubicBezTo>
                    <a:cubicBezTo>
                      <a:pt x="65027" y="3706"/>
                      <a:pt x="55668" y="0"/>
                      <a:pt x="45524"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8" name="Google Shape;4718;p67"/>
              <p:cNvSpPr/>
              <p:nvPr/>
            </p:nvSpPr>
            <p:spPr>
              <a:xfrm>
                <a:off x="2233143" y="3637269"/>
                <a:ext cx="621199" cy="11697"/>
              </a:xfrm>
              <a:custGeom>
                <a:avLst/>
                <a:gdLst/>
                <a:ahLst/>
                <a:cxnLst/>
                <a:rect l="l" t="t" r="r" b="b"/>
                <a:pathLst>
                  <a:path w="143713" h="2706" extrusionOk="0">
                    <a:moveTo>
                      <a:pt x="0" y="0"/>
                    </a:moveTo>
                    <a:lnTo>
                      <a:pt x="0" y="2705"/>
                    </a:lnTo>
                    <a:lnTo>
                      <a:pt x="143712" y="2705"/>
                    </a:lnTo>
                    <a:lnTo>
                      <a:pt x="143712"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19" name="Google Shape;4719;p67"/>
              <p:cNvSpPr/>
              <p:nvPr/>
            </p:nvSpPr>
            <p:spPr>
              <a:xfrm>
                <a:off x="3004568" y="4350566"/>
                <a:ext cx="270028" cy="11697"/>
              </a:xfrm>
              <a:custGeom>
                <a:avLst/>
                <a:gdLst/>
                <a:ahLst/>
                <a:cxnLst/>
                <a:rect l="l" t="t" r="r" b="b"/>
                <a:pathLst>
                  <a:path w="106520" h="2706" extrusionOk="0">
                    <a:moveTo>
                      <a:pt x="0" y="0"/>
                    </a:moveTo>
                    <a:lnTo>
                      <a:pt x="0" y="2705"/>
                    </a:lnTo>
                    <a:lnTo>
                      <a:pt x="106520" y="2705"/>
                    </a:lnTo>
                    <a:lnTo>
                      <a:pt x="106520"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20" name="Google Shape;4720;p67"/>
            <p:cNvSpPr/>
            <p:nvPr/>
          </p:nvSpPr>
          <p:spPr>
            <a:xfrm rot="5400000">
              <a:off x="2852961" y="3612770"/>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721" name="Google Shape;4721;p67"/>
            <p:cNvCxnSpPr/>
            <p:nvPr/>
          </p:nvCxnSpPr>
          <p:spPr>
            <a:xfrm>
              <a:off x="2887992" y="3555572"/>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722" name="Google Shape;4722;p67"/>
            <p:cNvGrpSpPr/>
            <p:nvPr/>
          </p:nvGrpSpPr>
          <p:grpSpPr>
            <a:xfrm>
              <a:off x="3173850" y="3779426"/>
              <a:ext cx="145679" cy="70048"/>
              <a:chOff x="3173850" y="3779426"/>
              <a:chExt cx="145679" cy="70048"/>
            </a:xfrm>
          </p:grpSpPr>
          <p:cxnSp>
            <p:nvCxnSpPr>
              <p:cNvPr id="4723" name="Google Shape;4723;p67"/>
              <p:cNvCxnSpPr/>
              <p:nvPr/>
            </p:nvCxnSpPr>
            <p:spPr>
              <a:xfrm rot="10800000">
                <a:off x="3173850" y="3817250"/>
                <a:ext cx="94500" cy="0"/>
              </a:xfrm>
              <a:prstGeom prst="straightConnector1">
                <a:avLst/>
              </a:prstGeom>
              <a:noFill/>
              <a:ln w="9525" cap="flat" cmpd="sng">
                <a:solidFill>
                  <a:srgbClr val="BAC8D3"/>
                </a:solidFill>
                <a:prstDash val="solid"/>
                <a:round/>
                <a:headEnd type="none" w="med" len="med"/>
                <a:tailEnd type="diamond" w="med" len="med"/>
              </a:ln>
            </p:spPr>
          </p:cxnSp>
          <p:sp>
            <p:nvSpPr>
              <p:cNvPr id="4724" name="Google Shape;4724;p67"/>
              <p:cNvSpPr/>
              <p:nvPr/>
            </p:nvSpPr>
            <p:spPr>
              <a:xfrm rot="5400000">
                <a:off x="3254146" y="378409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25" name="Google Shape;4725;p67"/>
            <p:cNvGrpSpPr/>
            <p:nvPr/>
          </p:nvGrpSpPr>
          <p:grpSpPr>
            <a:xfrm>
              <a:off x="2183288" y="4139483"/>
              <a:ext cx="145133" cy="70048"/>
              <a:chOff x="2183288" y="4139483"/>
              <a:chExt cx="145133" cy="70048"/>
            </a:xfrm>
          </p:grpSpPr>
          <p:cxnSp>
            <p:nvCxnSpPr>
              <p:cNvPr id="4726" name="Google Shape;4726;p67"/>
              <p:cNvCxnSpPr/>
              <p:nvPr/>
            </p:nvCxnSpPr>
            <p:spPr>
              <a:xfrm rot="10800000">
                <a:off x="2239021" y="4174494"/>
                <a:ext cx="89400" cy="0"/>
              </a:xfrm>
              <a:prstGeom prst="straightConnector1">
                <a:avLst/>
              </a:prstGeom>
              <a:noFill/>
              <a:ln w="9525" cap="flat" cmpd="sng">
                <a:solidFill>
                  <a:srgbClr val="BAC8D3"/>
                </a:solidFill>
                <a:prstDash val="solid"/>
                <a:round/>
                <a:headEnd type="diamond" w="med" len="med"/>
                <a:tailEnd type="none" w="med" len="med"/>
              </a:ln>
            </p:spPr>
          </p:cxnSp>
          <p:sp>
            <p:nvSpPr>
              <p:cNvPr id="4727" name="Google Shape;4727;p67"/>
              <p:cNvSpPr/>
              <p:nvPr/>
            </p:nvSpPr>
            <p:spPr>
              <a:xfrm rot="5400000">
                <a:off x="2178622" y="4144149"/>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28" name="Google Shape;4728;p67"/>
            <p:cNvSpPr/>
            <p:nvPr/>
          </p:nvSpPr>
          <p:spPr>
            <a:xfrm rot="5400000">
              <a:off x="2420934" y="3967554"/>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729" name="Google Shape;4729;p67"/>
            <p:cNvCxnSpPr/>
            <p:nvPr/>
          </p:nvCxnSpPr>
          <p:spPr>
            <a:xfrm>
              <a:off x="2455973" y="3911736"/>
              <a:ext cx="0" cy="52500"/>
            </a:xfrm>
            <a:prstGeom prst="straightConnector1">
              <a:avLst/>
            </a:prstGeom>
            <a:noFill/>
            <a:ln w="9525" cap="flat" cmpd="sng">
              <a:solidFill>
                <a:srgbClr val="BAC8D3"/>
              </a:solidFill>
              <a:prstDash val="solid"/>
              <a:round/>
              <a:headEnd type="diamond" w="med" len="med"/>
              <a:tailEnd type="none" w="med" len="med"/>
            </a:ln>
          </p:spPr>
        </p:cxnSp>
        <p:grpSp>
          <p:nvGrpSpPr>
            <p:cNvPr id="4730" name="Google Shape;4730;p67"/>
            <p:cNvGrpSpPr/>
            <p:nvPr/>
          </p:nvGrpSpPr>
          <p:grpSpPr>
            <a:xfrm>
              <a:off x="2943836" y="4268886"/>
              <a:ext cx="60717" cy="122559"/>
              <a:chOff x="2943836" y="4268886"/>
              <a:chExt cx="60717" cy="122559"/>
            </a:xfrm>
          </p:grpSpPr>
          <p:sp>
            <p:nvSpPr>
              <p:cNvPr id="4731" name="Google Shape;4731;p67"/>
              <p:cNvSpPr/>
              <p:nvPr/>
            </p:nvSpPr>
            <p:spPr>
              <a:xfrm rot="5400000">
                <a:off x="2939170" y="4326062"/>
                <a:ext cx="70048" cy="60717"/>
              </a:xfrm>
              <a:custGeom>
                <a:avLst/>
                <a:gdLst/>
                <a:ahLst/>
                <a:cxnLst/>
                <a:rect l="l" t="t" r="r" b="b"/>
                <a:pathLst>
                  <a:path w="31949" h="27693" extrusionOk="0">
                    <a:moveTo>
                      <a:pt x="7959" y="1"/>
                    </a:moveTo>
                    <a:lnTo>
                      <a:pt x="1" y="13847"/>
                    </a:lnTo>
                    <a:lnTo>
                      <a:pt x="7959" y="27693"/>
                    </a:lnTo>
                    <a:lnTo>
                      <a:pt x="23991" y="27693"/>
                    </a:lnTo>
                    <a:lnTo>
                      <a:pt x="31949" y="13847"/>
                    </a:lnTo>
                    <a:lnTo>
                      <a:pt x="23991" y="1"/>
                    </a:lnTo>
                    <a:close/>
                  </a:path>
                </a:pathLst>
              </a:custGeom>
              <a:solidFill>
                <a:srgbClr val="435D74"/>
              </a:solidFill>
              <a:ln w="9525"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732" name="Google Shape;4732;p67"/>
              <p:cNvCxnSpPr/>
              <p:nvPr/>
            </p:nvCxnSpPr>
            <p:spPr>
              <a:xfrm>
                <a:off x="2974204" y="4268886"/>
                <a:ext cx="0" cy="52500"/>
              </a:xfrm>
              <a:prstGeom prst="straightConnector1">
                <a:avLst/>
              </a:prstGeom>
              <a:noFill/>
              <a:ln w="9525" cap="flat" cmpd="sng">
                <a:solidFill>
                  <a:srgbClr val="BAC8D3"/>
                </a:solidFill>
                <a:prstDash val="solid"/>
                <a:round/>
                <a:headEnd type="diamond" w="med" len="med"/>
                <a:tailEnd type="none" w="med" len="med"/>
              </a:ln>
            </p:spPr>
          </p:cxnSp>
        </p:grpSp>
      </p:grpSp>
      <p:grpSp>
        <p:nvGrpSpPr>
          <p:cNvPr id="4733" name="Google Shape;4733;p67"/>
          <p:cNvGrpSpPr/>
          <p:nvPr/>
        </p:nvGrpSpPr>
        <p:grpSpPr>
          <a:xfrm>
            <a:off x="4546642" y="1994806"/>
            <a:ext cx="2234493" cy="1011001"/>
            <a:chOff x="3530532" y="1496185"/>
            <a:chExt cx="1562000" cy="706730"/>
          </a:xfrm>
        </p:grpSpPr>
        <p:cxnSp>
          <p:nvCxnSpPr>
            <p:cNvPr id="4734" name="Google Shape;4734;p67"/>
            <p:cNvCxnSpPr/>
            <p:nvPr/>
          </p:nvCxnSpPr>
          <p:spPr>
            <a:xfrm>
              <a:off x="3583832" y="1857562"/>
              <a:ext cx="1508700" cy="0"/>
            </a:xfrm>
            <a:prstGeom prst="straightConnector1">
              <a:avLst/>
            </a:prstGeom>
            <a:noFill/>
            <a:ln w="28575" cap="flat" cmpd="sng">
              <a:solidFill>
                <a:srgbClr val="A5B7C6"/>
              </a:solidFill>
              <a:prstDash val="solid"/>
              <a:round/>
              <a:headEnd type="none" w="med" len="med"/>
              <a:tailEnd type="triangle" w="med" len="med"/>
            </a:ln>
          </p:spPr>
        </p:cxnSp>
        <p:grpSp>
          <p:nvGrpSpPr>
            <p:cNvPr id="4735" name="Google Shape;4735;p67"/>
            <p:cNvGrpSpPr/>
            <p:nvPr/>
          </p:nvGrpSpPr>
          <p:grpSpPr>
            <a:xfrm>
              <a:off x="3530532" y="1496185"/>
              <a:ext cx="323430" cy="463587"/>
              <a:chOff x="3530532" y="1496185"/>
              <a:chExt cx="323430" cy="463587"/>
            </a:xfrm>
          </p:grpSpPr>
          <p:grpSp>
            <p:nvGrpSpPr>
              <p:cNvPr id="4736" name="Google Shape;4736;p67"/>
              <p:cNvGrpSpPr/>
              <p:nvPr/>
            </p:nvGrpSpPr>
            <p:grpSpPr>
              <a:xfrm>
                <a:off x="3567462" y="1496185"/>
                <a:ext cx="286500" cy="361376"/>
                <a:chOff x="3567462" y="1496185"/>
                <a:chExt cx="286500" cy="361376"/>
              </a:xfrm>
            </p:grpSpPr>
            <p:cxnSp>
              <p:nvCxnSpPr>
                <p:cNvPr id="4737" name="Google Shape;4737;p67"/>
                <p:cNvCxnSpPr/>
                <p:nvPr/>
              </p:nvCxnSpPr>
              <p:spPr>
                <a:xfrm rot="10800000">
                  <a:off x="3626630"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738" name="Google Shape;4738;p67"/>
                <p:cNvSpPr/>
                <p:nvPr/>
              </p:nvSpPr>
              <p:spPr>
                <a:xfrm>
                  <a:off x="3567462" y="1496185"/>
                  <a:ext cx="286500" cy="999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39" name="Google Shape;4739;p67"/>
              <p:cNvSpPr/>
              <p:nvPr/>
            </p:nvSpPr>
            <p:spPr>
              <a:xfrm>
                <a:off x="3530532" y="1771972"/>
                <a:ext cx="187800" cy="1878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40" name="Google Shape;4740;p67"/>
            <p:cNvGrpSpPr/>
            <p:nvPr/>
          </p:nvGrpSpPr>
          <p:grpSpPr>
            <a:xfrm>
              <a:off x="3891569" y="1779209"/>
              <a:ext cx="323945" cy="423706"/>
              <a:chOff x="3891569" y="1779209"/>
              <a:chExt cx="323945" cy="423706"/>
            </a:xfrm>
          </p:grpSpPr>
          <p:grpSp>
            <p:nvGrpSpPr>
              <p:cNvPr id="4741" name="Google Shape;4741;p67"/>
              <p:cNvGrpSpPr/>
              <p:nvPr/>
            </p:nvGrpSpPr>
            <p:grpSpPr>
              <a:xfrm>
                <a:off x="3929014" y="1881638"/>
                <a:ext cx="286500" cy="321278"/>
                <a:chOff x="3929014" y="1881638"/>
                <a:chExt cx="286500" cy="321278"/>
              </a:xfrm>
            </p:grpSpPr>
            <p:cxnSp>
              <p:nvCxnSpPr>
                <p:cNvPr id="4742" name="Google Shape;4742;p67"/>
                <p:cNvCxnSpPr/>
                <p:nvPr/>
              </p:nvCxnSpPr>
              <p:spPr>
                <a:xfrm rot="10800000">
                  <a:off x="3988388" y="1881638"/>
                  <a:ext cx="0" cy="291900"/>
                </a:xfrm>
                <a:prstGeom prst="straightConnector1">
                  <a:avLst/>
                </a:prstGeom>
                <a:noFill/>
                <a:ln w="28575" cap="flat" cmpd="sng">
                  <a:solidFill>
                    <a:srgbClr val="A5B7C6"/>
                  </a:solidFill>
                  <a:prstDash val="solid"/>
                  <a:round/>
                  <a:headEnd type="none" w="med" len="med"/>
                  <a:tailEnd type="none" w="med" len="med"/>
                </a:ln>
              </p:spPr>
            </p:cxnSp>
            <p:sp>
              <p:nvSpPr>
                <p:cNvPr id="4743" name="Google Shape;4743;p67"/>
                <p:cNvSpPr/>
                <p:nvPr/>
              </p:nvSpPr>
              <p:spPr>
                <a:xfrm>
                  <a:off x="3929014" y="2103016"/>
                  <a:ext cx="286500" cy="999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44" name="Google Shape;4744;p67"/>
              <p:cNvSpPr/>
              <p:nvPr/>
            </p:nvSpPr>
            <p:spPr>
              <a:xfrm>
                <a:off x="3891569" y="1779209"/>
                <a:ext cx="187800" cy="1878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45" name="Google Shape;4745;p67"/>
            <p:cNvGrpSpPr/>
            <p:nvPr/>
          </p:nvGrpSpPr>
          <p:grpSpPr>
            <a:xfrm>
              <a:off x="4252606" y="1496185"/>
              <a:ext cx="324721" cy="463587"/>
              <a:chOff x="4252606" y="1496185"/>
              <a:chExt cx="324721" cy="463587"/>
            </a:xfrm>
          </p:grpSpPr>
          <p:grpSp>
            <p:nvGrpSpPr>
              <p:cNvPr id="4746" name="Google Shape;4746;p67"/>
              <p:cNvGrpSpPr/>
              <p:nvPr/>
            </p:nvGrpSpPr>
            <p:grpSpPr>
              <a:xfrm>
                <a:off x="4290828" y="1496185"/>
                <a:ext cx="286500" cy="361376"/>
                <a:chOff x="4290828" y="1496185"/>
                <a:chExt cx="286500" cy="361376"/>
              </a:xfrm>
            </p:grpSpPr>
            <p:cxnSp>
              <p:nvCxnSpPr>
                <p:cNvPr id="4747" name="Google Shape;4747;p67"/>
                <p:cNvCxnSpPr/>
                <p:nvPr/>
              </p:nvCxnSpPr>
              <p:spPr>
                <a:xfrm rot="10800000">
                  <a:off x="4349995" y="1565661"/>
                  <a:ext cx="0" cy="291900"/>
                </a:xfrm>
                <a:prstGeom prst="straightConnector1">
                  <a:avLst/>
                </a:prstGeom>
                <a:noFill/>
                <a:ln w="28575" cap="flat" cmpd="sng">
                  <a:solidFill>
                    <a:srgbClr val="A5B7C6"/>
                  </a:solidFill>
                  <a:prstDash val="solid"/>
                  <a:round/>
                  <a:headEnd type="none" w="med" len="med"/>
                  <a:tailEnd type="none" w="med" len="med"/>
                </a:ln>
              </p:spPr>
            </p:cxnSp>
            <p:sp>
              <p:nvSpPr>
                <p:cNvPr id="4748" name="Google Shape;4748;p67"/>
                <p:cNvSpPr/>
                <p:nvPr/>
              </p:nvSpPr>
              <p:spPr>
                <a:xfrm>
                  <a:off x="4290828" y="1496185"/>
                  <a:ext cx="286500" cy="999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49" name="Google Shape;4749;p67"/>
              <p:cNvSpPr/>
              <p:nvPr/>
            </p:nvSpPr>
            <p:spPr>
              <a:xfrm>
                <a:off x="4252606" y="1771972"/>
                <a:ext cx="187800" cy="1878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50" name="Google Shape;4750;p67"/>
            <p:cNvGrpSpPr/>
            <p:nvPr/>
          </p:nvGrpSpPr>
          <p:grpSpPr>
            <a:xfrm>
              <a:off x="4613643" y="1763716"/>
              <a:ext cx="325308" cy="439200"/>
              <a:chOff x="4613643" y="1763716"/>
              <a:chExt cx="325308" cy="439200"/>
            </a:xfrm>
          </p:grpSpPr>
          <p:grpSp>
            <p:nvGrpSpPr>
              <p:cNvPr id="4751" name="Google Shape;4751;p67"/>
              <p:cNvGrpSpPr/>
              <p:nvPr/>
            </p:nvGrpSpPr>
            <p:grpSpPr>
              <a:xfrm>
                <a:off x="4652451" y="1879538"/>
                <a:ext cx="286500" cy="323378"/>
                <a:chOff x="4652451" y="1879538"/>
                <a:chExt cx="286500" cy="323378"/>
              </a:xfrm>
            </p:grpSpPr>
            <p:cxnSp>
              <p:nvCxnSpPr>
                <p:cNvPr id="4752" name="Google Shape;4752;p67"/>
                <p:cNvCxnSpPr/>
                <p:nvPr/>
              </p:nvCxnSpPr>
              <p:spPr>
                <a:xfrm rot="10800000">
                  <a:off x="4707486" y="1879538"/>
                  <a:ext cx="0" cy="294000"/>
                </a:xfrm>
                <a:prstGeom prst="straightConnector1">
                  <a:avLst/>
                </a:prstGeom>
                <a:noFill/>
                <a:ln w="28575" cap="flat" cmpd="sng">
                  <a:solidFill>
                    <a:srgbClr val="A5B7C6"/>
                  </a:solidFill>
                  <a:prstDash val="solid"/>
                  <a:round/>
                  <a:headEnd type="none" w="med" len="med"/>
                  <a:tailEnd type="none" w="med" len="med"/>
                </a:ln>
              </p:spPr>
            </p:cxnSp>
            <p:sp>
              <p:nvSpPr>
                <p:cNvPr id="4753" name="Google Shape;4753;p67"/>
                <p:cNvSpPr/>
                <p:nvPr/>
              </p:nvSpPr>
              <p:spPr>
                <a:xfrm>
                  <a:off x="4652451" y="2103016"/>
                  <a:ext cx="286500" cy="999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754" name="Google Shape;4754;p67"/>
              <p:cNvSpPr/>
              <p:nvPr/>
            </p:nvSpPr>
            <p:spPr>
              <a:xfrm>
                <a:off x="4613643" y="1763716"/>
                <a:ext cx="187800" cy="1878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755" name="Google Shape;4755;p67"/>
          <p:cNvGrpSpPr/>
          <p:nvPr/>
        </p:nvGrpSpPr>
        <p:grpSpPr>
          <a:xfrm>
            <a:off x="4562456" y="3132974"/>
            <a:ext cx="2202897" cy="522023"/>
            <a:chOff x="3512551" y="2358270"/>
            <a:chExt cx="1597383" cy="378533"/>
          </a:xfrm>
        </p:grpSpPr>
        <p:cxnSp>
          <p:nvCxnSpPr>
            <p:cNvPr id="4756" name="Google Shape;4756;p67"/>
            <p:cNvCxnSpPr>
              <a:stCxn id="4757" idx="6"/>
              <a:endCxn id="4758" idx="2"/>
            </p:cNvCxnSpPr>
            <p:nvPr/>
          </p:nvCxnSpPr>
          <p:spPr>
            <a:xfrm>
              <a:off x="3738198" y="2553118"/>
              <a:ext cx="1146000" cy="0"/>
            </a:xfrm>
            <a:prstGeom prst="straightConnector1">
              <a:avLst/>
            </a:prstGeom>
            <a:noFill/>
            <a:ln w="19050" cap="flat" cmpd="sng">
              <a:solidFill>
                <a:srgbClr val="435D74"/>
              </a:solidFill>
              <a:prstDash val="solid"/>
              <a:round/>
              <a:headEnd type="none" w="med" len="med"/>
              <a:tailEnd type="none" w="med" len="med"/>
            </a:ln>
          </p:spPr>
        </p:cxnSp>
        <p:grpSp>
          <p:nvGrpSpPr>
            <p:cNvPr id="4759" name="Google Shape;4759;p67"/>
            <p:cNvGrpSpPr/>
            <p:nvPr/>
          </p:nvGrpSpPr>
          <p:grpSpPr>
            <a:xfrm>
              <a:off x="3512551" y="2358270"/>
              <a:ext cx="225647" cy="307714"/>
              <a:chOff x="2182679" y="2004714"/>
              <a:chExt cx="792300" cy="1080458"/>
            </a:xfrm>
          </p:grpSpPr>
          <p:cxnSp>
            <p:nvCxnSpPr>
              <p:cNvPr id="4760" name="Google Shape;4760;p67"/>
              <p:cNvCxnSpPr>
                <a:stCxn id="4761" idx="0"/>
              </p:cNvCxnSpPr>
              <p:nvPr/>
            </p:nvCxnSpPr>
            <p:spPr>
              <a:xfrm rot="10800000">
                <a:off x="2578961"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757" name="Google Shape;4757;p67"/>
              <p:cNvSpPr/>
              <p:nvPr/>
            </p:nvSpPr>
            <p:spPr>
              <a:xfrm>
                <a:off x="2182679"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1" name="Google Shape;4761;p67"/>
              <p:cNvSpPr/>
              <p:nvPr/>
            </p:nvSpPr>
            <p:spPr>
              <a:xfrm>
                <a:off x="2283911" y="2393814"/>
                <a:ext cx="590100" cy="590100"/>
              </a:xfrm>
              <a:prstGeom prst="ellipse">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62" name="Google Shape;4762;p67"/>
            <p:cNvGrpSpPr/>
            <p:nvPr/>
          </p:nvGrpSpPr>
          <p:grpSpPr>
            <a:xfrm>
              <a:off x="3969644" y="2440153"/>
              <a:ext cx="225853" cy="296651"/>
              <a:chOff x="3775710" y="1729289"/>
              <a:chExt cx="136500" cy="179289"/>
            </a:xfrm>
          </p:grpSpPr>
          <p:cxnSp>
            <p:nvCxnSpPr>
              <p:cNvPr id="4763" name="Google Shape;4763;p67"/>
              <p:cNvCxnSpPr/>
              <p:nvPr/>
            </p:nvCxnSpPr>
            <p:spPr>
              <a:xfrm>
                <a:off x="3843851" y="1848278"/>
                <a:ext cx="0" cy="60300"/>
              </a:xfrm>
              <a:prstGeom prst="straightConnector1">
                <a:avLst/>
              </a:prstGeom>
              <a:noFill/>
              <a:ln w="9525" cap="flat" cmpd="sng">
                <a:solidFill>
                  <a:srgbClr val="435D74"/>
                </a:solidFill>
                <a:prstDash val="solid"/>
                <a:round/>
                <a:headEnd type="none" w="med" len="med"/>
                <a:tailEnd type="none" w="med" len="med"/>
              </a:ln>
            </p:spPr>
          </p:cxnSp>
          <p:sp>
            <p:nvSpPr>
              <p:cNvPr id="4764" name="Google Shape;4764;p67"/>
              <p:cNvSpPr/>
              <p:nvPr/>
            </p:nvSpPr>
            <p:spPr>
              <a:xfrm>
                <a:off x="3775710" y="1729289"/>
                <a:ext cx="136500" cy="1365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5" name="Google Shape;4765;p67"/>
              <p:cNvSpPr/>
              <p:nvPr/>
            </p:nvSpPr>
            <p:spPr>
              <a:xfrm>
                <a:off x="3793133" y="1746713"/>
                <a:ext cx="101700" cy="101700"/>
              </a:xfrm>
              <a:prstGeom prst="ellipse">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66" name="Google Shape;4766;p67"/>
            <p:cNvGrpSpPr/>
            <p:nvPr/>
          </p:nvGrpSpPr>
          <p:grpSpPr>
            <a:xfrm>
              <a:off x="4427051" y="2358270"/>
              <a:ext cx="225647" cy="307714"/>
              <a:chOff x="5393704" y="2004714"/>
              <a:chExt cx="792300" cy="1080458"/>
            </a:xfrm>
          </p:grpSpPr>
          <p:cxnSp>
            <p:nvCxnSpPr>
              <p:cNvPr id="4767" name="Google Shape;4767;p67"/>
              <p:cNvCxnSpPr>
                <a:stCxn id="4768" idx="0"/>
              </p:cNvCxnSpPr>
              <p:nvPr/>
            </p:nvCxnSpPr>
            <p:spPr>
              <a:xfrm rot="10800000">
                <a:off x="5789986" y="2004714"/>
                <a:ext cx="0" cy="389100"/>
              </a:xfrm>
              <a:prstGeom prst="straightConnector1">
                <a:avLst/>
              </a:prstGeom>
              <a:noFill/>
              <a:ln w="9525" cap="flat" cmpd="sng">
                <a:solidFill>
                  <a:srgbClr val="435D74"/>
                </a:solidFill>
                <a:prstDash val="solid"/>
                <a:round/>
                <a:headEnd type="none" w="med" len="med"/>
                <a:tailEnd type="none" w="med" len="med"/>
              </a:ln>
            </p:spPr>
          </p:cxnSp>
          <p:sp>
            <p:nvSpPr>
              <p:cNvPr id="4769" name="Google Shape;4769;p67"/>
              <p:cNvSpPr/>
              <p:nvPr/>
            </p:nvSpPr>
            <p:spPr>
              <a:xfrm>
                <a:off x="5393704"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68" name="Google Shape;4768;p67"/>
              <p:cNvSpPr/>
              <p:nvPr/>
            </p:nvSpPr>
            <p:spPr>
              <a:xfrm>
                <a:off x="5494936" y="2393814"/>
                <a:ext cx="590100" cy="590100"/>
              </a:xfrm>
              <a:prstGeom prst="ellipse">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70" name="Google Shape;4770;p67"/>
            <p:cNvGrpSpPr/>
            <p:nvPr/>
          </p:nvGrpSpPr>
          <p:grpSpPr>
            <a:xfrm>
              <a:off x="4884287" y="2440252"/>
              <a:ext cx="225647" cy="296532"/>
              <a:chOff x="6999166" y="2292572"/>
              <a:chExt cx="792300" cy="1041192"/>
            </a:xfrm>
          </p:grpSpPr>
          <p:cxnSp>
            <p:nvCxnSpPr>
              <p:cNvPr id="4771" name="Google Shape;4771;p67"/>
              <p:cNvCxnSpPr/>
              <p:nvPr/>
            </p:nvCxnSpPr>
            <p:spPr>
              <a:xfrm>
                <a:off x="7395553" y="2983964"/>
                <a:ext cx="0" cy="349800"/>
              </a:xfrm>
              <a:prstGeom prst="straightConnector1">
                <a:avLst/>
              </a:prstGeom>
              <a:noFill/>
              <a:ln w="9525" cap="flat" cmpd="sng">
                <a:solidFill>
                  <a:srgbClr val="435D74"/>
                </a:solidFill>
                <a:prstDash val="solid"/>
                <a:round/>
                <a:headEnd type="none" w="med" len="med"/>
                <a:tailEnd type="none" w="med" len="med"/>
              </a:ln>
            </p:spPr>
          </p:cxnSp>
          <p:sp>
            <p:nvSpPr>
              <p:cNvPr id="4758" name="Google Shape;4758;p67"/>
              <p:cNvSpPr/>
              <p:nvPr/>
            </p:nvSpPr>
            <p:spPr>
              <a:xfrm>
                <a:off x="6999166" y="2292572"/>
                <a:ext cx="792300" cy="792600"/>
              </a:xfrm>
              <a:prstGeom prst="ellipse">
                <a:avLst/>
              </a:prstGeom>
              <a:noFill/>
              <a:ln w="19050" cap="flat" cmpd="sng">
                <a:solidFill>
                  <a:srgbClr val="BAC8D3"/>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72" name="Google Shape;4772;p67"/>
              <p:cNvSpPr/>
              <p:nvPr/>
            </p:nvSpPr>
            <p:spPr>
              <a:xfrm>
                <a:off x="7100398" y="2393814"/>
                <a:ext cx="590100" cy="590100"/>
              </a:xfrm>
              <a:prstGeom prst="ellipse">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773" name="Google Shape;4773;p67"/>
          <p:cNvGrpSpPr/>
          <p:nvPr/>
        </p:nvGrpSpPr>
        <p:grpSpPr>
          <a:xfrm>
            <a:off x="9123532" y="1581240"/>
            <a:ext cx="2109125" cy="977091"/>
            <a:chOff x="634175" y="2986275"/>
            <a:chExt cx="3147949" cy="1458344"/>
          </a:xfrm>
        </p:grpSpPr>
        <p:cxnSp>
          <p:nvCxnSpPr>
            <p:cNvPr id="4774" name="Google Shape;4774;p67"/>
            <p:cNvCxnSpPr>
              <a:stCxn id="4775" idx="4"/>
              <a:endCxn id="4776" idx="0"/>
            </p:cNvCxnSpPr>
            <p:nvPr/>
          </p:nvCxnSpPr>
          <p:spPr>
            <a:xfrm>
              <a:off x="929975" y="3577875"/>
              <a:ext cx="591600" cy="275100"/>
            </a:xfrm>
            <a:prstGeom prst="straightConnector1">
              <a:avLst/>
            </a:prstGeom>
            <a:noFill/>
            <a:ln w="19050" cap="flat" cmpd="sng">
              <a:solidFill>
                <a:srgbClr val="435D74"/>
              </a:solidFill>
              <a:prstDash val="solid"/>
              <a:round/>
              <a:headEnd type="none" w="med" len="med"/>
              <a:tailEnd type="none" w="med" len="med"/>
            </a:ln>
          </p:spPr>
        </p:cxnSp>
        <p:cxnSp>
          <p:nvCxnSpPr>
            <p:cNvPr id="4777" name="Google Shape;4777;p67"/>
            <p:cNvCxnSpPr>
              <a:stCxn id="4776" idx="0"/>
              <a:endCxn id="4778" idx="4"/>
            </p:cNvCxnSpPr>
            <p:nvPr/>
          </p:nvCxnSpPr>
          <p:spPr>
            <a:xfrm rot="10800000" flipH="1">
              <a:off x="1521366" y="3577919"/>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779" name="Google Shape;4779;p67"/>
            <p:cNvCxnSpPr>
              <a:stCxn id="4778" idx="4"/>
              <a:endCxn id="4780" idx="0"/>
            </p:cNvCxnSpPr>
            <p:nvPr/>
          </p:nvCxnSpPr>
          <p:spPr>
            <a:xfrm>
              <a:off x="2208152" y="3577875"/>
              <a:ext cx="686700" cy="275100"/>
            </a:xfrm>
            <a:prstGeom prst="straightConnector1">
              <a:avLst/>
            </a:prstGeom>
            <a:noFill/>
            <a:ln w="19050" cap="flat" cmpd="sng">
              <a:solidFill>
                <a:srgbClr val="435D74"/>
              </a:solidFill>
              <a:prstDash val="solid"/>
              <a:round/>
              <a:headEnd type="none" w="med" len="med"/>
              <a:tailEnd type="none" w="med" len="med"/>
            </a:ln>
          </p:spPr>
        </p:cxnSp>
        <p:cxnSp>
          <p:nvCxnSpPr>
            <p:cNvPr id="4781" name="Google Shape;4781;p67"/>
            <p:cNvCxnSpPr>
              <a:stCxn id="4780" idx="0"/>
              <a:endCxn id="4782" idx="4"/>
            </p:cNvCxnSpPr>
            <p:nvPr/>
          </p:nvCxnSpPr>
          <p:spPr>
            <a:xfrm rot="10800000" flipH="1">
              <a:off x="2894933" y="3577918"/>
              <a:ext cx="591600" cy="275100"/>
            </a:xfrm>
            <a:prstGeom prst="straightConnector1">
              <a:avLst/>
            </a:prstGeom>
            <a:noFill/>
            <a:ln w="19050" cap="flat" cmpd="sng">
              <a:solidFill>
                <a:srgbClr val="435D74"/>
              </a:solidFill>
              <a:prstDash val="solid"/>
              <a:round/>
              <a:headEnd type="none" w="med" len="med"/>
              <a:tailEnd type="none" w="med" len="med"/>
            </a:ln>
          </p:spPr>
        </p:cxnSp>
        <p:sp>
          <p:nvSpPr>
            <p:cNvPr id="4782" name="Google Shape;4782;p67"/>
            <p:cNvSpPr/>
            <p:nvPr/>
          </p:nvSpPr>
          <p:spPr>
            <a:xfrm>
              <a:off x="3190524"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4778" name="Google Shape;4778;p67"/>
            <p:cNvSpPr/>
            <p:nvPr/>
          </p:nvSpPr>
          <p:spPr>
            <a:xfrm>
              <a:off x="1912352"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4775" name="Google Shape;4775;p67"/>
            <p:cNvSpPr/>
            <p:nvPr/>
          </p:nvSpPr>
          <p:spPr>
            <a:xfrm>
              <a:off x="634175" y="2986275"/>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4780" name="Google Shape;4780;p67"/>
            <p:cNvSpPr/>
            <p:nvPr/>
          </p:nvSpPr>
          <p:spPr>
            <a:xfrm>
              <a:off x="2599133" y="3853018"/>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sp>
          <p:nvSpPr>
            <p:cNvPr id="4776" name="Google Shape;4776;p67"/>
            <p:cNvSpPr/>
            <p:nvPr/>
          </p:nvSpPr>
          <p:spPr>
            <a:xfrm>
              <a:off x="1225566" y="3853019"/>
              <a:ext cx="591600" cy="591600"/>
            </a:xfrm>
            <a:prstGeom prst="ellipse">
              <a:avLst/>
            </a:prstGeom>
            <a:solidFill>
              <a:srgbClr val="A5B7C6"/>
            </a:solidFill>
            <a:ln w="19050" cap="flat" cmpd="sng">
              <a:solidFill>
                <a:srgbClr val="435D74"/>
              </a:solidFill>
              <a:prstDash val="solid"/>
              <a:round/>
              <a:headEnd type="none" w="sm" len="sm"/>
              <a:tailEnd type="none" w="sm" len="sm"/>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grpSp>
      <p:grpSp>
        <p:nvGrpSpPr>
          <p:cNvPr id="4783" name="Google Shape;4783;p67"/>
          <p:cNvGrpSpPr/>
          <p:nvPr/>
        </p:nvGrpSpPr>
        <p:grpSpPr>
          <a:xfrm>
            <a:off x="4547152" y="3840320"/>
            <a:ext cx="2233504" cy="418232"/>
            <a:chOff x="998425" y="1182125"/>
            <a:chExt cx="1065400" cy="199500"/>
          </a:xfrm>
        </p:grpSpPr>
        <p:sp>
          <p:nvSpPr>
            <p:cNvPr id="4784" name="Google Shape;4784;p67"/>
            <p:cNvSpPr/>
            <p:nvPr/>
          </p:nvSpPr>
          <p:spPr>
            <a:xfrm>
              <a:off x="998425" y="1182125"/>
              <a:ext cx="1065400" cy="199500"/>
            </a:xfrm>
            <a:custGeom>
              <a:avLst/>
              <a:gdLst/>
              <a:ahLst/>
              <a:cxnLst/>
              <a:rect l="l" t="t" r="r" b="b"/>
              <a:pathLst>
                <a:path w="42616" h="7980" extrusionOk="0">
                  <a:moveTo>
                    <a:pt x="4324" y="1"/>
                  </a:moveTo>
                  <a:cubicBezTo>
                    <a:pt x="3159" y="1"/>
                    <a:pt x="1997" y="512"/>
                    <a:pt x="1246" y="1424"/>
                  </a:cubicBezTo>
                  <a:cubicBezTo>
                    <a:pt x="180" y="2720"/>
                    <a:pt x="1" y="4577"/>
                    <a:pt x="867" y="6031"/>
                  </a:cubicBezTo>
                  <a:cubicBezTo>
                    <a:pt x="1600" y="7262"/>
                    <a:pt x="2935" y="7980"/>
                    <a:pt x="4331" y="7980"/>
                  </a:cubicBezTo>
                  <a:cubicBezTo>
                    <a:pt x="4576" y="7980"/>
                    <a:pt x="4822" y="7958"/>
                    <a:pt x="5067" y="7913"/>
                  </a:cubicBezTo>
                  <a:cubicBezTo>
                    <a:pt x="6219" y="7700"/>
                    <a:pt x="7170" y="6971"/>
                    <a:pt x="7733" y="6006"/>
                  </a:cubicBezTo>
                  <a:cubicBezTo>
                    <a:pt x="8105" y="5370"/>
                    <a:pt x="8773" y="4970"/>
                    <a:pt x="9508" y="4970"/>
                  </a:cubicBezTo>
                  <a:lnTo>
                    <a:pt x="10488" y="4970"/>
                  </a:lnTo>
                  <a:cubicBezTo>
                    <a:pt x="11237" y="4970"/>
                    <a:pt x="11919" y="5376"/>
                    <a:pt x="12300" y="6020"/>
                  </a:cubicBezTo>
                  <a:lnTo>
                    <a:pt x="12307" y="6031"/>
                  </a:lnTo>
                  <a:cubicBezTo>
                    <a:pt x="13039" y="7262"/>
                    <a:pt x="14375" y="7980"/>
                    <a:pt x="15771" y="7980"/>
                  </a:cubicBezTo>
                  <a:cubicBezTo>
                    <a:pt x="16016" y="7980"/>
                    <a:pt x="16262" y="7958"/>
                    <a:pt x="16507" y="7913"/>
                  </a:cubicBezTo>
                  <a:cubicBezTo>
                    <a:pt x="17658" y="7700"/>
                    <a:pt x="18610" y="6971"/>
                    <a:pt x="19173" y="6006"/>
                  </a:cubicBezTo>
                  <a:cubicBezTo>
                    <a:pt x="19545" y="5370"/>
                    <a:pt x="20213" y="4970"/>
                    <a:pt x="20946" y="4970"/>
                  </a:cubicBezTo>
                  <a:lnTo>
                    <a:pt x="21928" y="4970"/>
                  </a:lnTo>
                  <a:cubicBezTo>
                    <a:pt x="22677" y="4970"/>
                    <a:pt x="23359" y="5376"/>
                    <a:pt x="23740" y="6020"/>
                  </a:cubicBezTo>
                  <a:lnTo>
                    <a:pt x="23747" y="6031"/>
                  </a:lnTo>
                  <a:cubicBezTo>
                    <a:pt x="24479" y="7262"/>
                    <a:pt x="25815" y="7980"/>
                    <a:pt x="27210" y="7980"/>
                  </a:cubicBezTo>
                  <a:cubicBezTo>
                    <a:pt x="27454" y="7980"/>
                    <a:pt x="27700" y="7958"/>
                    <a:pt x="27945" y="7913"/>
                  </a:cubicBezTo>
                  <a:cubicBezTo>
                    <a:pt x="29098" y="7700"/>
                    <a:pt x="30048" y="6971"/>
                    <a:pt x="30613" y="6006"/>
                  </a:cubicBezTo>
                  <a:cubicBezTo>
                    <a:pt x="30985" y="5370"/>
                    <a:pt x="31652" y="4970"/>
                    <a:pt x="32388" y="4970"/>
                  </a:cubicBezTo>
                  <a:lnTo>
                    <a:pt x="33368" y="4970"/>
                  </a:lnTo>
                  <a:cubicBezTo>
                    <a:pt x="34117" y="4970"/>
                    <a:pt x="34799" y="5376"/>
                    <a:pt x="35180" y="6020"/>
                  </a:cubicBezTo>
                  <a:lnTo>
                    <a:pt x="35187" y="6031"/>
                  </a:lnTo>
                  <a:cubicBezTo>
                    <a:pt x="35920" y="7262"/>
                    <a:pt x="37255" y="7980"/>
                    <a:pt x="38651" y="7980"/>
                  </a:cubicBezTo>
                  <a:cubicBezTo>
                    <a:pt x="38896" y="7980"/>
                    <a:pt x="39142" y="7958"/>
                    <a:pt x="39387" y="7913"/>
                  </a:cubicBezTo>
                  <a:cubicBezTo>
                    <a:pt x="41256" y="7567"/>
                    <a:pt x="42594" y="5866"/>
                    <a:pt x="42615" y="3993"/>
                  </a:cubicBezTo>
                  <a:cubicBezTo>
                    <a:pt x="42599" y="2323"/>
                    <a:pt x="41557" y="833"/>
                    <a:pt x="39994" y="246"/>
                  </a:cubicBezTo>
                  <a:cubicBezTo>
                    <a:pt x="39559" y="81"/>
                    <a:pt x="39100" y="2"/>
                    <a:pt x="38642" y="2"/>
                  </a:cubicBezTo>
                  <a:cubicBezTo>
                    <a:pt x="37477" y="2"/>
                    <a:pt x="36315" y="513"/>
                    <a:pt x="35565" y="1426"/>
                  </a:cubicBezTo>
                  <a:cubicBezTo>
                    <a:pt x="35428" y="1592"/>
                    <a:pt x="35304" y="1770"/>
                    <a:pt x="35195" y="1957"/>
                  </a:cubicBezTo>
                  <a:cubicBezTo>
                    <a:pt x="34817" y="2606"/>
                    <a:pt x="34133" y="3018"/>
                    <a:pt x="33382" y="3018"/>
                  </a:cubicBezTo>
                  <a:lnTo>
                    <a:pt x="32420" y="3018"/>
                  </a:lnTo>
                  <a:cubicBezTo>
                    <a:pt x="31683" y="3018"/>
                    <a:pt x="30996" y="2632"/>
                    <a:pt x="30624" y="1994"/>
                  </a:cubicBezTo>
                  <a:cubicBezTo>
                    <a:pt x="30157" y="1190"/>
                    <a:pt x="29425" y="572"/>
                    <a:pt x="28556" y="244"/>
                  </a:cubicBezTo>
                  <a:cubicBezTo>
                    <a:pt x="28121" y="80"/>
                    <a:pt x="27663" y="1"/>
                    <a:pt x="27205" y="1"/>
                  </a:cubicBezTo>
                  <a:cubicBezTo>
                    <a:pt x="26039" y="1"/>
                    <a:pt x="24877" y="513"/>
                    <a:pt x="24125" y="1426"/>
                  </a:cubicBezTo>
                  <a:cubicBezTo>
                    <a:pt x="23989" y="1592"/>
                    <a:pt x="23865" y="1770"/>
                    <a:pt x="23755" y="1957"/>
                  </a:cubicBezTo>
                  <a:cubicBezTo>
                    <a:pt x="23377" y="2606"/>
                    <a:pt x="22695" y="3018"/>
                    <a:pt x="21944" y="3018"/>
                  </a:cubicBezTo>
                  <a:lnTo>
                    <a:pt x="20981" y="3018"/>
                  </a:lnTo>
                  <a:cubicBezTo>
                    <a:pt x="20243" y="3018"/>
                    <a:pt x="19556" y="2632"/>
                    <a:pt x="19185" y="1994"/>
                  </a:cubicBezTo>
                  <a:cubicBezTo>
                    <a:pt x="18717" y="1190"/>
                    <a:pt x="17987" y="572"/>
                    <a:pt x="17116" y="244"/>
                  </a:cubicBezTo>
                  <a:cubicBezTo>
                    <a:pt x="16681" y="80"/>
                    <a:pt x="16223" y="1"/>
                    <a:pt x="15766" y="1"/>
                  </a:cubicBezTo>
                  <a:cubicBezTo>
                    <a:pt x="14600" y="1"/>
                    <a:pt x="13437" y="513"/>
                    <a:pt x="12686" y="1426"/>
                  </a:cubicBezTo>
                  <a:cubicBezTo>
                    <a:pt x="12549" y="1592"/>
                    <a:pt x="12425" y="1770"/>
                    <a:pt x="12316" y="1957"/>
                  </a:cubicBezTo>
                  <a:cubicBezTo>
                    <a:pt x="11937" y="2606"/>
                    <a:pt x="11255" y="3016"/>
                    <a:pt x="10504" y="3016"/>
                  </a:cubicBezTo>
                  <a:lnTo>
                    <a:pt x="9541" y="3016"/>
                  </a:lnTo>
                  <a:cubicBezTo>
                    <a:pt x="8805" y="3016"/>
                    <a:pt x="8116" y="2632"/>
                    <a:pt x="7745" y="1994"/>
                  </a:cubicBezTo>
                  <a:cubicBezTo>
                    <a:pt x="7277" y="1190"/>
                    <a:pt x="6547" y="572"/>
                    <a:pt x="5676" y="244"/>
                  </a:cubicBezTo>
                  <a:cubicBezTo>
                    <a:pt x="5241" y="80"/>
                    <a:pt x="4782" y="1"/>
                    <a:pt x="432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5" name="Google Shape;4785;p67"/>
            <p:cNvSpPr/>
            <p:nvPr/>
          </p:nvSpPr>
          <p:spPr>
            <a:xfrm>
              <a:off x="1017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6" name="Google Shape;4786;p67"/>
            <p:cNvSpPr/>
            <p:nvPr/>
          </p:nvSpPr>
          <p:spPr>
            <a:xfrm>
              <a:off x="1303250" y="1193175"/>
              <a:ext cx="177475" cy="177500"/>
            </a:xfrm>
            <a:custGeom>
              <a:avLst/>
              <a:gdLst/>
              <a:ahLst/>
              <a:cxnLst/>
              <a:rect l="l" t="t" r="r" b="b"/>
              <a:pathLst>
                <a:path w="7099" h="7100" extrusionOk="0">
                  <a:moveTo>
                    <a:pt x="3550" y="1"/>
                  </a:moveTo>
                  <a:cubicBezTo>
                    <a:pt x="1589" y="1"/>
                    <a:pt x="0" y="1589"/>
                    <a:pt x="0" y="3551"/>
                  </a:cubicBezTo>
                  <a:cubicBezTo>
                    <a:pt x="0" y="5511"/>
                    <a:pt x="1589" y="7099"/>
                    <a:pt x="3550" y="7099"/>
                  </a:cubicBezTo>
                  <a:cubicBezTo>
                    <a:pt x="5510" y="7099"/>
                    <a:pt x="7099" y="5511"/>
                    <a:pt x="7099" y="3551"/>
                  </a:cubicBezTo>
                  <a:cubicBezTo>
                    <a:pt x="7099" y="1589"/>
                    <a:pt x="5510" y="1"/>
                    <a:pt x="3550"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7" name="Google Shape;4787;p67"/>
            <p:cNvSpPr/>
            <p:nvPr/>
          </p:nvSpPr>
          <p:spPr>
            <a:xfrm>
              <a:off x="1589250" y="1193175"/>
              <a:ext cx="177475" cy="177500"/>
            </a:xfrm>
            <a:custGeom>
              <a:avLst/>
              <a:gdLst/>
              <a:ahLst/>
              <a:cxnLst/>
              <a:rect l="l" t="t" r="r" b="b"/>
              <a:pathLst>
                <a:path w="7099" h="7100" extrusionOk="0">
                  <a:moveTo>
                    <a:pt x="3549" y="1"/>
                  </a:moveTo>
                  <a:cubicBezTo>
                    <a:pt x="1589" y="1"/>
                    <a:pt x="0" y="1589"/>
                    <a:pt x="0" y="3551"/>
                  </a:cubicBezTo>
                  <a:cubicBezTo>
                    <a:pt x="0" y="5511"/>
                    <a:pt x="1589" y="7099"/>
                    <a:pt x="3549" y="7099"/>
                  </a:cubicBezTo>
                  <a:cubicBezTo>
                    <a:pt x="5510" y="7099"/>
                    <a:pt x="7099" y="5511"/>
                    <a:pt x="7099" y="3551"/>
                  </a:cubicBezTo>
                  <a:cubicBezTo>
                    <a:pt x="7099" y="1589"/>
                    <a:pt x="5510" y="1"/>
                    <a:pt x="3549"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88" name="Google Shape;4788;p67"/>
            <p:cNvSpPr/>
            <p:nvPr/>
          </p:nvSpPr>
          <p:spPr>
            <a:xfrm>
              <a:off x="1875200" y="1193175"/>
              <a:ext cx="177525" cy="177500"/>
            </a:xfrm>
            <a:custGeom>
              <a:avLst/>
              <a:gdLst/>
              <a:ahLst/>
              <a:cxnLst/>
              <a:rect l="l" t="t" r="r" b="b"/>
              <a:pathLst>
                <a:path w="7101" h="7100" extrusionOk="0">
                  <a:moveTo>
                    <a:pt x="3551" y="1"/>
                  </a:moveTo>
                  <a:cubicBezTo>
                    <a:pt x="1590" y="1"/>
                    <a:pt x="0" y="1589"/>
                    <a:pt x="0" y="3551"/>
                  </a:cubicBezTo>
                  <a:cubicBezTo>
                    <a:pt x="0" y="5511"/>
                    <a:pt x="1590" y="7099"/>
                    <a:pt x="3551" y="7099"/>
                  </a:cubicBezTo>
                  <a:cubicBezTo>
                    <a:pt x="5511" y="7099"/>
                    <a:pt x="7101" y="5511"/>
                    <a:pt x="7101" y="3551"/>
                  </a:cubicBezTo>
                  <a:cubicBezTo>
                    <a:pt x="7101" y="1589"/>
                    <a:pt x="5511" y="1"/>
                    <a:pt x="355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89" name="Google Shape;4789;p67"/>
          <p:cNvGrpSpPr/>
          <p:nvPr/>
        </p:nvGrpSpPr>
        <p:grpSpPr>
          <a:xfrm>
            <a:off x="4547152" y="5114942"/>
            <a:ext cx="2233505" cy="700460"/>
            <a:chOff x="5194708" y="3484366"/>
            <a:chExt cx="3148148" cy="987304"/>
          </a:xfrm>
        </p:grpSpPr>
        <p:grpSp>
          <p:nvGrpSpPr>
            <p:cNvPr id="4790" name="Google Shape;4790;p67"/>
            <p:cNvGrpSpPr/>
            <p:nvPr/>
          </p:nvGrpSpPr>
          <p:grpSpPr>
            <a:xfrm>
              <a:off x="7531521" y="3484366"/>
              <a:ext cx="811335" cy="987304"/>
              <a:chOff x="3379425" y="1617275"/>
              <a:chExt cx="1090650" cy="1327200"/>
            </a:xfrm>
          </p:grpSpPr>
          <p:sp>
            <p:nvSpPr>
              <p:cNvPr id="4791" name="Google Shape;4791;p67"/>
              <p:cNvSpPr/>
              <p:nvPr/>
            </p:nvSpPr>
            <p:spPr>
              <a:xfrm>
                <a:off x="3554475"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2" name="Google Shape;4792;p67"/>
              <p:cNvSpPr/>
              <p:nvPr/>
            </p:nvSpPr>
            <p:spPr>
              <a:xfrm>
                <a:off x="3379425"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5" y="42750"/>
                    </a:cubicBezTo>
                    <a:lnTo>
                      <a:pt x="20935" y="50957"/>
                    </a:lnTo>
                    <a:lnTo>
                      <a:pt x="22691" y="50942"/>
                    </a:lnTo>
                    <a:lnTo>
                      <a:pt x="22691" y="43610"/>
                    </a:lnTo>
                    <a:cubicBezTo>
                      <a:pt x="34312" y="43147"/>
                      <a:pt x="43626" y="33547"/>
                      <a:pt x="43626" y="21814"/>
                    </a:cubicBezTo>
                    <a:cubicBezTo>
                      <a:pt x="43626" y="9785"/>
                      <a:pt x="33841" y="0"/>
                      <a:pt x="21811"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3" name="Google Shape;4793;p67"/>
              <p:cNvSpPr/>
              <p:nvPr/>
            </p:nvSpPr>
            <p:spPr>
              <a:xfrm>
                <a:off x="3775050" y="2771175"/>
                <a:ext cx="300875" cy="173300"/>
              </a:xfrm>
              <a:custGeom>
                <a:avLst/>
                <a:gdLst/>
                <a:ahLst/>
                <a:cxnLst/>
                <a:rect l="l" t="t" r="r" b="b"/>
                <a:pathLst>
                  <a:path w="12035" h="6932" extrusionOk="0">
                    <a:moveTo>
                      <a:pt x="11087" y="1"/>
                    </a:moveTo>
                    <a:cubicBezTo>
                      <a:pt x="10861" y="1"/>
                      <a:pt x="10636" y="87"/>
                      <a:pt x="10465" y="260"/>
                    </a:cubicBezTo>
                    <a:lnTo>
                      <a:pt x="6866" y="3859"/>
                    </a:lnTo>
                    <a:lnTo>
                      <a:pt x="5979" y="4742"/>
                    </a:lnTo>
                    <a:lnTo>
                      <a:pt x="5110" y="3874"/>
                    </a:lnTo>
                    <a:lnTo>
                      <a:pt x="1496" y="260"/>
                    </a:lnTo>
                    <a:cubicBezTo>
                      <a:pt x="1342" y="153"/>
                      <a:pt x="1166" y="102"/>
                      <a:pt x="990" y="102"/>
                    </a:cubicBezTo>
                    <a:cubicBezTo>
                      <a:pt x="731" y="102"/>
                      <a:pt x="475" y="214"/>
                      <a:pt x="298" y="427"/>
                    </a:cubicBezTo>
                    <a:cubicBezTo>
                      <a:pt x="1" y="783"/>
                      <a:pt x="23" y="1306"/>
                      <a:pt x="350" y="1636"/>
                    </a:cubicBezTo>
                    <a:lnTo>
                      <a:pt x="5389" y="6675"/>
                    </a:lnTo>
                    <a:cubicBezTo>
                      <a:pt x="5559" y="6846"/>
                      <a:pt x="5784" y="6931"/>
                      <a:pt x="6009" y="6931"/>
                    </a:cubicBezTo>
                    <a:cubicBezTo>
                      <a:pt x="6234" y="6931"/>
                      <a:pt x="6459" y="6846"/>
                      <a:pt x="6632" y="6675"/>
                    </a:cubicBezTo>
                    <a:lnTo>
                      <a:pt x="11667" y="1636"/>
                    </a:lnTo>
                    <a:cubicBezTo>
                      <a:pt x="12016" y="1250"/>
                      <a:pt x="12034" y="668"/>
                      <a:pt x="11712" y="260"/>
                    </a:cubicBezTo>
                    <a:cubicBezTo>
                      <a:pt x="11539" y="87"/>
                      <a:pt x="11313" y="1"/>
                      <a:pt x="11087"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94" name="Google Shape;4794;p67"/>
            <p:cNvGrpSpPr/>
            <p:nvPr/>
          </p:nvGrpSpPr>
          <p:grpSpPr>
            <a:xfrm>
              <a:off x="6752546" y="3484366"/>
              <a:ext cx="811428" cy="987304"/>
              <a:chOff x="2332275" y="1617275"/>
              <a:chExt cx="1090775" cy="1327200"/>
            </a:xfrm>
          </p:grpSpPr>
          <p:sp>
            <p:nvSpPr>
              <p:cNvPr id="4795" name="Google Shape;4795;p67"/>
              <p:cNvSpPr/>
              <p:nvPr/>
            </p:nvSpPr>
            <p:spPr>
              <a:xfrm>
                <a:off x="2507425"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6" name="Google Shape;4796;p67"/>
              <p:cNvSpPr/>
              <p:nvPr/>
            </p:nvSpPr>
            <p:spPr>
              <a:xfrm>
                <a:off x="2332275" y="1617275"/>
                <a:ext cx="1090775" cy="1273950"/>
              </a:xfrm>
              <a:custGeom>
                <a:avLst/>
                <a:gdLst/>
                <a:ahLst/>
                <a:cxnLst/>
                <a:rect l="l" t="t" r="r" b="b"/>
                <a:pathLst>
                  <a:path w="43631" h="50958" extrusionOk="0">
                    <a:moveTo>
                      <a:pt x="21816" y="0"/>
                    </a:moveTo>
                    <a:cubicBezTo>
                      <a:pt x="9786" y="0"/>
                      <a:pt x="1" y="9788"/>
                      <a:pt x="1" y="21814"/>
                    </a:cubicBezTo>
                    <a:cubicBezTo>
                      <a:pt x="12" y="22289"/>
                      <a:pt x="402" y="22672"/>
                      <a:pt x="880" y="22672"/>
                    </a:cubicBezTo>
                    <a:cubicBezTo>
                      <a:pt x="1355" y="22672"/>
                      <a:pt x="1745" y="22289"/>
                      <a:pt x="1756" y="21814"/>
                    </a:cubicBezTo>
                    <a:cubicBezTo>
                      <a:pt x="1756" y="10757"/>
                      <a:pt x="10754" y="1755"/>
                      <a:pt x="21812" y="1755"/>
                    </a:cubicBezTo>
                    <a:cubicBezTo>
                      <a:pt x="32869" y="1755"/>
                      <a:pt x="41871" y="10753"/>
                      <a:pt x="41871" y="21814"/>
                    </a:cubicBezTo>
                    <a:cubicBezTo>
                      <a:pt x="41871" y="32872"/>
                      <a:pt x="32873" y="41870"/>
                      <a:pt x="21816" y="41870"/>
                    </a:cubicBezTo>
                    <a:cubicBezTo>
                      <a:pt x="21329" y="41870"/>
                      <a:pt x="20936" y="42263"/>
                      <a:pt x="20936" y="42750"/>
                    </a:cubicBezTo>
                    <a:lnTo>
                      <a:pt x="20936" y="50957"/>
                    </a:lnTo>
                    <a:lnTo>
                      <a:pt x="22691" y="50942"/>
                    </a:lnTo>
                    <a:lnTo>
                      <a:pt x="22691" y="43610"/>
                    </a:lnTo>
                    <a:cubicBezTo>
                      <a:pt x="34317" y="43147"/>
                      <a:pt x="43630" y="33547"/>
                      <a:pt x="43627" y="21814"/>
                    </a:cubicBezTo>
                    <a:cubicBezTo>
                      <a:pt x="43627" y="9785"/>
                      <a:pt x="33842" y="0"/>
                      <a:pt x="2181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797" name="Google Shape;4797;p67"/>
              <p:cNvSpPr/>
              <p:nvPr/>
            </p:nvSpPr>
            <p:spPr>
              <a:xfrm>
                <a:off x="2727925"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7" y="427"/>
                    </a:cubicBezTo>
                    <a:cubicBezTo>
                      <a:pt x="1" y="783"/>
                      <a:pt x="27" y="1306"/>
                      <a:pt x="353" y="1636"/>
                    </a:cubicBezTo>
                    <a:lnTo>
                      <a:pt x="5388" y="6675"/>
                    </a:lnTo>
                    <a:cubicBezTo>
                      <a:pt x="5561" y="6846"/>
                      <a:pt x="5785" y="6931"/>
                      <a:pt x="6010" y="6931"/>
                    </a:cubicBezTo>
                    <a:cubicBezTo>
                      <a:pt x="6234" y="6931"/>
                      <a:pt x="6459" y="6846"/>
                      <a:pt x="6632" y="6675"/>
                    </a:cubicBezTo>
                    <a:lnTo>
                      <a:pt x="11667" y="1636"/>
                    </a:lnTo>
                    <a:cubicBezTo>
                      <a:pt x="12019" y="1250"/>
                      <a:pt x="12038" y="668"/>
                      <a:pt x="11711" y="260"/>
                    </a:cubicBezTo>
                    <a:cubicBezTo>
                      <a:pt x="11539" y="87"/>
                      <a:pt x="11313" y="1"/>
                      <a:pt x="11088"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798" name="Google Shape;4798;p67"/>
            <p:cNvGrpSpPr/>
            <p:nvPr/>
          </p:nvGrpSpPr>
          <p:grpSpPr>
            <a:xfrm>
              <a:off x="5973664" y="3484366"/>
              <a:ext cx="811335" cy="987304"/>
              <a:chOff x="1285250" y="1617275"/>
              <a:chExt cx="1090650" cy="1327200"/>
            </a:xfrm>
          </p:grpSpPr>
          <p:sp>
            <p:nvSpPr>
              <p:cNvPr id="4799" name="Google Shape;4799;p67"/>
              <p:cNvSpPr/>
              <p:nvPr/>
            </p:nvSpPr>
            <p:spPr>
              <a:xfrm>
                <a:off x="1460300" y="1792400"/>
                <a:ext cx="740475" cy="740375"/>
              </a:xfrm>
              <a:custGeom>
                <a:avLst/>
                <a:gdLst/>
                <a:ahLst/>
                <a:cxnLst/>
                <a:rect l="l" t="t" r="r" b="b"/>
                <a:pathLst>
                  <a:path w="29619" h="29615" extrusionOk="0">
                    <a:moveTo>
                      <a:pt x="14809" y="1"/>
                    </a:moveTo>
                    <a:cubicBezTo>
                      <a:pt x="6631" y="1"/>
                      <a:pt x="0" y="6631"/>
                      <a:pt x="0" y="14809"/>
                    </a:cubicBezTo>
                    <a:cubicBezTo>
                      <a:pt x="0" y="22988"/>
                      <a:pt x="6631" y="29615"/>
                      <a:pt x="14809" y="29615"/>
                    </a:cubicBezTo>
                    <a:cubicBezTo>
                      <a:pt x="22987" y="29615"/>
                      <a:pt x="29618" y="22988"/>
                      <a:pt x="29618" y="14809"/>
                    </a:cubicBezTo>
                    <a:cubicBezTo>
                      <a:pt x="29618" y="6631"/>
                      <a:pt x="22987" y="1"/>
                      <a:pt x="14809"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0" name="Google Shape;4800;p67"/>
              <p:cNvSpPr/>
              <p:nvPr/>
            </p:nvSpPr>
            <p:spPr>
              <a:xfrm>
                <a:off x="1285250" y="1617275"/>
                <a:ext cx="1090650" cy="1273950"/>
              </a:xfrm>
              <a:custGeom>
                <a:avLst/>
                <a:gdLst/>
                <a:ahLst/>
                <a:cxnLst/>
                <a:rect l="l" t="t" r="r" b="b"/>
                <a:pathLst>
                  <a:path w="43626" h="50958" extrusionOk="0">
                    <a:moveTo>
                      <a:pt x="21811" y="0"/>
                    </a:moveTo>
                    <a:cubicBezTo>
                      <a:pt x="9785" y="0"/>
                      <a:pt x="0" y="9788"/>
                      <a:pt x="0" y="21814"/>
                    </a:cubicBezTo>
                    <a:cubicBezTo>
                      <a:pt x="8" y="22289"/>
                      <a:pt x="401" y="22672"/>
                      <a:pt x="876" y="22672"/>
                    </a:cubicBezTo>
                    <a:cubicBezTo>
                      <a:pt x="1355" y="22672"/>
                      <a:pt x="1744" y="22289"/>
                      <a:pt x="1755" y="21814"/>
                    </a:cubicBezTo>
                    <a:cubicBezTo>
                      <a:pt x="1755" y="10757"/>
                      <a:pt x="10754" y="1755"/>
                      <a:pt x="21811" y="1755"/>
                    </a:cubicBezTo>
                    <a:cubicBezTo>
                      <a:pt x="32869" y="1755"/>
                      <a:pt x="41867" y="10753"/>
                      <a:pt x="41867" y="21814"/>
                    </a:cubicBezTo>
                    <a:cubicBezTo>
                      <a:pt x="41871" y="32872"/>
                      <a:pt x="32869" y="41870"/>
                      <a:pt x="21811" y="41870"/>
                    </a:cubicBezTo>
                    <a:cubicBezTo>
                      <a:pt x="21329" y="41870"/>
                      <a:pt x="20932" y="42263"/>
                      <a:pt x="20936" y="42750"/>
                    </a:cubicBezTo>
                    <a:lnTo>
                      <a:pt x="20936" y="50957"/>
                    </a:lnTo>
                    <a:lnTo>
                      <a:pt x="22691" y="50942"/>
                    </a:lnTo>
                    <a:lnTo>
                      <a:pt x="22691" y="43610"/>
                    </a:lnTo>
                    <a:cubicBezTo>
                      <a:pt x="34312" y="43147"/>
                      <a:pt x="43626" y="33547"/>
                      <a:pt x="43626" y="21814"/>
                    </a:cubicBezTo>
                    <a:cubicBezTo>
                      <a:pt x="43626" y="9785"/>
                      <a:pt x="33841" y="0"/>
                      <a:pt x="21811"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1" name="Google Shape;4801;p67"/>
              <p:cNvSpPr/>
              <p:nvPr/>
            </p:nvSpPr>
            <p:spPr>
              <a:xfrm>
                <a:off x="1680900" y="2771175"/>
                <a:ext cx="300850" cy="173300"/>
              </a:xfrm>
              <a:custGeom>
                <a:avLst/>
                <a:gdLst/>
                <a:ahLst/>
                <a:cxnLst/>
                <a:rect l="l" t="t" r="r" b="b"/>
                <a:pathLst>
                  <a:path w="12034" h="6932" extrusionOk="0">
                    <a:moveTo>
                      <a:pt x="11086" y="1"/>
                    </a:moveTo>
                    <a:cubicBezTo>
                      <a:pt x="10860" y="1"/>
                      <a:pt x="10635" y="87"/>
                      <a:pt x="10464" y="260"/>
                    </a:cubicBezTo>
                    <a:lnTo>
                      <a:pt x="6865" y="3859"/>
                    </a:lnTo>
                    <a:lnTo>
                      <a:pt x="5978" y="4742"/>
                    </a:lnTo>
                    <a:lnTo>
                      <a:pt x="5110" y="3874"/>
                    </a:lnTo>
                    <a:lnTo>
                      <a:pt x="1495" y="260"/>
                    </a:lnTo>
                    <a:cubicBezTo>
                      <a:pt x="1341" y="153"/>
                      <a:pt x="1165" y="102"/>
                      <a:pt x="989" y="102"/>
                    </a:cubicBezTo>
                    <a:cubicBezTo>
                      <a:pt x="730" y="102"/>
                      <a:pt x="474" y="214"/>
                      <a:pt x="297" y="427"/>
                    </a:cubicBezTo>
                    <a:cubicBezTo>
                      <a:pt x="0" y="783"/>
                      <a:pt x="22" y="1306"/>
                      <a:pt x="349" y="1636"/>
                    </a:cubicBezTo>
                    <a:lnTo>
                      <a:pt x="5388" y="6675"/>
                    </a:lnTo>
                    <a:cubicBezTo>
                      <a:pt x="5559" y="6846"/>
                      <a:pt x="5783" y="6931"/>
                      <a:pt x="6008" y="6931"/>
                    </a:cubicBezTo>
                    <a:cubicBezTo>
                      <a:pt x="6233" y="6931"/>
                      <a:pt x="6458" y="6846"/>
                      <a:pt x="6631" y="6675"/>
                    </a:cubicBezTo>
                    <a:lnTo>
                      <a:pt x="11666" y="1636"/>
                    </a:lnTo>
                    <a:cubicBezTo>
                      <a:pt x="12015" y="1250"/>
                      <a:pt x="12034" y="668"/>
                      <a:pt x="11711" y="260"/>
                    </a:cubicBezTo>
                    <a:cubicBezTo>
                      <a:pt x="11538" y="87"/>
                      <a:pt x="11312" y="1"/>
                      <a:pt x="11086"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02" name="Google Shape;4802;p67"/>
            <p:cNvGrpSpPr/>
            <p:nvPr/>
          </p:nvGrpSpPr>
          <p:grpSpPr>
            <a:xfrm>
              <a:off x="5194708" y="3484366"/>
              <a:ext cx="811409" cy="987304"/>
              <a:chOff x="238125" y="1617275"/>
              <a:chExt cx="1090750" cy="1327200"/>
            </a:xfrm>
          </p:grpSpPr>
          <p:sp>
            <p:nvSpPr>
              <p:cNvPr id="4803" name="Google Shape;4803;p67"/>
              <p:cNvSpPr/>
              <p:nvPr/>
            </p:nvSpPr>
            <p:spPr>
              <a:xfrm>
                <a:off x="413250" y="1792400"/>
                <a:ext cx="740375" cy="740375"/>
              </a:xfrm>
              <a:custGeom>
                <a:avLst/>
                <a:gdLst/>
                <a:ahLst/>
                <a:cxnLst/>
                <a:rect l="l" t="t" r="r" b="b"/>
                <a:pathLst>
                  <a:path w="29615" h="29615" extrusionOk="0">
                    <a:moveTo>
                      <a:pt x="14810" y="1"/>
                    </a:moveTo>
                    <a:cubicBezTo>
                      <a:pt x="6631" y="1"/>
                      <a:pt x="1" y="6631"/>
                      <a:pt x="1" y="14809"/>
                    </a:cubicBezTo>
                    <a:cubicBezTo>
                      <a:pt x="1" y="22988"/>
                      <a:pt x="6631" y="29615"/>
                      <a:pt x="14810" y="29615"/>
                    </a:cubicBezTo>
                    <a:cubicBezTo>
                      <a:pt x="22988" y="29615"/>
                      <a:pt x="29615" y="22988"/>
                      <a:pt x="29615" y="14809"/>
                    </a:cubicBezTo>
                    <a:cubicBezTo>
                      <a:pt x="29615" y="6631"/>
                      <a:pt x="22988" y="1"/>
                      <a:pt x="14810"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4" name="Google Shape;4804;p67"/>
              <p:cNvSpPr/>
              <p:nvPr/>
            </p:nvSpPr>
            <p:spPr>
              <a:xfrm>
                <a:off x="238125" y="1617275"/>
                <a:ext cx="1090750" cy="1273950"/>
              </a:xfrm>
              <a:custGeom>
                <a:avLst/>
                <a:gdLst/>
                <a:ahLst/>
                <a:cxnLst/>
                <a:rect l="l" t="t" r="r" b="b"/>
                <a:pathLst>
                  <a:path w="43630" h="50958" extrusionOk="0">
                    <a:moveTo>
                      <a:pt x="21815" y="0"/>
                    </a:moveTo>
                    <a:cubicBezTo>
                      <a:pt x="9785" y="0"/>
                      <a:pt x="0" y="9788"/>
                      <a:pt x="0" y="21814"/>
                    </a:cubicBezTo>
                    <a:cubicBezTo>
                      <a:pt x="11" y="22289"/>
                      <a:pt x="401" y="22672"/>
                      <a:pt x="879" y="22672"/>
                    </a:cubicBezTo>
                    <a:cubicBezTo>
                      <a:pt x="1354" y="22672"/>
                      <a:pt x="1744" y="22289"/>
                      <a:pt x="1755" y="21814"/>
                    </a:cubicBezTo>
                    <a:cubicBezTo>
                      <a:pt x="1755" y="10757"/>
                      <a:pt x="10753" y="1755"/>
                      <a:pt x="21811" y="1755"/>
                    </a:cubicBezTo>
                    <a:cubicBezTo>
                      <a:pt x="32869" y="1755"/>
                      <a:pt x="41870" y="10753"/>
                      <a:pt x="41870" y="21814"/>
                    </a:cubicBezTo>
                    <a:cubicBezTo>
                      <a:pt x="41870" y="32872"/>
                      <a:pt x="32872" y="41870"/>
                      <a:pt x="21815" y="41870"/>
                    </a:cubicBezTo>
                    <a:cubicBezTo>
                      <a:pt x="21329" y="41870"/>
                      <a:pt x="20935" y="42263"/>
                      <a:pt x="20935" y="42750"/>
                    </a:cubicBezTo>
                    <a:lnTo>
                      <a:pt x="20935" y="50957"/>
                    </a:lnTo>
                    <a:lnTo>
                      <a:pt x="22694" y="50942"/>
                    </a:lnTo>
                    <a:lnTo>
                      <a:pt x="22694" y="43610"/>
                    </a:lnTo>
                    <a:cubicBezTo>
                      <a:pt x="34316" y="43147"/>
                      <a:pt x="43629" y="33547"/>
                      <a:pt x="43626" y="21814"/>
                    </a:cubicBezTo>
                    <a:cubicBezTo>
                      <a:pt x="43626" y="9785"/>
                      <a:pt x="33841" y="0"/>
                      <a:pt x="2181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5" name="Google Shape;4805;p67"/>
              <p:cNvSpPr/>
              <p:nvPr/>
            </p:nvSpPr>
            <p:spPr>
              <a:xfrm>
                <a:off x="633750" y="2771175"/>
                <a:ext cx="300950" cy="173300"/>
              </a:xfrm>
              <a:custGeom>
                <a:avLst/>
                <a:gdLst/>
                <a:ahLst/>
                <a:cxnLst/>
                <a:rect l="l" t="t" r="r" b="b"/>
                <a:pathLst>
                  <a:path w="12038" h="6932" extrusionOk="0">
                    <a:moveTo>
                      <a:pt x="11088" y="1"/>
                    </a:moveTo>
                    <a:cubicBezTo>
                      <a:pt x="10863" y="1"/>
                      <a:pt x="10637" y="87"/>
                      <a:pt x="10465" y="260"/>
                    </a:cubicBezTo>
                    <a:lnTo>
                      <a:pt x="6869" y="3859"/>
                    </a:lnTo>
                    <a:lnTo>
                      <a:pt x="5982" y="4742"/>
                    </a:lnTo>
                    <a:lnTo>
                      <a:pt x="5110" y="3874"/>
                    </a:lnTo>
                    <a:lnTo>
                      <a:pt x="1496" y="260"/>
                    </a:lnTo>
                    <a:cubicBezTo>
                      <a:pt x="1342" y="153"/>
                      <a:pt x="1165" y="102"/>
                      <a:pt x="990" y="102"/>
                    </a:cubicBezTo>
                    <a:cubicBezTo>
                      <a:pt x="731" y="102"/>
                      <a:pt x="475" y="214"/>
                      <a:pt x="298" y="427"/>
                    </a:cubicBezTo>
                    <a:cubicBezTo>
                      <a:pt x="1" y="783"/>
                      <a:pt x="27" y="1306"/>
                      <a:pt x="353" y="1636"/>
                    </a:cubicBezTo>
                    <a:lnTo>
                      <a:pt x="5389" y="6675"/>
                    </a:lnTo>
                    <a:cubicBezTo>
                      <a:pt x="5561" y="6846"/>
                      <a:pt x="5786" y="6931"/>
                      <a:pt x="6010" y="6931"/>
                    </a:cubicBezTo>
                    <a:cubicBezTo>
                      <a:pt x="6235" y="6931"/>
                      <a:pt x="6459" y="6846"/>
                      <a:pt x="6632" y="6675"/>
                    </a:cubicBezTo>
                    <a:lnTo>
                      <a:pt x="11667" y="1636"/>
                    </a:lnTo>
                    <a:cubicBezTo>
                      <a:pt x="12019" y="1250"/>
                      <a:pt x="12038" y="668"/>
                      <a:pt x="11711" y="260"/>
                    </a:cubicBezTo>
                    <a:cubicBezTo>
                      <a:pt x="11539" y="87"/>
                      <a:pt x="11313" y="1"/>
                      <a:pt x="1108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806" name="Google Shape;4806;p67"/>
          <p:cNvGrpSpPr/>
          <p:nvPr/>
        </p:nvGrpSpPr>
        <p:grpSpPr>
          <a:xfrm>
            <a:off x="9125397" y="3309460"/>
            <a:ext cx="2105395" cy="696307"/>
            <a:chOff x="6853641" y="2534077"/>
            <a:chExt cx="1515545" cy="501229"/>
          </a:xfrm>
        </p:grpSpPr>
        <p:grpSp>
          <p:nvGrpSpPr>
            <p:cNvPr id="4807" name="Google Shape;4807;p67"/>
            <p:cNvGrpSpPr/>
            <p:nvPr/>
          </p:nvGrpSpPr>
          <p:grpSpPr>
            <a:xfrm>
              <a:off x="6853641" y="2618923"/>
              <a:ext cx="1515545" cy="324556"/>
              <a:chOff x="6853641" y="2618923"/>
              <a:chExt cx="1515545" cy="324556"/>
            </a:xfrm>
          </p:grpSpPr>
          <p:sp>
            <p:nvSpPr>
              <p:cNvPr id="4808" name="Google Shape;4808;p67"/>
              <p:cNvSpPr/>
              <p:nvPr/>
            </p:nvSpPr>
            <p:spPr>
              <a:xfrm>
                <a:off x="7747010" y="2781222"/>
                <a:ext cx="324578" cy="162258"/>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09" name="Google Shape;4809;p67"/>
              <p:cNvSpPr/>
              <p:nvPr/>
            </p:nvSpPr>
            <p:spPr>
              <a:xfrm>
                <a:off x="7449412" y="2618923"/>
                <a:ext cx="324496" cy="162258"/>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0" name="Google Shape;4810;p67"/>
              <p:cNvSpPr/>
              <p:nvPr/>
            </p:nvSpPr>
            <p:spPr>
              <a:xfrm>
                <a:off x="6853641" y="2618923"/>
                <a:ext cx="324824" cy="16279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1" name="Google Shape;4811;p67"/>
              <p:cNvSpPr/>
              <p:nvPr/>
            </p:nvSpPr>
            <p:spPr>
              <a:xfrm>
                <a:off x="7151691" y="2781222"/>
                <a:ext cx="324578" cy="162258"/>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2" name="Google Shape;4812;p67"/>
              <p:cNvSpPr/>
              <p:nvPr/>
            </p:nvSpPr>
            <p:spPr>
              <a:xfrm>
                <a:off x="8044362" y="2618923"/>
                <a:ext cx="324824" cy="16279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813" name="Google Shape;4813;p67"/>
            <p:cNvSpPr/>
            <p:nvPr/>
          </p:nvSpPr>
          <p:spPr>
            <a:xfrm>
              <a:off x="6899264" y="2673830"/>
              <a:ext cx="225242" cy="361476"/>
            </a:xfrm>
            <a:custGeom>
              <a:avLst/>
              <a:gdLst/>
              <a:ahLst/>
              <a:cxnLst/>
              <a:rect l="l" t="t" r="r" b="b"/>
              <a:pathLst>
                <a:path w="5485" h="8802" extrusionOk="0">
                  <a:moveTo>
                    <a:pt x="2798" y="1197"/>
                  </a:moveTo>
                  <a:cubicBezTo>
                    <a:pt x="2989" y="1197"/>
                    <a:pt x="3183" y="1234"/>
                    <a:pt x="3366" y="1310"/>
                  </a:cubicBezTo>
                  <a:cubicBezTo>
                    <a:pt x="3924" y="1542"/>
                    <a:pt x="4287" y="2085"/>
                    <a:pt x="4287" y="2689"/>
                  </a:cubicBezTo>
                  <a:cubicBezTo>
                    <a:pt x="4287" y="3512"/>
                    <a:pt x="3619" y="4178"/>
                    <a:pt x="2796" y="4180"/>
                  </a:cubicBezTo>
                  <a:cubicBezTo>
                    <a:pt x="2194" y="4180"/>
                    <a:pt x="1650" y="3816"/>
                    <a:pt x="1419" y="3259"/>
                  </a:cubicBezTo>
                  <a:cubicBezTo>
                    <a:pt x="1189" y="2702"/>
                    <a:pt x="1317" y="2061"/>
                    <a:pt x="1743" y="1634"/>
                  </a:cubicBezTo>
                  <a:cubicBezTo>
                    <a:pt x="2028" y="1348"/>
                    <a:pt x="2410" y="1197"/>
                    <a:pt x="2798" y="1197"/>
                  </a:cubicBezTo>
                  <a:close/>
                  <a:moveTo>
                    <a:pt x="2796" y="1"/>
                  </a:moveTo>
                  <a:cubicBezTo>
                    <a:pt x="2254" y="1"/>
                    <a:pt x="1714" y="165"/>
                    <a:pt x="1253" y="489"/>
                  </a:cubicBezTo>
                  <a:cubicBezTo>
                    <a:pt x="433" y="1063"/>
                    <a:pt x="0" y="2048"/>
                    <a:pt x="132" y="3043"/>
                  </a:cubicBezTo>
                  <a:cubicBezTo>
                    <a:pt x="263" y="4037"/>
                    <a:pt x="937" y="4875"/>
                    <a:pt x="1880" y="5216"/>
                  </a:cubicBezTo>
                  <a:lnTo>
                    <a:pt x="1880" y="6705"/>
                  </a:lnTo>
                  <a:lnTo>
                    <a:pt x="1067" y="6705"/>
                  </a:lnTo>
                  <a:lnTo>
                    <a:pt x="2723" y="8801"/>
                  </a:lnTo>
                  <a:lnTo>
                    <a:pt x="4377" y="6705"/>
                  </a:lnTo>
                  <a:lnTo>
                    <a:pt x="3563" y="6705"/>
                  </a:lnTo>
                  <a:lnTo>
                    <a:pt x="3563" y="5265"/>
                  </a:lnTo>
                  <a:cubicBezTo>
                    <a:pt x="4703" y="4926"/>
                    <a:pt x="5485" y="3877"/>
                    <a:pt x="5485" y="2689"/>
                  </a:cubicBezTo>
                  <a:cubicBezTo>
                    <a:pt x="5485" y="1685"/>
                    <a:pt x="4926" y="766"/>
                    <a:pt x="4037" y="304"/>
                  </a:cubicBezTo>
                  <a:cubicBezTo>
                    <a:pt x="3647" y="101"/>
                    <a:pt x="3221" y="1"/>
                    <a:pt x="279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4" name="Google Shape;4814;p67"/>
            <p:cNvSpPr/>
            <p:nvPr/>
          </p:nvSpPr>
          <p:spPr>
            <a:xfrm>
              <a:off x="7198259" y="2534077"/>
              <a:ext cx="235261" cy="360532"/>
            </a:xfrm>
            <a:custGeom>
              <a:avLst/>
              <a:gdLst/>
              <a:ahLst/>
              <a:cxnLst/>
              <a:rect l="l" t="t" r="r" b="b"/>
              <a:pathLst>
                <a:path w="5729" h="8779" extrusionOk="0">
                  <a:moveTo>
                    <a:pt x="2858" y="4600"/>
                  </a:moveTo>
                  <a:cubicBezTo>
                    <a:pt x="3050" y="4600"/>
                    <a:pt x="3243" y="4637"/>
                    <a:pt x="3427" y="4713"/>
                  </a:cubicBezTo>
                  <a:cubicBezTo>
                    <a:pt x="3985" y="4945"/>
                    <a:pt x="4347" y="5488"/>
                    <a:pt x="4347" y="6092"/>
                  </a:cubicBezTo>
                  <a:cubicBezTo>
                    <a:pt x="4347" y="6915"/>
                    <a:pt x="3679" y="7581"/>
                    <a:pt x="2856" y="7583"/>
                  </a:cubicBezTo>
                  <a:cubicBezTo>
                    <a:pt x="2254" y="7583"/>
                    <a:pt x="1709" y="7219"/>
                    <a:pt x="1479" y="6662"/>
                  </a:cubicBezTo>
                  <a:cubicBezTo>
                    <a:pt x="1248" y="6105"/>
                    <a:pt x="1376" y="5464"/>
                    <a:pt x="1802" y="5037"/>
                  </a:cubicBezTo>
                  <a:cubicBezTo>
                    <a:pt x="2087" y="4751"/>
                    <a:pt x="2469" y="4600"/>
                    <a:pt x="2858" y="4600"/>
                  </a:cubicBezTo>
                  <a:close/>
                  <a:moveTo>
                    <a:pt x="2883" y="0"/>
                  </a:moveTo>
                  <a:lnTo>
                    <a:pt x="1227" y="2097"/>
                  </a:lnTo>
                  <a:lnTo>
                    <a:pt x="2041" y="2097"/>
                  </a:lnTo>
                  <a:lnTo>
                    <a:pt x="2041" y="3530"/>
                  </a:lnTo>
                  <a:cubicBezTo>
                    <a:pt x="782" y="3930"/>
                    <a:pt x="1" y="5184"/>
                    <a:pt x="196" y="6491"/>
                  </a:cubicBezTo>
                  <a:cubicBezTo>
                    <a:pt x="393" y="7796"/>
                    <a:pt x="1507" y="8766"/>
                    <a:pt x="2827" y="8779"/>
                  </a:cubicBezTo>
                  <a:cubicBezTo>
                    <a:pt x="2837" y="8779"/>
                    <a:pt x="2847" y="8779"/>
                    <a:pt x="2857" y="8779"/>
                  </a:cubicBezTo>
                  <a:cubicBezTo>
                    <a:pt x="4165" y="8779"/>
                    <a:pt x="5285" y="7837"/>
                    <a:pt x="5506" y="6545"/>
                  </a:cubicBezTo>
                  <a:cubicBezTo>
                    <a:pt x="5729" y="5245"/>
                    <a:pt x="4974" y="3973"/>
                    <a:pt x="3724" y="3547"/>
                  </a:cubicBezTo>
                  <a:lnTo>
                    <a:pt x="3724" y="2097"/>
                  </a:lnTo>
                  <a:lnTo>
                    <a:pt x="4539" y="2097"/>
                  </a:lnTo>
                  <a:lnTo>
                    <a:pt x="2883"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5" name="Google Shape;4815;p67"/>
            <p:cNvSpPr/>
            <p:nvPr/>
          </p:nvSpPr>
          <p:spPr>
            <a:xfrm>
              <a:off x="7493639" y="2673830"/>
              <a:ext cx="225200" cy="361476"/>
            </a:xfrm>
            <a:custGeom>
              <a:avLst/>
              <a:gdLst/>
              <a:ahLst/>
              <a:cxnLst/>
              <a:rect l="l" t="t" r="r" b="b"/>
              <a:pathLst>
                <a:path w="5484" h="8802" extrusionOk="0">
                  <a:moveTo>
                    <a:pt x="2796" y="1197"/>
                  </a:moveTo>
                  <a:cubicBezTo>
                    <a:pt x="2988" y="1197"/>
                    <a:pt x="3181" y="1234"/>
                    <a:pt x="3365" y="1310"/>
                  </a:cubicBezTo>
                  <a:cubicBezTo>
                    <a:pt x="3922" y="1542"/>
                    <a:pt x="4286" y="2085"/>
                    <a:pt x="4286" y="2689"/>
                  </a:cubicBezTo>
                  <a:cubicBezTo>
                    <a:pt x="4284" y="3512"/>
                    <a:pt x="3618" y="4178"/>
                    <a:pt x="2795" y="4180"/>
                  </a:cubicBezTo>
                  <a:cubicBezTo>
                    <a:pt x="2191" y="4180"/>
                    <a:pt x="1649" y="3816"/>
                    <a:pt x="1418" y="3259"/>
                  </a:cubicBezTo>
                  <a:cubicBezTo>
                    <a:pt x="1187" y="2702"/>
                    <a:pt x="1314" y="2061"/>
                    <a:pt x="1740" y="1634"/>
                  </a:cubicBezTo>
                  <a:cubicBezTo>
                    <a:pt x="2026" y="1348"/>
                    <a:pt x="2408" y="1197"/>
                    <a:pt x="2796" y="1197"/>
                  </a:cubicBezTo>
                  <a:close/>
                  <a:moveTo>
                    <a:pt x="2794" y="1"/>
                  </a:moveTo>
                  <a:cubicBezTo>
                    <a:pt x="2254" y="1"/>
                    <a:pt x="1717" y="163"/>
                    <a:pt x="1258" y="484"/>
                  </a:cubicBezTo>
                  <a:cubicBezTo>
                    <a:pt x="436" y="1055"/>
                    <a:pt x="1" y="2037"/>
                    <a:pt x="127" y="3030"/>
                  </a:cubicBezTo>
                  <a:cubicBezTo>
                    <a:pt x="255" y="4023"/>
                    <a:pt x="923" y="4863"/>
                    <a:pt x="1862" y="5211"/>
                  </a:cubicBezTo>
                  <a:lnTo>
                    <a:pt x="1862" y="6705"/>
                  </a:lnTo>
                  <a:lnTo>
                    <a:pt x="1048" y="6705"/>
                  </a:lnTo>
                  <a:lnTo>
                    <a:pt x="2704" y="8801"/>
                  </a:lnTo>
                  <a:lnTo>
                    <a:pt x="4360" y="6705"/>
                  </a:lnTo>
                  <a:lnTo>
                    <a:pt x="3545" y="6705"/>
                  </a:lnTo>
                  <a:lnTo>
                    <a:pt x="3545" y="5270"/>
                  </a:lnTo>
                  <a:cubicBezTo>
                    <a:pt x="4693" y="4935"/>
                    <a:pt x="5484" y="3883"/>
                    <a:pt x="5484" y="2689"/>
                  </a:cubicBezTo>
                  <a:cubicBezTo>
                    <a:pt x="5482" y="1688"/>
                    <a:pt x="4927" y="769"/>
                    <a:pt x="4039" y="306"/>
                  </a:cubicBezTo>
                  <a:cubicBezTo>
                    <a:pt x="3647" y="102"/>
                    <a:pt x="3220" y="1"/>
                    <a:pt x="279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6" name="Google Shape;4816;p67"/>
            <p:cNvSpPr/>
            <p:nvPr/>
          </p:nvSpPr>
          <p:spPr>
            <a:xfrm>
              <a:off x="7792387" y="2534077"/>
              <a:ext cx="235261" cy="360532"/>
            </a:xfrm>
            <a:custGeom>
              <a:avLst/>
              <a:gdLst/>
              <a:ahLst/>
              <a:cxnLst/>
              <a:rect l="l" t="t" r="r" b="b"/>
              <a:pathLst>
                <a:path w="5729" h="8779" extrusionOk="0">
                  <a:moveTo>
                    <a:pt x="2861" y="4601"/>
                  </a:moveTo>
                  <a:cubicBezTo>
                    <a:pt x="3053" y="4601"/>
                    <a:pt x="3247" y="4638"/>
                    <a:pt x="3431" y="4715"/>
                  </a:cubicBezTo>
                  <a:cubicBezTo>
                    <a:pt x="3988" y="4945"/>
                    <a:pt x="4351" y="5488"/>
                    <a:pt x="4351" y="6092"/>
                  </a:cubicBezTo>
                  <a:cubicBezTo>
                    <a:pt x="4350" y="6915"/>
                    <a:pt x="3684" y="7581"/>
                    <a:pt x="2861" y="7583"/>
                  </a:cubicBezTo>
                  <a:cubicBezTo>
                    <a:pt x="2259" y="7583"/>
                    <a:pt x="1714" y="7219"/>
                    <a:pt x="1483" y="6662"/>
                  </a:cubicBezTo>
                  <a:cubicBezTo>
                    <a:pt x="1253" y="6105"/>
                    <a:pt x="1381" y="5464"/>
                    <a:pt x="1807" y="5038"/>
                  </a:cubicBezTo>
                  <a:cubicBezTo>
                    <a:pt x="2092" y="4752"/>
                    <a:pt x="2473" y="4601"/>
                    <a:pt x="2861" y="4601"/>
                  </a:cubicBezTo>
                  <a:close/>
                  <a:moveTo>
                    <a:pt x="2870" y="0"/>
                  </a:moveTo>
                  <a:lnTo>
                    <a:pt x="1214" y="2097"/>
                  </a:lnTo>
                  <a:lnTo>
                    <a:pt x="2028" y="2097"/>
                  </a:lnTo>
                  <a:lnTo>
                    <a:pt x="2028" y="3536"/>
                  </a:lnTo>
                  <a:cubicBezTo>
                    <a:pt x="773" y="3944"/>
                    <a:pt x="1" y="5205"/>
                    <a:pt x="204" y="6508"/>
                  </a:cubicBezTo>
                  <a:cubicBezTo>
                    <a:pt x="409" y="7813"/>
                    <a:pt x="1532" y="8776"/>
                    <a:pt x="2851" y="8779"/>
                  </a:cubicBezTo>
                  <a:cubicBezTo>
                    <a:pt x="2854" y="8779"/>
                    <a:pt x="2858" y="8779"/>
                    <a:pt x="2861" y="8779"/>
                  </a:cubicBezTo>
                  <a:cubicBezTo>
                    <a:pt x="4178" y="8779"/>
                    <a:pt x="5300" y="7828"/>
                    <a:pt x="5514" y="6527"/>
                  </a:cubicBezTo>
                  <a:cubicBezTo>
                    <a:pt x="5729" y="5225"/>
                    <a:pt x="4965" y="3959"/>
                    <a:pt x="3713" y="3543"/>
                  </a:cubicBezTo>
                  <a:lnTo>
                    <a:pt x="3713" y="2097"/>
                  </a:lnTo>
                  <a:lnTo>
                    <a:pt x="4526" y="2097"/>
                  </a:lnTo>
                  <a:lnTo>
                    <a:pt x="2870"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17" name="Google Shape;4817;p67"/>
            <p:cNvSpPr/>
            <p:nvPr/>
          </p:nvSpPr>
          <p:spPr>
            <a:xfrm>
              <a:off x="8090150" y="2673789"/>
              <a:ext cx="225857" cy="361517"/>
            </a:xfrm>
            <a:custGeom>
              <a:avLst/>
              <a:gdLst/>
              <a:ahLst/>
              <a:cxnLst/>
              <a:rect l="l" t="t" r="r" b="b"/>
              <a:pathLst>
                <a:path w="5500" h="8803" extrusionOk="0">
                  <a:moveTo>
                    <a:pt x="2811" y="1198"/>
                  </a:moveTo>
                  <a:cubicBezTo>
                    <a:pt x="3003" y="1198"/>
                    <a:pt x="3197" y="1235"/>
                    <a:pt x="3381" y="1311"/>
                  </a:cubicBezTo>
                  <a:cubicBezTo>
                    <a:pt x="3938" y="1543"/>
                    <a:pt x="4302" y="2086"/>
                    <a:pt x="4302" y="2690"/>
                  </a:cubicBezTo>
                  <a:cubicBezTo>
                    <a:pt x="4300" y="3513"/>
                    <a:pt x="3634" y="4179"/>
                    <a:pt x="2811" y="4181"/>
                  </a:cubicBezTo>
                  <a:cubicBezTo>
                    <a:pt x="2209" y="4181"/>
                    <a:pt x="1664" y="3817"/>
                    <a:pt x="1434" y="3260"/>
                  </a:cubicBezTo>
                  <a:cubicBezTo>
                    <a:pt x="1203" y="2703"/>
                    <a:pt x="1330" y="2062"/>
                    <a:pt x="1757" y="1635"/>
                  </a:cubicBezTo>
                  <a:cubicBezTo>
                    <a:pt x="2042" y="1349"/>
                    <a:pt x="2423" y="1198"/>
                    <a:pt x="2811" y="1198"/>
                  </a:cubicBezTo>
                  <a:close/>
                  <a:moveTo>
                    <a:pt x="2812" y="1"/>
                  </a:moveTo>
                  <a:cubicBezTo>
                    <a:pt x="2257" y="1"/>
                    <a:pt x="1706" y="172"/>
                    <a:pt x="1238" y="509"/>
                  </a:cubicBezTo>
                  <a:cubicBezTo>
                    <a:pt x="420" y="1098"/>
                    <a:pt x="1" y="2097"/>
                    <a:pt x="154" y="3095"/>
                  </a:cubicBezTo>
                  <a:cubicBezTo>
                    <a:pt x="306" y="4093"/>
                    <a:pt x="1005" y="4920"/>
                    <a:pt x="1962" y="5239"/>
                  </a:cubicBezTo>
                  <a:lnTo>
                    <a:pt x="1962" y="6706"/>
                  </a:lnTo>
                  <a:lnTo>
                    <a:pt x="1149" y="6706"/>
                  </a:lnTo>
                  <a:lnTo>
                    <a:pt x="2804" y="8802"/>
                  </a:lnTo>
                  <a:lnTo>
                    <a:pt x="4460" y="6706"/>
                  </a:lnTo>
                  <a:lnTo>
                    <a:pt x="3645" y="6706"/>
                  </a:lnTo>
                  <a:lnTo>
                    <a:pt x="3645" y="5244"/>
                  </a:lnTo>
                  <a:cubicBezTo>
                    <a:pt x="4750" y="4882"/>
                    <a:pt x="5499" y="3852"/>
                    <a:pt x="5499" y="2690"/>
                  </a:cubicBezTo>
                  <a:cubicBezTo>
                    <a:pt x="5499" y="1679"/>
                    <a:pt x="4934" y="755"/>
                    <a:pt x="4036" y="296"/>
                  </a:cubicBezTo>
                  <a:cubicBezTo>
                    <a:pt x="3650" y="98"/>
                    <a:pt x="3230" y="1"/>
                    <a:pt x="2812"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18" name="Google Shape;4818;p67"/>
          <p:cNvGrpSpPr/>
          <p:nvPr/>
        </p:nvGrpSpPr>
        <p:grpSpPr>
          <a:xfrm>
            <a:off x="4585254" y="4476181"/>
            <a:ext cx="2157301" cy="462155"/>
            <a:chOff x="1808063" y="4294338"/>
            <a:chExt cx="3370782" cy="721817"/>
          </a:xfrm>
        </p:grpSpPr>
        <p:sp>
          <p:nvSpPr>
            <p:cNvPr id="4819" name="Google Shape;4819;p67"/>
            <p:cNvSpPr/>
            <p:nvPr/>
          </p:nvSpPr>
          <p:spPr>
            <a:xfrm>
              <a:off x="1906300"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0" name="Google Shape;4820;p67"/>
            <p:cNvSpPr/>
            <p:nvPr/>
          </p:nvSpPr>
          <p:spPr>
            <a:xfrm>
              <a:off x="3795035" y="4655290"/>
              <a:ext cx="721912" cy="360865"/>
            </a:xfrm>
            <a:custGeom>
              <a:avLst/>
              <a:gdLst/>
              <a:ahLst/>
              <a:cxnLst/>
              <a:rect l="l" t="t" r="r" b="b"/>
              <a:pathLst>
                <a:path w="7904" h="3951" extrusionOk="0">
                  <a:moveTo>
                    <a:pt x="1" y="0"/>
                  </a:moveTo>
                  <a:cubicBezTo>
                    <a:pt x="1" y="540"/>
                    <a:pt x="113" y="1075"/>
                    <a:pt x="327" y="1571"/>
                  </a:cubicBezTo>
                  <a:cubicBezTo>
                    <a:pt x="938" y="2971"/>
                    <a:pt x="2332" y="3951"/>
                    <a:pt x="3953" y="3951"/>
                  </a:cubicBezTo>
                  <a:cubicBezTo>
                    <a:pt x="6132" y="3951"/>
                    <a:pt x="7903" y="2178"/>
                    <a:pt x="7903" y="0"/>
                  </a:cubicBezTo>
                  <a:lnTo>
                    <a:pt x="7248" y="0"/>
                  </a:lnTo>
                  <a:cubicBezTo>
                    <a:pt x="7248" y="1818"/>
                    <a:pt x="5770" y="3296"/>
                    <a:pt x="3953" y="3296"/>
                  </a:cubicBezTo>
                  <a:cubicBezTo>
                    <a:pt x="2135" y="3296"/>
                    <a:pt x="657" y="1818"/>
                    <a:pt x="657"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1" name="Google Shape;4821;p67"/>
            <p:cNvSpPr/>
            <p:nvPr/>
          </p:nvSpPr>
          <p:spPr>
            <a:xfrm>
              <a:off x="3133137" y="4294338"/>
              <a:ext cx="721729" cy="360865"/>
            </a:xfrm>
            <a:custGeom>
              <a:avLst/>
              <a:gdLst/>
              <a:ahLst/>
              <a:cxnLst/>
              <a:rect l="l" t="t" r="r" b="b"/>
              <a:pathLst>
                <a:path w="7902" h="3951" extrusionOk="0">
                  <a:moveTo>
                    <a:pt x="3951" y="0"/>
                  </a:moveTo>
                  <a:cubicBezTo>
                    <a:pt x="2330" y="0"/>
                    <a:pt x="935" y="982"/>
                    <a:pt x="327" y="2380"/>
                  </a:cubicBezTo>
                  <a:cubicBezTo>
                    <a:pt x="111" y="2874"/>
                    <a:pt x="0" y="3409"/>
                    <a:pt x="0" y="3951"/>
                  </a:cubicBezTo>
                  <a:lnTo>
                    <a:pt x="653" y="3951"/>
                  </a:lnTo>
                  <a:cubicBezTo>
                    <a:pt x="653" y="2135"/>
                    <a:pt x="2133" y="657"/>
                    <a:pt x="3951" y="657"/>
                  </a:cubicBezTo>
                  <a:cubicBezTo>
                    <a:pt x="5767" y="657"/>
                    <a:pt x="7246" y="2135"/>
                    <a:pt x="7246" y="3951"/>
                  </a:cubicBezTo>
                  <a:lnTo>
                    <a:pt x="7901" y="3951"/>
                  </a:lnTo>
                  <a:cubicBezTo>
                    <a:pt x="7901" y="3411"/>
                    <a:pt x="7791" y="2876"/>
                    <a:pt x="7574" y="2381"/>
                  </a:cubicBezTo>
                  <a:cubicBezTo>
                    <a:pt x="6966" y="982"/>
                    <a:pt x="5571" y="0"/>
                    <a:pt x="395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2" name="Google Shape;4822;p67"/>
            <p:cNvSpPr/>
            <p:nvPr/>
          </p:nvSpPr>
          <p:spPr>
            <a:xfrm>
              <a:off x="1808063" y="4294338"/>
              <a:ext cx="722460" cy="362052"/>
            </a:xfrm>
            <a:custGeom>
              <a:avLst/>
              <a:gdLst/>
              <a:ahLst/>
              <a:cxnLst/>
              <a:rect l="l" t="t" r="r" b="b"/>
              <a:pathLst>
                <a:path w="7910" h="3964" extrusionOk="0">
                  <a:moveTo>
                    <a:pt x="3958" y="0"/>
                  </a:moveTo>
                  <a:cubicBezTo>
                    <a:pt x="3954" y="0"/>
                    <a:pt x="3950" y="0"/>
                    <a:pt x="3946" y="0"/>
                  </a:cubicBezTo>
                  <a:cubicBezTo>
                    <a:pt x="1768" y="6"/>
                    <a:pt x="0" y="1784"/>
                    <a:pt x="6" y="3963"/>
                  </a:cubicBezTo>
                  <a:lnTo>
                    <a:pt x="661" y="3962"/>
                  </a:lnTo>
                  <a:cubicBezTo>
                    <a:pt x="657" y="2144"/>
                    <a:pt x="2131" y="661"/>
                    <a:pt x="3947" y="655"/>
                  </a:cubicBezTo>
                  <a:cubicBezTo>
                    <a:pt x="3951" y="655"/>
                    <a:pt x="3955" y="655"/>
                    <a:pt x="3959" y="655"/>
                  </a:cubicBezTo>
                  <a:cubicBezTo>
                    <a:pt x="5771" y="655"/>
                    <a:pt x="7248" y="2127"/>
                    <a:pt x="7254" y="3939"/>
                  </a:cubicBezTo>
                  <a:lnTo>
                    <a:pt x="7256" y="3939"/>
                  </a:lnTo>
                  <a:lnTo>
                    <a:pt x="7909" y="3938"/>
                  </a:lnTo>
                  <a:cubicBezTo>
                    <a:pt x="7907" y="3398"/>
                    <a:pt x="7795" y="2863"/>
                    <a:pt x="7578" y="2368"/>
                  </a:cubicBezTo>
                  <a:cubicBezTo>
                    <a:pt x="6966" y="976"/>
                    <a:pt x="5573" y="0"/>
                    <a:pt x="3958"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3" name="Google Shape;4823;p67"/>
            <p:cNvSpPr/>
            <p:nvPr/>
          </p:nvSpPr>
          <p:spPr>
            <a:xfrm>
              <a:off x="2470965" y="4655290"/>
              <a:ext cx="721912" cy="360865"/>
            </a:xfrm>
            <a:custGeom>
              <a:avLst/>
              <a:gdLst/>
              <a:ahLst/>
              <a:cxnLst/>
              <a:rect l="l" t="t" r="r" b="b"/>
              <a:pathLst>
                <a:path w="7904" h="3951" extrusionOk="0">
                  <a:moveTo>
                    <a:pt x="1" y="0"/>
                  </a:moveTo>
                  <a:cubicBezTo>
                    <a:pt x="1" y="540"/>
                    <a:pt x="111" y="1075"/>
                    <a:pt x="328" y="1571"/>
                  </a:cubicBezTo>
                  <a:cubicBezTo>
                    <a:pt x="938" y="2971"/>
                    <a:pt x="2332" y="3951"/>
                    <a:pt x="3953" y="3951"/>
                  </a:cubicBezTo>
                  <a:cubicBezTo>
                    <a:pt x="5574" y="3951"/>
                    <a:pt x="6967" y="2971"/>
                    <a:pt x="7575" y="1573"/>
                  </a:cubicBezTo>
                  <a:cubicBezTo>
                    <a:pt x="7791" y="1076"/>
                    <a:pt x="7903" y="541"/>
                    <a:pt x="7903" y="0"/>
                  </a:cubicBezTo>
                  <a:lnTo>
                    <a:pt x="7249" y="0"/>
                  </a:lnTo>
                  <a:cubicBezTo>
                    <a:pt x="7249" y="1818"/>
                    <a:pt x="5770" y="3296"/>
                    <a:pt x="3953" y="3296"/>
                  </a:cubicBezTo>
                  <a:cubicBezTo>
                    <a:pt x="2135" y="3296"/>
                    <a:pt x="657" y="1818"/>
                    <a:pt x="65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4" name="Google Shape;4824;p67"/>
            <p:cNvSpPr/>
            <p:nvPr/>
          </p:nvSpPr>
          <p:spPr>
            <a:xfrm>
              <a:off x="4456385" y="4294338"/>
              <a:ext cx="722460" cy="362052"/>
            </a:xfrm>
            <a:custGeom>
              <a:avLst/>
              <a:gdLst/>
              <a:ahLst/>
              <a:cxnLst/>
              <a:rect l="l" t="t" r="r" b="b"/>
              <a:pathLst>
                <a:path w="7910" h="3964" extrusionOk="0">
                  <a:moveTo>
                    <a:pt x="3959" y="0"/>
                  </a:moveTo>
                  <a:cubicBezTo>
                    <a:pt x="3955" y="0"/>
                    <a:pt x="3951" y="0"/>
                    <a:pt x="3947" y="0"/>
                  </a:cubicBezTo>
                  <a:cubicBezTo>
                    <a:pt x="1769" y="8"/>
                    <a:pt x="1" y="1786"/>
                    <a:pt x="7" y="3963"/>
                  </a:cubicBezTo>
                  <a:lnTo>
                    <a:pt x="664" y="3962"/>
                  </a:lnTo>
                  <a:cubicBezTo>
                    <a:pt x="658" y="2144"/>
                    <a:pt x="2132" y="661"/>
                    <a:pt x="3948" y="657"/>
                  </a:cubicBezTo>
                  <a:cubicBezTo>
                    <a:pt x="3952" y="657"/>
                    <a:pt x="3956" y="657"/>
                    <a:pt x="3960" y="657"/>
                  </a:cubicBezTo>
                  <a:cubicBezTo>
                    <a:pt x="5772" y="657"/>
                    <a:pt x="7249" y="2127"/>
                    <a:pt x="7255" y="3941"/>
                  </a:cubicBezTo>
                  <a:lnTo>
                    <a:pt x="7257" y="3941"/>
                  </a:lnTo>
                  <a:lnTo>
                    <a:pt x="7910" y="3939"/>
                  </a:lnTo>
                  <a:cubicBezTo>
                    <a:pt x="7908" y="3398"/>
                    <a:pt x="7796" y="2865"/>
                    <a:pt x="7578" y="2370"/>
                  </a:cubicBezTo>
                  <a:cubicBezTo>
                    <a:pt x="6967" y="976"/>
                    <a:pt x="5574" y="0"/>
                    <a:pt x="3959"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5" name="Google Shape;4825;p67"/>
            <p:cNvSpPr/>
            <p:nvPr/>
          </p:nvSpPr>
          <p:spPr>
            <a:xfrm>
              <a:off x="2568813"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6" name="Google Shape;4826;p67"/>
            <p:cNvSpPr/>
            <p:nvPr/>
          </p:nvSpPr>
          <p:spPr>
            <a:xfrm>
              <a:off x="3231883"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7" name="Google Shape;4827;p67"/>
            <p:cNvSpPr/>
            <p:nvPr/>
          </p:nvSpPr>
          <p:spPr>
            <a:xfrm>
              <a:off x="3894395" y="43514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28" name="Google Shape;4828;p67"/>
            <p:cNvSpPr/>
            <p:nvPr/>
          </p:nvSpPr>
          <p:spPr>
            <a:xfrm>
              <a:off x="4560958" y="4423127"/>
              <a:ext cx="526025" cy="525979"/>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29" name="Google Shape;4829;p67"/>
          <p:cNvGrpSpPr/>
          <p:nvPr/>
        </p:nvGrpSpPr>
        <p:grpSpPr>
          <a:xfrm>
            <a:off x="7019915" y="5365182"/>
            <a:ext cx="1889423" cy="467473"/>
            <a:chOff x="4234950" y="2101012"/>
            <a:chExt cx="4219974" cy="1044090"/>
          </a:xfrm>
        </p:grpSpPr>
        <p:sp>
          <p:nvSpPr>
            <p:cNvPr id="4830" name="Google Shape;4830;p67"/>
            <p:cNvSpPr/>
            <p:nvPr/>
          </p:nvSpPr>
          <p:spPr>
            <a:xfrm rot="10800000">
              <a:off x="7528544"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1" name="Google Shape;4831;p67"/>
            <p:cNvSpPr/>
            <p:nvPr/>
          </p:nvSpPr>
          <p:spPr>
            <a:xfrm rot="10800000">
              <a:off x="6487595" y="2218809"/>
              <a:ext cx="827572" cy="826702"/>
            </a:xfrm>
            <a:custGeom>
              <a:avLst/>
              <a:gdLst/>
              <a:ahLst/>
              <a:cxnLst/>
              <a:rect l="l" t="t" r="r" b="b"/>
              <a:pathLst>
                <a:path w="34926" h="34893" extrusionOk="0">
                  <a:moveTo>
                    <a:pt x="1" y="1"/>
                  </a:moveTo>
                  <a:lnTo>
                    <a:pt x="1" y="34892"/>
                  </a:lnTo>
                  <a:lnTo>
                    <a:pt x="34926" y="34892"/>
                  </a:lnTo>
                  <a:lnTo>
                    <a:pt x="34926"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2" name="Google Shape;4832;p67"/>
            <p:cNvSpPr/>
            <p:nvPr/>
          </p:nvSpPr>
          <p:spPr>
            <a:xfrm rot="10800000">
              <a:off x="5430819" y="2218809"/>
              <a:ext cx="827572" cy="826702"/>
            </a:xfrm>
            <a:custGeom>
              <a:avLst/>
              <a:gdLst/>
              <a:ahLst/>
              <a:cxnLst/>
              <a:rect l="l" t="t" r="r" b="b"/>
              <a:pathLst>
                <a:path w="34926" h="34893" extrusionOk="0">
                  <a:moveTo>
                    <a:pt x="0" y="1"/>
                  </a:moveTo>
                  <a:lnTo>
                    <a:pt x="0" y="34892"/>
                  </a:lnTo>
                  <a:lnTo>
                    <a:pt x="34925" y="34892"/>
                  </a:lnTo>
                  <a:lnTo>
                    <a:pt x="34925"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3" name="Google Shape;4833;p67"/>
            <p:cNvSpPr/>
            <p:nvPr/>
          </p:nvSpPr>
          <p:spPr>
            <a:xfrm rot="10800000">
              <a:off x="4374848" y="2218809"/>
              <a:ext cx="826790" cy="826702"/>
            </a:xfrm>
            <a:custGeom>
              <a:avLst/>
              <a:gdLst/>
              <a:ahLst/>
              <a:cxnLst/>
              <a:rect l="l" t="t" r="r" b="b"/>
              <a:pathLst>
                <a:path w="34893" h="34893" extrusionOk="0">
                  <a:moveTo>
                    <a:pt x="1" y="1"/>
                  </a:moveTo>
                  <a:lnTo>
                    <a:pt x="1" y="34892"/>
                  </a:lnTo>
                  <a:lnTo>
                    <a:pt x="34892" y="34892"/>
                  </a:lnTo>
                  <a:lnTo>
                    <a:pt x="34892" y="1"/>
                  </a:ln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4" name="Google Shape;4834;p67"/>
            <p:cNvSpPr/>
            <p:nvPr/>
          </p:nvSpPr>
          <p:spPr>
            <a:xfrm rot="10800000">
              <a:off x="7410780" y="2622683"/>
              <a:ext cx="1044144" cy="522420"/>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noFill/>
            <a:ln w="20850" cap="rnd" cmpd="sng">
              <a:solidFill>
                <a:srgbClr val="435D74"/>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5" name="Google Shape;4835;p67"/>
            <p:cNvSpPr/>
            <p:nvPr/>
          </p:nvSpPr>
          <p:spPr>
            <a:xfrm rot="10800000">
              <a:off x="6366656" y="2101012"/>
              <a:ext cx="1044144" cy="521638"/>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noFill/>
            <a:ln w="20850"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6" name="Google Shape;4836;p67"/>
            <p:cNvSpPr/>
            <p:nvPr/>
          </p:nvSpPr>
          <p:spPr>
            <a:xfrm rot="10800000">
              <a:off x="5322557" y="2622683"/>
              <a:ext cx="1044120" cy="522420"/>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noFill/>
            <a:ln w="20850" cap="rnd" cmpd="sng">
              <a:solidFill>
                <a:srgbClr val="869FB2"/>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7" name="Google Shape;4837;p67"/>
            <p:cNvSpPr/>
            <p:nvPr/>
          </p:nvSpPr>
          <p:spPr>
            <a:xfrm rot="10800000">
              <a:off x="4278434" y="2101012"/>
              <a:ext cx="1044144" cy="521638"/>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noFill/>
            <a:ln w="20850" cap="rnd" cmpd="sng">
              <a:solidFill>
                <a:srgbClr val="BAC8D3"/>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8" name="Google Shape;4838;p67"/>
            <p:cNvSpPr/>
            <p:nvPr/>
          </p:nvSpPr>
          <p:spPr>
            <a:xfrm rot="10800000">
              <a:off x="7367296" y="2570459"/>
              <a:ext cx="86984" cy="86975"/>
            </a:xfrm>
            <a:custGeom>
              <a:avLst/>
              <a:gdLst/>
              <a:ahLst/>
              <a:cxnLst/>
              <a:rect l="l" t="t" r="r" b="b"/>
              <a:pathLst>
                <a:path w="3671" h="3671" extrusionOk="0">
                  <a:moveTo>
                    <a:pt x="1835" y="1"/>
                  </a:moveTo>
                  <a:cubicBezTo>
                    <a:pt x="835" y="1"/>
                    <a:pt x="1" y="835"/>
                    <a:pt x="1" y="1836"/>
                  </a:cubicBezTo>
                  <a:cubicBezTo>
                    <a:pt x="1" y="2870"/>
                    <a:pt x="835" y="3670"/>
                    <a:pt x="1835" y="3670"/>
                  </a:cubicBezTo>
                  <a:cubicBezTo>
                    <a:pt x="2869" y="3670"/>
                    <a:pt x="3670" y="2870"/>
                    <a:pt x="3670" y="1836"/>
                  </a:cubicBezTo>
                  <a:cubicBezTo>
                    <a:pt x="3670" y="835"/>
                    <a:pt x="2836" y="1"/>
                    <a:pt x="1835"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39" name="Google Shape;4839;p67"/>
            <p:cNvSpPr/>
            <p:nvPr/>
          </p:nvSpPr>
          <p:spPr>
            <a:xfrm rot="10800000">
              <a:off x="6323197" y="2570459"/>
              <a:ext cx="86961" cy="86975"/>
            </a:xfrm>
            <a:custGeom>
              <a:avLst/>
              <a:gdLst/>
              <a:ahLst/>
              <a:cxnLst/>
              <a:rect l="l" t="t" r="r" b="b"/>
              <a:pathLst>
                <a:path w="3670" h="3671" extrusionOk="0">
                  <a:moveTo>
                    <a:pt x="1835" y="1"/>
                  </a:moveTo>
                  <a:cubicBezTo>
                    <a:pt x="834" y="1"/>
                    <a:pt x="1" y="835"/>
                    <a:pt x="1" y="1836"/>
                  </a:cubicBezTo>
                  <a:cubicBezTo>
                    <a:pt x="1" y="2870"/>
                    <a:pt x="834" y="3670"/>
                    <a:pt x="1835" y="3670"/>
                  </a:cubicBezTo>
                  <a:cubicBezTo>
                    <a:pt x="2836" y="3670"/>
                    <a:pt x="3670" y="2870"/>
                    <a:pt x="3670" y="1836"/>
                  </a:cubicBezTo>
                  <a:cubicBezTo>
                    <a:pt x="3670" y="835"/>
                    <a:pt x="2869" y="1"/>
                    <a:pt x="1835"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0" name="Google Shape;4840;p67"/>
            <p:cNvSpPr/>
            <p:nvPr/>
          </p:nvSpPr>
          <p:spPr>
            <a:xfrm rot="10800000">
              <a:off x="5279073"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70" y="2870"/>
                    <a:pt x="3670" y="1836"/>
                  </a:cubicBezTo>
                  <a:cubicBezTo>
                    <a:pt x="3670" y="835"/>
                    <a:pt x="2836" y="1"/>
                    <a:pt x="1835"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1" name="Google Shape;4841;p67"/>
            <p:cNvSpPr/>
            <p:nvPr/>
          </p:nvSpPr>
          <p:spPr>
            <a:xfrm rot="10800000">
              <a:off x="4234950" y="2570459"/>
              <a:ext cx="86961" cy="86975"/>
            </a:xfrm>
            <a:custGeom>
              <a:avLst/>
              <a:gdLst/>
              <a:ahLst/>
              <a:cxnLst/>
              <a:rect l="l" t="t" r="r" b="b"/>
              <a:pathLst>
                <a:path w="3670" h="3671" extrusionOk="0">
                  <a:moveTo>
                    <a:pt x="1835" y="1"/>
                  </a:moveTo>
                  <a:cubicBezTo>
                    <a:pt x="834" y="1"/>
                    <a:pt x="0" y="835"/>
                    <a:pt x="0" y="1836"/>
                  </a:cubicBezTo>
                  <a:cubicBezTo>
                    <a:pt x="0" y="2870"/>
                    <a:pt x="834" y="3670"/>
                    <a:pt x="1835" y="3670"/>
                  </a:cubicBezTo>
                  <a:cubicBezTo>
                    <a:pt x="2836" y="3670"/>
                    <a:pt x="3669" y="2870"/>
                    <a:pt x="3669" y="1836"/>
                  </a:cubicBezTo>
                  <a:cubicBezTo>
                    <a:pt x="3669" y="835"/>
                    <a:pt x="2836" y="1"/>
                    <a:pt x="1835"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2" name="Google Shape;4842;p67"/>
            <p:cNvSpPr/>
            <p:nvPr/>
          </p:nvSpPr>
          <p:spPr>
            <a:xfrm rot="10800000">
              <a:off x="7541197" y="2231460"/>
              <a:ext cx="801483" cy="800617"/>
            </a:xfrm>
            <a:custGeom>
              <a:avLst/>
              <a:gdLst/>
              <a:ahLst/>
              <a:cxnLst/>
              <a:rect l="l" t="t" r="r" b="b"/>
              <a:pathLst>
                <a:path w="33825" h="33792" extrusionOk="0">
                  <a:moveTo>
                    <a:pt x="16912" y="1835"/>
                  </a:moveTo>
                  <a:cubicBezTo>
                    <a:pt x="25218" y="1835"/>
                    <a:pt x="31956" y="8573"/>
                    <a:pt x="31956" y="16879"/>
                  </a:cubicBezTo>
                  <a:cubicBezTo>
                    <a:pt x="31956" y="25185"/>
                    <a:pt x="25218" y="31923"/>
                    <a:pt x="16912" y="31923"/>
                  </a:cubicBezTo>
                  <a:cubicBezTo>
                    <a:pt x="8606" y="31923"/>
                    <a:pt x="1868" y="25185"/>
                    <a:pt x="1868" y="16879"/>
                  </a:cubicBezTo>
                  <a:cubicBezTo>
                    <a:pt x="1868" y="8573"/>
                    <a:pt x="8606" y="1835"/>
                    <a:pt x="16912" y="1835"/>
                  </a:cubicBezTo>
                  <a:close/>
                  <a:moveTo>
                    <a:pt x="16912" y="1"/>
                  </a:moveTo>
                  <a:cubicBezTo>
                    <a:pt x="7572" y="1"/>
                    <a:pt x="0" y="7539"/>
                    <a:pt x="0" y="16879"/>
                  </a:cubicBezTo>
                  <a:cubicBezTo>
                    <a:pt x="0" y="26219"/>
                    <a:pt x="7572" y="33791"/>
                    <a:pt x="16912" y="33791"/>
                  </a:cubicBezTo>
                  <a:cubicBezTo>
                    <a:pt x="26252" y="33791"/>
                    <a:pt x="33824" y="26219"/>
                    <a:pt x="33824" y="16879"/>
                  </a:cubicBezTo>
                  <a:cubicBezTo>
                    <a:pt x="33824" y="7539"/>
                    <a:pt x="26252" y="1"/>
                    <a:pt x="16912"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3" name="Google Shape;4843;p67"/>
            <p:cNvSpPr/>
            <p:nvPr/>
          </p:nvSpPr>
          <p:spPr>
            <a:xfrm rot="10800000">
              <a:off x="6488377" y="2231460"/>
              <a:ext cx="800701" cy="800617"/>
            </a:xfrm>
            <a:custGeom>
              <a:avLst/>
              <a:gdLst/>
              <a:ahLst/>
              <a:cxnLst/>
              <a:rect l="l" t="t" r="r" b="b"/>
              <a:pathLst>
                <a:path w="33792" h="33792" extrusionOk="0">
                  <a:moveTo>
                    <a:pt x="16912" y="1"/>
                  </a:moveTo>
                  <a:cubicBezTo>
                    <a:pt x="7572" y="1"/>
                    <a:pt x="0" y="7539"/>
                    <a:pt x="0" y="16879"/>
                  </a:cubicBezTo>
                  <a:cubicBezTo>
                    <a:pt x="0" y="26219"/>
                    <a:pt x="7572" y="33791"/>
                    <a:pt x="16912" y="33791"/>
                  </a:cubicBezTo>
                  <a:cubicBezTo>
                    <a:pt x="26219" y="33791"/>
                    <a:pt x="33791" y="26219"/>
                    <a:pt x="33791" y="16879"/>
                  </a:cubicBezTo>
                  <a:cubicBezTo>
                    <a:pt x="33791" y="7539"/>
                    <a:pt x="26252" y="1"/>
                    <a:pt x="16912" y="1"/>
                  </a:cubicBezTo>
                  <a:close/>
                  <a:moveTo>
                    <a:pt x="16912" y="31923"/>
                  </a:moveTo>
                  <a:cubicBezTo>
                    <a:pt x="8607" y="31923"/>
                    <a:pt x="1868" y="25185"/>
                    <a:pt x="1868" y="16879"/>
                  </a:cubicBezTo>
                  <a:cubicBezTo>
                    <a:pt x="1868" y="8573"/>
                    <a:pt x="8607" y="1835"/>
                    <a:pt x="16912" y="1835"/>
                  </a:cubicBezTo>
                  <a:cubicBezTo>
                    <a:pt x="25218" y="1835"/>
                    <a:pt x="31957" y="8573"/>
                    <a:pt x="31957" y="16879"/>
                  </a:cubicBezTo>
                  <a:cubicBezTo>
                    <a:pt x="31957" y="25185"/>
                    <a:pt x="25218" y="31923"/>
                    <a:pt x="16912" y="31923"/>
                  </a:cubicBezTo>
                  <a:close/>
                </a:path>
              </a:pathLst>
            </a:custGeom>
            <a:solidFill>
              <a:srgbClr val="F2F2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4" name="Google Shape;4844;p67"/>
            <p:cNvSpPr/>
            <p:nvPr/>
          </p:nvSpPr>
          <p:spPr>
            <a:xfrm rot="10800000">
              <a:off x="5434776" y="2231460"/>
              <a:ext cx="800701" cy="800617"/>
            </a:xfrm>
            <a:custGeom>
              <a:avLst/>
              <a:gdLst/>
              <a:ahLst/>
              <a:cxnLst/>
              <a:rect l="l" t="t" r="r" b="b"/>
              <a:pathLst>
                <a:path w="33792" h="33792" extrusionOk="0">
                  <a:moveTo>
                    <a:pt x="16879" y="1"/>
                  </a:moveTo>
                  <a:cubicBezTo>
                    <a:pt x="7539" y="1"/>
                    <a:pt x="0" y="7539"/>
                    <a:pt x="0" y="16879"/>
                  </a:cubicBezTo>
                  <a:cubicBezTo>
                    <a:pt x="0" y="26219"/>
                    <a:pt x="7539" y="33791"/>
                    <a:pt x="16879" y="33791"/>
                  </a:cubicBezTo>
                  <a:cubicBezTo>
                    <a:pt x="26219" y="33791"/>
                    <a:pt x="33791" y="26219"/>
                    <a:pt x="33791" y="16879"/>
                  </a:cubicBezTo>
                  <a:cubicBezTo>
                    <a:pt x="33791" y="7539"/>
                    <a:pt x="26219" y="1"/>
                    <a:pt x="16879" y="1"/>
                  </a:cubicBezTo>
                  <a:close/>
                  <a:moveTo>
                    <a:pt x="16879" y="31923"/>
                  </a:moveTo>
                  <a:cubicBezTo>
                    <a:pt x="8573" y="31923"/>
                    <a:pt x="1835" y="25185"/>
                    <a:pt x="1835" y="16879"/>
                  </a:cubicBezTo>
                  <a:cubicBezTo>
                    <a:pt x="1835" y="8573"/>
                    <a:pt x="8573" y="1835"/>
                    <a:pt x="16879" y="1835"/>
                  </a:cubicBezTo>
                  <a:cubicBezTo>
                    <a:pt x="25185" y="1835"/>
                    <a:pt x="31923" y="8573"/>
                    <a:pt x="31923" y="16879"/>
                  </a:cubicBezTo>
                  <a:cubicBezTo>
                    <a:pt x="31923" y="25185"/>
                    <a:pt x="25185" y="31923"/>
                    <a:pt x="16879" y="31923"/>
                  </a:cubicBezTo>
                  <a:close/>
                </a:path>
              </a:pathLst>
            </a:custGeom>
            <a:solidFill>
              <a:srgbClr val="F2F2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5" name="Google Shape;4845;p67"/>
            <p:cNvSpPr/>
            <p:nvPr/>
          </p:nvSpPr>
          <p:spPr>
            <a:xfrm rot="10800000">
              <a:off x="4381980" y="2231460"/>
              <a:ext cx="800678" cy="800617"/>
            </a:xfrm>
            <a:custGeom>
              <a:avLst/>
              <a:gdLst/>
              <a:ahLst/>
              <a:cxnLst/>
              <a:rect l="l" t="t" r="r" b="b"/>
              <a:pathLst>
                <a:path w="33791" h="33792" extrusionOk="0">
                  <a:moveTo>
                    <a:pt x="16912" y="1"/>
                  </a:moveTo>
                  <a:cubicBezTo>
                    <a:pt x="7572" y="1"/>
                    <a:pt x="0" y="7539"/>
                    <a:pt x="0" y="16879"/>
                  </a:cubicBezTo>
                  <a:cubicBezTo>
                    <a:pt x="0" y="26219"/>
                    <a:pt x="7572" y="33791"/>
                    <a:pt x="16912" y="33791"/>
                  </a:cubicBezTo>
                  <a:cubicBezTo>
                    <a:pt x="26252" y="33791"/>
                    <a:pt x="33791" y="26219"/>
                    <a:pt x="33791" y="16879"/>
                  </a:cubicBezTo>
                  <a:cubicBezTo>
                    <a:pt x="33791" y="7539"/>
                    <a:pt x="26252" y="1"/>
                    <a:pt x="16912" y="1"/>
                  </a:cubicBezTo>
                  <a:close/>
                  <a:moveTo>
                    <a:pt x="16912" y="31923"/>
                  </a:moveTo>
                  <a:cubicBezTo>
                    <a:pt x="8606" y="31923"/>
                    <a:pt x="1868" y="25185"/>
                    <a:pt x="1868" y="16879"/>
                  </a:cubicBezTo>
                  <a:cubicBezTo>
                    <a:pt x="1868" y="8573"/>
                    <a:pt x="8606" y="1835"/>
                    <a:pt x="16912" y="1835"/>
                  </a:cubicBezTo>
                  <a:cubicBezTo>
                    <a:pt x="25218" y="1835"/>
                    <a:pt x="31956" y="8573"/>
                    <a:pt x="31956" y="16879"/>
                  </a:cubicBezTo>
                  <a:cubicBezTo>
                    <a:pt x="31956" y="25185"/>
                    <a:pt x="25218" y="31923"/>
                    <a:pt x="16912" y="31923"/>
                  </a:cubicBezTo>
                  <a:close/>
                </a:path>
              </a:pathLst>
            </a:custGeom>
            <a:solidFill>
              <a:srgbClr val="F2F2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46" name="Google Shape;4846;p67"/>
          <p:cNvGrpSpPr/>
          <p:nvPr/>
        </p:nvGrpSpPr>
        <p:grpSpPr>
          <a:xfrm>
            <a:off x="9120545" y="2686192"/>
            <a:ext cx="2115103" cy="495409"/>
            <a:chOff x="1247650" y="2075423"/>
            <a:chExt cx="6648477" cy="1557238"/>
          </a:xfrm>
        </p:grpSpPr>
        <p:sp>
          <p:nvSpPr>
            <p:cNvPr id="4847" name="Google Shape;4847;p67"/>
            <p:cNvSpPr/>
            <p:nvPr/>
          </p:nvSpPr>
          <p:spPr>
            <a:xfrm>
              <a:off x="6633862" y="2075423"/>
              <a:ext cx="953444" cy="825696"/>
            </a:xfrm>
            <a:custGeom>
              <a:avLst/>
              <a:gdLst/>
              <a:ahLst/>
              <a:cxnLst/>
              <a:rect l="l" t="t" r="r" b="b"/>
              <a:pathLst>
                <a:path w="57767" h="50027" extrusionOk="0">
                  <a:moveTo>
                    <a:pt x="14439" y="0"/>
                  </a:moveTo>
                  <a:lnTo>
                    <a:pt x="0" y="25014"/>
                  </a:lnTo>
                  <a:lnTo>
                    <a:pt x="14439" y="50027"/>
                  </a:lnTo>
                  <a:lnTo>
                    <a:pt x="43329" y="50027"/>
                  </a:lnTo>
                  <a:lnTo>
                    <a:pt x="57767" y="25014"/>
                  </a:lnTo>
                  <a:lnTo>
                    <a:pt x="43329"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8" name="Google Shape;4848;p67"/>
            <p:cNvSpPr/>
            <p:nvPr/>
          </p:nvSpPr>
          <p:spPr>
            <a:xfrm>
              <a:off x="5359252" y="2806965"/>
              <a:ext cx="953461" cy="825696"/>
            </a:xfrm>
            <a:custGeom>
              <a:avLst/>
              <a:gdLst/>
              <a:ahLst/>
              <a:cxnLst/>
              <a:rect l="l" t="t" r="r" b="b"/>
              <a:pathLst>
                <a:path w="57768" h="50027" extrusionOk="0">
                  <a:moveTo>
                    <a:pt x="14439" y="0"/>
                  </a:moveTo>
                  <a:lnTo>
                    <a:pt x="1" y="25013"/>
                  </a:lnTo>
                  <a:lnTo>
                    <a:pt x="14439" y="50027"/>
                  </a:lnTo>
                  <a:lnTo>
                    <a:pt x="43329" y="50027"/>
                  </a:lnTo>
                  <a:lnTo>
                    <a:pt x="57767" y="25013"/>
                  </a:lnTo>
                  <a:lnTo>
                    <a:pt x="43329"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49" name="Google Shape;4849;p67"/>
            <p:cNvSpPr/>
            <p:nvPr/>
          </p:nvSpPr>
          <p:spPr>
            <a:xfrm>
              <a:off x="1601478" y="2075425"/>
              <a:ext cx="953316" cy="825696"/>
            </a:xfrm>
            <a:custGeom>
              <a:avLst/>
              <a:gdLst/>
              <a:ahLst/>
              <a:cxnLst/>
              <a:rect l="l" t="t" r="r" b="b"/>
              <a:pathLst>
                <a:path w="57768" h="50027" extrusionOk="0">
                  <a:moveTo>
                    <a:pt x="14439" y="0"/>
                  </a:moveTo>
                  <a:lnTo>
                    <a:pt x="1" y="25013"/>
                  </a:lnTo>
                  <a:lnTo>
                    <a:pt x="14439" y="50027"/>
                  </a:lnTo>
                  <a:lnTo>
                    <a:pt x="43329" y="50027"/>
                  </a:lnTo>
                  <a:lnTo>
                    <a:pt x="57768" y="25013"/>
                  </a:lnTo>
                  <a:lnTo>
                    <a:pt x="43329"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0" name="Google Shape;4850;p67"/>
            <p:cNvSpPr/>
            <p:nvPr/>
          </p:nvSpPr>
          <p:spPr>
            <a:xfrm>
              <a:off x="2857827" y="2807112"/>
              <a:ext cx="953370" cy="825320"/>
            </a:xfrm>
            <a:custGeom>
              <a:avLst/>
              <a:gdLst/>
              <a:ahLst/>
              <a:cxnLst/>
              <a:rect l="l" t="t" r="r" b="b"/>
              <a:pathLst>
                <a:path w="57780" h="50027" extrusionOk="0">
                  <a:moveTo>
                    <a:pt x="14452" y="0"/>
                  </a:moveTo>
                  <a:lnTo>
                    <a:pt x="0" y="25013"/>
                  </a:lnTo>
                  <a:lnTo>
                    <a:pt x="14452" y="50027"/>
                  </a:lnTo>
                  <a:lnTo>
                    <a:pt x="43328" y="50027"/>
                  </a:lnTo>
                  <a:lnTo>
                    <a:pt x="57780" y="25013"/>
                  </a:lnTo>
                  <a:lnTo>
                    <a:pt x="43328"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1" name="Google Shape;4851;p67"/>
            <p:cNvSpPr/>
            <p:nvPr/>
          </p:nvSpPr>
          <p:spPr>
            <a:xfrm>
              <a:off x="4097386" y="2075425"/>
              <a:ext cx="953444" cy="825696"/>
            </a:xfrm>
            <a:custGeom>
              <a:avLst/>
              <a:gdLst/>
              <a:ahLst/>
              <a:cxnLst/>
              <a:rect l="l" t="t" r="r" b="b"/>
              <a:pathLst>
                <a:path w="57767" h="50027" extrusionOk="0">
                  <a:moveTo>
                    <a:pt x="14439" y="0"/>
                  </a:moveTo>
                  <a:lnTo>
                    <a:pt x="0" y="25013"/>
                  </a:lnTo>
                  <a:lnTo>
                    <a:pt x="14439" y="50027"/>
                  </a:lnTo>
                  <a:lnTo>
                    <a:pt x="43328" y="50027"/>
                  </a:lnTo>
                  <a:lnTo>
                    <a:pt x="57767" y="25013"/>
                  </a:lnTo>
                  <a:lnTo>
                    <a:pt x="43328"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2" name="Google Shape;4852;p67"/>
            <p:cNvSpPr/>
            <p:nvPr/>
          </p:nvSpPr>
          <p:spPr>
            <a:xfrm>
              <a:off x="1247650" y="2490334"/>
              <a:ext cx="6648477" cy="729445"/>
            </a:xfrm>
            <a:custGeom>
              <a:avLst/>
              <a:gdLst/>
              <a:ahLst/>
              <a:cxnLst/>
              <a:rect l="l" t="t" r="r" b="b"/>
              <a:pathLst>
                <a:path w="285373" h="31310" fill="none" extrusionOk="0">
                  <a:moveTo>
                    <a:pt x="285373" y="3317"/>
                  </a:move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rgbClr val="191919"/>
            </a:solidFill>
            <a:ln w="19050" cap="flat" cmpd="sng">
              <a:solidFill>
                <a:srgbClr val="869FB2"/>
              </a:solidFill>
              <a:prstDash val="solid"/>
              <a:miter lim="1300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53" name="Google Shape;4853;p67"/>
          <p:cNvGrpSpPr/>
          <p:nvPr/>
        </p:nvGrpSpPr>
        <p:grpSpPr>
          <a:xfrm>
            <a:off x="7028905" y="1557111"/>
            <a:ext cx="1887468" cy="2198044"/>
            <a:chOff x="1839112" y="2209163"/>
            <a:chExt cx="1918159" cy="2233784"/>
          </a:xfrm>
        </p:grpSpPr>
        <p:sp>
          <p:nvSpPr>
            <p:cNvPr id="4854" name="Google Shape;4854;p67"/>
            <p:cNvSpPr/>
            <p:nvPr/>
          </p:nvSpPr>
          <p:spPr>
            <a:xfrm>
              <a:off x="1839112" y="2209163"/>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5" name="Google Shape;4855;p67"/>
            <p:cNvSpPr/>
            <p:nvPr/>
          </p:nvSpPr>
          <p:spPr>
            <a:xfrm>
              <a:off x="3182171" y="2209163"/>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56" name="Google Shape;4856;p67"/>
            <p:cNvSpPr/>
            <p:nvPr/>
          </p:nvSpPr>
          <p:spPr>
            <a:xfrm>
              <a:off x="3182171" y="3040766"/>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857" name="Google Shape;4857;p67"/>
            <p:cNvCxnSpPr>
              <a:stCxn id="4854" idx="6"/>
              <a:endCxn id="4855" idx="2"/>
            </p:cNvCxnSpPr>
            <p:nvPr/>
          </p:nvCxnSpPr>
          <p:spPr>
            <a:xfrm>
              <a:off x="2414212" y="2496713"/>
              <a:ext cx="768000" cy="9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858" name="Google Shape;4858;p67"/>
            <p:cNvCxnSpPr>
              <a:stCxn id="4855" idx="4"/>
              <a:endCxn id="4859" idx="0"/>
            </p:cNvCxnSpPr>
            <p:nvPr/>
          </p:nvCxnSpPr>
          <p:spPr>
            <a:xfrm rot="5400000">
              <a:off x="2669921" y="2240963"/>
              <a:ext cx="256500" cy="1343100"/>
            </a:xfrm>
            <a:prstGeom prst="bentConnector3">
              <a:avLst>
                <a:gd name="adj1" fmla="val 50000"/>
              </a:avLst>
            </a:prstGeom>
            <a:noFill/>
            <a:ln w="19050" cap="flat" cmpd="sng">
              <a:solidFill>
                <a:srgbClr val="374957"/>
              </a:solidFill>
              <a:prstDash val="solid"/>
              <a:round/>
              <a:headEnd type="none" w="med" len="med"/>
              <a:tailEnd type="none" w="med" len="med"/>
            </a:ln>
          </p:spPr>
        </p:cxnSp>
        <p:cxnSp>
          <p:nvCxnSpPr>
            <p:cNvPr id="4860" name="Google Shape;4860;p67"/>
            <p:cNvCxnSpPr>
              <a:stCxn id="4859" idx="6"/>
              <a:endCxn id="4856" idx="2"/>
            </p:cNvCxnSpPr>
            <p:nvPr/>
          </p:nvCxnSpPr>
          <p:spPr>
            <a:xfrm>
              <a:off x="2414212" y="3328316"/>
              <a:ext cx="768000" cy="900"/>
            </a:xfrm>
            <a:prstGeom prst="bentConnector3">
              <a:avLst>
                <a:gd name="adj1" fmla="val 49997"/>
              </a:avLst>
            </a:prstGeom>
            <a:noFill/>
            <a:ln w="19050" cap="flat" cmpd="sng">
              <a:solidFill>
                <a:srgbClr val="374957"/>
              </a:solidFill>
              <a:prstDash val="solid"/>
              <a:round/>
              <a:headEnd type="none" w="med" len="med"/>
              <a:tailEnd type="none" w="med" len="med"/>
            </a:ln>
          </p:spPr>
        </p:cxnSp>
        <p:cxnSp>
          <p:nvCxnSpPr>
            <p:cNvPr id="4861" name="Google Shape;4861;p67"/>
            <p:cNvCxnSpPr>
              <a:stCxn id="4856" idx="4"/>
              <a:endCxn id="4862" idx="0"/>
            </p:cNvCxnSpPr>
            <p:nvPr/>
          </p:nvCxnSpPr>
          <p:spPr>
            <a:xfrm rot="5400000">
              <a:off x="2672171" y="3070316"/>
              <a:ext cx="252000" cy="1343100"/>
            </a:xfrm>
            <a:prstGeom prst="bentConnector3">
              <a:avLst>
                <a:gd name="adj1" fmla="val 49996"/>
              </a:avLst>
            </a:prstGeom>
            <a:noFill/>
            <a:ln w="19050" cap="flat" cmpd="sng">
              <a:solidFill>
                <a:srgbClr val="374957"/>
              </a:solidFill>
              <a:prstDash val="solid"/>
              <a:round/>
              <a:headEnd type="none" w="med" len="med"/>
              <a:tailEnd type="none" w="med" len="med"/>
            </a:ln>
          </p:spPr>
        </p:cxnSp>
        <p:sp>
          <p:nvSpPr>
            <p:cNvPr id="4859" name="Google Shape;4859;p67"/>
            <p:cNvSpPr/>
            <p:nvPr/>
          </p:nvSpPr>
          <p:spPr>
            <a:xfrm>
              <a:off x="1839112" y="3040766"/>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2" name="Google Shape;4862;p67"/>
            <p:cNvSpPr/>
            <p:nvPr/>
          </p:nvSpPr>
          <p:spPr>
            <a:xfrm>
              <a:off x="1839112" y="3867848"/>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3" name="Google Shape;4863;p67"/>
            <p:cNvSpPr/>
            <p:nvPr/>
          </p:nvSpPr>
          <p:spPr>
            <a:xfrm>
              <a:off x="3182171" y="3867848"/>
              <a:ext cx="575100" cy="575100"/>
            </a:xfrm>
            <a:prstGeom prst="flowChartConnector">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864" name="Google Shape;4864;p67"/>
            <p:cNvCxnSpPr>
              <a:endCxn id="4863" idx="2"/>
            </p:cNvCxnSpPr>
            <p:nvPr/>
          </p:nvCxnSpPr>
          <p:spPr>
            <a:xfrm>
              <a:off x="2413871" y="4154498"/>
              <a:ext cx="768300" cy="900"/>
            </a:xfrm>
            <a:prstGeom prst="bentConnector3">
              <a:avLst>
                <a:gd name="adj1" fmla="val 50000"/>
              </a:avLst>
            </a:prstGeom>
            <a:noFill/>
            <a:ln w="19050" cap="flat" cmpd="sng">
              <a:solidFill>
                <a:srgbClr val="374957"/>
              </a:solidFill>
              <a:prstDash val="solid"/>
              <a:round/>
              <a:headEnd type="none" w="med" len="med"/>
              <a:tailEnd type="none" w="med" len="med"/>
            </a:ln>
          </p:spPr>
        </p:cxnSp>
      </p:grpSp>
      <p:grpSp>
        <p:nvGrpSpPr>
          <p:cNvPr id="4865" name="Google Shape;4865;p67"/>
          <p:cNvGrpSpPr/>
          <p:nvPr/>
        </p:nvGrpSpPr>
        <p:grpSpPr>
          <a:xfrm>
            <a:off x="4571926" y="1581223"/>
            <a:ext cx="2183957" cy="206589"/>
            <a:chOff x="238125" y="2506075"/>
            <a:chExt cx="7115411" cy="673075"/>
          </a:xfrm>
        </p:grpSpPr>
        <p:sp>
          <p:nvSpPr>
            <p:cNvPr id="4866" name="Google Shape;4866;p67"/>
            <p:cNvSpPr/>
            <p:nvPr/>
          </p:nvSpPr>
          <p:spPr>
            <a:xfrm>
              <a:off x="238125" y="2506075"/>
              <a:ext cx="1643150" cy="673075"/>
            </a:xfrm>
            <a:custGeom>
              <a:avLst/>
              <a:gdLst/>
              <a:ahLst/>
              <a:cxnLst/>
              <a:rect l="l" t="t" r="r" b="b"/>
              <a:pathLst>
                <a:path w="65726" h="26923" extrusionOk="0">
                  <a:moveTo>
                    <a:pt x="0" y="0"/>
                  </a:moveTo>
                  <a:lnTo>
                    <a:pt x="10782" y="13477"/>
                  </a:lnTo>
                  <a:lnTo>
                    <a:pt x="0" y="26923"/>
                  </a:lnTo>
                  <a:lnTo>
                    <a:pt x="54943" y="26923"/>
                  </a:lnTo>
                  <a:lnTo>
                    <a:pt x="65725" y="13477"/>
                  </a:lnTo>
                  <a:lnTo>
                    <a:pt x="54943"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7" name="Google Shape;4867;p67"/>
            <p:cNvSpPr/>
            <p:nvPr/>
          </p:nvSpPr>
          <p:spPr>
            <a:xfrm>
              <a:off x="1606190"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8" name="Google Shape;4868;p67"/>
            <p:cNvSpPr/>
            <p:nvPr/>
          </p:nvSpPr>
          <p:spPr>
            <a:xfrm>
              <a:off x="297348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69" name="Google Shape;4869;p67"/>
            <p:cNvSpPr/>
            <p:nvPr/>
          </p:nvSpPr>
          <p:spPr>
            <a:xfrm>
              <a:off x="5709611" y="2506075"/>
              <a:ext cx="1643925" cy="673075"/>
            </a:xfrm>
            <a:custGeom>
              <a:avLst/>
              <a:gdLst/>
              <a:ahLst/>
              <a:cxnLst/>
              <a:rect l="l" t="t" r="r" b="b"/>
              <a:pathLst>
                <a:path w="65757" h="26923" extrusionOk="0">
                  <a:moveTo>
                    <a:pt x="0" y="0"/>
                  </a:moveTo>
                  <a:lnTo>
                    <a:pt x="10782" y="13477"/>
                  </a:lnTo>
                  <a:lnTo>
                    <a:pt x="0" y="26923"/>
                  </a:lnTo>
                  <a:lnTo>
                    <a:pt x="54975" y="26923"/>
                  </a:lnTo>
                  <a:lnTo>
                    <a:pt x="65757" y="13477"/>
                  </a:lnTo>
                  <a:lnTo>
                    <a:pt x="54975"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70" name="Google Shape;4870;p67"/>
            <p:cNvSpPr/>
            <p:nvPr/>
          </p:nvSpPr>
          <p:spPr>
            <a:xfrm>
              <a:off x="4342321" y="2506075"/>
              <a:ext cx="1643150" cy="673075"/>
            </a:xfrm>
            <a:custGeom>
              <a:avLst/>
              <a:gdLst/>
              <a:ahLst/>
              <a:cxnLst/>
              <a:rect l="l" t="t" r="r" b="b"/>
              <a:pathLst>
                <a:path w="65726" h="26923" extrusionOk="0">
                  <a:moveTo>
                    <a:pt x="1" y="0"/>
                  </a:moveTo>
                  <a:lnTo>
                    <a:pt x="10751" y="13477"/>
                  </a:lnTo>
                  <a:lnTo>
                    <a:pt x="1" y="26923"/>
                  </a:lnTo>
                  <a:lnTo>
                    <a:pt x="54944" y="26923"/>
                  </a:lnTo>
                  <a:lnTo>
                    <a:pt x="65726" y="13477"/>
                  </a:lnTo>
                  <a:lnTo>
                    <a:pt x="54944"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71" name="Google Shape;4871;p67"/>
          <p:cNvGrpSpPr/>
          <p:nvPr/>
        </p:nvGrpSpPr>
        <p:grpSpPr>
          <a:xfrm>
            <a:off x="2626240" y="2000847"/>
            <a:ext cx="1683909" cy="1047211"/>
            <a:chOff x="548861" y="389676"/>
            <a:chExt cx="3843371" cy="2390163"/>
          </a:xfrm>
        </p:grpSpPr>
        <p:cxnSp>
          <p:nvCxnSpPr>
            <p:cNvPr id="4872" name="Google Shape;4872;p67"/>
            <p:cNvCxnSpPr/>
            <p:nvPr/>
          </p:nvCxnSpPr>
          <p:spPr>
            <a:xfrm rot="10800000" flipH="1">
              <a:off x="3486925" y="1918250"/>
              <a:ext cx="742200" cy="6903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873" name="Google Shape;4873;p67"/>
            <p:cNvCxnSpPr/>
            <p:nvPr/>
          </p:nvCxnSpPr>
          <p:spPr>
            <a:xfrm rot="-5400000" flipH="1">
              <a:off x="3486925" y="577350"/>
              <a:ext cx="650100" cy="6501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874" name="Google Shape;4874;p67"/>
            <p:cNvCxnSpPr/>
            <p:nvPr/>
          </p:nvCxnSpPr>
          <p:spPr>
            <a:xfrm>
              <a:off x="2725450" y="576000"/>
              <a:ext cx="1410600" cy="1800"/>
            </a:xfrm>
            <a:prstGeom prst="bentConnector3">
              <a:avLst>
                <a:gd name="adj1" fmla="val 50000"/>
              </a:avLst>
            </a:prstGeom>
            <a:noFill/>
            <a:ln w="9525" cap="flat" cmpd="sng">
              <a:solidFill>
                <a:srgbClr val="869FB2"/>
              </a:solidFill>
              <a:prstDash val="solid"/>
              <a:round/>
              <a:headEnd type="none" w="med" len="med"/>
              <a:tailEnd type="none" w="med" len="med"/>
            </a:ln>
          </p:spPr>
        </p:cxnSp>
        <p:cxnSp>
          <p:nvCxnSpPr>
            <p:cNvPr id="4875" name="Google Shape;4875;p67"/>
            <p:cNvCxnSpPr/>
            <p:nvPr/>
          </p:nvCxnSpPr>
          <p:spPr>
            <a:xfrm rot="10800000" flipH="1">
              <a:off x="756500" y="577975"/>
              <a:ext cx="1705500" cy="1049100"/>
            </a:xfrm>
            <a:prstGeom prst="bentConnector3">
              <a:avLst>
                <a:gd name="adj1" fmla="val 50000"/>
              </a:avLst>
            </a:prstGeom>
            <a:noFill/>
            <a:ln w="9525" cap="flat" cmpd="sng">
              <a:solidFill>
                <a:srgbClr val="BAC8D3"/>
              </a:solidFill>
              <a:prstDash val="solid"/>
              <a:round/>
              <a:headEnd type="none" w="med" len="med"/>
              <a:tailEnd type="none" w="med" len="med"/>
            </a:ln>
          </p:spPr>
        </p:cxnSp>
        <p:cxnSp>
          <p:nvCxnSpPr>
            <p:cNvPr id="4876" name="Google Shape;4876;p67"/>
            <p:cNvCxnSpPr/>
            <p:nvPr/>
          </p:nvCxnSpPr>
          <p:spPr>
            <a:xfrm>
              <a:off x="760067" y="1625791"/>
              <a:ext cx="1689000" cy="974100"/>
            </a:xfrm>
            <a:prstGeom prst="bentConnector3">
              <a:avLst>
                <a:gd name="adj1" fmla="val 50000"/>
              </a:avLst>
            </a:prstGeom>
            <a:noFill/>
            <a:ln w="9525" cap="flat" cmpd="sng">
              <a:solidFill>
                <a:srgbClr val="BAC8D3"/>
              </a:solidFill>
              <a:prstDash val="solid"/>
              <a:round/>
              <a:headEnd type="none" w="med" len="med"/>
              <a:tailEnd type="none" w="med" len="med"/>
            </a:ln>
          </p:spPr>
        </p:cxnSp>
        <p:sp>
          <p:nvSpPr>
            <p:cNvPr id="4877" name="Google Shape;4877;p67"/>
            <p:cNvSpPr/>
            <p:nvPr/>
          </p:nvSpPr>
          <p:spPr>
            <a:xfrm>
              <a:off x="548861" y="1338125"/>
              <a:ext cx="502050" cy="50287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4878" name="Google Shape;4878;p67"/>
            <p:cNvCxnSpPr/>
            <p:nvPr/>
          </p:nvCxnSpPr>
          <p:spPr>
            <a:xfrm>
              <a:off x="2725450" y="2609025"/>
              <a:ext cx="1416000" cy="1800"/>
            </a:xfrm>
            <a:prstGeom prst="bentConnector3">
              <a:avLst>
                <a:gd name="adj1" fmla="val 50000"/>
              </a:avLst>
            </a:prstGeom>
            <a:noFill/>
            <a:ln w="9525" cap="flat" cmpd="sng">
              <a:solidFill>
                <a:srgbClr val="869FB2"/>
              </a:solidFill>
              <a:prstDash val="solid"/>
              <a:round/>
              <a:headEnd type="none" w="med" len="med"/>
              <a:tailEnd type="none" w="med" len="med"/>
            </a:ln>
          </p:spPr>
        </p:cxnSp>
        <p:sp>
          <p:nvSpPr>
            <p:cNvPr id="4879" name="Google Shape;4879;p67"/>
            <p:cNvSpPr/>
            <p:nvPr/>
          </p:nvSpPr>
          <p:spPr>
            <a:xfrm>
              <a:off x="4095707" y="1083398"/>
              <a:ext cx="289400" cy="268650"/>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0" name="Google Shape;4880;p67"/>
            <p:cNvSpPr/>
            <p:nvPr/>
          </p:nvSpPr>
          <p:spPr>
            <a:xfrm>
              <a:off x="2421967" y="389676"/>
              <a:ext cx="383625" cy="371825"/>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1" name="Google Shape;4881;p67"/>
            <p:cNvSpPr/>
            <p:nvPr/>
          </p:nvSpPr>
          <p:spPr>
            <a:xfrm>
              <a:off x="4095707" y="426309"/>
              <a:ext cx="289400" cy="268850"/>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2" name="Google Shape;4882;p67"/>
            <p:cNvSpPr/>
            <p:nvPr/>
          </p:nvSpPr>
          <p:spPr>
            <a:xfrm>
              <a:off x="4102832" y="2474633"/>
              <a:ext cx="289400" cy="269425"/>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3" name="Google Shape;4883;p67"/>
            <p:cNvSpPr/>
            <p:nvPr/>
          </p:nvSpPr>
          <p:spPr>
            <a:xfrm>
              <a:off x="4095707" y="1772738"/>
              <a:ext cx="289400" cy="268825"/>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884" name="Google Shape;4884;p67"/>
            <p:cNvSpPr/>
            <p:nvPr/>
          </p:nvSpPr>
          <p:spPr>
            <a:xfrm>
              <a:off x="2422792" y="2408015"/>
              <a:ext cx="383650" cy="371825"/>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885" name="Google Shape;4885;p67"/>
          <p:cNvGrpSpPr/>
          <p:nvPr/>
        </p:nvGrpSpPr>
        <p:grpSpPr>
          <a:xfrm>
            <a:off x="1010416" y="3476683"/>
            <a:ext cx="1882739" cy="844749"/>
            <a:chOff x="1187400" y="2529299"/>
            <a:chExt cx="6769193" cy="2241903"/>
          </a:xfrm>
        </p:grpSpPr>
        <p:sp>
          <p:nvSpPr>
            <p:cNvPr id="4886" name="Google Shape;4886;p67"/>
            <p:cNvSpPr/>
            <p:nvPr/>
          </p:nvSpPr>
          <p:spPr>
            <a:xfrm>
              <a:off x="3802943" y="2529299"/>
              <a:ext cx="1538100" cy="442500"/>
            </a:xfrm>
            <a:prstGeom prst="roundRect">
              <a:avLst>
                <a:gd name="adj" fmla="val 50000"/>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FFFFFF"/>
                </a:solidFill>
                <a:latin typeface="Arial"/>
                <a:cs typeface="Arial"/>
                <a:sym typeface="Arial"/>
              </a:endParaRPr>
            </a:p>
          </p:txBody>
        </p:sp>
        <p:sp>
          <p:nvSpPr>
            <p:cNvPr id="4887" name="Google Shape;4887;p67"/>
            <p:cNvSpPr/>
            <p:nvPr/>
          </p:nvSpPr>
          <p:spPr>
            <a:xfrm>
              <a:off x="5573240" y="3429000"/>
              <a:ext cx="1538100" cy="442500"/>
            </a:xfrm>
            <a:prstGeom prst="roundRect">
              <a:avLst>
                <a:gd name="adj" fmla="val 50000"/>
              </a:avLst>
            </a:prstGeom>
            <a:solidFill>
              <a:srgbClr val="869FB1"/>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4888" name="Google Shape;4888;p67"/>
            <p:cNvSpPr/>
            <p:nvPr/>
          </p:nvSpPr>
          <p:spPr>
            <a:xfrm>
              <a:off x="2032647" y="3429000"/>
              <a:ext cx="1538100" cy="442500"/>
            </a:xfrm>
            <a:prstGeom prst="roundRect">
              <a:avLst>
                <a:gd name="adj" fmla="val 50000"/>
              </a:avLst>
            </a:prstGeom>
            <a:solidFill>
              <a:srgbClr val="869FB1"/>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4889" name="Google Shape;4889;p67"/>
            <p:cNvSpPr/>
            <p:nvPr/>
          </p:nvSpPr>
          <p:spPr>
            <a:xfrm>
              <a:off x="1187400" y="4328701"/>
              <a:ext cx="1538100" cy="442500"/>
            </a:xfrm>
            <a:prstGeom prst="roundRect">
              <a:avLst>
                <a:gd name="adj" fmla="val 50000"/>
              </a:avLst>
            </a:prstGeom>
            <a:solidFill>
              <a:srgbClr val="CFD9E0"/>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4890" name="Google Shape;4890;p67"/>
            <p:cNvSpPr/>
            <p:nvPr/>
          </p:nvSpPr>
          <p:spPr>
            <a:xfrm>
              <a:off x="2877893" y="4328701"/>
              <a:ext cx="1538100" cy="442500"/>
            </a:xfrm>
            <a:prstGeom prst="roundRect">
              <a:avLst>
                <a:gd name="adj" fmla="val 50000"/>
              </a:avLst>
            </a:prstGeom>
            <a:solidFill>
              <a:srgbClr val="CFD9E0"/>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4891" name="Google Shape;4891;p67"/>
            <p:cNvSpPr/>
            <p:nvPr/>
          </p:nvSpPr>
          <p:spPr>
            <a:xfrm>
              <a:off x="4728000" y="4328701"/>
              <a:ext cx="1538100" cy="442500"/>
            </a:xfrm>
            <a:prstGeom prst="roundRect">
              <a:avLst>
                <a:gd name="adj" fmla="val 50000"/>
              </a:avLst>
            </a:prstGeom>
            <a:solidFill>
              <a:srgbClr val="CFD9E0"/>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sp>
          <p:nvSpPr>
            <p:cNvPr id="4892" name="Google Shape;4892;p67"/>
            <p:cNvSpPr/>
            <p:nvPr/>
          </p:nvSpPr>
          <p:spPr>
            <a:xfrm>
              <a:off x="6418493" y="4328701"/>
              <a:ext cx="1538100" cy="442500"/>
            </a:xfrm>
            <a:prstGeom prst="roundRect">
              <a:avLst>
                <a:gd name="adj" fmla="val 50000"/>
              </a:avLst>
            </a:prstGeom>
            <a:solidFill>
              <a:srgbClr val="CFD9E0"/>
            </a:solidFill>
            <a:ln>
              <a:noFill/>
            </a:ln>
          </p:spPr>
          <p:txBody>
            <a:bodyPr spcFirstLastPara="1" wrap="square" lIns="121900" tIns="121900" rIns="121900" bIns="121900" anchor="ctr" anchorCtr="0">
              <a:noAutofit/>
            </a:bodyPr>
            <a:lstStyle/>
            <a:p>
              <a:pPr algn="ctr" defTabSz="1219170">
                <a:buClr>
                  <a:srgbClr val="000000"/>
                </a:buClr>
              </a:pPr>
              <a:endParaRPr sz="1867" kern="0">
                <a:solidFill>
                  <a:srgbClr val="FFFFFF"/>
                </a:solidFill>
                <a:latin typeface="Arial"/>
                <a:cs typeface="Arial"/>
                <a:sym typeface="Arial"/>
              </a:endParaRPr>
            </a:p>
          </p:txBody>
        </p:sp>
        <p:cxnSp>
          <p:nvCxnSpPr>
            <p:cNvPr id="4893" name="Google Shape;4893;p67"/>
            <p:cNvCxnSpPr>
              <a:stCxn id="4886" idx="2"/>
              <a:endCxn id="4887" idx="0"/>
            </p:cNvCxnSpPr>
            <p:nvPr/>
          </p:nvCxnSpPr>
          <p:spPr>
            <a:xfrm rot="-5400000" flipH="1">
              <a:off x="5228393" y="2315399"/>
              <a:ext cx="4575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894" name="Google Shape;4894;p67"/>
            <p:cNvCxnSpPr>
              <a:stCxn id="4888" idx="0"/>
              <a:endCxn id="4886" idx="2"/>
            </p:cNvCxnSpPr>
            <p:nvPr/>
          </p:nvCxnSpPr>
          <p:spPr>
            <a:xfrm rot="-5400000">
              <a:off x="3458097" y="2315100"/>
              <a:ext cx="457500" cy="17703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895" name="Google Shape;4895;p67"/>
            <p:cNvCxnSpPr>
              <a:stCxn id="4888" idx="2"/>
              <a:endCxn id="4890" idx="0"/>
            </p:cNvCxnSpPr>
            <p:nvPr/>
          </p:nvCxnSpPr>
          <p:spPr>
            <a:xfrm rot="-5400000" flipH="1">
              <a:off x="2995797" y="3677400"/>
              <a:ext cx="457500" cy="8457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896" name="Google Shape;4896;p67"/>
            <p:cNvCxnSpPr>
              <a:stCxn id="4889" idx="0"/>
              <a:endCxn id="4888" idx="2"/>
            </p:cNvCxnSpPr>
            <p:nvPr/>
          </p:nvCxnSpPr>
          <p:spPr>
            <a:xfrm rot="-5400000">
              <a:off x="2150550" y="3677101"/>
              <a:ext cx="457500" cy="8457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897" name="Google Shape;4897;p67"/>
            <p:cNvCxnSpPr>
              <a:stCxn id="4887" idx="2"/>
              <a:endCxn id="4892" idx="0"/>
            </p:cNvCxnSpPr>
            <p:nvPr/>
          </p:nvCxnSpPr>
          <p:spPr>
            <a:xfrm rot="-5400000" flipH="1">
              <a:off x="6536390" y="3677400"/>
              <a:ext cx="457500" cy="845700"/>
            </a:xfrm>
            <a:prstGeom prst="bentConnector3">
              <a:avLst>
                <a:gd name="adj1" fmla="val 49967"/>
              </a:avLst>
            </a:prstGeom>
            <a:noFill/>
            <a:ln w="9525" cap="flat" cmpd="sng">
              <a:solidFill>
                <a:srgbClr val="C2C2C2"/>
              </a:solidFill>
              <a:prstDash val="solid"/>
              <a:round/>
              <a:headEnd type="none" w="sm" len="sm"/>
              <a:tailEnd type="none" w="sm" len="sm"/>
            </a:ln>
          </p:spPr>
        </p:cxnSp>
        <p:cxnSp>
          <p:nvCxnSpPr>
            <p:cNvPr id="4898" name="Google Shape;4898;p67"/>
            <p:cNvCxnSpPr>
              <a:stCxn id="4891" idx="0"/>
              <a:endCxn id="4887" idx="2"/>
            </p:cNvCxnSpPr>
            <p:nvPr/>
          </p:nvCxnSpPr>
          <p:spPr>
            <a:xfrm rot="-5400000">
              <a:off x="5691150" y="3677101"/>
              <a:ext cx="457500" cy="845700"/>
            </a:xfrm>
            <a:prstGeom prst="bentConnector3">
              <a:avLst>
                <a:gd name="adj1" fmla="val 49967"/>
              </a:avLst>
            </a:prstGeom>
            <a:noFill/>
            <a:ln w="9525" cap="flat" cmpd="sng">
              <a:solidFill>
                <a:srgbClr val="C2C2C2"/>
              </a:solidFill>
              <a:prstDash val="solid"/>
              <a:round/>
              <a:headEnd type="none" w="sm" len="sm"/>
              <a:tailEnd type="none" w="sm" len="sm"/>
            </a:ln>
          </p:spPr>
        </p:cxnSp>
      </p:grpSp>
      <p:grpSp>
        <p:nvGrpSpPr>
          <p:cNvPr id="4899" name="Google Shape;4899;p67"/>
          <p:cNvGrpSpPr/>
          <p:nvPr/>
        </p:nvGrpSpPr>
        <p:grpSpPr>
          <a:xfrm>
            <a:off x="9125411" y="4133629"/>
            <a:ext cx="2105380" cy="721164"/>
            <a:chOff x="6895650" y="3126697"/>
            <a:chExt cx="1436662" cy="492105"/>
          </a:xfrm>
        </p:grpSpPr>
        <p:sp>
          <p:nvSpPr>
            <p:cNvPr id="4900" name="Google Shape;4900;p67"/>
            <p:cNvSpPr/>
            <p:nvPr/>
          </p:nvSpPr>
          <p:spPr>
            <a:xfrm>
              <a:off x="715182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5" y="1490"/>
                    <a:pt x="4793" y="838"/>
                    <a:pt x="4793" y="32"/>
                  </a:cubicBezTo>
                  <a:cubicBezTo>
                    <a:pt x="4793" y="23"/>
                    <a:pt x="4795" y="12"/>
                    <a:pt x="479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1" name="Google Shape;4901;p67"/>
            <p:cNvSpPr/>
            <p:nvPr/>
          </p:nvSpPr>
          <p:spPr>
            <a:xfrm>
              <a:off x="7664160" y="3406364"/>
              <a:ext cx="414806" cy="212438"/>
            </a:xfrm>
            <a:custGeom>
              <a:avLst/>
              <a:gdLst/>
              <a:ahLst/>
              <a:cxnLst/>
              <a:rect l="l" t="t" r="r" b="b"/>
              <a:pathLst>
                <a:path w="12481" h="6392" extrusionOk="0">
                  <a:moveTo>
                    <a:pt x="2" y="0"/>
                  </a:moveTo>
                  <a:lnTo>
                    <a:pt x="2" y="66"/>
                  </a:lnTo>
                  <a:cubicBezTo>
                    <a:pt x="0" y="3558"/>
                    <a:pt x="2794" y="6391"/>
                    <a:pt x="6241" y="6391"/>
                  </a:cubicBezTo>
                  <a:cubicBezTo>
                    <a:pt x="9687" y="6391"/>
                    <a:pt x="12481" y="3558"/>
                    <a:pt x="12481" y="66"/>
                  </a:cubicBezTo>
                  <a:lnTo>
                    <a:pt x="12481" y="0"/>
                  </a:lnTo>
                  <a:lnTo>
                    <a:pt x="7664" y="0"/>
                  </a:lnTo>
                  <a:cubicBezTo>
                    <a:pt x="7664" y="12"/>
                    <a:pt x="7666" y="23"/>
                    <a:pt x="7666" y="32"/>
                  </a:cubicBezTo>
                  <a:cubicBezTo>
                    <a:pt x="7666" y="838"/>
                    <a:pt x="7022" y="1490"/>
                    <a:pt x="6229" y="1490"/>
                  </a:cubicBezTo>
                  <a:cubicBezTo>
                    <a:pt x="5437" y="1490"/>
                    <a:pt x="4793" y="838"/>
                    <a:pt x="4793" y="32"/>
                  </a:cubicBezTo>
                  <a:cubicBezTo>
                    <a:pt x="4793" y="23"/>
                    <a:pt x="4795" y="12"/>
                    <a:pt x="4795"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2" name="Google Shape;4902;p67"/>
            <p:cNvSpPr/>
            <p:nvPr/>
          </p:nvSpPr>
          <p:spPr>
            <a:xfrm>
              <a:off x="6895650" y="3127761"/>
              <a:ext cx="420489" cy="212471"/>
            </a:xfrm>
            <a:custGeom>
              <a:avLst/>
              <a:gdLst/>
              <a:ahLst/>
              <a:cxnLst/>
              <a:rect l="l" t="t" r="r" b="b"/>
              <a:pathLst>
                <a:path w="12652" h="6393" extrusionOk="0">
                  <a:moveTo>
                    <a:pt x="6326" y="0"/>
                  </a:moveTo>
                  <a:cubicBezTo>
                    <a:pt x="2832" y="0"/>
                    <a:pt x="1" y="2833"/>
                    <a:pt x="1" y="6326"/>
                  </a:cubicBezTo>
                  <a:lnTo>
                    <a:pt x="1" y="6393"/>
                  </a:lnTo>
                  <a:lnTo>
                    <a:pt x="4883" y="6393"/>
                  </a:lnTo>
                  <a:cubicBezTo>
                    <a:pt x="4883" y="6382"/>
                    <a:pt x="4882" y="6370"/>
                    <a:pt x="4882" y="6359"/>
                  </a:cubicBezTo>
                  <a:cubicBezTo>
                    <a:pt x="4882" y="5555"/>
                    <a:pt x="5534" y="4904"/>
                    <a:pt x="6337" y="4904"/>
                  </a:cubicBezTo>
                  <a:cubicBezTo>
                    <a:pt x="7141" y="4904"/>
                    <a:pt x="7793" y="5555"/>
                    <a:pt x="7793" y="6359"/>
                  </a:cubicBezTo>
                  <a:cubicBezTo>
                    <a:pt x="7793" y="6370"/>
                    <a:pt x="7791" y="6382"/>
                    <a:pt x="7791" y="6393"/>
                  </a:cubicBezTo>
                  <a:lnTo>
                    <a:pt x="12651" y="6393"/>
                  </a:lnTo>
                  <a:lnTo>
                    <a:pt x="12651" y="6326"/>
                  </a:lnTo>
                  <a:cubicBezTo>
                    <a:pt x="12651" y="2833"/>
                    <a:pt x="9820" y="0"/>
                    <a:pt x="632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3" name="Google Shape;4903;p67"/>
            <p:cNvSpPr/>
            <p:nvPr/>
          </p:nvSpPr>
          <p:spPr>
            <a:xfrm>
              <a:off x="7399482"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4" name="Google Shape;4904;p67"/>
            <p:cNvSpPr/>
            <p:nvPr/>
          </p:nvSpPr>
          <p:spPr>
            <a:xfrm>
              <a:off x="7911823" y="3126697"/>
              <a:ext cx="420489" cy="212438"/>
            </a:xfrm>
            <a:custGeom>
              <a:avLst/>
              <a:gdLst/>
              <a:ahLst/>
              <a:cxnLst/>
              <a:rect l="l" t="t" r="r" b="b"/>
              <a:pathLst>
                <a:path w="12652" h="6392" extrusionOk="0">
                  <a:moveTo>
                    <a:pt x="6326" y="0"/>
                  </a:moveTo>
                  <a:cubicBezTo>
                    <a:pt x="2832" y="0"/>
                    <a:pt x="1" y="2832"/>
                    <a:pt x="1" y="6326"/>
                  </a:cubicBezTo>
                  <a:lnTo>
                    <a:pt x="1" y="6391"/>
                  </a:lnTo>
                  <a:lnTo>
                    <a:pt x="4883" y="6391"/>
                  </a:lnTo>
                  <a:cubicBezTo>
                    <a:pt x="4883" y="6380"/>
                    <a:pt x="4882" y="6369"/>
                    <a:pt x="4882" y="6358"/>
                  </a:cubicBezTo>
                  <a:cubicBezTo>
                    <a:pt x="4882" y="5554"/>
                    <a:pt x="5533" y="4902"/>
                    <a:pt x="6337" y="4902"/>
                  </a:cubicBezTo>
                  <a:cubicBezTo>
                    <a:pt x="7141" y="4902"/>
                    <a:pt x="7793" y="5554"/>
                    <a:pt x="7793" y="6358"/>
                  </a:cubicBezTo>
                  <a:cubicBezTo>
                    <a:pt x="7793" y="6369"/>
                    <a:pt x="7791" y="6380"/>
                    <a:pt x="7791" y="6391"/>
                  </a:cubicBezTo>
                  <a:lnTo>
                    <a:pt x="12650" y="6391"/>
                  </a:lnTo>
                  <a:lnTo>
                    <a:pt x="12650" y="6326"/>
                  </a:lnTo>
                  <a:cubicBezTo>
                    <a:pt x="12651" y="2833"/>
                    <a:pt x="9819" y="0"/>
                    <a:pt x="632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05" name="Google Shape;4905;p67"/>
            <p:cNvGrpSpPr/>
            <p:nvPr/>
          </p:nvGrpSpPr>
          <p:grpSpPr>
            <a:xfrm>
              <a:off x="6995957" y="3335810"/>
              <a:ext cx="1230393" cy="71754"/>
              <a:chOff x="6995957" y="3287964"/>
              <a:chExt cx="1230393" cy="71754"/>
            </a:xfrm>
          </p:grpSpPr>
          <p:sp>
            <p:nvSpPr>
              <p:cNvPr id="4906" name="Google Shape;4906;p67"/>
              <p:cNvSpPr/>
              <p:nvPr/>
            </p:nvSpPr>
            <p:spPr>
              <a:xfrm>
                <a:off x="8006733" y="3287964"/>
                <a:ext cx="219617" cy="71754"/>
              </a:xfrm>
              <a:custGeom>
                <a:avLst/>
                <a:gdLst/>
                <a:ahLst/>
                <a:cxnLst/>
                <a:rect l="l" t="t" r="r" b="b"/>
                <a:pathLst>
                  <a:path w="6608" h="2159" extrusionOk="0">
                    <a:moveTo>
                      <a:pt x="3501" y="647"/>
                    </a:moveTo>
                    <a:cubicBezTo>
                      <a:pt x="3723" y="647"/>
                      <a:pt x="3935" y="820"/>
                      <a:pt x="3936" y="1080"/>
                    </a:cubicBezTo>
                    <a:cubicBezTo>
                      <a:pt x="3936" y="1318"/>
                      <a:pt x="3743" y="1512"/>
                      <a:pt x="3504" y="1512"/>
                    </a:cubicBezTo>
                    <a:cubicBezTo>
                      <a:pt x="3118" y="1512"/>
                      <a:pt x="2924" y="1048"/>
                      <a:pt x="3198" y="775"/>
                    </a:cubicBezTo>
                    <a:cubicBezTo>
                      <a:pt x="3286" y="687"/>
                      <a:pt x="3395" y="647"/>
                      <a:pt x="3501" y="647"/>
                    </a:cubicBezTo>
                    <a:close/>
                    <a:moveTo>
                      <a:pt x="3504" y="0"/>
                    </a:moveTo>
                    <a:cubicBezTo>
                      <a:pt x="3051" y="0"/>
                      <a:pt x="2646" y="282"/>
                      <a:pt x="2490" y="708"/>
                    </a:cubicBezTo>
                    <a:lnTo>
                      <a:pt x="357" y="708"/>
                    </a:lnTo>
                    <a:cubicBezTo>
                      <a:pt x="160" y="708"/>
                      <a:pt x="0" y="868"/>
                      <a:pt x="0" y="1065"/>
                    </a:cubicBezTo>
                    <a:lnTo>
                      <a:pt x="0" y="1129"/>
                    </a:lnTo>
                    <a:cubicBezTo>
                      <a:pt x="0" y="1326"/>
                      <a:pt x="160" y="1486"/>
                      <a:pt x="357" y="1486"/>
                    </a:cubicBezTo>
                    <a:lnTo>
                      <a:pt x="2502" y="1486"/>
                    </a:lnTo>
                    <a:cubicBezTo>
                      <a:pt x="2668" y="1893"/>
                      <a:pt x="3064" y="2159"/>
                      <a:pt x="3502" y="2159"/>
                    </a:cubicBezTo>
                    <a:cubicBezTo>
                      <a:pt x="3943" y="2159"/>
                      <a:pt x="4338" y="1893"/>
                      <a:pt x="4503" y="1486"/>
                    </a:cubicBezTo>
                    <a:lnTo>
                      <a:pt x="6271" y="1486"/>
                    </a:lnTo>
                    <a:cubicBezTo>
                      <a:pt x="6457" y="1486"/>
                      <a:pt x="6607" y="1336"/>
                      <a:pt x="6607" y="1150"/>
                    </a:cubicBezTo>
                    <a:lnTo>
                      <a:pt x="6607" y="1044"/>
                    </a:lnTo>
                    <a:cubicBezTo>
                      <a:pt x="6607" y="859"/>
                      <a:pt x="6457" y="710"/>
                      <a:pt x="6271" y="708"/>
                    </a:cubicBezTo>
                    <a:lnTo>
                      <a:pt x="4518" y="708"/>
                    </a:lnTo>
                    <a:cubicBezTo>
                      <a:pt x="4362" y="282"/>
                      <a:pt x="3957" y="0"/>
                      <a:pt x="350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7" name="Google Shape;4907;p67"/>
              <p:cNvSpPr/>
              <p:nvPr/>
            </p:nvSpPr>
            <p:spPr>
              <a:xfrm>
                <a:off x="7756540" y="3287964"/>
                <a:ext cx="219617" cy="71754"/>
              </a:xfrm>
              <a:custGeom>
                <a:avLst/>
                <a:gdLst/>
                <a:ahLst/>
                <a:cxnLst/>
                <a:rect l="l" t="t" r="r" b="b"/>
                <a:pathLst>
                  <a:path w="6608" h="2159" extrusionOk="0">
                    <a:moveTo>
                      <a:pt x="3500" y="647"/>
                    </a:moveTo>
                    <a:cubicBezTo>
                      <a:pt x="3722" y="647"/>
                      <a:pt x="3935" y="820"/>
                      <a:pt x="3935" y="1080"/>
                    </a:cubicBezTo>
                    <a:cubicBezTo>
                      <a:pt x="3935" y="1318"/>
                      <a:pt x="3741" y="1512"/>
                      <a:pt x="3503" y="1512"/>
                    </a:cubicBezTo>
                    <a:cubicBezTo>
                      <a:pt x="3117" y="1512"/>
                      <a:pt x="2925" y="1048"/>
                      <a:pt x="3197" y="775"/>
                    </a:cubicBezTo>
                    <a:cubicBezTo>
                      <a:pt x="3285" y="687"/>
                      <a:pt x="3393" y="647"/>
                      <a:pt x="3500" y="647"/>
                    </a:cubicBezTo>
                    <a:close/>
                    <a:moveTo>
                      <a:pt x="3503" y="0"/>
                    </a:moveTo>
                    <a:cubicBezTo>
                      <a:pt x="3049" y="0"/>
                      <a:pt x="2644" y="282"/>
                      <a:pt x="2489" y="708"/>
                    </a:cubicBezTo>
                    <a:lnTo>
                      <a:pt x="358" y="708"/>
                    </a:lnTo>
                    <a:cubicBezTo>
                      <a:pt x="159" y="708"/>
                      <a:pt x="0" y="868"/>
                      <a:pt x="0" y="1065"/>
                    </a:cubicBezTo>
                    <a:lnTo>
                      <a:pt x="0" y="1129"/>
                    </a:lnTo>
                    <a:cubicBezTo>
                      <a:pt x="0" y="1326"/>
                      <a:pt x="159" y="1486"/>
                      <a:pt x="358" y="1486"/>
                    </a:cubicBezTo>
                    <a:lnTo>
                      <a:pt x="2502" y="1486"/>
                    </a:lnTo>
                    <a:cubicBezTo>
                      <a:pt x="2668" y="1893"/>
                      <a:pt x="3064" y="2159"/>
                      <a:pt x="3503" y="2159"/>
                    </a:cubicBezTo>
                    <a:cubicBezTo>
                      <a:pt x="3941" y="2159"/>
                      <a:pt x="4338" y="1893"/>
                      <a:pt x="4503" y="1486"/>
                    </a:cubicBezTo>
                    <a:lnTo>
                      <a:pt x="6271" y="1486"/>
                    </a:lnTo>
                    <a:cubicBezTo>
                      <a:pt x="6457" y="1486"/>
                      <a:pt x="6608" y="1336"/>
                      <a:pt x="6608" y="1150"/>
                    </a:cubicBezTo>
                    <a:lnTo>
                      <a:pt x="6608" y="1044"/>
                    </a:lnTo>
                    <a:cubicBezTo>
                      <a:pt x="6606" y="859"/>
                      <a:pt x="6455" y="708"/>
                      <a:pt x="6270" y="708"/>
                    </a:cubicBezTo>
                    <a:lnTo>
                      <a:pt x="4516" y="708"/>
                    </a:lnTo>
                    <a:cubicBezTo>
                      <a:pt x="4361" y="282"/>
                      <a:pt x="3956" y="0"/>
                      <a:pt x="3503"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8" name="Google Shape;4908;p67"/>
              <p:cNvSpPr/>
              <p:nvPr/>
            </p:nvSpPr>
            <p:spPr>
              <a:xfrm>
                <a:off x="7496443"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4" y="1512"/>
                    </a:cubicBezTo>
                    <a:cubicBezTo>
                      <a:pt x="3119" y="1512"/>
                      <a:pt x="2925" y="1048"/>
                      <a:pt x="3197" y="775"/>
                    </a:cubicBezTo>
                    <a:cubicBezTo>
                      <a:pt x="3285" y="687"/>
                      <a:pt x="3394" y="647"/>
                      <a:pt x="3500" y="647"/>
                    </a:cubicBezTo>
                    <a:close/>
                    <a:moveTo>
                      <a:pt x="3504" y="0"/>
                    </a:moveTo>
                    <a:cubicBezTo>
                      <a:pt x="3050" y="0"/>
                      <a:pt x="2646" y="282"/>
                      <a:pt x="2491" y="708"/>
                    </a:cubicBezTo>
                    <a:lnTo>
                      <a:pt x="358" y="708"/>
                    </a:lnTo>
                    <a:cubicBezTo>
                      <a:pt x="159" y="708"/>
                      <a:pt x="1" y="868"/>
                      <a:pt x="1" y="1065"/>
                    </a:cubicBezTo>
                    <a:lnTo>
                      <a:pt x="1" y="1129"/>
                    </a:lnTo>
                    <a:cubicBezTo>
                      <a:pt x="1" y="1326"/>
                      <a:pt x="159" y="1486"/>
                      <a:pt x="358" y="1486"/>
                    </a:cubicBezTo>
                    <a:lnTo>
                      <a:pt x="2502" y="1486"/>
                    </a:lnTo>
                    <a:cubicBezTo>
                      <a:pt x="2669" y="1893"/>
                      <a:pt x="3064" y="2159"/>
                      <a:pt x="3503" y="2159"/>
                    </a:cubicBezTo>
                    <a:cubicBezTo>
                      <a:pt x="3943" y="2159"/>
                      <a:pt x="4339" y="1893"/>
                      <a:pt x="4504" y="1486"/>
                    </a:cubicBezTo>
                    <a:lnTo>
                      <a:pt x="6272" y="1486"/>
                    </a:lnTo>
                    <a:cubicBezTo>
                      <a:pt x="6457" y="1486"/>
                      <a:pt x="6608" y="1336"/>
                      <a:pt x="6608" y="1150"/>
                    </a:cubicBezTo>
                    <a:lnTo>
                      <a:pt x="6608" y="1044"/>
                    </a:lnTo>
                    <a:cubicBezTo>
                      <a:pt x="6608" y="859"/>
                      <a:pt x="6457" y="710"/>
                      <a:pt x="6272" y="708"/>
                    </a:cubicBezTo>
                    <a:lnTo>
                      <a:pt x="4518" y="708"/>
                    </a:lnTo>
                    <a:cubicBezTo>
                      <a:pt x="4361" y="282"/>
                      <a:pt x="3958" y="0"/>
                      <a:pt x="350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09" name="Google Shape;4909;p67"/>
              <p:cNvSpPr/>
              <p:nvPr/>
            </p:nvSpPr>
            <p:spPr>
              <a:xfrm>
                <a:off x="7243757" y="3287964"/>
                <a:ext cx="219617" cy="71754"/>
              </a:xfrm>
              <a:custGeom>
                <a:avLst/>
                <a:gdLst/>
                <a:ahLst/>
                <a:cxnLst/>
                <a:rect l="l" t="t" r="r" b="b"/>
                <a:pathLst>
                  <a:path w="6608" h="2159" extrusionOk="0">
                    <a:moveTo>
                      <a:pt x="3500" y="647"/>
                    </a:moveTo>
                    <a:cubicBezTo>
                      <a:pt x="3722" y="647"/>
                      <a:pt x="3935" y="820"/>
                      <a:pt x="3935" y="1080"/>
                    </a:cubicBezTo>
                    <a:cubicBezTo>
                      <a:pt x="3935" y="1318"/>
                      <a:pt x="3743" y="1512"/>
                      <a:pt x="3503" y="1512"/>
                    </a:cubicBezTo>
                    <a:cubicBezTo>
                      <a:pt x="3118" y="1512"/>
                      <a:pt x="2925" y="1048"/>
                      <a:pt x="3197" y="775"/>
                    </a:cubicBezTo>
                    <a:cubicBezTo>
                      <a:pt x="3285" y="687"/>
                      <a:pt x="3394" y="647"/>
                      <a:pt x="3500" y="647"/>
                    </a:cubicBezTo>
                    <a:close/>
                    <a:moveTo>
                      <a:pt x="3503" y="0"/>
                    </a:moveTo>
                    <a:cubicBezTo>
                      <a:pt x="3050" y="0"/>
                      <a:pt x="2644" y="282"/>
                      <a:pt x="2489" y="708"/>
                    </a:cubicBezTo>
                    <a:lnTo>
                      <a:pt x="358" y="708"/>
                    </a:lnTo>
                    <a:cubicBezTo>
                      <a:pt x="159" y="708"/>
                      <a:pt x="1" y="868"/>
                      <a:pt x="1" y="1065"/>
                    </a:cubicBezTo>
                    <a:lnTo>
                      <a:pt x="1" y="1129"/>
                    </a:lnTo>
                    <a:cubicBezTo>
                      <a:pt x="1" y="1326"/>
                      <a:pt x="159" y="1486"/>
                      <a:pt x="358" y="1486"/>
                    </a:cubicBezTo>
                    <a:lnTo>
                      <a:pt x="2502" y="1486"/>
                    </a:lnTo>
                    <a:cubicBezTo>
                      <a:pt x="2668" y="1893"/>
                      <a:pt x="3064" y="2159"/>
                      <a:pt x="3503" y="2159"/>
                    </a:cubicBezTo>
                    <a:cubicBezTo>
                      <a:pt x="3943" y="2159"/>
                      <a:pt x="4339" y="1893"/>
                      <a:pt x="4504" y="1486"/>
                    </a:cubicBezTo>
                    <a:lnTo>
                      <a:pt x="6271" y="1486"/>
                    </a:lnTo>
                    <a:cubicBezTo>
                      <a:pt x="6457" y="1486"/>
                      <a:pt x="6608" y="1336"/>
                      <a:pt x="6608" y="1150"/>
                    </a:cubicBezTo>
                    <a:lnTo>
                      <a:pt x="6608" y="1044"/>
                    </a:lnTo>
                    <a:cubicBezTo>
                      <a:pt x="6608" y="859"/>
                      <a:pt x="6457" y="710"/>
                      <a:pt x="6271" y="708"/>
                    </a:cubicBezTo>
                    <a:lnTo>
                      <a:pt x="4516" y="708"/>
                    </a:lnTo>
                    <a:cubicBezTo>
                      <a:pt x="4361" y="282"/>
                      <a:pt x="3956" y="0"/>
                      <a:pt x="3503"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10" name="Google Shape;4910;p67"/>
              <p:cNvSpPr/>
              <p:nvPr/>
            </p:nvSpPr>
            <p:spPr>
              <a:xfrm>
                <a:off x="6995957" y="3287964"/>
                <a:ext cx="219617" cy="71754"/>
              </a:xfrm>
              <a:custGeom>
                <a:avLst/>
                <a:gdLst/>
                <a:ahLst/>
                <a:cxnLst/>
                <a:rect l="l" t="t" r="r" b="b"/>
                <a:pathLst>
                  <a:path w="6608" h="2159" extrusionOk="0">
                    <a:moveTo>
                      <a:pt x="3502" y="647"/>
                    </a:moveTo>
                    <a:cubicBezTo>
                      <a:pt x="3724" y="647"/>
                      <a:pt x="3937" y="820"/>
                      <a:pt x="3937" y="1080"/>
                    </a:cubicBezTo>
                    <a:cubicBezTo>
                      <a:pt x="3937" y="1318"/>
                      <a:pt x="3743" y="1512"/>
                      <a:pt x="3505" y="1512"/>
                    </a:cubicBezTo>
                    <a:cubicBezTo>
                      <a:pt x="3119" y="1512"/>
                      <a:pt x="2926" y="1048"/>
                      <a:pt x="3199" y="775"/>
                    </a:cubicBezTo>
                    <a:cubicBezTo>
                      <a:pt x="3287" y="687"/>
                      <a:pt x="3395" y="647"/>
                      <a:pt x="3502" y="647"/>
                    </a:cubicBezTo>
                    <a:close/>
                    <a:moveTo>
                      <a:pt x="3505" y="0"/>
                    </a:moveTo>
                    <a:cubicBezTo>
                      <a:pt x="3051" y="0"/>
                      <a:pt x="2646" y="282"/>
                      <a:pt x="2491" y="708"/>
                    </a:cubicBezTo>
                    <a:lnTo>
                      <a:pt x="358" y="708"/>
                    </a:lnTo>
                    <a:cubicBezTo>
                      <a:pt x="161" y="708"/>
                      <a:pt x="1" y="868"/>
                      <a:pt x="1" y="1065"/>
                    </a:cubicBezTo>
                    <a:lnTo>
                      <a:pt x="1" y="1129"/>
                    </a:lnTo>
                    <a:cubicBezTo>
                      <a:pt x="1" y="1326"/>
                      <a:pt x="161" y="1486"/>
                      <a:pt x="358" y="1486"/>
                    </a:cubicBezTo>
                    <a:lnTo>
                      <a:pt x="2504" y="1486"/>
                    </a:lnTo>
                    <a:cubicBezTo>
                      <a:pt x="2669" y="1893"/>
                      <a:pt x="3064" y="2159"/>
                      <a:pt x="3505" y="2159"/>
                    </a:cubicBezTo>
                    <a:cubicBezTo>
                      <a:pt x="3943" y="2159"/>
                      <a:pt x="4339" y="1893"/>
                      <a:pt x="4505" y="1486"/>
                    </a:cubicBezTo>
                    <a:lnTo>
                      <a:pt x="6272" y="1486"/>
                    </a:lnTo>
                    <a:cubicBezTo>
                      <a:pt x="6457" y="1486"/>
                      <a:pt x="6608" y="1336"/>
                      <a:pt x="6608" y="1150"/>
                    </a:cubicBezTo>
                    <a:lnTo>
                      <a:pt x="6608" y="1044"/>
                    </a:lnTo>
                    <a:cubicBezTo>
                      <a:pt x="6608" y="859"/>
                      <a:pt x="6457" y="710"/>
                      <a:pt x="6272" y="708"/>
                    </a:cubicBezTo>
                    <a:lnTo>
                      <a:pt x="4518" y="708"/>
                    </a:lnTo>
                    <a:cubicBezTo>
                      <a:pt x="4363" y="282"/>
                      <a:pt x="3958" y="0"/>
                      <a:pt x="3505"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911" name="Google Shape;4911;p67"/>
          <p:cNvGrpSpPr/>
          <p:nvPr/>
        </p:nvGrpSpPr>
        <p:grpSpPr>
          <a:xfrm>
            <a:off x="9123520" y="4982646"/>
            <a:ext cx="2109149" cy="867500"/>
            <a:chOff x="6777990" y="3710194"/>
            <a:chExt cx="1646915" cy="677382"/>
          </a:xfrm>
        </p:grpSpPr>
        <p:grpSp>
          <p:nvGrpSpPr>
            <p:cNvPr id="4912" name="Google Shape;4912;p67"/>
            <p:cNvGrpSpPr/>
            <p:nvPr/>
          </p:nvGrpSpPr>
          <p:grpSpPr>
            <a:xfrm>
              <a:off x="6777990" y="3874492"/>
              <a:ext cx="411129" cy="513083"/>
              <a:chOff x="6777990" y="3874492"/>
              <a:chExt cx="411129" cy="513083"/>
            </a:xfrm>
          </p:grpSpPr>
          <p:cxnSp>
            <p:nvCxnSpPr>
              <p:cNvPr id="4913" name="Google Shape;4913;p67"/>
              <p:cNvCxnSpPr/>
              <p:nvPr/>
            </p:nvCxnSpPr>
            <p:spPr>
              <a:xfrm>
                <a:off x="6977019"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914" name="Google Shape;4914;p67"/>
              <p:cNvSpPr/>
              <p:nvPr/>
            </p:nvSpPr>
            <p:spPr>
              <a:xfrm>
                <a:off x="6777990"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915" name="Google Shape;4915;p67"/>
            <p:cNvGrpSpPr/>
            <p:nvPr/>
          </p:nvGrpSpPr>
          <p:grpSpPr>
            <a:xfrm>
              <a:off x="7188425" y="3710194"/>
              <a:ext cx="411123" cy="520535"/>
              <a:chOff x="7188425" y="3710194"/>
              <a:chExt cx="411123" cy="520535"/>
            </a:xfrm>
          </p:grpSpPr>
          <p:cxnSp>
            <p:nvCxnSpPr>
              <p:cNvPr id="4916" name="Google Shape;4916;p67"/>
              <p:cNvCxnSpPr/>
              <p:nvPr/>
            </p:nvCxnSpPr>
            <p:spPr>
              <a:xfrm rot="10800000">
                <a:off x="7393988" y="3710194"/>
                <a:ext cx="0" cy="170700"/>
              </a:xfrm>
              <a:prstGeom prst="straightConnector1">
                <a:avLst/>
              </a:prstGeom>
              <a:noFill/>
              <a:ln w="19050" cap="flat" cmpd="sng">
                <a:solidFill>
                  <a:srgbClr val="A5B7C6"/>
                </a:solidFill>
                <a:prstDash val="solid"/>
                <a:round/>
                <a:headEnd type="none" w="med" len="med"/>
                <a:tailEnd type="diamond" w="med" len="med"/>
              </a:ln>
            </p:spPr>
          </p:cxnSp>
          <p:sp>
            <p:nvSpPr>
              <p:cNvPr id="4917" name="Google Shape;4917;p67"/>
              <p:cNvSpPr/>
              <p:nvPr/>
            </p:nvSpPr>
            <p:spPr>
              <a:xfrm>
                <a:off x="7188425" y="3874492"/>
                <a:ext cx="411123" cy="356237"/>
              </a:xfrm>
              <a:custGeom>
                <a:avLst/>
                <a:gdLst/>
                <a:ahLst/>
                <a:cxnLst/>
                <a:rect l="l" t="t" r="r" b="b"/>
                <a:pathLst>
                  <a:path w="69271" h="60023" extrusionOk="0">
                    <a:moveTo>
                      <a:pt x="17274" y="0"/>
                    </a:moveTo>
                    <a:lnTo>
                      <a:pt x="0" y="30011"/>
                    </a:lnTo>
                    <a:lnTo>
                      <a:pt x="17274"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918" name="Google Shape;4918;p67"/>
            <p:cNvGrpSpPr/>
            <p:nvPr/>
          </p:nvGrpSpPr>
          <p:grpSpPr>
            <a:xfrm>
              <a:off x="7603341" y="3874492"/>
              <a:ext cx="411474" cy="513083"/>
              <a:chOff x="7603341" y="3874492"/>
              <a:chExt cx="411474" cy="513083"/>
            </a:xfrm>
          </p:grpSpPr>
          <p:cxnSp>
            <p:nvCxnSpPr>
              <p:cNvPr id="4919" name="Google Shape;4919;p67"/>
              <p:cNvCxnSpPr/>
              <p:nvPr/>
            </p:nvCxnSpPr>
            <p:spPr>
              <a:xfrm>
                <a:off x="7809095" y="4216875"/>
                <a:ext cx="0" cy="170700"/>
              </a:xfrm>
              <a:prstGeom prst="straightConnector1">
                <a:avLst/>
              </a:prstGeom>
              <a:noFill/>
              <a:ln w="19050" cap="flat" cmpd="sng">
                <a:solidFill>
                  <a:srgbClr val="A5B7C6"/>
                </a:solidFill>
                <a:prstDash val="solid"/>
                <a:round/>
                <a:headEnd type="none" w="med" len="med"/>
                <a:tailEnd type="diamond" w="med" len="med"/>
              </a:ln>
            </p:spPr>
          </p:cxnSp>
          <p:sp>
            <p:nvSpPr>
              <p:cNvPr id="4920" name="Google Shape;4920;p67"/>
              <p:cNvSpPr/>
              <p:nvPr/>
            </p:nvSpPr>
            <p:spPr>
              <a:xfrm>
                <a:off x="7603341" y="3874492"/>
                <a:ext cx="411474" cy="356237"/>
              </a:xfrm>
              <a:custGeom>
                <a:avLst/>
                <a:gdLst/>
                <a:ahLst/>
                <a:cxnLst/>
                <a:rect l="l" t="t" r="r" b="b"/>
                <a:pathLst>
                  <a:path w="69330" h="60023" extrusionOk="0">
                    <a:moveTo>
                      <a:pt x="17333" y="0"/>
                    </a:moveTo>
                    <a:lnTo>
                      <a:pt x="1" y="30011"/>
                    </a:lnTo>
                    <a:lnTo>
                      <a:pt x="17333" y="60023"/>
                    </a:lnTo>
                    <a:lnTo>
                      <a:pt x="51998" y="60023"/>
                    </a:lnTo>
                    <a:lnTo>
                      <a:pt x="69330" y="30011"/>
                    </a:lnTo>
                    <a:lnTo>
                      <a:pt x="51998"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921" name="Google Shape;4921;p67"/>
            <p:cNvGrpSpPr/>
            <p:nvPr/>
          </p:nvGrpSpPr>
          <p:grpSpPr>
            <a:xfrm>
              <a:off x="8013776" y="3722847"/>
              <a:ext cx="411129" cy="507881"/>
              <a:chOff x="8013776" y="3722847"/>
              <a:chExt cx="411129" cy="507881"/>
            </a:xfrm>
          </p:grpSpPr>
          <p:cxnSp>
            <p:nvCxnSpPr>
              <p:cNvPr id="4922" name="Google Shape;4922;p67"/>
              <p:cNvCxnSpPr/>
              <p:nvPr/>
            </p:nvCxnSpPr>
            <p:spPr>
              <a:xfrm rot="10800000">
                <a:off x="8219339" y="3722847"/>
                <a:ext cx="0" cy="169800"/>
              </a:xfrm>
              <a:prstGeom prst="straightConnector1">
                <a:avLst/>
              </a:prstGeom>
              <a:noFill/>
              <a:ln w="19050" cap="flat" cmpd="sng">
                <a:solidFill>
                  <a:srgbClr val="A5B7C6"/>
                </a:solidFill>
                <a:prstDash val="solid"/>
                <a:round/>
                <a:headEnd type="none" w="med" len="med"/>
                <a:tailEnd type="diamond" w="med" len="med"/>
              </a:ln>
            </p:spPr>
          </p:cxnSp>
          <p:sp>
            <p:nvSpPr>
              <p:cNvPr id="4923" name="Google Shape;4923;p67"/>
              <p:cNvSpPr/>
              <p:nvPr/>
            </p:nvSpPr>
            <p:spPr>
              <a:xfrm>
                <a:off x="8013776" y="3874492"/>
                <a:ext cx="411129" cy="356237"/>
              </a:xfrm>
              <a:custGeom>
                <a:avLst/>
                <a:gdLst/>
                <a:ahLst/>
                <a:cxnLst/>
                <a:rect l="l" t="t" r="r" b="b"/>
                <a:pathLst>
                  <a:path w="69272" h="60023" extrusionOk="0">
                    <a:moveTo>
                      <a:pt x="17333" y="0"/>
                    </a:moveTo>
                    <a:lnTo>
                      <a:pt x="0" y="30011"/>
                    </a:lnTo>
                    <a:lnTo>
                      <a:pt x="17333" y="60023"/>
                    </a:lnTo>
                    <a:lnTo>
                      <a:pt x="51939" y="60023"/>
                    </a:lnTo>
                    <a:lnTo>
                      <a:pt x="69271" y="30011"/>
                    </a:lnTo>
                    <a:lnTo>
                      <a:pt x="51939" y="0"/>
                    </a:lnTo>
                    <a:close/>
                  </a:path>
                </a:pathLst>
              </a:custGeom>
              <a:solidFill>
                <a:srgbClr val="435D74"/>
              </a:solidFill>
              <a:ln w="19050" cap="flat" cmpd="sng">
                <a:solidFill>
                  <a:srgbClr val="A5B7C5"/>
                </a:solidFill>
                <a:prstDash val="solid"/>
                <a:miter lim="58162"/>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924" name="Google Shape;4924;p67"/>
          <p:cNvGrpSpPr/>
          <p:nvPr/>
        </p:nvGrpSpPr>
        <p:grpSpPr>
          <a:xfrm>
            <a:off x="7016207" y="3879766"/>
            <a:ext cx="1895852" cy="1360804"/>
            <a:chOff x="5190863" y="2824811"/>
            <a:chExt cx="1544860" cy="1108869"/>
          </a:xfrm>
        </p:grpSpPr>
        <p:grpSp>
          <p:nvGrpSpPr>
            <p:cNvPr id="4925" name="Google Shape;4925;p67"/>
            <p:cNvGrpSpPr/>
            <p:nvPr/>
          </p:nvGrpSpPr>
          <p:grpSpPr>
            <a:xfrm>
              <a:off x="5938695" y="3176919"/>
              <a:ext cx="685761" cy="404739"/>
              <a:chOff x="5938695" y="3176919"/>
              <a:chExt cx="685761" cy="404739"/>
            </a:xfrm>
          </p:grpSpPr>
          <p:grpSp>
            <p:nvGrpSpPr>
              <p:cNvPr id="4926" name="Google Shape;4926;p67"/>
              <p:cNvGrpSpPr/>
              <p:nvPr/>
            </p:nvGrpSpPr>
            <p:grpSpPr>
              <a:xfrm>
                <a:off x="5938695" y="3176919"/>
                <a:ext cx="685761" cy="404739"/>
                <a:chOff x="5938695" y="3176919"/>
                <a:chExt cx="685761" cy="404739"/>
              </a:xfrm>
            </p:grpSpPr>
            <p:sp>
              <p:nvSpPr>
                <p:cNvPr id="4927" name="Google Shape;4927;p67"/>
                <p:cNvSpPr/>
                <p:nvPr/>
              </p:nvSpPr>
              <p:spPr>
                <a:xfrm>
                  <a:off x="5938695" y="3176919"/>
                  <a:ext cx="404679" cy="404739"/>
                </a:xfrm>
                <a:custGeom>
                  <a:avLst/>
                  <a:gdLst/>
                  <a:ahLst/>
                  <a:cxnLst/>
                  <a:rect l="l" t="t" r="r" b="b"/>
                  <a:pathLst>
                    <a:path w="9649" h="9651" extrusionOk="0">
                      <a:moveTo>
                        <a:pt x="4922" y="1"/>
                      </a:moveTo>
                      <a:cubicBezTo>
                        <a:pt x="4890" y="1"/>
                        <a:pt x="4858" y="2"/>
                        <a:pt x="4826" y="2"/>
                      </a:cubicBezTo>
                      <a:lnTo>
                        <a:pt x="4826" y="1251"/>
                      </a:lnTo>
                      <a:cubicBezTo>
                        <a:pt x="4858" y="1251"/>
                        <a:pt x="4890" y="1251"/>
                        <a:pt x="4922" y="1253"/>
                      </a:cubicBezTo>
                      <a:lnTo>
                        <a:pt x="4925" y="1253"/>
                      </a:lnTo>
                      <a:cubicBezTo>
                        <a:pt x="6858" y="1309"/>
                        <a:pt x="8395" y="2891"/>
                        <a:pt x="8395" y="4825"/>
                      </a:cubicBezTo>
                      <a:cubicBezTo>
                        <a:pt x="8395" y="4845"/>
                        <a:pt x="8393" y="4864"/>
                        <a:pt x="8393" y="4883"/>
                      </a:cubicBezTo>
                      <a:cubicBezTo>
                        <a:pt x="8361" y="6814"/>
                        <a:pt x="6800" y="8371"/>
                        <a:pt x="4869" y="8396"/>
                      </a:cubicBezTo>
                      <a:cubicBezTo>
                        <a:pt x="4853" y="8397"/>
                        <a:pt x="4837" y="8397"/>
                        <a:pt x="4820" y="8397"/>
                      </a:cubicBezTo>
                      <a:cubicBezTo>
                        <a:pt x="2911" y="8397"/>
                        <a:pt x="1336" y="6893"/>
                        <a:pt x="1253" y="4979"/>
                      </a:cubicBezTo>
                      <a:lnTo>
                        <a:pt x="1253" y="4971"/>
                      </a:lnTo>
                      <a:cubicBezTo>
                        <a:pt x="1251" y="4942"/>
                        <a:pt x="1251" y="4912"/>
                        <a:pt x="1251" y="4883"/>
                      </a:cubicBezTo>
                      <a:lnTo>
                        <a:pt x="2" y="4883"/>
                      </a:lnTo>
                      <a:cubicBezTo>
                        <a:pt x="2" y="4913"/>
                        <a:pt x="2" y="4944"/>
                        <a:pt x="1" y="4976"/>
                      </a:cubicBezTo>
                      <a:lnTo>
                        <a:pt x="1" y="4979"/>
                      </a:lnTo>
                      <a:cubicBezTo>
                        <a:pt x="23" y="5762"/>
                        <a:pt x="238" y="6528"/>
                        <a:pt x="627" y="7208"/>
                      </a:cubicBezTo>
                      <a:cubicBezTo>
                        <a:pt x="1484" y="8717"/>
                        <a:pt x="3085" y="9650"/>
                        <a:pt x="4822" y="9650"/>
                      </a:cubicBezTo>
                      <a:cubicBezTo>
                        <a:pt x="7468" y="9650"/>
                        <a:pt x="9614" y="7520"/>
                        <a:pt x="9646" y="4883"/>
                      </a:cubicBezTo>
                      <a:cubicBezTo>
                        <a:pt x="9646" y="4864"/>
                        <a:pt x="9647" y="4845"/>
                        <a:pt x="9647" y="4825"/>
                      </a:cubicBezTo>
                      <a:cubicBezTo>
                        <a:pt x="9649" y="3088"/>
                        <a:pt x="8714" y="1483"/>
                        <a:pt x="7200" y="628"/>
                      </a:cubicBezTo>
                      <a:cubicBezTo>
                        <a:pt x="6746" y="369"/>
                        <a:pt x="6251" y="186"/>
                        <a:pt x="5737" y="87"/>
                      </a:cubicBezTo>
                      <a:cubicBezTo>
                        <a:pt x="5468" y="36"/>
                        <a:pt x="5195" y="7"/>
                        <a:pt x="4922"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28" name="Google Shape;4928;p67"/>
                <p:cNvSpPr/>
                <p:nvPr/>
              </p:nvSpPr>
              <p:spPr>
                <a:xfrm>
                  <a:off x="6256893" y="3285705"/>
                  <a:ext cx="367562" cy="187754"/>
                </a:xfrm>
                <a:custGeom>
                  <a:avLst/>
                  <a:gdLst/>
                  <a:ahLst/>
                  <a:cxnLst/>
                  <a:rect l="l" t="t" r="r" b="b"/>
                  <a:pathLst>
                    <a:path w="8764" h="4477" extrusionOk="0">
                      <a:moveTo>
                        <a:pt x="6645" y="1"/>
                      </a:moveTo>
                      <a:cubicBezTo>
                        <a:pt x="6644" y="1"/>
                        <a:pt x="6643" y="1"/>
                        <a:pt x="6642" y="1"/>
                      </a:cubicBezTo>
                      <a:lnTo>
                        <a:pt x="14" y="1"/>
                      </a:lnTo>
                      <a:cubicBezTo>
                        <a:pt x="1061" y="1309"/>
                        <a:pt x="1055" y="3173"/>
                        <a:pt x="1" y="4476"/>
                      </a:cubicBezTo>
                      <a:lnTo>
                        <a:pt x="6642" y="4476"/>
                      </a:lnTo>
                      <a:cubicBezTo>
                        <a:pt x="7814" y="4476"/>
                        <a:pt x="8763" y="3527"/>
                        <a:pt x="8763" y="2355"/>
                      </a:cubicBezTo>
                      <a:lnTo>
                        <a:pt x="8763" y="2121"/>
                      </a:lnTo>
                      <a:cubicBezTo>
                        <a:pt x="8762" y="950"/>
                        <a:pt x="7814" y="1"/>
                        <a:pt x="6645"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929" name="Google Shape;4929;p67"/>
              <p:cNvSpPr/>
              <p:nvPr/>
            </p:nvSpPr>
            <p:spPr>
              <a:xfrm>
                <a:off x="6044300" y="3282475"/>
                <a:ext cx="191959" cy="191990"/>
              </a:xfrm>
              <a:custGeom>
                <a:avLst/>
                <a:gdLst/>
                <a:ahLst/>
                <a:cxnLst/>
                <a:rect l="l" t="t" r="r" b="b"/>
                <a:pathLst>
                  <a:path w="4577" h="4578" extrusionOk="0">
                    <a:moveTo>
                      <a:pt x="2288" y="1"/>
                    </a:moveTo>
                    <a:cubicBezTo>
                      <a:pt x="1025" y="1"/>
                      <a:pt x="0" y="1024"/>
                      <a:pt x="0" y="2289"/>
                    </a:cubicBezTo>
                    <a:cubicBezTo>
                      <a:pt x="0" y="3553"/>
                      <a:pt x="1025" y="4577"/>
                      <a:pt x="2288" y="4577"/>
                    </a:cubicBezTo>
                    <a:cubicBezTo>
                      <a:pt x="3552" y="4577"/>
                      <a:pt x="4577" y="3553"/>
                      <a:pt x="4577" y="2289"/>
                    </a:cubicBezTo>
                    <a:cubicBezTo>
                      <a:pt x="4577" y="1024"/>
                      <a:pt x="3552" y="1"/>
                      <a:pt x="2288"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930" name="Google Shape;4930;p67"/>
            <p:cNvGrpSpPr/>
            <p:nvPr/>
          </p:nvGrpSpPr>
          <p:grpSpPr>
            <a:xfrm>
              <a:off x="5305233" y="3176835"/>
              <a:ext cx="685971" cy="404655"/>
              <a:chOff x="5305233" y="3176835"/>
              <a:chExt cx="685971" cy="404655"/>
            </a:xfrm>
          </p:grpSpPr>
          <p:grpSp>
            <p:nvGrpSpPr>
              <p:cNvPr id="4931" name="Google Shape;4931;p67"/>
              <p:cNvGrpSpPr/>
              <p:nvPr/>
            </p:nvGrpSpPr>
            <p:grpSpPr>
              <a:xfrm>
                <a:off x="5305233" y="3176835"/>
                <a:ext cx="685971" cy="404655"/>
                <a:chOff x="5305233" y="3176835"/>
                <a:chExt cx="685971" cy="404655"/>
              </a:xfrm>
            </p:grpSpPr>
            <p:sp>
              <p:nvSpPr>
                <p:cNvPr id="4932" name="Google Shape;4932;p67"/>
                <p:cNvSpPr/>
                <p:nvPr/>
              </p:nvSpPr>
              <p:spPr>
                <a:xfrm>
                  <a:off x="5586650" y="3176835"/>
                  <a:ext cx="404553" cy="404655"/>
                </a:xfrm>
                <a:custGeom>
                  <a:avLst/>
                  <a:gdLst/>
                  <a:ahLst/>
                  <a:cxnLst/>
                  <a:rect l="l" t="t" r="r" b="b"/>
                  <a:pathLst>
                    <a:path w="9646" h="9649" extrusionOk="0">
                      <a:moveTo>
                        <a:pt x="4824" y="1"/>
                      </a:moveTo>
                      <a:cubicBezTo>
                        <a:pt x="2159" y="1"/>
                        <a:pt x="1" y="2161"/>
                        <a:pt x="1" y="4826"/>
                      </a:cubicBezTo>
                      <a:lnTo>
                        <a:pt x="1" y="4883"/>
                      </a:lnTo>
                      <a:cubicBezTo>
                        <a:pt x="31" y="7486"/>
                        <a:pt x="2121" y="9594"/>
                        <a:pt x="4724" y="9647"/>
                      </a:cubicBezTo>
                      <a:cubicBezTo>
                        <a:pt x="4756" y="9647"/>
                        <a:pt x="4790" y="9649"/>
                        <a:pt x="4824" y="9649"/>
                      </a:cubicBezTo>
                      <a:lnTo>
                        <a:pt x="4829" y="9649"/>
                      </a:lnTo>
                      <a:cubicBezTo>
                        <a:pt x="4861" y="9649"/>
                        <a:pt x="4893" y="9649"/>
                        <a:pt x="4925" y="9647"/>
                      </a:cubicBezTo>
                      <a:cubicBezTo>
                        <a:pt x="5725" y="9633"/>
                        <a:pt x="6508" y="9417"/>
                        <a:pt x="7205" y="9021"/>
                      </a:cubicBezTo>
                      <a:cubicBezTo>
                        <a:pt x="6508" y="8626"/>
                        <a:pt x="5725" y="8411"/>
                        <a:pt x="4925" y="8395"/>
                      </a:cubicBezTo>
                      <a:cubicBezTo>
                        <a:pt x="4893" y="8397"/>
                        <a:pt x="4861" y="8397"/>
                        <a:pt x="4829" y="8397"/>
                      </a:cubicBezTo>
                      <a:lnTo>
                        <a:pt x="4824" y="8397"/>
                      </a:lnTo>
                      <a:cubicBezTo>
                        <a:pt x="4790" y="8397"/>
                        <a:pt x="4756" y="8397"/>
                        <a:pt x="4724" y="8395"/>
                      </a:cubicBezTo>
                      <a:cubicBezTo>
                        <a:pt x="2817" y="8344"/>
                        <a:pt x="1283" y="6795"/>
                        <a:pt x="1253" y="4883"/>
                      </a:cubicBezTo>
                      <a:cubicBezTo>
                        <a:pt x="1253" y="4863"/>
                        <a:pt x="1251" y="4843"/>
                        <a:pt x="1251" y="4824"/>
                      </a:cubicBezTo>
                      <a:cubicBezTo>
                        <a:pt x="1251" y="2851"/>
                        <a:pt x="2851" y="1252"/>
                        <a:pt x="4824" y="1252"/>
                      </a:cubicBezTo>
                      <a:cubicBezTo>
                        <a:pt x="6745" y="1252"/>
                        <a:pt x="8313" y="2768"/>
                        <a:pt x="8393" y="4670"/>
                      </a:cubicBezTo>
                      <a:lnTo>
                        <a:pt x="8393" y="4674"/>
                      </a:lnTo>
                      <a:cubicBezTo>
                        <a:pt x="8396" y="4723"/>
                        <a:pt x="8396" y="4774"/>
                        <a:pt x="8396" y="4824"/>
                      </a:cubicBezTo>
                      <a:cubicBezTo>
                        <a:pt x="8396" y="4845"/>
                        <a:pt x="8396" y="4863"/>
                        <a:pt x="8396" y="4883"/>
                      </a:cubicBezTo>
                      <a:lnTo>
                        <a:pt x="9644" y="4883"/>
                      </a:lnTo>
                      <a:cubicBezTo>
                        <a:pt x="9644" y="4863"/>
                        <a:pt x="9642" y="4843"/>
                        <a:pt x="9642" y="4824"/>
                      </a:cubicBezTo>
                      <a:cubicBezTo>
                        <a:pt x="9644" y="4778"/>
                        <a:pt x="9644" y="4728"/>
                        <a:pt x="9645" y="4680"/>
                      </a:cubicBezTo>
                      <a:lnTo>
                        <a:pt x="9645" y="4672"/>
                      </a:lnTo>
                      <a:cubicBezTo>
                        <a:pt x="9623" y="3889"/>
                        <a:pt x="9407" y="3124"/>
                        <a:pt x="9019" y="2443"/>
                      </a:cubicBezTo>
                      <a:cubicBezTo>
                        <a:pt x="8163" y="933"/>
                        <a:pt x="6560" y="1"/>
                        <a:pt x="482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33" name="Google Shape;4933;p67"/>
                <p:cNvSpPr/>
                <p:nvPr/>
              </p:nvSpPr>
              <p:spPr>
                <a:xfrm>
                  <a:off x="5305233" y="3285914"/>
                  <a:ext cx="367352" cy="187796"/>
                </a:xfrm>
                <a:custGeom>
                  <a:avLst/>
                  <a:gdLst/>
                  <a:ahLst/>
                  <a:cxnLst/>
                  <a:rect l="l" t="t" r="r" b="b"/>
                  <a:pathLst>
                    <a:path w="8759" h="4478" extrusionOk="0">
                      <a:moveTo>
                        <a:pt x="2123" y="0"/>
                      </a:moveTo>
                      <a:cubicBezTo>
                        <a:pt x="951" y="0"/>
                        <a:pt x="1" y="950"/>
                        <a:pt x="1" y="2122"/>
                      </a:cubicBezTo>
                      <a:lnTo>
                        <a:pt x="1" y="2356"/>
                      </a:lnTo>
                      <a:cubicBezTo>
                        <a:pt x="1" y="3528"/>
                        <a:pt x="951" y="4478"/>
                        <a:pt x="2123" y="4478"/>
                      </a:cubicBezTo>
                      <a:lnTo>
                        <a:pt x="8759" y="4478"/>
                      </a:lnTo>
                      <a:cubicBezTo>
                        <a:pt x="7702" y="3176"/>
                        <a:pt x="7694" y="1314"/>
                        <a:pt x="8739" y="2"/>
                      </a:cubicBezTo>
                      <a:lnTo>
                        <a:pt x="8739"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934" name="Google Shape;4934;p67"/>
              <p:cNvSpPr/>
              <p:nvPr/>
            </p:nvSpPr>
            <p:spPr>
              <a:xfrm>
                <a:off x="5694436" y="3282475"/>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935" name="Google Shape;4935;p67"/>
            <p:cNvSpPr/>
            <p:nvPr/>
          </p:nvSpPr>
          <p:spPr>
            <a:xfrm>
              <a:off x="6103938" y="3114683"/>
              <a:ext cx="40933" cy="7549"/>
            </a:xfrm>
            <a:custGeom>
              <a:avLst/>
              <a:gdLst/>
              <a:ahLst/>
              <a:cxnLst/>
              <a:rect l="l" t="t" r="r" b="b"/>
              <a:pathLst>
                <a:path w="976" h="180" extrusionOk="0">
                  <a:moveTo>
                    <a:pt x="1" y="1"/>
                  </a:moveTo>
                  <a:lnTo>
                    <a:pt x="1" y="1"/>
                  </a:lnTo>
                  <a:cubicBezTo>
                    <a:pt x="279" y="119"/>
                    <a:pt x="578" y="179"/>
                    <a:pt x="881" y="179"/>
                  </a:cubicBezTo>
                  <a:cubicBezTo>
                    <a:pt x="881" y="179"/>
                    <a:pt x="881" y="179"/>
                    <a:pt x="881" y="179"/>
                  </a:cubicBezTo>
                  <a:lnTo>
                    <a:pt x="881" y="179"/>
                  </a:lnTo>
                  <a:cubicBezTo>
                    <a:pt x="882" y="179"/>
                    <a:pt x="882" y="179"/>
                    <a:pt x="882" y="179"/>
                  </a:cubicBezTo>
                  <a:cubicBezTo>
                    <a:pt x="913" y="179"/>
                    <a:pt x="945" y="178"/>
                    <a:pt x="975" y="176"/>
                  </a:cubicBezTo>
                  <a:lnTo>
                    <a:pt x="975" y="176"/>
                  </a:lnTo>
                  <a:cubicBezTo>
                    <a:pt x="943" y="178"/>
                    <a:pt x="913" y="179"/>
                    <a:pt x="881" y="179"/>
                  </a:cubicBezTo>
                  <a:lnTo>
                    <a:pt x="881" y="179"/>
                  </a:lnTo>
                  <a:cubicBezTo>
                    <a:pt x="579" y="179"/>
                    <a:pt x="279" y="119"/>
                    <a:pt x="1"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36" name="Google Shape;4936;p67"/>
            <p:cNvGrpSpPr/>
            <p:nvPr/>
          </p:nvGrpSpPr>
          <p:grpSpPr>
            <a:xfrm>
              <a:off x="5657361" y="2824811"/>
              <a:ext cx="1078361" cy="404655"/>
              <a:chOff x="5657361" y="2824811"/>
              <a:chExt cx="1078361" cy="404655"/>
            </a:xfrm>
          </p:grpSpPr>
          <p:grpSp>
            <p:nvGrpSpPr>
              <p:cNvPr id="4937" name="Google Shape;4937;p67"/>
              <p:cNvGrpSpPr/>
              <p:nvPr/>
            </p:nvGrpSpPr>
            <p:grpSpPr>
              <a:xfrm>
                <a:off x="5657361" y="2824811"/>
                <a:ext cx="1078361" cy="404655"/>
                <a:chOff x="5657361" y="2824811"/>
                <a:chExt cx="1078361" cy="404655"/>
              </a:xfrm>
            </p:grpSpPr>
            <p:grpSp>
              <p:nvGrpSpPr>
                <p:cNvPr id="4938" name="Google Shape;4938;p67"/>
                <p:cNvGrpSpPr/>
                <p:nvPr/>
              </p:nvGrpSpPr>
              <p:grpSpPr>
                <a:xfrm>
                  <a:off x="5938485" y="2824811"/>
                  <a:ext cx="797237" cy="404655"/>
                  <a:chOff x="5938485" y="2824811"/>
                  <a:chExt cx="797237" cy="404655"/>
                </a:xfrm>
              </p:grpSpPr>
              <p:sp>
                <p:nvSpPr>
                  <p:cNvPr id="4939" name="Google Shape;4939;p67"/>
                  <p:cNvSpPr/>
                  <p:nvPr/>
                </p:nvSpPr>
                <p:spPr>
                  <a:xfrm>
                    <a:off x="6137952" y="2824811"/>
                    <a:ext cx="597771" cy="301698"/>
                  </a:xfrm>
                  <a:custGeom>
                    <a:avLst/>
                    <a:gdLst/>
                    <a:ahLst/>
                    <a:cxnLst/>
                    <a:rect l="l" t="t" r="r" b="b"/>
                    <a:pathLst>
                      <a:path w="14253" h="7194" extrusionOk="0">
                        <a:moveTo>
                          <a:pt x="1" y="1"/>
                        </a:moveTo>
                        <a:lnTo>
                          <a:pt x="1" y="1255"/>
                        </a:lnTo>
                        <a:cubicBezTo>
                          <a:pt x="1972" y="1256"/>
                          <a:pt x="3570" y="2856"/>
                          <a:pt x="3570" y="4826"/>
                        </a:cubicBezTo>
                        <a:lnTo>
                          <a:pt x="3570" y="4827"/>
                        </a:lnTo>
                        <a:cubicBezTo>
                          <a:pt x="3570" y="4994"/>
                          <a:pt x="3578" y="5160"/>
                          <a:pt x="3594" y="5322"/>
                        </a:cubicBezTo>
                        <a:cubicBezTo>
                          <a:pt x="3703" y="6385"/>
                          <a:pt x="4598" y="7194"/>
                          <a:pt x="5668" y="7194"/>
                        </a:cubicBezTo>
                        <a:lnTo>
                          <a:pt x="14253" y="7194"/>
                        </a:lnTo>
                        <a:lnTo>
                          <a:pt x="14253" y="6015"/>
                        </a:lnTo>
                        <a:lnTo>
                          <a:pt x="5982" y="6017"/>
                        </a:lnTo>
                        <a:cubicBezTo>
                          <a:pt x="5333" y="6017"/>
                          <a:pt x="4819" y="5485"/>
                          <a:pt x="4821" y="4838"/>
                        </a:cubicBezTo>
                        <a:lnTo>
                          <a:pt x="4821" y="4826"/>
                        </a:lnTo>
                        <a:cubicBezTo>
                          <a:pt x="4821" y="2163"/>
                          <a:pt x="2662" y="2"/>
                          <a:pt x="1"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0" name="Google Shape;4940;p67"/>
                  <p:cNvSpPr/>
                  <p:nvPr/>
                </p:nvSpPr>
                <p:spPr>
                  <a:xfrm>
                    <a:off x="5938485" y="2824811"/>
                    <a:ext cx="202151" cy="404655"/>
                  </a:xfrm>
                  <a:custGeom>
                    <a:avLst/>
                    <a:gdLst/>
                    <a:ahLst/>
                    <a:cxnLst/>
                    <a:rect l="l" t="t" r="r" b="b"/>
                    <a:pathLst>
                      <a:path w="4820" h="9649" extrusionOk="0">
                        <a:moveTo>
                          <a:pt x="4819" y="1"/>
                        </a:moveTo>
                        <a:cubicBezTo>
                          <a:pt x="2161" y="4"/>
                          <a:pt x="1" y="2167"/>
                          <a:pt x="1" y="4827"/>
                        </a:cubicBezTo>
                        <a:cubicBezTo>
                          <a:pt x="1" y="6565"/>
                          <a:pt x="934" y="8168"/>
                          <a:pt x="2446" y="9023"/>
                        </a:cubicBezTo>
                        <a:cubicBezTo>
                          <a:pt x="3141" y="9418"/>
                          <a:pt x="3924" y="9634"/>
                          <a:pt x="4725" y="9649"/>
                        </a:cubicBezTo>
                        <a:cubicBezTo>
                          <a:pt x="4757" y="9649"/>
                          <a:pt x="4789" y="9647"/>
                          <a:pt x="4819" y="9647"/>
                        </a:cubicBezTo>
                        <a:lnTo>
                          <a:pt x="4819" y="8398"/>
                        </a:lnTo>
                        <a:cubicBezTo>
                          <a:pt x="4787" y="8398"/>
                          <a:pt x="4757" y="8398"/>
                          <a:pt x="4725" y="8397"/>
                        </a:cubicBezTo>
                        <a:lnTo>
                          <a:pt x="4723" y="8397"/>
                        </a:lnTo>
                        <a:cubicBezTo>
                          <a:pt x="2742" y="8342"/>
                          <a:pt x="1165" y="6672"/>
                          <a:pt x="1256" y="4657"/>
                        </a:cubicBezTo>
                        <a:cubicBezTo>
                          <a:pt x="1340" y="2818"/>
                          <a:pt x="2843" y="1327"/>
                          <a:pt x="4685" y="1255"/>
                        </a:cubicBezTo>
                        <a:cubicBezTo>
                          <a:pt x="4730" y="1253"/>
                          <a:pt x="4774" y="1253"/>
                          <a:pt x="4819" y="1253"/>
                        </a:cubicBezTo>
                        <a:lnTo>
                          <a:pt x="4819"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941" name="Google Shape;4941;p67"/>
                <p:cNvSpPr/>
                <p:nvPr/>
              </p:nvSpPr>
              <p:spPr>
                <a:xfrm>
                  <a:off x="5657361" y="2934478"/>
                  <a:ext cx="367688" cy="187838"/>
                </a:xfrm>
                <a:custGeom>
                  <a:avLst/>
                  <a:gdLst/>
                  <a:ahLst/>
                  <a:cxnLst/>
                  <a:rect l="l" t="t" r="r" b="b"/>
                  <a:pathLst>
                    <a:path w="8767" h="4479" extrusionOk="0">
                      <a:moveTo>
                        <a:pt x="2123" y="1"/>
                      </a:moveTo>
                      <a:cubicBezTo>
                        <a:pt x="952" y="1"/>
                        <a:pt x="1" y="950"/>
                        <a:pt x="1" y="2123"/>
                      </a:cubicBezTo>
                      <a:lnTo>
                        <a:pt x="1" y="2356"/>
                      </a:lnTo>
                      <a:cubicBezTo>
                        <a:pt x="1" y="3527"/>
                        <a:pt x="952" y="4478"/>
                        <a:pt x="2123" y="4478"/>
                      </a:cubicBezTo>
                      <a:lnTo>
                        <a:pt x="8766" y="4478"/>
                      </a:lnTo>
                      <a:cubicBezTo>
                        <a:pt x="7702" y="3181"/>
                        <a:pt x="7684" y="1319"/>
                        <a:pt x="872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4942" name="Google Shape;4942;p67"/>
              <p:cNvSpPr/>
              <p:nvPr/>
            </p:nvSpPr>
            <p:spPr>
              <a:xfrm>
                <a:off x="6047361" y="2932675"/>
                <a:ext cx="192001" cy="191990"/>
              </a:xfrm>
              <a:custGeom>
                <a:avLst/>
                <a:gdLst/>
                <a:ahLst/>
                <a:cxnLst/>
                <a:rect l="l" t="t" r="r" b="b"/>
                <a:pathLst>
                  <a:path w="4578" h="4578" extrusionOk="0">
                    <a:moveTo>
                      <a:pt x="2289" y="1"/>
                    </a:moveTo>
                    <a:cubicBezTo>
                      <a:pt x="1026" y="1"/>
                      <a:pt x="1" y="1024"/>
                      <a:pt x="1" y="2289"/>
                    </a:cubicBezTo>
                    <a:cubicBezTo>
                      <a:pt x="1" y="3552"/>
                      <a:pt x="1026" y="4577"/>
                      <a:pt x="2289" y="4577"/>
                    </a:cubicBezTo>
                    <a:cubicBezTo>
                      <a:pt x="3552" y="4577"/>
                      <a:pt x="4577" y="3552"/>
                      <a:pt x="4577" y="2289"/>
                    </a:cubicBezTo>
                    <a:cubicBezTo>
                      <a:pt x="4577" y="1024"/>
                      <a:pt x="3552" y="1"/>
                      <a:pt x="2289"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4943" name="Google Shape;4943;p67"/>
            <p:cNvGrpSpPr/>
            <p:nvPr/>
          </p:nvGrpSpPr>
          <p:grpSpPr>
            <a:xfrm>
              <a:off x="5190863" y="3528942"/>
              <a:ext cx="1078026" cy="404739"/>
              <a:chOff x="5190863" y="3528942"/>
              <a:chExt cx="1078026" cy="404739"/>
            </a:xfrm>
          </p:grpSpPr>
          <p:sp>
            <p:nvSpPr>
              <p:cNvPr id="4944" name="Google Shape;4944;p67"/>
              <p:cNvSpPr/>
              <p:nvPr/>
            </p:nvSpPr>
            <p:spPr>
              <a:xfrm>
                <a:off x="5694436" y="3635379"/>
                <a:ext cx="192001" cy="191990"/>
              </a:xfrm>
              <a:custGeom>
                <a:avLst/>
                <a:gdLst/>
                <a:ahLst/>
                <a:cxnLst/>
                <a:rect l="l" t="t" r="r" b="b"/>
                <a:pathLst>
                  <a:path w="4578" h="4578" extrusionOk="0">
                    <a:moveTo>
                      <a:pt x="2289" y="1"/>
                    </a:moveTo>
                    <a:cubicBezTo>
                      <a:pt x="1026" y="1"/>
                      <a:pt x="1" y="1024"/>
                      <a:pt x="1" y="2289"/>
                    </a:cubicBezTo>
                    <a:cubicBezTo>
                      <a:pt x="1" y="3553"/>
                      <a:pt x="1026" y="4577"/>
                      <a:pt x="2289" y="4577"/>
                    </a:cubicBezTo>
                    <a:cubicBezTo>
                      <a:pt x="3552" y="4577"/>
                      <a:pt x="4577" y="3553"/>
                      <a:pt x="4577" y="2289"/>
                    </a:cubicBezTo>
                    <a:cubicBezTo>
                      <a:pt x="4577" y="1024"/>
                      <a:pt x="3552" y="1"/>
                      <a:pt x="2289"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45" name="Google Shape;4945;p67"/>
              <p:cNvGrpSpPr/>
              <p:nvPr/>
            </p:nvGrpSpPr>
            <p:grpSpPr>
              <a:xfrm>
                <a:off x="5190863" y="3528942"/>
                <a:ext cx="1078026" cy="404739"/>
                <a:chOff x="5190863" y="3528942"/>
                <a:chExt cx="1078026" cy="404739"/>
              </a:xfrm>
            </p:grpSpPr>
            <p:sp>
              <p:nvSpPr>
                <p:cNvPr id="4946" name="Google Shape;4946;p67"/>
                <p:cNvSpPr/>
                <p:nvPr/>
              </p:nvSpPr>
              <p:spPr>
                <a:xfrm>
                  <a:off x="5190863" y="3528942"/>
                  <a:ext cx="800551" cy="404739"/>
                </a:xfrm>
                <a:custGeom>
                  <a:avLst/>
                  <a:gdLst/>
                  <a:ahLst/>
                  <a:cxnLst/>
                  <a:rect l="l" t="t" r="r" b="b"/>
                  <a:pathLst>
                    <a:path w="19088" h="9651" extrusionOk="0">
                      <a:moveTo>
                        <a:pt x="14266" y="1"/>
                      </a:moveTo>
                      <a:lnTo>
                        <a:pt x="14266" y="1253"/>
                      </a:lnTo>
                      <a:cubicBezTo>
                        <a:pt x="14298" y="1253"/>
                        <a:pt x="14330" y="1253"/>
                        <a:pt x="14362" y="1255"/>
                      </a:cubicBezTo>
                      <a:cubicBezTo>
                        <a:pt x="16314" y="1309"/>
                        <a:pt x="17861" y="2922"/>
                        <a:pt x="17833" y="4874"/>
                      </a:cubicBezTo>
                      <a:cubicBezTo>
                        <a:pt x="17808" y="6827"/>
                        <a:pt x="16218" y="8396"/>
                        <a:pt x="14266" y="8398"/>
                      </a:cubicBezTo>
                      <a:lnTo>
                        <a:pt x="14261" y="8398"/>
                      </a:lnTo>
                      <a:cubicBezTo>
                        <a:pt x="12331" y="8398"/>
                        <a:pt x="10757" y="6867"/>
                        <a:pt x="10691" y="4952"/>
                      </a:cubicBezTo>
                      <a:lnTo>
                        <a:pt x="10691" y="4950"/>
                      </a:lnTo>
                      <a:cubicBezTo>
                        <a:pt x="10688" y="4909"/>
                        <a:pt x="10688" y="4867"/>
                        <a:pt x="10688" y="4825"/>
                      </a:cubicBezTo>
                      <a:cubicBezTo>
                        <a:pt x="10688" y="4784"/>
                        <a:pt x="10688" y="4744"/>
                        <a:pt x="10691" y="4704"/>
                      </a:cubicBezTo>
                      <a:lnTo>
                        <a:pt x="10691" y="4680"/>
                      </a:lnTo>
                      <a:cubicBezTo>
                        <a:pt x="10653" y="3432"/>
                        <a:pt x="9614" y="2446"/>
                        <a:pt x="8364" y="2446"/>
                      </a:cubicBezTo>
                      <a:cubicBezTo>
                        <a:pt x="8363" y="2446"/>
                        <a:pt x="8362" y="2446"/>
                        <a:pt x="8361" y="2446"/>
                      </a:cubicBezTo>
                      <a:cubicBezTo>
                        <a:pt x="6936" y="2446"/>
                        <a:pt x="2798" y="2449"/>
                        <a:pt x="1" y="2449"/>
                      </a:cubicBezTo>
                      <a:lnTo>
                        <a:pt x="1" y="3626"/>
                      </a:lnTo>
                      <a:lnTo>
                        <a:pt x="8387" y="3626"/>
                      </a:lnTo>
                      <a:cubicBezTo>
                        <a:pt x="8978" y="3626"/>
                        <a:pt x="9452" y="4113"/>
                        <a:pt x="9438" y="4704"/>
                      </a:cubicBezTo>
                      <a:lnTo>
                        <a:pt x="9438" y="4715"/>
                      </a:lnTo>
                      <a:cubicBezTo>
                        <a:pt x="9438" y="4752"/>
                        <a:pt x="9438" y="4789"/>
                        <a:pt x="9438" y="4825"/>
                      </a:cubicBezTo>
                      <a:cubicBezTo>
                        <a:pt x="9438" y="4862"/>
                        <a:pt x="9438" y="4901"/>
                        <a:pt x="9438" y="4939"/>
                      </a:cubicBezTo>
                      <a:cubicBezTo>
                        <a:pt x="9498" y="7558"/>
                        <a:pt x="11639" y="9650"/>
                        <a:pt x="14259" y="9650"/>
                      </a:cubicBezTo>
                      <a:cubicBezTo>
                        <a:pt x="14260" y="9650"/>
                        <a:pt x="14261" y="9650"/>
                        <a:pt x="14262" y="9650"/>
                      </a:cubicBezTo>
                      <a:lnTo>
                        <a:pt x="14267" y="9650"/>
                      </a:lnTo>
                      <a:cubicBezTo>
                        <a:pt x="16929" y="9647"/>
                        <a:pt x="19087" y="7488"/>
                        <a:pt x="19087" y="4825"/>
                      </a:cubicBezTo>
                      <a:cubicBezTo>
                        <a:pt x="19087" y="3088"/>
                        <a:pt x="18154" y="1484"/>
                        <a:pt x="16640" y="628"/>
                      </a:cubicBezTo>
                      <a:cubicBezTo>
                        <a:pt x="15945" y="233"/>
                        <a:pt x="15162" y="17"/>
                        <a:pt x="14362" y="2"/>
                      </a:cubicBezTo>
                      <a:cubicBezTo>
                        <a:pt x="14330" y="2"/>
                        <a:pt x="14298" y="1"/>
                        <a:pt x="14266"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47" name="Google Shape;4947;p67"/>
                <p:cNvSpPr/>
                <p:nvPr/>
              </p:nvSpPr>
              <p:spPr>
                <a:xfrm>
                  <a:off x="5905730" y="3637351"/>
                  <a:ext cx="363158" cy="187796"/>
                </a:xfrm>
                <a:custGeom>
                  <a:avLst/>
                  <a:gdLst/>
                  <a:ahLst/>
                  <a:cxnLst/>
                  <a:rect l="l" t="t" r="r" b="b"/>
                  <a:pathLst>
                    <a:path w="8659" h="4478" extrusionOk="0">
                      <a:moveTo>
                        <a:pt x="0" y="0"/>
                      </a:moveTo>
                      <a:cubicBezTo>
                        <a:pt x="1051" y="1307"/>
                        <a:pt x="1051" y="3169"/>
                        <a:pt x="0" y="4478"/>
                      </a:cubicBezTo>
                      <a:lnTo>
                        <a:pt x="6537" y="4478"/>
                      </a:lnTo>
                      <a:cubicBezTo>
                        <a:pt x="7708" y="4478"/>
                        <a:pt x="8659" y="3526"/>
                        <a:pt x="8659" y="2356"/>
                      </a:cubicBezTo>
                      <a:lnTo>
                        <a:pt x="8659" y="2120"/>
                      </a:lnTo>
                      <a:cubicBezTo>
                        <a:pt x="8657" y="950"/>
                        <a:pt x="7708" y="0"/>
                        <a:pt x="6537"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4948" name="Google Shape;4948;p67"/>
          <p:cNvGrpSpPr/>
          <p:nvPr/>
        </p:nvGrpSpPr>
        <p:grpSpPr>
          <a:xfrm>
            <a:off x="970883" y="1965724"/>
            <a:ext cx="1448959" cy="1172649"/>
            <a:chOff x="803162" y="1474292"/>
            <a:chExt cx="1086719" cy="879487"/>
          </a:xfrm>
        </p:grpSpPr>
        <p:grpSp>
          <p:nvGrpSpPr>
            <p:cNvPr id="4949" name="Google Shape;4949;p67"/>
            <p:cNvGrpSpPr/>
            <p:nvPr/>
          </p:nvGrpSpPr>
          <p:grpSpPr>
            <a:xfrm>
              <a:off x="803162" y="1625948"/>
              <a:ext cx="445856" cy="576579"/>
              <a:chOff x="803162" y="1625948"/>
              <a:chExt cx="445856" cy="576579"/>
            </a:xfrm>
          </p:grpSpPr>
          <p:sp>
            <p:nvSpPr>
              <p:cNvPr id="4950" name="Google Shape;4950;p67"/>
              <p:cNvSpPr/>
              <p:nvPr/>
            </p:nvSpPr>
            <p:spPr>
              <a:xfrm>
                <a:off x="803162" y="1847356"/>
                <a:ext cx="133646" cy="133865"/>
              </a:xfrm>
              <a:custGeom>
                <a:avLst/>
                <a:gdLst/>
                <a:ahLst/>
                <a:cxnLst/>
                <a:rect l="l" t="t" r="r" b="b"/>
                <a:pathLst>
                  <a:path w="20082" h="20115" extrusionOk="0">
                    <a:moveTo>
                      <a:pt x="10041" y="1"/>
                    </a:moveTo>
                    <a:cubicBezTo>
                      <a:pt x="4503" y="1"/>
                      <a:pt x="0" y="4504"/>
                      <a:pt x="0" y="10041"/>
                    </a:cubicBezTo>
                    <a:cubicBezTo>
                      <a:pt x="0" y="15612"/>
                      <a:pt x="4503" y="20115"/>
                      <a:pt x="10041" y="20115"/>
                    </a:cubicBezTo>
                    <a:cubicBezTo>
                      <a:pt x="15578" y="20115"/>
                      <a:pt x="20081" y="15612"/>
                      <a:pt x="20081" y="10041"/>
                    </a:cubicBezTo>
                    <a:cubicBezTo>
                      <a:pt x="20081" y="4504"/>
                      <a:pt x="15578" y="1"/>
                      <a:pt x="10041"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51" name="Google Shape;4951;p67"/>
              <p:cNvGrpSpPr/>
              <p:nvPr/>
            </p:nvGrpSpPr>
            <p:grpSpPr>
              <a:xfrm>
                <a:off x="1056023" y="1625948"/>
                <a:ext cx="192995" cy="576579"/>
                <a:chOff x="1056023" y="1625948"/>
                <a:chExt cx="192995" cy="576579"/>
              </a:xfrm>
            </p:grpSpPr>
            <p:sp>
              <p:nvSpPr>
                <p:cNvPr id="4952" name="Google Shape;4952;p67"/>
                <p:cNvSpPr/>
                <p:nvPr/>
              </p:nvSpPr>
              <p:spPr>
                <a:xfrm>
                  <a:off x="1066902" y="1914079"/>
                  <a:ext cx="167456" cy="269382"/>
                </a:xfrm>
                <a:custGeom>
                  <a:avLst/>
                  <a:gdLst/>
                  <a:ahLst/>
                  <a:cxnLst/>
                  <a:rect l="l" t="t" r="r" b="b"/>
                  <a:pathLst>
                    <a:path w="25153" h="40463" fill="none" extrusionOk="0">
                      <a:moveTo>
                        <a:pt x="25152" y="40463"/>
                      </a:moveTo>
                      <a:cubicBezTo>
                        <a:pt x="19315" y="40463"/>
                        <a:pt x="14378" y="32724"/>
                        <a:pt x="12777" y="22150"/>
                      </a:cubicBezTo>
                      <a:lnTo>
                        <a:pt x="12810" y="22350"/>
                      </a:lnTo>
                      <a:cubicBezTo>
                        <a:pt x="10542" y="7606"/>
                        <a:pt x="6372" y="1"/>
                        <a:pt x="1" y="1"/>
                      </a:cubicBezTo>
                      <a:lnTo>
                        <a:pt x="1" y="1"/>
                      </a:lnTo>
                    </a:path>
                  </a:pathLst>
                </a:custGeom>
                <a:noFill/>
                <a:ln w="9525" cap="rnd" cmpd="sng">
                  <a:solidFill>
                    <a:srgbClr val="435D74"/>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3" name="Google Shape;4953;p67"/>
                <p:cNvSpPr/>
                <p:nvPr/>
              </p:nvSpPr>
              <p:spPr>
                <a:xfrm>
                  <a:off x="1066902" y="1645136"/>
                  <a:ext cx="167456" cy="269382"/>
                </a:xfrm>
                <a:custGeom>
                  <a:avLst/>
                  <a:gdLst/>
                  <a:ahLst/>
                  <a:cxnLst/>
                  <a:rect l="l" t="t" r="r" b="b"/>
                  <a:pathLst>
                    <a:path w="25153" h="40463" fill="none" extrusionOk="0">
                      <a:moveTo>
                        <a:pt x="25152" y="0"/>
                      </a:moveTo>
                      <a:cubicBezTo>
                        <a:pt x="19315" y="0"/>
                        <a:pt x="14378" y="7706"/>
                        <a:pt x="12777" y="18313"/>
                      </a:cubicBezTo>
                      <a:lnTo>
                        <a:pt x="12810" y="18113"/>
                      </a:lnTo>
                      <a:cubicBezTo>
                        <a:pt x="10542" y="32857"/>
                        <a:pt x="6372" y="40462"/>
                        <a:pt x="1" y="40462"/>
                      </a:cubicBezTo>
                      <a:lnTo>
                        <a:pt x="1" y="40462"/>
                      </a:lnTo>
                    </a:path>
                  </a:pathLst>
                </a:custGeom>
                <a:noFill/>
                <a:ln w="9525" cap="rnd" cmpd="sng">
                  <a:solidFill>
                    <a:srgbClr val="435D74"/>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4" name="Google Shape;4954;p67"/>
                <p:cNvSpPr/>
                <p:nvPr/>
              </p:nvSpPr>
              <p:spPr>
                <a:xfrm>
                  <a:off x="1056023" y="1893872"/>
                  <a:ext cx="40644" cy="40644"/>
                </a:xfrm>
                <a:custGeom>
                  <a:avLst/>
                  <a:gdLst/>
                  <a:ahLst/>
                  <a:cxnLst/>
                  <a:rect l="l" t="t" r="r" b="b"/>
                  <a:pathLst>
                    <a:path w="6105" h="6105" extrusionOk="0">
                      <a:moveTo>
                        <a:pt x="3069" y="0"/>
                      </a:moveTo>
                      <a:cubicBezTo>
                        <a:pt x="1368" y="0"/>
                        <a:pt x="0" y="1368"/>
                        <a:pt x="0" y="3036"/>
                      </a:cubicBezTo>
                      <a:cubicBezTo>
                        <a:pt x="0" y="4737"/>
                        <a:pt x="1368" y="6105"/>
                        <a:pt x="3069" y="6105"/>
                      </a:cubicBezTo>
                      <a:cubicBezTo>
                        <a:pt x="4737" y="6105"/>
                        <a:pt x="6105" y="4737"/>
                        <a:pt x="6105" y="3036"/>
                      </a:cubicBezTo>
                      <a:cubicBezTo>
                        <a:pt x="6105" y="1368"/>
                        <a:pt x="4737" y="0"/>
                        <a:pt x="306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5" name="Google Shape;4955;p67"/>
                <p:cNvSpPr/>
                <p:nvPr/>
              </p:nvSpPr>
              <p:spPr>
                <a:xfrm>
                  <a:off x="1220365" y="2164199"/>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03" y="3395"/>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56" name="Google Shape;4956;p67"/>
                <p:cNvSpPr/>
                <p:nvPr/>
              </p:nvSpPr>
              <p:spPr>
                <a:xfrm>
                  <a:off x="1220365" y="1625948"/>
                  <a:ext cx="28654" cy="38467"/>
                </a:xfrm>
                <a:custGeom>
                  <a:avLst/>
                  <a:gdLst/>
                  <a:ahLst/>
                  <a:cxnLst/>
                  <a:rect l="l" t="t" r="r" b="b"/>
                  <a:pathLst>
                    <a:path w="4304" h="5778" extrusionOk="0">
                      <a:moveTo>
                        <a:pt x="489" y="0"/>
                      </a:moveTo>
                      <a:cubicBezTo>
                        <a:pt x="234" y="0"/>
                        <a:pt x="1" y="207"/>
                        <a:pt x="1" y="514"/>
                      </a:cubicBezTo>
                      <a:lnTo>
                        <a:pt x="1" y="5284"/>
                      </a:lnTo>
                      <a:cubicBezTo>
                        <a:pt x="1" y="5574"/>
                        <a:pt x="229" y="5777"/>
                        <a:pt x="482" y="5777"/>
                      </a:cubicBezTo>
                      <a:cubicBezTo>
                        <a:pt x="577" y="5777"/>
                        <a:pt x="676" y="5748"/>
                        <a:pt x="768" y="5684"/>
                      </a:cubicBezTo>
                      <a:lnTo>
                        <a:pt x="4003" y="3382"/>
                      </a:lnTo>
                      <a:cubicBezTo>
                        <a:pt x="4304" y="3182"/>
                        <a:pt x="4304" y="2782"/>
                        <a:pt x="4037" y="2582"/>
                      </a:cubicBezTo>
                      <a:lnTo>
                        <a:pt x="801" y="113"/>
                      </a:lnTo>
                      <a:cubicBezTo>
                        <a:pt x="704" y="35"/>
                        <a:pt x="595" y="0"/>
                        <a:pt x="48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4957" name="Google Shape;4957;p67"/>
            <p:cNvGrpSpPr/>
            <p:nvPr/>
          </p:nvGrpSpPr>
          <p:grpSpPr>
            <a:xfrm>
              <a:off x="1371406" y="1474292"/>
              <a:ext cx="518475" cy="879487"/>
              <a:chOff x="1398231" y="1474292"/>
              <a:chExt cx="518475" cy="879487"/>
            </a:xfrm>
          </p:grpSpPr>
          <p:grpSp>
            <p:nvGrpSpPr>
              <p:cNvPr id="4958" name="Google Shape;4958;p67"/>
              <p:cNvGrpSpPr/>
              <p:nvPr/>
            </p:nvGrpSpPr>
            <p:grpSpPr>
              <a:xfrm>
                <a:off x="1398231" y="1474292"/>
                <a:ext cx="518475" cy="341643"/>
                <a:chOff x="1398231" y="1474292"/>
                <a:chExt cx="518475" cy="341643"/>
              </a:xfrm>
            </p:grpSpPr>
            <p:sp>
              <p:nvSpPr>
                <p:cNvPr id="4959" name="Google Shape;4959;p67"/>
                <p:cNvSpPr/>
                <p:nvPr/>
              </p:nvSpPr>
              <p:spPr>
                <a:xfrm>
                  <a:off x="1398231" y="1595601"/>
                  <a:ext cx="102159" cy="99017"/>
                </a:xfrm>
                <a:custGeom>
                  <a:avLst/>
                  <a:gdLst/>
                  <a:ahLst/>
                  <a:cxnLst/>
                  <a:rect l="l" t="t" r="r" b="b"/>
                  <a:pathLst>
                    <a:path w="15345" h="14873" extrusionOk="0">
                      <a:moveTo>
                        <a:pt x="7692" y="1"/>
                      </a:moveTo>
                      <a:cubicBezTo>
                        <a:pt x="7531" y="1"/>
                        <a:pt x="7369" y="6"/>
                        <a:pt x="7206" y="16"/>
                      </a:cubicBezTo>
                      <a:cubicBezTo>
                        <a:pt x="3136" y="283"/>
                        <a:pt x="0" y="3786"/>
                        <a:pt x="267" y="7889"/>
                      </a:cubicBezTo>
                      <a:cubicBezTo>
                        <a:pt x="493" y="11846"/>
                        <a:pt x="3790" y="14873"/>
                        <a:pt x="7706" y="14873"/>
                      </a:cubicBezTo>
                      <a:cubicBezTo>
                        <a:pt x="7850" y="14873"/>
                        <a:pt x="7994" y="14869"/>
                        <a:pt x="8140" y="14860"/>
                      </a:cubicBezTo>
                      <a:cubicBezTo>
                        <a:pt x="12243" y="14594"/>
                        <a:pt x="15345" y="11058"/>
                        <a:pt x="15111" y="6988"/>
                      </a:cubicBezTo>
                      <a:cubicBezTo>
                        <a:pt x="14855" y="3048"/>
                        <a:pt x="11585" y="1"/>
                        <a:pt x="76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60" name="Google Shape;4960;p67"/>
                <p:cNvGrpSpPr/>
                <p:nvPr/>
              </p:nvGrpSpPr>
              <p:grpSpPr>
                <a:xfrm>
                  <a:off x="1616453" y="1474292"/>
                  <a:ext cx="300253" cy="341643"/>
                  <a:chOff x="1616453" y="1475379"/>
                  <a:chExt cx="300253" cy="341643"/>
                </a:xfrm>
              </p:grpSpPr>
              <p:sp>
                <p:nvSpPr>
                  <p:cNvPr id="4961" name="Google Shape;4961;p67"/>
                  <p:cNvSpPr/>
                  <p:nvPr/>
                </p:nvSpPr>
                <p:spPr>
                  <a:xfrm>
                    <a:off x="1631387" y="1645136"/>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2" name="Google Shape;4962;p67"/>
                  <p:cNvSpPr/>
                  <p:nvPr/>
                </p:nvSpPr>
                <p:spPr>
                  <a:xfrm>
                    <a:off x="1716447" y="1509882"/>
                    <a:ext cx="82400" cy="61302"/>
                  </a:xfrm>
                  <a:custGeom>
                    <a:avLst/>
                    <a:gdLst/>
                    <a:ahLst/>
                    <a:cxnLst/>
                    <a:rect l="l" t="t" r="r" b="b"/>
                    <a:pathLst>
                      <a:path w="12377" h="9208" fill="none" extrusionOk="0">
                        <a:moveTo>
                          <a:pt x="1" y="9207"/>
                        </a:moveTo>
                        <a:cubicBezTo>
                          <a:pt x="1635" y="3870"/>
                          <a:pt x="6539" y="1"/>
                          <a:pt x="12376" y="1"/>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3" name="Google Shape;4963;p67"/>
                  <p:cNvSpPr/>
                  <p:nvPr/>
                </p:nvSpPr>
                <p:spPr>
                  <a:xfrm>
                    <a:off x="1716447" y="1719091"/>
                    <a:ext cx="82400" cy="61076"/>
                  </a:xfrm>
                  <a:custGeom>
                    <a:avLst/>
                    <a:gdLst/>
                    <a:ahLst/>
                    <a:cxnLst/>
                    <a:rect l="l" t="t" r="r" b="b"/>
                    <a:pathLst>
                      <a:path w="12377" h="9174" fill="none" extrusionOk="0">
                        <a:moveTo>
                          <a:pt x="1" y="0"/>
                        </a:moveTo>
                        <a:cubicBezTo>
                          <a:pt x="1635" y="5304"/>
                          <a:pt x="6539" y="9173"/>
                          <a:pt x="12376" y="9173"/>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4" name="Google Shape;4964;p67"/>
                  <p:cNvSpPr/>
                  <p:nvPr/>
                </p:nvSpPr>
                <p:spPr>
                  <a:xfrm>
                    <a:off x="1631387" y="1570955"/>
                    <a:ext cx="85283" cy="74185"/>
                  </a:xfrm>
                  <a:custGeom>
                    <a:avLst/>
                    <a:gdLst/>
                    <a:ahLst/>
                    <a:cxnLst/>
                    <a:rect l="l" t="t" r="r" b="b"/>
                    <a:pathLst>
                      <a:path w="12810" h="11143" fill="none" extrusionOk="0">
                        <a:moveTo>
                          <a:pt x="1" y="11142"/>
                        </a:moveTo>
                        <a:cubicBezTo>
                          <a:pt x="6539" y="11142"/>
                          <a:pt x="10275" y="7106"/>
                          <a:pt x="12810" y="1"/>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5" name="Google Shape;4965;p67"/>
                  <p:cNvSpPr/>
                  <p:nvPr/>
                </p:nvSpPr>
                <p:spPr>
                  <a:xfrm>
                    <a:off x="1616453" y="1624776"/>
                    <a:ext cx="42868" cy="40717"/>
                  </a:xfrm>
                  <a:custGeom>
                    <a:avLst/>
                    <a:gdLst/>
                    <a:ahLst/>
                    <a:cxnLst/>
                    <a:rect l="l" t="t" r="r" b="b"/>
                    <a:pathLst>
                      <a:path w="6439" h="6116" extrusionOk="0">
                        <a:moveTo>
                          <a:pt x="3199" y="1"/>
                        </a:moveTo>
                        <a:cubicBezTo>
                          <a:pt x="3079" y="1"/>
                          <a:pt x="2958" y="8"/>
                          <a:pt x="2835" y="23"/>
                        </a:cubicBezTo>
                        <a:cubicBezTo>
                          <a:pt x="1168" y="256"/>
                          <a:pt x="0" y="1757"/>
                          <a:pt x="200" y="3425"/>
                        </a:cubicBezTo>
                        <a:cubicBezTo>
                          <a:pt x="386" y="4971"/>
                          <a:pt x="1717" y="6115"/>
                          <a:pt x="3239" y="6115"/>
                        </a:cubicBezTo>
                        <a:cubicBezTo>
                          <a:pt x="3359" y="6115"/>
                          <a:pt x="3481" y="6108"/>
                          <a:pt x="3603" y="6094"/>
                        </a:cubicBezTo>
                        <a:cubicBezTo>
                          <a:pt x="5271" y="5860"/>
                          <a:pt x="6438" y="4359"/>
                          <a:pt x="6238" y="2691"/>
                        </a:cubicBezTo>
                        <a:cubicBezTo>
                          <a:pt x="6052" y="1145"/>
                          <a:pt x="4721" y="1"/>
                          <a:pt x="319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6" name="Google Shape;4966;p67"/>
                  <p:cNvSpPr/>
                  <p:nvPr/>
                </p:nvSpPr>
                <p:spPr>
                  <a:xfrm>
                    <a:off x="1784849" y="1760975"/>
                    <a:ext cx="28654" cy="38467"/>
                  </a:xfrm>
                  <a:custGeom>
                    <a:avLst/>
                    <a:gdLst/>
                    <a:ahLst/>
                    <a:cxnLst/>
                    <a:rect l="l" t="t" r="r" b="b"/>
                    <a:pathLst>
                      <a:path w="4304" h="5778" extrusionOk="0">
                        <a:moveTo>
                          <a:pt x="489" y="0"/>
                        </a:moveTo>
                        <a:cubicBezTo>
                          <a:pt x="234" y="0"/>
                          <a:pt x="1" y="207"/>
                          <a:pt x="1" y="514"/>
                        </a:cubicBezTo>
                        <a:lnTo>
                          <a:pt x="1" y="5284"/>
                        </a:lnTo>
                        <a:cubicBezTo>
                          <a:pt x="1" y="5575"/>
                          <a:pt x="229" y="5777"/>
                          <a:pt x="482" y="5777"/>
                        </a:cubicBezTo>
                        <a:cubicBezTo>
                          <a:pt x="577" y="5777"/>
                          <a:pt x="676" y="5748"/>
                          <a:pt x="768" y="5684"/>
                        </a:cubicBezTo>
                        <a:lnTo>
                          <a:pt x="4037" y="3383"/>
                        </a:lnTo>
                        <a:cubicBezTo>
                          <a:pt x="4304" y="3183"/>
                          <a:pt x="4304" y="2782"/>
                          <a:pt x="4037" y="2582"/>
                        </a:cubicBezTo>
                        <a:lnTo>
                          <a:pt x="801" y="114"/>
                        </a:lnTo>
                        <a:cubicBezTo>
                          <a:pt x="704" y="36"/>
                          <a:pt x="595" y="0"/>
                          <a:pt x="48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67" name="Google Shape;4967;p67"/>
                  <p:cNvSpPr/>
                  <p:nvPr/>
                </p:nvSpPr>
                <p:spPr>
                  <a:xfrm>
                    <a:off x="1784849" y="1490834"/>
                    <a:ext cx="28654" cy="38327"/>
                  </a:xfrm>
                  <a:custGeom>
                    <a:avLst/>
                    <a:gdLst/>
                    <a:ahLst/>
                    <a:cxnLst/>
                    <a:rect l="l" t="t" r="r" b="b"/>
                    <a:pathLst>
                      <a:path w="4304" h="5757" extrusionOk="0">
                        <a:moveTo>
                          <a:pt x="509" y="0"/>
                        </a:moveTo>
                        <a:cubicBezTo>
                          <a:pt x="247" y="0"/>
                          <a:pt x="1" y="203"/>
                          <a:pt x="1" y="493"/>
                        </a:cubicBezTo>
                        <a:lnTo>
                          <a:pt x="1" y="5263"/>
                        </a:lnTo>
                        <a:cubicBezTo>
                          <a:pt x="1" y="5554"/>
                          <a:pt x="229" y="5757"/>
                          <a:pt x="482" y="5757"/>
                        </a:cubicBezTo>
                        <a:cubicBezTo>
                          <a:pt x="577" y="5757"/>
                          <a:pt x="676" y="5728"/>
                          <a:pt x="768" y="5664"/>
                        </a:cubicBezTo>
                        <a:lnTo>
                          <a:pt x="4037" y="3395"/>
                        </a:lnTo>
                        <a:cubicBezTo>
                          <a:pt x="4304" y="3195"/>
                          <a:pt x="4304" y="2795"/>
                          <a:pt x="4037" y="2561"/>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68" name="Google Shape;4968;p67"/>
                  <p:cNvGrpSpPr/>
                  <p:nvPr/>
                </p:nvGrpSpPr>
                <p:grpSpPr>
                  <a:xfrm>
                    <a:off x="1839639" y="1475379"/>
                    <a:ext cx="77067" cy="341643"/>
                    <a:chOff x="1839639" y="1475379"/>
                    <a:chExt cx="77067" cy="341643"/>
                  </a:xfrm>
                </p:grpSpPr>
                <p:sp>
                  <p:nvSpPr>
                    <p:cNvPr id="4969" name="Google Shape;4969;p67"/>
                    <p:cNvSpPr/>
                    <p:nvPr/>
                  </p:nvSpPr>
                  <p:spPr>
                    <a:xfrm>
                      <a:off x="1839639" y="1745481"/>
                      <a:ext cx="77067" cy="71541"/>
                    </a:xfrm>
                    <a:custGeom>
                      <a:avLst/>
                      <a:gdLst/>
                      <a:ahLst/>
                      <a:cxnLst/>
                      <a:rect l="l" t="t" r="r" b="b"/>
                      <a:pathLst>
                        <a:path w="11576" h="10746" extrusionOk="0">
                          <a:moveTo>
                            <a:pt x="5775" y="1"/>
                          </a:moveTo>
                          <a:cubicBezTo>
                            <a:pt x="3179" y="1"/>
                            <a:pt x="889" y="1860"/>
                            <a:pt x="468" y="4506"/>
                          </a:cubicBezTo>
                          <a:cubicBezTo>
                            <a:pt x="1" y="7441"/>
                            <a:pt x="2002" y="10210"/>
                            <a:pt x="4904" y="10677"/>
                          </a:cubicBezTo>
                          <a:cubicBezTo>
                            <a:pt x="5194" y="10723"/>
                            <a:pt x="5483" y="10745"/>
                            <a:pt x="5768" y="10745"/>
                          </a:cubicBezTo>
                          <a:cubicBezTo>
                            <a:pt x="8364" y="10745"/>
                            <a:pt x="10655" y="8886"/>
                            <a:pt x="11075" y="6240"/>
                          </a:cubicBezTo>
                          <a:cubicBezTo>
                            <a:pt x="11576" y="3305"/>
                            <a:pt x="9574" y="536"/>
                            <a:pt x="6639" y="69"/>
                          </a:cubicBezTo>
                          <a:cubicBezTo>
                            <a:pt x="6349" y="23"/>
                            <a:pt x="6060" y="1"/>
                            <a:pt x="5775"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0" name="Google Shape;4970;p67"/>
                    <p:cNvSpPr/>
                    <p:nvPr/>
                  </p:nvSpPr>
                  <p:spPr>
                    <a:xfrm>
                      <a:off x="1839639" y="1475379"/>
                      <a:ext cx="77067" cy="71595"/>
                    </a:xfrm>
                    <a:custGeom>
                      <a:avLst/>
                      <a:gdLst/>
                      <a:ahLst/>
                      <a:cxnLst/>
                      <a:rect l="l" t="t" r="r" b="b"/>
                      <a:pathLst>
                        <a:path w="11576" h="10754" extrusionOk="0">
                          <a:moveTo>
                            <a:pt x="5736" y="0"/>
                          </a:moveTo>
                          <a:cubicBezTo>
                            <a:pt x="3156" y="0"/>
                            <a:pt x="887" y="1881"/>
                            <a:pt x="468" y="4513"/>
                          </a:cubicBezTo>
                          <a:cubicBezTo>
                            <a:pt x="1" y="7449"/>
                            <a:pt x="2002" y="10218"/>
                            <a:pt x="4904" y="10685"/>
                          </a:cubicBezTo>
                          <a:cubicBezTo>
                            <a:pt x="5194" y="10731"/>
                            <a:pt x="5483" y="10753"/>
                            <a:pt x="5768" y="10753"/>
                          </a:cubicBezTo>
                          <a:cubicBezTo>
                            <a:pt x="8364" y="10753"/>
                            <a:pt x="10655" y="8893"/>
                            <a:pt x="11075" y="6248"/>
                          </a:cubicBezTo>
                          <a:cubicBezTo>
                            <a:pt x="11576" y="3313"/>
                            <a:pt x="9574" y="544"/>
                            <a:pt x="6639" y="77"/>
                          </a:cubicBezTo>
                          <a:cubicBezTo>
                            <a:pt x="6335" y="25"/>
                            <a:pt x="6034" y="0"/>
                            <a:pt x="5736"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4971" name="Google Shape;4971;p67"/>
              <p:cNvGrpSpPr/>
              <p:nvPr/>
            </p:nvGrpSpPr>
            <p:grpSpPr>
              <a:xfrm>
                <a:off x="1398451" y="2012951"/>
                <a:ext cx="518255" cy="340828"/>
                <a:chOff x="1398451" y="2012951"/>
                <a:chExt cx="518255" cy="340828"/>
              </a:xfrm>
            </p:grpSpPr>
            <p:sp>
              <p:nvSpPr>
                <p:cNvPr id="4972" name="Google Shape;4972;p67"/>
                <p:cNvSpPr/>
                <p:nvPr/>
              </p:nvSpPr>
              <p:spPr>
                <a:xfrm>
                  <a:off x="1398451" y="2133928"/>
                  <a:ext cx="102166" cy="99017"/>
                </a:xfrm>
                <a:custGeom>
                  <a:avLst/>
                  <a:gdLst/>
                  <a:ahLst/>
                  <a:cxnLst/>
                  <a:rect l="l" t="t" r="r" b="b"/>
                  <a:pathLst>
                    <a:path w="15346" h="14873" extrusionOk="0">
                      <a:moveTo>
                        <a:pt x="7697" y="0"/>
                      </a:moveTo>
                      <a:cubicBezTo>
                        <a:pt x="7535" y="0"/>
                        <a:pt x="7371" y="5"/>
                        <a:pt x="7206" y="16"/>
                      </a:cubicBezTo>
                      <a:cubicBezTo>
                        <a:pt x="3103" y="250"/>
                        <a:pt x="1" y="3785"/>
                        <a:pt x="268" y="7888"/>
                      </a:cubicBezTo>
                      <a:cubicBezTo>
                        <a:pt x="493" y="11846"/>
                        <a:pt x="3790" y="14872"/>
                        <a:pt x="7706" y="14872"/>
                      </a:cubicBezTo>
                      <a:cubicBezTo>
                        <a:pt x="7850" y="14872"/>
                        <a:pt x="7994" y="14868"/>
                        <a:pt x="8140" y="14860"/>
                      </a:cubicBezTo>
                      <a:cubicBezTo>
                        <a:pt x="12243" y="14593"/>
                        <a:pt x="15345" y="11057"/>
                        <a:pt x="15112" y="6954"/>
                      </a:cubicBezTo>
                      <a:cubicBezTo>
                        <a:pt x="14855" y="3016"/>
                        <a:pt x="11588" y="0"/>
                        <a:pt x="7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73" name="Google Shape;4973;p67"/>
                <p:cNvGrpSpPr/>
                <p:nvPr/>
              </p:nvGrpSpPr>
              <p:grpSpPr>
                <a:xfrm>
                  <a:off x="1616453" y="2012951"/>
                  <a:ext cx="300253" cy="340828"/>
                  <a:chOff x="1616453" y="2013538"/>
                  <a:chExt cx="300253" cy="340828"/>
                </a:xfrm>
              </p:grpSpPr>
              <p:sp>
                <p:nvSpPr>
                  <p:cNvPr id="4974" name="Google Shape;4974;p67"/>
                  <p:cNvSpPr/>
                  <p:nvPr/>
                </p:nvSpPr>
                <p:spPr>
                  <a:xfrm>
                    <a:off x="1631387" y="2183474"/>
                    <a:ext cx="85283" cy="74624"/>
                  </a:xfrm>
                  <a:custGeom>
                    <a:avLst/>
                    <a:gdLst/>
                    <a:ahLst/>
                    <a:cxnLst/>
                    <a:rect l="l" t="t" r="r" b="b"/>
                    <a:pathLst>
                      <a:path w="12810" h="11209" fill="none" extrusionOk="0">
                        <a:moveTo>
                          <a:pt x="1" y="0"/>
                        </a:moveTo>
                        <a:lnTo>
                          <a:pt x="1" y="0"/>
                        </a:lnTo>
                        <a:cubicBezTo>
                          <a:pt x="6372" y="0"/>
                          <a:pt x="10542" y="3803"/>
                          <a:pt x="12810" y="11208"/>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5" name="Google Shape;4975;p67"/>
                  <p:cNvSpPr/>
                  <p:nvPr/>
                </p:nvSpPr>
                <p:spPr>
                  <a:xfrm>
                    <a:off x="1716447" y="2048220"/>
                    <a:ext cx="82400" cy="61076"/>
                  </a:xfrm>
                  <a:custGeom>
                    <a:avLst/>
                    <a:gdLst/>
                    <a:ahLst/>
                    <a:cxnLst/>
                    <a:rect l="l" t="t" r="r" b="b"/>
                    <a:pathLst>
                      <a:path w="12377" h="9174" fill="none" extrusionOk="0">
                        <a:moveTo>
                          <a:pt x="1" y="9174"/>
                        </a:moveTo>
                        <a:cubicBezTo>
                          <a:pt x="1635" y="3870"/>
                          <a:pt x="6539" y="0"/>
                          <a:pt x="12376" y="0"/>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6" name="Google Shape;4976;p67"/>
                  <p:cNvSpPr/>
                  <p:nvPr/>
                </p:nvSpPr>
                <p:spPr>
                  <a:xfrm>
                    <a:off x="1716447" y="2257422"/>
                    <a:ext cx="82400" cy="61083"/>
                  </a:xfrm>
                  <a:custGeom>
                    <a:avLst/>
                    <a:gdLst/>
                    <a:ahLst/>
                    <a:cxnLst/>
                    <a:rect l="l" t="t" r="r" b="b"/>
                    <a:pathLst>
                      <a:path w="12377" h="9175" fill="none" extrusionOk="0">
                        <a:moveTo>
                          <a:pt x="1" y="1"/>
                        </a:moveTo>
                        <a:cubicBezTo>
                          <a:pt x="1635" y="5305"/>
                          <a:pt x="6539" y="9174"/>
                          <a:pt x="12376" y="9174"/>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7" name="Google Shape;4977;p67"/>
                  <p:cNvSpPr/>
                  <p:nvPr/>
                </p:nvSpPr>
                <p:spPr>
                  <a:xfrm>
                    <a:off x="1631387" y="2109073"/>
                    <a:ext cx="85283" cy="74398"/>
                  </a:xfrm>
                  <a:custGeom>
                    <a:avLst/>
                    <a:gdLst/>
                    <a:ahLst/>
                    <a:cxnLst/>
                    <a:rect l="l" t="t" r="r" b="b"/>
                    <a:pathLst>
                      <a:path w="12810" h="11175" fill="none" extrusionOk="0">
                        <a:moveTo>
                          <a:pt x="1" y="11175"/>
                        </a:moveTo>
                        <a:cubicBezTo>
                          <a:pt x="6539" y="11175"/>
                          <a:pt x="10275" y="7105"/>
                          <a:pt x="12810" y="0"/>
                        </a:cubicBezTo>
                      </a:path>
                    </a:pathLst>
                  </a:custGeom>
                  <a:noFill/>
                  <a:ln w="9525" cap="rnd" cmpd="sng">
                    <a:solidFill>
                      <a:srgbClr val="5F7D95"/>
                    </a:solidFill>
                    <a:prstDash val="solid"/>
                    <a:miter lim="3335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8" name="Google Shape;4978;p67"/>
                  <p:cNvSpPr/>
                  <p:nvPr/>
                </p:nvSpPr>
                <p:spPr>
                  <a:xfrm>
                    <a:off x="1616453" y="2163114"/>
                    <a:ext cx="42868" cy="40491"/>
                  </a:xfrm>
                  <a:custGeom>
                    <a:avLst/>
                    <a:gdLst/>
                    <a:ahLst/>
                    <a:cxnLst/>
                    <a:rect l="l" t="t" r="r" b="b"/>
                    <a:pathLst>
                      <a:path w="6439" h="6082" extrusionOk="0">
                        <a:moveTo>
                          <a:pt x="3241" y="0"/>
                        </a:moveTo>
                        <a:cubicBezTo>
                          <a:pt x="3118" y="0"/>
                          <a:pt x="2994" y="8"/>
                          <a:pt x="2869" y="23"/>
                        </a:cubicBezTo>
                        <a:cubicBezTo>
                          <a:pt x="1168" y="223"/>
                          <a:pt x="0" y="1724"/>
                          <a:pt x="200" y="3392"/>
                        </a:cubicBezTo>
                        <a:cubicBezTo>
                          <a:pt x="386" y="4937"/>
                          <a:pt x="1717" y="6082"/>
                          <a:pt x="3239" y="6082"/>
                        </a:cubicBezTo>
                        <a:cubicBezTo>
                          <a:pt x="3359" y="6082"/>
                          <a:pt x="3481" y="6075"/>
                          <a:pt x="3603" y="6060"/>
                        </a:cubicBezTo>
                        <a:cubicBezTo>
                          <a:pt x="5271" y="5860"/>
                          <a:pt x="6438" y="4326"/>
                          <a:pt x="6238" y="2658"/>
                        </a:cubicBezTo>
                        <a:cubicBezTo>
                          <a:pt x="6053" y="1115"/>
                          <a:pt x="4754" y="0"/>
                          <a:pt x="3241"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79" name="Google Shape;4979;p67"/>
                  <p:cNvSpPr/>
                  <p:nvPr/>
                </p:nvSpPr>
                <p:spPr>
                  <a:xfrm>
                    <a:off x="1784849" y="2299227"/>
                    <a:ext cx="28654" cy="38514"/>
                  </a:xfrm>
                  <a:custGeom>
                    <a:avLst/>
                    <a:gdLst/>
                    <a:ahLst/>
                    <a:cxnLst/>
                    <a:rect l="l" t="t" r="r" b="b"/>
                    <a:pathLst>
                      <a:path w="4304" h="5785" extrusionOk="0">
                        <a:moveTo>
                          <a:pt x="509" y="0"/>
                        </a:moveTo>
                        <a:cubicBezTo>
                          <a:pt x="247" y="0"/>
                          <a:pt x="1" y="203"/>
                          <a:pt x="1" y="493"/>
                        </a:cubicBezTo>
                        <a:lnTo>
                          <a:pt x="1" y="5264"/>
                        </a:lnTo>
                        <a:cubicBezTo>
                          <a:pt x="1" y="5561"/>
                          <a:pt x="240" y="5784"/>
                          <a:pt x="499" y="5784"/>
                        </a:cubicBezTo>
                        <a:cubicBezTo>
                          <a:pt x="589" y="5784"/>
                          <a:pt x="682" y="5757"/>
                          <a:pt x="768" y="5697"/>
                        </a:cubicBezTo>
                        <a:lnTo>
                          <a:pt x="4037" y="3396"/>
                        </a:lnTo>
                        <a:cubicBezTo>
                          <a:pt x="4304" y="3195"/>
                          <a:pt x="4304" y="2795"/>
                          <a:pt x="4037" y="2595"/>
                        </a:cubicBezTo>
                        <a:lnTo>
                          <a:pt x="801" y="93"/>
                        </a:lnTo>
                        <a:cubicBezTo>
                          <a:pt x="710" y="29"/>
                          <a:pt x="608" y="0"/>
                          <a:pt x="5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0" name="Google Shape;4980;p67"/>
                  <p:cNvSpPr/>
                  <p:nvPr/>
                </p:nvSpPr>
                <p:spPr>
                  <a:xfrm>
                    <a:off x="1784849" y="2028946"/>
                    <a:ext cx="28654" cy="38547"/>
                  </a:xfrm>
                  <a:custGeom>
                    <a:avLst/>
                    <a:gdLst/>
                    <a:ahLst/>
                    <a:cxnLst/>
                    <a:rect l="l" t="t" r="r" b="b"/>
                    <a:pathLst>
                      <a:path w="4304" h="5790" extrusionOk="0">
                        <a:moveTo>
                          <a:pt x="509" y="1"/>
                        </a:moveTo>
                        <a:cubicBezTo>
                          <a:pt x="247" y="1"/>
                          <a:pt x="1" y="203"/>
                          <a:pt x="1" y="494"/>
                        </a:cubicBezTo>
                        <a:lnTo>
                          <a:pt x="1" y="5264"/>
                        </a:lnTo>
                        <a:cubicBezTo>
                          <a:pt x="1" y="5580"/>
                          <a:pt x="231" y="5790"/>
                          <a:pt x="485" y="5790"/>
                        </a:cubicBezTo>
                        <a:cubicBezTo>
                          <a:pt x="580" y="5790"/>
                          <a:pt x="677" y="5761"/>
                          <a:pt x="768" y="5697"/>
                        </a:cubicBezTo>
                        <a:lnTo>
                          <a:pt x="4037" y="3396"/>
                        </a:lnTo>
                        <a:cubicBezTo>
                          <a:pt x="4304" y="3196"/>
                          <a:pt x="4304" y="2795"/>
                          <a:pt x="4037" y="2595"/>
                        </a:cubicBezTo>
                        <a:lnTo>
                          <a:pt x="801" y="93"/>
                        </a:lnTo>
                        <a:cubicBezTo>
                          <a:pt x="710" y="29"/>
                          <a:pt x="608" y="1"/>
                          <a:pt x="5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4981" name="Google Shape;4981;p67"/>
                  <p:cNvGrpSpPr/>
                  <p:nvPr/>
                </p:nvGrpSpPr>
                <p:grpSpPr>
                  <a:xfrm>
                    <a:off x="1839639" y="2013538"/>
                    <a:ext cx="77067" cy="340828"/>
                    <a:chOff x="1839639" y="2013538"/>
                    <a:chExt cx="77067" cy="340828"/>
                  </a:xfrm>
                </p:grpSpPr>
                <p:sp>
                  <p:nvSpPr>
                    <p:cNvPr id="4982" name="Google Shape;4982;p67"/>
                    <p:cNvSpPr/>
                    <p:nvPr/>
                  </p:nvSpPr>
                  <p:spPr>
                    <a:xfrm>
                      <a:off x="1839639" y="2282618"/>
                      <a:ext cx="77067" cy="71748"/>
                    </a:xfrm>
                    <a:custGeom>
                      <a:avLst/>
                      <a:gdLst/>
                      <a:ahLst/>
                      <a:cxnLst/>
                      <a:rect l="l" t="t" r="r" b="b"/>
                      <a:pathLst>
                        <a:path w="11576" h="10777" extrusionOk="0">
                          <a:moveTo>
                            <a:pt x="5787" y="0"/>
                          </a:moveTo>
                          <a:cubicBezTo>
                            <a:pt x="3185" y="0"/>
                            <a:pt x="889" y="1889"/>
                            <a:pt x="468" y="4538"/>
                          </a:cubicBezTo>
                          <a:cubicBezTo>
                            <a:pt x="1" y="7473"/>
                            <a:pt x="2002" y="10208"/>
                            <a:pt x="4938" y="10709"/>
                          </a:cubicBezTo>
                          <a:cubicBezTo>
                            <a:pt x="5221" y="10754"/>
                            <a:pt x="5503" y="10776"/>
                            <a:pt x="5781" y="10776"/>
                          </a:cubicBezTo>
                          <a:cubicBezTo>
                            <a:pt x="8358" y="10776"/>
                            <a:pt x="10654" y="8888"/>
                            <a:pt x="11075" y="6239"/>
                          </a:cubicBezTo>
                          <a:cubicBezTo>
                            <a:pt x="11576" y="3303"/>
                            <a:pt x="9574" y="535"/>
                            <a:pt x="6639" y="68"/>
                          </a:cubicBezTo>
                          <a:cubicBezTo>
                            <a:pt x="6352" y="22"/>
                            <a:pt x="6068" y="0"/>
                            <a:pt x="5787"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3" name="Google Shape;4983;p67"/>
                    <p:cNvSpPr/>
                    <p:nvPr/>
                  </p:nvSpPr>
                  <p:spPr>
                    <a:xfrm>
                      <a:off x="1839639" y="2013538"/>
                      <a:ext cx="77067" cy="71588"/>
                    </a:xfrm>
                    <a:custGeom>
                      <a:avLst/>
                      <a:gdLst/>
                      <a:ahLst/>
                      <a:cxnLst/>
                      <a:rect l="l" t="t" r="r" b="b"/>
                      <a:pathLst>
                        <a:path w="11576" h="10753" extrusionOk="0">
                          <a:moveTo>
                            <a:pt x="5786" y="1"/>
                          </a:moveTo>
                          <a:cubicBezTo>
                            <a:pt x="3185" y="1"/>
                            <a:pt x="889" y="1886"/>
                            <a:pt x="468" y="4505"/>
                          </a:cubicBezTo>
                          <a:cubicBezTo>
                            <a:pt x="1" y="7440"/>
                            <a:pt x="2002" y="10209"/>
                            <a:pt x="4904" y="10676"/>
                          </a:cubicBezTo>
                          <a:cubicBezTo>
                            <a:pt x="5208" y="10728"/>
                            <a:pt x="5509" y="10753"/>
                            <a:pt x="5807" y="10753"/>
                          </a:cubicBezTo>
                          <a:cubicBezTo>
                            <a:pt x="8387" y="10753"/>
                            <a:pt x="10657" y="8872"/>
                            <a:pt x="11075" y="6240"/>
                          </a:cubicBezTo>
                          <a:cubicBezTo>
                            <a:pt x="11576" y="3304"/>
                            <a:pt x="9574" y="535"/>
                            <a:pt x="6639" y="68"/>
                          </a:cubicBezTo>
                          <a:cubicBezTo>
                            <a:pt x="6352" y="23"/>
                            <a:pt x="6067" y="1"/>
                            <a:pt x="5786"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grpSp>
      <p:grpSp>
        <p:nvGrpSpPr>
          <p:cNvPr id="4984" name="Google Shape;4984;p67"/>
          <p:cNvGrpSpPr/>
          <p:nvPr/>
        </p:nvGrpSpPr>
        <p:grpSpPr>
          <a:xfrm>
            <a:off x="966649" y="4807304"/>
            <a:ext cx="1824908" cy="910557"/>
            <a:chOff x="724986" y="3605478"/>
            <a:chExt cx="1368681" cy="682918"/>
          </a:xfrm>
        </p:grpSpPr>
        <p:grpSp>
          <p:nvGrpSpPr>
            <p:cNvPr id="4985" name="Google Shape;4985;p67"/>
            <p:cNvGrpSpPr/>
            <p:nvPr/>
          </p:nvGrpSpPr>
          <p:grpSpPr>
            <a:xfrm>
              <a:off x="1289102" y="3823629"/>
              <a:ext cx="240442" cy="250435"/>
              <a:chOff x="-165066" y="3843615"/>
              <a:chExt cx="221259" cy="230455"/>
            </a:xfrm>
          </p:grpSpPr>
          <p:sp>
            <p:nvSpPr>
              <p:cNvPr id="4986" name="Google Shape;4986;p67"/>
              <p:cNvSpPr/>
              <p:nvPr/>
            </p:nvSpPr>
            <p:spPr>
              <a:xfrm>
                <a:off x="-165066" y="3843615"/>
                <a:ext cx="106189" cy="230455"/>
              </a:xfrm>
              <a:custGeom>
                <a:avLst/>
                <a:gdLst/>
                <a:ahLst/>
                <a:cxnLst/>
                <a:rect l="l" t="t" r="r" b="b"/>
                <a:pathLst>
                  <a:path w="9076" h="19697" extrusionOk="0">
                    <a:moveTo>
                      <a:pt x="7950" y="0"/>
                    </a:moveTo>
                    <a:cubicBezTo>
                      <a:pt x="7325" y="0"/>
                      <a:pt x="7031" y="353"/>
                      <a:pt x="6905" y="861"/>
                    </a:cubicBezTo>
                    <a:cubicBezTo>
                      <a:pt x="6789" y="843"/>
                      <a:pt x="6673" y="834"/>
                      <a:pt x="6560" y="834"/>
                    </a:cubicBezTo>
                    <a:cubicBezTo>
                      <a:pt x="5374" y="834"/>
                      <a:pt x="4369" y="1804"/>
                      <a:pt x="4378" y="3035"/>
                    </a:cubicBezTo>
                    <a:cubicBezTo>
                      <a:pt x="4378" y="3093"/>
                      <a:pt x="4384" y="3152"/>
                      <a:pt x="4388" y="3210"/>
                    </a:cubicBezTo>
                    <a:cubicBezTo>
                      <a:pt x="4095" y="3091"/>
                      <a:pt x="3789" y="3034"/>
                      <a:pt x="3486" y="3034"/>
                    </a:cubicBezTo>
                    <a:cubicBezTo>
                      <a:pt x="2814" y="3034"/>
                      <a:pt x="2155" y="3317"/>
                      <a:pt x="1689" y="3841"/>
                    </a:cubicBezTo>
                    <a:cubicBezTo>
                      <a:pt x="1013" y="4601"/>
                      <a:pt x="893" y="5704"/>
                      <a:pt x="1385" y="6594"/>
                    </a:cubicBezTo>
                    <a:cubicBezTo>
                      <a:pt x="0" y="7697"/>
                      <a:pt x="117" y="9839"/>
                      <a:pt x="1618" y="10780"/>
                    </a:cubicBezTo>
                    <a:cubicBezTo>
                      <a:pt x="664" y="11961"/>
                      <a:pt x="1036" y="13721"/>
                      <a:pt x="2388" y="14417"/>
                    </a:cubicBezTo>
                    <a:cubicBezTo>
                      <a:pt x="2375" y="14508"/>
                      <a:pt x="2372" y="14595"/>
                      <a:pt x="2372" y="14685"/>
                    </a:cubicBezTo>
                    <a:cubicBezTo>
                      <a:pt x="2372" y="15776"/>
                      <a:pt x="3106" y="16727"/>
                      <a:pt x="4161" y="17002"/>
                    </a:cubicBezTo>
                    <a:cubicBezTo>
                      <a:pt x="4473" y="17901"/>
                      <a:pt x="5317" y="18472"/>
                      <a:pt x="6226" y="18472"/>
                    </a:cubicBezTo>
                    <a:cubicBezTo>
                      <a:pt x="6429" y="18472"/>
                      <a:pt x="6635" y="18443"/>
                      <a:pt x="6840" y="18383"/>
                    </a:cubicBezTo>
                    <a:cubicBezTo>
                      <a:pt x="6888" y="19128"/>
                      <a:pt x="7157" y="19697"/>
                      <a:pt x="7953" y="19697"/>
                    </a:cubicBezTo>
                    <a:cubicBezTo>
                      <a:pt x="9074" y="19697"/>
                      <a:pt x="9059" y="18730"/>
                      <a:pt x="9075" y="18730"/>
                    </a:cubicBezTo>
                    <a:cubicBezTo>
                      <a:pt x="9075" y="18730"/>
                      <a:pt x="9075" y="18730"/>
                      <a:pt x="9075" y="18730"/>
                    </a:cubicBezTo>
                    <a:cubicBezTo>
                      <a:pt x="9072" y="18726"/>
                      <a:pt x="9046" y="1055"/>
                      <a:pt x="9033" y="1055"/>
                    </a:cubicBezTo>
                    <a:cubicBezTo>
                      <a:pt x="9033" y="1055"/>
                      <a:pt x="9033" y="1055"/>
                      <a:pt x="9033" y="1055"/>
                    </a:cubicBezTo>
                    <a:cubicBezTo>
                      <a:pt x="9014" y="919"/>
                      <a:pt x="8982" y="790"/>
                      <a:pt x="8936" y="660"/>
                    </a:cubicBezTo>
                    <a:cubicBezTo>
                      <a:pt x="8784" y="259"/>
                      <a:pt x="8490" y="0"/>
                      <a:pt x="7950" y="0"/>
                    </a:cubicBezTo>
                    <a:close/>
                  </a:path>
                </a:pathLst>
              </a:custGeom>
              <a:solidFill>
                <a:srgbClr val="E4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7" name="Google Shape;4987;p67"/>
              <p:cNvSpPr/>
              <p:nvPr/>
            </p:nvSpPr>
            <p:spPr>
              <a:xfrm>
                <a:off x="-100985" y="3906105"/>
                <a:ext cx="41804" cy="52708"/>
              </a:xfrm>
              <a:custGeom>
                <a:avLst/>
                <a:gdLst/>
                <a:ahLst/>
                <a:cxnLst/>
                <a:rect l="l" t="t" r="r" b="b"/>
                <a:pathLst>
                  <a:path w="3573" h="4505" fill="none" extrusionOk="0">
                    <a:moveTo>
                      <a:pt x="3573" y="1"/>
                    </a:moveTo>
                    <a:cubicBezTo>
                      <a:pt x="3573" y="1"/>
                      <a:pt x="1" y="221"/>
                      <a:pt x="997" y="4504"/>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8" name="Google Shape;4988;p67"/>
              <p:cNvSpPr/>
              <p:nvPr/>
            </p:nvSpPr>
            <p:spPr>
              <a:xfrm>
                <a:off x="-86594" y="3875146"/>
                <a:ext cx="27296" cy="25717"/>
              </a:xfrm>
              <a:custGeom>
                <a:avLst/>
                <a:gdLst/>
                <a:ahLst/>
                <a:cxnLst/>
                <a:rect l="l" t="t" r="r" b="b"/>
                <a:pathLst>
                  <a:path w="2333" h="2198" fill="none" extrusionOk="0">
                    <a:moveTo>
                      <a:pt x="0" y="696"/>
                    </a:moveTo>
                    <a:cubicBezTo>
                      <a:pt x="0" y="696"/>
                      <a:pt x="2333" y="0"/>
                      <a:pt x="2333" y="219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89" name="Google Shape;4989;p67"/>
              <p:cNvSpPr/>
              <p:nvPr/>
            </p:nvSpPr>
            <p:spPr>
              <a:xfrm>
                <a:off x="-113855" y="3879078"/>
                <a:ext cx="8986" cy="21785"/>
              </a:xfrm>
              <a:custGeom>
                <a:avLst/>
                <a:gdLst/>
                <a:ahLst/>
                <a:cxnLst/>
                <a:rect l="l" t="t" r="r" b="b"/>
                <a:pathLst>
                  <a:path w="768" h="1862" fill="none" extrusionOk="0">
                    <a:moveTo>
                      <a:pt x="1" y="1"/>
                    </a:moveTo>
                    <a:cubicBezTo>
                      <a:pt x="1" y="1"/>
                      <a:pt x="1" y="1056"/>
                      <a:pt x="768" y="1861"/>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0" name="Google Shape;4990;p67"/>
              <p:cNvSpPr/>
              <p:nvPr/>
            </p:nvSpPr>
            <p:spPr>
              <a:xfrm>
                <a:off x="-148861" y="3908679"/>
                <a:ext cx="53340" cy="15538"/>
              </a:xfrm>
              <a:custGeom>
                <a:avLst/>
                <a:gdLst/>
                <a:ahLst/>
                <a:cxnLst/>
                <a:rect l="l" t="t" r="r" b="b"/>
                <a:pathLst>
                  <a:path w="4559" h="1328" fill="none" extrusionOk="0">
                    <a:moveTo>
                      <a:pt x="0" y="1030"/>
                    </a:moveTo>
                    <a:cubicBezTo>
                      <a:pt x="1301" y="1"/>
                      <a:pt x="2559" y="1327"/>
                      <a:pt x="2559" y="1327"/>
                    </a:cubicBezTo>
                    <a:cubicBezTo>
                      <a:pt x="2559" y="1327"/>
                      <a:pt x="2828" y="150"/>
                      <a:pt x="4559" y="642"/>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1" name="Google Shape;4991;p67"/>
              <p:cNvSpPr/>
              <p:nvPr/>
            </p:nvSpPr>
            <p:spPr>
              <a:xfrm>
                <a:off x="-137430" y="3963493"/>
                <a:ext cx="28092" cy="51948"/>
              </a:xfrm>
              <a:custGeom>
                <a:avLst/>
                <a:gdLst/>
                <a:ahLst/>
                <a:cxnLst/>
                <a:rect l="l" t="t" r="r" b="b"/>
                <a:pathLst>
                  <a:path w="2401" h="4440" fill="none" extrusionOk="0">
                    <a:moveTo>
                      <a:pt x="10" y="4439"/>
                    </a:moveTo>
                    <a:cubicBezTo>
                      <a:pt x="10" y="4439"/>
                      <a:pt x="0" y="2220"/>
                      <a:pt x="1718" y="2437"/>
                    </a:cubicBezTo>
                    <a:cubicBezTo>
                      <a:pt x="1718" y="2437"/>
                      <a:pt x="828" y="1217"/>
                      <a:pt x="2401" y="1"/>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2" name="Google Shape;4992;p67"/>
              <p:cNvSpPr/>
              <p:nvPr/>
            </p:nvSpPr>
            <p:spPr>
              <a:xfrm>
                <a:off x="-122021" y="4015429"/>
                <a:ext cx="12461" cy="32374"/>
              </a:xfrm>
              <a:custGeom>
                <a:avLst/>
                <a:gdLst/>
                <a:ahLst/>
                <a:cxnLst/>
                <a:rect l="l" t="t" r="r" b="b"/>
                <a:pathLst>
                  <a:path w="1065" h="2767" fill="none" extrusionOk="0">
                    <a:moveTo>
                      <a:pt x="1064" y="0"/>
                    </a:moveTo>
                    <a:cubicBezTo>
                      <a:pt x="1064" y="0"/>
                      <a:pt x="0" y="1146"/>
                      <a:pt x="702" y="276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3" name="Google Shape;4993;p67"/>
              <p:cNvSpPr/>
              <p:nvPr/>
            </p:nvSpPr>
            <p:spPr>
              <a:xfrm>
                <a:off x="-95533" y="4013124"/>
                <a:ext cx="36235" cy="21739"/>
              </a:xfrm>
              <a:custGeom>
                <a:avLst/>
                <a:gdLst/>
                <a:ahLst/>
                <a:cxnLst/>
                <a:rect l="l" t="t" r="r" b="b"/>
                <a:pathLst>
                  <a:path w="3097" h="1858" fill="none" extrusionOk="0">
                    <a:moveTo>
                      <a:pt x="3097" y="197"/>
                    </a:moveTo>
                    <a:cubicBezTo>
                      <a:pt x="1463" y="0"/>
                      <a:pt x="764" y="1579"/>
                      <a:pt x="764" y="1579"/>
                    </a:cubicBezTo>
                    <a:cubicBezTo>
                      <a:pt x="764" y="1579"/>
                      <a:pt x="334" y="1391"/>
                      <a:pt x="1" y="185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4" name="Google Shape;4994;p67"/>
              <p:cNvSpPr/>
              <p:nvPr/>
            </p:nvSpPr>
            <p:spPr>
              <a:xfrm>
                <a:off x="-123355" y="3941357"/>
                <a:ext cx="32000" cy="17913"/>
              </a:xfrm>
              <a:custGeom>
                <a:avLst/>
                <a:gdLst/>
                <a:ahLst/>
                <a:cxnLst/>
                <a:rect l="l" t="t" r="r" b="b"/>
                <a:pathLst>
                  <a:path w="2735" h="1531" fill="none" extrusionOk="0">
                    <a:moveTo>
                      <a:pt x="2735" y="0"/>
                    </a:moveTo>
                    <a:cubicBezTo>
                      <a:pt x="2735" y="0"/>
                      <a:pt x="1085" y="1530"/>
                      <a:pt x="1" y="0"/>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5" name="Google Shape;4995;p67"/>
              <p:cNvSpPr/>
              <p:nvPr/>
            </p:nvSpPr>
            <p:spPr>
              <a:xfrm>
                <a:off x="-91367" y="3973672"/>
                <a:ext cx="32070" cy="15807"/>
              </a:xfrm>
              <a:custGeom>
                <a:avLst/>
                <a:gdLst/>
                <a:ahLst/>
                <a:cxnLst/>
                <a:rect l="l" t="t" r="r" b="b"/>
                <a:pathLst>
                  <a:path w="2741" h="1351" fill="none" extrusionOk="0">
                    <a:moveTo>
                      <a:pt x="1" y="434"/>
                    </a:moveTo>
                    <a:cubicBezTo>
                      <a:pt x="1" y="434"/>
                      <a:pt x="1709" y="1"/>
                      <a:pt x="2741" y="1350"/>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6" name="Google Shape;4996;p67"/>
              <p:cNvSpPr/>
              <p:nvPr/>
            </p:nvSpPr>
            <p:spPr>
              <a:xfrm>
                <a:off x="-49996" y="3843615"/>
                <a:ext cx="106189" cy="230455"/>
              </a:xfrm>
              <a:custGeom>
                <a:avLst/>
                <a:gdLst/>
                <a:ahLst/>
                <a:cxnLst/>
                <a:rect l="l" t="t" r="r" b="b"/>
                <a:pathLst>
                  <a:path w="9076" h="19697" extrusionOk="0">
                    <a:moveTo>
                      <a:pt x="1127" y="0"/>
                    </a:moveTo>
                    <a:cubicBezTo>
                      <a:pt x="586" y="0"/>
                      <a:pt x="292" y="259"/>
                      <a:pt x="140" y="660"/>
                    </a:cubicBezTo>
                    <a:cubicBezTo>
                      <a:pt x="95" y="790"/>
                      <a:pt x="62" y="919"/>
                      <a:pt x="43" y="1055"/>
                    </a:cubicBezTo>
                    <a:cubicBezTo>
                      <a:pt x="43" y="1055"/>
                      <a:pt x="43" y="1055"/>
                      <a:pt x="43" y="1055"/>
                    </a:cubicBezTo>
                    <a:cubicBezTo>
                      <a:pt x="30" y="1055"/>
                      <a:pt x="4" y="18726"/>
                      <a:pt x="1" y="18730"/>
                    </a:cubicBezTo>
                    <a:cubicBezTo>
                      <a:pt x="1" y="18730"/>
                      <a:pt x="1" y="18730"/>
                      <a:pt x="1" y="18730"/>
                    </a:cubicBezTo>
                    <a:cubicBezTo>
                      <a:pt x="17" y="18730"/>
                      <a:pt x="3" y="19697"/>
                      <a:pt x="1123" y="19697"/>
                    </a:cubicBezTo>
                    <a:cubicBezTo>
                      <a:pt x="1919" y="19697"/>
                      <a:pt x="2188" y="19128"/>
                      <a:pt x="2236" y="18383"/>
                    </a:cubicBezTo>
                    <a:cubicBezTo>
                      <a:pt x="2441" y="18443"/>
                      <a:pt x="2647" y="18472"/>
                      <a:pt x="2850" y="18472"/>
                    </a:cubicBezTo>
                    <a:cubicBezTo>
                      <a:pt x="3758" y="18472"/>
                      <a:pt x="4600" y="17901"/>
                      <a:pt x="4915" y="17002"/>
                    </a:cubicBezTo>
                    <a:cubicBezTo>
                      <a:pt x="5970" y="16727"/>
                      <a:pt x="6704" y="15776"/>
                      <a:pt x="6704" y="14685"/>
                    </a:cubicBezTo>
                    <a:cubicBezTo>
                      <a:pt x="6704" y="14595"/>
                      <a:pt x="6698" y="14508"/>
                      <a:pt x="6688" y="14417"/>
                    </a:cubicBezTo>
                    <a:cubicBezTo>
                      <a:pt x="8040" y="13725"/>
                      <a:pt x="8412" y="11961"/>
                      <a:pt x="7458" y="10780"/>
                    </a:cubicBezTo>
                    <a:cubicBezTo>
                      <a:pt x="8956" y="9839"/>
                      <a:pt x="9076" y="7697"/>
                      <a:pt x="7691" y="6594"/>
                    </a:cubicBezTo>
                    <a:cubicBezTo>
                      <a:pt x="8183" y="5704"/>
                      <a:pt x="8060" y="4601"/>
                      <a:pt x="7387" y="3841"/>
                    </a:cubicBezTo>
                    <a:cubicBezTo>
                      <a:pt x="6921" y="3315"/>
                      <a:pt x="6264" y="3033"/>
                      <a:pt x="5593" y="3033"/>
                    </a:cubicBezTo>
                    <a:cubicBezTo>
                      <a:pt x="5289" y="3033"/>
                      <a:pt x="4982" y="3091"/>
                      <a:pt x="4689" y="3210"/>
                    </a:cubicBezTo>
                    <a:cubicBezTo>
                      <a:pt x="4692" y="3152"/>
                      <a:pt x="4695" y="3093"/>
                      <a:pt x="4695" y="3035"/>
                    </a:cubicBezTo>
                    <a:cubicBezTo>
                      <a:pt x="4704" y="1804"/>
                      <a:pt x="3702" y="834"/>
                      <a:pt x="2514" y="834"/>
                    </a:cubicBezTo>
                    <a:cubicBezTo>
                      <a:pt x="2400" y="834"/>
                      <a:pt x="2285" y="843"/>
                      <a:pt x="2168" y="861"/>
                    </a:cubicBezTo>
                    <a:cubicBezTo>
                      <a:pt x="2045" y="353"/>
                      <a:pt x="1751" y="0"/>
                      <a:pt x="1127" y="0"/>
                    </a:cubicBezTo>
                    <a:close/>
                  </a:path>
                </a:pathLst>
              </a:custGeom>
              <a:solidFill>
                <a:srgbClr val="40566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7" name="Google Shape;4997;p67"/>
              <p:cNvSpPr/>
              <p:nvPr/>
            </p:nvSpPr>
            <p:spPr>
              <a:xfrm>
                <a:off x="-49692" y="3906105"/>
                <a:ext cx="41804" cy="52708"/>
              </a:xfrm>
              <a:custGeom>
                <a:avLst/>
                <a:gdLst/>
                <a:ahLst/>
                <a:cxnLst/>
                <a:rect l="l" t="t" r="r" b="b"/>
                <a:pathLst>
                  <a:path w="3573" h="4505" fill="none" extrusionOk="0">
                    <a:moveTo>
                      <a:pt x="1" y="1"/>
                    </a:moveTo>
                    <a:cubicBezTo>
                      <a:pt x="1" y="1"/>
                      <a:pt x="3572" y="221"/>
                      <a:pt x="2573" y="4504"/>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8" name="Google Shape;4998;p67"/>
              <p:cNvSpPr/>
              <p:nvPr/>
            </p:nvSpPr>
            <p:spPr>
              <a:xfrm>
                <a:off x="-49575" y="3875146"/>
                <a:ext cx="27261" cy="25717"/>
              </a:xfrm>
              <a:custGeom>
                <a:avLst/>
                <a:gdLst/>
                <a:ahLst/>
                <a:cxnLst/>
                <a:rect l="l" t="t" r="r" b="b"/>
                <a:pathLst>
                  <a:path w="2330" h="2198" fill="none" extrusionOk="0">
                    <a:moveTo>
                      <a:pt x="2330" y="696"/>
                    </a:moveTo>
                    <a:cubicBezTo>
                      <a:pt x="2330" y="696"/>
                      <a:pt x="0" y="0"/>
                      <a:pt x="0" y="219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4999" name="Google Shape;4999;p67"/>
              <p:cNvSpPr/>
              <p:nvPr/>
            </p:nvSpPr>
            <p:spPr>
              <a:xfrm>
                <a:off x="-4003" y="3879078"/>
                <a:ext cx="8986" cy="21785"/>
              </a:xfrm>
              <a:custGeom>
                <a:avLst/>
                <a:gdLst/>
                <a:ahLst/>
                <a:cxnLst/>
                <a:rect l="l" t="t" r="r" b="b"/>
                <a:pathLst>
                  <a:path w="768" h="1862" fill="none" extrusionOk="0">
                    <a:moveTo>
                      <a:pt x="767" y="1"/>
                    </a:moveTo>
                    <a:cubicBezTo>
                      <a:pt x="767" y="1"/>
                      <a:pt x="767" y="1056"/>
                      <a:pt x="1" y="1861"/>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0" name="Google Shape;5000;p67"/>
              <p:cNvSpPr/>
              <p:nvPr/>
            </p:nvSpPr>
            <p:spPr>
              <a:xfrm>
                <a:off x="-13352" y="3908679"/>
                <a:ext cx="53352" cy="15538"/>
              </a:xfrm>
              <a:custGeom>
                <a:avLst/>
                <a:gdLst/>
                <a:ahLst/>
                <a:cxnLst/>
                <a:rect l="l" t="t" r="r" b="b"/>
                <a:pathLst>
                  <a:path w="4560" h="1328" fill="none" extrusionOk="0">
                    <a:moveTo>
                      <a:pt x="4559" y="1030"/>
                    </a:moveTo>
                    <a:cubicBezTo>
                      <a:pt x="3258" y="1"/>
                      <a:pt x="1997" y="1327"/>
                      <a:pt x="1997" y="1327"/>
                    </a:cubicBezTo>
                    <a:cubicBezTo>
                      <a:pt x="1997" y="1327"/>
                      <a:pt x="1731" y="150"/>
                      <a:pt x="1" y="642"/>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1" name="Google Shape;5001;p67"/>
              <p:cNvSpPr/>
              <p:nvPr/>
            </p:nvSpPr>
            <p:spPr>
              <a:xfrm>
                <a:off x="466" y="3963493"/>
                <a:ext cx="28092" cy="51948"/>
              </a:xfrm>
              <a:custGeom>
                <a:avLst/>
                <a:gdLst/>
                <a:ahLst/>
                <a:cxnLst/>
                <a:rect l="l" t="t" r="r" b="b"/>
                <a:pathLst>
                  <a:path w="2401" h="4440" fill="none" extrusionOk="0">
                    <a:moveTo>
                      <a:pt x="2391" y="4439"/>
                    </a:moveTo>
                    <a:cubicBezTo>
                      <a:pt x="2391" y="4439"/>
                      <a:pt x="2401" y="2220"/>
                      <a:pt x="683" y="2437"/>
                    </a:cubicBezTo>
                    <a:cubicBezTo>
                      <a:pt x="683" y="2437"/>
                      <a:pt x="1573" y="1217"/>
                      <a:pt x="0" y="1"/>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2" name="Google Shape;5002;p67"/>
              <p:cNvSpPr/>
              <p:nvPr/>
            </p:nvSpPr>
            <p:spPr>
              <a:xfrm>
                <a:off x="688" y="4015429"/>
                <a:ext cx="12472" cy="32374"/>
              </a:xfrm>
              <a:custGeom>
                <a:avLst/>
                <a:gdLst/>
                <a:ahLst/>
                <a:cxnLst/>
                <a:rect l="l" t="t" r="r" b="b"/>
                <a:pathLst>
                  <a:path w="1066" h="2767" fill="none" extrusionOk="0">
                    <a:moveTo>
                      <a:pt x="1" y="0"/>
                    </a:moveTo>
                    <a:cubicBezTo>
                      <a:pt x="1" y="0"/>
                      <a:pt x="1065" y="1146"/>
                      <a:pt x="363" y="276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3" name="Google Shape;5003;p67"/>
              <p:cNvSpPr/>
              <p:nvPr/>
            </p:nvSpPr>
            <p:spPr>
              <a:xfrm>
                <a:off x="-49575" y="4013124"/>
                <a:ext cx="36235" cy="21739"/>
              </a:xfrm>
              <a:custGeom>
                <a:avLst/>
                <a:gdLst/>
                <a:ahLst/>
                <a:cxnLst/>
                <a:rect l="l" t="t" r="r" b="b"/>
                <a:pathLst>
                  <a:path w="3097" h="1858" fill="none" extrusionOk="0">
                    <a:moveTo>
                      <a:pt x="0" y="197"/>
                    </a:moveTo>
                    <a:cubicBezTo>
                      <a:pt x="1631" y="0"/>
                      <a:pt x="2330" y="1579"/>
                      <a:pt x="2330" y="1579"/>
                    </a:cubicBezTo>
                    <a:cubicBezTo>
                      <a:pt x="2330" y="1579"/>
                      <a:pt x="2763" y="1391"/>
                      <a:pt x="3097" y="1857"/>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4" name="Google Shape;5004;p67"/>
              <p:cNvSpPr/>
              <p:nvPr/>
            </p:nvSpPr>
            <p:spPr>
              <a:xfrm>
                <a:off x="-17517" y="3941357"/>
                <a:ext cx="32000" cy="17913"/>
              </a:xfrm>
              <a:custGeom>
                <a:avLst/>
                <a:gdLst/>
                <a:ahLst/>
                <a:cxnLst/>
                <a:rect l="l" t="t" r="r" b="b"/>
                <a:pathLst>
                  <a:path w="2735" h="1531" fill="none" extrusionOk="0">
                    <a:moveTo>
                      <a:pt x="1" y="0"/>
                    </a:moveTo>
                    <a:cubicBezTo>
                      <a:pt x="1" y="0"/>
                      <a:pt x="1651" y="1530"/>
                      <a:pt x="2734" y="0"/>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05" name="Google Shape;5005;p67"/>
              <p:cNvSpPr/>
              <p:nvPr/>
            </p:nvSpPr>
            <p:spPr>
              <a:xfrm>
                <a:off x="-49575" y="3973672"/>
                <a:ext cx="32070" cy="15807"/>
              </a:xfrm>
              <a:custGeom>
                <a:avLst/>
                <a:gdLst/>
                <a:ahLst/>
                <a:cxnLst/>
                <a:rect l="l" t="t" r="r" b="b"/>
                <a:pathLst>
                  <a:path w="2741" h="1351" fill="none" extrusionOk="0">
                    <a:moveTo>
                      <a:pt x="2741" y="434"/>
                    </a:moveTo>
                    <a:cubicBezTo>
                      <a:pt x="2741" y="434"/>
                      <a:pt x="1032" y="1"/>
                      <a:pt x="0" y="1350"/>
                    </a:cubicBezTo>
                  </a:path>
                </a:pathLst>
              </a:custGeom>
              <a:noFill/>
              <a:ln w="800"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06" name="Google Shape;5006;p67"/>
            <p:cNvGrpSpPr/>
            <p:nvPr/>
          </p:nvGrpSpPr>
          <p:grpSpPr>
            <a:xfrm>
              <a:off x="724986" y="3605478"/>
              <a:ext cx="1368681" cy="682918"/>
              <a:chOff x="724986" y="3605478"/>
              <a:chExt cx="1368681" cy="682918"/>
            </a:xfrm>
          </p:grpSpPr>
          <p:grpSp>
            <p:nvGrpSpPr>
              <p:cNvPr id="5007" name="Google Shape;5007;p67"/>
              <p:cNvGrpSpPr/>
              <p:nvPr/>
            </p:nvGrpSpPr>
            <p:grpSpPr>
              <a:xfrm>
                <a:off x="1498221" y="4047614"/>
                <a:ext cx="529172" cy="240783"/>
                <a:chOff x="1498221" y="4047614"/>
                <a:chExt cx="529172" cy="240783"/>
              </a:xfrm>
            </p:grpSpPr>
            <p:grpSp>
              <p:nvGrpSpPr>
                <p:cNvPr id="5008" name="Google Shape;5008;p67"/>
                <p:cNvGrpSpPr/>
                <p:nvPr/>
              </p:nvGrpSpPr>
              <p:grpSpPr>
                <a:xfrm>
                  <a:off x="1826655" y="4224370"/>
                  <a:ext cx="200738" cy="25631"/>
                  <a:chOff x="1826655" y="4224370"/>
                  <a:chExt cx="200738" cy="25631"/>
                </a:xfrm>
              </p:grpSpPr>
              <p:sp>
                <p:nvSpPr>
                  <p:cNvPr id="5009" name="Google Shape;5009;p67"/>
                  <p:cNvSpPr/>
                  <p:nvPr/>
                </p:nvSpPr>
                <p:spPr>
                  <a:xfrm>
                    <a:off x="1826655" y="4238011"/>
                    <a:ext cx="175094" cy="5"/>
                  </a:xfrm>
                  <a:custGeom>
                    <a:avLst/>
                    <a:gdLst/>
                    <a:ahLst/>
                    <a:cxnLst/>
                    <a:rect l="l" t="t" r="r" b="b"/>
                    <a:pathLst>
                      <a:path w="36535" h="1" fill="none" extrusionOk="0">
                        <a:moveTo>
                          <a:pt x="1" y="0"/>
                        </a:moveTo>
                        <a:lnTo>
                          <a:pt x="36535"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0" name="Google Shape;5010;p67"/>
                  <p:cNvSpPr/>
                  <p:nvPr/>
                </p:nvSpPr>
                <p:spPr>
                  <a:xfrm>
                    <a:off x="2000728" y="4224370"/>
                    <a:ext cx="26665" cy="25631"/>
                  </a:xfrm>
                  <a:custGeom>
                    <a:avLst/>
                    <a:gdLst/>
                    <a:ahLst/>
                    <a:cxnLst/>
                    <a:rect l="l" t="t" r="r" b="b"/>
                    <a:pathLst>
                      <a:path w="5564" h="5351" extrusionOk="0">
                        <a:moveTo>
                          <a:pt x="2887" y="0"/>
                        </a:moveTo>
                        <a:cubicBezTo>
                          <a:pt x="2190" y="0"/>
                          <a:pt x="1506" y="271"/>
                          <a:pt x="996" y="783"/>
                        </a:cubicBezTo>
                        <a:cubicBezTo>
                          <a:pt x="230" y="1550"/>
                          <a:pt x="0" y="2699"/>
                          <a:pt x="416" y="3698"/>
                        </a:cubicBezTo>
                        <a:cubicBezTo>
                          <a:pt x="828" y="4698"/>
                          <a:pt x="1806" y="5351"/>
                          <a:pt x="2886" y="5351"/>
                        </a:cubicBezTo>
                        <a:cubicBezTo>
                          <a:pt x="4363" y="5351"/>
                          <a:pt x="5560" y="4150"/>
                          <a:pt x="5563" y="2677"/>
                        </a:cubicBezTo>
                        <a:cubicBezTo>
                          <a:pt x="5560" y="1593"/>
                          <a:pt x="4911" y="619"/>
                          <a:pt x="3911" y="203"/>
                        </a:cubicBezTo>
                        <a:cubicBezTo>
                          <a:pt x="3580" y="67"/>
                          <a:pt x="3232" y="0"/>
                          <a:pt x="2887" y="0"/>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11" name="Google Shape;5011;p67"/>
                <p:cNvGrpSpPr/>
                <p:nvPr/>
              </p:nvGrpSpPr>
              <p:grpSpPr>
                <a:xfrm>
                  <a:off x="1498221" y="4047614"/>
                  <a:ext cx="328444" cy="240783"/>
                  <a:chOff x="1498221" y="4047614"/>
                  <a:chExt cx="328444" cy="240783"/>
                </a:xfrm>
              </p:grpSpPr>
              <p:sp>
                <p:nvSpPr>
                  <p:cNvPr id="5012" name="Google Shape;5012;p67"/>
                  <p:cNvSpPr/>
                  <p:nvPr/>
                </p:nvSpPr>
                <p:spPr>
                  <a:xfrm>
                    <a:off x="1648778" y="4185661"/>
                    <a:ext cx="177888" cy="102736"/>
                  </a:xfrm>
                  <a:custGeom>
                    <a:avLst/>
                    <a:gdLst/>
                    <a:ahLst/>
                    <a:cxnLst/>
                    <a:rect l="l" t="t" r="r" b="b"/>
                    <a:pathLst>
                      <a:path w="37118" h="21448" extrusionOk="0">
                        <a:moveTo>
                          <a:pt x="4950" y="1"/>
                        </a:moveTo>
                        <a:cubicBezTo>
                          <a:pt x="2218" y="1"/>
                          <a:pt x="0" y="2679"/>
                          <a:pt x="0" y="5984"/>
                        </a:cubicBezTo>
                        <a:lnTo>
                          <a:pt x="0" y="15461"/>
                        </a:lnTo>
                        <a:cubicBezTo>
                          <a:pt x="0" y="18766"/>
                          <a:pt x="2218" y="21447"/>
                          <a:pt x="4950" y="21447"/>
                        </a:cubicBezTo>
                        <a:lnTo>
                          <a:pt x="32168" y="21447"/>
                        </a:lnTo>
                        <a:cubicBezTo>
                          <a:pt x="34904" y="21447"/>
                          <a:pt x="37118" y="18766"/>
                          <a:pt x="37118" y="15461"/>
                        </a:cubicBezTo>
                        <a:lnTo>
                          <a:pt x="37118" y="5984"/>
                        </a:lnTo>
                        <a:cubicBezTo>
                          <a:pt x="37118" y="2679"/>
                          <a:pt x="34904" y="1"/>
                          <a:pt x="32168" y="1"/>
                        </a:cubicBezTo>
                        <a:close/>
                      </a:path>
                    </a:pathLst>
                  </a:custGeom>
                  <a:solidFill>
                    <a:srgbClr val="213B55"/>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013" name="Google Shape;5013;p67"/>
                  <p:cNvGrpSpPr/>
                  <p:nvPr/>
                </p:nvGrpSpPr>
                <p:grpSpPr>
                  <a:xfrm>
                    <a:off x="1498221" y="4047614"/>
                    <a:ext cx="150566" cy="190416"/>
                    <a:chOff x="1498221" y="4047614"/>
                    <a:chExt cx="150566" cy="190416"/>
                  </a:xfrm>
                </p:grpSpPr>
                <p:sp>
                  <p:nvSpPr>
                    <p:cNvPr id="5014" name="Google Shape;5014;p67"/>
                    <p:cNvSpPr/>
                    <p:nvPr/>
                  </p:nvSpPr>
                  <p:spPr>
                    <a:xfrm>
                      <a:off x="1510686" y="4060421"/>
                      <a:ext cx="138101" cy="177608"/>
                    </a:xfrm>
                    <a:custGeom>
                      <a:avLst/>
                      <a:gdLst/>
                      <a:ahLst/>
                      <a:cxnLst/>
                      <a:rect l="l" t="t" r="r" b="b"/>
                      <a:pathLst>
                        <a:path w="28816" h="37079" fill="none" extrusionOk="0">
                          <a:moveTo>
                            <a:pt x="28815" y="37078"/>
                          </a:moveTo>
                          <a:lnTo>
                            <a:pt x="17922" y="37078"/>
                          </a:lnTo>
                          <a:cubicBezTo>
                            <a:pt x="14829" y="37078"/>
                            <a:pt x="14212" y="33613"/>
                            <a:pt x="14212" y="33613"/>
                          </a:cubicBezTo>
                          <a:lnTo>
                            <a:pt x="14212" y="10631"/>
                          </a:lnTo>
                          <a:lnTo>
                            <a:pt x="0" y="10631"/>
                          </a:lnTo>
                          <a:lnTo>
                            <a:pt x="0"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5" name="Google Shape;5015;p67"/>
                    <p:cNvSpPr/>
                    <p:nvPr/>
                  </p:nvSpPr>
                  <p:spPr>
                    <a:xfrm>
                      <a:off x="1498221" y="4047614"/>
                      <a:ext cx="26646" cy="25622"/>
                    </a:xfrm>
                    <a:custGeom>
                      <a:avLst/>
                      <a:gdLst/>
                      <a:ahLst/>
                      <a:cxnLst/>
                      <a:rect l="l" t="t" r="r" b="b"/>
                      <a:pathLst>
                        <a:path w="5560" h="5349" extrusionOk="0">
                          <a:moveTo>
                            <a:pt x="2886" y="1"/>
                          </a:moveTo>
                          <a:cubicBezTo>
                            <a:pt x="1806" y="1"/>
                            <a:pt x="828" y="654"/>
                            <a:pt x="416" y="1653"/>
                          </a:cubicBezTo>
                          <a:cubicBezTo>
                            <a:pt x="0" y="2649"/>
                            <a:pt x="230" y="3802"/>
                            <a:pt x="996" y="4564"/>
                          </a:cubicBezTo>
                          <a:cubicBezTo>
                            <a:pt x="1506" y="5077"/>
                            <a:pt x="2190" y="5349"/>
                            <a:pt x="2886" y="5349"/>
                          </a:cubicBezTo>
                          <a:cubicBezTo>
                            <a:pt x="3232" y="5349"/>
                            <a:pt x="3580" y="5282"/>
                            <a:pt x="3911" y="5144"/>
                          </a:cubicBezTo>
                          <a:cubicBezTo>
                            <a:pt x="4910" y="4732"/>
                            <a:pt x="5560" y="3758"/>
                            <a:pt x="5560" y="2675"/>
                          </a:cubicBezTo>
                          <a:cubicBezTo>
                            <a:pt x="5560" y="1197"/>
                            <a:pt x="4363" y="1"/>
                            <a:pt x="288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5016" name="Google Shape;5016;p67"/>
              <p:cNvGrpSpPr/>
              <p:nvPr/>
            </p:nvGrpSpPr>
            <p:grpSpPr>
              <a:xfrm>
                <a:off x="1560718" y="3800594"/>
                <a:ext cx="532948" cy="302090"/>
                <a:chOff x="1560718" y="3800594"/>
                <a:chExt cx="532948" cy="302090"/>
              </a:xfrm>
            </p:grpSpPr>
            <p:grpSp>
              <p:nvGrpSpPr>
                <p:cNvPr id="5017" name="Google Shape;5017;p67"/>
                <p:cNvGrpSpPr/>
                <p:nvPr/>
              </p:nvGrpSpPr>
              <p:grpSpPr>
                <a:xfrm>
                  <a:off x="1912179" y="3827344"/>
                  <a:ext cx="181487" cy="25631"/>
                  <a:chOff x="1912179" y="3827344"/>
                  <a:chExt cx="181487" cy="25631"/>
                </a:xfrm>
              </p:grpSpPr>
              <p:sp>
                <p:nvSpPr>
                  <p:cNvPr id="5018" name="Google Shape;5018;p67"/>
                  <p:cNvSpPr/>
                  <p:nvPr/>
                </p:nvSpPr>
                <p:spPr>
                  <a:xfrm>
                    <a:off x="2067020" y="3827344"/>
                    <a:ext cx="26646" cy="25631"/>
                  </a:xfrm>
                  <a:custGeom>
                    <a:avLst/>
                    <a:gdLst/>
                    <a:ahLst/>
                    <a:cxnLst/>
                    <a:rect l="l" t="t" r="r" b="b"/>
                    <a:pathLst>
                      <a:path w="5560" h="5351" extrusionOk="0">
                        <a:moveTo>
                          <a:pt x="2886" y="0"/>
                        </a:moveTo>
                        <a:cubicBezTo>
                          <a:pt x="1806" y="0"/>
                          <a:pt x="828" y="653"/>
                          <a:pt x="416" y="1653"/>
                        </a:cubicBezTo>
                        <a:cubicBezTo>
                          <a:pt x="0" y="2652"/>
                          <a:pt x="230" y="3801"/>
                          <a:pt x="993" y="4567"/>
                        </a:cubicBezTo>
                        <a:cubicBezTo>
                          <a:pt x="1505" y="5080"/>
                          <a:pt x="2190" y="5351"/>
                          <a:pt x="2887" y="5351"/>
                        </a:cubicBezTo>
                        <a:cubicBezTo>
                          <a:pt x="3232" y="5351"/>
                          <a:pt x="3580" y="5284"/>
                          <a:pt x="3911" y="5148"/>
                        </a:cubicBezTo>
                        <a:cubicBezTo>
                          <a:pt x="4910" y="4732"/>
                          <a:pt x="5560" y="3758"/>
                          <a:pt x="5560" y="2678"/>
                        </a:cubicBezTo>
                        <a:cubicBezTo>
                          <a:pt x="5560" y="1200"/>
                          <a:pt x="4363" y="0"/>
                          <a:pt x="2886"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19" name="Google Shape;5019;p67"/>
                  <p:cNvSpPr/>
                  <p:nvPr/>
                </p:nvSpPr>
                <p:spPr>
                  <a:xfrm>
                    <a:off x="1912179" y="3842838"/>
                    <a:ext cx="156825" cy="5"/>
                  </a:xfrm>
                  <a:custGeom>
                    <a:avLst/>
                    <a:gdLst/>
                    <a:ahLst/>
                    <a:cxnLst/>
                    <a:rect l="l" t="t" r="r" b="b"/>
                    <a:pathLst>
                      <a:path w="32723" h="1" fill="none" extrusionOk="0">
                        <a:moveTo>
                          <a:pt x="1" y="1"/>
                        </a:moveTo>
                        <a:lnTo>
                          <a:pt x="3272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20" name="Google Shape;5020;p67"/>
                <p:cNvGrpSpPr/>
                <p:nvPr/>
              </p:nvGrpSpPr>
              <p:grpSpPr>
                <a:xfrm>
                  <a:off x="1912179" y="4044505"/>
                  <a:ext cx="181487" cy="25622"/>
                  <a:chOff x="1912179" y="4044506"/>
                  <a:chExt cx="181487" cy="25622"/>
                </a:xfrm>
              </p:grpSpPr>
              <p:sp>
                <p:nvSpPr>
                  <p:cNvPr id="5021" name="Google Shape;5021;p67"/>
                  <p:cNvSpPr/>
                  <p:nvPr/>
                </p:nvSpPr>
                <p:spPr>
                  <a:xfrm>
                    <a:off x="2067020" y="4044505"/>
                    <a:ext cx="26646" cy="25622"/>
                  </a:xfrm>
                  <a:custGeom>
                    <a:avLst/>
                    <a:gdLst/>
                    <a:ahLst/>
                    <a:cxnLst/>
                    <a:rect l="l" t="t" r="r" b="b"/>
                    <a:pathLst>
                      <a:path w="5560" h="5349" extrusionOk="0">
                        <a:moveTo>
                          <a:pt x="2886" y="0"/>
                        </a:moveTo>
                        <a:cubicBezTo>
                          <a:pt x="1806" y="0"/>
                          <a:pt x="828" y="650"/>
                          <a:pt x="416" y="1649"/>
                        </a:cubicBezTo>
                        <a:cubicBezTo>
                          <a:pt x="0" y="2649"/>
                          <a:pt x="230" y="3802"/>
                          <a:pt x="993" y="4564"/>
                        </a:cubicBezTo>
                        <a:cubicBezTo>
                          <a:pt x="1505" y="5076"/>
                          <a:pt x="2190" y="5349"/>
                          <a:pt x="2887" y="5349"/>
                        </a:cubicBezTo>
                        <a:cubicBezTo>
                          <a:pt x="3232" y="5349"/>
                          <a:pt x="3580" y="5282"/>
                          <a:pt x="3911" y="5144"/>
                        </a:cubicBezTo>
                        <a:cubicBezTo>
                          <a:pt x="4910" y="4732"/>
                          <a:pt x="5560" y="3758"/>
                          <a:pt x="5560" y="2674"/>
                        </a:cubicBezTo>
                        <a:cubicBezTo>
                          <a:pt x="5560" y="1197"/>
                          <a:pt x="4363" y="0"/>
                          <a:pt x="288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2" name="Google Shape;5022;p67"/>
                  <p:cNvSpPr/>
                  <p:nvPr/>
                </p:nvSpPr>
                <p:spPr>
                  <a:xfrm>
                    <a:off x="1912179" y="4059966"/>
                    <a:ext cx="156825" cy="5"/>
                  </a:xfrm>
                  <a:custGeom>
                    <a:avLst/>
                    <a:gdLst/>
                    <a:ahLst/>
                    <a:cxnLst/>
                    <a:rect l="l" t="t" r="r" b="b"/>
                    <a:pathLst>
                      <a:path w="32723" h="1" fill="none" extrusionOk="0">
                        <a:moveTo>
                          <a:pt x="32723"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23" name="Google Shape;5023;p67"/>
                <p:cNvGrpSpPr/>
                <p:nvPr/>
              </p:nvGrpSpPr>
              <p:grpSpPr>
                <a:xfrm>
                  <a:off x="1560718" y="3800594"/>
                  <a:ext cx="351472" cy="302090"/>
                  <a:chOff x="1560718" y="3800594"/>
                  <a:chExt cx="351472" cy="302090"/>
                </a:xfrm>
              </p:grpSpPr>
              <p:grpSp>
                <p:nvGrpSpPr>
                  <p:cNvPr id="5024" name="Google Shape;5024;p67"/>
                  <p:cNvGrpSpPr/>
                  <p:nvPr/>
                </p:nvGrpSpPr>
                <p:grpSpPr>
                  <a:xfrm>
                    <a:off x="1560718" y="3842857"/>
                    <a:ext cx="173586" cy="217131"/>
                    <a:chOff x="1560718" y="3842857"/>
                    <a:chExt cx="173586" cy="217131"/>
                  </a:xfrm>
                </p:grpSpPr>
                <p:sp>
                  <p:nvSpPr>
                    <p:cNvPr id="5025" name="Google Shape;5025;p67"/>
                    <p:cNvSpPr/>
                    <p:nvPr/>
                  </p:nvSpPr>
                  <p:spPr>
                    <a:xfrm>
                      <a:off x="1560718" y="3951414"/>
                      <a:ext cx="84343" cy="5"/>
                    </a:xfrm>
                    <a:custGeom>
                      <a:avLst/>
                      <a:gdLst/>
                      <a:ahLst/>
                      <a:cxnLst/>
                      <a:rect l="l" t="t" r="r" b="b"/>
                      <a:pathLst>
                        <a:path w="17599" h="1" fill="none" extrusionOk="0">
                          <a:moveTo>
                            <a:pt x="1" y="0"/>
                          </a:moveTo>
                          <a:lnTo>
                            <a:pt x="17598"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6" name="Google Shape;5026;p67"/>
                    <p:cNvSpPr/>
                    <p:nvPr/>
                  </p:nvSpPr>
                  <p:spPr>
                    <a:xfrm>
                      <a:off x="1631242" y="3936509"/>
                      <a:ext cx="26646" cy="25622"/>
                    </a:xfrm>
                    <a:custGeom>
                      <a:avLst/>
                      <a:gdLst/>
                      <a:ahLst/>
                      <a:cxnLst/>
                      <a:rect l="l" t="t" r="r" b="b"/>
                      <a:pathLst>
                        <a:path w="5560" h="5349" extrusionOk="0">
                          <a:moveTo>
                            <a:pt x="2882" y="1"/>
                          </a:moveTo>
                          <a:cubicBezTo>
                            <a:pt x="1802" y="1"/>
                            <a:pt x="828" y="650"/>
                            <a:pt x="412" y="1649"/>
                          </a:cubicBezTo>
                          <a:cubicBezTo>
                            <a:pt x="0" y="2649"/>
                            <a:pt x="226" y="3798"/>
                            <a:pt x="993" y="4564"/>
                          </a:cubicBezTo>
                          <a:cubicBezTo>
                            <a:pt x="1502" y="5076"/>
                            <a:pt x="2187" y="5349"/>
                            <a:pt x="2883" y="5349"/>
                          </a:cubicBezTo>
                          <a:cubicBezTo>
                            <a:pt x="3228" y="5349"/>
                            <a:pt x="3576" y="5282"/>
                            <a:pt x="3907" y="5144"/>
                          </a:cubicBezTo>
                          <a:cubicBezTo>
                            <a:pt x="4907" y="4732"/>
                            <a:pt x="5556" y="3758"/>
                            <a:pt x="5560" y="2674"/>
                          </a:cubicBezTo>
                          <a:cubicBezTo>
                            <a:pt x="5560" y="1197"/>
                            <a:pt x="4360" y="1"/>
                            <a:pt x="2882"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7" name="Google Shape;5027;p67"/>
                    <p:cNvSpPr/>
                    <p:nvPr/>
                  </p:nvSpPr>
                  <p:spPr>
                    <a:xfrm>
                      <a:off x="1645054" y="3842857"/>
                      <a:ext cx="89251" cy="217131"/>
                    </a:xfrm>
                    <a:custGeom>
                      <a:avLst/>
                      <a:gdLst/>
                      <a:ahLst/>
                      <a:cxnLst/>
                      <a:rect l="l" t="t" r="r" b="b"/>
                      <a:pathLst>
                        <a:path w="18623" h="45330" fill="none" extrusionOk="0">
                          <a:moveTo>
                            <a:pt x="18623" y="45330"/>
                          </a:moveTo>
                          <a:lnTo>
                            <a:pt x="5625" y="45330"/>
                          </a:lnTo>
                          <a:cubicBezTo>
                            <a:pt x="2889" y="45330"/>
                            <a:pt x="0" y="42619"/>
                            <a:pt x="0" y="35634"/>
                          </a:cubicBezTo>
                          <a:lnTo>
                            <a:pt x="0" y="9697"/>
                          </a:lnTo>
                          <a:cubicBezTo>
                            <a:pt x="0" y="2711"/>
                            <a:pt x="2889" y="1"/>
                            <a:pt x="5625" y="1"/>
                          </a:cubicBezTo>
                          <a:lnTo>
                            <a:pt x="1862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028" name="Google Shape;5028;p67"/>
                  <p:cNvSpPr/>
                  <p:nvPr/>
                </p:nvSpPr>
                <p:spPr>
                  <a:xfrm>
                    <a:off x="1733808" y="3800594"/>
                    <a:ext cx="177874" cy="102731"/>
                  </a:xfrm>
                  <a:custGeom>
                    <a:avLst/>
                    <a:gdLst/>
                    <a:ahLst/>
                    <a:cxnLst/>
                    <a:rect l="l" t="t" r="r" b="b"/>
                    <a:pathLst>
                      <a:path w="37115" h="21447" extrusionOk="0">
                        <a:moveTo>
                          <a:pt x="4951" y="0"/>
                        </a:moveTo>
                        <a:cubicBezTo>
                          <a:pt x="2215" y="0"/>
                          <a:pt x="1" y="2678"/>
                          <a:pt x="1" y="5983"/>
                        </a:cubicBezTo>
                        <a:lnTo>
                          <a:pt x="1" y="15460"/>
                        </a:lnTo>
                        <a:cubicBezTo>
                          <a:pt x="1" y="18765"/>
                          <a:pt x="2215" y="21446"/>
                          <a:pt x="4951" y="21446"/>
                        </a:cubicBezTo>
                        <a:lnTo>
                          <a:pt x="32168" y="21446"/>
                        </a:lnTo>
                        <a:cubicBezTo>
                          <a:pt x="34901" y="21446"/>
                          <a:pt x="37115" y="18765"/>
                          <a:pt x="37115" y="15460"/>
                        </a:cubicBezTo>
                        <a:lnTo>
                          <a:pt x="37115" y="5983"/>
                        </a:lnTo>
                        <a:cubicBezTo>
                          <a:pt x="37115" y="2678"/>
                          <a:pt x="34901" y="0"/>
                          <a:pt x="32168" y="0"/>
                        </a:cubicBezTo>
                        <a:close/>
                      </a:path>
                    </a:pathLst>
                  </a:custGeom>
                  <a:solidFill>
                    <a:srgbClr val="445D73"/>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29" name="Google Shape;5029;p67"/>
                  <p:cNvSpPr/>
                  <p:nvPr/>
                </p:nvSpPr>
                <p:spPr>
                  <a:xfrm>
                    <a:off x="1734297" y="3999967"/>
                    <a:ext cx="177893" cy="102717"/>
                  </a:xfrm>
                  <a:custGeom>
                    <a:avLst/>
                    <a:gdLst/>
                    <a:ahLst/>
                    <a:cxnLst/>
                    <a:rect l="l" t="t" r="r" b="b"/>
                    <a:pathLst>
                      <a:path w="37119" h="21444" extrusionOk="0">
                        <a:moveTo>
                          <a:pt x="4951" y="1"/>
                        </a:moveTo>
                        <a:cubicBezTo>
                          <a:pt x="2219" y="1"/>
                          <a:pt x="1" y="2678"/>
                          <a:pt x="1" y="5983"/>
                        </a:cubicBezTo>
                        <a:lnTo>
                          <a:pt x="1" y="15461"/>
                        </a:lnTo>
                        <a:cubicBezTo>
                          <a:pt x="1" y="18766"/>
                          <a:pt x="2219" y="21443"/>
                          <a:pt x="4951" y="21443"/>
                        </a:cubicBezTo>
                        <a:lnTo>
                          <a:pt x="32168" y="21443"/>
                        </a:lnTo>
                        <a:cubicBezTo>
                          <a:pt x="34901" y="21443"/>
                          <a:pt x="37119" y="18766"/>
                          <a:pt x="37119" y="15461"/>
                        </a:cubicBezTo>
                        <a:lnTo>
                          <a:pt x="37119" y="5983"/>
                        </a:lnTo>
                        <a:cubicBezTo>
                          <a:pt x="37119" y="2678"/>
                          <a:pt x="34901" y="1"/>
                          <a:pt x="32168" y="1"/>
                        </a:cubicBezTo>
                        <a:close/>
                      </a:path>
                    </a:pathLst>
                  </a:custGeom>
                  <a:solidFill>
                    <a:srgbClr val="869FB1"/>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sp>
            <p:nvSpPr>
              <p:cNvPr id="5030" name="Google Shape;5030;p67"/>
              <p:cNvSpPr/>
              <p:nvPr/>
            </p:nvSpPr>
            <p:spPr>
              <a:xfrm>
                <a:off x="1258451" y="3798060"/>
                <a:ext cx="302718" cy="302541"/>
              </a:xfrm>
              <a:custGeom>
                <a:avLst/>
                <a:gdLst/>
                <a:ahLst/>
                <a:cxnLst/>
                <a:rect l="l" t="t" r="r" b="b"/>
                <a:pathLst>
                  <a:path w="63165" h="63161" fill="none" extrusionOk="0">
                    <a:moveTo>
                      <a:pt x="63165" y="31580"/>
                    </a:moveTo>
                    <a:cubicBezTo>
                      <a:pt x="63165" y="49021"/>
                      <a:pt x="49025" y="63161"/>
                      <a:pt x="31585" y="63161"/>
                    </a:cubicBezTo>
                    <a:cubicBezTo>
                      <a:pt x="14140" y="63161"/>
                      <a:pt x="1" y="49021"/>
                      <a:pt x="1" y="31580"/>
                    </a:cubicBezTo>
                    <a:cubicBezTo>
                      <a:pt x="1" y="14140"/>
                      <a:pt x="14140" y="0"/>
                      <a:pt x="31585" y="0"/>
                    </a:cubicBezTo>
                    <a:cubicBezTo>
                      <a:pt x="49025" y="0"/>
                      <a:pt x="63165" y="14140"/>
                      <a:pt x="63165" y="31580"/>
                    </a:cubicBezTo>
                    <a:close/>
                  </a:path>
                </a:pathLst>
              </a:custGeom>
              <a:no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031" name="Google Shape;5031;p67"/>
              <p:cNvGrpSpPr/>
              <p:nvPr/>
            </p:nvGrpSpPr>
            <p:grpSpPr>
              <a:xfrm>
                <a:off x="785350" y="3605478"/>
                <a:ext cx="535311" cy="249245"/>
                <a:chOff x="785350" y="3605478"/>
                <a:chExt cx="535311" cy="249245"/>
              </a:xfrm>
            </p:grpSpPr>
            <p:grpSp>
              <p:nvGrpSpPr>
                <p:cNvPr id="5032" name="Google Shape;5032;p67"/>
                <p:cNvGrpSpPr/>
                <p:nvPr/>
              </p:nvGrpSpPr>
              <p:grpSpPr>
                <a:xfrm>
                  <a:off x="785350" y="3605478"/>
                  <a:ext cx="376191" cy="102736"/>
                  <a:chOff x="785350" y="3605478"/>
                  <a:chExt cx="376191" cy="102736"/>
                </a:xfrm>
              </p:grpSpPr>
              <p:sp>
                <p:nvSpPr>
                  <p:cNvPr id="5033" name="Google Shape;5033;p67"/>
                  <p:cNvSpPr/>
                  <p:nvPr/>
                </p:nvSpPr>
                <p:spPr>
                  <a:xfrm>
                    <a:off x="808023" y="3655851"/>
                    <a:ext cx="175636" cy="5"/>
                  </a:xfrm>
                  <a:custGeom>
                    <a:avLst/>
                    <a:gdLst/>
                    <a:ahLst/>
                    <a:cxnLst/>
                    <a:rect l="l" t="t" r="r" b="b"/>
                    <a:pathLst>
                      <a:path w="36648" h="1" fill="none" extrusionOk="0">
                        <a:moveTo>
                          <a:pt x="36648"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4" name="Google Shape;5034;p67"/>
                  <p:cNvSpPr/>
                  <p:nvPr/>
                </p:nvSpPr>
                <p:spPr>
                  <a:xfrm>
                    <a:off x="785350" y="3643867"/>
                    <a:ext cx="25635" cy="25622"/>
                  </a:xfrm>
                  <a:custGeom>
                    <a:avLst/>
                    <a:gdLst/>
                    <a:ahLst/>
                    <a:cxnLst/>
                    <a:rect l="l" t="t" r="r" b="b"/>
                    <a:pathLst>
                      <a:path w="5349" h="5349" extrusionOk="0">
                        <a:moveTo>
                          <a:pt x="2674" y="0"/>
                        </a:moveTo>
                        <a:cubicBezTo>
                          <a:pt x="1197" y="0"/>
                          <a:pt x="0" y="1197"/>
                          <a:pt x="0" y="2674"/>
                        </a:cubicBezTo>
                        <a:cubicBezTo>
                          <a:pt x="0" y="4152"/>
                          <a:pt x="1197" y="5348"/>
                          <a:pt x="2674" y="5348"/>
                        </a:cubicBezTo>
                        <a:cubicBezTo>
                          <a:pt x="4152" y="5348"/>
                          <a:pt x="5348" y="4152"/>
                          <a:pt x="5348" y="2674"/>
                        </a:cubicBezTo>
                        <a:cubicBezTo>
                          <a:pt x="5348" y="1197"/>
                          <a:pt x="4152" y="0"/>
                          <a:pt x="2674"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5" name="Google Shape;5035;p67"/>
                  <p:cNvSpPr/>
                  <p:nvPr/>
                </p:nvSpPr>
                <p:spPr>
                  <a:xfrm>
                    <a:off x="983648" y="3605478"/>
                    <a:ext cx="177893" cy="102736"/>
                  </a:xfrm>
                  <a:custGeom>
                    <a:avLst/>
                    <a:gdLst/>
                    <a:ahLst/>
                    <a:cxnLst/>
                    <a:rect l="l" t="t" r="r" b="b"/>
                    <a:pathLst>
                      <a:path w="37119" h="21448" extrusionOk="0">
                        <a:moveTo>
                          <a:pt x="4951" y="1"/>
                        </a:moveTo>
                        <a:cubicBezTo>
                          <a:pt x="2219" y="1"/>
                          <a:pt x="1" y="2682"/>
                          <a:pt x="1" y="5987"/>
                        </a:cubicBezTo>
                        <a:lnTo>
                          <a:pt x="1" y="15464"/>
                        </a:lnTo>
                        <a:cubicBezTo>
                          <a:pt x="1" y="18769"/>
                          <a:pt x="2219" y="21447"/>
                          <a:pt x="4951" y="21447"/>
                        </a:cubicBezTo>
                        <a:lnTo>
                          <a:pt x="32172" y="21447"/>
                        </a:lnTo>
                        <a:cubicBezTo>
                          <a:pt x="34904" y="21447"/>
                          <a:pt x="37119" y="18769"/>
                          <a:pt x="37119" y="15464"/>
                        </a:cubicBezTo>
                        <a:lnTo>
                          <a:pt x="37119" y="5987"/>
                        </a:lnTo>
                        <a:cubicBezTo>
                          <a:pt x="37119" y="2682"/>
                          <a:pt x="34904" y="1"/>
                          <a:pt x="32172" y="1"/>
                        </a:cubicBezTo>
                        <a:close/>
                      </a:path>
                    </a:pathLst>
                  </a:custGeom>
                  <a:solidFill>
                    <a:srgbClr val="E3E9ED"/>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36" name="Google Shape;5036;p67"/>
                <p:cNvGrpSpPr/>
                <p:nvPr/>
              </p:nvGrpSpPr>
              <p:grpSpPr>
                <a:xfrm>
                  <a:off x="1161530" y="3655851"/>
                  <a:ext cx="159131" cy="198872"/>
                  <a:chOff x="1161530" y="3655851"/>
                  <a:chExt cx="159131" cy="198872"/>
                </a:xfrm>
              </p:grpSpPr>
              <p:sp>
                <p:nvSpPr>
                  <p:cNvPr id="5037" name="Google Shape;5037;p67"/>
                  <p:cNvSpPr/>
                  <p:nvPr/>
                </p:nvSpPr>
                <p:spPr>
                  <a:xfrm>
                    <a:off x="1161530" y="3655851"/>
                    <a:ext cx="146440" cy="186082"/>
                  </a:xfrm>
                  <a:custGeom>
                    <a:avLst/>
                    <a:gdLst/>
                    <a:ahLst/>
                    <a:cxnLst/>
                    <a:rect l="l" t="t" r="r" b="b"/>
                    <a:pathLst>
                      <a:path w="30556" h="38848" fill="none" extrusionOk="0">
                        <a:moveTo>
                          <a:pt x="1" y="1"/>
                        </a:moveTo>
                        <a:lnTo>
                          <a:pt x="12633" y="1"/>
                        </a:lnTo>
                        <a:cubicBezTo>
                          <a:pt x="15723" y="1"/>
                          <a:pt x="16343" y="3466"/>
                          <a:pt x="16343" y="3466"/>
                        </a:cubicBezTo>
                        <a:lnTo>
                          <a:pt x="16343" y="26448"/>
                        </a:lnTo>
                        <a:lnTo>
                          <a:pt x="30556" y="26448"/>
                        </a:lnTo>
                        <a:lnTo>
                          <a:pt x="30556" y="38848"/>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38" name="Google Shape;5038;p67"/>
                  <p:cNvSpPr/>
                  <p:nvPr/>
                </p:nvSpPr>
                <p:spPr>
                  <a:xfrm>
                    <a:off x="1293991" y="3829092"/>
                    <a:ext cx="26670" cy="25631"/>
                  </a:xfrm>
                  <a:custGeom>
                    <a:avLst/>
                    <a:gdLst/>
                    <a:ahLst/>
                    <a:cxnLst/>
                    <a:rect l="l" t="t" r="r" b="b"/>
                    <a:pathLst>
                      <a:path w="5565" h="5351" extrusionOk="0">
                        <a:moveTo>
                          <a:pt x="2890" y="0"/>
                        </a:moveTo>
                        <a:cubicBezTo>
                          <a:pt x="1807" y="0"/>
                          <a:pt x="833" y="653"/>
                          <a:pt x="417" y="1653"/>
                        </a:cubicBezTo>
                        <a:cubicBezTo>
                          <a:pt x="1" y="2652"/>
                          <a:pt x="231" y="3801"/>
                          <a:pt x="997" y="4567"/>
                        </a:cubicBezTo>
                        <a:cubicBezTo>
                          <a:pt x="1509" y="5080"/>
                          <a:pt x="2193" y="5350"/>
                          <a:pt x="2888" y="5350"/>
                        </a:cubicBezTo>
                        <a:cubicBezTo>
                          <a:pt x="3233" y="5350"/>
                          <a:pt x="3580" y="5284"/>
                          <a:pt x="3912" y="5147"/>
                        </a:cubicBezTo>
                        <a:cubicBezTo>
                          <a:pt x="4911" y="4731"/>
                          <a:pt x="5564" y="3757"/>
                          <a:pt x="5564" y="2678"/>
                        </a:cubicBezTo>
                        <a:cubicBezTo>
                          <a:pt x="5564" y="1200"/>
                          <a:pt x="4364" y="0"/>
                          <a:pt x="28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039" name="Google Shape;5039;p67"/>
              <p:cNvGrpSpPr/>
              <p:nvPr/>
            </p:nvGrpSpPr>
            <p:grpSpPr>
              <a:xfrm>
                <a:off x="785350" y="4047614"/>
                <a:ext cx="535311" cy="240783"/>
                <a:chOff x="785350" y="4047614"/>
                <a:chExt cx="535311" cy="240783"/>
              </a:xfrm>
            </p:grpSpPr>
            <p:grpSp>
              <p:nvGrpSpPr>
                <p:cNvPr id="5040" name="Google Shape;5040;p67"/>
                <p:cNvGrpSpPr/>
                <p:nvPr/>
              </p:nvGrpSpPr>
              <p:grpSpPr>
                <a:xfrm>
                  <a:off x="1161636" y="4047614"/>
                  <a:ext cx="159025" cy="190415"/>
                  <a:chOff x="1161636" y="4047614"/>
                  <a:chExt cx="159025" cy="190415"/>
                </a:xfrm>
              </p:grpSpPr>
              <p:sp>
                <p:nvSpPr>
                  <p:cNvPr id="5041" name="Google Shape;5041;p67"/>
                  <p:cNvSpPr/>
                  <p:nvPr/>
                </p:nvSpPr>
                <p:spPr>
                  <a:xfrm>
                    <a:off x="1293991" y="4047614"/>
                    <a:ext cx="26670" cy="25631"/>
                  </a:xfrm>
                  <a:custGeom>
                    <a:avLst/>
                    <a:gdLst/>
                    <a:ahLst/>
                    <a:cxnLst/>
                    <a:rect l="l" t="t" r="r" b="b"/>
                    <a:pathLst>
                      <a:path w="5565" h="5351" extrusionOk="0">
                        <a:moveTo>
                          <a:pt x="2890" y="1"/>
                        </a:moveTo>
                        <a:cubicBezTo>
                          <a:pt x="1807" y="1"/>
                          <a:pt x="833" y="654"/>
                          <a:pt x="417" y="1653"/>
                        </a:cubicBezTo>
                        <a:cubicBezTo>
                          <a:pt x="1" y="2653"/>
                          <a:pt x="231" y="3802"/>
                          <a:pt x="997" y="4568"/>
                        </a:cubicBezTo>
                        <a:cubicBezTo>
                          <a:pt x="1510" y="5078"/>
                          <a:pt x="2195" y="5350"/>
                          <a:pt x="2891" y="5350"/>
                        </a:cubicBezTo>
                        <a:cubicBezTo>
                          <a:pt x="3235" y="5350"/>
                          <a:pt x="3581" y="5284"/>
                          <a:pt x="3912" y="5148"/>
                        </a:cubicBezTo>
                        <a:cubicBezTo>
                          <a:pt x="4911" y="4732"/>
                          <a:pt x="5564" y="3758"/>
                          <a:pt x="5564" y="2675"/>
                        </a:cubicBezTo>
                        <a:cubicBezTo>
                          <a:pt x="5564" y="1197"/>
                          <a:pt x="4364" y="1"/>
                          <a:pt x="28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2" name="Google Shape;5042;p67"/>
                  <p:cNvSpPr/>
                  <p:nvPr/>
                </p:nvSpPr>
                <p:spPr>
                  <a:xfrm>
                    <a:off x="1161636" y="4073229"/>
                    <a:ext cx="146334" cy="164800"/>
                  </a:xfrm>
                  <a:custGeom>
                    <a:avLst/>
                    <a:gdLst/>
                    <a:ahLst/>
                    <a:cxnLst/>
                    <a:rect l="l" t="t" r="r" b="b"/>
                    <a:pathLst>
                      <a:path w="30534" h="34405" fill="none" extrusionOk="0">
                        <a:moveTo>
                          <a:pt x="0" y="34404"/>
                        </a:moveTo>
                        <a:lnTo>
                          <a:pt x="12611" y="34404"/>
                        </a:lnTo>
                        <a:cubicBezTo>
                          <a:pt x="15705" y="34404"/>
                          <a:pt x="16325" y="30939"/>
                          <a:pt x="16325" y="30939"/>
                        </a:cubicBezTo>
                        <a:lnTo>
                          <a:pt x="16325" y="7957"/>
                        </a:lnTo>
                        <a:lnTo>
                          <a:pt x="30534" y="7957"/>
                        </a:lnTo>
                        <a:lnTo>
                          <a:pt x="30534"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43" name="Google Shape;5043;p67"/>
                <p:cNvGrpSpPr/>
                <p:nvPr/>
              </p:nvGrpSpPr>
              <p:grpSpPr>
                <a:xfrm>
                  <a:off x="785350" y="4185661"/>
                  <a:ext cx="376191" cy="102736"/>
                  <a:chOff x="785350" y="4185661"/>
                  <a:chExt cx="376191" cy="102736"/>
                </a:xfrm>
              </p:grpSpPr>
              <p:sp>
                <p:nvSpPr>
                  <p:cNvPr id="5044" name="Google Shape;5044;p67"/>
                  <p:cNvSpPr/>
                  <p:nvPr/>
                </p:nvSpPr>
                <p:spPr>
                  <a:xfrm>
                    <a:off x="808023" y="4238011"/>
                    <a:ext cx="175636" cy="5"/>
                  </a:xfrm>
                  <a:custGeom>
                    <a:avLst/>
                    <a:gdLst/>
                    <a:ahLst/>
                    <a:cxnLst/>
                    <a:rect l="l" t="t" r="r" b="b"/>
                    <a:pathLst>
                      <a:path w="36648" h="1" fill="none" extrusionOk="0">
                        <a:moveTo>
                          <a:pt x="36648" y="0"/>
                        </a:moveTo>
                        <a:lnTo>
                          <a:pt x="1"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5" name="Google Shape;5045;p67"/>
                  <p:cNvSpPr/>
                  <p:nvPr/>
                </p:nvSpPr>
                <p:spPr>
                  <a:xfrm>
                    <a:off x="983648" y="4185661"/>
                    <a:ext cx="177893" cy="102736"/>
                  </a:xfrm>
                  <a:custGeom>
                    <a:avLst/>
                    <a:gdLst/>
                    <a:ahLst/>
                    <a:cxnLst/>
                    <a:rect l="l" t="t" r="r" b="b"/>
                    <a:pathLst>
                      <a:path w="37119" h="21448" extrusionOk="0">
                        <a:moveTo>
                          <a:pt x="4951" y="1"/>
                        </a:moveTo>
                        <a:cubicBezTo>
                          <a:pt x="2219" y="1"/>
                          <a:pt x="1" y="2679"/>
                          <a:pt x="1" y="5984"/>
                        </a:cubicBezTo>
                        <a:lnTo>
                          <a:pt x="1" y="15461"/>
                        </a:lnTo>
                        <a:cubicBezTo>
                          <a:pt x="1" y="18766"/>
                          <a:pt x="2219" y="21447"/>
                          <a:pt x="4951" y="21447"/>
                        </a:cubicBezTo>
                        <a:lnTo>
                          <a:pt x="32172" y="21447"/>
                        </a:lnTo>
                        <a:cubicBezTo>
                          <a:pt x="34904" y="21447"/>
                          <a:pt x="37119" y="18766"/>
                          <a:pt x="37119" y="15461"/>
                        </a:cubicBezTo>
                        <a:lnTo>
                          <a:pt x="37119" y="5984"/>
                        </a:lnTo>
                        <a:cubicBezTo>
                          <a:pt x="37119" y="2679"/>
                          <a:pt x="34904" y="1"/>
                          <a:pt x="32172" y="1"/>
                        </a:cubicBezTo>
                        <a:close/>
                      </a:path>
                    </a:pathLst>
                  </a:custGeom>
                  <a:solidFill>
                    <a:srgbClr val="E4E9ED"/>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46" name="Google Shape;5046;p67"/>
                  <p:cNvSpPr/>
                  <p:nvPr/>
                </p:nvSpPr>
                <p:spPr>
                  <a:xfrm>
                    <a:off x="785350" y="4224370"/>
                    <a:ext cx="26646" cy="25631"/>
                  </a:xfrm>
                  <a:custGeom>
                    <a:avLst/>
                    <a:gdLst/>
                    <a:ahLst/>
                    <a:cxnLst/>
                    <a:rect l="l" t="t" r="r" b="b"/>
                    <a:pathLst>
                      <a:path w="5560" h="5351" extrusionOk="0">
                        <a:moveTo>
                          <a:pt x="2674" y="0"/>
                        </a:moveTo>
                        <a:cubicBezTo>
                          <a:pt x="2328" y="0"/>
                          <a:pt x="1980" y="67"/>
                          <a:pt x="1649" y="203"/>
                        </a:cubicBezTo>
                        <a:cubicBezTo>
                          <a:pt x="650" y="619"/>
                          <a:pt x="0" y="1593"/>
                          <a:pt x="0" y="2677"/>
                        </a:cubicBezTo>
                        <a:cubicBezTo>
                          <a:pt x="0" y="4150"/>
                          <a:pt x="1197" y="5351"/>
                          <a:pt x="2674" y="5351"/>
                        </a:cubicBezTo>
                        <a:cubicBezTo>
                          <a:pt x="3754" y="5351"/>
                          <a:pt x="4732" y="4698"/>
                          <a:pt x="5144" y="3698"/>
                        </a:cubicBezTo>
                        <a:cubicBezTo>
                          <a:pt x="5560" y="2699"/>
                          <a:pt x="5330" y="1550"/>
                          <a:pt x="4568" y="783"/>
                        </a:cubicBezTo>
                        <a:cubicBezTo>
                          <a:pt x="4055" y="271"/>
                          <a:pt x="3370" y="0"/>
                          <a:pt x="2674" y="0"/>
                        </a:cubicBezTo>
                        <a:close/>
                      </a:path>
                    </a:pathLst>
                  </a:custGeom>
                  <a:solidFill>
                    <a:srgbClr val="E4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047" name="Google Shape;5047;p67"/>
              <p:cNvGrpSpPr/>
              <p:nvPr/>
            </p:nvGrpSpPr>
            <p:grpSpPr>
              <a:xfrm>
                <a:off x="1501054" y="3605478"/>
                <a:ext cx="526340" cy="249240"/>
                <a:chOff x="1501054" y="3605478"/>
                <a:chExt cx="526340" cy="249240"/>
              </a:xfrm>
            </p:grpSpPr>
            <p:grpSp>
              <p:nvGrpSpPr>
                <p:cNvPr id="5048" name="Google Shape;5048;p67"/>
                <p:cNvGrpSpPr/>
                <p:nvPr/>
              </p:nvGrpSpPr>
              <p:grpSpPr>
                <a:xfrm>
                  <a:off x="1834208" y="3643867"/>
                  <a:ext cx="193185" cy="25622"/>
                  <a:chOff x="1834208" y="3643867"/>
                  <a:chExt cx="193185" cy="25622"/>
                </a:xfrm>
              </p:grpSpPr>
              <p:sp>
                <p:nvSpPr>
                  <p:cNvPr id="5049" name="Google Shape;5049;p67"/>
                  <p:cNvSpPr/>
                  <p:nvPr/>
                </p:nvSpPr>
                <p:spPr>
                  <a:xfrm>
                    <a:off x="1834208" y="3655851"/>
                    <a:ext cx="167541" cy="5"/>
                  </a:xfrm>
                  <a:custGeom>
                    <a:avLst/>
                    <a:gdLst/>
                    <a:ahLst/>
                    <a:cxnLst/>
                    <a:rect l="l" t="t" r="r" b="b"/>
                    <a:pathLst>
                      <a:path w="34959" h="1" fill="none" extrusionOk="0">
                        <a:moveTo>
                          <a:pt x="1" y="1"/>
                        </a:moveTo>
                        <a:lnTo>
                          <a:pt x="34959"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0" name="Google Shape;5050;p67"/>
                  <p:cNvSpPr/>
                  <p:nvPr/>
                </p:nvSpPr>
                <p:spPr>
                  <a:xfrm>
                    <a:off x="2000728" y="3643867"/>
                    <a:ext cx="26665" cy="25622"/>
                  </a:xfrm>
                  <a:custGeom>
                    <a:avLst/>
                    <a:gdLst/>
                    <a:ahLst/>
                    <a:cxnLst/>
                    <a:rect l="l" t="t" r="r" b="b"/>
                    <a:pathLst>
                      <a:path w="5564" h="5349" extrusionOk="0">
                        <a:moveTo>
                          <a:pt x="2886" y="0"/>
                        </a:moveTo>
                        <a:cubicBezTo>
                          <a:pt x="1806" y="0"/>
                          <a:pt x="828" y="650"/>
                          <a:pt x="416" y="1649"/>
                        </a:cubicBezTo>
                        <a:cubicBezTo>
                          <a:pt x="0" y="2649"/>
                          <a:pt x="230" y="3802"/>
                          <a:pt x="996" y="4564"/>
                        </a:cubicBezTo>
                        <a:cubicBezTo>
                          <a:pt x="1506" y="5076"/>
                          <a:pt x="2190" y="5349"/>
                          <a:pt x="2887" y="5349"/>
                        </a:cubicBezTo>
                        <a:cubicBezTo>
                          <a:pt x="3232" y="5349"/>
                          <a:pt x="3580" y="5282"/>
                          <a:pt x="3911" y="5144"/>
                        </a:cubicBezTo>
                        <a:cubicBezTo>
                          <a:pt x="4911" y="4732"/>
                          <a:pt x="5560" y="3758"/>
                          <a:pt x="5563" y="2674"/>
                        </a:cubicBezTo>
                        <a:cubicBezTo>
                          <a:pt x="5560" y="1197"/>
                          <a:pt x="4363" y="0"/>
                          <a:pt x="2886"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51" name="Google Shape;5051;p67"/>
                <p:cNvGrpSpPr/>
                <p:nvPr/>
              </p:nvGrpSpPr>
              <p:grpSpPr>
                <a:xfrm>
                  <a:off x="1501054" y="3605478"/>
                  <a:ext cx="333165" cy="249240"/>
                  <a:chOff x="1501054" y="3605478"/>
                  <a:chExt cx="333165" cy="249240"/>
                </a:xfrm>
              </p:grpSpPr>
              <p:sp>
                <p:nvSpPr>
                  <p:cNvPr id="5052" name="Google Shape;5052;p67"/>
                  <p:cNvSpPr/>
                  <p:nvPr/>
                </p:nvSpPr>
                <p:spPr>
                  <a:xfrm>
                    <a:off x="1656330" y="3605478"/>
                    <a:ext cx="177888" cy="102736"/>
                  </a:xfrm>
                  <a:custGeom>
                    <a:avLst/>
                    <a:gdLst/>
                    <a:ahLst/>
                    <a:cxnLst/>
                    <a:rect l="l" t="t" r="r" b="b"/>
                    <a:pathLst>
                      <a:path w="37118" h="21448" extrusionOk="0">
                        <a:moveTo>
                          <a:pt x="4947" y="1"/>
                        </a:moveTo>
                        <a:cubicBezTo>
                          <a:pt x="2214" y="1"/>
                          <a:pt x="0" y="2682"/>
                          <a:pt x="0" y="5987"/>
                        </a:cubicBezTo>
                        <a:lnTo>
                          <a:pt x="0" y="15464"/>
                        </a:lnTo>
                        <a:cubicBezTo>
                          <a:pt x="0" y="18769"/>
                          <a:pt x="2214" y="21447"/>
                          <a:pt x="4950" y="21447"/>
                        </a:cubicBezTo>
                        <a:lnTo>
                          <a:pt x="32168" y="21447"/>
                        </a:lnTo>
                        <a:cubicBezTo>
                          <a:pt x="34900" y="21447"/>
                          <a:pt x="37118" y="18769"/>
                          <a:pt x="37118" y="15464"/>
                        </a:cubicBezTo>
                        <a:lnTo>
                          <a:pt x="37118" y="5987"/>
                        </a:lnTo>
                        <a:cubicBezTo>
                          <a:pt x="37118" y="2682"/>
                          <a:pt x="34900" y="1"/>
                          <a:pt x="32168" y="1"/>
                        </a:cubicBezTo>
                        <a:close/>
                      </a:path>
                    </a:pathLst>
                  </a:custGeom>
                  <a:solidFill>
                    <a:srgbClr val="A5B7C5"/>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053" name="Google Shape;5053;p67"/>
                  <p:cNvGrpSpPr/>
                  <p:nvPr/>
                </p:nvGrpSpPr>
                <p:grpSpPr>
                  <a:xfrm>
                    <a:off x="1501054" y="3655851"/>
                    <a:ext cx="155286" cy="198867"/>
                    <a:chOff x="1501054" y="3655851"/>
                    <a:chExt cx="155286" cy="198867"/>
                  </a:xfrm>
                </p:grpSpPr>
                <p:sp>
                  <p:nvSpPr>
                    <p:cNvPr id="5054" name="Google Shape;5054;p67"/>
                    <p:cNvSpPr/>
                    <p:nvPr/>
                  </p:nvSpPr>
                  <p:spPr>
                    <a:xfrm>
                      <a:off x="1516351" y="3655851"/>
                      <a:ext cx="139989" cy="186082"/>
                    </a:xfrm>
                    <a:custGeom>
                      <a:avLst/>
                      <a:gdLst/>
                      <a:ahLst/>
                      <a:cxnLst/>
                      <a:rect l="l" t="t" r="r" b="b"/>
                      <a:pathLst>
                        <a:path w="29210" h="38848" fill="none" extrusionOk="0">
                          <a:moveTo>
                            <a:pt x="29209" y="1"/>
                          </a:moveTo>
                          <a:lnTo>
                            <a:pt x="17922" y="1"/>
                          </a:lnTo>
                          <a:cubicBezTo>
                            <a:pt x="14829" y="1"/>
                            <a:pt x="14209" y="3466"/>
                            <a:pt x="14209" y="3466"/>
                          </a:cubicBezTo>
                          <a:lnTo>
                            <a:pt x="14209" y="26448"/>
                          </a:lnTo>
                          <a:lnTo>
                            <a:pt x="0" y="26448"/>
                          </a:lnTo>
                          <a:lnTo>
                            <a:pt x="0" y="38848"/>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5" name="Google Shape;5055;p67"/>
                    <p:cNvSpPr/>
                    <p:nvPr/>
                  </p:nvSpPr>
                  <p:spPr>
                    <a:xfrm>
                      <a:off x="1501054" y="3829092"/>
                      <a:ext cx="26646" cy="25626"/>
                    </a:xfrm>
                    <a:custGeom>
                      <a:avLst/>
                      <a:gdLst/>
                      <a:ahLst/>
                      <a:cxnLst/>
                      <a:rect l="l" t="t" r="r" b="b"/>
                      <a:pathLst>
                        <a:path w="5560" h="5350" extrusionOk="0">
                          <a:moveTo>
                            <a:pt x="2886" y="0"/>
                          </a:moveTo>
                          <a:cubicBezTo>
                            <a:pt x="1806" y="0"/>
                            <a:pt x="828" y="653"/>
                            <a:pt x="416" y="1653"/>
                          </a:cubicBezTo>
                          <a:cubicBezTo>
                            <a:pt x="0" y="2652"/>
                            <a:pt x="230" y="3801"/>
                            <a:pt x="996" y="4567"/>
                          </a:cubicBezTo>
                          <a:cubicBezTo>
                            <a:pt x="1507" y="5078"/>
                            <a:pt x="2192" y="5350"/>
                            <a:pt x="2890" y="5350"/>
                          </a:cubicBezTo>
                          <a:cubicBezTo>
                            <a:pt x="3234" y="5350"/>
                            <a:pt x="3581" y="5283"/>
                            <a:pt x="3911" y="5147"/>
                          </a:cubicBezTo>
                          <a:cubicBezTo>
                            <a:pt x="4910" y="4731"/>
                            <a:pt x="5560" y="3757"/>
                            <a:pt x="5560" y="2678"/>
                          </a:cubicBezTo>
                          <a:cubicBezTo>
                            <a:pt x="5560" y="1200"/>
                            <a:pt x="4363" y="0"/>
                            <a:pt x="2886"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5056" name="Google Shape;5056;p67"/>
              <p:cNvGrpSpPr/>
              <p:nvPr/>
            </p:nvGrpSpPr>
            <p:grpSpPr>
              <a:xfrm>
                <a:off x="724986" y="3800594"/>
                <a:ext cx="532950" cy="302090"/>
                <a:chOff x="724986" y="3800594"/>
                <a:chExt cx="532950" cy="302090"/>
              </a:xfrm>
            </p:grpSpPr>
            <p:grpSp>
              <p:nvGrpSpPr>
                <p:cNvPr id="5057" name="Google Shape;5057;p67"/>
                <p:cNvGrpSpPr/>
                <p:nvPr/>
              </p:nvGrpSpPr>
              <p:grpSpPr>
                <a:xfrm>
                  <a:off x="724986" y="4044367"/>
                  <a:ext cx="181314" cy="25626"/>
                  <a:chOff x="724986" y="4044367"/>
                  <a:chExt cx="181314" cy="25626"/>
                </a:xfrm>
              </p:grpSpPr>
              <p:sp>
                <p:nvSpPr>
                  <p:cNvPr id="5058" name="Google Shape;5058;p67"/>
                  <p:cNvSpPr/>
                  <p:nvPr/>
                </p:nvSpPr>
                <p:spPr>
                  <a:xfrm>
                    <a:off x="746695" y="4059966"/>
                    <a:ext cx="159605" cy="5"/>
                  </a:xfrm>
                  <a:custGeom>
                    <a:avLst/>
                    <a:gdLst/>
                    <a:ahLst/>
                    <a:cxnLst/>
                    <a:rect l="l" t="t" r="r" b="b"/>
                    <a:pathLst>
                      <a:path w="33303" h="1" fill="none" extrusionOk="0">
                        <a:moveTo>
                          <a:pt x="1" y="1"/>
                        </a:moveTo>
                        <a:lnTo>
                          <a:pt x="33303"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59" name="Google Shape;5059;p67"/>
                  <p:cNvSpPr/>
                  <p:nvPr/>
                </p:nvSpPr>
                <p:spPr>
                  <a:xfrm>
                    <a:off x="724986" y="4044367"/>
                    <a:ext cx="26646" cy="25626"/>
                  </a:xfrm>
                  <a:custGeom>
                    <a:avLst/>
                    <a:gdLst/>
                    <a:ahLst/>
                    <a:cxnLst/>
                    <a:rect l="l" t="t" r="r" b="b"/>
                    <a:pathLst>
                      <a:path w="5560" h="5350" extrusionOk="0">
                        <a:moveTo>
                          <a:pt x="2674" y="0"/>
                        </a:moveTo>
                        <a:cubicBezTo>
                          <a:pt x="1197" y="0"/>
                          <a:pt x="0" y="1197"/>
                          <a:pt x="0" y="2674"/>
                        </a:cubicBezTo>
                        <a:cubicBezTo>
                          <a:pt x="0" y="3758"/>
                          <a:pt x="653" y="4732"/>
                          <a:pt x="1653" y="5147"/>
                        </a:cubicBezTo>
                        <a:cubicBezTo>
                          <a:pt x="1983" y="5284"/>
                          <a:pt x="2329" y="5350"/>
                          <a:pt x="2673" y="5350"/>
                        </a:cubicBezTo>
                        <a:cubicBezTo>
                          <a:pt x="3369" y="5350"/>
                          <a:pt x="4054" y="5078"/>
                          <a:pt x="4567" y="4567"/>
                        </a:cubicBezTo>
                        <a:cubicBezTo>
                          <a:pt x="5330" y="3801"/>
                          <a:pt x="5559" y="2649"/>
                          <a:pt x="5147" y="1653"/>
                        </a:cubicBezTo>
                        <a:cubicBezTo>
                          <a:pt x="4731" y="653"/>
                          <a:pt x="3757" y="0"/>
                          <a:pt x="2674"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60" name="Google Shape;5060;p67"/>
                <p:cNvGrpSpPr/>
                <p:nvPr/>
              </p:nvGrpSpPr>
              <p:grpSpPr>
                <a:xfrm>
                  <a:off x="906290" y="3800594"/>
                  <a:ext cx="351646" cy="302090"/>
                  <a:chOff x="906290" y="3800594"/>
                  <a:chExt cx="351646" cy="302090"/>
                </a:xfrm>
              </p:grpSpPr>
              <p:grpSp>
                <p:nvGrpSpPr>
                  <p:cNvPr id="5061" name="Google Shape;5061;p67"/>
                  <p:cNvGrpSpPr/>
                  <p:nvPr/>
                </p:nvGrpSpPr>
                <p:grpSpPr>
                  <a:xfrm>
                    <a:off x="1084172" y="3842857"/>
                    <a:ext cx="173764" cy="217131"/>
                    <a:chOff x="1084172" y="3842857"/>
                    <a:chExt cx="173764" cy="217131"/>
                  </a:xfrm>
                </p:grpSpPr>
                <p:grpSp>
                  <p:nvGrpSpPr>
                    <p:cNvPr id="5062" name="Google Shape;5062;p67"/>
                    <p:cNvGrpSpPr/>
                    <p:nvPr/>
                  </p:nvGrpSpPr>
                  <p:grpSpPr>
                    <a:xfrm>
                      <a:off x="1156862" y="3936509"/>
                      <a:ext cx="101073" cy="25622"/>
                      <a:chOff x="1156862" y="3936509"/>
                      <a:chExt cx="101073" cy="25622"/>
                    </a:xfrm>
                  </p:grpSpPr>
                  <p:sp>
                    <p:nvSpPr>
                      <p:cNvPr id="5063" name="Google Shape;5063;p67"/>
                      <p:cNvSpPr/>
                      <p:nvPr/>
                    </p:nvSpPr>
                    <p:spPr>
                      <a:xfrm>
                        <a:off x="1156862" y="3936509"/>
                        <a:ext cx="26651" cy="25622"/>
                      </a:xfrm>
                      <a:custGeom>
                        <a:avLst/>
                        <a:gdLst/>
                        <a:ahLst/>
                        <a:cxnLst/>
                        <a:rect l="l" t="t" r="r" b="b"/>
                        <a:pathLst>
                          <a:path w="5561" h="5349" extrusionOk="0">
                            <a:moveTo>
                              <a:pt x="2886" y="1"/>
                            </a:moveTo>
                            <a:cubicBezTo>
                              <a:pt x="1803" y="1"/>
                              <a:pt x="829" y="650"/>
                              <a:pt x="413" y="1649"/>
                            </a:cubicBezTo>
                            <a:cubicBezTo>
                              <a:pt x="1" y="2649"/>
                              <a:pt x="227" y="3798"/>
                              <a:pt x="993" y="4564"/>
                            </a:cubicBezTo>
                            <a:cubicBezTo>
                              <a:pt x="1505" y="5076"/>
                              <a:pt x="2189" y="5349"/>
                              <a:pt x="2884" y="5349"/>
                            </a:cubicBezTo>
                            <a:cubicBezTo>
                              <a:pt x="3229" y="5349"/>
                              <a:pt x="3576" y="5282"/>
                              <a:pt x="3908" y="5144"/>
                            </a:cubicBezTo>
                            <a:cubicBezTo>
                              <a:pt x="4907" y="4732"/>
                              <a:pt x="5560" y="3758"/>
                              <a:pt x="5560" y="2674"/>
                            </a:cubicBezTo>
                            <a:cubicBezTo>
                              <a:pt x="5560" y="1197"/>
                              <a:pt x="4364" y="1"/>
                              <a:pt x="288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4" name="Google Shape;5064;p67"/>
                      <p:cNvSpPr/>
                      <p:nvPr/>
                    </p:nvSpPr>
                    <p:spPr>
                      <a:xfrm>
                        <a:off x="1173592" y="3951414"/>
                        <a:ext cx="84343" cy="5"/>
                      </a:xfrm>
                      <a:custGeom>
                        <a:avLst/>
                        <a:gdLst/>
                        <a:ahLst/>
                        <a:cxnLst/>
                        <a:rect l="l" t="t" r="r" b="b"/>
                        <a:pathLst>
                          <a:path w="17599" h="1" fill="none" extrusionOk="0">
                            <a:moveTo>
                              <a:pt x="17598" y="0"/>
                            </a:moveTo>
                            <a:lnTo>
                              <a:pt x="1" y="0"/>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065" name="Google Shape;5065;p67"/>
                    <p:cNvSpPr/>
                    <p:nvPr/>
                  </p:nvSpPr>
                  <p:spPr>
                    <a:xfrm>
                      <a:off x="1084172" y="3842857"/>
                      <a:ext cx="86476" cy="217131"/>
                    </a:xfrm>
                    <a:custGeom>
                      <a:avLst/>
                      <a:gdLst/>
                      <a:ahLst/>
                      <a:cxnLst/>
                      <a:rect l="l" t="t" r="r" b="b"/>
                      <a:pathLst>
                        <a:path w="18044" h="45330" fill="none" extrusionOk="0">
                          <a:moveTo>
                            <a:pt x="0" y="45330"/>
                          </a:moveTo>
                          <a:lnTo>
                            <a:pt x="12418" y="45330"/>
                          </a:lnTo>
                          <a:cubicBezTo>
                            <a:pt x="15150" y="45330"/>
                            <a:pt x="18043" y="42619"/>
                            <a:pt x="18043" y="35634"/>
                          </a:cubicBezTo>
                          <a:lnTo>
                            <a:pt x="18043" y="9697"/>
                          </a:lnTo>
                          <a:cubicBezTo>
                            <a:pt x="18043" y="2711"/>
                            <a:pt x="15150" y="1"/>
                            <a:pt x="12418" y="1"/>
                          </a:cubicBezTo>
                          <a:lnTo>
                            <a:pt x="1715"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066" name="Google Shape;5066;p67"/>
                  <p:cNvSpPr/>
                  <p:nvPr/>
                </p:nvSpPr>
                <p:spPr>
                  <a:xfrm>
                    <a:off x="906290" y="3999967"/>
                    <a:ext cx="177893" cy="102717"/>
                  </a:xfrm>
                  <a:custGeom>
                    <a:avLst/>
                    <a:gdLst/>
                    <a:ahLst/>
                    <a:cxnLst/>
                    <a:rect l="l" t="t" r="r" b="b"/>
                    <a:pathLst>
                      <a:path w="37119" h="21444" extrusionOk="0">
                        <a:moveTo>
                          <a:pt x="4947" y="1"/>
                        </a:moveTo>
                        <a:cubicBezTo>
                          <a:pt x="2215" y="1"/>
                          <a:pt x="1" y="2678"/>
                          <a:pt x="1" y="5983"/>
                        </a:cubicBezTo>
                        <a:lnTo>
                          <a:pt x="1" y="15461"/>
                        </a:lnTo>
                        <a:cubicBezTo>
                          <a:pt x="1" y="18766"/>
                          <a:pt x="2215" y="21443"/>
                          <a:pt x="4947" y="21443"/>
                        </a:cubicBezTo>
                        <a:lnTo>
                          <a:pt x="32168" y="21443"/>
                        </a:lnTo>
                        <a:cubicBezTo>
                          <a:pt x="34901" y="21443"/>
                          <a:pt x="37118" y="18766"/>
                          <a:pt x="37118" y="15461"/>
                        </a:cubicBezTo>
                        <a:lnTo>
                          <a:pt x="37118" y="5983"/>
                        </a:lnTo>
                        <a:cubicBezTo>
                          <a:pt x="37118" y="2678"/>
                          <a:pt x="34901" y="1"/>
                          <a:pt x="32168" y="1"/>
                        </a:cubicBezTo>
                        <a:close/>
                      </a:path>
                    </a:pathLst>
                  </a:custGeom>
                  <a:solidFill>
                    <a:srgbClr val="667E92"/>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67" name="Google Shape;5067;p67"/>
                  <p:cNvSpPr/>
                  <p:nvPr/>
                </p:nvSpPr>
                <p:spPr>
                  <a:xfrm>
                    <a:off x="914509" y="3800594"/>
                    <a:ext cx="177888" cy="102731"/>
                  </a:xfrm>
                  <a:custGeom>
                    <a:avLst/>
                    <a:gdLst/>
                    <a:ahLst/>
                    <a:cxnLst/>
                    <a:rect l="l" t="t" r="r" b="b"/>
                    <a:pathLst>
                      <a:path w="37118" h="21447" extrusionOk="0">
                        <a:moveTo>
                          <a:pt x="4951" y="0"/>
                        </a:moveTo>
                        <a:cubicBezTo>
                          <a:pt x="2218" y="0"/>
                          <a:pt x="0" y="2678"/>
                          <a:pt x="0" y="5983"/>
                        </a:cubicBezTo>
                        <a:lnTo>
                          <a:pt x="0" y="15460"/>
                        </a:lnTo>
                        <a:cubicBezTo>
                          <a:pt x="0" y="18765"/>
                          <a:pt x="2215" y="21446"/>
                          <a:pt x="4951" y="21446"/>
                        </a:cubicBezTo>
                        <a:lnTo>
                          <a:pt x="32168" y="21446"/>
                        </a:lnTo>
                        <a:cubicBezTo>
                          <a:pt x="34900" y="21446"/>
                          <a:pt x="37118" y="18765"/>
                          <a:pt x="37118" y="15460"/>
                        </a:cubicBezTo>
                        <a:lnTo>
                          <a:pt x="37118" y="5983"/>
                        </a:lnTo>
                        <a:cubicBezTo>
                          <a:pt x="37118" y="2678"/>
                          <a:pt x="34900" y="0"/>
                          <a:pt x="32168" y="0"/>
                        </a:cubicBezTo>
                        <a:close/>
                      </a:path>
                    </a:pathLst>
                  </a:custGeom>
                  <a:solidFill>
                    <a:srgbClr val="E6EBEF"/>
                  </a:solidFill>
                  <a:ln w="9525" cap="flat" cmpd="sng">
                    <a:solidFill>
                      <a:srgbClr val="CFD9E0"/>
                    </a:solidFill>
                    <a:prstDash val="solid"/>
                    <a:miter lim="364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068" name="Google Shape;5068;p67"/>
                <p:cNvGrpSpPr/>
                <p:nvPr/>
              </p:nvGrpSpPr>
              <p:grpSpPr>
                <a:xfrm>
                  <a:off x="724986" y="3830189"/>
                  <a:ext cx="189533" cy="25626"/>
                  <a:chOff x="724986" y="3830189"/>
                  <a:chExt cx="189533" cy="25626"/>
                </a:xfrm>
              </p:grpSpPr>
              <p:sp>
                <p:nvSpPr>
                  <p:cNvPr id="5069" name="Google Shape;5069;p67"/>
                  <p:cNvSpPr/>
                  <p:nvPr/>
                </p:nvSpPr>
                <p:spPr>
                  <a:xfrm>
                    <a:off x="724986" y="3830189"/>
                    <a:ext cx="26646" cy="25626"/>
                  </a:xfrm>
                  <a:custGeom>
                    <a:avLst/>
                    <a:gdLst/>
                    <a:ahLst/>
                    <a:cxnLst/>
                    <a:rect l="l" t="t" r="r" b="b"/>
                    <a:pathLst>
                      <a:path w="5560" h="5350" extrusionOk="0">
                        <a:moveTo>
                          <a:pt x="2674" y="1"/>
                        </a:moveTo>
                        <a:cubicBezTo>
                          <a:pt x="1197" y="1"/>
                          <a:pt x="0" y="1197"/>
                          <a:pt x="0" y="2675"/>
                        </a:cubicBezTo>
                        <a:cubicBezTo>
                          <a:pt x="0" y="3758"/>
                          <a:pt x="653" y="4732"/>
                          <a:pt x="1653" y="5144"/>
                        </a:cubicBezTo>
                        <a:cubicBezTo>
                          <a:pt x="1984" y="5282"/>
                          <a:pt x="2331" y="5349"/>
                          <a:pt x="2676" y="5349"/>
                        </a:cubicBezTo>
                        <a:cubicBezTo>
                          <a:pt x="3371" y="5349"/>
                          <a:pt x="4055" y="5077"/>
                          <a:pt x="4567" y="4564"/>
                        </a:cubicBezTo>
                        <a:cubicBezTo>
                          <a:pt x="5330" y="3802"/>
                          <a:pt x="5559" y="2649"/>
                          <a:pt x="5147" y="1650"/>
                        </a:cubicBezTo>
                        <a:cubicBezTo>
                          <a:pt x="4731" y="650"/>
                          <a:pt x="3757" y="1"/>
                          <a:pt x="2674" y="1"/>
                        </a:cubicBezTo>
                        <a:close/>
                      </a:path>
                    </a:pathLst>
                  </a:custGeom>
                  <a:solidFill>
                    <a:srgbClr val="E6EBE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0" name="Google Shape;5070;p67"/>
                  <p:cNvSpPr/>
                  <p:nvPr/>
                </p:nvSpPr>
                <p:spPr>
                  <a:xfrm>
                    <a:off x="746695" y="3842838"/>
                    <a:ext cx="167824" cy="5"/>
                  </a:xfrm>
                  <a:custGeom>
                    <a:avLst/>
                    <a:gdLst/>
                    <a:ahLst/>
                    <a:cxnLst/>
                    <a:rect l="l" t="t" r="r" b="b"/>
                    <a:pathLst>
                      <a:path w="35018" h="1" fill="none" extrusionOk="0">
                        <a:moveTo>
                          <a:pt x="35017" y="1"/>
                        </a:moveTo>
                        <a:lnTo>
                          <a:pt x="1" y="1"/>
                        </a:lnTo>
                      </a:path>
                    </a:pathLst>
                  </a:custGeom>
                  <a:noFill/>
                  <a:ln w="9525" cap="rnd" cmpd="sng">
                    <a:solidFill>
                      <a:srgbClr val="CFD9E0"/>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grpSp>
        <p:nvGrpSpPr>
          <p:cNvPr id="5071" name="Google Shape;5071;p67"/>
          <p:cNvGrpSpPr/>
          <p:nvPr/>
        </p:nvGrpSpPr>
        <p:grpSpPr>
          <a:xfrm>
            <a:off x="3004398" y="3274187"/>
            <a:ext cx="1264935" cy="1247171"/>
            <a:chOff x="2253298" y="2428317"/>
            <a:chExt cx="948701" cy="935378"/>
          </a:xfrm>
        </p:grpSpPr>
        <p:sp>
          <p:nvSpPr>
            <p:cNvPr id="5072" name="Google Shape;5072;p67"/>
            <p:cNvSpPr/>
            <p:nvPr/>
          </p:nvSpPr>
          <p:spPr>
            <a:xfrm>
              <a:off x="2418065" y="2799334"/>
              <a:ext cx="619167" cy="193359"/>
            </a:xfrm>
            <a:custGeom>
              <a:avLst/>
              <a:gdLst/>
              <a:ahLst/>
              <a:cxnLst/>
              <a:rect l="l" t="t" r="r" b="b"/>
              <a:pathLst>
                <a:path w="116549" h="36397" extrusionOk="0">
                  <a:moveTo>
                    <a:pt x="18199" y="1"/>
                  </a:moveTo>
                  <a:cubicBezTo>
                    <a:pt x="8148" y="1"/>
                    <a:pt x="1" y="8148"/>
                    <a:pt x="1" y="18198"/>
                  </a:cubicBezTo>
                  <a:cubicBezTo>
                    <a:pt x="1" y="28249"/>
                    <a:pt x="8148" y="36396"/>
                    <a:pt x="18199" y="36396"/>
                  </a:cubicBezTo>
                  <a:lnTo>
                    <a:pt x="98350" y="36396"/>
                  </a:lnTo>
                  <a:cubicBezTo>
                    <a:pt x="108401" y="36396"/>
                    <a:pt x="116548" y="28249"/>
                    <a:pt x="116548" y="18198"/>
                  </a:cubicBezTo>
                  <a:cubicBezTo>
                    <a:pt x="116548" y="8148"/>
                    <a:pt x="108401" y="1"/>
                    <a:pt x="98350"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3" name="Google Shape;5073;p67"/>
            <p:cNvSpPr/>
            <p:nvPr/>
          </p:nvSpPr>
          <p:spPr>
            <a:xfrm>
              <a:off x="2373234" y="2761962"/>
              <a:ext cx="248482" cy="268106"/>
            </a:xfrm>
            <a:custGeom>
              <a:avLst/>
              <a:gdLst/>
              <a:ahLst/>
              <a:cxnLst/>
              <a:rect l="l" t="t" r="r" b="b"/>
              <a:pathLst>
                <a:path w="46773" h="50467" extrusionOk="0">
                  <a:moveTo>
                    <a:pt x="25232" y="1"/>
                  </a:moveTo>
                  <a:cubicBezTo>
                    <a:pt x="11319" y="1"/>
                    <a:pt x="0" y="11322"/>
                    <a:pt x="0" y="25233"/>
                  </a:cubicBezTo>
                  <a:cubicBezTo>
                    <a:pt x="0" y="39146"/>
                    <a:pt x="11319" y="50466"/>
                    <a:pt x="25232" y="50466"/>
                  </a:cubicBezTo>
                  <a:lnTo>
                    <a:pt x="46773" y="50466"/>
                  </a:lnTo>
                  <a:lnTo>
                    <a:pt x="46773" y="49007"/>
                  </a:lnTo>
                  <a:lnTo>
                    <a:pt x="25232" y="49007"/>
                  </a:lnTo>
                  <a:cubicBezTo>
                    <a:pt x="12124" y="49007"/>
                    <a:pt x="1456" y="38344"/>
                    <a:pt x="1456" y="25233"/>
                  </a:cubicBezTo>
                  <a:cubicBezTo>
                    <a:pt x="1456" y="12123"/>
                    <a:pt x="12124" y="1457"/>
                    <a:pt x="25232" y="1457"/>
                  </a:cubicBezTo>
                  <a:lnTo>
                    <a:pt x="46773" y="1457"/>
                  </a:lnTo>
                  <a:lnTo>
                    <a:pt x="46773" y="1"/>
                  </a:lnTo>
                  <a:close/>
                </a:path>
              </a:pathLst>
            </a:custGeom>
            <a:solidFill>
              <a:srgbClr val="96979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4" name="Google Shape;5074;p67"/>
            <p:cNvSpPr/>
            <p:nvPr/>
          </p:nvSpPr>
          <p:spPr>
            <a:xfrm>
              <a:off x="2726356" y="3024889"/>
              <a:ext cx="2582" cy="99328"/>
            </a:xfrm>
            <a:custGeom>
              <a:avLst/>
              <a:gdLst/>
              <a:ahLst/>
              <a:cxnLst/>
              <a:rect l="l" t="t" r="r" b="b"/>
              <a:pathLst>
                <a:path w="486" h="18697" extrusionOk="0">
                  <a:moveTo>
                    <a:pt x="243" y="1"/>
                  </a:moveTo>
                  <a:cubicBezTo>
                    <a:pt x="108" y="1"/>
                    <a:pt x="1" y="109"/>
                    <a:pt x="1" y="243"/>
                  </a:cubicBezTo>
                  <a:lnTo>
                    <a:pt x="1" y="18455"/>
                  </a:lnTo>
                  <a:cubicBezTo>
                    <a:pt x="1" y="18588"/>
                    <a:pt x="108" y="18697"/>
                    <a:pt x="243" y="18697"/>
                  </a:cubicBezTo>
                  <a:cubicBezTo>
                    <a:pt x="377" y="18697"/>
                    <a:pt x="485" y="18588"/>
                    <a:pt x="485" y="18455"/>
                  </a:cubicBezTo>
                  <a:lnTo>
                    <a:pt x="485" y="243"/>
                  </a:lnTo>
                  <a:cubicBezTo>
                    <a:pt x="485" y="109"/>
                    <a:pt x="377" y="1"/>
                    <a:pt x="243"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5" name="Google Shape;5075;p67"/>
            <p:cNvSpPr/>
            <p:nvPr/>
          </p:nvSpPr>
          <p:spPr>
            <a:xfrm>
              <a:off x="2785174" y="3024884"/>
              <a:ext cx="287220" cy="99333"/>
            </a:xfrm>
            <a:custGeom>
              <a:avLst/>
              <a:gdLst/>
              <a:ahLst/>
              <a:cxnLst/>
              <a:rect l="l" t="t" r="r" b="b"/>
              <a:pathLst>
                <a:path w="54065" h="18698" extrusionOk="0">
                  <a:moveTo>
                    <a:pt x="242" y="0"/>
                  </a:moveTo>
                  <a:cubicBezTo>
                    <a:pt x="109" y="0"/>
                    <a:pt x="0" y="109"/>
                    <a:pt x="0" y="242"/>
                  </a:cubicBezTo>
                  <a:lnTo>
                    <a:pt x="0" y="5286"/>
                  </a:lnTo>
                  <a:cubicBezTo>
                    <a:pt x="0" y="8843"/>
                    <a:pt x="2895" y="11736"/>
                    <a:pt x="6451" y="11736"/>
                  </a:cubicBezTo>
                  <a:lnTo>
                    <a:pt x="46862" y="11736"/>
                  </a:lnTo>
                  <a:cubicBezTo>
                    <a:pt x="50567" y="11736"/>
                    <a:pt x="53580" y="14751"/>
                    <a:pt x="53580" y="18456"/>
                  </a:cubicBezTo>
                  <a:cubicBezTo>
                    <a:pt x="53580" y="18589"/>
                    <a:pt x="53689" y="18698"/>
                    <a:pt x="53822" y="18698"/>
                  </a:cubicBezTo>
                  <a:cubicBezTo>
                    <a:pt x="53957" y="18698"/>
                    <a:pt x="54064" y="18589"/>
                    <a:pt x="54063" y="18456"/>
                  </a:cubicBezTo>
                  <a:cubicBezTo>
                    <a:pt x="54063" y="14484"/>
                    <a:pt x="50831" y="11250"/>
                    <a:pt x="46858" y="11250"/>
                  </a:cubicBezTo>
                  <a:lnTo>
                    <a:pt x="6449" y="11250"/>
                  </a:lnTo>
                  <a:cubicBezTo>
                    <a:pt x="3160" y="11250"/>
                    <a:pt x="484" y="8576"/>
                    <a:pt x="484" y="5286"/>
                  </a:cubicBezTo>
                  <a:lnTo>
                    <a:pt x="484" y="242"/>
                  </a:lnTo>
                  <a:cubicBezTo>
                    <a:pt x="484" y="109"/>
                    <a:pt x="376" y="0"/>
                    <a:pt x="242"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6" name="Google Shape;5076;p67"/>
            <p:cNvSpPr/>
            <p:nvPr/>
          </p:nvSpPr>
          <p:spPr>
            <a:xfrm>
              <a:off x="2382903" y="3024884"/>
              <a:ext cx="287215" cy="99333"/>
            </a:xfrm>
            <a:custGeom>
              <a:avLst/>
              <a:gdLst/>
              <a:ahLst/>
              <a:cxnLst/>
              <a:rect l="l" t="t" r="r" b="b"/>
              <a:pathLst>
                <a:path w="54064" h="18698" extrusionOk="0">
                  <a:moveTo>
                    <a:pt x="53821" y="0"/>
                  </a:moveTo>
                  <a:cubicBezTo>
                    <a:pt x="53686" y="0"/>
                    <a:pt x="53579" y="109"/>
                    <a:pt x="53579" y="242"/>
                  </a:cubicBezTo>
                  <a:lnTo>
                    <a:pt x="53579" y="5286"/>
                  </a:lnTo>
                  <a:cubicBezTo>
                    <a:pt x="53579" y="8576"/>
                    <a:pt x="50903" y="11250"/>
                    <a:pt x="47614" y="11250"/>
                  </a:cubicBezTo>
                  <a:lnTo>
                    <a:pt x="7205" y="11250"/>
                  </a:lnTo>
                  <a:cubicBezTo>
                    <a:pt x="3232" y="11250"/>
                    <a:pt x="0" y="14484"/>
                    <a:pt x="0" y="18456"/>
                  </a:cubicBezTo>
                  <a:cubicBezTo>
                    <a:pt x="0" y="18589"/>
                    <a:pt x="109" y="18698"/>
                    <a:pt x="242" y="18698"/>
                  </a:cubicBezTo>
                  <a:cubicBezTo>
                    <a:pt x="376" y="18698"/>
                    <a:pt x="485" y="18589"/>
                    <a:pt x="485" y="18456"/>
                  </a:cubicBezTo>
                  <a:cubicBezTo>
                    <a:pt x="485" y="14751"/>
                    <a:pt x="3499" y="11736"/>
                    <a:pt x="7202" y="11736"/>
                  </a:cubicBezTo>
                  <a:lnTo>
                    <a:pt x="47612" y="11736"/>
                  </a:lnTo>
                  <a:cubicBezTo>
                    <a:pt x="51169" y="11736"/>
                    <a:pt x="54063" y="8843"/>
                    <a:pt x="54063" y="5286"/>
                  </a:cubicBezTo>
                  <a:lnTo>
                    <a:pt x="54063" y="242"/>
                  </a:lnTo>
                  <a:cubicBezTo>
                    <a:pt x="54063" y="109"/>
                    <a:pt x="53955" y="0"/>
                    <a:pt x="53821"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7" name="Google Shape;5077;p67"/>
            <p:cNvSpPr/>
            <p:nvPr/>
          </p:nvSpPr>
          <p:spPr>
            <a:xfrm>
              <a:off x="2596756" y="3151259"/>
              <a:ext cx="261784" cy="212436"/>
            </a:xfrm>
            <a:custGeom>
              <a:avLst/>
              <a:gdLst/>
              <a:ahLst/>
              <a:cxnLst/>
              <a:rect l="l" t="t" r="r" b="b"/>
              <a:pathLst>
                <a:path w="49277" h="39988" extrusionOk="0">
                  <a:moveTo>
                    <a:pt x="7996" y="0"/>
                  </a:moveTo>
                  <a:cubicBezTo>
                    <a:pt x="3580" y="0"/>
                    <a:pt x="0" y="3579"/>
                    <a:pt x="0" y="7995"/>
                  </a:cubicBezTo>
                  <a:lnTo>
                    <a:pt x="0" y="31993"/>
                  </a:lnTo>
                  <a:cubicBezTo>
                    <a:pt x="0" y="36409"/>
                    <a:pt x="3580" y="39988"/>
                    <a:pt x="7996" y="39988"/>
                  </a:cubicBezTo>
                  <a:lnTo>
                    <a:pt x="41280" y="39988"/>
                  </a:lnTo>
                  <a:cubicBezTo>
                    <a:pt x="45697" y="39988"/>
                    <a:pt x="49277" y="36409"/>
                    <a:pt x="49277" y="31993"/>
                  </a:cubicBezTo>
                  <a:lnTo>
                    <a:pt x="49277" y="7995"/>
                  </a:lnTo>
                  <a:cubicBezTo>
                    <a:pt x="49277" y="3579"/>
                    <a:pt x="45697" y="0"/>
                    <a:pt x="4128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8" name="Google Shape;5078;p67"/>
            <p:cNvSpPr/>
            <p:nvPr/>
          </p:nvSpPr>
          <p:spPr>
            <a:xfrm>
              <a:off x="2940204" y="3151259"/>
              <a:ext cx="261795" cy="212436"/>
            </a:xfrm>
            <a:custGeom>
              <a:avLst/>
              <a:gdLst/>
              <a:ahLst/>
              <a:cxnLst/>
              <a:rect l="l" t="t" r="r" b="b"/>
              <a:pathLst>
                <a:path w="49279" h="39988" extrusionOk="0">
                  <a:moveTo>
                    <a:pt x="7995" y="0"/>
                  </a:moveTo>
                  <a:cubicBezTo>
                    <a:pt x="3580" y="0"/>
                    <a:pt x="0" y="3579"/>
                    <a:pt x="0" y="7995"/>
                  </a:cubicBezTo>
                  <a:lnTo>
                    <a:pt x="0" y="31993"/>
                  </a:lnTo>
                  <a:cubicBezTo>
                    <a:pt x="0" y="36409"/>
                    <a:pt x="3580" y="39988"/>
                    <a:pt x="7995" y="39988"/>
                  </a:cubicBezTo>
                  <a:lnTo>
                    <a:pt x="41282" y="39988"/>
                  </a:lnTo>
                  <a:cubicBezTo>
                    <a:pt x="45698" y="39988"/>
                    <a:pt x="49278" y="36409"/>
                    <a:pt x="49278" y="31993"/>
                  </a:cubicBezTo>
                  <a:lnTo>
                    <a:pt x="49278" y="7995"/>
                  </a:lnTo>
                  <a:cubicBezTo>
                    <a:pt x="49278" y="3579"/>
                    <a:pt x="45698" y="0"/>
                    <a:pt x="41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79" name="Google Shape;5079;p67"/>
            <p:cNvSpPr/>
            <p:nvPr/>
          </p:nvSpPr>
          <p:spPr>
            <a:xfrm>
              <a:off x="2253298" y="3151259"/>
              <a:ext cx="261795" cy="212436"/>
            </a:xfrm>
            <a:custGeom>
              <a:avLst/>
              <a:gdLst/>
              <a:ahLst/>
              <a:cxnLst/>
              <a:rect l="l" t="t" r="r" b="b"/>
              <a:pathLst>
                <a:path w="49279" h="39988" extrusionOk="0">
                  <a:moveTo>
                    <a:pt x="7997" y="0"/>
                  </a:moveTo>
                  <a:cubicBezTo>
                    <a:pt x="3580" y="0"/>
                    <a:pt x="0" y="3579"/>
                    <a:pt x="0" y="7995"/>
                  </a:cubicBezTo>
                  <a:lnTo>
                    <a:pt x="0" y="31993"/>
                  </a:lnTo>
                  <a:cubicBezTo>
                    <a:pt x="0" y="36409"/>
                    <a:pt x="3580" y="39988"/>
                    <a:pt x="7997" y="39988"/>
                  </a:cubicBezTo>
                  <a:lnTo>
                    <a:pt x="41282" y="39988"/>
                  </a:lnTo>
                  <a:cubicBezTo>
                    <a:pt x="45697" y="39988"/>
                    <a:pt x="49277" y="36409"/>
                    <a:pt x="49277" y="31993"/>
                  </a:cubicBezTo>
                  <a:lnTo>
                    <a:pt x="49277" y="7995"/>
                  </a:lnTo>
                  <a:cubicBezTo>
                    <a:pt x="49278" y="3579"/>
                    <a:pt x="45697" y="0"/>
                    <a:pt x="41282"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0" name="Google Shape;5080;p67"/>
            <p:cNvSpPr/>
            <p:nvPr/>
          </p:nvSpPr>
          <p:spPr>
            <a:xfrm>
              <a:off x="2718685" y="3113966"/>
              <a:ext cx="17919" cy="17924"/>
            </a:xfrm>
            <a:custGeom>
              <a:avLst/>
              <a:gdLst/>
              <a:ahLst/>
              <a:cxnLst/>
              <a:rect l="l" t="t" r="r" b="b"/>
              <a:pathLst>
                <a:path w="3373" h="3374" extrusionOk="0">
                  <a:moveTo>
                    <a:pt x="1687" y="0"/>
                  </a:moveTo>
                  <a:cubicBezTo>
                    <a:pt x="755" y="0"/>
                    <a:pt x="1" y="755"/>
                    <a:pt x="1" y="1687"/>
                  </a:cubicBezTo>
                  <a:cubicBezTo>
                    <a:pt x="1" y="2619"/>
                    <a:pt x="755" y="3373"/>
                    <a:pt x="1687" y="3373"/>
                  </a:cubicBezTo>
                  <a:cubicBezTo>
                    <a:pt x="2618" y="3373"/>
                    <a:pt x="3372" y="2619"/>
                    <a:pt x="3372" y="1687"/>
                  </a:cubicBezTo>
                  <a:cubicBezTo>
                    <a:pt x="3372" y="755"/>
                    <a:pt x="2618"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1" name="Google Shape;5081;p67"/>
            <p:cNvSpPr/>
            <p:nvPr/>
          </p:nvSpPr>
          <p:spPr>
            <a:xfrm>
              <a:off x="3062128" y="3113966"/>
              <a:ext cx="17924" cy="17924"/>
            </a:xfrm>
            <a:custGeom>
              <a:avLst/>
              <a:gdLst/>
              <a:ahLst/>
              <a:cxnLst/>
              <a:rect l="l" t="t" r="r" b="b"/>
              <a:pathLst>
                <a:path w="3374" h="3374" extrusionOk="0">
                  <a:moveTo>
                    <a:pt x="1687" y="0"/>
                  </a:moveTo>
                  <a:cubicBezTo>
                    <a:pt x="755" y="0"/>
                    <a:pt x="0" y="755"/>
                    <a:pt x="0" y="1687"/>
                  </a:cubicBezTo>
                  <a:cubicBezTo>
                    <a:pt x="0" y="2619"/>
                    <a:pt x="755" y="3373"/>
                    <a:pt x="1687" y="3373"/>
                  </a:cubicBezTo>
                  <a:cubicBezTo>
                    <a:pt x="2619" y="3373"/>
                    <a:pt x="3373" y="2619"/>
                    <a:pt x="3373" y="1687"/>
                  </a:cubicBezTo>
                  <a:cubicBezTo>
                    <a:pt x="3373" y="755"/>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2" name="Google Shape;5082;p67"/>
            <p:cNvSpPr/>
            <p:nvPr/>
          </p:nvSpPr>
          <p:spPr>
            <a:xfrm>
              <a:off x="2375226" y="3113966"/>
              <a:ext cx="17924" cy="17924"/>
            </a:xfrm>
            <a:custGeom>
              <a:avLst/>
              <a:gdLst/>
              <a:ahLst/>
              <a:cxnLst/>
              <a:rect l="l" t="t" r="r" b="b"/>
              <a:pathLst>
                <a:path w="3374" h="3374" extrusionOk="0">
                  <a:moveTo>
                    <a:pt x="1687" y="0"/>
                  </a:moveTo>
                  <a:cubicBezTo>
                    <a:pt x="755" y="0"/>
                    <a:pt x="1" y="755"/>
                    <a:pt x="1" y="1687"/>
                  </a:cubicBezTo>
                  <a:cubicBezTo>
                    <a:pt x="1" y="2619"/>
                    <a:pt x="755" y="3373"/>
                    <a:pt x="1687" y="3373"/>
                  </a:cubicBezTo>
                  <a:cubicBezTo>
                    <a:pt x="2619" y="3373"/>
                    <a:pt x="3374" y="2619"/>
                    <a:pt x="3374" y="1687"/>
                  </a:cubicBezTo>
                  <a:cubicBezTo>
                    <a:pt x="3374" y="755"/>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3" name="Google Shape;5083;p67"/>
            <p:cNvSpPr/>
            <p:nvPr/>
          </p:nvSpPr>
          <p:spPr>
            <a:xfrm>
              <a:off x="2718685" y="3017224"/>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8"/>
                    <a:pt x="3372" y="1686"/>
                  </a:cubicBezTo>
                  <a:cubicBezTo>
                    <a:pt x="3372" y="754"/>
                    <a:pt x="2618"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4" name="Google Shape;5084;p67"/>
            <p:cNvSpPr/>
            <p:nvPr/>
          </p:nvSpPr>
          <p:spPr>
            <a:xfrm>
              <a:off x="2777509" y="3017224"/>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8"/>
                    <a:pt x="3372" y="1686"/>
                  </a:cubicBezTo>
                  <a:cubicBezTo>
                    <a:pt x="3372" y="754"/>
                    <a:pt x="2617" y="1"/>
                    <a:pt x="1685"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5" name="Google Shape;5085;p67"/>
            <p:cNvSpPr/>
            <p:nvPr/>
          </p:nvSpPr>
          <p:spPr>
            <a:xfrm>
              <a:off x="2659856" y="3017224"/>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8"/>
                    <a:pt x="3372" y="1686"/>
                  </a:cubicBezTo>
                  <a:cubicBezTo>
                    <a:pt x="3372" y="754"/>
                    <a:pt x="2619"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6" name="Google Shape;5086;p67"/>
            <p:cNvSpPr/>
            <p:nvPr/>
          </p:nvSpPr>
          <p:spPr>
            <a:xfrm>
              <a:off x="2726356" y="2667807"/>
              <a:ext cx="2582" cy="99322"/>
            </a:xfrm>
            <a:custGeom>
              <a:avLst/>
              <a:gdLst/>
              <a:ahLst/>
              <a:cxnLst/>
              <a:rect l="l" t="t" r="r" b="b"/>
              <a:pathLst>
                <a:path w="486" h="18696" extrusionOk="0">
                  <a:moveTo>
                    <a:pt x="243" y="0"/>
                  </a:moveTo>
                  <a:cubicBezTo>
                    <a:pt x="108" y="0"/>
                    <a:pt x="1" y="109"/>
                    <a:pt x="1" y="243"/>
                  </a:cubicBezTo>
                  <a:lnTo>
                    <a:pt x="1" y="18453"/>
                  </a:lnTo>
                  <a:cubicBezTo>
                    <a:pt x="1" y="18588"/>
                    <a:pt x="108" y="18695"/>
                    <a:pt x="243" y="18695"/>
                  </a:cubicBezTo>
                  <a:cubicBezTo>
                    <a:pt x="377" y="18695"/>
                    <a:pt x="485" y="18588"/>
                    <a:pt x="485" y="18453"/>
                  </a:cubicBezTo>
                  <a:lnTo>
                    <a:pt x="485" y="243"/>
                  </a:lnTo>
                  <a:cubicBezTo>
                    <a:pt x="485" y="109"/>
                    <a:pt x="377" y="0"/>
                    <a:pt x="243" y="0"/>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7" name="Google Shape;5087;p67"/>
            <p:cNvSpPr/>
            <p:nvPr/>
          </p:nvSpPr>
          <p:spPr>
            <a:xfrm>
              <a:off x="2785174" y="2667796"/>
              <a:ext cx="287210" cy="99333"/>
            </a:xfrm>
            <a:custGeom>
              <a:avLst/>
              <a:gdLst/>
              <a:ahLst/>
              <a:cxnLst/>
              <a:rect l="l" t="t" r="r" b="b"/>
              <a:pathLst>
                <a:path w="54063" h="18698" extrusionOk="0">
                  <a:moveTo>
                    <a:pt x="53821" y="1"/>
                  </a:moveTo>
                  <a:cubicBezTo>
                    <a:pt x="53687" y="1"/>
                    <a:pt x="53579" y="108"/>
                    <a:pt x="53579" y="243"/>
                  </a:cubicBezTo>
                  <a:cubicBezTo>
                    <a:pt x="53579" y="3946"/>
                    <a:pt x="50564" y="6961"/>
                    <a:pt x="46861" y="6961"/>
                  </a:cubicBezTo>
                  <a:lnTo>
                    <a:pt x="6451" y="6961"/>
                  </a:lnTo>
                  <a:cubicBezTo>
                    <a:pt x="2895" y="6961"/>
                    <a:pt x="0" y="9857"/>
                    <a:pt x="0" y="13412"/>
                  </a:cubicBezTo>
                  <a:lnTo>
                    <a:pt x="0" y="18455"/>
                  </a:lnTo>
                  <a:cubicBezTo>
                    <a:pt x="0" y="18590"/>
                    <a:pt x="109" y="18697"/>
                    <a:pt x="242" y="18697"/>
                  </a:cubicBezTo>
                  <a:cubicBezTo>
                    <a:pt x="379" y="18697"/>
                    <a:pt x="487" y="18590"/>
                    <a:pt x="486" y="18455"/>
                  </a:cubicBezTo>
                  <a:lnTo>
                    <a:pt x="486" y="13412"/>
                  </a:lnTo>
                  <a:cubicBezTo>
                    <a:pt x="486" y="10122"/>
                    <a:pt x="3162" y="7447"/>
                    <a:pt x="6451" y="7447"/>
                  </a:cubicBezTo>
                  <a:lnTo>
                    <a:pt x="46858" y="7447"/>
                  </a:lnTo>
                  <a:cubicBezTo>
                    <a:pt x="50831" y="7447"/>
                    <a:pt x="54063" y="4215"/>
                    <a:pt x="54063" y="243"/>
                  </a:cubicBezTo>
                  <a:cubicBezTo>
                    <a:pt x="54063" y="108"/>
                    <a:pt x="53954" y="1"/>
                    <a:pt x="53821"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8" name="Google Shape;5088;p67"/>
            <p:cNvSpPr/>
            <p:nvPr/>
          </p:nvSpPr>
          <p:spPr>
            <a:xfrm>
              <a:off x="2382892" y="2667796"/>
              <a:ext cx="287226" cy="99333"/>
            </a:xfrm>
            <a:custGeom>
              <a:avLst/>
              <a:gdLst/>
              <a:ahLst/>
              <a:cxnLst/>
              <a:rect l="l" t="t" r="r" b="b"/>
              <a:pathLst>
                <a:path w="54066" h="18698" extrusionOk="0">
                  <a:moveTo>
                    <a:pt x="243" y="1"/>
                  </a:moveTo>
                  <a:cubicBezTo>
                    <a:pt x="108" y="1"/>
                    <a:pt x="1" y="108"/>
                    <a:pt x="1" y="243"/>
                  </a:cubicBezTo>
                  <a:cubicBezTo>
                    <a:pt x="1" y="4216"/>
                    <a:pt x="3233" y="7447"/>
                    <a:pt x="7204" y="7447"/>
                  </a:cubicBezTo>
                  <a:lnTo>
                    <a:pt x="47616" y="7447"/>
                  </a:lnTo>
                  <a:cubicBezTo>
                    <a:pt x="50905" y="7447"/>
                    <a:pt x="53581" y="10122"/>
                    <a:pt x="53581" y="13412"/>
                  </a:cubicBezTo>
                  <a:lnTo>
                    <a:pt x="53581" y="18455"/>
                  </a:lnTo>
                  <a:cubicBezTo>
                    <a:pt x="53581" y="18590"/>
                    <a:pt x="53688" y="18697"/>
                    <a:pt x="53823" y="18697"/>
                  </a:cubicBezTo>
                  <a:cubicBezTo>
                    <a:pt x="53957" y="18697"/>
                    <a:pt x="54065" y="18590"/>
                    <a:pt x="54062" y="18455"/>
                  </a:cubicBezTo>
                  <a:lnTo>
                    <a:pt x="54062" y="13412"/>
                  </a:lnTo>
                  <a:cubicBezTo>
                    <a:pt x="54062" y="9854"/>
                    <a:pt x="51169" y="6961"/>
                    <a:pt x="47611" y="6961"/>
                  </a:cubicBezTo>
                  <a:lnTo>
                    <a:pt x="7203" y="6961"/>
                  </a:lnTo>
                  <a:cubicBezTo>
                    <a:pt x="3498" y="6961"/>
                    <a:pt x="485" y="3946"/>
                    <a:pt x="485" y="243"/>
                  </a:cubicBezTo>
                  <a:cubicBezTo>
                    <a:pt x="485" y="108"/>
                    <a:pt x="377" y="1"/>
                    <a:pt x="243" y="1"/>
                  </a:cubicBezTo>
                  <a:close/>
                </a:path>
              </a:pathLst>
            </a:custGeom>
            <a:solidFill>
              <a:srgbClr val="9FA0A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89" name="Google Shape;5089;p67"/>
            <p:cNvSpPr/>
            <p:nvPr/>
          </p:nvSpPr>
          <p:spPr>
            <a:xfrm>
              <a:off x="2596756" y="2428317"/>
              <a:ext cx="261784" cy="212447"/>
            </a:xfrm>
            <a:custGeom>
              <a:avLst/>
              <a:gdLst/>
              <a:ahLst/>
              <a:cxnLst/>
              <a:rect l="l" t="t" r="r" b="b"/>
              <a:pathLst>
                <a:path w="49277" h="39990" extrusionOk="0">
                  <a:moveTo>
                    <a:pt x="7996" y="1"/>
                  </a:moveTo>
                  <a:cubicBezTo>
                    <a:pt x="3580" y="1"/>
                    <a:pt x="0" y="3580"/>
                    <a:pt x="0" y="7995"/>
                  </a:cubicBezTo>
                  <a:lnTo>
                    <a:pt x="0" y="31993"/>
                  </a:lnTo>
                  <a:cubicBezTo>
                    <a:pt x="0" y="36409"/>
                    <a:pt x="3580" y="39989"/>
                    <a:pt x="7996" y="39989"/>
                  </a:cubicBezTo>
                  <a:lnTo>
                    <a:pt x="41280" y="39989"/>
                  </a:lnTo>
                  <a:cubicBezTo>
                    <a:pt x="45697" y="39989"/>
                    <a:pt x="49277" y="36409"/>
                    <a:pt x="49277" y="31993"/>
                  </a:cubicBezTo>
                  <a:lnTo>
                    <a:pt x="49277" y="7995"/>
                  </a:lnTo>
                  <a:cubicBezTo>
                    <a:pt x="49277" y="3580"/>
                    <a:pt x="45697" y="1"/>
                    <a:pt x="41280" y="1"/>
                  </a:cubicBezTo>
                  <a:close/>
                </a:path>
              </a:pathLst>
            </a:cu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0" name="Google Shape;5090;p67"/>
            <p:cNvSpPr/>
            <p:nvPr/>
          </p:nvSpPr>
          <p:spPr>
            <a:xfrm>
              <a:off x="2940204" y="2428317"/>
              <a:ext cx="261795" cy="212447"/>
            </a:xfrm>
            <a:custGeom>
              <a:avLst/>
              <a:gdLst/>
              <a:ahLst/>
              <a:cxnLst/>
              <a:rect l="l" t="t" r="r" b="b"/>
              <a:pathLst>
                <a:path w="49279" h="39990" extrusionOk="0">
                  <a:moveTo>
                    <a:pt x="7995" y="1"/>
                  </a:moveTo>
                  <a:cubicBezTo>
                    <a:pt x="3580" y="1"/>
                    <a:pt x="0" y="3580"/>
                    <a:pt x="0" y="7995"/>
                  </a:cubicBezTo>
                  <a:lnTo>
                    <a:pt x="0" y="31993"/>
                  </a:lnTo>
                  <a:cubicBezTo>
                    <a:pt x="0" y="36409"/>
                    <a:pt x="3580" y="39989"/>
                    <a:pt x="7995" y="39989"/>
                  </a:cubicBezTo>
                  <a:lnTo>
                    <a:pt x="41282" y="39989"/>
                  </a:lnTo>
                  <a:cubicBezTo>
                    <a:pt x="45698" y="39989"/>
                    <a:pt x="49278" y="36409"/>
                    <a:pt x="49278" y="31993"/>
                  </a:cubicBezTo>
                  <a:lnTo>
                    <a:pt x="49278" y="7995"/>
                  </a:lnTo>
                  <a:cubicBezTo>
                    <a:pt x="49278" y="3580"/>
                    <a:pt x="45698" y="1"/>
                    <a:pt x="41282" y="1"/>
                  </a:cubicBezTo>
                  <a:close/>
                </a:path>
              </a:pathLst>
            </a:cu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1" name="Google Shape;5091;p67"/>
            <p:cNvSpPr/>
            <p:nvPr/>
          </p:nvSpPr>
          <p:spPr>
            <a:xfrm>
              <a:off x="2253298" y="2428317"/>
              <a:ext cx="261795" cy="212447"/>
            </a:xfrm>
            <a:custGeom>
              <a:avLst/>
              <a:gdLst/>
              <a:ahLst/>
              <a:cxnLst/>
              <a:rect l="l" t="t" r="r" b="b"/>
              <a:pathLst>
                <a:path w="49279" h="39990" extrusionOk="0">
                  <a:moveTo>
                    <a:pt x="7997" y="1"/>
                  </a:moveTo>
                  <a:cubicBezTo>
                    <a:pt x="3580" y="1"/>
                    <a:pt x="0" y="3580"/>
                    <a:pt x="0" y="7995"/>
                  </a:cubicBezTo>
                  <a:lnTo>
                    <a:pt x="0" y="31993"/>
                  </a:lnTo>
                  <a:cubicBezTo>
                    <a:pt x="0" y="36409"/>
                    <a:pt x="3580" y="39989"/>
                    <a:pt x="7997" y="39989"/>
                  </a:cubicBezTo>
                  <a:lnTo>
                    <a:pt x="41282" y="39989"/>
                  </a:lnTo>
                  <a:cubicBezTo>
                    <a:pt x="45697" y="39989"/>
                    <a:pt x="49277" y="36409"/>
                    <a:pt x="49277" y="31993"/>
                  </a:cubicBezTo>
                  <a:lnTo>
                    <a:pt x="49277" y="7995"/>
                  </a:lnTo>
                  <a:cubicBezTo>
                    <a:pt x="49278" y="3580"/>
                    <a:pt x="45697" y="1"/>
                    <a:pt x="41282" y="1"/>
                  </a:cubicBezTo>
                  <a:close/>
                </a:path>
              </a:pathLst>
            </a:cu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2" name="Google Shape;5092;p67"/>
            <p:cNvSpPr/>
            <p:nvPr/>
          </p:nvSpPr>
          <p:spPr>
            <a:xfrm>
              <a:off x="2718685" y="2660136"/>
              <a:ext cx="17919" cy="17919"/>
            </a:xfrm>
            <a:custGeom>
              <a:avLst/>
              <a:gdLst/>
              <a:ahLst/>
              <a:cxnLst/>
              <a:rect l="l" t="t" r="r" b="b"/>
              <a:pathLst>
                <a:path w="3373" h="3373" extrusionOk="0">
                  <a:moveTo>
                    <a:pt x="1687" y="0"/>
                  </a:moveTo>
                  <a:cubicBezTo>
                    <a:pt x="755" y="0"/>
                    <a:pt x="1" y="754"/>
                    <a:pt x="1" y="1687"/>
                  </a:cubicBezTo>
                  <a:cubicBezTo>
                    <a:pt x="1" y="2619"/>
                    <a:pt x="755" y="3373"/>
                    <a:pt x="1687" y="3373"/>
                  </a:cubicBezTo>
                  <a:cubicBezTo>
                    <a:pt x="2618" y="3373"/>
                    <a:pt x="3372" y="2617"/>
                    <a:pt x="3372" y="1687"/>
                  </a:cubicBezTo>
                  <a:cubicBezTo>
                    <a:pt x="3372" y="754"/>
                    <a:pt x="2618"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3" name="Google Shape;5093;p67"/>
            <p:cNvSpPr/>
            <p:nvPr/>
          </p:nvSpPr>
          <p:spPr>
            <a:xfrm>
              <a:off x="3062128" y="2660136"/>
              <a:ext cx="17924" cy="17919"/>
            </a:xfrm>
            <a:custGeom>
              <a:avLst/>
              <a:gdLst/>
              <a:ahLst/>
              <a:cxnLst/>
              <a:rect l="l" t="t" r="r" b="b"/>
              <a:pathLst>
                <a:path w="3374" h="3373" extrusionOk="0">
                  <a:moveTo>
                    <a:pt x="1687" y="0"/>
                  </a:moveTo>
                  <a:cubicBezTo>
                    <a:pt x="755" y="0"/>
                    <a:pt x="0" y="754"/>
                    <a:pt x="0" y="1687"/>
                  </a:cubicBezTo>
                  <a:cubicBezTo>
                    <a:pt x="0" y="2619"/>
                    <a:pt x="755" y="3373"/>
                    <a:pt x="1687" y="3373"/>
                  </a:cubicBezTo>
                  <a:cubicBezTo>
                    <a:pt x="2619" y="3370"/>
                    <a:pt x="3373" y="2617"/>
                    <a:pt x="3373" y="1687"/>
                  </a:cubicBezTo>
                  <a:cubicBezTo>
                    <a:pt x="3373" y="754"/>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4" name="Google Shape;5094;p67"/>
            <p:cNvSpPr/>
            <p:nvPr/>
          </p:nvSpPr>
          <p:spPr>
            <a:xfrm>
              <a:off x="2375226" y="2660136"/>
              <a:ext cx="17924" cy="17919"/>
            </a:xfrm>
            <a:custGeom>
              <a:avLst/>
              <a:gdLst/>
              <a:ahLst/>
              <a:cxnLst/>
              <a:rect l="l" t="t" r="r" b="b"/>
              <a:pathLst>
                <a:path w="3374" h="3373" extrusionOk="0">
                  <a:moveTo>
                    <a:pt x="1687" y="0"/>
                  </a:moveTo>
                  <a:cubicBezTo>
                    <a:pt x="755" y="0"/>
                    <a:pt x="1" y="754"/>
                    <a:pt x="1" y="1687"/>
                  </a:cubicBezTo>
                  <a:cubicBezTo>
                    <a:pt x="1" y="2619"/>
                    <a:pt x="755" y="3373"/>
                    <a:pt x="1687" y="3373"/>
                  </a:cubicBezTo>
                  <a:cubicBezTo>
                    <a:pt x="2619" y="3370"/>
                    <a:pt x="3374" y="2617"/>
                    <a:pt x="3374" y="1687"/>
                  </a:cubicBezTo>
                  <a:cubicBezTo>
                    <a:pt x="3374" y="754"/>
                    <a:pt x="2619" y="0"/>
                    <a:pt x="1687"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5" name="Google Shape;5095;p67"/>
            <p:cNvSpPr/>
            <p:nvPr/>
          </p:nvSpPr>
          <p:spPr>
            <a:xfrm>
              <a:off x="2718685" y="2756878"/>
              <a:ext cx="17919" cy="17919"/>
            </a:xfrm>
            <a:custGeom>
              <a:avLst/>
              <a:gdLst/>
              <a:ahLst/>
              <a:cxnLst/>
              <a:rect l="l" t="t" r="r" b="b"/>
              <a:pathLst>
                <a:path w="3373" h="3373" extrusionOk="0">
                  <a:moveTo>
                    <a:pt x="1687" y="1"/>
                  </a:moveTo>
                  <a:cubicBezTo>
                    <a:pt x="755" y="1"/>
                    <a:pt x="1" y="754"/>
                    <a:pt x="1" y="1686"/>
                  </a:cubicBezTo>
                  <a:cubicBezTo>
                    <a:pt x="1" y="2618"/>
                    <a:pt x="755" y="3372"/>
                    <a:pt x="1687" y="3372"/>
                  </a:cubicBezTo>
                  <a:cubicBezTo>
                    <a:pt x="2618" y="3372"/>
                    <a:pt x="3372" y="2616"/>
                    <a:pt x="3372" y="1686"/>
                  </a:cubicBezTo>
                  <a:cubicBezTo>
                    <a:pt x="3372" y="754"/>
                    <a:pt x="2618"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6" name="Google Shape;5096;p67"/>
            <p:cNvSpPr/>
            <p:nvPr/>
          </p:nvSpPr>
          <p:spPr>
            <a:xfrm>
              <a:off x="2777509" y="2756878"/>
              <a:ext cx="17914" cy="17919"/>
            </a:xfrm>
            <a:custGeom>
              <a:avLst/>
              <a:gdLst/>
              <a:ahLst/>
              <a:cxnLst/>
              <a:rect l="l" t="t" r="r" b="b"/>
              <a:pathLst>
                <a:path w="3372" h="3373" extrusionOk="0">
                  <a:moveTo>
                    <a:pt x="1685" y="1"/>
                  </a:moveTo>
                  <a:cubicBezTo>
                    <a:pt x="753" y="1"/>
                    <a:pt x="0" y="754"/>
                    <a:pt x="0" y="1686"/>
                  </a:cubicBezTo>
                  <a:cubicBezTo>
                    <a:pt x="0" y="2618"/>
                    <a:pt x="753" y="3372"/>
                    <a:pt x="1685" y="3372"/>
                  </a:cubicBezTo>
                  <a:cubicBezTo>
                    <a:pt x="2617" y="3372"/>
                    <a:pt x="3372" y="2616"/>
                    <a:pt x="3372" y="1686"/>
                  </a:cubicBezTo>
                  <a:cubicBezTo>
                    <a:pt x="3372" y="754"/>
                    <a:pt x="2617" y="1"/>
                    <a:pt x="1685"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7" name="Google Shape;5097;p67"/>
            <p:cNvSpPr/>
            <p:nvPr/>
          </p:nvSpPr>
          <p:spPr>
            <a:xfrm>
              <a:off x="2659856" y="2756878"/>
              <a:ext cx="17914" cy="17919"/>
            </a:xfrm>
            <a:custGeom>
              <a:avLst/>
              <a:gdLst/>
              <a:ahLst/>
              <a:cxnLst/>
              <a:rect l="l" t="t" r="r" b="b"/>
              <a:pathLst>
                <a:path w="3372" h="3373" extrusionOk="0">
                  <a:moveTo>
                    <a:pt x="1687" y="1"/>
                  </a:moveTo>
                  <a:cubicBezTo>
                    <a:pt x="755" y="1"/>
                    <a:pt x="1" y="754"/>
                    <a:pt x="1" y="1686"/>
                  </a:cubicBezTo>
                  <a:cubicBezTo>
                    <a:pt x="1" y="2618"/>
                    <a:pt x="755" y="3372"/>
                    <a:pt x="1687" y="3372"/>
                  </a:cubicBezTo>
                  <a:cubicBezTo>
                    <a:pt x="2619" y="3372"/>
                    <a:pt x="3372" y="2616"/>
                    <a:pt x="3372" y="1686"/>
                  </a:cubicBezTo>
                  <a:cubicBezTo>
                    <a:pt x="3372" y="754"/>
                    <a:pt x="2619" y="1"/>
                    <a:pt x="1687" y="1"/>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8" name="Google Shape;5098;p67"/>
            <p:cNvSpPr/>
            <p:nvPr/>
          </p:nvSpPr>
          <p:spPr>
            <a:xfrm>
              <a:off x="2301024" y="2533889"/>
              <a:ext cx="163753" cy="1291"/>
            </a:xfrm>
            <a:custGeom>
              <a:avLst/>
              <a:gdLst/>
              <a:ahLst/>
              <a:cxnLst/>
              <a:rect l="l" t="t" r="r" b="b"/>
              <a:pathLst>
                <a:path w="30824" h="243" extrusionOk="0">
                  <a:moveTo>
                    <a:pt x="121" y="1"/>
                  </a:moveTo>
                  <a:cubicBezTo>
                    <a:pt x="55" y="1"/>
                    <a:pt x="0" y="55"/>
                    <a:pt x="0" y="121"/>
                  </a:cubicBezTo>
                  <a:cubicBezTo>
                    <a:pt x="0" y="187"/>
                    <a:pt x="55" y="243"/>
                    <a:pt x="121" y="243"/>
                  </a:cubicBezTo>
                  <a:lnTo>
                    <a:pt x="30703"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099" name="Google Shape;5099;p67"/>
            <p:cNvSpPr/>
            <p:nvPr/>
          </p:nvSpPr>
          <p:spPr>
            <a:xfrm>
              <a:off x="2644918" y="2533889"/>
              <a:ext cx="163747" cy="1291"/>
            </a:xfrm>
            <a:custGeom>
              <a:avLst/>
              <a:gdLst/>
              <a:ahLst/>
              <a:cxnLst/>
              <a:rect l="l" t="t" r="r" b="b"/>
              <a:pathLst>
                <a:path w="30823" h="243" extrusionOk="0">
                  <a:moveTo>
                    <a:pt x="121" y="1"/>
                  </a:moveTo>
                  <a:cubicBezTo>
                    <a:pt x="55" y="1"/>
                    <a:pt x="0" y="55"/>
                    <a:pt x="0" y="121"/>
                  </a:cubicBezTo>
                  <a:cubicBezTo>
                    <a:pt x="0" y="187"/>
                    <a:pt x="55" y="243"/>
                    <a:pt x="121" y="243"/>
                  </a:cubicBezTo>
                  <a:lnTo>
                    <a:pt x="30701" y="243"/>
                  </a:lnTo>
                  <a:cubicBezTo>
                    <a:pt x="30769" y="243"/>
                    <a:pt x="30823" y="187"/>
                    <a:pt x="30823" y="121"/>
                  </a:cubicBezTo>
                  <a:cubicBezTo>
                    <a:pt x="30823" y="55"/>
                    <a:pt x="30767" y="1"/>
                    <a:pt x="30701"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0" name="Google Shape;5100;p67"/>
            <p:cNvSpPr/>
            <p:nvPr/>
          </p:nvSpPr>
          <p:spPr>
            <a:xfrm>
              <a:off x="2990071" y="2533889"/>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1" name="Google Shape;5101;p67"/>
            <p:cNvSpPr/>
            <p:nvPr/>
          </p:nvSpPr>
          <p:spPr>
            <a:xfrm>
              <a:off x="2644918" y="3256825"/>
              <a:ext cx="163758" cy="1291"/>
            </a:xfrm>
            <a:custGeom>
              <a:avLst/>
              <a:gdLst/>
              <a:ahLst/>
              <a:cxnLst/>
              <a:rect l="l" t="t" r="r" b="b"/>
              <a:pathLst>
                <a:path w="30825" h="243" extrusionOk="0">
                  <a:moveTo>
                    <a:pt x="121" y="0"/>
                  </a:moveTo>
                  <a:cubicBezTo>
                    <a:pt x="55" y="0"/>
                    <a:pt x="0" y="55"/>
                    <a:pt x="0" y="122"/>
                  </a:cubicBezTo>
                  <a:cubicBezTo>
                    <a:pt x="0" y="188"/>
                    <a:pt x="55" y="242"/>
                    <a:pt x="121" y="242"/>
                  </a:cubicBezTo>
                  <a:lnTo>
                    <a:pt x="30701" y="242"/>
                  </a:lnTo>
                  <a:cubicBezTo>
                    <a:pt x="30769" y="242"/>
                    <a:pt x="30824" y="190"/>
                    <a:pt x="30823" y="122"/>
                  </a:cubicBezTo>
                  <a:cubicBezTo>
                    <a:pt x="30823" y="56"/>
                    <a:pt x="30767" y="0"/>
                    <a:pt x="30701"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2" name="Google Shape;5102;p67"/>
            <p:cNvSpPr/>
            <p:nvPr/>
          </p:nvSpPr>
          <p:spPr>
            <a:xfrm>
              <a:off x="2301427" y="3256825"/>
              <a:ext cx="163758" cy="1291"/>
            </a:xfrm>
            <a:custGeom>
              <a:avLst/>
              <a:gdLst/>
              <a:ahLst/>
              <a:cxnLst/>
              <a:rect l="l" t="t" r="r" b="b"/>
              <a:pathLst>
                <a:path w="30825" h="243" extrusionOk="0">
                  <a:moveTo>
                    <a:pt x="123" y="0"/>
                  </a:moveTo>
                  <a:cubicBezTo>
                    <a:pt x="57" y="0"/>
                    <a:pt x="1" y="55"/>
                    <a:pt x="1" y="122"/>
                  </a:cubicBezTo>
                  <a:cubicBezTo>
                    <a:pt x="1" y="188"/>
                    <a:pt x="57" y="242"/>
                    <a:pt x="123" y="242"/>
                  </a:cubicBezTo>
                  <a:lnTo>
                    <a:pt x="30702" y="242"/>
                  </a:lnTo>
                  <a:cubicBezTo>
                    <a:pt x="30771" y="242"/>
                    <a:pt x="30825" y="190"/>
                    <a:pt x="30823" y="122"/>
                  </a:cubicBezTo>
                  <a:cubicBezTo>
                    <a:pt x="30823" y="56"/>
                    <a:pt x="30769" y="0"/>
                    <a:pt x="30702"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3" name="Google Shape;5103;p67"/>
            <p:cNvSpPr/>
            <p:nvPr/>
          </p:nvSpPr>
          <p:spPr>
            <a:xfrm>
              <a:off x="2990102" y="3256847"/>
              <a:ext cx="163753" cy="1291"/>
            </a:xfrm>
            <a:custGeom>
              <a:avLst/>
              <a:gdLst/>
              <a:ahLst/>
              <a:cxnLst/>
              <a:rect l="l" t="t" r="r" b="b"/>
              <a:pathLst>
                <a:path w="30824" h="243" extrusionOk="0">
                  <a:moveTo>
                    <a:pt x="123" y="1"/>
                  </a:moveTo>
                  <a:cubicBezTo>
                    <a:pt x="57" y="1"/>
                    <a:pt x="1" y="55"/>
                    <a:pt x="1" y="121"/>
                  </a:cubicBezTo>
                  <a:cubicBezTo>
                    <a:pt x="1" y="187"/>
                    <a:pt x="57" y="243"/>
                    <a:pt x="123" y="243"/>
                  </a:cubicBezTo>
                  <a:lnTo>
                    <a:pt x="30703" y="243"/>
                  </a:lnTo>
                  <a:cubicBezTo>
                    <a:pt x="30769" y="243"/>
                    <a:pt x="30824" y="187"/>
                    <a:pt x="30824" y="121"/>
                  </a:cubicBezTo>
                  <a:cubicBezTo>
                    <a:pt x="30824" y="55"/>
                    <a:pt x="30769" y="1"/>
                    <a:pt x="30703"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04" name="Google Shape;5104;p67"/>
            <p:cNvSpPr/>
            <p:nvPr/>
          </p:nvSpPr>
          <p:spPr>
            <a:xfrm>
              <a:off x="2833559" y="2761962"/>
              <a:ext cx="248503" cy="268106"/>
            </a:xfrm>
            <a:custGeom>
              <a:avLst/>
              <a:gdLst/>
              <a:ahLst/>
              <a:cxnLst/>
              <a:rect l="l" t="t" r="r" b="b"/>
              <a:pathLst>
                <a:path w="46777" h="50467" extrusionOk="0">
                  <a:moveTo>
                    <a:pt x="1" y="1"/>
                  </a:moveTo>
                  <a:lnTo>
                    <a:pt x="1" y="1458"/>
                  </a:lnTo>
                  <a:lnTo>
                    <a:pt x="21544" y="1458"/>
                  </a:lnTo>
                  <a:cubicBezTo>
                    <a:pt x="34653" y="1458"/>
                    <a:pt x="45320" y="12123"/>
                    <a:pt x="45320" y="25233"/>
                  </a:cubicBezTo>
                  <a:cubicBezTo>
                    <a:pt x="45320" y="38344"/>
                    <a:pt x="34653" y="49009"/>
                    <a:pt x="21544" y="49009"/>
                  </a:cubicBezTo>
                  <a:lnTo>
                    <a:pt x="1" y="49009"/>
                  </a:lnTo>
                  <a:lnTo>
                    <a:pt x="1" y="50466"/>
                  </a:lnTo>
                  <a:lnTo>
                    <a:pt x="21544" y="50466"/>
                  </a:lnTo>
                  <a:cubicBezTo>
                    <a:pt x="35457" y="50466"/>
                    <a:pt x="46776" y="39146"/>
                    <a:pt x="46776" y="25233"/>
                  </a:cubicBezTo>
                  <a:cubicBezTo>
                    <a:pt x="46776" y="11322"/>
                    <a:pt x="35457" y="1"/>
                    <a:pt x="21544" y="1"/>
                  </a:cubicBezTo>
                  <a:close/>
                </a:path>
              </a:pathLst>
            </a:custGeom>
            <a:solidFill>
              <a:srgbClr val="96979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108"/>
        <p:cNvGrpSpPr/>
        <p:nvPr/>
      </p:nvGrpSpPr>
      <p:grpSpPr>
        <a:xfrm>
          <a:off x="0" y="0"/>
          <a:ext cx="0" cy="0"/>
          <a:chOff x="0" y="0"/>
          <a:chExt cx="0" cy="0"/>
        </a:xfrm>
      </p:grpSpPr>
      <p:grpSp>
        <p:nvGrpSpPr>
          <p:cNvPr id="5109" name="Google Shape;5109;p68"/>
          <p:cNvGrpSpPr/>
          <p:nvPr/>
        </p:nvGrpSpPr>
        <p:grpSpPr>
          <a:xfrm>
            <a:off x="4471443" y="1527503"/>
            <a:ext cx="3151191" cy="1357156"/>
            <a:chOff x="3292400" y="1219146"/>
            <a:chExt cx="2615240" cy="1110239"/>
          </a:xfrm>
        </p:grpSpPr>
        <p:sp>
          <p:nvSpPr>
            <p:cNvPr id="5110" name="Google Shape;5110;p68"/>
            <p:cNvSpPr/>
            <p:nvPr/>
          </p:nvSpPr>
          <p:spPr>
            <a:xfrm>
              <a:off x="3292400" y="1845763"/>
              <a:ext cx="370500" cy="478500"/>
            </a:xfrm>
            <a:prstGeom prst="round2DiagRect">
              <a:avLst>
                <a:gd name="adj1" fmla="val 16667"/>
                <a:gd name="adj2" fmla="val 0"/>
              </a:avLst>
            </a:prstGeom>
            <a:solidFill>
              <a:srgbClr val="ABBCC9"/>
            </a:solidFill>
            <a:ln>
              <a:noFill/>
            </a:ln>
          </p:spPr>
          <p:txBody>
            <a:bodyPr spcFirstLastPara="1" wrap="square" lIns="0" tIns="0" rIns="0" bIns="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11" name="Google Shape;5111;p68"/>
            <p:cNvSpPr/>
            <p:nvPr/>
          </p:nvSpPr>
          <p:spPr>
            <a:xfrm>
              <a:off x="3292400" y="1314860"/>
              <a:ext cx="370500" cy="478500"/>
            </a:xfrm>
            <a:prstGeom prst="round2DiagRect">
              <a:avLst>
                <a:gd name="adj1" fmla="val 16667"/>
                <a:gd name="adj2" fmla="val 0"/>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12" name="Google Shape;5112;p68"/>
            <p:cNvSpPr txBox="1"/>
            <p:nvPr/>
          </p:nvSpPr>
          <p:spPr>
            <a:xfrm flipH="1">
              <a:off x="3678794" y="1219157"/>
              <a:ext cx="3705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JANUARY</a:t>
              </a:r>
              <a:endParaRPr sz="267" kern="0">
                <a:solidFill>
                  <a:srgbClr val="FFFFFF"/>
                </a:solidFill>
                <a:latin typeface="Arial"/>
                <a:cs typeface="Arial"/>
                <a:sym typeface="Arial"/>
              </a:endParaRPr>
            </a:p>
          </p:txBody>
        </p:sp>
        <p:sp>
          <p:nvSpPr>
            <p:cNvPr id="5113" name="Google Shape;5113;p68"/>
            <p:cNvSpPr txBox="1"/>
            <p:nvPr/>
          </p:nvSpPr>
          <p:spPr>
            <a:xfrm flipH="1">
              <a:off x="4051671" y="1219146"/>
              <a:ext cx="4014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FEBRUARY</a:t>
              </a:r>
              <a:endParaRPr sz="267" kern="0">
                <a:solidFill>
                  <a:srgbClr val="FFFFFF"/>
                </a:solidFill>
                <a:latin typeface="Arial"/>
                <a:cs typeface="Arial"/>
                <a:sym typeface="Arial"/>
              </a:endParaRPr>
            </a:p>
          </p:txBody>
        </p:sp>
        <p:sp>
          <p:nvSpPr>
            <p:cNvPr id="5114" name="Google Shape;5114;p68"/>
            <p:cNvSpPr txBox="1"/>
            <p:nvPr/>
          </p:nvSpPr>
          <p:spPr>
            <a:xfrm flipH="1">
              <a:off x="4453057" y="1219146"/>
              <a:ext cx="3480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MARCH</a:t>
              </a:r>
              <a:endParaRPr sz="267" kern="0">
                <a:solidFill>
                  <a:srgbClr val="FFFFFF"/>
                </a:solidFill>
                <a:latin typeface="Arial"/>
                <a:cs typeface="Arial"/>
                <a:sym typeface="Arial"/>
              </a:endParaRPr>
            </a:p>
          </p:txBody>
        </p:sp>
        <p:sp>
          <p:nvSpPr>
            <p:cNvPr id="5115" name="Google Shape;5115;p68"/>
            <p:cNvSpPr txBox="1"/>
            <p:nvPr/>
          </p:nvSpPr>
          <p:spPr>
            <a:xfrm flipH="1">
              <a:off x="4831790" y="1219155"/>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APRIL</a:t>
              </a:r>
              <a:endParaRPr sz="267" kern="0">
                <a:solidFill>
                  <a:srgbClr val="FFFFFF"/>
                </a:solidFill>
                <a:latin typeface="Arial"/>
                <a:cs typeface="Arial"/>
                <a:sym typeface="Arial"/>
              </a:endParaRPr>
            </a:p>
          </p:txBody>
        </p:sp>
        <p:sp>
          <p:nvSpPr>
            <p:cNvPr id="5116" name="Google Shape;5116;p68"/>
            <p:cNvSpPr txBox="1"/>
            <p:nvPr/>
          </p:nvSpPr>
          <p:spPr>
            <a:xfrm flipH="1">
              <a:off x="5186134" y="1219155"/>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MAY</a:t>
              </a:r>
              <a:endParaRPr sz="267" kern="0">
                <a:solidFill>
                  <a:srgbClr val="FFFFFF"/>
                </a:solidFill>
                <a:latin typeface="Arial"/>
                <a:cs typeface="Arial"/>
                <a:sym typeface="Arial"/>
              </a:endParaRPr>
            </a:p>
          </p:txBody>
        </p:sp>
        <p:sp>
          <p:nvSpPr>
            <p:cNvPr id="5117" name="Google Shape;5117;p68"/>
            <p:cNvSpPr txBox="1"/>
            <p:nvPr/>
          </p:nvSpPr>
          <p:spPr>
            <a:xfrm flipH="1">
              <a:off x="5562148" y="1219155"/>
              <a:ext cx="313200" cy="84300"/>
            </a:xfrm>
            <a:prstGeom prst="rect">
              <a:avLst/>
            </a:prstGeom>
            <a:noFill/>
            <a:ln>
              <a:noFill/>
            </a:ln>
          </p:spPr>
          <p:txBody>
            <a:bodyPr spcFirstLastPara="1" wrap="square" lIns="0" tIns="0" rIns="0" bIns="0" anchor="t" anchorCtr="0">
              <a:noAutofit/>
            </a:bodyPr>
            <a:lstStyle/>
            <a:p>
              <a:pPr algn="ctr" defTabSz="1219170">
                <a:spcAft>
                  <a:spcPts val="2133"/>
                </a:spcAft>
                <a:buClr>
                  <a:srgbClr val="000000"/>
                </a:buClr>
              </a:pPr>
              <a:r>
                <a:rPr lang="en" sz="267" kern="0">
                  <a:solidFill>
                    <a:srgbClr val="FFFFFF"/>
                  </a:solidFill>
                  <a:latin typeface="Arial"/>
                  <a:cs typeface="Arial"/>
                  <a:sym typeface="Arial"/>
                </a:rPr>
                <a:t>JUNE</a:t>
              </a:r>
              <a:endParaRPr sz="267" kern="0">
                <a:solidFill>
                  <a:srgbClr val="FFFFFF"/>
                </a:solidFill>
                <a:latin typeface="Arial"/>
                <a:cs typeface="Arial"/>
                <a:sym typeface="Arial"/>
              </a:endParaRPr>
            </a:p>
          </p:txBody>
        </p:sp>
        <p:sp>
          <p:nvSpPr>
            <p:cNvPr id="5118" name="Google Shape;5118;p68"/>
            <p:cNvSpPr txBox="1"/>
            <p:nvPr/>
          </p:nvSpPr>
          <p:spPr>
            <a:xfrm flipH="1">
              <a:off x="3338153" y="1379250"/>
              <a:ext cx="279000" cy="96600"/>
            </a:xfrm>
            <a:prstGeom prst="rect">
              <a:avLst/>
            </a:prstGeom>
            <a:noFill/>
            <a:ln>
              <a:noFill/>
            </a:ln>
          </p:spPr>
          <p:txBody>
            <a:bodyPr spcFirstLastPara="1" wrap="square" lIns="0" tIns="0" rIns="0" bIns="0" anchor="t" anchorCtr="0">
              <a:noAutofit/>
            </a:bodyPr>
            <a:lstStyle/>
            <a:p>
              <a:pPr algn="r" defTabSz="1219170">
                <a:spcAft>
                  <a:spcPts val="2133"/>
                </a:spcAft>
                <a:buClr>
                  <a:srgbClr val="000000"/>
                </a:buClr>
              </a:pPr>
              <a:r>
                <a:rPr lang="en" sz="267" kern="0">
                  <a:solidFill>
                    <a:srgbClr val="FFFFFF"/>
                  </a:solidFill>
                  <a:latin typeface="Arial"/>
                  <a:cs typeface="Arial"/>
                  <a:sym typeface="Arial"/>
                </a:rPr>
                <a:t>PHASE 1</a:t>
              </a:r>
              <a:endParaRPr sz="267" kern="0">
                <a:solidFill>
                  <a:srgbClr val="FFFFFF"/>
                </a:solidFill>
                <a:latin typeface="Arial"/>
                <a:cs typeface="Arial"/>
                <a:sym typeface="Arial"/>
              </a:endParaRPr>
            </a:p>
          </p:txBody>
        </p:sp>
        <p:sp>
          <p:nvSpPr>
            <p:cNvPr id="5119" name="Google Shape;5119;p68"/>
            <p:cNvSpPr txBox="1"/>
            <p:nvPr/>
          </p:nvSpPr>
          <p:spPr>
            <a:xfrm flipH="1">
              <a:off x="3338156" y="1902299"/>
              <a:ext cx="279000" cy="96600"/>
            </a:xfrm>
            <a:prstGeom prst="rect">
              <a:avLst/>
            </a:prstGeom>
            <a:noFill/>
            <a:ln>
              <a:noFill/>
            </a:ln>
          </p:spPr>
          <p:txBody>
            <a:bodyPr spcFirstLastPara="1" wrap="square" lIns="0" tIns="0" rIns="0" bIns="0" anchor="t" anchorCtr="0">
              <a:noAutofit/>
            </a:bodyPr>
            <a:lstStyle/>
            <a:p>
              <a:pPr algn="r" defTabSz="1219170">
                <a:spcAft>
                  <a:spcPts val="2133"/>
                </a:spcAft>
                <a:buClr>
                  <a:srgbClr val="000000"/>
                </a:buClr>
              </a:pPr>
              <a:r>
                <a:rPr lang="en" sz="267" kern="0">
                  <a:solidFill>
                    <a:srgbClr val="FFFFFF"/>
                  </a:solidFill>
                  <a:latin typeface="Arial"/>
                  <a:cs typeface="Arial"/>
                  <a:sym typeface="Arial"/>
                </a:rPr>
                <a:t>PHASE 2</a:t>
              </a:r>
              <a:endParaRPr sz="267" kern="0">
                <a:solidFill>
                  <a:srgbClr val="FFFFFF"/>
                </a:solidFill>
                <a:latin typeface="Arial"/>
                <a:cs typeface="Arial"/>
                <a:sym typeface="Arial"/>
              </a:endParaRPr>
            </a:p>
          </p:txBody>
        </p:sp>
        <p:sp>
          <p:nvSpPr>
            <p:cNvPr id="5120" name="Google Shape;5120;p68"/>
            <p:cNvSpPr txBox="1"/>
            <p:nvPr/>
          </p:nvSpPr>
          <p:spPr>
            <a:xfrm flipH="1">
              <a:off x="3344522" y="1537172"/>
              <a:ext cx="262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1</a:t>
              </a:r>
              <a:endParaRPr sz="267" kern="0">
                <a:solidFill>
                  <a:srgbClr val="FFFFFF"/>
                </a:solidFill>
                <a:latin typeface="Arial"/>
                <a:cs typeface="Arial"/>
                <a:sym typeface="Arial"/>
              </a:endParaRPr>
            </a:p>
          </p:txBody>
        </p:sp>
        <p:sp>
          <p:nvSpPr>
            <p:cNvPr id="5121" name="Google Shape;5121;p68"/>
            <p:cNvSpPr txBox="1"/>
            <p:nvPr/>
          </p:nvSpPr>
          <p:spPr>
            <a:xfrm flipH="1">
              <a:off x="3344522" y="1713877"/>
              <a:ext cx="262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2</a:t>
              </a:r>
              <a:endParaRPr sz="267" kern="0">
                <a:solidFill>
                  <a:srgbClr val="FFFFFF"/>
                </a:solidFill>
                <a:latin typeface="Arial"/>
                <a:cs typeface="Arial"/>
                <a:sym typeface="Arial"/>
              </a:endParaRPr>
            </a:p>
          </p:txBody>
        </p:sp>
        <p:sp>
          <p:nvSpPr>
            <p:cNvPr id="5122" name="Google Shape;5122;p68"/>
            <p:cNvSpPr txBox="1"/>
            <p:nvPr/>
          </p:nvSpPr>
          <p:spPr>
            <a:xfrm flipH="1">
              <a:off x="3344522" y="2079003"/>
              <a:ext cx="262200" cy="966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1</a:t>
              </a:r>
              <a:endParaRPr sz="267" kern="0">
                <a:solidFill>
                  <a:srgbClr val="FFFFFF"/>
                </a:solidFill>
                <a:latin typeface="Arial"/>
                <a:cs typeface="Arial"/>
                <a:sym typeface="Arial"/>
              </a:endParaRPr>
            </a:p>
          </p:txBody>
        </p:sp>
        <p:sp>
          <p:nvSpPr>
            <p:cNvPr id="5123" name="Google Shape;5123;p68"/>
            <p:cNvSpPr txBox="1"/>
            <p:nvPr/>
          </p:nvSpPr>
          <p:spPr>
            <a:xfrm flipH="1">
              <a:off x="3344527" y="2246885"/>
              <a:ext cx="262200" cy="82500"/>
            </a:xfrm>
            <a:prstGeom prst="rect">
              <a:avLst/>
            </a:prstGeom>
            <a:noFill/>
            <a:ln>
              <a:noFill/>
            </a:ln>
          </p:spPr>
          <p:txBody>
            <a:bodyPr spcFirstLastPara="1" wrap="square" lIns="0" tIns="0" rIns="0" bIns="0" anchor="t" anchorCtr="0">
              <a:noAutofit/>
            </a:bodyPr>
            <a:lstStyle/>
            <a:p>
              <a:pPr algn="r" defTabSz="1219170">
                <a:lnSpc>
                  <a:spcPct val="115000"/>
                </a:lnSpc>
                <a:spcAft>
                  <a:spcPts val="2133"/>
                </a:spcAft>
                <a:buClr>
                  <a:srgbClr val="000000"/>
                </a:buClr>
              </a:pPr>
              <a:r>
                <a:rPr lang="en" sz="267" kern="0">
                  <a:solidFill>
                    <a:srgbClr val="FFFFFF"/>
                  </a:solidFill>
                  <a:latin typeface="Arial"/>
                  <a:cs typeface="Arial"/>
                  <a:sym typeface="Arial"/>
                </a:rPr>
                <a:t>Task 2</a:t>
              </a:r>
              <a:endParaRPr sz="267" kern="0">
                <a:solidFill>
                  <a:srgbClr val="FFFFFF"/>
                </a:solidFill>
                <a:latin typeface="Arial"/>
                <a:cs typeface="Arial"/>
                <a:sym typeface="Arial"/>
              </a:endParaRPr>
            </a:p>
          </p:txBody>
        </p:sp>
        <p:grpSp>
          <p:nvGrpSpPr>
            <p:cNvPr id="5124" name="Google Shape;5124;p68"/>
            <p:cNvGrpSpPr/>
            <p:nvPr/>
          </p:nvGrpSpPr>
          <p:grpSpPr>
            <a:xfrm>
              <a:off x="3748438" y="1378608"/>
              <a:ext cx="2159202" cy="903971"/>
              <a:chOff x="1683525" y="2179850"/>
              <a:chExt cx="4519050" cy="2134525"/>
            </a:xfrm>
          </p:grpSpPr>
          <p:sp>
            <p:nvSpPr>
              <p:cNvPr id="5125" name="Google Shape;5125;p68"/>
              <p:cNvSpPr/>
              <p:nvPr/>
            </p:nvSpPr>
            <p:spPr>
              <a:xfrm>
                <a:off x="1683525" y="2179850"/>
                <a:ext cx="4519050" cy="53925"/>
              </a:xfrm>
              <a:custGeom>
                <a:avLst/>
                <a:gdLst/>
                <a:ahLst/>
                <a:cxnLst/>
                <a:rect l="l" t="t" r="r" b="b"/>
                <a:pathLst>
                  <a:path w="180762" h="2157" extrusionOk="0">
                    <a:moveTo>
                      <a:pt x="1072" y="1"/>
                    </a:moveTo>
                    <a:cubicBezTo>
                      <a:pt x="477" y="1"/>
                      <a:pt x="1" y="477"/>
                      <a:pt x="1" y="1073"/>
                    </a:cubicBezTo>
                    <a:cubicBezTo>
                      <a:pt x="1" y="1668"/>
                      <a:pt x="477" y="2156"/>
                      <a:pt x="1072" y="2156"/>
                    </a:cubicBezTo>
                    <a:lnTo>
                      <a:pt x="179678" y="2156"/>
                    </a:lnTo>
                    <a:cubicBezTo>
                      <a:pt x="180273" y="2156"/>
                      <a:pt x="180761" y="1668"/>
                      <a:pt x="180761" y="1073"/>
                    </a:cubicBezTo>
                    <a:cubicBezTo>
                      <a:pt x="180761" y="477"/>
                      <a:pt x="180273" y="1"/>
                      <a:pt x="179678"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26" name="Google Shape;5126;p68"/>
              <p:cNvSpPr/>
              <p:nvPr/>
            </p:nvSpPr>
            <p:spPr>
              <a:xfrm>
                <a:off x="1683525" y="2595975"/>
                <a:ext cx="4519050" cy="53900"/>
              </a:xfrm>
              <a:custGeom>
                <a:avLst/>
                <a:gdLst/>
                <a:ahLst/>
                <a:cxnLst/>
                <a:rect l="l" t="t" r="r" b="b"/>
                <a:pathLst>
                  <a:path w="180762" h="2156" extrusionOk="0">
                    <a:moveTo>
                      <a:pt x="1072" y="1"/>
                    </a:moveTo>
                    <a:cubicBezTo>
                      <a:pt x="477" y="1"/>
                      <a:pt x="1" y="489"/>
                      <a:pt x="1" y="1084"/>
                    </a:cubicBezTo>
                    <a:cubicBezTo>
                      <a:pt x="1" y="1668"/>
                      <a:pt x="477" y="2156"/>
                      <a:pt x="1072" y="2156"/>
                    </a:cubicBezTo>
                    <a:lnTo>
                      <a:pt x="179678" y="2156"/>
                    </a:lnTo>
                    <a:cubicBezTo>
                      <a:pt x="180273" y="2156"/>
                      <a:pt x="180761" y="1668"/>
                      <a:pt x="180761" y="1084"/>
                    </a:cubicBezTo>
                    <a:cubicBezTo>
                      <a:pt x="180761" y="489"/>
                      <a:pt x="180273" y="1"/>
                      <a:pt x="179678" y="1"/>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27" name="Google Shape;5127;p68"/>
              <p:cNvSpPr/>
              <p:nvPr/>
            </p:nvSpPr>
            <p:spPr>
              <a:xfrm>
                <a:off x="1683525" y="3012100"/>
                <a:ext cx="4519050" cy="53900"/>
              </a:xfrm>
              <a:custGeom>
                <a:avLst/>
                <a:gdLst/>
                <a:ahLst/>
                <a:cxnLst/>
                <a:rect l="l" t="t" r="r" b="b"/>
                <a:pathLst>
                  <a:path w="180762" h="2156" extrusionOk="0">
                    <a:moveTo>
                      <a:pt x="1072" y="1"/>
                    </a:moveTo>
                    <a:cubicBezTo>
                      <a:pt x="477" y="1"/>
                      <a:pt x="1" y="489"/>
                      <a:pt x="1" y="1084"/>
                    </a:cubicBezTo>
                    <a:cubicBezTo>
                      <a:pt x="1" y="1680"/>
                      <a:pt x="477" y="2156"/>
                      <a:pt x="1072" y="2156"/>
                    </a:cubicBezTo>
                    <a:lnTo>
                      <a:pt x="179678" y="2156"/>
                    </a:lnTo>
                    <a:cubicBezTo>
                      <a:pt x="180273" y="2156"/>
                      <a:pt x="180761" y="1668"/>
                      <a:pt x="180761" y="1072"/>
                    </a:cubicBezTo>
                    <a:cubicBezTo>
                      <a:pt x="180761" y="477"/>
                      <a:pt x="180273" y="1"/>
                      <a:pt x="179678"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28" name="Google Shape;5128;p68"/>
              <p:cNvSpPr/>
              <p:nvPr/>
            </p:nvSpPr>
            <p:spPr>
              <a:xfrm>
                <a:off x="1683525" y="3428225"/>
                <a:ext cx="4519050" cy="53900"/>
              </a:xfrm>
              <a:custGeom>
                <a:avLst/>
                <a:gdLst/>
                <a:ahLst/>
                <a:cxnLst/>
                <a:rect l="l" t="t" r="r" b="b"/>
                <a:pathLst>
                  <a:path w="180762" h="2156" extrusionOk="0">
                    <a:moveTo>
                      <a:pt x="1072" y="1"/>
                    </a:moveTo>
                    <a:cubicBezTo>
                      <a:pt x="477" y="1"/>
                      <a:pt x="1" y="489"/>
                      <a:pt x="1" y="1084"/>
                    </a:cubicBezTo>
                    <a:cubicBezTo>
                      <a:pt x="1" y="1679"/>
                      <a:pt x="477" y="2156"/>
                      <a:pt x="1072" y="2156"/>
                    </a:cubicBezTo>
                    <a:lnTo>
                      <a:pt x="179678" y="2156"/>
                    </a:lnTo>
                    <a:cubicBezTo>
                      <a:pt x="180273" y="2156"/>
                      <a:pt x="180761" y="1679"/>
                      <a:pt x="180761" y="1084"/>
                    </a:cubicBezTo>
                    <a:cubicBezTo>
                      <a:pt x="180761" y="489"/>
                      <a:pt x="180273" y="1"/>
                      <a:pt x="179678" y="1"/>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29" name="Google Shape;5129;p68"/>
              <p:cNvSpPr/>
              <p:nvPr/>
            </p:nvSpPr>
            <p:spPr>
              <a:xfrm>
                <a:off x="1683525" y="3844350"/>
                <a:ext cx="4519050" cy="53900"/>
              </a:xfrm>
              <a:custGeom>
                <a:avLst/>
                <a:gdLst/>
                <a:ahLst/>
                <a:cxnLst/>
                <a:rect l="l" t="t" r="r" b="b"/>
                <a:pathLst>
                  <a:path w="180762" h="2156" extrusionOk="0">
                    <a:moveTo>
                      <a:pt x="548" y="1"/>
                    </a:moveTo>
                    <a:cubicBezTo>
                      <a:pt x="251" y="1"/>
                      <a:pt x="1" y="251"/>
                      <a:pt x="1" y="560"/>
                    </a:cubicBezTo>
                    <a:lnTo>
                      <a:pt x="1" y="1608"/>
                    </a:lnTo>
                    <a:cubicBezTo>
                      <a:pt x="1" y="1917"/>
                      <a:pt x="251" y="2156"/>
                      <a:pt x="548" y="2156"/>
                    </a:cubicBezTo>
                    <a:lnTo>
                      <a:pt x="180202" y="2156"/>
                    </a:lnTo>
                    <a:cubicBezTo>
                      <a:pt x="180511" y="2156"/>
                      <a:pt x="180761" y="1917"/>
                      <a:pt x="180761" y="1608"/>
                    </a:cubicBezTo>
                    <a:lnTo>
                      <a:pt x="180761" y="560"/>
                    </a:lnTo>
                    <a:cubicBezTo>
                      <a:pt x="180761" y="251"/>
                      <a:pt x="180511" y="1"/>
                      <a:pt x="180202" y="1"/>
                    </a:cubicBezTo>
                    <a:close/>
                  </a:path>
                </a:pathLst>
              </a:custGeom>
              <a:solidFill>
                <a:srgbClr val="7994A9">
                  <a:alpha val="64709"/>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0" name="Google Shape;5130;p68"/>
              <p:cNvSpPr/>
              <p:nvPr/>
            </p:nvSpPr>
            <p:spPr>
              <a:xfrm>
                <a:off x="1683525" y="4260475"/>
                <a:ext cx="4519050" cy="53900"/>
              </a:xfrm>
              <a:custGeom>
                <a:avLst/>
                <a:gdLst/>
                <a:ahLst/>
                <a:cxnLst/>
                <a:rect l="l" t="t" r="r" b="b"/>
                <a:pathLst>
                  <a:path w="180762" h="2156" extrusionOk="0">
                    <a:moveTo>
                      <a:pt x="1072" y="0"/>
                    </a:moveTo>
                    <a:cubicBezTo>
                      <a:pt x="477" y="0"/>
                      <a:pt x="1" y="489"/>
                      <a:pt x="1" y="1084"/>
                    </a:cubicBezTo>
                    <a:cubicBezTo>
                      <a:pt x="1" y="1679"/>
                      <a:pt x="477" y="2156"/>
                      <a:pt x="1072" y="2156"/>
                    </a:cubicBezTo>
                    <a:lnTo>
                      <a:pt x="179678" y="2156"/>
                    </a:lnTo>
                    <a:cubicBezTo>
                      <a:pt x="180273" y="2156"/>
                      <a:pt x="180761" y="1679"/>
                      <a:pt x="180761" y="1084"/>
                    </a:cubicBezTo>
                    <a:cubicBezTo>
                      <a:pt x="180761" y="489"/>
                      <a:pt x="180273" y="0"/>
                      <a:pt x="179678" y="0"/>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1" name="Google Shape;5131;p68"/>
              <p:cNvSpPr/>
              <p:nvPr/>
            </p:nvSpPr>
            <p:spPr>
              <a:xfrm>
                <a:off x="1683525" y="2179850"/>
                <a:ext cx="921275" cy="53925"/>
              </a:xfrm>
              <a:custGeom>
                <a:avLst/>
                <a:gdLst/>
                <a:ahLst/>
                <a:cxnLst/>
                <a:rect l="l" t="t" r="r" b="b"/>
                <a:pathLst>
                  <a:path w="36851" h="2157" extrusionOk="0">
                    <a:moveTo>
                      <a:pt x="1072" y="1"/>
                    </a:moveTo>
                    <a:cubicBezTo>
                      <a:pt x="477" y="1"/>
                      <a:pt x="1" y="477"/>
                      <a:pt x="1" y="1073"/>
                    </a:cubicBezTo>
                    <a:cubicBezTo>
                      <a:pt x="1" y="1668"/>
                      <a:pt x="477" y="2156"/>
                      <a:pt x="1072" y="2156"/>
                    </a:cubicBezTo>
                    <a:lnTo>
                      <a:pt x="35767" y="2156"/>
                    </a:lnTo>
                    <a:cubicBezTo>
                      <a:pt x="36362" y="2156"/>
                      <a:pt x="36851" y="1668"/>
                      <a:pt x="36851" y="1073"/>
                    </a:cubicBezTo>
                    <a:cubicBezTo>
                      <a:pt x="36851" y="477"/>
                      <a:pt x="36362" y="1"/>
                      <a:pt x="35767"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2" name="Google Shape;5132;p68"/>
              <p:cNvSpPr/>
              <p:nvPr/>
            </p:nvSpPr>
            <p:spPr>
              <a:xfrm>
                <a:off x="2166625" y="2595975"/>
                <a:ext cx="2036900" cy="53900"/>
              </a:xfrm>
              <a:custGeom>
                <a:avLst/>
                <a:gdLst/>
                <a:ahLst/>
                <a:cxnLst/>
                <a:rect l="l" t="t" r="r" b="b"/>
                <a:pathLst>
                  <a:path w="81476" h="2156" extrusionOk="0">
                    <a:moveTo>
                      <a:pt x="1084" y="1"/>
                    </a:moveTo>
                    <a:cubicBezTo>
                      <a:pt x="489" y="1"/>
                      <a:pt x="1" y="489"/>
                      <a:pt x="1" y="1084"/>
                    </a:cubicBezTo>
                    <a:cubicBezTo>
                      <a:pt x="1" y="1668"/>
                      <a:pt x="489" y="2156"/>
                      <a:pt x="1084" y="2156"/>
                    </a:cubicBezTo>
                    <a:lnTo>
                      <a:pt x="80392" y="2156"/>
                    </a:lnTo>
                    <a:cubicBezTo>
                      <a:pt x="80987" y="2156"/>
                      <a:pt x="81475" y="1668"/>
                      <a:pt x="81475" y="1084"/>
                    </a:cubicBezTo>
                    <a:cubicBezTo>
                      <a:pt x="81475" y="489"/>
                      <a:pt x="80987" y="1"/>
                      <a:pt x="80392" y="1"/>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3" name="Google Shape;5133;p68"/>
              <p:cNvSpPr/>
              <p:nvPr/>
            </p:nvSpPr>
            <p:spPr>
              <a:xfrm>
                <a:off x="2808675" y="3012100"/>
                <a:ext cx="1082000" cy="53900"/>
              </a:xfrm>
              <a:custGeom>
                <a:avLst/>
                <a:gdLst/>
                <a:ahLst/>
                <a:cxnLst/>
                <a:rect l="l" t="t" r="r" b="b"/>
                <a:pathLst>
                  <a:path w="43280" h="2156" extrusionOk="0">
                    <a:moveTo>
                      <a:pt x="1072" y="1"/>
                    </a:moveTo>
                    <a:cubicBezTo>
                      <a:pt x="477" y="1"/>
                      <a:pt x="0" y="477"/>
                      <a:pt x="0" y="1072"/>
                    </a:cubicBezTo>
                    <a:cubicBezTo>
                      <a:pt x="0" y="1668"/>
                      <a:pt x="477" y="2156"/>
                      <a:pt x="1072" y="2156"/>
                    </a:cubicBezTo>
                    <a:lnTo>
                      <a:pt x="42196" y="2156"/>
                    </a:lnTo>
                    <a:cubicBezTo>
                      <a:pt x="42791" y="2156"/>
                      <a:pt x="43280" y="1668"/>
                      <a:pt x="43280" y="1072"/>
                    </a:cubicBezTo>
                    <a:cubicBezTo>
                      <a:pt x="43280" y="477"/>
                      <a:pt x="42791" y="1"/>
                      <a:pt x="42196"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4" name="Google Shape;5134;p68"/>
              <p:cNvSpPr/>
              <p:nvPr/>
            </p:nvSpPr>
            <p:spPr>
              <a:xfrm>
                <a:off x="2942925" y="3428225"/>
                <a:ext cx="2044925" cy="53900"/>
              </a:xfrm>
              <a:custGeom>
                <a:avLst/>
                <a:gdLst/>
                <a:ahLst/>
                <a:cxnLst/>
                <a:rect l="l" t="t" r="r" b="b"/>
                <a:pathLst>
                  <a:path w="81797" h="2156" extrusionOk="0">
                    <a:moveTo>
                      <a:pt x="1084" y="1"/>
                    </a:moveTo>
                    <a:cubicBezTo>
                      <a:pt x="488" y="1"/>
                      <a:pt x="0" y="489"/>
                      <a:pt x="12" y="1084"/>
                    </a:cubicBezTo>
                    <a:cubicBezTo>
                      <a:pt x="12" y="1679"/>
                      <a:pt x="488" y="2156"/>
                      <a:pt x="1084" y="2156"/>
                    </a:cubicBezTo>
                    <a:lnTo>
                      <a:pt x="80713" y="2156"/>
                    </a:lnTo>
                    <a:cubicBezTo>
                      <a:pt x="81308" y="2156"/>
                      <a:pt x="81796" y="1679"/>
                      <a:pt x="81796" y="1084"/>
                    </a:cubicBezTo>
                    <a:cubicBezTo>
                      <a:pt x="81796" y="489"/>
                      <a:pt x="81308" y="1"/>
                      <a:pt x="80713" y="1"/>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5" name="Google Shape;5135;p68"/>
              <p:cNvSpPr/>
              <p:nvPr/>
            </p:nvSpPr>
            <p:spPr>
              <a:xfrm>
                <a:off x="3933825" y="3844350"/>
                <a:ext cx="1650825" cy="53900"/>
              </a:xfrm>
              <a:custGeom>
                <a:avLst/>
                <a:gdLst/>
                <a:ahLst/>
                <a:cxnLst/>
                <a:rect l="l" t="t" r="r" b="b"/>
                <a:pathLst>
                  <a:path w="66033" h="2156" extrusionOk="0">
                    <a:moveTo>
                      <a:pt x="548" y="1"/>
                    </a:moveTo>
                    <a:cubicBezTo>
                      <a:pt x="238" y="1"/>
                      <a:pt x="0" y="251"/>
                      <a:pt x="0" y="560"/>
                    </a:cubicBezTo>
                    <a:lnTo>
                      <a:pt x="0" y="1608"/>
                    </a:lnTo>
                    <a:cubicBezTo>
                      <a:pt x="0" y="1917"/>
                      <a:pt x="238" y="2156"/>
                      <a:pt x="548" y="2156"/>
                    </a:cubicBezTo>
                    <a:lnTo>
                      <a:pt x="65472" y="2156"/>
                    </a:lnTo>
                    <a:cubicBezTo>
                      <a:pt x="65782" y="2156"/>
                      <a:pt x="66032" y="1917"/>
                      <a:pt x="66032" y="1608"/>
                    </a:cubicBezTo>
                    <a:lnTo>
                      <a:pt x="66032" y="560"/>
                    </a:lnTo>
                    <a:cubicBezTo>
                      <a:pt x="66032" y="251"/>
                      <a:pt x="65782" y="1"/>
                      <a:pt x="6547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sp>
            <p:nvSpPr>
              <p:cNvPr id="5136" name="Google Shape;5136;p68"/>
              <p:cNvSpPr/>
              <p:nvPr/>
            </p:nvSpPr>
            <p:spPr>
              <a:xfrm>
                <a:off x="5058950" y="4260775"/>
                <a:ext cx="1143625" cy="53600"/>
              </a:xfrm>
              <a:custGeom>
                <a:avLst/>
                <a:gdLst/>
                <a:ahLst/>
                <a:cxnLst/>
                <a:rect l="l" t="t" r="r" b="b"/>
                <a:pathLst>
                  <a:path w="45745" h="2144" extrusionOk="0">
                    <a:moveTo>
                      <a:pt x="1072" y="0"/>
                    </a:moveTo>
                    <a:cubicBezTo>
                      <a:pt x="477" y="0"/>
                      <a:pt x="1" y="477"/>
                      <a:pt x="1" y="1072"/>
                    </a:cubicBezTo>
                    <a:cubicBezTo>
                      <a:pt x="1" y="1667"/>
                      <a:pt x="477" y="2144"/>
                      <a:pt x="1072" y="2144"/>
                    </a:cubicBezTo>
                    <a:lnTo>
                      <a:pt x="44661" y="2144"/>
                    </a:lnTo>
                    <a:cubicBezTo>
                      <a:pt x="45256" y="2144"/>
                      <a:pt x="45744" y="1667"/>
                      <a:pt x="45744" y="1072"/>
                    </a:cubicBezTo>
                    <a:cubicBezTo>
                      <a:pt x="45744" y="477"/>
                      <a:pt x="45256" y="0"/>
                      <a:pt x="44661" y="0"/>
                    </a:cubicBezTo>
                    <a:close/>
                  </a:path>
                </a:pathLst>
              </a:custGeom>
              <a:solidFill>
                <a:srgbClr val="D7DFE5">
                  <a:alpha val="65920"/>
                </a:srgbClr>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FFFFFF"/>
                  </a:solidFill>
                  <a:latin typeface="Arial"/>
                  <a:cs typeface="Arial"/>
                  <a:sym typeface="Arial"/>
                </a:endParaRPr>
              </a:p>
            </p:txBody>
          </p:sp>
        </p:grpSp>
      </p:grpSp>
      <p:graphicFrame>
        <p:nvGraphicFramePr>
          <p:cNvPr id="5137" name="Google Shape;5137;p68"/>
          <p:cNvGraphicFramePr/>
          <p:nvPr/>
        </p:nvGraphicFramePr>
        <p:xfrm>
          <a:off x="7932900" y="3097467"/>
          <a:ext cx="3321733" cy="1158133"/>
        </p:xfrm>
        <a:graphic>
          <a:graphicData uri="http://schemas.openxmlformats.org/drawingml/2006/table">
            <a:tbl>
              <a:tblPr>
                <a:noFill/>
              </a:tblPr>
              <a:tblGrid>
                <a:gridCol w="830433">
                  <a:extLst>
                    <a:ext uri="{9D8B030D-6E8A-4147-A177-3AD203B41FA5}">
                      <a16:colId xmlns:a16="http://schemas.microsoft.com/office/drawing/2014/main" val="20000"/>
                    </a:ext>
                  </a:extLst>
                </a:gridCol>
                <a:gridCol w="830433">
                  <a:extLst>
                    <a:ext uri="{9D8B030D-6E8A-4147-A177-3AD203B41FA5}">
                      <a16:colId xmlns:a16="http://schemas.microsoft.com/office/drawing/2014/main" val="20001"/>
                    </a:ext>
                  </a:extLst>
                </a:gridCol>
                <a:gridCol w="830433">
                  <a:extLst>
                    <a:ext uri="{9D8B030D-6E8A-4147-A177-3AD203B41FA5}">
                      <a16:colId xmlns:a16="http://schemas.microsoft.com/office/drawing/2014/main" val="20002"/>
                    </a:ext>
                  </a:extLst>
                </a:gridCol>
                <a:gridCol w="830433">
                  <a:extLst>
                    <a:ext uri="{9D8B030D-6E8A-4147-A177-3AD203B41FA5}">
                      <a16:colId xmlns:a16="http://schemas.microsoft.com/office/drawing/2014/main" val="20003"/>
                    </a:ext>
                  </a:extLst>
                </a:gridCol>
              </a:tblGrid>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solid"/>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0"/>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CFD9E0"/>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1"/>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E3E9ED"/>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869FB2"/>
                    </a:solidFill>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extLst>
                  <a:ext uri="{0D108BD9-81ED-4DB2-BD59-A6C34878D82A}">
                    <a16:rowId xmlns:a16="http://schemas.microsoft.com/office/drawing/2014/main" val="10002"/>
                  </a:ext>
                </a:extLst>
              </a:tr>
              <a:tr h="289533">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19050" cap="flat" cmpd="sng">
                      <a:solidFill>
                        <a:srgbClr val="E1E7EC"/>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tcPr>
                </a:tc>
                <a:tc>
                  <a:txBody>
                    <a:bodyPr/>
                    <a:lstStyle/>
                    <a:p>
                      <a:pPr marL="0" lvl="0" indent="0" algn="ctr" rtl="0">
                        <a:spcBef>
                          <a:spcPts val="0"/>
                        </a:spcBef>
                        <a:spcAft>
                          <a:spcPts val="0"/>
                        </a:spcAft>
                        <a:buNone/>
                      </a:pPr>
                      <a:endParaRPr sz="300" b="1">
                        <a:latin typeface="Amatic SC"/>
                        <a:ea typeface="Amatic SC"/>
                        <a:cs typeface="Amatic SC"/>
                        <a:sym typeface="Amatic SC"/>
                      </a:endParaRPr>
                    </a:p>
                  </a:txBody>
                  <a:tcPr marL="121900" marR="121900" marT="121900" marB="121900">
                    <a:lnL w="9525" cap="flat" cmpd="sng">
                      <a:solidFill>
                        <a:srgbClr val="E1E7EC">
                          <a:alpha val="0"/>
                        </a:srgbClr>
                      </a:solidFill>
                      <a:prstDash val="solid"/>
                      <a:round/>
                      <a:headEnd type="none" w="sm" len="sm"/>
                      <a:tailEnd type="none" w="sm" len="sm"/>
                    </a:lnL>
                    <a:lnR w="9525" cap="flat" cmpd="sng">
                      <a:solidFill>
                        <a:srgbClr val="E1E7EC">
                          <a:alpha val="0"/>
                        </a:srgbClr>
                      </a:solidFill>
                      <a:prstDash val="solid"/>
                      <a:round/>
                      <a:headEnd type="none" w="sm" len="sm"/>
                      <a:tailEnd type="none" w="sm" len="sm"/>
                    </a:lnR>
                    <a:lnT w="19050" cap="flat" cmpd="sng">
                      <a:solidFill>
                        <a:srgbClr val="E1E7EC"/>
                      </a:solidFill>
                      <a:prstDash val="dot"/>
                      <a:round/>
                      <a:headEnd type="none" w="sm" len="sm"/>
                      <a:tailEnd type="none" w="sm" len="sm"/>
                    </a:lnT>
                    <a:lnB w="19050" cap="flat" cmpd="sng">
                      <a:solidFill>
                        <a:srgbClr val="E1E7EC"/>
                      </a:solidFill>
                      <a:prstDash val="dot"/>
                      <a:round/>
                      <a:headEnd type="none" w="sm" len="sm"/>
                      <a:tailEnd type="none" w="sm" len="sm"/>
                    </a:lnB>
                    <a:solidFill>
                      <a:srgbClr val="7994A9">
                        <a:alpha val="64709"/>
                      </a:srgbClr>
                    </a:solidFill>
                  </a:tcPr>
                </a:tc>
                <a:extLst>
                  <a:ext uri="{0D108BD9-81ED-4DB2-BD59-A6C34878D82A}">
                    <a16:rowId xmlns:a16="http://schemas.microsoft.com/office/drawing/2014/main" val="10003"/>
                  </a:ext>
                </a:extLst>
              </a:tr>
            </a:tbl>
          </a:graphicData>
        </a:graphic>
      </p:graphicFrame>
      <p:grpSp>
        <p:nvGrpSpPr>
          <p:cNvPr id="5138" name="Google Shape;5138;p68"/>
          <p:cNvGrpSpPr/>
          <p:nvPr/>
        </p:nvGrpSpPr>
        <p:grpSpPr>
          <a:xfrm>
            <a:off x="7902566" y="4508929"/>
            <a:ext cx="3359767" cy="1335272"/>
            <a:chOff x="1906114" y="789980"/>
            <a:chExt cx="1487676" cy="606868"/>
          </a:xfrm>
        </p:grpSpPr>
        <p:cxnSp>
          <p:nvCxnSpPr>
            <p:cNvPr id="5139" name="Google Shape;5139;p68"/>
            <p:cNvCxnSpPr/>
            <p:nvPr/>
          </p:nvCxnSpPr>
          <p:spPr>
            <a:xfrm rot="10800000">
              <a:off x="2109981" y="1180903"/>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140" name="Google Shape;5140;p68"/>
            <p:cNvCxnSpPr/>
            <p:nvPr/>
          </p:nvCxnSpPr>
          <p:spPr>
            <a:xfrm rot="10800000">
              <a:off x="2109981" y="985080"/>
              <a:ext cx="1280400" cy="0"/>
            </a:xfrm>
            <a:prstGeom prst="straightConnector1">
              <a:avLst/>
            </a:prstGeom>
            <a:noFill/>
            <a:ln w="9525" cap="flat" cmpd="sng">
              <a:solidFill>
                <a:srgbClr val="B3C3CE"/>
              </a:solidFill>
              <a:prstDash val="solid"/>
              <a:round/>
              <a:headEnd type="none" w="med" len="med"/>
              <a:tailEnd type="none" w="med" len="med"/>
            </a:ln>
          </p:spPr>
        </p:cxnSp>
        <p:cxnSp>
          <p:nvCxnSpPr>
            <p:cNvPr id="5141" name="Google Shape;5141;p68"/>
            <p:cNvCxnSpPr/>
            <p:nvPr/>
          </p:nvCxnSpPr>
          <p:spPr>
            <a:xfrm rot="10800000">
              <a:off x="2109981" y="1376729"/>
              <a:ext cx="1280400" cy="0"/>
            </a:xfrm>
            <a:prstGeom prst="straightConnector1">
              <a:avLst/>
            </a:prstGeom>
            <a:noFill/>
            <a:ln w="9525" cap="flat" cmpd="sng">
              <a:solidFill>
                <a:srgbClr val="B3C3CE"/>
              </a:solidFill>
              <a:prstDash val="solid"/>
              <a:round/>
              <a:headEnd type="none" w="med" len="med"/>
              <a:tailEnd type="none" w="med" len="med"/>
            </a:ln>
          </p:spPr>
        </p:cxnSp>
        <p:sp>
          <p:nvSpPr>
            <p:cNvPr id="5142" name="Google Shape;5142;p68"/>
            <p:cNvSpPr txBox="1"/>
            <p:nvPr/>
          </p:nvSpPr>
          <p:spPr>
            <a:xfrm flipH="1">
              <a:off x="2109710"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JANUARY</a:t>
              </a:r>
              <a:endParaRPr sz="400" kern="0">
                <a:solidFill>
                  <a:srgbClr val="E3E9ED"/>
                </a:solidFill>
                <a:latin typeface="Arial"/>
                <a:cs typeface="Arial"/>
                <a:sym typeface="Arial"/>
              </a:endParaRPr>
            </a:p>
          </p:txBody>
        </p:sp>
        <p:sp>
          <p:nvSpPr>
            <p:cNvPr id="5143" name="Google Shape;5143;p68"/>
            <p:cNvSpPr txBox="1"/>
            <p:nvPr/>
          </p:nvSpPr>
          <p:spPr>
            <a:xfrm flipH="1">
              <a:off x="2434275" y="789980"/>
              <a:ext cx="2892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FEBRUARY</a:t>
              </a:r>
              <a:endParaRPr sz="400" kern="0">
                <a:solidFill>
                  <a:srgbClr val="E3E9ED"/>
                </a:solidFill>
                <a:latin typeface="Arial"/>
                <a:cs typeface="Arial"/>
                <a:sym typeface="Arial"/>
              </a:endParaRPr>
            </a:p>
          </p:txBody>
        </p:sp>
        <p:sp>
          <p:nvSpPr>
            <p:cNvPr id="5144" name="Google Shape;5144;p68"/>
            <p:cNvSpPr txBox="1"/>
            <p:nvPr/>
          </p:nvSpPr>
          <p:spPr>
            <a:xfrm flipH="1">
              <a:off x="2781049"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MARCH</a:t>
              </a:r>
              <a:endParaRPr sz="400" kern="0">
                <a:solidFill>
                  <a:srgbClr val="E3E9ED"/>
                </a:solidFill>
                <a:latin typeface="Arial"/>
                <a:cs typeface="Arial"/>
                <a:sym typeface="Arial"/>
              </a:endParaRPr>
            </a:p>
          </p:txBody>
        </p:sp>
        <p:sp>
          <p:nvSpPr>
            <p:cNvPr id="5145" name="Google Shape;5145;p68"/>
            <p:cNvSpPr txBox="1"/>
            <p:nvPr/>
          </p:nvSpPr>
          <p:spPr>
            <a:xfrm flipH="1">
              <a:off x="3112690" y="789981"/>
              <a:ext cx="281100" cy="107400"/>
            </a:xfrm>
            <a:prstGeom prst="rect">
              <a:avLst/>
            </a:prstGeom>
            <a:noFill/>
            <a:ln>
              <a:noFill/>
            </a:ln>
          </p:spPr>
          <p:txBody>
            <a:bodyPr spcFirstLastPara="1" wrap="square" lIns="121900" tIns="121900" rIns="121900" bIns="121900" anchor="t" anchorCtr="0">
              <a:noAutofit/>
            </a:bodyPr>
            <a:lstStyle/>
            <a:p>
              <a:pPr algn="ctr" defTabSz="1219170">
                <a:spcAft>
                  <a:spcPts val="2133"/>
                </a:spcAft>
                <a:buClr>
                  <a:srgbClr val="000000"/>
                </a:buClr>
              </a:pPr>
              <a:r>
                <a:rPr lang="en" sz="400" kern="0">
                  <a:solidFill>
                    <a:srgbClr val="E3E9ED"/>
                  </a:solidFill>
                  <a:latin typeface="Arial"/>
                  <a:cs typeface="Arial"/>
                  <a:sym typeface="Arial"/>
                </a:rPr>
                <a:t>APRIL</a:t>
              </a:r>
              <a:endParaRPr sz="400" kern="0">
                <a:solidFill>
                  <a:srgbClr val="E3E9ED"/>
                </a:solidFill>
                <a:latin typeface="Arial"/>
                <a:cs typeface="Arial"/>
                <a:sym typeface="Arial"/>
              </a:endParaRPr>
            </a:p>
          </p:txBody>
        </p:sp>
        <p:sp>
          <p:nvSpPr>
            <p:cNvPr id="5146" name="Google Shape;5146;p68"/>
            <p:cNvSpPr/>
            <p:nvPr/>
          </p:nvSpPr>
          <p:spPr>
            <a:xfrm>
              <a:off x="2105681" y="964326"/>
              <a:ext cx="2892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7" name="Google Shape;5147;p68"/>
            <p:cNvSpPr/>
            <p:nvPr/>
          </p:nvSpPr>
          <p:spPr>
            <a:xfrm>
              <a:off x="2109515" y="1159286"/>
              <a:ext cx="280200" cy="42600"/>
            </a:xfrm>
            <a:prstGeom prst="rect">
              <a:avLst/>
            </a:prstGeom>
            <a:solidFill>
              <a:srgbClr val="EEEEE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8" name="Google Shape;5148;p68"/>
            <p:cNvSpPr/>
            <p:nvPr/>
          </p:nvSpPr>
          <p:spPr>
            <a:xfrm>
              <a:off x="2753389" y="1353677"/>
              <a:ext cx="3255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49" name="Google Shape;5149;p68"/>
            <p:cNvSpPr/>
            <p:nvPr/>
          </p:nvSpPr>
          <p:spPr>
            <a:xfrm>
              <a:off x="2105681" y="1159287"/>
              <a:ext cx="2892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0" name="Google Shape;5150;p68"/>
            <p:cNvSpPr/>
            <p:nvPr/>
          </p:nvSpPr>
          <p:spPr>
            <a:xfrm>
              <a:off x="2412005" y="1354248"/>
              <a:ext cx="325500" cy="426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1" name="Google Shape;5151;p68"/>
            <p:cNvSpPr/>
            <p:nvPr/>
          </p:nvSpPr>
          <p:spPr>
            <a:xfrm>
              <a:off x="2410087" y="964961"/>
              <a:ext cx="3255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2" name="Google Shape;5152;p68"/>
            <p:cNvSpPr txBox="1"/>
            <p:nvPr/>
          </p:nvSpPr>
          <p:spPr>
            <a:xfrm flipH="1">
              <a:off x="1906114" y="918164"/>
              <a:ext cx="203400" cy="106500"/>
            </a:xfrm>
            <a:prstGeom prst="rect">
              <a:avLst/>
            </a:prstGeom>
            <a:noFill/>
            <a:ln>
              <a:noFill/>
            </a:ln>
          </p:spPr>
          <p:txBody>
            <a:bodyPr spcFirstLastPara="1" wrap="square" lIns="121900" tIns="121900" rIns="121900" bIns="121900" anchor="t" anchorCtr="0">
              <a:noAutofit/>
            </a:bodyPr>
            <a:lstStyle/>
            <a:p>
              <a:pPr algn="r" defTabSz="1219170">
                <a:spcAft>
                  <a:spcPts val="2133"/>
                </a:spcAft>
                <a:buClr>
                  <a:srgbClr val="000000"/>
                </a:buClr>
              </a:pPr>
              <a:r>
                <a:rPr lang="en" sz="400" kern="0">
                  <a:solidFill>
                    <a:srgbClr val="E3E9ED"/>
                  </a:solidFill>
                  <a:latin typeface="Arial"/>
                  <a:cs typeface="Arial"/>
                  <a:sym typeface="Arial"/>
                </a:rPr>
                <a:t>PHASE 1</a:t>
              </a:r>
              <a:endParaRPr sz="400" kern="0">
                <a:solidFill>
                  <a:srgbClr val="E3E9ED"/>
                </a:solidFill>
                <a:latin typeface="Arial"/>
                <a:cs typeface="Arial"/>
                <a:sym typeface="Arial"/>
              </a:endParaRPr>
            </a:p>
          </p:txBody>
        </p:sp>
        <p:sp>
          <p:nvSpPr>
            <p:cNvPr id="5153" name="Google Shape;5153;p68"/>
            <p:cNvSpPr txBox="1"/>
            <p:nvPr/>
          </p:nvSpPr>
          <p:spPr>
            <a:xfrm flipH="1">
              <a:off x="1919618" y="1113390"/>
              <a:ext cx="189900" cy="91200"/>
            </a:xfrm>
            <a:prstGeom prst="rect">
              <a:avLst/>
            </a:prstGeom>
            <a:noFill/>
            <a:ln>
              <a:noFill/>
            </a:ln>
          </p:spPr>
          <p:txBody>
            <a:bodyPr spcFirstLastPara="1" wrap="square" lIns="121900" tIns="121900" rIns="121900" bIns="121900" anchor="t" anchorCtr="0">
              <a:noAutofit/>
            </a:bodyPr>
            <a:lstStyle/>
            <a:p>
              <a:pPr algn="r" defTabSz="1219170">
                <a:lnSpc>
                  <a:spcPct val="115000"/>
                </a:lnSpc>
                <a:spcAft>
                  <a:spcPts val="2133"/>
                </a:spcAft>
                <a:buClr>
                  <a:srgbClr val="000000"/>
                </a:buClr>
              </a:pPr>
              <a:r>
                <a:rPr lang="en" sz="400" kern="0">
                  <a:solidFill>
                    <a:srgbClr val="E3E9ED"/>
                  </a:solidFill>
                  <a:latin typeface="Arial"/>
                  <a:cs typeface="Arial"/>
                  <a:sym typeface="Arial"/>
                </a:rPr>
                <a:t>Task 1</a:t>
              </a:r>
              <a:endParaRPr sz="400" kern="0">
                <a:solidFill>
                  <a:srgbClr val="E3E9ED"/>
                </a:solidFill>
                <a:latin typeface="Arial"/>
                <a:cs typeface="Arial"/>
                <a:sym typeface="Arial"/>
              </a:endParaRPr>
            </a:p>
          </p:txBody>
        </p:sp>
        <p:sp>
          <p:nvSpPr>
            <p:cNvPr id="5154" name="Google Shape;5154;p68"/>
            <p:cNvSpPr txBox="1"/>
            <p:nvPr/>
          </p:nvSpPr>
          <p:spPr>
            <a:xfrm flipH="1">
              <a:off x="1906118" y="1304527"/>
              <a:ext cx="203400" cy="91200"/>
            </a:xfrm>
            <a:prstGeom prst="rect">
              <a:avLst/>
            </a:prstGeom>
            <a:noFill/>
            <a:ln>
              <a:noFill/>
            </a:ln>
          </p:spPr>
          <p:txBody>
            <a:bodyPr spcFirstLastPara="1" wrap="square" lIns="121900" tIns="121900" rIns="121900" bIns="121900" anchor="t" anchorCtr="0">
              <a:noAutofit/>
            </a:bodyPr>
            <a:lstStyle/>
            <a:p>
              <a:pPr algn="r" defTabSz="1219170">
                <a:lnSpc>
                  <a:spcPct val="115000"/>
                </a:lnSpc>
                <a:spcAft>
                  <a:spcPts val="2133"/>
                </a:spcAft>
                <a:buClr>
                  <a:srgbClr val="000000"/>
                </a:buClr>
              </a:pPr>
              <a:r>
                <a:rPr lang="en" sz="400" kern="0">
                  <a:solidFill>
                    <a:srgbClr val="E3E9ED"/>
                  </a:solidFill>
                  <a:latin typeface="Arial"/>
                  <a:cs typeface="Arial"/>
                  <a:sym typeface="Arial"/>
                </a:rPr>
                <a:t>Task 2</a:t>
              </a:r>
              <a:endParaRPr sz="400" kern="0">
                <a:solidFill>
                  <a:srgbClr val="E3E9ED"/>
                </a:solidFill>
                <a:latin typeface="Arial"/>
                <a:cs typeface="Arial"/>
                <a:sym typeface="Arial"/>
              </a:endParaRPr>
            </a:p>
          </p:txBody>
        </p:sp>
        <p:sp>
          <p:nvSpPr>
            <p:cNvPr id="5155" name="Google Shape;5155;p68"/>
            <p:cNvSpPr/>
            <p:nvPr/>
          </p:nvSpPr>
          <p:spPr>
            <a:xfrm>
              <a:off x="2750975" y="964961"/>
              <a:ext cx="325500" cy="426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156" name="Google Shape;5156;p68"/>
          <p:cNvGrpSpPr/>
          <p:nvPr/>
        </p:nvGrpSpPr>
        <p:grpSpPr>
          <a:xfrm>
            <a:off x="968532" y="1587540"/>
            <a:ext cx="3192493" cy="1302003"/>
            <a:chOff x="749309" y="1112739"/>
            <a:chExt cx="2371603" cy="976502"/>
          </a:xfrm>
        </p:grpSpPr>
        <p:sp>
          <p:nvSpPr>
            <p:cNvPr id="5157" name="Google Shape;5157;p68"/>
            <p:cNvSpPr/>
            <p:nvPr/>
          </p:nvSpPr>
          <p:spPr>
            <a:xfrm>
              <a:off x="1092126"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8" name="Google Shape;5158;p68"/>
            <p:cNvSpPr/>
            <p:nvPr/>
          </p:nvSpPr>
          <p:spPr>
            <a:xfrm>
              <a:off x="1434943"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59" name="Google Shape;5159;p68"/>
            <p:cNvSpPr/>
            <p:nvPr/>
          </p:nvSpPr>
          <p:spPr>
            <a:xfrm>
              <a:off x="1777760"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0" name="Google Shape;5160;p68"/>
            <p:cNvSpPr/>
            <p:nvPr/>
          </p:nvSpPr>
          <p:spPr>
            <a:xfrm>
              <a:off x="2120578"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1" name="Google Shape;5161;p68"/>
            <p:cNvSpPr/>
            <p:nvPr/>
          </p:nvSpPr>
          <p:spPr>
            <a:xfrm>
              <a:off x="2463395"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2" name="Google Shape;5162;p68"/>
            <p:cNvSpPr/>
            <p:nvPr/>
          </p:nvSpPr>
          <p:spPr>
            <a:xfrm>
              <a:off x="2806212" y="111273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3" name="Google Shape;5163;p68"/>
            <p:cNvSpPr/>
            <p:nvPr/>
          </p:nvSpPr>
          <p:spPr>
            <a:xfrm>
              <a:off x="749309" y="1362294"/>
              <a:ext cx="314700" cy="2268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4" name="Google Shape;5164;p68"/>
            <p:cNvSpPr/>
            <p:nvPr/>
          </p:nvSpPr>
          <p:spPr>
            <a:xfrm>
              <a:off x="1092126"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5" name="Google Shape;5165;p68"/>
            <p:cNvSpPr/>
            <p:nvPr/>
          </p:nvSpPr>
          <p:spPr>
            <a:xfrm>
              <a:off x="1434943"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6" name="Google Shape;5166;p68"/>
            <p:cNvSpPr/>
            <p:nvPr/>
          </p:nvSpPr>
          <p:spPr>
            <a:xfrm>
              <a:off x="1777760"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7" name="Google Shape;5167;p68"/>
            <p:cNvSpPr/>
            <p:nvPr/>
          </p:nvSpPr>
          <p:spPr>
            <a:xfrm>
              <a:off x="2120578"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8" name="Google Shape;5168;p68"/>
            <p:cNvSpPr/>
            <p:nvPr/>
          </p:nvSpPr>
          <p:spPr>
            <a:xfrm>
              <a:off x="2463395"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69" name="Google Shape;5169;p68"/>
            <p:cNvSpPr/>
            <p:nvPr/>
          </p:nvSpPr>
          <p:spPr>
            <a:xfrm>
              <a:off x="2806212" y="136229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0" name="Google Shape;5170;p68"/>
            <p:cNvSpPr/>
            <p:nvPr/>
          </p:nvSpPr>
          <p:spPr>
            <a:xfrm>
              <a:off x="749309" y="1611849"/>
              <a:ext cx="314700" cy="2268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1" name="Google Shape;5171;p68"/>
            <p:cNvSpPr/>
            <p:nvPr/>
          </p:nvSpPr>
          <p:spPr>
            <a:xfrm>
              <a:off x="1092126"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2" name="Google Shape;5172;p68"/>
            <p:cNvSpPr/>
            <p:nvPr/>
          </p:nvSpPr>
          <p:spPr>
            <a:xfrm>
              <a:off x="1434943"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3" name="Google Shape;5173;p68"/>
            <p:cNvSpPr/>
            <p:nvPr/>
          </p:nvSpPr>
          <p:spPr>
            <a:xfrm>
              <a:off x="1777760"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4" name="Google Shape;5174;p68"/>
            <p:cNvSpPr/>
            <p:nvPr/>
          </p:nvSpPr>
          <p:spPr>
            <a:xfrm>
              <a:off x="2120578"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5" name="Google Shape;5175;p68"/>
            <p:cNvSpPr/>
            <p:nvPr/>
          </p:nvSpPr>
          <p:spPr>
            <a:xfrm>
              <a:off x="2463395"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6" name="Google Shape;5176;p68"/>
            <p:cNvSpPr/>
            <p:nvPr/>
          </p:nvSpPr>
          <p:spPr>
            <a:xfrm>
              <a:off x="2806212" y="1611849"/>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7" name="Google Shape;5177;p68"/>
            <p:cNvSpPr/>
            <p:nvPr/>
          </p:nvSpPr>
          <p:spPr>
            <a:xfrm>
              <a:off x="749309" y="1861404"/>
              <a:ext cx="314700" cy="2268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8" name="Google Shape;5178;p68"/>
            <p:cNvSpPr/>
            <p:nvPr/>
          </p:nvSpPr>
          <p:spPr>
            <a:xfrm>
              <a:off x="1092126"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79" name="Google Shape;5179;p68"/>
            <p:cNvSpPr/>
            <p:nvPr/>
          </p:nvSpPr>
          <p:spPr>
            <a:xfrm>
              <a:off x="1434943"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0" name="Google Shape;5180;p68"/>
            <p:cNvSpPr/>
            <p:nvPr/>
          </p:nvSpPr>
          <p:spPr>
            <a:xfrm>
              <a:off x="1777760"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1" name="Google Shape;5181;p68"/>
            <p:cNvSpPr/>
            <p:nvPr/>
          </p:nvSpPr>
          <p:spPr>
            <a:xfrm>
              <a:off x="2120578"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2" name="Google Shape;5182;p68"/>
            <p:cNvSpPr/>
            <p:nvPr/>
          </p:nvSpPr>
          <p:spPr>
            <a:xfrm>
              <a:off x="2463395"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3" name="Google Shape;5183;p68"/>
            <p:cNvSpPr/>
            <p:nvPr/>
          </p:nvSpPr>
          <p:spPr>
            <a:xfrm>
              <a:off x="2806212" y="1861404"/>
              <a:ext cx="314700" cy="2268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4" name="Google Shape;5184;p68"/>
            <p:cNvSpPr/>
            <p:nvPr/>
          </p:nvSpPr>
          <p:spPr>
            <a:xfrm>
              <a:off x="749309" y="1112739"/>
              <a:ext cx="314700" cy="226800"/>
            </a:xfrm>
            <a:prstGeom prst="rect">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5" name="Google Shape;5185;p68"/>
            <p:cNvSpPr/>
            <p:nvPr/>
          </p:nvSpPr>
          <p:spPr>
            <a:xfrm>
              <a:off x="1434877" y="1258345"/>
              <a:ext cx="16857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6" name="Google Shape;5186;p68"/>
            <p:cNvSpPr/>
            <p:nvPr/>
          </p:nvSpPr>
          <p:spPr>
            <a:xfrm>
              <a:off x="1777683" y="2010641"/>
              <a:ext cx="10002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7" name="Google Shape;5187;p68"/>
            <p:cNvSpPr/>
            <p:nvPr/>
          </p:nvSpPr>
          <p:spPr>
            <a:xfrm>
              <a:off x="1092070" y="1759876"/>
              <a:ext cx="6576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88" name="Google Shape;5188;p68"/>
            <p:cNvSpPr/>
            <p:nvPr/>
          </p:nvSpPr>
          <p:spPr>
            <a:xfrm>
              <a:off x="2463277" y="1759876"/>
              <a:ext cx="657600" cy="78600"/>
            </a:xfrm>
            <a:prstGeom prst="rect">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aphicFrame>
        <p:nvGraphicFramePr>
          <p:cNvPr id="5189" name="Google Shape;5189;p68"/>
          <p:cNvGraphicFramePr/>
          <p:nvPr/>
        </p:nvGraphicFramePr>
        <p:xfrm>
          <a:off x="7932934" y="1585267"/>
          <a:ext cx="3321733" cy="1301900"/>
        </p:xfrm>
        <a:graphic>
          <a:graphicData uri="http://schemas.openxmlformats.org/drawingml/2006/table">
            <a:tbl>
              <a:tblPr>
                <a:noFill/>
              </a:tblPr>
              <a:tblGrid>
                <a:gridCol w="830433">
                  <a:extLst>
                    <a:ext uri="{9D8B030D-6E8A-4147-A177-3AD203B41FA5}">
                      <a16:colId xmlns:a16="http://schemas.microsoft.com/office/drawing/2014/main" val="20000"/>
                    </a:ext>
                  </a:extLst>
                </a:gridCol>
                <a:gridCol w="830433">
                  <a:extLst>
                    <a:ext uri="{9D8B030D-6E8A-4147-A177-3AD203B41FA5}">
                      <a16:colId xmlns:a16="http://schemas.microsoft.com/office/drawing/2014/main" val="20001"/>
                    </a:ext>
                  </a:extLst>
                </a:gridCol>
                <a:gridCol w="830433">
                  <a:extLst>
                    <a:ext uri="{9D8B030D-6E8A-4147-A177-3AD203B41FA5}">
                      <a16:colId xmlns:a16="http://schemas.microsoft.com/office/drawing/2014/main" val="20002"/>
                    </a:ext>
                  </a:extLst>
                </a:gridCol>
                <a:gridCol w="830433">
                  <a:extLst>
                    <a:ext uri="{9D8B030D-6E8A-4147-A177-3AD203B41FA5}">
                      <a16:colId xmlns:a16="http://schemas.microsoft.com/office/drawing/2014/main" val="20003"/>
                    </a:ext>
                  </a:extLst>
                </a:gridCol>
              </a:tblGrid>
              <a:tr h="433967">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extLst>
                  <a:ext uri="{0D108BD9-81ED-4DB2-BD59-A6C34878D82A}">
                    <a16:rowId xmlns:a16="http://schemas.microsoft.com/office/drawing/2014/main" val="10000"/>
                  </a:ext>
                </a:extLst>
              </a:tr>
              <a:tr h="433967">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433967">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A5B7C5"/>
                    </a:solidFill>
                  </a:tcPr>
                </a:tc>
                <a:extLst>
                  <a:ext uri="{0D108BD9-81ED-4DB2-BD59-A6C34878D82A}">
                    <a16:rowId xmlns:a16="http://schemas.microsoft.com/office/drawing/2014/main" val="10002"/>
                  </a:ext>
                </a:extLst>
              </a:tr>
            </a:tbl>
          </a:graphicData>
        </a:graphic>
      </p:graphicFrame>
      <p:graphicFrame>
        <p:nvGraphicFramePr>
          <p:cNvPr id="5190" name="Google Shape;5190;p68"/>
          <p:cNvGraphicFramePr/>
          <p:nvPr/>
        </p:nvGraphicFramePr>
        <p:xfrm>
          <a:off x="4475217" y="3097467"/>
          <a:ext cx="3151200" cy="1158100"/>
        </p:xfrm>
        <a:graphic>
          <a:graphicData uri="http://schemas.openxmlformats.org/drawingml/2006/table">
            <a:tbl>
              <a:tblPr>
                <a:noFill/>
              </a:tblPr>
              <a:tblGrid>
                <a:gridCol w="787800">
                  <a:extLst>
                    <a:ext uri="{9D8B030D-6E8A-4147-A177-3AD203B41FA5}">
                      <a16:colId xmlns:a16="http://schemas.microsoft.com/office/drawing/2014/main" val="20000"/>
                    </a:ext>
                  </a:extLst>
                </a:gridCol>
                <a:gridCol w="787800">
                  <a:extLst>
                    <a:ext uri="{9D8B030D-6E8A-4147-A177-3AD203B41FA5}">
                      <a16:colId xmlns:a16="http://schemas.microsoft.com/office/drawing/2014/main" val="20001"/>
                    </a:ext>
                  </a:extLst>
                </a:gridCol>
                <a:gridCol w="787800">
                  <a:extLst>
                    <a:ext uri="{9D8B030D-6E8A-4147-A177-3AD203B41FA5}">
                      <a16:colId xmlns:a16="http://schemas.microsoft.com/office/drawing/2014/main" val="20002"/>
                    </a:ext>
                  </a:extLst>
                </a:gridCol>
                <a:gridCol w="787800">
                  <a:extLst>
                    <a:ext uri="{9D8B030D-6E8A-4147-A177-3AD203B41FA5}">
                      <a16:colId xmlns:a16="http://schemas.microsoft.com/office/drawing/2014/main" val="20003"/>
                    </a:ext>
                  </a:extLst>
                </a:gridCol>
              </a:tblGrid>
              <a:tr h="386033">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9525" cap="flat" cmpd="sng">
                      <a:solidFill>
                        <a:srgbClr val="0E2A47"/>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19050" cap="flat" cmpd="sng">
                      <a:solidFill>
                        <a:srgbClr val="0E2A47"/>
                      </a:solidFill>
                      <a:prstDash val="solid"/>
                      <a:round/>
                      <a:headEnd type="none" w="sm" len="sm"/>
                      <a:tailEnd type="none" w="sm" len="sm"/>
                    </a:lnR>
                    <a:lnT w="19050"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386033">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9525" cap="flat" cmpd="sng">
                      <a:solidFill>
                        <a:srgbClr val="0E2A47"/>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86033">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9525" cap="flat" cmpd="sng">
                      <a:solidFill>
                        <a:srgbClr val="0E2A47"/>
                      </a:solidFill>
                      <a:prstDash val="solid"/>
                      <a:round/>
                      <a:headEnd type="none" w="sm" len="sm"/>
                      <a:tailEnd type="none" w="sm" len="sm"/>
                    </a:lnR>
                    <a:lnT w="9525" cap="flat" cmpd="sng">
                      <a:solidFill>
                        <a:srgbClr val="0E2A47"/>
                      </a:solidFill>
                      <a:prstDash val="solid"/>
                      <a:round/>
                      <a:headEnd type="none" w="sm" len="sm"/>
                      <a:tailEnd type="none" w="sm" len="sm"/>
                    </a:lnT>
                    <a:lnB w="9525" cap="flat" cmpd="sng">
                      <a:solidFill>
                        <a:srgbClr val="0E2A47"/>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300"/>
                    </a:p>
                  </a:txBody>
                  <a:tcPr marL="121900" marR="121900" marT="121900" marB="121900">
                    <a:lnL w="9525" cap="flat" cmpd="sng">
                      <a:solidFill>
                        <a:srgbClr val="0E2A47"/>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191" name="Google Shape;5191;p68"/>
          <p:cNvGrpSpPr/>
          <p:nvPr/>
        </p:nvGrpSpPr>
        <p:grpSpPr>
          <a:xfrm>
            <a:off x="5467123" y="3612991"/>
            <a:ext cx="2023248" cy="99280"/>
            <a:chOff x="3980086" y="2804397"/>
            <a:chExt cx="1227600" cy="66900"/>
          </a:xfrm>
        </p:grpSpPr>
        <p:sp>
          <p:nvSpPr>
            <p:cNvPr id="5192" name="Google Shape;5192;p68"/>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3" name="Google Shape;5193;p68"/>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194" name="Google Shape;5194;p68"/>
          <p:cNvGrpSpPr/>
          <p:nvPr/>
        </p:nvGrpSpPr>
        <p:grpSpPr>
          <a:xfrm>
            <a:off x="6300541" y="4003107"/>
            <a:ext cx="1190608" cy="99280"/>
            <a:chOff x="3980086" y="2804397"/>
            <a:chExt cx="1227600" cy="66900"/>
          </a:xfrm>
        </p:grpSpPr>
        <p:sp>
          <p:nvSpPr>
            <p:cNvPr id="5195" name="Google Shape;5195;p68"/>
            <p:cNvSpPr/>
            <p:nvPr/>
          </p:nvSpPr>
          <p:spPr>
            <a:xfrm rot="5400000" flipH="1">
              <a:off x="4560736" y="2223904"/>
              <a:ext cx="66300" cy="1227600"/>
            </a:xfrm>
            <a:prstGeom prst="round2SameRect">
              <a:avLst>
                <a:gd name="adj1" fmla="val 50000"/>
                <a:gd name="adj2" fmla="val 50000"/>
              </a:avLst>
            </a:prstGeom>
            <a:solidFill>
              <a:srgbClr val="F4F6F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196" name="Google Shape;5196;p68"/>
            <p:cNvSpPr/>
            <p:nvPr/>
          </p:nvSpPr>
          <p:spPr>
            <a:xfrm rot="5400000" flipH="1">
              <a:off x="4086125" y="2698647"/>
              <a:ext cx="66900" cy="278400"/>
            </a:xfrm>
            <a:prstGeom prst="round2SameRect">
              <a:avLst>
                <a:gd name="adj1" fmla="val 50000"/>
                <a:gd name="adj2" fmla="val 50000"/>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197" name="Google Shape;5197;p68"/>
          <p:cNvGrpSpPr/>
          <p:nvPr/>
        </p:nvGrpSpPr>
        <p:grpSpPr>
          <a:xfrm>
            <a:off x="4477997" y="4481618"/>
            <a:ext cx="3150992" cy="1341257"/>
            <a:chOff x="3358415" y="3361302"/>
            <a:chExt cx="2363244" cy="1024695"/>
          </a:xfrm>
        </p:grpSpPr>
        <p:grpSp>
          <p:nvGrpSpPr>
            <p:cNvPr id="5198" name="Google Shape;5198;p68"/>
            <p:cNvGrpSpPr/>
            <p:nvPr/>
          </p:nvGrpSpPr>
          <p:grpSpPr>
            <a:xfrm>
              <a:off x="3358415" y="3361302"/>
              <a:ext cx="441300" cy="1024695"/>
              <a:chOff x="3358415" y="3361302"/>
              <a:chExt cx="441300" cy="1024695"/>
            </a:xfrm>
          </p:grpSpPr>
          <p:sp>
            <p:nvSpPr>
              <p:cNvPr id="5199" name="Google Shape;5199;p68"/>
              <p:cNvSpPr/>
              <p:nvPr/>
            </p:nvSpPr>
            <p:spPr>
              <a:xfrm>
                <a:off x="3358415" y="3361302"/>
                <a:ext cx="441300" cy="136500"/>
              </a:xfrm>
              <a:prstGeom prst="flowChartAlternateProcess">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0" name="Google Shape;5200;p68"/>
              <p:cNvSpPr/>
              <p:nvPr/>
            </p:nvSpPr>
            <p:spPr>
              <a:xfrm>
                <a:off x="3358415" y="353894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1" name="Google Shape;5201;p68"/>
              <p:cNvSpPr/>
              <p:nvPr/>
            </p:nvSpPr>
            <p:spPr>
              <a:xfrm>
                <a:off x="3358415" y="3716591"/>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2" name="Google Shape;5202;p68"/>
              <p:cNvSpPr/>
              <p:nvPr/>
            </p:nvSpPr>
            <p:spPr>
              <a:xfrm>
                <a:off x="3358415" y="389423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3" name="Google Shape;5203;p68"/>
              <p:cNvSpPr/>
              <p:nvPr/>
            </p:nvSpPr>
            <p:spPr>
              <a:xfrm>
                <a:off x="3358415" y="407186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4" name="Google Shape;5204;p68"/>
              <p:cNvSpPr/>
              <p:nvPr/>
            </p:nvSpPr>
            <p:spPr>
              <a:xfrm>
                <a:off x="3358415" y="424949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05" name="Google Shape;5205;p68"/>
            <p:cNvGrpSpPr/>
            <p:nvPr/>
          </p:nvGrpSpPr>
          <p:grpSpPr>
            <a:xfrm>
              <a:off x="3838901" y="3361302"/>
              <a:ext cx="441300" cy="1024695"/>
              <a:chOff x="3838901" y="3361302"/>
              <a:chExt cx="441300" cy="1024695"/>
            </a:xfrm>
          </p:grpSpPr>
          <p:sp>
            <p:nvSpPr>
              <p:cNvPr id="5206" name="Google Shape;5206;p68"/>
              <p:cNvSpPr/>
              <p:nvPr/>
            </p:nvSpPr>
            <p:spPr>
              <a:xfrm>
                <a:off x="3838901" y="3361302"/>
                <a:ext cx="441300" cy="136500"/>
              </a:xfrm>
              <a:prstGeom prst="flowChartAlternateProcess">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7" name="Google Shape;5207;p68"/>
              <p:cNvSpPr/>
              <p:nvPr/>
            </p:nvSpPr>
            <p:spPr>
              <a:xfrm>
                <a:off x="3838901" y="353894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8" name="Google Shape;5208;p68"/>
              <p:cNvSpPr/>
              <p:nvPr/>
            </p:nvSpPr>
            <p:spPr>
              <a:xfrm>
                <a:off x="3838901" y="3716591"/>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09" name="Google Shape;5209;p68"/>
              <p:cNvSpPr/>
              <p:nvPr/>
            </p:nvSpPr>
            <p:spPr>
              <a:xfrm>
                <a:off x="3838901" y="389423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0" name="Google Shape;5210;p68"/>
              <p:cNvSpPr/>
              <p:nvPr/>
            </p:nvSpPr>
            <p:spPr>
              <a:xfrm>
                <a:off x="3838901" y="407186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1" name="Google Shape;5211;p68"/>
              <p:cNvSpPr/>
              <p:nvPr/>
            </p:nvSpPr>
            <p:spPr>
              <a:xfrm>
                <a:off x="3838901" y="424949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12" name="Google Shape;5212;p68"/>
            <p:cNvGrpSpPr/>
            <p:nvPr/>
          </p:nvGrpSpPr>
          <p:grpSpPr>
            <a:xfrm>
              <a:off x="4319387" y="3361302"/>
              <a:ext cx="441300" cy="1024695"/>
              <a:chOff x="4319387" y="3361302"/>
              <a:chExt cx="441300" cy="1024695"/>
            </a:xfrm>
          </p:grpSpPr>
          <p:sp>
            <p:nvSpPr>
              <p:cNvPr id="5213" name="Google Shape;5213;p68"/>
              <p:cNvSpPr/>
              <p:nvPr/>
            </p:nvSpPr>
            <p:spPr>
              <a:xfrm>
                <a:off x="4319387" y="3361302"/>
                <a:ext cx="441300" cy="136500"/>
              </a:xfrm>
              <a:prstGeom prst="flowChartAlternateProcess">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4" name="Google Shape;5214;p68"/>
              <p:cNvSpPr/>
              <p:nvPr/>
            </p:nvSpPr>
            <p:spPr>
              <a:xfrm>
                <a:off x="4319387" y="353894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5" name="Google Shape;5215;p68"/>
              <p:cNvSpPr/>
              <p:nvPr/>
            </p:nvSpPr>
            <p:spPr>
              <a:xfrm>
                <a:off x="4319387" y="3716591"/>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6" name="Google Shape;5216;p68"/>
              <p:cNvSpPr/>
              <p:nvPr/>
            </p:nvSpPr>
            <p:spPr>
              <a:xfrm>
                <a:off x="4319387" y="389423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7" name="Google Shape;5217;p68"/>
              <p:cNvSpPr/>
              <p:nvPr/>
            </p:nvSpPr>
            <p:spPr>
              <a:xfrm>
                <a:off x="4319387" y="407186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18" name="Google Shape;5218;p68"/>
              <p:cNvSpPr/>
              <p:nvPr/>
            </p:nvSpPr>
            <p:spPr>
              <a:xfrm>
                <a:off x="4319387" y="424949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19" name="Google Shape;5219;p68"/>
            <p:cNvGrpSpPr/>
            <p:nvPr/>
          </p:nvGrpSpPr>
          <p:grpSpPr>
            <a:xfrm>
              <a:off x="4799873" y="3361302"/>
              <a:ext cx="441300" cy="1024695"/>
              <a:chOff x="4799873" y="3361302"/>
              <a:chExt cx="441300" cy="1024695"/>
            </a:xfrm>
          </p:grpSpPr>
          <p:sp>
            <p:nvSpPr>
              <p:cNvPr id="5220" name="Google Shape;5220;p68"/>
              <p:cNvSpPr/>
              <p:nvPr/>
            </p:nvSpPr>
            <p:spPr>
              <a:xfrm>
                <a:off x="4799873" y="3361302"/>
                <a:ext cx="441300" cy="136500"/>
              </a:xfrm>
              <a:prstGeom prst="flowChartAlternateProcess">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1" name="Google Shape;5221;p68"/>
              <p:cNvSpPr/>
              <p:nvPr/>
            </p:nvSpPr>
            <p:spPr>
              <a:xfrm>
                <a:off x="4799873" y="353894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2" name="Google Shape;5222;p68"/>
              <p:cNvSpPr/>
              <p:nvPr/>
            </p:nvSpPr>
            <p:spPr>
              <a:xfrm>
                <a:off x="4799873" y="3716591"/>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3" name="Google Shape;5223;p68"/>
              <p:cNvSpPr/>
              <p:nvPr/>
            </p:nvSpPr>
            <p:spPr>
              <a:xfrm>
                <a:off x="4799873" y="389423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4" name="Google Shape;5224;p68"/>
              <p:cNvSpPr/>
              <p:nvPr/>
            </p:nvSpPr>
            <p:spPr>
              <a:xfrm>
                <a:off x="4799873" y="407186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5" name="Google Shape;5225;p68"/>
              <p:cNvSpPr/>
              <p:nvPr/>
            </p:nvSpPr>
            <p:spPr>
              <a:xfrm>
                <a:off x="4799873" y="424949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26" name="Google Shape;5226;p68"/>
            <p:cNvGrpSpPr/>
            <p:nvPr/>
          </p:nvGrpSpPr>
          <p:grpSpPr>
            <a:xfrm>
              <a:off x="5280360" y="3361302"/>
              <a:ext cx="441300" cy="1024695"/>
              <a:chOff x="5280360" y="3361302"/>
              <a:chExt cx="441300" cy="1024695"/>
            </a:xfrm>
          </p:grpSpPr>
          <p:sp>
            <p:nvSpPr>
              <p:cNvPr id="5227" name="Google Shape;5227;p68"/>
              <p:cNvSpPr/>
              <p:nvPr/>
            </p:nvSpPr>
            <p:spPr>
              <a:xfrm>
                <a:off x="5280360" y="3361302"/>
                <a:ext cx="441300" cy="136500"/>
              </a:xfrm>
              <a:prstGeom prst="flowChartAlternateProcess">
                <a:avLst/>
              </a:pr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8" name="Google Shape;5228;p68"/>
              <p:cNvSpPr/>
              <p:nvPr/>
            </p:nvSpPr>
            <p:spPr>
              <a:xfrm>
                <a:off x="5280360" y="353894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29" name="Google Shape;5229;p68"/>
              <p:cNvSpPr/>
              <p:nvPr/>
            </p:nvSpPr>
            <p:spPr>
              <a:xfrm>
                <a:off x="5280360" y="3716591"/>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0" name="Google Shape;5230;p68"/>
              <p:cNvSpPr/>
              <p:nvPr/>
            </p:nvSpPr>
            <p:spPr>
              <a:xfrm>
                <a:off x="5280360" y="389423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1" name="Google Shape;5231;p68"/>
              <p:cNvSpPr/>
              <p:nvPr/>
            </p:nvSpPr>
            <p:spPr>
              <a:xfrm>
                <a:off x="5280360" y="4071866"/>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32" name="Google Shape;5232;p68"/>
              <p:cNvSpPr/>
              <p:nvPr/>
            </p:nvSpPr>
            <p:spPr>
              <a:xfrm>
                <a:off x="5280360" y="4249497"/>
                <a:ext cx="441300" cy="136500"/>
              </a:xfrm>
              <a:prstGeom prst="flowChartAlternateProcess">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aphicFrame>
        <p:nvGraphicFramePr>
          <p:cNvPr id="5233" name="Google Shape;5233;p68"/>
          <p:cNvGraphicFramePr/>
          <p:nvPr/>
        </p:nvGraphicFramePr>
        <p:xfrm>
          <a:off x="966567" y="3097467"/>
          <a:ext cx="3204800" cy="1175200"/>
        </p:xfrm>
        <a:graphic>
          <a:graphicData uri="http://schemas.openxmlformats.org/drawingml/2006/table">
            <a:tbl>
              <a:tblPr>
                <a:noFill/>
              </a:tblPr>
              <a:tblGrid>
                <a:gridCol w="801200">
                  <a:extLst>
                    <a:ext uri="{9D8B030D-6E8A-4147-A177-3AD203B41FA5}">
                      <a16:colId xmlns:a16="http://schemas.microsoft.com/office/drawing/2014/main" val="20000"/>
                    </a:ext>
                  </a:extLst>
                </a:gridCol>
                <a:gridCol w="801200">
                  <a:extLst>
                    <a:ext uri="{9D8B030D-6E8A-4147-A177-3AD203B41FA5}">
                      <a16:colId xmlns:a16="http://schemas.microsoft.com/office/drawing/2014/main" val="20001"/>
                    </a:ext>
                  </a:extLst>
                </a:gridCol>
                <a:gridCol w="801200">
                  <a:extLst>
                    <a:ext uri="{9D8B030D-6E8A-4147-A177-3AD203B41FA5}">
                      <a16:colId xmlns:a16="http://schemas.microsoft.com/office/drawing/2014/main" val="20002"/>
                    </a:ext>
                  </a:extLst>
                </a:gridCol>
                <a:gridCol w="801200">
                  <a:extLst>
                    <a:ext uri="{9D8B030D-6E8A-4147-A177-3AD203B41FA5}">
                      <a16:colId xmlns:a16="http://schemas.microsoft.com/office/drawing/2014/main" val="20003"/>
                    </a:ext>
                  </a:extLst>
                </a:gridCol>
              </a:tblGrid>
              <a:tr h="391733">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5F8195"/>
                    </a:solidFill>
                  </a:tcPr>
                </a:tc>
                <a:extLst>
                  <a:ext uri="{0D108BD9-81ED-4DB2-BD59-A6C34878D82A}">
                    <a16:rowId xmlns:a16="http://schemas.microsoft.com/office/drawing/2014/main" val="10000"/>
                  </a:ext>
                </a:extLst>
              </a:tr>
              <a:tr h="391733">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869FB1"/>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5B7C5"/>
                    </a:solidFill>
                  </a:tcPr>
                </a:tc>
                <a:extLst>
                  <a:ext uri="{0D108BD9-81ED-4DB2-BD59-A6C34878D82A}">
                    <a16:rowId xmlns:a16="http://schemas.microsoft.com/office/drawing/2014/main" val="10001"/>
                  </a:ext>
                </a:extLst>
              </a:tr>
              <a:tr h="391733">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7994A9"/>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tc>
                  <a:txBody>
                    <a:bodyPr/>
                    <a:lstStyle/>
                    <a:p>
                      <a:pPr marL="0" lvl="0" indent="0" algn="l" rtl="0">
                        <a:spcBef>
                          <a:spcPts val="0"/>
                        </a:spcBef>
                        <a:spcAft>
                          <a:spcPts val="0"/>
                        </a:spcAft>
                        <a:buNone/>
                      </a:pPr>
                      <a:endParaRPr sz="300"/>
                    </a:p>
                  </a:txBody>
                  <a:tcPr marL="121900" marR="121900" marT="121900" marB="121900">
                    <a:lnL w="19050" cap="flat" cmpd="sng">
                      <a:solidFill>
                        <a:srgbClr val="F2F2F2">
                          <a:alpha val="0"/>
                        </a:srgbClr>
                      </a:solidFill>
                      <a:prstDash val="solid"/>
                      <a:round/>
                      <a:headEnd type="none" w="sm" len="sm"/>
                      <a:tailEnd type="none" w="sm" len="sm"/>
                    </a:lnL>
                    <a:lnR w="19050" cap="flat" cmpd="sng">
                      <a:solidFill>
                        <a:srgbClr val="F2F2F2">
                          <a:alpha val="0"/>
                        </a:srgbClr>
                      </a:solidFill>
                      <a:prstDash val="solid"/>
                      <a:round/>
                      <a:headEnd type="none" w="sm" len="sm"/>
                      <a:tailEnd type="none" w="sm" len="sm"/>
                    </a:lnR>
                    <a:lnT w="19050" cap="flat" cmpd="sng">
                      <a:solidFill>
                        <a:srgbClr val="F2F2F2">
                          <a:alpha val="0"/>
                        </a:srgbClr>
                      </a:solidFill>
                      <a:prstDash val="solid"/>
                      <a:round/>
                      <a:headEnd type="none" w="sm" len="sm"/>
                      <a:tailEnd type="none" w="sm" len="sm"/>
                    </a:lnT>
                    <a:lnB w="19050" cap="flat" cmpd="sng">
                      <a:solidFill>
                        <a:srgbClr val="F2F2F2">
                          <a:alpha val="0"/>
                        </a:srgbClr>
                      </a:solidFill>
                      <a:prstDash val="solid"/>
                      <a:round/>
                      <a:headEnd type="none" w="sm" len="sm"/>
                      <a:tailEnd type="none" w="sm" len="sm"/>
                    </a:lnB>
                    <a:solidFill>
                      <a:srgbClr val="ABBCC9"/>
                    </a:solidFill>
                  </a:tcPr>
                </a:tc>
                <a:extLst>
                  <a:ext uri="{0D108BD9-81ED-4DB2-BD59-A6C34878D82A}">
                    <a16:rowId xmlns:a16="http://schemas.microsoft.com/office/drawing/2014/main" val="10002"/>
                  </a:ext>
                </a:extLst>
              </a:tr>
            </a:tbl>
          </a:graphicData>
        </a:graphic>
      </p:graphicFrame>
      <p:grpSp>
        <p:nvGrpSpPr>
          <p:cNvPr id="5234" name="Google Shape;5234;p68"/>
          <p:cNvGrpSpPr/>
          <p:nvPr/>
        </p:nvGrpSpPr>
        <p:grpSpPr>
          <a:xfrm>
            <a:off x="968600" y="4497100"/>
            <a:ext cx="3204819" cy="1341200"/>
            <a:chOff x="726450" y="3372825"/>
            <a:chExt cx="2403614" cy="1005900"/>
          </a:xfrm>
        </p:grpSpPr>
        <p:grpSp>
          <p:nvGrpSpPr>
            <p:cNvPr id="5235" name="Google Shape;5235;p68"/>
            <p:cNvGrpSpPr/>
            <p:nvPr/>
          </p:nvGrpSpPr>
          <p:grpSpPr>
            <a:xfrm>
              <a:off x="726450" y="3696000"/>
              <a:ext cx="2403614" cy="500898"/>
              <a:chOff x="726450" y="3696000"/>
              <a:chExt cx="2403614" cy="500898"/>
            </a:xfrm>
          </p:grpSpPr>
          <p:sp>
            <p:nvSpPr>
              <p:cNvPr id="5236" name="Google Shape;5236;p68"/>
              <p:cNvSpPr/>
              <p:nvPr/>
            </p:nvSpPr>
            <p:spPr>
              <a:xfrm>
                <a:off x="726450" y="3696000"/>
                <a:ext cx="2403600" cy="167100"/>
              </a:xfrm>
              <a:prstGeom prst="rec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5237" name="Google Shape;5237;p68"/>
              <p:cNvSpPr/>
              <p:nvPr/>
            </p:nvSpPr>
            <p:spPr>
              <a:xfrm>
                <a:off x="726464" y="4029798"/>
                <a:ext cx="2403600" cy="167100"/>
              </a:xfrm>
              <a:prstGeom prst="rec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grpSp>
        <p:grpSp>
          <p:nvGrpSpPr>
            <p:cNvPr id="5238" name="Google Shape;5238;p68"/>
            <p:cNvGrpSpPr/>
            <p:nvPr/>
          </p:nvGrpSpPr>
          <p:grpSpPr>
            <a:xfrm>
              <a:off x="1348050" y="3372825"/>
              <a:ext cx="1720425" cy="1005900"/>
              <a:chOff x="1348050" y="3372825"/>
              <a:chExt cx="1720425" cy="1005900"/>
            </a:xfrm>
          </p:grpSpPr>
          <p:sp>
            <p:nvSpPr>
              <p:cNvPr id="5239" name="Google Shape;5239;p68"/>
              <p:cNvSpPr/>
              <p:nvPr/>
            </p:nvSpPr>
            <p:spPr>
              <a:xfrm>
                <a:off x="1348050"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5240" name="Google Shape;5240;p68"/>
              <p:cNvSpPr/>
              <p:nvPr/>
            </p:nvSpPr>
            <p:spPr>
              <a:xfrm>
                <a:off x="1701356"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5241" name="Google Shape;5241;p68"/>
              <p:cNvSpPr/>
              <p:nvPr/>
            </p:nvSpPr>
            <p:spPr>
              <a:xfrm>
                <a:off x="2054663"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5242" name="Google Shape;5242;p68"/>
              <p:cNvSpPr/>
              <p:nvPr/>
            </p:nvSpPr>
            <p:spPr>
              <a:xfrm>
                <a:off x="2407969"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sp>
            <p:nvSpPr>
              <p:cNvPr id="5243" name="Google Shape;5243;p68"/>
              <p:cNvSpPr/>
              <p:nvPr/>
            </p:nvSpPr>
            <p:spPr>
              <a:xfrm>
                <a:off x="2761275" y="3372825"/>
                <a:ext cx="307200" cy="1005900"/>
              </a:xfrm>
              <a:prstGeom prst="rect">
                <a:avLst/>
              </a:prstGeom>
              <a:solidFill>
                <a:srgbClr val="869FB1"/>
              </a:solidFill>
              <a:ln w="19050" cap="flat" cmpd="sng">
                <a:solidFill>
                  <a:srgbClr val="0E2A47"/>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267" kern="0">
                  <a:solidFill>
                    <a:srgbClr val="000000"/>
                  </a:solidFill>
                  <a:latin typeface="Arial"/>
                  <a:cs typeface="Arial"/>
                  <a:sym typeface="Arial"/>
                </a:endParaRPr>
              </a:p>
            </p:txBody>
          </p:sp>
        </p:grpSp>
        <p:grpSp>
          <p:nvGrpSpPr>
            <p:cNvPr id="5244" name="Google Shape;5244;p68"/>
            <p:cNvGrpSpPr/>
            <p:nvPr/>
          </p:nvGrpSpPr>
          <p:grpSpPr>
            <a:xfrm>
              <a:off x="1455707" y="3731058"/>
              <a:ext cx="1491150" cy="417657"/>
              <a:chOff x="1455707" y="3731058"/>
              <a:chExt cx="1491150" cy="417657"/>
            </a:xfrm>
          </p:grpSpPr>
          <p:grpSp>
            <p:nvGrpSpPr>
              <p:cNvPr id="5245" name="Google Shape;5245;p68"/>
              <p:cNvGrpSpPr/>
              <p:nvPr/>
            </p:nvGrpSpPr>
            <p:grpSpPr>
              <a:xfrm>
                <a:off x="1472938" y="3745828"/>
                <a:ext cx="72126" cy="53788"/>
                <a:chOff x="1472938" y="3745828"/>
                <a:chExt cx="72126" cy="53788"/>
              </a:xfrm>
            </p:grpSpPr>
            <p:sp>
              <p:nvSpPr>
                <p:cNvPr id="5246" name="Google Shape;5246;p68"/>
                <p:cNvSpPr/>
                <p:nvPr/>
              </p:nvSpPr>
              <p:spPr>
                <a:xfrm>
                  <a:off x="1472938"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47" name="Google Shape;5247;p68"/>
                <p:cNvSpPr/>
                <p:nvPr/>
              </p:nvSpPr>
              <p:spPr>
                <a:xfrm>
                  <a:off x="1490853"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48" name="Google Shape;5248;p68"/>
              <p:cNvGrpSpPr/>
              <p:nvPr/>
            </p:nvGrpSpPr>
            <p:grpSpPr>
              <a:xfrm>
                <a:off x="1819181" y="4089633"/>
                <a:ext cx="72126" cy="53788"/>
                <a:chOff x="1819181" y="4089633"/>
                <a:chExt cx="72126" cy="53788"/>
              </a:xfrm>
            </p:grpSpPr>
            <p:sp>
              <p:nvSpPr>
                <p:cNvPr id="5249" name="Google Shape;5249;p68"/>
                <p:cNvSpPr/>
                <p:nvPr/>
              </p:nvSpPr>
              <p:spPr>
                <a:xfrm>
                  <a:off x="181918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0" name="Google Shape;5250;p68"/>
                <p:cNvSpPr/>
                <p:nvPr/>
              </p:nvSpPr>
              <p:spPr>
                <a:xfrm>
                  <a:off x="183709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51" name="Google Shape;5251;p68"/>
              <p:cNvGrpSpPr/>
              <p:nvPr/>
            </p:nvGrpSpPr>
            <p:grpSpPr>
              <a:xfrm>
                <a:off x="1455707" y="4084171"/>
                <a:ext cx="64321" cy="64544"/>
                <a:chOff x="1455707" y="4084171"/>
                <a:chExt cx="64321" cy="64544"/>
              </a:xfrm>
            </p:grpSpPr>
            <p:sp>
              <p:nvSpPr>
                <p:cNvPr id="5252" name="Google Shape;5252;p68"/>
                <p:cNvSpPr/>
                <p:nvPr/>
              </p:nvSpPr>
              <p:spPr>
                <a:xfrm>
                  <a:off x="1478676" y="408440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3" name="Google Shape;5253;p68"/>
                <p:cNvSpPr/>
                <p:nvPr/>
              </p:nvSpPr>
              <p:spPr>
                <a:xfrm>
                  <a:off x="1455707" y="408417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54" name="Google Shape;5254;p68"/>
              <p:cNvGrpSpPr/>
              <p:nvPr/>
            </p:nvGrpSpPr>
            <p:grpSpPr>
              <a:xfrm>
                <a:off x="1818610" y="3731058"/>
                <a:ext cx="64321" cy="64544"/>
                <a:chOff x="1818610" y="3731058"/>
                <a:chExt cx="64321" cy="64544"/>
              </a:xfrm>
            </p:grpSpPr>
            <p:sp>
              <p:nvSpPr>
                <p:cNvPr id="5255" name="Google Shape;5255;p68"/>
                <p:cNvSpPr/>
                <p:nvPr/>
              </p:nvSpPr>
              <p:spPr>
                <a:xfrm>
                  <a:off x="184157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6" name="Google Shape;5256;p68"/>
                <p:cNvSpPr/>
                <p:nvPr/>
              </p:nvSpPr>
              <p:spPr>
                <a:xfrm>
                  <a:off x="181861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57" name="Google Shape;5257;p68"/>
              <p:cNvGrpSpPr/>
              <p:nvPr/>
            </p:nvGrpSpPr>
            <p:grpSpPr>
              <a:xfrm>
                <a:off x="2172491" y="4089633"/>
                <a:ext cx="72126" cy="53788"/>
                <a:chOff x="2172491" y="4089633"/>
                <a:chExt cx="72126" cy="53788"/>
              </a:xfrm>
            </p:grpSpPr>
            <p:sp>
              <p:nvSpPr>
                <p:cNvPr id="5258" name="Google Shape;5258;p68"/>
                <p:cNvSpPr/>
                <p:nvPr/>
              </p:nvSpPr>
              <p:spPr>
                <a:xfrm>
                  <a:off x="2172491"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59" name="Google Shape;5259;p68"/>
                <p:cNvSpPr/>
                <p:nvPr/>
              </p:nvSpPr>
              <p:spPr>
                <a:xfrm>
                  <a:off x="2190406"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60" name="Google Shape;5260;p68"/>
              <p:cNvGrpSpPr/>
              <p:nvPr/>
            </p:nvGrpSpPr>
            <p:grpSpPr>
              <a:xfrm>
                <a:off x="2171920" y="3731058"/>
                <a:ext cx="64321" cy="64544"/>
                <a:chOff x="2171920" y="3731058"/>
                <a:chExt cx="64321" cy="64544"/>
              </a:xfrm>
            </p:grpSpPr>
            <p:sp>
              <p:nvSpPr>
                <p:cNvPr id="5261" name="Google Shape;5261;p68"/>
                <p:cNvSpPr/>
                <p:nvPr/>
              </p:nvSpPr>
              <p:spPr>
                <a:xfrm>
                  <a:off x="2194889"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2" name="Google Shape;5262;p68"/>
                <p:cNvSpPr/>
                <p:nvPr/>
              </p:nvSpPr>
              <p:spPr>
                <a:xfrm>
                  <a:off x="2171920"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63" name="Google Shape;5263;p68"/>
              <p:cNvGrpSpPr/>
              <p:nvPr/>
            </p:nvGrpSpPr>
            <p:grpSpPr>
              <a:xfrm>
                <a:off x="2874730" y="3745828"/>
                <a:ext cx="72126" cy="53788"/>
                <a:chOff x="2874730" y="3745828"/>
                <a:chExt cx="72126" cy="53788"/>
              </a:xfrm>
            </p:grpSpPr>
            <p:sp>
              <p:nvSpPr>
                <p:cNvPr id="5264" name="Google Shape;5264;p68"/>
                <p:cNvSpPr/>
                <p:nvPr/>
              </p:nvSpPr>
              <p:spPr>
                <a:xfrm>
                  <a:off x="2874730" y="3763820"/>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5" name="Google Shape;5265;p68"/>
                <p:cNvSpPr/>
                <p:nvPr/>
              </p:nvSpPr>
              <p:spPr>
                <a:xfrm>
                  <a:off x="2892645" y="3745828"/>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66" name="Google Shape;5266;p68"/>
              <p:cNvGrpSpPr/>
              <p:nvPr/>
            </p:nvGrpSpPr>
            <p:grpSpPr>
              <a:xfrm>
                <a:off x="2878589" y="4081481"/>
                <a:ext cx="64321" cy="64544"/>
                <a:chOff x="2878589" y="4081481"/>
                <a:chExt cx="64321" cy="64544"/>
              </a:xfrm>
            </p:grpSpPr>
            <p:sp>
              <p:nvSpPr>
                <p:cNvPr id="5267" name="Google Shape;5267;p68"/>
                <p:cNvSpPr/>
                <p:nvPr/>
              </p:nvSpPr>
              <p:spPr>
                <a:xfrm>
                  <a:off x="2901559" y="4081712"/>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68" name="Google Shape;5268;p68"/>
                <p:cNvSpPr/>
                <p:nvPr/>
              </p:nvSpPr>
              <p:spPr>
                <a:xfrm>
                  <a:off x="2878589" y="4081481"/>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69" name="Google Shape;5269;p68"/>
              <p:cNvGrpSpPr/>
              <p:nvPr/>
            </p:nvGrpSpPr>
            <p:grpSpPr>
              <a:xfrm>
                <a:off x="2525796" y="4089633"/>
                <a:ext cx="72126" cy="53788"/>
                <a:chOff x="2525796" y="4089633"/>
                <a:chExt cx="72126" cy="53788"/>
              </a:xfrm>
            </p:grpSpPr>
            <p:sp>
              <p:nvSpPr>
                <p:cNvPr id="5270" name="Google Shape;5270;p68"/>
                <p:cNvSpPr/>
                <p:nvPr/>
              </p:nvSpPr>
              <p:spPr>
                <a:xfrm>
                  <a:off x="2525796" y="4107625"/>
                  <a:ext cx="60030" cy="35796"/>
                </a:xfrm>
                <a:custGeom>
                  <a:avLst/>
                  <a:gdLst/>
                  <a:ahLst/>
                  <a:cxnLst/>
                  <a:rect l="l" t="t" r="r" b="b"/>
                  <a:pathLst>
                    <a:path w="9336" h="5567" extrusionOk="0">
                      <a:moveTo>
                        <a:pt x="1876" y="0"/>
                      </a:moveTo>
                      <a:cubicBezTo>
                        <a:pt x="1831" y="0"/>
                        <a:pt x="1787" y="18"/>
                        <a:pt x="1751" y="54"/>
                      </a:cubicBezTo>
                      <a:lnTo>
                        <a:pt x="84" y="1721"/>
                      </a:lnTo>
                      <a:cubicBezTo>
                        <a:pt x="1" y="1804"/>
                        <a:pt x="1" y="1899"/>
                        <a:pt x="84" y="1983"/>
                      </a:cubicBezTo>
                      <a:lnTo>
                        <a:pt x="3263" y="5162"/>
                      </a:lnTo>
                      <a:cubicBezTo>
                        <a:pt x="3513" y="5412"/>
                        <a:pt x="3858" y="5566"/>
                        <a:pt x="4215" y="5566"/>
                      </a:cubicBezTo>
                      <a:cubicBezTo>
                        <a:pt x="4573" y="5566"/>
                        <a:pt x="4918" y="5435"/>
                        <a:pt x="5168" y="5162"/>
                      </a:cubicBezTo>
                      <a:lnTo>
                        <a:pt x="9252" y="1090"/>
                      </a:lnTo>
                      <a:cubicBezTo>
                        <a:pt x="9335" y="1006"/>
                        <a:pt x="9335" y="887"/>
                        <a:pt x="9276" y="828"/>
                      </a:cubicBezTo>
                      <a:cubicBezTo>
                        <a:pt x="9240" y="792"/>
                        <a:pt x="9195" y="774"/>
                        <a:pt x="9151" y="774"/>
                      </a:cubicBezTo>
                      <a:cubicBezTo>
                        <a:pt x="9106" y="774"/>
                        <a:pt x="9061" y="792"/>
                        <a:pt x="9026" y="828"/>
                      </a:cubicBezTo>
                      <a:lnTo>
                        <a:pt x="4942" y="4912"/>
                      </a:lnTo>
                      <a:cubicBezTo>
                        <a:pt x="4751" y="5102"/>
                        <a:pt x="4501" y="5209"/>
                        <a:pt x="4227" y="5209"/>
                      </a:cubicBezTo>
                      <a:cubicBezTo>
                        <a:pt x="3965" y="5209"/>
                        <a:pt x="3715" y="5102"/>
                        <a:pt x="3513" y="4912"/>
                      </a:cubicBezTo>
                      <a:lnTo>
                        <a:pt x="453" y="1840"/>
                      </a:lnTo>
                      <a:lnTo>
                        <a:pt x="1870" y="435"/>
                      </a:lnTo>
                      <a:lnTo>
                        <a:pt x="2370" y="935"/>
                      </a:lnTo>
                      <a:cubicBezTo>
                        <a:pt x="2406" y="971"/>
                        <a:pt x="2450" y="988"/>
                        <a:pt x="2495" y="988"/>
                      </a:cubicBezTo>
                      <a:cubicBezTo>
                        <a:pt x="2540" y="988"/>
                        <a:pt x="2584" y="971"/>
                        <a:pt x="2620" y="935"/>
                      </a:cubicBezTo>
                      <a:cubicBezTo>
                        <a:pt x="2703" y="863"/>
                        <a:pt x="2703" y="756"/>
                        <a:pt x="2620" y="685"/>
                      </a:cubicBezTo>
                      <a:lnTo>
                        <a:pt x="2001" y="54"/>
                      </a:lnTo>
                      <a:cubicBezTo>
                        <a:pt x="1965" y="18"/>
                        <a:pt x="1920" y="0"/>
                        <a:pt x="1876"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1" name="Google Shape;5271;p68"/>
                <p:cNvSpPr/>
                <p:nvPr/>
              </p:nvSpPr>
              <p:spPr>
                <a:xfrm>
                  <a:off x="2543711" y="4089633"/>
                  <a:ext cx="54211" cy="34568"/>
                </a:xfrm>
                <a:custGeom>
                  <a:avLst/>
                  <a:gdLst/>
                  <a:ahLst/>
                  <a:cxnLst/>
                  <a:rect l="l" t="t" r="r" b="b"/>
                  <a:pathLst>
                    <a:path w="8431" h="5376" extrusionOk="0">
                      <a:moveTo>
                        <a:pt x="6585" y="0"/>
                      </a:moveTo>
                      <a:cubicBezTo>
                        <a:pt x="6540" y="0"/>
                        <a:pt x="6495" y="18"/>
                        <a:pt x="6454" y="54"/>
                      </a:cubicBezTo>
                      <a:lnTo>
                        <a:pt x="1548" y="4971"/>
                      </a:lnTo>
                      <a:cubicBezTo>
                        <a:pt x="1513" y="4995"/>
                        <a:pt x="1477" y="5007"/>
                        <a:pt x="1429" y="5007"/>
                      </a:cubicBezTo>
                      <a:cubicBezTo>
                        <a:pt x="1382" y="5007"/>
                        <a:pt x="1346" y="4995"/>
                        <a:pt x="1310" y="4971"/>
                      </a:cubicBezTo>
                      <a:lnTo>
                        <a:pt x="334" y="3983"/>
                      </a:lnTo>
                      <a:cubicBezTo>
                        <a:pt x="292" y="3947"/>
                        <a:pt x="248" y="3929"/>
                        <a:pt x="203" y="3929"/>
                      </a:cubicBezTo>
                      <a:cubicBezTo>
                        <a:pt x="158" y="3929"/>
                        <a:pt x="114" y="3947"/>
                        <a:pt x="72" y="3983"/>
                      </a:cubicBezTo>
                      <a:cubicBezTo>
                        <a:pt x="1" y="4054"/>
                        <a:pt x="1" y="4161"/>
                        <a:pt x="72" y="4245"/>
                      </a:cubicBezTo>
                      <a:lnTo>
                        <a:pt x="1060" y="5221"/>
                      </a:lnTo>
                      <a:cubicBezTo>
                        <a:pt x="1156" y="5328"/>
                        <a:pt x="1275" y="5376"/>
                        <a:pt x="1417" y="5376"/>
                      </a:cubicBezTo>
                      <a:cubicBezTo>
                        <a:pt x="1548" y="5376"/>
                        <a:pt x="1679" y="5316"/>
                        <a:pt x="1775" y="5221"/>
                      </a:cubicBezTo>
                      <a:lnTo>
                        <a:pt x="6549" y="447"/>
                      </a:lnTo>
                      <a:lnTo>
                        <a:pt x="7966" y="1852"/>
                      </a:lnTo>
                      <a:lnTo>
                        <a:pt x="6704" y="3126"/>
                      </a:lnTo>
                      <a:cubicBezTo>
                        <a:pt x="6621" y="3197"/>
                        <a:pt x="6621" y="3304"/>
                        <a:pt x="6704" y="3376"/>
                      </a:cubicBezTo>
                      <a:cubicBezTo>
                        <a:pt x="6740" y="3411"/>
                        <a:pt x="6784" y="3429"/>
                        <a:pt x="6829" y="3429"/>
                      </a:cubicBezTo>
                      <a:cubicBezTo>
                        <a:pt x="6874" y="3429"/>
                        <a:pt x="6918" y="3411"/>
                        <a:pt x="6954" y="3376"/>
                      </a:cubicBezTo>
                      <a:lnTo>
                        <a:pt x="8347" y="1983"/>
                      </a:lnTo>
                      <a:cubicBezTo>
                        <a:pt x="8383" y="1947"/>
                        <a:pt x="8395" y="1899"/>
                        <a:pt x="8395" y="1864"/>
                      </a:cubicBezTo>
                      <a:cubicBezTo>
                        <a:pt x="8430" y="1816"/>
                        <a:pt x="8406" y="1768"/>
                        <a:pt x="8383" y="1721"/>
                      </a:cubicBezTo>
                      <a:lnTo>
                        <a:pt x="6716" y="54"/>
                      </a:lnTo>
                      <a:cubicBezTo>
                        <a:pt x="6674" y="18"/>
                        <a:pt x="6629" y="0"/>
                        <a:pt x="658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72" name="Google Shape;5272;p68"/>
              <p:cNvGrpSpPr/>
              <p:nvPr/>
            </p:nvGrpSpPr>
            <p:grpSpPr>
              <a:xfrm>
                <a:off x="2525225" y="3731058"/>
                <a:ext cx="64321" cy="64544"/>
                <a:chOff x="2525225" y="3731058"/>
                <a:chExt cx="64321" cy="64544"/>
              </a:xfrm>
            </p:grpSpPr>
            <p:sp>
              <p:nvSpPr>
                <p:cNvPr id="5273" name="Google Shape;5273;p68"/>
                <p:cNvSpPr/>
                <p:nvPr/>
              </p:nvSpPr>
              <p:spPr>
                <a:xfrm>
                  <a:off x="2548194" y="3731290"/>
                  <a:ext cx="41351" cy="64313"/>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74" name="Google Shape;5274;p68"/>
                <p:cNvSpPr/>
                <p:nvPr/>
              </p:nvSpPr>
              <p:spPr>
                <a:xfrm>
                  <a:off x="2525225" y="3731058"/>
                  <a:ext cx="39512" cy="64165"/>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278"/>
        <p:cNvGrpSpPr/>
        <p:nvPr/>
      </p:nvGrpSpPr>
      <p:grpSpPr>
        <a:xfrm>
          <a:off x="0" y="0"/>
          <a:ext cx="0" cy="0"/>
          <a:chOff x="0" y="0"/>
          <a:chExt cx="0" cy="0"/>
        </a:xfrm>
      </p:grpSpPr>
      <p:grpSp>
        <p:nvGrpSpPr>
          <p:cNvPr id="5279" name="Google Shape;5279;p69"/>
          <p:cNvGrpSpPr/>
          <p:nvPr/>
        </p:nvGrpSpPr>
        <p:grpSpPr>
          <a:xfrm>
            <a:off x="976571" y="1561808"/>
            <a:ext cx="1127895" cy="921003"/>
            <a:chOff x="732428" y="1198513"/>
            <a:chExt cx="845921" cy="690752"/>
          </a:xfrm>
        </p:grpSpPr>
        <p:grpSp>
          <p:nvGrpSpPr>
            <p:cNvPr id="5280" name="Google Shape;5280;p69"/>
            <p:cNvGrpSpPr/>
            <p:nvPr/>
          </p:nvGrpSpPr>
          <p:grpSpPr>
            <a:xfrm>
              <a:off x="823030" y="1198513"/>
              <a:ext cx="755319" cy="690752"/>
              <a:chOff x="823030" y="1198513"/>
              <a:chExt cx="755319" cy="690752"/>
            </a:xfrm>
          </p:grpSpPr>
          <p:sp>
            <p:nvSpPr>
              <p:cNvPr id="5281" name="Google Shape;5281;p69"/>
              <p:cNvSpPr/>
              <p:nvPr/>
            </p:nvSpPr>
            <p:spPr>
              <a:xfrm>
                <a:off x="823030" y="1198513"/>
                <a:ext cx="755319" cy="690752"/>
              </a:xfrm>
              <a:custGeom>
                <a:avLst/>
                <a:gdLst/>
                <a:ahLst/>
                <a:cxnLst/>
                <a:rect l="l" t="t" r="r" b="b"/>
                <a:pathLst>
                  <a:path w="46769" h="42771" extrusionOk="0">
                    <a:moveTo>
                      <a:pt x="21384" y="0"/>
                    </a:moveTo>
                    <a:cubicBezTo>
                      <a:pt x="9575" y="0"/>
                      <a:pt x="0" y="9575"/>
                      <a:pt x="0" y="21386"/>
                    </a:cubicBezTo>
                    <a:cubicBezTo>
                      <a:pt x="0" y="33196"/>
                      <a:pt x="9575" y="42770"/>
                      <a:pt x="21384" y="42770"/>
                    </a:cubicBezTo>
                    <a:cubicBezTo>
                      <a:pt x="33196" y="42770"/>
                      <a:pt x="42770" y="33196"/>
                      <a:pt x="42770" y="21386"/>
                    </a:cubicBezTo>
                    <a:cubicBezTo>
                      <a:pt x="42770" y="16313"/>
                      <a:pt x="41002" y="11653"/>
                      <a:pt x="38053" y="7988"/>
                    </a:cubicBezTo>
                    <a:lnTo>
                      <a:pt x="42775" y="7988"/>
                    </a:lnTo>
                    <a:cubicBezTo>
                      <a:pt x="44970" y="7988"/>
                      <a:pt x="46769" y="6191"/>
                      <a:pt x="46769" y="3994"/>
                    </a:cubicBezTo>
                    <a:cubicBezTo>
                      <a:pt x="46769" y="1797"/>
                      <a:pt x="44972" y="0"/>
                      <a:pt x="42775" y="0"/>
                    </a:cubicBezTo>
                    <a:lnTo>
                      <a:pt x="22286" y="0"/>
                    </a:lnTo>
                    <a:cubicBezTo>
                      <a:pt x="22196" y="0"/>
                      <a:pt x="22105" y="5"/>
                      <a:pt x="22018" y="10"/>
                    </a:cubicBezTo>
                    <a:cubicBezTo>
                      <a:pt x="21807" y="3"/>
                      <a:pt x="21597" y="0"/>
                      <a:pt x="21384" y="0"/>
                    </a:cubicBezTo>
                    <a:close/>
                  </a:path>
                </a:pathLst>
              </a:custGeom>
              <a:solidFill>
                <a:srgbClr val="325D7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2" name="Google Shape;5282;p69"/>
              <p:cNvSpPr/>
              <p:nvPr/>
            </p:nvSpPr>
            <p:spPr>
              <a:xfrm>
                <a:off x="1470047" y="1217877"/>
                <a:ext cx="88760" cy="88744"/>
              </a:xfrm>
              <a:custGeom>
                <a:avLst/>
                <a:gdLst/>
                <a:ahLst/>
                <a:cxnLst/>
                <a:rect l="l" t="t" r="r" b="b"/>
                <a:pathLst>
                  <a:path w="5496" h="5495" extrusionOk="0">
                    <a:moveTo>
                      <a:pt x="2747" y="1"/>
                    </a:moveTo>
                    <a:cubicBezTo>
                      <a:pt x="1231" y="1"/>
                      <a:pt x="1" y="1230"/>
                      <a:pt x="1" y="2749"/>
                    </a:cubicBezTo>
                    <a:cubicBezTo>
                      <a:pt x="1" y="4265"/>
                      <a:pt x="1231" y="5495"/>
                      <a:pt x="2747" y="5495"/>
                    </a:cubicBezTo>
                    <a:cubicBezTo>
                      <a:pt x="4265" y="5495"/>
                      <a:pt x="5495" y="4265"/>
                      <a:pt x="5495" y="2749"/>
                    </a:cubicBezTo>
                    <a:cubicBezTo>
                      <a:pt x="5495" y="1230"/>
                      <a:pt x="4265" y="1"/>
                      <a:pt x="2747"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83" name="Google Shape;5283;p69"/>
            <p:cNvGrpSpPr/>
            <p:nvPr/>
          </p:nvGrpSpPr>
          <p:grpSpPr>
            <a:xfrm>
              <a:off x="732428" y="1239937"/>
              <a:ext cx="739912" cy="607886"/>
              <a:chOff x="732428" y="1239937"/>
              <a:chExt cx="739912" cy="607886"/>
            </a:xfrm>
          </p:grpSpPr>
          <p:sp>
            <p:nvSpPr>
              <p:cNvPr id="5284" name="Google Shape;5284;p69"/>
              <p:cNvSpPr/>
              <p:nvPr/>
            </p:nvSpPr>
            <p:spPr>
              <a:xfrm>
                <a:off x="732428" y="1239937"/>
                <a:ext cx="739912" cy="607886"/>
              </a:xfrm>
              <a:custGeom>
                <a:avLst/>
                <a:gdLst/>
                <a:ahLst/>
                <a:cxnLst/>
                <a:rect l="l" t="t" r="r" b="b"/>
                <a:pathLst>
                  <a:path w="45815" h="37640" extrusionOk="0">
                    <a:moveTo>
                      <a:pt x="26994" y="1"/>
                    </a:moveTo>
                    <a:cubicBezTo>
                      <a:pt x="16602" y="1"/>
                      <a:pt x="8175" y="8427"/>
                      <a:pt x="8175" y="18821"/>
                    </a:cubicBezTo>
                    <a:cubicBezTo>
                      <a:pt x="8169" y="22642"/>
                      <a:pt x="9333" y="26373"/>
                      <a:pt x="11509" y="29515"/>
                    </a:cubicBezTo>
                    <a:lnTo>
                      <a:pt x="3994" y="29515"/>
                    </a:lnTo>
                    <a:cubicBezTo>
                      <a:pt x="1797" y="29515"/>
                      <a:pt x="1" y="31311"/>
                      <a:pt x="1" y="33508"/>
                    </a:cubicBezTo>
                    <a:cubicBezTo>
                      <a:pt x="1" y="35704"/>
                      <a:pt x="1797" y="37502"/>
                      <a:pt x="3994" y="37502"/>
                    </a:cubicBezTo>
                    <a:lnTo>
                      <a:pt x="24483" y="37502"/>
                    </a:lnTo>
                    <a:cubicBezTo>
                      <a:pt x="24546" y="37502"/>
                      <a:pt x="24608" y="37500"/>
                      <a:pt x="24671" y="37497"/>
                    </a:cubicBezTo>
                    <a:cubicBezTo>
                      <a:pt x="25441" y="37592"/>
                      <a:pt x="26218" y="37640"/>
                      <a:pt x="26994" y="37640"/>
                    </a:cubicBezTo>
                    <a:cubicBezTo>
                      <a:pt x="37389" y="37640"/>
                      <a:pt x="45815" y="29214"/>
                      <a:pt x="45815" y="18821"/>
                    </a:cubicBezTo>
                    <a:cubicBezTo>
                      <a:pt x="45815" y="8427"/>
                      <a:pt x="37389" y="1"/>
                      <a:pt x="26994"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5" name="Google Shape;5285;p69"/>
              <p:cNvSpPr/>
              <p:nvPr/>
            </p:nvSpPr>
            <p:spPr>
              <a:xfrm>
                <a:off x="751614" y="1735807"/>
                <a:ext cx="88760" cy="88744"/>
              </a:xfrm>
              <a:custGeom>
                <a:avLst/>
                <a:gdLst/>
                <a:ahLst/>
                <a:cxnLst/>
                <a:rect l="l" t="t" r="r" b="b"/>
                <a:pathLst>
                  <a:path w="5496" h="5495" extrusionOk="0">
                    <a:moveTo>
                      <a:pt x="2747" y="0"/>
                    </a:moveTo>
                    <a:cubicBezTo>
                      <a:pt x="1231" y="0"/>
                      <a:pt x="1" y="1230"/>
                      <a:pt x="1" y="2747"/>
                    </a:cubicBezTo>
                    <a:cubicBezTo>
                      <a:pt x="1" y="4265"/>
                      <a:pt x="1231" y="5495"/>
                      <a:pt x="2747" y="5495"/>
                    </a:cubicBezTo>
                    <a:cubicBezTo>
                      <a:pt x="4265" y="5495"/>
                      <a:pt x="5495" y="4265"/>
                      <a:pt x="5495" y="2747"/>
                    </a:cubicBezTo>
                    <a:cubicBezTo>
                      <a:pt x="5495" y="1230"/>
                      <a:pt x="4265" y="0"/>
                      <a:pt x="2747"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86" name="Google Shape;5286;p69"/>
            <p:cNvGrpSpPr/>
            <p:nvPr/>
          </p:nvGrpSpPr>
          <p:grpSpPr>
            <a:xfrm>
              <a:off x="732428" y="1277018"/>
              <a:ext cx="702832" cy="533758"/>
              <a:chOff x="732428" y="1277018"/>
              <a:chExt cx="702832" cy="533758"/>
            </a:xfrm>
          </p:grpSpPr>
          <p:sp>
            <p:nvSpPr>
              <p:cNvPr id="5287" name="Google Shape;5287;p69"/>
              <p:cNvSpPr/>
              <p:nvPr/>
            </p:nvSpPr>
            <p:spPr>
              <a:xfrm>
                <a:off x="732428" y="1277018"/>
                <a:ext cx="702832" cy="533758"/>
              </a:xfrm>
              <a:custGeom>
                <a:avLst/>
                <a:gdLst/>
                <a:ahLst/>
                <a:cxnLst/>
                <a:rect l="l" t="t" r="r" b="b"/>
                <a:pathLst>
                  <a:path w="43519" h="33050" extrusionOk="0">
                    <a:moveTo>
                      <a:pt x="26994" y="1"/>
                    </a:moveTo>
                    <a:cubicBezTo>
                      <a:pt x="22006" y="1"/>
                      <a:pt x="17535" y="2211"/>
                      <a:pt x="14504" y="5705"/>
                    </a:cubicBezTo>
                    <a:lnTo>
                      <a:pt x="3994" y="5705"/>
                    </a:lnTo>
                    <a:cubicBezTo>
                      <a:pt x="1797" y="5705"/>
                      <a:pt x="1" y="7501"/>
                      <a:pt x="1" y="9698"/>
                    </a:cubicBezTo>
                    <a:cubicBezTo>
                      <a:pt x="1" y="11894"/>
                      <a:pt x="1797" y="13692"/>
                      <a:pt x="3994" y="13692"/>
                    </a:cubicBezTo>
                    <a:lnTo>
                      <a:pt x="10714" y="13692"/>
                    </a:lnTo>
                    <a:cubicBezTo>
                      <a:pt x="10552" y="14627"/>
                      <a:pt x="10470" y="15575"/>
                      <a:pt x="10472" y="16525"/>
                    </a:cubicBezTo>
                    <a:cubicBezTo>
                      <a:pt x="10472" y="25651"/>
                      <a:pt x="17870" y="33049"/>
                      <a:pt x="26996" y="33049"/>
                    </a:cubicBezTo>
                    <a:cubicBezTo>
                      <a:pt x="36122" y="33049"/>
                      <a:pt x="43519" y="25651"/>
                      <a:pt x="43519" y="16525"/>
                    </a:cubicBezTo>
                    <a:cubicBezTo>
                      <a:pt x="43519" y="7399"/>
                      <a:pt x="36122" y="1"/>
                      <a:pt x="26994"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88" name="Google Shape;5288;p69"/>
              <p:cNvSpPr/>
              <p:nvPr/>
            </p:nvSpPr>
            <p:spPr>
              <a:xfrm>
                <a:off x="751695" y="1390407"/>
                <a:ext cx="88728" cy="88744"/>
              </a:xfrm>
              <a:custGeom>
                <a:avLst/>
                <a:gdLst/>
                <a:ahLst/>
                <a:cxnLst/>
                <a:rect l="l" t="t" r="r" b="b"/>
                <a:pathLst>
                  <a:path w="5494" h="5495" extrusionOk="0">
                    <a:moveTo>
                      <a:pt x="2747" y="0"/>
                    </a:moveTo>
                    <a:cubicBezTo>
                      <a:pt x="1230" y="0"/>
                      <a:pt x="1" y="1230"/>
                      <a:pt x="1" y="2748"/>
                    </a:cubicBezTo>
                    <a:cubicBezTo>
                      <a:pt x="1" y="4264"/>
                      <a:pt x="1230" y="5494"/>
                      <a:pt x="2747" y="5494"/>
                    </a:cubicBezTo>
                    <a:cubicBezTo>
                      <a:pt x="4263" y="5494"/>
                      <a:pt x="5493" y="4264"/>
                      <a:pt x="5493" y="2748"/>
                    </a:cubicBezTo>
                    <a:cubicBezTo>
                      <a:pt x="5493" y="1230"/>
                      <a:pt x="4263" y="0"/>
                      <a:pt x="2747"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89" name="Google Shape;5289;p69"/>
            <p:cNvGrpSpPr/>
            <p:nvPr/>
          </p:nvGrpSpPr>
          <p:grpSpPr>
            <a:xfrm>
              <a:off x="931170" y="1306653"/>
              <a:ext cx="647179" cy="474455"/>
              <a:chOff x="931170" y="1306653"/>
              <a:chExt cx="647179" cy="474455"/>
            </a:xfrm>
          </p:grpSpPr>
          <p:sp>
            <p:nvSpPr>
              <p:cNvPr id="5290" name="Google Shape;5290;p69"/>
              <p:cNvSpPr/>
              <p:nvPr/>
            </p:nvSpPr>
            <p:spPr>
              <a:xfrm>
                <a:off x="931170" y="1306653"/>
                <a:ext cx="647179" cy="474455"/>
              </a:xfrm>
              <a:custGeom>
                <a:avLst/>
                <a:gdLst/>
                <a:ahLst/>
                <a:cxnLst/>
                <a:rect l="l" t="t" r="r" b="b"/>
                <a:pathLst>
                  <a:path w="40073" h="29378" extrusionOk="0">
                    <a:moveTo>
                      <a:pt x="14688" y="1"/>
                    </a:moveTo>
                    <a:cubicBezTo>
                      <a:pt x="6578" y="1"/>
                      <a:pt x="1" y="6578"/>
                      <a:pt x="1" y="14690"/>
                    </a:cubicBezTo>
                    <a:cubicBezTo>
                      <a:pt x="1" y="22801"/>
                      <a:pt x="6578" y="29377"/>
                      <a:pt x="14688" y="29377"/>
                    </a:cubicBezTo>
                    <a:cubicBezTo>
                      <a:pt x="19883" y="29377"/>
                      <a:pt x="24445" y="26682"/>
                      <a:pt x="27057" y="22613"/>
                    </a:cubicBezTo>
                    <a:lnTo>
                      <a:pt x="36079" y="22613"/>
                    </a:lnTo>
                    <a:cubicBezTo>
                      <a:pt x="38276" y="22613"/>
                      <a:pt x="40073" y="20817"/>
                      <a:pt x="40073" y="18620"/>
                    </a:cubicBezTo>
                    <a:cubicBezTo>
                      <a:pt x="40073" y="16424"/>
                      <a:pt x="38276" y="14626"/>
                      <a:pt x="36079" y="14626"/>
                    </a:cubicBezTo>
                    <a:lnTo>
                      <a:pt x="29376" y="14626"/>
                    </a:lnTo>
                    <a:cubicBezTo>
                      <a:pt x="29342" y="6544"/>
                      <a:pt x="22780" y="1"/>
                      <a:pt x="1468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1" name="Google Shape;5291;p69"/>
              <p:cNvSpPr/>
              <p:nvPr/>
            </p:nvSpPr>
            <p:spPr>
              <a:xfrm>
                <a:off x="1470047" y="1560806"/>
                <a:ext cx="88760" cy="88744"/>
              </a:xfrm>
              <a:custGeom>
                <a:avLst/>
                <a:gdLst/>
                <a:ahLst/>
                <a:cxnLst/>
                <a:rect l="l" t="t" r="r" b="b"/>
                <a:pathLst>
                  <a:path w="5496" h="5495" extrusionOk="0">
                    <a:moveTo>
                      <a:pt x="2747" y="0"/>
                    </a:moveTo>
                    <a:cubicBezTo>
                      <a:pt x="1231" y="0"/>
                      <a:pt x="1" y="1230"/>
                      <a:pt x="1" y="2746"/>
                    </a:cubicBezTo>
                    <a:cubicBezTo>
                      <a:pt x="1" y="4265"/>
                      <a:pt x="1231" y="5494"/>
                      <a:pt x="2747" y="5494"/>
                    </a:cubicBezTo>
                    <a:cubicBezTo>
                      <a:pt x="4265" y="5494"/>
                      <a:pt x="5495" y="4265"/>
                      <a:pt x="5495" y="2746"/>
                    </a:cubicBezTo>
                    <a:cubicBezTo>
                      <a:pt x="5495" y="1230"/>
                      <a:pt x="4265" y="0"/>
                      <a:pt x="2747"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292" name="Google Shape;5292;p69"/>
            <p:cNvSpPr/>
            <p:nvPr/>
          </p:nvSpPr>
          <p:spPr>
            <a:xfrm>
              <a:off x="986565" y="1362064"/>
              <a:ext cx="363666" cy="363650"/>
            </a:xfrm>
            <a:custGeom>
              <a:avLst/>
              <a:gdLst/>
              <a:ahLst/>
              <a:cxnLst/>
              <a:rect l="l" t="t" r="r" b="b"/>
              <a:pathLst>
                <a:path w="22518" h="22517" extrusionOk="0">
                  <a:moveTo>
                    <a:pt x="11258" y="0"/>
                  </a:moveTo>
                  <a:cubicBezTo>
                    <a:pt x="8273" y="0"/>
                    <a:pt x="5409" y="1187"/>
                    <a:pt x="3298" y="3297"/>
                  </a:cubicBezTo>
                  <a:cubicBezTo>
                    <a:pt x="1186" y="5409"/>
                    <a:pt x="1" y="8272"/>
                    <a:pt x="1" y="11259"/>
                  </a:cubicBezTo>
                  <a:cubicBezTo>
                    <a:pt x="1" y="14244"/>
                    <a:pt x="1186" y="17109"/>
                    <a:pt x="3298" y="19219"/>
                  </a:cubicBezTo>
                  <a:cubicBezTo>
                    <a:pt x="5409" y="21331"/>
                    <a:pt x="8273" y="22516"/>
                    <a:pt x="11258" y="22516"/>
                  </a:cubicBezTo>
                  <a:cubicBezTo>
                    <a:pt x="14245" y="22516"/>
                    <a:pt x="17108" y="21331"/>
                    <a:pt x="19220" y="19219"/>
                  </a:cubicBezTo>
                  <a:cubicBezTo>
                    <a:pt x="21331" y="17109"/>
                    <a:pt x="22517" y="14244"/>
                    <a:pt x="22517" y="11259"/>
                  </a:cubicBezTo>
                  <a:cubicBezTo>
                    <a:pt x="22517" y="8272"/>
                    <a:pt x="21331" y="5409"/>
                    <a:pt x="19220" y="3297"/>
                  </a:cubicBezTo>
                  <a:cubicBezTo>
                    <a:pt x="17108" y="1187"/>
                    <a:pt x="14245" y="0"/>
                    <a:pt x="11258"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293" name="Google Shape;5293;p69"/>
          <p:cNvGrpSpPr/>
          <p:nvPr/>
        </p:nvGrpSpPr>
        <p:grpSpPr>
          <a:xfrm>
            <a:off x="5285383" y="1561818"/>
            <a:ext cx="846208" cy="933309"/>
            <a:chOff x="5985650" y="2860025"/>
            <a:chExt cx="1396075" cy="1539775"/>
          </a:xfrm>
        </p:grpSpPr>
        <p:sp>
          <p:nvSpPr>
            <p:cNvPr id="5294" name="Google Shape;5294;p69"/>
            <p:cNvSpPr/>
            <p:nvPr/>
          </p:nvSpPr>
          <p:spPr>
            <a:xfrm>
              <a:off x="6655300" y="3128850"/>
              <a:ext cx="637150" cy="631950"/>
            </a:xfrm>
            <a:custGeom>
              <a:avLst/>
              <a:gdLst/>
              <a:ahLst/>
              <a:cxnLst/>
              <a:rect l="l" t="t" r="r" b="b"/>
              <a:pathLst>
                <a:path w="25486" h="25278" extrusionOk="0">
                  <a:moveTo>
                    <a:pt x="12746" y="4905"/>
                  </a:moveTo>
                  <a:cubicBezTo>
                    <a:pt x="13701" y="4905"/>
                    <a:pt x="14672" y="5083"/>
                    <a:pt x="15613" y="5460"/>
                  </a:cubicBezTo>
                  <a:cubicBezTo>
                    <a:pt x="19580" y="7047"/>
                    <a:pt x="21508" y="11545"/>
                    <a:pt x="19923" y="15511"/>
                  </a:cubicBezTo>
                  <a:cubicBezTo>
                    <a:pt x="18714" y="18534"/>
                    <a:pt x="15811" y="20374"/>
                    <a:pt x="12742" y="20374"/>
                  </a:cubicBezTo>
                  <a:cubicBezTo>
                    <a:pt x="11786" y="20374"/>
                    <a:pt x="10814" y="20196"/>
                    <a:pt x="9873" y="19819"/>
                  </a:cubicBezTo>
                  <a:cubicBezTo>
                    <a:pt x="5908" y="18234"/>
                    <a:pt x="3978" y="13734"/>
                    <a:pt x="5563" y="9769"/>
                  </a:cubicBezTo>
                  <a:cubicBezTo>
                    <a:pt x="6772" y="6745"/>
                    <a:pt x="9676" y="4905"/>
                    <a:pt x="12746" y="4905"/>
                  </a:cubicBezTo>
                  <a:close/>
                  <a:moveTo>
                    <a:pt x="15551" y="1"/>
                  </a:moveTo>
                  <a:cubicBezTo>
                    <a:pt x="15240" y="1"/>
                    <a:pt x="14946" y="187"/>
                    <a:pt x="14824" y="492"/>
                  </a:cubicBezTo>
                  <a:lnTo>
                    <a:pt x="14047" y="2435"/>
                  </a:lnTo>
                  <a:cubicBezTo>
                    <a:pt x="13612" y="2378"/>
                    <a:pt x="13174" y="2350"/>
                    <a:pt x="12736" y="2350"/>
                  </a:cubicBezTo>
                  <a:cubicBezTo>
                    <a:pt x="12218" y="2350"/>
                    <a:pt x="11700" y="2390"/>
                    <a:pt x="11187" y="2469"/>
                  </a:cubicBezTo>
                  <a:lnTo>
                    <a:pt x="10364" y="547"/>
                  </a:lnTo>
                  <a:cubicBezTo>
                    <a:pt x="10238" y="251"/>
                    <a:pt x="9949" y="73"/>
                    <a:pt x="9646" y="73"/>
                  </a:cubicBezTo>
                  <a:cubicBezTo>
                    <a:pt x="9543" y="73"/>
                    <a:pt x="9438" y="93"/>
                    <a:pt x="9338" y="137"/>
                  </a:cubicBezTo>
                  <a:lnTo>
                    <a:pt x="6036" y="1553"/>
                  </a:lnTo>
                  <a:cubicBezTo>
                    <a:pt x="5640" y="1722"/>
                    <a:pt x="5456" y="2182"/>
                    <a:pt x="5626" y="2579"/>
                  </a:cubicBezTo>
                  <a:lnTo>
                    <a:pt x="6449" y="4501"/>
                  </a:lnTo>
                  <a:cubicBezTo>
                    <a:pt x="5690" y="5085"/>
                    <a:pt x="5019" y="5775"/>
                    <a:pt x="4452" y="6549"/>
                  </a:cubicBezTo>
                  <a:lnTo>
                    <a:pt x="2510" y="5772"/>
                  </a:lnTo>
                  <a:cubicBezTo>
                    <a:pt x="2414" y="5734"/>
                    <a:pt x="2316" y="5716"/>
                    <a:pt x="2219" y="5716"/>
                  </a:cubicBezTo>
                  <a:cubicBezTo>
                    <a:pt x="1910" y="5716"/>
                    <a:pt x="1616" y="5901"/>
                    <a:pt x="1493" y="6208"/>
                  </a:cubicBezTo>
                  <a:lnTo>
                    <a:pt x="161" y="9542"/>
                  </a:lnTo>
                  <a:cubicBezTo>
                    <a:pt x="0" y="9944"/>
                    <a:pt x="194" y="10398"/>
                    <a:pt x="596" y="10558"/>
                  </a:cubicBezTo>
                  <a:lnTo>
                    <a:pt x="2537" y="11335"/>
                  </a:lnTo>
                  <a:cubicBezTo>
                    <a:pt x="2415" y="12285"/>
                    <a:pt x="2426" y="13249"/>
                    <a:pt x="2572" y="14195"/>
                  </a:cubicBezTo>
                  <a:lnTo>
                    <a:pt x="651" y="15018"/>
                  </a:lnTo>
                  <a:cubicBezTo>
                    <a:pt x="253" y="15189"/>
                    <a:pt x="71" y="15649"/>
                    <a:pt x="241" y="16046"/>
                  </a:cubicBezTo>
                  <a:lnTo>
                    <a:pt x="1655" y="19347"/>
                  </a:lnTo>
                  <a:cubicBezTo>
                    <a:pt x="1781" y="19643"/>
                    <a:pt x="2070" y="19821"/>
                    <a:pt x="2373" y="19821"/>
                  </a:cubicBezTo>
                  <a:cubicBezTo>
                    <a:pt x="2476" y="19821"/>
                    <a:pt x="2581" y="19800"/>
                    <a:pt x="2681" y="19756"/>
                  </a:cubicBezTo>
                  <a:lnTo>
                    <a:pt x="4603" y="18933"/>
                  </a:lnTo>
                  <a:cubicBezTo>
                    <a:pt x="5189" y="19692"/>
                    <a:pt x="5879" y="20365"/>
                    <a:pt x="6651" y="20930"/>
                  </a:cubicBezTo>
                  <a:lnTo>
                    <a:pt x="5874" y="22873"/>
                  </a:lnTo>
                  <a:cubicBezTo>
                    <a:pt x="5714" y="23273"/>
                    <a:pt x="5909" y="23728"/>
                    <a:pt x="6310" y="23888"/>
                  </a:cubicBezTo>
                  <a:lnTo>
                    <a:pt x="9645" y="25222"/>
                  </a:lnTo>
                  <a:cubicBezTo>
                    <a:pt x="9740" y="25260"/>
                    <a:pt x="9838" y="25278"/>
                    <a:pt x="9935" y="25278"/>
                  </a:cubicBezTo>
                  <a:cubicBezTo>
                    <a:pt x="10245" y="25278"/>
                    <a:pt x="10538" y="25092"/>
                    <a:pt x="10660" y="24786"/>
                  </a:cubicBezTo>
                  <a:lnTo>
                    <a:pt x="11437" y="22845"/>
                  </a:lnTo>
                  <a:cubicBezTo>
                    <a:pt x="11871" y="22901"/>
                    <a:pt x="12308" y="22929"/>
                    <a:pt x="12745" y="22929"/>
                  </a:cubicBezTo>
                  <a:cubicBezTo>
                    <a:pt x="13264" y="22929"/>
                    <a:pt x="13784" y="22889"/>
                    <a:pt x="14299" y="22810"/>
                  </a:cubicBezTo>
                  <a:lnTo>
                    <a:pt x="15122" y="24732"/>
                  </a:lnTo>
                  <a:cubicBezTo>
                    <a:pt x="15248" y="25028"/>
                    <a:pt x="15536" y="25206"/>
                    <a:pt x="15839" y="25206"/>
                  </a:cubicBezTo>
                  <a:cubicBezTo>
                    <a:pt x="15943" y="25206"/>
                    <a:pt x="16047" y="25185"/>
                    <a:pt x="16148" y="25142"/>
                  </a:cubicBezTo>
                  <a:lnTo>
                    <a:pt x="19449" y="23728"/>
                  </a:lnTo>
                  <a:cubicBezTo>
                    <a:pt x="19846" y="23558"/>
                    <a:pt x="20030" y="23098"/>
                    <a:pt x="19860" y="22701"/>
                  </a:cubicBezTo>
                  <a:lnTo>
                    <a:pt x="19037" y="20780"/>
                  </a:lnTo>
                  <a:cubicBezTo>
                    <a:pt x="19794" y="20194"/>
                    <a:pt x="20467" y="19503"/>
                    <a:pt x="21034" y="18732"/>
                  </a:cubicBezTo>
                  <a:lnTo>
                    <a:pt x="22975" y="19508"/>
                  </a:lnTo>
                  <a:cubicBezTo>
                    <a:pt x="23070" y="19546"/>
                    <a:pt x="23168" y="19564"/>
                    <a:pt x="23265" y="19564"/>
                  </a:cubicBezTo>
                  <a:cubicBezTo>
                    <a:pt x="23576" y="19564"/>
                    <a:pt x="23869" y="19378"/>
                    <a:pt x="23992" y="19073"/>
                  </a:cubicBezTo>
                  <a:lnTo>
                    <a:pt x="25326" y="15737"/>
                  </a:lnTo>
                  <a:cubicBezTo>
                    <a:pt x="25486" y="15337"/>
                    <a:pt x="25290" y="14882"/>
                    <a:pt x="24890" y="14722"/>
                  </a:cubicBezTo>
                  <a:lnTo>
                    <a:pt x="22948" y="13945"/>
                  </a:lnTo>
                  <a:cubicBezTo>
                    <a:pt x="23071" y="12994"/>
                    <a:pt x="23060" y="12032"/>
                    <a:pt x="22914" y="11084"/>
                  </a:cubicBezTo>
                  <a:lnTo>
                    <a:pt x="24835" y="10261"/>
                  </a:lnTo>
                  <a:cubicBezTo>
                    <a:pt x="25231" y="10091"/>
                    <a:pt x="25415" y="9631"/>
                    <a:pt x="25245" y="9234"/>
                  </a:cubicBezTo>
                  <a:lnTo>
                    <a:pt x="23830" y="5934"/>
                  </a:lnTo>
                  <a:cubicBezTo>
                    <a:pt x="23703" y="5637"/>
                    <a:pt x="23414" y="5459"/>
                    <a:pt x="23111" y="5459"/>
                  </a:cubicBezTo>
                  <a:cubicBezTo>
                    <a:pt x="23008" y="5459"/>
                    <a:pt x="22904" y="5479"/>
                    <a:pt x="22803" y="5522"/>
                  </a:cubicBezTo>
                  <a:lnTo>
                    <a:pt x="20882" y="6347"/>
                  </a:lnTo>
                  <a:cubicBezTo>
                    <a:pt x="20297" y="5588"/>
                    <a:pt x="19607" y="4915"/>
                    <a:pt x="18835" y="4348"/>
                  </a:cubicBezTo>
                  <a:lnTo>
                    <a:pt x="19610" y="2408"/>
                  </a:lnTo>
                  <a:cubicBezTo>
                    <a:pt x="19770" y="2006"/>
                    <a:pt x="19577" y="1551"/>
                    <a:pt x="19175" y="1391"/>
                  </a:cubicBezTo>
                  <a:lnTo>
                    <a:pt x="15841" y="57"/>
                  </a:lnTo>
                  <a:cubicBezTo>
                    <a:pt x="15745" y="19"/>
                    <a:pt x="15647" y="1"/>
                    <a:pt x="15551"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5" name="Google Shape;5295;p69"/>
            <p:cNvSpPr/>
            <p:nvPr/>
          </p:nvSpPr>
          <p:spPr>
            <a:xfrm>
              <a:off x="6673425" y="3771400"/>
              <a:ext cx="600850" cy="600800"/>
            </a:xfrm>
            <a:custGeom>
              <a:avLst/>
              <a:gdLst/>
              <a:ahLst/>
              <a:cxnLst/>
              <a:rect l="l" t="t" r="r" b="b"/>
              <a:pathLst>
                <a:path w="24034" h="24032" extrusionOk="0">
                  <a:moveTo>
                    <a:pt x="12017" y="4775"/>
                  </a:moveTo>
                  <a:cubicBezTo>
                    <a:pt x="16016" y="4775"/>
                    <a:pt x="19258" y="8018"/>
                    <a:pt x="19258" y="12017"/>
                  </a:cubicBezTo>
                  <a:cubicBezTo>
                    <a:pt x="19258" y="16015"/>
                    <a:pt x="16016" y="19256"/>
                    <a:pt x="12019" y="19256"/>
                  </a:cubicBezTo>
                  <a:lnTo>
                    <a:pt x="12017" y="19256"/>
                  </a:lnTo>
                  <a:cubicBezTo>
                    <a:pt x="8019" y="19256"/>
                    <a:pt x="4778" y="16015"/>
                    <a:pt x="4778" y="12017"/>
                  </a:cubicBezTo>
                  <a:cubicBezTo>
                    <a:pt x="4778" y="8018"/>
                    <a:pt x="8019" y="4775"/>
                    <a:pt x="12017" y="4775"/>
                  </a:cubicBezTo>
                  <a:close/>
                  <a:moveTo>
                    <a:pt x="10336" y="0"/>
                  </a:moveTo>
                  <a:cubicBezTo>
                    <a:pt x="9932" y="0"/>
                    <a:pt x="9604" y="327"/>
                    <a:pt x="9604" y="732"/>
                  </a:cubicBezTo>
                  <a:lnTo>
                    <a:pt x="9604" y="2689"/>
                  </a:lnTo>
                  <a:cubicBezTo>
                    <a:pt x="8734" y="2913"/>
                    <a:pt x="7902" y="3259"/>
                    <a:pt x="7128" y="3714"/>
                  </a:cubicBezTo>
                  <a:lnTo>
                    <a:pt x="5745" y="2330"/>
                  </a:lnTo>
                  <a:cubicBezTo>
                    <a:pt x="5602" y="2187"/>
                    <a:pt x="5415" y="2115"/>
                    <a:pt x="5228" y="2115"/>
                  </a:cubicBezTo>
                  <a:cubicBezTo>
                    <a:pt x="5040" y="2115"/>
                    <a:pt x="4853" y="2187"/>
                    <a:pt x="4710" y="2330"/>
                  </a:cubicBezTo>
                  <a:lnTo>
                    <a:pt x="2332" y="4708"/>
                  </a:lnTo>
                  <a:cubicBezTo>
                    <a:pt x="2046" y="4995"/>
                    <a:pt x="2046" y="5457"/>
                    <a:pt x="2332" y="5744"/>
                  </a:cubicBezTo>
                  <a:lnTo>
                    <a:pt x="3716" y="7128"/>
                  </a:lnTo>
                  <a:cubicBezTo>
                    <a:pt x="3260" y="7900"/>
                    <a:pt x="2915" y="8734"/>
                    <a:pt x="2691" y="9602"/>
                  </a:cubicBezTo>
                  <a:lnTo>
                    <a:pt x="734" y="9602"/>
                  </a:lnTo>
                  <a:cubicBezTo>
                    <a:pt x="329" y="9602"/>
                    <a:pt x="1" y="9930"/>
                    <a:pt x="1" y="10335"/>
                  </a:cubicBezTo>
                  <a:lnTo>
                    <a:pt x="1" y="13698"/>
                  </a:lnTo>
                  <a:cubicBezTo>
                    <a:pt x="1" y="14101"/>
                    <a:pt x="329" y="14430"/>
                    <a:pt x="734" y="14430"/>
                  </a:cubicBezTo>
                  <a:lnTo>
                    <a:pt x="2691" y="14430"/>
                  </a:lnTo>
                  <a:cubicBezTo>
                    <a:pt x="2915" y="15298"/>
                    <a:pt x="3260" y="16132"/>
                    <a:pt x="3716" y="16904"/>
                  </a:cubicBezTo>
                  <a:lnTo>
                    <a:pt x="2332" y="18289"/>
                  </a:lnTo>
                  <a:cubicBezTo>
                    <a:pt x="2046" y="18574"/>
                    <a:pt x="2046" y="19038"/>
                    <a:pt x="2332" y="19323"/>
                  </a:cubicBezTo>
                  <a:lnTo>
                    <a:pt x="4710" y="21701"/>
                  </a:lnTo>
                  <a:cubicBezTo>
                    <a:pt x="4853" y="21845"/>
                    <a:pt x="5040" y="21916"/>
                    <a:pt x="5228" y="21916"/>
                  </a:cubicBezTo>
                  <a:cubicBezTo>
                    <a:pt x="5415" y="21916"/>
                    <a:pt x="5602" y="21845"/>
                    <a:pt x="5745" y="21701"/>
                  </a:cubicBezTo>
                  <a:lnTo>
                    <a:pt x="7128" y="20318"/>
                  </a:lnTo>
                  <a:cubicBezTo>
                    <a:pt x="7902" y="20774"/>
                    <a:pt x="8736" y="21118"/>
                    <a:pt x="9604" y="21343"/>
                  </a:cubicBezTo>
                  <a:lnTo>
                    <a:pt x="9604" y="23299"/>
                  </a:lnTo>
                  <a:cubicBezTo>
                    <a:pt x="9604" y="23705"/>
                    <a:pt x="9932" y="24031"/>
                    <a:pt x="10336" y="24031"/>
                  </a:cubicBezTo>
                  <a:lnTo>
                    <a:pt x="13699" y="24031"/>
                  </a:lnTo>
                  <a:cubicBezTo>
                    <a:pt x="14104" y="24031"/>
                    <a:pt x="14432" y="23705"/>
                    <a:pt x="14432" y="23299"/>
                  </a:cubicBezTo>
                  <a:lnTo>
                    <a:pt x="14432" y="21343"/>
                  </a:lnTo>
                  <a:cubicBezTo>
                    <a:pt x="15300" y="21118"/>
                    <a:pt x="16134" y="20773"/>
                    <a:pt x="16906" y="20318"/>
                  </a:cubicBezTo>
                  <a:lnTo>
                    <a:pt x="18290" y="21701"/>
                  </a:lnTo>
                  <a:cubicBezTo>
                    <a:pt x="18433" y="21844"/>
                    <a:pt x="18620" y="21915"/>
                    <a:pt x="18808" y="21915"/>
                  </a:cubicBezTo>
                  <a:cubicBezTo>
                    <a:pt x="18995" y="21915"/>
                    <a:pt x="19182" y="21844"/>
                    <a:pt x="19326" y="21701"/>
                  </a:cubicBezTo>
                  <a:lnTo>
                    <a:pt x="21704" y="19323"/>
                  </a:lnTo>
                  <a:cubicBezTo>
                    <a:pt x="21989" y="19037"/>
                    <a:pt x="21989" y="18574"/>
                    <a:pt x="21704" y="18287"/>
                  </a:cubicBezTo>
                  <a:lnTo>
                    <a:pt x="20320" y="16904"/>
                  </a:lnTo>
                  <a:cubicBezTo>
                    <a:pt x="20775" y="16130"/>
                    <a:pt x="21121" y="15298"/>
                    <a:pt x="21345" y="14430"/>
                  </a:cubicBezTo>
                  <a:lnTo>
                    <a:pt x="23302" y="14430"/>
                  </a:lnTo>
                  <a:cubicBezTo>
                    <a:pt x="23705" y="14430"/>
                    <a:pt x="24034" y="14101"/>
                    <a:pt x="24034" y="13696"/>
                  </a:cubicBezTo>
                  <a:lnTo>
                    <a:pt x="24034" y="10334"/>
                  </a:lnTo>
                  <a:cubicBezTo>
                    <a:pt x="24034" y="9930"/>
                    <a:pt x="23705" y="9602"/>
                    <a:pt x="23302" y="9602"/>
                  </a:cubicBezTo>
                  <a:lnTo>
                    <a:pt x="21343" y="9602"/>
                  </a:lnTo>
                  <a:cubicBezTo>
                    <a:pt x="21121" y="8734"/>
                    <a:pt x="20775" y="7900"/>
                    <a:pt x="20320" y="7128"/>
                  </a:cubicBezTo>
                  <a:lnTo>
                    <a:pt x="21704" y="5744"/>
                  </a:lnTo>
                  <a:cubicBezTo>
                    <a:pt x="21989" y="5457"/>
                    <a:pt x="21989" y="4995"/>
                    <a:pt x="21704" y="4708"/>
                  </a:cubicBezTo>
                  <a:lnTo>
                    <a:pt x="19326" y="2330"/>
                  </a:lnTo>
                  <a:cubicBezTo>
                    <a:pt x="19182" y="2187"/>
                    <a:pt x="18995" y="2115"/>
                    <a:pt x="18808" y="2115"/>
                  </a:cubicBezTo>
                  <a:cubicBezTo>
                    <a:pt x="18620" y="2115"/>
                    <a:pt x="18433" y="2187"/>
                    <a:pt x="18290" y="2330"/>
                  </a:cubicBezTo>
                  <a:lnTo>
                    <a:pt x="16906" y="3714"/>
                  </a:lnTo>
                  <a:cubicBezTo>
                    <a:pt x="16133" y="3259"/>
                    <a:pt x="15300" y="2913"/>
                    <a:pt x="14430" y="2689"/>
                  </a:cubicBezTo>
                  <a:lnTo>
                    <a:pt x="14430" y="732"/>
                  </a:lnTo>
                  <a:cubicBezTo>
                    <a:pt x="14430" y="327"/>
                    <a:pt x="14104" y="0"/>
                    <a:pt x="1369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6" name="Google Shape;5296;p69"/>
            <p:cNvSpPr/>
            <p:nvPr/>
          </p:nvSpPr>
          <p:spPr>
            <a:xfrm>
              <a:off x="6073050" y="3509700"/>
              <a:ext cx="641725" cy="636800"/>
            </a:xfrm>
            <a:custGeom>
              <a:avLst/>
              <a:gdLst/>
              <a:ahLst/>
              <a:cxnLst/>
              <a:rect l="l" t="t" r="r" b="b"/>
              <a:pathLst>
                <a:path w="25669" h="25472" extrusionOk="0">
                  <a:moveTo>
                    <a:pt x="12840" y="5002"/>
                  </a:moveTo>
                  <a:cubicBezTo>
                    <a:pt x="13949" y="5002"/>
                    <a:pt x="15075" y="5242"/>
                    <a:pt x="16144" y="5747"/>
                  </a:cubicBezTo>
                  <a:cubicBezTo>
                    <a:pt x="20003" y="7575"/>
                    <a:pt x="21651" y="12185"/>
                    <a:pt x="19822" y="16044"/>
                  </a:cubicBezTo>
                  <a:cubicBezTo>
                    <a:pt x="18501" y="18836"/>
                    <a:pt x="15726" y="20470"/>
                    <a:pt x="12830" y="20470"/>
                  </a:cubicBezTo>
                  <a:cubicBezTo>
                    <a:pt x="11721" y="20470"/>
                    <a:pt x="10595" y="20230"/>
                    <a:pt x="9525" y="19724"/>
                  </a:cubicBezTo>
                  <a:cubicBezTo>
                    <a:pt x="5666" y="17897"/>
                    <a:pt x="4018" y="13286"/>
                    <a:pt x="5845" y="9427"/>
                  </a:cubicBezTo>
                  <a:cubicBezTo>
                    <a:pt x="7167" y="6636"/>
                    <a:pt x="9944" y="5002"/>
                    <a:pt x="12840" y="5002"/>
                  </a:cubicBezTo>
                  <a:close/>
                  <a:moveTo>
                    <a:pt x="10471" y="1"/>
                  </a:moveTo>
                  <a:cubicBezTo>
                    <a:pt x="10383" y="1"/>
                    <a:pt x="10294" y="16"/>
                    <a:pt x="10208" y="47"/>
                  </a:cubicBezTo>
                  <a:lnTo>
                    <a:pt x="6824" y="1256"/>
                  </a:lnTo>
                  <a:cubicBezTo>
                    <a:pt x="6417" y="1401"/>
                    <a:pt x="6206" y="1848"/>
                    <a:pt x="6351" y="2255"/>
                  </a:cubicBezTo>
                  <a:lnTo>
                    <a:pt x="7054" y="4223"/>
                  </a:lnTo>
                  <a:cubicBezTo>
                    <a:pt x="6262" y="4761"/>
                    <a:pt x="5548" y="5408"/>
                    <a:pt x="4934" y="6145"/>
                  </a:cubicBezTo>
                  <a:lnTo>
                    <a:pt x="3045" y="5249"/>
                  </a:lnTo>
                  <a:cubicBezTo>
                    <a:pt x="2937" y="5199"/>
                    <a:pt x="2823" y="5174"/>
                    <a:pt x="2711" y="5174"/>
                  </a:cubicBezTo>
                  <a:cubicBezTo>
                    <a:pt x="2418" y="5174"/>
                    <a:pt x="2137" y="5340"/>
                    <a:pt x="2004" y="5623"/>
                  </a:cubicBezTo>
                  <a:lnTo>
                    <a:pt x="467" y="8868"/>
                  </a:lnTo>
                  <a:cubicBezTo>
                    <a:pt x="282" y="9259"/>
                    <a:pt x="449" y="9725"/>
                    <a:pt x="840" y="9909"/>
                  </a:cubicBezTo>
                  <a:lnTo>
                    <a:pt x="2729" y="10804"/>
                  </a:lnTo>
                  <a:cubicBezTo>
                    <a:pt x="2548" y="11744"/>
                    <a:pt x="2500" y="12707"/>
                    <a:pt x="2587" y="13661"/>
                  </a:cubicBezTo>
                  <a:lnTo>
                    <a:pt x="619" y="14364"/>
                  </a:lnTo>
                  <a:cubicBezTo>
                    <a:pt x="212" y="14510"/>
                    <a:pt x="1" y="14957"/>
                    <a:pt x="145" y="15363"/>
                  </a:cubicBezTo>
                  <a:lnTo>
                    <a:pt x="1354" y="18747"/>
                  </a:lnTo>
                  <a:cubicBezTo>
                    <a:pt x="1467" y="19067"/>
                    <a:pt x="1768" y="19265"/>
                    <a:pt x="2089" y="19265"/>
                  </a:cubicBezTo>
                  <a:cubicBezTo>
                    <a:pt x="2177" y="19265"/>
                    <a:pt x="2266" y="19251"/>
                    <a:pt x="2353" y="19219"/>
                  </a:cubicBezTo>
                  <a:lnTo>
                    <a:pt x="4321" y="18516"/>
                  </a:lnTo>
                  <a:cubicBezTo>
                    <a:pt x="4859" y="19309"/>
                    <a:pt x="5506" y="20023"/>
                    <a:pt x="6243" y="20637"/>
                  </a:cubicBezTo>
                  <a:lnTo>
                    <a:pt x="5347" y="22526"/>
                  </a:lnTo>
                  <a:cubicBezTo>
                    <a:pt x="5163" y="22917"/>
                    <a:pt x="5330" y="23383"/>
                    <a:pt x="5721" y="23567"/>
                  </a:cubicBezTo>
                  <a:lnTo>
                    <a:pt x="8966" y="25104"/>
                  </a:lnTo>
                  <a:cubicBezTo>
                    <a:pt x="9074" y="25155"/>
                    <a:pt x="9188" y="25179"/>
                    <a:pt x="9300" y="25179"/>
                  </a:cubicBezTo>
                  <a:cubicBezTo>
                    <a:pt x="9593" y="25179"/>
                    <a:pt x="9874" y="25014"/>
                    <a:pt x="10007" y="24731"/>
                  </a:cubicBezTo>
                  <a:lnTo>
                    <a:pt x="10902" y="22842"/>
                  </a:lnTo>
                  <a:cubicBezTo>
                    <a:pt x="11540" y="22964"/>
                    <a:pt x="12187" y="23026"/>
                    <a:pt x="12836" y="23026"/>
                  </a:cubicBezTo>
                  <a:cubicBezTo>
                    <a:pt x="13144" y="23026"/>
                    <a:pt x="13452" y="23012"/>
                    <a:pt x="13759" y="22984"/>
                  </a:cubicBezTo>
                  <a:lnTo>
                    <a:pt x="14462" y="24952"/>
                  </a:lnTo>
                  <a:cubicBezTo>
                    <a:pt x="14577" y="25272"/>
                    <a:pt x="14878" y="25471"/>
                    <a:pt x="15200" y="25471"/>
                  </a:cubicBezTo>
                  <a:cubicBezTo>
                    <a:pt x="15286" y="25471"/>
                    <a:pt x="15375" y="25457"/>
                    <a:pt x="15461" y="25426"/>
                  </a:cubicBezTo>
                  <a:lnTo>
                    <a:pt x="18845" y="24217"/>
                  </a:lnTo>
                  <a:cubicBezTo>
                    <a:pt x="19252" y="24071"/>
                    <a:pt x="19463" y="23625"/>
                    <a:pt x="19318" y="23218"/>
                  </a:cubicBezTo>
                  <a:lnTo>
                    <a:pt x="18615" y="21250"/>
                  </a:lnTo>
                  <a:cubicBezTo>
                    <a:pt x="19407" y="20712"/>
                    <a:pt x="20121" y="20065"/>
                    <a:pt x="20735" y="19328"/>
                  </a:cubicBezTo>
                  <a:lnTo>
                    <a:pt x="22624" y="20223"/>
                  </a:lnTo>
                  <a:cubicBezTo>
                    <a:pt x="22732" y="20274"/>
                    <a:pt x="22846" y="20298"/>
                    <a:pt x="22958" y="20298"/>
                  </a:cubicBezTo>
                  <a:cubicBezTo>
                    <a:pt x="23251" y="20298"/>
                    <a:pt x="23532" y="20133"/>
                    <a:pt x="23665" y="19850"/>
                  </a:cubicBezTo>
                  <a:lnTo>
                    <a:pt x="25202" y="16604"/>
                  </a:lnTo>
                  <a:cubicBezTo>
                    <a:pt x="25387" y="16214"/>
                    <a:pt x="25220" y="15748"/>
                    <a:pt x="24829" y="15564"/>
                  </a:cubicBezTo>
                  <a:lnTo>
                    <a:pt x="22940" y="14668"/>
                  </a:lnTo>
                  <a:cubicBezTo>
                    <a:pt x="23121" y="13727"/>
                    <a:pt x="23169" y="12766"/>
                    <a:pt x="23082" y="11812"/>
                  </a:cubicBezTo>
                  <a:lnTo>
                    <a:pt x="25050" y="11107"/>
                  </a:lnTo>
                  <a:cubicBezTo>
                    <a:pt x="25457" y="10963"/>
                    <a:pt x="25668" y="10515"/>
                    <a:pt x="25523" y="10108"/>
                  </a:cubicBezTo>
                  <a:lnTo>
                    <a:pt x="24315" y="6726"/>
                  </a:lnTo>
                  <a:cubicBezTo>
                    <a:pt x="24201" y="6406"/>
                    <a:pt x="23898" y="6207"/>
                    <a:pt x="23577" y="6207"/>
                  </a:cubicBezTo>
                  <a:cubicBezTo>
                    <a:pt x="23491" y="6207"/>
                    <a:pt x="23402" y="6221"/>
                    <a:pt x="23316" y="6252"/>
                  </a:cubicBezTo>
                  <a:lnTo>
                    <a:pt x="21348" y="6956"/>
                  </a:lnTo>
                  <a:cubicBezTo>
                    <a:pt x="20810" y="6162"/>
                    <a:pt x="20163" y="5450"/>
                    <a:pt x="19426" y="4836"/>
                  </a:cubicBezTo>
                  <a:lnTo>
                    <a:pt x="20320" y="2947"/>
                  </a:lnTo>
                  <a:cubicBezTo>
                    <a:pt x="20506" y="2556"/>
                    <a:pt x="20339" y="2090"/>
                    <a:pt x="19948" y="1906"/>
                  </a:cubicBezTo>
                  <a:lnTo>
                    <a:pt x="16703" y="369"/>
                  </a:lnTo>
                  <a:cubicBezTo>
                    <a:pt x="16595" y="318"/>
                    <a:pt x="16481" y="294"/>
                    <a:pt x="16369" y="294"/>
                  </a:cubicBezTo>
                  <a:cubicBezTo>
                    <a:pt x="16076" y="294"/>
                    <a:pt x="15795" y="459"/>
                    <a:pt x="15662" y="742"/>
                  </a:cubicBezTo>
                  <a:lnTo>
                    <a:pt x="14767" y="2631"/>
                  </a:lnTo>
                  <a:cubicBezTo>
                    <a:pt x="14130" y="2508"/>
                    <a:pt x="13485" y="2447"/>
                    <a:pt x="12839" y="2447"/>
                  </a:cubicBezTo>
                  <a:cubicBezTo>
                    <a:pt x="12529" y="2447"/>
                    <a:pt x="12219" y="2461"/>
                    <a:pt x="11910" y="2489"/>
                  </a:cubicBezTo>
                  <a:lnTo>
                    <a:pt x="11207" y="521"/>
                  </a:lnTo>
                  <a:cubicBezTo>
                    <a:pt x="11092" y="200"/>
                    <a:pt x="10791" y="1"/>
                    <a:pt x="1047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7" name="Google Shape;5297;p69"/>
            <p:cNvSpPr/>
            <p:nvPr/>
          </p:nvSpPr>
          <p:spPr>
            <a:xfrm>
              <a:off x="6124575" y="2917775"/>
              <a:ext cx="572575" cy="572525"/>
            </a:xfrm>
            <a:custGeom>
              <a:avLst/>
              <a:gdLst/>
              <a:ahLst/>
              <a:cxnLst/>
              <a:rect l="l" t="t" r="r" b="b"/>
              <a:pathLst>
                <a:path w="22903" h="22901" extrusionOk="0">
                  <a:moveTo>
                    <a:pt x="11452" y="4551"/>
                  </a:moveTo>
                  <a:cubicBezTo>
                    <a:pt x="15263" y="4551"/>
                    <a:pt x="18352" y="7640"/>
                    <a:pt x="18352" y="11451"/>
                  </a:cubicBezTo>
                  <a:cubicBezTo>
                    <a:pt x="18352" y="15262"/>
                    <a:pt x="15263" y="18350"/>
                    <a:pt x="11452" y="18350"/>
                  </a:cubicBezTo>
                  <a:lnTo>
                    <a:pt x="11452" y="18351"/>
                  </a:lnTo>
                  <a:cubicBezTo>
                    <a:pt x="7640" y="18351"/>
                    <a:pt x="4552" y="15262"/>
                    <a:pt x="4552" y="11451"/>
                  </a:cubicBezTo>
                  <a:cubicBezTo>
                    <a:pt x="4552" y="7640"/>
                    <a:pt x="7640" y="4551"/>
                    <a:pt x="11452" y="4551"/>
                  </a:cubicBezTo>
                  <a:close/>
                  <a:moveTo>
                    <a:pt x="9850" y="0"/>
                  </a:moveTo>
                  <a:cubicBezTo>
                    <a:pt x="9464" y="0"/>
                    <a:pt x="9152" y="312"/>
                    <a:pt x="9152" y="698"/>
                  </a:cubicBezTo>
                  <a:lnTo>
                    <a:pt x="9152" y="2564"/>
                  </a:lnTo>
                  <a:cubicBezTo>
                    <a:pt x="8324" y="2777"/>
                    <a:pt x="7530" y="3105"/>
                    <a:pt x="6793" y="3539"/>
                  </a:cubicBezTo>
                  <a:lnTo>
                    <a:pt x="5474" y="2221"/>
                  </a:lnTo>
                  <a:cubicBezTo>
                    <a:pt x="5338" y="2085"/>
                    <a:pt x="5159" y="2017"/>
                    <a:pt x="4981" y="2017"/>
                  </a:cubicBezTo>
                  <a:cubicBezTo>
                    <a:pt x="4802" y="2017"/>
                    <a:pt x="4624" y="2085"/>
                    <a:pt x="4487" y="2221"/>
                  </a:cubicBezTo>
                  <a:lnTo>
                    <a:pt x="2222" y="4487"/>
                  </a:lnTo>
                  <a:cubicBezTo>
                    <a:pt x="1949" y="4759"/>
                    <a:pt x="1949" y="5201"/>
                    <a:pt x="2222" y="5473"/>
                  </a:cubicBezTo>
                  <a:lnTo>
                    <a:pt x="3541" y="6791"/>
                  </a:lnTo>
                  <a:cubicBezTo>
                    <a:pt x="3107" y="7528"/>
                    <a:pt x="2777" y="8322"/>
                    <a:pt x="2564" y="9150"/>
                  </a:cubicBezTo>
                  <a:lnTo>
                    <a:pt x="699" y="9150"/>
                  </a:lnTo>
                  <a:cubicBezTo>
                    <a:pt x="313" y="9150"/>
                    <a:pt x="1" y="9462"/>
                    <a:pt x="1" y="9848"/>
                  </a:cubicBezTo>
                  <a:lnTo>
                    <a:pt x="1" y="13053"/>
                  </a:lnTo>
                  <a:cubicBezTo>
                    <a:pt x="1" y="13438"/>
                    <a:pt x="313" y="13751"/>
                    <a:pt x="699" y="13751"/>
                  </a:cubicBezTo>
                  <a:lnTo>
                    <a:pt x="2564" y="13751"/>
                  </a:lnTo>
                  <a:cubicBezTo>
                    <a:pt x="2777" y="14579"/>
                    <a:pt x="3106" y="15373"/>
                    <a:pt x="3541" y="16109"/>
                  </a:cubicBezTo>
                  <a:lnTo>
                    <a:pt x="2222" y="17427"/>
                  </a:lnTo>
                  <a:cubicBezTo>
                    <a:pt x="1949" y="17701"/>
                    <a:pt x="1949" y="18142"/>
                    <a:pt x="2222" y="18415"/>
                  </a:cubicBezTo>
                  <a:lnTo>
                    <a:pt x="4487" y="20681"/>
                  </a:lnTo>
                  <a:cubicBezTo>
                    <a:pt x="4624" y="20817"/>
                    <a:pt x="4802" y="20885"/>
                    <a:pt x="4981" y="20885"/>
                  </a:cubicBezTo>
                  <a:cubicBezTo>
                    <a:pt x="5159" y="20885"/>
                    <a:pt x="5338" y="20817"/>
                    <a:pt x="5474" y="20681"/>
                  </a:cubicBezTo>
                  <a:lnTo>
                    <a:pt x="6793" y="19362"/>
                  </a:lnTo>
                  <a:cubicBezTo>
                    <a:pt x="7530" y="19796"/>
                    <a:pt x="8324" y="20124"/>
                    <a:pt x="9152" y="20339"/>
                  </a:cubicBezTo>
                  <a:lnTo>
                    <a:pt x="9152" y="22204"/>
                  </a:lnTo>
                  <a:cubicBezTo>
                    <a:pt x="9152" y="22588"/>
                    <a:pt x="9464" y="22901"/>
                    <a:pt x="9850" y="22901"/>
                  </a:cubicBezTo>
                  <a:lnTo>
                    <a:pt x="13055" y="22901"/>
                  </a:lnTo>
                  <a:cubicBezTo>
                    <a:pt x="13439" y="22901"/>
                    <a:pt x="13751" y="22588"/>
                    <a:pt x="13751" y="22204"/>
                  </a:cubicBezTo>
                  <a:lnTo>
                    <a:pt x="13751" y="20339"/>
                  </a:lnTo>
                  <a:cubicBezTo>
                    <a:pt x="14581" y="20124"/>
                    <a:pt x="15373" y="19796"/>
                    <a:pt x="16110" y="19362"/>
                  </a:cubicBezTo>
                  <a:lnTo>
                    <a:pt x="17429" y="20680"/>
                  </a:lnTo>
                  <a:cubicBezTo>
                    <a:pt x="17566" y="20816"/>
                    <a:pt x="17744" y="20884"/>
                    <a:pt x="17923" y="20884"/>
                  </a:cubicBezTo>
                  <a:cubicBezTo>
                    <a:pt x="18101" y="20884"/>
                    <a:pt x="18280" y="20816"/>
                    <a:pt x="18416" y="20680"/>
                  </a:cubicBezTo>
                  <a:lnTo>
                    <a:pt x="20682" y="18414"/>
                  </a:lnTo>
                  <a:cubicBezTo>
                    <a:pt x="20954" y="18142"/>
                    <a:pt x="20954" y="17700"/>
                    <a:pt x="20682" y="17427"/>
                  </a:cubicBezTo>
                  <a:lnTo>
                    <a:pt x="19364" y="16109"/>
                  </a:lnTo>
                  <a:cubicBezTo>
                    <a:pt x="19798" y="15373"/>
                    <a:pt x="20126" y="14579"/>
                    <a:pt x="20339" y="13751"/>
                  </a:cubicBezTo>
                  <a:lnTo>
                    <a:pt x="22205" y="13751"/>
                  </a:lnTo>
                  <a:cubicBezTo>
                    <a:pt x="22591" y="13751"/>
                    <a:pt x="22903" y="13438"/>
                    <a:pt x="22903" y="13053"/>
                  </a:cubicBezTo>
                  <a:lnTo>
                    <a:pt x="22903" y="9850"/>
                  </a:lnTo>
                  <a:cubicBezTo>
                    <a:pt x="22903" y="9465"/>
                    <a:pt x="22592" y="9152"/>
                    <a:pt x="22208" y="9152"/>
                  </a:cubicBezTo>
                  <a:cubicBezTo>
                    <a:pt x="22207" y="9152"/>
                    <a:pt x="22206" y="9152"/>
                    <a:pt x="22205" y="9152"/>
                  </a:cubicBezTo>
                  <a:lnTo>
                    <a:pt x="20339" y="9152"/>
                  </a:lnTo>
                  <a:cubicBezTo>
                    <a:pt x="20126" y="8322"/>
                    <a:pt x="19798" y="7530"/>
                    <a:pt x="19364" y="6793"/>
                  </a:cubicBezTo>
                  <a:lnTo>
                    <a:pt x="20682" y="5473"/>
                  </a:lnTo>
                  <a:cubicBezTo>
                    <a:pt x="20954" y="5201"/>
                    <a:pt x="20954" y="4759"/>
                    <a:pt x="20682" y="4487"/>
                  </a:cubicBezTo>
                  <a:lnTo>
                    <a:pt x="18416" y="2221"/>
                  </a:lnTo>
                  <a:cubicBezTo>
                    <a:pt x="18280" y="2085"/>
                    <a:pt x="18101" y="2017"/>
                    <a:pt x="17923" y="2017"/>
                  </a:cubicBezTo>
                  <a:cubicBezTo>
                    <a:pt x="17744" y="2017"/>
                    <a:pt x="17566" y="2085"/>
                    <a:pt x="17429" y="2221"/>
                  </a:cubicBezTo>
                  <a:lnTo>
                    <a:pt x="16110" y="3541"/>
                  </a:lnTo>
                  <a:cubicBezTo>
                    <a:pt x="15373" y="3105"/>
                    <a:pt x="14581" y="2777"/>
                    <a:pt x="13751" y="2564"/>
                  </a:cubicBezTo>
                  <a:lnTo>
                    <a:pt x="13751" y="698"/>
                  </a:lnTo>
                  <a:cubicBezTo>
                    <a:pt x="13751" y="312"/>
                    <a:pt x="13439" y="0"/>
                    <a:pt x="13055"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8" name="Google Shape;5298;p69"/>
            <p:cNvSpPr/>
            <p:nvPr/>
          </p:nvSpPr>
          <p:spPr>
            <a:xfrm>
              <a:off x="6459975" y="2867300"/>
              <a:ext cx="101300" cy="50500"/>
            </a:xfrm>
            <a:custGeom>
              <a:avLst/>
              <a:gdLst/>
              <a:ahLst/>
              <a:cxnLst/>
              <a:rect l="l" t="t" r="r" b="b"/>
              <a:pathLst>
                <a:path w="4052" h="2020" extrusionOk="0">
                  <a:moveTo>
                    <a:pt x="272" y="1"/>
                  </a:moveTo>
                  <a:cubicBezTo>
                    <a:pt x="157" y="1"/>
                    <a:pt x="54" y="82"/>
                    <a:pt x="29" y="200"/>
                  </a:cubicBezTo>
                  <a:cubicBezTo>
                    <a:pt x="0" y="338"/>
                    <a:pt x="87" y="474"/>
                    <a:pt x="225" y="507"/>
                  </a:cubicBezTo>
                  <a:cubicBezTo>
                    <a:pt x="1077" y="719"/>
                    <a:pt x="1895" y="1049"/>
                    <a:pt x="2657" y="1486"/>
                  </a:cubicBezTo>
                  <a:lnTo>
                    <a:pt x="2505" y="1740"/>
                  </a:lnTo>
                  <a:cubicBezTo>
                    <a:pt x="2459" y="1819"/>
                    <a:pt x="2511" y="1918"/>
                    <a:pt x="2603" y="1926"/>
                  </a:cubicBezTo>
                  <a:lnTo>
                    <a:pt x="3887" y="2019"/>
                  </a:lnTo>
                  <a:cubicBezTo>
                    <a:pt x="3890" y="2019"/>
                    <a:pt x="3893" y="2019"/>
                    <a:pt x="3895" y="2019"/>
                  </a:cubicBezTo>
                  <a:cubicBezTo>
                    <a:pt x="3991" y="2019"/>
                    <a:pt x="4052" y="1913"/>
                    <a:pt x="3999" y="1830"/>
                  </a:cubicBezTo>
                  <a:lnTo>
                    <a:pt x="3302" y="746"/>
                  </a:lnTo>
                  <a:cubicBezTo>
                    <a:pt x="3278" y="709"/>
                    <a:pt x="3239" y="690"/>
                    <a:pt x="3200" y="690"/>
                  </a:cubicBezTo>
                  <a:cubicBezTo>
                    <a:pt x="3159" y="690"/>
                    <a:pt x="3118" y="711"/>
                    <a:pt x="3094" y="751"/>
                  </a:cubicBezTo>
                  <a:lnTo>
                    <a:pt x="2917" y="1047"/>
                  </a:lnTo>
                  <a:cubicBezTo>
                    <a:pt x="2108" y="581"/>
                    <a:pt x="1237" y="230"/>
                    <a:pt x="330" y="8"/>
                  </a:cubicBezTo>
                  <a:cubicBezTo>
                    <a:pt x="311" y="3"/>
                    <a:pt x="291" y="1"/>
                    <a:pt x="272"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299" name="Google Shape;5299;p69"/>
            <p:cNvSpPr/>
            <p:nvPr/>
          </p:nvSpPr>
          <p:spPr>
            <a:xfrm>
              <a:off x="6389025" y="2860025"/>
              <a:ext cx="63100" cy="15700"/>
            </a:xfrm>
            <a:custGeom>
              <a:avLst/>
              <a:gdLst/>
              <a:ahLst/>
              <a:cxnLst/>
              <a:rect l="l" t="t" r="r" b="b"/>
              <a:pathLst>
                <a:path w="2524" h="628" extrusionOk="0">
                  <a:moveTo>
                    <a:pt x="787" y="1"/>
                  </a:moveTo>
                  <a:cubicBezTo>
                    <a:pt x="605" y="1"/>
                    <a:pt x="424" y="7"/>
                    <a:pt x="241" y="19"/>
                  </a:cubicBezTo>
                  <a:cubicBezTo>
                    <a:pt x="103" y="31"/>
                    <a:pt x="1" y="153"/>
                    <a:pt x="11" y="291"/>
                  </a:cubicBezTo>
                  <a:cubicBezTo>
                    <a:pt x="20" y="425"/>
                    <a:pt x="132" y="528"/>
                    <a:pt x="263" y="528"/>
                  </a:cubicBezTo>
                  <a:cubicBezTo>
                    <a:pt x="268" y="528"/>
                    <a:pt x="273" y="528"/>
                    <a:pt x="278" y="528"/>
                  </a:cubicBezTo>
                  <a:cubicBezTo>
                    <a:pt x="448" y="518"/>
                    <a:pt x="617" y="512"/>
                    <a:pt x="787" y="512"/>
                  </a:cubicBezTo>
                  <a:cubicBezTo>
                    <a:pt x="1261" y="512"/>
                    <a:pt x="1734" y="550"/>
                    <a:pt x="2203" y="624"/>
                  </a:cubicBezTo>
                  <a:cubicBezTo>
                    <a:pt x="2217" y="626"/>
                    <a:pt x="2231" y="627"/>
                    <a:pt x="2245" y="627"/>
                  </a:cubicBezTo>
                  <a:cubicBezTo>
                    <a:pt x="2363" y="627"/>
                    <a:pt x="2470" y="544"/>
                    <a:pt x="2494" y="424"/>
                  </a:cubicBezTo>
                  <a:cubicBezTo>
                    <a:pt x="2523" y="283"/>
                    <a:pt x="2430" y="145"/>
                    <a:pt x="2288" y="121"/>
                  </a:cubicBezTo>
                  <a:cubicBezTo>
                    <a:pt x="1791" y="43"/>
                    <a:pt x="1288" y="3"/>
                    <a:pt x="78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0" name="Google Shape;5300;p69"/>
            <p:cNvSpPr/>
            <p:nvPr/>
          </p:nvSpPr>
          <p:spPr>
            <a:xfrm>
              <a:off x="6279750" y="2879875"/>
              <a:ext cx="39600" cy="26000"/>
            </a:xfrm>
            <a:custGeom>
              <a:avLst/>
              <a:gdLst/>
              <a:ahLst/>
              <a:cxnLst/>
              <a:rect l="l" t="t" r="r" b="b"/>
              <a:pathLst>
                <a:path w="1584" h="1040" extrusionOk="0">
                  <a:moveTo>
                    <a:pt x="1330" y="1"/>
                  </a:moveTo>
                  <a:cubicBezTo>
                    <a:pt x="1303" y="1"/>
                    <a:pt x="1276" y="6"/>
                    <a:pt x="1249" y="17"/>
                  </a:cubicBezTo>
                  <a:cubicBezTo>
                    <a:pt x="878" y="174"/>
                    <a:pt x="518" y="355"/>
                    <a:pt x="168" y="557"/>
                  </a:cubicBezTo>
                  <a:cubicBezTo>
                    <a:pt x="58" y="621"/>
                    <a:pt x="0" y="757"/>
                    <a:pt x="47" y="876"/>
                  </a:cubicBezTo>
                  <a:cubicBezTo>
                    <a:pt x="86" y="979"/>
                    <a:pt x="183" y="1040"/>
                    <a:pt x="284" y="1040"/>
                  </a:cubicBezTo>
                  <a:cubicBezTo>
                    <a:pt x="327" y="1040"/>
                    <a:pt x="371" y="1029"/>
                    <a:pt x="412" y="1005"/>
                  </a:cubicBezTo>
                  <a:cubicBezTo>
                    <a:pt x="727" y="823"/>
                    <a:pt x="1054" y="658"/>
                    <a:pt x="1389" y="512"/>
                  </a:cubicBezTo>
                  <a:cubicBezTo>
                    <a:pt x="1518" y="458"/>
                    <a:pt x="1584" y="312"/>
                    <a:pt x="1538" y="177"/>
                  </a:cubicBezTo>
                  <a:lnTo>
                    <a:pt x="1525" y="141"/>
                  </a:lnTo>
                  <a:cubicBezTo>
                    <a:pt x="1496" y="54"/>
                    <a:pt x="1415" y="1"/>
                    <a:pt x="133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1" name="Google Shape;5301;p69"/>
            <p:cNvSpPr/>
            <p:nvPr/>
          </p:nvSpPr>
          <p:spPr>
            <a:xfrm>
              <a:off x="6325825" y="2862750"/>
              <a:ext cx="54425" cy="22400"/>
            </a:xfrm>
            <a:custGeom>
              <a:avLst/>
              <a:gdLst/>
              <a:ahLst/>
              <a:cxnLst/>
              <a:rect l="l" t="t" r="r" b="b"/>
              <a:pathLst>
                <a:path w="2177" h="896" extrusionOk="0">
                  <a:moveTo>
                    <a:pt x="1906" y="0"/>
                  </a:moveTo>
                  <a:cubicBezTo>
                    <a:pt x="1894" y="0"/>
                    <a:pt x="1883" y="1"/>
                    <a:pt x="1871" y="2"/>
                  </a:cubicBezTo>
                  <a:cubicBezTo>
                    <a:pt x="1306" y="87"/>
                    <a:pt x="748" y="220"/>
                    <a:pt x="205" y="400"/>
                  </a:cubicBezTo>
                  <a:cubicBezTo>
                    <a:pt x="71" y="444"/>
                    <a:pt x="0" y="590"/>
                    <a:pt x="47" y="725"/>
                  </a:cubicBezTo>
                  <a:cubicBezTo>
                    <a:pt x="84" y="829"/>
                    <a:pt x="183" y="895"/>
                    <a:pt x="288" y="895"/>
                  </a:cubicBezTo>
                  <a:cubicBezTo>
                    <a:pt x="316" y="895"/>
                    <a:pt x="343" y="891"/>
                    <a:pt x="370" y="882"/>
                  </a:cubicBezTo>
                  <a:cubicBezTo>
                    <a:pt x="883" y="712"/>
                    <a:pt x="1408" y="587"/>
                    <a:pt x="1941" y="507"/>
                  </a:cubicBezTo>
                  <a:cubicBezTo>
                    <a:pt x="2081" y="488"/>
                    <a:pt x="2177" y="360"/>
                    <a:pt x="2157" y="220"/>
                  </a:cubicBezTo>
                  <a:cubicBezTo>
                    <a:pt x="2140" y="93"/>
                    <a:pt x="2031" y="0"/>
                    <a:pt x="190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2" name="Google Shape;5302;p69"/>
            <p:cNvSpPr/>
            <p:nvPr/>
          </p:nvSpPr>
          <p:spPr>
            <a:xfrm>
              <a:off x="7023725" y="3061400"/>
              <a:ext cx="101300" cy="50475"/>
            </a:xfrm>
            <a:custGeom>
              <a:avLst/>
              <a:gdLst/>
              <a:ahLst/>
              <a:cxnLst/>
              <a:rect l="l" t="t" r="r" b="b"/>
              <a:pathLst>
                <a:path w="4052" h="2019" extrusionOk="0">
                  <a:moveTo>
                    <a:pt x="273" y="0"/>
                  </a:moveTo>
                  <a:cubicBezTo>
                    <a:pt x="158" y="0"/>
                    <a:pt x="53" y="81"/>
                    <a:pt x="29" y="199"/>
                  </a:cubicBezTo>
                  <a:cubicBezTo>
                    <a:pt x="0" y="339"/>
                    <a:pt x="87" y="475"/>
                    <a:pt x="225" y="507"/>
                  </a:cubicBezTo>
                  <a:cubicBezTo>
                    <a:pt x="1077" y="720"/>
                    <a:pt x="1895" y="1048"/>
                    <a:pt x="2655" y="1487"/>
                  </a:cubicBezTo>
                  <a:lnTo>
                    <a:pt x="2505" y="1740"/>
                  </a:lnTo>
                  <a:cubicBezTo>
                    <a:pt x="2459" y="1818"/>
                    <a:pt x="2511" y="1919"/>
                    <a:pt x="2603" y="1925"/>
                  </a:cubicBezTo>
                  <a:lnTo>
                    <a:pt x="3885" y="2018"/>
                  </a:lnTo>
                  <a:cubicBezTo>
                    <a:pt x="3889" y="2019"/>
                    <a:pt x="3892" y="2019"/>
                    <a:pt x="3896" y="2019"/>
                  </a:cubicBezTo>
                  <a:cubicBezTo>
                    <a:pt x="3991" y="2019"/>
                    <a:pt x="4052" y="1911"/>
                    <a:pt x="3999" y="1829"/>
                  </a:cubicBezTo>
                  <a:lnTo>
                    <a:pt x="3302" y="747"/>
                  </a:lnTo>
                  <a:cubicBezTo>
                    <a:pt x="3278" y="709"/>
                    <a:pt x="3238" y="690"/>
                    <a:pt x="3198" y="690"/>
                  </a:cubicBezTo>
                  <a:cubicBezTo>
                    <a:pt x="3157" y="690"/>
                    <a:pt x="3116" y="710"/>
                    <a:pt x="3093" y="750"/>
                  </a:cubicBezTo>
                  <a:lnTo>
                    <a:pt x="2917" y="1048"/>
                  </a:lnTo>
                  <a:cubicBezTo>
                    <a:pt x="2108" y="582"/>
                    <a:pt x="1237" y="231"/>
                    <a:pt x="330" y="7"/>
                  </a:cubicBezTo>
                  <a:cubicBezTo>
                    <a:pt x="311" y="3"/>
                    <a:pt x="292" y="0"/>
                    <a:pt x="273"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3" name="Google Shape;5303;p69"/>
            <p:cNvSpPr/>
            <p:nvPr/>
          </p:nvSpPr>
          <p:spPr>
            <a:xfrm>
              <a:off x="6952750" y="3054150"/>
              <a:ext cx="63100" cy="15650"/>
            </a:xfrm>
            <a:custGeom>
              <a:avLst/>
              <a:gdLst/>
              <a:ahLst/>
              <a:cxnLst/>
              <a:rect l="l" t="t" r="r" b="b"/>
              <a:pathLst>
                <a:path w="2524" h="626" extrusionOk="0">
                  <a:moveTo>
                    <a:pt x="787" y="1"/>
                  </a:moveTo>
                  <a:cubicBezTo>
                    <a:pt x="606" y="1"/>
                    <a:pt x="423" y="7"/>
                    <a:pt x="242" y="18"/>
                  </a:cubicBezTo>
                  <a:cubicBezTo>
                    <a:pt x="104" y="31"/>
                    <a:pt x="0" y="151"/>
                    <a:pt x="10" y="291"/>
                  </a:cubicBezTo>
                  <a:cubicBezTo>
                    <a:pt x="21" y="425"/>
                    <a:pt x="131" y="526"/>
                    <a:pt x="264" y="526"/>
                  </a:cubicBezTo>
                  <a:cubicBezTo>
                    <a:pt x="269" y="526"/>
                    <a:pt x="274" y="526"/>
                    <a:pt x="279" y="526"/>
                  </a:cubicBezTo>
                  <a:cubicBezTo>
                    <a:pt x="447" y="516"/>
                    <a:pt x="617" y="510"/>
                    <a:pt x="787" y="510"/>
                  </a:cubicBezTo>
                  <a:cubicBezTo>
                    <a:pt x="1261" y="512"/>
                    <a:pt x="1735" y="548"/>
                    <a:pt x="2204" y="622"/>
                  </a:cubicBezTo>
                  <a:cubicBezTo>
                    <a:pt x="2218" y="624"/>
                    <a:pt x="2232" y="626"/>
                    <a:pt x="2246" y="626"/>
                  </a:cubicBezTo>
                  <a:cubicBezTo>
                    <a:pt x="2364" y="626"/>
                    <a:pt x="2469" y="542"/>
                    <a:pt x="2495" y="422"/>
                  </a:cubicBezTo>
                  <a:cubicBezTo>
                    <a:pt x="2524" y="281"/>
                    <a:pt x="2430" y="145"/>
                    <a:pt x="2289" y="121"/>
                  </a:cubicBezTo>
                  <a:cubicBezTo>
                    <a:pt x="1792" y="41"/>
                    <a:pt x="1289" y="1"/>
                    <a:pt x="78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4" name="Google Shape;5304;p69"/>
            <p:cNvSpPr/>
            <p:nvPr/>
          </p:nvSpPr>
          <p:spPr>
            <a:xfrm>
              <a:off x="6843450" y="3073975"/>
              <a:ext cx="39625" cy="26025"/>
            </a:xfrm>
            <a:custGeom>
              <a:avLst/>
              <a:gdLst/>
              <a:ahLst/>
              <a:cxnLst/>
              <a:rect l="l" t="t" r="r" b="b"/>
              <a:pathLst>
                <a:path w="1585" h="1041" extrusionOk="0">
                  <a:moveTo>
                    <a:pt x="1331" y="0"/>
                  </a:moveTo>
                  <a:cubicBezTo>
                    <a:pt x="1304" y="0"/>
                    <a:pt x="1277" y="6"/>
                    <a:pt x="1251" y="16"/>
                  </a:cubicBezTo>
                  <a:cubicBezTo>
                    <a:pt x="880" y="175"/>
                    <a:pt x="518" y="356"/>
                    <a:pt x="170" y="558"/>
                  </a:cubicBezTo>
                  <a:cubicBezTo>
                    <a:pt x="60" y="622"/>
                    <a:pt x="1" y="758"/>
                    <a:pt x="47" y="876"/>
                  </a:cubicBezTo>
                  <a:cubicBezTo>
                    <a:pt x="87" y="979"/>
                    <a:pt x="185" y="1040"/>
                    <a:pt x="287" y="1040"/>
                  </a:cubicBezTo>
                  <a:cubicBezTo>
                    <a:pt x="330" y="1040"/>
                    <a:pt x="373" y="1029"/>
                    <a:pt x="414" y="1006"/>
                  </a:cubicBezTo>
                  <a:cubicBezTo>
                    <a:pt x="729" y="822"/>
                    <a:pt x="1056" y="657"/>
                    <a:pt x="1391" y="513"/>
                  </a:cubicBezTo>
                  <a:cubicBezTo>
                    <a:pt x="1520" y="457"/>
                    <a:pt x="1584" y="311"/>
                    <a:pt x="1540" y="178"/>
                  </a:cubicBezTo>
                  <a:lnTo>
                    <a:pt x="1527" y="141"/>
                  </a:lnTo>
                  <a:cubicBezTo>
                    <a:pt x="1497" y="55"/>
                    <a:pt x="1417" y="0"/>
                    <a:pt x="133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5" name="Google Shape;5305;p69"/>
            <p:cNvSpPr/>
            <p:nvPr/>
          </p:nvSpPr>
          <p:spPr>
            <a:xfrm>
              <a:off x="6889575" y="3056825"/>
              <a:ext cx="54425" cy="22400"/>
            </a:xfrm>
            <a:custGeom>
              <a:avLst/>
              <a:gdLst/>
              <a:ahLst/>
              <a:cxnLst/>
              <a:rect l="l" t="t" r="r" b="b"/>
              <a:pathLst>
                <a:path w="2177" h="896" extrusionOk="0">
                  <a:moveTo>
                    <a:pt x="1906" y="0"/>
                  </a:moveTo>
                  <a:cubicBezTo>
                    <a:pt x="1894" y="0"/>
                    <a:pt x="1883" y="1"/>
                    <a:pt x="1871" y="3"/>
                  </a:cubicBezTo>
                  <a:lnTo>
                    <a:pt x="1871" y="4"/>
                  </a:lnTo>
                  <a:cubicBezTo>
                    <a:pt x="1306" y="88"/>
                    <a:pt x="748" y="220"/>
                    <a:pt x="205" y="400"/>
                  </a:cubicBezTo>
                  <a:cubicBezTo>
                    <a:pt x="71" y="446"/>
                    <a:pt x="0" y="592"/>
                    <a:pt x="47" y="725"/>
                  </a:cubicBezTo>
                  <a:cubicBezTo>
                    <a:pt x="84" y="830"/>
                    <a:pt x="182" y="896"/>
                    <a:pt x="288" y="896"/>
                  </a:cubicBezTo>
                  <a:cubicBezTo>
                    <a:pt x="315" y="896"/>
                    <a:pt x="343" y="891"/>
                    <a:pt x="370" y="882"/>
                  </a:cubicBezTo>
                  <a:cubicBezTo>
                    <a:pt x="881" y="714"/>
                    <a:pt x="1406" y="587"/>
                    <a:pt x="1940" y="509"/>
                  </a:cubicBezTo>
                  <a:cubicBezTo>
                    <a:pt x="2079" y="490"/>
                    <a:pt x="2177" y="360"/>
                    <a:pt x="2157" y="220"/>
                  </a:cubicBezTo>
                  <a:cubicBezTo>
                    <a:pt x="2140" y="93"/>
                    <a:pt x="2031" y="0"/>
                    <a:pt x="1906"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6" name="Google Shape;5306;p69"/>
            <p:cNvSpPr/>
            <p:nvPr/>
          </p:nvSpPr>
          <p:spPr>
            <a:xfrm>
              <a:off x="6245350" y="4177200"/>
              <a:ext cx="101275" cy="50475"/>
            </a:xfrm>
            <a:custGeom>
              <a:avLst/>
              <a:gdLst/>
              <a:ahLst/>
              <a:cxnLst/>
              <a:rect l="l" t="t" r="r" b="b"/>
              <a:pathLst>
                <a:path w="4051" h="2019" extrusionOk="0">
                  <a:moveTo>
                    <a:pt x="157" y="1"/>
                  </a:moveTo>
                  <a:cubicBezTo>
                    <a:pt x="61" y="1"/>
                    <a:pt x="1" y="107"/>
                    <a:pt x="54" y="190"/>
                  </a:cubicBezTo>
                  <a:lnTo>
                    <a:pt x="750" y="1274"/>
                  </a:lnTo>
                  <a:cubicBezTo>
                    <a:pt x="774" y="1311"/>
                    <a:pt x="813" y="1330"/>
                    <a:pt x="852" y="1330"/>
                  </a:cubicBezTo>
                  <a:cubicBezTo>
                    <a:pt x="893" y="1330"/>
                    <a:pt x="935" y="1309"/>
                    <a:pt x="958" y="1269"/>
                  </a:cubicBezTo>
                  <a:lnTo>
                    <a:pt x="1136" y="973"/>
                  </a:lnTo>
                  <a:cubicBezTo>
                    <a:pt x="1945" y="1439"/>
                    <a:pt x="2816" y="1788"/>
                    <a:pt x="3722" y="2012"/>
                  </a:cubicBezTo>
                  <a:cubicBezTo>
                    <a:pt x="3741" y="2017"/>
                    <a:pt x="3761" y="2019"/>
                    <a:pt x="3779" y="2019"/>
                  </a:cubicBezTo>
                  <a:cubicBezTo>
                    <a:pt x="3895" y="2019"/>
                    <a:pt x="3999" y="1938"/>
                    <a:pt x="4023" y="1820"/>
                  </a:cubicBezTo>
                  <a:cubicBezTo>
                    <a:pt x="4051" y="1682"/>
                    <a:pt x="3964" y="1546"/>
                    <a:pt x="3828" y="1512"/>
                  </a:cubicBezTo>
                  <a:cubicBezTo>
                    <a:pt x="2976" y="1301"/>
                    <a:pt x="2158" y="971"/>
                    <a:pt x="1396" y="534"/>
                  </a:cubicBezTo>
                  <a:lnTo>
                    <a:pt x="1548" y="279"/>
                  </a:lnTo>
                  <a:cubicBezTo>
                    <a:pt x="1594" y="201"/>
                    <a:pt x="1541" y="100"/>
                    <a:pt x="1450" y="94"/>
                  </a:cubicBezTo>
                  <a:lnTo>
                    <a:pt x="166" y="1"/>
                  </a:lnTo>
                  <a:cubicBezTo>
                    <a:pt x="163" y="1"/>
                    <a:pt x="160" y="1"/>
                    <a:pt x="157"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7" name="Google Shape;5307;p69"/>
            <p:cNvSpPr/>
            <p:nvPr/>
          </p:nvSpPr>
          <p:spPr>
            <a:xfrm>
              <a:off x="6354525" y="4219275"/>
              <a:ext cx="63075" cy="15675"/>
            </a:xfrm>
            <a:custGeom>
              <a:avLst/>
              <a:gdLst/>
              <a:ahLst/>
              <a:cxnLst/>
              <a:rect l="l" t="t" r="r" b="b"/>
              <a:pathLst>
                <a:path w="2523" h="627" extrusionOk="0">
                  <a:moveTo>
                    <a:pt x="279" y="1"/>
                  </a:moveTo>
                  <a:cubicBezTo>
                    <a:pt x="160" y="1"/>
                    <a:pt x="54" y="84"/>
                    <a:pt x="29" y="204"/>
                  </a:cubicBezTo>
                  <a:cubicBezTo>
                    <a:pt x="1" y="345"/>
                    <a:pt x="93" y="483"/>
                    <a:pt x="236" y="507"/>
                  </a:cubicBezTo>
                  <a:cubicBezTo>
                    <a:pt x="732" y="585"/>
                    <a:pt x="1235" y="625"/>
                    <a:pt x="1738" y="627"/>
                  </a:cubicBezTo>
                  <a:cubicBezTo>
                    <a:pt x="1919" y="627"/>
                    <a:pt x="2102" y="621"/>
                    <a:pt x="2282" y="609"/>
                  </a:cubicBezTo>
                  <a:cubicBezTo>
                    <a:pt x="2420" y="596"/>
                    <a:pt x="2523" y="475"/>
                    <a:pt x="2513" y="337"/>
                  </a:cubicBezTo>
                  <a:cubicBezTo>
                    <a:pt x="2504" y="203"/>
                    <a:pt x="2392" y="100"/>
                    <a:pt x="2260" y="100"/>
                  </a:cubicBezTo>
                  <a:cubicBezTo>
                    <a:pt x="2255" y="100"/>
                    <a:pt x="2251" y="100"/>
                    <a:pt x="2246" y="100"/>
                  </a:cubicBezTo>
                  <a:cubicBezTo>
                    <a:pt x="2076" y="110"/>
                    <a:pt x="1908" y="116"/>
                    <a:pt x="1738" y="116"/>
                  </a:cubicBezTo>
                  <a:cubicBezTo>
                    <a:pt x="1262" y="116"/>
                    <a:pt x="790" y="78"/>
                    <a:pt x="321" y="4"/>
                  </a:cubicBezTo>
                  <a:cubicBezTo>
                    <a:pt x="307" y="2"/>
                    <a:pt x="293" y="1"/>
                    <a:pt x="27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8" name="Google Shape;5308;p69"/>
            <p:cNvSpPr/>
            <p:nvPr/>
          </p:nvSpPr>
          <p:spPr>
            <a:xfrm>
              <a:off x="6487275" y="4189125"/>
              <a:ext cx="39625" cy="25975"/>
            </a:xfrm>
            <a:custGeom>
              <a:avLst/>
              <a:gdLst/>
              <a:ahLst/>
              <a:cxnLst/>
              <a:rect l="l" t="t" r="r" b="b"/>
              <a:pathLst>
                <a:path w="1585" h="1039" extrusionOk="0">
                  <a:moveTo>
                    <a:pt x="1300" y="0"/>
                  </a:moveTo>
                  <a:cubicBezTo>
                    <a:pt x="1257" y="0"/>
                    <a:pt x="1213" y="11"/>
                    <a:pt x="1173" y="35"/>
                  </a:cubicBezTo>
                  <a:cubicBezTo>
                    <a:pt x="857" y="217"/>
                    <a:pt x="531" y="382"/>
                    <a:pt x="196" y="528"/>
                  </a:cubicBezTo>
                  <a:cubicBezTo>
                    <a:pt x="66" y="582"/>
                    <a:pt x="1" y="728"/>
                    <a:pt x="47" y="863"/>
                  </a:cubicBezTo>
                  <a:lnTo>
                    <a:pt x="60" y="899"/>
                  </a:lnTo>
                  <a:cubicBezTo>
                    <a:pt x="89" y="986"/>
                    <a:pt x="169" y="1039"/>
                    <a:pt x="255" y="1039"/>
                  </a:cubicBezTo>
                  <a:cubicBezTo>
                    <a:pt x="282" y="1039"/>
                    <a:pt x="309" y="1034"/>
                    <a:pt x="335" y="1023"/>
                  </a:cubicBezTo>
                  <a:cubicBezTo>
                    <a:pt x="707" y="866"/>
                    <a:pt x="1067" y="685"/>
                    <a:pt x="1416" y="483"/>
                  </a:cubicBezTo>
                  <a:cubicBezTo>
                    <a:pt x="1527" y="419"/>
                    <a:pt x="1584" y="283"/>
                    <a:pt x="1538" y="164"/>
                  </a:cubicBezTo>
                  <a:cubicBezTo>
                    <a:pt x="1499" y="61"/>
                    <a:pt x="1401" y="0"/>
                    <a:pt x="1300"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09" name="Google Shape;5309;p69"/>
            <p:cNvSpPr/>
            <p:nvPr/>
          </p:nvSpPr>
          <p:spPr>
            <a:xfrm>
              <a:off x="6426350" y="4209850"/>
              <a:ext cx="54475" cy="22400"/>
            </a:xfrm>
            <a:custGeom>
              <a:avLst/>
              <a:gdLst/>
              <a:ahLst/>
              <a:cxnLst/>
              <a:rect l="l" t="t" r="r" b="b"/>
              <a:pathLst>
                <a:path w="2179" h="896" extrusionOk="0">
                  <a:moveTo>
                    <a:pt x="1890" y="1"/>
                  </a:moveTo>
                  <a:cubicBezTo>
                    <a:pt x="1863" y="1"/>
                    <a:pt x="1835" y="5"/>
                    <a:pt x="1808" y="14"/>
                  </a:cubicBezTo>
                  <a:cubicBezTo>
                    <a:pt x="1296" y="184"/>
                    <a:pt x="771" y="309"/>
                    <a:pt x="237" y="389"/>
                  </a:cubicBezTo>
                  <a:cubicBezTo>
                    <a:pt x="98" y="408"/>
                    <a:pt x="0" y="536"/>
                    <a:pt x="20" y="676"/>
                  </a:cubicBezTo>
                  <a:cubicBezTo>
                    <a:pt x="37" y="803"/>
                    <a:pt x="147" y="896"/>
                    <a:pt x="273" y="896"/>
                  </a:cubicBezTo>
                  <a:cubicBezTo>
                    <a:pt x="284" y="896"/>
                    <a:pt x="296" y="895"/>
                    <a:pt x="308" y="893"/>
                  </a:cubicBezTo>
                  <a:cubicBezTo>
                    <a:pt x="873" y="809"/>
                    <a:pt x="1430" y="676"/>
                    <a:pt x="1973" y="496"/>
                  </a:cubicBezTo>
                  <a:cubicBezTo>
                    <a:pt x="2106" y="451"/>
                    <a:pt x="2178" y="306"/>
                    <a:pt x="2132" y="171"/>
                  </a:cubicBezTo>
                  <a:cubicBezTo>
                    <a:pt x="2095" y="67"/>
                    <a:pt x="1996" y="1"/>
                    <a:pt x="189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0" name="Google Shape;5310;p69"/>
            <p:cNvSpPr/>
            <p:nvPr/>
          </p:nvSpPr>
          <p:spPr>
            <a:xfrm>
              <a:off x="5992275" y="3674825"/>
              <a:ext cx="51250" cy="99900"/>
            </a:xfrm>
            <a:custGeom>
              <a:avLst/>
              <a:gdLst/>
              <a:ahLst/>
              <a:cxnLst/>
              <a:rect l="l" t="t" r="r" b="b"/>
              <a:pathLst>
                <a:path w="2050" h="3996" extrusionOk="0">
                  <a:moveTo>
                    <a:pt x="1920" y="0"/>
                  </a:moveTo>
                  <a:cubicBezTo>
                    <a:pt x="1898" y="0"/>
                    <a:pt x="1876" y="6"/>
                    <a:pt x="1854" y="20"/>
                  </a:cubicBezTo>
                  <a:lnTo>
                    <a:pt x="772" y="717"/>
                  </a:lnTo>
                  <a:cubicBezTo>
                    <a:pt x="695" y="766"/>
                    <a:pt x="697" y="878"/>
                    <a:pt x="775" y="926"/>
                  </a:cubicBezTo>
                  <a:lnTo>
                    <a:pt x="1073" y="1102"/>
                  </a:lnTo>
                  <a:cubicBezTo>
                    <a:pt x="607" y="1911"/>
                    <a:pt x="256" y="2782"/>
                    <a:pt x="32" y="3689"/>
                  </a:cubicBezTo>
                  <a:cubicBezTo>
                    <a:pt x="0" y="3825"/>
                    <a:pt x="87" y="3962"/>
                    <a:pt x="224" y="3990"/>
                  </a:cubicBezTo>
                  <a:cubicBezTo>
                    <a:pt x="242" y="3993"/>
                    <a:pt x="260" y="3995"/>
                    <a:pt x="278" y="3995"/>
                  </a:cubicBezTo>
                  <a:cubicBezTo>
                    <a:pt x="397" y="3995"/>
                    <a:pt x="502" y="3914"/>
                    <a:pt x="532" y="3794"/>
                  </a:cubicBezTo>
                  <a:cubicBezTo>
                    <a:pt x="743" y="2942"/>
                    <a:pt x="1073" y="2124"/>
                    <a:pt x="1512" y="1363"/>
                  </a:cubicBezTo>
                  <a:lnTo>
                    <a:pt x="1765" y="1514"/>
                  </a:lnTo>
                  <a:cubicBezTo>
                    <a:pt x="1785" y="1526"/>
                    <a:pt x="1806" y="1531"/>
                    <a:pt x="1827" y="1531"/>
                  </a:cubicBezTo>
                  <a:cubicBezTo>
                    <a:pt x="1888" y="1531"/>
                    <a:pt x="1946" y="1484"/>
                    <a:pt x="1951" y="1416"/>
                  </a:cubicBezTo>
                  <a:lnTo>
                    <a:pt x="2043" y="134"/>
                  </a:lnTo>
                  <a:cubicBezTo>
                    <a:pt x="2049" y="57"/>
                    <a:pt x="1988" y="0"/>
                    <a:pt x="1920"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1" name="Google Shape;5311;p69"/>
            <p:cNvSpPr/>
            <p:nvPr/>
          </p:nvSpPr>
          <p:spPr>
            <a:xfrm>
              <a:off x="5985650" y="3783750"/>
              <a:ext cx="16125" cy="62275"/>
            </a:xfrm>
            <a:custGeom>
              <a:avLst/>
              <a:gdLst/>
              <a:ahLst/>
              <a:cxnLst/>
              <a:rect l="l" t="t" r="r" b="b"/>
              <a:pathLst>
                <a:path w="645" h="2491" extrusionOk="0">
                  <a:moveTo>
                    <a:pt x="371" y="1"/>
                  </a:moveTo>
                  <a:cubicBezTo>
                    <a:pt x="249" y="1"/>
                    <a:pt x="141" y="89"/>
                    <a:pt x="121" y="212"/>
                  </a:cubicBezTo>
                  <a:cubicBezTo>
                    <a:pt x="41" y="709"/>
                    <a:pt x="1" y="1212"/>
                    <a:pt x="1" y="1714"/>
                  </a:cubicBezTo>
                  <a:cubicBezTo>
                    <a:pt x="1" y="1895"/>
                    <a:pt x="7" y="2078"/>
                    <a:pt x="19" y="2259"/>
                  </a:cubicBezTo>
                  <a:cubicBezTo>
                    <a:pt x="31" y="2390"/>
                    <a:pt x="140" y="2490"/>
                    <a:pt x="270" y="2490"/>
                  </a:cubicBezTo>
                  <a:cubicBezTo>
                    <a:pt x="277" y="2490"/>
                    <a:pt x="284" y="2490"/>
                    <a:pt x="291" y="2489"/>
                  </a:cubicBezTo>
                  <a:cubicBezTo>
                    <a:pt x="428" y="2480"/>
                    <a:pt x="534" y="2361"/>
                    <a:pt x="526" y="2222"/>
                  </a:cubicBezTo>
                  <a:cubicBezTo>
                    <a:pt x="517" y="2054"/>
                    <a:pt x="510" y="1884"/>
                    <a:pt x="510" y="1714"/>
                  </a:cubicBezTo>
                  <a:cubicBezTo>
                    <a:pt x="512" y="1240"/>
                    <a:pt x="549" y="766"/>
                    <a:pt x="622" y="297"/>
                  </a:cubicBezTo>
                  <a:cubicBezTo>
                    <a:pt x="645" y="163"/>
                    <a:pt x="557" y="35"/>
                    <a:pt x="422" y="6"/>
                  </a:cubicBezTo>
                  <a:cubicBezTo>
                    <a:pt x="405" y="2"/>
                    <a:pt x="388" y="1"/>
                    <a:pt x="371"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2" name="Google Shape;5312;p69"/>
            <p:cNvSpPr/>
            <p:nvPr/>
          </p:nvSpPr>
          <p:spPr>
            <a:xfrm>
              <a:off x="6004725" y="3916700"/>
              <a:ext cx="27875" cy="38100"/>
            </a:xfrm>
            <a:custGeom>
              <a:avLst/>
              <a:gdLst/>
              <a:ahLst/>
              <a:cxnLst/>
              <a:rect l="l" t="t" r="r" b="b"/>
              <a:pathLst>
                <a:path w="1115" h="1524" extrusionOk="0">
                  <a:moveTo>
                    <a:pt x="296" y="1"/>
                  </a:moveTo>
                  <a:cubicBezTo>
                    <a:pt x="267" y="1"/>
                    <a:pt x="237" y="5"/>
                    <a:pt x="208" y="15"/>
                  </a:cubicBezTo>
                  <a:lnTo>
                    <a:pt x="171" y="28"/>
                  </a:lnTo>
                  <a:cubicBezTo>
                    <a:pt x="58" y="67"/>
                    <a:pt x="0" y="193"/>
                    <a:pt x="47" y="304"/>
                  </a:cubicBezTo>
                  <a:cubicBezTo>
                    <a:pt x="205" y="675"/>
                    <a:pt x="384" y="1035"/>
                    <a:pt x="588" y="1385"/>
                  </a:cubicBezTo>
                  <a:cubicBezTo>
                    <a:pt x="637" y="1469"/>
                    <a:pt x="728" y="1524"/>
                    <a:pt x="822" y="1524"/>
                  </a:cubicBezTo>
                  <a:cubicBezTo>
                    <a:pt x="850" y="1524"/>
                    <a:pt x="879" y="1519"/>
                    <a:pt x="906" y="1508"/>
                  </a:cubicBezTo>
                  <a:cubicBezTo>
                    <a:pt x="1052" y="1450"/>
                    <a:pt x="1115" y="1277"/>
                    <a:pt x="1036" y="1141"/>
                  </a:cubicBezTo>
                  <a:cubicBezTo>
                    <a:pt x="852" y="826"/>
                    <a:pt x="687" y="499"/>
                    <a:pt x="543" y="164"/>
                  </a:cubicBezTo>
                  <a:cubicBezTo>
                    <a:pt x="499" y="63"/>
                    <a:pt x="400" y="1"/>
                    <a:pt x="296"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3" name="Google Shape;5313;p69"/>
            <p:cNvSpPr/>
            <p:nvPr/>
          </p:nvSpPr>
          <p:spPr>
            <a:xfrm>
              <a:off x="5987900" y="3855450"/>
              <a:ext cx="23600" cy="53200"/>
            </a:xfrm>
            <a:custGeom>
              <a:avLst/>
              <a:gdLst/>
              <a:ahLst/>
              <a:cxnLst/>
              <a:rect l="l" t="t" r="r" b="b"/>
              <a:pathLst>
                <a:path w="944" h="2128" extrusionOk="0">
                  <a:moveTo>
                    <a:pt x="273" y="0"/>
                  </a:moveTo>
                  <a:cubicBezTo>
                    <a:pt x="261" y="0"/>
                    <a:pt x="249" y="1"/>
                    <a:pt x="238" y="3"/>
                  </a:cubicBezTo>
                  <a:cubicBezTo>
                    <a:pt x="98" y="22"/>
                    <a:pt x="1" y="150"/>
                    <a:pt x="20" y="289"/>
                  </a:cubicBezTo>
                  <a:lnTo>
                    <a:pt x="21" y="289"/>
                  </a:lnTo>
                  <a:cubicBezTo>
                    <a:pt x="105" y="854"/>
                    <a:pt x="238" y="1412"/>
                    <a:pt x="417" y="1955"/>
                  </a:cubicBezTo>
                  <a:cubicBezTo>
                    <a:pt x="454" y="2061"/>
                    <a:pt x="553" y="2127"/>
                    <a:pt x="658" y="2127"/>
                  </a:cubicBezTo>
                  <a:cubicBezTo>
                    <a:pt x="686" y="2127"/>
                    <a:pt x="714" y="2123"/>
                    <a:pt x="742" y="2113"/>
                  </a:cubicBezTo>
                  <a:cubicBezTo>
                    <a:pt x="875" y="2067"/>
                    <a:pt x="944" y="1923"/>
                    <a:pt x="899" y="1790"/>
                  </a:cubicBezTo>
                  <a:cubicBezTo>
                    <a:pt x="731" y="1279"/>
                    <a:pt x="604" y="754"/>
                    <a:pt x="526" y="220"/>
                  </a:cubicBezTo>
                  <a:cubicBezTo>
                    <a:pt x="508" y="93"/>
                    <a:pt x="398" y="0"/>
                    <a:pt x="273"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4" name="Google Shape;5314;p69"/>
            <p:cNvSpPr/>
            <p:nvPr/>
          </p:nvSpPr>
          <p:spPr>
            <a:xfrm>
              <a:off x="6071975" y="3300325"/>
              <a:ext cx="52475" cy="102475"/>
            </a:xfrm>
            <a:custGeom>
              <a:avLst/>
              <a:gdLst/>
              <a:ahLst/>
              <a:cxnLst/>
              <a:rect l="l" t="t" r="r" b="b"/>
              <a:pathLst>
                <a:path w="2099" h="4099" extrusionOk="0">
                  <a:moveTo>
                    <a:pt x="412" y="1"/>
                  </a:moveTo>
                  <a:cubicBezTo>
                    <a:pt x="358" y="1"/>
                    <a:pt x="305" y="37"/>
                    <a:pt x="292" y="98"/>
                  </a:cubicBezTo>
                  <a:lnTo>
                    <a:pt x="18" y="1357"/>
                  </a:lnTo>
                  <a:cubicBezTo>
                    <a:pt x="1" y="1436"/>
                    <a:pt x="62" y="1506"/>
                    <a:pt x="139" y="1506"/>
                  </a:cubicBezTo>
                  <a:cubicBezTo>
                    <a:pt x="149" y="1506"/>
                    <a:pt x="158" y="1505"/>
                    <a:pt x="169" y="1502"/>
                  </a:cubicBezTo>
                  <a:lnTo>
                    <a:pt x="503" y="1416"/>
                  </a:lnTo>
                  <a:cubicBezTo>
                    <a:pt x="745" y="2317"/>
                    <a:pt x="1113" y="3181"/>
                    <a:pt x="1597" y="3981"/>
                  </a:cubicBezTo>
                  <a:cubicBezTo>
                    <a:pt x="1644" y="4057"/>
                    <a:pt x="1725" y="4099"/>
                    <a:pt x="1809" y="4099"/>
                  </a:cubicBezTo>
                  <a:cubicBezTo>
                    <a:pt x="1856" y="4099"/>
                    <a:pt x="1903" y="4086"/>
                    <a:pt x="1946" y="4058"/>
                  </a:cubicBezTo>
                  <a:cubicBezTo>
                    <a:pt x="2063" y="3980"/>
                    <a:pt x="2098" y="3823"/>
                    <a:pt x="2024" y="3703"/>
                  </a:cubicBezTo>
                  <a:cubicBezTo>
                    <a:pt x="1571" y="2950"/>
                    <a:pt x="1225" y="2138"/>
                    <a:pt x="998" y="1291"/>
                  </a:cubicBezTo>
                  <a:lnTo>
                    <a:pt x="1283" y="1217"/>
                  </a:lnTo>
                  <a:cubicBezTo>
                    <a:pt x="1373" y="1195"/>
                    <a:pt x="1406" y="1086"/>
                    <a:pt x="1347" y="1017"/>
                  </a:cubicBezTo>
                  <a:lnTo>
                    <a:pt x="505" y="44"/>
                  </a:lnTo>
                  <a:cubicBezTo>
                    <a:pt x="479" y="14"/>
                    <a:pt x="445" y="1"/>
                    <a:pt x="412"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5" name="Google Shape;5315;p69"/>
            <p:cNvSpPr/>
            <p:nvPr/>
          </p:nvSpPr>
          <p:spPr>
            <a:xfrm>
              <a:off x="6122225" y="3408475"/>
              <a:ext cx="47725" cy="49550"/>
            </a:xfrm>
            <a:custGeom>
              <a:avLst/>
              <a:gdLst/>
              <a:ahLst/>
              <a:cxnLst/>
              <a:rect l="l" t="t" r="r" b="b"/>
              <a:pathLst>
                <a:path w="1909" h="1982" extrusionOk="0">
                  <a:moveTo>
                    <a:pt x="291" y="0"/>
                  </a:moveTo>
                  <a:cubicBezTo>
                    <a:pt x="243" y="0"/>
                    <a:pt x="195" y="14"/>
                    <a:pt x="152" y="41"/>
                  </a:cubicBezTo>
                  <a:cubicBezTo>
                    <a:pt x="30" y="121"/>
                    <a:pt x="0" y="285"/>
                    <a:pt x="85" y="403"/>
                  </a:cubicBezTo>
                  <a:cubicBezTo>
                    <a:pt x="380" y="810"/>
                    <a:pt x="706" y="1193"/>
                    <a:pt x="1062" y="1548"/>
                  </a:cubicBezTo>
                  <a:cubicBezTo>
                    <a:pt x="1190" y="1678"/>
                    <a:pt x="1323" y="1801"/>
                    <a:pt x="1459" y="1921"/>
                  </a:cubicBezTo>
                  <a:cubicBezTo>
                    <a:pt x="1507" y="1962"/>
                    <a:pt x="1566" y="1981"/>
                    <a:pt x="1624" y="1981"/>
                  </a:cubicBezTo>
                  <a:cubicBezTo>
                    <a:pt x="1695" y="1981"/>
                    <a:pt x="1766" y="1952"/>
                    <a:pt x="1816" y="1894"/>
                  </a:cubicBezTo>
                  <a:cubicBezTo>
                    <a:pt x="1909" y="1788"/>
                    <a:pt x="1898" y="1628"/>
                    <a:pt x="1794" y="1535"/>
                  </a:cubicBezTo>
                  <a:cubicBezTo>
                    <a:pt x="1665" y="1423"/>
                    <a:pt x="1542" y="1308"/>
                    <a:pt x="1422" y="1188"/>
                  </a:cubicBezTo>
                  <a:cubicBezTo>
                    <a:pt x="1087" y="851"/>
                    <a:pt x="778" y="490"/>
                    <a:pt x="500" y="107"/>
                  </a:cubicBezTo>
                  <a:cubicBezTo>
                    <a:pt x="449" y="38"/>
                    <a:pt x="371" y="0"/>
                    <a:pt x="29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6" name="Google Shape;5316;p69"/>
            <p:cNvSpPr/>
            <p:nvPr/>
          </p:nvSpPr>
          <p:spPr>
            <a:xfrm>
              <a:off x="6228150" y="3490275"/>
              <a:ext cx="42050" cy="21525"/>
            </a:xfrm>
            <a:custGeom>
              <a:avLst/>
              <a:gdLst/>
              <a:ahLst/>
              <a:cxnLst/>
              <a:rect l="l" t="t" r="r" b="b"/>
              <a:pathLst>
                <a:path w="1682" h="861" extrusionOk="0">
                  <a:moveTo>
                    <a:pt x="311" y="0"/>
                  </a:moveTo>
                  <a:cubicBezTo>
                    <a:pt x="211" y="0"/>
                    <a:pt x="116" y="56"/>
                    <a:pt x="69" y="151"/>
                  </a:cubicBezTo>
                  <a:lnTo>
                    <a:pt x="53" y="185"/>
                  </a:lnTo>
                  <a:cubicBezTo>
                    <a:pt x="0" y="292"/>
                    <a:pt x="48" y="423"/>
                    <a:pt x="160" y="468"/>
                  </a:cubicBezTo>
                  <a:cubicBezTo>
                    <a:pt x="533" y="619"/>
                    <a:pt x="916" y="747"/>
                    <a:pt x="1307" y="851"/>
                  </a:cubicBezTo>
                  <a:cubicBezTo>
                    <a:pt x="1331" y="857"/>
                    <a:pt x="1355" y="861"/>
                    <a:pt x="1379" y="861"/>
                  </a:cubicBezTo>
                  <a:cubicBezTo>
                    <a:pt x="1480" y="861"/>
                    <a:pt x="1576" y="806"/>
                    <a:pt x="1618" y="713"/>
                  </a:cubicBezTo>
                  <a:cubicBezTo>
                    <a:pt x="1682" y="569"/>
                    <a:pt x="1602" y="403"/>
                    <a:pt x="1451" y="363"/>
                  </a:cubicBezTo>
                  <a:cubicBezTo>
                    <a:pt x="1097" y="268"/>
                    <a:pt x="751" y="154"/>
                    <a:pt x="412" y="20"/>
                  </a:cubicBezTo>
                  <a:cubicBezTo>
                    <a:pt x="379" y="7"/>
                    <a:pt x="345" y="0"/>
                    <a:pt x="31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7" name="Google Shape;5317;p69"/>
            <p:cNvSpPr/>
            <p:nvPr/>
          </p:nvSpPr>
          <p:spPr>
            <a:xfrm>
              <a:off x="6172850" y="3459275"/>
              <a:ext cx="49900" cy="34575"/>
            </a:xfrm>
            <a:custGeom>
              <a:avLst/>
              <a:gdLst/>
              <a:ahLst/>
              <a:cxnLst/>
              <a:rect l="l" t="t" r="r" b="b"/>
              <a:pathLst>
                <a:path w="1996" h="1383" extrusionOk="0">
                  <a:moveTo>
                    <a:pt x="289" y="1"/>
                  </a:moveTo>
                  <a:cubicBezTo>
                    <a:pt x="212" y="1"/>
                    <a:pt x="136" y="36"/>
                    <a:pt x="86" y="102"/>
                  </a:cubicBezTo>
                  <a:cubicBezTo>
                    <a:pt x="1" y="214"/>
                    <a:pt x="23" y="374"/>
                    <a:pt x="135" y="459"/>
                  </a:cubicBezTo>
                  <a:cubicBezTo>
                    <a:pt x="595" y="800"/>
                    <a:pt x="1082" y="1100"/>
                    <a:pt x="1592" y="1356"/>
                  </a:cubicBezTo>
                  <a:cubicBezTo>
                    <a:pt x="1629" y="1374"/>
                    <a:pt x="1667" y="1382"/>
                    <a:pt x="1705" y="1382"/>
                  </a:cubicBezTo>
                  <a:cubicBezTo>
                    <a:pt x="1799" y="1382"/>
                    <a:pt x="1891" y="1329"/>
                    <a:pt x="1935" y="1239"/>
                  </a:cubicBezTo>
                  <a:cubicBezTo>
                    <a:pt x="1996" y="1113"/>
                    <a:pt x="1943" y="960"/>
                    <a:pt x="1817" y="898"/>
                  </a:cubicBezTo>
                  <a:cubicBezTo>
                    <a:pt x="1336" y="656"/>
                    <a:pt x="875" y="373"/>
                    <a:pt x="443" y="52"/>
                  </a:cubicBezTo>
                  <a:cubicBezTo>
                    <a:pt x="397" y="18"/>
                    <a:pt x="343" y="1"/>
                    <a:pt x="28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8" name="Google Shape;5318;p69"/>
            <p:cNvSpPr/>
            <p:nvPr/>
          </p:nvSpPr>
          <p:spPr>
            <a:xfrm>
              <a:off x="7323825" y="3495225"/>
              <a:ext cx="51250" cy="99900"/>
            </a:xfrm>
            <a:custGeom>
              <a:avLst/>
              <a:gdLst/>
              <a:ahLst/>
              <a:cxnLst/>
              <a:rect l="l" t="t" r="r" b="b"/>
              <a:pathLst>
                <a:path w="2050" h="3996" extrusionOk="0">
                  <a:moveTo>
                    <a:pt x="1772" y="0"/>
                  </a:moveTo>
                  <a:cubicBezTo>
                    <a:pt x="1653" y="0"/>
                    <a:pt x="1547" y="82"/>
                    <a:pt x="1518" y="201"/>
                  </a:cubicBezTo>
                  <a:cubicBezTo>
                    <a:pt x="1307" y="1053"/>
                    <a:pt x="977" y="1872"/>
                    <a:pt x="540" y="2634"/>
                  </a:cubicBezTo>
                  <a:lnTo>
                    <a:pt x="285" y="2482"/>
                  </a:lnTo>
                  <a:cubicBezTo>
                    <a:pt x="265" y="2470"/>
                    <a:pt x="244" y="2465"/>
                    <a:pt x="223" y="2465"/>
                  </a:cubicBezTo>
                  <a:cubicBezTo>
                    <a:pt x="162" y="2465"/>
                    <a:pt x="104" y="2511"/>
                    <a:pt x="99" y="2579"/>
                  </a:cubicBezTo>
                  <a:lnTo>
                    <a:pt x="6" y="3864"/>
                  </a:lnTo>
                  <a:cubicBezTo>
                    <a:pt x="0" y="3939"/>
                    <a:pt x="62" y="3995"/>
                    <a:pt x="129" y="3995"/>
                  </a:cubicBezTo>
                  <a:cubicBezTo>
                    <a:pt x="152" y="3995"/>
                    <a:pt x="174" y="3989"/>
                    <a:pt x="195" y="3976"/>
                  </a:cubicBezTo>
                  <a:lnTo>
                    <a:pt x="1278" y="3279"/>
                  </a:lnTo>
                  <a:cubicBezTo>
                    <a:pt x="1355" y="3229"/>
                    <a:pt x="1353" y="3117"/>
                    <a:pt x="1275" y="3071"/>
                  </a:cubicBezTo>
                  <a:lnTo>
                    <a:pt x="978" y="2893"/>
                  </a:lnTo>
                  <a:cubicBezTo>
                    <a:pt x="1444" y="2085"/>
                    <a:pt x="1794" y="1213"/>
                    <a:pt x="2018" y="307"/>
                  </a:cubicBezTo>
                  <a:cubicBezTo>
                    <a:pt x="2050" y="171"/>
                    <a:pt x="1963" y="35"/>
                    <a:pt x="1826" y="6"/>
                  </a:cubicBezTo>
                  <a:cubicBezTo>
                    <a:pt x="1808" y="2"/>
                    <a:pt x="1790" y="0"/>
                    <a:pt x="1772"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19" name="Google Shape;5319;p69"/>
            <p:cNvSpPr/>
            <p:nvPr/>
          </p:nvSpPr>
          <p:spPr>
            <a:xfrm>
              <a:off x="7365575" y="3423925"/>
              <a:ext cx="16150" cy="62275"/>
            </a:xfrm>
            <a:custGeom>
              <a:avLst/>
              <a:gdLst/>
              <a:ahLst/>
              <a:cxnLst/>
              <a:rect l="l" t="t" r="r" b="b"/>
              <a:pathLst>
                <a:path w="646" h="2491" extrusionOk="0">
                  <a:moveTo>
                    <a:pt x="375" y="0"/>
                  </a:moveTo>
                  <a:cubicBezTo>
                    <a:pt x="368" y="0"/>
                    <a:pt x="361" y="1"/>
                    <a:pt x="354" y="1"/>
                  </a:cubicBezTo>
                  <a:cubicBezTo>
                    <a:pt x="216" y="11"/>
                    <a:pt x="111" y="129"/>
                    <a:pt x="119" y="269"/>
                  </a:cubicBezTo>
                  <a:cubicBezTo>
                    <a:pt x="128" y="438"/>
                    <a:pt x="135" y="607"/>
                    <a:pt x="135" y="776"/>
                  </a:cubicBezTo>
                  <a:cubicBezTo>
                    <a:pt x="135" y="1252"/>
                    <a:pt x="96" y="1724"/>
                    <a:pt x="23" y="2193"/>
                  </a:cubicBezTo>
                  <a:cubicBezTo>
                    <a:pt x="0" y="2328"/>
                    <a:pt x="88" y="2458"/>
                    <a:pt x="223" y="2485"/>
                  </a:cubicBezTo>
                  <a:cubicBezTo>
                    <a:pt x="240" y="2488"/>
                    <a:pt x="257" y="2490"/>
                    <a:pt x="274" y="2490"/>
                  </a:cubicBezTo>
                  <a:cubicBezTo>
                    <a:pt x="396" y="2490"/>
                    <a:pt x="504" y="2403"/>
                    <a:pt x="526" y="2278"/>
                  </a:cubicBezTo>
                  <a:cubicBezTo>
                    <a:pt x="604" y="1782"/>
                    <a:pt x="644" y="1279"/>
                    <a:pt x="646" y="776"/>
                  </a:cubicBezTo>
                  <a:cubicBezTo>
                    <a:pt x="646" y="595"/>
                    <a:pt x="638" y="413"/>
                    <a:pt x="626" y="232"/>
                  </a:cubicBezTo>
                  <a:cubicBezTo>
                    <a:pt x="616" y="101"/>
                    <a:pt x="505" y="0"/>
                    <a:pt x="375"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0" name="Google Shape;5320;p69"/>
            <p:cNvSpPr/>
            <p:nvPr/>
          </p:nvSpPr>
          <p:spPr>
            <a:xfrm>
              <a:off x="7334775" y="3315150"/>
              <a:ext cx="27850" cy="38100"/>
            </a:xfrm>
            <a:custGeom>
              <a:avLst/>
              <a:gdLst/>
              <a:ahLst/>
              <a:cxnLst/>
              <a:rect l="l" t="t" r="r" b="b"/>
              <a:pathLst>
                <a:path w="1114" h="1524" extrusionOk="0">
                  <a:moveTo>
                    <a:pt x="293" y="1"/>
                  </a:moveTo>
                  <a:cubicBezTo>
                    <a:pt x="265" y="1"/>
                    <a:pt x="236" y="5"/>
                    <a:pt x="209" y="16"/>
                  </a:cubicBezTo>
                  <a:cubicBezTo>
                    <a:pt x="62" y="74"/>
                    <a:pt x="1" y="246"/>
                    <a:pt x="79" y="383"/>
                  </a:cubicBezTo>
                  <a:cubicBezTo>
                    <a:pt x="262" y="698"/>
                    <a:pt x="427" y="1025"/>
                    <a:pt x="573" y="1359"/>
                  </a:cubicBezTo>
                  <a:cubicBezTo>
                    <a:pt x="615" y="1461"/>
                    <a:pt x="714" y="1523"/>
                    <a:pt x="819" y="1523"/>
                  </a:cubicBezTo>
                  <a:cubicBezTo>
                    <a:pt x="848" y="1523"/>
                    <a:pt x="878" y="1518"/>
                    <a:pt x="907" y="1508"/>
                  </a:cubicBezTo>
                  <a:lnTo>
                    <a:pt x="942" y="1495"/>
                  </a:lnTo>
                  <a:cubicBezTo>
                    <a:pt x="1056" y="1457"/>
                    <a:pt x="1114" y="1331"/>
                    <a:pt x="1067" y="1220"/>
                  </a:cubicBezTo>
                  <a:cubicBezTo>
                    <a:pt x="910" y="849"/>
                    <a:pt x="729" y="488"/>
                    <a:pt x="528" y="139"/>
                  </a:cubicBezTo>
                  <a:cubicBezTo>
                    <a:pt x="478" y="54"/>
                    <a:pt x="387" y="1"/>
                    <a:pt x="293"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1" name="Google Shape;5321;p69"/>
            <p:cNvSpPr/>
            <p:nvPr/>
          </p:nvSpPr>
          <p:spPr>
            <a:xfrm>
              <a:off x="7355800" y="3361300"/>
              <a:ext cx="23650" cy="53200"/>
            </a:xfrm>
            <a:custGeom>
              <a:avLst/>
              <a:gdLst/>
              <a:ahLst/>
              <a:cxnLst/>
              <a:rect l="l" t="t" r="r" b="b"/>
              <a:pathLst>
                <a:path w="946" h="2128" extrusionOk="0">
                  <a:moveTo>
                    <a:pt x="288" y="0"/>
                  </a:moveTo>
                  <a:cubicBezTo>
                    <a:pt x="260" y="0"/>
                    <a:pt x="232" y="5"/>
                    <a:pt x="204" y="15"/>
                  </a:cubicBezTo>
                  <a:cubicBezTo>
                    <a:pt x="71" y="61"/>
                    <a:pt x="1" y="205"/>
                    <a:pt x="47" y="338"/>
                  </a:cubicBezTo>
                  <a:cubicBezTo>
                    <a:pt x="215" y="850"/>
                    <a:pt x="342" y="1376"/>
                    <a:pt x="420" y="1909"/>
                  </a:cubicBezTo>
                  <a:cubicBezTo>
                    <a:pt x="438" y="2036"/>
                    <a:pt x="548" y="2128"/>
                    <a:pt x="673" y="2128"/>
                  </a:cubicBezTo>
                  <a:cubicBezTo>
                    <a:pt x="685" y="2128"/>
                    <a:pt x="696" y="2127"/>
                    <a:pt x="708" y="2125"/>
                  </a:cubicBezTo>
                  <a:cubicBezTo>
                    <a:pt x="848" y="2106"/>
                    <a:pt x="945" y="1978"/>
                    <a:pt x="926" y="1839"/>
                  </a:cubicBezTo>
                  <a:lnTo>
                    <a:pt x="925" y="1839"/>
                  </a:lnTo>
                  <a:cubicBezTo>
                    <a:pt x="841" y="1273"/>
                    <a:pt x="708" y="716"/>
                    <a:pt x="529" y="173"/>
                  </a:cubicBezTo>
                  <a:cubicBezTo>
                    <a:pt x="492" y="67"/>
                    <a:pt x="393" y="0"/>
                    <a:pt x="288"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2" name="Google Shape;5322;p69"/>
            <p:cNvSpPr/>
            <p:nvPr/>
          </p:nvSpPr>
          <p:spPr>
            <a:xfrm>
              <a:off x="7093025" y="4348600"/>
              <a:ext cx="104200" cy="51200"/>
            </a:xfrm>
            <a:custGeom>
              <a:avLst/>
              <a:gdLst/>
              <a:ahLst/>
              <a:cxnLst/>
              <a:rect l="l" t="t" r="r" b="b"/>
              <a:pathLst>
                <a:path w="4168" h="2048" extrusionOk="0">
                  <a:moveTo>
                    <a:pt x="3871" y="0"/>
                  </a:moveTo>
                  <a:cubicBezTo>
                    <a:pt x="3824" y="0"/>
                    <a:pt x="3777" y="13"/>
                    <a:pt x="3735" y="39"/>
                  </a:cubicBezTo>
                  <a:cubicBezTo>
                    <a:pt x="2982" y="492"/>
                    <a:pt x="2170" y="838"/>
                    <a:pt x="1323" y="1067"/>
                  </a:cubicBezTo>
                  <a:lnTo>
                    <a:pt x="1249" y="780"/>
                  </a:lnTo>
                  <a:cubicBezTo>
                    <a:pt x="1235" y="721"/>
                    <a:pt x="1183" y="687"/>
                    <a:pt x="1130" y="687"/>
                  </a:cubicBezTo>
                  <a:cubicBezTo>
                    <a:pt x="1102" y="687"/>
                    <a:pt x="1073" y="696"/>
                    <a:pt x="1049" y="717"/>
                  </a:cubicBezTo>
                  <a:lnTo>
                    <a:pt x="76" y="1560"/>
                  </a:lnTo>
                  <a:cubicBezTo>
                    <a:pt x="0" y="1625"/>
                    <a:pt x="32" y="1750"/>
                    <a:pt x="130" y="1773"/>
                  </a:cubicBezTo>
                  <a:lnTo>
                    <a:pt x="1389" y="2045"/>
                  </a:lnTo>
                  <a:cubicBezTo>
                    <a:pt x="1398" y="2047"/>
                    <a:pt x="1407" y="2048"/>
                    <a:pt x="1416" y="2048"/>
                  </a:cubicBezTo>
                  <a:cubicBezTo>
                    <a:pt x="1493" y="2048"/>
                    <a:pt x="1555" y="1975"/>
                    <a:pt x="1534" y="1894"/>
                  </a:cubicBezTo>
                  <a:lnTo>
                    <a:pt x="1450" y="1561"/>
                  </a:lnTo>
                  <a:cubicBezTo>
                    <a:pt x="2351" y="1318"/>
                    <a:pt x="3214" y="950"/>
                    <a:pt x="4013" y="466"/>
                  </a:cubicBezTo>
                  <a:cubicBezTo>
                    <a:pt x="4132" y="392"/>
                    <a:pt x="4167" y="235"/>
                    <a:pt x="4090" y="119"/>
                  </a:cubicBezTo>
                  <a:cubicBezTo>
                    <a:pt x="4039" y="42"/>
                    <a:pt x="3956" y="0"/>
                    <a:pt x="387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3" name="Google Shape;5323;p69"/>
            <p:cNvSpPr/>
            <p:nvPr/>
          </p:nvSpPr>
          <p:spPr>
            <a:xfrm>
              <a:off x="7201150" y="4302925"/>
              <a:ext cx="51100" cy="46100"/>
            </a:xfrm>
            <a:custGeom>
              <a:avLst/>
              <a:gdLst/>
              <a:ahLst/>
              <a:cxnLst/>
              <a:rect l="l" t="t" r="r" b="b"/>
              <a:pathLst>
                <a:path w="2044" h="1844" extrusionOk="0">
                  <a:moveTo>
                    <a:pt x="1760" y="1"/>
                  </a:moveTo>
                  <a:cubicBezTo>
                    <a:pt x="1689" y="1"/>
                    <a:pt x="1619" y="31"/>
                    <a:pt x="1568" y="88"/>
                  </a:cubicBezTo>
                  <a:cubicBezTo>
                    <a:pt x="1456" y="215"/>
                    <a:pt x="1341" y="338"/>
                    <a:pt x="1221" y="458"/>
                  </a:cubicBezTo>
                  <a:cubicBezTo>
                    <a:pt x="885" y="793"/>
                    <a:pt x="524" y="1102"/>
                    <a:pt x="140" y="1380"/>
                  </a:cubicBezTo>
                  <a:cubicBezTo>
                    <a:pt x="29" y="1460"/>
                    <a:pt x="1" y="1612"/>
                    <a:pt x="74" y="1728"/>
                  </a:cubicBezTo>
                  <a:cubicBezTo>
                    <a:pt x="124" y="1803"/>
                    <a:pt x="205" y="1844"/>
                    <a:pt x="288" y="1844"/>
                  </a:cubicBezTo>
                  <a:cubicBezTo>
                    <a:pt x="339" y="1844"/>
                    <a:pt x="391" y="1828"/>
                    <a:pt x="436" y="1797"/>
                  </a:cubicBezTo>
                  <a:cubicBezTo>
                    <a:pt x="843" y="1500"/>
                    <a:pt x="1226" y="1174"/>
                    <a:pt x="1581" y="820"/>
                  </a:cubicBezTo>
                  <a:cubicBezTo>
                    <a:pt x="1711" y="690"/>
                    <a:pt x="1834" y="557"/>
                    <a:pt x="1954" y="421"/>
                  </a:cubicBezTo>
                  <a:cubicBezTo>
                    <a:pt x="2044" y="315"/>
                    <a:pt x="2033" y="155"/>
                    <a:pt x="1927" y="64"/>
                  </a:cubicBezTo>
                  <a:cubicBezTo>
                    <a:pt x="1879" y="22"/>
                    <a:pt x="1819" y="1"/>
                    <a:pt x="1760"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4" name="Google Shape;5324;p69"/>
            <p:cNvSpPr/>
            <p:nvPr/>
          </p:nvSpPr>
          <p:spPr>
            <a:xfrm>
              <a:off x="7282950" y="4203000"/>
              <a:ext cx="22950" cy="40225"/>
            </a:xfrm>
            <a:custGeom>
              <a:avLst/>
              <a:gdLst/>
              <a:ahLst/>
              <a:cxnLst/>
              <a:rect l="l" t="t" r="r" b="b"/>
              <a:pathLst>
                <a:path w="918" h="1609" extrusionOk="0">
                  <a:moveTo>
                    <a:pt x="642" y="0"/>
                  </a:moveTo>
                  <a:cubicBezTo>
                    <a:pt x="531" y="0"/>
                    <a:pt x="426" y="74"/>
                    <a:pt x="396" y="189"/>
                  </a:cubicBezTo>
                  <a:cubicBezTo>
                    <a:pt x="301" y="543"/>
                    <a:pt x="187" y="889"/>
                    <a:pt x="53" y="1228"/>
                  </a:cubicBezTo>
                  <a:cubicBezTo>
                    <a:pt x="0" y="1360"/>
                    <a:pt x="58" y="1509"/>
                    <a:pt x="184" y="1571"/>
                  </a:cubicBezTo>
                  <a:lnTo>
                    <a:pt x="218" y="1587"/>
                  </a:lnTo>
                  <a:cubicBezTo>
                    <a:pt x="248" y="1602"/>
                    <a:pt x="280" y="1608"/>
                    <a:pt x="311" y="1608"/>
                  </a:cubicBezTo>
                  <a:cubicBezTo>
                    <a:pt x="392" y="1608"/>
                    <a:pt x="469" y="1561"/>
                    <a:pt x="501" y="1480"/>
                  </a:cubicBezTo>
                  <a:cubicBezTo>
                    <a:pt x="653" y="1107"/>
                    <a:pt x="780" y="724"/>
                    <a:pt x="886" y="333"/>
                  </a:cubicBezTo>
                  <a:cubicBezTo>
                    <a:pt x="918" y="210"/>
                    <a:pt x="862" y="74"/>
                    <a:pt x="746" y="22"/>
                  </a:cubicBezTo>
                  <a:cubicBezTo>
                    <a:pt x="712" y="7"/>
                    <a:pt x="677" y="0"/>
                    <a:pt x="642"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25" name="Google Shape;5325;p69"/>
            <p:cNvSpPr/>
            <p:nvPr/>
          </p:nvSpPr>
          <p:spPr>
            <a:xfrm>
              <a:off x="7252000" y="4250300"/>
              <a:ext cx="36300" cy="48175"/>
            </a:xfrm>
            <a:custGeom>
              <a:avLst/>
              <a:gdLst/>
              <a:ahLst/>
              <a:cxnLst/>
              <a:rect l="l" t="t" r="r" b="b"/>
              <a:pathLst>
                <a:path w="1452" h="1927" extrusionOk="0">
                  <a:moveTo>
                    <a:pt x="1159" y="1"/>
                  </a:moveTo>
                  <a:cubicBezTo>
                    <a:pt x="1064" y="1"/>
                    <a:pt x="974" y="53"/>
                    <a:pt x="931" y="143"/>
                  </a:cubicBezTo>
                  <a:cubicBezTo>
                    <a:pt x="689" y="625"/>
                    <a:pt x="405" y="1085"/>
                    <a:pt x="85" y="1519"/>
                  </a:cubicBezTo>
                  <a:cubicBezTo>
                    <a:pt x="0" y="1631"/>
                    <a:pt x="21" y="1790"/>
                    <a:pt x="135" y="1874"/>
                  </a:cubicBezTo>
                  <a:cubicBezTo>
                    <a:pt x="181" y="1909"/>
                    <a:pt x="235" y="1926"/>
                    <a:pt x="289" y="1926"/>
                  </a:cubicBezTo>
                  <a:cubicBezTo>
                    <a:pt x="366" y="1926"/>
                    <a:pt x="441" y="1892"/>
                    <a:pt x="492" y="1826"/>
                  </a:cubicBezTo>
                  <a:cubicBezTo>
                    <a:pt x="831" y="1367"/>
                    <a:pt x="1132" y="878"/>
                    <a:pt x="1389" y="368"/>
                  </a:cubicBezTo>
                  <a:cubicBezTo>
                    <a:pt x="1451" y="241"/>
                    <a:pt x="1398" y="87"/>
                    <a:pt x="1270" y="26"/>
                  </a:cubicBezTo>
                  <a:cubicBezTo>
                    <a:pt x="1234" y="9"/>
                    <a:pt x="1196" y="1"/>
                    <a:pt x="1159"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26" name="Google Shape;5326;p69"/>
          <p:cNvGrpSpPr/>
          <p:nvPr/>
        </p:nvGrpSpPr>
        <p:grpSpPr>
          <a:xfrm>
            <a:off x="6292917" y="1561809"/>
            <a:ext cx="967793" cy="933300"/>
            <a:chOff x="4249973" y="1201875"/>
            <a:chExt cx="1958568" cy="1888762"/>
          </a:xfrm>
        </p:grpSpPr>
        <p:sp>
          <p:nvSpPr>
            <p:cNvPr id="5327" name="Google Shape;5327;p69"/>
            <p:cNvSpPr/>
            <p:nvPr/>
          </p:nvSpPr>
          <p:spPr>
            <a:xfrm>
              <a:off x="4468527" y="1411932"/>
              <a:ext cx="1528500" cy="1452600"/>
            </a:xfrm>
            <a:prstGeom prst="pentagon">
              <a:avLst>
                <a:gd name="hf" fmla="val 105146"/>
                <a:gd name="vf" fmla="val 110557"/>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328" name="Google Shape;5328;p69"/>
            <p:cNvGrpSpPr/>
            <p:nvPr/>
          </p:nvGrpSpPr>
          <p:grpSpPr>
            <a:xfrm>
              <a:off x="5853086" y="1789142"/>
              <a:ext cx="355454" cy="1048099"/>
              <a:chOff x="5576108" y="2016725"/>
              <a:chExt cx="565200" cy="1666560"/>
            </a:xfrm>
          </p:grpSpPr>
          <p:sp>
            <p:nvSpPr>
              <p:cNvPr id="5329" name="Google Shape;5329;p69"/>
              <p:cNvSpPr/>
              <p:nvPr/>
            </p:nvSpPr>
            <p:spPr>
              <a:xfrm>
                <a:off x="5576108" y="2016725"/>
                <a:ext cx="565200" cy="565500"/>
              </a:xfrm>
              <a:prstGeom prst="ellipse">
                <a:avLst/>
              </a:prstGeom>
              <a:solidFill>
                <a:srgbClr val="667E92"/>
              </a:solidFill>
              <a:ln>
                <a:noFill/>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5330" name="Google Shape;5330;p69"/>
              <p:cNvSpPr/>
              <p:nvPr/>
            </p:nvSpPr>
            <p:spPr>
              <a:xfrm rot="6479001">
                <a:off x="5275897" y="3050667"/>
                <a:ext cx="1119386" cy="152834"/>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31" name="Google Shape;5331;p69"/>
            <p:cNvGrpSpPr/>
            <p:nvPr/>
          </p:nvGrpSpPr>
          <p:grpSpPr>
            <a:xfrm>
              <a:off x="4869455" y="2691676"/>
              <a:ext cx="1013897" cy="398961"/>
              <a:chOff x="4012057" y="3451825"/>
              <a:chExt cx="1612175" cy="634379"/>
            </a:xfrm>
          </p:grpSpPr>
          <p:sp>
            <p:nvSpPr>
              <p:cNvPr id="5332" name="Google Shape;5332;p69"/>
              <p:cNvSpPr/>
              <p:nvPr/>
            </p:nvSpPr>
            <p:spPr>
              <a:xfrm>
                <a:off x="5059033" y="3451825"/>
                <a:ext cx="565200" cy="565500"/>
              </a:xfrm>
              <a:prstGeom prst="ellipse">
                <a:avLst/>
              </a:prstGeom>
              <a:solidFill>
                <a:srgbClr val="667E92"/>
              </a:solidFill>
              <a:ln>
                <a:noFill/>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5333" name="Google Shape;5333;p69"/>
              <p:cNvSpPr/>
              <p:nvPr/>
            </p:nvSpPr>
            <p:spPr>
              <a:xfrm rot="10799079">
                <a:off x="4012507" y="3933353"/>
                <a:ext cx="1119600" cy="15270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34" name="Google Shape;5334;p69"/>
            <p:cNvGrpSpPr/>
            <p:nvPr/>
          </p:nvGrpSpPr>
          <p:grpSpPr>
            <a:xfrm>
              <a:off x="4276937" y="2155961"/>
              <a:ext cx="651965" cy="891358"/>
              <a:chOff x="3069908" y="2599997"/>
              <a:chExt cx="1036675" cy="1417328"/>
            </a:xfrm>
          </p:grpSpPr>
          <p:sp>
            <p:nvSpPr>
              <p:cNvPr id="5335" name="Google Shape;5335;p69"/>
              <p:cNvSpPr/>
              <p:nvPr/>
            </p:nvSpPr>
            <p:spPr>
              <a:xfrm>
                <a:off x="3541383" y="3451825"/>
                <a:ext cx="565200" cy="565500"/>
              </a:xfrm>
              <a:prstGeom prst="ellipse">
                <a:avLst/>
              </a:prstGeom>
              <a:solidFill>
                <a:srgbClr val="667E92"/>
              </a:solidFill>
              <a:ln>
                <a:noFill/>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5336" name="Google Shape;5336;p69"/>
              <p:cNvSpPr/>
              <p:nvPr/>
            </p:nvSpPr>
            <p:spPr>
              <a:xfrm rot="-6478717">
                <a:off x="2755922" y="3079191"/>
                <a:ext cx="1119672" cy="15341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37" name="Google Shape;5337;p69"/>
            <p:cNvGrpSpPr/>
            <p:nvPr/>
          </p:nvGrpSpPr>
          <p:grpSpPr>
            <a:xfrm>
              <a:off x="5054918" y="1201875"/>
              <a:ext cx="999548" cy="602711"/>
              <a:chOff x="4306958" y="1082925"/>
              <a:chExt cx="1589359" cy="958358"/>
            </a:xfrm>
          </p:grpSpPr>
          <p:sp>
            <p:nvSpPr>
              <p:cNvPr id="5338" name="Google Shape;5338;p69"/>
              <p:cNvSpPr/>
              <p:nvPr/>
            </p:nvSpPr>
            <p:spPr>
              <a:xfrm>
                <a:off x="4306958" y="1082925"/>
                <a:ext cx="565200" cy="565500"/>
              </a:xfrm>
              <a:prstGeom prst="ellipse">
                <a:avLst/>
              </a:prstGeom>
              <a:solidFill>
                <a:srgbClr val="5F7D95"/>
              </a:solidFill>
              <a:ln>
                <a:noFill/>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5339" name="Google Shape;5339;p69"/>
              <p:cNvSpPr/>
              <p:nvPr/>
            </p:nvSpPr>
            <p:spPr>
              <a:xfrm rot="2159678">
                <a:off x="4838902" y="1574444"/>
                <a:ext cx="1119431" cy="152476"/>
              </a:xfrm>
              <a:prstGeom prst="rightArrow">
                <a:avLst>
                  <a:gd name="adj1" fmla="val 25514"/>
                  <a:gd name="adj2" fmla="val 64322"/>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40" name="Google Shape;5340;p69"/>
            <p:cNvGrpSpPr/>
            <p:nvPr/>
          </p:nvGrpSpPr>
          <p:grpSpPr>
            <a:xfrm>
              <a:off x="4249973" y="1303451"/>
              <a:ext cx="799317" cy="841334"/>
              <a:chOff x="3027033" y="1244439"/>
              <a:chExt cx="1270977" cy="1337786"/>
            </a:xfrm>
          </p:grpSpPr>
          <p:sp>
            <p:nvSpPr>
              <p:cNvPr id="5341" name="Google Shape;5341;p69"/>
              <p:cNvSpPr/>
              <p:nvPr/>
            </p:nvSpPr>
            <p:spPr>
              <a:xfrm>
                <a:off x="3027033" y="2016725"/>
                <a:ext cx="565200" cy="565500"/>
              </a:xfrm>
              <a:prstGeom prst="ellipse">
                <a:avLst/>
              </a:prstGeom>
              <a:solidFill>
                <a:srgbClr val="667E92"/>
              </a:solidFill>
              <a:ln>
                <a:noFill/>
              </a:ln>
            </p:spPr>
            <p:txBody>
              <a:bodyPr spcFirstLastPara="1" wrap="square" lIns="121900" tIns="121900" rIns="121900" bIns="121900" anchor="ctr" anchorCtr="0">
                <a:noAutofit/>
              </a:bodyPr>
              <a:lstStyle/>
              <a:p>
                <a:pPr algn="ctr" defTabSz="1219170">
                  <a:buClr>
                    <a:srgbClr val="000000"/>
                  </a:buClr>
                </a:pPr>
                <a:endParaRPr sz="1600" kern="0">
                  <a:solidFill>
                    <a:srgbClr val="FFFFFF"/>
                  </a:solidFill>
                  <a:latin typeface="Roboto Medium"/>
                  <a:ea typeface="Roboto Medium"/>
                  <a:cs typeface="Roboto Medium"/>
                  <a:sym typeface="Roboto Medium"/>
                </a:endParaRPr>
              </a:p>
            </p:txBody>
          </p:sp>
          <p:sp>
            <p:nvSpPr>
              <p:cNvPr id="5342" name="Google Shape;5342;p69"/>
              <p:cNvSpPr/>
              <p:nvPr/>
            </p:nvSpPr>
            <p:spPr>
              <a:xfrm rot="-2159137">
                <a:off x="3240473" y="1559002"/>
                <a:ext cx="1119673" cy="153273"/>
              </a:xfrm>
              <a:prstGeom prst="rightArrow">
                <a:avLst>
                  <a:gd name="adj1" fmla="val 25514"/>
                  <a:gd name="adj2" fmla="val 64322"/>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343" name="Google Shape;5343;p69"/>
          <p:cNvGrpSpPr/>
          <p:nvPr/>
        </p:nvGrpSpPr>
        <p:grpSpPr>
          <a:xfrm>
            <a:off x="5430069" y="2744183"/>
            <a:ext cx="1001025" cy="911712"/>
            <a:chOff x="4204684" y="2104422"/>
            <a:chExt cx="699822" cy="637382"/>
          </a:xfrm>
        </p:grpSpPr>
        <p:grpSp>
          <p:nvGrpSpPr>
            <p:cNvPr id="5344" name="Google Shape;5344;p69"/>
            <p:cNvGrpSpPr/>
            <p:nvPr/>
          </p:nvGrpSpPr>
          <p:grpSpPr>
            <a:xfrm>
              <a:off x="4204684" y="2430067"/>
              <a:ext cx="342957" cy="311738"/>
              <a:chOff x="4204684" y="2430067"/>
              <a:chExt cx="342957" cy="311738"/>
            </a:xfrm>
          </p:grpSpPr>
          <p:sp>
            <p:nvSpPr>
              <p:cNvPr id="5345" name="Google Shape;5345;p69"/>
              <p:cNvSpPr/>
              <p:nvPr/>
            </p:nvSpPr>
            <p:spPr>
              <a:xfrm>
                <a:off x="4235882" y="2430067"/>
                <a:ext cx="311759" cy="311738"/>
              </a:xfrm>
              <a:custGeom>
                <a:avLst/>
                <a:gdLst/>
                <a:ahLst/>
                <a:cxnLst/>
                <a:rect l="l" t="t" r="r" b="b"/>
                <a:pathLst>
                  <a:path w="8384" h="8384" extrusionOk="0">
                    <a:moveTo>
                      <a:pt x="1" y="0"/>
                    </a:moveTo>
                    <a:cubicBezTo>
                      <a:pt x="23" y="1056"/>
                      <a:pt x="239" y="2096"/>
                      <a:pt x="641" y="3073"/>
                    </a:cubicBezTo>
                    <a:cubicBezTo>
                      <a:pt x="676" y="3072"/>
                      <a:pt x="710" y="3070"/>
                      <a:pt x="745" y="3070"/>
                    </a:cubicBezTo>
                    <a:cubicBezTo>
                      <a:pt x="1419" y="3070"/>
                      <a:pt x="2047" y="3416"/>
                      <a:pt x="2406" y="3988"/>
                    </a:cubicBezTo>
                    <a:cubicBezTo>
                      <a:pt x="2766" y="4558"/>
                      <a:pt x="2808" y="5272"/>
                      <a:pt x="2516" y="5880"/>
                    </a:cubicBezTo>
                    <a:cubicBezTo>
                      <a:pt x="4076" y="7440"/>
                      <a:pt x="6179" y="8337"/>
                      <a:pt x="8384" y="8383"/>
                    </a:cubicBezTo>
                    <a:lnTo>
                      <a:pt x="8384" y="3190"/>
                    </a:lnTo>
                    <a:cubicBezTo>
                      <a:pt x="6664" y="3094"/>
                      <a:pt x="5290" y="1720"/>
                      <a:pt x="5194"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6" name="Google Shape;5346;p69"/>
              <p:cNvSpPr/>
              <p:nvPr/>
            </p:nvSpPr>
            <p:spPr>
              <a:xfrm>
                <a:off x="4204684" y="2558309"/>
                <a:ext cx="117839" cy="117794"/>
              </a:xfrm>
              <a:custGeom>
                <a:avLst/>
                <a:gdLst/>
                <a:ahLst/>
                <a:cxnLst/>
                <a:rect l="l" t="t" r="r" b="b"/>
                <a:pathLst>
                  <a:path w="3169" h="3168" extrusionOk="0">
                    <a:moveTo>
                      <a:pt x="1584" y="0"/>
                    </a:moveTo>
                    <a:cubicBezTo>
                      <a:pt x="710" y="0"/>
                      <a:pt x="1" y="710"/>
                      <a:pt x="1" y="1584"/>
                    </a:cubicBezTo>
                    <a:cubicBezTo>
                      <a:pt x="1" y="2459"/>
                      <a:pt x="710" y="3168"/>
                      <a:pt x="1584" y="3168"/>
                    </a:cubicBezTo>
                    <a:cubicBezTo>
                      <a:pt x="2459" y="3168"/>
                      <a:pt x="3168" y="2459"/>
                      <a:pt x="3168" y="1584"/>
                    </a:cubicBezTo>
                    <a:cubicBezTo>
                      <a:pt x="3168" y="710"/>
                      <a:pt x="2459" y="0"/>
                      <a:pt x="1584"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47" name="Google Shape;5347;p69"/>
            <p:cNvGrpSpPr/>
            <p:nvPr/>
          </p:nvGrpSpPr>
          <p:grpSpPr>
            <a:xfrm>
              <a:off x="4561586" y="2430067"/>
              <a:ext cx="342920" cy="311738"/>
              <a:chOff x="4561586" y="2430067"/>
              <a:chExt cx="342920" cy="311738"/>
            </a:xfrm>
          </p:grpSpPr>
          <p:sp>
            <p:nvSpPr>
              <p:cNvPr id="5348" name="Google Shape;5348;p69"/>
              <p:cNvSpPr/>
              <p:nvPr/>
            </p:nvSpPr>
            <p:spPr>
              <a:xfrm>
                <a:off x="4561586" y="2430067"/>
                <a:ext cx="311759" cy="311738"/>
              </a:xfrm>
              <a:custGeom>
                <a:avLst/>
                <a:gdLst/>
                <a:ahLst/>
                <a:cxnLst/>
                <a:rect l="l" t="t" r="r" b="b"/>
                <a:pathLst>
                  <a:path w="8384" h="8384" extrusionOk="0">
                    <a:moveTo>
                      <a:pt x="3189" y="0"/>
                    </a:moveTo>
                    <a:cubicBezTo>
                      <a:pt x="3093" y="1720"/>
                      <a:pt x="1721" y="3092"/>
                      <a:pt x="1" y="3190"/>
                    </a:cubicBezTo>
                    <a:lnTo>
                      <a:pt x="1" y="8383"/>
                    </a:lnTo>
                    <a:cubicBezTo>
                      <a:pt x="2206" y="8337"/>
                      <a:pt x="4309" y="7440"/>
                      <a:pt x="5868" y="5880"/>
                    </a:cubicBezTo>
                    <a:cubicBezTo>
                      <a:pt x="5577" y="5272"/>
                      <a:pt x="5618" y="4558"/>
                      <a:pt x="5979" y="3986"/>
                    </a:cubicBezTo>
                    <a:cubicBezTo>
                      <a:pt x="6337" y="3416"/>
                      <a:pt x="6965" y="3070"/>
                      <a:pt x="7639" y="3070"/>
                    </a:cubicBezTo>
                    <a:cubicBezTo>
                      <a:pt x="7675" y="3070"/>
                      <a:pt x="7710" y="3070"/>
                      <a:pt x="7743" y="3073"/>
                    </a:cubicBezTo>
                    <a:cubicBezTo>
                      <a:pt x="8145" y="2096"/>
                      <a:pt x="8362" y="1056"/>
                      <a:pt x="838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49" name="Google Shape;5349;p69"/>
              <p:cNvSpPr/>
              <p:nvPr/>
            </p:nvSpPr>
            <p:spPr>
              <a:xfrm>
                <a:off x="4786741" y="2558309"/>
                <a:ext cx="117765" cy="117794"/>
              </a:xfrm>
              <a:custGeom>
                <a:avLst/>
                <a:gdLst/>
                <a:ahLst/>
                <a:cxnLst/>
                <a:rect l="l" t="t" r="r" b="b"/>
                <a:pathLst>
                  <a:path w="3167" h="3168" extrusionOk="0">
                    <a:moveTo>
                      <a:pt x="1583" y="0"/>
                    </a:moveTo>
                    <a:cubicBezTo>
                      <a:pt x="708" y="0"/>
                      <a:pt x="1" y="710"/>
                      <a:pt x="1" y="1584"/>
                    </a:cubicBezTo>
                    <a:cubicBezTo>
                      <a:pt x="1" y="2459"/>
                      <a:pt x="708" y="3168"/>
                      <a:pt x="1583" y="3168"/>
                    </a:cubicBezTo>
                    <a:cubicBezTo>
                      <a:pt x="2457" y="3168"/>
                      <a:pt x="3166" y="2459"/>
                      <a:pt x="3166" y="1584"/>
                    </a:cubicBezTo>
                    <a:cubicBezTo>
                      <a:pt x="3166" y="710"/>
                      <a:pt x="2457" y="0"/>
                      <a:pt x="1583"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50" name="Google Shape;5350;p69"/>
            <p:cNvGrpSpPr/>
            <p:nvPr/>
          </p:nvGrpSpPr>
          <p:grpSpPr>
            <a:xfrm>
              <a:off x="4561586" y="2104422"/>
              <a:ext cx="342920" cy="311738"/>
              <a:chOff x="4561586" y="2104422"/>
              <a:chExt cx="342920" cy="311738"/>
            </a:xfrm>
          </p:grpSpPr>
          <p:sp>
            <p:nvSpPr>
              <p:cNvPr id="5351" name="Google Shape;5351;p69"/>
              <p:cNvSpPr/>
              <p:nvPr/>
            </p:nvSpPr>
            <p:spPr>
              <a:xfrm>
                <a:off x="4561586" y="2104422"/>
                <a:ext cx="311722" cy="311738"/>
              </a:xfrm>
              <a:custGeom>
                <a:avLst/>
                <a:gdLst/>
                <a:ahLst/>
                <a:cxnLst/>
                <a:rect l="l" t="t" r="r" b="b"/>
                <a:pathLst>
                  <a:path w="8383" h="8384" extrusionOk="0">
                    <a:moveTo>
                      <a:pt x="1" y="1"/>
                    </a:moveTo>
                    <a:lnTo>
                      <a:pt x="1" y="5194"/>
                    </a:lnTo>
                    <a:cubicBezTo>
                      <a:pt x="1721" y="5290"/>
                      <a:pt x="3093" y="6662"/>
                      <a:pt x="3189" y="8384"/>
                    </a:cubicBezTo>
                    <a:lnTo>
                      <a:pt x="8382" y="8384"/>
                    </a:lnTo>
                    <a:cubicBezTo>
                      <a:pt x="8362" y="7328"/>
                      <a:pt x="8144" y="6286"/>
                      <a:pt x="7742" y="5311"/>
                    </a:cubicBezTo>
                    <a:cubicBezTo>
                      <a:pt x="7708" y="5312"/>
                      <a:pt x="7673" y="5314"/>
                      <a:pt x="7638" y="5314"/>
                    </a:cubicBezTo>
                    <a:cubicBezTo>
                      <a:pt x="6964" y="5312"/>
                      <a:pt x="6336" y="4966"/>
                      <a:pt x="5977" y="4396"/>
                    </a:cubicBezTo>
                    <a:cubicBezTo>
                      <a:pt x="5618" y="3825"/>
                      <a:pt x="5577" y="3110"/>
                      <a:pt x="5867" y="2502"/>
                    </a:cubicBezTo>
                    <a:cubicBezTo>
                      <a:pt x="4309" y="942"/>
                      <a:pt x="2206" y="45"/>
                      <a:pt x="1"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2" name="Google Shape;5352;p69"/>
              <p:cNvSpPr/>
              <p:nvPr/>
            </p:nvSpPr>
            <p:spPr>
              <a:xfrm>
                <a:off x="4786741" y="2170087"/>
                <a:ext cx="117765" cy="117757"/>
              </a:xfrm>
              <a:custGeom>
                <a:avLst/>
                <a:gdLst/>
                <a:ahLst/>
                <a:cxnLst/>
                <a:rect l="l" t="t" r="r" b="b"/>
                <a:pathLst>
                  <a:path w="3167" h="3167" extrusionOk="0">
                    <a:moveTo>
                      <a:pt x="1583" y="1"/>
                    </a:moveTo>
                    <a:cubicBezTo>
                      <a:pt x="708" y="1"/>
                      <a:pt x="1" y="709"/>
                      <a:pt x="1" y="1583"/>
                    </a:cubicBezTo>
                    <a:cubicBezTo>
                      <a:pt x="1" y="2457"/>
                      <a:pt x="708" y="3167"/>
                      <a:pt x="1583" y="3167"/>
                    </a:cubicBezTo>
                    <a:cubicBezTo>
                      <a:pt x="2457" y="3167"/>
                      <a:pt x="3166" y="2457"/>
                      <a:pt x="3166" y="1583"/>
                    </a:cubicBezTo>
                    <a:cubicBezTo>
                      <a:pt x="3166" y="709"/>
                      <a:pt x="2457" y="1"/>
                      <a:pt x="158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53" name="Google Shape;5353;p69"/>
            <p:cNvGrpSpPr/>
            <p:nvPr/>
          </p:nvGrpSpPr>
          <p:grpSpPr>
            <a:xfrm>
              <a:off x="4204684" y="2104422"/>
              <a:ext cx="342957" cy="311664"/>
              <a:chOff x="4204684" y="2104422"/>
              <a:chExt cx="342957" cy="311664"/>
            </a:xfrm>
          </p:grpSpPr>
          <p:sp>
            <p:nvSpPr>
              <p:cNvPr id="5354" name="Google Shape;5354;p69"/>
              <p:cNvSpPr/>
              <p:nvPr/>
            </p:nvSpPr>
            <p:spPr>
              <a:xfrm>
                <a:off x="4235882" y="2104422"/>
                <a:ext cx="311759" cy="311664"/>
              </a:xfrm>
              <a:custGeom>
                <a:avLst/>
                <a:gdLst/>
                <a:ahLst/>
                <a:cxnLst/>
                <a:rect l="l" t="t" r="r" b="b"/>
                <a:pathLst>
                  <a:path w="8384" h="8382" extrusionOk="0">
                    <a:moveTo>
                      <a:pt x="8384" y="1"/>
                    </a:moveTo>
                    <a:cubicBezTo>
                      <a:pt x="6179" y="45"/>
                      <a:pt x="4076" y="942"/>
                      <a:pt x="2516" y="2502"/>
                    </a:cubicBezTo>
                    <a:cubicBezTo>
                      <a:pt x="2808" y="3110"/>
                      <a:pt x="2766" y="3825"/>
                      <a:pt x="2406" y="4396"/>
                    </a:cubicBezTo>
                    <a:cubicBezTo>
                      <a:pt x="2047" y="4966"/>
                      <a:pt x="1419" y="5312"/>
                      <a:pt x="745" y="5312"/>
                    </a:cubicBezTo>
                    <a:cubicBezTo>
                      <a:pt x="710" y="5312"/>
                      <a:pt x="675" y="5312"/>
                      <a:pt x="641" y="5311"/>
                    </a:cubicBezTo>
                    <a:cubicBezTo>
                      <a:pt x="239" y="6286"/>
                      <a:pt x="23" y="7327"/>
                      <a:pt x="1" y="8382"/>
                    </a:cubicBezTo>
                    <a:lnTo>
                      <a:pt x="5194" y="8382"/>
                    </a:lnTo>
                    <a:cubicBezTo>
                      <a:pt x="5290" y="6662"/>
                      <a:pt x="6664" y="5290"/>
                      <a:pt x="8384" y="5194"/>
                    </a:cubicBezTo>
                    <a:lnTo>
                      <a:pt x="8384"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55" name="Google Shape;5355;p69"/>
              <p:cNvSpPr/>
              <p:nvPr/>
            </p:nvSpPr>
            <p:spPr>
              <a:xfrm>
                <a:off x="4204684" y="2170087"/>
                <a:ext cx="117839" cy="117757"/>
              </a:xfrm>
              <a:custGeom>
                <a:avLst/>
                <a:gdLst/>
                <a:ahLst/>
                <a:cxnLst/>
                <a:rect l="l" t="t" r="r" b="b"/>
                <a:pathLst>
                  <a:path w="3169" h="3167" extrusionOk="0">
                    <a:moveTo>
                      <a:pt x="1584" y="1"/>
                    </a:moveTo>
                    <a:cubicBezTo>
                      <a:pt x="710" y="1"/>
                      <a:pt x="1" y="709"/>
                      <a:pt x="1" y="1583"/>
                    </a:cubicBezTo>
                    <a:cubicBezTo>
                      <a:pt x="1" y="2457"/>
                      <a:pt x="710" y="3167"/>
                      <a:pt x="1584" y="3167"/>
                    </a:cubicBezTo>
                    <a:cubicBezTo>
                      <a:pt x="2459" y="3167"/>
                      <a:pt x="3168" y="2457"/>
                      <a:pt x="3168" y="1583"/>
                    </a:cubicBezTo>
                    <a:cubicBezTo>
                      <a:pt x="3168" y="709"/>
                      <a:pt x="2459" y="1"/>
                      <a:pt x="158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356" name="Google Shape;5356;p69"/>
          <p:cNvGrpSpPr/>
          <p:nvPr/>
        </p:nvGrpSpPr>
        <p:grpSpPr>
          <a:xfrm>
            <a:off x="7382646" y="1561802"/>
            <a:ext cx="880788" cy="918489"/>
            <a:chOff x="5830645" y="1267368"/>
            <a:chExt cx="530340" cy="553040"/>
          </a:xfrm>
        </p:grpSpPr>
        <p:sp>
          <p:nvSpPr>
            <p:cNvPr id="5357" name="Google Shape;5357;p69"/>
            <p:cNvSpPr/>
            <p:nvPr/>
          </p:nvSpPr>
          <p:spPr>
            <a:xfrm>
              <a:off x="5994669" y="1442730"/>
              <a:ext cx="202317" cy="202342"/>
            </a:xfrm>
            <a:custGeom>
              <a:avLst/>
              <a:gdLst/>
              <a:ahLst/>
              <a:cxnLst/>
              <a:rect l="l" t="t" r="r" b="b"/>
              <a:pathLst>
                <a:path w="7941" h="7942" extrusionOk="0">
                  <a:moveTo>
                    <a:pt x="3971" y="319"/>
                  </a:moveTo>
                  <a:cubicBezTo>
                    <a:pt x="5984" y="319"/>
                    <a:pt x="7623" y="1957"/>
                    <a:pt x="7623" y="3971"/>
                  </a:cubicBezTo>
                  <a:cubicBezTo>
                    <a:pt x="7623" y="5984"/>
                    <a:pt x="5985" y="7624"/>
                    <a:pt x="3971" y="7624"/>
                  </a:cubicBezTo>
                  <a:cubicBezTo>
                    <a:pt x="1956" y="7624"/>
                    <a:pt x="318" y="5984"/>
                    <a:pt x="318" y="3971"/>
                  </a:cubicBezTo>
                  <a:cubicBezTo>
                    <a:pt x="318" y="1957"/>
                    <a:pt x="1956" y="319"/>
                    <a:pt x="3971" y="319"/>
                  </a:cubicBezTo>
                  <a:close/>
                  <a:moveTo>
                    <a:pt x="3971" y="0"/>
                  </a:moveTo>
                  <a:cubicBezTo>
                    <a:pt x="1782" y="0"/>
                    <a:pt x="1" y="1782"/>
                    <a:pt x="1" y="3971"/>
                  </a:cubicBezTo>
                  <a:cubicBezTo>
                    <a:pt x="1" y="6159"/>
                    <a:pt x="1782" y="7941"/>
                    <a:pt x="3971" y="7941"/>
                  </a:cubicBezTo>
                  <a:cubicBezTo>
                    <a:pt x="6160" y="7941"/>
                    <a:pt x="7940" y="6159"/>
                    <a:pt x="7940" y="3971"/>
                  </a:cubicBezTo>
                  <a:cubicBezTo>
                    <a:pt x="7940" y="1782"/>
                    <a:pt x="6160" y="0"/>
                    <a:pt x="3971"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358" name="Google Shape;5358;p69"/>
            <p:cNvGrpSpPr/>
            <p:nvPr/>
          </p:nvGrpSpPr>
          <p:grpSpPr>
            <a:xfrm>
              <a:off x="5830645" y="1267368"/>
              <a:ext cx="259743" cy="269909"/>
              <a:chOff x="5830645" y="1267368"/>
              <a:chExt cx="259743" cy="269909"/>
            </a:xfrm>
          </p:grpSpPr>
          <p:sp>
            <p:nvSpPr>
              <p:cNvPr id="5359" name="Google Shape;5359;p69"/>
              <p:cNvSpPr/>
              <p:nvPr/>
            </p:nvSpPr>
            <p:spPr>
              <a:xfrm>
                <a:off x="5830645" y="1304897"/>
                <a:ext cx="259743" cy="232380"/>
              </a:xfrm>
              <a:custGeom>
                <a:avLst/>
                <a:gdLst/>
                <a:ahLst/>
                <a:cxnLst/>
                <a:rect l="l" t="t" r="r" b="b"/>
                <a:pathLst>
                  <a:path w="10195" h="9121" extrusionOk="0">
                    <a:moveTo>
                      <a:pt x="7470" y="1"/>
                    </a:moveTo>
                    <a:cubicBezTo>
                      <a:pt x="7469" y="1"/>
                      <a:pt x="7468" y="1"/>
                      <a:pt x="7467" y="1"/>
                    </a:cubicBezTo>
                    <a:lnTo>
                      <a:pt x="7044" y="1"/>
                    </a:lnTo>
                    <a:cubicBezTo>
                      <a:pt x="7044" y="1075"/>
                      <a:pt x="6172" y="1946"/>
                      <a:pt x="5097" y="1946"/>
                    </a:cubicBezTo>
                    <a:cubicBezTo>
                      <a:pt x="4021" y="1946"/>
                      <a:pt x="3150" y="1075"/>
                      <a:pt x="3150" y="1"/>
                    </a:cubicBezTo>
                    <a:lnTo>
                      <a:pt x="0" y="1"/>
                    </a:lnTo>
                    <a:lnTo>
                      <a:pt x="0" y="6393"/>
                    </a:lnTo>
                    <a:cubicBezTo>
                      <a:pt x="0" y="7900"/>
                      <a:pt x="1220" y="9120"/>
                      <a:pt x="2727" y="9120"/>
                    </a:cubicBezTo>
                    <a:lnTo>
                      <a:pt x="6018" y="9120"/>
                    </a:lnTo>
                    <a:cubicBezTo>
                      <a:pt x="6148" y="6883"/>
                      <a:pt x="7951" y="5095"/>
                      <a:pt x="10194" y="4987"/>
                    </a:cubicBezTo>
                    <a:lnTo>
                      <a:pt x="10194" y="2726"/>
                    </a:lnTo>
                    <a:cubicBezTo>
                      <a:pt x="10194" y="1222"/>
                      <a:pt x="8974" y="1"/>
                      <a:pt x="7470"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0" name="Google Shape;5360;p69"/>
              <p:cNvSpPr/>
              <p:nvPr/>
            </p:nvSpPr>
            <p:spPr>
              <a:xfrm>
                <a:off x="5922950" y="1267368"/>
                <a:ext cx="75057" cy="75057"/>
              </a:xfrm>
              <a:custGeom>
                <a:avLst/>
                <a:gdLst/>
                <a:ahLst/>
                <a:cxnLst/>
                <a:rect l="l" t="t" r="r" b="b"/>
                <a:pathLst>
                  <a:path w="2946" h="2946" extrusionOk="0">
                    <a:moveTo>
                      <a:pt x="1474" y="1"/>
                    </a:moveTo>
                    <a:cubicBezTo>
                      <a:pt x="661" y="1"/>
                      <a:pt x="1" y="660"/>
                      <a:pt x="1" y="1472"/>
                    </a:cubicBezTo>
                    <a:cubicBezTo>
                      <a:pt x="1" y="2286"/>
                      <a:pt x="661" y="2945"/>
                      <a:pt x="1474" y="2945"/>
                    </a:cubicBezTo>
                    <a:cubicBezTo>
                      <a:pt x="2288" y="2945"/>
                      <a:pt x="2946" y="2286"/>
                      <a:pt x="2946" y="1472"/>
                    </a:cubicBezTo>
                    <a:cubicBezTo>
                      <a:pt x="2946" y="660"/>
                      <a:pt x="2288" y="1"/>
                      <a:pt x="1474"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61" name="Google Shape;5361;p69"/>
            <p:cNvGrpSpPr/>
            <p:nvPr/>
          </p:nvGrpSpPr>
          <p:grpSpPr>
            <a:xfrm>
              <a:off x="6101293" y="1267368"/>
              <a:ext cx="259692" cy="269909"/>
              <a:chOff x="6101293" y="1267368"/>
              <a:chExt cx="259692" cy="269909"/>
            </a:xfrm>
          </p:grpSpPr>
          <p:sp>
            <p:nvSpPr>
              <p:cNvPr id="5362" name="Google Shape;5362;p69"/>
              <p:cNvSpPr/>
              <p:nvPr/>
            </p:nvSpPr>
            <p:spPr>
              <a:xfrm>
                <a:off x="6101293" y="1304897"/>
                <a:ext cx="259692" cy="232380"/>
              </a:xfrm>
              <a:custGeom>
                <a:avLst/>
                <a:gdLst/>
                <a:ahLst/>
                <a:cxnLst/>
                <a:rect l="l" t="t" r="r" b="b"/>
                <a:pathLst>
                  <a:path w="10193" h="9121" extrusionOk="0">
                    <a:moveTo>
                      <a:pt x="2726" y="1"/>
                    </a:moveTo>
                    <a:cubicBezTo>
                      <a:pt x="1220" y="1"/>
                      <a:pt x="0" y="1221"/>
                      <a:pt x="0" y="2726"/>
                    </a:cubicBezTo>
                    <a:lnTo>
                      <a:pt x="0" y="4987"/>
                    </a:lnTo>
                    <a:cubicBezTo>
                      <a:pt x="2244" y="5095"/>
                      <a:pt x="4045" y="6883"/>
                      <a:pt x="4177" y="9120"/>
                    </a:cubicBezTo>
                    <a:lnTo>
                      <a:pt x="7467" y="9120"/>
                    </a:lnTo>
                    <a:cubicBezTo>
                      <a:pt x="8973" y="9120"/>
                      <a:pt x="10193" y="7900"/>
                      <a:pt x="10193" y="6393"/>
                    </a:cubicBezTo>
                    <a:lnTo>
                      <a:pt x="10193" y="1"/>
                    </a:lnTo>
                    <a:lnTo>
                      <a:pt x="7043" y="1"/>
                    </a:lnTo>
                    <a:cubicBezTo>
                      <a:pt x="7043" y="1075"/>
                      <a:pt x="6172" y="1946"/>
                      <a:pt x="5097" y="1946"/>
                    </a:cubicBezTo>
                    <a:cubicBezTo>
                      <a:pt x="4021" y="1946"/>
                      <a:pt x="3150" y="1075"/>
                      <a:pt x="315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3" name="Google Shape;5363;p69"/>
              <p:cNvSpPr/>
              <p:nvPr/>
            </p:nvSpPr>
            <p:spPr>
              <a:xfrm>
                <a:off x="6193623" y="1267368"/>
                <a:ext cx="75031" cy="75057"/>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64" name="Google Shape;5364;p69"/>
            <p:cNvGrpSpPr/>
            <p:nvPr/>
          </p:nvGrpSpPr>
          <p:grpSpPr>
            <a:xfrm>
              <a:off x="5830645" y="1550500"/>
              <a:ext cx="259692" cy="269909"/>
              <a:chOff x="5830645" y="1550500"/>
              <a:chExt cx="259692" cy="269909"/>
            </a:xfrm>
          </p:grpSpPr>
          <p:sp>
            <p:nvSpPr>
              <p:cNvPr id="5365" name="Google Shape;5365;p69"/>
              <p:cNvSpPr/>
              <p:nvPr/>
            </p:nvSpPr>
            <p:spPr>
              <a:xfrm>
                <a:off x="5830645" y="1550500"/>
                <a:ext cx="259692" cy="232406"/>
              </a:xfrm>
              <a:custGeom>
                <a:avLst/>
                <a:gdLst/>
                <a:ahLst/>
                <a:cxnLst/>
                <a:rect l="l" t="t" r="r" b="b"/>
                <a:pathLst>
                  <a:path w="10193" h="9122" extrusionOk="0">
                    <a:moveTo>
                      <a:pt x="2727" y="1"/>
                    </a:moveTo>
                    <a:cubicBezTo>
                      <a:pt x="1220" y="1"/>
                      <a:pt x="0" y="1223"/>
                      <a:pt x="0" y="2728"/>
                    </a:cubicBezTo>
                    <a:lnTo>
                      <a:pt x="0" y="9122"/>
                    </a:lnTo>
                    <a:lnTo>
                      <a:pt x="3150" y="9122"/>
                    </a:lnTo>
                    <a:cubicBezTo>
                      <a:pt x="3150" y="8046"/>
                      <a:pt x="4021" y="7175"/>
                      <a:pt x="5097" y="7175"/>
                    </a:cubicBezTo>
                    <a:cubicBezTo>
                      <a:pt x="6172" y="7175"/>
                      <a:pt x="7044" y="8046"/>
                      <a:pt x="7044" y="9122"/>
                    </a:cubicBezTo>
                    <a:lnTo>
                      <a:pt x="7467" y="9122"/>
                    </a:lnTo>
                    <a:cubicBezTo>
                      <a:pt x="8972" y="9122"/>
                      <a:pt x="10192" y="7900"/>
                      <a:pt x="10192" y="6395"/>
                    </a:cubicBezTo>
                    <a:lnTo>
                      <a:pt x="10192" y="4135"/>
                    </a:lnTo>
                    <a:cubicBezTo>
                      <a:pt x="7951" y="4028"/>
                      <a:pt x="6148" y="2239"/>
                      <a:pt x="6018"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6" name="Google Shape;5366;p69"/>
              <p:cNvSpPr/>
              <p:nvPr/>
            </p:nvSpPr>
            <p:spPr>
              <a:xfrm>
                <a:off x="5922950" y="1745352"/>
                <a:ext cx="75057" cy="75057"/>
              </a:xfrm>
              <a:custGeom>
                <a:avLst/>
                <a:gdLst/>
                <a:ahLst/>
                <a:cxnLst/>
                <a:rect l="l" t="t" r="r" b="b"/>
                <a:pathLst>
                  <a:path w="2946" h="2946" extrusionOk="0">
                    <a:moveTo>
                      <a:pt x="1474" y="1"/>
                    </a:moveTo>
                    <a:cubicBezTo>
                      <a:pt x="661" y="1"/>
                      <a:pt x="1" y="660"/>
                      <a:pt x="1" y="1474"/>
                    </a:cubicBezTo>
                    <a:cubicBezTo>
                      <a:pt x="1" y="2287"/>
                      <a:pt x="661" y="2946"/>
                      <a:pt x="1474" y="2946"/>
                    </a:cubicBezTo>
                    <a:cubicBezTo>
                      <a:pt x="2288" y="2946"/>
                      <a:pt x="2946" y="2287"/>
                      <a:pt x="2946" y="1474"/>
                    </a:cubicBezTo>
                    <a:cubicBezTo>
                      <a:pt x="2946" y="660"/>
                      <a:pt x="2288" y="1"/>
                      <a:pt x="147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67" name="Google Shape;5367;p69"/>
            <p:cNvGrpSpPr/>
            <p:nvPr/>
          </p:nvGrpSpPr>
          <p:grpSpPr>
            <a:xfrm>
              <a:off x="6101293" y="1550500"/>
              <a:ext cx="259692" cy="269909"/>
              <a:chOff x="6101293" y="1550500"/>
              <a:chExt cx="259692" cy="269909"/>
            </a:xfrm>
          </p:grpSpPr>
          <p:sp>
            <p:nvSpPr>
              <p:cNvPr id="5368" name="Google Shape;5368;p69"/>
              <p:cNvSpPr/>
              <p:nvPr/>
            </p:nvSpPr>
            <p:spPr>
              <a:xfrm>
                <a:off x="6101293" y="1550500"/>
                <a:ext cx="259692" cy="232406"/>
              </a:xfrm>
              <a:custGeom>
                <a:avLst/>
                <a:gdLst/>
                <a:ahLst/>
                <a:cxnLst/>
                <a:rect l="l" t="t" r="r" b="b"/>
                <a:pathLst>
                  <a:path w="10193" h="9122" extrusionOk="0">
                    <a:moveTo>
                      <a:pt x="4177" y="1"/>
                    </a:moveTo>
                    <a:cubicBezTo>
                      <a:pt x="4045" y="2239"/>
                      <a:pt x="2244" y="4027"/>
                      <a:pt x="0" y="4135"/>
                    </a:cubicBezTo>
                    <a:lnTo>
                      <a:pt x="0" y="6395"/>
                    </a:lnTo>
                    <a:cubicBezTo>
                      <a:pt x="0" y="7902"/>
                      <a:pt x="1220" y="9122"/>
                      <a:pt x="2726" y="9122"/>
                    </a:cubicBezTo>
                    <a:lnTo>
                      <a:pt x="3148" y="9122"/>
                    </a:lnTo>
                    <a:cubicBezTo>
                      <a:pt x="3148" y="8046"/>
                      <a:pt x="4020" y="7175"/>
                      <a:pt x="5096" y="7175"/>
                    </a:cubicBezTo>
                    <a:cubicBezTo>
                      <a:pt x="6170" y="7175"/>
                      <a:pt x="7043" y="8046"/>
                      <a:pt x="7043" y="9122"/>
                    </a:cubicBezTo>
                    <a:lnTo>
                      <a:pt x="10193" y="9122"/>
                    </a:lnTo>
                    <a:lnTo>
                      <a:pt x="10193" y="2728"/>
                    </a:lnTo>
                    <a:cubicBezTo>
                      <a:pt x="10193" y="1223"/>
                      <a:pt x="8973" y="2"/>
                      <a:pt x="7467"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69" name="Google Shape;5369;p69"/>
              <p:cNvSpPr/>
              <p:nvPr/>
            </p:nvSpPr>
            <p:spPr>
              <a:xfrm>
                <a:off x="6193623" y="1745352"/>
                <a:ext cx="75031" cy="75057"/>
              </a:xfrm>
              <a:custGeom>
                <a:avLst/>
                <a:gdLst/>
                <a:ahLst/>
                <a:cxnLst/>
                <a:rect l="l" t="t" r="r" b="b"/>
                <a:pathLst>
                  <a:path w="2945" h="2946" extrusionOk="0">
                    <a:moveTo>
                      <a:pt x="1473" y="1"/>
                    </a:moveTo>
                    <a:cubicBezTo>
                      <a:pt x="660" y="1"/>
                      <a:pt x="0" y="660"/>
                      <a:pt x="0" y="1474"/>
                    </a:cubicBezTo>
                    <a:cubicBezTo>
                      <a:pt x="0" y="2287"/>
                      <a:pt x="660" y="2946"/>
                      <a:pt x="1473" y="2946"/>
                    </a:cubicBezTo>
                    <a:cubicBezTo>
                      <a:pt x="2285" y="2946"/>
                      <a:pt x="2945" y="2287"/>
                      <a:pt x="2945" y="1474"/>
                    </a:cubicBezTo>
                    <a:cubicBezTo>
                      <a:pt x="2945" y="660"/>
                      <a:pt x="2285" y="1"/>
                      <a:pt x="1473" y="1"/>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370" name="Google Shape;5370;p69"/>
          <p:cNvGrpSpPr/>
          <p:nvPr/>
        </p:nvGrpSpPr>
        <p:grpSpPr>
          <a:xfrm>
            <a:off x="985517" y="2749080"/>
            <a:ext cx="929539" cy="906099"/>
            <a:chOff x="2679875" y="2361475"/>
            <a:chExt cx="780425" cy="760575"/>
          </a:xfrm>
        </p:grpSpPr>
        <p:sp>
          <p:nvSpPr>
            <p:cNvPr id="5371" name="Google Shape;5371;p69"/>
            <p:cNvSpPr/>
            <p:nvPr/>
          </p:nvSpPr>
          <p:spPr>
            <a:xfrm>
              <a:off x="2812050" y="2361475"/>
              <a:ext cx="516050" cy="266400"/>
            </a:xfrm>
            <a:custGeom>
              <a:avLst/>
              <a:gdLst/>
              <a:ahLst/>
              <a:cxnLst/>
              <a:rect l="l" t="t" r="r" b="b"/>
              <a:pathLst>
                <a:path w="20642" h="10656" extrusionOk="0">
                  <a:moveTo>
                    <a:pt x="10321" y="0"/>
                  </a:moveTo>
                  <a:cubicBezTo>
                    <a:pt x="4630" y="0"/>
                    <a:pt x="1" y="4630"/>
                    <a:pt x="1" y="10321"/>
                  </a:cubicBezTo>
                  <a:cubicBezTo>
                    <a:pt x="1" y="10385"/>
                    <a:pt x="2" y="10450"/>
                    <a:pt x="4" y="10514"/>
                  </a:cubicBezTo>
                  <a:cubicBezTo>
                    <a:pt x="1580" y="9686"/>
                    <a:pt x="3307" y="9273"/>
                    <a:pt x="5033" y="9273"/>
                  </a:cubicBezTo>
                  <a:cubicBezTo>
                    <a:pt x="6858" y="9273"/>
                    <a:pt x="8681" y="9735"/>
                    <a:pt x="10321" y="10655"/>
                  </a:cubicBezTo>
                  <a:cubicBezTo>
                    <a:pt x="11962" y="9735"/>
                    <a:pt x="13786" y="9273"/>
                    <a:pt x="15610" y="9273"/>
                  </a:cubicBezTo>
                  <a:cubicBezTo>
                    <a:pt x="17337" y="9273"/>
                    <a:pt x="19065" y="9686"/>
                    <a:pt x="20640" y="10514"/>
                  </a:cubicBezTo>
                  <a:cubicBezTo>
                    <a:pt x="20640" y="10450"/>
                    <a:pt x="20642" y="10385"/>
                    <a:pt x="20642" y="10321"/>
                  </a:cubicBezTo>
                  <a:cubicBezTo>
                    <a:pt x="20642" y="4630"/>
                    <a:pt x="16012" y="0"/>
                    <a:pt x="10321"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2" name="Google Shape;5372;p69"/>
            <p:cNvSpPr/>
            <p:nvPr/>
          </p:nvSpPr>
          <p:spPr>
            <a:xfrm>
              <a:off x="3082750" y="2645625"/>
              <a:ext cx="377550" cy="476425"/>
            </a:xfrm>
            <a:custGeom>
              <a:avLst/>
              <a:gdLst/>
              <a:ahLst/>
              <a:cxnLst/>
              <a:rect l="l" t="t" r="r" b="b"/>
              <a:pathLst>
                <a:path w="15102" h="19057" extrusionOk="0">
                  <a:moveTo>
                    <a:pt x="10272" y="0"/>
                  </a:moveTo>
                  <a:cubicBezTo>
                    <a:pt x="9934" y="3512"/>
                    <a:pt x="7912" y="6539"/>
                    <a:pt x="5024" y="8262"/>
                  </a:cubicBezTo>
                  <a:cubicBezTo>
                    <a:pt x="5031" y="8418"/>
                    <a:pt x="5036" y="8577"/>
                    <a:pt x="5036" y="8736"/>
                  </a:cubicBezTo>
                  <a:cubicBezTo>
                    <a:pt x="5036" y="12577"/>
                    <a:pt x="3024" y="15957"/>
                    <a:pt x="1" y="17879"/>
                  </a:cubicBezTo>
                  <a:cubicBezTo>
                    <a:pt x="1471" y="18653"/>
                    <a:pt x="3109" y="19056"/>
                    <a:pt x="4771" y="19056"/>
                  </a:cubicBezTo>
                  <a:cubicBezTo>
                    <a:pt x="4774" y="19056"/>
                    <a:pt x="4778" y="19056"/>
                    <a:pt x="4781" y="19056"/>
                  </a:cubicBezTo>
                  <a:cubicBezTo>
                    <a:pt x="10472" y="19056"/>
                    <a:pt x="15102" y="14427"/>
                    <a:pt x="15102" y="8736"/>
                  </a:cubicBezTo>
                  <a:cubicBezTo>
                    <a:pt x="15102" y="5062"/>
                    <a:pt x="13170" y="1831"/>
                    <a:pt x="10272"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3" name="Google Shape;5373;p69"/>
            <p:cNvSpPr/>
            <p:nvPr/>
          </p:nvSpPr>
          <p:spPr>
            <a:xfrm>
              <a:off x="3082750" y="2605975"/>
              <a:ext cx="244675" cy="231900"/>
            </a:xfrm>
            <a:custGeom>
              <a:avLst/>
              <a:gdLst/>
              <a:ahLst/>
              <a:cxnLst/>
              <a:rect l="l" t="t" r="r" b="b"/>
              <a:pathLst>
                <a:path w="9787" h="9276" extrusionOk="0">
                  <a:moveTo>
                    <a:pt x="4781" y="1"/>
                  </a:moveTo>
                  <a:cubicBezTo>
                    <a:pt x="3141" y="1"/>
                    <a:pt x="1499" y="393"/>
                    <a:pt x="1" y="1178"/>
                  </a:cubicBezTo>
                  <a:cubicBezTo>
                    <a:pt x="2747" y="2923"/>
                    <a:pt x="4656" y="5871"/>
                    <a:pt x="4984" y="9276"/>
                  </a:cubicBezTo>
                  <a:cubicBezTo>
                    <a:pt x="7683" y="7574"/>
                    <a:pt x="9542" y="4656"/>
                    <a:pt x="9787" y="1300"/>
                  </a:cubicBezTo>
                  <a:cubicBezTo>
                    <a:pt x="8232" y="434"/>
                    <a:pt x="6507" y="1"/>
                    <a:pt x="4781"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4" name="Google Shape;5374;p69"/>
            <p:cNvSpPr/>
            <p:nvPr/>
          </p:nvSpPr>
          <p:spPr>
            <a:xfrm>
              <a:off x="2679875" y="2645625"/>
              <a:ext cx="377575" cy="476425"/>
            </a:xfrm>
            <a:custGeom>
              <a:avLst/>
              <a:gdLst/>
              <a:ahLst/>
              <a:cxnLst/>
              <a:rect l="l" t="t" r="r" b="b"/>
              <a:pathLst>
                <a:path w="15103" h="19057" extrusionOk="0">
                  <a:moveTo>
                    <a:pt x="4831" y="0"/>
                  </a:moveTo>
                  <a:cubicBezTo>
                    <a:pt x="1931" y="1831"/>
                    <a:pt x="0" y="5062"/>
                    <a:pt x="0" y="8736"/>
                  </a:cubicBezTo>
                  <a:cubicBezTo>
                    <a:pt x="0" y="14427"/>
                    <a:pt x="4631" y="19056"/>
                    <a:pt x="10321" y="19056"/>
                  </a:cubicBezTo>
                  <a:cubicBezTo>
                    <a:pt x="10324" y="19056"/>
                    <a:pt x="10327" y="19056"/>
                    <a:pt x="10331" y="19056"/>
                  </a:cubicBezTo>
                  <a:cubicBezTo>
                    <a:pt x="11993" y="19056"/>
                    <a:pt x="13630" y="18653"/>
                    <a:pt x="15102" y="17879"/>
                  </a:cubicBezTo>
                  <a:cubicBezTo>
                    <a:pt x="12077" y="15957"/>
                    <a:pt x="10068" y="12577"/>
                    <a:pt x="10068" y="8736"/>
                  </a:cubicBezTo>
                  <a:cubicBezTo>
                    <a:pt x="10068" y="8577"/>
                    <a:pt x="10071" y="8418"/>
                    <a:pt x="10079" y="8262"/>
                  </a:cubicBezTo>
                  <a:cubicBezTo>
                    <a:pt x="7192" y="6540"/>
                    <a:pt x="5169" y="3512"/>
                    <a:pt x="483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5" name="Google Shape;5375;p69"/>
            <p:cNvSpPr/>
            <p:nvPr/>
          </p:nvSpPr>
          <p:spPr>
            <a:xfrm>
              <a:off x="2812775" y="2605975"/>
              <a:ext cx="244675" cy="231900"/>
            </a:xfrm>
            <a:custGeom>
              <a:avLst/>
              <a:gdLst/>
              <a:ahLst/>
              <a:cxnLst/>
              <a:rect l="l" t="t" r="r" b="b"/>
              <a:pathLst>
                <a:path w="9787" h="9276" extrusionOk="0">
                  <a:moveTo>
                    <a:pt x="5005" y="1"/>
                  </a:moveTo>
                  <a:cubicBezTo>
                    <a:pt x="3280" y="1"/>
                    <a:pt x="1555" y="434"/>
                    <a:pt x="1" y="1300"/>
                  </a:cubicBezTo>
                  <a:cubicBezTo>
                    <a:pt x="246" y="4658"/>
                    <a:pt x="2103" y="7574"/>
                    <a:pt x="4801" y="9276"/>
                  </a:cubicBezTo>
                  <a:cubicBezTo>
                    <a:pt x="5130" y="5871"/>
                    <a:pt x="7040" y="2923"/>
                    <a:pt x="9786" y="1178"/>
                  </a:cubicBezTo>
                  <a:cubicBezTo>
                    <a:pt x="8288" y="393"/>
                    <a:pt x="6646" y="1"/>
                    <a:pt x="5005"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76" name="Google Shape;5376;p69"/>
            <p:cNvSpPr/>
            <p:nvPr/>
          </p:nvSpPr>
          <p:spPr>
            <a:xfrm>
              <a:off x="2944250" y="2859150"/>
              <a:ext cx="251675" cy="226375"/>
            </a:xfrm>
            <a:custGeom>
              <a:avLst/>
              <a:gdLst/>
              <a:ahLst/>
              <a:cxnLst/>
              <a:rect l="l" t="t" r="r" b="b"/>
              <a:pathLst>
                <a:path w="10067" h="9055" extrusionOk="0">
                  <a:moveTo>
                    <a:pt x="4" y="1"/>
                  </a:moveTo>
                  <a:cubicBezTo>
                    <a:pt x="2" y="65"/>
                    <a:pt x="0" y="130"/>
                    <a:pt x="0" y="195"/>
                  </a:cubicBezTo>
                  <a:cubicBezTo>
                    <a:pt x="0" y="3954"/>
                    <a:pt x="2023" y="7250"/>
                    <a:pt x="5033" y="9055"/>
                  </a:cubicBezTo>
                  <a:cubicBezTo>
                    <a:pt x="8045" y="7250"/>
                    <a:pt x="10066" y="3954"/>
                    <a:pt x="10066" y="195"/>
                  </a:cubicBezTo>
                  <a:cubicBezTo>
                    <a:pt x="10066" y="130"/>
                    <a:pt x="10066" y="65"/>
                    <a:pt x="10065" y="1"/>
                  </a:cubicBezTo>
                  <a:cubicBezTo>
                    <a:pt x="8490" y="829"/>
                    <a:pt x="6762" y="1243"/>
                    <a:pt x="5034" y="1243"/>
                  </a:cubicBezTo>
                  <a:cubicBezTo>
                    <a:pt x="3306" y="1243"/>
                    <a:pt x="1578" y="829"/>
                    <a:pt x="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77" name="Google Shape;5377;p69"/>
          <p:cNvGrpSpPr/>
          <p:nvPr/>
        </p:nvGrpSpPr>
        <p:grpSpPr>
          <a:xfrm>
            <a:off x="4184397" y="1561870"/>
            <a:ext cx="981105" cy="912729"/>
            <a:chOff x="3351965" y="1148808"/>
            <a:chExt cx="750770" cy="698375"/>
          </a:xfrm>
        </p:grpSpPr>
        <p:grpSp>
          <p:nvGrpSpPr>
            <p:cNvPr id="5378" name="Google Shape;5378;p69"/>
            <p:cNvGrpSpPr/>
            <p:nvPr/>
          </p:nvGrpSpPr>
          <p:grpSpPr>
            <a:xfrm>
              <a:off x="3586796" y="1148808"/>
              <a:ext cx="294857" cy="286830"/>
              <a:chOff x="3750225" y="1774000"/>
              <a:chExt cx="149575" cy="145525"/>
            </a:xfrm>
          </p:grpSpPr>
          <p:sp>
            <p:nvSpPr>
              <p:cNvPr id="5379" name="Google Shape;5379;p69"/>
              <p:cNvSpPr/>
              <p:nvPr/>
            </p:nvSpPr>
            <p:spPr>
              <a:xfrm>
                <a:off x="3750225" y="1774000"/>
                <a:ext cx="149575" cy="145525"/>
              </a:xfrm>
              <a:custGeom>
                <a:avLst/>
                <a:gdLst/>
                <a:ahLst/>
                <a:cxnLst/>
                <a:rect l="l" t="t" r="r" b="b"/>
                <a:pathLst>
                  <a:path w="5983" h="5821" extrusionOk="0">
                    <a:moveTo>
                      <a:pt x="2652" y="1"/>
                    </a:moveTo>
                    <a:cubicBezTo>
                      <a:pt x="1473" y="1"/>
                      <a:pt x="333" y="843"/>
                      <a:pt x="176" y="2200"/>
                    </a:cubicBezTo>
                    <a:cubicBezTo>
                      <a:pt x="1" y="3763"/>
                      <a:pt x="1259" y="4955"/>
                      <a:pt x="2643" y="4955"/>
                    </a:cubicBezTo>
                    <a:cubicBezTo>
                      <a:pt x="3079" y="4955"/>
                      <a:pt x="3528" y="4836"/>
                      <a:pt x="3948" y="4573"/>
                    </a:cubicBezTo>
                    <a:lnTo>
                      <a:pt x="5203" y="5821"/>
                    </a:lnTo>
                    <a:lnTo>
                      <a:pt x="5982" y="5035"/>
                    </a:lnTo>
                    <a:lnTo>
                      <a:pt x="4735" y="3787"/>
                    </a:lnTo>
                    <a:cubicBezTo>
                      <a:pt x="5340" y="2813"/>
                      <a:pt x="5196" y="1544"/>
                      <a:pt x="4388" y="729"/>
                    </a:cubicBezTo>
                    <a:cubicBezTo>
                      <a:pt x="3888" y="228"/>
                      <a:pt x="3265" y="1"/>
                      <a:pt x="26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0" name="Google Shape;5380;p69"/>
              <p:cNvSpPr/>
              <p:nvPr/>
            </p:nvSpPr>
            <p:spPr>
              <a:xfrm>
                <a:off x="3776075" y="1794931"/>
                <a:ext cx="82600" cy="78800"/>
              </a:xfrm>
              <a:custGeom>
                <a:avLst/>
                <a:gdLst/>
                <a:ahLst/>
                <a:cxnLst/>
                <a:rect l="l" t="t" r="r" b="b"/>
                <a:pathLst>
                  <a:path w="3304" h="3152" extrusionOk="0">
                    <a:moveTo>
                      <a:pt x="1658" y="1"/>
                    </a:moveTo>
                    <a:cubicBezTo>
                      <a:pt x="853" y="1"/>
                      <a:pt x="162" y="612"/>
                      <a:pt x="87" y="1428"/>
                    </a:cubicBezTo>
                    <a:cubicBezTo>
                      <a:pt x="1" y="2294"/>
                      <a:pt x="635" y="3058"/>
                      <a:pt x="1501" y="3145"/>
                    </a:cubicBezTo>
                    <a:cubicBezTo>
                      <a:pt x="1550" y="3149"/>
                      <a:pt x="1598" y="3151"/>
                      <a:pt x="1647" y="3151"/>
                    </a:cubicBezTo>
                    <a:cubicBezTo>
                      <a:pt x="2451" y="3151"/>
                      <a:pt x="3142" y="2540"/>
                      <a:pt x="3217" y="1724"/>
                    </a:cubicBezTo>
                    <a:cubicBezTo>
                      <a:pt x="3304" y="858"/>
                      <a:pt x="2669" y="94"/>
                      <a:pt x="1804" y="7"/>
                    </a:cubicBezTo>
                    <a:cubicBezTo>
                      <a:pt x="1755" y="3"/>
                      <a:pt x="1706" y="1"/>
                      <a:pt x="1658"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81" name="Google Shape;5381;p69"/>
            <p:cNvGrpSpPr/>
            <p:nvPr/>
          </p:nvGrpSpPr>
          <p:grpSpPr>
            <a:xfrm>
              <a:off x="3779245" y="1375768"/>
              <a:ext cx="323490" cy="286978"/>
              <a:chOff x="3847850" y="1889150"/>
              <a:chExt cx="164100" cy="145600"/>
            </a:xfrm>
          </p:grpSpPr>
          <p:sp>
            <p:nvSpPr>
              <p:cNvPr id="5382" name="Google Shape;5382;p69"/>
              <p:cNvSpPr/>
              <p:nvPr/>
            </p:nvSpPr>
            <p:spPr>
              <a:xfrm>
                <a:off x="3847850" y="1889150"/>
                <a:ext cx="164100" cy="145600"/>
              </a:xfrm>
              <a:custGeom>
                <a:avLst/>
                <a:gdLst/>
                <a:ahLst/>
                <a:cxnLst/>
                <a:rect l="l" t="t" r="r" b="b"/>
                <a:pathLst>
                  <a:path w="6564" h="5824" extrusionOk="0">
                    <a:moveTo>
                      <a:pt x="3329" y="0"/>
                    </a:moveTo>
                    <a:cubicBezTo>
                      <a:pt x="1439" y="0"/>
                      <a:pt x="206" y="2117"/>
                      <a:pt x="1255" y="3790"/>
                    </a:cubicBezTo>
                    <a:lnTo>
                      <a:pt x="0" y="5038"/>
                    </a:lnTo>
                    <a:lnTo>
                      <a:pt x="786" y="5824"/>
                    </a:lnTo>
                    <a:lnTo>
                      <a:pt x="2034" y="4569"/>
                    </a:lnTo>
                    <a:cubicBezTo>
                      <a:pt x="2441" y="4823"/>
                      <a:pt x="2897" y="4947"/>
                      <a:pt x="3350" y="4947"/>
                    </a:cubicBezTo>
                    <a:cubicBezTo>
                      <a:pt x="3989" y="4947"/>
                      <a:pt x="4622" y="4700"/>
                      <a:pt x="5099" y="4223"/>
                    </a:cubicBezTo>
                    <a:cubicBezTo>
                      <a:pt x="6563" y="2758"/>
                      <a:pt x="5683" y="248"/>
                      <a:pt x="3628" y="18"/>
                    </a:cubicBezTo>
                    <a:cubicBezTo>
                      <a:pt x="3527" y="6"/>
                      <a:pt x="3427" y="0"/>
                      <a:pt x="3329"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3" name="Google Shape;5383;p69"/>
              <p:cNvSpPr/>
              <p:nvPr/>
            </p:nvSpPr>
            <p:spPr>
              <a:xfrm>
                <a:off x="3887875" y="1912456"/>
                <a:ext cx="89450" cy="78700"/>
              </a:xfrm>
              <a:custGeom>
                <a:avLst/>
                <a:gdLst/>
                <a:ahLst/>
                <a:cxnLst/>
                <a:rect l="l" t="t" r="r" b="b"/>
                <a:pathLst>
                  <a:path w="3578" h="3148" extrusionOk="0">
                    <a:moveTo>
                      <a:pt x="1788" y="0"/>
                    </a:moveTo>
                    <a:cubicBezTo>
                      <a:pt x="1172" y="0"/>
                      <a:pt x="587" y="366"/>
                      <a:pt x="332" y="968"/>
                    </a:cubicBezTo>
                    <a:cubicBezTo>
                      <a:pt x="0" y="1769"/>
                      <a:pt x="383" y="2692"/>
                      <a:pt x="1183" y="3024"/>
                    </a:cubicBezTo>
                    <a:cubicBezTo>
                      <a:pt x="1382" y="3108"/>
                      <a:pt x="1588" y="3147"/>
                      <a:pt x="1790" y="3147"/>
                    </a:cubicBezTo>
                    <a:cubicBezTo>
                      <a:pt x="2405" y="3147"/>
                      <a:pt x="2989" y="2782"/>
                      <a:pt x="3239" y="2180"/>
                    </a:cubicBezTo>
                    <a:cubicBezTo>
                      <a:pt x="3578" y="1379"/>
                      <a:pt x="3195" y="456"/>
                      <a:pt x="2395" y="124"/>
                    </a:cubicBezTo>
                    <a:cubicBezTo>
                      <a:pt x="2196" y="40"/>
                      <a:pt x="1990" y="0"/>
                      <a:pt x="1788"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84" name="Google Shape;5384;p69"/>
            <p:cNvGrpSpPr/>
            <p:nvPr/>
          </p:nvGrpSpPr>
          <p:grpSpPr>
            <a:xfrm>
              <a:off x="3351965" y="1330435"/>
              <a:ext cx="295449" cy="285401"/>
              <a:chOff x="3631100" y="1866150"/>
              <a:chExt cx="149875" cy="144800"/>
            </a:xfrm>
          </p:grpSpPr>
          <p:sp>
            <p:nvSpPr>
              <p:cNvPr id="5385" name="Google Shape;5385;p69"/>
              <p:cNvSpPr/>
              <p:nvPr/>
            </p:nvSpPr>
            <p:spPr>
              <a:xfrm>
                <a:off x="3631100" y="1866150"/>
                <a:ext cx="149875" cy="144800"/>
              </a:xfrm>
              <a:custGeom>
                <a:avLst/>
                <a:gdLst/>
                <a:ahLst/>
                <a:cxnLst/>
                <a:rect l="l" t="t" r="r" b="b"/>
                <a:pathLst>
                  <a:path w="5995" h="5792" extrusionOk="0">
                    <a:moveTo>
                      <a:pt x="5251" y="0"/>
                    </a:moveTo>
                    <a:lnTo>
                      <a:pt x="4025" y="1226"/>
                    </a:lnTo>
                    <a:cubicBezTo>
                      <a:pt x="3619" y="974"/>
                      <a:pt x="3165" y="852"/>
                      <a:pt x="2716" y="852"/>
                    </a:cubicBezTo>
                    <a:cubicBezTo>
                      <a:pt x="1986" y="852"/>
                      <a:pt x="1267" y="1174"/>
                      <a:pt x="780" y="1782"/>
                    </a:cubicBezTo>
                    <a:cubicBezTo>
                      <a:pt x="1" y="2770"/>
                      <a:pt x="80" y="4183"/>
                      <a:pt x="967" y="5070"/>
                    </a:cubicBezTo>
                    <a:cubicBezTo>
                      <a:pt x="1449" y="5548"/>
                      <a:pt x="2082" y="5792"/>
                      <a:pt x="2716" y="5792"/>
                    </a:cubicBezTo>
                    <a:cubicBezTo>
                      <a:pt x="3259" y="5792"/>
                      <a:pt x="3804" y="5613"/>
                      <a:pt x="4256" y="5251"/>
                    </a:cubicBezTo>
                    <a:cubicBezTo>
                      <a:pt x="5237" y="4472"/>
                      <a:pt x="5475" y="3073"/>
                      <a:pt x="4811" y="2012"/>
                    </a:cubicBezTo>
                    <a:lnTo>
                      <a:pt x="5994" y="822"/>
                    </a:lnTo>
                    <a:cubicBezTo>
                      <a:pt x="5872" y="736"/>
                      <a:pt x="5756" y="642"/>
                      <a:pt x="5655" y="541"/>
                    </a:cubicBezTo>
                    <a:cubicBezTo>
                      <a:pt x="5497" y="382"/>
                      <a:pt x="5360" y="202"/>
                      <a:pt x="5251" y="0"/>
                    </a:cubicBezTo>
                    <a:close/>
                  </a:path>
                </a:pathLst>
              </a:custGeom>
              <a:solidFill>
                <a:srgbClr val="37495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6" name="Google Shape;5386;p69"/>
              <p:cNvSpPr/>
              <p:nvPr/>
            </p:nvSpPr>
            <p:spPr>
              <a:xfrm>
                <a:off x="3654725" y="1907806"/>
                <a:ext cx="86575" cy="78800"/>
              </a:xfrm>
              <a:custGeom>
                <a:avLst/>
                <a:gdLst/>
                <a:ahLst/>
                <a:cxnLst/>
                <a:rect l="l" t="t" r="r" b="b"/>
                <a:pathLst>
                  <a:path w="3463" h="3152" extrusionOk="0">
                    <a:moveTo>
                      <a:pt x="1733" y="0"/>
                    </a:moveTo>
                    <a:cubicBezTo>
                      <a:pt x="1018" y="0"/>
                      <a:pt x="375" y="490"/>
                      <a:pt x="203" y="1212"/>
                    </a:cubicBezTo>
                    <a:cubicBezTo>
                      <a:pt x="1" y="2056"/>
                      <a:pt x="520" y="2907"/>
                      <a:pt x="1371" y="3109"/>
                    </a:cubicBezTo>
                    <a:cubicBezTo>
                      <a:pt x="1493" y="3138"/>
                      <a:pt x="1615" y="3152"/>
                      <a:pt x="1735" y="3152"/>
                    </a:cubicBezTo>
                    <a:cubicBezTo>
                      <a:pt x="2447" y="3152"/>
                      <a:pt x="3094" y="2662"/>
                      <a:pt x="3261" y="1940"/>
                    </a:cubicBezTo>
                    <a:cubicBezTo>
                      <a:pt x="3463" y="1096"/>
                      <a:pt x="2943" y="245"/>
                      <a:pt x="2099" y="43"/>
                    </a:cubicBezTo>
                    <a:cubicBezTo>
                      <a:pt x="1976" y="14"/>
                      <a:pt x="1854" y="0"/>
                      <a:pt x="1733"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87" name="Google Shape;5387;p69"/>
            <p:cNvGrpSpPr/>
            <p:nvPr/>
          </p:nvGrpSpPr>
          <p:grpSpPr>
            <a:xfrm>
              <a:off x="3548208" y="1560352"/>
              <a:ext cx="294808" cy="286830"/>
              <a:chOff x="3730650" y="1982800"/>
              <a:chExt cx="149550" cy="145525"/>
            </a:xfrm>
          </p:grpSpPr>
          <p:sp>
            <p:nvSpPr>
              <p:cNvPr id="5388" name="Google Shape;5388;p69"/>
              <p:cNvSpPr/>
              <p:nvPr/>
            </p:nvSpPr>
            <p:spPr>
              <a:xfrm>
                <a:off x="3730650" y="1982800"/>
                <a:ext cx="149550" cy="145525"/>
              </a:xfrm>
              <a:custGeom>
                <a:avLst/>
                <a:gdLst/>
                <a:ahLst/>
                <a:cxnLst/>
                <a:rect l="l" t="t" r="r" b="b"/>
                <a:pathLst>
                  <a:path w="5982" h="5821" extrusionOk="0">
                    <a:moveTo>
                      <a:pt x="786" y="0"/>
                    </a:moveTo>
                    <a:lnTo>
                      <a:pt x="0" y="787"/>
                    </a:lnTo>
                    <a:lnTo>
                      <a:pt x="1255" y="2034"/>
                    </a:lnTo>
                    <a:cubicBezTo>
                      <a:pt x="642" y="3008"/>
                      <a:pt x="786" y="4277"/>
                      <a:pt x="1601" y="5092"/>
                    </a:cubicBezTo>
                    <a:cubicBezTo>
                      <a:pt x="2102" y="5593"/>
                      <a:pt x="2724" y="5821"/>
                      <a:pt x="3335" y="5821"/>
                    </a:cubicBezTo>
                    <a:cubicBezTo>
                      <a:pt x="4512" y="5821"/>
                      <a:pt x="5649" y="4979"/>
                      <a:pt x="5806" y="3621"/>
                    </a:cubicBezTo>
                    <a:cubicBezTo>
                      <a:pt x="5981" y="2058"/>
                      <a:pt x="4723" y="867"/>
                      <a:pt x="3339" y="867"/>
                    </a:cubicBezTo>
                    <a:cubicBezTo>
                      <a:pt x="2903" y="867"/>
                      <a:pt x="2454" y="985"/>
                      <a:pt x="2034" y="1248"/>
                    </a:cubicBezTo>
                    <a:lnTo>
                      <a:pt x="786" y="0"/>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89" name="Google Shape;5389;p69"/>
              <p:cNvSpPr/>
              <p:nvPr/>
            </p:nvSpPr>
            <p:spPr>
              <a:xfrm>
                <a:off x="3771925" y="2027231"/>
                <a:ext cx="86575" cy="78750"/>
              </a:xfrm>
              <a:custGeom>
                <a:avLst/>
                <a:gdLst/>
                <a:ahLst/>
                <a:cxnLst/>
                <a:rect l="l" t="t" r="r" b="b"/>
                <a:pathLst>
                  <a:path w="3463" h="3150" extrusionOk="0">
                    <a:moveTo>
                      <a:pt x="1740" y="0"/>
                    </a:moveTo>
                    <a:cubicBezTo>
                      <a:pt x="1022" y="0"/>
                      <a:pt x="376" y="485"/>
                      <a:pt x="203" y="1209"/>
                    </a:cubicBezTo>
                    <a:cubicBezTo>
                      <a:pt x="1" y="2060"/>
                      <a:pt x="527" y="2904"/>
                      <a:pt x="1371" y="3106"/>
                    </a:cubicBezTo>
                    <a:cubicBezTo>
                      <a:pt x="1493" y="3135"/>
                      <a:pt x="1615" y="3149"/>
                      <a:pt x="1735" y="3149"/>
                    </a:cubicBezTo>
                    <a:cubicBezTo>
                      <a:pt x="2447" y="3149"/>
                      <a:pt x="3095" y="2660"/>
                      <a:pt x="3268" y="1938"/>
                    </a:cubicBezTo>
                    <a:cubicBezTo>
                      <a:pt x="3463" y="1094"/>
                      <a:pt x="2943" y="243"/>
                      <a:pt x="2099" y="41"/>
                    </a:cubicBezTo>
                    <a:cubicBezTo>
                      <a:pt x="1979" y="13"/>
                      <a:pt x="1858" y="0"/>
                      <a:pt x="1740"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390" name="Google Shape;5390;p69"/>
          <p:cNvGrpSpPr/>
          <p:nvPr/>
        </p:nvGrpSpPr>
        <p:grpSpPr>
          <a:xfrm>
            <a:off x="10186600" y="1561809"/>
            <a:ext cx="1072753" cy="903727"/>
            <a:chOff x="7636443" y="1204988"/>
            <a:chExt cx="804565" cy="677795"/>
          </a:xfrm>
        </p:grpSpPr>
        <p:grpSp>
          <p:nvGrpSpPr>
            <p:cNvPr id="5391" name="Google Shape;5391;p69"/>
            <p:cNvGrpSpPr/>
            <p:nvPr/>
          </p:nvGrpSpPr>
          <p:grpSpPr>
            <a:xfrm>
              <a:off x="7636443" y="1509705"/>
              <a:ext cx="804565" cy="373078"/>
              <a:chOff x="7636443" y="1509705"/>
              <a:chExt cx="804565" cy="373078"/>
            </a:xfrm>
          </p:grpSpPr>
          <p:sp>
            <p:nvSpPr>
              <p:cNvPr id="5392" name="Google Shape;5392;p69"/>
              <p:cNvSpPr/>
              <p:nvPr/>
            </p:nvSpPr>
            <p:spPr>
              <a:xfrm>
                <a:off x="7636443" y="1509705"/>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3" name="Google Shape;5393;p69"/>
              <p:cNvSpPr/>
              <p:nvPr/>
            </p:nvSpPr>
            <p:spPr>
              <a:xfrm>
                <a:off x="8398251" y="1667375"/>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94" name="Google Shape;5394;p69"/>
            <p:cNvGrpSpPr/>
            <p:nvPr/>
          </p:nvGrpSpPr>
          <p:grpSpPr>
            <a:xfrm>
              <a:off x="7636443" y="1408133"/>
              <a:ext cx="804565" cy="373078"/>
              <a:chOff x="7636443" y="1408133"/>
              <a:chExt cx="804565" cy="373078"/>
            </a:xfrm>
          </p:grpSpPr>
          <p:sp>
            <p:nvSpPr>
              <p:cNvPr id="5395" name="Google Shape;5395;p69"/>
              <p:cNvSpPr/>
              <p:nvPr/>
            </p:nvSpPr>
            <p:spPr>
              <a:xfrm>
                <a:off x="7636443" y="1408133"/>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6" name="Google Shape;5396;p69"/>
              <p:cNvSpPr/>
              <p:nvPr/>
            </p:nvSpPr>
            <p:spPr>
              <a:xfrm>
                <a:off x="8398251" y="1565802"/>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397" name="Google Shape;5397;p69"/>
            <p:cNvGrpSpPr/>
            <p:nvPr/>
          </p:nvGrpSpPr>
          <p:grpSpPr>
            <a:xfrm>
              <a:off x="7636443" y="1306560"/>
              <a:ext cx="804565" cy="373078"/>
              <a:chOff x="7636443" y="1306560"/>
              <a:chExt cx="804565" cy="373078"/>
            </a:xfrm>
          </p:grpSpPr>
          <p:sp>
            <p:nvSpPr>
              <p:cNvPr id="5398" name="Google Shape;5398;p69"/>
              <p:cNvSpPr/>
              <p:nvPr/>
            </p:nvSpPr>
            <p:spPr>
              <a:xfrm>
                <a:off x="7636443" y="1306560"/>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399" name="Google Shape;5399;p69"/>
              <p:cNvSpPr/>
              <p:nvPr/>
            </p:nvSpPr>
            <p:spPr>
              <a:xfrm>
                <a:off x="8398251" y="1464230"/>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00" name="Google Shape;5400;p69"/>
            <p:cNvGrpSpPr/>
            <p:nvPr/>
          </p:nvGrpSpPr>
          <p:grpSpPr>
            <a:xfrm>
              <a:off x="7636443" y="1204988"/>
              <a:ext cx="804565" cy="373078"/>
              <a:chOff x="7636443" y="1204988"/>
              <a:chExt cx="804565" cy="373078"/>
            </a:xfrm>
          </p:grpSpPr>
          <p:sp>
            <p:nvSpPr>
              <p:cNvPr id="5401" name="Google Shape;5401;p69"/>
              <p:cNvSpPr/>
              <p:nvPr/>
            </p:nvSpPr>
            <p:spPr>
              <a:xfrm>
                <a:off x="7636443" y="1204988"/>
                <a:ext cx="749840" cy="373078"/>
              </a:xfrm>
              <a:custGeom>
                <a:avLst/>
                <a:gdLst/>
                <a:ahLst/>
                <a:cxnLst/>
                <a:rect l="l" t="t" r="r" b="b"/>
                <a:pathLst>
                  <a:path w="20764" h="10331" extrusionOk="0">
                    <a:moveTo>
                      <a:pt x="10376" y="1"/>
                    </a:moveTo>
                    <a:lnTo>
                      <a:pt x="1" y="5028"/>
                    </a:lnTo>
                    <a:lnTo>
                      <a:pt x="10376" y="10331"/>
                    </a:lnTo>
                    <a:lnTo>
                      <a:pt x="20763" y="5028"/>
                    </a:lnTo>
                    <a:lnTo>
                      <a:pt x="10376"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2" name="Google Shape;5402;p69"/>
              <p:cNvSpPr/>
              <p:nvPr/>
            </p:nvSpPr>
            <p:spPr>
              <a:xfrm>
                <a:off x="8398251" y="1362658"/>
                <a:ext cx="42757" cy="36365"/>
              </a:xfrm>
              <a:custGeom>
                <a:avLst/>
                <a:gdLst/>
                <a:ahLst/>
                <a:cxnLst/>
                <a:rect l="l" t="t" r="r" b="b"/>
                <a:pathLst>
                  <a:path w="1184" h="1007" extrusionOk="0">
                    <a:moveTo>
                      <a:pt x="513" y="0"/>
                    </a:moveTo>
                    <a:cubicBezTo>
                      <a:pt x="255" y="0"/>
                      <a:pt x="5" y="198"/>
                      <a:pt x="12" y="501"/>
                    </a:cubicBezTo>
                    <a:cubicBezTo>
                      <a:pt x="1" y="788"/>
                      <a:pt x="230" y="1006"/>
                      <a:pt x="506" y="1006"/>
                    </a:cubicBezTo>
                    <a:cubicBezTo>
                      <a:pt x="953" y="1006"/>
                      <a:pt x="1183" y="467"/>
                      <a:pt x="862" y="146"/>
                    </a:cubicBezTo>
                    <a:cubicBezTo>
                      <a:pt x="762" y="45"/>
                      <a:pt x="636" y="0"/>
                      <a:pt x="513"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403" name="Google Shape;5403;p69"/>
          <p:cNvGrpSpPr/>
          <p:nvPr/>
        </p:nvGrpSpPr>
        <p:grpSpPr>
          <a:xfrm>
            <a:off x="6638396" y="2771695"/>
            <a:ext cx="881785" cy="881584"/>
            <a:chOff x="3990000" y="975400"/>
            <a:chExt cx="3934200" cy="3933300"/>
          </a:xfrm>
        </p:grpSpPr>
        <p:sp>
          <p:nvSpPr>
            <p:cNvPr id="5404" name="Google Shape;5404;p69"/>
            <p:cNvSpPr/>
            <p:nvPr/>
          </p:nvSpPr>
          <p:spPr>
            <a:xfrm>
              <a:off x="3990000" y="975400"/>
              <a:ext cx="3934200" cy="3933300"/>
            </a:xfrm>
            <a:prstGeom prst="ellipse">
              <a:avLst/>
            </a:pr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5" name="Google Shape;5405;p69"/>
            <p:cNvSpPr/>
            <p:nvPr/>
          </p:nvSpPr>
          <p:spPr>
            <a:xfrm>
              <a:off x="4346550" y="1331800"/>
              <a:ext cx="3221100" cy="32205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6" name="Google Shape;5406;p69"/>
            <p:cNvSpPr/>
            <p:nvPr/>
          </p:nvSpPr>
          <p:spPr>
            <a:xfrm>
              <a:off x="4786800" y="1771750"/>
              <a:ext cx="2340600" cy="2340600"/>
            </a:xfrm>
            <a:prstGeom prst="ellipse">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07" name="Google Shape;5407;p69"/>
            <p:cNvSpPr/>
            <p:nvPr/>
          </p:nvSpPr>
          <p:spPr>
            <a:xfrm>
              <a:off x="5218650" y="2203450"/>
              <a:ext cx="1476900" cy="14772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08" name="Google Shape;5408;p69"/>
          <p:cNvGrpSpPr/>
          <p:nvPr/>
        </p:nvGrpSpPr>
        <p:grpSpPr>
          <a:xfrm>
            <a:off x="8829926" y="2743213"/>
            <a:ext cx="1158508" cy="912321"/>
            <a:chOff x="6598259" y="2078634"/>
            <a:chExt cx="868881" cy="684241"/>
          </a:xfrm>
        </p:grpSpPr>
        <p:sp>
          <p:nvSpPr>
            <p:cNvPr id="5409" name="Google Shape;5409;p69"/>
            <p:cNvSpPr/>
            <p:nvPr/>
          </p:nvSpPr>
          <p:spPr>
            <a:xfrm>
              <a:off x="7165957" y="2159753"/>
              <a:ext cx="286185" cy="107120"/>
            </a:xfrm>
            <a:custGeom>
              <a:avLst/>
              <a:gdLst/>
              <a:ahLst/>
              <a:cxnLst/>
              <a:rect l="l" t="t" r="r" b="b"/>
              <a:pathLst>
                <a:path w="48506" h="18156" extrusionOk="0">
                  <a:moveTo>
                    <a:pt x="1" y="1"/>
                  </a:moveTo>
                  <a:lnTo>
                    <a:pt x="1" y="18156"/>
                  </a:lnTo>
                  <a:lnTo>
                    <a:pt x="48506" y="18156"/>
                  </a:lnTo>
                  <a:lnTo>
                    <a:pt x="48506" y="1"/>
                  </a:lnTo>
                  <a:close/>
                </a:path>
              </a:pathLst>
            </a:custGeom>
            <a:solidFill>
              <a:srgbClr val="B3C3C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0" name="Google Shape;5410;p69"/>
            <p:cNvSpPr/>
            <p:nvPr/>
          </p:nvSpPr>
          <p:spPr>
            <a:xfrm>
              <a:off x="7085764" y="2536793"/>
              <a:ext cx="349475" cy="107120"/>
            </a:xfrm>
            <a:custGeom>
              <a:avLst/>
              <a:gdLst/>
              <a:ahLst/>
              <a:cxnLst/>
              <a:rect l="l" t="t" r="r" b="b"/>
              <a:pathLst>
                <a:path w="59233" h="18156" extrusionOk="0">
                  <a:moveTo>
                    <a:pt x="1" y="1"/>
                  </a:moveTo>
                  <a:lnTo>
                    <a:pt x="1" y="18156"/>
                  </a:lnTo>
                  <a:lnTo>
                    <a:pt x="59233" y="18156"/>
                  </a:lnTo>
                  <a:lnTo>
                    <a:pt x="59233" y="1"/>
                  </a:lnTo>
                  <a:close/>
                </a:path>
              </a:pathLst>
            </a:custGeom>
            <a:solidFill>
              <a:srgbClr val="374F6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1" name="Google Shape;5411;p69"/>
            <p:cNvSpPr/>
            <p:nvPr/>
          </p:nvSpPr>
          <p:spPr>
            <a:xfrm>
              <a:off x="6598259" y="2195183"/>
              <a:ext cx="271241" cy="107120"/>
            </a:xfrm>
            <a:custGeom>
              <a:avLst/>
              <a:gdLst/>
              <a:ahLst/>
              <a:cxnLst/>
              <a:rect l="l" t="t" r="r" b="b"/>
              <a:pathLst>
                <a:path w="45973" h="18156" extrusionOk="0">
                  <a:moveTo>
                    <a:pt x="1" y="0"/>
                  </a:moveTo>
                  <a:lnTo>
                    <a:pt x="1" y="18156"/>
                  </a:lnTo>
                  <a:lnTo>
                    <a:pt x="45972" y="18156"/>
                  </a:lnTo>
                  <a:lnTo>
                    <a:pt x="45972" y="0"/>
                  </a:lnTo>
                  <a:close/>
                </a:path>
              </a:pathLst>
            </a:custGeom>
            <a:solidFill>
              <a:srgbClr val="8FA1A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2" name="Google Shape;5412;p69"/>
            <p:cNvSpPr/>
            <p:nvPr/>
          </p:nvSpPr>
          <p:spPr>
            <a:xfrm>
              <a:off x="6604064" y="2370778"/>
              <a:ext cx="358696" cy="107126"/>
            </a:xfrm>
            <a:custGeom>
              <a:avLst/>
              <a:gdLst/>
              <a:ahLst/>
              <a:cxnLst/>
              <a:rect l="l" t="t" r="r" b="b"/>
              <a:pathLst>
                <a:path w="60796" h="18157" extrusionOk="0">
                  <a:moveTo>
                    <a:pt x="0" y="1"/>
                  </a:moveTo>
                  <a:lnTo>
                    <a:pt x="0" y="18156"/>
                  </a:lnTo>
                  <a:lnTo>
                    <a:pt x="60796" y="18156"/>
                  </a:lnTo>
                  <a:lnTo>
                    <a:pt x="60796" y="1"/>
                  </a:lnTo>
                  <a:close/>
                </a:path>
              </a:pathLst>
            </a:custGeom>
            <a:solidFill>
              <a:srgbClr val="C9D4D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3" name="Google Shape;5413;p69"/>
            <p:cNvSpPr/>
            <p:nvPr/>
          </p:nvSpPr>
          <p:spPr>
            <a:xfrm>
              <a:off x="6645158" y="2545743"/>
              <a:ext cx="358696" cy="109044"/>
            </a:xfrm>
            <a:custGeom>
              <a:avLst/>
              <a:gdLst/>
              <a:ahLst/>
              <a:cxnLst/>
              <a:rect l="l" t="t" r="r" b="b"/>
              <a:pathLst>
                <a:path w="60796" h="18482" extrusionOk="0">
                  <a:moveTo>
                    <a:pt x="1" y="0"/>
                  </a:moveTo>
                  <a:lnTo>
                    <a:pt x="1" y="18482"/>
                  </a:lnTo>
                  <a:lnTo>
                    <a:pt x="60796" y="18482"/>
                  </a:lnTo>
                  <a:lnTo>
                    <a:pt x="60796" y="0"/>
                  </a:lnTo>
                  <a:close/>
                </a:path>
              </a:pathLst>
            </a:custGeom>
            <a:solidFill>
              <a:srgbClr val="DBE3E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4" name="Google Shape;5414;p69"/>
            <p:cNvSpPr/>
            <p:nvPr/>
          </p:nvSpPr>
          <p:spPr>
            <a:xfrm>
              <a:off x="7155838" y="2352960"/>
              <a:ext cx="311302" cy="107120"/>
            </a:xfrm>
            <a:custGeom>
              <a:avLst/>
              <a:gdLst/>
              <a:ahLst/>
              <a:cxnLst/>
              <a:rect l="l" t="t" r="r" b="b"/>
              <a:pathLst>
                <a:path w="52763" h="18156" extrusionOk="0">
                  <a:moveTo>
                    <a:pt x="0" y="0"/>
                  </a:moveTo>
                  <a:lnTo>
                    <a:pt x="0" y="18155"/>
                  </a:lnTo>
                  <a:lnTo>
                    <a:pt x="52763" y="18155"/>
                  </a:lnTo>
                  <a:lnTo>
                    <a:pt x="52763" y="0"/>
                  </a:lnTo>
                  <a:close/>
                </a:path>
              </a:pathLst>
            </a:custGeom>
            <a:solidFill>
              <a:srgbClr val="4F677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415" name="Google Shape;5415;p69"/>
            <p:cNvGrpSpPr/>
            <p:nvPr/>
          </p:nvGrpSpPr>
          <p:grpSpPr>
            <a:xfrm>
              <a:off x="6808175" y="2078634"/>
              <a:ext cx="452229" cy="684241"/>
              <a:chOff x="6808175" y="2078634"/>
              <a:chExt cx="452229" cy="684241"/>
            </a:xfrm>
          </p:grpSpPr>
          <p:sp>
            <p:nvSpPr>
              <p:cNvPr id="5416" name="Google Shape;5416;p69"/>
              <p:cNvSpPr/>
              <p:nvPr/>
            </p:nvSpPr>
            <p:spPr>
              <a:xfrm>
                <a:off x="7165957" y="2159753"/>
                <a:ext cx="94447" cy="107120"/>
              </a:xfrm>
              <a:custGeom>
                <a:avLst/>
                <a:gdLst/>
                <a:ahLst/>
                <a:cxnLst/>
                <a:rect l="l" t="t" r="r" b="b"/>
                <a:pathLst>
                  <a:path w="16008" h="18156" extrusionOk="0">
                    <a:moveTo>
                      <a:pt x="1" y="1"/>
                    </a:moveTo>
                    <a:lnTo>
                      <a:pt x="1" y="18156"/>
                    </a:lnTo>
                    <a:lnTo>
                      <a:pt x="16007" y="18156"/>
                    </a:lnTo>
                    <a:cubicBezTo>
                      <a:pt x="15291" y="11568"/>
                      <a:pt x="12904" y="5350"/>
                      <a:pt x="9054"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7" name="Google Shape;5417;p69"/>
              <p:cNvSpPr/>
              <p:nvPr/>
            </p:nvSpPr>
            <p:spPr>
              <a:xfrm>
                <a:off x="7085764" y="2536793"/>
                <a:ext cx="61100" cy="107120"/>
              </a:xfrm>
              <a:custGeom>
                <a:avLst/>
                <a:gdLst/>
                <a:ahLst/>
                <a:cxnLst/>
                <a:rect l="l" t="t" r="r" b="b"/>
                <a:pathLst>
                  <a:path w="10356" h="18156" extrusionOk="0">
                    <a:moveTo>
                      <a:pt x="1" y="1"/>
                    </a:moveTo>
                    <a:lnTo>
                      <a:pt x="1" y="18156"/>
                    </a:lnTo>
                    <a:lnTo>
                      <a:pt x="5804" y="18156"/>
                    </a:lnTo>
                    <a:cubicBezTo>
                      <a:pt x="5810" y="18084"/>
                      <a:pt x="5813" y="18013"/>
                      <a:pt x="5813" y="17941"/>
                    </a:cubicBezTo>
                    <a:cubicBezTo>
                      <a:pt x="5815" y="17225"/>
                      <a:pt x="5579" y="16528"/>
                      <a:pt x="5146" y="15958"/>
                    </a:cubicBezTo>
                    <a:cubicBezTo>
                      <a:pt x="5764" y="15144"/>
                      <a:pt x="5967" y="14089"/>
                      <a:pt x="5696" y="13103"/>
                    </a:cubicBezTo>
                    <a:cubicBezTo>
                      <a:pt x="6334" y="11805"/>
                      <a:pt x="6339" y="10352"/>
                      <a:pt x="6343" y="9017"/>
                    </a:cubicBezTo>
                    <a:lnTo>
                      <a:pt x="6343" y="8907"/>
                    </a:lnTo>
                    <a:cubicBezTo>
                      <a:pt x="6346" y="8040"/>
                      <a:pt x="6573" y="6922"/>
                      <a:pt x="6952" y="5914"/>
                    </a:cubicBezTo>
                    <a:cubicBezTo>
                      <a:pt x="7745" y="3797"/>
                      <a:pt x="8890" y="1817"/>
                      <a:pt x="10355" y="1"/>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8" name="Google Shape;5418;p69"/>
              <p:cNvSpPr/>
              <p:nvPr/>
            </p:nvSpPr>
            <p:spPr>
              <a:xfrm>
                <a:off x="6808175" y="2195183"/>
                <a:ext cx="61325" cy="107120"/>
              </a:xfrm>
              <a:custGeom>
                <a:avLst/>
                <a:gdLst/>
                <a:ahLst/>
                <a:cxnLst/>
                <a:rect l="l" t="t" r="r" b="b"/>
                <a:pathLst>
                  <a:path w="10394" h="18156" extrusionOk="0">
                    <a:moveTo>
                      <a:pt x="3660" y="0"/>
                    </a:moveTo>
                    <a:cubicBezTo>
                      <a:pt x="1279" y="5051"/>
                      <a:pt x="19" y="10605"/>
                      <a:pt x="14" y="16353"/>
                    </a:cubicBezTo>
                    <a:cubicBezTo>
                      <a:pt x="11" y="16529"/>
                      <a:pt x="0" y="17161"/>
                      <a:pt x="51" y="18156"/>
                    </a:cubicBezTo>
                    <a:lnTo>
                      <a:pt x="10393" y="18156"/>
                    </a:lnTo>
                    <a:lnTo>
                      <a:pt x="10393"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19" name="Google Shape;5419;p69"/>
              <p:cNvSpPr/>
              <p:nvPr/>
            </p:nvSpPr>
            <p:spPr>
              <a:xfrm>
                <a:off x="6820441" y="2370778"/>
                <a:ext cx="142320" cy="107126"/>
              </a:xfrm>
              <a:custGeom>
                <a:avLst/>
                <a:gdLst/>
                <a:ahLst/>
                <a:cxnLst/>
                <a:rect l="l" t="t" r="r" b="b"/>
                <a:pathLst>
                  <a:path w="24122" h="18157" extrusionOk="0">
                    <a:moveTo>
                      <a:pt x="0" y="1"/>
                    </a:moveTo>
                    <a:cubicBezTo>
                      <a:pt x="1532" y="5312"/>
                      <a:pt x="4200" y="11690"/>
                      <a:pt x="8823" y="18156"/>
                    </a:cubicBezTo>
                    <a:lnTo>
                      <a:pt x="24122" y="18156"/>
                    </a:lnTo>
                    <a:lnTo>
                      <a:pt x="24122" y="1"/>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0" name="Google Shape;5420;p69"/>
              <p:cNvSpPr/>
              <p:nvPr/>
            </p:nvSpPr>
            <p:spPr>
              <a:xfrm>
                <a:off x="6929774" y="2545743"/>
                <a:ext cx="74092" cy="109044"/>
              </a:xfrm>
              <a:custGeom>
                <a:avLst/>
                <a:gdLst/>
                <a:ahLst/>
                <a:cxnLst/>
                <a:rect l="l" t="t" r="r" b="b"/>
                <a:pathLst>
                  <a:path w="12558" h="18482" extrusionOk="0">
                    <a:moveTo>
                      <a:pt x="0" y="0"/>
                    </a:moveTo>
                    <a:cubicBezTo>
                      <a:pt x="938" y="1387"/>
                      <a:pt x="1707" y="2855"/>
                      <a:pt x="2285" y="4397"/>
                    </a:cubicBezTo>
                    <a:cubicBezTo>
                      <a:pt x="2664" y="5405"/>
                      <a:pt x="2891" y="6523"/>
                      <a:pt x="2895" y="7390"/>
                    </a:cubicBezTo>
                    <a:lnTo>
                      <a:pt x="2895" y="7500"/>
                    </a:lnTo>
                    <a:cubicBezTo>
                      <a:pt x="2898" y="8835"/>
                      <a:pt x="2904" y="10288"/>
                      <a:pt x="3541" y="11586"/>
                    </a:cubicBezTo>
                    <a:cubicBezTo>
                      <a:pt x="3270" y="12572"/>
                      <a:pt x="3473" y="13627"/>
                      <a:pt x="4092" y="14441"/>
                    </a:cubicBezTo>
                    <a:cubicBezTo>
                      <a:pt x="3202" y="15613"/>
                      <a:pt x="3202" y="17235"/>
                      <a:pt x="4092" y="18407"/>
                    </a:cubicBezTo>
                    <a:cubicBezTo>
                      <a:pt x="4072" y="18431"/>
                      <a:pt x="4057" y="18457"/>
                      <a:pt x="4039" y="18482"/>
                    </a:cubicBezTo>
                    <a:lnTo>
                      <a:pt x="12558" y="18482"/>
                    </a:lnTo>
                    <a:lnTo>
                      <a:pt x="12558"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1" name="Google Shape;5421;p69"/>
              <p:cNvSpPr/>
              <p:nvPr/>
            </p:nvSpPr>
            <p:spPr>
              <a:xfrm>
                <a:off x="7155838" y="2352960"/>
                <a:ext cx="98377" cy="107120"/>
              </a:xfrm>
              <a:custGeom>
                <a:avLst/>
                <a:gdLst/>
                <a:ahLst/>
                <a:cxnLst/>
                <a:rect l="l" t="t" r="r" b="b"/>
                <a:pathLst>
                  <a:path w="16674" h="18156" extrusionOk="0">
                    <a:moveTo>
                      <a:pt x="0" y="0"/>
                    </a:moveTo>
                    <a:lnTo>
                      <a:pt x="0" y="18155"/>
                    </a:lnTo>
                    <a:lnTo>
                      <a:pt x="9101" y="18155"/>
                    </a:lnTo>
                    <a:cubicBezTo>
                      <a:pt x="13299" y="11475"/>
                      <a:pt x="15509" y="5056"/>
                      <a:pt x="16674"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422" name="Google Shape;5422;p69"/>
              <p:cNvGrpSpPr/>
              <p:nvPr/>
            </p:nvGrpSpPr>
            <p:grpSpPr>
              <a:xfrm>
                <a:off x="6821586" y="2078634"/>
                <a:ext cx="426871" cy="684241"/>
                <a:chOff x="6821586" y="2078634"/>
                <a:chExt cx="426871" cy="684241"/>
              </a:xfrm>
            </p:grpSpPr>
            <p:grpSp>
              <p:nvGrpSpPr>
                <p:cNvPr id="5423" name="Google Shape;5423;p69"/>
                <p:cNvGrpSpPr/>
                <p:nvPr/>
              </p:nvGrpSpPr>
              <p:grpSpPr>
                <a:xfrm>
                  <a:off x="6821586" y="2078634"/>
                  <a:ext cx="426871" cy="684241"/>
                  <a:chOff x="6821586" y="2078634"/>
                  <a:chExt cx="426871" cy="684241"/>
                </a:xfrm>
              </p:grpSpPr>
              <p:sp>
                <p:nvSpPr>
                  <p:cNvPr id="5424" name="Google Shape;5424;p69"/>
                  <p:cNvSpPr/>
                  <p:nvPr/>
                </p:nvSpPr>
                <p:spPr>
                  <a:xfrm>
                    <a:off x="6990036" y="2693797"/>
                    <a:ext cx="89963" cy="69077"/>
                  </a:xfrm>
                  <a:custGeom>
                    <a:avLst/>
                    <a:gdLst/>
                    <a:ahLst/>
                    <a:cxnLst/>
                    <a:rect l="l" t="t" r="r" b="b"/>
                    <a:pathLst>
                      <a:path w="15248" h="11708" extrusionOk="0">
                        <a:moveTo>
                          <a:pt x="1" y="0"/>
                        </a:moveTo>
                        <a:lnTo>
                          <a:pt x="1" y="4083"/>
                        </a:lnTo>
                        <a:cubicBezTo>
                          <a:pt x="1" y="8276"/>
                          <a:pt x="3430" y="11707"/>
                          <a:pt x="7623" y="11707"/>
                        </a:cubicBezTo>
                        <a:cubicBezTo>
                          <a:pt x="11816" y="11707"/>
                          <a:pt x="15247" y="8276"/>
                          <a:pt x="15247" y="4083"/>
                        </a:cubicBezTo>
                        <a:lnTo>
                          <a:pt x="15247" y="0"/>
                        </a:lnTo>
                        <a:close/>
                      </a:path>
                    </a:pathLst>
                  </a:custGeom>
                  <a:solidFill>
                    <a:srgbClr val="EEF0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5" name="Google Shape;5425;p69"/>
                  <p:cNvSpPr/>
                  <p:nvPr/>
                </p:nvSpPr>
                <p:spPr>
                  <a:xfrm>
                    <a:off x="6968649" y="2671926"/>
                    <a:ext cx="132738" cy="72712"/>
                  </a:xfrm>
                  <a:custGeom>
                    <a:avLst/>
                    <a:gdLst/>
                    <a:ahLst/>
                    <a:cxnLst/>
                    <a:rect l="l" t="t" r="r" b="b"/>
                    <a:pathLst>
                      <a:path w="22498" h="12324" extrusionOk="0">
                        <a:moveTo>
                          <a:pt x="1" y="0"/>
                        </a:moveTo>
                        <a:lnTo>
                          <a:pt x="1" y="2864"/>
                        </a:lnTo>
                        <a:cubicBezTo>
                          <a:pt x="1" y="8528"/>
                          <a:pt x="10476" y="12324"/>
                          <a:pt x="11248" y="12324"/>
                        </a:cubicBezTo>
                        <a:cubicBezTo>
                          <a:pt x="12022" y="12324"/>
                          <a:pt x="22498" y="7684"/>
                          <a:pt x="22498" y="2864"/>
                        </a:cubicBezTo>
                        <a:lnTo>
                          <a:pt x="22498" y="0"/>
                        </a:ln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6" name="Google Shape;5426;p69"/>
                  <p:cNvSpPr/>
                  <p:nvPr/>
                </p:nvSpPr>
                <p:spPr>
                  <a:xfrm>
                    <a:off x="6968649" y="2679891"/>
                    <a:ext cx="132738" cy="64747"/>
                  </a:xfrm>
                  <a:custGeom>
                    <a:avLst/>
                    <a:gdLst/>
                    <a:ahLst/>
                    <a:cxnLst/>
                    <a:rect l="l" t="t" r="r" b="b"/>
                    <a:pathLst>
                      <a:path w="22498" h="10974" extrusionOk="0">
                        <a:moveTo>
                          <a:pt x="1" y="1"/>
                        </a:moveTo>
                        <a:lnTo>
                          <a:pt x="1" y="1514"/>
                        </a:lnTo>
                        <a:cubicBezTo>
                          <a:pt x="1" y="7178"/>
                          <a:pt x="10476" y="10974"/>
                          <a:pt x="11248" y="10974"/>
                        </a:cubicBezTo>
                        <a:cubicBezTo>
                          <a:pt x="12022" y="10974"/>
                          <a:pt x="22498" y="6335"/>
                          <a:pt x="22498" y="1514"/>
                        </a:cubicBezTo>
                        <a:lnTo>
                          <a:pt x="22498" y="1"/>
                        </a:lnTo>
                        <a:cubicBezTo>
                          <a:pt x="22498" y="4821"/>
                          <a:pt x="12022" y="9459"/>
                          <a:pt x="11248" y="9459"/>
                        </a:cubicBezTo>
                        <a:cubicBezTo>
                          <a:pt x="10476" y="9459"/>
                          <a:pt x="1" y="5665"/>
                          <a:pt x="1" y="1"/>
                        </a:cubicBezTo>
                        <a:close/>
                      </a:path>
                    </a:pathLst>
                  </a:custGeom>
                  <a:solidFill>
                    <a:srgbClr val="D6DB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7" name="Google Shape;5427;p69"/>
                  <p:cNvSpPr/>
                  <p:nvPr/>
                </p:nvSpPr>
                <p:spPr>
                  <a:xfrm>
                    <a:off x="6969091" y="2693467"/>
                    <a:ext cx="131729" cy="11765"/>
                  </a:xfrm>
                  <a:custGeom>
                    <a:avLst/>
                    <a:gdLst/>
                    <a:ahLst/>
                    <a:cxnLst/>
                    <a:rect l="l" t="t" r="r" b="b"/>
                    <a:pathLst>
                      <a:path w="22327" h="1994" extrusionOk="0">
                        <a:moveTo>
                          <a:pt x="52" y="1"/>
                        </a:moveTo>
                        <a:cubicBezTo>
                          <a:pt x="34" y="1"/>
                          <a:pt x="18" y="4"/>
                          <a:pt x="1" y="4"/>
                        </a:cubicBezTo>
                        <a:cubicBezTo>
                          <a:pt x="122" y="701"/>
                          <a:pt x="392" y="1367"/>
                          <a:pt x="778" y="1994"/>
                        </a:cubicBezTo>
                        <a:lnTo>
                          <a:pt x="21362" y="1994"/>
                        </a:lnTo>
                        <a:cubicBezTo>
                          <a:pt x="21834" y="1347"/>
                          <a:pt x="22173" y="680"/>
                          <a:pt x="22326" y="2"/>
                        </a:cubicBezTo>
                        <a:cubicBezTo>
                          <a:pt x="22316" y="2"/>
                          <a:pt x="22307" y="1"/>
                          <a:pt x="22297" y="1"/>
                        </a:cubicBezTo>
                        <a:close/>
                      </a:path>
                    </a:pathLst>
                  </a:custGeom>
                  <a:solidFill>
                    <a:srgbClr val="D6DB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8" name="Google Shape;5428;p69"/>
                  <p:cNvSpPr/>
                  <p:nvPr/>
                </p:nvSpPr>
                <p:spPr>
                  <a:xfrm>
                    <a:off x="6821586" y="2078634"/>
                    <a:ext cx="426871" cy="544694"/>
                  </a:xfrm>
                  <a:custGeom>
                    <a:avLst/>
                    <a:gdLst/>
                    <a:ahLst/>
                    <a:cxnLst/>
                    <a:rect l="l" t="t" r="r" b="b"/>
                    <a:pathLst>
                      <a:path w="72351" h="92321" extrusionOk="0">
                        <a:moveTo>
                          <a:pt x="36174" y="1"/>
                        </a:moveTo>
                        <a:cubicBezTo>
                          <a:pt x="16216" y="1"/>
                          <a:pt x="37" y="16180"/>
                          <a:pt x="37" y="36140"/>
                        </a:cubicBezTo>
                        <a:cubicBezTo>
                          <a:pt x="37" y="36140"/>
                          <a:pt x="0" y="37141"/>
                          <a:pt x="140" y="38891"/>
                        </a:cubicBezTo>
                        <a:cubicBezTo>
                          <a:pt x="143" y="38928"/>
                          <a:pt x="147" y="38965"/>
                          <a:pt x="149" y="39003"/>
                        </a:cubicBezTo>
                        <a:cubicBezTo>
                          <a:pt x="164" y="39192"/>
                          <a:pt x="182" y="39386"/>
                          <a:pt x="201" y="39590"/>
                        </a:cubicBezTo>
                        <a:cubicBezTo>
                          <a:pt x="222" y="39817"/>
                          <a:pt x="246" y="40044"/>
                          <a:pt x="273" y="40271"/>
                        </a:cubicBezTo>
                        <a:cubicBezTo>
                          <a:pt x="281" y="40354"/>
                          <a:pt x="292" y="40436"/>
                          <a:pt x="301" y="40521"/>
                        </a:cubicBezTo>
                        <a:cubicBezTo>
                          <a:pt x="313" y="40621"/>
                          <a:pt x="325" y="40722"/>
                          <a:pt x="337" y="40822"/>
                        </a:cubicBezTo>
                        <a:cubicBezTo>
                          <a:pt x="1211" y="47845"/>
                          <a:pt x="4544" y="61615"/>
                          <a:pt x="17111" y="74112"/>
                        </a:cubicBezTo>
                        <a:cubicBezTo>
                          <a:pt x="19581" y="76568"/>
                          <a:pt x="21548" y="79501"/>
                          <a:pt x="22771" y="82763"/>
                        </a:cubicBezTo>
                        <a:cubicBezTo>
                          <a:pt x="23307" y="84192"/>
                          <a:pt x="23522" y="85567"/>
                          <a:pt x="23526" y="86552"/>
                        </a:cubicBezTo>
                        <a:cubicBezTo>
                          <a:pt x="23540" y="90527"/>
                          <a:pt x="23421" y="92321"/>
                          <a:pt x="36174" y="92321"/>
                        </a:cubicBezTo>
                        <a:cubicBezTo>
                          <a:pt x="48929" y="92321"/>
                          <a:pt x="48811" y="90527"/>
                          <a:pt x="48825" y="86552"/>
                        </a:cubicBezTo>
                        <a:cubicBezTo>
                          <a:pt x="48828" y="85567"/>
                          <a:pt x="49043" y="84192"/>
                          <a:pt x="49579" y="82763"/>
                        </a:cubicBezTo>
                        <a:cubicBezTo>
                          <a:pt x="50802" y="79501"/>
                          <a:pt x="52769" y="76568"/>
                          <a:pt x="55240" y="74112"/>
                        </a:cubicBezTo>
                        <a:cubicBezTo>
                          <a:pt x="67806" y="61615"/>
                          <a:pt x="71138" y="47845"/>
                          <a:pt x="72011" y="40822"/>
                        </a:cubicBezTo>
                        <a:cubicBezTo>
                          <a:pt x="72025" y="40722"/>
                          <a:pt x="72038" y="40621"/>
                          <a:pt x="72050" y="40521"/>
                        </a:cubicBezTo>
                        <a:cubicBezTo>
                          <a:pt x="72059" y="40436"/>
                          <a:pt x="72069" y="40354"/>
                          <a:pt x="72078" y="40271"/>
                        </a:cubicBezTo>
                        <a:cubicBezTo>
                          <a:pt x="72104" y="40044"/>
                          <a:pt x="72127" y="39817"/>
                          <a:pt x="72149" y="39590"/>
                        </a:cubicBezTo>
                        <a:cubicBezTo>
                          <a:pt x="72169" y="39386"/>
                          <a:pt x="72186" y="39192"/>
                          <a:pt x="72202" y="39003"/>
                        </a:cubicBezTo>
                        <a:cubicBezTo>
                          <a:pt x="72205" y="38966"/>
                          <a:pt x="72207" y="38928"/>
                          <a:pt x="72211" y="38891"/>
                        </a:cubicBezTo>
                        <a:cubicBezTo>
                          <a:pt x="72350" y="37141"/>
                          <a:pt x="72314" y="36140"/>
                          <a:pt x="72314" y="36140"/>
                        </a:cubicBezTo>
                        <a:cubicBezTo>
                          <a:pt x="72314" y="16180"/>
                          <a:pt x="56134" y="1"/>
                          <a:pt x="36174" y="1"/>
                        </a:cubicBezTo>
                        <a:close/>
                      </a:path>
                    </a:pathLst>
                  </a:custGeom>
                  <a:solidFill>
                    <a:srgbClr val="FEFEF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29" name="Google Shape;5429;p69"/>
                  <p:cNvSpPr/>
                  <p:nvPr/>
                </p:nvSpPr>
                <p:spPr>
                  <a:xfrm>
                    <a:off x="6984514" y="2448953"/>
                    <a:ext cx="101008" cy="164409"/>
                  </a:xfrm>
                  <a:custGeom>
                    <a:avLst/>
                    <a:gdLst/>
                    <a:ahLst/>
                    <a:cxnLst/>
                    <a:rect l="l" t="t" r="r" b="b"/>
                    <a:pathLst>
                      <a:path w="17120" h="27866" extrusionOk="0">
                        <a:moveTo>
                          <a:pt x="1" y="0"/>
                        </a:moveTo>
                        <a:lnTo>
                          <a:pt x="4920" y="27866"/>
                        </a:lnTo>
                        <a:lnTo>
                          <a:pt x="12200" y="27866"/>
                        </a:lnTo>
                        <a:lnTo>
                          <a:pt x="17120" y="0"/>
                        </a:lnTo>
                        <a:close/>
                      </a:path>
                    </a:pathLst>
                  </a:custGeom>
                  <a:solidFill>
                    <a:srgbClr val="EDF1F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0" name="Google Shape;5430;p69"/>
                  <p:cNvSpPr/>
                  <p:nvPr/>
                </p:nvSpPr>
                <p:spPr>
                  <a:xfrm>
                    <a:off x="6984514" y="2448953"/>
                    <a:ext cx="101008" cy="140963"/>
                  </a:xfrm>
                  <a:custGeom>
                    <a:avLst/>
                    <a:gdLst/>
                    <a:ahLst/>
                    <a:cxnLst/>
                    <a:rect l="l" t="t" r="r" b="b"/>
                    <a:pathLst>
                      <a:path w="17120" h="23892" extrusionOk="0">
                        <a:moveTo>
                          <a:pt x="1" y="0"/>
                        </a:moveTo>
                        <a:lnTo>
                          <a:pt x="4218" y="23891"/>
                        </a:lnTo>
                        <a:lnTo>
                          <a:pt x="12902" y="23891"/>
                        </a:lnTo>
                        <a:lnTo>
                          <a:pt x="17120"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1" name="Google Shape;5431;p69"/>
                  <p:cNvSpPr/>
                  <p:nvPr/>
                </p:nvSpPr>
                <p:spPr>
                  <a:xfrm>
                    <a:off x="7012451" y="2607162"/>
                    <a:ext cx="45141" cy="6201"/>
                  </a:xfrm>
                  <a:custGeom>
                    <a:avLst/>
                    <a:gdLst/>
                    <a:ahLst/>
                    <a:cxnLst/>
                    <a:rect l="l" t="t" r="r" b="b"/>
                    <a:pathLst>
                      <a:path w="7651" h="1051" extrusionOk="0">
                        <a:moveTo>
                          <a:pt x="0" y="1"/>
                        </a:moveTo>
                        <a:lnTo>
                          <a:pt x="185" y="1051"/>
                        </a:lnTo>
                        <a:lnTo>
                          <a:pt x="7465" y="1051"/>
                        </a:lnTo>
                        <a:lnTo>
                          <a:pt x="7650"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2" name="Google Shape;5432;p69"/>
                  <p:cNvSpPr/>
                  <p:nvPr/>
                </p:nvSpPr>
                <p:spPr>
                  <a:xfrm>
                    <a:off x="6968649" y="2664244"/>
                    <a:ext cx="132738" cy="25199"/>
                  </a:xfrm>
                  <a:custGeom>
                    <a:avLst/>
                    <a:gdLst/>
                    <a:ahLst/>
                    <a:cxnLst/>
                    <a:rect l="l" t="t" r="r" b="b"/>
                    <a:pathLst>
                      <a:path w="22498" h="4271" extrusionOk="0">
                        <a:moveTo>
                          <a:pt x="93" y="1"/>
                        </a:moveTo>
                        <a:cubicBezTo>
                          <a:pt x="43" y="1"/>
                          <a:pt x="1" y="43"/>
                          <a:pt x="1" y="95"/>
                        </a:cubicBezTo>
                        <a:lnTo>
                          <a:pt x="1" y="4176"/>
                        </a:lnTo>
                        <a:cubicBezTo>
                          <a:pt x="1" y="4229"/>
                          <a:pt x="43" y="4270"/>
                          <a:pt x="93" y="4270"/>
                        </a:cubicBezTo>
                        <a:lnTo>
                          <a:pt x="22405" y="4270"/>
                        </a:lnTo>
                        <a:cubicBezTo>
                          <a:pt x="22456" y="4270"/>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3" name="Google Shape;5433;p69"/>
                  <p:cNvSpPr/>
                  <p:nvPr/>
                </p:nvSpPr>
                <p:spPr>
                  <a:xfrm>
                    <a:off x="6968649" y="2667389"/>
                    <a:ext cx="132738" cy="11776"/>
                  </a:xfrm>
                  <a:custGeom>
                    <a:avLst/>
                    <a:gdLst/>
                    <a:ahLst/>
                    <a:cxnLst/>
                    <a:rect l="l" t="t" r="r" b="b"/>
                    <a:pathLst>
                      <a:path w="22498" h="1996" extrusionOk="0">
                        <a:moveTo>
                          <a:pt x="22185" y="1"/>
                        </a:moveTo>
                        <a:lnTo>
                          <a:pt x="314" y="2"/>
                        </a:lnTo>
                        <a:cubicBezTo>
                          <a:pt x="113" y="247"/>
                          <a:pt x="3" y="556"/>
                          <a:pt x="1" y="874"/>
                        </a:cubicBezTo>
                        <a:lnTo>
                          <a:pt x="1" y="1880"/>
                        </a:lnTo>
                        <a:cubicBezTo>
                          <a:pt x="1" y="1915"/>
                          <a:pt x="8" y="1948"/>
                          <a:pt x="11" y="1983"/>
                        </a:cubicBezTo>
                        <a:cubicBezTo>
                          <a:pt x="48" y="1990"/>
                          <a:pt x="88" y="1994"/>
                          <a:pt x="127" y="1996"/>
                        </a:cubicBezTo>
                        <a:lnTo>
                          <a:pt x="22372" y="1996"/>
                        </a:lnTo>
                        <a:cubicBezTo>
                          <a:pt x="22410" y="1994"/>
                          <a:pt x="22449" y="1990"/>
                          <a:pt x="22487" y="1983"/>
                        </a:cubicBezTo>
                        <a:cubicBezTo>
                          <a:pt x="22491" y="1948"/>
                          <a:pt x="22498" y="1915"/>
                          <a:pt x="22498" y="1880"/>
                        </a:cubicBezTo>
                        <a:lnTo>
                          <a:pt x="22498" y="872"/>
                        </a:lnTo>
                        <a:cubicBezTo>
                          <a:pt x="22496" y="554"/>
                          <a:pt x="22386" y="247"/>
                          <a:pt x="22185" y="1"/>
                        </a:cubicBezTo>
                        <a:close/>
                      </a:path>
                    </a:pathLst>
                  </a:custGeom>
                  <a:solidFill>
                    <a:srgbClr val="D6DB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4" name="Google Shape;5434;p69"/>
                  <p:cNvSpPr/>
                  <p:nvPr/>
                </p:nvSpPr>
                <p:spPr>
                  <a:xfrm>
                    <a:off x="6963510" y="2683549"/>
                    <a:ext cx="143022" cy="11776"/>
                  </a:xfrm>
                  <a:custGeom>
                    <a:avLst/>
                    <a:gdLst/>
                    <a:ahLst/>
                    <a:cxnLst/>
                    <a:rect l="l" t="t" r="r" b="b"/>
                    <a:pathLst>
                      <a:path w="24241" h="1996" extrusionOk="0">
                        <a:moveTo>
                          <a:pt x="46" y="1"/>
                        </a:moveTo>
                        <a:cubicBezTo>
                          <a:pt x="19" y="1"/>
                          <a:pt x="0" y="22"/>
                          <a:pt x="0" y="46"/>
                        </a:cubicBezTo>
                        <a:lnTo>
                          <a:pt x="0" y="1951"/>
                        </a:lnTo>
                        <a:cubicBezTo>
                          <a:pt x="0" y="1975"/>
                          <a:pt x="19" y="1996"/>
                          <a:pt x="46" y="1996"/>
                        </a:cubicBezTo>
                        <a:lnTo>
                          <a:pt x="24195" y="1996"/>
                        </a:lnTo>
                        <a:cubicBezTo>
                          <a:pt x="24219" y="1996"/>
                          <a:pt x="24240" y="1975"/>
                          <a:pt x="24240" y="1951"/>
                        </a:cubicBezTo>
                        <a:lnTo>
                          <a:pt x="24240" y="46"/>
                        </a:lnTo>
                        <a:cubicBezTo>
                          <a:pt x="24240" y="22"/>
                          <a:pt x="24219" y="1"/>
                          <a:pt x="24195" y="1"/>
                        </a:cubicBezTo>
                        <a:close/>
                      </a:path>
                    </a:pathLst>
                  </a:custGeom>
                  <a:solidFill>
                    <a:srgbClr val="EEF0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5" name="Google Shape;5435;p69"/>
                  <p:cNvSpPr/>
                  <p:nvPr/>
                </p:nvSpPr>
                <p:spPr>
                  <a:xfrm>
                    <a:off x="6968649" y="2642639"/>
                    <a:ext cx="132738" cy="25199"/>
                  </a:xfrm>
                  <a:custGeom>
                    <a:avLst/>
                    <a:gdLst/>
                    <a:ahLst/>
                    <a:cxnLst/>
                    <a:rect l="l" t="t" r="r" b="b"/>
                    <a:pathLst>
                      <a:path w="22498" h="4271" extrusionOk="0">
                        <a:moveTo>
                          <a:pt x="93" y="1"/>
                        </a:moveTo>
                        <a:cubicBezTo>
                          <a:pt x="43" y="1"/>
                          <a:pt x="1" y="43"/>
                          <a:pt x="1" y="95"/>
                        </a:cubicBezTo>
                        <a:lnTo>
                          <a:pt x="1" y="4176"/>
                        </a:lnTo>
                        <a:cubicBezTo>
                          <a:pt x="1" y="4229"/>
                          <a:pt x="43" y="4271"/>
                          <a:pt x="93" y="4271"/>
                        </a:cubicBezTo>
                        <a:lnTo>
                          <a:pt x="22405" y="4271"/>
                        </a:lnTo>
                        <a:cubicBezTo>
                          <a:pt x="22456" y="4271"/>
                          <a:pt x="22498" y="4229"/>
                          <a:pt x="22498" y="4176"/>
                        </a:cubicBezTo>
                        <a:lnTo>
                          <a:pt x="22498" y="95"/>
                        </a:lnTo>
                        <a:cubicBezTo>
                          <a:pt x="22498" y="43"/>
                          <a:pt x="22456" y="1"/>
                          <a:pt x="22405" y="1"/>
                        </a:cubicBez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6" name="Google Shape;5436;p69"/>
                  <p:cNvSpPr/>
                  <p:nvPr/>
                </p:nvSpPr>
                <p:spPr>
                  <a:xfrm>
                    <a:off x="6968649" y="2643990"/>
                    <a:ext cx="132738" cy="11776"/>
                  </a:xfrm>
                  <a:custGeom>
                    <a:avLst/>
                    <a:gdLst/>
                    <a:ahLst/>
                    <a:cxnLst/>
                    <a:rect l="l" t="t" r="r" b="b"/>
                    <a:pathLst>
                      <a:path w="22498" h="1996" extrusionOk="0">
                        <a:moveTo>
                          <a:pt x="642" y="1"/>
                        </a:moveTo>
                        <a:cubicBezTo>
                          <a:pt x="242" y="259"/>
                          <a:pt x="1" y="701"/>
                          <a:pt x="1" y="1177"/>
                        </a:cubicBezTo>
                        <a:lnTo>
                          <a:pt x="1" y="1984"/>
                        </a:lnTo>
                        <a:cubicBezTo>
                          <a:pt x="41" y="1991"/>
                          <a:pt x="83" y="1994"/>
                          <a:pt x="127" y="1996"/>
                        </a:cubicBezTo>
                        <a:lnTo>
                          <a:pt x="22372" y="1996"/>
                        </a:lnTo>
                        <a:cubicBezTo>
                          <a:pt x="22414" y="1994"/>
                          <a:pt x="22456" y="1991"/>
                          <a:pt x="22498" y="1984"/>
                        </a:cubicBezTo>
                        <a:lnTo>
                          <a:pt x="22498" y="1177"/>
                        </a:lnTo>
                        <a:cubicBezTo>
                          <a:pt x="22496" y="701"/>
                          <a:pt x="22255" y="259"/>
                          <a:pt x="21856" y="1"/>
                        </a:cubicBezTo>
                        <a:close/>
                      </a:path>
                    </a:pathLst>
                  </a:custGeom>
                  <a:solidFill>
                    <a:srgbClr val="D6DB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7" name="Google Shape;5437;p69"/>
                  <p:cNvSpPr/>
                  <p:nvPr/>
                </p:nvSpPr>
                <p:spPr>
                  <a:xfrm>
                    <a:off x="6963510" y="2660156"/>
                    <a:ext cx="143022" cy="11776"/>
                  </a:xfrm>
                  <a:custGeom>
                    <a:avLst/>
                    <a:gdLst/>
                    <a:ahLst/>
                    <a:cxnLst/>
                    <a:rect l="l" t="t" r="r" b="b"/>
                    <a:pathLst>
                      <a:path w="24241" h="1996" extrusionOk="0">
                        <a:moveTo>
                          <a:pt x="998" y="0"/>
                        </a:moveTo>
                        <a:cubicBezTo>
                          <a:pt x="447" y="2"/>
                          <a:pt x="2" y="447"/>
                          <a:pt x="0" y="998"/>
                        </a:cubicBezTo>
                        <a:cubicBezTo>
                          <a:pt x="2" y="1548"/>
                          <a:pt x="447" y="1993"/>
                          <a:pt x="998" y="1995"/>
                        </a:cubicBezTo>
                        <a:lnTo>
                          <a:pt x="23243" y="1995"/>
                        </a:lnTo>
                        <a:cubicBezTo>
                          <a:pt x="23793" y="1993"/>
                          <a:pt x="24239" y="1548"/>
                          <a:pt x="24240" y="998"/>
                        </a:cubicBezTo>
                        <a:cubicBezTo>
                          <a:pt x="24239" y="447"/>
                          <a:pt x="23793" y="2"/>
                          <a:pt x="23243" y="0"/>
                        </a:cubicBezTo>
                        <a:close/>
                      </a:path>
                    </a:pathLst>
                  </a:custGeom>
                  <a:solidFill>
                    <a:srgbClr val="EEF0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8" name="Google Shape;5438;p69"/>
                  <p:cNvSpPr/>
                  <p:nvPr/>
                </p:nvSpPr>
                <p:spPr>
                  <a:xfrm>
                    <a:off x="6968649" y="2617451"/>
                    <a:ext cx="132738" cy="25193"/>
                  </a:xfrm>
                  <a:custGeom>
                    <a:avLst/>
                    <a:gdLst/>
                    <a:ahLst/>
                    <a:cxnLst/>
                    <a:rect l="l" t="t" r="r" b="b"/>
                    <a:pathLst>
                      <a:path w="22498" h="4270" extrusionOk="0">
                        <a:moveTo>
                          <a:pt x="93" y="0"/>
                        </a:moveTo>
                        <a:cubicBezTo>
                          <a:pt x="43" y="0"/>
                          <a:pt x="1" y="42"/>
                          <a:pt x="1" y="94"/>
                        </a:cubicBezTo>
                        <a:lnTo>
                          <a:pt x="1" y="4176"/>
                        </a:lnTo>
                        <a:cubicBezTo>
                          <a:pt x="1" y="4228"/>
                          <a:pt x="43" y="4270"/>
                          <a:pt x="93" y="4270"/>
                        </a:cubicBezTo>
                        <a:lnTo>
                          <a:pt x="22405" y="4270"/>
                        </a:lnTo>
                        <a:cubicBezTo>
                          <a:pt x="22456" y="4270"/>
                          <a:pt x="22498" y="4228"/>
                          <a:pt x="22498" y="4176"/>
                        </a:cubicBezTo>
                        <a:lnTo>
                          <a:pt x="22498" y="94"/>
                        </a:lnTo>
                        <a:cubicBezTo>
                          <a:pt x="22498" y="42"/>
                          <a:pt x="22456" y="0"/>
                          <a:pt x="22405" y="0"/>
                        </a:cubicBez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39" name="Google Shape;5439;p69"/>
                  <p:cNvSpPr/>
                  <p:nvPr/>
                </p:nvSpPr>
                <p:spPr>
                  <a:xfrm>
                    <a:off x="6968649" y="2620590"/>
                    <a:ext cx="132738" cy="11782"/>
                  </a:xfrm>
                  <a:custGeom>
                    <a:avLst/>
                    <a:gdLst/>
                    <a:ahLst/>
                    <a:cxnLst/>
                    <a:rect l="l" t="t" r="r" b="b"/>
                    <a:pathLst>
                      <a:path w="22498" h="1997" extrusionOk="0">
                        <a:moveTo>
                          <a:pt x="314" y="1"/>
                        </a:moveTo>
                        <a:cubicBezTo>
                          <a:pt x="113" y="247"/>
                          <a:pt x="3" y="555"/>
                          <a:pt x="1" y="873"/>
                        </a:cubicBezTo>
                        <a:lnTo>
                          <a:pt x="1" y="1982"/>
                        </a:lnTo>
                        <a:cubicBezTo>
                          <a:pt x="41" y="1989"/>
                          <a:pt x="83" y="1994"/>
                          <a:pt x="127" y="1996"/>
                        </a:cubicBezTo>
                        <a:lnTo>
                          <a:pt x="22372" y="1996"/>
                        </a:lnTo>
                        <a:cubicBezTo>
                          <a:pt x="22414" y="1994"/>
                          <a:pt x="22456" y="1989"/>
                          <a:pt x="22498" y="1982"/>
                        </a:cubicBezTo>
                        <a:lnTo>
                          <a:pt x="22498" y="873"/>
                        </a:lnTo>
                        <a:cubicBezTo>
                          <a:pt x="22496" y="555"/>
                          <a:pt x="22386" y="247"/>
                          <a:pt x="22185" y="1"/>
                        </a:cubicBezTo>
                        <a:close/>
                      </a:path>
                    </a:pathLst>
                  </a:custGeom>
                  <a:solidFill>
                    <a:srgbClr val="D6DB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0" name="Google Shape;5440;p69"/>
                  <p:cNvSpPr/>
                  <p:nvPr/>
                </p:nvSpPr>
                <p:spPr>
                  <a:xfrm>
                    <a:off x="6963510" y="2613357"/>
                    <a:ext cx="143022" cy="11765"/>
                  </a:xfrm>
                  <a:custGeom>
                    <a:avLst/>
                    <a:gdLst/>
                    <a:ahLst/>
                    <a:cxnLst/>
                    <a:rect l="l" t="t" r="r" b="b"/>
                    <a:pathLst>
                      <a:path w="24241" h="1994" extrusionOk="0">
                        <a:moveTo>
                          <a:pt x="998" y="1"/>
                        </a:moveTo>
                        <a:cubicBezTo>
                          <a:pt x="447" y="2"/>
                          <a:pt x="2" y="448"/>
                          <a:pt x="0" y="996"/>
                        </a:cubicBezTo>
                        <a:cubicBezTo>
                          <a:pt x="2" y="1547"/>
                          <a:pt x="447" y="1992"/>
                          <a:pt x="998" y="1994"/>
                        </a:cubicBezTo>
                        <a:lnTo>
                          <a:pt x="23243" y="1994"/>
                        </a:lnTo>
                        <a:cubicBezTo>
                          <a:pt x="23793" y="1992"/>
                          <a:pt x="24239" y="1547"/>
                          <a:pt x="24240" y="996"/>
                        </a:cubicBezTo>
                        <a:cubicBezTo>
                          <a:pt x="24239" y="448"/>
                          <a:pt x="23793" y="2"/>
                          <a:pt x="23243" y="1"/>
                        </a:cubicBezTo>
                        <a:close/>
                      </a:path>
                    </a:pathLst>
                  </a:custGeom>
                  <a:solidFill>
                    <a:srgbClr val="EEF0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1" name="Google Shape;5441;p69"/>
                  <p:cNvSpPr/>
                  <p:nvPr/>
                </p:nvSpPr>
                <p:spPr>
                  <a:xfrm>
                    <a:off x="6850372" y="2107302"/>
                    <a:ext cx="369293" cy="477399"/>
                  </a:xfrm>
                  <a:custGeom>
                    <a:avLst/>
                    <a:gdLst/>
                    <a:ahLst/>
                    <a:cxnLst/>
                    <a:rect l="l" t="t" r="r" b="b"/>
                    <a:pathLst>
                      <a:path w="62592" h="80915" extrusionOk="0">
                        <a:moveTo>
                          <a:pt x="31297" y="0"/>
                        </a:moveTo>
                        <a:cubicBezTo>
                          <a:pt x="14049" y="0"/>
                          <a:pt x="16" y="14032"/>
                          <a:pt x="16" y="31281"/>
                        </a:cubicBezTo>
                        <a:lnTo>
                          <a:pt x="16" y="31387"/>
                        </a:lnTo>
                        <a:lnTo>
                          <a:pt x="13" y="31445"/>
                        </a:lnTo>
                        <a:cubicBezTo>
                          <a:pt x="11" y="31548"/>
                          <a:pt x="1" y="32341"/>
                          <a:pt x="104" y="33646"/>
                        </a:cubicBezTo>
                        <a:lnTo>
                          <a:pt x="104" y="33657"/>
                        </a:lnTo>
                        <a:lnTo>
                          <a:pt x="104" y="33667"/>
                        </a:lnTo>
                        <a:lnTo>
                          <a:pt x="105" y="33683"/>
                        </a:lnTo>
                        <a:lnTo>
                          <a:pt x="111" y="33746"/>
                        </a:lnTo>
                        <a:cubicBezTo>
                          <a:pt x="125" y="33912"/>
                          <a:pt x="139" y="34083"/>
                          <a:pt x="156" y="34265"/>
                        </a:cubicBezTo>
                        <a:cubicBezTo>
                          <a:pt x="175" y="34469"/>
                          <a:pt x="198" y="34667"/>
                          <a:pt x="219" y="34862"/>
                        </a:cubicBezTo>
                        <a:lnTo>
                          <a:pt x="245" y="35093"/>
                        </a:lnTo>
                        <a:lnTo>
                          <a:pt x="257" y="35191"/>
                        </a:lnTo>
                        <a:cubicBezTo>
                          <a:pt x="264" y="35241"/>
                          <a:pt x="270" y="35290"/>
                          <a:pt x="277" y="35341"/>
                        </a:cubicBezTo>
                        <a:lnTo>
                          <a:pt x="278" y="35353"/>
                        </a:lnTo>
                        <a:lnTo>
                          <a:pt x="278" y="35364"/>
                        </a:lnTo>
                        <a:cubicBezTo>
                          <a:pt x="1082" y="41822"/>
                          <a:pt x="4150" y="54364"/>
                          <a:pt x="15656" y="65807"/>
                        </a:cubicBezTo>
                        <a:cubicBezTo>
                          <a:pt x="18711" y="68844"/>
                          <a:pt x="20993" y="72340"/>
                          <a:pt x="22440" y="76197"/>
                        </a:cubicBezTo>
                        <a:cubicBezTo>
                          <a:pt x="22707" y="76910"/>
                          <a:pt x="22927" y="77638"/>
                          <a:pt x="23098" y="78379"/>
                        </a:cubicBezTo>
                        <a:cubicBezTo>
                          <a:pt x="23441" y="79855"/>
                          <a:pt x="24733" y="80914"/>
                          <a:pt x="26250" y="80914"/>
                        </a:cubicBezTo>
                        <a:lnTo>
                          <a:pt x="36339" y="80914"/>
                        </a:lnTo>
                        <a:cubicBezTo>
                          <a:pt x="37855" y="80914"/>
                          <a:pt x="39148" y="79855"/>
                          <a:pt x="39491" y="78379"/>
                        </a:cubicBezTo>
                        <a:cubicBezTo>
                          <a:pt x="39662" y="77638"/>
                          <a:pt x="39882" y="76910"/>
                          <a:pt x="40149" y="76197"/>
                        </a:cubicBezTo>
                        <a:cubicBezTo>
                          <a:pt x="41596" y="72340"/>
                          <a:pt x="43879" y="68844"/>
                          <a:pt x="46933" y="65807"/>
                        </a:cubicBezTo>
                        <a:cubicBezTo>
                          <a:pt x="58441" y="54364"/>
                          <a:pt x="61509" y="41822"/>
                          <a:pt x="62312" y="35364"/>
                        </a:cubicBezTo>
                        <a:lnTo>
                          <a:pt x="62314" y="35351"/>
                        </a:lnTo>
                        <a:lnTo>
                          <a:pt x="62314" y="35341"/>
                        </a:lnTo>
                        <a:cubicBezTo>
                          <a:pt x="62321" y="35290"/>
                          <a:pt x="62326" y="35240"/>
                          <a:pt x="62333" y="35191"/>
                        </a:cubicBezTo>
                        <a:lnTo>
                          <a:pt x="62346" y="35091"/>
                        </a:lnTo>
                        <a:lnTo>
                          <a:pt x="62370" y="34871"/>
                        </a:lnTo>
                        <a:cubicBezTo>
                          <a:pt x="62393" y="34667"/>
                          <a:pt x="62414" y="34469"/>
                          <a:pt x="62433" y="34272"/>
                        </a:cubicBezTo>
                        <a:cubicBezTo>
                          <a:pt x="62452" y="34083"/>
                          <a:pt x="62466" y="33912"/>
                          <a:pt x="62480" y="33746"/>
                        </a:cubicBezTo>
                        <a:lnTo>
                          <a:pt x="62485" y="33681"/>
                        </a:lnTo>
                        <a:lnTo>
                          <a:pt x="62487" y="33662"/>
                        </a:lnTo>
                        <a:cubicBezTo>
                          <a:pt x="62592" y="32338"/>
                          <a:pt x="62581" y="31543"/>
                          <a:pt x="62580" y="31443"/>
                        </a:cubicBezTo>
                        <a:lnTo>
                          <a:pt x="62574" y="31345"/>
                        </a:lnTo>
                        <a:lnTo>
                          <a:pt x="62576" y="31281"/>
                        </a:lnTo>
                        <a:cubicBezTo>
                          <a:pt x="62576" y="14032"/>
                          <a:pt x="48544" y="0"/>
                          <a:pt x="31297" y="0"/>
                        </a:cubicBezTo>
                        <a:close/>
                      </a:path>
                    </a:pathLst>
                  </a:custGeom>
                  <a:solidFill>
                    <a:srgbClr val="F3F5F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2" name="Google Shape;5442;p69"/>
                  <p:cNvSpPr/>
                  <p:nvPr/>
                </p:nvSpPr>
                <p:spPr>
                  <a:xfrm>
                    <a:off x="6963510" y="2636756"/>
                    <a:ext cx="143022" cy="11776"/>
                  </a:xfrm>
                  <a:custGeom>
                    <a:avLst/>
                    <a:gdLst/>
                    <a:ahLst/>
                    <a:cxnLst/>
                    <a:rect l="l" t="t" r="r" b="b"/>
                    <a:pathLst>
                      <a:path w="24241" h="1996" extrusionOk="0">
                        <a:moveTo>
                          <a:pt x="998" y="0"/>
                        </a:moveTo>
                        <a:cubicBezTo>
                          <a:pt x="447" y="2"/>
                          <a:pt x="2" y="448"/>
                          <a:pt x="0" y="998"/>
                        </a:cubicBezTo>
                        <a:cubicBezTo>
                          <a:pt x="2" y="1548"/>
                          <a:pt x="447" y="1994"/>
                          <a:pt x="998" y="1995"/>
                        </a:cubicBezTo>
                        <a:lnTo>
                          <a:pt x="23243" y="1995"/>
                        </a:lnTo>
                        <a:cubicBezTo>
                          <a:pt x="23793" y="1994"/>
                          <a:pt x="24239" y="1548"/>
                          <a:pt x="24240" y="998"/>
                        </a:cubicBezTo>
                        <a:cubicBezTo>
                          <a:pt x="24239" y="448"/>
                          <a:pt x="23793" y="2"/>
                          <a:pt x="23243" y="0"/>
                        </a:cubicBezTo>
                        <a:close/>
                      </a:path>
                    </a:pathLst>
                  </a:custGeom>
                  <a:solidFill>
                    <a:srgbClr val="EEF0F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443" name="Google Shape;5443;p69"/>
                <p:cNvSpPr/>
                <p:nvPr/>
              </p:nvSpPr>
              <p:spPr>
                <a:xfrm>
                  <a:off x="7046588" y="2275942"/>
                  <a:ext cx="173076" cy="113894"/>
                </a:xfrm>
                <a:custGeom>
                  <a:avLst/>
                  <a:gdLst/>
                  <a:ahLst/>
                  <a:cxnLst/>
                  <a:rect l="l" t="t" r="r" b="b"/>
                  <a:pathLst>
                    <a:path w="29335" h="19304" extrusionOk="0">
                      <a:moveTo>
                        <a:pt x="0" y="0"/>
                      </a:moveTo>
                      <a:lnTo>
                        <a:pt x="0" y="19303"/>
                      </a:lnTo>
                      <a:lnTo>
                        <a:pt x="25725" y="19303"/>
                      </a:lnTo>
                      <a:cubicBezTo>
                        <a:pt x="27782" y="14272"/>
                        <a:pt x="28673" y="9841"/>
                        <a:pt x="29054" y="6781"/>
                      </a:cubicBezTo>
                      <a:lnTo>
                        <a:pt x="29055" y="6770"/>
                      </a:lnTo>
                      <a:lnTo>
                        <a:pt x="29057" y="6758"/>
                      </a:lnTo>
                      <a:cubicBezTo>
                        <a:pt x="29064" y="6707"/>
                        <a:pt x="29069" y="6657"/>
                        <a:pt x="29075" y="6608"/>
                      </a:cubicBezTo>
                      <a:lnTo>
                        <a:pt x="29087" y="6508"/>
                      </a:lnTo>
                      <a:lnTo>
                        <a:pt x="29113" y="6288"/>
                      </a:lnTo>
                      <a:cubicBezTo>
                        <a:pt x="29136" y="6084"/>
                        <a:pt x="29157" y="5886"/>
                        <a:pt x="29176" y="5689"/>
                      </a:cubicBezTo>
                      <a:cubicBezTo>
                        <a:pt x="29193" y="5500"/>
                        <a:pt x="29209" y="5329"/>
                        <a:pt x="29221" y="5163"/>
                      </a:cubicBezTo>
                      <a:lnTo>
                        <a:pt x="29227" y="5098"/>
                      </a:lnTo>
                      <a:lnTo>
                        <a:pt x="29228" y="5079"/>
                      </a:lnTo>
                      <a:cubicBezTo>
                        <a:pt x="29335" y="3755"/>
                        <a:pt x="29323" y="2960"/>
                        <a:pt x="29321" y="2860"/>
                      </a:cubicBezTo>
                      <a:lnTo>
                        <a:pt x="29316" y="2762"/>
                      </a:lnTo>
                      <a:lnTo>
                        <a:pt x="29317" y="2698"/>
                      </a:lnTo>
                      <a:cubicBezTo>
                        <a:pt x="29317" y="1789"/>
                        <a:pt x="29277" y="890"/>
                        <a:pt x="29200" y="0"/>
                      </a:cubicBezTo>
                      <a:close/>
                    </a:path>
                  </a:pathLst>
                </a:custGeom>
                <a:solidFill>
                  <a:srgbClr val="4F677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4" name="Google Shape;5444;p69"/>
                <p:cNvSpPr/>
                <p:nvPr/>
              </p:nvSpPr>
              <p:spPr>
                <a:xfrm>
                  <a:off x="7046588" y="2107680"/>
                  <a:ext cx="168811" cy="145128"/>
                </a:xfrm>
                <a:custGeom>
                  <a:avLst/>
                  <a:gdLst/>
                  <a:ahLst/>
                  <a:cxnLst/>
                  <a:rect l="l" t="t" r="r" b="b"/>
                  <a:pathLst>
                    <a:path w="28612" h="24598" extrusionOk="0">
                      <a:moveTo>
                        <a:pt x="0" y="1"/>
                      </a:moveTo>
                      <a:lnTo>
                        <a:pt x="0" y="24597"/>
                      </a:lnTo>
                      <a:lnTo>
                        <a:pt x="28612" y="24597"/>
                      </a:lnTo>
                      <a:cubicBezTo>
                        <a:pt x="25701" y="11138"/>
                        <a:pt x="14102" y="876"/>
                        <a:pt x="0" y="1"/>
                      </a:cubicBezTo>
                      <a:close/>
                    </a:path>
                  </a:pathLst>
                </a:custGeom>
                <a:solidFill>
                  <a:srgbClr val="B3C3CE"/>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5" name="Google Shape;5445;p69"/>
                <p:cNvSpPr/>
                <p:nvPr/>
              </p:nvSpPr>
              <p:spPr>
                <a:xfrm>
                  <a:off x="6850372" y="2275942"/>
                  <a:ext cx="173082" cy="113894"/>
                </a:xfrm>
                <a:custGeom>
                  <a:avLst/>
                  <a:gdLst/>
                  <a:ahLst/>
                  <a:cxnLst/>
                  <a:rect l="l" t="t" r="r" b="b"/>
                  <a:pathLst>
                    <a:path w="29336" h="19304" extrusionOk="0">
                      <a:moveTo>
                        <a:pt x="133" y="0"/>
                      </a:moveTo>
                      <a:cubicBezTo>
                        <a:pt x="58" y="890"/>
                        <a:pt x="16" y="1789"/>
                        <a:pt x="16" y="2698"/>
                      </a:cubicBezTo>
                      <a:lnTo>
                        <a:pt x="16" y="2804"/>
                      </a:lnTo>
                      <a:lnTo>
                        <a:pt x="13" y="2862"/>
                      </a:lnTo>
                      <a:cubicBezTo>
                        <a:pt x="11" y="2965"/>
                        <a:pt x="1" y="3758"/>
                        <a:pt x="104" y="5065"/>
                      </a:cubicBezTo>
                      <a:lnTo>
                        <a:pt x="104" y="5075"/>
                      </a:lnTo>
                      <a:lnTo>
                        <a:pt x="104" y="5086"/>
                      </a:lnTo>
                      <a:lnTo>
                        <a:pt x="105" y="5100"/>
                      </a:lnTo>
                      <a:lnTo>
                        <a:pt x="111" y="5163"/>
                      </a:lnTo>
                      <a:cubicBezTo>
                        <a:pt x="125" y="5329"/>
                        <a:pt x="139" y="5500"/>
                        <a:pt x="156" y="5682"/>
                      </a:cubicBezTo>
                      <a:cubicBezTo>
                        <a:pt x="175" y="5886"/>
                        <a:pt x="198" y="6084"/>
                        <a:pt x="219" y="6279"/>
                      </a:cubicBezTo>
                      <a:lnTo>
                        <a:pt x="245" y="6510"/>
                      </a:lnTo>
                      <a:lnTo>
                        <a:pt x="257" y="6608"/>
                      </a:lnTo>
                      <a:cubicBezTo>
                        <a:pt x="264" y="6658"/>
                        <a:pt x="270" y="6709"/>
                        <a:pt x="277" y="6758"/>
                      </a:cubicBezTo>
                      <a:lnTo>
                        <a:pt x="278" y="6770"/>
                      </a:lnTo>
                      <a:lnTo>
                        <a:pt x="278" y="6781"/>
                      </a:lnTo>
                      <a:cubicBezTo>
                        <a:pt x="661" y="9843"/>
                        <a:pt x="1552" y="14272"/>
                        <a:pt x="3608" y="19303"/>
                      </a:cubicBezTo>
                      <a:lnTo>
                        <a:pt x="29333" y="19303"/>
                      </a:lnTo>
                      <a:lnTo>
                        <a:pt x="29335" y="0"/>
                      </a:lnTo>
                      <a:close/>
                    </a:path>
                  </a:pathLst>
                </a:custGeom>
                <a:solidFill>
                  <a:srgbClr val="C9D4DC"/>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6" name="Google Shape;5446;p69"/>
                <p:cNvSpPr/>
                <p:nvPr/>
              </p:nvSpPr>
              <p:spPr>
                <a:xfrm>
                  <a:off x="6882243" y="2412957"/>
                  <a:ext cx="141211" cy="171743"/>
                </a:xfrm>
                <a:custGeom>
                  <a:avLst/>
                  <a:gdLst/>
                  <a:ahLst/>
                  <a:cxnLst/>
                  <a:rect l="l" t="t" r="r" b="b"/>
                  <a:pathLst>
                    <a:path w="23934" h="29109" extrusionOk="0">
                      <a:moveTo>
                        <a:pt x="0" y="1"/>
                      </a:moveTo>
                      <a:cubicBezTo>
                        <a:pt x="2303" y="4529"/>
                        <a:pt x="5584" y="9356"/>
                        <a:pt x="10256" y="14001"/>
                      </a:cubicBezTo>
                      <a:cubicBezTo>
                        <a:pt x="13309" y="17038"/>
                        <a:pt x="15593" y="20534"/>
                        <a:pt x="17039" y="24391"/>
                      </a:cubicBezTo>
                      <a:cubicBezTo>
                        <a:pt x="17307" y="25104"/>
                        <a:pt x="17527" y="25832"/>
                        <a:pt x="17698" y="26573"/>
                      </a:cubicBezTo>
                      <a:cubicBezTo>
                        <a:pt x="18040" y="28049"/>
                        <a:pt x="19333" y="29108"/>
                        <a:pt x="20850" y="29108"/>
                      </a:cubicBezTo>
                      <a:lnTo>
                        <a:pt x="23933" y="29108"/>
                      </a:lnTo>
                      <a:lnTo>
                        <a:pt x="23933" y="1"/>
                      </a:lnTo>
                      <a:close/>
                    </a:path>
                  </a:pathLst>
                </a:custGeom>
                <a:solidFill>
                  <a:srgbClr val="DBE3E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7" name="Google Shape;5447;p69"/>
                <p:cNvSpPr/>
                <p:nvPr/>
              </p:nvSpPr>
              <p:spPr>
                <a:xfrm>
                  <a:off x="6854637" y="2107680"/>
                  <a:ext cx="168817" cy="145128"/>
                </a:xfrm>
                <a:custGeom>
                  <a:avLst/>
                  <a:gdLst/>
                  <a:ahLst/>
                  <a:cxnLst/>
                  <a:rect l="l" t="t" r="r" b="b"/>
                  <a:pathLst>
                    <a:path w="28613" h="24598" extrusionOk="0">
                      <a:moveTo>
                        <a:pt x="28612" y="1"/>
                      </a:moveTo>
                      <a:cubicBezTo>
                        <a:pt x="14512" y="876"/>
                        <a:pt x="2911" y="11138"/>
                        <a:pt x="1" y="24597"/>
                      </a:cubicBezTo>
                      <a:lnTo>
                        <a:pt x="28612" y="24597"/>
                      </a:lnTo>
                      <a:lnTo>
                        <a:pt x="28612" y="1"/>
                      </a:lnTo>
                      <a:close/>
                    </a:path>
                  </a:pathLst>
                </a:custGeom>
                <a:solidFill>
                  <a:srgbClr val="8FA1A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48" name="Google Shape;5448;p69"/>
                <p:cNvSpPr/>
                <p:nvPr/>
              </p:nvSpPr>
              <p:spPr>
                <a:xfrm>
                  <a:off x="7046588" y="2412957"/>
                  <a:ext cx="141205" cy="171743"/>
                </a:xfrm>
                <a:custGeom>
                  <a:avLst/>
                  <a:gdLst/>
                  <a:ahLst/>
                  <a:cxnLst/>
                  <a:rect l="l" t="t" r="r" b="b"/>
                  <a:pathLst>
                    <a:path w="23933" h="29109" extrusionOk="0">
                      <a:moveTo>
                        <a:pt x="0" y="1"/>
                      </a:moveTo>
                      <a:lnTo>
                        <a:pt x="0" y="29108"/>
                      </a:lnTo>
                      <a:lnTo>
                        <a:pt x="3084" y="29108"/>
                      </a:lnTo>
                      <a:cubicBezTo>
                        <a:pt x="4600" y="29108"/>
                        <a:pt x="5893" y="28049"/>
                        <a:pt x="6235" y="26573"/>
                      </a:cubicBezTo>
                      <a:cubicBezTo>
                        <a:pt x="6407" y="25832"/>
                        <a:pt x="6627" y="25104"/>
                        <a:pt x="6894" y="24391"/>
                      </a:cubicBezTo>
                      <a:cubicBezTo>
                        <a:pt x="8341" y="20534"/>
                        <a:pt x="10622" y="17038"/>
                        <a:pt x="13678" y="14001"/>
                      </a:cubicBezTo>
                      <a:cubicBezTo>
                        <a:pt x="18349" y="9356"/>
                        <a:pt x="21630" y="4529"/>
                        <a:pt x="23933" y="1"/>
                      </a:cubicBezTo>
                      <a:close/>
                    </a:path>
                  </a:pathLst>
                </a:custGeom>
                <a:solidFill>
                  <a:srgbClr val="374F6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5449" name="Google Shape;5449;p69"/>
          <p:cNvGrpSpPr/>
          <p:nvPr/>
        </p:nvGrpSpPr>
        <p:grpSpPr>
          <a:xfrm>
            <a:off x="7727480" y="2750691"/>
            <a:ext cx="895144" cy="895144"/>
            <a:chOff x="6535625" y="760425"/>
            <a:chExt cx="1665900" cy="1665900"/>
          </a:xfrm>
        </p:grpSpPr>
        <p:sp>
          <p:nvSpPr>
            <p:cNvPr id="5450" name="Google Shape;5450;p69"/>
            <p:cNvSpPr/>
            <p:nvPr/>
          </p:nvSpPr>
          <p:spPr>
            <a:xfrm>
              <a:off x="6535625" y="760425"/>
              <a:ext cx="1665900" cy="16659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1" name="Google Shape;5451;p69"/>
            <p:cNvSpPr/>
            <p:nvPr/>
          </p:nvSpPr>
          <p:spPr>
            <a:xfrm>
              <a:off x="6713675" y="1116525"/>
              <a:ext cx="1309800" cy="13098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2" name="Google Shape;5452;p69"/>
            <p:cNvSpPr/>
            <p:nvPr/>
          </p:nvSpPr>
          <p:spPr>
            <a:xfrm>
              <a:off x="6831275" y="1351725"/>
              <a:ext cx="1074600" cy="1074600"/>
            </a:xfrm>
            <a:prstGeom prst="ellipse">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3" name="Google Shape;5453;p69"/>
            <p:cNvSpPr/>
            <p:nvPr/>
          </p:nvSpPr>
          <p:spPr>
            <a:xfrm>
              <a:off x="6942425" y="1574025"/>
              <a:ext cx="852300" cy="852300"/>
            </a:xfrm>
            <a:prstGeom prst="ellipse">
              <a:avLst/>
            </a:pr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54" name="Google Shape;5454;p69"/>
          <p:cNvGrpSpPr/>
          <p:nvPr/>
        </p:nvGrpSpPr>
        <p:grpSpPr>
          <a:xfrm>
            <a:off x="976570" y="4975224"/>
            <a:ext cx="1787719" cy="854440"/>
            <a:chOff x="238125" y="1151100"/>
            <a:chExt cx="7139450" cy="3412300"/>
          </a:xfrm>
        </p:grpSpPr>
        <p:sp>
          <p:nvSpPr>
            <p:cNvPr id="5455" name="Google Shape;5455;p69"/>
            <p:cNvSpPr/>
            <p:nvPr/>
          </p:nvSpPr>
          <p:spPr>
            <a:xfrm>
              <a:off x="3468350" y="4223875"/>
              <a:ext cx="679000" cy="339525"/>
            </a:xfrm>
            <a:custGeom>
              <a:avLst/>
              <a:gdLst/>
              <a:ahLst/>
              <a:cxnLst/>
              <a:rect l="l" t="t" r="r" b="b"/>
              <a:pathLst>
                <a:path w="27160" h="13581" extrusionOk="0">
                  <a:moveTo>
                    <a:pt x="13580" y="1"/>
                  </a:moveTo>
                  <a:cubicBezTo>
                    <a:pt x="6083" y="1"/>
                    <a:pt x="0" y="6077"/>
                    <a:pt x="0" y="13580"/>
                  </a:cubicBezTo>
                  <a:lnTo>
                    <a:pt x="27159" y="13580"/>
                  </a:lnTo>
                  <a:cubicBezTo>
                    <a:pt x="27159" y="6077"/>
                    <a:pt x="21083" y="1"/>
                    <a:pt x="13580"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6" name="Google Shape;5456;p69"/>
            <p:cNvSpPr/>
            <p:nvPr/>
          </p:nvSpPr>
          <p:spPr>
            <a:xfrm>
              <a:off x="3730250" y="3276125"/>
              <a:ext cx="147275" cy="956575"/>
            </a:xfrm>
            <a:custGeom>
              <a:avLst/>
              <a:gdLst/>
              <a:ahLst/>
              <a:cxnLst/>
              <a:rect l="l" t="t" r="r" b="b"/>
              <a:pathLst>
                <a:path w="5891" h="38263" extrusionOk="0">
                  <a:moveTo>
                    <a:pt x="3276" y="0"/>
                  </a:moveTo>
                  <a:lnTo>
                    <a:pt x="0" y="38263"/>
                  </a:lnTo>
                  <a:lnTo>
                    <a:pt x="5890" y="38194"/>
                  </a:lnTo>
                  <a:lnTo>
                    <a:pt x="3276"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7" name="Google Shape;5457;p69"/>
            <p:cNvSpPr/>
            <p:nvPr/>
          </p:nvSpPr>
          <p:spPr>
            <a:xfrm>
              <a:off x="3796275" y="3875600"/>
              <a:ext cx="839350" cy="630550"/>
            </a:xfrm>
            <a:custGeom>
              <a:avLst/>
              <a:gdLst/>
              <a:ahLst/>
              <a:cxnLst/>
              <a:rect l="l" t="t" r="r" b="b"/>
              <a:pathLst>
                <a:path w="33574" h="25222" extrusionOk="0">
                  <a:moveTo>
                    <a:pt x="32291" y="1"/>
                  </a:moveTo>
                  <a:lnTo>
                    <a:pt x="1" y="23463"/>
                  </a:lnTo>
                  <a:lnTo>
                    <a:pt x="1277" y="25222"/>
                  </a:lnTo>
                  <a:lnTo>
                    <a:pt x="33574" y="1759"/>
                  </a:lnTo>
                  <a:lnTo>
                    <a:pt x="32291"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8" name="Google Shape;5458;p69"/>
            <p:cNvSpPr/>
            <p:nvPr/>
          </p:nvSpPr>
          <p:spPr>
            <a:xfrm>
              <a:off x="6240475" y="3130600"/>
              <a:ext cx="1137100" cy="1432800"/>
            </a:xfrm>
            <a:custGeom>
              <a:avLst/>
              <a:gdLst/>
              <a:ahLst/>
              <a:cxnLst/>
              <a:rect l="l" t="t" r="r" b="b"/>
              <a:pathLst>
                <a:path w="45484" h="57312" extrusionOk="0">
                  <a:moveTo>
                    <a:pt x="30704" y="0"/>
                  </a:moveTo>
                  <a:lnTo>
                    <a:pt x="0" y="13745"/>
                  </a:lnTo>
                  <a:cubicBezTo>
                    <a:pt x="6979" y="27270"/>
                    <a:pt x="11042" y="42111"/>
                    <a:pt x="11917" y="57311"/>
                  </a:cubicBezTo>
                  <a:lnTo>
                    <a:pt x="45484" y="57311"/>
                  </a:lnTo>
                  <a:cubicBezTo>
                    <a:pt x="44594" y="37118"/>
                    <a:pt x="39525" y="17683"/>
                    <a:pt x="30704"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59" name="Google Shape;5459;p69"/>
            <p:cNvSpPr/>
            <p:nvPr/>
          </p:nvSpPr>
          <p:spPr>
            <a:xfrm>
              <a:off x="5243900" y="1696775"/>
              <a:ext cx="1764175" cy="1777475"/>
            </a:xfrm>
            <a:custGeom>
              <a:avLst/>
              <a:gdLst/>
              <a:ahLst/>
              <a:cxnLst/>
              <a:rect l="l" t="t" r="r" b="b"/>
              <a:pathLst>
                <a:path w="70567" h="71099" extrusionOk="0">
                  <a:moveTo>
                    <a:pt x="18573" y="1"/>
                  </a:moveTo>
                  <a:lnTo>
                    <a:pt x="0" y="28008"/>
                  </a:lnTo>
                  <a:cubicBezTo>
                    <a:pt x="16938" y="38505"/>
                    <a:pt x="30711" y="53395"/>
                    <a:pt x="39863" y="71098"/>
                  </a:cubicBezTo>
                  <a:lnTo>
                    <a:pt x="70567" y="57353"/>
                  </a:lnTo>
                  <a:cubicBezTo>
                    <a:pt x="63753" y="43719"/>
                    <a:pt x="54712" y="31125"/>
                    <a:pt x="43629" y="20042"/>
                  </a:cubicBezTo>
                  <a:cubicBezTo>
                    <a:pt x="36049" y="12449"/>
                    <a:pt x="27642" y="5725"/>
                    <a:pt x="18573"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0" name="Google Shape;5460;p69"/>
            <p:cNvSpPr/>
            <p:nvPr/>
          </p:nvSpPr>
          <p:spPr>
            <a:xfrm>
              <a:off x="3812150" y="1151100"/>
              <a:ext cx="1896075" cy="1245900"/>
            </a:xfrm>
            <a:custGeom>
              <a:avLst/>
              <a:gdLst/>
              <a:ahLst/>
              <a:cxnLst/>
              <a:rect l="l" t="t" r="r" b="b"/>
              <a:pathLst>
                <a:path w="75843" h="49836" extrusionOk="0">
                  <a:moveTo>
                    <a:pt x="0" y="0"/>
                  </a:moveTo>
                  <a:lnTo>
                    <a:pt x="0" y="33518"/>
                  </a:lnTo>
                  <a:cubicBezTo>
                    <a:pt x="20987" y="33552"/>
                    <a:pt x="40615" y="39518"/>
                    <a:pt x="57270" y="49835"/>
                  </a:cubicBezTo>
                  <a:lnTo>
                    <a:pt x="75843" y="21828"/>
                  </a:lnTo>
                  <a:cubicBezTo>
                    <a:pt x="53339" y="7641"/>
                    <a:pt x="27256" y="28"/>
                    <a:pt x="0"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1" name="Google Shape;5461;p69"/>
            <p:cNvSpPr/>
            <p:nvPr/>
          </p:nvSpPr>
          <p:spPr>
            <a:xfrm>
              <a:off x="1910550" y="1151100"/>
              <a:ext cx="1901625" cy="1244175"/>
            </a:xfrm>
            <a:custGeom>
              <a:avLst/>
              <a:gdLst/>
              <a:ahLst/>
              <a:cxnLst/>
              <a:rect l="l" t="t" r="r" b="b"/>
              <a:pathLst>
                <a:path w="76065" h="49767" extrusionOk="0">
                  <a:moveTo>
                    <a:pt x="75892" y="0"/>
                  </a:moveTo>
                  <a:cubicBezTo>
                    <a:pt x="48629" y="0"/>
                    <a:pt x="22525" y="7579"/>
                    <a:pt x="1" y="21745"/>
                  </a:cubicBezTo>
                  <a:lnTo>
                    <a:pt x="18574" y="49766"/>
                  </a:lnTo>
                  <a:cubicBezTo>
                    <a:pt x="35250" y="39463"/>
                    <a:pt x="54898" y="33518"/>
                    <a:pt x="75892" y="33518"/>
                  </a:cubicBezTo>
                  <a:lnTo>
                    <a:pt x="76064" y="33518"/>
                  </a:lnTo>
                  <a:lnTo>
                    <a:pt x="76064" y="0"/>
                  </a:ln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2" name="Google Shape;5462;p69"/>
            <p:cNvSpPr/>
            <p:nvPr/>
          </p:nvSpPr>
          <p:spPr>
            <a:xfrm>
              <a:off x="608475" y="1694725"/>
              <a:ext cx="1766425" cy="1778150"/>
            </a:xfrm>
            <a:custGeom>
              <a:avLst/>
              <a:gdLst/>
              <a:ahLst/>
              <a:cxnLst/>
              <a:rect l="l" t="t" r="r" b="b"/>
              <a:pathLst>
                <a:path w="70657" h="71126" extrusionOk="0">
                  <a:moveTo>
                    <a:pt x="52084" y="0"/>
                  </a:moveTo>
                  <a:cubicBezTo>
                    <a:pt x="42959" y="5745"/>
                    <a:pt x="34518" y="12490"/>
                    <a:pt x="26904" y="20124"/>
                  </a:cubicBezTo>
                  <a:cubicBezTo>
                    <a:pt x="15828" y="31194"/>
                    <a:pt x="6800" y="43759"/>
                    <a:pt x="0" y="57373"/>
                  </a:cubicBezTo>
                  <a:lnTo>
                    <a:pt x="30704" y="71125"/>
                  </a:lnTo>
                  <a:cubicBezTo>
                    <a:pt x="39870" y="53401"/>
                    <a:pt x="53677" y="38504"/>
                    <a:pt x="70657" y="28021"/>
                  </a:cubicBezTo>
                  <a:lnTo>
                    <a:pt x="52084"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3" name="Google Shape;5463;p69"/>
            <p:cNvSpPr/>
            <p:nvPr/>
          </p:nvSpPr>
          <p:spPr>
            <a:xfrm>
              <a:off x="238125" y="3129050"/>
              <a:ext cx="1137975" cy="1434175"/>
            </a:xfrm>
            <a:custGeom>
              <a:avLst/>
              <a:gdLst/>
              <a:ahLst/>
              <a:cxnLst/>
              <a:rect l="l" t="t" r="r" b="b"/>
              <a:pathLst>
                <a:path w="45519" h="57367" extrusionOk="0">
                  <a:moveTo>
                    <a:pt x="14814" y="0"/>
                  </a:moveTo>
                  <a:cubicBezTo>
                    <a:pt x="5966" y="17697"/>
                    <a:pt x="890" y="37152"/>
                    <a:pt x="0" y="57366"/>
                  </a:cubicBezTo>
                  <a:lnTo>
                    <a:pt x="33566" y="57366"/>
                  </a:lnTo>
                  <a:cubicBezTo>
                    <a:pt x="34442" y="42152"/>
                    <a:pt x="38511" y="27283"/>
                    <a:pt x="45518" y="13745"/>
                  </a:cubicBezTo>
                  <a:lnTo>
                    <a:pt x="14814"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4" name="Google Shape;5464;p69"/>
            <p:cNvSpPr/>
            <p:nvPr/>
          </p:nvSpPr>
          <p:spPr>
            <a:xfrm>
              <a:off x="1924656" y="1941325"/>
              <a:ext cx="3773110" cy="1646329"/>
            </a:xfrm>
            <a:custGeom>
              <a:avLst/>
              <a:gdLst/>
              <a:ahLst/>
              <a:cxnLst/>
              <a:rect l="l" t="t" r="r" b="b"/>
              <a:pathLst>
                <a:path w="148183" h="64657" extrusionOk="0">
                  <a:moveTo>
                    <a:pt x="74043" y="1"/>
                  </a:moveTo>
                  <a:cubicBezTo>
                    <a:pt x="45518" y="1"/>
                    <a:pt x="19504" y="10966"/>
                    <a:pt x="0" y="28932"/>
                  </a:cubicBezTo>
                  <a:lnTo>
                    <a:pt x="35732" y="64657"/>
                  </a:lnTo>
                  <a:cubicBezTo>
                    <a:pt x="45553" y="54774"/>
                    <a:pt x="59167" y="48663"/>
                    <a:pt x="74208" y="48663"/>
                  </a:cubicBezTo>
                  <a:cubicBezTo>
                    <a:pt x="89215" y="48663"/>
                    <a:pt x="102788" y="54739"/>
                    <a:pt x="112623" y="64567"/>
                  </a:cubicBezTo>
                  <a:lnTo>
                    <a:pt x="148182" y="29008"/>
                  </a:lnTo>
                  <a:cubicBezTo>
                    <a:pt x="128671" y="11008"/>
                    <a:pt x="102623" y="1"/>
                    <a:pt x="74043"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5" name="Google Shape;5465;p69"/>
            <p:cNvSpPr/>
            <p:nvPr/>
          </p:nvSpPr>
          <p:spPr>
            <a:xfrm>
              <a:off x="1028863" y="2678027"/>
              <a:ext cx="1805597" cy="1885320"/>
            </a:xfrm>
            <a:custGeom>
              <a:avLst/>
              <a:gdLst/>
              <a:ahLst/>
              <a:cxnLst/>
              <a:rect l="l" t="t" r="r" b="b"/>
              <a:pathLst>
                <a:path w="70912" h="74043" extrusionOk="0">
                  <a:moveTo>
                    <a:pt x="35180" y="0"/>
                  </a:moveTo>
                  <a:cubicBezTo>
                    <a:pt x="14925" y="18642"/>
                    <a:pt x="1697" y="44814"/>
                    <a:pt x="0" y="74042"/>
                  </a:cubicBezTo>
                  <a:lnTo>
                    <a:pt x="55077" y="74042"/>
                  </a:lnTo>
                  <a:cubicBezTo>
                    <a:pt x="55077" y="59084"/>
                    <a:pt x="61118" y="45545"/>
                    <a:pt x="70912" y="35725"/>
                  </a:cubicBezTo>
                  <a:lnTo>
                    <a:pt x="35180" y="0"/>
                  </a:ln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66" name="Google Shape;5466;p69"/>
            <p:cNvSpPr/>
            <p:nvPr/>
          </p:nvSpPr>
          <p:spPr>
            <a:xfrm>
              <a:off x="4792190" y="2679937"/>
              <a:ext cx="1798951" cy="1883410"/>
            </a:xfrm>
            <a:custGeom>
              <a:avLst/>
              <a:gdLst/>
              <a:ahLst/>
              <a:cxnLst/>
              <a:rect l="l" t="t" r="r" b="b"/>
              <a:pathLst>
                <a:path w="70651" h="73968" extrusionOk="0">
                  <a:moveTo>
                    <a:pt x="35567" y="1"/>
                  </a:moveTo>
                  <a:lnTo>
                    <a:pt x="1" y="35560"/>
                  </a:lnTo>
                  <a:cubicBezTo>
                    <a:pt x="9836" y="45388"/>
                    <a:pt x="15912" y="58967"/>
                    <a:pt x="15912" y="73967"/>
                  </a:cubicBezTo>
                  <a:lnTo>
                    <a:pt x="70650" y="73967"/>
                  </a:lnTo>
                  <a:cubicBezTo>
                    <a:pt x="68954" y="44795"/>
                    <a:pt x="55767" y="18643"/>
                    <a:pt x="35567"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67" name="Google Shape;5467;p69"/>
          <p:cNvGrpSpPr/>
          <p:nvPr/>
        </p:nvGrpSpPr>
        <p:grpSpPr>
          <a:xfrm>
            <a:off x="7466201" y="3912932"/>
            <a:ext cx="1313809" cy="781019"/>
            <a:chOff x="5145061" y="2881789"/>
            <a:chExt cx="1107641" cy="658458"/>
          </a:xfrm>
        </p:grpSpPr>
        <p:grpSp>
          <p:nvGrpSpPr>
            <p:cNvPr id="5468" name="Google Shape;5468;p69"/>
            <p:cNvGrpSpPr/>
            <p:nvPr/>
          </p:nvGrpSpPr>
          <p:grpSpPr>
            <a:xfrm>
              <a:off x="5722989" y="3244587"/>
              <a:ext cx="529713" cy="295659"/>
              <a:chOff x="5722989" y="3244587"/>
              <a:chExt cx="529713" cy="295659"/>
            </a:xfrm>
          </p:grpSpPr>
          <p:sp>
            <p:nvSpPr>
              <p:cNvPr id="5469" name="Google Shape;5469;p69"/>
              <p:cNvSpPr/>
              <p:nvPr/>
            </p:nvSpPr>
            <p:spPr>
              <a:xfrm>
                <a:off x="5722989" y="3244587"/>
                <a:ext cx="341346" cy="295659"/>
              </a:xfrm>
              <a:custGeom>
                <a:avLst/>
                <a:gdLst/>
                <a:ahLst/>
                <a:cxnLst/>
                <a:rect l="l" t="t" r="r" b="b"/>
                <a:pathLst>
                  <a:path w="2576195" h="2231390" extrusionOk="0">
                    <a:moveTo>
                      <a:pt x="1288021" y="0"/>
                    </a:moveTo>
                    <a:lnTo>
                      <a:pt x="0" y="2230932"/>
                    </a:lnTo>
                    <a:lnTo>
                      <a:pt x="2576042" y="2230932"/>
                    </a:lnTo>
                    <a:lnTo>
                      <a:pt x="1288021" y="0"/>
                    </a:lnTo>
                    <a:close/>
                  </a:path>
                </a:pathLst>
              </a:custGeom>
              <a:solidFill>
                <a:srgbClr val="869FB2"/>
              </a:solidFill>
              <a:ln>
                <a:noFill/>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5470" name="Google Shape;5470;p69"/>
              <p:cNvSpPr/>
              <p:nvPr/>
            </p:nvSpPr>
            <p:spPr>
              <a:xfrm>
                <a:off x="6035543" y="3298113"/>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869FB2"/>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5471" name="Google Shape;5471;p69"/>
            <p:cNvGrpSpPr/>
            <p:nvPr/>
          </p:nvGrpSpPr>
          <p:grpSpPr>
            <a:xfrm>
              <a:off x="5145061" y="3244587"/>
              <a:ext cx="536807" cy="295659"/>
              <a:chOff x="5145061" y="3244587"/>
              <a:chExt cx="536807" cy="295659"/>
            </a:xfrm>
          </p:grpSpPr>
          <p:sp>
            <p:nvSpPr>
              <p:cNvPr id="5472" name="Google Shape;5472;p69"/>
              <p:cNvSpPr/>
              <p:nvPr/>
            </p:nvSpPr>
            <p:spPr>
              <a:xfrm>
                <a:off x="5340522" y="3244587"/>
                <a:ext cx="341346" cy="295659"/>
              </a:xfrm>
              <a:custGeom>
                <a:avLst/>
                <a:gdLst/>
                <a:ahLst/>
                <a:cxnLst/>
                <a:rect l="l" t="t" r="r" b="b"/>
                <a:pathLst>
                  <a:path w="2576195" h="2231390" extrusionOk="0">
                    <a:moveTo>
                      <a:pt x="1288034" y="0"/>
                    </a:moveTo>
                    <a:lnTo>
                      <a:pt x="0" y="2230920"/>
                    </a:lnTo>
                    <a:lnTo>
                      <a:pt x="2576055" y="2230920"/>
                    </a:lnTo>
                    <a:lnTo>
                      <a:pt x="1288034" y="0"/>
                    </a:lnTo>
                    <a:close/>
                  </a:path>
                </a:pathLst>
              </a:custGeom>
              <a:solidFill>
                <a:srgbClr val="5F7D95"/>
              </a:solidFill>
              <a:ln>
                <a:noFill/>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5473" name="Google Shape;5473;p69"/>
              <p:cNvSpPr/>
              <p:nvPr/>
            </p:nvSpPr>
            <p:spPr>
              <a:xfrm flipH="1">
                <a:off x="5145061" y="3298599"/>
                <a:ext cx="217159" cy="22492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5F7D95"/>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5474" name="Google Shape;5474;p69"/>
            <p:cNvGrpSpPr/>
            <p:nvPr/>
          </p:nvGrpSpPr>
          <p:grpSpPr>
            <a:xfrm>
              <a:off x="5341327" y="2898245"/>
              <a:ext cx="532309" cy="614891"/>
              <a:chOff x="5341327" y="2898245"/>
              <a:chExt cx="532309" cy="614891"/>
            </a:xfrm>
          </p:grpSpPr>
          <p:sp>
            <p:nvSpPr>
              <p:cNvPr id="5475" name="Google Shape;5475;p69"/>
              <p:cNvSpPr/>
              <p:nvPr/>
            </p:nvSpPr>
            <p:spPr>
              <a:xfrm>
                <a:off x="5532290" y="3217476"/>
                <a:ext cx="341346" cy="295659"/>
              </a:xfrm>
              <a:custGeom>
                <a:avLst/>
                <a:gdLst/>
                <a:ahLst/>
                <a:cxnLst/>
                <a:rect l="l" t="t" r="r" b="b"/>
                <a:pathLst>
                  <a:path w="2576195" h="2231390" extrusionOk="0">
                    <a:moveTo>
                      <a:pt x="2576042" y="0"/>
                    </a:moveTo>
                    <a:lnTo>
                      <a:pt x="0" y="0"/>
                    </a:lnTo>
                    <a:lnTo>
                      <a:pt x="1288021" y="2230920"/>
                    </a:lnTo>
                    <a:lnTo>
                      <a:pt x="2576042" y="0"/>
                    </a:lnTo>
                    <a:close/>
                  </a:path>
                </a:pathLst>
              </a:custGeom>
              <a:solidFill>
                <a:srgbClr val="E3E9ED"/>
              </a:solidFill>
              <a:ln>
                <a:noFill/>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5476" name="Google Shape;5476;p69"/>
              <p:cNvSpPr/>
              <p:nvPr/>
            </p:nvSpPr>
            <p:spPr>
              <a:xfrm flipH="1">
                <a:off x="5341327" y="2898245"/>
                <a:ext cx="217159" cy="334508"/>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E3E9ED"/>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nvGrpSpPr>
            <p:cNvPr id="5477" name="Google Shape;5477;p69"/>
            <p:cNvGrpSpPr/>
            <p:nvPr/>
          </p:nvGrpSpPr>
          <p:grpSpPr>
            <a:xfrm>
              <a:off x="5532290" y="2881789"/>
              <a:ext cx="620516" cy="305456"/>
              <a:chOff x="5532290" y="2881789"/>
              <a:chExt cx="620516" cy="305456"/>
            </a:xfrm>
          </p:grpSpPr>
          <p:sp>
            <p:nvSpPr>
              <p:cNvPr id="5478" name="Google Shape;5478;p69"/>
              <p:cNvSpPr/>
              <p:nvPr/>
            </p:nvSpPr>
            <p:spPr>
              <a:xfrm>
                <a:off x="5532290" y="2891586"/>
                <a:ext cx="341346" cy="295659"/>
              </a:xfrm>
              <a:custGeom>
                <a:avLst/>
                <a:gdLst/>
                <a:ahLst/>
                <a:cxnLst/>
                <a:rect l="l" t="t" r="r" b="b"/>
                <a:pathLst>
                  <a:path w="2576195" h="2231390" extrusionOk="0">
                    <a:moveTo>
                      <a:pt x="1288021" y="0"/>
                    </a:moveTo>
                    <a:lnTo>
                      <a:pt x="0" y="2230920"/>
                    </a:lnTo>
                    <a:lnTo>
                      <a:pt x="2576042" y="2230920"/>
                    </a:lnTo>
                    <a:lnTo>
                      <a:pt x="1288021" y="0"/>
                    </a:lnTo>
                    <a:close/>
                  </a:path>
                </a:pathLst>
              </a:custGeom>
              <a:solidFill>
                <a:srgbClr val="435D74"/>
              </a:solidFill>
              <a:ln>
                <a:noFill/>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sp>
            <p:nvSpPr>
              <p:cNvPr id="5479" name="Google Shape;5479;p69"/>
              <p:cNvSpPr/>
              <p:nvPr/>
            </p:nvSpPr>
            <p:spPr>
              <a:xfrm>
                <a:off x="5837311" y="2881789"/>
                <a:ext cx="315495" cy="288369"/>
              </a:xfrm>
              <a:custGeom>
                <a:avLst/>
                <a:gdLst/>
                <a:ahLst/>
                <a:cxnLst/>
                <a:rect l="l" t="t" r="r" b="b"/>
                <a:pathLst>
                  <a:path w="1638934" h="2306954" extrusionOk="0">
                    <a:moveTo>
                      <a:pt x="1638680" y="0"/>
                    </a:moveTo>
                    <a:lnTo>
                      <a:pt x="697255" y="0"/>
                    </a:lnTo>
                    <a:lnTo>
                      <a:pt x="697255" y="2306535"/>
                    </a:lnTo>
                    <a:lnTo>
                      <a:pt x="0" y="2306535"/>
                    </a:lnTo>
                  </a:path>
                </a:pathLst>
              </a:custGeom>
              <a:noFill/>
              <a:ln w="28575" cap="flat" cmpd="sng">
                <a:solidFill>
                  <a:srgbClr val="435D74"/>
                </a:solidFill>
                <a:prstDash val="solid"/>
                <a:round/>
                <a:headEnd type="none" w="sm" len="sm"/>
                <a:tailEnd type="none" w="sm" len="sm"/>
              </a:ln>
            </p:spPr>
            <p:txBody>
              <a:bodyPr spcFirstLastPara="1" wrap="square" lIns="0" tIns="0" rIns="0" bIns="0" anchor="t" anchorCtr="0">
                <a:noAutofit/>
              </a:bodyPr>
              <a:lstStyle/>
              <a:p>
                <a:pPr defTabSz="1219170">
                  <a:buClr>
                    <a:srgbClr val="000000"/>
                  </a:buClr>
                </a:pPr>
                <a:endParaRPr sz="1200" kern="0">
                  <a:solidFill>
                    <a:srgbClr val="000000"/>
                  </a:solidFill>
                  <a:latin typeface="Arial"/>
                  <a:cs typeface="Arial"/>
                  <a:sym typeface="Arial"/>
                </a:endParaRPr>
              </a:p>
            </p:txBody>
          </p:sp>
        </p:grpSp>
      </p:grpSp>
      <p:grpSp>
        <p:nvGrpSpPr>
          <p:cNvPr id="5480" name="Google Shape;5480;p69"/>
          <p:cNvGrpSpPr/>
          <p:nvPr/>
        </p:nvGrpSpPr>
        <p:grpSpPr>
          <a:xfrm>
            <a:off x="10904764" y="4969010"/>
            <a:ext cx="358757" cy="860655"/>
            <a:chOff x="7026852" y="3311869"/>
            <a:chExt cx="434331" cy="1041954"/>
          </a:xfrm>
        </p:grpSpPr>
        <p:sp>
          <p:nvSpPr>
            <p:cNvPr id="5481" name="Google Shape;5481;p69"/>
            <p:cNvSpPr/>
            <p:nvPr/>
          </p:nvSpPr>
          <p:spPr>
            <a:xfrm>
              <a:off x="7026852" y="3311869"/>
              <a:ext cx="434331" cy="847405"/>
            </a:xfrm>
            <a:custGeom>
              <a:avLst/>
              <a:gdLst/>
              <a:ahLst/>
              <a:cxnLst/>
              <a:rect l="l" t="t" r="r" b="b"/>
              <a:pathLst>
                <a:path w="16734" h="32649" extrusionOk="0">
                  <a:moveTo>
                    <a:pt x="8369" y="0"/>
                  </a:moveTo>
                  <a:cubicBezTo>
                    <a:pt x="3747" y="0"/>
                    <a:pt x="1" y="3747"/>
                    <a:pt x="1" y="8366"/>
                  </a:cubicBezTo>
                  <a:lnTo>
                    <a:pt x="1" y="32649"/>
                  </a:lnTo>
                  <a:lnTo>
                    <a:pt x="16734" y="32649"/>
                  </a:lnTo>
                  <a:lnTo>
                    <a:pt x="16734" y="8366"/>
                  </a:lnTo>
                  <a:cubicBezTo>
                    <a:pt x="16734" y="3744"/>
                    <a:pt x="12987" y="0"/>
                    <a:pt x="836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2" name="Google Shape;5482;p69"/>
            <p:cNvSpPr/>
            <p:nvPr/>
          </p:nvSpPr>
          <p:spPr>
            <a:xfrm>
              <a:off x="7082395" y="3359392"/>
              <a:ext cx="323321" cy="323321"/>
            </a:xfrm>
            <a:custGeom>
              <a:avLst/>
              <a:gdLst/>
              <a:ahLst/>
              <a:cxnLst/>
              <a:rect l="l" t="t" r="r" b="b"/>
              <a:pathLst>
                <a:path w="12457" h="12457" extrusionOk="0">
                  <a:moveTo>
                    <a:pt x="6229" y="1"/>
                  </a:moveTo>
                  <a:cubicBezTo>
                    <a:pt x="2788" y="1"/>
                    <a:pt x="1" y="2788"/>
                    <a:pt x="1" y="6229"/>
                  </a:cubicBezTo>
                  <a:cubicBezTo>
                    <a:pt x="1" y="9670"/>
                    <a:pt x="2788" y="12457"/>
                    <a:pt x="6229" y="12457"/>
                  </a:cubicBezTo>
                  <a:cubicBezTo>
                    <a:pt x="9666" y="12457"/>
                    <a:pt x="12457" y="9670"/>
                    <a:pt x="12457" y="6229"/>
                  </a:cubicBezTo>
                  <a:cubicBezTo>
                    <a:pt x="12457" y="2788"/>
                    <a:pt x="9666" y="1"/>
                    <a:pt x="6229" y="1"/>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3" name="Google Shape;5483;p69"/>
            <p:cNvSpPr/>
            <p:nvPr/>
          </p:nvSpPr>
          <p:spPr>
            <a:xfrm>
              <a:off x="7026852" y="4159239"/>
              <a:ext cx="434331" cy="194585"/>
            </a:xfrm>
            <a:custGeom>
              <a:avLst/>
              <a:gdLst/>
              <a:ahLst/>
              <a:cxnLst/>
              <a:rect l="l" t="t" r="r" b="b"/>
              <a:pathLst>
                <a:path w="16734" h="7497" extrusionOk="0">
                  <a:moveTo>
                    <a:pt x="1" y="1"/>
                  </a:moveTo>
                  <a:lnTo>
                    <a:pt x="8369" y="7496"/>
                  </a:lnTo>
                  <a:lnTo>
                    <a:pt x="16734"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84" name="Google Shape;5484;p69"/>
          <p:cNvGrpSpPr/>
          <p:nvPr/>
        </p:nvGrpSpPr>
        <p:grpSpPr>
          <a:xfrm>
            <a:off x="8260205" y="5021327"/>
            <a:ext cx="391843" cy="391781"/>
            <a:chOff x="4873519" y="3311869"/>
            <a:chExt cx="499374" cy="499296"/>
          </a:xfrm>
        </p:grpSpPr>
        <p:sp>
          <p:nvSpPr>
            <p:cNvPr id="5485" name="Google Shape;5485;p69"/>
            <p:cNvSpPr/>
            <p:nvPr/>
          </p:nvSpPr>
          <p:spPr>
            <a:xfrm>
              <a:off x="4873519" y="3311869"/>
              <a:ext cx="499374" cy="499296"/>
            </a:xfrm>
            <a:custGeom>
              <a:avLst/>
              <a:gdLst/>
              <a:ahLst/>
              <a:cxnLst/>
              <a:rect l="l" t="t" r="r" b="b"/>
              <a:pathLst>
                <a:path w="19240" h="19237" extrusionOk="0">
                  <a:moveTo>
                    <a:pt x="1" y="0"/>
                  </a:moveTo>
                  <a:lnTo>
                    <a:pt x="1" y="9618"/>
                  </a:lnTo>
                  <a:cubicBezTo>
                    <a:pt x="1" y="14929"/>
                    <a:pt x="4308" y="19236"/>
                    <a:pt x="9619" y="19236"/>
                  </a:cubicBezTo>
                  <a:cubicBezTo>
                    <a:pt x="14933" y="19236"/>
                    <a:pt x="19240" y="14929"/>
                    <a:pt x="19240" y="9618"/>
                  </a:cubicBezTo>
                  <a:cubicBezTo>
                    <a:pt x="19240" y="4307"/>
                    <a:pt x="14933" y="0"/>
                    <a:pt x="9619"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6" name="Google Shape;5486;p69"/>
            <p:cNvSpPr/>
            <p:nvPr/>
          </p:nvSpPr>
          <p:spPr>
            <a:xfrm>
              <a:off x="4894620" y="3329830"/>
              <a:ext cx="202112" cy="182386"/>
            </a:xfrm>
            <a:custGeom>
              <a:avLst/>
              <a:gdLst/>
              <a:ahLst/>
              <a:cxnLst/>
              <a:rect l="l" t="t" r="r" b="b"/>
              <a:pathLst>
                <a:path w="7787" h="7027" extrusionOk="0">
                  <a:moveTo>
                    <a:pt x="0" y="1"/>
                  </a:moveTo>
                  <a:lnTo>
                    <a:pt x="0" y="7026"/>
                  </a:lnTo>
                  <a:lnTo>
                    <a:pt x="7787" y="1"/>
                  </a:ln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87" name="Google Shape;5487;p69"/>
          <p:cNvGrpSpPr/>
          <p:nvPr/>
        </p:nvGrpSpPr>
        <p:grpSpPr>
          <a:xfrm>
            <a:off x="8260205" y="5437821"/>
            <a:ext cx="391843" cy="391843"/>
            <a:chOff x="4873519" y="3875839"/>
            <a:chExt cx="499374" cy="499374"/>
          </a:xfrm>
        </p:grpSpPr>
        <p:sp>
          <p:nvSpPr>
            <p:cNvPr id="5488" name="Google Shape;5488;p69"/>
            <p:cNvSpPr/>
            <p:nvPr/>
          </p:nvSpPr>
          <p:spPr>
            <a:xfrm>
              <a:off x="4873519" y="3875839"/>
              <a:ext cx="499374" cy="499374"/>
            </a:xfrm>
            <a:custGeom>
              <a:avLst/>
              <a:gdLst/>
              <a:ahLst/>
              <a:cxnLst/>
              <a:rect l="l" t="t" r="r" b="b"/>
              <a:pathLst>
                <a:path w="19240" h="19240" extrusionOk="0">
                  <a:moveTo>
                    <a:pt x="1" y="1"/>
                  </a:moveTo>
                  <a:lnTo>
                    <a:pt x="1" y="9619"/>
                  </a:lnTo>
                  <a:cubicBezTo>
                    <a:pt x="1" y="14930"/>
                    <a:pt x="4308" y="19240"/>
                    <a:pt x="9619" y="19240"/>
                  </a:cubicBezTo>
                  <a:cubicBezTo>
                    <a:pt x="14933" y="19240"/>
                    <a:pt x="19240" y="14933"/>
                    <a:pt x="19240" y="9619"/>
                  </a:cubicBezTo>
                  <a:lnTo>
                    <a:pt x="19240"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89" name="Google Shape;5489;p69"/>
            <p:cNvSpPr/>
            <p:nvPr/>
          </p:nvSpPr>
          <p:spPr>
            <a:xfrm>
              <a:off x="4894620" y="3893826"/>
              <a:ext cx="202112" cy="182360"/>
            </a:xfrm>
            <a:custGeom>
              <a:avLst/>
              <a:gdLst/>
              <a:ahLst/>
              <a:cxnLst/>
              <a:rect l="l" t="t" r="r" b="b"/>
              <a:pathLst>
                <a:path w="7787" h="7026" extrusionOk="0">
                  <a:moveTo>
                    <a:pt x="0" y="0"/>
                  </a:moveTo>
                  <a:lnTo>
                    <a:pt x="0" y="7026"/>
                  </a:lnTo>
                  <a:lnTo>
                    <a:pt x="7787" y="0"/>
                  </a:ln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90" name="Google Shape;5490;p69"/>
          <p:cNvGrpSpPr/>
          <p:nvPr/>
        </p:nvGrpSpPr>
        <p:grpSpPr>
          <a:xfrm>
            <a:off x="3234242" y="2733759"/>
            <a:ext cx="930805" cy="930944"/>
            <a:chOff x="2565073" y="2075876"/>
            <a:chExt cx="672482" cy="672518"/>
          </a:xfrm>
        </p:grpSpPr>
        <p:sp>
          <p:nvSpPr>
            <p:cNvPr id="5491" name="Google Shape;5491;p69"/>
            <p:cNvSpPr/>
            <p:nvPr/>
          </p:nvSpPr>
          <p:spPr>
            <a:xfrm>
              <a:off x="2642193" y="2530650"/>
              <a:ext cx="419588" cy="217743"/>
            </a:xfrm>
            <a:custGeom>
              <a:avLst/>
              <a:gdLst/>
              <a:ahLst/>
              <a:cxnLst/>
              <a:rect l="l" t="t" r="r" b="b"/>
              <a:pathLst>
                <a:path w="130611" h="67780" extrusionOk="0">
                  <a:moveTo>
                    <a:pt x="28498" y="0"/>
                  </a:moveTo>
                  <a:cubicBezTo>
                    <a:pt x="24484" y="0"/>
                    <a:pt x="20456" y="1023"/>
                    <a:pt x="16802" y="3132"/>
                  </a:cubicBezTo>
                  <a:lnTo>
                    <a:pt x="16191" y="3487"/>
                  </a:lnTo>
                  <a:cubicBezTo>
                    <a:pt x="1795" y="11796"/>
                    <a:pt x="1" y="31826"/>
                    <a:pt x="12628" y="42639"/>
                  </a:cubicBezTo>
                  <a:cubicBezTo>
                    <a:pt x="28340" y="56094"/>
                    <a:pt x="48088" y="64970"/>
                    <a:pt x="69808" y="67207"/>
                  </a:cubicBezTo>
                  <a:cubicBezTo>
                    <a:pt x="70015" y="67227"/>
                    <a:pt x="70217" y="67252"/>
                    <a:pt x="70419" y="67271"/>
                  </a:cubicBezTo>
                  <a:cubicBezTo>
                    <a:pt x="70804" y="67306"/>
                    <a:pt x="71188" y="67345"/>
                    <a:pt x="71572" y="67375"/>
                  </a:cubicBezTo>
                  <a:cubicBezTo>
                    <a:pt x="72080" y="67419"/>
                    <a:pt x="72588" y="67464"/>
                    <a:pt x="73100" y="67498"/>
                  </a:cubicBezTo>
                  <a:lnTo>
                    <a:pt x="73440" y="67523"/>
                  </a:lnTo>
                  <a:cubicBezTo>
                    <a:pt x="75877" y="67694"/>
                    <a:pt x="78323" y="67780"/>
                    <a:pt x="80773" y="67780"/>
                  </a:cubicBezTo>
                  <a:cubicBezTo>
                    <a:pt x="97672" y="67780"/>
                    <a:pt x="114788" y="63683"/>
                    <a:pt x="130611" y="55083"/>
                  </a:cubicBezTo>
                  <a:lnTo>
                    <a:pt x="106348" y="13068"/>
                  </a:lnTo>
                  <a:cubicBezTo>
                    <a:pt x="98422" y="17162"/>
                    <a:pt x="89641" y="19287"/>
                    <a:pt x="80747" y="19287"/>
                  </a:cubicBezTo>
                  <a:cubicBezTo>
                    <a:pt x="79675" y="19287"/>
                    <a:pt x="78601" y="19256"/>
                    <a:pt x="77526" y="19194"/>
                  </a:cubicBezTo>
                  <a:cubicBezTo>
                    <a:pt x="77220" y="19174"/>
                    <a:pt x="76910" y="19149"/>
                    <a:pt x="76599" y="19130"/>
                  </a:cubicBezTo>
                  <a:cubicBezTo>
                    <a:pt x="76072" y="19090"/>
                    <a:pt x="75545" y="19051"/>
                    <a:pt x="75017" y="18997"/>
                  </a:cubicBezTo>
                  <a:cubicBezTo>
                    <a:pt x="74943" y="18992"/>
                    <a:pt x="74865" y="18982"/>
                    <a:pt x="74791" y="18972"/>
                  </a:cubicBezTo>
                  <a:cubicBezTo>
                    <a:pt x="73347" y="18819"/>
                    <a:pt x="71908" y="18612"/>
                    <a:pt x="70478" y="18351"/>
                  </a:cubicBezTo>
                  <a:cubicBezTo>
                    <a:pt x="70409" y="18336"/>
                    <a:pt x="70340" y="18331"/>
                    <a:pt x="70266" y="18317"/>
                  </a:cubicBezTo>
                  <a:cubicBezTo>
                    <a:pt x="60646" y="16518"/>
                    <a:pt x="51666" y="12220"/>
                    <a:pt x="44224" y="5857"/>
                  </a:cubicBezTo>
                  <a:cubicBezTo>
                    <a:pt x="39725" y="2011"/>
                    <a:pt x="34125" y="0"/>
                    <a:pt x="28498"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2" name="Google Shape;5492;p69"/>
            <p:cNvSpPr/>
            <p:nvPr/>
          </p:nvSpPr>
          <p:spPr>
            <a:xfrm>
              <a:off x="2910083" y="2420918"/>
              <a:ext cx="327379" cy="312727"/>
            </a:xfrm>
            <a:custGeom>
              <a:avLst/>
              <a:gdLst/>
              <a:ahLst/>
              <a:cxnLst/>
              <a:rect l="l" t="t" r="r" b="b"/>
              <a:pathLst>
                <a:path w="101908" h="97347" extrusionOk="0">
                  <a:moveTo>
                    <a:pt x="53377" y="1"/>
                  </a:moveTo>
                  <a:cubicBezTo>
                    <a:pt x="52884" y="9843"/>
                    <a:pt x="49823" y="19390"/>
                    <a:pt x="44495" y="27689"/>
                  </a:cubicBezTo>
                  <a:lnTo>
                    <a:pt x="44490" y="27684"/>
                  </a:lnTo>
                  <a:cubicBezTo>
                    <a:pt x="37847" y="37980"/>
                    <a:pt x="27936" y="45964"/>
                    <a:pt x="16216" y="50163"/>
                  </a:cubicBezTo>
                  <a:cubicBezTo>
                    <a:pt x="6521" y="53638"/>
                    <a:pt x="1" y="62746"/>
                    <a:pt x="1" y="73041"/>
                  </a:cubicBezTo>
                  <a:cubicBezTo>
                    <a:pt x="1" y="86873"/>
                    <a:pt x="11336" y="97347"/>
                    <a:pt x="24173" y="97347"/>
                  </a:cubicBezTo>
                  <a:cubicBezTo>
                    <a:pt x="26820" y="97347"/>
                    <a:pt x="29530" y="96902"/>
                    <a:pt x="32219" y="95949"/>
                  </a:cubicBezTo>
                  <a:cubicBezTo>
                    <a:pt x="49306" y="89897"/>
                    <a:pt x="64347" y="79537"/>
                    <a:pt x="76048" y="66171"/>
                  </a:cubicBezTo>
                  <a:cubicBezTo>
                    <a:pt x="76329" y="65870"/>
                    <a:pt x="76609" y="65570"/>
                    <a:pt x="76881" y="65254"/>
                  </a:cubicBezTo>
                  <a:cubicBezTo>
                    <a:pt x="92548" y="46905"/>
                    <a:pt x="101267" y="23751"/>
                    <a:pt x="101907"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3" name="Google Shape;5493;p69"/>
            <p:cNvSpPr/>
            <p:nvPr/>
          </p:nvSpPr>
          <p:spPr>
            <a:xfrm>
              <a:off x="2999034" y="2125384"/>
              <a:ext cx="238522" cy="411351"/>
            </a:xfrm>
            <a:custGeom>
              <a:avLst/>
              <a:gdLst/>
              <a:ahLst/>
              <a:cxnLst/>
              <a:rect l="l" t="t" r="r" b="b"/>
              <a:pathLst>
                <a:path w="74248" h="128047" extrusionOk="0">
                  <a:moveTo>
                    <a:pt x="24273" y="0"/>
                  </a:moveTo>
                  <a:lnTo>
                    <a:pt x="0" y="42036"/>
                  </a:lnTo>
                  <a:cubicBezTo>
                    <a:pt x="7521" y="46866"/>
                    <a:pt x="13775" y="53430"/>
                    <a:pt x="18236" y="61173"/>
                  </a:cubicBezTo>
                  <a:cubicBezTo>
                    <a:pt x="18694" y="61966"/>
                    <a:pt x="19128" y="62765"/>
                    <a:pt x="19542" y="63573"/>
                  </a:cubicBezTo>
                  <a:cubicBezTo>
                    <a:pt x="19601" y="63696"/>
                    <a:pt x="19665" y="63829"/>
                    <a:pt x="19729" y="63953"/>
                  </a:cubicBezTo>
                  <a:cubicBezTo>
                    <a:pt x="19970" y="64426"/>
                    <a:pt x="20202" y="64904"/>
                    <a:pt x="20429" y="65382"/>
                  </a:cubicBezTo>
                  <a:cubicBezTo>
                    <a:pt x="20557" y="65658"/>
                    <a:pt x="20685" y="65929"/>
                    <a:pt x="20808" y="66210"/>
                  </a:cubicBezTo>
                  <a:cubicBezTo>
                    <a:pt x="21079" y="66806"/>
                    <a:pt x="21346" y="67408"/>
                    <a:pt x="21592" y="68014"/>
                  </a:cubicBezTo>
                  <a:cubicBezTo>
                    <a:pt x="21676" y="68226"/>
                    <a:pt x="21755" y="68433"/>
                    <a:pt x="21838" y="68645"/>
                  </a:cubicBezTo>
                  <a:cubicBezTo>
                    <a:pt x="22036" y="69142"/>
                    <a:pt x="22223" y="69645"/>
                    <a:pt x="22405" y="70148"/>
                  </a:cubicBezTo>
                  <a:cubicBezTo>
                    <a:pt x="25816" y="79561"/>
                    <a:pt x="26649" y="89714"/>
                    <a:pt x="24815" y="99561"/>
                  </a:cubicBezTo>
                  <a:cubicBezTo>
                    <a:pt x="22952" y="109586"/>
                    <a:pt x="27738" y="119679"/>
                    <a:pt x="36570" y="124780"/>
                  </a:cubicBezTo>
                  <a:cubicBezTo>
                    <a:pt x="40441" y="127014"/>
                    <a:pt x="44590" y="128047"/>
                    <a:pt x="48651" y="128047"/>
                  </a:cubicBezTo>
                  <a:cubicBezTo>
                    <a:pt x="59837" y="128047"/>
                    <a:pt x="70356" y="120215"/>
                    <a:pt x="72558" y="108102"/>
                  </a:cubicBezTo>
                  <a:cubicBezTo>
                    <a:pt x="73686" y="101887"/>
                    <a:pt x="74248" y="95579"/>
                    <a:pt x="74248" y="89261"/>
                  </a:cubicBezTo>
                  <a:cubicBezTo>
                    <a:pt x="74243" y="71168"/>
                    <a:pt x="69655" y="54150"/>
                    <a:pt x="61577" y="39305"/>
                  </a:cubicBezTo>
                  <a:lnTo>
                    <a:pt x="61557" y="39315"/>
                  </a:lnTo>
                  <a:cubicBezTo>
                    <a:pt x="61123" y="38517"/>
                    <a:pt x="60680" y="37723"/>
                    <a:pt x="60222" y="36930"/>
                  </a:cubicBezTo>
                  <a:cubicBezTo>
                    <a:pt x="51178" y="21262"/>
                    <a:pt x="38694" y="8818"/>
                    <a:pt x="24273"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4" name="Google Shape;5494;p69"/>
            <p:cNvSpPr/>
            <p:nvPr/>
          </p:nvSpPr>
          <p:spPr>
            <a:xfrm>
              <a:off x="2740849" y="2075876"/>
              <a:ext cx="419604" cy="217734"/>
            </a:xfrm>
            <a:custGeom>
              <a:avLst/>
              <a:gdLst/>
              <a:ahLst/>
              <a:cxnLst/>
              <a:rect l="l" t="t" r="r" b="b"/>
              <a:pathLst>
                <a:path w="130616" h="67777" extrusionOk="0">
                  <a:moveTo>
                    <a:pt x="49853" y="1"/>
                  </a:moveTo>
                  <a:cubicBezTo>
                    <a:pt x="32949" y="1"/>
                    <a:pt x="15828" y="4093"/>
                    <a:pt x="0" y="12696"/>
                  </a:cubicBezTo>
                  <a:lnTo>
                    <a:pt x="24263" y="54711"/>
                  </a:lnTo>
                  <a:cubicBezTo>
                    <a:pt x="32189" y="50621"/>
                    <a:pt x="40970" y="48497"/>
                    <a:pt x="49860" y="48497"/>
                  </a:cubicBezTo>
                  <a:cubicBezTo>
                    <a:pt x="50932" y="48497"/>
                    <a:pt x="52006" y="48528"/>
                    <a:pt x="53080" y="48590"/>
                  </a:cubicBezTo>
                  <a:cubicBezTo>
                    <a:pt x="53391" y="48605"/>
                    <a:pt x="53701" y="48630"/>
                    <a:pt x="54012" y="48649"/>
                  </a:cubicBezTo>
                  <a:cubicBezTo>
                    <a:pt x="54539" y="48689"/>
                    <a:pt x="55066" y="48728"/>
                    <a:pt x="55594" y="48782"/>
                  </a:cubicBezTo>
                  <a:cubicBezTo>
                    <a:pt x="55668" y="48792"/>
                    <a:pt x="55746" y="48802"/>
                    <a:pt x="55820" y="48807"/>
                  </a:cubicBezTo>
                  <a:cubicBezTo>
                    <a:pt x="57264" y="48960"/>
                    <a:pt x="58704" y="49172"/>
                    <a:pt x="60133" y="49433"/>
                  </a:cubicBezTo>
                  <a:cubicBezTo>
                    <a:pt x="60202" y="49448"/>
                    <a:pt x="60271" y="49453"/>
                    <a:pt x="60345" y="49462"/>
                  </a:cubicBezTo>
                  <a:cubicBezTo>
                    <a:pt x="69965" y="51266"/>
                    <a:pt x="78945" y="55564"/>
                    <a:pt x="86387" y="61927"/>
                  </a:cubicBezTo>
                  <a:cubicBezTo>
                    <a:pt x="90886" y="65767"/>
                    <a:pt x="96484" y="67777"/>
                    <a:pt x="102111" y="67777"/>
                  </a:cubicBezTo>
                  <a:cubicBezTo>
                    <a:pt x="106125" y="67777"/>
                    <a:pt x="110154" y="66754"/>
                    <a:pt x="113809" y="64642"/>
                  </a:cubicBezTo>
                  <a:lnTo>
                    <a:pt x="114420" y="64292"/>
                  </a:lnTo>
                  <a:cubicBezTo>
                    <a:pt x="128816" y="55983"/>
                    <a:pt x="130615" y="35958"/>
                    <a:pt x="117988" y="25140"/>
                  </a:cubicBezTo>
                  <a:cubicBezTo>
                    <a:pt x="102271" y="11685"/>
                    <a:pt x="82523" y="2809"/>
                    <a:pt x="60803" y="572"/>
                  </a:cubicBezTo>
                  <a:cubicBezTo>
                    <a:pt x="60596" y="552"/>
                    <a:pt x="60394" y="532"/>
                    <a:pt x="60192" y="513"/>
                  </a:cubicBezTo>
                  <a:cubicBezTo>
                    <a:pt x="59808" y="473"/>
                    <a:pt x="59423" y="439"/>
                    <a:pt x="59039" y="404"/>
                  </a:cubicBezTo>
                  <a:cubicBezTo>
                    <a:pt x="58531" y="360"/>
                    <a:pt x="58023" y="320"/>
                    <a:pt x="57511" y="281"/>
                  </a:cubicBezTo>
                  <a:lnTo>
                    <a:pt x="57171" y="256"/>
                  </a:lnTo>
                  <a:cubicBezTo>
                    <a:pt x="54739" y="86"/>
                    <a:pt x="52298" y="1"/>
                    <a:pt x="4985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5" name="Google Shape;5495;p69"/>
            <p:cNvSpPr/>
            <p:nvPr/>
          </p:nvSpPr>
          <p:spPr>
            <a:xfrm>
              <a:off x="2565167" y="2090625"/>
              <a:ext cx="327379" cy="312740"/>
            </a:xfrm>
            <a:custGeom>
              <a:avLst/>
              <a:gdLst/>
              <a:ahLst/>
              <a:cxnLst/>
              <a:rect l="l" t="t" r="r" b="b"/>
              <a:pathLst>
                <a:path w="101908" h="97351" extrusionOk="0">
                  <a:moveTo>
                    <a:pt x="77732" y="1"/>
                  </a:moveTo>
                  <a:cubicBezTo>
                    <a:pt x="75086" y="1"/>
                    <a:pt x="72377" y="446"/>
                    <a:pt x="69690" y="1397"/>
                  </a:cubicBezTo>
                  <a:cubicBezTo>
                    <a:pt x="52607" y="7449"/>
                    <a:pt x="37561" y="17814"/>
                    <a:pt x="25865" y="31175"/>
                  </a:cubicBezTo>
                  <a:cubicBezTo>
                    <a:pt x="25580" y="31476"/>
                    <a:pt x="25299" y="31776"/>
                    <a:pt x="25028" y="32097"/>
                  </a:cubicBezTo>
                  <a:cubicBezTo>
                    <a:pt x="9365" y="50441"/>
                    <a:pt x="646" y="73600"/>
                    <a:pt x="1" y="97350"/>
                  </a:cubicBezTo>
                  <a:lnTo>
                    <a:pt x="48536" y="97350"/>
                  </a:lnTo>
                  <a:cubicBezTo>
                    <a:pt x="49024" y="87503"/>
                    <a:pt x="52085" y="77956"/>
                    <a:pt x="57413" y="69662"/>
                  </a:cubicBezTo>
                  <a:lnTo>
                    <a:pt x="57418" y="69662"/>
                  </a:lnTo>
                  <a:cubicBezTo>
                    <a:pt x="64061" y="59371"/>
                    <a:pt x="73977" y="51382"/>
                    <a:pt x="85697" y="47183"/>
                  </a:cubicBezTo>
                  <a:cubicBezTo>
                    <a:pt x="95382" y="43708"/>
                    <a:pt x="101907" y="34605"/>
                    <a:pt x="101907" y="24310"/>
                  </a:cubicBezTo>
                  <a:cubicBezTo>
                    <a:pt x="101907" y="10473"/>
                    <a:pt x="90570" y="1"/>
                    <a:pt x="77732"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6" name="Google Shape;5496;p69"/>
            <p:cNvSpPr/>
            <p:nvPr/>
          </p:nvSpPr>
          <p:spPr>
            <a:xfrm>
              <a:off x="2565073" y="2287538"/>
              <a:ext cx="218572" cy="409555"/>
            </a:xfrm>
            <a:custGeom>
              <a:avLst/>
              <a:gdLst/>
              <a:ahLst/>
              <a:cxnLst/>
              <a:rect l="l" t="t" r="r" b="b"/>
              <a:pathLst>
                <a:path w="68038" h="127488" extrusionOk="0">
                  <a:moveTo>
                    <a:pt x="25598" y="0"/>
                  </a:moveTo>
                  <a:cubicBezTo>
                    <a:pt x="14413" y="0"/>
                    <a:pt x="3897" y="7831"/>
                    <a:pt x="1695" y="19943"/>
                  </a:cubicBezTo>
                  <a:cubicBezTo>
                    <a:pt x="567" y="26163"/>
                    <a:pt x="0" y="32466"/>
                    <a:pt x="5" y="38785"/>
                  </a:cubicBezTo>
                  <a:cubicBezTo>
                    <a:pt x="5" y="56877"/>
                    <a:pt x="4598" y="73900"/>
                    <a:pt x="12676" y="88745"/>
                  </a:cubicBezTo>
                  <a:lnTo>
                    <a:pt x="12696" y="88735"/>
                  </a:lnTo>
                  <a:cubicBezTo>
                    <a:pt x="13125" y="89533"/>
                    <a:pt x="13568" y="90327"/>
                    <a:pt x="14027" y="91120"/>
                  </a:cubicBezTo>
                  <a:cubicBezTo>
                    <a:pt x="22888" y="106463"/>
                    <a:pt x="35052" y="118705"/>
                    <a:pt x="49093" y="127488"/>
                  </a:cubicBezTo>
                  <a:cubicBezTo>
                    <a:pt x="44721" y="124742"/>
                    <a:pt x="40552" y="121677"/>
                    <a:pt x="36634" y="118316"/>
                  </a:cubicBezTo>
                  <a:cubicBezTo>
                    <a:pt x="24002" y="107503"/>
                    <a:pt x="25801" y="87473"/>
                    <a:pt x="40197" y="79164"/>
                  </a:cubicBezTo>
                  <a:lnTo>
                    <a:pt x="40808" y="78809"/>
                  </a:lnTo>
                  <a:cubicBezTo>
                    <a:pt x="44459" y="76702"/>
                    <a:pt x="48483" y="75681"/>
                    <a:pt x="52492" y="75681"/>
                  </a:cubicBezTo>
                  <a:cubicBezTo>
                    <a:pt x="58042" y="75681"/>
                    <a:pt x="63566" y="77637"/>
                    <a:pt x="68038" y="81377"/>
                  </a:cubicBezTo>
                  <a:cubicBezTo>
                    <a:pt x="63238" y="77256"/>
                    <a:pt x="59172" y="72353"/>
                    <a:pt x="56017" y="66877"/>
                  </a:cubicBezTo>
                  <a:cubicBezTo>
                    <a:pt x="55559" y="66083"/>
                    <a:pt x="55120" y="65280"/>
                    <a:pt x="54706" y="64472"/>
                  </a:cubicBezTo>
                  <a:cubicBezTo>
                    <a:pt x="54647" y="64349"/>
                    <a:pt x="54583" y="64221"/>
                    <a:pt x="54519" y="64092"/>
                  </a:cubicBezTo>
                  <a:cubicBezTo>
                    <a:pt x="54278" y="63619"/>
                    <a:pt x="54046" y="63141"/>
                    <a:pt x="53824" y="62663"/>
                  </a:cubicBezTo>
                  <a:cubicBezTo>
                    <a:pt x="53691" y="62392"/>
                    <a:pt x="53568" y="62116"/>
                    <a:pt x="53440" y="61840"/>
                  </a:cubicBezTo>
                  <a:cubicBezTo>
                    <a:pt x="53169" y="61239"/>
                    <a:pt x="52907" y="60637"/>
                    <a:pt x="52656" y="60031"/>
                  </a:cubicBezTo>
                  <a:cubicBezTo>
                    <a:pt x="52572" y="59824"/>
                    <a:pt x="52493" y="59612"/>
                    <a:pt x="52410" y="59400"/>
                  </a:cubicBezTo>
                  <a:cubicBezTo>
                    <a:pt x="52217" y="58903"/>
                    <a:pt x="52025" y="58400"/>
                    <a:pt x="51843" y="57902"/>
                  </a:cubicBezTo>
                  <a:cubicBezTo>
                    <a:pt x="48437" y="48484"/>
                    <a:pt x="47604" y="38331"/>
                    <a:pt x="49433" y="28484"/>
                  </a:cubicBezTo>
                  <a:cubicBezTo>
                    <a:pt x="51301" y="18459"/>
                    <a:pt x="46515" y="8366"/>
                    <a:pt x="37683" y="3270"/>
                  </a:cubicBezTo>
                  <a:cubicBezTo>
                    <a:pt x="33811" y="1033"/>
                    <a:pt x="29660" y="0"/>
                    <a:pt x="25598"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497" name="Google Shape;5497;p69"/>
          <p:cNvGrpSpPr/>
          <p:nvPr/>
        </p:nvGrpSpPr>
        <p:grpSpPr>
          <a:xfrm>
            <a:off x="7532123" y="4979893"/>
            <a:ext cx="584472" cy="849772"/>
            <a:chOff x="1697726" y="3244179"/>
            <a:chExt cx="788124" cy="1146069"/>
          </a:xfrm>
        </p:grpSpPr>
        <p:sp>
          <p:nvSpPr>
            <p:cNvPr id="5498" name="Google Shape;5498;p69"/>
            <p:cNvSpPr/>
            <p:nvPr/>
          </p:nvSpPr>
          <p:spPr>
            <a:xfrm>
              <a:off x="1697726" y="3244179"/>
              <a:ext cx="788124" cy="1146069"/>
            </a:xfrm>
            <a:custGeom>
              <a:avLst/>
              <a:gdLst/>
              <a:ahLst/>
              <a:cxnLst/>
              <a:rect l="l" t="t" r="r" b="b"/>
              <a:pathLst>
                <a:path w="30365" h="44156" extrusionOk="0">
                  <a:moveTo>
                    <a:pt x="18841" y="1"/>
                  </a:moveTo>
                  <a:lnTo>
                    <a:pt x="18841" y="3319"/>
                  </a:lnTo>
                  <a:lnTo>
                    <a:pt x="7583" y="3319"/>
                  </a:lnTo>
                  <a:cubicBezTo>
                    <a:pt x="5740" y="3319"/>
                    <a:pt x="4248" y="4814"/>
                    <a:pt x="4248" y="6658"/>
                  </a:cubicBezTo>
                  <a:lnTo>
                    <a:pt x="4248" y="29436"/>
                  </a:lnTo>
                  <a:lnTo>
                    <a:pt x="1" y="29436"/>
                  </a:lnTo>
                  <a:lnTo>
                    <a:pt x="1" y="44155"/>
                  </a:lnTo>
                  <a:lnTo>
                    <a:pt x="14720" y="44155"/>
                  </a:lnTo>
                  <a:lnTo>
                    <a:pt x="14720" y="29436"/>
                  </a:lnTo>
                  <a:lnTo>
                    <a:pt x="10922" y="29436"/>
                  </a:lnTo>
                  <a:lnTo>
                    <a:pt x="10922" y="9993"/>
                  </a:lnTo>
                  <a:lnTo>
                    <a:pt x="18841" y="9993"/>
                  </a:lnTo>
                  <a:lnTo>
                    <a:pt x="18841" y="13311"/>
                  </a:lnTo>
                  <a:lnTo>
                    <a:pt x="30365" y="6658"/>
                  </a:lnTo>
                  <a:lnTo>
                    <a:pt x="18841"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499" name="Google Shape;5499;p69"/>
            <p:cNvSpPr/>
            <p:nvPr/>
          </p:nvSpPr>
          <p:spPr>
            <a:xfrm>
              <a:off x="1743302" y="4053603"/>
              <a:ext cx="291293" cy="291267"/>
            </a:xfrm>
            <a:custGeom>
              <a:avLst/>
              <a:gdLst/>
              <a:ahLst/>
              <a:cxnLst/>
              <a:rect l="l" t="t" r="r" b="b"/>
              <a:pathLst>
                <a:path w="11223" h="11222" extrusionOk="0">
                  <a:moveTo>
                    <a:pt x="1" y="0"/>
                  </a:moveTo>
                  <a:lnTo>
                    <a:pt x="1" y="11222"/>
                  </a:lnTo>
                  <a:lnTo>
                    <a:pt x="11222" y="11222"/>
                  </a:lnTo>
                  <a:lnTo>
                    <a:pt x="11222"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500" name="Google Shape;5500;p69"/>
          <p:cNvSpPr/>
          <p:nvPr/>
        </p:nvSpPr>
        <p:spPr>
          <a:xfrm>
            <a:off x="10861801" y="4830271"/>
            <a:ext cx="272" cy="5"/>
          </a:xfrm>
          <a:custGeom>
            <a:avLst/>
            <a:gdLst/>
            <a:ahLst/>
            <a:cxnLst/>
            <a:rect l="l" t="t" r="r" b="b"/>
            <a:pathLst>
              <a:path w="48" h="1" extrusionOk="0">
                <a:moveTo>
                  <a:pt x="48" y="0"/>
                </a:moveTo>
                <a:lnTo>
                  <a:pt x="1" y="0"/>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501" name="Google Shape;5501;p69"/>
          <p:cNvGrpSpPr/>
          <p:nvPr/>
        </p:nvGrpSpPr>
        <p:grpSpPr>
          <a:xfrm>
            <a:off x="10200409" y="2751043"/>
            <a:ext cx="1066087" cy="893709"/>
            <a:chOff x="7617850" y="2063282"/>
            <a:chExt cx="799565" cy="670282"/>
          </a:xfrm>
        </p:grpSpPr>
        <p:cxnSp>
          <p:nvCxnSpPr>
            <p:cNvPr id="5502" name="Google Shape;5502;p69"/>
            <p:cNvCxnSpPr/>
            <p:nvPr/>
          </p:nvCxnSpPr>
          <p:spPr>
            <a:xfrm rot="5400000" flipH="1">
              <a:off x="7629118"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503" name="Google Shape;5503;p69"/>
            <p:cNvCxnSpPr/>
            <p:nvPr/>
          </p:nvCxnSpPr>
          <p:spPr>
            <a:xfrm rot="-5400000">
              <a:off x="8276270" y="210471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504" name="Google Shape;5504;p69"/>
            <p:cNvCxnSpPr/>
            <p:nvPr/>
          </p:nvCxnSpPr>
          <p:spPr>
            <a:xfrm rot="5400000">
              <a:off x="7629118"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505" name="Google Shape;5505;p69"/>
            <p:cNvCxnSpPr/>
            <p:nvPr/>
          </p:nvCxnSpPr>
          <p:spPr>
            <a:xfrm rot="-5400000" flipH="1">
              <a:off x="8276270" y="2612964"/>
              <a:ext cx="129900" cy="111300"/>
            </a:xfrm>
            <a:prstGeom prst="bentConnector3">
              <a:avLst>
                <a:gd name="adj1" fmla="val 50000"/>
              </a:avLst>
            </a:prstGeom>
            <a:noFill/>
            <a:ln w="9525" cap="flat" cmpd="sng">
              <a:solidFill>
                <a:srgbClr val="667E92"/>
              </a:solidFill>
              <a:prstDash val="solid"/>
              <a:round/>
              <a:headEnd type="none" w="med" len="med"/>
              <a:tailEnd type="none" w="med" len="med"/>
            </a:ln>
          </p:spPr>
        </p:cxnSp>
        <p:cxnSp>
          <p:nvCxnSpPr>
            <p:cNvPr id="5506" name="Google Shape;5506;p69"/>
            <p:cNvCxnSpPr/>
            <p:nvPr/>
          </p:nvCxnSpPr>
          <p:spPr>
            <a:xfrm rot="10800000">
              <a:off x="7617850" y="2393356"/>
              <a:ext cx="83400" cy="0"/>
            </a:xfrm>
            <a:prstGeom prst="straightConnector1">
              <a:avLst/>
            </a:prstGeom>
            <a:noFill/>
            <a:ln w="9525" cap="flat" cmpd="sng">
              <a:solidFill>
                <a:srgbClr val="667E92"/>
              </a:solidFill>
              <a:prstDash val="solid"/>
              <a:round/>
              <a:headEnd type="none" w="med" len="med"/>
              <a:tailEnd type="none" w="med" len="med"/>
            </a:ln>
          </p:spPr>
        </p:cxnSp>
        <p:cxnSp>
          <p:nvCxnSpPr>
            <p:cNvPr id="5507" name="Google Shape;5507;p69"/>
            <p:cNvCxnSpPr/>
            <p:nvPr/>
          </p:nvCxnSpPr>
          <p:spPr>
            <a:xfrm rot="10800000">
              <a:off x="8334015" y="2393356"/>
              <a:ext cx="83400" cy="0"/>
            </a:xfrm>
            <a:prstGeom prst="straightConnector1">
              <a:avLst/>
            </a:prstGeom>
            <a:noFill/>
            <a:ln w="9525" cap="flat" cmpd="sng">
              <a:solidFill>
                <a:srgbClr val="667E92"/>
              </a:solidFill>
              <a:prstDash val="solid"/>
              <a:round/>
              <a:headEnd type="none" w="med" len="med"/>
              <a:tailEnd type="none" w="med" len="med"/>
            </a:ln>
          </p:spPr>
        </p:cxnSp>
        <p:grpSp>
          <p:nvGrpSpPr>
            <p:cNvPr id="5508" name="Google Shape;5508;p69"/>
            <p:cNvGrpSpPr/>
            <p:nvPr/>
          </p:nvGrpSpPr>
          <p:grpSpPr>
            <a:xfrm>
              <a:off x="7734309" y="2063282"/>
              <a:ext cx="570957" cy="620095"/>
              <a:chOff x="7734309" y="2063282"/>
              <a:chExt cx="570957" cy="620095"/>
            </a:xfrm>
          </p:grpSpPr>
          <p:grpSp>
            <p:nvGrpSpPr>
              <p:cNvPr id="5509" name="Google Shape;5509;p69"/>
              <p:cNvGrpSpPr/>
              <p:nvPr/>
            </p:nvGrpSpPr>
            <p:grpSpPr>
              <a:xfrm>
                <a:off x="8031573" y="2063282"/>
                <a:ext cx="273693" cy="620095"/>
                <a:chOff x="8031573" y="2063282"/>
                <a:chExt cx="273693" cy="620095"/>
              </a:xfrm>
            </p:grpSpPr>
            <p:sp>
              <p:nvSpPr>
                <p:cNvPr id="5510" name="Google Shape;5510;p69"/>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1" name="Google Shape;5511;p69"/>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2" name="Google Shape;5512;p69"/>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3" name="Google Shape;5513;p69"/>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14" name="Google Shape;5514;p69"/>
              <p:cNvGrpSpPr/>
              <p:nvPr/>
            </p:nvGrpSpPr>
            <p:grpSpPr>
              <a:xfrm flipH="1">
                <a:off x="7734309" y="2063282"/>
                <a:ext cx="273693" cy="620095"/>
                <a:chOff x="8031573" y="2063282"/>
                <a:chExt cx="273693" cy="620095"/>
              </a:xfrm>
            </p:grpSpPr>
            <p:sp>
              <p:nvSpPr>
                <p:cNvPr id="5515" name="Google Shape;5515;p69"/>
                <p:cNvSpPr/>
                <p:nvPr/>
              </p:nvSpPr>
              <p:spPr>
                <a:xfrm>
                  <a:off x="8031573" y="2481676"/>
                  <a:ext cx="246012" cy="201702"/>
                </a:xfrm>
                <a:custGeom>
                  <a:avLst/>
                  <a:gdLst/>
                  <a:ahLst/>
                  <a:cxnLst/>
                  <a:rect l="l" t="t" r="r" b="b"/>
                  <a:pathLst>
                    <a:path w="17944" h="14712" extrusionOk="0">
                      <a:moveTo>
                        <a:pt x="13714" y="1"/>
                      </a:moveTo>
                      <a:cubicBezTo>
                        <a:pt x="13485" y="1"/>
                        <a:pt x="13243" y="5"/>
                        <a:pt x="12987" y="13"/>
                      </a:cubicBezTo>
                      <a:cubicBezTo>
                        <a:pt x="11706" y="56"/>
                        <a:pt x="10294" y="76"/>
                        <a:pt x="8782" y="76"/>
                      </a:cubicBezTo>
                      <a:cubicBezTo>
                        <a:pt x="8568" y="76"/>
                        <a:pt x="8352" y="76"/>
                        <a:pt x="8134" y="75"/>
                      </a:cubicBezTo>
                      <a:lnTo>
                        <a:pt x="8118" y="75"/>
                      </a:lnTo>
                      <a:cubicBezTo>
                        <a:pt x="8116" y="75"/>
                        <a:pt x="8114" y="75"/>
                        <a:pt x="8112" y="75"/>
                      </a:cubicBezTo>
                      <a:cubicBezTo>
                        <a:pt x="6297" y="75"/>
                        <a:pt x="4825" y="1549"/>
                        <a:pt x="4828" y="3365"/>
                      </a:cubicBezTo>
                      <a:lnTo>
                        <a:pt x="4828" y="4847"/>
                      </a:lnTo>
                      <a:lnTo>
                        <a:pt x="6675" y="4847"/>
                      </a:lnTo>
                      <a:cubicBezTo>
                        <a:pt x="9163" y="4850"/>
                        <a:pt x="11182" y="6869"/>
                        <a:pt x="11185" y="9357"/>
                      </a:cubicBezTo>
                      <a:lnTo>
                        <a:pt x="11185" y="9535"/>
                      </a:lnTo>
                      <a:cubicBezTo>
                        <a:pt x="11185" y="9839"/>
                        <a:pt x="10936" y="10088"/>
                        <a:pt x="10632" y="10088"/>
                      </a:cubicBezTo>
                      <a:cubicBezTo>
                        <a:pt x="10328" y="10088"/>
                        <a:pt x="10079" y="9839"/>
                        <a:pt x="10079" y="9535"/>
                      </a:cubicBezTo>
                      <a:lnTo>
                        <a:pt x="10079" y="9357"/>
                      </a:lnTo>
                      <a:cubicBezTo>
                        <a:pt x="10079" y="7477"/>
                        <a:pt x="8555" y="5953"/>
                        <a:pt x="6675" y="5953"/>
                      </a:cubicBezTo>
                      <a:lnTo>
                        <a:pt x="1" y="5953"/>
                      </a:lnTo>
                      <a:lnTo>
                        <a:pt x="1" y="12851"/>
                      </a:lnTo>
                      <a:cubicBezTo>
                        <a:pt x="460" y="13288"/>
                        <a:pt x="2279" y="14711"/>
                        <a:pt x="6423" y="14711"/>
                      </a:cubicBezTo>
                      <a:cubicBezTo>
                        <a:pt x="11525" y="14711"/>
                        <a:pt x="14168" y="11628"/>
                        <a:pt x="14527" y="8571"/>
                      </a:cubicBezTo>
                      <a:cubicBezTo>
                        <a:pt x="14553" y="8351"/>
                        <a:pt x="14705" y="8169"/>
                        <a:pt x="14919" y="8105"/>
                      </a:cubicBezTo>
                      <a:cubicBezTo>
                        <a:pt x="15042" y="8069"/>
                        <a:pt x="17944" y="7154"/>
                        <a:pt x="17882" y="3957"/>
                      </a:cubicBezTo>
                      <a:cubicBezTo>
                        <a:pt x="17856" y="2779"/>
                        <a:pt x="17727" y="1961"/>
                        <a:pt x="17459" y="1392"/>
                      </a:cubicBezTo>
                      <a:cubicBezTo>
                        <a:pt x="17352" y="1201"/>
                        <a:pt x="17093" y="842"/>
                        <a:pt x="17028" y="780"/>
                      </a:cubicBezTo>
                      <a:cubicBezTo>
                        <a:pt x="16462" y="243"/>
                        <a:pt x="15452" y="1"/>
                        <a:pt x="13714"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6" name="Google Shape;5516;p69"/>
                <p:cNvSpPr/>
                <p:nvPr/>
              </p:nvSpPr>
              <p:spPr>
                <a:xfrm>
                  <a:off x="8031573" y="2298026"/>
                  <a:ext cx="273693" cy="250112"/>
                </a:xfrm>
                <a:custGeom>
                  <a:avLst/>
                  <a:gdLst/>
                  <a:ahLst/>
                  <a:cxnLst/>
                  <a:rect l="l" t="t" r="r" b="b"/>
                  <a:pathLst>
                    <a:path w="19963" h="18243" extrusionOk="0">
                      <a:moveTo>
                        <a:pt x="16810" y="1"/>
                      </a:moveTo>
                      <a:cubicBezTo>
                        <a:pt x="16764" y="1"/>
                        <a:pt x="16738" y="2"/>
                        <a:pt x="16737" y="2"/>
                      </a:cubicBezTo>
                      <a:lnTo>
                        <a:pt x="12039" y="2"/>
                      </a:lnTo>
                      <a:cubicBezTo>
                        <a:pt x="9752" y="2"/>
                        <a:pt x="7902" y="1856"/>
                        <a:pt x="7898" y="4140"/>
                      </a:cubicBezTo>
                      <a:lnTo>
                        <a:pt x="7898" y="6748"/>
                      </a:lnTo>
                      <a:lnTo>
                        <a:pt x="8303" y="6748"/>
                      </a:lnTo>
                      <a:cubicBezTo>
                        <a:pt x="9966" y="6748"/>
                        <a:pt x="11315" y="8097"/>
                        <a:pt x="11315" y="9760"/>
                      </a:cubicBezTo>
                      <a:lnTo>
                        <a:pt x="11315" y="10333"/>
                      </a:lnTo>
                      <a:cubicBezTo>
                        <a:pt x="11315" y="10637"/>
                        <a:pt x="11069" y="10886"/>
                        <a:pt x="10761" y="10886"/>
                      </a:cubicBezTo>
                      <a:cubicBezTo>
                        <a:pt x="10457" y="10886"/>
                        <a:pt x="10211" y="10637"/>
                        <a:pt x="10211" y="10333"/>
                      </a:cubicBezTo>
                      <a:lnTo>
                        <a:pt x="10211" y="9760"/>
                      </a:lnTo>
                      <a:cubicBezTo>
                        <a:pt x="10208" y="8705"/>
                        <a:pt x="9357" y="7854"/>
                        <a:pt x="8303" y="7851"/>
                      </a:cubicBezTo>
                      <a:lnTo>
                        <a:pt x="6449" y="7851"/>
                      </a:lnTo>
                      <a:cubicBezTo>
                        <a:pt x="5362" y="7851"/>
                        <a:pt x="4482" y="8731"/>
                        <a:pt x="4482" y="9818"/>
                      </a:cubicBezTo>
                      <a:lnTo>
                        <a:pt x="4482" y="10624"/>
                      </a:lnTo>
                      <a:cubicBezTo>
                        <a:pt x="4482" y="10931"/>
                        <a:pt x="4233" y="11177"/>
                        <a:pt x="3929" y="11177"/>
                      </a:cubicBezTo>
                      <a:cubicBezTo>
                        <a:pt x="3624" y="11177"/>
                        <a:pt x="3375" y="10931"/>
                        <a:pt x="3375" y="10624"/>
                      </a:cubicBezTo>
                      <a:lnTo>
                        <a:pt x="3375" y="9818"/>
                      </a:lnTo>
                      <a:cubicBezTo>
                        <a:pt x="3375" y="8123"/>
                        <a:pt x="4750" y="6745"/>
                        <a:pt x="6449" y="6745"/>
                      </a:cubicBezTo>
                      <a:lnTo>
                        <a:pt x="6792" y="6745"/>
                      </a:lnTo>
                      <a:lnTo>
                        <a:pt x="6792" y="5230"/>
                      </a:lnTo>
                      <a:lnTo>
                        <a:pt x="1" y="5230"/>
                      </a:lnTo>
                      <a:lnTo>
                        <a:pt x="1" y="18243"/>
                      </a:lnTo>
                      <a:lnTo>
                        <a:pt x="3722" y="18243"/>
                      </a:lnTo>
                      <a:lnTo>
                        <a:pt x="3722" y="16761"/>
                      </a:lnTo>
                      <a:cubicBezTo>
                        <a:pt x="3722" y="14335"/>
                        <a:pt x="5689" y="12364"/>
                        <a:pt x="8118" y="12364"/>
                      </a:cubicBezTo>
                      <a:lnTo>
                        <a:pt x="8138" y="12364"/>
                      </a:lnTo>
                      <a:cubicBezTo>
                        <a:pt x="8355" y="12365"/>
                        <a:pt x="8571" y="12366"/>
                        <a:pt x="8785" y="12366"/>
                      </a:cubicBezTo>
                      <a:cubicBezTo>
                        <a:pt x="10281" y="12366"/>
                        <a:pt x="11680" y="12346"/>
                        <a:pt x="12949" y="12306"/>
                      </a:cubicBezTo>
                      <a:cubicBezTo>
                        <a:pt x="13215" y="12297"/>
                        <a:pt x="13470" y="12293"/>
                        <a:pt x="13712" y="12293"/>
                      </a:cubicBezTo>
                      <a:cubicBezTo>
                        <a:pt x="15786" y="12293"/>
                        <a:pt x="16995" y="12621"/>
                        <a:pt x="17789" y="13374"/>
                      </a:cubicBezTo>
                      <a:cubicBezTo>
                        <a:pt x="17866" y="13448"/>
                        <a:pt x="17941" y="13526"/>
                        <a:pt x="18009" y="13610"/>
                      </a:cubicBezTo>
                      <a:cubicBezTo>
                        <a:pt x="19963" y="12539"/>
                        <a:pt x="19927" y="9744"/>
                        <a:pt x="19927" y="9715"/>
                      </a:cubicBezTo>
                      <a:lnTo>
                        <a:pt x="19927" y="4156"/>
                      </a:lnTo>
                      <a:cubicBezTo>
                        <a:pt x="19927" y="2603"/>
                        <a:pt x="19545" y="1461"/>
                        <a:pt x="18795" y="763"/>
                      </a:cubicBezTo>
                      <a:cubicBezTo>
                        <a:pt x="18032" y="53"/>
                        <a:pt x="17079" y="1"/>
                        <a:pt x="16810"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7" name="Google Shape;5517;p69"/>
                <p:cNvSpPr/>
                <p:nvPr/>
              </p:nvSpPr>
              <p:spPr>
                <a:xfrm>
                  <a:off x="8031573" y="2063282"/>
                  <a:ext cx="177311" cy="142529"/>
                </a:xfrm>
                <a:custGeom>
                  <a:avLst/>
                  <a:gdLst/>
                  <a:ahLst/>
                  <a:cxnLst/>
                  <a:rect l="l" t="t" r="r" b="b"/>
                  <a:pathLst>
                    <a:path w="12933" h="10396" extrusionOk="0">
                      <a:moveTo>
                        <a:pt x="3097" y="1"/>
                      </a:moveTo>
                      <a:cubicBezTo>
                        <a:pt x="134" y="1"/>
                        <a:pt x="4" y="3928"/>
                        <a:pt x="1" y="4087"/>
                      </a:cubicBezTo>
                      <a:lnTo>
                        <a:pt x="1" y="10396"/>
                      </a:lnTo>
                      <a:lnTo>
                        <a:pt x="3796" y="10396"/>
                      </a:lnTo>
                      <a:cubicBezTo>
                        <a:pt x="5061" y="10393"/>
                        <a:pt x="6087" y="9367"/>
                        <a:pt x="6087" y="8102"/>
                      </a:cubicBezTo>
                      <a:lnTo>
                        <a:pt x="6087" y="7568"/>
                      </a:lnTo>
                      <a:cubicBezTo>
                        <a:pt x="6083" y="6255"/>
                        <a:pt x="5022" y="5193"/>
                        <a:pt x="3712" y="5193"/>
                      </a:cubicBezTo>
                      <a:lnTo>
                        <a:pt x="2803" y="5193"/>
                      </a:lnTo>
                      <a:cubicBezTo>
                        <a:pt x="2499" y="5193"/>
                        <a:pt x="2249" y="4944"/>
                        <a:pt x="2249" y="4640"/>
                      </a:cubicBezTo>
                      <a:cubicBezTo>
                        <a:pt x="2249" y="4336"/>
                        <a:pt x="2499" y="4087"/>
                        <a:pt x="2803" y="4087"/>
                      </a:cubicBezTo>
                      <a:lnTo>
                        <a:pt x="3715" y="4087"/>
                      </a:lnTo>
                      <a:cubicBezTo>
                        <a:pt x="5507" y="4090"/>
                        <a:pt x="7009" y="5456"/>
                        <a:pt x="7180" y="7241"/>
                      </a:cubicBezTo>
                      <a:lnTo>
                        <a:pt x="12741" y="7241"/>
                      </a:lnTo>
                      <a:cubicBezTo>
                        <a:pt x="12868" y="7086"/>
                        <a:pt x="12932" y="6847"/>
                        <a:pt x="12777" y="6420"/>
                      </a:cubicBezTo>
                      <a:cubicBezTo>
                        <a:pt x="12389" y="5323"/>
                        <a:pt x="10755" y="3708"/>
                        <a:pt x="8616" y="2301"/>
                      </a:cubicBezTo>
                      <a:cubicBezTo>
                        <a:pt x="6494" y="903"/>
                        <a:pt x="4327" y="1"/>
                        <a:pt x="3097"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18" name="Google Shape;5518;p69"/>
                <p:cNvSpPr/>
                <p:nvPr/>
              </p:nvSpPr>
              <p:spPr>
                <a:xfrm>
                  <a:off x="8031573" y="2177659"/>
                  <a:ext cx="221307" cy="176914"/>
                </a:xfrm>
                <a:custGeom>
                  <a:avLst/>
                  <a:gdLst/>
                  <a:ahLst/>
                  <a:cxnLst/>
                  <a:rect l="l" t="t" r="r" b="b"/>
                  <a:pathLst>
                    <a:path w="16142" h="12904" extrusionOk="0">
                      <a:moveTo>
                        <a:pt x="13080" y="0"/>
                      </a:moveTo>
                      <a:cubicBezTo>
                        <a:pt x="13032" y="0"/>
                        <a:pt x="13005" y="2"/>
                        <a:pt x="13004" y="2"/>
                      </a:cubicBezTo>
                      <a:cubicBezTo>
                        <a:pt x="12997" y="3"/>
                        <a:pt x="12991" y="4"/>
                        <a:pt x="12985" y="4"/>
                      </a:cubicBezTo>
                      <a:cubicBezTo>
                        <a:pt x="12978" y="4"/>
                        <a:pt x="12973" y="3"/>
                        <a:pt x="12968" y="2"/>
                      </a:cubicBezTo>
                      <a:lnTo>
                        <a:pt x="7183" y="2"/>
                      </a:lnTo>
                      <a:cubicBezTo>
                        <a:pt x="7054" y="1778"/>
                        <a:pt x="5579" y="3156"/>
                        <a:pt x="3796" y="3156"/>
                      </a:cubicBezTo>
                      <a:lnTo>
                        <a:pt x="1" y="3156"/>
                      </a:lnTo>
                      <a:lnTo>
                        <a:pt x="1" y="12904"/>
                      </a:lnTo>
                      <a:lnTo>
                        <a:pt x="6792" y="12904"/>
                      </a:lnTo>
                      <a:cubicBezTo>
                        <a:pt x="6802" y="10018"/>
                        <a:pt x="9150" y="7676"/>
                        <a:pt x="12036" y="7676"/>
                      </a:cubicBezTo>
                      <a:lnTo>
                        <a:pt x="16142" y="7676"/>
                      </a:lnTo>
                      <a:lnTo>
                        <a:pt x="16142" y="3137"/>
                      </a:lnTo>
                      <a:cubicBezTo>
                        <a:pt x="16142" y="2108"/>
                        <a:pt x="15857" y="1318"/>
                        <a:pt x="15297" y="788"/>
                      </a:cubicBezTo>
                      <a:cubicBezTo>
                        <a:pt x="14516" y="51"/>
                        <a:pt x="13383" y="0"/>
                        <a:pt x="13080"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sp>
        <p:nvSpPr>
          <p:cNvPr id="5519" name="Google Shape;5519;p69"/>
          <p:cNvSpPr/>
          <p:nvPr/>
        </p:nvSpPr>
        <p:spPr>
          <a:xfrm>
            <a:off x="9480748" y="5007163"/>
            <a:ext cx="744989" cy="822503"/>
          </a:xfrm>
          <a:custGeom>
            <a:avLst/>
            <a:gdLst/>
            <a:ahLst/>
            <a:cxnLst/>
            <a:rect l="l" t="t" r="r" b="b"/>
            <a:pathLst>
              <a:path w="4733" h="5225" extrusionOk="0">
                <a:moveTo>
                  <a:pt x="346" y="0"/>
                </a:moveTo>
                <a:cubicBezTo>
                  <a:pt x="148" y="0"/>
                  <a:pt x="1" y="148"/>
                  <a:pt x="1" y="333"/>
                </a:cubicBezTo>
                <a:lnTo>
                  <a:pt x="1" y="4423"/>
                </a:lnTo>
                <a:cubicBezTo>
                  <a:pt x="1" y="4608"/>
                  <a:pt x="148" y="4756"/>
                  <a:pt x="346" y="4756"/>
                </a:cubicBezTo>
                <a:lnTo>
                  <a:pt x="2046" y="4756"/>
                </a:lnTo>
                <a:lnTo>
                  <a:pt x="2366" y="5224"/>
                </a:lnTo>
                <a:lnTo>
                  <a:pt x="2674" y="4756"/>
                </a:lnTo>
                <a:lnTo>
                  <a:pt x="4387" y="4756"/>
                </a:lnTo>
                <a:cubicBezTo>
                  <a:pt x="4394" y="4757"/>
                  <a:pt x="4400" y="4757"/>
                  <a:pt x="4407" y="4757"/>
                </a:cubicBezTo>
                <a:cubicBezTo>
                  <a:pt x="4583" y="4757"/>
                  <a:pt x="4732" y="4602"/>
                  <a:pt x="4732" y="4423"/>
                </a:cubicBezTo>
                <a:lnTo>
                  <a:pt x="4732" y="333"/>
                </a:lnTo>
                <a:cubicBezTo>
                  <a:pt x="4732" y="148"/>
                  <a:pt x="4572" y="0"/>
                  <a:pt x="4387"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0" name="Google Shape;5520;p69"/>
          <p:cNvSpPr/>
          <p:nvPr/>
        </p:nvSpPr>
        <p:spPr>
          <a:xfrm rot="10800000">
            <a:off x="8795658" y="5003715"/>
            <a:ext cx="541481" cy="825949"/>
          </a:xfrm>
          <a:custGeom>
            <a:avLst/>
            <a:gdLst/>
            <a:ahLst/>
            <a:cxnLst/>
            <a:rect l="l" t="t" r="r" b="b"/>
            <a:pathLst>
              <a:path w="14910" h="22743" extrusionOk="0">
                <a:moveTo>
                  <a:pt x="7449" y="0"/>
                </a:moveTo>
                <a:cubicBezTo>
                  <a:pt x="7363" y="0"/>
                  <a:pt x="7277" y="40"/>
                  <a:pt x="7219" y="121"/>
                </a:cubicBezTo>
                <a:lnTo>
                  <a:pt x="4981" y="3220"/>
                </a:lnTo>
                <a:lnTo>
                  <a:pt x="1079" y="3220"/>
                </a:lnTo>
                <a:cubicBezTo>
                  <a:pt x="482" y="3220"/>
                  <a:pt x="0" y="3702"/>
                  <a:pt x="0" y="4298"/>
                </a:cubicBezTo>
                <a:lnTo>
                  <a:pt x="0" y="21652"/>
                </a:lnTo>
                <a:cubicBezTo>
                  <a:pt x="0" y="22249"/>
                  <a:pt x="482" y="22742"/>
                  <a:pt x="1079" y="22742"/>
                </a:cubicBezTo>
                <a:lnTo>
                  <a:pt x="13830" y="22742"/>
                </a:lnTo>
                <a:cubicBezTo>
                  <a:pt x="14427" y="22742"/>
                  <a:pt x="14909" y="22249"/>
                  <a:pt x="14909" y="21652"/>
                </a:cubicBezTo>
                <a:lnTo>
                  <a:pt x="14909" y="4298"/>
                </a:lnTo>
                <a:cubicBezTo>
                  <a:pt x="14909" y="3708"/>
                  <a:pt x="14438" y="3219"/>
                  <a:pt x="13851" y="3219"/>
                </a:cubicBezTo>
                <a:cubicBezTo>
                  <a:pt x="13844" y="3219"/>
                  <a:pt x="13837" y="3219"/>
                  <a:pt x="13830" y="3220"/>
                </a:cubicBezTo>
                <a:lnTo>
                  <a:pt x="9916" y="3220"/>
                </a:lnTo>
                <a:lnTo>
                  <a:pt x="7678" y="121"/>
                </a:lnTo>
                <a:cubicBezTo>
                  <a:pt x="7621" y="40"/>
                  <a:pt x="7535" y="0"/>
                  <a:pt x="74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521" name="Google Shape;5521;p69"/>
          <p:cNvGrpSpPr/>
          <p:nvPr/>
        </p:nvGrpSpPr>
        <p:grpSpPr>
          <a:xfrm>
            <a:off x="10449218" y="3889020"/>
            <a:ext cx="803423" cy="802512"/>
            <a:chOff x="1186975" y="238125"/>
            <a:chExt cx="5244275" cy="5238325"/>
          </a:xfrm>
        </p:grpSpPr>
        <p:sp>
          <p:nvSpPr>
            <p:cNvPr id="5522" name="Google Shape;5522;p69"/>
            <p:cNvSpPr/>
            <p:nvPr/>
          </p:nvSpPr>
          <p:spPr>
            <a:xfrm>
              <a:off x="1188450" y="238125"/>
              <a:ext cx="3198750" cy="2628625"/>
            </a:xfrm>
            <a:custGeom>
              <a:avLst/>
              <a:gdLst/>
              <a:ahLst/>
              <a:cxnLst/>
              <a:rect l="l" t="t" r="r" b="b"/>
              <a:pathLst>
                <a:path w="127950" h="105145" extrusionOk="0">
                  <a:moveTo>
                    <a:pt x="18697" y="0"/>
                  </a:moveTo>
                  <a:cubicBezTo>
                    <a:pt x="8371" y="0"/>
                    <a:pt x="1" y="8371"/>
                    <a:pt x="1" y="18697"/>
                  </a:cubicBezTo>
                  <a:lnTo>
                    <a:pt x="1" y="105145"/>
                  </a:lnTo>
                  <a:lnTo>
                    <a:pt x="36857" y="105145"/>
                  </a:lnTo>
                  <a:cubicBezTo>
                    <a:pt x="35719" y="102283"/>
                    <a:pt x="35385" y="99165"/>
                    <a:pt x="35897" y="96130"/>
                  </a:cubicBezTo>
                  <a:cubicBezTo>
                    <a:pt x="37137" y="88648"/>
                    <a:pt x="43398" y="82793"/>
                    <a:pt x="50957" y="82096"/>
                  </a:cubicBezTo>
                  <a:cubicBezTo>
                    <a:pt x="51501" y="82045"/>
                    <a:pt x="52041" y="82020"/>
                    <a:pt x="52575" y="82020"/>
                  </a:cubicBezTo>
                  <a:cubicBezTo>
                    <a:pt x="61906" y="82020"/>
                    <a:pt x="69475" y="89593"/>
                    <a:pt x="69475" y="98926"/>
                  </a:cubicBezTo>
                  <a:cubicBezTo>
                    <a:pt x="69475" y="101055"/>
                    <a:pt x="69070" y="103165"/>
                    <a:pt x="68283" y="105145"/>
                  </a:cubicBezTo>
                  <a:lnTo>
                    <a:pt x="105145" y="105145"/>
                  </a:lnTo>
                  <a:lnTo>
                    <a:pt x="105145" y="68419"/>
                  </a:lnTo>
                  <a:cubicBezTo>
                    <a:pt x="106958" y="69088"/>
                    <a:pt x="108908" y="69476"/>
                    <a:pt x="110955" y="69476"/>
                  </a:cubicBezTo>
                  <a:cubicBezTo>
                    <a:pt x="111990" y="69476"/>
                    <a:pt x="113050" y="69377"/>
                    <a:pt x="114130" y="69164"/>
                  </a:cubicBezTo>
                  <a:cubicBezTo>
                    <a:pt x="121952" y="67632"/>
                    <a:pt x="127801" y="60687"/>
                    <a:pt x="127866" y="52715"/>
                  </a:cubicBezTo>
                  <a:cubicBezTo>
                    <a:pt x="127950" y="43313"/>
                    <a:pt x="120348" y="35664"/>
                    <a:pt x="110964" y="35664"/>
                  </a:cubicBezTo>
                  <a:cubicBezTo>
                    <a:pt x="108979" y="35670"/>
                    <a:pt x="107005" y="36028"/>
                    <a:pt x="105145" y="36720"/>
                  </a:cubicBezTo>
                  <a:lnTo>
                    <a:pt x="105145"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3" name="Google Shape;5523;p69"/>
            <p:cNvSpPr/>
            <p:nvPr/>
          </p:nvSpPr>
          <p:spPr>
            <a:xfrm>
              <a:off x="1186975" y="2279750"/>
              <a:ext cx="2628625" cy="3196700"/>
            </a:xfrm>
            <a:custGeom>
              <a:avLst/>
              <a:gdLst/>
              <a:ahLst/>
              <a:cxnLst/>
              <a:rect l="l" t="t" r="r" b="b"/>
              <a:pathLst>
                <a:path w="105145" h="127868" extrusionOk="0">
                  <a:moveTo>
                    <a:pt x="52573" y="1"/>
                  </a:moveTo>
                  <a:cubicBezTo>
                    <a:pt x="43236" y="1"/>
                    <a:pt x="35664" y="7567"/>
                    <a:pt x="35664" y="16910"/>
                  </a:cubicBezTo>
                  <a:cubicBezTo>
                    <a:pt x="35670" y="18895"/>
                    <a:pt x="36028" y="20862"/>
                    <a:pt x="36720" y="22722"/>
                  </a:cubicBezTo>
                  <a:lnTo>
                    <a:pt x="0" y="22722"/>
                  </a:lnTo>
                  <a:lnTo>
                    <a:pt x="0" y="110011"/>
                  </a:lnTo>
                  <a:cubicBezTo>
                    <a:pt x="0" y="119872"/>
                    <a:pt x="7995" y="127867"/>
                    <a:pt x="17862" y="127867"/>
                  </a:cubicBezTo>
                  <a:lnTo>
                    <a:pt x="105145" y="127867"/>
                  </a:lnTo>
                  <a:lnTo>
                    <a:pt x="105145" y="91010"/>
                  </a:lnTo>
                  <a:cubicBezTo>
                    <a:pt x="103158" y="91801"/>
                    <a:pt x="101044" y="92206"/>
                    <a:pt x="98916" y="92206"/>
                  </a:cubicBezTo>
                  <a:cubicBezTo>
                    <a:pt x="98350" y="92206"/>
                    <a:pt x="97782" y="92177"/>
                    <a:pt x="97215" y="92119"/>
                  </a:cubicBezTo>
                  <a:cubicBezTo>
                    <a:pt x="88869" y="91267"/>
                    <a:pt x="82269" y="84184"/>
                    <a:pt x="82024" y="75802"/>
                  </a:cubicBezTo>
                  <a:cubicBezTo>
                    <a:pt x="81744" y="66233"/>
                    <a:pt x="89417" y="58393"/>
                    <a:pt x="98920" y="58393"/>
                  </a:cubicBezTo>
                  <a:cubicBezTo>
                    <a:pt x="101055" y="58393"/>
                    <a:pt x="103159" y="58792"/>
                    <a:pt x="105139" y="59585"/>
                  </a:cubicBezTo>
                  <a:lnTo>
                    <a:pt x="105139" y="22728"/>
                  </a:lnTo>
                  <a:lnTo>
                    <a:pt x="68419" y="22728"/>
                  </a:lnTo>
                  <a:cubicBezTo>
                    <a:pt x="69427" y="19992"/>
                    <a:pt x="69796" y="16951"/>
                    <a:pt x="69164" y="13738"/>
                  </a:cubicBezTo>
                  <a:cubicBezTo>
                    <a:pt x="67632" y="5922"/>
                    <a:pt x="60686" y="73"/>
                    <a:pt x="52715" y="2"/>
                  </a:cubicBezTo>
                  <a:cubicBezTo>
                    <a:pt x="52668" y="1"/>
                    <a:pt x="52620" y="1"/>
                    <a:pt x="52573"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4" name="Google Shape;5524;p69"/>
            <p:cNvSpPr/>
            <p:nvPr/>
          </p:nvSpPr>
          <p:spPr>
            <a:xfrm>
              <a:off x="3802600" y="239450"/>
              <a:ext cx="2628650" cy="3196825"/>
            </a:xfrm>
            <a:custGeom>
              <a:avLst/>
              <a:gdLst/>
              <a:ahLst/>
              <a:cxnLst/>
              <a:rect l="l" t="t" r="r" b="b"/>
              <a:pathLst>
                <a:path w="105146" h="127873" extrusionOk="0">
                  <a:moveTo>
                    <a:pt x="1" y="1"/>
                  </a:moveTo>
                  <a:lnTo>
                    <a:pt x="1" y="36857"/>
                  </a:lnTo>
                  <a:cubicBezTo>
                    <a:pt x="1988" y="36066"/>
                    <a:pt x="4101" y="35662"/>
                    <a:pt x="6229" y="35662"/>
                  </a:cubicBezTo>
                  <a:cubicBezTo>
                    <a:pt x="6796" y="35662"/>
                    <a:pt x="7364" y="35691"/>
                    <a:pt x="7930" y="35748"/>
                  </a:cubicBezTo>
                  <a:cubicBezTo>
                    <a:pt x="16277" y="36595"/>
                    <a:pt x="22877" y="43684"/>
                    <a:pt x="23121" y="52066"/>
                  </a:cubicBezTo>
                  <a:cubicBezTo>
                    <a:pt x="23396" y="61635"/>
                    <a:pt x="15722" y="69481"/>
                    <a:pt x="6219" y="69481"/>
                  </a:cubicBezTo>
                  <a:cubicBezTo>
                    <a:pt x="4091" y="69475"/>
                    <a:pt x="1980" y="69076"/>
                    <a:pt x="1" y="68289"/>
                  </a:cubicBezTo>
                  <a:lnTo>
                    <a:pt x="1" y="105145"/>
                  </a:lnTo>
                  <a:lnTo>
                    <a:pt x="36720" y="105145"/>
                  </a:lnTo>
                  <a:cubicBezTo>
                    <a:pt x="35719" y="107882"/>
                    <a:pt x="35343" y="110916"/>
                    <a:pt x="35975" y="114130"/>
                  </a:cubicBezTo>
                  <a:cubicBezTo>
                    <a:pt x="37513" y="121952"/>
                    <a:pt x="44459" y="127801"/>
                    <a:pt x="52424" y="127872"/>
                  </a:cubicBezTo>
                  <a:cubicBezTo>
                    <a:pt x="52472" y="127873"/>
                    <a:pt x="52519" y="127873"/>
                    <a:pt x="52567" y="127873"/>
                  </a:cubicBezTo>
                  <a:cubicBezTo>
                    <a:pt x="61909" y="127873"/>
                    <a:pt x="69481" y="120301"/>
                    <a:pt x="69481" y="110964"/>
                  </a:cubicBezTo>
                  <a:cubicBezTo>
                    <a:pt x="69475" y="108979"/>
                    <a:pt x="69118" y="107005"/>
                    <a:pt x="68426" y="105145"/>
                  </a:cubicBezTo>
                  <a:lnTo>
                    <a:pt x="105145" y="105145"/>
                  </a:lnTo>
                  <a:lnTo>
                    <a:pt x="105145" y="16354"/>
                  </a:lnTo>
                  <a:cubicBezTo>
                    <a:pt x="105140" y="7328"/>
                    <a:pt x="97818" y="1"/>
                    <a:pt x="8878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25" name="Google Shape;5525;p69"/>
            <p:cNvSpPr/>
            <p:nvPr/>
          </p:nvSpPr>
          <p:spPr>
            <a:xfrm>
              <a:off x="3232500" y="2847950"/>
              <a:ext cx="3198600" cy="2628500"/>
            </a:xfrm>
            <a:custGeom>
              <a:avLst/>
              <a:gdLst/>
              <a:ahLst/>
              <a:cxnLst/>
              <a:rect l="l" t="t" r="r" b="b"/>
              <a:pathLst>
                <a:path w="127944" h="105140" extrusionOk="0">
                  <a:moveTo>
                    <a:pt x="22805" y="0"/>
                  </a:moveTo>
                  <a:lnTo>
                    <a:pt x="22805" y="36720"/>
                  </a:lnTo>
                  <a:cubicBezTo>
                    <a:pt x="20992" y="36051"/>
                    <a:pt x="19042" y="35663"/>
                    <a:pt x="16995" y="35663"/>
                  </a:cubicBezTo>
                  <a:cubicBezTo>
                    <a:pt x="15960" y="35663"/>
                    <a:pt x="14900" y="35762"/>
                    <a:pt x="13820" y="35975"/>
                  </a:cubicBezTo>
                  <a:cubicBezTo>
                    <a:pt x="5998" y="37513"/>
                    <a:pt x="150" y="44453"/>
                    <a:pt x="78" y="52424"/>
                  </a:cubicBezTo>
                  <a:cubicBezTo>
                    <a:pt x="1" y="61826"/>
                    <a:pt x="7602" y="69481"/>
                    <a:pt x="16986" y="69481"/>
                  </a:cubicBezTo>
                  <a:cubicBezTo>
                    <a:pt x="18971" y="69475"/>
                    <a:pt x="20945" y="69117"/>
                    <a:pt x="22805" y="68420"/>
                  </a:cubicBezTo>
                  <a:lnTo>
                    <a:pt x="22805" y="105139"/>
                  </a:lnTo>
                  <a:lnTo>
                    <a:pt x="108943" y="105139"/>
                  </a:lnTo>
                  <a:cubicBezTo>
                    <a:pt x="119436" y="105139"/>
                    <a:pt x="127944" y="96631"/>
                    <a:pt x="127944" y="86138"/>
                  </a:cubicBezTo>
                  <a:lnTo>
                    <a:pt x="127944" y="0"/>
                  </a:lnTo>
                  <a:lnTo>
                    <a:pt x="91087" y="0"/>
                  </a:lnTo>
                  <a:cubicBezTo>
                    <a:pt x="92088" y="2510"/>
                    <a:pt x="92470" y="5235"/>
                    <a:pt x="92196" y="7924"/>
                  </a:cubicBezTo>
                  <a:cubicBezTo>
                    <a:pt x="91343" y="16271"/>
                    <a:pt x="84260" y="22870"/>
                    <a:pt x="75878" y="23115"/>
                  </a:cubicBezTo>
                  <a:cubicBezTo>
                    <a:pt x="75708" y="23120"/>
                    <a:pt x="75539" y="23122"/>
                    <a:pt x="75370" y="23122"/>
                  </a:cubicBezTo>
                  <a:cubicBezTo>
                    <a:pt x="66033" y="23122"/>
                    <a:pt x="58469" y="15553"/>
                    <a:pt x="58469" y="6219"/>
                  </a:cubicBezTo>
                  <a:cubicBezTo>
                    <a:pt x="58469" y="4084"/>
                    <a:pt x="58869" y="1980"/>
                    <a:pt x="59662"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26" name="Google Shape;5526;p69"/>
          <p:cNvGrpSpPr/>
          <p:nvPr/>
        </p:nvGrpSpPr>
        <p:grpSpPr>
          <a:xfrm>
            <a:off x="4372867" y="2741665"/>
            <a:ext cx="869131" cy="916451"/>
            <a:chOff x="3400515" y="2056248"/>
            <a:chExt cx="698134" cy="735987"/>
          </a:xfrm>
        </p:grpSpPr>
        <p:grpSp>
          <p:nvGrpSpPr>
            <p:cNvPr id="5527" name="Google Shape;5527;p69"/>
            <p:cNvGrpSpPr/>
            <p:nvPr/>
          </p:nvGrpSpPr>
          <p:grpSpPr>
            <a:xfrm>
              <a:off x="3400515" y="2283913"/>
              <a:ext cx="312919" cy="219900"/>
              <a:chOff x="3400515" y="2283913"/>
              <a:chExt cx="312919" cy="219900"/>
            </a:xfrm>
          </p:grpSpPr>
          <p:sp>
            <p:nvSpPr>
              <p:cNvPr id="5528" name="Google Shape;5528;p69"/>
              <p:cNvSpPr/>
              <p:nvPr/>
            </p:nvSpPr>
            <p:spPr>
              <a:xfrm>
                <a:off x="3493534" y="2283913"/>
                <a:ext cx="219900" cy="219900"/>
              </a:xfrm>
              <a:prstGeom prst="ellipse">
                <a:avLst/>
              </a:prstGeom>
              <a:solidFill>
                <a:srgbClr val="435D74"/>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5529" name="Google Shape;5529;p69"/>
              <p:cNvCxnSpPr/>
              <p:nvPr/>
            </p:nvCxnSpPr>
            <p:spPr>
              <a:xfrm rot="10800000">
                <a:off x="3400515" y="2393804"/>
                <a:ext cx="95400" cy="0"/>
              </a:xfrm>
              <a:prstGeom prst="straightConnector1">
                <a:avLst/>
              </a:prstGeom>
              <a:noFill/>
              <a:ln w="28575" cap="flat" cmpd="sng">
                <a:solidFill>
                  <a:srgbClr val="435D74"/>
                </a:solidFill>
                <a:prstDash val="solid"/>
                <a:round/>
                <a:headEnd type="none" w="med" len="med"/>
                <a:tailEnd type="none" w="med" len="med"/>
              </a:ln>
            </p:spPr>
          </p:cxnSp>
        </p:grpSp>
        <p:grpSp>
          <p:nvGrpSpPr>
            <p:cNvPr id="5530" name="Google Shape;5530;p69"/>
            <p:cNvGrpSpPr/>
            <p:nvPr/>
          </p:nvGrpSpPr>
          <p:grpSpPr>
            <a:xfrm>
              <a:off x="3547823" y="2461089"/>
              <a:ext cx="219900" cy="331146"/>
              <a:chOff x="3547823" y="2461089"/>
              <a:chExt cx="219900" cy="331146"/>
            </a:xfrm>
          </p:grpSpPr>
          <p:sp>
            <p:nvSpPr>
              <p:cNvPr id="5531" name="Google Shape;5531;p69"/>
              <p:cNvSpPr/>
              <p:nvPr/>
            </p:nvSpPr>
            <p:spPr>
              <a:xfrm>
                <a:off x="3547823" y="2461089"/>
                <a:ext cx="219900" cy="219900"/>
              </a:xfrm>
              <a:prstGeom prst="ellipse">
                <a:avLst/>
              </a:prstGeom>
              <a:solidFill>
                <a:srgbClr val="5F7D95"/>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5532" name="Google Shape;5532;p69"/>
              <p:cNvCxnSpPr/>
              <p:nvPr/>
            </p:nvCxnSpPr>
            <p:spPr>
              <a:xfrm rot="10800000">
                <a:off x="3657701" y="2678535"/>
                <a:ext cx="0" cy="113700"/>
              </a:xfrm>
              <a:prstGeom prst="straightConnector1">
                <a:avLst/>
              </a:prstGeom>
              <a:noFill/>
              <a:ln w="28575" cap="flat" cmpd="sng">
                <a:solidFill>
                  <a:srgbClr val="5F7D95"/>
                </a:solidFill>
                <a:prstDash val="solid"/>
                <a:round/>
                <a:headEnd type="none" w="med" len="med"/>
                <a:tailEnd type="none" w="med" len="med"/>
              </a:ln>
            </p:spPr>
          </p:cxnSp>
        </p:grpSp>
        <p:grpSp>
          <p:nvGrpSpPr>
            <p:cNvPr id="5533" name="Google Shape;5533;p69"/>
            <p:cNvGrpSpPr/>
            <p:nvPr/>
          </p:nvGrpSpPr>
          <p:grpSpPr>
            <a:xfrm>
              <a:off x="3734138" y="2461089"/>
              <a:ext cx="219900" cy="331146"/>
              <a:chOff x="3734138" y="2461089"/>
              <a:chExt cx="219900" cy="331146"/>
            </a:xfrm>
          </p:grpSpPr>
          <p:sp>
            <p:nvSpPr>
              <p:cNvPr id="5534" name="Google Shape;5534;p69"/>
              <p:cNvSpPr/>
              <p:nvPr/>
            </p:nvSpPr>
            <p:spPr>
              <a:xfrm>
                <a:off x="3734138" y="2461089"/>
                <a:ext cx="219900" cy="219900"/>
              </a:xfrm>
              <a:prstGeom prst="ellipse">
                <a:avLst/>
              </a:prstGeom>
              <a:solidFill>
                <a:srgbClr val="869FB2"/>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5535" name="Google Shape;5535;p69"/>
              <p:cNvCxnSpPr/>
              <p:nvPr/>
            </p:nvCxnSpPr>
            <p:spPr>
              <a:xfrm rot="10800000">
                <a:off x="3844020" y="2678535"/>
                <a:ext cx="0" cy="113700"/>
              </a:xfrm>
              <a:prstGeom prst="straightConnector1">
                <a:avLst/>
              </a:prstGeom>
              <a:noFill/>
              <a:ln w="28575" cap="flat" cmpd="sng">
                <a:solidFill>
                  <a:srgbClr val="869FB2"/>
                </a:solidFill>
                <a:prstDash val="solid"/>
                <a:round/>
                <a:headEnd type="none" w="med" len="med"/>
                <a:tailEnd type="none" w="med" len="med"/>
              </a:ln>
            </p:spPr>
          </p:cxnSp>
        </p:grpSp>
        <p:grpSp>
          <p:nvGrpSpPr>
            <p:cNvPr id="5536" name="Google Shape;5536;p69"/>
            <p:cNvGrpSpPr/>
            <p:nvPr/>
          </p:nvGrpSpPr>
          <p:grpSpPr>
            <a:xfrm>
              <a:off x="3787560" y="2281742"/>
              <a:ext cx="311089" cy="219900"/>
              <a:chOff x="3787560" y="2281742"/>
              <a:chExt cx="311089" cy="219900"/>
            </a:xfrm>
          </p:grpSpPr>
          <p:sp>
            <p:nvSpPr>
              <p:cNvPr id="5537" name="Google Shape;5537;p69"/>
              <p:cNvSpPr/>
              <p:nvPr/>
            </p:nvSpPr>
            <p:spPr>
              <a:xfrm>
                <a:off x="3787560" y="2281742"/>
                <a:ext cx="219900" cy="219900"/>
              </a:xfrm>
              <a:prstGeom prst="ellipse">
                <a:avLst/>
              </a:prstGeom>
              <a:solidFill>
                <a:srgbClr val="A5B7C6"/>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00C3B1"/>
                  </a:solidFill>
                  <a:latin typeface="Calibri"/>
                  <a:ea typeface="Calibri"/>
                  <a:cs typeface="Calibri"/>
                  <a:sym typeface="Calibri"/>
                </a:endParaRPr>
              </a:p>
            </p:txBody>
          </p:sp>
          <p:cxnSp>
            <p:nvCxnSpPr>
              <p:cNvPr id="5538" name="Google Shape;5538;p69"/>
              <p:cNvCxnSpPr/>
              <p:nvPr/>
            </p:nvCxnSpPr>
            <p:spPr>
              <a:xfrm rot="10800000">
                <a:off x="4003849" y="2393795"/>
                <a:ext cx="94800" cy="0"/>
              </a:xfrm>
              <a:prstGeom prst="straightConnector1">
                <a:avLst/>
              </a:prstGeom>
              <a:noFill/>
              <a:ln w="28575" cap="flat" cmpd="sng">
                <a:solidFill>
                  <a:srgbClr val="A5B7C6"/>
                </a:solidFill>
                <a:prstDash val="solid"/>
                <a:round/>
                <a:headEnd type="none" w="med" len="med"/>
                <a:tailEnd type="none" w="med" len="med"/>
              </a:ln>
            </p:spPr>
          </p:cxnSp>
        </p:grpSp>
        <p:grpSp>
          <p:nvGrpSpPr>
            <p:cNvPr id="5539" name="Google Shape;5539;p69"/>
            <p:cNvGrpSpPr/>
            <p:nvPr/>
          </p:nvGrpSpPr>
          <p:grpSpPr>
            <a:xfrm>
              <a:off x="3637290" y="2056248"/>
              <a:ext cx="219900" cy="330736"/>
              <a:chOff x="3637290" y="2056248"/>
              <a:chExt cx="219900" cy="330736"/>
            </a:xfrm>
          </p:grpSpPr>
          <p:sp>
            <p:nvSpPr>
              <p:cNvPr id="5540" name="Google Shape;5540;p69"/>
              <p:cNvSpPr/>
              <p:nvPr/>
            </p:nvSpPr>
            <p:spPr>
              <a:xfrm>
                <a:off x="3637290" y="2167085"/>
                <a:ext cx="219900" cy="219900"/>
              </a:xfrm>
              <a:prstGeom prst="ellipse">
                <a:avLst/>
              </a:prstGeom>
              <a:solidFill>
                <a:srgbClr val="BAC8D3"/>
              </a:solidFill>
              <a:ln>
                <a:noFill/>
              </a:ln>
            </p:spPr>
            <p:txBody>
              <a:bodyPr spcFirstLastPara="1" wrap="square" lIns="91433" tIns="45700" rIns="91433" bIns="45700" anchor="ctr" anchorCtr="0">
                <a:noAutofit/>
              </a:bodyPr>
              <a:lstStyle/>
              <a:p>
                <a:pPr algn="ctr" defTabSz="1219170">
                  <a:buClr>
                    <a:srgbClr val="000000"/>
                  </a:buClr>
                </a:pPr>
                <a:endParaRPr sz="1867" kern="0">
                  <a:solidFill>
                    <a:srgbClr val="FFFFFF"/>
                  </a:solidFill>
                  <a:latin typeface="Calibri"/>
                  <a:ea typeface="Calibri"/>
                  <a:cs typeface="Calibri"/>
                  <a:sym typeface="Calibri"/>
                </a:endParaRPr>
              </a:p>
            </p:txBody>
          </p:sp>
          <p:cxnSp>
            <p:nvCxnSpPr>
              <p:cNvPr id="5541" name="Google Shape;5541;p69"/>
              <p:cNvCxnSpPr/>
              <p:nvPr/>
            </p:nvCxnSpPr>
            <p:spPr>
              <a:xfrm rot="10800000">
                <a:off x="3747169" y="2056248"/>
                <a:ext cx="0" cy="113700"/>
              </a:xfrm>
              <a:prstGeom prst="straightConnector1">
                <a:avLst/>
              </a:prstGeom>
              <a:noFill/>
              <a:ln w="28575" cap="flat" cmpd="sng">
                <a:solidFill>
                  <a:srgbClr val="BAC8D3"/>
                </a:solidFill>
                <a:prstDash val="solid"/>
                <a:round/>
                <a:headEnd type="none" w="med" len="med"/>
                <a:tailEnd type="none" w="med" len="med"/>
              </a:ln>
            </p:spPr>
          </p:cxnSp>
        </p:grpSp>
      </p:grpSp>
      <p:grpSp>
        <p:nvGrpSpPr>
          <p:cNvPr id="5542" name="Google Shape;5542;p69"/>
          <p:cNvGrpSpPr/>
          <p:nvPr/>
        </p:nvGrpSpPr>
        <p:grpSpPr>
          <a:xfrm>
            <a:off x="3428475" y="3901673"/>
            <a:ext cx="1690859" cy="789859"/>
            <a:chOff x="238125" y="1188750"/>
            <a:chExt cx="7140450" cy="3335550"/>
          </a:xfrm>
        </p:grpSpPr>
        <p:sp>
          <p:nvSpPr>
            <p:cNvPr id="5543" name="Google Shape;5543;p69"/>
            <p:cNvSpPr/>
            <p:nvPr/>
          </p:nvSpPr>
          <p:spPr>
            <a:xfrm>
              <a:off x="238125" y="1188750"/>
              <a:ext cx="3507025" cy="1584000"/>
            </a:xfrm>
            <a:custGeom>
              <a:avLst/>
              <a:gdLst/>
              <a:ahLst/>
              <a:cxnLst/>
              <a:rect l="l" t="t" r="r" b="b"/>
              <a:pathLst>
                <a:path w="140281" h="63360" extrusionOk="0">
                  <a:moveTo>
                    <a:pt x="4021" y="0"/>
                  </a:moveTo>
                  <a:cubicBezTo>
                    <a:pt x="1801" y="6"/>
                    <a:pt x="6" y="1801"/>
                    <a:pt x="0" y="4021"/>
                  </a:cubicBezTo>
                  <a:lnTo>
                    <a:pt x="0" y="59338"/>
                  </a:lnTo>
                  <a:cubicBezTo>
                    <a:pt x="6" y="61552"/>
                    <a:pt x="1801" y="63354"/>
                    <a:pt x="4021" y="63359"/>
                  </a:cubicBezTo>
                  <a:lnTo>
                    <a:pt x="98272" y="63359"/>
                  </a:lnTo>
                  <a:cubicBezTo>
                    <a:pt x="99963" y="41512"/>
                    <a:pt x="118098" y="24204"/>
                    <a:pt x="140280" y="23813"/>
                  </a:cubicBezTo>
                  <a:lnTo>
                    <a:pt x="140280" y="4021"/>
                  </a:lnTo>
                  <a:cubicBezTo>
                    <a:pt x="140275" y="1801"/>
                    <a:pt x="138474" y="6"/>
                    <a:pt x="136259"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4" name="Google Shape;5544;p69"/>
            <p:cNvSpPr/>
            <p:nvPr/>
          </p:nvSpPr>
          <p:spPr>
            <a:xfrm>
              <a:off x="238125" y="2940300"/>
              <a:ext cx="3507025" cy="1584000"/>
            </a:xfrm>
            <a:custGeom>
              <a:avLst/>
              <a:gdLst/>
              <a:ahLst/>
              <a:cxnLst/>
              <a:rect l="l" t="t" r="r" b="b"/>
              <a:pathLst>
                <a:path w="140281" h="63360" extrusionOk="0">
                  <a:moveTo>
                    <a:pt x="4021" y="1"/>
                  </a:moveTo>
                  <a:cubicBezTo>
                    <a:pt x="1801" y="6"/>
                    <a:pt x="6" y="1808"/>
                    <a:pt x="0" y="4022"/>
                  </a:cubicBezTo>
                  <a:lnTo>
                    <a:pt x="0" y="59339"/>
                  </a:lnTo>
                  <a:cubicBezTo>
                    <a:pt x="6" y="61559"/>
                    <a:pt x="1801" y="63354"/>
                    <a:pt x="4021" y="63360"/>
                  </a:cubicBezTo>
                  <a:lnTo>
                    <a:pt x="136259" y="63360"/>
                  </a:lnTo>
                  <a:cubicBezTo>
                    <a:pt x="138474" y="63354"/>
                    <a:pt x="140275" y="61559"/>
                    <a:pt x="140280" y="59339"/>
                  </a:cubicBezTo>
                  <a:lnTo>
                    <a:pt x="140280" y="39547"/>
                  </a:lnTo>
                  <a:cubicBezTo>
                    <a:pt x="118098" y="39155"/>
                    <a:pt x="99963" y="21848"/>
                    <a:pt x="98272"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5" name="Google Shape;5545;p69"/>
            <p:cNvSpPr/>
            <p:nvPr/>
          </p:nvSpPr>
          <p:spPr>
            <a:xfrm>
              <a:off x="3871550" y="1188750"/>
              <a:ext cx="3507025" cy="1584000"/>
            </a:xfrm>
            <a:custGeom>
              <a:avLst/>
              <a:gdLst/>
              <a:ahLst/>
              <a:cxnLst/>
              <a:rect l="l" t="t" r="r" b="b"/>
              <a:pathLst>
                <a:path w="140281" h="63360" extrusionOk="0">
                  <a:moveTo>
                    <a:pt x="4022" y="0"/>
                  </a:moveTo>
                  <a:cubicBezTo>
                    <a:pt x="1807" y="6"/>
                    <a:pt x="6" y="1801"/>
                    <a:pt x="0" y="4021"/>
                  </a:cubicBezTo>
                  <a:lnTo>
                    <a:pt x="0" y="24017"/>
                  </a:lnTo>
                  <a:cubicBezTo>
                    <a:pt x="20553" y="26066"/>
                    <a:pt x="36886" y="42675"/>
                    <a:pt x="38494" y="63359"/>
                  </a:cubicBezTo>
                  <a:lnTo>
                    <a:pt x="136260" y="63359"/>
                  </a:lnTo>
                  <a:cubicBezTo>
                    <a:pt x="138480" y="63354"/>
                    <a:pt x="140275" y="61552"/>
                    <a:pt x="140281" y="59338"/>
                  </a:cubicBezTo>
                  <a:lnTo>
                    <a:pt x="140281" y="4021"/>
                  </a:lnTo>
                  <a:cubicBezTo>
                    <a:pt x="140275" y="1801"/>
                    <a:pt x="138480" y="6"/>
                    <a:pt x="13626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6" name="Google Shape;5546;p69"/>
            <p:cNvSpPr/>
            <p:nvPr/>
          </p:nvSpPr>
          <p:spPr>
            <a:xfrm>
              <a:off x="3871550" y="2940300"/>
              <a:ext cx="3507025" cy="1584000"/>
            </a:xfrm>
            <a:custGeom>
              <a:avLst/>
              <a:gdLst/>
              <a:ahLst/>
              <a:cxnLst/>
              <a:rect l="l" t="t" r="r" b="b"/>
              <a:pathLst>
                <a:path w="140281" h="63360" extrusionOk="0">
                  <a:moveTo>
                    <a:pt x="38494" y="1"/>
                  </a:moveTo>
                  <a:cubicBezTo>
                    <a:pt x="36886" y="20680"/>
                    <a:pt x="20553" y="37294"/>
                    <a:pt x="0" y="39343"/>
                  </a:cubicBezTo>
                  <a:lnTo>
                    <a:pt x="0" y="59339"/>
                  </a:lnTo>
                  <a:cubicBezTo>
                    <a:pt x="6" y="61559"/>
                    <a:pt x="1807" y="63354"/>
                    <a:pt x="4022" y="63360"/>
                  </a:cubicBezTo>
                  <a:lnTo>
                    <a:pt x="136260" y="63360"/>
                  </a:lnTo>
                  <a:cubicBezTo>
                    <a:pt x="138480" y="63354"/>
                    <a:pt x="140275" y="61559"/>
                    <a:pt x="140281" y="59339"/>
                  </a:cubicBezTo>
                  <a:lnTo>
                    <a:pt x="140281" y="4022"/>
                  </a:lnTo>
                  <a:cubicBezTo>
                    <a:pt x="140275" y="1808"/>
                    <a:pt x="138480" y="6"/>
                    <a:pt x="13626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47" name="Google Shape;5547;p69"/>
            <p:cNvSpPr/>
            <p:nvPr/>
          </p:nvSpPr>
          <p:spPr>
            <a:xfrm>
              <a:off x="2842425" y="1934600"/>
              <a:ext cx="1843850" cy="1843850"/>
            </a:xfrm>
            <a:custGeom>
              <a:avLst/>
              <a:gdLst/>
              <a:ahLst/>
              <a:cxnLst/>
              <a:rect l="l" t="t" r="r" b="b"/>
              <a:pathLst>
                <a:path w="73754" h="73754" extrusionOk="0">
                  <a:moveTo>
                    <a:pt x="36880" y="0"/>
                  </a:moveTo>
                  <a:cubicBezTo>
                    <a:pt x="36621" y="0"/>
                    <a:pt x="36362" y="6"/>
                    <a:pt x="36108" y="11"/>
                  </a:cubicBezTo>
                  <a:cubicBezTo>
                    <a:pt x="17253" y="397"/>
                    <a:pt x="1834" y="15011"/>
                    <a:pt x="154" y="33525"/>
                  </a:cubicBezTo>
                  <a:cubicBezTo>
                    <a:pt x="55" y="34627"/>
                    <a:pt x="0" y="35745"/>
                    <a:pt x="0" y="36874"/>
                  </a:cubicBezTo>
                  <a:cubicBezTo>
                    <a:pt x="0" y="38009"/>
                    <a:pt x="55" y="39122"/>
                    <a:pt x="154" y="40229"/>
                  </a:cubicBezTo>
                  <a:cubicBezTo>
                    <a:pt x="1834" y="58749"/>
                    <a:pt x="17253" y="73357"/>
                    <a:pt x="36108" y="73743"/>
                  </a:cubicBezTo>
                  <a:cubicBezTo>
                    <a:pt x="36362" y="73748"/>
                    <a:pt x="36621" y="73754"/>
                    <a:pt x="36880" y="73754"/>
                  </a:cubicBezTo>
                  <a:cubicBezTo>
                    <a:pt x="38312" y="73754"/>
                    <a:pt x="39744" y="73666"/>
                    <a:pt x="41165" y="73500"/>
                  </a:cubicBezTo>
                  <a:cubicBezTo>
                    <a:pt x="58391" y="71495"/>
                    <a:pt x="72030" y="57581"/>
                    <a:pt x="73600" y="40229"/>
                  </a:cubicBezTo>
                  <a:cubicBezTo>
                    <a:pt x="73699" y="39127"/>
                    <a:pt x="73754" y="38009"/>
                    <a:pt x="73754" y="36874"/>
                  </a:cubicBezTo>
                  <a:cubicBezTo>
                    <a:pt x="73754" y="35745"/>
                    <a:pt x="73699" y="34632"/>
                    <a:pt x="73600" y="33525"/>
                  </a:cubicBezTo>
                  <a:cubicBezTo>
                    <a:pt x="72024" y="16173"/>
                    <a:pt x="58391" y="2259"/>
                    <a:pt x="41165" y="254"/>
                  </a:cubicBezTo>
                  <a:cubicBezTo>
                    <a:pt x="39744" y="88"/>
                    <a:pt x="38312" y="0"/>
                    <a:pt x="36880"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48" name="Google Shape;5548;p69"/>
          <p:cNvGrpSpPr/>
          <p:nvPr/>
        </p:nvGrpSpPr>
        <p:grpSpPr>
          <a:xfrm>
            <a:off x="8905676" y="3904547"/>
            <a:ext cx="1405259" cy="786863"/>
            <a:chOff x="238125" y="1335475"/>
            <a:chExt cx="5418735" cy="3034175"/>
          </a:xfrm>
        </p:grpSpPr>
        <p:sp>
          <p:nvSpPr>
            <p:cNvPr id="5549" name="Google Shape;5549;p69"/>
            <p:cNvSpPr/>
            <p:nvPr/>
          </p:nvSpPr>
          <p:spPr>
            <a:xfrm>
              <a:off x="3669985" y="1335475"/>
              <a:ext cx="1986875" cy="3034175"/>
            </a:xfrm>
            <a:custGeom>
              <a:avLst/>
              <a:gdLst/>
              <a:ahLst/>
              <a:cxnLst/>
              <a:rect l="l" t="t" r="r" b="b"/>
              <a:pathLst>
                <a:path w="79475" h="121367" extrusionOk="0">
                  <a:moveTo>
                    <a:pt x="1" y="0"/>
                  </a:moveTo>
                  <a:lnTo>
                    <a:pt x="1" y="38997"/>
                  </a:lnTo>
                  <a:cubicBezTo>
                    <a:pt x="588" y="44011"/>
                    <a:pt x="2425" y="48797"/>
                    <a:pt x="5360" y="52918"/>
                  </a:cubicBezTo>
                  <a:lnTo>
                    <a:pt x="9329" y="58469"/>
                  </a:lnTo>
                  <a:cubicBezTo>
                    <a:pt x="10541" y="59694"/>
                    <a:pt x="10541" y="61672"/>
                    <a:pt x="9329" y="62897"/>
                  </a:cubicBezTo>
                  <a:lnTo>
                    <a:pt x="5360" y="68448"/>
                  </a:lnTo>
                  <a:cubicBezTo>
                    <a:pt x="2425" y="72557"/>
                    <a:pt x="588" y="77355"/>
                    <a:pt x="1" y="82370"/>
                  </a:cubicBezTo>
                  <a:lnTo>
                    <a:pt x="1" y="121366"/>
                  </a:lnTo>
                  <a:lnTo>
                    <a:pt x="68743" y="121366"/>
                  </a:lnTo>
                  <a:lnTo>
                    <a:pt x="68743" y="85815"/>
                  </a:lnTo>
                  <a:cubicBezTo>
                    <a:pt x="68743" y="79588"/>
                    <a:pt x="70682" y="73514"/>
                    <a:pt x="74293" y="68448"/>
                  </a:cubicBezTo>
                  <a:lnTo>
                    <a:pt x="78249" y="62897"/>
                  </a:lnTo>
                  <a:cubicBezTo>
                    <a:pt x="79474" y="61672"/>
                    <a:pt x="79474" y="59694"/>
                    <a:pt x="78249" y="58469"/>
                  </a:cubicBezTo>
                  <a:lnTo>
                    <a:pt x="74293" y="52918"/>
                  </a:lnTo>
                  <a:cubicBezTo>
                    <a:pt x="70669" y="47840"/>
                    <a:pt x="68730" y="41778"/>
                    <a:pt x="68730" y="35551"/>
                  </a:cubicBezTo>
                  <a:lnTo>
                    <a:pt x="68730"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0" name="Google Shape;5550;p69"/>
            <p:cNvSpPr/>
            <p:nvPr/>
          </p:nvSpPr>
          <p:spPr>
            <a:xfrm>
              <a:off x="1956350" y="1335475"/>
              <a:ext cx="1984950" cy="3034175"/>
            </a:xfrm>
            <a:custGeom>
              <a:avLst/>
              <a:gdLst/>
              <a:ahLst/>
              <a:cxnLst/>
              <a:rect l="l" t="t" r="r" b="b"/>
              <a:pathLst>
                <a:path w="79398" h="121367" extrusionOk="0">
                  <a:moveTo>
                    <a:pt x="0" y="0"/>
                  </a:moveTo>
                  <a:lnTo>
                    <a:pt x="0" y="35551"/>
                  </a:lnTo>
                  <a:cubicBezTo>
                    <a:pt x="0" y="41778"/>
                    <a:pt x="1940" y="47852"/>
                    <a:pt x="5564" y="52918"/>
                  </a:cubicBezTo>
                  <a:lnTo>
                    <a:pt x="9520" y="58469"/>
                  </a:lnTo>
                  <a:cubicBezTo>
                    <a:pt x="10745" y="59694"/>
                    <a:pt x="10745" y="61672"/>
                    <a:pt x="9520" y="62897"/>
                  </a:cubicBezTo>
                  <a:lnTo>
                    <a:pt x="5564" y="68448"/>
                  </a:lnTo>
                  <a:cubicBezTo>
                    <a:pt x="1952" y="73514"/>
                    <a:pt x="0" y="79588"/>
                    <a:pt x="0" y="85815"/>
                  </a:cubicBezTo>
                  <a:lnTo>
                    <a:pt x="0" y="121366"/>
                  </a:lnTo>
                  <a:lnTo>
                    <a:pt x="68665" y="121366"/>
                  </a:lnTo>
                  <a:lnTo>
                    <a:pt x="68665" y="85815"/>
                  </a:lnTo>
                  <a:cubicBezTo>
                    <a:pt x="68665" y="79588"/>
                    <a:pt x="70605" y="73514"/>
                    <a:pt x="74216" y="68448"/>
                  </a:cubicBezTo>
                  <a:lnTo>
                    <a:pt x="78185" y="62897"/>
                  </a:lnTo>
                  <a:cubicBezTo>
                    <a:pt x="79397" y="61672"/>
                    <a:pt x="79397" y="59694"/>
                    <a:pt x="78185" y="58469"/>
                  </a:cubicBezTo>
                  <a:lnTo>
                    <a:pt x="74216" y="52918"/>
                  </a:lnTo>
                  <a:cubicBezTo>
                    <a:pt x="70605" y="47840"/>
                    <a:pt x="68665" y="41778"/>
                    <a:pt x="68665" y="35551"/>
                  </a:cubicBezTo>
                  <a:lnTo>
                    <a:pt x="68665"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1" name="Google Shape;5551;p69"/>
            <p:cNvSpPr/>
            <p:nvPr/>
          </p:nvSpPr>
          <p:spPr>
            <a:xfrm>
              <a:off x="238125" y="1335475"/>
              <a:ext cx="1986850" cy="3034175"/>
            </a:xfrm>
            <a:custGeom>
              <a:avLst/>
              <a:gdLst/>
              <a:ahLst/>
              <a:cxnLst/>
              <a:rect l="l" t="t" r="r" b="b"/>
              <a:pathLst>
                <a:path w="79474" h="121367" extrusionOk="0">
                  <a:moveTo>
                    <a:pt x="0" y="0"/>
                  </a:moveTo>
                  <a:lnTo>
                    <a:pt x="0" y="121366"/>
                  </a:lnTo>
                  <a:lnTo>
                    <a:pt x="68729" y="121366"/>
                  </a:lnTo>
                  <a:lnTo>
                    <a:pt x="68729" y="85815"/>
                  </a:lnTo>
                  <a:cubicBezTo>
                    <a:pt x="68729" y="79588"/>
                    <a:pt x="70669" y="73514"/>
                    <a:pt x="74293" y="68448"/>
                  </a:cubicBezTo>
                  <a:lnTo>
                    <a:pt x="78249" y="62897"/>
                  </a:lnTo>
                  <a:cubicBezTo>
                    <a:pt x="79474" y="61672"/>
                    <a:pt x="79474" y="59694"/>
                    <a:pt x="78249" y="58469"/>
                  </a:cubicBezTo>
                  <a:lnTo>
                    <a:pt x="74293" y="52918"/>
                  </a:lnTo>
                  <a:cubicBezTo>
                    <a:pt x="70669" y="47840"/>
                    <a:pt x="68729" y="41778"/>
                    <a:pt x="68729" y="35551"/>
                  </a:cubicBezTo>
                  <a:lnTo>
                    <a:pt x="68729" y="0"/>
                  </a:ln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52" name="Google Shape;5552;p69"/>
          <p:cNvGrpSpPr/>
          <p:nvPr/>
        </p:nvGrpSpPr>
        <p:grpSpPr>
          <a:xfrm>
            <a:off x="5480089" y="4977746"/>
            <a:ext cx="1690943" cy="851919"/>
            <a:chOff x="3967651" y="3645904"/>
            <a:chExt cx="1479304" cy="745292"/>
          </a:xfrm>
        </p:grpSpPr>
        <p:grpSp>
          <p:nvGrpSpPr>
            <p:cNvPr id="5553" name="Google Shape;5553;p69"/>
            <p:cNvGrpSpPr/>
            <p:nvPr/>
          </p:nvGrpSpPr>
          <p:grpSpPr>
            <a:xfrm>
              <a:off x="3967651" y="4009026"/>
              <a:ext cx="1479304" cy="382170"/>
              <a:chOff x="3967651" y="4009026"/>
              <a:chExt cx="1479304" cy="382170"/>
            </a:xfrm>
          </p:grpSpPr>
          <p:grpSp>
            <p:nvGrpSpPr>
              <p:cNvPr id="5554" name="Google Shape;5554;p69"/>
              <p:cNvGrpSpPr/>
              <p:nvPr/>
            </p:nvGrpSpPr>
            <p:grpSpPr>
              <a:xfrm>
                <a:off x="4892216" y="4195630"/>
                <a:ext cx="554739" cy="195566"/>
                <a:chOff x="3604375" y="4892160"/>
                <a:chExt cx="1651500" cy="582215"/>
              </a:xfrm>
            </p:grpSpPr>
            <p:sp>
              <p:nvSpPr>
                <p:cNvPr id="5555" name="Google Shape;5555;p69"/>
                <p:cNvSpPr/>
                <p:nvPr/>
              </p:nvSpPr>
              <p:spPr>
                <a:xfrm>
                  <a:off x="3604375" y="4892160"/>
                  <a:ext cx="1651500" cy="146825"/>
                </a:xfrm>
                <a:custGeom>
                  <a:avLst/>
                  <a:gdLst/>
                  <a:ahLst/>
                  <a:cxnLst/>
                  <a:rect l="l" t="t" r="r" b="b"/>
                  <a:pathLst>
                    <a:path w="66060" h="5873" extrusionOk="0">
                      <a:moveTo>
                        <a:pt x="1" y="0"/>
                      </a:moveTo>
                      <a:lnTo>
                        <a:pt x="7340" y="5872"/>
                      </a:lnTo>
                      <a:lnTo>
                        <a:pt x="66060" y="5872"/>
                      </a:lnTo>
                      <a:lnTo>
                        <a:pt x="51382"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6" name="Google Shape;5556;p69"/>
                <p:cNvSpPr/>
                <p:nvPr/>
              </p:nvSpPr>
              <p:spPr>
                <a:xfrm>
                  <a:off x="3787875" y="5033975"/>
                  <a:ext cx="1468000" cy="440400"/>
                </a:xfrm>
                <a:custGeom>
                  <a:avLst/>
                  <a:gdLst/>
                  <a:ahLst/>
                  <a:cxnLst/>
                  <a:rect l="l" t="t" r="r" b="b"/>
                  <a:pathLst>
                    <a:path w="58720" h="17616" extrusionOk="0">
                      <a:moveTo>
                        <a:pt x="0" y="0"/>
                      </a:moveTo>
                      <a:lnTo>
                        <a:pt x="0" y="17615"/>
                      </a:lnTo>
                      <a:lnTo>
                        <a:pt x="58720" y="17615"/>
                      </a:lnTo>
                      <a:lnTo>
                        <a:pt x="58720"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57" name="Google Shape;5557;p69"/>
              <p:cNvGrpSpPr/>
              <p:nvPr/>
            </p:nvGrpSpPr>
            <p:grpSpPr>
              <a:xfrm>
                <a:off x="3967651" y="4146303"/>
                <a:ext cx="579402" cy="244893"/>
                <a:chOff x="851875" y="4745310"/>
                <a:chExt cx="1724925" cy="729065"/>
              </a:xfrm>
            </p:grpSpPr>
            <p:sp>
              <p:nvSpPr>
                <p:cNvPr id="5558" name="Google Shape;5558;p69"/>
                <p:cNvSpPr/>
                <p:nvPr/>
              </p:nvSpPr>
              <p:spPr>
                <a:xfrm>
                  <a:off x="851925" y="4745310"/>
                  <a:ext cx="1724875" cy="146875"/>
                </a:xfrm>
                <a:custGeom>
                  <a:avLst/>
                  <a:gdLst/>
                  <a:ahLst/>
                  <a:cxnLst/>
                  <a:rect l="l" t="t" r="r" b="b"/>
                  <a:pathLst>
                    <a:path w="68995" h="5875" extrusionOk="0">
                      <a:moveTo>
                        <a:pt x="14679" y="0"/>
                      </a:moveTo>
                      <a:lnTo>
                        <a:pt x="1" y="5874"/>
                      </a:lnTo>
                      <a:lnTo>
                        <a:pt x="58718" y="5874"/>
                      </a:lnTo>
                      <a:lnTo>
                        <a:pt x="68994"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59" name="Google Shape;5559;p69"/>
                <p:cNvSpPr/>
                <p:nvPr/>
              </p:nvSpPr>
              <p:spPr>
                <a:xfrm>
                  <a:off x="851875" y="4887175"/>
                  <a:ext cx="1468025" cy="587200"/>
                </a:xfrm>
                <a:custGeom>
                  <a:avLst/>
                  <a:gdLst/>
                  <a:ahLst/>
                  <a:cxnLst/>
                  <a:rect l="l" t="t" r="r" b="b"/>
                  <a:pathLst>
                    <a:path w="58721" h="23488" extrusionOk="0">
                      <a:moveTo>
                        <a:pt x="0" y="0"/>
                      </a:moveTo>
                      <a:lnTo>
                        <a:pt x="0" y="23487"/>
                      </a:lnTo>
                      <a:lnTo>
                        <a:pt x="58720" y="23487"/>
                      </a:lnTo>
                      <a:lnTo>
                        <a:pt x="58720"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60" name="Google Shape;5560;p69"/>
              <p:cNvGrpSpPr/>
              <p:nvPr/>
            </p:nvGrpSpPr>
            <p:grpSpPr>
              <a:xfrm>
                <a:off x="4460753" y="4009026"/>
                <a:ext cx="493110" cy="382170"/>
                <a:chOff x="2319875" y="4336625"/>
                <a:chExt cx="1468025" cy="1137750"/>
              </a:xfrm>
            </p:grpSpPr>
            <p:sp>
              <p:nvSpPr>
                <p:cNvPr id="5561" name="Google Shape;5561;p69"/>
                <p:cNvSpPr/>
                <p:nvPr/>
              </p:nvSpPr>
              <p:spPr>
                <a:xfrm>
                  <a:off x="2319875" y="4336625"/>
                  <a:ext cx="1468025" cy="146875"/>
                </a:xfrm>
                <a:custGeom>
                  <a:avLst/>
                  <a:gdLst/>
                  <a:ahLst/>
                  <a:cxnLst/>
                  <a:rect l="l" t="t" r="r" b="b"/>
                  <a:pathLst>
                    <a:path w="58721" h="5875" extrusionOk="0">
                      <a:moveTo>
                        <a:pt x="14681" y="0"/>
                      </a:moveTo>
                      <a:lnTo>
                        <a:pt x="0" y="5874"/>
                      </a:lnTo>
                      <a:lnTo>
                        <a:pt x="58720" y="5874"/>
                      </a:lnTo>
                      <a:lnTo>
                        <a:pt x="44042" y="0"/>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2" name="Google Shape;5562;p69"/>
                <p:cNvSpPr/>
                <p:nvPr/>
              </p:nvSpPr>
              <p:spPr>
                <a:xfrm>
                  <a:off x="2319875" y="4483425"/>
                  <a:ext cx="1468025" cy="990950"/>
                </a:xfrm>
                <a:custGeom>
                  <a:avLst/>
                  <a:gdLst/>
                  <a:ahLst/>
                  <a:cxnLst/>
                  <a:rect l="l" t="t" r="r" b="b"/>
                  <a:pathLst>
                    <a:path w="58721" h="39638" extrusionOk="0">
                      <a:moveTo>
                        <a:pt x="0" y="0"/>
                      </a:moveTo>
                      <a:lnTo>
                        <a:pt x="0" y="39637"/>
                      </a:lnTo>
                      <a:lnTo>
                        <a:pt x="58720" y="39637"/>
                      </a:lnTo>
                      <a:lnTo>
                        <a:pt x="58720" y="0"/>
                      </a:lnTo>
                      <a:close/>
                    </a:path>
                  </a:pathLst>
                </a:custGeom>
                <a:solidFill>
                  <a:srgbClr val="DBE2E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563" name="Google Shape;5563;p69"/>
            <p:cNvGrpSpPr/>
            <p:nvPr/>
          </p:nvGrpSpPr>
          <p:grpSpPr>
            <a:xfrm>
              <a:off x="4479443" y="3645904"/>
              <a:ext cx="455965" cy="388789"/>
              <a:chOff x="2957425" y="238100"/>
              <a:chExt cx="1910200" cy="1628775"/>
            </a:xfrm>
          </p:grpSpPr>
          <p:sp>
            <p:nvSpPr>
              <p:cNvPr id="5564" name="Google Shape;5564;p69"/>
              <p:cNvSpPr/>
              <p:nvPr/>
            </p:nvSpPr>
            <p:spPr>
              <a:xfrm>
                <a:off x="4035900" y="239600"/>
                <a:ext cx="831725" cy="906350"/>
              </a:xfrm>
              <a:custGeom>
                <a:avLst/>
                <a:gdLst/>
                <a:ahLst/>
                <a:cxnLst/>
                <a:rect l="l" t="t" r="r" b="b"/>
                <a:pathLst>
                  <a:path w="33269" h="36254" extrusionOk="0">
                    <a:moveTo>
                      <a:pt x="22705" y="0"/>
                    </a:moveTo>
                    <a:cubicBezTo>
                      <a:pt x="21111" y="0"/>
                      <a:pt x="19679" y="297"/>
                      <a:pt x="18461" y="685"/>
                    </a:cubicBezTo>
                    <a:cubicBezTo>
                      <a:pt x="17166" y="1102"/>
                      <a:pt x="15926" y="1669"/>
                      <a:pt x="14763" y="2373"/>
                    </a:cubicBezTo>
                    <a:cubicBezTo>
                      <a:pt x="13810" y="2945"/>
                      <a:pt x="13109" y="3505"/>
                      <a:pt x="12609" y="3900"/>
                    </a:cubicBezTo>
                    <a:lnTo>
                      <a:pt x="11977" y="4448"/>
                    </a:lnTo>
                    <a:lnTo>
                      <a:pt x="14023" y="6907"/>
                    </a:lnTo>
                    <a:lnTo>
                      <a:pt x="14679" y="6385"/>
                    </a:lnTo>
                    <a:cubicBezTo>
                      <a:pt x="15052" y="6124"/>
                      <a:pt x="15622" y="5698"/>
                      <a:pt x="16443" y="5255"/>
                    </a:cubicBezTo>
                    <a:cubicBezTo>
                      <a:pt x="17250" y="4815"/>
                      <a:pt x="18260" y="4326"/>
                      <a:pt x="19466" y="3977"/>
                    </a:cubicBezTo>
                    <a:cubicBezTo>
                      <a:pt x="20363" y="3713"/>
                      <a:pt x="21373" y="3535"/>
                      <a:pt x="22421" y="3535"/>
                    </a:cubicBezTo>
                    <a:cubicBezTo>
                      <a:pt x="22772" y="3535"/>
                      <a:pt x="23127" y="3555"/>
                      <a:pt x="23483" y="3599"/>
                    </a:cubicBezTo>
                    <a:cubicBezTo>
                      <a:pt x="24177" y="3661"/>
                      <a:pt x="24938" y="3905"/>
                      <a:pt x="25537" y="4168"/>
                    </a:cubicBezTo>
                    <a:cubicBezTo>
                      <a:pt x="25740" y="4271"/>
                      <a:pt x="25982" y="4377"/>
                      <a:pt x="26159" y="4475"/>
                    </a:cubicBezTo>
                    <a:cubicBezTo>
                      <a:pt x="26289" y="4568"/>
                      <a:pt x="26415" y="4659"/>
                      <a:pt x="26552" y="4740"/>
                    </a:cubicBezTo>
                    <a:cubicBezTo>
                      <a:pt x="26818" y="4941"/>
                      <a:pt x="27160" y="5171"/>
                      <a:pt x="27411" y="5458"/>
                    </a:cubicBezTo>
                    <a:cubicBezTo>
                      <a:pt x="28529" y="6528"/>
                      <a:pt x="29264" y="8171"/>
                      <a:pt x="29427" y="9930"/>
                    </a:cubicBezTo>
                    <a:cubicBezTo>
                      <a:pt x="29508" y="10808"/>
                      <a:pt x="29448" y="11723"/>
                      <a:pt x="29211" y="12589"/>
                    </a:cubicBezTo>
                    <a:cubicBezTo>
                      <a:pt x="29087" y="13020"/>
                      <a:pt x="28946" y="13451"/>
                      <a:pt x="28747" y="13853"/>
                    </a:cubicBezTo>
                    <a:lnTo>
                      <a:pt x="28677" y="14006"/>
                    </a:lnTo>
                    <a:cubicBezTo>
                      <a:pt x="28677" y="14006"/>
                      <a:pt x="28651" y="14062"/>
                      <a:pt x="28653" y="14062"/>
                    </a:cubicBezTo>
                    <a:cubicBezTo>
                      <a:pt x="28654" y="14062"/>
                      <a:pt x="28658" y="14055"/>
                      <a:pt x="28668" y="14038"/>
                    </a:cubicBezTo>
                    <a:lnTo>
                      <a:pt x="28668" y="14038"/>
                    </a:lnTo>
                    <a:lnTo>
                      <a:pt x="28618" y="14131"/>
                    </a:lnTo>
                    <a:lnTo>
                      <a:pt x="28409" y="14504"/>
                    </a:lnTo>
                    <a:cubicBezTo>
                      <a:pt x="28270" y="14744"/>
                      <a:pt x="28177" y="14878"/>
                      <a:pt x="28045" y="15084"/>
                    </a:cubicBezTo>
                    <a:cubicBezTo>
                      <a:pt x="26952" y="16678"/>
                      <a:pt x="25336" y="18021"/>
                      <a:pt x="23512" y="19098"/>
                    </a:cubicBezTo>
                    <a:cubicBezTo>
                      <a:pt x="21688" y="20170"/>
                      <a:pt x="19591" y="20984"/>
                      <a:pt x="17487" y="21695"/>
                    </a:cubicBezTo>
                    <a:cubicBezTo>
                      <a:pt x="15371" y="22408"/>
                      <a:pt x="13207" y="23019"/>
                      <a:pt x="11089" y="23679"/>
                    </a:cubicBezTo>
                    <a:cubicBezTo>
                      <a:pt x="9119" y="24319"/>
                      <a:pt x="6955" y="24728"/>
                      <a:pt x="4860" y="25736"/>
                    </a:cubicBezTo>
                    <a:cubicBezTo>
                      <a:pt x="3800" y="26233"/>
                      <a:pt x="2785" y="26940"/>
                      <a:pt x="1988" y="27763"/>
                    </a:cubicBezTo>
                    <a:cubicBezTo>
                      <a:pt x="1179" y="28589"/>
                      <a:pt x="468" y="29604"/>
                      <a:pt x="180" y="30868"/>
                    </a:cubicBezTo>
                    <a:cubicBezTo>
                      <a:pt x="32" y="31488"/>
                      <a:pt x="1" y="32165"/>
                      <a:pt x="135" y="32795"/>
                    </a:cubicBezTo>
                    <a:cubicBezTo>
                      <a:pt x="259" y="33436"/>
                      <a:pt x="470" y="33968"/>
                      <a:pt x="882" y="34540"/>
                    </a:cubicBezTo>
                    <a:cubicBezTo>
                      <a:pt x="1657" y="35540"/>
                      <a:pt x="2675" y="36002"/>
                      <a:pt x="3620" y="36184"/>
                    </a:cubicBezTo>
                    <a:cubicBezTo>
                      <a:pt x="3889" y="36231"/>
                      <a:pt x="4153" y="36254"/>
                      <a:pt x="4411" y="36254"/>
                    </a:cubicBezTo>
                    <a:cubicBezTo>
                      <a:pt x="5087" y="36254"/>
                      <a:pt x="5719" y="36098"/>
                      <a:pt x="6270" y="35808"/>
                    </a:cubicBezTo>
                    <a:cubicBezTo>
                      <a:pt x="6643" y="35617"/>
                      <a:pt x="6971" y="35351"/>
                      <a:pt x="7235" y="35026"/>
                    </a:cubicBezTo>
                    <a:cubicBezTo>
                      <a:pt x="7500" y="34722"/>
                      <a:pt x="7682" y="34200"/>
                      <a:pt x="7701" y="33901"/>
                    </a:cubicBezTo>
                    <a:cubicBezTo>
                      <a:pt x="7768" y="33237"/>
                      <a:pt x="7644" y="32706"/>
                      <a:pt x="7441" y="32268"/>
                    </a:cubicBezTo>
                    <a:cubicBezTo>
                      <a:pt x="7247" y="31835"/>
                      <a:pt x="6962" y="31483"/>
                      <a:pt x="6636" y="31342"/>
                    </a:cubicBezTo>
                    <a:cubicBezTo>
                      <a:pt x="6470" y="31265"/>
                      <a:pt x="6319" y="31239"/>
                      <a:pt x="6193" y="31239"/>
                    </a:cubicBezTo>
                    <a:cubicBezTo>
                      <a:pt x="6075" y="31239"/>
                      <a:pt x="5979" y="31261"/>
                      <a:pt x="5911" y="31284"/>
                    </a:cubicBezTo>
                    <a:lnTo>
                      <a:pt x="5700" y="31378"/>
                    </a:lnTo>
                    <a:cubicBezTo>
                      <a:pt x="5674" y="31404"/>
                      <a:pt x="6095" y="31342"/>
                      <a:pt x="6354" y="31717"/>
                    </a:cubicBezTo>
                    <a:cubicBezTo>
                      <a:pt x="6598" y="32045"/>
                      <a:pt x="6634" y="32854"/>
                      <a:pt x="6301" y="33558"/>
                    </a:cubicBezTo>
                    <a:cubicBezTo>
                      <a:pt x="6212" y="33840"/>
                      <a:pt x="5743" y="34057"/>
                      <a:pt x="5206" y="34057"/>
                    </a:cubicBezTo>
                    <a:cubicBezTo>
                      <a:pt x="4902" y="34057"/>
                      <a:pt x="4577" y="33987"/>
                      <a:pt x="4286" y="33822"/>
                    </a:cubicBezTo>
                    <a:cubicBezTo>
                      <a:pt x="3874" y="33620"/>
                      <a:pt x="3520" y="33237"/>
                      <a:pt x="3414" y="32898"/>
                    </a:cubicBezTo>
                    <a:cubicBezTo>
                      <a:pt x="3366" y="32720"/>
                      <a:pt x="3345" y="32536"/>
                      <a:pt x="3350" y="32352"/>
                    </a:cubicBezTo>
                    <a:cubicBezTo>
                      <a:pt x="3347" y="32156"/>
                      <a:pt x="3400" y="31959"/>
                      <a:pt x="3474" y="31739"/>
                    </a:cubicBezTo>
                    <a:cubicBezTo>
                      <a:pt x="3778" y="30851"/>
                      <a:pt x="4927" y="29589"/>
                      <a:pt x="6390" y="28955"/>
                    </a:cubicBezTo>
                    <a:cubicBezTo>
                      <a:pt x="7922" y="28220"/>
                      <a:pt x="9954" y="27823"/>
                      <a:pt x="12149" y="27157"/>
                    </a:cubicBezTo>
                    <a:cubicBezTo>
                      <a:pt x="14212" y="26537"/>
                      <a:pt x="16407" y="25946"/>
                      <a:pt x="18650" y="25219"/>
                    </a:cubicBezTo>
                    <a:cubicBezTo>
                      <a:pt x="20896" y="24481"/>
                      <a:pt x="23193" y="23644"/>
                      <a:pt x="25412" y="22377"/>
                    </a:cubicBezTo>
                    <a:cubicBezTo>
                      <a:pt x="27617" y="21130"/>
                      <a:pt x="29683" y="19416"/>
                      <a:pt x="31179" y="17202"/>
                    </a:cubicBezTo>
                    <a:cubicBezTo>
                      <a:pt x="31361" y="16927"/>
                      <a:pt x="31576" y="16577"/>
                      <a:pt x="31720" y="16321"/>
                    </a:cubicBezTo>
                    <a:lnTo>
                      <a:pt x="31926" y="15945"/>
                    </a:lnTo>
                    <a:lnTo>
                      <a:pt x="31976" y="15852"/>
                    </a:lnTo>
                    <a:lnTo>
                      <a:pt x="32055" y="15687"/>
                    </a:lnTo>
                    <a:lnTo>
                      <a:pt x="32160" y="15450"/>
                    </a:lnTo>
                    <a:cubicBezTo>
                      <a:pt x="32459" y="14827"/>
                      <a:pt x="32673" y="14179"/>
                      <a:pt x="32850" y="13528"/>
                    </a:cubicBezTo>
                    <a:cubicBezTo>
                      <a:pt x="33192" y="12218"/>
                      <a:pt x="33269" y="10875"/>
                      <a:pt x="33142" y="9583"/>
                    </a:cubicBezTo>
                    <a:cubicBezTo>
                      <a:pt x="32883" y="7000"/>
                      <a:pt x="31780" y="4549"/>
                      <a:pt x="29994" y="2837"/>
                    </a:cubicBezTo>
                    <a:cubicBezTo>
                      <a:pt x="29783" y="2615"/>
                      <a:pt x="29556" y="2411"/>
                      <a:pt x="29309" y="2227"/>
                    </a:cubicBezTo>
                    <a:cubicBezTo>
                      <a:pt x="29060" y="2040"/>
                      <a:pt x="28862" y="1846"/>
                      <a:pt x="28570" y="1676"/>
                    </a:cubicBezTo>
                    <a:cubicBezTo>
                      <a:pt x="28292" y="1502"/>
                      <a:pt x="28010" y="1337"/>
                      <a:pt x="27732" y="1176"/>
                    </a:cubicBezTo>
                    <a:cubicBezTo>
                      <a:pt x="27488" y="1054"/>
                      <a:pt x="27289" y="975"/>
                      <a:pt x="27066" y="872"/>
                    </a:cubicBezTo>
                    <a:cubicBezTo>
                      <a:pt x="25934" y="398"/>
                      <a:pt x="24917" y="147"/>
                      <a:pt x="23871" y="54"/>
                    </a:cubicBezTo>
                    <a:cubicBezTo>
                      <a:pt x="23474" y="17"/>
                      <a:pt x="23085" y="0"/>
                      <a:pt x="22705"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5" name="Google Shape;5565;p69"/>
              <p:cNvSpPr/>
              <p:nvPr/>
            </p:nvSpPr>
            <p:spPr>
              <a:xfrm>
                <a:off x="4062725" y="270525"/>
                <a:ext cx="775400" cy="855625"/>
              </a:xfrm>
              <a:custGeom>
                <a:avLst/>
                <a:gdLst/>
                <a:ahLst/>
                <a:cxnLst/>
                <a:rect l="l" t="t" r="r" b="b"/>
                <a:pathLst>
                  <a:path w="31016" h="34225" extrusionOk="0">
                    <a:moveTo>
                      <a:pt x="4627" y="30141"/>
                    </a:moveTo>
                    <a:cubicBezTo>
                      <a:pt x="4626" y="30143"/>
                      <a:pt x="4626" y="30145"/>
                      <a:pt x="4628" y="30145"/>
                    </a:cubicBezTo>
                    <a:lnTo>
                      <a:pt x="4628" y="30145"/>
                    </a:lnTo>
                    <a:cubicBezTo>
                      <a:pt x="4627" y="30144"/>
                      <a:pt x="4627" y="30143"/>
                      <a:pt x="4627" y="30141"/>
                    </a:cubicBezTo>
                    <a:close/>
                    <a:moveTo>
                      <a:pt x="4628" y="30145"/>
                    </a:moveTo>
                    <a:cubicBezTo>
                      <a:pt x="4629" y="30146"/>
                      <a:pt x="4631" y="30147"/>
                      <a:pt x="4633" y="30147"/>
                    </a:cubicBezTo>
                    <a:cubicBezTo>
                      <a:pt x="4634" y="30147"/>
                      <a:pt x="4634" y="30147"/>
                      <a:pt x="4636" y="30147"/>
                    </a:cubicBezTo>
                    <a:lnTo>
                      <a:pt x="4636" y="30147"/>
                    </a:lnTo>
                    <a:cubicBezTo>
                      <a:pt x="4635" y="30147"/>
                      <a:pt x="4635" y="30147"/>
                      <a:pt x="4635" y="30147"/>
                    </a:cubicBezTo>
                    <a:cubicBezTo>
                      <a:pt x="4632" y="30147"/>
                      <a:pt x="4630" y="30146"/>
                      <a:pt x="4628" y="30145"/>
                    </a:cubicBezTo>
                    <a:close/>
                    <a:moveTo>
                      <a:pt x="21530" y="0"/>
                    </a:moveTo>
                    <a:cubicBezTo>
                      <a:pt x="20130" y="0"/>
                      <a:pt x="18844" y="256"/>
                      <a:pt x="17738" y="602"/>
                    </a:cubicBezTo>
                    <a:cubicBezTo>
                      <a:pt x="16529" y="983"/>
                      <a:pt x="15368" y="1502"/>
                      <a:pt x="14279" y="2146"/>
                    </a:cubicBezTo>
                    <a:cubicBezTo>
                      <a:pt x="13369" y="2670"/>
                      <a:pt x="12713" y="3183"/>
                      <a:pt x="12258" y="3530"/>
                    </a:cubicBezTo>
                    <a:lnTo>
                      <a:pt x="11617" y="4068"/>
                    </a:lnTo>
                    <a:lnTo>
                      <a:pt x="12234" y="4813"/>
                    </a:lnTo>
                    <a:lnTo>
                      <a:pt x="12881" y="4279"/>
                    </a:lnTo>
                    <a:cubicBezTo>
                      <a:pt x="13297" y="3973"/>
                      <a:pt x="13912" y="3496"/>
                      <a:pt x="14779" y="3008"/>
                    </a:cubicBezTo>
                    <a:cubicBezTo>
                      <a:pt x="15808" y="2412"/>
                      <a:pt x="16902" y="1936"/>
                      <a:pt x="18039" y="1588"/>
                    </a:cubicBezTo>
                    <a:cubicBezTo>
                      <a:pt x="19049" y="1281"/>
                      <a:pt x="20205" y="1064"/>
                      <a:pt x="21437" y="1064"/>
                    </a:cubicBezTo>
                    <a:cubicBezTo>
                      <a:pt x="21800" y="1064"/>
                      <a:pt x="22170" y="1083"/>
                      <a:pt x="22544" y="1124"/>
                    </a:cubicBezTo>
                    <a:cubicBezTo>
                      <a:pt x="23363" y="1198"/>
                      <a:pt x="24213" y="1442"/>
                      <a:pt x="24998" y="1782"/>
                    </a:cubicBezTo>
                    <a:cubicBezTo>
                      <a:pt x="25206" y="1883"/>
                      <a:pt x="25433" y="1981"/>
                      <a:pt x="25634" y="2089"/>
                    </a:cubicBezTo>
                    <a:lnTo>
                      <a:pt x="26183" y="2433"/>
                    </a:lnTo>
                    <a:cubicBezTo>
                      <a:pt x="26537" y="2694"/>
                      <a:pt x="26927" y="2962"/>
                      <a:pt x="27241" y="3305"/>
                    </a:cubicBezTo>
                    <a:cubicBezTo>
                      <a:pt x="28593" y="4597"/>
                      <a:pt x="29462" y="6522"/>
                      <a:pt x="29663" y="8571"/>
                    </a:cubicBezTo>
                    <a:cubicBezTo>
                      <a:pt x="29888" y="10637"/>
                      <a:pt x="29323" y="12791"/>
                      <a:pt x="28083" y="14598"/>
                    </a:cubicBezTo>
                    <a:cubicBezTo>
                      <a:pt x="26853" y="16415"/>
                      <a:pt x="25081" y="17897"/>
                      <a:pt x="23116" y="19029"/>
                    </a:cubicBezTo>
                    <a:cubicBezTo>
                      <a:pt x="21151" y="20168"/>
                      <a:pt x="18980" y="20987"/>
                      <a:pt x="16826" y="21708"/>
                    </a:cubicBezTo>
                    <a:cubicBezTo>
                      <a:pt x="14664" y="22423"/>
                      <a:pt x="12488" y="23024"/>
                      <a:pt x="10389" y="23666"/>
                    </a:cubicBezTo>
                    <a:cubicBezTo>
                      <a:pt x="8338" y="24314"/>
                      <a:pt x="6224" y="24716"/>
                      <a:pt x="4321" y="25624"/>
                    </a:cubicBezTo>
                    <a:cubicBezTo>
                      <a:pt x="3368" y="26069"/>
                      <a:pt x="2495" y="26677"/>
                      <a:pt x="1791" y="27395"/>
                    </a:cubicBezTo>
                    <a:cubicBezTo>
                      <a:pt x="1082" y="28106"/>
                      <a:pt x="508" y="28965"/>
                      <a:pt x="259" y="29935"/>
                    </a:cubicBezTo>
                    <a:cubicBezTo>
                      <a:pt x="0" y="30909"/>
                      <a:pt x="170" y="31941"/>
                      <a:pt x="694" y="32731"/>
                    </a:cubicBezTo>
                    <a:cubicBezTo>
                      <a:pt x="1235" y="33501"/>
                      <a:pt x="2023" y="33935"/>
                      <a:pt x="2782" y="34121"/>
                    </a:cubicBezTo>
                    <a:cubicBezTo>
                      <a:pt x="3070" y="34191"/>
                      <a:pt x="3358" y="34225"/>
                      <a:pt x="3638" y="34225"/>
                    </a:cubicBezTo>
                    <a:cubicBezTo>
                      <a:pt x="4106" y="34225"/>
                      <a:pt x="4553" y="34131"/>
                      <a:pt x="4946" y="33954"/>
                    </a:cubicBezTo>
                    <a:cubicBezTo>
                      <a:pt x="5250" y="33820"/>
                      <a:pt x="5523" y="33623"/>
                      <a:pt x="5748" y="33379"/>
                    </a:cubicBezTo>
                    <a:cubicBezTo>
                      <a:pt x="5965" y="33145"/>
                      <a:pt x="6087" y="32805"/>
                      <a:pt x="6138" y="32544"/>
                    </a:cubicBezTo>
                    <a:cubicBezTo>
                      <a:pt x="6332" y="31462"/>
                      <a:pt x="5963" y="30567"/>
                      <a:pt x="5465" y="30236"/>
                    </a:cubicBezTo>
                    <a:cubicBezTo>
                      <a:pt x="5261" y="30119"/>
                      <a:pt x="5087" y="30085"/>
                      <a:pt x="4953" y="30085"/>
                    </a:cubicBezTo>
                    <a:cubicBezTo>
                      <a:pt x="4777" y="30085"/>
                      <a:pt x="4666" y="30143"/>
                      <a:pt x="4636" y="30147"/>
                    </a:cubicBezTo>
                    <a:lnTo>
                      <a:pt x="4636" y="30147"/>
                    </a:lnTo>
                    <a:cubicBezTo>
                      <a:pt x="4659" y="30146"/>
                      <a:pt x="4725" y="30130"/>
                      <a:pt x="4819" y="30130"/>
                    </a:cubicBezTo>
                    <a:cubicBezTo>
                      <a:pt x="4961" y="30130"/>
                      <a:pt x="5166" y="30167"/>
                      <a:pt x="5381" y="30349"/>
                    </a:cubicBezTo>
                    <a:cubicBezTo>
                      <a:pt x="5760" y="30682"/>
                      <a:pt x="5968" y="31534"/>
                      <a:pt x="5719" y="32443"/>
                    </a:cubicBezTo>
                    <a:cubicBezTo>
                      <a:pt x="5587" y="33111"/>
                      <a:pt x="4764" y="33560"/>
                      <a:pt x="3860" y="33560"/>
                    </a:cubicBezTo>
                    <a:cubicBezTo>
                      <a:pt x="3569" y="33560"/>
                      <a:pt x="3269" y="33514"/>
                      <a:pt x="2980" y="33413"/>
                    </a:cubicBezTo>
                    <a:cubicBezTo>
                      <a:pt x="2382" y="33216"/>
                      <a:pt x="1798" y="32805"/>
                      <a:pt x="1458" y="32235"/>
                    </a:cubicBezTo>
                    <a:cubicBezTo>
                      <a:pt x="1125" y="31682"/>
                      <a:pt x="1044" y="30904"/>
                      <a:pt x="1252" y="30198"/>
                    </a:cubicBezTo>
                    <a:cubicBezTo>
                      <a:pt x="1688" y="28745"/>
                      <a:pt x="3091" y="27381"/>
                      <a:pt x="4783" y="26591"/>
                    </a:cubicBezTo>
                    <a:cubicBezTo>
                      <a:pt x="6511" y="25758"/>
                      <a:pt x="8589" y="25356"/>
                      <a:pt x="10703" y="24695"/>
                    </a:cubicBezTo>
                    <a:cubicBezTo>
                      <a:pt x="12785" y="24061"/>
                      <a:pt x="14968" y="23460"/>
                      <a:pt x="17166" y="22734"/>
                    </a:cubicBezTo>
                    <a:cubicBezTo>
                      <a:pt x="19361" y="22002"/>
                      <a:pt x="21587" y="21171"/>
                      <a:pt x="23662" y="19972"/>
                    </a:cubicBezTo>
                    <a:cubicBezTo>
                      <a:pt x="25730" y="18782"/>
                      <a:pt x="27636" y="17205"/>
                      <a:pt x="28990" y="15211"/>
                    </a:cubicBezTo>
                    <a:cubicBezTo>
                      <a:pt x="30357" y="13236"/>
                      <a:pt x="31015" y="10761"/>
                      <a:pt x="30757" y="8468"/>
                    </a:cubicBezTo>
                    <a:cubicBezTo>
                      <a:pt x="30537" y="6175"/>
                      <a:pt x="29567" y="4006"/>
                      <a:pt x="28016" y="2517"/>
                    </a:cubicBezTo>
                    <a:cubicBezTo>
                      <a:pt x="27652" y="2122"/>
                      <a:pt x="27221" y="1818"/>
                      <a:pt x="26791" y="1507"/>
                    </a:cubicBezTo>
                    <a:lnTo>
                      <a:pt x="26108" y="1091"/>
                    </a:lnTo>
                    <a:cubicBezTo>
                      <a:pt x="25888" y="976"/>
                      <a:pt x="25673" y="887"/>
                      <a:pt x="25457" y="787"/>
                    </a:cubicBezTo>
                    <a:cubicBezTo>
                      <a:pt x="24512" y="384"/>
                      <a:pt x="23585" y="138"/>
                      <a:pt x="22659" y="56"/>
                    </a:cubicBezTo>
                    <a:cubicBezTo>
                      <a:pt x="22276" y="18"/>
                      <a:pt x="21899" y="0"/>
                      <a:pt x="21530" y="0"/>
                    </a:cubicBezTo>
                    <a:close/>
                  </a:path>
                </a:pathLst>
              </a:custGeom>
              <a:solidFill>
                <a:srgbClr val="DBE2E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6" name="Google Shape;5566;p69"/>
              <p:cNvSpPr/>
              <p:nvPr/>
            </p:nvSpPr>
            <p:spPr>
              <a:xfrm>
                <a:off x="2957425" y="254350"/>
                <a:ext cx="842900" cy="896500"/>
              </a:xfrm>
              <a:custGeom>
                <a:avLst/>
                <a:gdLst/>
                <a:ahLst/>
                <a:cxnLst/>
                <a:rect l="l" t="t" r="r" b="b"/>
                <a:pathLst>
                  <a:path w="33716" h="35860" extrusionOk="0">
                    <a:moveTo>
                      <a:pt x="10613" y="1"/>
                    </a:moveTo>
                    <a:cubicBezTo>
                      <a:pt x="10145" y="1"/>
                      <a:pt x="9663" y="27"/>
                      <a:pt x="9169" y="83"/>
                    </a:cubicBezTo>
                    <a:cubicBezTo>
                      <a:pt x="8120" y="196"/>
                      <a:pt x="7110" y="471"/>
                      <a:pt x="5987" y="969"/>
                    </a:cubicBezTo>
                    <a:cubicBezTo>
                      <a:pt x="5769" y="1077"/>
                      <a:pt x="5573" y="1158"/>
                      <a:pt x="5329" y="1288"/>
                    </a:cubicBezTo>
                    <a:cubicBezTo>
                      <a:pt x="5054" y="1453"/>
                      <a:pt x="4776" y="1623"/>
                      <a:pt x="4501" y="1805"/>
                    </a:cubicBezTo>
                    <a:cubicBezTo>
                      <a:pt x="4211" y="1982"/>
                      <a:pt x="4020" y="2180"/>
                      <a:pt x="3773" y="2374"/>
                    </a:cubicBezTo>
                    <a:cubicBezTo>
                      <a:pt x="3531" y="2561"/>
                      <a:pt x="3306" y="2769"/>
                      <a:pt x="3103" y="2997"/>
                    </a:cubicBezTo>
                    <a:cubicBezTo>
                      <a:pt x="1353" y="4746"/>
                      <a:pt x="305" y="7222"/>
                      <a:pt x="101" y="9807"/>
                    </a:cubicBezTo>
                    <a:cubicBezTo>
                      <a:pt x="1" y="11104"/>
                      <a:pt x="108" y="12445"/>
                      <a:pt x="477" y="13744"/>
                    </a:cubicBezTo>
                    <a:cubicBezTo>
                      <a:pt x="669" y="14393"/>
                      <a:pt x="896" y="15037"/>
                      <a:pt x="1207" y="15655"/>
                    </a:cubicBezTo>
                    <a:lnTo>
                      <a:pt x="1317" y="15887"/>
                    </a:lnTo>
                    <a:lnTo>
                      <a:pt x="1399" y="16050"/>
                    </a:lnTo>
                    <a:lnTo>
                      <a:pt x="1454" y="16143"/>
                    </a:lnTo>
                    <a:lnTo>
                      <a:pt x="1664" y="16514"/>
                    </a:lnTo>
                    <a:cubicBezTo>
                      <a:pt x="1815" y="16768"/>
                      <a:pt x="2038" y="17112"/>
                      <a:pt x="2227" y="17383"/>
                    </a:cubicBezTo>
                    <a:cubicBezTo>
                      <a:pt x="3768" y="19563"/>
                      <a:pt x="5870" y="21234"/>
                      <a:pt x="8101" y="22431"/>
                    </a:cubicBezTo>
                    <a:cubicBezTo>
                      <a:pt x="10346" y="23652"/>
                      <a:pt x="12661" y="24439"/>
                      <a:pt x="14923" y="25131"/>
                    </a:cubicBezTo>
                    <a:cubicBezTo>
                      <a:pt x="17183" y="25811"/>
                      <a:pt x="19387" y="26354"/>
                      <a:pt x="21465" y="26929"/>
                    </a:cubicBezTo>
                    <a:cubicBezTo>
                      <a:pt x="23674" y="27549"/>
                      <a:pt x="25714" y="27901"/>
                      <a:pt x="27263" y="28605"/>
                    </a:cubicBezTo>
                    <a:cubicBezTo>
                      <a:pt x="28737" y="29208"/>
                      <a:pt x="29912" y="30443"/>
                      <a:pt x="30235" y="31324"/>
                    </a:cubicBezTo>
                    <a:cubicBezTo>
                      <a:pt x="30314" y="31544"/>
                      <a:pt x="30372" y="31738"/>
                      <a:pt x="30372" y="31934"/>
                    </a:cubicBezTo>
                    <a:cubicBezTo>
                      <a:pt x="30382" y="32118"/>
                      <a:pt x="30362" y="32303"/>
                      <a:pt x="30319" y="32482"/>
                    </a:cubicBezTo>
                    <a:cubicBezTo>
                      <a:pt x="30221" y="32825"/>
                      <a:pt x="29876" y="33215"/>
                      <a:pt x="29470" y="33423"/>
                    </a:cubicBezTo>
                    <a:cubicBezTo>
                      <a:pt x="29168" y="33604"/>
                      <a:pt x="28826" y="33680"/>
                      <a:pt x="28510" y="33680"/>
                    </a:cubicBezTo>
                    <a:cubicBezTo>
                      <a:pt x="27991" y="33680"/>
                      <a:pt x="27541" y="33476"/>
                      <a:pt x="27447" y="33203"/>
                    </a:cubicBezTo>
                    <a:cubicBezTo>
                      <a:pt x="27102" y="32509"/>
                      <a:pt x="27119" y="31700"/>
                      <a:pt x="27356" y="31364"/>
                    </a:cubicBezTo>
                    <a:cubicBezTo>
                      <a:pt x="27607" y="30981"/>
                      <a:pt x="28028" y="31037"/>
                      <a:pt x="28000" y="31010"/>
                    </a:cubicBezTo>
                    <a:lnTo>
                      <a:pt x="27789" y="30922"/>
                    </a:lnTo>
                    <a:cubicBezTo>
                      <a:pt x="27724" y="30901"/>
                      <a:pt x="27634" y="30882"/>
                      <a:pt x="27526" y="30882"/>
                    </a:cubicBezTo>
                    <a:cubicBezTo>
                      <a:pt x="27395" y="30882"/>
                      <a:pt x="27238" y="30910"/>
                      <a:pt x="27064" y="30996"/>
                    </a:cubicBezTo>
                    <a:cubicBezTo>
                      <a:pt x="26741" y="31144"/>
                      <a:pt x="26465" y="31501"/>
                      <a:pt x="26279" y="31937"/>
                    </a:cubicBezTo>
                    <a:cubicBezTo>
                      <a:pt x="26087" y="32379"/>
                      <a:pt x="25975" y="32913"/>
                      <a:pt x="26056" y="33576"/>
                    </a:cubicBezTo>
                    <a:cubicBezTo>
                      <a:pt x="26082" y="33875"/>
                      <a:pt x="26274" y="34392"/>
                      <a:pt x="26544" y="34692"/>
                    </a:cubicBezTo>
                    <a:cubicBezTo>
                      <a:pt x="26815" y="35010"/>
                      <a:pt x="27150" y="35269"/>
                      <a:pt x="27526" y="35453"/>
                    </a:cubicBezTo>
                    <a:cubicBezTo>
                      <a:pt x="28058" y="35717"/>
                      <a:pt x="28661" y="35859"/>
                      <a:pt x="29301" y="35859"/>
                    </a:cubicBezTo>
                    <a:cubicBezTo>
                      <a:pt x="29589" y="35859"/>
                      <a:pt x="29884" y="35831"/>
                      <a:pt x="30183" y="35771"/>
                    </a:cubicBezTo>
                    <a:cubicBezTo>
                      <a:pt x="31126" y="35568"/>
                      <a:pt x="32134" y="35087"/>
                      <a:pt x="32885" y="34067"/>
                    </a:cubicBezTo>
                    <a:cubicBezTo>
                      <a:pt x="33287" y="33485"/>
                      <a:pt x="33484" y="32951"/>
                      <a:pt x="33596" y="32308"/>
                    </a:cubicBezTo>
                    <a:cubicBezTo>
                      <a:pt x="33716" y="31673"/>
                      <a:pt x="33670" y="30998"/>
                      <a:pt x="33510" y="30381"/>
                    </a:cubicBezTo>
                    <a:cubicBezTo>
                      <a:pt x="33194" y="29124"/>
                      <a:pt x="32462" y="28123"/>
                      <a:pt x="31638" y="27317"/>
                    </a:cubicBezTo>
                    <a:cubicBezTo>
                      <a:pt x="30822" y="26508"/>
                      <a:pt x="29793" y="25825"/>
                      <a:pt x="28723" y="25349"/>
                    </a:cubicBezTo>
                    <a:cubicBezTo>
                      <a:pt x="26604" y="24389"/>
                      <a:pt x="24436" y="24025"/>
                      <a:pt x="22451" y="23427"/>
                    </a:cubicBezTo>
                    <a:cubicBezTo>
                      <a:pt x="20318" y="22812"/>
                      <a:pt x="18143" y="22249"/>
                      <a:pt x="16012" y="21581"/>
                    </a:cubicBezTo>
                    <a:cubicBezTo>
                      <a:pt x="13894" y="20914"/>
                      <a:pt x="11778" y="20148"/>
                      <a:pt x="9935" y="19113"/>
                    </a:cubicBezTo>
                    <a:cubicBezTo>
                      <a:pt x="8084" y="18075"/>
                      <a:pt x="6442" y="16765"/>
                      <a:pt x="5315" y="15193"/>
                    </a:cubicBezTo>
                    <a:cubicBezTo>
                      <a:pt x="5178" y="14991"/>
                      <a:pt x="5082" y="14862"/>
                      <a:pt x="4939" y="14625"/>
                    </a:cubicBezTo>
                    <a:lnTo>
                      <a:pt x="4723" y="14254"/>
                    </a:lnTo>
                    <a:lnTo>
                      <a:pt x="4679" y="14181"/>
                    </a:lnTo>
                    <a:lnTo>
                      <a:pt x="4679" y="14181"/>
                    </a:lnTo>
                    <a:cubicBezTo>
                      <a:pt x="4682" y="14186"/>
                      <a:pt x="4684" y="14188"/>
                      <a:pt x="4684" y="14188"/>
                    </a:cubicBezTo>
                    <a:cubicBezTo>
                      <a:pt x="4687" y="14188"/>
                      <a:pt x="4659" y="14132"/>
                      <a:pt x="4659" y="14132"/>
                    </a:cubicBezTo>
                    <a:lnTo>
                      <a:pt x="4587" y="13979"/>
                    </a:lnTo>
                    <a:cubicBezTo>
                      <a:pt x="4379" y="13582"/>
                      <a:pt x="4228" y="13156"/>
                      <a:pt x="4096" y="12727"/>
                    </a:cubicBezTo>
                    <a:cubicBezTo>
                      <a:pt x="3838" y="11865"/>
                      <a:pt x="3761" y="10953"/>
                      <a:pt x="3823" y="10072"/>
                    </a:cubicBezTo>
                    <a:cubicBezTo>
                      <a:pt x="3948" y="8311"/>
                      <a:pt x="4649" y="6654"/>
                      <a:pt x="5743" y="5558"/>
                    </a:cubicBezTo>
                    <a:cubicBezTo>
                      <a:pt x="5987" y="5268"/>
                      <a:pt x="6325" y="5029"/>
                      <a:pt x="6586" y="4823"/>
                    </a:cubicBezTo>
                    <a:cubicBezTo>
                      <a:pt x="6720" y="4737"/>
                      <a:pt x="6847" y="4646"/>
                      <a:pt x="6971" y="4550"/>
                    </a:cubicBezTo>
                    <a:cubicBezTo>
                      <a:pt x="7148" y="4447"/>
                      <a:pt x="7388" y="4335"/>
                      <a:pt x="7589" y="4229"/>
                    </a:cubicBezTo>
                    <a:cubicBezTo>
                      <a:pt x="8180" y="3952"/>
                      <a:pt x="8936" y="3693"/>
                      <a:pt x="9631" y="3614"/>
                    </a:cubicBezTo>
                    <a:cubicBezTo>
                      <a:pt x="10052" y="3554"/>
                      <a:pt x="10473" y="3527"/>
                      <a:pt x="10888" y="3527"/>
                    </a:cubicBezTo>
                    <a:cubicBezTo>
                      <a:pt x="11865" y="3527"/>
                      <a:pt x="12809" y="3678"/>
                      <a:pt x="13654" y="3909"/>
                    </a:cubicBezTo>
                    <a:cubicBezTo>
                      <a:pt x="14866" y="4232"/>
                      <a:pt x="15888" y="4699"/>
                      <a:pt x="16704" y="5120"/>
                    </a:cubicBezTo>
                    <a:cubicBezTo>
                      <a:pt x="17532" y="5546"/>
                      <a:pt x="18111" y="5960"/>
                      <a:pt x="18492" y="6214"/>
                    </a:cubicBezTo>
                    <a:lnTo>
                      <a:pt x="19157" y="6721"/>
                    </a:lnTo>
                    <a:lnTo>
                      <a:pt x="21151" y="4222"/>
                    </a:lnTo>
                    <a:lnTo>
                      <a:pt x="20507" y="3686"/>
                    </a:lnTo>
                    <a:cubicBezTo>
                      <a:pt x="19998" y="3303"/>
                      <a:pt x="19287" y="2757"/>
                      <a:pt x="18322" y="2207"/>
                    </a:cubicBezTo>
                    <a:cubicBezTo>
                      <a:pt x="17144" y="1527"/>
                      <a:pt x="15892" y="986"/>
                      <a:pt x="14590" y="598"/>
                    </a:cubicBezTo>
                    <a:cubicBezTo>
                      <a:pt x="13435" y="258"/>
                      <a:pt x="12094" y="1"/>
                      <a:pt x="1061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7" name="Google Shape;5567;p69"/>
              <p:cNvSpPr/>
              <p:nvPr/>
            </p:nvSpPr>
            <p:spPr>
              <a:xfrm>
                <a:off x="2987525" y="285250"/>
                <a:ext cx="786050" cy="845950"/>
              </a:xfrm>
              <a:custGeom>
                <a:avLst/>
                <a:gdLst/>
                <a:ahLst/>
                <a:cxnLst/>
                <a:rect l="l" t="t" r="r" b="b"/>
                <a:pathLst>
                  <a:path w="31442" h="33838" extrusionOk="0">
                    <a:moveTo>
                      <a:pt x="26798" y="29774"/>
                    </a:moveTo>
                    <a:cubicBezTo>
                      <a:pt x="26799" y="29776"/>
                      <a:pt x="26799" y="29778"/>
                      <a:pt x="26798" y="29779"/>
                    </a:cubicBezTo>
                    <a:lnTo>
                      <a:pt x="26798" y="29779"/>
                    </a:lnTo>
                    <a:cubicBezTo>
                      <a:pt x="26799" y="29778"/>
                      <a:pt x="26799" y="29776"/>
                      <a:pt x="26798" y="29774"/>
                    </a:cubicBezTo>
                    <a:close/>
                    <a:moveTo>
                      <a:pt x="26798" y="29779"/>
                    </a:moveTo>
                    <a:cubicBezTo>
                      <a:pt x="26797" y="29780"/>
                      <a:pt x="26795" y="29780"/>
                      <a:pt x="26791" y="29780"/>
                    </a:cubicBezTo>
                    <a:lnTo>
                      <a:pt x="26791" y="29780"/>
                    </a:lnTo>
                    <a:cubicBezTo>
                      <a:pt x="26792" y="29780"/>
                      <a:pt x="26793" y="29781"/>
                      <a:pt x="26793" y="29781"/>
                    </a:cubicBezTo>
                    <a:cubicBezTo>
                      <a:pt x="26796" y="29781"/>
                      <a:pt x="26797" y="29780"/>
                      <a:pt x="26798" y="29779"/>
                    </a:cubicBezTo>
                    <a:close/>
                    <a:moveTo>
                      <a:pt x="9497" y="0"/>
                    </a:moveTo>
                    <a:cubicBezTo>
                      <a:pt x="9051" y="0"/>
                      <a:pt x="8593" y="26"/>
                      <a:pt x="8125" y="83"/>
                    </a:cubicBezTo>
                    <a:cubicBezTo>
                      <a:pt x="7203" y="183"/>
                      <a:pt x="6279" y="451"/>
                      <a:pt x="5343" y="873"/>
                    </a:cubicBezTo>
                    <a:cubicBezTo>
                      <a:pt x="5130" y="978"/>
                      <a:pt x="4920" y="1071"/>
                      <a:pt x="4700" y="1191"/>
                    </a:cubicBezTo>
                    <a:lnTo>
                      <a:pt x="4025" y="1622"/>
                    </a:lnTo>
                    <a:cubicBezTo>
                      <a:pt x="3603" y="1940"/>
                      <a:pt x="3180" y="2256"/>
                      <a:pt x="2823" y="2658"/>
                    </a:cubicBezTo>
                    <a:cubicBezTo>
                      <a:pt x="1305" y="4178"/>
                      <a:pt x="381" y="6369"/>
                      <a:pt x="209" y="8664"/>
                    </a:cubicBezTo>
                    <a:cubicBezTo>
                      <a:pt x="1" y="10964"/>
                      <a:pt x="712" y="13423"/>
                      <a:pt x="2122" y="15371"/>
                    </a:cubicBezTo>
                    <a:cubicBezTo>
                      <a:pt x="3517" y="17334"/>
                      <a:pt x="5458" y="18868"/>
                      <a:pt x="7550" y="20015"/>
                    </a:cubicBezTo>
                    <a:cubicBezTo>
                      <a:pt x="9652" y="21171"/>
                      <a:pt x="11895" y="21954"/>
                      <a:pt x="14104" y="22639"/>
                    </a:cubicBezTo>
                    <a:cubicBezTo>
                      <a:pt x="16319" y="23316"/>
                      <a:pt x="18511" y="23869"/>
                      <a:pt x="20608" y="24460"/>
                    </a:cubicBezTo>
                    <a:cubicBezTo>
                      <a:pt x="22736" y="25075"/>
                      <a:pt x="24821" y="25434"/>
                      <a:pt x="26568" y="26229"/>
                    </a:cubicBezTo>
                    <a:cubicBezTo>
                      <a:pt x="28277" y="26981"/>
                      <a:pt x="29709" y="28316"/>
                      <a:pt x="30176" y="29760"/>
                    </a:cubicBezTo>
                    <a:cubicBezTo>
                      <a:pt x="30396" y="30464"/>
                      <a:pt x="30331" y="31242"/>
                      <a:pt x="30011" y="31802"/>
                    </a:cubicBezTo>
                    <a:cubicBezTo>
                      <a:pt x="29683" y="32379"/>
                      <a:pt x="29110" y="32802"/>
                      <a:pt x="28514" y="33010"/>
                    </a:cubicBezTo>
                    <a:cubicBezTo>
                      <a:pt x="28209" y="33125"/>
                      <a:pt x="27890" y="33178"/>
                      <a:pt x="27580" y="33178"/>
                    </a:cubicBezTo>
                    <a:cubicBezTo>
                      <a:pt x="26699" y="33178"/>
                      <a:pt x="25900" y="32750"/>
                      <a:pt x="25757" y="32098"/>
                    </a:cubicBezTo>
                    <a:cubicBezTo>
                      <a:pt x="25486" y="31196"/>
                      <a:pt x="25678" y="30341"/>
                      <a:pt x="26051" y="29999"/>
                    </a:cubicBezTo>
                    <a:cubicBezTo>
                      <a:pt x="26270" y="29804"/>
                      <a:pt x="26483" y="29768"/>
                      <a:pt x="26625" y="29768"/>
                    </a:cubicBezTo>
                    <a:cubicBezTo>
                      <a:pt x="26708" y="29768"/>
                      <a:pt x="26768" y="29780"/>
                      <a:pt x="26790" y="29780"/>
                    </a:cubicBezTo>
                    <a:cubicBezTo>
                      <a:pt x="26790" y="29780"/>
                      <a:pt x="26791" y="29780"/>
                      <a:pt x="26791" y="29780"/>
                    </a:cubicBezTo>
                    <a:lnTo>
                      <a:pt x="26791" y="29780"/>
                    </a:lnTo>
                    <a:cubicBezTo>
                      <a:pt x="26764" y="29777"/>
                      <a:pt x="26659" y="29726"/>
                      <a:pt x="26493" y="29726"/>
                    </a:cubicBezTo>
                    <a:cubicBezTo>
                      <a:pt x="26356" y="29726"/>
                      <a:pt x="26177" y="29761"/>
                      <a:pt x="25965" y="29889"/>
                    </a:cubicBezTo>
                    <a:cubicBezTo>
                      <a:pt x="25477" y="30229"/>
                      <a:pt x="25127" y="31131"/>
                      <a:pt x="25343" y="32211"/>
                    </a:cubicBezTo>
                    <a:cubicBezTo>
                      <a:pt x="25398" y="32470"/>
                      <a:pt x="25527" y="32807"/>
                      <a:pt x="25750" y="33037"/>
                    </a:cubicBezTo>
                    <a:cubicBezTo>
                      <a:pt x="25980" y="33276"/>
                      <a:pt x="26257" y="33465"/>
                      <a:pt x="26564" y="33592"/>
                    </a:cubicBezTo>
                    <a:cubicBezTo>
                      <a:pt x="26941" y="33753"/>
                      <a:pt x="27364" y="33838"/>
                      <a:pt x="27807" y="33838"/>
                    </a:cubicBezTo>
                    <a:cubicBezTo>
                      <a:pt x="28109" y="33838"/>
                      <a:pt x="28419" y="33798"/>
                      <a:pt x="28730" y="33717"/>
                    </a:cubicBezTo>
                    <a:cubicBezTo>
                      <a:pt x="29486" y="33511"/>
                      <a:pt x="30264" y="33063"/>
                      <a:pt x="30788" y="32280"/>
                    </a:cubicBezTo>
                    <a:cubicBezTo>
                      <a:pt x="31296" y="31481"/>
                      <a:pt x="31442" y="30442"/>
                      <a:pt x="31162" y="29475"/>
                    </a:cubicBezTo>
                    <a:cubicBezTo>
                      <a:pt x="30894" y="28510"/>
                      <a:pt x="30303" y="27665"/>
                      <a:pt x="29577" y="26969"/>
                    </a:cubicBezTo>
                    <a:cubicBezTo>
                      <a:pt x="28859" y="26267"/>
                      <a:pt x="27971" y="25679"/>
                      <a:pt x="27009" y="25255"/>
                    </a:cubicBezTo>
                    <a:cubicBezTo>
                      <a:pt x="25089" y="24386"/>
                      <a:pt x="22966" y="24029"/>
                      <a:pt x="20900" y="23426"/>
                    </a:cubicBezTo>
                    <a:cubicBezTo>
                      <a:pt x="18789" y="22828"/>
                      <a:pt x="16601" y="22272"/>
                      <a:pt x="14423" y="21604"/>
                    </a:cubicBezTo>
                    <a:cubicBezTo>
                      <a:pt x="12254" y="20932"/>
                      <a:pt x="10066" y="20159"/>
                      <a:pt x="8077" y="19060"/>
                    </a:cubicBezTo>
                    <a:cubicBezTo>
                      <a:pt x="6090" y="17971"/>
                      <a:pt x="4285" y="16527"/>
                      <a:pt x="3014" y="14737"/>
                    </a:cubicBezTo>
                    <a:cubicBezTo>
                      <a:pt x="1739" y="12956"/>
                      <a:pt x="1128" y="10816"/>
                      <a:pt x="1310" y="8743"/>
                    </a:cubicBezTo>
                    <a:cubicBezTo>
                      <a:pt x="1466" y="6692"/>
                      <a:pt x="2291" y="4750"/>
                      <a:pt x="3618" y="3429"/>
                    </a:cubicBezTo>
                    <a:cubicBezTo>
                      <a:pt x="3924" y="3080"/>
                      <a:pt x="4309" y="2802"/>
                      <a:pt x="4656" y="2536"/>
                    </a:cubicBezTo>
                    <a:lnTo>
                      <a:pt x="5197" y="2177"/>
                    </a:lnTo>
                    <a:cubicBezTo>
                      <a:pt x="5396" y="2065"/>
                      <a:pt x="5621" y="1962"/>
                      <a:pt x="5829" y="1856"/>
                    </a:cubicBezTo>
                    <a:cubicBezTo>
                      <a:pt x="6605" y="1502"/>
                      <a:pt x="7450" y="1236"/>
                      <a:pt x="8266" y="1145"/>
                    </a:cubicBezTo>
                    <a:cubicBezTo>
                      <a:pt x="8716" y="1086"/>
                      <a:pt x="9160" y="1060"/>
                      <a:pt x="9594" y="1060"/>
                    </a:cubicBezTo>
                    <a:cubicBezTo>
                      <a:pt x="10744" y="1060"/>
                      <a:pt x="11825" y="1247"/>
                      <a:pt x="12781" y="1514"/>
                    </a:cubicBezTo>
                    <a:cubicBezTo>
                      <a:pt x="13922" y="1837"/>
                      <a:pt x="15026" y="2290"/>
                      <a:pt x="16067" y="2864"/>
                    </a:cubicBezTo>
                    <a:cubicBezTo>
                      <a:pt x="16943" y="3333"/>
                      <a:pt x="17570" y="3795"/>
                      <a:pt x="17992" y="4094"/>
                    </a:cubicBezTo>
                    <a:lnTo>
                      <a:pt x="18650" y="4614"/>
                    </a:lnTo>
                    <a:lnTo>
                      <a:pt x="19253" y="3858"/>
                    </a:lnTo>
                    <a:lnTo>
                      <a:pt x="18600" y="3333"/>
                    </a:lnTo>
                    <a:cubicBezTo>
                      <a:pt x="18135" y="2996"/>
                      <a:pt x="17470" y="2498"/>
                      <a:pt x="16551" y="1993"/>
                    </a:cubicBezTo>
                    <a:cubicBezTo>
                      <a:pt x="15445" y="1373"/>
                      <a:pt x="14274" y="880"/>
                      <a:pt x="13058" y="523"/>
                    </a:cubicBezTo>
                    <a:cubicBezTo>
                      <a:pt x="12009" y="220"/>
                      <a:pt x="10803" y="0"/>
                      <a:pt x="9497" y="0"/>
                    </a:cubicBezTo>
                    <a:close/>
                  </a:path>
                </a:pathLst>
              </a:custGeom>
              <a:solidFill>
                <a:srgbClr val="DBE2E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8" name="Google Shape;5568;p69"/>
              <p:cNvSpPr/>
              <p:nvPr/>
            </p:nvSpPr>
            <p:spPr>
              <a:xfrm>
                <a:off x="3368550" y="238100"/>
                <a:ext cx="1089150" cy="1354050"/>
              </a:xfrm>
              <a:custGeom>
                <a:avLst/>
                <a:gdLst/>
                <a:ahLst/>
                <a:cxnLst/>
                <a:rect l="l" t="t" r="r" b="b"/>
                <a:pathLst>
                  <a:path w="43566" h="54162" extrusionOk="0">
                    <a:moveTo>
                      <a:pt x="40538" y="1"/>
                    </a:moveTo>
                    <a:cubicBezTo>
                      <a:pt x="40536" y="1"/>
                      <a:pt x="40535" y="1"/>
                      <a:pt x="40533" y="1"/>
                    </a:cubicBezTo>
                    <a:lnTo>
                      <a:pt x="23581" y="183"/>
                    </a:lnTo>
                    <a:lnTo>
                      <a:pt x="19703" y="224"/>
                    </a:lnTo>
                    <a:lnTo>
                      <a:pt x="2751" y="406"/>
                    </a:lnTo>
                    <a:cubicBezTo>
                      <a:pt x="2416" y="408"/>
                      <a:pt x="2128" y="645"/>
                      <a:pt x="2061" y="973"/>
                    </a:cubicBezTo>
                    <a:cubicBezTo>
                      <a:pt x="1530" y="3469"/>
                      <a:pt x="0" y="13846"/>
                      <a:pt x="8783" y="22600"/>
                    </a:cubicBezTo>
                    <a:cubicBezTo>
                      <a:pt x="18846" y="32630"/>
                      <a:pt x="19789" y="34399"/>
                      <a:pt x="18887" y="42942"/>
                    </a:cubicBezTo>
                    <a:cubicBezTo>
                      <a:pt x="17982" y="51485"/>
                      <a:pt x="13855" y="54161"/>
                      <a:pt x="13855" y="54161"/>
                    </a:cubicBezTo>
                    <a:lnTo>
                      <a:pt x="22106" y="54072"/>
                    </a:lnTo>
                    <a:lnTo>
                      <a:pt x="22326" y="54070"/>
                    </a:lnTo>
                    <a:lnTo>
                      <a:pt x="30577" y="53982"/>
                    </a:lnTo>
                    <a:cubicBezTo>
                      <a:pt x="30577" y="53982"/>
                      <a:pt x="26396" y="51394"/>
                      <a:pt x="25309" y="42870"/>
                    </a:cubicBezTo>
                    <a:cubicBezTo>
                      <a:pt x="24222" y="34348"/>
                      <a:pt x="25127" y="32560"/>
                      <a:pt x="34972" y="22320"/>
                    </a:cubicBezTo>
                    <a:cubicBezTo>
                      <a:pt x="43566" y="13379"/>
                      <a:pt x="41816" y="3039"/>
                      <a:pt x="41232" y="554"/>
                    </a:cubicBezTo>
                    <a:cubicBezTo>
                      <a:pt x="41158" y="228"/>
                      <a:pt x="40869" y="1"/>
                      <a:pt x="4053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69" name="Google Shape;5569;p69"/>
              <p:cNvSpPr/>
              <p:nvPr/>
            </p:nvSpPr>
            <p:spPr>
              <a:xfrm>
                <a:off x="3588225" y="1559325"/>
                <a:ext cx="673800" cy="265125"/>
              </a:xfrm>
              <a:custGeom>
                <a:avLst/>
                <a:gdLst/>
                <a:ahLst/>
                <a:cxnLst/>
                <a:rect l="l" t="t" r="r" b="b"/>
                <a:pathLst>
                  <a:path w="26952" h="10605" extrusionOk="0">
                    <a:moveTo>
                      <a:pt x="26784" y="0"/>
                    </a:moveTo>
                    <a:lnTo>
                      <a:pt x="58" y="285"/>
                    </a:lnTo>
                    <a:cubicBezTo>
                      <a:pt x="27" y="285"/>
                      <a:pt x="1" y="311"/>
                      <a:pt x="1" y="343"/>
                    </a:cubicBezTo>
                    <a:lnTo>
                      <a:pt x="111" y="10604"/>
                    </a:lnTo>
                    <a:lnTo>
                      <a:pt x="26951" y="10320"/>
                    </a:lnTo>
                    <a:lnTo>
                      <a:pt x="26841" y="58"/>
                    </a:lnTo>
                    <a:cubicBezTo>
                      <a:pt x="26841" y="27"/>
                      <a:pt x="26815" y="0"/>
                      <a:pt x="26784"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0" name="Google Shape;5570;p69"/>
              <p:cNvSpPr/>
              <p:nvPr/>
            </p:nvSpPr>
            <p:spPr>
              <a:xfrm>
                <a:off x="3513850" y="1774875"/>
                <a:ext cx="825300" cy="92000"/>
              </a:xfrm>
              <a:custGeom>
                <a:avLst/>
                <a:gdLst/>
                <a:ahLst/>
                <a:cxnLst/>
                <a:rect l="l" t="t" r="r" b="b"/>
                <a:pathLst>
                  <a:path w="33012" h="3680" extrusionOk="0">
                    <a:moveTo>
                      <a:pt x="32921" y="0"/>
                    </a:moveTo>
                    <a:lnTo>
                      <a:pt x="58" y="350"/>
                    </a:lnTo>
                    <a:cubicBezTo>
                      <a:pt x="27" y="350"/>
                      <a:pt x="0" y="376"/>
                      <a:pt x="0" y="410"/>
                    </a:cubicBezTo>
                    <a:lnTo>
                      <a:pt x="36" y="3680"/>
                    </a:lnTo>
                    <a:lnTo>
                      <a:pt x="33012" y="3328"/>
                    </a:lnTo>
                    <a:lnTo>
                      <a:pt x="32978" y="58"/>
                    </a:lnTo>
                    <a:cubicBezTo>
                      <a:pt x="32978" y="27"/>
                      <a:pt x="32952" y="0"/>
                      <a:pt x="32921" y="0"/>
                    </a:cubicBezTo>
                    <a:close/>
                  </a:path>
                </a:pathLst>
              </a:custGeom>
              <a:solidFill>
                <a:srgbClr val="E7ECE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1" name="Google Shape;5571;p69"/>
              <p:cNvSpPr/>
              <p:nvPr/>
            </p:nvSpPr>
            <p:spPr>
              <a:xfrm>
                <a:off x="3466550" y="322000"/>
                <a:ext cx="893500" cy="458025"/>
              </a:xfrm>
              <a:custGeom>
                <a:avLst/>
                <a:gdLst/>
                <a:ahLst/>
                <a:cxnLst/>
                <a:rect l="l" t="t" r="r" b="b"/>
                <a:pathLst>
                  <a:path w="35740" h="18321" extrusionOk="0">
                    <a:moveTo>
                      <a:pt x="34103" y="1"/>
                    </a:moveTo>
                    <a:cubicBezTo>
                      <a:pt x="34097" y="1"/>
                      <a:pt x="34091" y="1"/>
                      <a:pt x="34085" y="1"/>
                    </a:cubicBezTo>
                    <a:lnTo>
                      <a:pt x="18162" y="171"/>
                    </a:lnTo>
                    <a:lnTo>
                      <a:pt x="17351" y="181"/>
                    </a:lnTo>
                    <a:lnTo>
                      <a:pt x="1428" y="350"/>
                    </a:lnTo>
                    <a:cubicBezTo>
                      <a:pt x="834" y="353"/>
                      <a:pt x="348" y="820"/>
                      <a:pt x="320" y="1413"/>
                    </a:cubicBezTo>
                    <a:cubicBezTo>
                      <a:pt x="315" y="1492"/>
                      <a:pt x="312" y="1578"/>
                      <a:pt x="310" y="1667"/>
                    </a:cubicBezTo>
                    <a:cubicBezTo>
                      <a:pt x="1" y="10807"/>
                      <a:pt x="7459" y="18321"/>
                      <a:pt x="16585" y="18321"/>
                    </a:cubicBezTo>
                    <a:cubicBezTo>
                      <a:pt x="16644" y="18321"/>
                      <a:pt x="16703" y="18321"/>
                      <a:pt x="16762" y="18320"/>
                    </a:cubicBezTo>
                    <a:lnTo>
                      <a:pt x="17545" y="18310"/>
                    </a:lnTo>
                    <a:lnTo>
                      <a:pt x="18354" y="18303"/>
                    </a:lnTo>
                    <a:lnTo>
                      <a:pt x="19136" y="18294"/>
                    </a:lnTo>
                    <a:cubicBezTo>
                      <a:pt x="28343" y="18196"/>
                      <a:pt x="35739" y="10485"/>
                      <a:pt x="35229" y="1294"/>
                    </a:cubicBezTo>
                    <a:cubicBezTo>
                      <a:pt x="35225" y="1203"/>
                      <a:pt x="35220" y="1119"/>
                      <a:pt x="35215" y="1040"/>
                    </a:cubicBezTo>
                    <a:cubicBezTo>
                      <a:pt x="35175" y="455"/>
                      <a:pt x="34689" y="1"/>
                      <a:pt x="34103" y="1"/>
                    </a:cubicBezTo>
                    <a:close/>
                  </a:path>
                </a:pathLst>
              </a:custGeom>
              <a:solidFill>
                <a:srgbClr val="DBE2E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2" name="Google Shape;5572;p69"/>
              <p:cNvSpPr/>
              <p:nvPr/>
            </p:nvSpPr>
            <p:spPr>
              <a:xfrm>
                <a:off x="3472850" y="260850"/>
                <a:ext cx="874375" cy="56650"/>
              </a:xfrm>
              <a:custGeom>
                <a:avLst/>
                <a:gdLst/>
                <a:ahLst/>
                <a:cxnLst/>
                <a:rect l="l" t="t" r="r" b="b"/>
                <a:pathLst>
                  <a:path w="34975" h="2266" extrusionOk="0">
                    <a:moveTo>
                      <a:pt x="34014" y="1"/>
                    </a:moveTo>
                    <a:cubicBezTo>
                      <a:pt x="34011" y="1"/>
                      <a:pt x="34008" y="1"/>
                      <a:pt x="34005" y="1"/>
                    </a:cubicBezTo>
                    <a:lnTo>
                      <a:pt x="953" y="355"/>
                    </a:lnTo>
                    <a:cubicBezTo>
                      <a:pt x="424" y="360"/>
                      <a:pt x="1" y="791"/>
                      <a:pt x="8" y="1320"/>
                    </a:cubicBezTo>
                    <a:cubicBezTo>
                      <a:pt x="13" y="1843"/>
                      <a:pt x="441" y="2265"/>
                      <a:pt x="964" y="2265"/>
                    </a:cubicBezTo>
                    <a:cubicBezTo>
                      <a:pt x="967" y="2265"/>
                      <a:pt x="969" y="2265"/>
                      <a:pt x="972" y="2265"/>
                    </a:cubicBezTo>
                    <a:lnTo>
                      <a:pt x="34022" y="1913"/>
                    </a:lnTo>
                    <a:cubicBezTo>
                      <a:pt x="34551" y="1906"/>
                      <a:pt x="34975" y="1473"/>
                      <a:pt x="34968" y="946"/>
                    </a:cubicBezTo>
                    <a:cubicBezTo>
                      <a:pt x="34963" y="422"/>
                      <a:pt x="34537" y="1"/>
                      <a:pt x="34014" y="1"/>
                    </a:cubicBezTo>
                    <a:close/>
                  </a:path>
                </a:pathLst>
              </a:custGeom>
              <a:solidFill>
                <a:srgbClr val="DBE2E7"/>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3" name="Google Shape;5573;p69"/>
              <p:cNvSpPr/>
              <p:nvPr/>
            </p:nvSpPr>
            <p:spPr>
              <a:xfrm>
                <a:off x="3746150" y="421050"/>
                <a:ext cx="332625" cy="316350"/>
              </a:xfrm>
              <a:custGeom>
                <a:avLst/>
                <a:gdLst/>
                <a:ahLst/>
                <a:cxnLst/>
                <a:rect l="l" t="t" r="r" b="b"/>
                <a:pathLst>
                  <a:path w="13305" h="12654" extrusionOk="0">
                    <a:moveTo>
                      <a:pt x="6653" y="1"/>
                    </a:moveTo>
                    <a:lnTo>
                      <a:pt x="4597" y="4166"/>
                    </a:lnTo>
                    <a:lnTo>
                      <a:pt x="1" y="4833"/>
                    </a:lnTo>
                    <a:lnTo>
                      <a:pt x="3325" y="8075"/>
                    </a:lnTo>
                    <a:lnTo>
                      <a:pt x="2540" y="12654"/>
                    </a:lnTo>
                    <a:lnTo>
                      <a:pt x="6653" y="10492"/>
                    </a:lnTo>
                    <a:lnTo>
                      <a:pt x="10765" y="12654"/>
                    </a:lnTo>
                    <a:lnTo>
                      <a:pt x="9978" y="8075"/>
                    </a:lnTo>
                    <a:lnTo>
                      <a:pt x="13305" y="4833"/>
                    </a:lnTo>
                    <a:lnTo>
                      <a:pt x="8709" y="4166"/>
                    </a:lnTo>
                    <a:lnTo>
                      <a:pt x="6653" y="1"/>
                    </a:lnTo>
                    <a:close/>
                    <a:moveTo>
                      <a:pt x="2540" y="12654"/>
                    </a:moveTo>
                    <a:lnTo>
                      <a:pt x="2540" y="12654"/>
                    </a:lnTo>
                    <a:lnTo>
                      <a:pt x="2540" y="12654"/>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574" name="Google Shape;5574;p69"/>
          <p:cNvGrpSpPr/>
          <p:nvPr/>
        </p:nvGrpSpPr>
        <p:grpSpPr>
          <a:xfrm>
            <a:off x="3328239" y="4979347"/>
            <a:ext cx="1657504" cy="850319"/>
            <a:chOff x="2496310" y="3693351"/>
            <a:chExt cx="1342906" cy="688926"/>
          </a:xfrm>
        </p:grpSpPr>
        <p:grpSp>
          <p:nvGrpSpPr>
            <p:cNvPr id="5575" name="Google Shape;5575;p69"/>
            <p:cNvGrpSpPr/>
            <p:nvPr/>
          </p:nvGrpSpPr>
          <p:grpSpPr>
            <a:xfrm>
              <a:off x="2496310" y="3693351"/>
              <a:ext cx="1342906" cy="688875"/>
              <a:chOff x="2496310" y="3693351"/>
              <a:chExt cx="1342906" cy="688875"/>
            </a:xfrm>
          </p:grpSpPr>
          <p:sp>
            <p:nvSpPr>
              <p:cNvPr id="5576" name="Google Shape;5576;p69"/>
              <p:cNvSpPr/>
              <p:nvPr/>
            </p:nvSpPr>
            <p:spPr>
              <a:xfrm>
                <a:off x="2567815" y="3809577"/>
                <a:ext cx="1200140" cy="572649"/>
              </a:xfrm>
              <a:custGeom>
                <a:avLst/>
                <a:gdLst/>
                <a:ahLst/>
                <a:cxnLst/>
                <a:rect l="l" t="t" r="r" b="b"/>
                <a:pathLst>
                  <a:path w="66087" h="33020" extrusionOk="0">
                    <a:moveTo>
                      <a:pt x="33019" y="0"/>
                    </a:moveTo>
                    <a:cubicBezTo>
                      <a:pt x="14818" y="0"/>
                      <a:pt x="0" y="14808"/>
                      <a:pt x="0" y="33019"/>
                    </a:cubicBezTo>
                    <a:lnTo>
                      <a:pt x="1659" y="33019"/>
                    </a:lnTo>
                    <a:cubicBezTo>
                      <a:pt x="1659" y="15718"/>
                      <a:pt x="15718" y="1659"/>
                      <a:pt x="33019" y="1659"/>
                    </a:cubicBezTo>
                    <a:cubicBezTo>
                      <a:pt x="50321" y="1659"/>
                      <a:pt x="64427" y="15718"/>
                      <a:pt x="64427" y="33019"/>
                    </a:cubicBezTo>
                    <a:lnTo>
                      <a:pt x="66086" y="33019"/>
                    </a:lnTo>
                    <a:cubicBezTo>
                      <a:pt x="66086" y="14808"/>
                      <a:pt x="51269" y="0"/>
                      <a:pt x="330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7" name="Google Shape;5577;p69"/>
              <p:cNvSpPr/>
              <p:nvPr/>
            </p:nvSpPr>
            <p:spPr>
              <a:xfrm>
                <a:off x="3420688" y="3858516"/>
                <a:ext cx="65100" cy="651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8" name="Google Shape;5578;p69"/>
              <p:cNvSpPr/>
              <p:nvPr/>
            </p:nvSpPr>
            <p:spPr>
              <a:xfrm>
                <a:off x="3135700" y="3791751"/>
                <a:ext cx="65100" cy="651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79" name="Google Shape;5579;p69"/>
              <p:cNvSpPr/>
              <p:nvPr/>
            </p:nvSpPr>
            <p:spPr>
              <a:xfrm>
                <a:off x="3620515" y="4032917"/>
                <a:ext cx="65100" cy="651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0" name="Google Shape;5580;p69"/>
              <p:cNvSpPr/>
              <p:nvPr/>
            </p:nvSpPr>
            <p:spPr>
              <a:xfrm>
                <a:off x="2843808" y="3858516"/>
                <a:ext cx="65100" cy="651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1" name="Google Shape;5581;p69"/>
              <p:cNvSpPr/>
              <p:nvPr/>
            </p:nvSpPr>
            <p:spPr>
              <a:xfrm>
                <a:off x="2652010" y="4032917"/>
                <a:ext cx="65100" cy="65100"/>
              </a:xfrm>
              <a:prstGeom prst="ellipse">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5582" name="Google Shape;5582;p69"/>
              <p:cNvCxnSpPr>
                <a:stCxn id="5580" idx="0"/>
              </p:cNvCxnSpPr>
              <p:nvPr/>
            </p:nvCxnSpPr>
            <p:spPr>
              <a:xfrm rot="5400000" flipH="1">
                <a:off x="2741958" y="3724116"/>
                <a:ext cx="68700" cy="200100"/>
              </a:xfrm>
              <a:prstGeom prst="bentConnector2">
                <a:avLst/>
              </a:prstGeom>
              <a:noFill/>
              <a:ln w="19050" cap="flat" cmpd="sng">
                <a:solidFill>
                  <a:srgbClr val="869FB2"/>
                </a:solidFill>
                <a:prstDash val="solid"/>
                <a:round/>
                <a:headEnd type="none" w="med" len="med"/>
                <a:tailEnd type="none" w="med" len="med"/>
              </a:ln>
            </p:spPr>
          </p:cxnSp>
          <p:cxnSp>
            <p:nvCxnSpPr>
              <p:cNvPr id="5583" name="Google Shape;5583;p69"/>
              <p:cNvCxnSpPr>
                <a:stCxn id="5577" idx="0"/>
              </p:cNvCxnSpPr>
              <p:nvPr/>
            </p:nvCxnSpPr>
            <p:spPr>
              <a:xfrm rot="-5400000">
                <a:off x="3512338" y="3723516"/>
                <a:ext cx="75900" cy="194100"/>
              </a:xfrm>
              <a:prstGeom prst="bentConnector2">
                <a:avLst/>
              </a:prstGeom>
              <a:noFill/>
              <a:ln w="19050" cap="flat" cmpd="sng">
                <a:solidFill>
                  <a:srgbClr val="869FB2"/>
                </a:solidFill>
                <a:prstDash val="solid"/>
                <a:round/>
                <a:headEnd type="none" w="med" len="med"/>
                <a:tailEnd type="none" w="med" len="med"/>
              </a:ln>
            </p:spPr>
          </p:cxnSp>
          <p:cxnSp>
            <p:nvCxnSpPr>
              <p:cNvPr id="5584" name="Google Shape;5584;p69"/>
              <p:cNvCxnSpPr>
                <a:stCxn id="5578" idx="0"/>
              </p:cNvCxnSpPr>
              <p:nvPr/>
            </p:nvCxnSpPr>
            <p:spPr>
              <a:xfrm rot="-5400000">
                <a:off x="3119350" y="3742251"/>
                <a:ext cx="984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585" name="Google Shape;5585;p69"/>
              <p:cNvCxnSpPr>
                <a:stCxn id="5581" idx="2"/>
              </p:cNvCxnSpPr>
              <p:nvPr/>
            </p:nvCxnSpPr>
            <p:spPr>
              <a:xfrm flipH="1">
                <a:off x="2496310" y="4065467"/>
                <a:ext cx="155700" cy="600"/>
              </a:xfrm>
              <a:prstGeom prst="bentConnector3">
                <a:avLst>
                  <a:gd name="adj1" fmla="val 50000"/>
                </a:avLst>
              </a:prstGeom>
              <a:noFill/>
              <a:ln w="19050" cap="flat" cmpd="sng">
                <a:solidFill>
                  <a:srgbClr val="869FB2"/>
                </a:solidFill>
                <a:prstDash val="solid"/>
                <a:round/>
                <a:headEnd type="none" w="med" len="med"/>
                <a:tailEnd type="none" w="med" len="med"/>
              </a:ln>
            </p:spPr>
          </p:cxnSp>
          <p:cxnSp>
            <p:nvCxnSpPr>
              <p:cNvPr id="5586" name="Google Shape;5586;p69"/>
              <p:cNvCxnSpPr>
                <a:stCxn id="5579" idx="6"/>
              </p:cNvCxnSpPr>
              <p:nvPr/>
            </p:nvCxnSpPr>
            <p:spPr>
              <a:xfrm>
                <a:off x="3685615" y="4065467"/>
                <a:ext cx="153600" cy="600"/>
              </a:xfrm>
              <a:prstGeom prst="bentConnector3">
                <a:avLst>
                  <a:gd name="adj1" fmla="val 50000"/>
                </a:avLst>
              </a:prstGeom>
              <a:noFill/>
              <a:ln w="19050" cap="flat" cmpd="sng">
                <a:solidFill>
                  <a:srgbClr val="869FB2"/>
                </a:solidFill>
                <a:prstDash val="solid"/>
                <a:round/>
                <a:headEnd type="none" w="med" len="med"/>
                <a:tailEnd type="none" w="med" len="med"/>
              </a:ln>
            </p:spPr>
          </p:cxnSp>
        </p:grpSp>
        <p:grpSp>
          <p:nvGrpSpPr>
            <p:cNvPr id="5587" name="Google Shape;5587;p69"/>
            <p:cNvGrpSpPr/>
            <p:nvPr/>
          </p:nvGrpSpPr>
          <p:grpSpPr>
            <a:xfrm>
              <a:off x="2675275" y="3930557"/>
              <a:ext cx="1003306" cy="451719"/>
              <a:chOff x="2675275" y="4174282"/>
              <a:chExt cx="1003306" cy="451719"/>
            </a:xfrm>
          </p:grpSpPr>
          <p:sp>
            <p:nvSpPr>
              <p:cNvPr id="5588" name="Google Shape;5588;p69"/>
              <p:cNvSpPr/>
              <p:nvPr/>
            </p:nvSpPr>
            <p:spPr>
              <a:xfrm>
                <a:off x="2675275" y="4174282"/>
                <a:ext cx="1003306" cy="451719"/>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BBCC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89" name="Google Shape;5589;p69"/>
              <p:cNvSpPr/>
              <p:nvPr/>
            </p:nvSpPr>
            <p:spPr>
              <a:xfrm>
                <a:off x="2716046" y="4210984"/>
                <a:ext cx="921789" cy="415018"/>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0" name="Google Shape;5590;p69"/>
              <p:cNvSpPr/>
              <p:nvPr/>
            </p:nvSpPr>
            <p:spPr>
              <a:xfrm>
                <a:off x="2762606" y="4252906"/>
                <a:ext cx="828676" cy="373095"/>
              </a:xfrm>
              <a:custGeom>
                <a:avLst/>
                <a:gdLst/>
                <a:ahLst/>
                <a:cxnLst/>
                <a:rect l="l" t="t" r="r" b="b"/>
                <a:pathLst>
                  <a:path w="27286" h="12285" extrusionOk="0">
                    <a:moveTo>
                      <a:pt x="13661" y="1"/>
                    </a:moveTo>
                    <a:cubicBezTo>
                      <a:pt x="10793" y="1"/>
                      <a:pt x="8149" y="858"/>
                      <a:pt x="5960" y="2341"/>
                    </a:cubicBezTo>
                    <a:cubicBezTo>
                      <a:pt x="5692" y="2529"/>
                      <a:pt x="5468" y="2681"/>
                      <a:pt x="5245" y="2868"/>
                    </a:cubicBezTo>
                    <a:cubicBezTo>
                      <a:pt x="4021" y="3798"/>
                      <a:pt x="2976" y="4950"/>
                      <a:pt x="2163" y="6219"/>
                    </a:cubicBezTo>
                    <a:cubicBezTo>
                      <a:pt x="1787" y="6808"/>
                      <a:pt x="1448" y="7407"/>
                      <a:pt x="1153" y="8041"/>
                    </a:cubicBezTo>
                    <a:cubicBezTo>
                      <a:pt x="1117" y="8113"/>
                      <a:pt x="1082" y="8193"/>
                      <a:pt x="1082" y="8265"/>
                    </a:cubicBezTo>
                    <a:cubicBezTo>
                      <a:pt x="519" y="9533"/>
                      <a:pt x="153" y="10873"/>
                      <a:pt x="1" y="12285"/>
                    </a:cubicBezTo>
                    <a:lnTo>
                      <a:pt x="27286" y="12285"/>
                    </a:lnTo>
                    <a:cubicBezTo>
                      <a:pt x="27250" y="11838"/>
                      <a:pt x="27178" y="11392"/>
                      <a:pt x="27098" y="10981"/>
                    </a:cubicBezTo>
                    <a:cubicBezTo>
                      <a:pt x="27098" y="10909"/>
                      <a:pt x="27062" y="10873"/>
                      <a:pt x="27062" y="10793"/>
                    </a:cubicBezTo>
                    <a:cubicBezTo>
                      <a:pt x="27026" y="10650"/>
                      <a:pt x="26991" y="10498"/>
                      <a:pt x="26955" y="10346"/>
                    </a:cubicBezTo>
                    <a:cubicBezTo>
                      <a:pt x="26955" y="10275"/>
                      <a:pt x="26910" y="10239"/>
                      <a:pt x="26910" y="10203"/>
                    </a:cubicBezTo>
                    <a:cubicBezTo>
                      <a:pt x="26910" y="10159"/>
                      <a:pt x="26910" y="10123"/>
                      <a:pt x="26875" y="10087"/>
                    </a:cubicBezTo>
                    <a:cubicBezTo>
                      <a:pt x="26205" y="7595"/>
                      <a:pt x="24864" y="5397"/>
                      <a:pt x="23006" y="3681"/>
                    </a:cubicBezTo>
                    <a:cubicBezTo>
                      <a:pt x="20549" y="1376"/>
                      <a:pt x="17270" y="1"/>
                      <a:pt x="13661"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591" name="Google Shape;5591;p69"/>
          <p:cNvGrpSpPr/>
          <p:nvPr/>
        </p:nvGrpSpPr>
        <p:grpSpPr>
          <a:xfrm>
            <a:off x="2226467" y="1561809"/>
            <a:ext cx="766015" cy="1166279"/>
            <a:chOff x="1715404" y="1112080"/>
            <a:chExt cx="642270" cy="977984"/>
          </a:xfrm>
        </p:grpSpPr>
        <p:grpSp>
          <p:nvGrpSpPr>
            <p:cNvPr id="5592" name="Google Shape;5592;p69"/>
            <p:cNvGrpSpPr/>
            <p:nvPr/>
          </p:nvGrpSpPr>
          <p:grpSpPr>
            <a:xfrm>
              <a:off x="1715404" y="1112080"/>
              <a:ext cx="642270" cy="977984"/>
              <a:chOff x="1715404" y="1112080"/>
              <a:chExt cx="642270" cy="977984"/>
            </a:xfrm>
          </p:grpSpPr>
          <p:sp>
            <p:nvSpPr>
              <p:cNvPr id="5593" name="Google Shape;5593;p69"/>
              <p:cNvSpPr/>
              <p:nvPr/>
            </p:nvSpPr>
            <p:spPr>
              <a:xfrm>
                <a:off x="1715404" y="1112080"/>
                <a:ext cx="642270" cy="642270"/>
              </a:xfrm>
              <a:custGeom>
                <a:avLst/>
                <a:gdLst/>
                <a:ahLst/>
                <a:cxnLst/>
                <a:rect l="l" t="t" r="r" b="b"/>
                <a:pathLst>
                  <a:path w="41544" h="41544" extrusionOk="0">
                    <a:moveTo>
                      <a:pt x="20773" y="3462"/>
                    </a:moveTo>
                    <a:cubicBezTo>
                      <a:pt x="30333" y="3462"/>
                      <a:pt x="38081" y="11211"/>
                      <a:pt x="38081" y="20771"/>
                    </a:cubicBezTo>
                    <a:cubicBezTo>
                      <a:pt x="38081" y="30331"/>
                      <a:pt x="30333" y="38081"/>
                      <a:pt x="20773" y="38081"/>
                    </a:cubicBezTo>
                    <a:cubicBezTo>
                      <a:pt x="11213" y="38081"/>
                      <a:pt x="3462" y="30331"/>
                      <a:pt x="3462" y="20771"/>
                    </a:cubicBezTo>
                    <a:cubicBezTo>
                      <a:pt x="3462" y="11211"/>
                      <a:pt x="11213" y="3462"/>
                      <a:pt x="20773" y="3462"/>
                    </a:cubicBezTo>
                    <a:close/>
                    <a:moveTo>
                      <a:pt x="20773" y="0"/>
                    </a:moveTo>
                    <a:cubicBezTo>
                      <a:pt x="9301" y="0"/>
                      <a:pt x="0" y="9299"/>
                      <a:pt x="0" y="20771"/>
                    </a:cubicBezTo>
                    <a:cubicBezTo>
                      <a:pt x="0" y="32243"/>
                      <a:pt x="9301" y="41543"/>
                      <a:pt x="20773" y="41543"/>
                    </a:cubicBezTo>
                    <a:cubicBezTo>
                      <a:pt x="32245" y="41543"/>
                      <a:pt x="41543" y="32243"/>
                      <a:pt x="41543" y="20771"/>
                    </a:cubicBezTo>
                    <a:cubicBezTo>
                      <a:pt x="41543" y="9299"/>
                      <a:pt x="32245" y="0"/>
                      <a:pt x="20773" y="0"/>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4" name="Google Shape;5594;p69"/>
              <p:cNvSpPr/>
              <p:nvPr/>
            </p:nvSpPr>
            <p:spPr>
              <a:xfrm>
                <a:off x="1956781" y="1714402"/>
                <a:ext cx="9121" cy="375663"/>
              </a:xfrm>
              <a:custGeom>
                <a:avLst/>
                <a:gdLst/>
                <a:ahLst/>
                <a:cxnLst/>
                <a:rect l="l" t="t" r="r" b="b"/>
                <a:pathLst>
                  <a:path w="590" h="24299" extrusionOk="0">
                    <a:moveTo>
                      <a:pt x="0" y="0"/>
                    </a:moveTo>
                    <a:lnTo>
                      <a:pt x="0" y="24299"/>
                    </a:lnTo>
                    <a:lnTo>
                      <a:pt x="589" y="24299"/>
                    </a:lnTo>
                    <a:lnTo>
                      <a:pt x="589" y="0"/>
                    </a:ln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95" name="Google Shape;5595;p69"/>
            <p:cNvGrpSpPr/>
            <p:nvPr/>
          </p:nvGrpSpPr>
          <p:grpSpPr>
            <a:xfrm>
              <a:off x="1768927" y="1165603"/>
              <a:ext cx="535225" cy="851367"/>
              <a:chOff x="1768927" y="1165603"/>
              <a:chExt cx="535225" cy="851367"/>
            </a:xfrm>
          </p:grpSpPr>
          <p:sp>
            <p:nvSpPr>
              <p:cNvPr id="5596" name="Google Shape;5596;p69"/>
              <p:cNvSpPr/>
              <p:nvPr/>
            </p:nvSpPr>
            <p:spPr>
              <a:xfrm>
                <a:off x="1768927" y="1165603"/>
                <a:ext cx="535225" cy="535225"/>
              </a:xfrm>
              <a:custGeom>
                <a:avLst/>
                <a:gdLst/>
                <a:ahLst/>
                <a:cxnLst/>
                <a:rect l="l" t="t" r="r" b="b"/>
                <a:pathLst>
                  <a:path w="34620" h="34620" extrusionOk="0">
                    <a:moveTo>
                      <a:pt x="17311" y="3462"/>
                    </a:moveTo>
                    <a:cubicBezTo>
                      <a:pt x="24959" y="3462"/>
                      <a:pt x="31157" y="9661"/>
                      <a:pt x="31157" y="17309"/>
                    </a:cubicBezTo>
                    <a:cubicBezTo>
                      <a:pt x="31157" y="24957"/>
                      <a:pt x="24959" y="31157"/>
                      <a:pt x="17311" y="31157"/>
                    </a:cubicBezTo>
                    <a:cubicBezTo>
                      <a:pt x="9663" y="31157"/>
                      <a:pt x="3462" y="24957"/>
                      <a:pt x="3462" y="17309"/>
                    </a:cubicBezTo>
                    <a:cubicBezTo>
                      <a:pt x="3462" y="9661"/>
                      <a:pt x="9663" y="3462"/>
                      <a:pt x="17311" y="3462"/>
                    </a:cubicBezTo>
                    <a:close/>
                    <a:moveTo>
                      <a:pt x="17311" y="0"/>
                    </a:moveTo>
                    <a:cubicBezTo>
                      <a:pt x="7751" y="0"/>
                      <a:pt x="0" y="7749"/>
                      <a:pt x="0" y="17309"/>
                    </a:cubicBezTo>
                    <a:cubicBezTo>
                      <a:pt x="0" y="26869"/>
                      <a:pt x="7751" y="34619"/>
                      <a:pt x="17311" y="34619"/>
                    </a:cubicBezTo>
                    <a:cubicBezTo>
                      <a:pt x="26871" y="34619"/>
                      <a:pt x="34619" y="26869"/>
                      <a:pt x="34619" y="17309"/>
                    </a:cubicBezTo>
                    <a:cubicBezTo>
                      <a:pt x="34619" y="7749"/>
                      <a:pt x="26871" y="0"/>
                      <a:pt x="17311"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597" name="Google Shape;5597;p69"/>
              <p:cNvSpPr/>
              <p:nvPr/>
            </p:nvSpPr>
            <p:spPr>
              <a:xfrm>
                <a:off x="2006902" y="1668949"/>
                <a:ext cx="9137" cy="348020"/>
              </a:xfrm>
              <a:custGeom>
                <a:avLst/>
                <a:gdLst/>
                <a:ahLst/>
                <a:cxnLst/>
                <a:rect l="l" t="t" r="r" b="b"/>
                <a:pathLst>
                  <a:path w="591" h="22511" extrusionOk="0">
                    <a:moveTo>
                      <a:pt x="1" y="0"/>
                    </a:moveTo>
                    <a:lnTo>
                      <a:pt x="1" y="22510"/>
                    </a:lnTo>
                    <a:lnTo>
                      <a:pt x="590" y="22510"/>
                    </a:lnTo>
                    <a:lnTo>
                      <a:pt x="590"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598" name="Google Shape;5598;p69"/>
            <p:cNvGrpSpPr/>
            <p:nvPr/>
          </p:nvGrpSpPr>
          <p:grpSpPr>
            <a:xfrm>
              <a:off x="1822449" y="1219125"/>
              <a:ext cx="428180" cy="718859"/>
              <a:chOff x="1822449" y="1219125"/>
              <a:chExt cx="428180" cy="718859"/>
            </a:xfrm>
          </p:grpSpPr>
          <p:sp>
            <p:nvSpPr>
              <p:cNvPr id="5599" name="Google Shape;5599;p69"/>
              <p:cNvSpPr/>
              <p:nvPr/>
            </p:nvSpPr>
            <p:spPr>
              <a:xfrm>
                <a:off x="1822449" y="1219125"/>
                <a:ext cx="428180" cy="428180"/>
              </a:xfrm>
              <a:custGeom>
                <a:avLst/>
                <a:gdLst/>
                <a:ahLst/>
                <a:cxnLst/>
                <a:rect l="l" t="t" r="r" b="b"/>
                <a:pathLst>
                  <a:path w="27696" h="27696" extrusionOk="0">
                    <a:moveTo>
                      <a:pt x="13849" y="3462"/>
                    </a:moveTo>
                    <a:cubicBezTo>
                      <a:pt x="19585" y="3462"/>
                      <a:pt x="24233" y="8111"/>
                      <a:pt x="24233" y="13847"/>
                    </a:cubicBezTo>
                    <a:cubicBezTo>
                      <a:pt x="24233" y="19583"/>
                      <a:pt x="19585" y="24233"/>
                      <a:pt x="13849" y="24233"/>
                    </a:cubicBezTo>
                    <a:cubicBezTo>
                      <a:pt x="8113" y="24233"/>
                      <a:pt x="3462" y="19583"/>
                      <a:pt x="3462" y="13847"/>
                    </a:cubicBezTo>
                    <a:cubicBezTo>
                      <a:pt x="3462" y="8111"/>
                      <a:pt x="8113" y="3462"/>
                      <a:pt x="13849" y="3462"/>
                    </a:cubicBezTo>
                    <a:close/>
                    <a:moveTo>
                      <a:pt x="13849" y="0"/>
                    </a:moveTo>
                    <a:cubicBezTo>
                      <a:pt x="6201" y="0"/>
                      <a:pt x="0" y="6199"/>
                      <a:pt x="0" y="13847"/>
                    </a:cubicBezTo>
                    <a:cubicBezTo>
                      <a:pt x="0" y="21495"/>
                      <a:pt x="6201" y="27695"/>
                      <a:pt x="13849" y="27695"/>
                    </a:cubicBezTo>
                    <a:cubicBezTo>
                      <a:pt x="21497" y="27695"/>
                      <a:pt x="27695" y="21495"/>
                      <a:pt x="27695" y="13847"/>
                    </a:cubicBezTo>
                    <a:cubicBezTo>
                      <a:pt x="27695" y="6199"/>
                      <a:pt x="21497" y="0"/>
                      <a:pt x="13849"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0" name="Google Shape;5600;p69"/>
              <p:cNvSpPr/>
              <p:nvPr/>
            </p:nvSpPr>
            <p:spPr>
              <a:xfrm>
                <a:off x="2057039" y="1605996"/>
                <a:ext cx="9121" cy="331988"/>
              </a:xfrm>
              <a:custGeom>
                <a:avLst/>
                <a:gdLst/>
                <a:ahLst/>
                <a:cxnLst/>
                <a:rect l="l" t="t" r="r" b="b"/>
                <a:pathLst>
                  <a:path w="590" h="21474" extrusionOk="0">
                    <a:moveTo>
                      <a:pt x="0" y="0"/>
                    </a:moveTo>
                    <a:lnTo>
                      <a:pt x="0" y="21474"/>
                    </a:lnTo>
                    <a:lnTo>
                      <a:pt x="590" y="21474"/>
                    </a:lnTo>
                    <a:lnTo>
                      <a:pt x="590" y="0"/>
                    </a:ln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01" name="Google Shape;5601;p69"/>
            <p:cNvGrpSpPr/>
            <p:nvPr/>
          </p:nvGrpSpPr>
          <p:grpSpPr>
            <a:xfrm>
              <a:off x="1875972" y="1272648"/>
              <a:ext cx="321135" cy="586939"/>
              <a:chOff x="1875972" y="1272648"/>
              <a:chExt cx="321135" cy="586939"/>
            </a:xfrm>
          </p:grpSpPr>
          <p:sp>
            <p:nvSpPr>
              <p:cNvPr id="5602" name="Google Shape;5602;p69"/>
              <p:cNvSpPr/>
              <p:nvPr/>
            </p:nvSpPr>
            <p:spPr>
              <a:xfrm>
                <a:off x="1875972" y="1272648"/>
                <a:ext cx="321135" cy="321120"/>
              </a:xfrm>
              <a:custGeom>
                <a:avLst/>
                <a:gdLst/>
                <a:ahLst/>
                <a:cxnLst/>
                <a:rect l="l" t="t" r="r" b="b"/>
                <a:pathLst>
                  <a:path w="20772" h="20771" extrusionOk="0">
                    <a:moveTo>
                      <a:pt x="10387" y="3461"/>
                    </a:moveTo>
                    <a:cubicBezTo>
                      <a:pt x="14211" y="3461"/>
                      <a:pt x="17309" y="6561"/>
                      <a:pt x="17309" y="10385"/>
                    </a:cubicBezTo>
                    <a:cubicBezTo>
                      <a:pt x="17309" y="14209"/>
                      <a:pt x="14211" y="17309"/>
                      <a:pt x="10387" y="17309"/>
                    </a:cubicBezTo>
                    <a:cubicBezTo>
                      <a:pt x="6563" y="17309"/>
                      <a:pt x="3462" y="14209"/>
                      <a:pt x="3462" y="10385"/>
                    </a:cubicBezTo>
                    <a:cubicBezTo>
                      <a:pt x="3462" y="6561"/>
                      <a:pt x="6563" y="3461"/>
                      <a:pt x="10387" y="3461"/>
                    </a:cubicBezTo>
                    <a:close/>
                    <a:moveTo>
                      <a:pt x="10387" y="0"/>
                    </a:moveTo>
                    <a:cubicBezTo>
                      <a:pt x="4651" y="0"/>
                      <a:pt x="0" y="4649"/>
                      <a:pt x="0" y="10385"/>
                    </a:cubicBezTo>
                    <a:cubicBezTo>
                      <a:pt x="0" y="16121"/>
                      <a:pt x="4651" y="20771"/>
                      <a:pt x="10387" y="20771"/>
                    </a:cubicBezTo>
                    <a:cubicBezTo>
                      <a:pt x="16123" y="20771"/>
                      <a:pt x="20771" y="16121"/>
                      <a:pt x="20771" y="10385"/>
                    </a:cubicBezTo>
                    <a:cubicBezTo>
                      <a:pt x="20771" y="4649"/>
                      <a:pt x="16123" y="0"/>
                      <a:pt x="10387"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3" name="Google Shape;5603;p69"/>
              <p:cNvSpPr/>
              <p:nvPr/>
            </p:nvSpPr>
            <p:spPr>
              <a:xfrm>
                <a:off x="2107176" y="1533705"/>
                <a:ext cx="9121" cy="325881"/>
              </a:xfrm>
              <a:custGeom>
                <a:avLst/>
                <a:gdLst/>
                <a:ahLst/>
                <a:cxnLst/>
                <a:rect l="l" t="t" r="r" b="b"/>
                <a:pathLst>
                  <a:path w="590" h="21079" extrusionOk="0">
                    <a:moveTo>
                      <a:pt x="0" y="0"/>
                    </a:moveTo>
                    <a:lnTo>
                      <a:pt x="0" y="21078"/>
                    </a:lnTo>
                    <a:lnTo>
                      <a:pt x="589" y="21078"/>
                    </a:lnTo>
                    <a:lnTo>
                      <a:pt x="589"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604" name="Google Shape;5604;p69"/>
          <p:cNvGrpSpPr/>
          <p:nvPr/>
        </p:nvGrpSpPr>
        <p:grpSpPr>
          <a:xfrm>
            <a:off x="10369349" y="4970771"/>
            <a:ext cx="391807" cy="858893"/>
            <a:chOff x="241025" y="3151575"/>
            <a:chExt cx="293855" cy="644170"/>
          </a:xfrm>
        </p:grpSpPr>
        <p:sp>
          <p:nvSpPr>
            <p:cNvPr id="5605" name="Google Shape;5605;p69"/>
            <p:cNvSpPr/>
            <p:nvPr/>
          </p:nvSpPr>
          <p:spPr>
            <a:xfrm>
              <a:off x="241025" y="3151575"/>
              <a:ext cx="293303" cy="644170"/>
            </a:xfrm>
            <a:custGeom>
              <a:avLst/>
              <a:gdLst/>
              <a:ahLst/>
              <a:cxnLst/>
              <a:rect l="l" t="t" r="r" b="b"/>
              <a:pathLst>
                <a:path w="19117" h="41986" extrusionOk="0">
                  <a:moveTo>
                    <a:pt x="1155" y="1"/>
                  </a:moveTo>
                  <a:cubicBezTo>
                    <a:pt x="516" y="1"/>
                    <a:pt x="1" y="516"/>
                    <a:pt x="1" y="1152"/>
                  </a:cubicBezTo>
                  <a:lnTo>
                    <a:pt x="1" y="35706"/>
                  </a:lnTo>
                  <a:cubicBezTo>
                    <a:pt x="1" y="36344"/>
                    <a:pt x="9559" y="41985"/>
                    <a:pt x="9559" y="41985"/>
                  </a:cubicBezTo>
                  <a:cubicBezTo>
                    <a:pt x="9559" y="41985"/>
                    <a:pt x="19117" y="36344"/>
                    <a:pt x="19117" y="35706"/>
                  </a:cubicBezTo>
                  <a:lnTo>
                    <a:pt x="19117" y="1152"/>
                  </a:lnTo>
                  <a:cubicBezTo>
                    <a:pt x="19117" y="516"/>
                    <a:pt x="18601" y="1"/>
                    <a:pt x="1796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6" name="Google Shape;5606;p69"/>
            <p:cNvSpPr/>
            <p:nvPr/>
          </p:nvSpPr>
          <p:spPr>
            <a:xfrm>
              <a:off x="241347" y="3252796"/>
              <a:ext cx="293533" cy="164134"/>
            </a:xfrm>
            <a:custGeom>
              <a:avLst/>
              <a:gdLst/>
              <a:ahLst/>
              <a:cxnLst/>
              <a:rect l="l" t="t" r="r" b="b"/>
              <a:pathLst>
                <a:path w="19132" h="10698" extrusionOk="0">
                  <a:moveTo>
                    <a:pt x="1" y="1"/>
                  </a:moveTo>
                  <a:lnTo>
                    <a:pt x="1" y="10698"/>
                  </a:lnTo>
                  <a:lnTo>
                    <a:pt x="19132" y="10698"/>
                  </a:lnTo>
                  <a:lnTo>
                    <a:pt x="19132"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07" name="Google Shape;5607;p69"/>
          <p:cNvGrpSpPr/>
          <p:nvPr/>
        </p:nvGrpSpPr>
        <p:grpSpPr>
          <a:xfrm>
            <a:off x="966660" y="3904104"/>
            <a:ext cx="2372865" cy="788827"/>
            <a:chOff x="246070" y="1983375"/>
            <a:chExt cx="1855347" cy="616849"/>
          </a:xfrm>
        </p:grpSpPr>
        <p:sp>
          <p:nvSpPr>
            <p:cNvPr id="5608" name="Google Shape;5608;p69"/>
            <p:cNvSpPr/>
            <p:nvPr/>
          </p:nvSpPr>
          <p:spPr>
            <a:xfrm>
              <a:off x="1072131" y="1983872"/>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09" name="Google Shape;5609;p69"/>
            <p:cNvSpPr/>
            <p:nvPr/>
          </p:nvSpPr>
          <p:spPr>
            <a:xfrm>
              <a:off x="1430530" y="2193486"/>
              <a:ext cx="46960" cy="46948"/>
            </a:xfrm>
            <a:custGeom>
              <a:avLst/>
              <a:gdLst/>
              <a:ahLst/>
              <a:cxnLst/>
              <a:rect l="l" t="t" r="r" b="b"/>
              <a:pathLst>
                <a:path w="3915" h="3914" extrusionOk="0">
                  <a:moveTo>
                    <a:pt x="3914" y="1"/>
                  </a:moveTo>
                  <a:lnTo>
                    <a:pt x="3914" y="1"/>
                  </a:lnTo>
                  <a:cubicBezTo>
                    <a:pt x="3909" y="6"/>
                    <a:pt x="3902" y="8"/>
                    <a:pt x="3897" y="13"/>
                  </a:cubicBezTo>
                  <a:lnTo>
                    <a:pt x="1" y="3909"/>
                  </a:lnTo>
                  <a:lnTo>
                    <a:pt x="1" y="3914"/>
                  </a:lnTo>
                  <a:lnTo>
                    <a:pt x="3914"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0" name="Google Shape;5610;p69"/>
            <p:cNvSpPr/>
            <p:nvPr/>
          </p:nvSpPr>
          <p:spPr>
            <a:xfrm>
              <a:off x="1277847" y="2191554"/>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1" name="Google Shape;5611;p69"/>
            <p:cNvSpPr/>
            <p:nvPr/>
          </p:nvSpPr>
          <p:spPr>
            <a:xfrm>
              <a:off x="1690156" y="2190379"/>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2" name="Google Shape;5612;p69"/>
            <p:cNvSpPr/>
            <p:nvPr/>
          </p:nvSpPr>
          <p:spPr>
            <a:xfrm>
              <a:off x="1484068" y="1984268"/>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3" name="Google Shape;5613;p69"/>
            <p:cNvSpPr/>
            <p:nvPr/>
          </p:nvSpPr>
          <p:spPr>
            <a:xfrm flipH="1">
              <a:off x="865779" y="2190662"/>
              <a:ext cx="408898" cy="407518"/>
            </a:xfrm>
            <a:custGeom>
              <a:avLst/>
              <a:gdLst/>
              <a:ahLst/>
              <a:cxnLst/>
              <a:rect l="l" t="t" r="r" b="b"/>
              <a:pathLst>
                <a:path w="34089" h="33974" extrusionOk="0">
                  <a:moveTo>
                    <a:pt x="17044" y="0"/>
                  </a:moveTo>
                  <a:cubicBezTo>
                    <a:pt x="16893" y="2"/>
                    <a:pt x="16750" y="60"/>
                    <a:pt x="16640" y="163"/>
                  </a:cubicBezTo>
                  <a:lnTo>
                    <a:pt x="12729" y="4075"/>
                  </a:lnTo>
                  <a:lnTo>
                    <a:pt x="12729" y="4070"/>
                  </a:lnTo>
                  <a:lnTo>
                    <a:pt x="10005" y="6793"/>
                  </a:lnTo>
                  <a:cubicBezTo>
                    <a:pt x="9890" y="6904"/>
                    <a:pt x="9742" y="6959"/>
                    <a:pt x="9595" y="6959"/>
                  </a:cubicBezTo>
                  <a:cubicBezTo>
                    <a:pt x="9444" y="6959"/>
                    <a:pt x="9293" y="6901"/>
                    <a:pt x="9178" y="6787"/>
                  </a:cubicBezTo>
                  <a:lnTo>
                    <a:pt x="9104" y="6713"/>
                  </a:lnTo>
                  <a:cubicBezTo>
                    <a:pt x="8874" y="6481"/>
                    <a:pt x="8660" y="6026"/>
                    <a:pt x="8625" y="5702"/>
                  </a:cubicBezTo>
                  <a:cubicBezTo>
                    <a:pt x="8625" y="5702"/>
                    <a:pt x="8539" y="4792"/>
                    <a:pt x="7976" y="4229"/>
                  </a:cubicBezTo>
                  <a:cubicBezTo>
                    <a:pt x="7478" y="3726"/>
                    <a:pt x="6821" y="3474"/>
                    <a:pt x="6165" y="3474"/>
                  </a:cubicBezTo>
                  <a:cubicBezTo>
                    <a:pt x="5524" y="3474"/>
                    <a:pt x="4883" y="3714"/>
                    <a:pt x="4388" y="4197"/>
                  </a:cubicBezTo>
                  <a:cubicBezTo>
                    <a:pt x="3384" y="5172"/>
                    <a:pt x="3354" y="6775"/>
                    <a:pt x="4322" y="7785"/>
                  </a:cubicBezTo>
                  <a:cubicBezTo>
                    <a:pt x="4884" y="8350"/>
                    <a:pt x="5795" y="8439"/>
                    <a:pt x="5795" y="8439"/>
                  </a:cubicBezTo>
                  <a:cubicBezTo>
                    <a:pt x="6118" y="8468"/>
                    <a:pt x="6573" y="8686"/>
                    <a:pt x="6804" y="8916"/>
                  </a:cubicBezTo>
                  <a:lnTo>
                    <a:pt x="6924" y="9033"/>
                  </a:lnTo>
                  <a:cubicBezTo>
                    <a:pt x="7153" y="9267"/>
                    <a:pt x="7153" y="9641"/>
                    <a:pt x="6924" y="9874"/>
                  </a:cubicBezTo>
                  <a:lnTo>
                    <a:pt x="3488" y="13310"/>
                  </a:lnTo>
                  <a:lnTo>
                    <a:pt x="310" y="16487"/>
                  </a:lnTo>
                  <a:lnTo>
                    <a:pt x="233" y="16566"/>
                  </a:lnTo>
                  <a:cubicBezTo>
                    <a:pt x="1" y="16798"/>
                    <a:pt x="1" y="17174"/>
                    <a:pt x="233" y="17405"/>
                  </a:cubicBezTo>
                  <a:lnTo>
                    <a:pt x="6926" y="24099"/>
                  </a:lnTo>
                  <a:cubicBezTo>
                    <a:pt x="7156" y="24332"/>
                    <a:pt x="7156" y="24706"/>
                    <a:pt x="6926" y="24938"/>
                  </a:cubicBezTo>
                  <a:lnTo>
                    <a:pt x="6919" y="24945"/>
                  </a:lnTo>
                  <a:cubicBezTo>
                    <a:pt x="6688" y="25177"/>
                    <a:pt x="6233" y="25391"/>
                    <a:pt x="5908" y="25420"/>
                  </a:cubicBezTo>
                  <a:cubicBezTo>
                    <a:pt x="5908" y="25420"/>
                    <a:pt x="4999" y="25511"/>
                    <a:pt x="4436" y="26074"/>
                  </a:cubicBezTo>
                  <a:cubicBezTo>
                    <a:pt x="3478" y="27047"/>
                    <a:pt x="3485" y="28613"/>
                    <a:pt x="4451" y="29579"/>
                  </a:cubicBezTo>
                  <a:cubicBezTo>
                    <a:pt x="4938" y="30065"/>
                    <a:pt x="5575" y="30309"/>
                    <a:pt x="6213" y="30309"/>
                  </a:cubicBezTo>
                  <a:cubicBezTo>
                    <a:pt x="6843" y="30309"/>
                    <a:pt x="7473" y="30072"/>
                    <a:pt x="7958" y="29596"/>
                  </a:cubicBezTo>
                  <a:cubicBezTo>
                    <a:pt x="8522" y="29031"/>
                    <a:pt x="8608" y="28125"/>
                    <a:pt x="8608" y="28125"/>
                  </a:cubicBezTo>
                  <a:cubicBezTo>
                    <a:pt x="8642" y="27797"/>
                    <a:pt x="8857" y="27341"/>
                    <a:pt x="9087" y="27111"/>
                  </a:cubicBezTo>
                  <a:lnTo>
                    <a:pt x="9090" y="27107"/>
                  </a:lnTo>
                  <a:cubicBezTo>
                    <a:pt x="9204" y="26996"/>
                    <a:pt x="9355" y="26934"/>
                    <a:pt x="9513" y="26934"/>
                  </a:cubicBezTo>
                  <a:cubicBezTo>
                    <a:pt x="9669" y="26934"/>
                    <a:pt x="9820" y="26996"/>
                    <a:pt x="9930" y="27107"/>
                  </a:cubicBezTo>
                  <a:lnTo>
                    <a:pt x="16623" y="33801"/>
                  </a:lnTo>
                  <a:cubicBezTo>
                    <a:pt x="16741" y="33916"/>
                    <a:pt x="16893" y="33973"/>
                    <a:pt x="17045" y="33973"/>
                  </a:cubicBezTo>
                  <a:cubicBezTo>
                    <a:pt x="17198" y="33973"/>
                    <a:pt x="17350" y="33916"/>
                    <a:pt x="17468" y="33801"/>
                  </a:cubicBezTo>
                  <a:lnTo>
                    <a:pt x="24161" y="27107"/>
                  </a:lnTo>
                  <a:cubicBezTo>
                    <a:pt x="24391" y="26874"/>
                    <a:pt x="24391" y="26500"/>
                    <a:pt x="24161" y="26266"/>
                  </a:cubicBezTo>
                  <a:lnTo>
                    <a:pt x="24082" y="26193"/>
                  </a:lnTo>
                  <a:cubicBezTo>
                    <a:pt x="23852" y="25963"/>
                    <a:pt x="23396" y="25746"/>
                    <a:pt x="23073" y="25714"/>
                  </a:cubicBezTo>
                  <a:cubicBezTo>
                    <a:pt x="23073" y="25714"/>
                    <a:pt x="22167" y="25628"/>
                    <a:pt x="21600" y="25063"/>
                  </a:cubicBezTo>
                  <a:cubicBezTo>
                    <a:pt x="20626" y="24092"/>
                    <a:pt x="20631" y="22513"/>
                    <a:pt x="21600" y="21541"/>
                  </a:cubicBezTo>
                  <a:cubicBezTo>
                    <a:pt x="22087" y="21055"/>
                    <a:pt x="22725" y="20812"/>
                    <a:pt x="23362" y="20812"/>
                  </a:cubicBezTo>
                  <a:cubicBezTo>
                    <a:pt x="24000" y="20812"/>
                    <a:pt x="24637" y="21055"/>
                    <a:pt x="25124" y="21541"/>
                  </a:cubicBezTo>
                  <a:cubicBezTo>
                    <a:pt x="25685" y="22104"/>
                    <a:pt x="25776" y="23016"/>
                    <a:pt x="25776" y="23016"/>
                  </a:cubicBezTo>
                  <a:cubicBezTo>
                    <a:pt x="25805" y="23338"/>
                    <a:pt x="26022" y="23793"/>
                    <a:pt x="26252" y="24025"/>
                  </a:cubicBezTo>
                  <a:lnTo>
                    <a:pt x="26325" y="24099"/>
                  </a:lnTo>
                  <a:cubicBezTo>
                    <a:pt x="26437" y="24209"/>
                    <a:pt x="26588" y="24270"/>
                    <a:pt x="26746" y="24270"/>
                  </a:cubicBezTo>
                  <a:cubicBezTo>
                    <a:pt x="26902" y="24270"/>
                    <a:pt x="27053" y="24209"/>
                    <a:pt x="27165" y="24099"/>
                  </a:cubicBezTo>
                  <a:lnTo>
                    <a:pt x="33858" y="17405"/>
                  </a:lnTo>
                  <a:cubicBezTo>
                    <a:pt x="34088" y="17172"/>
                    <a:pt x="34087" y="16798"/>
                    <a:pt x="33855" y="16566"/>
                  </a:cubicBezTo>
                  <a:lnTo>
                    <a:pt x="28225" y="10937"/>
                  </a:lnTo>
                  <a:lnTo>
                    <a:pt x="27163" y="9874"/>
                  </a:lnTo>
                  <a:cubicBezTo>
                    <a:pt x="27051" y="9763"/>
                    <a:pt x="26900" y="9701"/>
                    <a:pt x="26742" y="9701"/>
                  </a:cubicBezTo>
                  <a:cubicBezTo>
                    <a:pt x="26585" y="9701"/>
                    <a:pt x="26434" y="9763"/>
                    <a:pt x="26322" y="9874"/>
                  </a:cubicBezTo>
                  <a:lnTo>
                    <a:pt x="26252" y="9945"/>
                  </a:lnTo>
                  <a:cubicBezTo>
                    <a:pt x="26022" y="10176"/>
                    <a:pt x="25807" y="10631"/>
                    <a:pt x="25773" y="10959"/>
                  </a:cubicBezTo>
                  <a:cubicBezTo>
                    <a:pt x="25773" y="10959"/>
                    <a:pt x="25687" y="11865"/>
                    <a:pt x="25124" y="12430"/>
                  </a:cubicBezTo>
                  <a:cubicBezTo>
                    <a:pt x="24657" y="12897"/>
                    <a:pt x="24024" y="13159"/>
                    <a:pt x="23363" y="13159"/>
                  </a:cubicBezTo>
                  <a:cubicBezTo>
                    <a:pt x="23351" y="13159"/>
                    <a:pt x="23341" y="13156"/>
                    <a:pt x="23329" y="13156"/>
                  </a:cubicBezTo>
                  <a:cubicBezTo>
                    <a:pt x="23312" y="13156"/>
                    <a:pt x="23293" y="13161"/>
                    <a:pt x="23276" y="13161"/>
                  </a:cubicBezTo>
                  <a:cubicBezTo>
                    <a:pt x="22268" y="13161"/>
                    <a:pt x="21358" y="12553"/>
                    <a:pt x="20974" y="11623"/>
                  </a:cubicBezTo>
                  <a:cubicBezTo>
                    <a:pt x="20588" y="10691"/>
                    <a:pt x="20801" y="9620"/>
                    <a:pt x="21513" y="8908"/>
                  </a:cubicBezTo>
                  <a:cubicBezTo>
                    <a:pt x="22076" y="8345"/>
                    <a:pt x="22987" y="8257"/>
                    <a:pt x="22987" y="8257"/>
                  </a:cubicBezTo>
                  <a:cubicBezTo>
                    <a:pt x="23310" y="8228"/>
                    <a:pt x="23765" y="8010"/>
                    <a:pt x="23996" y="7779"/>
                  </a:cubicBezTo>
                  <a:lnTo>
                    <a:pt x="24117" y="7662"/>
                  </a:lnTo>
                  <a:cubicBezTo>
                    <a:pt x="24345" y="7432"/>
                    <a:pt x="24347" y="7063"/>
                    <a:pt x="24122" y="6831"/>
                  </a:cubicBezTo>
                  <a:lnTo>
                    <a:pt x="23358" y="6067"/>
                  </a:lnTo>
                  <a:lnTo>
                    <a:pt x="17464" y="174"/>
                  </a:lnTo>
                  <a:cubicBezTo>
                    <a:pt x="17353" y="64"/>
                    <a:pt x="17202" y="0"/>
                    <a:pt x="17044"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4" name="Google Shape;5614;p69"/>
            <p:cNvSpPr/>
            <p:nvPr/>
          </p:nvSpPr>
          <p:spPr>
            <a:xfrm>
              <a:off x="246070" y="1983826"/>
              <a:ext cx="408910" cy="407494"/>
            </a:xfrm>
            <a:custGeom>
              <a:avLst/>
              <a:gdLst/>
              <a:ahLst/>
              <a:cxnLst/>
              <a:rect l="l" t="t" r="r" b="b"/>
              <a:pathLst>
                <a:path w="34090" h="33972" extrusionOk="0">
                  <a:moveTo>
                    <a:pt x="17046" y="1"/>
                  </a:moveTo>
                  <a:cubicBezTo>
                    <a:pt x="16894" y="1"/>
                    <a:pt x="16742" y="59"/>
                    <a:pt x="16626" y="174"/>
                  </a:cubicBezTo>
                  <a:lnTo>
                    <a:pt x="9933" y="6868"/>
                  </a:lnTo>
                  <a:cubicBezTo>
                    <a:pt x="9821" y="6978"/>
                    <a:pt x="9670" y="7041"/>
                    <a:pt x="9512" y="7041"/>
                  </a:cubicBezTo>
                  <a:cubicBezTo>
                    <a:pt x="9354" y="7041"/>
                    <a:pt x="9203" y="6978"/>
                    <a:pt x="9094" y="6868"/>
                  </a:cubicBezTo>
                  <a:lnTo>
                    <a:pt x="9087" y="6861"/>
                  </a:lnTo>
                  <a:cubicBezTo>
                    <a:pt x="8857" y="6629"/>
                    <a:pt x="8642" y="6175"/>
                    <a:pt x="8611" y="5850"/>
                  </a:cubicBezTo>
                  <a:cubicBezTo>
                    <a:pt x="8611" y="5850"/>
                    <a:pt x="8522" y="4941"/>
                    <a:pt x="7959" y="4378"/>
                  </a:cubicBezTo>
                  <a:cubicBezTo>
                    <a:pt x="7469" y="3863"/>
                    <a:pt x="6813" y="3605"/>
                    <a:pt x="6156" y="3605"/>
                  </a:cubicBezTo>
                  <a:cubicBezTo>
                    <a:pt x="5520" y="3605"/>
                    <a:pt x="4883" y="3847"/>
                    <a:pt x="4396" y="4333"/>
                  </a:cubicBezTo>
                  <a:cubicBezTo>
                    <a:pt x="3407" y="5322"/>
                    <a:pt x="3425" y="6932"/>
                    <a:pt x="4435" y="7898"/>
                  </a:cubicBezTo>
                  <a:cubicBezTo>
                    <a:pt x="5002" y="8462"/>
                    <a:pt x="5908" y="8553"/>
                    <a:pt x="5908" y="8553"/>
                  </a:cubicBezTo>
                  <a:cubicBezTo>
                    <a:pt x="6232" y="8583"/>
                    <a:pt x="6687" y="8797"/>
                    <a:pt x="6919" y="9027"/>
                  </a:cubicBezTo>
                  <a:lnTo>
                    <a:pt x="6926" y="9034"/>
                  </a:lnTo>
                  <a:cubicBezTo>
                    <a:pt x="7156" y="9267"/>
                    <a:pt x="7156" y="9642"/>
                    <a:pt x="6926" y="9875"/>
                  </a:cubicBezTo>
                  <a:lnTo>
                    <a:pt x="232" y="16567"/>
                  </a:lnTo>
                  <a:cubicBezTo>
                    <a:pt x="1" y="16798"/>
                    <a:pt x="1" y="17174"/>
                    <a:pt x="232" y="17406"/>
                  </a:cubicBezTo>
                  <a:lnTo>
                    <a:pt x="6411" y="23585"/>
                  </a:lnTo>
                  <a:lnTo>
                    <a:pt x="6926" y="24100"/>
                  </a:lnTo>
                  <a:cubicBezTo>
                    <a:pt x="6969" y="24141"/>
                    <a:pt x="7020" y="24173"/>
                    <a:pt x="7073" y="24197"/>
                  </a:cubicBezTo>
                  <a:cubicBezTo>
                    <a:pt x="7158" y="24244"/>
                    <a:pt x="7250" y="24269"/>
                    <a:pt x="7345" y="24273"/>
                  </a:cubicBezTo>
                  <a:cubicBezTo>
                    <a:pt x="7503" y="24273"/>
                    <a:pt x="7654" y="24211"/>
                    <a:pt x="7765" y="24101"/>
                  </a:cubicBezTo>
                  <a:lnTo>
                    <a:pt x="7839" y="24027"/>
                  </a:lnTo>
                  <a:cubicBezTo>
                    <a:pt x="8069" y="23796"/>
                    <a:pt x="8283" y="23341"/>
                    <a:pt x="8318" y="23013"/>
                  </a:cubicBezTo>
                  <a:cubicBezTo>
                    <a:pt x="8318" y="23013"/>
                    <a:pt x="8405" y="22107"/>
                    <a:pt x="8967" y="21541"/>
                  </a:cubicBezTo>
                  <a:cubicBezTo>
                    <a:pt x="9183" y="21324"/>
                    <a:pt x="9437" y="21149"/>
                    <a:pt x="9717" y="21026"/>
                  </a:cubicBezTo>
                  <a:cubicBezTo>
                    <a:pt x="10047" y="20876"/>
                    <a:pt x="10396" y="20805"/>
                    <a:pt x="10740" y="20805"/>
                  </a:cubicBezTo>
                  <a:cubicBezTo>
                    <a:pt x="11539" y="20805"/>
                    <a:pt x="12316" y="21191"/>
                    <a:pt x="12792" y="21886"/>
                  </a:cubicBezTo>
                  <a:cubicBezTo>
                    <a:pt x="13474" y="22879"/>
                    <a:pt x="13347" y="24218"/>
                    <a:pt x="12490" y="25064"/>
                  </a:cubicBezTo>
                  <a:cubicBezTo>
                    <a:pt x="12119" y="25437"/>
                    <a:pt x="11599" y="25600"/>
                    <a:pt x="11289" y="25668"/>
                  </a:cubicBezTo>
                  <a:cubicBezTo>
                    <a:pt x="11157" y="25704"/>
                    <a:pt x="11023" y="25732"/>
                    <a:pt x="10887" y="25749"/>
                  </a:cubicBezTo>
                  <a:cubicBezTo>
                    <a:pt x="10830" y="25757"/>
                    <a:pt x="10775" y="25769"/>
                    <a:pt x="10722" y="25785"/>
                  </a:cubicBezTo>
                  <a:cubicBezTo>
                    <a:pt x="10456" y="25871"/>
                    <a:pt x="10173" y="26027"/>
                    <a:pt x="10008" y="26193"/>
                  </a:cubicBezTo>
                  <a:lnTo>
                    <a:pt x="9933" y="26265"/>
                  </a:lnTo>
                  <a:cubicBezTo>
                    <a:pt x="9699" y="26497"/>
                    <a:pt x="9699" y="26875"/>
                    <a:pt x="9933" y="27106"/>
                  </a:cubicBezTo>
                  <a:lnTo>
                    <a:pt x="11412" y="28584"/>
                  </a:lnTo>
                  <a:lnTo>
                    <a:pt x="16625" y="33798"/>
                  </a:lnTo>
                  <a:cubicBezTo>
                    <a:pt x="16736" y="33908"/>
                    <a:pt x="16887" y="33972"/>
                    <a:pt x="17043" y="33972"/>
                  </a:cubicBezTo>
                  <a:cubicBezTo>
                    <a:pt x="17198" y="33970"/>
                    <a:pt x="17347" y="33910"/>
                    <a:pt x="17459" y="33802"/>
                  </a:cubicBezTo>
                  <a:lnTo>
                    <a:pt x="20636" y="30627"/>
                  </a:lnTo>
                  <a:lnTo>
                    <a:pt x="24073" y="27189"/>
                  </a:lnTo>
                  <a:cubicBezTo>
                    <a:pt x="24300" y="26955"/>
                    <a:pt x="24300" y="26581"/>
                    <a:pt x="24073" y="26348"/>
                  </a:cubicBezTo>
                  <a:lnTo>
                    <a:pt x="23953" y="26231"/>
                  </a:lnTo>
                  <a:cubicBezTo>
                    <a:pt x="23722" y="26001"/>
                    <a:pt x="23267" y="25783"/>
                    <a:pt x="22942" y="25754"/>
                  </a:cubicBezTo>
                  <a:cubicBezTo>
                    <a:pt x="22942" y="25754"/>
                    <a:pt x="22033" y="25665"/>
                    <a:pt x="21470" y="25100"/>
                  </a:cubicBezTo>
                  <a:cubicBezTo>
                    <a:pt x="20528" y="24086"/>
                    <a:pt x="20569" y="22503"/>
                    <a:pt x="21561" y="21539"/>
                  </a:cubicBezTo>
                  <a:cubicBezTo>
                    <a:pt x="22056" y="21057"/>
                    <a:pt x="22698" y="20816"/>
                    <a:pt x="23340" y="20816"/>
                  </a:cubicBezTo>
                  <a:cubicBezTo>
                    <a:pt x="23985" y="20816"/>
                    <a:pt x="24629" y="21059"/>
                    <a:pt x="25125" y="21544"/>
                  </a:cubicBezTo>
                  <a:cubicBezTo>
                    <a:pt x="25687" y="22107"/>
                    <a:pt x="25774" y="23017"/>
                    <a:pt x="25774" y="23017"/>
                  </a:cubicBezTo>
                  <a:cubicBezTo>
                    <a:pt x="25807" y="23341"/>
                    <a:pt x="26021" y="23796"/>
                    <a:pt x="26253" y="24027"/>
                  </a:cubicBezTo>
                  <a:lnTo>
                    <a:pt x="26325" y="24101"/>
                  </a:lnTo>
                  <a:cubicBezTo>
                    <a:pt x="26441" y="24216"/>
                    <a:pt x="26592" y="24274"/>
                    <a:pt x="26744" y="24274"/>
                  </a:cubicBezTo>
                  <a:cubicBezTo>
                    <a:pt x="26891" y="24274"/>
                    <a:pt x="27038" y="24219"/>
                    <a:pt x="27152" y="24110"/>
                  </a:cubicBezTo>
                  <a:lnTo>
                    <a:pt x="29878" y="21384"/>
                  </a:lnTo>
                  <a:lnTo>
                    <a:pt x="33774" y="17487"/>
                  </a:lnTo>
                  <a:cubicBezTo>
                    <a:pt x="33779" y="17482"/>
                    <a:pt x="33786" y="17482"/>
                    <a:pt x="33791" y="17476"/>
                  </a:cubicBezTo>
                  <a:lnTo>
                    <a:pt x="33860" y="17408"/>
                  </a:lnTo>
                  <a:cubicBezTo>
                    <a:pt x="34090" y="17174"/>
                    <a:pt x="34090" y="16798"/>
                    <a:pt x="33860" y="16567"/>
                  </a:cubicBezTo>
                  <a:lnTo>
                    <a:pt x="27166" y="9875"/>
                  </a:lnTo>
                  <a:cubicBezTo>
                    <a:pt x="26934" y="9643"/>
                    <a:pt x="26934" y="9267"/>
                    <a:pt x="27166" y="9036"/>
                  </a:cubicBezTo>
                  <a:lnTo>
                    <a:pt x="27283" y="8914"/>
                  </a:lnTo>
                  <a:cubicBezTo>
                    <a:pt x="27513" y="8684"/>
                    <a:pt x="27973" y="8469"/>
                    <a:pt x="28297" y="8437"/>
                  </a:cubicBezTo>
                  <a:cubicBezTo>
                    <a:pt x="28297" y="8437"/>
                    <a:pt x="29203" y="8349"/>
                    <a:pt x="29770" y="7786"/>
                  </a:cubicBezTo>
                  <a:cubicBezTo>
                    <a:pt x="30769" y="6818"/>
                    <a:pt x="30782" y="5219"/>
                    <a:pt x="29799" y="4235"/>
                  </a:cubicBezTo>
                  <a:cubicBezTo>
                    <a:pt x="29311" y="3748"/>
                    <a:pt x="28674" y="3505"/>
                    <a:pt x="28036" y="3505"/>
                  </a:cubicBezTo>
                  <a:cubicBezTo>
                    <a:pt x="27385" y="3505"/>
                    <a:pt x="26735" y="3758"/>
                    <a:pt x="26246" y="4263"/>
                  </a:cubicBezTo>
                  <a:cubicBezTo>
                    <a:pt x="25685" y="4826"/>
                    <a:pt x="25594" y="5735"/>
                    <a:pt x="25594" y="5735"/>
                  </a:cubicBezTo>
                  <a:cubicBezTo>
                    <a:pt x="25563" y="6060"/>
                    <a:pt x="25350" y="6514"/>
                    <a:pt x="25119" y="6746"/>
                  </a:cubicBezTo>
                  <a:lnTo>
                    <a:pt x="24998" y="6866"/>
                  </a:lnTo>
                  <a:cubicBezTo>
                    <a:pt x="24883" y="6982"/>
                    <a:pt x="24731" y="7040"/>
                    <a:pt x="24579" y="7040"/>
                  </a:cubicBezTo>
                  <a:cubicBezTo>
                    <a:pt x="24427" y="7040"/>
                    <a:pt x="24275" y="6982"/>
                    <a:pt x="24159" y="6866"/>
                  </a:cubicBezTo>
                  <a:lnTo>
                    <a:pt x="17466" y="174"/>
                  </a:lnTo>
                  <a:cubicBezTo>
                    <a:pt x="17350" y="59"/>
                    <a:pt x="17198" y="1"/>
                    <a:pt x="17046"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5" name="Google Shape;5615;p69"/>
            <p:cNvSpPr/>
            <p:nvPr/>
          </p:nvSpPr>
          <p:spPr>
            <a:xfrm flipH="1">
              <a:off x="659595" y="1983375"/>
              <a:ext cx="408862" cy="407494"/>
            </a:xfrm>
            <a:custGeom>
              <a:avLst/>
              <a:gdLst/>
              <a:ahLst/>
              <a:cxnLst/>
              <a:rect l="l" t="t" r="r" b="b"/>
              <a:pathLst>
                <a:path w="34086" h="33972" extrusionOk="0">
                  <a:moveTo>
                    <a:pt x="17043" y="1"/>
                  </a:moveTo>
                  <a:cubicBezTo>
                    <a:pt x="16887" y="1"/>
                    <a:pt x="16736" y="61"/>
                    <a:pt x="16624" y="172"/>
                  </a:cubicBezTo>
                  <a:lnTo>
                    <a:pt x="9932" y="6866"/>
                  </a:lnTo>
                  <a:cubicBezTo>
                    <a:pt x="9701" y="7099"/>
                    <a:pt x="9701" y="7475"/>
                    <a:pt x="9932" y="7709"/>
                  </a:cubicBezTo>
                  <a:lnTo>
                    <a:pt x="10003" y="7779"/>
                  </a:lnTo>
                  <a:cubicBezTo>
                    <a:pt x="10235" y="8009"/>
                    <a:pt x="10689" y="8223"/>
                    <a:pt x="11014" y="8254"/>
                  </a:cubicBezTo>
                  <a:cubicBezTo>
                    <a:pt x="11014" y="8254"/>
                    <a:pt x="11923" y="8345"/>
                    <a:pt x="12486" y="8907"/>
                  </a:cubicBezTo>
                  <a:cubicBezTo>
                    <a:pt x="13430" y="9883"/>
                    <a:pt x="13420" y="11436"/>
                    <a:pt x="12459" y="12397"/>
                  </a:cubicBezTo>
                  <a:cubicBezTo>
                    <a:pt x="11973" y="12885"/>
                    <a:pt x="11335" y="13129"/>
                    <a:pt x="10697" y="13129"/>
                  </a:cubicBezTo>
                  <a:cubicBezTo>
                    <a:pt x="10074" y="13129"/>
                    <a:pt x="9450" y="12896"/>
                    <a:pt x="8968" y="12430"/>
                  </a:cubicBezTo>
                  <a:cubicBezTo>
                    <a:pt x="8402" y="11864"/>
                    <a:pt x="8314" y="10958"/>
                    <a:pt x="8314" y="10958"/>
                  </a:cubicBezTo>
                  <a:cubicBezTo>
                    <a:pt x="8280" y="10633"/>
                    <a:pt x="8067" y="10178"/>
                    <a:pt x="7835" y="9948"/>
                  </a:cubicBezTo>
                  <a:lnTo>
                    <a:pt x="7765" y="9873"/>
                  </a:lnTo>
                  <a:cubicBezTo>
                    <a:pt x="7653" y="9763"/>
                    <a:pt x="7502" y="9701"/>
                    <a:pt x="7344" y="9699"/>
                  </a:cubicBezTo>
                  <a:cubicBezTo>
                    <a:pt x="7186" y="9699"/>
                    <a:pt x="7037" y="9763"/>
                    <a:pt x="6926" y="9873"/>
                  </a:cubicBezTo>
                  <a:lnTo>
                    <a:pt x="232" y="16566"/>
                  </a:lnTo>
                  <a:cubicBezTo>
                    <a:pt x="0" y="16800"/>
                    <a:pt x="0" y="17174"/>
                    <a:pt x="232" y="17406"/>
                  </a:cubicBezTo>
                  <a:lnTo>
                    <a:pt x="6170" y="23347"/>
                  </a:lnTo>
                  <a:lnTo>
                    <a:pt x="6167" y="23347"/>
                  </a:lnTo>
                  <a:lnTo>
                    <a:pt x="6929" y="24109"/>
                  </a:lnTo>
                  <a:cubicBezTo>
                    <a:pt x="7154" y="24343"/>
                    <a:pt x="7152" y="24712"/>
                    <a:pt x="6924" y="24942"/>
                  </a:cubicBezTo>
                  <a:lnTo>
                    <a:pt x="6805" y="25059"/>
                  </a:lnTo>
                  <a:cubicBezTo>
                    <a:pt x="6574" y="25290"/>
                    <a:pt x="6119" y="25508"/>
                    <a:pt x="5794" y="25537"/>
                  </a:cubicBezTo>
                  <a:cubicBezTo>
                    <a:pt x="5794" y="25537"/>
                    <a:pt x="4883" y="25625"/>
                    <a:pt x="4322" y="26188"/>
                  </a:cubicBezTo>
                  <a:cubicBezTo>
                    <a:pt x="3610" y="26900"/>
                    <a:pt x="3397" y="27971"/>
                    <a:pt x="3781" y="28903"/>
                  </a:cubicBezTo>
                  <a:cubicBezTo>
                    <a:pt x="4167" y="29833"/>
                    <a:pt x="5075" y="30441"/>
                    <a:pt x="6083" y="30441"/>
                  </a:cubicBezTo>
                  <a:cubicBezTo>
                    <a:pt x="6102" y="30441"/>
                    <a:pt x="6119" y="30436"/>
                    <a:pt x="6138" y="30436"/>
                  </a:cubicBezTo>
                  <a:cubicBezTo>
                    <a:pt x="6148" y="30436"/>
                    <a:pt x="6158" y="30437"/>
                    <a:pt x="6170" y="30437"/>
                  </a:cubicBezTo>
                  <a:cubicBezTo>
                    <a:pt x="6173" y="30437"/>
                    <a:pt x="6175" y="30437"/>
                    <a:pt x="6177" y="30437"/>
                  </a:cubicBezTo>
                  <a:cubicBezTo>
                    <a:pt x="6835" y="30437"/>
                    <a:pt x="7466" y="30175"/>
                    <a:pt x="7933" y="29710"/>
                  </a:cubicBezTo>
                  <a:cubicBezTo>
                    <a:pt x="8494" y="29145"/>
                    <a:pt x="8582" y="28239"/>
                    <a:pt x="8582" y="28239"/>
                  </a:cubicBezTo>
                  <a:cubicBezTo>
                    <a:pt x="8614" y="27911"/>
                    <a:pt x="8829" y="27456"/>
                    <a:pt x="9059" y="27225"/>
                  </a:cubicBezTo>
                  <a:lnTo>
                    <a:pt x="9129" y="27154"/>
                  </a:lnTo>
                  <a:cubicBezTo>
                    <a:pt x="9243" y="27043"/>
                    <a:pt x="9394" y="26981"/>
                    <a:pt x="9551" y="26981"/>
                  </a:cubicBezTo>
                  <a:cubicBezTo>
                    <a:pt x="9708" y="26981"/>
                    <a:pt x="9859" y="27043"/>
                    <a:pt x="9970" y="27154"/>
                  </a:cubicBezTo>
                  <a:lnTo>
                    <a:pt x="11033" y="28217"/>
                  </a:lnTo>
                  <a:lnTo>
                    <a:pt x="11033" y="28211"/>
                  </a:lnTo>
                  <a:lnTo>
                    <a:pt x="16621" y="33800"/>
                  </a:lnTo>
                  <a:cubicBezTo>
                    <a:pt x="16734" y="33909"/>
                    <a:pt x="16885" y="33971"/>
                    <a:pt x="17043" y="33971"/>
                  </a:cubicBezTo>
                  <a:cubicBezTo>
                    <a:pt x="17192" y="33970"/>
                    <a:pt x="17337" y="33913"/>
                    <a:pt x="17445" y="33810"/>
                  </a:cubicBezTo>
                  <a:cubicBezTo>
                    <a:pt x="17450" y="33805"/>
                    <a:pt x="17457" y="33803"/>
                    <a:pt x="17462" y="33800"/>
                  </a:cubicBezTo>
                  <a:lnTo>
                    <a:pt x="23088" y="28172"/>
                  </a:lnTo>
                  <a:lnTo>
                    <a:pt x="24154" y="27106"/>
                  </a:lnTo>
                  <a:cubicBezTo>
                    <a:pt x="24209" y="27053"/>
                    <a:pt x="24274" y="27010"/>
                    <a:pt x="24346" y="26981"/>
                  </a:cubicBezTo>
                  <a:cubicBezTo>
                    <a:pt x="24418" y="26951"/>
                    <a:pt x="24494" y="26937"/>
                    <a:pt x="24569" y="26937"/>
                  </a:cubicBezTo>
                  <a:cubicBezTo>
                    <a:pt x="24724" y="26937"/>
                    <a:pt x="24876" y="26998"/>
                    <a:pt x="24990" y="27113"/>
                  </a:cubicBezTo>
                  <a:lnTo>
                    <a:pt x="25063" y="27187"/>
                  </a:lnTo>
                  <a:cubicBezTo>
                    <a:pt x="25067" y="27190"/>
                    <a:pt x="25070" y="27195"/>
                    <a:pt x="25074" y="27199"/>
                  </a:cubicBezTo>
                  <a:cubicBezTo>
                    <a:pt x="25274" y="27444"/>
                    <a:pt x="25450" y="27834"/>
                    <a:pt x="25480" y="28124"/>
                  </a:cubicBezTo>
                  <a:cubicBezTo>
                    <a:pt x="25480" y="28124"/>
                    <a:pt x="25556" y="28865"/>
                    <a:pt x="25985" y="29423"/>
                  </a:cubicBezTo>
                  <a:cubicBezTo>
                    <a:pt x="26049" y="29516"/>
                    <a:pt x="26119" y="29603"/>
                    <a:pt x="26198" y="29684"/>
                  </a:cubicBezTo>
                  <a:cubicBezTo>
                    <a:pt x="26689" y="30182"/>
                    <a:pt x="27336" y="30431"/>
                    <a:pt x="27983" y="30431"/>
                  </a:cubicBezTo>
                  <a:cubicBezTo>
                    <a:pt x="28624" y="30431"/>
                    <a:pt x="29265" y="30187"/>
                    <a:pt x="29754" y="29698"/>
                  </a:cubicBezTo>
                  <a:cubicBezTo>
                    <a:pt x="30737" y="28716"/>
                    <a:pt x="30732" y="27120"/>
                    <a:pt x="29742" y="26143"/>
                  </a:cubicBezTo>
                  <a:cubicBezTo>
                    <a:pt x="29667" y="26069"/>
                    <a:pt x="29584" y="26001"/>
                    <a:pt x="29497" y="25941"/>
                  </a:cubicBezTo>
                  <a:cubicBezTo>
                    <a:pt x="28937" y="25500"/>
                    <a:pt x="28182" y="25421"/>
                    <a:pt x="28182" y="25421"/>
                  </a:cubicBezTo>
                  <a:cubicBezTo>
                    <a:pt x="27878" y="25392"/>
                    <a:pt x="27470" y="25203"/>
                    <a:pt x="27226" y="24990"/>
                  </a:cubicBezTo>
                  <a:lnTo>
                    <a:pt x="27168" y="24932"/>
                  </a:lnTo>
                  <a:cubicBezTo>
                    <a:pt x="26938" y="24703"/>
                    <a:pt x="26936" y="24331"/>
                    <a:pt x="27164" y="24099"/>
                  </a:cubicBezTo>
                  <a:lnTo>
                    <a:pt x="29146" y="22115"/>
                  </a:lnTo>
                  <a:lnTo>
                    <a:pt x="33856" y="17407"/>
                  </a:lnTo>
                  <a:cubicBezTo>
                    <a:pt x="33861" y="17402"/>
                    <a:pt x="33861" y="17397"/>
                    <a:pt x="33866" y="17392"/>
                  </a:cubicBezTo>
                  <a:cubicBezTo>
                    <a:pt x="34086" y="17160"/>
                    <a:pt x="34081" y="16795"/>
                    <a:pt x="33856" y="16566"/>
                  </a:cubicBezTo>
                  <a:lnTo>
                    <a:pt x="27162" y="9873"/>
                  </a:lnTo>
                  <a:cubicBezTo>
                    <a:pt x="27052" y="9764"/>
                    <a:pt x="26905" y="9701"/>
                    <a:pt x="26750" y="9701"/>
                  </a:cubicBezTo>
                  <a:cubicBezTo>
                    <a:pt x="26748" y="9701"/>
                    <a:pt x="26746" y="9701"/>
                    <a:pt x="26744" y="9701"/>
                  </a:cubicBezTo>
                  <a:cubicBezTo>
                    <a:pt x="26586" y="9701"/>
                    <a:pt x="26435" y="9763"/>
                    <a:pt x="26323" y="9873"/>
                  </a:cubicBezTo>
                  <a:lnTo>
                    <a:pt x="26249" y="9948"/>
                  </a:lnTo>
                  <a:cubicBezTo>
                    <a:pt x="26019" y="10178"/>
                    <a:pt x="25803" y="10635"/>
                    <a:pt x="25774" y="10961"/>
                  </a:cubicBezTo>
                  <a:cubicBezTo>
                    <a:pt x="25774" y="10961"/>
                    <a:pt x="25685" y="11869"/>
                    <a:pt x="25122" y="12434"/>
                  </a:cubicBezTo>
                  <a:cubicBezTo>
                    <a:pt x="24634" y="12928"/>
                    <a:pt x="23990" y="13175"/>
                    <a:pt x="23347" y="13175"/>
                  </a:cubicBezTo>
                  <a:cubicBezTo>
                    <a:pt x="22709" y="13175"/>
                    <a:pt x="22072" y="12932"/>
                    <a:pt x="21586" y="12446"/>
                  </a:cubicBezTo>
                  <a:cubicBezTo>
                    <a:pt x="20608" y="11467"/>
                    <a:pt x="20613" y="9881"/>
                    <a:pt x="21598" y="8910"/>
                  </a:cubicBezTo>
                  <a:cubicBezTo>
                    <a:pt x="22163" y="8347"/>
                    <a:pt x="23071" y="8258"/>
                    <a:pt x="23071" y="8258"/>
                  </a:cubicBezTo>
                  <a:cubicBezTo>
                    <a:pt x="23395" y="8227"/>
                    <a:pt x="23850" y="8014"/>
                    <a:pt x="24080" y="7782"/>
                  </a:cubicBezTo>
                  <a:lnTo>
                    <a:pt x="24159" y="7709"/>
                  </a:lnTo>
                  <a:cubicBezTo>
                    <a:pt x="24389" y="7475"/>
                    <a:pt x="24389" y="7099"/>
                    <a:pt x="24159" y="6866"/>
                  </a:cubicBezTo>
                  <a:lnTo>
                    <a:pt x="17465" y="172"/>
                  </a:lnTo>
                  <a:cubicBezTo>
                    <a:pt x="17352" y="63"/>
                    <a:pt x="17201" y="1"/>
                    <a:pt x="1704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16" name="Google Shape;5616;p69"/>
            <p:cNvSpPr/>
            <p:nvPr/>
          </p:nvSpPr>
          <p:spPr>
            <a:xfrm flipH="1">
              <a:off x="451107" y="2189486"/>
              <a:ext cx="411261" cy="409845"/>
            </a:xfrm>
            <a:custGeom>
              <a:avLst/>
              <a:gdLst/>
              <a:ahLst/>
              <a:cxnLst/>
              <a:rect l="l" t="t" r="r" b="b"/>
              <a:pathLst>
                <a:path w="34286" h="34168" extrusionOk="0">
                  <a:moveTo>
                    <a:pt x="17145" y="1"/>
                  </a:moveTo>
                  <a:cubicBezTo>
                    <a:pt x="16992" y="1"/>
                    <a:pt x="16839" y="59"/>
                    <a:pt x="16722" y="176"/>
                  </a:cubicBezTo>
                  <a:lnTo>
                    <a:pt x="16686" y="210"/>
                  </a:lnTo>
                  <a:cubicBezTo>
                    <a:pt x="16681" y="215"/>
                    <a:pt x="16681" y="220"/>
                    <a:pt x="16676" y="225"/>
                  </a:cubicBezTo>
                  <a:lnTo>
                    <a:pt x="11966" y="4935"/>
                  </a:lnTo>
                  <a:lnTo>
                    <a:pt x="9984" y="6917"/>
                  </a:lnTo>
                  <a:cubicBezTo>
                    <a:pt x="9756" y="7149"/>
                    <a:pt x="9758" y="7521"/>
                    <a:pt x="9988" y="7751"/>
                  </a:cubicBezTo>
                  <a:lnTo>
                    <a:pt x="10048" y="7810"/>
                  </a:lnTo>
                  <a:cubicBezTo>
                    <a:pt x="10290" y="8021"/>
                    <a:pt x="10698" y="8211"/>
                    <a:pt x="11002" y="8239"/>
                  </a:cubicBezTo>
                  <a:cubicBezTo>
                    <a:pt x="11002" y="8239"/>
                    <a:pt x="11759" y="8319"/>
                    <a:pt x="12317" y="8760"/>
                  </a:cubicBezTo>
                  <a:cubicBezTo>
                    <a:pt x="12404" y="8821"/>
                    <a:pt x="12487" y="8887"/>
                    <a:pt x="12562" y="8963"/>
                  </a:cubicBezTo>
                  <a:cubicBezTo>
                    <a:pt x="13552" y="9938"/>
                    <a:pt x="13559" y="11536"/>
                    <a:pt x="12576" y="12516"/>
                  </a:cubicBezTo>
                  <a:cubicBezTo>
                    <a:pt x="12086" y="13006"/>
                    <a:pt x="11445" y="13250"/>
                    <a:pt x="10804" y="13250"/>
                  </a:cubicBezTo>
                  <a:cubicBezTo>
                    <a:pt x="10156" y="13250"/>
                    <a:pt x="9509" y="13001"/>
                    <a:pt x="9018" y="12502"/>
                  </a:cubicBezTo>
                  <a:cubicBezTo>
                    <a:pt x="8939" y="12421"/>
                    <a:pt x="8869" y="12335"/>
                    <a:pt x="8807" y="12241"/>
                  </a:cubicBezTo>
                  <a:cubicBezTo>
                    <a:pt x="8376" y="11683"/>
                    <a:pt x="8300" y="10944"/>
                    <a:pt x="8300" y="10944"/>
                  </a:cubicBezTo>
                  <a:cubicBezTo>
                    <a:pt x="8271" y="10652"/>
                    <a:pt x="8094" y="10264"/>
                    <a:pt x="7894" y="10017"/>
                  </a:cubicBezTo>
                  <a:cubicBezTo>
                    <a:pt x="7890" y="10013"/>
                    <a:pt x="7887" y="10008"/>
                    <a:pt x="7883" y="10005"/>
                  </a:cubicBezTo>
                  <a:lnTo>
                    <a:pt x="7810" y="9933"/>
                  </a:lnTo>
                  <a:cubicBezTo>
                    <a:pt x="7697" y="9818"/>
                    <a:pt x="7544" y="9756"/>
                    <a:pt x="7388" y="9756"/>
                  </a:cubicBezTo>
                  <a:cubicBezTo>
                    <a:pt x="7313" y="9756"/>
                    <a:pt x="7238" y="9770"/>
                    <a:pt x="7166" y="9799"/>
                  </a:cubicBezTo>
                  <a:cubicBezTo>
                    <a:pt x="7096" y="9828"/>
                    <a:pt x="7029" y="9871"/>
                    <a:pt x="6974" y="9924"/>
                  </a:cubicBezTo>
                  <a:lnTo>
                    <a:pt x="5908" y="10990"/>
                  </a:lnTo>
                  <a:lnTo>
                    <a:pt x="282" y="16618"/>
                  </a:lnTo>
                  <a:cubicBezTo>
                    <a:pt x="277" y="16623"/>
                    <a:pt x="270" y="16624"/>
                    <a:pt x="265" y="16628"/>
                  </a:cubicBezTo>
                  <a:lnTo>
                    <a:pt x="236" y="16662"/>
                  </a:lnTo>
                  <a:cubicBezTo>
                    <a:pt x="0" y="16896"/>
                    <a:pt x="0" y="17275"/>
                    <a:pt x="236" y="17510"/>
                  </a:cubicBezTo>
                  <a:lnTo>
                    <a:pt x="6965" y="24238"/>
                  </a:lnTo>
                  <a:cubicBezTo>
                    <a:pt x="7082" y="24355"/>
                    <a:pt x="7235" y="24414"/>
                    <a:pt x="7388" y="24414"/>
                  </a:cubicBezTo>
                  <a:cubicBezTo>
                    <a:pt x="7541" y="24414"/>
                    <a:pt x="7695" y="24355"/>
                    <a:pt x="7811" y="24238"/>
                  </a:cubicBezTo>
                  <a:lnTo>
                    <a:pt x="7882" y="24168"/>
                  </a:lnTo>
                  <a:cubicBezTo>
                    <a:pt x="8115" y="23932"/>
                    <a:pt x="8330" y="23478"/>
                    <a:pt x="8364" y="23150"/>
                  </a:cubicBezTo>
                  <a:cubicBezTo>
                    <a:pt x="8364" y="23150"/>
                    <a:pt x="8450" y="22237"/>
                    <a:pt x="9016" y="21669"/>
                  </a:cubicBezTo>
                  <a:cubicBezTo>
                    <a:pt x="9506" y="21169"/>
                    <a:pt x="10154" y="20919"/>
                    <a:pt x="10803" y="20919"/>
                  </a:cubicBezTo>
                  <a:cubicBezTo>
                    <a:pt x="11444" y="20919"/>
                    <a:pt x="12085" y="21163"/>
                    <a:pt x="12574" y="21653"/>
                  </a:cubicBezTo>
                  <a:cubicBezTo>
                    <a:pt x="13559" y="22637"/>
                    <a:pt x="13552" y="24236"/>
                    <a:pt x="12559" y="25211"/>
                  </a:cubicBezTo>
                  <a:cubicBezTo>
                    <a:pt x="11994" y="25777"/>
                    <a:pt x="11081" y="25867"/>
                    <a:pt x="11081" y="25867"/>
                  </a:cubicBezTo>
                  <a:cubicBezTo>
                    <a:pt x="10753" y="25898"/>
                    <a:pt x="10295" y="26116"/>
                    <a:pt x="10063" y="26346"/>
                  </a:cubicBezTo>
                  <a:lnTo>
                    <a:pt x="9989" y="26419"/>
                  </a:lnTo>
                  <a:cubicBezTo>
                    <a:pt x="9758" y="26653"/>
                    <a:pt x="9758" y="27030"/>
                    <a:pt x="9989" y="27264"/>
                  </a:cubicBezTo>
                  <a:lnTo>
                    <a:pt x="16722" y="33995"/>
                  </a:lnTo>
                  <a:cubicBezTo>
                    <a:pt x="16839" y="34110"/>
                    <a:pt x="16991" y="34168"/>
                    <a:pt x="17144" y="34168"/>
                  </a:cubicBezTo>
                  <a:cubicBezTo>
                    <a:pt x="17296" y="34168"/>
                    <a:pt x="17448" y="34110"/>
                    <a:pt x="17565" y="33995"/>
                  </a:cubicBezTo>
                  <a:lnTo>
                    <a:pt x="24296" y="27264"/>
                  </a:lnTo>
                  <a:cubicBezTo>
                    <a:pt x="24414" y="27148"/>
                    <a:pt x="24567" y="27090"/>
                    <a:pt x="24720" y="27090"/>
                  </a:cubicBezTo>
                  <a:cubicBezTo>
                    <a:pt x="24873" y="27090"/>
                    <a:pt x="25027" y="27148"/>
                    <a:pt x="25144" y="27264"/>
                  </a:cubicBezTo>
                  <a:lnTo>
                    <a:pt x="25264" y="27384"/>
                  </a:lnTo>
                  <a:cubicBezTo>
                    <a:pt x="25496" y="27619"/>
                    <a:pt x="25712" y="28077"/>
                    <a:pt x="25743" y="28402"/>
                  </a:cubicBezTo>
                  <a:cubicBezTo>
                    <a:pt x="25743" y="28402"/>
                    <a:pt x="25832" y="29315"/>
                    <a:pt x="26399" y="29883"/>
                  </a:cubicBezTo>
                  <a:cubicBezTo>
                    <a:pt x="26888" y="30368"/>
                    <a:pt x="27526" y="30611"/>
                    <a:pt x="28165" y="30611"/>
                  </a:cubicBezTo>
                  <a:cubicBezTo>
                    <a:pt x="28806" y="30611"/>
                    <a:pt x="29447" y="30366"/>
                    <a:pt x="29936" y="29878"/>
                  </a:cubicBezTo>
                  <a:cubicBezTo>
                    <a:pt x="30913" y="28901"/>
                    <a:pt x="30914" y="27319"/>
                    <a:pt x="29943" y="26340"/>
                  </a:cubicBezTo>
                  <a:lnTo>
                    <a:pt x="29943" y="26340"/>
                  </a:lnTo>
                  <a:lnTo>
                    <a:pt x="29943" y="26344"/>
                  </a:lnTo>
                  <a:cubicBezTo>
                    <a:pt x="29373" y="25774"/>
                    <a:pt x="28460" y="25688"/>
                    <a:pt x="28460" y="25688"/>
                  </a:cubicBezTo>
                  <a:cubicBezTo>
                    <a:pt x="28132" y="25654"/>
                    <a:pt x="27677" y="25439"/>
                    <a:pt x="27442" y="25206"/>
                  </a:cubicBezTo>
                  <a:lnTo>
                    <a:pt x="27322" y="25084"/>
                  </a:lnTo>
                  <a:cubicBezTo>
                    <a:pt x="27092" y="24851"/>
                    <a:pt x="27092" y="24475"/>
                    <a:pt x="27322" y="24241"/>
                  </a:cubicBezTo>
                  <a:lnTo>
                    <a:pt x="34054" y="17508"/>
                  </a:lnTo>
                  <a:cubicBezTo>
                    <a:pt x="34285" y="17275"/>
                    <a:pt x="34285" y="16897"/>
                    <a:pt x="34054" y="16664"/>
                  </a:cubicBezTo>
                  <a:lnTo>
                    <a:pt x="27322" y="9933"/>
                  </a:lnTo>
                  <a:cubicBezTo>
                    <a:pt x="27090" y="9698"/>
                    <a:pt x="27090" y="9320"/>
                    <a:pt x="27322" y="9085"/>
                  </a:cubicBezTo>
                  <a:lnTo>
                    <a:pt x="27327" y="9081"/>
                  </a:lnTo>
                  <a:cubicBezTo>
                    <a:pt x="27559" y="8848"/>
                    <a:pt x="28017" y="8635"/>
                    <a:pt x="28345" y="8601"/>
                  </a:cubicBezTo>
                  <a:cubicBezTo>
                    <a:pt x="28345" y="8601"/>
                    <a:pt x="29258" y="8515"/>
                    <a:pt x="29825" y="7947"/>
                  </a:cubicBezTo>
                  <a:cubicBezTo>
                    <a:pt x="30817" y="6972"/>
                    <a:pt x="30823" y="5372"/>
                    <a:pt x="29840" y="4389"/>
                  </a:cubicBezTo>
                  <a:cubicBezTo>
                    <a:pt x="29350" y="3899"/>
                    <a:pt x="28709" y="3655"/>
                    <a:pt x="28068" y="3655"/>
                  </a:cubicBezTo>
                  <a:cubicBezTo>
                    <a:pt x="27420" y="3655"/>
                    <a:pt x="26771" y="3905"/>
                    <a:pt x="26280" y="4404"/>
                  </a:cubicBezTo>
                  <a:cubicBezTo>
                    <a:pt x="25716" y="4969"/>
                    <a:pt x="25628" y="5887"/>
                    <a:pt x="25628" y="5887"/>
                  </a:cubicBezTo>
                  <a:cubicBezTo>
                    <a:pt x="25596" y="6210"/>
                    <a:pt x="25381" y="6670"/>
                    <a:pt x="25146" y="6903"/>
                  </a:cubicBezTo>
                  <a:lnTo>
                    <a:pt x="25144" y="6907"/>
                  </a:lnTo>
                  <a:cubicBezTo>
                    <a:pt x="25027" y="7023"/>
                    <a:pt x="24873" y="7081"/>
                    <a:pt x="24720" y="7081"/>
                  </a:cubicBezTo>
                  <a:cubicBezTo>
                    <a:pt x="24567" y="7081"/>
                    <a:pt x="24414" y="7023"/>
                    <a:pt x="24296" y="6907"/>
                  </a:cubicBezTo>
                  <a:lnTo>
                    <a:pt x="17567" y="176"/>
                  </a:lnTo>
                  <a:cubicBezTo>
                    <a:pt x="17450" y="59"/>
                    <a:pt x="17297" y="1"/>
                    <a:pt x="17145" y="1"/>
                  </a:cubicBezTo>
                  <a:close/>
                </a:path>
              </a:pathLst>
            </a:custGeom>
            <a:solidFill>
              <a:srgbClr val="DBE3E8"/>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17" name="Google Shape;5617;p69"/>
          <p:cNvGrpSpPr/>
          <p:nvPr/>
        </p:nvGrpSpPr>
        <p:grpSpPr>
          <a:xfrm>
            <a:off x="3114482" y="1561809"/>
            <a:ext cx="948073" cy="994657"/>
            <a:chOff x="2496269" y="1171698"/>
            <a:chExt cx="761953" cy="799392"/>
          </a:xfrm>
        </p:grpSpPr>
        <p:grpSp>
          <p:nvGrpSpPr>
            <p:cNvPr id="5618" name="Google Shape;5618;p69"/>
            <p:cNvGrpSpPr/>
            <p:nvPr/>
          </p:nvGrpSpPr>
          <p:grpSpPr>
            <a:xfrm>
              <a:off x="2496269" y="1171698"/>
              <a:ext cx="761953" cy="723022"/>
              <a:chOff x="2496269" y="1171698"/>
              <a:chExt cx="761953" cy="723022"/>
            </a:xfrm>
          </p:grpSpPr>
          <p:sp>
            <p:nvSpPr>
              <p:cNvPr id="5619" name="Google Shape;5619;p69"/>
              <p:cNvSpPr/>
              <p:nvPr/>
            </p:nvSpPr>
            <p:spPr>
              <a:xfrm>
                <a:off x="2727495" y="1360642"/>
                <a:ext cx="175877" cy="207414"/>
              </a:xfrm>
              <a:custGeom>
                <a:avLst/>
                <a:gdLst/>
                <a:ahLst/>
                <a:cxnLst/>
                <a:rect l="l" t="t" r="r" b="b"/>
                <a:pathLst>
                  <a:path w="27928" h="32936" extrusionOk="0">
                    <a:moveTo>
                      <a:pt x="23" y="1"/>
                    </a:moveTo>
                    <a:cubicBezTo>
                      <a:pt x="8" y="305"/>
                      <a:pt x="0" y="607"/>
                      <a:pt x="0" y="910"/>
                    </a:cubicBezTo>
                    <a:cubicBezTo>
                      <a:pt x="0" y="18582"/>
                      <a:pt x="10658" y="32913"/>
                      <a:pt x="23811" y="32936"/>
                    </a:cubicBezTo>
                    <a:cubicBezTo>
                      <a:pt x="23827" y="32889"/>
                      <a:pt x="23841" y="32840"/>
                      <a:pt x="23857" y="32793"/>
                    </a:cubicBezTo>
                    <a:cubicBezTo>
                      <a:pt x="27927" y="20274"/>
                      <a:pt x="17588" y="5690"/>
                      <a:pt x="767" y="228"/>
                    </a:cubicBezTo>
                    <a:cubicBezTo>
                      <a:pt x="522" y="146"/>
                      <a:pt x="273" y="70"/>
                      <a:pt x="23" y="1"/>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0" name="Google Shape;5620;p69"/>
              <p:cNvSpPr/>
              <p:nvPr/>
            </p:nvSpPr>
            <p:spPr>
              <a:xfrm>
                <a:off x="2730750" y="1408371"/>
                <a:ext cx="108720" cy="144761"/>
              </a:xfrm>
              <a:custGeom>
                <a:avLst/>
                <a:gdLst/>
                <a:ahLst/>
                <a:cxnLst/>
                <a:rect l="l" t="t" r="r" b="b"/>
                <a:pathLst>
                  <a:path w="17264" h="22987" extrusionOk="0">
                    <a:moveTo>
                      <a:pt x="0" y="0"/>
                    </a:moveTo>
                    <a:lnTo>
                      <a:pt x="0" y="0"/>
                    </a:lnTo>
                    <a:cubicBezTo>
                      <a:pt x="1651" y="10456"/>
                      <a:pt x="7099" y="19031"/>
                      <a:pt x="14312" y="22986"/>
                    </a:cubicBezTo>
                    <a:cubicBezTo>
                      <a:pt x="14397" y="22780"/>
                      <a:pt x="14469" y="22572"/>
                      <a:pt x="14539" y="22357"/>
                    </a:cubicBezTo>
                    <a:cubicBezTo>
                      <a:pt x="17263" y="13961"/>
                      <a:pt x="10821" y="4262"/>
                      <a:pt x="0"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621" name="Google Shape;5621;p69"/>
              <p:cNvGrpSpPr/>
              <p:nvPr/>
            </p:nvGrpSpPr>
            <p:grpSpPr>
              <a:xfrm>
                <a:off x="2496269" y="1171698"/>
                <a:ext cx="761953" cy="723022"/>
                <a:chOff x="2496269" y="1120652"/>
                <a:chExt cx="761953" cy="723022"/>
              </a:xfrm>
            </p:grpSpPr>
            <p:grpSp>
              <p:nvGrpSpPr>
                <p:cNvPr id="5622" name="Google Shape;5622;p69"/>
                <p:cNvGrpSpPr/>
                <p:nvPr/>
              </p:nvGrpSpPr>
              <p:grpSpPr>
                <a:xfrm>
                  <a:off x="2496269" y="1120652"/>
                  <a:ext cx="761953" cy="723022"/>
                  <a:chOff x="2496269" y="1120652"/>
                  <a:chExt cx="761953" cy="723022"/>
                </a:xfrm>
              </p:grpSpPr>
              <p:grpSp>
                <p:nvGrpSpPr>
                  <p:cNvPr id="5623" name="Google Shape;5623;p69"/>
                  <p:cNvGrpSpPr/>
                  <p:nvPr/>
                </p:nvGrpSpPr>
                <p:grpSpPr>
                  <a:xfrm>
                    <a:off x="2496269" y="1304589"/>
                    <a:ext cx="407089" cy="305057"/>
                    <a:chOff x="2496269" y="1304589"/>
                    <a:chExt cx="407089" cy="305057"/>
                  </a:xfrm>
                </p:grpSpPr>
                <p:sp>
                  <p:nvSpPr>
                    <p:cNvPr id="5624" name="Google Shape;5624;p69"/>
                    <p:cNvSpPr/>
                    <p:nvPr/>
                  </p:nvSpPr>
                  <p:spPr>
                    <a:xfrm>
                      <a:off x="2496269" y="1304589"/>
                      <a:ext cx="407089" cy="305057"/>
                    </a:xfrm>
                    <a:custGeom>
                      <a:avLst/>
                      <a:gdLst/>
                      <a:ahLst/>
                      <a:cxnLst/>
                      <a:rect l="l" t="t" r="r" b="b"/>
                      <a:pathLst>
                        <a:path w="64643" h="48441" extrusionOk="0">
                          <a:moveTo>
                            <a:pt x="30753" y="1"/>
                          </a:moveTo>
                          <a:cubicBezTo>
                            <a:pt x="19553" y="1"/>
                            <a:pt x="7984" y="7486"/>
                            <a:pt x="2667" y="11431"/>
                          </a:cubicBezTo>
                          <a:cubicBezTo>
                            <a:pt x="790" y="12823"/>
                            <a:pt x="1" y="15251"/>
                            <a:pt x="700" y="17481"/>
                          </a:cubicBezTo>
                          <a:cubicBezTo>
                            <a:pt x="3088" y="25083"/>
                            <a:pt x="9784" y="42156"/>
                            <a:pt x="22752" y="46368"/>
                          </a:cubicBezTo>
                          <a:cubicBezTo>
                            <a:pt x="27079" y="47774"/>
                            <a:pt x="31415" y="48440"/>
                            <a:pt x="35536" y="48440"/>
                          </a:cubicBezTo>
                          <a:cubicBezTo>
                            <a:pt x="47434" y="48440"/>
                            <a:pt x="57553" y="42892"/>
                            <a:pt x="60574" y="33591"/>
                          </a:cubicBezTo>
                          <a:cubicBezTo>
                            <a:pt x="64643" y="21069"/>
                            <a:pt x="54305" y="6487"/>
                            <a:pt x="37486" y="1023"/>
                          </a:cubicBezTo>
                          <a:cubicBezTo>
                            <a:pt x="35294" y="311"/>
                            <a:pt x="33031" y="1"/>
                            <a:pt x="30753" y="1"/>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5" name="Google Shape;5625;p69"/>
                    <p:cNvSpPr/>
                    <p:nvPr/>
                  </p:nvSpPr>
                  <p:spPr>
                    <a:xfrm>
                      <a:off x="2553035" y="1348798"/>
                      <a:ext cx="287349" cy="215318"/>
                    </a:xfrm>
                    <a:custGeom>
                      <a:avLst/>
                      <a:gdLst/>
                      <a:ahLst/>
                      <a:cxnLst/>
                      <a:rect l="l" t="t" r="r" b="b"/>
                      <a:pathLst>
                        <a:path w="45629" h="34191" extrusionOk="0">
                          <a:moveTo>
                            <a:pt x="21708" y="1"/>
                          </a:moveTo>
                          <a:cubicBezTo>
                            <a:pt x="13802" y="1"/>
                            <a:pt x="5636" y="5284"/>
                            <a:pt x="1883" y="8068"/>
                          </a:cubicBezTo>
                          <a:cubicBezTo>
                            <a:pt x="558" y="9051"/>
                            <a:pt x="1" y="10765"/>
                            <a:pt x="495" y="12338"/>
                          </a:cubicBezTo>
                          <a:cubicBezTo>
                            <a:pt x="2180" y="17705"/>
                            <a:pt x="6907" y="29755"/>
                            <a:pt x="16060" y="32728"/>
                          </a:cubicBezTo>
                          <a:cubicBezTo>
                            <a:pt x="19114" y="33721"/>
                            <a:pt x="22174" y="34191"/>
                            <a:pt x="25083" y="34191"/>
                          </a:cubicBezTo>
                          <a:cubicBezTo>
                            <a:pt x="33482" y="34191"/>
                            <a:pt x="40624" y="30275"/>
                            <a:pt x="42758" y="23710"/>
                          </a:cubicBezTo>
                          <a:cubicBezTo>
                            <a:pt x="45629" y="14872"/>
                            <a:pt x="38332" y="4579"/>
                            <a:pt x="26460" y="722"/>
                          </a:cubicBezTo>
                          <a:cubicBezTo>
                            <a:pt x="24913" y="219"/>
                            <a:pt x="23316" y="1"/>
                            <a:pt x="21708"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26" name="Google Shape;5626;p69"/>
                  <p:cNvGrpSpPr/>
                  <p:nvPr/>
                </p:nvGrpSpPr>
                <p:grpSpPr>
                  <a:xfrm>
                    <a:off x="2586468" y="1493376"/>
                    <a:ext cx="358850" cy="349656"/>
                    <a:chOff x="2586468" y="1493376"/>
                    <a:chExt cx="358850" cy="349656"/>
                  </a:xfrm>
                </p:grpSpPr>
                <p:sp>
                  <p:nvSpPr>
                    <p:cNvPr id="5627" name="Google Shape;5627;p69"/>
                    <p:cNvSpPr/>
                    <p:nvPr/>
                  </p:nvSpPr>
                  <p:spPr>
                    <a:xfrm>
                      <a:off x="2586468" y="1493376"/>
                      <a:ext cx="358850" cy="349656"/>
                    </a:xfrm>
                    <a:custGeom>
                      <a:avLst/>
                      <a:gdLst/>
                      <a:ahLst/>
                      <a:cxnLst/>
                      <a:rect l="l" t="t" r="r" b="b"/>
                      <a:pathLst>
                        <a:path w="56983" h="55523" extrusionOk="0">
                          <a:moveTo>
                            <a:pt x="34707" y="1"/>
                          </a:moveTo>
                          <a:cubicBezTo>
                            <a:pt x="25495" y="1"/>
                            <a:pt x="15173" y="5595"/>
                            <a:pt x="8014" y="15449"/>
                          </a:cubicBezTo>
                          <a:cubicBezTo>
                            <a:pt x="0" y="26478"/>
                            <a:pt x="4618" y="44227"/>
                            <a:pt x="7155" y="51780"/>
                          </a:cubicBezTo>
                          <a:cubicBezTo>
                            <a:pt x="7899" y="53993"/>
                            <a:pt x="9963" y="55495"/>
                            <a:pt x="12300" y="55519"/>
                          </a:cubicBezTo>
                          <a:cubicBezTo>
                            <a:pt x="12540" y="55521"/>
                            <a:pt x="12789" y="55522"/>
                            <a:pt x="13047" y="55522"/>
                          </a:cubicBezTo>
                          <a:cubicBezTo>
                            <a:pt x="21360" y="55522"/>
                            <a:pt x="38815" y="54172"/>
                            <a:pt x="46588" y="43473"/>
                          </a:cubicBezTo>
                          <a:cubicBezTo>
                            <a:pt x="56983" y="29165"/>
                            <a:pt x="56776" y="11292"/>
                            <a:pt x="46123" y="3553"/>
                          </a:cubicBezTo>
                          <a:cubicBezTo>
                            <a:pt x="42808" y="1144"/>
                            <a:pt x="38871" y="1"/>
                            <a:pt x="34707" y="1"/>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28" name="Google Shape;5628;p69"/>
                    <p:cNvSpPr/>
                    <p:nvPr/>
                  </p:nvSpPr>
                  <p:spPr>
                    <a:xfrm>
                      <a:off x="2637642" y="1547125"/>
                      <a:ext cx="253304" cy="246805"/>
                    </a:xfrm>
                    <a:custGeom>
                      <a:avLst/>
                      <a:gdLst/>
                      <a:ahLst/>
                      <a:cxnLst/>
                      <a:rect l="l" t="t" r="r" b="b"/>
                      <a:pathLst>
                        <a:path w="40223" h="39191" extrusionOk="0">
                          <a:moveTo>
                            <a:pt x="24498" y="0"/>
                          </a:moveTo>
                          <a:cubicBezTo>
                            <a:pt x="17996" y="0"/>
                            <a:pt x="10711" y="3949"/>
                            <a:pt x="5658" y="10904"/>
                          </a:cubicBezTo>
                          <a:cubicBezTo>
                            <a:pt x="0" y="18689"/>
                            <a:pt x="3260" y="31216"/>
                            <a:pt x="5050" y="36549"/>
                          </a:cubicBezTo>
                          <a:cubicBezTo>
                            <a:pt x="5576" y="38112"/>
                            <a:pt x="7034" y="39172"/>
                            <a:pt x="8683" y="39188"/>
                          </a:cubicBezTo>
                          <a:cubicBezTo>
                            <a:pt x="8850" y="39189"/>
                            <a:pt x="9023" y="39190"/>
                            <a:pt x="9202" y="39190"/>
                          </a:cubicBezTo>
                          <a:cubicBezTo>
                            <a:pt x="15067" y="39190"/>
                            <a:pt x="27395" y="38240"/>
                            <a:pt x="32884" y="30686"/>
                          </a:cubicBezTo>
                          <a:cubicBezTo>
                            <a:pt x="40222" y="20587"/>
                            <a:pt x="40075" y="7970"/>
                            <a:pt x="32557" y="2508"/>
                          </a:cubicBezTo>
                          <a:cubicBezTo>
                            <a:pt x="30217" y="807"/>
                            <a:pt x="27437" y="0"/>
                            <a:pt x="24498"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29" name="Google Shape;5629;p69"/>
                  <p:cNvGrpSpPr/>
                  <p:nvPr/>
                </p:nvGrpSpPr>
                <p:grpSpPr>
                  <a:xfrm>
                    <a:off x="2807939" y="1494024"/>
                    <a:ext cx="358857" cy="349650"/>
                    <a:chOff x="2807939" y="1494024"/>
                    <a:chExt cx="358857" cy="349650"/>
                  </a:xfrm>
                </p:grpSpPr>
                <p:sp>
                  <p:nvSpPr>
                    <p:cNvPr id="5630" name="Google Shape;5630;p69"/>
                    <p:cNvSpPr/>
                    <p:nvPr/>
                  </p:nvSpPr>
                  <p:spPr>
                    <a:xfrm>
                      <a:off x="2807939" y="1494024"/>
                      <a:ext cx="358857" cy="349650"/>
                    </a:xfrm>
                    <a:custGeom>
                      <a:avLst/>
                      <a:gdLst/>
                      <a:ahLst/>
                      <a:cxnLst/>
                      <a:rect l="l" t="t" r="r" b="b"/>
                      <a:pathLst>
                        <a:path w="56984" h="55522" extrusionOk="0">
                          <a:moveTo>
                            <a:pt x="22278" y="1"/>
                          </a:moveTo>
                          <a:cubicBezTo>
                            <a:pt x="18114" y="1"/>
                            <a:pt x="14176" y="1144"/>
                            <a:pt x="10859" y="3554"/>
                          </a:cubicBezTo>
                          <a:cubicBezTo>
                            <a:pt x="208" y="11292"/>
                            <a:pt x="0" y="29166"/>
                            <a:pt x="10397" y="43474"/>
                          </a:cubicBezTo>
                          <a:cubicBezTo>
                            <a:pt x="18169" y="54172"/>
                            <a:pt x="35625" y="55522"/>
                            <a:pt x="43938" y="55522"/>
                          </a:cubicBezTo>
                          <a:cubicBezTo>
                            <a:pt x="44195" y="55522"/>
                            <a:pt x="44444" y="55521"/>
                            <a:pt x="44684" y="55518"/>
                          </a:cubicBezTo>
                          <a:cubicBezTo>
                            <a:pt x="47019" y="55494"/>
                            <a:pt x="49085" y="53995"/>
                            <a:pt x="49830" y="51779"/>
                          </a:cubicBezTo>
                          <a:cubicBezTo>
                            <a:pt x="52366" y="44227"/>
                            <a:pt x="56984" y="26479"/>
                            <a:pt x="48970" y="15448"/>
                          </a:cubicBezTo>
                          <a:cubicBezTo>
                            <a:pt x="41810" y="5595"/>
                            <a:pt x="31490" y="1"/>
                            <a:pt x="22278" y="1"/>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1" name="Google Shape;5631;p69"/>
                    <p:cNvSpPr/>
                    <p:nvPr/>
                  </p:nvSpPr>
                  <p:spPr>
                    <a:xfrm>
                      <a:off x="2862324" y="1547767"/>
                      <a:ext cx="253292" cy="246805"/>
                    </a:xfrm>
                    <a:custGeom>
                      <a:avLst/>
                      <a:gdLst/>
                      <a:ahLst/>
                      <a:cxnLst/>
                      <a:rect l="l" t="t" r="r" b="b"/>
                      <a:pathLst>
                        <a:path w="40221" h="39191" extrusionOk="0">
                          <a:moveTo>
                            <a:pt x="15724" y="1"/>
                          </a:moveTo>
                          <a:cubicBezTo>
                            <a:pt x="12785" y="1"/>
                            <a:pt x="10006" y="808"/>
                            <a:pt x="7665" y="2508"/>
                          </a:cubicBezTo>
                          <a:cubicBezTo>
                            <a:pt x="146" y="7971"/>
                            <a:pt x="0" y="20586"/>
                            <a:pt x="7339" y="30686"/>
                          </a:cubicBezTo>
                          <a:cubicBezTo>
                            <a:pt x="12827" y="38240"/>
                            <a:pt x="25156" y="39191"/>
                            <a:pt x="31020" y="39191"/>
                          </a:cubicBezTo>
                          <a:cubicBezTo>
                            <a:pt x="31200" y="39191"/>
                            <a:pt x="31373" y="39190"/>
                            <a:pt x="31540" y="39188"/>
                          </a:cubicBezTo>
                          <a:cubicBezTo>
                            <a:pt x="33188" y="39171"/>
                            <a:pt x="34646" y="38111"/>
                            <a:pt x="35173" y="36549"/>
                          </a:cubicBezTo>
                          <a:cubicBezTo>
                            <a:pt x="36962" y="31218"/>
                            <a:pt x="40221" y="18689"/>
                            <a:pt x="34564" y="10904"/>
                          </a:cubicBezTo>
                          <a:cubicBezTo>
                            <a:pt x="29511" y="3949"/>
                            <a:pt x="22226" y="1"/>
                            <a:pt x="1572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32" name="Google Shape;5632;p69"/>
                  <p:cNvGrpSpPr/>
                  <p:nvPr/>
                </p:nvGrpSpPr>
                <p:grpSpPr>
                  <a:xfrm>
                    <a:off x="2851133" y="1305635"/>
                    <a:ext cx="407089" cy="305057"/>
                    <a:chOff x="2851133" y="1305635"/>
                    <a:chExt cx="407089" cy="305057"/>
                  </a:xfrm>
                </p:grpSpPr>
                <p:sp>
                  <p:nvSpPr>
                    <p:cNvPr id="5633" name="Google Shape;5633;p69"/>
                    <p:cNvSpPr/>
                    <p:nvPr/>
                  </p:nvSpPr>
                  <p:spPr>
                    <a:xfrm>
                      <a:off x="2851133" y="1305635"/>
                      <a:ext cx="407089" cy="305057"/>
                    </a:xfrm>
                    <a:custGeom>
                      <a:avLst/>
                      <a:gdLst/>
                      <a:ahLst/>
                      <a:cxnLst/>
                      <a:rect l="l" t="t" r="r" b="b"/>
                      <a:pathLst>
                        <a:path w="64643" h="48441" extrusionOk="0">
                          <a:moveTo>
                            <a:pt x="33890" y="0"/>
                          </a:moveTo>
                          <a:cubicBezTo>
                            <a:pt x="31613" y="0"/>
                            <a:pt x="29351" y="310"/>
                            <a:pt x="27159" y="1022"/>
                          </a:cubicBezTo>
                          <a:cubicBezTo>
                            <a:pt x="10340" y="6488"/>
                            <a:pt x="1" y="21070"/>
                            <a:pt x="4069" y="33592"/>
                          </a:cubicBezTo>
                          <a:cubicBezTo>
                            <a:pt x="7091" y="42892"/>
                            <a:pt x="17210" y="48440"/>
                            <a:pt x="29109" y="48440"/>
                          </a:cubicBezTo>
                          <a:cubicBezTo>
                            <a:pt x="33230" y="48440"/>
                            <a:pt x="37566" y="47775"/>
                            <a:pt x="41894" y="46368"/>
                          </a:cubicBezTo>
                          <a:cubicBezTo>
                            <a:pt x="54859" y="42156"/>
                            <a:pt x="61556" y="25084"/>
                            <a:pt x="63944" y="17481"/>
                          </a:cubicBezTo>
                          <a:cubicBezTo>
                            <a:pt x="64643" y="15252"/>
                            <a:pt x="63854" y="12824"/>
                            <a:pt x="61978" y="11431"/>
                          </a:cubicBezTo>
                          <a:cubicBezTo>
                            <a:pt x="56659" y="7487"/>
                            <a:pt x="45090" y="0"/>
                            <a:pt x="3389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4" name="Google Shape;5634;p69"/>
                    <p:cNvSpPr/>
                    <p:nvPr/>
                  </p:nvSpPr>
                  <p:spPr>
                    <a:xfrm>
                      <a:off x="2914108" y="1349849"/>
                      <a:ext cx="287349" cy="215324"/>
                    </a:xfrm>
                    <a:custGeom>
                      <a:avLst/>
                      <a:gdLst/>
                      <a:ahLst/>
                      <a:cxnLst/>
                      <a:rect l="l" t="t" r="r" b="b"/>
                      <a:pathLst>
                        <a:path w="45629" h="34192" extrusionOk="0">
                          <a:moveTo>
                            <a:pt x="23922" y="0"/>
                          </a:moveTo>
                          <a:cubicBezTo>
                            <a:pt x="22315" y="0"/>
                            <a:pt x="20718" y="219"/>
                            <a:pt x="19171" y="721"/>
                          </a:cubicBezTo>
                          <a:cubicBezTo>
                            <a:pt x="7297" y="4578"/>
                            <a:pt x="1" y="14871"/>
                            <a:pt x="2873" y="23711"/>
                          </a:cubicBezTo>
                          <a:cubicBezTo>
                            <a:pt x="5006" y="30275"/>
                            <a:pt x="12149" y="34191"/>
                            <a:pt x="20548" y="34191"/>
                          </a:cubicBezTo>
                          <a:cubicBezTo>
                            <a:pt x="23457" y="34191"/>
                            <a:pt x="26517" y="33722"/>
                            <a:pt x="29571" y="32729"/>
                          </a:cubicBezTo>
                          <a:cubicBezTo>
                            <a:pt x="38723" y="29754"/>
                            <a:pt x="43449" y="17704"/>
                            <a:pt x="45134" y="12339"/>
                          </a:cubicBezTo>
                          <a:cubicBezTo>
                            <a:pt x="45629" y="10764"/>
                            <a:pt x="45072" y="9052"/>
                            <a:pt x="43747" y="8069"/>
                          </a:cubicBezTo>
                          <a:cubicBezTo>
                            <a:pt x="39994" y="5284"/>
                            <a:pt x="31827" y="0"/>
                            <a:pt x="23922"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35" name="Google Shape;5635;p69"/>
                  <p:cNvGrpSpPr/>
                  <p:nvPr/>
                </p:nvGrpSpPr>
                <p:grpSpPr>
                  <a:xfrm>
                    <a:off x="2727495" y="1120652"/>
                    <a:ext cx="300271" cy="396358"/>
                    <a:chOff x="2727495" y="1120652"/>
                    <a:chExt cx="300271" cy="396358"/>
                  </a:xfrm>
                </p:grpSpPr>
                <p:sp>
                  <p:nvSpPr>
                    <p:cNvPr id="5636" name="Google Shape;5636;p69"/>
                    <p:cNvSpPr/>
                    <p:nvPr/>
                  </p:nvSpPr>
                  <p:spPr>
                    <a:xfrm>
                      <a:off x="2727495" y="1120652"/>
                      <a:ext cx="300271" cy="396358"/>
                    </a:xfrm>
                    <a:custGeom>
                      <a:avLst/>
                      <a:gdLst/>
                      <a:ahLst/>
                      <a:cxnLst/>
                      <a:rect l="l" t="t" r="r" b="b"/>
                      <a:pathLst>
                        <a:path w="47681" h="62939" extrusionOk="0">
                          <a:moveTo>
                            <a:pt x="23841" y="1"/>
                          </a:moveTo>
                          <a:cubicBezTo>
                            <a:pt x="22726" y="1"/>
                            <a:pt x="21612" y="340"/>
                            <a:pt x="20660" y="1017"/>
                          </a:cubicBezTo>
                          <a:cubicBezTo>
                            <a:pt x="14168" y="5636"/>
                            <a:pt x="0" y="17280"/>
                            <a:pt x="0" y="30914"/>
                          </a:cubicBezTo>
                          <a:cubicBezTo>
                            <a:pt x="0" y="48601"/>
                            <a:pt x="10674" y="62939"/>
                            <a:pt x="23841" y="62939"/>
                          </a:cubicBezTo>
                          <a:cubicBezTo>
                            <a:pt x="37007" y="62939"/>
                            <a:pt x="47681" y="48600"/>
                            <a:pt x="47681" y="30914"/>
                          </a:cubicBezTo>
                          <a:cubicBezTo>
                            <a:pt x="47681" y="17280"/>
                            <a:pt x="33513" y="5636"/>
                            <a:pt x="27022" y="1017"/>
                          </a:cubicBezTo>
                          <a:cubicBezTo>
                            <a:pt x="26069" y="340"/>
                            <a:pt x="24955" y="1"/>
                            <a:pt x="2384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37" name="Google Shape;5637;p69"/>
                    <p:cNvSpPr/>
                    <p:nvPr/>
                  </p:nvSpPr>
                  <p:spPr>
                    <a:xfrm>
                      <a:off x="2771659" y="1178948"/>
                      <a:ext cx="211942" cy="279766"/>
                    </a:xfrm>
                    <a:custGeom>
                      <a:avLst/>
                      <a:gdLst/>
                      <a:ahLst/>
                      <a:cxnLst/>
                      <a:rect l="l" t="t" r="r" b="b"/>
                      <a:pathLst>
                        <a:path w="33655" h="44425" extrusionOk="0">
                          <a:moveTo>
                            <a:pt x="16828" y="0"/>
                          </a:moveTo>
                          <a:cubicBezTo>
                            <a:pt x="16042" y="0"/>
                            <a:pt x="15255" y="240"/>
                            <a:pt x="14583" y="718"/>
                          </a:cubicBezTo>
                          <a:cubicBezTo>
                            <a:pt x="10001" y="3978"/>
                            <a:pt x="1" y="12199"/>
                            <a:pt x="1" y="21821"/>
                          </a:cubicBezTo>
                          <a:cubicBezTo>
                            <a:pt x="1" y="34304"/>
                            <a:pt x="7534" y="44424"/>
                            <a:pt x="16828" y="44424"/>
                          </a:cubicBezTo>
                          <a:cubicBezTo>
                            <a:pt x="26121" y="44424"/>
                            <a:pt x="33654" y="34304"/>
                            <a:pt x="33654" y="21821"/>
                          </a:cubicBezTo>
                          <a:cubicBezTo>
                            <a:pt x="33654" y="12197"/>
                            <a:pt x="23654" y="3978"/>
                            <a:pt x="19072" y="718"/>
                          </a:cubicBezTo>
                          <a:cubicBezTo>
                            <a:pt x="18401" y="240"/>
                            <a:pt x="17615" y="0"/>
                            <a:pt x="16828"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638" name="Google Shape;5638;p69"/>
                <p:cNvGrpSpPr/>
                <p:nvPr/>
              </p:nvGrpSpPr>
              <p:grpSpPr>
                <a:xfrm>
                  <a:off x="2722305" y="1350460"/>
                  <a:ext cx="308357" cy="308344"/>
                  <a:chOff x="2722305" y="1350460"/>
                  <a:chExt cx="308357" cy="308344"/>
                </a:xfrm>
              </p:grpSpPr>
              <p:sp>
                <p:nvSpPr>
                  <p:cNvPr id="5639" name="Google Shape;5639;p69"/>
                  <p:cNvSpPr/>
                  <p:nvPr/>
                </p:nvSpPr>
                <p:spPr>
                  <a:xfrm>
                    <a:off x="2722305" y="1350460"/>
                    <a:ext cx="308357" cy="308344"/>
                  </a:xfrm>
                  <a:custGeom>
                    <a:avLst/>
                    <a:gdLst/>
                    <a:ahLst/>
                    <a:cxnLst/>
                    <a:rect l="l" t="t" r="r" b="b"/>
                    <a:pathLst>
                      <a:path w="48965" h="48963" extrusionOk="0">
                        <a:moveTo>
                          <a:pt x="24483" y="0"/>
                        </a:moveTo>
                        <a:cubicBezTo>
                          <a:pt x="17990" y="0"/>
                          <a:pt x="11762" y="2578"/>
                          <a:pt x="7172" y="7170"/>
                        </a:cubicBezTo>
                        <a:cubicBezTo>
                          <a:pt x="2580" y="11762"/>
                          <a:pt x="0" y="17988"/>
                          <a:pt x="0" y="24481"/>
                        </a:cubicBezTo>
                        <a:cubicBezTo>
                          <a:pt x="0" y="30974"/>
                          <a:pt x="2580" y="37202"/>
                          <a:pt x="7172" y="41792"/>
                        </a:cubicBezTo>
                        <a:cubicBezTo>
                          <a:pt x="11762" y="46384"/>
                          <a:pt x="17990" y="48962"/>
                          <a:pt x="24483" y="48962"/>
                        </a:cubicBezTo>
                        <a:cubicBezTo>
                          <a:pt x="30976" y="48962"/>
                          <a:pt x="37202" y="46384"/>
                          <a:pt x="41794" y="41792"/>
                        </a:cubicBezTo>
                        <a:cubicBezTo>
                          <a:pt x="46386" y="37202"/>
                          <a:pt x="48964" y="30974"/>
                          <a:pt x="48964" y="24481"/>
                        </a:cubicBezTo>
                        <a:cubicBezTo>
                          <a:pt x="48964" y="17988"/>
                          <a:pt x="46386" y="11762"/>
                          <a:pt x="41794" y="7170"/>
                        </a:cubicBezTo>
                        <a:cubicBezTo>
                          <a:pt x="37202" y="2578"/>
                          <a:pt x="30976" y="0"/>
                          <a:pt x="24483"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640" name="Google Shape;5640;p69"/>
                  <p:cNvGrpSpPr/>
                  <p:nvPr/>
                </p:nvGrpSpPr>
                <p:grpSpPr>
                  <a:xfrm>
                    <a:off x="2725064" y="1364529"/>
                    <a:ext cx="297954" cy="280182"/>
                    <a:chOff x="2725064" y="1364529"/>
                    <a:chExt cx="297954" cy="280182"/>
                  </a:xfrm>
                </p:grpSpPr>
                <p:sp>
                  <p:nvSpPr>
                    <p:cNvPr id="5641" name="Google Shape;5641;p69"/>
                    <p:cNvSpPr/>
                    <p:nvPr/>
                  </p:nvSpPr>
                  <p:spPr>
                    <a:xfrm>
                      <a:off x="2743100" y="1541306"/>
                      <a:ext cx="133551" cy="103405"/>
                    </a:xfrm>
                    <a:custGeom>
                      <a:avLst/>
                      <a:gdLst/>
                      <a:ahLst/>
                      <a:cxnLst/>
                      <a:rect l="l" t="t" r="r" b="b"/>
                      <a:pathLst>
                        <a:path w="21207" h="16420" extrusionOk="0">
                          <a:moveTo>
                            <a:pt x="3036" y="0"/>
                          </a:moveTo>
                          <a:lnTo>
                            <a:pt x="0" y="986"/>
                          </a:lnTo>
                          <a:cubicBezTo>
                            <a:pt x="722" y="3230"/>
                            <a:pt x="1796" y="5346"/>
                            <a:pt x="3182" y="7254"/>
                          </a:cubicBezTo>
                          <a:cubicBezTo>
                            <a:pt x="7535" y="13245"/>
                            <a:pt x="14318" y="16420"/>
                            <a:pt x="21196" y="16420"/>
                          </a:cubicBezTo>
                          <a:cubicBezTo>
                            <a:pt x="21200" y="16420"/>
                            <a:pt x="21203" y="16420"/>
                            <a:pt x="21207" y="16420"/>
                          </a:cubicBezTo>
                          <a:lnTo>
                            <a:pt x="21207" y="13228"/>
                          </a:lnTo>
                          <a:cubicBezTo>
                            <a:pt x="21203" y="13228"/>
                            <a:pt x="21200" y="13228"/>
                            <a:pt x="21196" y="13228"/>
                          </a:cubicBezTo>
                          <a:cubicBezTo>
                            <a:pt x="15304" y="13228"/>
                            <a:pt x="9492" y="10509"/>
                            <a:pt x="5763" y="5378"/>
                          </a:cubicBezTo>
                          <a:cubicBezTo>
                            <a:pt x="4574" y="3741"/>
                            <a:pt x="3654" y="1926"/>
                            <a:pt x="3036"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2" name="Google Shape;5642;p69"/>
                    <p:cNvSpPr/>
                    <p:nvPr/>
                  </p:nvSpPr>
                  <p:spPr>
                    <a:xfrm>
                      <a:off x="2946887" y="1391180"/>
                      <a:ext cx="76130" cy="156241"/>
                    </a:xfrm>
                    <a:custGeom>
                      <a:avLst/>
                      <a:gdLst/>
                      <a:ahLst/>
                      <a:cxnLst/>
                      <a:rect l="l" t="t" r="r" b="b"/>
                      <a:pathLst>
                        <a:path w="12089" h="24810" extrusionOk="0">
                          <a:moveTo>
                            <a:pt x="1876" y="0"/>
                          </a:moveTo>
                          <a:lnTo>
                            <a:pt x="0" y="2583"/>
                          </a:lnTo>
                          <a:cubicBezTo>
                            <a:pt x="1626" y="3761"/>
                            <a:pt x="3057" y="5189"/>
                            <a:pt x="4237" y="6815"/>
                          </a:cubicBezTo>
                          <a:cubicBezTo>
                            <a:pt x="7945" y="11917"/>
                            <a:pt x="8749" y="18242"/>
                            <a:pt x="6967" y="23823"/>
                          </a:cubicBezTo>
                          <a:lnTo>
                            <a:pt x="10002" y="24809"/>
                          </a:lnTo>
                          <a:cubicBezTo>
                            <a:pt x="12089" y="18290"/>
                            <a:pt x="11151" y="10899"/>
                            <a:pt x="6820" y="4938"/>
                          </a:cubicBezTo>
                          <a:cubicBezTo>
                            <a:pt x="5442" y="3041"/>
                            <a:pt x="3774" y="1375"/>
                            <a:pt x="1876"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3" name="Google Shape;5643;p69"/>
                    <p:cNvSpPr/>
                    <p:nvPr/>
                  </p:nvSpPr>
                  <p:spPr>
                    <a:xfrm>
                      <a:off x="2794481" y="1364529"/>
                      <a:ext cx="164226" cy="42924"/>
                    </a:xfrm>
                    <a:custGeom>
                      <a:avLst/>
                      <a:gdLst/>
                      <a:ahLst/>
                      <a:cxnLst/>
                      <a:rect l="l" t="t" r="r" b="b"/>
                      <a:pathLst>
                        <a:path w="26078" h="6816" extrusionOk="0">
                          <a:moveTo>
                            <a:pt x="12998" y="1"/>
                          </a:moveTo>
                          <a:cubicBezTo>
                            <a:pt x="8487" y="1"/>
                            <a:pt x="3935" y="1369"/>
                            <a:pt x="0" y="4210"/>
                          </a:cubicBezTo>
                          <a:lnTo>
                            <a:pt x="1876" y="6793"/>
                          </a:lnTo>
                          <a:cubicBezTo>
                            <a:pt x="5245" y="4363"/>
                            <a:pt x="9141" y="3193"/>
                            <a:pt x="13002" y="3193"/>
                          </a:cubicBezTo>
                          <a:cubicBezTo>
                            <a:pt x="16976" y="3193"/>
                            <a:pt x="20914" y="4433"/>
                            <a:pt x="24201" y="6815"/>
                          </a:cubicBezTo>
                          <a:lnTo>
                            <a:pt x="26077" y="4232"/>
                          </a:lnTo>
                          <a:cubicBezTo>
                            <a:pt x="22239" y="1449"/>
                            <a:pt x="17641" y="1"/>
                            <a:pt x="12998"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4" name="Google Shape;5644;p69"/>
                    <p:cNvSpPr/>
                    <p:nvPr/>
                  </p:nvSpPr>
                  <p:spPr>
                    <a:xfrm>
                      <a:off x="2876645" y="1541193"/>
                      <a:ext cx="133243" cy="103518"/>
                    </a:xfrm>
                    <a:custGeom>
                      <a:avLst/>
                      <a:gdLst/>
                      <a:ahLst/>
                      <a:cxnLst/>
                      <a:rect l="l" t="t" r="r" b="b"/>
                      <a:pathLst>
                        <a:path w="21158" h="16438" extrusionOk="0">
                          <a:moveTo>
                            <a:pt x="18123" y="1"/>
                          </a:moveTo>
                          <a:cubicBezTo>
                            <a:pt x="16894" y="3864"/>
                            <a:pt x="14459" y="7233"/>
                            <a:pt x="11175" y="9612"/>
                          </a:cubicBezTo>
                          <a:cubicBezTo>
                            <a:pt x="7931" y="11974"/>
                            <a:pt x="4021" y="13246"/>
                            <a:pt x="8" y="13246"/>
                          </a:cubicBezTo>
                          <a:cubicBezTo>
                            <a:pt x="6" y="13246"/>
                            <a:pt x="3" y="13246"/>
                            <a:pt x="1" y="13246"/>
                          </a:cubicBezTo>
                          <a:lnTo>
                            <a:pt x="1" y="16438"/>
                          </a:lnTo>
                          <a:cubicBezTo>
                            <a:pt x="4532" y="16436"/>
                            <a:pt x="9106" y="15060"/>
                            <a:pt x="13053" y="12192"/>
                          </a:cubicBezTo>
                          <a:cubicBezTo>
                            <a:pt x="17030" y="9301"/>
                            <a:pt x="19767" y="5338"/>
                            <a:pt x="21157" y="988"/>
                          </a:cubicBezTo>
                          <a:lnTo>
                            <a:pt x="18123"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5" name="Google Shape;5645;p69"/>
                    <p:cNvSpPr/>
                    <p:nvPr/>
                  </p:nvSpPr>
                  <p:spPr>
                    <a:xfrm>
                      <a:off x="2725064" y="1391035"/>
                      <a:ext cx="81238" cy="156487"/>
                    </a:xfrm>
                    <a:custGeom>
                      <a:avLst/>
                      <a:gdLst/>
                      <a:ahLst/>
                      <a:cxnLst/>
                      <a:rect l="l" t="t" r="r" b="b"/>
                      <a:pathLst>
                        <a:path w="12900" h="24849" extrusionOk="0">
                          <a:moveTo>
                            <a:pt x="11023" y="1"/>
                          </a:moveTo>
                          <a:cubicBezTo>
                            <a:pt x="11006" y="13"/>
                            <a:pt x="10987" y="26"/>
                            <a:pt x="10967" y="39"/>
                          </a:cubicBezTo>
                          <a:cubicBezTo>
                            <a:pt x="2989" y="5836"/>
                            <a:pt x="1" y="15945"/>
                            <a:pt x="2866" y="24848"/>
                          </a:cubicBezTo>
                          <a:lnTo>
                            <a:pt x="5900" y="23861"/>
                          </a:lnTo>
                          <a:cubicBezTo>
                            <a:pt x="3451" y="16238"/>
                            <a:pt x="6012" y="7585"/>
                            <a:pt x="12845" y="2622"/>
                          </a:cubicBezTo>
                          <a:cubicBezTo>
                            <a:pt x="12862" y="2608"/>
                            <a:pt x="12882" y="2597"/>
                            <a:pt x="12899" y="2584"/>
                          </a:cubicBezTo>
                          <a:lnTo>
                            <a:pt x="11023" y="1"/>
                          </a:ln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sp>
          <p:nvSpPr>
            <p:cNvPr id="5646" name="Google Shape;5646;p69"/>
            <p:cNvSpPr/>
            <p:nvPr/>
          </p:nvSpPr>
          <p:spPr>
            <a:xfrm>
              <a:off x="2621966" y="1245876"/>
              <a:ext cx="114832" cy="86149"/>
            </a:xfrm>
            <a:custGeom>
              <a:avLst/>
              <a:gdLst/>
              <a:ahLst/>
              <a:cxnLst/>
              <a:rect l="l" t="t" r="r" b="b"/>
              <a:pathLst>
                <a:path w="10285" h="7716" extrusionOk="0">
                  <a:moveTo>
                    <a:pt x="10284" y="1"/>
                  </a:moveTo>
                  <a:lnTo>
                    <a:pt x="7413" y="282"/>
                  </a:lnTo>
                  <a:lnTo>
                    <a:pt x="7949" y="1144"/>
                  </a:lnTo>
                  <a:cubicBezTo>
                    <a:pt x="4966" y="2788"/>
                    <a:pt x="2280" y="4920"/>
                    <a:pt x="0" y="7451"/>
                  </a:cubicBezTo>
                  <a:lnTo>
                    <a:pt x="294" y="7716"/>
                  </a:lnTo>
                  <a:cubicBezTo>
                    <a:pt x="2547" y="5212"/>
                    <a:pt x="5206" y="3102"/>
                    <a:pt x="8156" y="1479"/>
                  </a:cubicBezTo>
                  <a:lnTo>
                    <a:pt x="8760" y="245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7" name="Google Shape;5647;p69"/>
            <p:cNvSpPr/>
            <p:nvPr/>
          </p:nvSpPr>
          <p:spPr>
            <a:xfrm>
              <a:off x="2517909" y="1600456"/>
              <a:ext cx="54396" cy="134951"/>
            </a:xfrm>
            <a:custGeom>
              <a:avLst/>
              <a:gdLst/>
              <a:ahLst/>
              <a:cxnLst/>
              <a:rect l="l" t="t" r="r" b="b"/>
              <a:pathLst>
                <a:path w="4872" h="12087" extrusionOk="0">
                  <a:moveTo>
                    <a:pt x="4871" y="11889"/>
                  </a:moveTo>
                  <a:cubicBezTo>
                    <a:pt x="3186" y="8971"/>
                    <a:pt x="2004" y="5793"/>
                    <a:pt x="1370" y="2482"/>
                  </a:cubicBezTo>
                  <a:lnTo>
                    <a:pt x="2481" y="2209"/>
                  </a:lnTo>
                  <a:lnTo>
                    <a:pt x="620" y="0"/>
                  </a:lnTo>
                  <a:lnTo>
                    <a:pt x="1" y="2820"/>
                  </a:lnTo>
                  <a:lnTo>
                    <a:pt x="987" y="2578"/>
                  </a:lnTo>
                  <a:cubicBezTo>
                    <a:pt x="1629" y="5923"/>
                    <a:pt x="2827" y="9136"/>
                    <a:pt x="4530" y="12087"/>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8" name="Google Shape;5648;p69"/>
            <p:cNvSpPr/>
            <p:nvPr/>
          </p:nvSpPr>
          <p:spPr>
            <a:xfrm>
              <a:off x="3174265" y="1614044"/>
              <a:ext cx="46346" cy="135275"/>
            </a:xfrm>
            <a:custGeom>
              <a:avLst/>
              <a:gdLst/>
              <a:ahLst/>
              <a:cxnLst/>
              <a:rect l="l" t="t" r="r" b="b"/>
              <a:pathLst>
                <a:path w="4151" h="12116" extrusionOk="0">
                  <a:moveTo>
                    <a:pt x="4150" y="41"/>
                  </a:moveTo>
                  <a:lnTo>
                    <a:pt x="3759" y="0"/>
                  </a:lnTo>
                  <a:cubicBezTo>
                    <a:pt x="3405" y="3350"/>
                    <a:pt x="2494" y="6618"/>
                    <a:pt x="1059" y="9668"/>
                  </a:cubicBezTo>
                  <a:lnTo>
                    <a:pt x="0" y="9237"/>
                  </a:lnTo>
                  <a:lnTo>
                    <a:pt x="208" y="12116"/>
                  </a:lnTo>
                  <a:lnTo>
                    <a:pt x="2367" y="10200"/>
                  </a:lnTo>
                  <a:lnTo>
                    <a:pt x="1426" y="9817"/>
                  </a:lnTo>
                  <a:cubicBezTo>
                    <a:pt x="2873" y="6733"/>
                    <a:pt x="3793" y="3429"/>
                    <a:pt x="4150" y="4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49" name="Google Shape;5649;p69"/>
            <p:cNvSpPr/>
            <p:nvPr/>
          </p:nvSpPr>
          <p:spPr>
            <a:xfrm>
              <a:off x="3023194" y="1254350"/>
              <a:ext cx="116417" cy="83525"/>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0" name="Google Shape;5650;p69"/>
            <p:cNvSpPr/>
            <p:nvPr/>
          </p:nvSpPr>
          <p:spPr>
            <a:xfrm rot="8660313">
              <a:off x="2818264" y="1861446"/>
              <a:ext cx="116433" cy="83536"/>
            </a:xfrm>
            <a:custGeom>
              <a:avLst/>
              <a:gdLst/>
              <a:ahLst/>
              <a:cxnLst/>
              <a:rect l="l" t="t" r="r" b="b"/>
              <a:pathLst>
                <a:path w="10427" h="7481" extrusionOk="0">
                  <a:moveTo>
                    <a:pt x="10427" y="7480"/>
                  </a:moveTo>
                  <a:lnTo>
                    <a:pt x="9270" y="4835"/>
                  </a:lnTo>
                  <a:lnTo>
                    <a:pt x="8616" y="5611"/>
                  </a:lnTo>
                  <a:cubicBezTo>
                    <a:pt x="6131" y="3282"/>
                    <a:pt x="3273" y="1386"/>
                    <a:pt x="160" y="1"/>
                  </a:cubicBezTo>
                  <a:lnTo>
                    <a:pt x="0" y="361"/>
                  </a:lnTo>
                  <a:cubicBezTo>
                    <a:pt x="3078" y="1731"/>
                    <a:pt x="5904" y="3608"/>
                    <a:pt x="8362" y="5913"/>
                  </a:cubicBezTo>
                  <a:lnTo>
                    <a:pt x="7624" y="6787"/>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51" name="Google Shape;5651;p69"/>
          <p:cNvGrpSpPr/>
          <p:nvPr/>
        </p:nvGrpSpPr>
        <p:grpSpPr>
          <a:xfrm>
            <a:off x="5232748" y="3903283"/>
            <a:ext cx="2092192" cy="788020"/>
            <a:chOff x="3820100" y="3023049"/>
            <a:chExt cx="1303926" cy="491162"/>
          </a:xfrm>
        </p:grpSpPr>
        <p:grpSp>
          <p:nvGrpSpPr>
            <p:cNvPr id="5652" name="Google Shape;5652;p69"/>
            <p:cNvGrpSpPr/>
            <p:nvPr/>
          </p:nvGrpSpPr>
          <p:grpSpPr>
            <a:xfrm>
              <a:off x="3820100" y="3023072"/>
              <a:ext cx="1303926" cy="491139"/>
              <a:chOff x="3820100" y="3023072"/>
              <a:chExt cx="1303926" cy="491139"/>
            </a:xfrm>
          </p:grpSpPr>
          <p:sp>
            <p:nvSpPr>
              <p:cNvPr id="5653" name="Google Shape;5653;p69"/>
              <p:cNvSpPr/>
              <p:nvPr/>
            </p:nvSpPr>
            <p:spPr>
              <a:xfrm>
                <a:off x="3820100" y="3023072"/>
                <a:ext cx="505424" cy="491139"/>
              </a:xfrm>
              <a:custGeom>
                <a:avLst/>
                <a:gdLst/>
                <a:ahLst/>
                <a:cxnLst/>
                <a:rect l="l" t="t" r="r" b="b"/>
                <a:pathLst>
                  <a:path w="45218" h="43940" extrusionOk="0">
                    <a:moveTo>
                      <a:pt x="0" y="0"/>
                    </a:moveTo>
                    <a:cubicBezTo>
                      <a:pt x="0" y="24200"/>
                      <a:pt x="19796" y="43939"/>
                      <a:pt x="44111" y="43939"/>
                    </a:cubicBezTo>
                    <a:lnTo>
                      <a:pt x="45218" y="43939"/>
                    </a:lnTo>
                    <a:lnTo>
                      <a:pt x="45218" y="34795"/>
                    </a:lnTo>
                    <a:lnTo>
                      <a:pt x="44111" y="34795"/>
                    </a:lnTo>
                    <a:cubicBezTo>
                      <a:pt x="24972" y="34795"/>
                      <a:pt x="9345" y="19439"/>
                      <a:pt x="9103" y="450"/>
                    </a:cubicBezTo>
                    <a:cubicBezTo>
                      <a:pt x="9103" y="301"/>
                      <a:pt x="9100" y="150"/>
                      <a:pt x="9100"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4" name="Google Shape;5654;p69"/>
              <p:cNvSpPr/>
              <p:nvPr/>
            </p:nvSpPr>
            <p:spPr>
              <a:xfrm>
                <a:off x="4323828" y="3411976"/>
                <a:ext cx="800197" cy="102229"/>
              </a:xfrm>
              <a:custGeom>
                <a:avLst/>
                <a:gdLst/>
                <a:ahLst/>
                <a:cxnLst/>
                <a:rect l="l" t="t" r="r" b="b"/>
                <a:pathLst>
                  <a:path w="71590" h="9146" extrusionOk="0">
                    <a:moveTo>
                      <a:pt x="1" y="1"/>
                    </a:moveTo>
                    <a:lnTo>
                      <a:pt x="1" y="9145"/>
                    </a:lnTo>
                    <a:lnTo>
                      <a:pt x="71589" y="9145"/>
                    </a:lnTo>
                    <a:lnTo>
                      <a:pt x="71589" y="1"/>
                    </a:ln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55" name="Google Shape;5655;p69"/>
            <p:cNvGrpSpPr/>
            <p:nvPr/>
          </p:nvGrpSpPr>
          <p:grpSpPr>
            <a:xfrm>
              <a:off x="4132439" y="3023645"/>
              <a:ext cx="393633" cy="177096"/>
              <a:chOff x="4132439" y="3023645"/>
              <a:chExt cx="393633" cy="177096"/>
            </a:xfrm>
          </p:grpSpPr>
          <p:sp>
            <p:nvSpPr>
              <p:cNvPr id="5656" name="Google Shape;5656;p69"/>
              <p:cNvSpPr/>
              <p:nvPr/>
            </p:nvSpPr>
            <p:spPr>
              <a:xfrm>
                <a:off x="4132439" y="3023645"/>
                <a:ext cx="190085" cy="177096"/>
              </a:xfrm>
              <a:custGeom>
                <a:avLst/>
                <a:gdLst/>
                <a:ahLst/>
                <a:cxnLst/>
                <a:rect l="l" t="t" r="r" b="b"/>
                <a:pathLst>
                  <a:path w="17006" h="15844" extrusionOk="0">
                    <a:moveTo>
                      <a:pt x="0" y="1"/>
                    </a:moveTo>
                    <a:cubicBezTo>
                      <a:pt x="0" y="5035"/>
                      <a:pt x="2405" y="9521"/>
                      <a:pt x="6124" y="12423"/>
                    </a:cubicBezTo>
                    <a:cubicBezTo>
                      <a:pt x="8932" y="14639"/>
                      <a:pt x="12404" y="15844"/>
                      <a:pt x="15981" y="15844"/>
                    </a:cubicBezTo>
                    <a:lnTo>
                      <a:pt x="17005" y="15844"/>
                    </a:lnTo>
                    <a:lnTo>
                      <a:pt x="17005" y="6962"/>
                    </a:lnTo>
                    <a:lnTo>
                      <a:pt x="15905" y="6962"/>
                    </a:lnTo>
                    <a:cubicBezTo>
                      <a:pt x="12043" y="6962"/>
                      <a:pt x="8822" y="3862"/>
                      <a:pt x="8822"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57" name="Google Shape;5657;p69"/>
              <p:cNvSpPr/>
              <p:nvPr/>
            </p:nvSpPr>
            <p:spPr>
              <a:xfrm>
                <a:off x="4318649" y="3101461"/>
                <a:ext cx="207423" cy="99267"/>
              </a:xfrm>
              <a:custGeom>
                <a:avLst/>
                <a:gdLst/>
                <a:ahLst/>
                <a:cxnLst/>
                <a:rect l="l" t="t" r="r" b="b"/>
                <a:pathLst>
                  <a:path w="18211" h="8881" extrusionOk="0">
                    <a:moveTo>
                      <a:pt x="0" y="0"/>
                    </a:moveTo>
                    <a:lnTo>
                      <a:pt x="0" y="8880"/>
                    </a:lnTo>
                    <a:lnTo>
                      <a:pt x="18210" y="8880"/>
                    </a:lnTo>
                    <a:lnTo>
                      <a:pt x="18210"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58" name="Google Shape;5658;p69"/>
            <p:cNvGrpSpPr/>
            <p:nvPr/>
          </p:nvGrpSpPr>
          <p:grpSpPr>
            <a:xfrm>
              <a:off x="3921811" y="3023049"/>
              <a:ext cx="1002397" cy="388943"/>
              <a:chOff x="3921811" y="3023049"/>
              <a:chExt cx="1002397" cy="388943"/>
            </a:xfrm>
          </p:grpSpPr>
          <p:sp>
            <p:nvSpPr>
              <p:cNvPr id="5659" name="Google Shape;5659;p69"/>
              <p:cNvSpPr/>
              <p:nvPr/>
            </p:nvSpPr>
            <p:spPr>
              <a:xfrm>
                <a:off x="3921811" y="3023049"/>
                <a:ext cx="403709" cy="388943"/>
              </a:xfrm>
              <a:custGeom>
                <a:avLst/>
                <a:gdLst/>
                <a:ahLst/>
                <a:cxnLst/>
                <a:rect l="l" t="t" r="r" b="b"/>
                <a:pathLst>
                  <a:path w="36118" h="34797" extrusionOk="0">
                    <a:moveTo>
                      <a:pt x="0" y="1"/>
                    </a:moveTo>
                    <a:cubicBezTo>
                      <a:pt x="0" y="152"/>
                      <a:pt x="3" y="301"/>
                      <a:pt x="3" y="452"/>
                    </a:cubicBezTo>
                    <a:cubicBezTo>
                      <a:pt x="245" y="19441"/>
                      <a:pt x="15879" y="34797"/>
                      <a:pt x="35018" y="34797"/>
                    </a:cubicBezTo>
                    <a:lnTo>
                      <a:pt x="36118" y="34797"/>
                    </a:lnTo>
                    <a:lnTo>
                      <a:pt x="36118" y="25652"/>
                    </a:lnTo>
                    <a:lnTo>
                      <a:pt x="34843" y="25652"/>
                    </a:lnTo>
                    <a:lnTo>
                      <a:pt x="34798" y="25632"/>
                    </a:lnTo>
                    <a:cubicBezTo>
                      <a:pt x="20649" y="25575"/>
                      <a:pt x="9181" y="14193"/>
                      <a:pt x="9115" y="123"/>
                    </a:cubicBezTo>
                    <a:cubicBezTo>
                      <a:pt x="9115" y="81"/>
                      <a:pt x="9108" y="42"/>
                      <a:pt x="9108"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0" name="Google Shape;5660;p69"/>
              <p:cNvSpPr/>
              <p:nvPr/>
            </p:nvSpPr>
            <p:spPr>
              <a:xfrm>
                <a:off x="4322109" y="3309770"/>
                <a:ext cx="602098" cy="102218"/>
              </a:xfrm>
              <a:custGeom>
                <a:avLst/>
                <a:gdLst/>
                <a:ahLst/>
                <a:cxnLst/>
                <a:rect l="l" t="t" r="r" b="b"/>
                <a:pathLst>
                  <a:path w="53867" h="9145" extrusionOk="0">
                    <a:moveTo>
                      <a:pt x="1" y="0"/>
                    </a:moveTo>
                    <a:lnTo>
                      <a:pt x="1" y="9145"/>
                    </a:lnTo>
                    <a:lnTo>
                      <a:pt x="53867" y="9145"/>
                    </a:lnTo>
                    <a:lnTo>
                      <a:pt x="53867" y="0"/>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61" name="Google Shape;5661;p69"/>
            <p:cNvGrpSpPr/>
            <p:nvPr/>
          </p:nvGrpSpPr>
          <p:grpSpPr>
            <a:xfrm>
              <a:off x="4023645" y="3023049"/>
              <a:ext cx="683032" cy="286722"/>
              <a:chOff x="4023645" y="3023049"/>
              <a:chExt cx="683032" cy="286722"/>
            </a:xfrm>
          </p:grpSpPr>
          <p:sp>
            <p:nvSpPr>
              <p:cNvPr id="5662" name="Google Shape;5662;p69"/>
              <p:cNvSpPr/>
              <p:nvPr/>
            </p:nvSpPr>
            <p:spPr>
              <a:xfrm>
                <a:off x="4023645" y="3023049"/>
                <a:ext cx="300664" cy="286524"/>
              </a:xfrm>
              <a:custGeom>
                <a:avLst/>
                <a:gdLst/>
                <a:ahLst/>
                <a:cxnLst/>
                <a:rect l="l" t="t" r="r" b="b"/>
                <a:pathLst>
                  <a:path w="26899" h="25634" extrusionOk="0">
                    <a:moveTo>
                      <a:pt x="1" y="1"/>
                    </a:moveTo>
                    <a:cubicBezTo>
                      <a:pt x="1" y="42"/>
                      <a:pt x="4" y="81"/>
                      <a:pt x="4" y="121"/>
                    </a:cubicBezTo>
                    <a:cubicBezTo>
                      <a:pt x="70" y="14193"/>
                      <a:pt x="11538" y="25575"/>
                      <a:pt x="25687" y="25630"/>
                    </a:cubicBezTo>
                    <a:cubicBezTo>
                      <a:pt x="25723" y="25630"/>
                      <a:pt x="25757" y="25634"/>
                      <a:pt x="25792" y="25634"/>
                    </a:cubicBezTo>
                    <a:lnTo>
                      <a:pt x="26899" y="25634"/>
                    </a:lnTo>
                    <a:lnTo>
                      <a:pt x="26899" y="15842"/>
                    </a:lnTo>
                    <a:lnTo>
                      <a:pt x="25768" y="15842"/>
                    </a:lnTo>
                    <a:cubicBezTo>
                      <a:pt x="22191" y="15842"/>
                      <a:pt x="18719" y="14637"/>
                      <a:pt x="15911" y="12423"/>
                    </a:cubicBezTo>
                    <a:cubicBezTo>
                      <a:pt x="12192" y="9521"/>
                      <a:pt x="9787" y="5035"/>
                      <a:pt x="978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3" name="Google Shape;5663;p69"/>
              <p:cNvSpPr/>
              <p:nvPr/>
            </p:nvSpPr>
            <p:spPr>
              <a:xfrm>
                <a:off x="4314850" y="3200125"/>
                <a:ext cx="391827" cy="109646"/>
              </a:xfrm>
              <a:custGeom>
                <a:avLst/>
                <a:gdLst/>
                <a:ahLst/>
                <a:cxnLst/>
                <a:rect l="l" t="t" r="r" b="b"/>
                <a:pathLst>
                  <a:path w="35055" h="9792" extrusionOk="0">
                    <a:moveTo>
                      <a:pt x="1" y="0"/>
                    </a:moveTo>
                    <a:lnTo>
                      <a:pt x="1" y="88"/>
                    </a:lnTo>
                    <a:lnTo>
                      <a:pt x="1" y="9792"/>
                    </a:lnTo>
                    <a:lnTo>
                      <a:pt x="35054" y="9792"/>
                    </a:lnTo>
                    <a:lnTo>
                      <a:pt x="35054"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664" name="Google Shape;5664;p69"/>
          <p:cNvGrpSpPr/>
          <p:nvPr/>
        </p:nvGrpSpPr>
        <p:grpSpPr>
          <a:xfrm>
            <a:off x="2075577" y="2739077"/>
            <a:ext cx="951363" cy="917367"/>
            <a:chOff x="1706078" y="2092648"/>
            <a:chExt cx="660913" cy="637296"/>
          </a:xfrm>
        </p:grpSpPr>
        <p:sp>
          <p:nvSpPr>
            <p:cNvPr id="5665" name="Google Shape;5665;p69"/>
            <p:cNvSpPr/>
            <p:nvPr/>
          </p:nvSpPr>
          <p:spPr>
            <a:xfrm>
              <a:off x="1745332" y="2158066"/>
              <a:ext cx="571867" cy="571878"/>
            </a:xfrm>
            <a:custGeom>
              <a:avLst/>
              <a:gdLst/>
              <a:ahLst/>
              <a:cxnLst/>
              <a:rect l="l" t="t" r="r" b="b"/>
              <a:pathLst>
                <a:path w="107747" h="107749" extrusionOk="0">
                  <a:moveTo>
                    <a:pt x="53874" y="11565"/>
                  </a:moveTo>
                  <a:cubicBezTo>
                    <a:pt x="77238" y="11565"/>
                    <a:pt x="96182" y="30509"/>
                    <a:pt x="96182" y="53873"/>
                  </a:cubicBezTo>
                  <a:cubicBezTo>
                    <a:pt x="96182" y="77240"/>
                    <a:pt x="77240" y="96182"/>
                    <a:pt x="53874" y="96182"/>
                  </a:cubicBezTo>
                  <a:cubicBezTo>
                    <a:pt x="30507" y="96182"/>
                    <a:pt x="11565" y="77240"/>
                    <a:pt x="11565" y="53873"/>
                  </a:cubicBezTo>
                  <a:cubicBezTo>
                    <a:pt x="11565" y="30509"/>
                    <a:pt x="30507" y="11565"/>
                    <a:pt x="53874" y="11565"/>
                  </a:cubicBezTo>
                  <a:close/>
                  <a:moveTo>
                    <a:pt x="53874" y="1"/>
                  </a:moveTo>
                  <a:cubicBezTo>
                    <a:pt x="24120" y="1"/>
                    <a:pt x="1" y="24120"/>
                    <a:pt x="1" y="53873"/>
                  </a:cubicBezTo>
                  <a:cubicBezTo>
                    <a:pt x="1" y="83626"/>
                    <a:pt x="24120" y="107748"/>
                    <a:pt x="53874" y="107748"/>
                  </a:cubicBezTo>
                  <a:cubicBezTo>
                    <a:pt x="83625" y="107748"/>
                    <a:pt x="107746" y="83626"/>
                    <a:pt x="107746" y="53873"/>
                  </a:cubicBezTo>
                  <a:cubicBezTo>
                    <a:pt x="107746" y="24120"/>
                    <a:pt x="83627" y="1"/>
                    <a:pt x="53874"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5666" name="Google Shape;5666;p69"/>
            <p:cNvGrpSpPr/>
            <p:nvPr/>
          </p:nvGrpSpPr>
          <p:grpSpPr>
            <a:xfrm>
              <a:off x="1706078" y="2092648"/>
              <a:ext cx="660913" cy="575241"/>
              <a:chOff x="1706078" y="2092648"/>
              <a:chExt cx="660913" cy="575241"/>
            </a:xfrm>
          </p:grpSpPr>
          <p:sp>
            <p:nvSpPr>
              <p:cNvPr id="5667" name="Google Shape;5667;p69"/>
              <p:cNvSpPr/>
              <p:nvPr/>
            </p:nvSpPr>
            <p:spPr>
              <a:xfrm>
                <a:off x="1938891" y="2092648"/>
                <a:ext cx="192041" cy="353676"/>
              </a:xfrm>
              <a:custGeom>
                <a:avLst/>
                <a:gdLst/>
                <a:ahLst/>
                <a:cxnLst/>
                <a:rect l="l" t="t" r="r" b="b"/>
                <a:pathLst>
                  <a:path w="36183" h="66637" extrusionOk="0">
                    <a:moveTo>
                      <a:pt x="18094" y="1"/>
                    </a:moveTo>
                    <a:cubicBezTo>
                      <a:pt x="8801" y="1"/>
                      <a:pt x="1202" y="7552"/>
                      <a:pt x="1202" y="16877"/>
                    </a:cubicBezTo>
                    <a:cubicBezTo>
                      <a:pt x="1202" y="23723"/>
                      <a:pt x="5288" y="29491"/>
                      <a:pt x="11057" y="32260"/>
                    </a:cubicBezTo>
                    <a:cubicBezTo>
                      <a:pt x="13944" y="33580"/>
                      <a:pt x="15864" y="36464"/>
                      <a:pt x="15864" y="39714"/>
                    </a:cubicBezTo>
                    <a:cubicBezTo>
                      <a:pt x="15864" y="42954"/>
                      <a:pt x="13829" y="45963"/>
                      <a:pt x="10817" y="47040"/>
                    </a:cubicBezTo>
                    <a:cubicBezTo>
                      <a:pt x="6250" y="48723"/>
                      <a:pt x="2404" y="51972"/>
                      <a:pt x="1" y="56176"/>
                    </a:cubicBezTo>
                    <a:lnTo>
                      <a:pt x="18155" y="66637"/>
                    </a:lnTo>
                    <a:lnTo>
                      <a:pt x="36182" y="56176"/>
                    </a:lnTo>
                    <a:cubicBezTo>
                      <a:pt x="33779" y="51975"/>
                      <a:pt x="29930" y="48725"/>
                      <a:pt x="25479" y="47040"/>
                    </a:cubicBezTo>
                    <a:cubicBezTo>
                      <a:pt x="22352" y="45966"/>
                      <a:pt x="20316" y="42957"/>
                      <a:pt x="20316" y="39714"/>
                    </a:cubicBezTo>
                    <a:lnTo>
                      <a:pt x="20316" y="39474"/>
                    </a:lnTo>
                    <a:cubicBezTo>
                      <a:pt x="20316" y="36349"/>
                      <a:pt x="22239" y="33578"/>
                      <a:pt x="24998" y="32260"/>
                    </a:cubicBezTo>
                    <a:cubicBezTo>
                      <a:pt x="31250" y="29491"/>
                      <a:pt x="35461" y="22999"/>
                      <a:pt x="34980" y="15676"/>
                    </a:cubicBezTo>
                    <a:cubicBezTo>
                      <a:pt x="34375" y="7376"/>
                      <a:pt x="27644" y="646"/>
                      <a:pt x="19357" y="47"/>
                    </a:cubicBezTo>
                    <a:cubicBezTo>
                      <a:pt x="18933" y="18"/>
                      <a:pt x="18513" y="1"/>
                      <a:pt x="180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8" name="Google Shape;5668;p69"/>
              <p:cNvSpPr/>
              <p:nvPr/>
            </p:nvSpPr>
            <p:spPr>
              <a:xfrm>
                <a:off x="1706078" y="2390779"/>
                <a:ext cx="329208" cy="277004"/>
              </a:xfrm>
              <a:custGeom>
                <a:avLst/>
                <a:gdLst/>
                <a:ahLst/>
                <a:cxnLst/>
                <a:rect l="l" t="t" r="r" b="b"/>
                <a:pathLst>
                  <a:path w="62027" h="52191" extrusionOk="0">
                    <a:moveTo>
                      <a:pt x="43872" y="1"/>
                    </a:moveTo>
                    <a:cubicBezTo>
                      <a:pt x="41468" y="4212"/>
                      <a:pt x="40629" y="9019"/>
                      <a:pt x="41353" y="13829"/>
                    </a:cubicBezTo>
                    <a:cubicBezTo>
                      <a:pt x="41946" y="17069"/>
                      <a:pt x="40389" y="20321"/>
                      <a:pt x="37504" y="21878"/>
                    </a:cubicBezTo>
                    <a:lnTo>
                      <a:pt x="37379" y="22004"/>
                    </a:lnTo>
                    <a:cubicBezTo>
                      <a:pt x="36131" y="22712"/>
                      <a:pt x="34723" y="23085"/>
                      <a:pt x="33288" y="23090"/>
                    </a:cubicBezTo>
                    <a:cubicBezTo>
                      <a:pt x="31652" y="23095"/>
                      <a:pt x="30056" y="22587"/>
                      <a:pt x="28724" y="21638"/>
                    </a:cubicBezTo>
                    <a:cubicBezTo>
                      <a:pt x="25815" y="19553"/>
                      <a:pt x="22344" y="18435"/>
                      <a:pt x="18815" y="18435"/>
                    </a:cubicBezTo>
                    <a:cubicBezTo>
                      <a:pt x="15632" y="18435"/>
                      <a:pt x="12399" y="19345"/>
                      <a:pt x="9490" y="21282"/>
                    </a:cubicBezTo>
                    <a:cubicBezTo>
                      <a:pt x="2520" y="25965"/>
                      <a:pt x="1" y="35101"/>
                      <a:pt x="3721" y="42677"/>
                    </a:cubicBezTo>
                    <a:cubicBezTo>
                      <a:pt x="6677" y="48755"/>
                      <a:pt x="12664" y="52191"/>
                      <a:pt x="18840" y="52191"/>
                    </a:cubicBezTo>
                    <a:cubicBezTo>
                      <a:pt x="21707" y="52191"/>
                      <a:pt x="24613" y="51450"/>
                      <a:pt x="27282" y="49890"/>
                    </a:cubicBezTo>
                    <a:cubicBezTo>
                      <a:pt x="33291" y="46525"/>
                      <a:pt x="36303" y="40151"/>
                      <a:pt x="35694" y="33659"/>
                    </a:cubicBezTo>
                    <a:cubicBezTo>
                      <a:pt x="35456" y="30534"/>
                      <a:pt x="37024" y="27407"/>
                      <a:pt x="39783" y="25852"/>
                    </a:cubicBezTo>
                    <a:cubicBezTo>
                      <a:pt x="41044" y="25114"/>
                      <a:pt x="42424" y="24748"/>
                      <a:pt x="43786" y="24748"/>
                    </a:cubicBezTo>
                    <a:cubicBezTo>
                      <a:pt x="45537" y="24748"/>
                      <a:pt x="47261" y="25356"/>
                      <a:pt x="48676" y="26573"/>
                    </a:cubicBezTo>
                    <a:cubicBezTo>
                      <a:pt x="52525" y="29572"/>
                      <a:pt x="57216" y="31255"/>
                      <a:pt x="62026" y="31255"/>
                    </a:cubicBezTo>
                    <a:lnTo>
                      <a:pt x="62026" y="10461"/>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69" name="Google Shape;5669;p69"/>
              <p:cNvSpPr/>
              <p:nvPr/>
            </p:nvSpPr>
            <p:spPr>
              <a:xfrm>
                <a:off x="2035235" y="2390779"/>
                <a:ext cx="331756" cy="277110"/>
              </a:xfrm>
              <a:custGeom>
                <a:avLst/>
                <a:gdLst/>
                <a:ahLst/>
                <a:cxnLst/>
                <a:rect l="l" t="t" r="r" b="b"/>
                <a:pathLst>
                  <a:path w="62507" h="52211" extrusionOk="0">
                    <a:moveTo>
                      <a:pt x="18030" y="1"/>
                    </a:moveTo>
                    <a:lnTo>
                      <a:pt x="0" y="10461"/>
                    </a:lnTo>
                    <a:lnTo>
                      <a:pt x="0" y="31253"/>
                    </a:lnTo>
                    <a:cubicBezTo>
                      <a:pt x="4807" y="31253"/>
                      <a:pt x="9489" y="29570"/>
                      <a:pt x="13222" y="26570"/>
                    </a:cubicBezTo>
                    <a:cubicBezTo>
                      <a:pt x="15722" y="24434"/>
                      <a:pt x="19307" y="24145"/>
                      <a:pt x="22118" y="25849"/>
                    </a:cubicBezTo>
                    <a:lnTo>
                      <a:pt x="22359" y="25965"/>
                    </a:lnTo>
                    <a:cubicBezTo>
                      <a:pt x="25003" y="27532"/>
                      <a:pt x="26560" y="30534"/>
                      <a:pt x="26204" y="33659"/>
                    </a:cubicBezTo>
                    <a:cubicBezTo>
                      <a:pt x="25599" y="40389"/>
                      <a:pt x="28964" y="47244"/>
                      <a:pt x="35578" y="50486"/>
                    </a:cubicBezTo>
                    <a:cubicBezTo>
                      <a:pt x="37877" y="51619"/>
                      <a:pt x="40405" y="52210"/>
                      <a:pt x="42968" y="52208"/>
                    </a:cubicBezTo>
                    <a:cubicBezTo>
                      <a:pt x="48435" y="52208"/>
                      <a:pt x="53755" y="49544"/>
                      <a:pt x="56978" y="44840"/>
                    </a:cubicBezTo>
                    <a:cubicBezTo>
                      <a:pt x="62506" y="36540"/>
                      <a:pt x="59862" y="25484"/>
                      <a:pt x="51447" y="20674"/>
                    </a:cubicBezTo>
                    <a:cubicBezTo>
                      <a:pt x="48774" y="19149"/>
                      <a:pt x="45855" y="18413"/>
                      <a:pt x="42983" y="18413"/>
                    </a:cubicBezTo>
                    <a:cubicBezTo>
                      <a:pt x="39520" y="18413"/>
                      <a:pt x="36121" y="19482"/>
                      <a:pt x="33290" y="21523"/>
                    </a:cubicBezTo>
                    <a:cubicBezTo>
                      <a:pt x="30671" y="23429"/>
                      <a:pt x="27161" y="23571"/>
                      <a:pt x="24397" y="21878"/>
                    </a:cubicBezTo>
                    <a:cubicBezTo>
                      <a:pt x="21510" y="20321"/>
                      <a:pt x="19955" y="17069"/>
                      <a:pt x="20549" y="13829"/>
                    </a:cubicBezTo>
                    <a:cubicBezTo>
                      <a:pt x="21272" y="9019"/>
                      <a:pt x="20433" y="4212"/>
                      <a:pt x="1803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670" name="Google Shape;5670;p69"/>
          <p:cNvGrpSpPr/>
          <p:nvPr/>
        </p:nvGrpSpPr>
        <p:grpSpPr>
          <a:xfrm>
            <a:off x="8424723" y="1562475"/>
            <a:ext cx="1756612" cy="912224"/>
            <a:chOff x="238125" y="999450"/>
            <a:chExt cx="7140700" cy="3708225"/>
          </a:xfrm>
        </p:grpSpPr>
        <p:sp>
          <p:nvSpPr>
            <p:cNvPr id="5671" name="Google Shape;5671;p69"/>
            <p:cNvSpPr/>
            <p:nvPr/>
          </p:nvSpPr>
          <p:spPr>
            <a:xfrm>
              <a:off x="2171975" y="3872925"/>
              <a:ext cx="7900" cy="25"/>
            </a:xfrm>
            <a:custGeom>
              <a:avLst/>
              <a:gdLst/>
              <a:ahLst/>
              <a:cxnLst/>
              <a:rect l="l" t="t" r="r" b="b"/>
              <a:pathLst>
                <a:path w="316" h="1" extrusionOk="0">
                  <a:moveTo>
                    <a:pt x="316" y="0"/>
                  </a:moveTo>
                  <a:lnTo>
                    <a:pt x="1"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2" name="Google Shape;5672;p69"/>
            <p:cNvSpPr/>
            <p:nvPr/>
          </p:nvSpPr>
          <p:spPr>
            <a:xfrm>
              <a:off x="2180300" y="999450"/>
              <a:ext cx="3256350" cy="3708225"/>
            </a:xfrm>
            <a:custGeom>
              <a:avLst/>
              <a:gdLst/>
              <a:ahLst/>
              <a:cxnLst/>
              <a:rect l="l" t="t" r="r" b="b"/>
              <a:pathLst>
                <a:path w="130254" h="148329" extrusionOk="0">
                  <a:moveTo>
                    <a:pt x="130254" y="0"/>
                  </a:moveTo>
                  <a:cubicBezTo>
                    <a:pt x="90641" y="0"/>
                    <a:pt x="69506" y="34788"/>
                    <a:pt x="50871" y="65485"/>
                  </a:cubicBezTo>
                  <a:cubicBezTo>
                    <a:pt x="32725" y="95360"/>
                    <a:pt x="19404" y="114939"/>
                    <a:pt x="0" y="114939"/>
                  </a:cubicBezTo>
                  <a:cubicBezTo>
                    <a:pt x="9213" y="114939"/>
                    <a:pt x="16695" y="122421"/>
                    <a:pt x="16695" y="131634"/>
                  </a:cubicBezTo>
                  <a:cubicBezTo>
                    <a:pt x="16695" y="140846"/>
                    <a:pt x="9213" y="148328"/>
                    <a:pt x="0" y="148328"/>
                  </a:cubicBezTo>
                  <a:cubicBezTo>
                    <a:pt x="39630" y="148328"/>
                    <a:pt x="60765" y="113541"/>
                    <a:pt x="79400" y="82844"/>
                  </a:cubicBezTo>
                  <a:cubicBezTo>
                    <a:pt x="97528" y="52951"/>
                    <a:pt x="110867" y="33372"/>
                    <a:pt x="130254" y="33372"/>
                  </a:cubicBezTo>
                  <a:cubicBezTo>
                    <a:pt x="121041" y="33075"/>
                    <a:pt x="113804" y="25383"/>
                    <a:pt x="114083" y="16170"/>
                  </a:cubicBezTo>
                  <a:cubicBezTo>
                    <a:pt x="114346" y="7360"/>
                    <a:pt x="121425" y="280"/>
                    <a:pt x="130254"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3" name="Google Shape;5673;p69"/>
            <p:cNvSpPr/>
            <p:nvPr/>
          </p:nvSpPr>
          <p:spPr>
            <a:xfrm>
              <a:off x="238125" y="2853750"/>
              <a:ext cx="2358675" cy="1853475"/>
            </a:xfrm>
            <a:custGeom>
              <a:avLst/>
              <a:gdLst/>
              <a:ahLst/>
              <a:cxnLst/>
              <a:rect l="l" t="t" r="r" b="b"/>
              <a:pathLst>
                <a:path w="94347" h="74139" extrusionOk="0">
                  <a:moveTo>
                    <a:pt x="33354" y="1"/>
                  </a:moveTo>
                  <a:cubicBezTo>
                    <a:pt x="33354" y="9196"/>
                    <a:pt x="25872" y="16661"/>
                    <a:pt x="16642" y="16661"/>
                  </a:cubicBezTo>
                  <a:cubicBezTo>
                    <a:pt x="7482" y="16661"/>
                    <a:pt x="0" y="9196"/>
                    <a:pt x="0" y="1"/>
                  </a:cubicBezTo>
                  <a:lnTo>
                    <a:pt x="0" y="1"/>
                  </a:lnTo>
                  <a:cubicBezTo>
                    <a:pt x="0" y="40872"/>
                    <a:pt x="34858" y="74139"/>
                    <a:pt x="77670" y="74139"/>
                  </a:cubicBezTo>
                  <a:cubicBezTo>
                    <a:pt x="86882" y="74139"/>
                    <a:pt x="94347" y="66657"/>
                    <a:pt x="94347" y="57444"/>
                  </a:cubicBezTo>
                  <a:cubicBezTo>
                    <a:pt x="94347" y="48214"/>
                    <a:pt x="86882" y="40767"/>
                    <a:pt x="77670" y="40767"/>
                  </a:cubicBezTo>
                  <a:lnTo>
                    <a:pt x="77355" y="40767"/>
                  </a:lnTo>
                  <a:cubicBezTo>
                    <a:pt x="53073" y="40610"/>
                    <a:pt x="33354" y="22394"/>
                    <a:pt x="33354"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4" name="Google Shape;5674;p69"/>
            <p:cNvSpPr/>
            <p:nvPr/>
          </p:nvSpPr>
          <p:spPr>
            <a:xfrm>
              <a:off x="238125" y="999450"/>
              <a:ext cx="1942200" cy="2270400"/>
            </a:xfrm>
            <a:custGeom>
              <a:avLst/>
              <a:gdLst/>
              <a:ahLst/>
              <a:cxnLst/>
              <a:rect l="l" t="t" r="r" b="b"/>
              <a:pathLst>
                <a:path w="77688" h="90816" extrusionOk="0">
                  <a:moveTo>
                    <a:pt x="77687" y="0"/>
                  </a:moveTo>
                  <a:cubicBezTo>
                    <a:pt x="34858" y="0"/>
                    <a:pt x="0" y="33249"/>
                    <a:pt x="0" y="74138"/>
                  </a:cubicBezTo>
                  <a:cubicBezTo>
                    <a:pt x="0" y="83368"/>
                    <a:pt x="7482" y="90815"/>
                    <a:pt x="16695" y="90815"/>
                  </a:cubicBezTo>
                  <a:cubicBezTo>
                    <a:pt x="25925" y="90815"/>
                    <a:pt x="33372" y="83351"/>
                    <a:pt x="33389" y="74138"/>
                  </a:cubicBezTo>
                  <a:lnTo>
                    <a:pt x="33389" y="74120"/>
                  </a:lnTo>
                  <a:cubicBezTo>
                    <a:pt x="33389" y="51654"/>
                    <a:pt x="53222" y="33378"/>
                    <a:pt x="77639" y="33354"/>
                  </a:cubicBezTo>
                  <a:lnTo>
                    <a:pt x="77639" y="33354"/>
                  </a:lnTo>
                  <a:cubicBezTo>
                    <a:pt x="77644" y="33354"/>
                    <a:pt x="77650" y="33354"/>
                    <a:pt x="77655" y="33354"/>
                  </a:cubicBezTo>
                  <a:cubicBezTo>
                    <a:pt x="77666" y="33354"/>
                    <a:pt x="77676" y="33354"/>
                    <a:pt x="77687" y="33354"/>
                  </a:cubicBezTo>
                  <a:cubicBezTo>
                    <a:pt x="77671" y="33354"/>
                    <a:pt x="77655" y="33354"/>
                    <a:pt x="77639" y="33354"/>
                  </a:cubicBezTo>
                  <a:lnTo>
                    <a:pt x="77639" y="33354"/>
                  </a:lnTo>
                  <a:cubicBezTo>
                    <a:pt x="68431" y="33346"/>
                    <a:pt x="60992" y="25874"/>
                    <a:pt x="60992" y="16695"/>
                  </a:cubicBezTo>
                  <a:cubicBezTo>
                    <a:pt x="60992" y="7482"/>
                    <a:pt x="68457" y="0"/>
                    <a:pt x="77687" y="0"/>
                  </a:cubicBezTo>
                  <a:close/>
                </a:path>
              </a:pathLst>
            </a:custGeom>
            <a:solidFill>
              <a:srgbClr val="445D7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5" name="Google Shape;5675;p69"/>
            <p:cNvSpPr/>
            <p:nvPr/>
          </p:nvSpPr>
          <p:spPr>
            <a:xfrm>
              <a:off x="3808250" y="2852875"/>
              <a:ext cx="25" cy="25"/>
            </a:xfrm>
            <a:custGeom>
              <a:avLst/>
              <a:gdLst/>
              <a:ahLst/>
              <a:cxnLst/>
              <a:rect l="l" t="t" r="r" b="b"/>
              <a:pathLst>
                <a:path w="1" h="1" extrusionOk="0">
                  <a:moveTo>
                    <a:pt x="0" y="1"/>
                  </a:moveTo>
                  <a:close/>
                </a:path>
              </a:pathLst>
            </a:custGeom>
            <a:solidFill>
              <a:srgbClr val="DB634B"/>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6" name="Google Shape;5676;p69"/>
            <p:cNvSpPr/>
            <p:nvPr/>
          </p:nvSpPr>
          <p:spPr>
            <a:xfrm>
              <a:off x="1762475" y="999450"/>
              <a:ext cx="2386250" cy="2044875"/>
            </a:xfrm>
            <a:custGeom>
              <a:avLst/>
              <a:gdLst/>
              <a:ahLst/>
              <a:cxnLst/>
              <a:rect l="l" t="t" r="r" b="b"/>
              <a:pathLst>
                <a:path w="95450" h="81795" extrusionOk="0">
                  <a:moveTo>
                    <a:pt x="16696" y="0"/>
                  </a:moveTo>
                  <a:cubicBezTo>
                    <a:pt x="7465" y="0"/>
                    <a:pt x="1" y="7482"/>
                    <a:pt x="1" y="16695"/>
                  </a:cubicBezTo>
                  <a:cubicBezTo>
                    <a:pt x="1" y="25925"/>
                    <a:pt x="7465" y="33389"/>
                    <a:pt x="16696" y="33389"/>
                  </a:cubicBezTo>
                  <a:cubicBezTo>
                    <a:pt x="36030" y="33389"/>
                    <a:pt x="49473" y="53038"/>
                    <a:pt x="66325" y="80781"/>
                  </a:cubicBezTo>
                  <a:cubicBezTo>
                    <a:pt x="66552" y="81130"/>
                    <a:pt x="66762" y="81463"/>
                    <a:pt x="67007" y="81795"/>
                  </a:cubicBezTo>
                  <a:cubicBezTo>
                    <a:pt x="63021" y="74086"/>
                    <a:pt x="65643" y="64471"/>
                    <a:pt x="73178" y="59891"/>
                  </a:cubicBezTo>
                  <a:cubicBezTo>
                    <a:pt x="75886" y="58251"/>
                    <a:pt x="78874" y="57469"/>
                    <a:pt x="81824" y="57469"/>
                  </a:cubicBezTo>
                  <a:cubicBezTo>
                    <a:pt x="87083" y="57469"/>
                    <a:pt x="92224" y="59953"/>
                    <a:pt x="95449" y="64488"/>
                  </a:cubicBezTo>
                  <a:cubicBezTo>
                    <a:pt x="95274" y="64139"/>
                    <a:pt x="95064" y="63789"/>
                    <a:pt x="94855" y="63439"/>
                  </a:cubicBezTo>
                  <a:cubicBezTo>
                    <a:pt x="77653" y="35190"/>
                    <a:pt x="56291" y="0"/>
                    <a:pt x="16696" y="0"/>
                  </a:cubicBezTo>
                  <a:close/>
                </a:path>
              </a:pathLst>
            </a:custGeom>
            <a:solidFill>
              <a:srgbClr val="213B5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7" name="Google Shape;5677;p69"/>
            <p:cNvSpPr/>
            <p:nvPr/>
          </p:nvSpPr>
          <p:spPr>
            <a:xfrm>
              <a:off x="3338000" y="2435975"/>
              <a:ext cx="2101275" cy="2271250"/>
            </a:xfrm>
            <a:custGeom>
              <a:avLst/>
              <a:gdLst/>
              <a:ahLst/>
              <a:cxnLst/>
              <a:rect l="l" t="t" r="r" b="b"/>
              <a:pathLst>
                <a:path w="84051" h="90850" extrusionOk="0">
                  <a:moveTo>
                    <a:pt x="84011" y="57465"/>
                  </a:moveTo>
                  <a:cubicBezTo>
                    <a:pt x="83994" y="57465"/>
                    <a:pt x="83972" y="57469"/>
                    <a:pt x="83946" y="57478"/>
                  </a:cubicBezTo>
                  <a:lnTo>
                    <a:pt x="84050" y="57478"/>
                  </a:lnTo>
                  <a:cubicBezTo>
                    <a:pt x="84042" y="57469"/>
                    <a:pt x="84029" y="57465"/>
                    <a:pt x="84011" y="57465"/>
                  </a:cubicBezTo>
                  <a:close/>
                  <a:moveTo>
                    <a:pt x="18801" y="0"/>
                  </a:moveTo>
                  <a:cubicBezTo>
                    <a:pt x="15851" y="0"/>
                    <a:pt x="12864" y="784"/>
                    <a:pt x="10157" y="2430"/>
                  </a:cubicBezTo>
                  <a:cubicBezTo>
                    <a:pt x="2622" y="7027"/>
                    <a:pt x="0" y="16625"/>
                    <a:pt x="3986" y="24334"/>
                  </a:cubicBezTo>
                  <a:cubicBezTo>
                    <a:pt x="4161" y="24683"/>
                    <a:pt x="4370" y="25033"/>
                    <a:pt x="4563" y="25348"/>
                  </a:cubicBezTo>
                  <a:cubicBezTo>
                    <a:pt x="23198" y="56062"/>
                    <a:pt x="44333" y="90850"/>
                    <a:pt x="83963" y="90850"/>
                  </a:cubicBezTo>
                  <a:cubicBezTo>
                    <a:pt x="74750" y="90850"/>
                    <a:pt x="67268" y="83368"/>
                    <a:pt x="67268" y="74155"/>
                  </a:cubicBezTo>
                  <a:cubicBezTo>
                    <a:pt x="67268" y="64925"/>
                    <a:pt x="74750" y="57478"/>
                    <a:pt x="83946" y="57478"/>
                  </a:cubicBezTo>
                  <a:cubicBezTo>
                    <a:pt x="64541" y="57478"/>
                    <a:pt x="51220" y="37899"/>
                    <a:pt x="33075" y="8024"/>
                  </a:cubicBezTo>
                  <a:cubicBezTo>
                    <a:pt x="32865" y="7674"/>
                    <a:pt x="32638" y="7342"/>
                    <a:pt x="32428" y="7027"/>
                  </a:cubicBezTo>
                  <a:cubicBezTo>
                    <a:pt x="29202" y="2491"/>
                    <a:pt x="24061" y="0"/>
                    <a:pt x="18801" y="0"/>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8" name="Google Shape;5678;p69"/>
            <p:cNvSpPr/>
            <p:nvPr/>
          </p:nvSpPr>
          <p:spPr>
            <a:xfrm>
              <a:off x="5019250" y="2852875"/>
              <a:ext cx="2359150" cy="1854350"/>
            </a:xfrm>
            <a:custGeom>
              <a:avLst/>
              <a:gdLst/>
              <a:ahLst/>
              <a:cxnLst/>
              <a:rect l="l" t="t" r="r" b="b"/>
              <a:pathLst>
                <a:path w="94366" h="74174" extrusionOk="0">
                  <a:moveTo>
                    <a:pt x="94365" y="18"/>
                  </a:moveTo>
                  <a:cubicBezTo>
                    <a:pt x="94365" y="47"/>
                    <a:pt x="94365" y="76"/>
                    <a:pt x="94365" y="105"/>
                  </a:cubicBezTo>
                  <a:lnTo>
                    <a:pt x="94365" y="105"/>
                  </a:lnTo>
                  <a:cubicBezTo>
                    <a:pt x="94365" y="76"/>
                    <a:pt x="94365" y="47"/>
                    <a:pt x="94365" y="18"/>
                  </a:cubicBezTo>
                  <a:close/>
                  <a:moveTo>
                    <a:pt x="60993" y="1"/>
                  </a:moveTo>
                  <a:cubicBezTo>
                    <a:pt x="60993" y="22447"/>
                    <a:pt x="41187" y="40715"/>
                    <a:pt x="16800" y="40785"/>
                  </a:cubicBezTo>
                  <a:lnTo>
                    <a:pt x="16696" y="40785"/>
                  </a:lnTo>
                  <a:cubicBezTo>
                    <a:pt x="7465" y="40785"/>
                    <a:pt x="1" y="48249"/>
                    <a:pt x="1" y="57479"/>
                  </a:cubicBezTo>
                  <a:cubicBezTo>
                    <a:pt x="1" y="66692"/>
                    <a:pt x="7483" y="74174"/>
                    <a:pt x="16696" y="74174"/>
                  </a:cubicBezTo>
                  <a:cubicBezTo>
                    <a:pt x="59495" y="74174"/>
                    <a:pt x="94316" y="40954"/>
                    <a:pt x="94365" y="105"/>
                  </a:cubicBezTo>
                  <a:lnTo>
                    <a:pt x="94365" y="105"/>
                  </a:lnTo>
                  <a:cubicBezTo>
                    <a:pt x="94336" y="9278"/>
                    <a:pt x="86872" y="16696"/>
                    <a:pt x="77688" y="16696"/>
                  </a:cubicBezTo>
                  <a:cubicBezTo>
                    <a:pt x="68458" y="16696"/>
                    <a:pt x="60993" y="9231"/>
                    <a:pt x="6099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79" name="Google Shape;5679;p69"/>
            <p:cNvSpPr/>
            <p:nvPr/>
          </p:nvSpPr>
          <p:spPr>
            <a:xfrm>
              <a:off x="5025375" y="999450"/>
              <a:ext cx="2353450" cy="2270825"/>
            </a:xfrm>
            <a:custGeom>
              <a:avLst/>
              <a:gdLst/>
              <a:ahLst/>
              <a:cxnLst/>
              <a:rect l="l" t="t" r="r" b="b"/>
              <a:pathLst>
                <a:path w="94138" h="90833" extrusionOk="0">
                  <a:moveTo>
                    <a:pt x="16451" y="0"/>
                  </a:moveTo>
                  <a:cubicBezTo>
                    <a:pt x="7640" y="280"/>
                    <a:pt x="560" y="7360"/>
                    <a:pt x="280" y="16170"/>
                  </a:cubicBezTo>
                  <a:cubicBezTo>
                    <a:pt x="1" y="25400"/>
                    <a:pt x="7238" y="33092"/>
                    <a:pt x="16451" y="33372"/>
                  </a:cubicBezTo>
                  <a:lnTo>
                    <a:pt x="16520" y="33372"/>
                  </a:lnTo>
                  <a:cubicBezTo>
                    <a:pt x="40907" y="33389"/>
                    <a:pt x="60748" y="51675"/>
                    <a:pt x="60748" y="74138"/>
                  </a:cubicBezTo>
                  <a:cubicBezTo>
                    <a:pt x="60748" y="83368"/>
                    <a:pt x="68213" y="90833"/>
                    <a:pt x="77443" y="90833"/>
                  </a:cubicBezTo>
                  <a:cubicBezTo>
                    <a:pt x="86656" y="90833"/>
                    <a:pt x="94138" y="83368"/>
                    <a:pt x="94138" y="74138"/>
                  </a:cubicBezTo>
                  <a:cubicBezTo>
                    <a:pt x="94138" y="33249"/>
                    <a:pt x="59280" y="0"/>
                    <a:pt x="16451"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683"/>
        <p:cNvGrpSpPr/>
        <p:nvPr/>
      </p:nvGrpSpPr>
      <p:grpSpPr>
        <a:xfrm>
          <a:off x="0" y="0"/>
          <a:ext cx="0" cy="0"/>
          <a:chOff x="0" y="0"/>
          <a:chExt cx="0" cy="0"/>
        </a:xfrm>
      </p:grpSpPr>
      <p:grpSp>
        <p:nvGrpSpPr>
          <p:cNvPr id="5684" name="Google Shape;5684;p70"/>
          <p:cNvGrpSpPr/>
          <p:nvPr/>
        </p:nvGrpSpPr>
        <p:grpSpPr>
          <a:xfrm>
            <a:off x="972318" y="1572887"/>
            <a:ext cx="2181489" cy="2034859"/>
            <a:chOff x="729238" y="1179665"/>
            <a:chExt cx="1636117" cy="1526144"/>
          </a:xfrm>
        </p:grpSpPr>
        <p:grpSp>
          <p:nvGrpSpPr>
            <p:cNvPr id="5685" name="Google Shape;5685;p70"/>
            <p:cNvGrpSpPr/>
            <p:nvPr/>
          </p:nvGrpSpPr>
          <p:grpSpPr>
            <a:xfrm>
              <a:off x="729238" y="1179665"/>
              <a:ext cx="80700" cy="1526144"/>
              <a:chOff x="729238" y="1179665"/>
              <a:chExt cx="80700" cy="1526144"/>
            </a:xfrm>
          </p:grpSpPr>
          <p:sp>
            <p:nvSpPr>
              <p:cNvPr id="5686" name="Google Shape;5686;p70"/>
              <p:cNvSpPr/>
              <p:nvPr/>
            </p:nvSpPr>
            <p:spPr>
              <a:xfrm>
                <a:off x="729238"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7" name="Google Shape;5687;p70"/>
              <p:cNvSpPr/>
              <p:nvPr/>
            </p:nvSpPr>
            <p:spPr>
              <a:xfrm>
                <a:off x="729238"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8" name="Google Shape;5688;p70"/>
              <p:cNvSpPr/>
              <p:nvPr/>
            </p:nvSpPr>
            <p:spPr>
              <a:xfrm>
                <a:off x="729238"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89" name="Google Shape;5689;p70"/>
              <p:cNvSpPr/>
              <p:nvPr/>
            </p:nvSpPr>
            <p:spPr>
              <a:xfrm>
                <a:off x="729238"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0" name="Google Shape;5690;p70"/>
              <p:cNvSpPr/>
              <p:nvPr/>
            </p:nvSpPr>
            <p:spPr>
              <a:xfrm>
                <a:off x="729238"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1" name="Google Shape;5691;p70"/>
              <p:cNvSpPr/>
              <p:nvPr/>
            </p:nvSpPr>
            <p:spPr>
              <a:xfrm>
                <a:off x="729238"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2" name="Google Shape;5692;p70"/>
              <p:cNvSpPr/>
              <p:nvPr/>
            </p:nvSpPr>
            <p:spPr>
              <a:xfrm>
                <a:off x="729238"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3" name="Google Shape;5693;p70"/>
              <p:cNvSpPr/>
              <p:nvPr/>
            </p:nvSpPr>
            <p:spPr>
              <a:xfrm>
                <a:off x="72923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4" name="Google Shape;5694;p70"/>
              <p:cNvSpPr/>
              <p:nvPr/>
            </p:nvSpPr>
            <p:spPr>
              <a:xfrm>
                <a:off x="72923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5" name="Google Shape;5695;p70"/>
              <p:cNvSpPr/>
              <p:nvPr/>
            </p:nvSpPr>
            <p:spPr>
              <a:xfrm>
                <a:off x="72923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696" name="Google Shape;5696;p70"/>
            <p:cNvGrpSpPr/>
            <p:nvPr/>
          </p:nvGrpSpPr>
          <p:grpSpPr>
            <a:xfrm>
              <a:off x="903098" y="1179665"/>
              <a:ext cx="80700" cy="1526144"/>
              <a:chOff x="903098" y="1179665"/>
              <a:chExt cx="80700" cy="1526144"/>
            </a:xfrm>
          </p:grpSpPr>
          <p:sp>
            <p:nvSpPr>
              <p:cNvPr id="5697" name="Google Shape;5697;p70"/>
              <p:cNvSpPr/>
              <p:nvPr/>
            </p:nvSpPr>
            <p:spPr>
              <a:xfrm>
                <a:off x="903098"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8" name="Google Shape;5698;p70"/>
              <p:cNvSpPr/>
              <p:nvPr/>
            </p:nvSpPr>
            <p:spPr>
              <a:xfrm>
                <a:off x="903098"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699" name="Google Shape;5699;p70"/>
              <p:cNvSpPr/>
              <p:nvPr/>
            </p:nvSpPr>
            <p:spPr>
              <a:xfrm>
                <a:off x="903098"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0" name="Google Shape;5700;p70"/>
              <p:cNvSpPr/>
              <p:nvPr/>
            </p:nvSpPr>
            <p:spPr>
              <a:xfrm>
                <a:off x="903098"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1" name="Google Shape;5701;p70"/>
              <p:cNvSpPr/>
              <p:nvPr/>
            </p:nvSpPr>
            <p:spPr>
              <a:xfrm>
                <a:off x="903098"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2" name="Google Shape;5702;p70"/>
              <p:cNvSpPr/>
              <p:nvPr/>
            </p:nvSpPr>
            <p:spPr>
              <a:xfrm>
                <a:off x="903098"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3" name="Google Shape;5703;p70"/>
              <p:cNvSpPr/>
              <p:nvPr/>
            </p:nvSpPr>
            <p:spPr>
              <a:xfrm>
                <a:off x="903098"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4" name="Google Shape;5704;p70"/>
              <p:cNvSpPr/>
              <p:nvPr/>
            </p:nvSpPr>
            <p:spPr>
              <a:xfrm>
                <a:off x="90309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5" name="Google Shape;5705;p70"/>
              <p:cNvSpPr/>
              <p:nvPr/>
            </p:nvSpPr>
            <p:spPr>
              <a:xfrm>
                <a:off x="90309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6" name="Google Shape;5706;p70"/>
              <p:cNvSpPr/>
              <p:nvPr/>
            </p:nvSpPr>
            <p:spPr>
              <a:xfrm>
                <a:off x="90309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07" name="Google Shape;5707;p70"/>
            <p:cNvGrpSpPr/>
            <p:nvPr/>
          </p:nvGrpSpPr>
          <p:grpSpPr>
            <a:xfrm>
              <a:off x="1076958" y="1179665"/>
              <a:ext cx="80700" cy="1526144"/>
              <a:chOff x="1076958" y="1179665"/>
              <a:chExt cx="80700" cy="1526144"/>
            </a:xfrm>
          </p:grpSpPr>
          <p:sp>
            <p:nvSpPr>
              <p:cNvPr id="5708" name="Google Shape;5708;p70"/>
              <p:cNvSpPr/>
              <p:nvPr/>
            </p:nvSpPr>
            <p:spPr>
              <a:xfrm>
                <a:off x="1076958"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09" name="Google Shape;5709;p70"/>
              <p:cNvSpPr/>
              <p:nvPr/>
            </p:nvSpPr>
            <p:spPr>
              <a:xfrm>
                <a:off x="1076958"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0" name="Google Shape;5710;p70"/>
              <p:cNvSpPr/>
              <p:nvPr/>
            </p:nvSpPr>
            <p:spPr>
              <a:xfrm>
                <a:off x="1076958"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1" name="Google Shape;5711;p70"/>
              <p:cNvSpPr/>
              <p:nvPr/>
            </p:nvSpPr>
            <p:spPr>
              <a:xfrm>
                <a:off x="1076958"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2" name="Google Shape;5712;p70"/>
              <p:cNvSpPr/>
              <p:nvPr/>
            </p:nvSpPr>
            <p:spPr>
              <a:xfrm>
                <a:off x="1076958"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3" name="Google Shape;5713;p70"/>
              <p:cNvSpPr/>
              <p:nvPr/>
            </p:nvSpPr>
            <p:spPr>
              <a:xfrm>
                <a:off x="1076958"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4" name="Google Shape;5714;p70"/>
              <p:cNvSpPr/>
              <p:nvPr/>
            </p:nvSpPr>
            <p:spPr>
              <a:xfrm>
                <a:off x="1076958" y="214302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5" name="Google Shape;5715;p70"/>
              <p:cNvSpPr/>
              <p:nvPr/>
            </p:nvSpPr>
            <p:spPr>
              <a:xfrm>
                <a:off x="1076958"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6" name="Google Shape;5716;p70"/>
              <p:cNvSpPr/>
              <p:nvPr/>
            </p:nvSpPr>
            <p:spPr>
              <a:xfrm>
                <a:off x="1076958"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17" name="Google Shape;5717;p70"/>
              <p:cNvSpPr/>
              <p:nvPr/>
            </p:nvSpPr>
            <p:spPr>
              <a:xfrm>
                <a:off x="1076958"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18" name="Google Shape;5718;p70"/>
            <p:cNvGrpSpPr/>
            <p:nvPr/>
          </p:nvGrpSpPr>
          <p:grpSpPr>
            <a:xfrm>
              <a:off x="1247707" y="1179665"/>
              <a:ext cx="80700" cy="1526144"/>
              <a:chOff x="1247707" y="1179665"/>
              <a:chExt cx="80700" cy="1526144"/>
            </a:xfrm>
          </p:grpSpPr>
          <p:sp>
            <p:nvSpPr>
              <p:cNvPr id="5719" name="Google Shape;5719;p70"/>
              <p:cNvSpPr/>
              <p:nvPr/>
            </p:nvSpPr>
            <p:spPr>
              <a:xfrm>
                <a:off x="1247707"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0" name="Google Shape;5720;p70"/>
              <p:cNvSpPr/>
              <p:nvPr/>
            </p:nvSpPr>
            <p:spPr>
              <a:xfrm>
                <a:off x="1247707"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1" name="Google Shape;5721;p70"/>
              <p:cNvSpPr/>
              <p:nvPr/>
            </p:nvSpPr>
            <p:spPr>
              <a:xfrm>
                <a:off x="1247707"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2" name="Google Shape;5722;p70"/>
              <p:cNvSpPr/>
              <p:nvPr/>
            </p:nvSpPr>
            <p:spPr>
              <a:xfrm>
                <a:off x="1247707" y="166175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3" name="Google Shape;5723;p70"/>
              <p:cNvSpPr/>
              <p:nvPr/>
            </p:nvSpPr>
            <p:spPr>
              <a:xfrm>
                <a:off x="1247707"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4" name="Google Shape;5724;p70"/>
              <p:cNvSpPr/>
              <p:nvPr/>
            </p:nvSpPr>
            <p:spPr>
              <a:xfrm>
                <a:off x="1247707"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5" name="Google Shape;5725;p70"/>
              <p:cNvSpPr/>
              <p:nvPr/>
            </p:nvSpPr>
            <p:spPr>
              <a:xfrm>
                <a:off x="1247707"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6" name="Google Shape;5726;p70"/>
              <p:cNvSpPr/>
              <p:nvPr/>
            </p:nvSpPr>
            <p:spPr>
              <a:xfrm>
                <a:off x="1247707"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7" name="Google Shape;5727;p70"/>
              <p:cNvSpPr/>
              <p:nvPr/>
            </p:nvSpPr>
            <p:spPr>
              <a:xfrm>
                <a:off x="124770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28" name="Google Shape;5728;p70"/>
              <p:cNvSpPr/>
              <p:nvPr/>
            </p:nvSpPr>
            <p:spPr>
              <a:xfrm>
                <a:off x="124770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29" name="Google Shape;5729;p70"/>
            <p:cNvGrpSpPr/>
            <p:nvPr/>
          </p:nvGrpSpPr>
          <p:grpSpPr>
            <a:xfrm>
              <a:off x="1421567" y="1179665"/>
              <a:ext cx="80700" cy="1526144"/>
              <a:chOff x="1421567" y="1179665"/>
              <a:chExt cx="80700" cy="1526144"/>
            </a:xfrm>
          </p:grpSpPr>
          <p:sp>
            <p:nvSpPr>
              <p:cNvPr id="5730" name="Google Shape;5730;p70"/>
              <p:cNvSpPr/>
              <p:nvPr/>
            </p:nvSpPr>
            <p:spPr>
              <a:xfrm>
                <a:off x="1421567"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1" name="Google Shape;5731;p70"/>
              <p:cNvSpPr/>
              <p:nvPr/>
            </p:nvSpPr>
            <p:spPr>
              <a:xfrm>
                <a:off x="1421567"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2" name="Google Shape;5732;p70"/>
              <p:cNvSpPr/>
              <p:nvPr/>
            </p:nvSpPr>
            <p:spPr>
              <a:xfrm>
                <a:off x="1421567"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3" name="Google Shape;5733;p70"/>
              <p:cNvSpPr/>
              <p:nvPr/>
            </p:nvSpPr>
            <p:spPr>
              <a:xfrm>
                <a:off x="1421567"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4" name="Google Shape;5734;p70"/>
              <p:cNvSpPr/>
              <p:nvPr/>
            </p:nvSpPr>
            <p:spPr>
              <a:xfrm>
                <a:off x="1421567"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5" name="Google Shape;5735;p70"/>
              <p:cNvSpPr/>
              <p:nvPr/>
            </p:nvSpPr>
            <p:spPr>
              <a:xfrm>
                <a:off x="1421567"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6" name="Google Shape;5736;p70"/>
              <p:cNvSpPr/>
              <p:nvPr/>
            </p:nvSpPr>
            <p:spPr>
              <a:xfrm>
                <a:off x="1421567" y="214302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7" name="Google Shape;5737;p70"/>
              <p:cNvSpPr/>
              <p:nvPr/>
            </p:nvSpPr>
            <p:spPr>
              <a:xfrm>
                <a:off x="1421567" y="2303717"/>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8" name="Google Shape;5738;p70"/>
              <p:cNvSpPr/>
              <p:nvPr/>
            </p:nvSpPr>
            <p:spPr>
              <a:xfrm>
                <a:off x="142156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39" name="Google Shape;5739;p70"/>
              <p:cNvSpPr/>
              <p:nvPr/>
            </p:nvSpPr>
            <p:spPr>
              <a:xfrm>
                <a:off x="142156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40" name="Google Shape;5740;p70"/>
            <p:cNvGrpSpPr/>
            <p:nvPr/>
          </p:nvGrpSpPr>
          <p:grpSpPr>
            <a:xfrm>
              <a:off x="1592327" y="1179665"/>
              <a:ext cx="80700" cy="1526144"/>
              <a:chOff x="1592327" y="1179665"/>
              <a:chExt cx="80700" cy="1526144"/>
            </a:xfrm>
          </p:grpSpPr>
          <p:sp>
            <p:nvSpPr>
              <p:cNvPr id="5741" name="Google Shape;5741;p70"/>
              <p:cNvSpPr/>
              <p:nvPr/>
            </p:nvSpPr>
            <p:spPr>
              <a:xfrm>
                <a:off x="1592327"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2" name="Google Shape;5742;p70"/>
              <p:cNvSpPr/>
              <p:nvPr/>
            </p:nvSpPr>
            <p:spPr>
              <a:xfrm>
                <a:off x="1592327"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3" name="Google Shape;5743;p70"/>
              <p:cNvSpPr/>
              <p:nvPr/>
            </p:nvSpPr>
            <p:spPr>
              <a:xfrm>
                <a:off x="1592327"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4" name="Google Shape;5744;p70"/>
              <p:cNvSpPr/>
              <p:nvPr/>
            </p:nvSpPr>
            <p:spPr>
              <a:xfrm>
                <a:off x="1592327"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5" name="Google Shape;5745;p70"/>
              <p:cNvSpPr/>
              <p:nvPr/>
            </p:nvSpPr>
            <p:spPr>
              <a:xfrm>
                <a:off x="1592327"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6" name="Google Shape;5746;p70"/>
              <p:cNvSpPr/>
              <p:nvPr/>
            </p:nvSpPr>
            <p:spPr>
              <a:xfrm>
                <a:off x="1592327"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7" name="Google Shape;5747;p70"/>
              <p:cNvSpPr/>
              <p:nvPr/>
            </p:nvSpPr>
            <p:spPr>
              <a:xfrm>
                <a:off x="1592327"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8" name="Google Shape;5748;p70"/>
              <p:cNvSpPr/>
              <p:nvPr/>
            </p:nvSpPr>
            <p:spPr>
              <a:xfrm>
                <a:off x="1592327"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49" name="Google Shape;5749;p70"/>
              <p:cNvSpPr/>
              <p:nvPr/>
            </p:nvSpPr>
            <p:spPr>
              <a:xfrm>
                <a:off x="1592327"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0" name="Google Shape;5750;p70"/>
              <p:cNvSpPr/>
              <p:nvPr/>
            </p:nvSpPr>
            <p:spPr>
              <a:xfrm>
                <a:off x="159232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51" name="Google Shape;5751;p70"/>
            <p:cNvGrpSpPr/>
            <p:nvPr/>
          </p:nvGrpSpPr>
          <p:grpSpPr>
            <a:xfrm>
              <a:off x="1766187" y="1179665"/>
              <a:ext cx="80700" cy="1526144"/>
              <a:chOff x="1766187" y="1179665"/>
              <a:chExt cx="80700" cy="1526144"/>
            </a:xfrm>
          </p:grpSpPr>
          <p:sp>
            <p:nvSpPr>
              <p:cNvPr id="5752" name="Google Shape;5752;p70"/>
              <p:cNvSpPr/>
              <p:nvPr/>
            </p:nvSpPr>
            <p:spPr>
              <a:xfrm>
                <a:off x="1766187"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3" name="Google Shape;5753;p70"/>
              <p:cNvSpPr/>
              <p:nvPr/>
            </p:nvSpPr>
            <p:spPr>
              <a:xfrm>
                <a:off x="1766187"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4" name="Google Shape;5754;p70"/>
              <p:cNvSpPr/>
              <p:nvPr/>
            </p:nvSpPr>
            <p:spPr>
              <a:xfrm>
                <a:off x="1766187"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5" name="Google Shape;5755;p70"/>
              <p:cNvSpPr/>
              <p:nvPr/>
            </p:nvSpPr>
            <p:spPr>
              <a:xfrm>
                <a:off x="1766187"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6" name="Google Shape;5756;p70"/>
              <p:cNvSpPr/>
              <p:nvPr/>
            </p:nvSpPr>
            <p:spPr>
              <a:xfrm>
                <a:off x="1766187"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7" name="Google Shape;5757;p70"/>
              <p:cNvSpPr/>
              <p:nvPr/>
            </p:nvSpPr>
            <p:spPr>
              <a:xfrm>
                <a:off x="1766187"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8" name="Google Shape;5758;p70"/>
              <p:cNvSpPr/>
              <p:nvPr/>
            </p:nvSpPr>
            <p:spPr>
              <a:xfrm>
                <a:off x="1766187" y="214302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59" name="Google Shape;5759;p70"/>
              <p:cNvSpPr/>
              <p:nvPr/>
            </p:nvSpPr>
            <p:spPr>
              <a:xfrm>
                <a:off x="1766187" y="2303717"/>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0" name="Google Shape;5760;p70"/>
              <p:cNvSpPr/>
              <p:nvPr/>
            </p:nvSpPr>
            <p:spPr>
              <a:xfrm>
                <a:off x="1766187" y="2464413"/>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1" name="Google Shape;5761;p70"/>
              <p:cNvSpPr/>
              <p:nvPr/>
            </p:nvSpPr>
            <p:spPr>
              <a:xfrm>
                <a:off x="1766187"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62" name="Google Shape;5762;p70"/>
            <p:cNvGrpSpPr/>
            <p:nvPr/>
          </p:nvGrpSpPr>
          <p:grpSpPr>
            <a:xfrm>
              <a:off x="1936935" y="1179665"/>
              <a:ext cx="80700" cy="1526144"/>
              <a:chOff x="1936935" y="1179665"/>
              <a:chExt cx="80700" cy="1526144"/>
            </a:xfrm>
          </p:grpSpPr>
          <p:sp>
            <p:nvSpPr>
              <p:cNvPr id="5763" name="Google Shape;5763;p70"/>
              <p:cNvSpPr/>
              <p:nvPr/>
            </p:nvSpPr>
            <p:spPr>
              <a:xfrm>
                <a:off x="1936935"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4" name="Google Shape;5764;p70"/>
              <p:cNvSpPr/>
              <p:nvPr/>
            </p:nvSpPr>
            <p:spPr>
              <a:xfrm>
                <a:off x="1936935"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5" name="Google Shape;5765;p70"/>
              <p:cNvSpPr/>
              <p:nvPr/>
            </p:nvSpPr>
            <p:spPr>
              <a:xfrm>
                <a:off x="1936935"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6" name="Google Shape;5766;p70"/>
              <p:cNvSpPr/>
              <p:nvPr/>
            </p:nvSpPr>
            <p:spPr>
              <a:xfrm>
                <a:off x="1936935"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7" name="Google Shape;5767;p70"/>
              <p:cNvSpPr/>
              <p:nvPr/>
            </p:nvSpPr>
            <p:spPr>
              <a:xfrm>
                <a:off x="1936935"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8" name="Google Shape;5768;p70"/>
              <p:cNvSpPr/>
              <p:nvPr/>
            </p:nvSpPr>
            <p:spPr>
              <a:xfrm>
                <a:off x="1936935"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69" name="Google Shape;5769;p70"/>
              <p:cNvSpPr/>
              <p:nvPr/>
            </p:nvSpPr>
            <p:spPr>
              <a:xfrm>
                <a:off x="193693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0" name="Google Shape;5770;p70"/>
              <p:cNvSpPr/>
              <p:nvPr/>
            </p:nvSpPr>
            <p:spPr>
              <a:xfrm>
                <a:off x="193693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1" name="Google Shape;5771;p70"/>
              <p:cNvSpPr/>
              <p:nvPr/>
            </p:nvSpPr>
            <p:spPr>
              <a:xfrm>
                <a:off x="193693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2" name="Google Shape;5772;p70"/>
              <p:cNvSpPr/>
              <p:nvPr/>
            </p:nvSpPr>
            <p:spPr>
              <a:xfrm>
                <a:off x="193693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73" name="Google Shape;5773;p70"/>
            <p:cNvGrpSpPr/>
            <p:nvPr/>
          </p:nvGrpSpPr>
          <p:grpSpPr>
            <a:xfrm>
              <a:off x="2110795" y="1179665"/>
              <a:ext cx="80700" cy="1526144"/>
              <a:chOff x="2110795" y="1179665"/>
              <a:chExt cx="80700" cy="1526144"/>
            </a:xfrm>
          </p:grpSpPr>
          <p:sp>
            <p:nvSpPr>
              <p:cNvPr id="5774" name="Google Shape;5774;p70"/>
              <p:cNvSpPr/>
              <p:nvPr/>
            </p:nvSpPr>
            <p:spPr>
              <a:xfrm>
                <a:off x="2110795"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5" name="Google Shape;5775;p70"/>
              <p:cNvSpPr/>
              <p:nvPr/>
            </p:nvSpPr>
            <p:spPr>
              <a:xfrm>
                <a:off x="2110795"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6" name="Google Shape;5776;p70"/>
              <p:cNvSpPr/>
              <p:nvPr/>
            </p:nvSpPr>
            <p:spPr>
              <a:xfrm>
                <a:off x="2110795"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7" name="Google Shape;5777;p70"/>
              <p:cNvSpPr/>
              <p:nvPr/>
            </p:nvSpPr>
            <p:spPr>
              <a:xfrm>
                <a:off x="2110795"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8" name="Google Shape;5778;p70"/>
              <p:cNvSpPr/>
              <p:nvPr/>
            </p:nvSpPr>
            <p:spPr>
              <a:xfrm>
                <a:off x="2110795" y="1821630"/>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79" name="Google Shape;5779;p70"/>
              <p:cNvSpPr/>
              <p:nvPr/>
            </p:nvSpPr>
            <p:spPr>
              <a:xfrm>
                <a:off x="2110795" y="1982326"/>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0" name="Google Shape;5780;p70"/>
              <p:cNvSpPr/>
              <p:nvPr/>
            </p:nvSpPr>
            <p:spPr>
              <a:xfrm>
                <a:off x="211079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1" name="Google Shape;5781;p70"/>
              <p:cNvSpPr/>
              <p:nvPr/>
            </p:nvSpPr>
            <p:spPr>
              <a:xfrm>
                <a:off x="211079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2" name="Google Shape;5782;p70"/>
              <p:cNvSpPr/>
              <p:nvPr/>
            </p:nvSpPr>
            <p:spPr>
              <a:xfrm>
                <a:off x="211079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3" name="Google Shape;5783;p70"/>
              <p:cNvSpPr/>
              <p:nvPr/>
            </p:nvSpPr>
            <p:spPr>
              <a:xfrm>
                <a:off x="211079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784" name="Google Shape;5784;p70"/>
            <p:cNvGrpSpPr/>
            <p:nvPr/>
          </p:nvGrpSpPr>
          <p:grpSpPr>
            <a:xfrm>
              <a:off x="2284655" y="1179665"/>
              <a:ext cx="80700" cy="1526144"/>
              <a:chOff x="2284655" y="1179665"/>
              <a:chExt cx="80700" cy="1526144"/>
            </a:xfrm>
          </p:grpSpPr>
          <p:sp>
            <p:nvSpPr>
              <p:cNvPr id="5785" name="Google Shape;5785;p70"/>
              <p:cNvSpPr/>
              <p:nvPr/>
            </p:nvSpPr>
            <p:spPr>
              <a:xfrm>
                <a:off x="2284655" y="1179665"/>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6" name="Google Shape;5786;p70"/>
              <p:cNvSpPr/>
              <p:nvPr/>
            </p:nvSpPr>
            <p:spPr>
              <a:xfrm>
                <a:off x="2284655" y="134036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7" name="Google Shape;5787;p70"/>
              <p:cNvSpPr/>
              <p:nvPr/>
            </p:nvSpPr>
            <p:spPr>
              <a:xfrm>
                <a:off x="2284655" y="150105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8" name="Google Shape;5788;p70"/>
              <p:cNvSpPr/>
              <p:nvPr/>
            </p:nvSpPr>
            <p:spPr>
              <a:xfrm>
                <a:off x="2284655" y="1661752"/>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89" name="Google Shape;5789;p70"/>
              <p:cNvSpPr/>
              <p:nvPr/>
            </p:nvSpPr>
            <p:spPr>
              <a:xfrm>
                <a:off x="2284655" y="1821630"/>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0" name="Google Shape;5790;p70"/>
              <p:cNvSpPr/>
              <p:nvPr/>
            </p:nvSpPr>
            <p:spPr>
              <a:xfrm>
                <a:off x="2284655" y="1982326"/>
                <a:ext cx="80700" cy="807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1" name="Google Shape;5791;p70"/>
              <p:cNvSpPr/>
              <p:nvPr/>
            </p:nvSpPr>
            <p:spPr>
              <a:xfrm>
                <a:off x="2284655" y="2143022"/>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2" name="Google Shape;5792;p70"/>
              <p:cNvSpPr/>
              <p:nvPr/>
            </p:nvSpPr>
            <p:spPr>
              <a:xfrm>
                <a:off x="2284655" y="2303717"/>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3" name="Google Shape;5793;p70"/>
              <p:cNvSpPr/>
              <p:nvPr/>
            </p:nvSpPr>
            <p:spPr>
              <a:xfrm>
                <a:off x="2284655" y="2464413"/>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4" name="Google Shape;5794;p70"/>
              <p:cNvSpPr/>
              <p:nvPr/>
            </p:nvSpPr>
            <p:spPr>
              <a:xfrm>
                <a:off x="2284655" y="2625109"/>
                <a:ext cx="80700" cy="80700"/>
              </a:xfrm>
              <a:prstGeom prst="rect">
                <a:avLst/>
              </a:pr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795" name="Google Shape;5795;p70"/>
          <p:cNvGrpSpPr/>
          <p:nvPr/>
        </p:nvGrpSpPr>
        <p:grpSpPr>
          <a:xfrm>
            <a:off x="3498539" y="1598405"/>
            <a:ext cx="1818997" cy="1469511"/>
            <a:chOff x="2623904" y="1198803"/>
            <a:chExt cx="1364248" cy="1102133"/>
          </a:xfrm>
        </p:grpSpPr>
        <p:grpSp>
          <p:nvGrpSpPr>
            <p:cNvPr id="5796" name="Google Shape;5796;p70"/>
            <p:cNvGrpSpPr/>
            <p:nvPr/>
          </p:nvGrpSpPr>
          <p:grpSpPr>
            <a:xfrm>
              <a:off x="2623907" y="1198803"/>
              <a:ext cx="1364245" cy="273000"/>
              <a:chOff x="2623907" y="1198803"/>
              <a:chExt cx="1364245" cy="273000"/>
            </a:xfrm>
          </p:grpSpPr>
          <p:sp>
            <p:nvSpPr>
              <p:cNvPr id="5797" name="Google Shape;5797;p70"/>
              <p:cNvSpPr/>
              <p:nvPr/>
            </p:nvSpPr>
            <p:spPr>
              <a:xfrm>
                <a:off x="2623907"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8" name="Google Shape;5798;p70"/>
              <p:cNvSpPr/>
              <p:nvPr/>
            </p:nvSpPr>
            <p:spPr>
              <a:xfrm>
                <a:off x="2896718"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799" name="Google Shape;5799;p70"/>
              <p:cNvSpPr/>
              <p:nvPr/>
            </p:nvSpPr>
            <p:spPr>
              <a:xfrm>
                <a:off x="3169529"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0" name="Google Shape;5800;p70"/>
              <p:cNvSpPr/>
              <p:nvPr/>
            </p:nvSpPr>
            <p:spPr>
              <a:xfrm>
                <a:off x="3442341" y="1198803"/>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1" name="Google Shape;5801;p70"/>
              <p:cNvSpPr/>
              <p:nvPr/>
            </p:nvSpPr>
            <p:spPr>
              <a:xfrm>
                <a:off x="3715152" y="1198803"/>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02" name="Google Shape;5802;p70"/>
            <p:cNvGrpSpPr/>
            <p:nvPr/>
          </p:nvGrpSpPr>
          <p:grpSpPr>
            <a:xfrm>
              <a:off x="2623904" y="1476964"/>
              <a:ext cx="1364245" cy="273000"/>
              <a:chOff x="2623904" y="1476964"/>
              <a:chExt cx="1364245" cy="273000"/>
            </a:xfrm>
          </p:grpSpPr>
          <p:sp>
            <p:nvSpPr>
              <p:cNvPr id="5803" name="Google Shape;5803;p70"/>
              <p:cNvSpPr/>
              <p:nvPr/>
            </p:nvSpPr>
            <p:spPr>
              <a:xfrm>
                <a:off x="2623904" y="1476964"/>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4" name="Google Shape;5804;p70"/>
              <p:cNvSpPr/>
              <p:nvPr/>
            </p:nvSpPr>
            <p:spPr>
              <a:xfrm>
                <a:off x="2896716" y="1476964"/>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5" name="Google Shape;5805;p70"/>
              <p:cNvSpPr/>
              <p:nvPr/>
            </p:nvSpPr>
            <p:spPr>
              <a:xfrm>
                <a:off x="3169527" y="1476964"/>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6" name="Google Shape;5806;p70"/>
              <p:cNvSpPr/>
              <p:nvPr/>
            </p:nvSpPr>
            <p:spPr>
              <a:xfrm>
                <a:off x="3442338" y="1476964"/>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07" name="Google Shape;5807;p70"/>
              <p:cNvSpPr/>
              <p:nvPr/>
            </p:nvSpPr>
            <p:spPr>
              <a:xfrm>
                <a:off x="3715149" y="1476964"/>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08" name="Google Shape;5808;p70"/>
            <p:cNvGrpSpPr/>
            <p:nvPr/>
          </p:nvGrpSpPr>
          <p:grpSpPr>
            <a:xfrm>
              <a:off x="2623907" y="1749775"/>
              <a:ext cx="1364245" cy="273000"/>
              <a:chOff x="2623907" y="1749775"/>
              <a:chExt cx="1364245" cy="273000"/>
            </a:xfrm>
          </p:grpSpPr>
          <p:sp>
            <p:nvSpPr>
              <p:cNvPr id="5809" name="Google Shape;5809;p70"/>
              <p:cNvSpPr/>
              <p:nvPr/>
            </p:nvSpPr>
            <p:spPr>
              <a:xfrm>
                <a:off x="2623907"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0" name="Google Shape;5810;p70"/>
              <p:cNvSpPr/>
              <p:nvPr/>
            </p:nvSpPr>
            <p:spPr>
              <a:xfrm>
                <a:off x="2896718"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1" name="Google Shape;5811;p70"/>
              <p:cNvSpPr/>
              <p:nvPr/>
            </p:nvSpPr>
            <p:spPr>
              <a:xfrm>
                <a:off x="3169529" y="1749775"/>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2" name="Google Shape;5812;p70"/>
              <p:cNvSpPr/>
              <p:nvPr/>
            </p:nvSpPr>
            <p:spPr>
              <a:xfrm>
                <a:off x="3442341" y="1749775"/>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3" name="Google Shape;5813;p70"/>
              <p:cNvSpPr/>
              <p:nvPr/>
            </p:nvSpPr>
            <p:spPr>
              <a:xfrm>
                <a:off x="3715152" y="1749775"/>
                <a:ext cx="273000" cy="273000"/>
              </a:xfrm>
              <a:prstGeom prst="diamond">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14" name="Google Shape;5814;p70"/>
            <p:cNvGrpSpPr/>
            <p:nvPr/>
          </p:nvGrpSpPr>
          <p:grpSpPr>
            <a:xfrm>
              <a:off x="2623904" y="2027936"/>
              <a:ext cx="1364245" cy="273000"/>
              <a:chOff x="2623904" y="2027936"/>
              <a:chExt cx="1364245" cy="273000"/>
            </a:xfrm>
          </p:grpSpPr>
          <p:sp>
            <p:nvSpPr>
              <p:cNvPr id="5815" name="Google Shape;5815;p70"/>
              <p:cNvSpPr/>
              <p:nvPr/>
            </p:nvSpPr>
            <p:spPr>
              <a:xfrm>
                <a:off x="2623904"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6" name="Google Shape;5816;p70"/>
              <p:cNvSpPr/>
              <p:nvPr/>
            </p:nvSpPr>
            <p:spPr>
              <a:xfrm>
                <a:off x="2896716"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7" name="Google Shape;5817;p70"/>
              <p:cNvSpPr/>
              <p:nvPr/>
            </p:nvSpPr>
            <p:spPr>
              <a:xfrm>
                <a:off x="3169527"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8" name="Google Shape;5818;p70"/>
              <p:cNvSpPr/>
              <p:nvPr/>
            </p:nvSpPr>
            <p:spPr>
              <a:xfrm>
                <a:off x="3442338"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19" name="Google Shape;5819;p70"/>
              <p:cNvSpPr/>
              <p:nvPr/>
            </p:nvSpPr>
            <p:spPr>
              <a:xfrm>
                <a:off x="3715149" y="2027936"/>
                <a:ext cx="273000" cy="273000"/>
              </a:xfrm>
              <a:prstGeom prst="diamond">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820" name="Google Shape;5820;p70"/>
          <p:cNvGrpSpPr/>
          <p:nvPr/>
        </p:nvGrpSpPr>
        <p:grpSpPr>
          <a:xfrm>
            <a:off x="3484487" y="3543835"/>
            <a:ext cx="1850055" cy="212165"/>
            <a:chOff x="3200660" y="2180272"/>
            <a:chExt cx="2563824" cy="378237"/>
          </a:xfrm>
        </p:grpSpPr>
        <p:sp>
          <p:nvSpPr>
            <p:cNvPr id="5821" name="Google Shape;5821;p70"/>
            <p:cNvSpPr/>
            <p:nvPr/>
          </p:nvSpPr>
          <p:spPr>
            <a:xfrm>
              <a:off x="3200660" y="2180272"/>
              <a:ext cx="108240" cy="378237"/>
            </a:xfrm>
            <a:custGeom>
              <a:avLst/>
              <a:gdLst/>
              <a:ahLst/>
              <a:cxnLst/>
              <a:rect l="l" t="t" r="r" b="b"/>
              <a:pathLst>
                <a:path w="8543" h="37890" extrusionOk="0">
                  <a:moveTo>
                    <a:pt x="606" y="1"/>
                  </a:moveTo>
                  <a:cubicBezTo>
                    <a:pt x="276" y="1"/>
                    <a:pt x="0" y="263"/>
                    <a:pt x="0" y="607"/>
                  </a:cubicBezTo>
                  <a:lnTo>
                    <a:pt x="0" y="37270"/>
                  </a:lnTo>
                  <a:cubicBezTo>
                    <a:pt x="0" y="37614"/>
                    <a:pt x="276" y="37890"/>
                    <a:pt x="606" y="37890"/>
                  </a:cubicBezTo>
                  <a:lnTo>
                    <a:pt x="7922" y="37890"/>
                  </a:lnTo>
                  <a:cubicBezTo>
                    <a:pt x="8267" y="37890"/>
                    <a:pt x="8542" y="37614"/>
                    <a:pt x="8542" y="37270"/>
                  </a:cubicBezTo>
                  <a:lnTo>
                    <a:pt x="8542" y="607"/>
                  </a:lnTo>
                  <a:cubicBezTo>
                    <a:pt x="8542" y="263"/>
                    <a:pt x="8267" y="1"/>
                    <a:pt x="7922"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2" name="Google Shape;5822;p70"/>
            <p:cNvSpPr/>
            <p:nvPr/>
          </p:nvSpPr>
          <p:spPr>
            <a:xfrm>
              <a:off x="3345104" y="2180272"/>
              <a:ext cx="108240" cy="378237"/>
            </a:xfrm>
            <a:custGeom>
              <a:avLst/>
              <a:gdLst/>
              <a:ahLst/>
              <a:cxnLst/>
              <a:rect l="l" t="t" r="r" b="b"/>
              <a:pathLst>
                <a:path w="8543" h="37890" extrusionOk="0">
                  <a:moveTo>
                    <a:pt x="607" y="1"/>
                  </a:moveTo>
                  <a:cubicBezTo>
                    <a:pt x="262" y="1"/>
                    <a:pt x="0" y="263"/>
                    <a:pt x="0" y="607"/>
                  </a:cubicBezTo>
                  <a:lnTo>
                    <a:pt x="0" y="37270"/>
                  </a:lnTo>
                  <a:cubicBezTo>
                    <a:pt x="0"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3" name="Google Shape;5823;p70"/>
            <p:cNvSpPr/>
            <p:nvPr/>
          </p:nvSpPr>
          <p:spPr>
            <a:xfrm>
              <a:off x="3489548" y="2180272"/>
              <a:ext cx="108240" cy="378237"/>
            </a:xfrm>
            <a:custGeom>
              <a:avLst/>
              <a:gdLst/>
              <a:ahLst/>
              <a:cxnLst/>
              <a:rect l="l" t="t" r="r" b="b"/>
              <a:pathLst>
                <a:path w="8543" h="37890" extrusionOk="0">
                  <a:moveTo>
                    <a:pt x="621" y="1"/>
                  </a:moveTo>
                  <a:cubicBezTo>
                    <a:pt x="276" y="1"/>
                    <a:pt x="1" y="263"/>
                    <a:pt x="1" y="607"/>
                  </a:cubicBezTo>
                  <a:lnTo>
                    <a:pt x="1" y="37270"/>
                  </a:lnTo>
                  <a:cubicBezTo>
                    <a:pt x="1" y="37614"/>
                    <a:pt x="276" y="37890"/>
                    <a:pt x="621" y="37890"/>
                  </a:cubicBezTo>
                  <a:lnTo>
                    <a:pt x="7937" y="37890"/>
                  </a:lnTo>
                  <a:cubicBezTo>
                    <a:pt x="8281" y="37890"/>
                    <a:pt x="8543" y="37614"/>
                    <a:pt x="8543" y="37270"/>
                  </a:cubicBezTo>
                  <a:lnTo>
                    <a:pt x="8543" y="607"/>
                  </a:lnTo>
                  <a:cubicBezTo>
                    <a:pt x="8543" y="263"/>
                    <a:pt x="8281" y="1"/>
                    <a:pt x="7937"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4" name="Google Shape;5824;p70"/>
            <p:cNvSpPr/>
            <p:nvPr/>
          </p:nvSpPr>
          <p:spPr>
            <a:xfrm>
              <a:off x="3633992" y="2180272"/>
              <a:ext cx="108252" cy="378237"/>
            </a:xfrm>
            <a:custGeom>
              <a:avLst/>
              <a:gdLst/>
              <a:ahLst/>
              <a:cxnLst/>
              <a:rect l="l" t="t" r="r" b="b"/>
              <a:pathLst>
                <a:path w="8544" h="37890" extrusionOk="0">
                  <a:moveTo>
                    <a:pt x="621" y="1"/>
                  </a:moveTo>
                  <a:cubicBezTo>
                    <a:pt x="277" y="1"/>
                    <a:pt x="1" y="277"/>
                    <a:pt x="1" y="607"/>
                  </a:cubicBezTo>
                  <a:lnTo>
                    <a:pt x="1" y="37270"/>
                  </a:lnTo>
                  <a:cubicBezTo>
                    <a:pt x="1" y="37614"/>
                    <a:pt x="277" y="37890"/>
                    <a:pt x="621" y="37890"/>
                  </a:cubicBezTo>
                  <a:lnTo>
                    <a:pt x="7937" y="37890"/>
                  </a:lnTo>
                  <a:cubicBezTo>
                    <a:pt x="8268" y="37890"/>
                    <a:pt x="8543" y="37614"/>
                    <a:pt x="8543" y="37270"/>
                  </a:cubicBezTo>
                  <a:lnTo>
                    <a:pt x="8543" y="607"/>
                  </a:lnTo>
                  <a:cubicBezTo>
                    <a:pt x="8543" y="277"/>
                    <a:pt x="8268" y="1"/>
                    <a:pt x="7937"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5" name="Google Shape;5825;p70"/>
            <p:cNvSpPr/>
            <p:nvPr/>
          </p:nvSpPr>
          <p:spPr>
            <a:xfrm>
              <a:off x="3778448" y="2180272"/>
              <a:ext cx="108240" cy="378097"/>
            </a:xfrm>
            <a:custGeom>
              <a:avLst/>
              <a:gdLst/>
              <a:ahLst/>
              <a:cxnLst/>
              <a:rect l="l" t="t" r="r" b="b"/>
              <a:pathLst>
                <a:path w="8543" h="37876" extrusionOk="0">
                  <a:moveTo>
                    <a:pt x="606" y="1"/>
                  </a:moveTo>
                  <a:cubicBezTo>
                    <a:pt x="276" y="1"/>
                    <a:pt x="0" y="263"/>
                    <a:pt x="0" y="607"/>
                  </a:cubicBezTo>
                  <a:lnTo>
                    <a:pt x="0" y="37270"/>
                  </a:lnTo>
                  <a:cubicBezTo>
                    <a:pt x="0" y="37614"/>
                    <a:pt x="276" y="37876"/>
                    <a:pt x="606"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6" name="Google Shape;5826;p70"/>
            <p:cNvSpPr/>
            <p:nvPr/>
          </p:nvSpPr>
          <p:spPr>
            <a:xfrm>
              <a:off x="3922892" y="2180272"/>
              <a:ext cx="108240" cy="378237"/>
            </a:xfrm>
            <a:custGeom>
              <a:avLst/>
              <a:gdLst/>
              <a:ahLst/>
              <a:cxnLst/>
              <a:rect l="l" t="t" r="r" b="b"/>
              <a:pathLst>
                <a:path w="8543" h="37890" extrusionOk="0">
                  <a:moveTo>
                    <a:pt x="607" y="1"/>
                  </a:moveTo>
                  <a:cubicBezTo>
                    <a:pt x="276" y="1"/>
                    <a:pt x="0" y="277"/>
                    <a:pt x="0" y="607"/>
                  </a:cubicBezTo>
                  <a:lnTo>
                    <a:pt x="0" y="37270"/>
                  </a:lnTo>
                  <a:cubicBezTo>
                    <a:pt x="0" y="37614"/>
                    <a:pt x="276"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7" name="Google Shape;5827;p70"/>
            <p:cNvSpPr/>
            <p:nvPr/>
          </p:nvSpPr>
          <p:spPr>
            <a:xfrm>
              <a:off x="4067336" y="2180272"/>
              <a:ext cx="108240" cy="378237"/>
            </a:xfrm>
            <a:custGeom>
              <a:avLst/>
              <a:gdLst/>
              <a:ahLst/>
              <a:cxnLst/>
              <a:rect l="l" t="t" r="r" b="b"/>
              <a:pathLst>
                <a:path w="8543" h="37890" extrusionOk="0">
                  <a:moveTo>
                    <a:pt x="607" y="1"/>
                  </a:moveTo>
                  <a:cubicBezTo>
                    <a:pt x="262" y="1"/>
                    <a:pt x="1" y="263"/>
                    <a:pt x="1" y="607"/>
                  </a:cubicBezTo>
                  <a:lnTo>
                    <a:pt x="1" y="37270"/>
                  </a:lnTo>
                  <a:cubicBezTo>
                    <a:pt x="1" y="37614"/>
                    <a:pt x="262"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8" name="Google Shape;5828;p70"/>
            <p:cNvSpPr/>
            <p:nvPr/>
          </p:nvSpPr>
          <p:spPr>
            <a:xfrm>
              <a:off x="4211780" y="2180272"/>
              <a:ext cx="108252" cy="378237"/>
            </a:xfrm>
            <a:custGeom>
              <a:avLst/>
              <a:gdLst/>
              <a:ahLst/>
              <a:cxnLst/>
              <a:rect l="l" t="t" r="r" b="b"/>
              <a:pathLst>
                <a:path w="8544" h="37890" extrusionOk="0">
                  <a:moveTo>
                    <a:pt x="621" y="1"/>
                  </a:moveTo>
                  <a:cubicBezTo>
                    <a:pt x="276" y="1"/>
                    <a:pt x="1" y="277"/>
                    <a:pt x="1" y="607"/>
                  </a:cubicBezTo>
                  <a:lnTo>
                    <a:pt x="1" y="37270"/>
                  </a:lnTo>
                  <a:cubicBezTo>
                    <a:pt x="1" y="37614"/>
                    <a:pt x="276" y="37890"/>
                    <a:pt x="621" y="37890"/>
                  </a:cubicBezTo>
                  <a:lnTo>
                    <a:pt x="7937" y="37890"/>
                  </a:lnTo>
                  <a:cubicBezTo>
                    <a:pt x="8281" y="37890"/>
                    <a:pt x="8543" y="37614"/>
                    <a:pt x="8543" y="37270"/>
                  </a:cubicBezTo>
                  <a:lnTo>
                    <a:pt x="8543" y="607"/>
                  </a:lnTo>
                  <a:cubicBezTo>
                    <a:pt x="8543" y="277"/>
                    <a:pt x="8281" y="1"/>
                    <a:pt x="7937"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29" name="Google Shape;5829;p70"/>
            <p:cNvSpPr/>
            <p:nvPr/>
          </p:nvSpPr>
          <p:spPr>
            <a:xfrm>
              <a:off x="4356236" y="2180272"/>
              <a:ext cx="108240" cy="378097"/>
            </a:xfrm>
            <a:custGeom>
              <a:avLst/>
              <a:gdLst/>
              <a:ahLst/>
              <a:cxnLst/>
              <a:rect l="l" t="t" r="r" b="b"/>
              <a:pathLst>
                <a:path w="8543" h="37876" extrusionOk="0">
                  <a:moveTo>
                    <a:pt x="620" y="1"/>
                  </a:moveTo>
                  <a:cubicBezTo>
                    <a:pt x="276" y="1"/>
                    <a:pt x="0" y="263"/>
                    <a:pt x="0" y="607"/>
                  </a:cubicBezTo>
                  <a:lnTo>
                    <a:pt x="0" y="37270"/>
                  </a:lnTo>
                  <a:cubicBezTo>
                    <a:pt x="0" y="37614"/>
                    <a:pt x="276" y="37876"/>
                    <a:pt x="620" y="37876"/>
                  </a:cubicBezTo>
                  <a:lnTo>
                    <a:pt x="7936" y="37876"/>
                  </a:lnTo>
                  <a:cubicBezTo>
                    <a:pt x="8267" y="37876"/>
                    <a:pt x="8542" y="37614"/>
                    <a:pt x="8542" y="37270"/>
                  </a:cubicBezTo>
                  <a:lnTo>
                    <a:pt x="8542" y="607"/>
                  </a:lnTo>
                  <a:cubicBezTo>
                    <a:pt x="8542" y="263"/>
                    <a:pt x="8267" y="1"/>
                    <a:pt x="793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0" name="Google Shape;5830;p70"/>
            <p:cNvSpPr/>
            <p:nvPr/>
          </p:nvSpPr>
          <p:spPr>
            <a:xfrm>
              <a:off x="4500680" y="2180272"/>
              <a:ext cx="108240" cy="378237"/>
            </a:xfrm>
            <a:custGeom>
              <a:avLst/>
              <a:gdLst/>
              <a:ahLst/>
              <a:cxnLst/>
              <a:rect l="l" t="t" r="r" b="b"/>
              <a:pathLst>
                <a:path w="8543" h="37890" extrusionOk="0">
                  <a:moveTo>
                    <a:pt x="606" y="1"/>
                  </a:moveTo>
                  <a:cubicBezTo>
                    <a:pt x="276" y="1"/>
                    <a:pt x="0" y="277"/>
                    <a:pt x="0" y="607"/>
                  </a:cubicBezTo>
                  <a:lnTo>
                    <a:pt x="0" y="37270"/>
                  </a:lnTo>
                  <a:cubicBezTo>
                    <a:pt x="0" y="37614"/>
                    <a:pt x="276" y="37890"/>
                    <a:pt x="606" y="37890"/>
                  </a:cubicBezTo>
                  <a:lnTo>
                    <a:pt x="7936" y="37890"/>
                  </a:lnTo>
                  <a:cubicBezTo>
                    <a:pt x="8267" y="37890"/>
                    <a:pt x="8542" y="37614"/>
                    <a:pt x="8542" y="37270"/>
                  </a:cubicBezTo>
                  <a:lnTo>
                    <a:pt x="8542" y="607"/>
                  </a:lnTo>
                  <a:cubicBezTo>
                    <a:pt x="8542" y="277"/>
                    <a:pt x="8267" y="1"/>
                    <a:pt x="793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1" name="Google Shape;5831;p70"/>
            <p:cNvSpPr/>
            <p:nvPr/>
          </p:nvSpPr>
          <p:spPr>
            <a:xfrm>
              <a:off x="4645124" y="2180272"/>
              <a:ext cx="108240" cy="378097"/>
            </a:xfrm>
            <a:custGeom>
              <a:avLst/>
              <a:gdLst/>
              <a:ahLst/>
              <a:cxnLst/>
              <a:rect l="l" t="t" r="r" b="b"/>
              <a:pathLst>
                <a:path w="8543" h="37876" extrusionOk="0">
                  <a:moveTo>
                    <a:pt x="607" y="1"/>
                  </a:moveTo>
                  <a:cubicBezTo>
                    <a:pt x="276" y="1"/>
                    <a:pt x="0" y="263"/>
                    <a:pt x="0" y="607"/>
                  </a:cubicBezTo>
                  <a:lnTo>
                    <a:pt x="0" y="37270"/>
                  </a:lnTo>
                  <a:cubicBezTo>
                    <a:pt x="0" y="37614"/>
                    <a:pt x="276" y="37876"/>
                    <a:pt x="607" y="37876"/>
                  </a:cubicBezTo>
                  <a:lnTo>
                    <a:pt x="7936" y="37876"/>
                  </a:lnTo>
                  <a:cubicBezTo>
                    <a:pt x="8267" y="37876"/>
                    <a:pt x="8543" y="37614"/>
                    <a:pt x="8543" y="37270"/>
                  </a:cubicBezTo>
                  <a:lnTo>
                    <a:pt x="8543" y="607"/>
                  </a:lnTo>
                  <a:cubicBezTo>
                    <a:pt x="8543" y="263"/>
                    <a:pt x="8267" y="1"/>
                    <a:pt x="7936"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2" name="Google Shape;5832;p70"/>
            <p:cNvSpPr/>
            <p:nvPr/>
          </p:nvSpPr>
          <p:spPr>
            <a:xfrm>
              <a:off x="4789568" y="2180272"/>
              <a:ext cx="108240" cy="378237"/>
            </a:xfrm>
            <a:custGeom>
              <a:avLst/>
              <a:gdLst/>
              <a:ahLst/>
              <a:cxnLst/>
              <a:rect l="l" t="t" r="r" b="b"/>
              <a:pathLst>
                <a:path w="8543" h="37890" extrusionOk="0">
                  <a:moveTo>
                    <a:pt x="607" y="1"/>
                  </a:moveTo>
                  <a:cubicBezTo>
                    <a:pt x="262" y="1"/>
                    <a:pt x="1" y="277"/>
                    <a:pt x="1" y="607"/>
                  </a:cubicBezTo>
                  <a:lnTo>
                    <a:pt x="1" y="37270"/>
                  </a:lnTo>
                  <a:cubicBezTo>
                    <a:pt x="1" y="37614"/>
                    <a:pt x="262" y="37890"/>
                    <a:pt x="607" y="37890"/>
                  </a:cubicBezTo>
                  <a:lnTo>
                    <a:pt x="7923" y="37890"/>
                  </a:lnTo>
                  <a:cubicBezTo>
                    <a:pt x="8267" y="37890"/>
                    <a:pt x="8543" y="37614"/>
                    <a:pt x="8543" y="37270"/>
                  </a:cubicBezTo>
                  <a:lnTo>
                    <a:pt x="8543" y="607"/>
                  </a:lnTo>
                  <a:cubicBezTo>
                    <a:pt x="8543" y="277"/>
                    <a:pt x="8267" y="1"/>
                    <a:pt x="79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3" name="Google Shape;5833;p70"/>
            <p:cNvSpPr/>
            <p:nvPr/>
          </p:nvSpPr>
          <p:spPr>
            <a:xfrm>
              <a:off x="4934012" y="2180272"/>
              <a:ext cx="108240" cy="378237"/>
            </a:xfrm>
            <a:custGeom>
              <a:avLst/>
              <a:gdLst/>
              <a:ahLst/>
              <a:cxnLst/>
              <a:rect l="l" t="t" r="r" b="b"/>
              <a:pathLst>
                <a:path w="8543" h="37890" extrusionOk="0">
                  <a:moveTo>
                    <a:pt x="607" y="1"/>
                  </a:moveTo>
                  <a:cubicBezTo>
                    <a:pt x="263" y="1"/>
                    <a:pt x="1" y="263"/>
                    <a:pt x="1" y="607"/>
                  </a:cubicBezTo>
                  <a:lnTo>
                    <a:pt x="1" y="37270"/>
                  </a:lnTo>
                  <a:cubicBezTo>
                    <a:pt x="1" y="37614"/>
                    <a:pt x="263" y="37890"/>
                    <a:pt x="607" y="37890"/>
                  </a:cubicBezTo>
                  <a:lnTo>
                    <a:pt x="7923" y="37890"/>
                  </a:lnTo>
                  <a:cubicBezTo>
                    <a:pt x="8267" y="37890"/>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4" name="Google Shape;5834;p70"/>
            <p:cNvSpPr/>
            <p:nvPr/>
          </p:nvSpPr>
          <p:spPr>
            <a:xfrm>
              <a:off x="5078456" y="2180272"/>
              <a:ext cx="108240" cy="378237"/>
            </a:xfrm>
            <a:custGeom>
              <a:avLst/>
              <a:gdLst/>
              <a:ahLst/>
              <a:cxnLst/>
              <a:rect l="l" t="t" r="r" b="b"/>
              <a:pathLst>
                <a:path w="8543" h="37890" extrusionOk="0">
                  <a:moveTo>
                    <a:pt x="620" y="1"/>
                  </a:moveTo>
                  <a:cubicBezTo>
                    <a:pt x="276" y="1"/>
                    <a:pt x="0" y="277"/>
                    <a:pt x="0" y="607"/>
                  </a:cubicBezTo>
                  <a:lnTo>
                    <a:pt x="0" y="37270"/>
                  </a:lnTo>
                  <a:cubicBezTo>
                    <a:pt x="0" y="37614"/>
                    <a:pt x="276" y="37890"/>
                    <a:pt x="620" y="37890"/>
                  </a:cubicBezTo>
                  <a:lnTo>
                    <a:pt x="7936" y="37890"/>
                  </a:lnTo>
                  <a:cubicBezTo>
                    <a:pt x="8267" y="37890"/>
                    <a:pt x="8542" y="37614"/>
                    <a:pt x="8542" y="37270"/>
                  </a:cubicBezTo>
                  <a:lnTo>
                    <a:pt x="8542" y="607"/>
                  </a:lnTo>
                  <a:cubicBezTo>
                    <a:pt x="8542" y="277"/>
                    <a:pt x="8267" y="1"/>
                    <a:pt x="793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5" name="Google Shape;5835;p70"/>
            <p:cNvSpPr/>
            <p:nvPr/>
          </p:nvSpPr>
          <p:spPr>
            <a:xfrm>
              <a:off x="5222900" y="2180272"/>
              <a:ext cx="108240" cy="378237"/>
            </a:xfrm>
            <a:custGeom>
              <a:avLst/>
              <a:gdLst/>
              <a:ahLst/>
              <a:cxnLst/>
              <a:rect l="l" t="t" r="r" b="b"/>
              <a:pathLst>
                <a:path w="8543" h="37890" extrusionOk="0">
                  <a:moveTo>
                    <a:pt x="620" y="1"/>
                  </a:moveTo>
                  <a:cubicBezTo>
                    <a:pt x="276" y="1"/>
                    <a:pt x="0" y="263"/>
                    <a:pt x="0" y="607"/>
                  </a:cubicBezTo>
                  <a:lnTo>
                    <a:pt x="0" y="37270"/>
                  </a:lnTo>
                  <a:cubicBezTo>
                    <a:pt x="0" y="37614"/>
                    <a:pt x="276" y="37890"/>
                    <a:pt x="620" y="37890"/>
                  </a:cubicBezTo>
                  <a:lnTo>
                    <a:pt x="7936" y="37890"/>
                  </a:lnTo>
                  <a:cubicBezTo>
                    <a:pt x="8267" y="37890"/>
                    <a:pt x="8543" y="37614"/>
                    <a:pt x="8543" y="37270"/>
                  </a:cubicBezTo>
                  <a:lnTo>
                    <a:pt x="8543" y="607"/>
                  </a:lnTo>
                  <a:cubicBezTo>
                    <a:pt x="8543" y="263"/>
                    <a:pt x="8267" y="1"/>
                    <a:pt x="7936"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6" name="Google Shape;5836;p70"/>
            <p:cNvSpPr/>
            <p:nvPr/>
          </p:nvSpPr>
          <p:spPr>
            <a:xfrm>
              <a:off x="5367343" y="2180272"/>
              <a:ext cx="108240" cy="378237"/>
            </a:xfrm>
            <a:custGeom>
              <a:avLst/>
              <a:gdLst/>
              <a:ahLst/>
              <a:cxnLst/>
              <a:rect l="l" t="t" r="r" b="b"/>
              <a:pathLst>
                <a:path w="8543" h="37890" extrusionOk="0">
                  <a:moveTo>
                    <a:pt x="607" y="1"/>
                  </a:moveTo>
                  <a:cubicBezTo>
                    <a:pt x="276" y="1"/>
                    <a:pt x="1" y="277"/>
                    <a:pt x="1" y="607"/>
                  </a:cubicBezTo>
                  <a:lnTo>
                    <a:pt x="1" y="37270"/>
                  </a:lnTo>
                  <a:cubicBezTo>
                    <a:pt x="1" y="37614"/>
                    <a:pt x="276" y="37890"/>
                    <a:pt x="607" y="37890"/>
                  </a:cubicBezTo>
                  <a:lnTo>
                    <a:pt x="7937" y="37890"/>
                  </a:lnTo>
                  <a:cubicBezTo>
                    <a:pt x="8267" y="37890"/>
                    <a:pt x="8543" y="37614"/>
                    <a:pt x="8543" y="37270"/>
                  </a:cubicBezTo>
                  <a:lnTo>
                    <a:pt x="8543" y="607"/>
                  </a:lnTo>
                  <a:cubicBezTo>
                    <a:pt x="8543" y="277"/>
                    <a:pt x="8267" y="1"/>
                    <a:pt x="7937"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7" name="Google Shape;5837;p70"/>
            <p:cNvSpPr/>
            <p:nvPr/>
          </p:nvSpPr>
          <p:spPr>
            <a:xfrm>
              <a:off x="5511787" y="2180272"/>
              <a:ext cx="108240" cy="378097"/>
            </a:xfrm>
            <a:custGeom>
              <a:avLst/>
              <a:gdLst/>
              <a:ahLst/>
              <a:cxnLst/>
              <a:rect l="l" t="t" r="r" b="b"/>
              <a:pathLst>
                <a:path w="8543" h="37876" extrusionOk="0">
                  <a:moveTo>
                    <a:pt x="607" y="1"/>
                  </a:moveTo>
                  <a:cubicBezTo>
                    <a:pt x="276" y="1"/>
                    <a:pt x="1" y="263"/>
                    <a:pt x="1" y="607"/>
                  </a:cubicBezTo>
                  <a:lnTo>
                    <a:pt x="1" y="37270"/>
                  </a:lnTo>
                  <a:cubicBezTo>
                    <a:pt x="1" y="37614"/>
                    <a:pt x="276" y="37876"/>
                    <a:pt x="607" y="37876"/>
                  </a:cubicBezTo>
                  <a:lnTo>
                    <a:pt x="7923" y="37876"/>
                  </a:lnTo>
                  <a:cubicBezTo>
                    <a:pt x="8267" y="37876"/>
                    <a:pt x="8543" y="37614"/>
                    <a:pt x="8543" y="37270"/>
                  </a:cubicBezTo>
                  <a:lnTo>
                    <a:pt x="8543" y="607"/>
                  </a:lnTo>
                  <a:cubicBezTo>
                    <a:pt x="8543" y="263"/>
                    <a:pt x="8267" y="1"/>
                    <a:pt x="79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38" name="Google Shape;5838;p70"/>
            <p:cNvSpPr/>
            <p:nvPr/>
          </p:nvSpPr>
          <p:spPr>
            <a:xfrm>
              <a:off x="5656231" y="2180272"/>
              <a:ext cx="108252" cy="378237"/>
            </a:xfrm>
            <a:custGeom>
              <a:avLst/>
              <a:gdLst/>
              <a:ahLst/>
              <a:cxnLst/>
              <a:rect l="l" t="t" r="r" b="b"/>
              <a:pathLst>
                <a:path w="8544" h="37890" extrusionOk="0">
                  <a:moveTo>
                    <a:pt x="607" y="1"/>
                  </a:moveTo>
                  <a:cubicBezTo>
                    <a:pt x="263" y="1"/>
                    <a:pt x="1" y="277"/>
                    <a:pt x="1" y="607"/>
                  </a:cubicBezTo>
                  <a:lnTo>
                    <a:pt x="1" y="37270"/>
                  </a:lnTo>
                  <a:cubicBezTo>
                    <a:pt x="1" y="37614"/>
                    <a:pt x="263" y="37890"/>
                    <a:pt x="607" y="37890"/>
                  </a:cubicBezTo>
                  <a:lnTo>
                    <a:pt x="7923" y="37890"/>
                  </a:lnTo>
                  <a:cubicBezTo>
                    <a:pt x="8268" y="37890"/>
                    <a:pt x="8543" y="37614"/>
                    <a:pt x="8543" y="37270"/>
                  </a:cubicBezTo>
                  <a:lnTo>
                    <a:pt x="8543" y="607"/>
                  </a:lnTo>
                  <a:cubicBezTo>
                    <a:pt x="8543" y="277"/>
                    <a:pt x="8268" y="1"/>
                    <a:pt x="7923"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39" name="Google Shape;5839;p70"/>
          <p:cNvGrpSpPr/>
          <p:nvPr/>
        </p:nvGrpSpPr>
        <p:grpSpPr>
          <a:xfrm>
            <a:off x="3479853" y="3914188"/>
            <a:ext cx="1854003" cy="212833"/>
            <a:chOff x="3530150" y="2790075"/>
            <a:chExt cx="1962600" cy="225300"/>
          </a:xfrm>
        </p:grpSpPr>
        <p:sp>
          <p:nvSpPr>
            <p:cNvPr id="5840" name="Google Shape;5840;p70"/>
            <p:cNvSpPr/>
            <p:nvPr/>
          </p:nvSpPr>
          <p:spPr>
            <a:xfrm>
              <a:off x="3530150" y="2790075"/>
              <a:ext cx="1962600" cy="225300"/>
            </a:xfrm>
            <a:prstGeom prst="rec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1" name="Google Shape;5841;p70"/>
            <p:cNvSpPr/>
            <p:nvPr/>
          </p:nvSpPr>
          <p:spPr>
            <a:xfrm>
              <a:off x="3530150" y="2790075"/>
              <a:ext cx="1110000" cy="2253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42" name="Google Shape;5842;p70"/>
          <p:cNvGrpSpPr/>
          <p:nvPr/>
        </p:nvGrpSpPr>
        <p:grpSpPr>
          <a:xfrm>
            <a:off x="3479931" y="4285207"/>
            <a:ext cx="1882172" cy="205567"/>
            <a:chOff x="3558802" y="4011244"/>
            <a:chExt cx="1866000" cy="111600"/>
          </a:xfrm>
        </p:grpSpPr>
        <p:sp>
          <p:nvSpPr>
            <p:cNvPr id="5843" name="Google Shape;5843;p70"/>
            <p:cNvSpPr/>
            <p:nvPr/>
          </p:nvSpPr>
          <p:spPr>
            <a:xfrm rot="5400000" flipH="1">
              <a:off x="4436152" y="3134077"/>
              <a:ext cx="111300" cy="1866000"/>
            </a:xfrm>
            <a:prstGeom prst="round2SameRect">
              <a:avLst>
                <a:gd name="adj1" fmla="val 50000"/>
                <a:gd name="adj2" fmla="val 50000"/>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4" name="Google Shape;5844;p70"/>
            <p:cNvSpPr/>
            <p:nvPr/>
          </p:nvSpPr>
          <p:spPr>
            <a:xfrm rot="5400000" flipH="1">
              <a:off x="4157232" y="3412894"/>
              <a:ext cx="111600" cy="1308300"/>
            </a:xfrm>
            <a:prstGeom prst="round2SameRect">
              <a:avLst>
                <a:gd name="adj1" fmla="val 50000"/>
                <a:gd name="adj2" fmla="val 50000"/>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45" name="Google Shape;5845;p70"/>
          <p:cNvGrpSpPr/>
          <p:nvPr/>
        </p:nvGrpSpPr>
        <p:grpSpPr>
          <a:xfrm>
            <a:off x="3480314" y="3225968"/>
            <a:ext cx="1844671" cy="159681"/>
            <a:chOff x="3465975" y="2270258"/>
            <a:chExt cx="1986364" cy="171947"/>
          </a:xfrm>
        </p:grpSpPr>
        <p:sp>
          <p:nvSpPr>
            <p:cNvPr id="5846" name="Google Shape;5846;p70"/>
            <p:cNvSpPr/>
            <p:nvPr/>
          </p:nvSpPr>
          <p:spPr>
            <a:xfrm rot="-5400000">
              <a:off x="372518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7" name="Google Shape;5847;p70"/>
            <p:cNvSpPr/>
            <p:nvPr/>
          </p:nvSpPr>
          <p:spPr>
            <a:xfrm rot="-5400000">
              <a:off x="3984394"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8" name="Google Shape;5848;p70"/>
            <p:cNvSpPr/>
            <p:nvPr/>
          </p:nvSpPr>
          <p:spPr>
            <a:xfrm rot="-5400000">
              <a:off x="4243603" y="2270305"/>
              <a:ext cx="171900" cy="1719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49" name="Google Shape;5849;p70"/>
            <p:cNvSpPr/>
            <p:nvPr/>
          </p:nvSpPr>
          <p:spPr>
            <a:xfrm rot="-5400000">
              <a:off x="4502812" y="2270305"/>
              <a:ext cx="171900" cy="1719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0" name="Google Shape;5850;p70"/>
            <p:cNvSpPr/>
            <p:nvPr/>
          </p:nvSpPr>
          <p:spPr>
            <a:xfrm rot="-5400000">
              <a:off x="4762021" y="2270305"/>
              <a:ext cx="171900" cy="1719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1" name="Google Shape;5851;p70"/>
            <p:cNvSpPr/>
            <p:nvPr/>
          </p:nvSpPr>
          <p:spPr>
            <a:xfrm rot="-5400000">
              <a:off x="3465975" y="2270305"/>
              <a:ext cx="171900" cy="171900"/>
            </a:xfrm>
            <a:prstGeom prst="ellipse">
              <a:avLst/>
            </a:prstGeom>
            <a:solidFill>
              <a:srgbClr val="5F7D95"/>
            </a:solidFill>
            <a:ln w="19050" cap="flat" cmpd="sng">
              <a:solidFill>
                <a:srgbClr val="5F7D95"/>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2" name="Google Shape;5852;p70"/>
            <p:cNvSpPr/>
            <p:nvPr/>
          </p:nvSpPr>
          <p:spPr>
            <a:xfrm rot="-5400000">
              <a:off x="5021230" y="2270258"/>
              <a:ext cx="171900" cy="1719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3" name="Google Shape;5853;p70"/>
            <p:cNvSpPr/>
            <p:nvPr/>
          </p:nvSpPr>
          <p:spPr>
            <a:xfrm rot="-5400000">
              <a:off x="5280440" y="2270258"/>
              <a:ext cx="171900" cy="171900"/>
            </a:xfrm>
            <a:prstGeom prst="ellipse">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54" name="Google Shape;5854;p70"/>
          <p:cNvGrpSpPr/>
          <p:nvPr/>
        </p:nvGrpSpPr>
        <p:grpSpPr>
          <a:xfrm>
            <a:off x="3494992" y="5044331"/>
            <a:ext cx="1826041" cy="260613"/>
            <a:chOff x="723300" y="4253549"/>
            <a:chExt cx="2276482" cy="324900"/>
          </a:xfrm>
        </p:grpSpPr>
        <p:sp>
          <p:nvSpPr>
            <p:cNvPr id="5855" name="Google Shape;5855;p70"/>
            <p:cNvSpPr/>
            <p:nvPr/>
          </p:nvSpPr>
          <p:spPr>
            <a:xfrm>
              <a:off x="723300"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6" name="Google Shape;5856;p70"/>
            <p:cNvSpPr/>
            <p:nvPr/>
          </p:nvSpPr>
          <p:spPr>
            <a:xfrm>
              <a:off x="1206995"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7" name="Google Shape;5857;p70"/>
            <p:cNvSpPr/>
            <p:nvPr/>
          </p:nvSpPr>
          <p:spPr>
            <a:xfrm>
              <a:off x="1690691"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8" name="Google Shape;5858;p70"/>
            <p:cNvSpPr/>
            <p:nvPr/>
          </p:nvSpPr>
          <p:spPr>
            <a:xfrm>
              <a:off x="2174386" y="4253549"/>
              <a:ext cx="341700" cy="324900"/>
            </a:xfrm>
            <a:prstGeom prst="star5">
              <a:avLst>
                <a:gd name="adj" fmla="val 19098"/>
                <a:gd name="hf" fmla="val 105146"/>
                <a:gd name="vf" fmla="val 110557"/>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59" name="Google Shape;5859;p70"/>
            <p:cNvSpPr/>
            <p:nvPr/>
          </p:nvSpPr>
          <p:spPr>
            <a:xfrm>
              <a:off x="2658082" y="4253549"/>
              <a:ext cx="341700" cy="324900"/>
            </a:xfrm>
            <a:prstGeom prst="star5">
              <a:avLst>
                <a:gd name="adj" fmla="val 19098"/>
                <a:gd name="hf" fmla="val 105146"/>
                <a:gd name="vf" fmla="val 110557"/>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60" name="Google Shape;5860;p70"/>
          <p:cNvGrpSpPr/>
          <p:nvPr/>
        </p:nvGrpSpPr>
        <p:grpSpPr>
          <a:xfrm>
            <a:off x="3481071" y="4645986"/>
            <a:ext cx="1852088" cy="240159"/>
            <a:chOff x="705948" y="3788465"/>
            <a:chExt cx="2308953" cy="299400"/>
          </a:xfrm>
        </p:grpSpPr>
        <p:sp>
          <p:nvSpPr>
            <p:cNvPr id="5861" name="Google Shape;5861;p70"/>
            <p:cNvSpPr/>
            <p:nvPr/>
          </p:nvSpPr>
          <p:spPr>
            <a:xfrm>
              <a:off x="705948"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2" name="Google Shape;5862;p70"/>
            <p:cNvSpPr/>
            <p:nvPr/>
          </p:nvSpPr>
          <p:spPr>
            <a:xfrm>
              <a:off x="1209923"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3" name="Google Shape;5863;p70"/>
            <p:cNvSpPr/>
            <p:nvPr/>
          </p:nvSpPr>
          <p:spPr>
            <a:xfrm>
              <a:off x="1713905" y="3788465"/>
              <a:ext cx="335400" cy="299400"/>
            </a:xfrm>
            <a:prstGeom prst="heart">
              <a:avLst/>
            </a:pr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4" name="Google Shape;5864;p70"/>
            <p:cNvSpPr/>
            <p:nvPr/>
          </p:nvSpPr>
          <p:spPr>
            <a:xfrm>
              <a:off x="2189639" y="3788465"/>
              <a:ext cx="335400" cy="299400"/>
            </a:xfrm>
            <a:prstGeom prst="hear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65" name="Google Shape;5865;p70"/>
            <p:cNvSpPr/>
            <p:nvPr/>
          </p:nvSpPr>
          <p:spPr>
            <a:xfrm>
              <a:off x="2679500" y="3788465"/>
              <a:ext cx="335400" cy="299400"/>
            </a:xfrm>
            <a:prstGeom prst="heart">
              <a:avLst/>
            </a:pr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66" name="Google Shape;5866;p70"/>
          <p:cNvGrpSpPr/>
          <p:nvPr/>
        </p:nvGrpSpPr>
        <p:grpSpPr>
          <a:xfrm>
            <a:off x="5610393" y="2784591"/>
            <a:ext cx="1911761" cy="255335"/>
            <a:chOff x="4273350" y="2088443"/>
            <a:chExt cx="1433821" cy="191501"/>
          </a:xfrm>
        </p:grpSpPr>
        <p:grpSp>
          <p:nvGrpSpPr>
            <p:cNvPr id="5867" name="Google Shape;5867;p70"/>
            <p:cNvGrpSpPr/>
            <p:nvPr/>
          </p:nvGrpSpPr>
          <p:grpSpPr>
            <a:xfrm>
              <a:off x="4273350" y="2088443"/>
              <a:ext cx="1433821" cy="0"/>
              <a:chOff x="5224975" y="2962250"/>
              <a:chExt cx="1544400" cy="0"/>
            </a:xfrm>
          </p:grpSpPr>
          <p:cxnSp>
            <p:nvCxnSpPr>
              <p:cNvPr id="5868" name="Google Shape;5868;p70"/>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869" name="Google Shape;5869;p70"/>
              <p:cNvCxnSpPr/>
              <p:nvPr/>
            </p:nvCxnSpPr>
            <p:spPr>
              <a:xfrm>
                <a:off x="5225150" y="2962250"/>
                <a:ext cx="453300" cy="0"/>
              </a:xfrm>
              <a:prstGeom prst="straightConnector1">
                <a:avLst/>
              </a:prstGeom>
              <a:noFill/>
              <a:ln w="19050" cap="flat" cmpd="sng">
                <a:solidFill>
                  <a:srgbClr val="7994A9"/>
                </a:solidFill>
                <a:prstDash val="solid"/>
                <a:round/>
                <a:headEnd type="none" w="med" len="med"/>
                <a:tailEnd type="oval" w="med" len="med"/>
              </a:ln>
            </p:spPr>
          </p:cxnSp>
        </p:grpSp>
        <p:grpSp>
          <p:nvGrpSpPr>
            <p:cNvPr id="5870" name="Google Shape;5870;p70"/>
            <p:cNvGrpSpPr/>
            <p:nvPr/>
          </p:nvGrpSpPr>
          <p:grpSpPr>
            <a:xfrm>
              <a:off x="4273350" y="2279944"/>
              <a:ext cx="1433821" cy="0"/>
              <a:chOff x="5224975" y="2962250"/>
              <a:chExt cx="1544400" cy="0"/>
            </a:xfrm>
          </p:grpSpPr>
          <p:cxnSp>
            <p:nvCxnSpPr>
              <p:cNvPr id="5871" name="Google Shape;5871;p70"/>
              <p:cNvCxnSpPr/>
              <p:nvPr/>
            </p:nvCxnSpPr>
            <p:spPr>
              <a:xfrm>
                <a:off x="5224975" y="2962250"/>
                <a:ext cx="1544400" cy="0"/>
              </a:xfrm>
              <a:prstGeom prst="straightConnector1">
                <a:avLst/>
              </a:prstGeom>
              <a:noFill/>
              <a:ln w="19050" cap="flat" cmpd="sng">
                <a:solidFill>
                  <a:srgbClr val="E3E9ED"/>
                </a:solidFill>
                <a:prstDash val="solid"/>
                <a:round/>
                <a:headEnd type="none" w="med" len="med"/>
                <a:tailEnd type="none" w="med" len="med"/>
              </a:ln>
            </p:spPr>
          </p:cxnSp>
          <p:cxnSp>
            <p:nvCxnSpPr>
              <p:cNvPr id="5872" name="Google Shape;5872;p70"/>
              <p:cNvCxnSpPr/>
              <p:nvPr/>
            </p:nvCxnSpPr>
            <p:spPr>
              <a:xfrm>
                <a:off x="5225150" y="2962250"/>
                <a:ext cx="998700" cy="0"/>
              </a:xfrm>
              <a:prstGeom prst="straightConnector1">
                <a:avLst/>
              </a:prstGeom>
              <a:noFill/>
              <a:ln w="19050" cap="flat" cmpd="sng">
                <a:solidFill>
                  <a:srgbClr val="7994A9"/>
                </a:solidFill>
                <a:prstDash val="solid"/>
                <a:round/>
                <a:headEnd type="none" w="med" len="med"/>
                <a:tailEnd type="oval" w="med" len="med"/>
              </a:ln>
            </p:spPr>
          </p:cxnSp>
        </p:grpSp>
      </p:grpSp>
      <p:grpSp>
        <p:nvGrpSpPr>
          <p:cNvPr id="5873" name="Google Shape;5873;p70"/>
          <p:cNvGrpSpPr/>
          <p:nvPr/>
        </p:nvGrpSpPr>
        <p:grpSpPr>
          <a:xfrm>
            <a:off x="3544989" y="5463129"/>
            <a:ext cx="1739479" cy="392099"/>
            <a:chOff x="2658741" y="4097347"/>
            <a:chExt cx="1304609" cy="294074"/>
          </a:xfrm>
        </p:grpSpPr>
        <p:grpSp>
          <p:nvGrpSpPr>
            <p:cNvPr id="5874" name="Google Shape;5874;p70"/>
            <p:cNvGrpSpPr/>
            <p:nvPr/>
          </p:nvGrpSpPr>
          <p:grpSpPr>
            <a:xfrm>
              <a:off x="2658741" y="4097347"/>
              <a:ext cx="118572" cy="294074"/>
              <a:chOff x="3343310" y="4475555"/>
              <a:chExt cx="127717" cy="316753"/>
            </a:xfrm>
          </p:grpSpPr>
          <p:sp>
            <p:nvSpPr>
              <p:cNvPr id="5875" name="Google Shape;5875;p70"/>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6" name="Google Shape;5876;p70"/>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77" name="Google Shape;5877;p70"/>
            <p:cNvGrpSpPr/>
            <p:nvPr/>
          </p:nvGrpSpPr>
          <p:grpSpPr>
            <a:xfrm>
              <a:off x="3815519" y="4098388"/>
              <a:ext cx="147831" cy="291991"/>
              <a:chOff x="3527539" y="4476677"/>
              <a:chExt cx="159232" cy="314510"/>
            </a:xfrm>
          </p:grpSpPr>
          <p:sp>
            <p:nvSpPr>
              <p:cNvPr id="5878" name="Google Shape;5878;p70"/>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79" name="Google Shape;5879;p70"/>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80" name="Google Shape;5880;p70"/>
            <p:cNvGrpSpPr/>
            <p:nvPr/>
          </p:nvGrpSpPr>
          <p:grpSpPr>
            <a:xfrm>
              <a:off x="3511696" y="4098388"/>
              <a:ext cx="147831" cy="291991"/>
              <a:chOff x="3527539" y="4476677"/>
              <a:chExt cx="159232" cy="314510"/>
            </a:xfrm>
          </p:grpSpPr>
          <p:sp>
            <p:nvSpPr>
              <p:cNvPr id="5881" name="Google Shape;5881;p70"/>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2" name="Google Shape;5882;p70"/>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83" name="Google Shape;5883;p70"/>
            <p:cNvGrpSpPr/>
            <p:nvPr/>
          </p:nvGrpSpPr>
          <p:grpSpPr>
            <a:xfrm>
              <a:off x="3207874" y="4098388"/>
              <a:ext cx="147831" cy="291991"/>
              <a:chOff x="3527539" y="4476677"/>
              <a:chExt cx="159232" cy="314510"/>
            </a:xfrm>
          </p:grpSpPr>
          <p:sp>
            <p:nvSpPr>
              <p:cNvPr id="5884" name="Google Shape;5884;p70"/>
              <p:cNvSpPr/>
              <p:nvPr/>
            </p:nvSpPr>
            <p:spPr>
              <a:xfrm>
                <a:off x="3527539" y="4536716"/>
                <a:ext cx="159232" cy="254471"/>
              </a:xfrm>
              <a:custGeom>
                <a:avLst/>
                <a:gdLst/>
                <a:ahLst/>
                <a:cxnLst/>
                <a:rect l="l" t="t" r="r" b="b"/>
                <a:pathLst>
                  <a:path w="97241" h="155402" extrusionOk="0">
                    <a:moveTo>
                      <a:pt x="35360" y="0"/>
                    </a:moveTo>
                    <a:cubicBezTo>
                      <a:pt x="27173" y="0"/>
                      <a:pt x="21268" y="5220"/>
                      <a:pt x="17713" y="15527"/>
                    </a:cubicBezTo>
                    <a:cubicBezTo>
                      <a:pt x="15527" y="21921"/>
                      <a:pt x="1533" y="61750"/>
                      <a:pt x="1403" y="62174"/>
                    </a:cubicBezTo>
                    <a:cubicBezTo>
                      <a:pt x="0" y="66121"/>
                      <a:pt x="2088" y="70492"/>
                      <a:pt x="6068" y="71895"/>
                    </a:cubicBezTo>
                    <a:cubicBezTo>
                      <a:pt x="6895" y="72179"/>
                      <a:pt x="7739" y="72315"/>
                      <a:pt x="8570" y="72315"/>
                    </a:cubicBezTo>
                    <a:cubicBezTo>
                      <a:pt x="11735" y="72315"/>
                      <a:pt x="14703" y="70350"/>
                      <a:pt x="15788" y="67197"/>
                    </a:cubicBezTo>
                    <a:cubicBezTo>
                      <a:pt x="16245" y="65925"/>
                      <a:pt x="24661" y="42569"/>
                      <a:pt x="29358" y="29130"/>
                    </a:cubicBezTo>
                    <a:lnTo>
                      <a:pt x="29358" y="29130"/>
                    </a:lnTo>
                    <a:cubicBezTo>
                      <a:pt x="28869" y="33142"/>
                      <a:pt x="30272" y="24824"/>
                      <a:pt x="18431" y="85856"/>
                    </a:cubicBezTo>
                    <a:cubicBezTo>
                      <a:pt x="17941" y="88498"/>
                      <a:pt x="19964" y="90912"/>
                      <a:pt x="22606" y="90912"/>
                    </a:cubicBezTo>
                    <a:lnTo>
                      <a:pt x="28412" y="90912"/>
                    </a:lnTo>
                    <a:lnTo>
                      <a:pt x="28412" y="146235"/>
                    </a:lnTo>
                    <a:cubicBezTo>
                      <a:pt x="28412" y="151291"/>
                      <a:pt x="32522" y="155401"/>
                      <a:pt x="37578" y="155401"/>
                    </a:cubicBezTo>
                    <a:cubicBezTo>
                      <a:pt x="42634" y="155401"/>
                      <a:pt x="46745" y="151291"/>
                      <a:pt x="46745" y="146235"/>
                    </a:cubicBezTo>
                    <a:lnTo>
                      <a:pt x="46745" y="90912"/>
                    </a:lnTo>
                    <a:lnTo>
                      <a:pt x="50692" y="90912"/>
                    </a:lnTo>
                    <a:lnTo>
                      <a:pt x="50692" y="146235"/>
                    </a:lnTo>
                    <a:cubicBezTo>
                      <a:pt x="50692" y="151291"/>
                      <a:pt x="54769" y="155401"/>
                      <a:pt x="59825" y="155401"/>
                    </a:cubicBezTo>
                    <a:cubicBezTo>
                      <a:pt x="64881" y="155401"/>
                      <a:pt x="68991" y="151291"/>
                      <a:pt x="68991" y="146235"/>
                    </a:cubicBezTo>
                    <a:lnTo>
                      <a:pt x="68991" y="90912"/>
                    </a:lnTo>
                    <a:lnTo>
                      <a:pt x="74798" y="90912"/>
                    </a:lnTo>
                    <a:cubicBezTo>
                      <a:pt x="77472" y="90912"/>
                      <a:pt x="79462" y="88498"/>
                      <a:pt x="78973" y="85856"/>
                    </a:cubicBezTo>
                    <a:cubicBezTo>
                      <a:pt x="67262" y="25379"/>
                      <a:pt x="68535" y="32392"/>
                      <a:pt x="68143" y="29130"/>
                    </a:cubicBezTo>
                    <a:lnTo>
                      <a:pt x="68143" y="29130"/>
                    </a:lnTo>
                    <a:cubicBezTo>
                      <a:pt x="72873" y="42667"/>
                      <a:pt x="81028" y="65958"/>
                      <a:pt x="81485" y="67197"/>
                    </a:cubicBezTo>
                    <a:cubicBezTo>
                      <a:pt x="82570" y="70350"/>
                      <a:pt x="85538" y="72315"/>
                      <a:pt x="88687" y="72315"/>
                    </a:cubicBezTo>
                    <a:cubicBezTo>
                      <a:pt x="89513" y="72315"/>
                      <a:pt x="90352" y="72179"/>
                      <a:pt x="91173" y="71895"/>
                    </a:cubicBezTo>
                    <a:cubicBezTo>
                      <a:pt x="95152" y="70492"/>
                      <a:pt x="97240" y="66121"/>
                      <a:pt x="95870" y="62174"/>
                    </a:cubicBezTo>
                    <a:cubicBezTo>
                      <a:pt x="95707" y="61750"/>
                      <a:pt x="81746" y="21921"/>
                      <a:pt x="79560" y="15527"/>
                    </a:cubicBezTo>
                    <a:cubicBezTo>
                      <a:pt x="76005" y="5220"/>
                      <a:pt x="70068" y="0"/>
                      <a:pt x="61913" y="0"/>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5" name="Google Shape;5885;p70"/>
              <p:cNvSpPr/>
              <p:nvPr/>
            </p:nvSpPr>
            <p:spPr>
              <a:xfrm>
                <a:off x="3581381" y="4476677"/>
                <a:ext cx="51814" cy="51761"/>
              </a:xfrm>
              <a:custGeom>
                <a:avLst/>
                <a:gdLst/>
                <a:ahLst/>
                <a:cxnLst/>
                <a:rect l="l" t="t" r="r" b="b"/>
                <a:pathLst>
                  <a:path w="31642" h="31610" extrusionOk="0">
                    <a:moveTo>
                      <a:pt x="15821" y="1"/>
                    </a:moveTo>
                    <a:cubicBezTo>
                      <a:pt x="7079" y="1"/>
                      <a:pt x="0" y="7079"/>
                      <a:pt x="0" y="15821"/>
                    </a:cubicBezTo>
                    <a:cubicBezTo>
                      <a:pt x="0" y="24531"/>
                      <a:pt x="7079" y="31609"/>
                      <a:pt x="15821" y="31609"/>
                    </a:cubicBezTo>
                    <a:cubicBezTo>
                      <a:pt x="24563" y="31609"/>
                      <a:pt x="31641" y="24531"/>
                      <a:pt x="31641" y="15821"/>
                    </a:cubicBezTo>
                    <a:cubicBezTo>
                      <a:pt x="31641" y="7079"/>
                      <a:pt x="24563" y="1"/>
                      <a:pt x="15821" y="1"/>
                    </a:cubicBez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886" name="Google Shape;5886;p70"/>
            <p:cNvGrpSpPr/>
            <p:nvPr/>
          </p:nvGrpSpPr>
          <p:grpSpPr>
            <a:xfrm>
              <a:off x="2933305" y="4097347"/>
              <a:ext cx="118572" cy="294074"/>
              <a:chOff x="3343310" y="4475555"/>
              <a:chExt cx="127717" cy="316753"/>
            </a:xfrm>
          </p:grpSpPr>
          <p:sp>
            <p:nvSpPr>
              <p:cNvPr id="5887" name="Google Shape;5887;p70"/>
              <p:cNvSpPr/>
              <p:nvPr/>
            </p:nvSpPr>
            <p:spPr>
              <a:xfrm>
                <a:off x="3343310" y="4535967"/>
                <a:ext cx="127717" cy="256341"/>
              </a:xfrm>
              <a:custGeom>
                <a:avLst/>
                <a:gdLst/>
                <a:ahLst/>
                <a:cxnLst/>
                <a:rect l="l" t="t" r="r" b="b"/>
                <a:pathLst>
                  <a:path w="77995" h="156544" extrusionOk="0">
                    <a:moveTo>
                      <a:pt x="18496" y="1"/>
                    </a:moveTo>
                    <a:cubicBezTo>
                      <a:pt x="8514" y="1"/>
                      <a:pt x="359" y="8123"/>
                      <a:pt x="327" y="18105"/>
                    </a:cubicBezTo>
                    <a:lnTo>
                      <a:pt x="33" y="74537"/>
                    </a:lnTo>
                    <a:cubicBezTo>
                      <a:pt x="0" y="78778"/>
                      <a:pt x="3425" y="82235"/>
                      <a:pt x="7666" y="82268"/>
                    </a:cubicBezTo>
                    <a:lnTo>
                      <a:pt x="7731" y="82268"/>
                    </a:lnTo>
                    <a:cubicBezTo>
                      <a:pt x="11939" y="82268"/>
                      <a:pt x="15364" y="78843"/>
                      <a:pt x="15397" y="74635"/>
                    </a:cubicBezTo>
                    <a:lnTo>
                      <a:pt x="15691" y="18170"/>
                    </a:lnTo>
                    <a:cubicBezTo>
                      <a:pt x="15691" y="17341"/>
                      <a:pt x="16344" y="16668"/>
                      <a:pt x="17166" y="16668"/>
                    </a:cubicBezTo>
                    <a:cubicBezTo>
                      <a:pt x="17185" y="16668"/>
                      <a:pt x="17204" y="16669"/>
                      <a:pt x="17224" y="16669"/>
                    </a:cubicBezTo>
                    <a:cubicBezTo>
                      <a:pt x="18039" y="16669"/>
                      <a:pt x="18724" y="17355"/>
                      <a:pt x="18724" y="18170"/>
                    </a:cubicBezTo>
                    <a:lnTo>
                      <a:pt x="18724" y="147345"/>
                    </a:lnTo>
                    <a:cubicBezTo>
                      <a:pt x="18724" y="152433"/>
                      <a:pt x="22867" y="156543"/>
                      <a:pt x="27956" y="156543"/>
                    </a:cubicBezTo>
                    <a:cubicBezTo>
                      <a:pt x="33044" y="156543"/>
                      <a:pt x="37187" y="152433"/>
                      <a:pt x="37187" y="147345"/>
                    </a:cubicBezTo>
                    <a:lnTo>
                      <a:pt x="37187" y="73656"/>
                    </a:lnTo>
                    <a:lnTo>
                      <a:pt x="41167" y="73656"/>
                    </a:lnTo>
                    <a:lnTo>
                      <a:pt x="41167" y="147345"/>
                    </a:lnTo>
                    <a:cubicBezTo>
                      <a:pt x="41167" y="152433"/>
                      <a:pt x="45277" y="156543"/>
                      <a:pt x="50365" y="156543"/>
                    </a:cubicBezTo>
                    <a:cubicBezTo>
                      <a:pt x="55454" y="156543"/>
                      <a:pt x="59597" y="152433"/>
                      <a:pt x="59597" y="147345"/>
                    </a:cubicBezTo>
                    <a:cubicBezTo>
                      <a:pt x="59597" y="25477"/>
                      <a:pt x="59434" y="95153"/>
                      <a:pt x="59434" y="18300"/>
                    </a:cubicBezTo>
                    <a:cubicBezTo>
                      <a:pt x="59434" y="17420"/>
                      <a:pt x="60119" y="16702"/>
                      <a:pt x="60967" y="16669"/>
                    </a:cubicBezTo>
                    <a:cubicBezTo>
                      <a:pt x="60988" y="16669"/>
                      <a:pt x="61009" y="16668"/>
                      <a:pt x="61030" y="16668"/>
                    </a:cubicBezTo>
                    <a:cubicBezTo>
                      <a:pt x="61882" y="16668"/>
                      <a:pt x="62567" y="17310"/>
                      <a:pt x="62631" y="18170"/>
                    </a:cubicBezTo>
                    <a:lnTo>
                      <a:pt x="62598" y="74570"/>
                    </a:lnTo>
                    <a:cubicBezTo>
                      <a:pt x="62598" y="78810"/>
                      <a:pt x="66023" y="82268"/>
                      <a:pt x="70264" y="82268"/>
                    </a:cubicBezTo>
                    <a:cubicBezTo>
                      <a:pt x="74504" y="82268"/>
                      <a:pt x="77962" y="78843"/>
                      <a:pt x="77962" y="74602"/>
                    </a:cubicBezTo>
                    <a:lnTo>
                      <a:pt x="77994" y="18137"/>
                    </a:lnTo>
                    <a:cubicBezTo>
                      <a:pt x="77994" y="18137"/>
                      <a:pt x="77994" y="18105"/>
                      <a:pt x="77994" y="18105"/>
                    </a:cubicBezTo>
                    <a:cubicBezTo>
                      <a:pt x="77962" y="8123"/>
                      <a:pt x="69807" y="1"/>
                      <a:pt x="59825"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88" name="Google Shape;5888;p70"/>
              <p:cNvSpPr/>
              <p:nvPr/>
            </p:nvSpPr>
            <p:spPr>
              <a:xfrm>
                <a:off x="3381341" y="4475555"/>
                <a:ext cx="52189" cy="52135"/>
              </a:xfrm>
              <a:custGeom>
                <a:avLst/>
                <a:gdLst/>
                <a:ahLst/>
                <a:cxnLst/>
                <a:rect l="l" t="t" r="r" b="b"/>
                <a:pathLst>
                  <a:path w="31871" h="31838" extrusionOk="0">
                    <a:moveTo>
                      <a:pt x="15952" y="1"/>
                    </a:moveTo>
                    <a:cubicBezTo>
                      <a:pt x="7144" y="1"/>
                      <a:pt x="1" y="7112"/>
                      <a:pt x="1" y="15919"/>
                    </a:cubicBezTo>
                    <a:cubicBezTo>
                      <a:pt x="1" y="24694"/>
                      <a:pt x="7144" y="31838"/>
                      <a:pt x="15952" y="31838"/>
                    </a:cubicBezTo>
                    <a:cubicBezTo>
                      <a:pt x="24727" y="31838"/>
                      <a:pt x="31870" y="24694"/>
                      <a:pt x="31870" y="15919"/>
                    </a:cubicBezTo>
                    <a:cubicBezTo>
                      <a:pt x="31870" y="7112"/>
                      <a:pt x="24727" y="1"/>
                      <a:pt x="15952" y="1"/>
                    </a:cubicBezTo>
                    <a:close/>
                  </a:path>
                </a:pathLst>
              </a:custGeom>
              <a:solidFill>
                <a:srgbClr val="7994A9"/>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5889" name="Google Shape;5889;p70"/>
          <p:cNvGrpSpPr/>
          <p:nvPr/>
        </p:nvGrpSpPr>
        <p:grpSpPr>
          <a:xfrm>
            <a:off x="5612466" y="1568056"/>
            <a:ext cx="1907615" cy="1001649"/>
            <a:chOff x="5159450" y="1919950"/>
            <a:chExt cx="1541050" cy="862500"/>
          </a:xfrm>
        </p:grpSpPr>
        <p:sp>
          <p:nvSpPr>
            <p:cNvPr id="5890" name="Google Shape;5890;p70"/>
            <p:cNvSpPr/>
            <p:nvPr/>
          </p:nvSpPr>
          <p:spPr>
            <a:xfrm>
              <a:off x="5216414" y="2060033"/>
              <a:ext cx="1436820" cy="600250"/>
            </a:xfrm>
            <a:custGeom>
              <a:avLst/>
              <a:gdLst/>
              <a:ahLst/>
              <a:cxnLst/>
              <a:rect l="l" t="t" r="r" b="b"/>
              <a:pathLst>
                <a:path w="165771" h="69253" extrusionOk="0">
                  <a:moveTo>
                    <a:pt x="0" y="62158"/>
                  </a:moveTo>
                  <a:cubicBezTo>
                    <a:pt x="3093" y="59686"/>
                    <a:pt x="11731" y="46368"/>
                    <a:pt x="18559" y="47324"/>
                  </a:cubicBezTo>
                  <a:cubicBezTo>
                    <a:pt x="25388" y="48280"/>
                    <a:pt x="34933" y="75569"/>
                    <a:pt x="40971" y="67894"/>
                  </a:cubicBezTo>
                  <a:cubicBezTo>
                    <a:pt x="47009" y="60219"/>
                    <a:pt x="49466" y="8743"/>
                    <a:pt x="54788" y="1272"/>
                  </a:cubicBezTo>
                  <a:cubicBezTo>
                    <a:pt x="60110" y="-6199"/>
                    <a:pt x="66121" y="21612"/>
                    <a:pt x="72901" y="23070"/>
                  </a:cubicBezTo>
                  <a:cubicBezTo>
                    <a:pt x="79681" y="24528"/>
                    <a:pt x="89301" y="7131"/>
                    <a:pt x="95467" y="10022"/>
                  </a:cubicBezTo>
                  <a:cubicBezTo>
                    <a:pt x="101633" y="12913"/>
                    <a:pt x="104182" y="34714"/>
                    <a:pt x="109898" y="40416"/>
                  </a:cubicBezTo>
                  <a:cubicBezTo>
                    <a:pt x="115614" y="46118"/>
                    <a:pt x="123315" y="40320"/>
                    <a:pt x="129762" y="44234"/>
                  </a:cubicBezTo>
                  <a:cubicBezTo>
                    <a:pt x="136209" y="48148"/>
                    <a:pt x="142580" y="65416"/>
                    <a:pt x="148581" y="63902"/>
                  </a:cubicBezTo>
                  <a:cubicBezTo>
                    <a:pt x="154583" y="62388"/>
                    <a:pt x="162906" y="39942"/>
                    <a:pt x="165771" y="35150"/>
                  </a:cubicBezTo>
                </a:path>
              </a:pathLst>
            </a:custGeom>
            <a:noFill/>
            <a:ln w="19050" cap="flat" cmpd="sng">
              <a:solidFill>
                <a:srgbClr val="5F7D95"/>
              </a:solidFill>
              <a:prstDash val="solid"/>
              <a:round/>
              <a:headEnd type="oval" w="med" len="med"/>
              <a:tailEnd type="oval" w="med" len="med"/>
            </a:ln>
          </p:spPr>
        </p:sp>
        <p:grpSp>
          <p:nvGrpSpPr>
            <p:cNvPr id="5891" name="Google Shape;5891;p70"/>
            <p:cNvGrpSpPr/>
            <p:nvPr/>
          </p:nvGrpSpPr>
          <p:grpSpPr>
            <a:xfrm>
              <a:off x="5159450" y="1919950"/>
              <a:ext cx="1541050" cy="862500"/>
              <a:chOff x="5159450" y="1919950"/>
              <a:chExt cx="1541050" cy="862500"/>
            </a:xfrm>
          </p:grpSpPr>
          <p:cxnSp>
            <p:nvCxnSpPr>
              <p:cNvPr id="5892" name="Google Shape;5892;p70"/>
              <p:cNvCxnSpPr/>
              <p:nvPr/>
            </p:nvCxnSpPr>
            <p:spPr>
              <a:xfrm>
                <a:off x="5159450" y="1919950"/>
                <a:ext cx="0" cy="862500"/>
              </a:xfrm>
              <a:prstGeom prst="straightConnector1">
                <a:avLst/>
              </a:prstGeom>
              <a:noFill/>
              <a:ln w="9525" cap="flat" cmpd="sng">
                <a:solidFill>
                  <a:srgbClr val="E3E9ED"/>
                </a:solidFill>
                <a:prstDash val="solid"/>
                <a:round/>
                <a:headEnd type="none" w="med" len="med"/>
                <a:tailEnd type="none" w="med" len="med"/>
              </a:ln>
            </p:spPr>
          </p:cxnSp>
          <p:cxnSp>
            <p:nvCxnSpPr>
              <p:cNvPr id="5893" name="Google Shape;5893;p70"/>
              <p:cNvCxnSpPr/>
              <p:nvPr/>
            </p:nvCxnSpPr>
            <p:spPr>
              <a:xfrm>
                <a:off x="5161200" y="2778975"/>
                <a:ext cx="1539300" cy="0"/>
              </a:xfrm>
              <a:prstGeom prst="straightConnector1">
                <a:avLst/>
              </a:prstGeom>
              <a:noFill/>
              <a:ln w="9525" cap="flat" cmpd="sng">
                <a:solidFill>
                  <a:srgbClr val="E3E9ED"/>
                </a:solidFill>
                <a:prstDash val="solid"/>
                <a:round/>
                <a:headEnd type="none" w="med" len="med"/>
                <a:tailEnd type="none" w="med" len="med"/>
              </a:ln>
            </p:spPr>
          </p:cxnSp>
        </p:grpSp>
      </p:grpSp>
      <p:grpSp>
        <p:nvGrpSpPr>
          <p:cNvPr id="5894" name="Google Shape;5894;p70"/>
          <p:cNvGrpSpPr/>
          <p:nvPr/>
        </p:nvGrpSpPr>
        <p:grpSpPr>
          <a:xfrm>
            <a:off x="5676648" y="3253081"/>
            <a:ext cx="1779248" cy="1290552"/>
            <a:chOff x="4294923" y="2439811"/>
            <a:chExt cx="1334436" cy="967914"/>
          </a:xfrm>
        </p:grpSpPr>
        <p:grpSp>
          <p:nvGrpSpPr>
            <p:cNvPr id="5895" name="Google Shape;5895;p70"/>
            <p:cNvGrpSpPr/>
            <p:nvPr/>
          </p:nvGrpSpPr>
          <p:grpSpPr>
            <a:xfrm>
              <a:off x="4960455" y="2469658"/>
              <a:ext cx="668904" cy="885524"/>
              <a:chOff x="4960455" y="2469658"/>
              <a:chExt cx="668904" cy="885524"/>
            </a:xfrm>
          </p:grpSpPr>
          <p:sp>
            <p:nvSpPr>
              <p:cNvPr id="5896" name="Google Shape;5896;p70"/>
              <p:cNvSpPr/>
              <p:nvPr/>
            </p:nvSpPr>
            <p:spPr>
              <a:xfrm>
                <a:off x="4960455" y="3257057"/>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7" name="Google Shape;5897;p70"/>
              <p:cNvSpPr/>
              <p:nvPr/>
            </p:nvSpPr>
            <p:spPr>
              <a:xfrm>
                <a:off x="4960455" y="3099584"/>
                <a:ext cx="668904" cy="98124"/>
              </a:xfrm>
              <a:custGeom>
                <a:avLst/>
                <a:gdLst/>
                <a:ahLst/>
                <a:cxnLst/>
                <a:rect l="l" t="t" r="r" b="b"/>
                <a:pathLst>
                  <a:path w="42851" h="6286" extrusionOk="0">
                    <a:moveTo>
                      <a:pt x="0" y="0"/>
                    </a:moveTo>
                    <a:lnTo>
                      <a:pt x="0" y="6285"/>
                    </a:lnTo>
                    <a:lnTo>
                      <a:pt x="42851" y="6285"/>
                    </a:lnTo>
                    <a:lnTo>
                      <a:pt x="42851"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8" name="Google Shape;5898;p70"/>
              <p:cNvSpPr/>
              <p:nvPr/>
            </p:nvSpPr>
            <p:spPr>
              <a:xfrm>
                <a:off x="4960455" y="2942094"/>
                <a:ext cx="668904" cy="98124"/>
              </a:xfrm>
              <a:custGeom>
                <a:avLst/>
                <a:gdLst/>
                <a:ahLst/>
                <a:cxnLst/>
                <a:rect l="l" t="t" r="r" b="b"/>
                <a:pathLst>
                  <a:path w="42851" h="6286" extrusionOk="0">
                    <a:moveTo>
                      <a:pt x="0" y="1"/>
                    </a:moveTo>
                    <a:lnTo>
                      <a:pt x="0" y="6286"/>
                    </a:lnTo>
                    <a:lnTo>
                      <a:pt x="42851" y="6286"/>
                    </a:lnTo>
                    <a:lnTo>
                      <a:pt x="42851"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899" name="Google Shape;5899;p70"/>
              <p:cNvSpPr/>
              <p:nvPr/>
            </p:nvSpPr>
            <p:spPr>
              <a:xfrm>
                <a:off x="4960455" y="2784621"/>
                <a:ext cx="618094" cy="98124"/>
              </a:xfrm>
              <a:custGeom>
                <a:avLst/>
                <a:gdLst/>
                <a:ahLst/>
                <a:cxnLst/>
                <a:rect l="l" t="t" r="r" b="b"/>
                <a:pathLst>
                  <a:path w="39596" h="6286" extrusionOk="0">
                    <a:moveTo>
                      <a:pt x="0" y="0"/>
                    </a:moveTo>
                    <a:lnTo>
                      <a:pt x="0" y="6285"/>
                    </a:lnTo>
                    <a:lnTo>
                      <a:pt x="39596" y="6285"/>
                    </a:lnTo>
                    <a:lnTo>
                      <a:pt x="39596"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0" name="Google Shape;5900;p70"/>
              <p:cNvSpPr/>
              <p:nvPr/>
            </p:nvSpPr>
            <p:spPr>
              <a:xfrm>
                <a:off x="4960455" y="2627131"/>
                <a:ext cx="516519" cy="98140"/>
              </a:xfrm>
              <a:custGeom>
                <a:avLst/>
                <a:gdLst/>
                <a:ahLst/>
                <a:cxnLst/>
                <a:rect l="l" t="t" r="r" b="b"/>
                <a:pathLst>
                  <a:path w="33089" h="6287" extrusionOk="0">
                    <a:moveTo>
                      <a:pt x="0" y="1"/>
                    </a:moveTo>
                    <a:lnTo>
                      <a:pt x="0" y="6286"/>
                    </a:lnTo>
                    <a:lnTo>
                      <a:pt x="33089" y="6286"/>
                    </a:lnTo>
                    <a:lnTo>
                      <a:pt x="33089"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1" name="Google Shape;5901;p70"/>
              <p:cNvSpPr/>
              <p:nvPr/>
            </p:nvSpPr>
            <p:spPr>
              <a:xfrm>
                <a:off x="4960455" y="2469658"/>
                <a:ext cx="313293" cy="98078"/>
              </a:xfrm>
              <a:custGeom>
                <a:avLst/>
                <a:gdLst/>
                <a:ahLst/>
                <a:cxnLst/>
                <a:rect l="l" t="t" r="r" b="b"/>
                <a:pathLst>
                  <a:path w="20070" h="6283" extrusionOk="0">
                    <a:moveTo>
                      <a:pt x="0" y="1"/>
                    </a:moveTo>
                    <a:lnTo>
                      <a:pt x="0" y="6283"/>
                    </a:lnTo>
                    <a:lnTo>
                      <a:pt x="20069" y="6283"/>
                    </a:lnTo>
                    <a:lnTo>
                      <a:pt x="20069" y="1"/>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02" name="Google Shape;5902;p70"/>
            <p:cNvGrpSpPr/>
            <p:nvPr/>
          </p:nvGrpSpPr>
          <p:grpSpPr>
            <a:xfrm>
              <a:off x="4294923" y="2469658"/>
              <a:ext cx="668951" cy="885524"/>
              <a:chOff x="4294923" y="2469658"/>
              <a:chExt cx="668951" cy="885524"/>
            </a:xfrm>
          </p:grpSpPr>
          <p:sp>
            <p:nvSpPr>
              <p:cNvPr id="5903" name="Google Shape;5903;p70"/>
              <p:cNvSpPr/>
              <p:nvPr/>
            </p:nvSpPr>
            <p:spPr>
              <a:xfrm>
                <a:off x="4294923" y="3257057"/>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4" name="Google Shape;5904;p70"/>
              <p:cNvSpPr/>
              <p:nvPr/>
            </p:nvSpPr>
            <p:spPr>
              <a:xfrm>
                <a:off x="4294923" y="3099584"/>
                <a:ext cx="668951" cy="98124"/>
              </a:xfrm>
              <a:custGeom>
                <a:avLst/>
                <a:gdLst/>
                <a:ahLst/>
                <a:cxnLst/>
                <a:rect l="l" t="t" r="r" b="b"/>
                <a:pathLst>
                  <a:path w="42854" h="6286" extrusionOk="0">
                    <a:moveTo>
                      <a:pt x="0" y="0"/>
                    </a:moveTo>
                    <a:lnTo>
                      <a:pt x="0" y="6285"/>
                    </a:lnTo>
                    <a:lnTo>
                      <a:pt x="42854" y="6285"/>
                    </a:lnTo>
                    <a:lnTo>
                      <a:pt x="42854"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5" name="Google Shape;5905;p70"/>
              <p:cNvSpPr/>
              <p:nvPr/>
            </p:nvSpPr>
            <p:spPr>
              <a:xfrm>
                <a:off x="4294923" y="2942094"/>
                <a:ext cx="668951" cy="98124"/>
              </a:xfrm>
              <a:custGeom>
                <a:avLst/>
                <a:gdLst/>
                <a:ahLst/>
                <a:cxnLst/>
                <a:rect l="l" t="t" r="r" b="b"/>
                <a:pathLst>
                  <a:path w="42854" h="6286" extrusionOk="0">
                    <a:moveTo>
                      <a:pt x="0" y="1"/>
                    </a:moveTo>
                    <a:lnTo>
                      <a:pt x="0" y="6286"/>
                    </a:lnTo>
                    <a:lnTo>
                      <a:pt x="42854" y="6286"/>
                    </a:lnTo>
                    <a:lnTo>
                      <a:pt x="42854"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6" name="Google Shape;5906;p70"/>
              <p:cNvSpPr/>
              <p:nvPr/>
            </p:nvSpPr>
            <p:spPr>
              <a:xfrm>
                <a:off x="4447355" y="2784621"/>
                <a:ext cx="516519" cy="98124"/>
              </a:xfrm>
              <a:custGeom>
                <a:avLst/>
                <a:gdLst/>
                <a:ahLst/>
                <a:cxnLst/>
                <a:rect l="l" t="t" r="r" b="b"/>
                <a:pathLst>
                  <a:path w="33089" h="6286" extrusionOk="0">
                    <a:moveTo>
                      <a:pt x="0" y="0"/>
                    </a:moveTo>
                    <a:lnTo>
                      <a:pt x="0" y="6285"/>
                    </a:lnTo>
                    <a:lnTo>
                      <a:pt x="33089" y="6285"/>
                    </a:lnTo>
                    <a:lnTo>
                      <a:pt x="33089"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7" name="Google Shape;5907;p70"/>
              <p:cNvSpPr/>
              <p:nvPr/>
            </p:nvSpPr>
            <p:spPr>
              <a:xfrm>
                <a:off x="4548960" y="2627131"/>
                <a:ext cx="414914" cy="98140"/>
              </a:xfrm>
              <a:custGeom>
                <a:avLst/>
                <a:gdLst/>
                <a:ahLst/>
                <a:cxnLst/>
                <a:rect l="l" t="t" r="r" b="b"/>
                <a:pathLst>
                  <a:path w="26580" h="6287" extrusionOk="0">
                    <a:moveTo>
                      <a:pt x="1" y="1"/>
                    </a:moveTo>
                    <a:lnTo>
                      <a:pt x="1" y="6286"/>
                    </a:lnTo>
                    <a:lnTo>
                      <a:pt x="26580" y="6286"/>
                    </a:lnTo>
                    <a:lnTo>
                      <a:pt x="26580"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08" name="Google Shape;5908;p70"/>
              <p:cNvSpPr/>
              <p:nvPr/>
            </p:nvSpPr>
            <p:spPr>
              <a:xfrm>
                <a:off x="4650534" y="2469658"/>
                <a:ext cx="313340" cy="98078"/>
              </a:xfrm>
              <a:custGeom>
                <a:avLst/>
                <a:gdLst/>
                <a:ahLst/>
                <a:cxnLst/>
                <a:rect l="l" t="t" r="r" b="b"/>
                <a:pathLst>
                  <a:path w="20073" h="6283" extrusionOk="0">
                    <a:moveTo>
                      <a:pt x="1" y="1"/>
                    </a:moveTo>
                    <a:lnTo>
                      <a:pt x="1" y="6283"/>
                    </a:lnTo>
                    <a:lnTo>
                      <a:pt x="20073" y="6283"/>
                    </a:lnTo>
                    <a:lnTo>
                      <a:pt x="20073"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5909" name="Google Shape;5909;p70"/>
            <p:cNvSpPr/>
            <p:nvPr/>
          </p:nvSpPr>
          <p:spPr>
            <a:xfrm>
              <a:off x="4963437" y="2439811"/>
              <a:ext cx="16" cy="967914"/>
            </a:xfrm>
            <a:custGeom>
              <a:avLst/>
              <a:gdLst/>
              <a:ahLst/>
              <a:cxnLst/>
              <a:rect l="l" t="t" r="r" b="b"/>
              <a:pathLst>
                <a:path w="1" h="62006" fill="none" extrusionOk="0">
                  <a:moveTo>
                    <a:pt x="1" y="0"/>
                  </a:moveTo>
                  <a:lnTo>
                    <a:pt x="1" y="62006"/>
                  </a:lnTo>
                </a:path>
              </a:pathLst>
            </a:custGeom>
            <a:noFill/>
            <a:ln w="9525" cap="flat" cmpd="sng">
              <a:solidFill>
                <a:srgbClr val="F2F2F2"/>
              </a:solidFill>
              <a:prstDash val="solid"/>
              <a:miter lim="2997"/>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10" name="Google Shape;5910;p70"/>
          <p:cNvGrpSpPr/>
          <p:nvPr/>
        </p:nvGrpSpPr>
        <p:grpSpPr>
          <a:xfrm>
            <a:off x="5658254" y="4659009"/>
            <a:ext cx="1907932" cy="1196385"/>
            <a:chOff x="4351371" y="3547942"/>
            <a:chExt cx="1345130" cy="843475"/>
          </a:xfrm>
        </p:grpSpPr>
        <p:grpSp>
          <p:nvGrpSpPr>
            <p:cNvPr id="5911" name="Google Shape;5911;p70"/>
            <p:cNvGrpSpPr/>
            <p:nvPr/>
          </p:nvGrpSpPr>
          <p:grpSpPr>
            <a:xfrm>
              <a:off x="4351371" y="4209917"/>
              <a:ext cx="1345130" cy="181500"/>
              <a:chOff x="4351371" y="4209917"/>
              <a:chExt cx="1345130" cy="181500"/>
            </a:xfrm>
          </p:grpSpPr>
          <p:sp>
            <p:nvSpPr>
              <p:cNvPr id="5912" name="Google Shape;5912;p70"/>
              <p:cNvSpPr/>
              <p:nvPr/>
            </p:nvSpPr>
            <p:spPr>
              <a:xfrm rot="10800000">
                <a:off x="4351371" y="4209917"/>
                <a:ext cx="1281600" cy="181500"/>
              </a:xfrm>
              <a:prstGeom prst="rect">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5913" name="Google Shape;5913;p70"/>
              <p:cNvCxnSpPr/>
              <p:nvPr/>
            </p:nvCxnSpPr>
            <p:spPr>
              <a:xfrm>
                <a:off x="5551000" y="4298797"/>
                <a:ext cx="145500" cy="0"/>
              </a:xfrm>
              <a:prstGeom prst="straightConnector1">
                <a:avLst/>
              </a:prstGeom>
              <a:noFill/>
              <a:ln w="28575" cap="flat" cmpd="sng">
                <a:solidFill>
                  <a:srgbClr val="435D74"/>
                </a:solidFill>
                <a:prstDash val="solid"/>
                <a:round/>
                <a:headEnd type="none" w="med" len="med"/>
                <a:tailEnd type="none" w="med" len="med"/>
              </a:ln>
            </p:spPr>
          </p:cxnSp>
        </p:grpSp>
        <p:grpSp>
          <p:nvGrpSpPr>
            <p:cNvPr id="5914" name="Google Shape;5914;p70"/>
            <p:cNvGrpSpPr/>
            <p:nvPr/>
          </p:nvGrpSpPr>
          <p:grpSpPr>
            <a:xfrm>
              <a:off x="4403010" y="3985221"/>
              <a:ext cx="1109518" cy="181500"/>
              <a:chOff x="4403010" y="3985221"/>
              <a:chExt cx="1109518" cy="181500"/>
            </a:xfrm>
          </p:grpSpPr>
          <p:sp>
            <p:nvSpPr>
              <p:cNvPr id="5915" name="Google Shape;5915;p70"/>
              <p:cNvSpPr/>
              <p:nvPr/>
            </p:nvSpPr>
            <p:spPr>
              <a:xfrm rot="10800000">
                <a:off x="4471829" y="3985221"/>
                <a:ext cx="1040700" cy="1815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5916" name="Google Shape;5916;p70"/>
              <p:cNvCxnSpPr/>
              <p:nvPr/>
            </p:nvCxnSpPr>
            <p:spPr>
              <a:xfrm>
                <a:off x="4403010" y="4075993"/>
                <a:ext cx="145500" cy="0"/>
              </a:xfrm>
              <a:prstGeom prst="straightConnector1">
                <a:avLst/>
              </a:prstGeom>
              <a:noFill/>
              <a:ln w="28575" cap="flat" cmpd="sng">
                <a:solidFill>
                  <a:srgbClr val="5F7D95"/>
                </a:solidFill>
                <a:prstDash val="solid"/>
                <a:round/>
                <a:headEnd type="none" w="med" len="med"/>
                <a:tailEnd type="none" w="med" len="med"/>
              </a:ln>
            </p:spPr>
          </p:cxnSp>
        </p:grpSp>
        <p:grpSp>
          <p:nvGrpSpPr>
            <p:cNvPr id="5917" name="Google Shape;5917;p70"/>
            <p:cNvGrpSpPr/>
            <p:nvPr/>
          </p:nvGrpSpPr>
          <p:grpSpPr>
            <a:xfrm>
              <a:off x="4618704" y="3766582"/>
              <a:ext cx="807858" cy="181500"/>
              <a:chOff x="4618704" y="3766582"/>
              <a:chExt cx="807858" cy="181500"/>
            </a:xfrm>
          </p:grpSpPr>
          <p:sp>
            <p:nvSpPr>
              <p:cNvPr id="5918" name="Google Shape;5918;p70"/>
              <p:cNvSpPr/>
              <p:nvPr/>
            </p:nvSpPr>
            <p:spPr>
              <a:xfrm rot="10800000">
                <a:off x="4618704" y="3766582"/>
                <a:ext cx="747000" cy="181500"/>
              </a:xfrm>
              <a:prstGeom prst="rect">
                <a:avLst/>
              </a:pr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5919" name="Google Shape;5919;p70"/>
              <p:cNvCxnSpPr/>
              <p:nvPr/>
            </p:nvCxnSpPr>
            <p:spPr>
              <a:xfrm>
                <a:off x="5281062" y="3855291"/>
                <a:ext cx="145500" cy="0"/>
              </a:xfrm>
              <a:prstGeom prst="straightConnector1">
                <a:avLst/>
              </a:prstGeom>
              <a:noFill/>
              <a:ln w="28575" cap="flat" cmpd="sng">
                <a:solidFill>
                  <a:srgbClr val="869FB2"/>
                </a:solidFill>
                <a:prstDash val="solid"/>
                <a:round/>
                <a:headEnd type="none" w="med" len="med"/>
                <a:tailEnd type="none" w="med" len="med"/>
              </a:ln>
            </p:spPr>
          </p:cxnSp>
        </p:grpSp>
        <p:grpSp>
          <p:nvGrpSpPr>
            <p:cNvPr id="5920" name="Google Shape;5920;p70"/>
            <p:cNvGrpSpPr/>
            <p:nvPr/>
          </p:nvGrpSpPr>
          <p:grpSpPr>
            <a:xfrm>
              <a:off x="4735238" y="3547942"/>
              <a:ext cx="462839" cy="181500"/>
              <a:chOff x="4735238" y="3547942"/>
              <a:chExt cx="462839" cy="181500"/>
            </a:xfrm>
          </p:grpSpPr>
          <p:sp>
            <p:nvSpPr>
              <p:cNvPr id="5921" name="Google Shape;5921;p70"/>
              <p:cNvSpPr/>
              <p:nvPr/>
            </p:nvSpPr>
            <p:spPr>
              <a:xfrm rot="10800000">
                <a:off x="4786477" y="3547942"/>
                <a:ext cx="411600" cy="181500"/>
              </a:xfrm>
              <a:prstGeom prst="rect">
                <a:avLst/>
              </a:pr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5922" name="Google Shape;5922;p70"/>
              <p:cNvCxnSpPr/>
              <p:nvPr/>
            </p:nvCxnSpPr>
            <p:spPr>
              <a:xfrm>
                <a:off x="4735238" y="3636872"/>
                <a:ext cx="145500" cy="0"/>
              </a:xfrm>
              <a:prstGeom prst="straightConnector1">
                <a:avLst/>
              </a:prstGeom>
              <a:noFill/>
              <a:ln w="28575" cap="flat" cmpd="sng">
                <a:solidFill>
                  <a:srgbClr val="BAC8D3"/>
                </a:solidFill>
                <a:prstDash val="solid"/>
                <a:round/>
                <a:headEnd type="none" w="med" len="med"/>
                <a:tailEnd type="none" w="med" len="med"/>
              </a:ln>
            </p:spPr>
          </p:cxnSp>
        </p:grpSp>
      </p:grpSp>
      <p:grpSp>
        <p:nvGrpSpPr>
          <p:cNvPr id="5923" name="Google Shape;5923;p70"/>
          <p:cNvGrpSpPr/>
          <p:nvPr/>
        </p:nvGrpSpPr>
        <p:grpSpPr>
          <a:xfrm>
            <a:off x="9893397" y="3239441"/>
            <a:ext cx="1361273" cy="1238471"/>
            <a:chOff x="926675" y="238125"/>
            <a:chExt cx="5755100" cy="5232975"/>
          </a:xfrm>
        </p:grpSpPr>
        <p:sp>
          <p:nvSpPr>
            <p:cNvPr id="5924" name="Google Shape;5924;p70"/>
            <p:cNvSpPr/>
            <p:nvPr/>
          </p:nvSpPr>
          <p:spPr>
            <a:xfrm>
              <a:off x="2235475" y="2161100"/>
              <a:ext cx="3138650" cy="1012350"/>
            </a:xfrm>
            <a:custGeom>
              <a:avLst/>
              <a:gdLst/>
              <a:ahLst/>
              <a:cxnLst/>
              <a:rect l="l" t="t" r="r" b="b"/>
              <a:pathLst>
                <a:path w="125546" h="40494" extrusionOk="0">
                  <a:moveTo>
                    <a:pt x="22196" y="1"/>
                  </a:moveTo>
                  <a:lnTo>
                    <a:pt x="8133" y="25661"/>
                  </a:lnTo>
                  <a:lnTo>
                    <a:pt x="1" y="40494"/>
                  </a:lnTo>
                  <a:lnTo>
                    <a:pt x="125545" y="40494"/>
                  </a:lnTo>
                  <a:lnTo>
                    <a:pt x="117413" y="25661"/>
                  </a:lnTo>
                  <a:lnTo>
                    <a:pt x="103351" y="1"/>
                  </a:ln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5" name="Google Shape;5925;p70"/>
            <p:cNvSpPr/>
            <p:nvPr/>
          </p:nvSpPr>
          <p:spPr>
            <a:xfrm>
              <a:off x="2825775" y="238125"/>
              <a:ext cx="1961900" cy="1850225"/>
            </a:xfrm>
            <a:custGeom>
              <a:avLst/>
              <a:gdLst/>
              <a:ahLst/>
              <a:cxnLst/>
              <a:rect l="l" t="t" r="r" b="b"/>
              <a:pathLst>
                <a:path w="78476" h="74009" extrusionOk="0">
                  <a:moveTo>
                    <a:pt x="39246" y="0"/>
                  </a:moveTo>
                  <a:lnTo>
                    <a:pt x="1" y="74009"/>
                  </a:lnTo>
                  <a:lnTo>
                    <a:pt x="78476" y="74009"/>
                  </a:lnTo>
                  <a:lnTo>
                    <a:pt x="39246"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6" name="Google Shape;5926;p70"/>
            <p:cNvSpPr/>
            <p:nvPr/>
          </p:nvSpPr>
          <p:spPr>
            <a:xfrm>
              <a:off x="926675" y="4357100"/>
              <a:ext cx="5755100" cy="1114000"/>
            </a:xfrm>
            <a:custGeom>
              <a:avLst/>
              <a:gdLst/>
              <a:ahLst/>
              <a:cxnLst/>
              <a:rect l="l" t="t" r="r" b="b"/>
              <a:pathLst>
                <a:path w="230204" h="44560" extrusionOk="0">
                  <a:moveTo>
                    <a:pt x="25737" y="1"/>
                  </a:moveTo>
                  <a:lnTo>
                    <a:pt x="0" y="44560"/>
                  </a:lnTo>
                  <a:lnTo>
                    <a:pt x="230204" y="44560"/>
                  </a:lnTo>
                  <a:lnTo>
                    <a:pt x="204467"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27" name="Google Shape;5927;p70"/>
            <p:cNvSpPr/>
            <p:nvPr/>
          </p:nvSpPr>
          <p:spPr>
            <a:xfrm>
              <a:off x="1621700" y="3256600"/>
              <a:ext cx="4370050" cy="1006950"/>
            </a:xfrm>
            <a:custGeom>
              <a:avLst/>
              <a:gdLst/>
              <a:ahLst/>
              <a:cxnLst/>
              <a:rect l="l" t="t" r="r" b="b"/>
              <a:pathLst>
                <a:path w="174802" h="40278" extrusionOk="0">
                  <a:moveTo>
                    <a:pt x="22750" y="1"/>
                  </a:moveTo>
                  <a:lnTo>
                    <a:pt x="0" y="40278"/>
                  </a:lnTo>
                  <a:lnTo>
                    <a:pt x="174802" y="40278"/>
                  </a:lnTo>
                  <a:lnTo>
                    <a:pt x="152053"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28" name="Google Shape;5928;p70"/>
          <p:cNvGrpSpPr/>
          <p:nvPr/>
        </p:nvGrpSpPr>
        <p:grpSpPr>
          <a:xfrm>
            <a:off x="969895" y="3771087"/>
            <a:ext cx="2260499" cy="2081116"/>
            <a:chOff x="727421" y="2828315"/>
            <a:chExt cx="1695374" cy="1560837"/>
          </a:xfrm>
        </p:grpSpPr>
        <p:grpSp>
          <p:nvGrpSpPr>
            <p:cNvPr id="5929" name="Google Shape;5929;p70"/>
            <p:cNvGrpSpPr/>
            <p:nvPr/>
          </p:nvGrpSpPr>
          <p:grpSpPr>
            <a:xfrm>
              <a:off x="727421" y="2828315"/>
              <a:ext cx="1695374" cy="1560837"/>
              <a:chOff x="734799" y="2782450"/>
              <a:chExt cx="1571100" cy="1577400"/>
            </a:xfrm>
          </p:grpSpPr>
          <p:cxnSp>
            <p:nvCxnSpPr>
              <p:cNvPr id="5930" name="Google Shape;5930;p70"/>
              <p:cNvCxnSpPr/>
              <p:nvPr/>
            </p:nvCxnSpPr>
            <p:spPr>
              <a:xfrm>
                <a:off x="743025" y="2782450"/>
                <a:ext cx="0" cy="1577400"/>
              </a:xfrm>
              <a:prstGeom prst="straightConnector1">
                <a:avLst/>
              </a:prstGeom>
              <a:noFill/>
              <a:ln w="19050" cap="flat" cmpd="sng">
                <a:solidFill>
                  <a:srgbClr val="E3E7EA"/>
                </a:solidFill>
                <a:prstDash val="solid"/>
                <a:round/>
                <a:headEnd type="none" w="med" len="med"/>
                <a:tailEnd type="none" w="med" len="med"/>
              </a:ln>
            </p:spPr>
          </p:cxnSp>
          <p:cxnSp>
            <p:nvCxnSpPr>
              <p:cNvPr id="5931" name="Google Shape;5931;p70"/>
              <p:cNvCxnSpPr/>
              <p:nvPr/>
            </p:nvCxnSpPr>
            <p:spPr>
              <a:xfrm rot="10800000">
                <a:off x="734799" y="4359850"/>
                <a:ext cx="1571100" cy="0"/>
              </a:xfrm>
              <a:prstGeom prst="straightConnector1">
                <a:avLst/>
              </a:prstGeom>
              <a:noFill/>
              <a:ln w="19050" cap="flat" cmpd="sng">
                <a:solidFill>
                  <a:srgbClr val="E3E7EA"/>
                </a:solidFill>
                <a:prstDash val="solid"/>
                <a:round/>
                <a:headEnd type="none" w="med" len="med"/>
                <a:tailEnd type="none" w="med" len="med"/>
              </a:ln>
            </p:spPr>
          </p:cxnSp>
        </p:grpSp>
        <p:grpSp>
          <p:nvGrpSpPr>
            <p:cNvPr id="5932" name="Google Shape;5932;p70"/>
            <p:cNvGrpSpPr/>
            <p:nvPr/>
          </p:nvGrpSpPr>
          <p:grpSpPr>
            <a:xfrm>
              <a:off x="819108" y="2882501"/>
              <a:ext cx="1556791" cy="1426186"/>
              <a:chOff x="819108" y="2882501"/>
              <a:chExt cx="1556791" cy="1426186"/>
            </a:xfrm>
          </p:grpSpPr>
          <p:grpSp>
            <p:nvGrpSpPr>
              <p:cNvPr id="5933" name="Google Shape;5933;p70"/>
              <p:cNvGrpSpPr/>
              <p:nvPr/>
            </p:nvGrpSpPr>
            <p:grpSpPr>
              <a:xfrm>
                <a:off x="819108" y="2882501"/>
                <a:ext cx="103104" cy="1426186"/>
                <a:chOff x="4674013" y="3100904"/>
                <a:chExt cx="122758" cy="1698043"/>
              </a:xfrm>
            </p:grpSpPr>
            <p:sp>
              <p:nvSpPr>
                <p:cNvPr id="5934" name="Google Shape;5934;p70"/>
                <p:cNvSpPr/>
                <p:nvPr/>
              </p:nvSpPr>
              <p:spPr>
                <a:xfrm>
                  <a:off x="46740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5" name="Google Shape;5935;p70"/>
                <p:cNvSpPr/>
                <p:nvPr/>
              </p:nvSpPr>
              <p:spPr>
                <a:xfrm>
                  <a:off x="46740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6" name="Google Shape;5936;p70"/>
                <p:cNvSpPr/>
                <p:nvPr/>
              </p:nvSpPr>
              <p:spPr>
                <a:xfrm>
                  <a:off x="46740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7" name="Google Shape;5937;p70"/>
                <p:cNvSpPr/>
                <p:nvPr/>
              </p:nvSpPr>
              <p:spPr>
                <a:xfrm>
                  <a:off x="46740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8" name="Google Shape;5938;p70"/>
                <p:cNvSpPr/>
                <p:nvPr/>
              </p:nvSpPr>
              <p:spPr>
                <a:xfrm>
                  <a:off x="46740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39" name="Google Shape;5939;p70"/>
                <p:cNvSpPr/>
                <p:nvPr/>
              </p:nvSpPr>
              <p:spPr>
                <a:xfrm>
                  <a:off x="46740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0" name="Google Shape;5940;p70"/>
                <p:cNvSpPr/>
                <p:nvPr/>
              </p:nvSpPr>
              <p:spPr>
                <a:xfrm>
                  <a:off x="46740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41" name="Google Shape;5941;p70"/>
              <p:cNvGrpSpPr/>
              <p:nvPr/>
            </p:nvGrpSpPr>
            <p:grpSpPr>
              <a:xfrm>
                <a:off x="1062475" y="2882501"/>
                <a:ext cx="103104" cy="1426186"/>
                <a:chOff x="4940438" y="3100904"/>
                <a:chExt cx="122758" cy="1698043"/>
              </a:xfrm>
            </p:grpSpPr>
            <p:sp>
              <p:nvSpPr>
                <p:cNvPr id="5942" name="Google Shape;5942;p70"/>
                <p:cNvSpPr/>
                <p:nvPr/>
              </p:nvSpPr>
              <p:spPr>
                <a:xfrm>
                  <a:off x="4940438"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3" name="Google Shape;5943;p70"/>
                <p:cNvSpPr/>
                <p:nvPr/>
              </p:nvSpPr>
              <p:spPr>
                <a:xfrm>
                  <a:off x="4940438"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4" name="Google Shape;5944;p70"/>
                <p:cNvSpPr/>
                <p:nvPr/>
              </p:nvSpPr>
              <p:spPr>
                <a:xfrm>
                  <a:off x="4940438"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5" name="Google Shape;5945;p70"/>
                <p:cNvSpPr/>
                <p:nvPr/>
              </p:nvSpPr>
              <p:spPr>
                <a:xfrm>
                  <a:off x="4940438"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6" name="Google Shape;5946;p70"/>
                <p:cNvSpPr/>
                <p:nvPr/>
              </p:nvSpPr>
              <p:spPr>
                <a:xfrm>
                  <a:off x="4940438"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7" name="Google Shape;5947;p70"/>
                <p:cNvSpPr/>
                <p:nvPr/>
              </p:nvSpPr>
              <p:spPr>
                <a:xfrm>
                  <a:off x="4940438"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48" name="Google Shape;5948;p70"/>
                <p:cNvSpPr/>
                <p:nvPr/>
              </p:nvSpPr>
              <p:spPr>
                <a:xfrm>
                  <a:off x="4940438"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49" name="Google Shape;5949;p70"/>
              <p:cNvGrpSpPr/>
              <p:nvPr/>
            </p:nvGrpSpPr>
            <p:grpSpPr>
              <a:xfrm>
                <a:off x="1299324" y="2882501"/>
                <a:ext cx="103104" cy="1426186"/>
                <a:chOff x="5206863" y="3100904"/>
                <a:chExt cx="122758" cy="1698043"/>
              </a:xfrm>
            </p:grpSpPr>
            <p:sp>
              <p:nvSpPr>
                <p:cNvPr id="5950" name="Google Shape;5950;p70"/>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1" name="Google Shape;5951;p70"/>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2" name="Google Shape;5952;p70"/>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3" name="Google Shape;5953;p70"/>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4" name="Google Shape;5954;p70"/>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5" name="Google Shape;5955;p70"/>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6" name="Google Shape;5956;p70"/>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57" name="Google Shape;5957;p70"/>
              <p:cNvGrpSpPr/>
              <p:nvPr/>
            </p:nvGrpSpPr>
            <p:grpSpPr>
              <a:xfrm>
                <a:off x="1786057" y="2882501"/>
                <a:ext cx="103104" cy="1426186"/>
                <a:chOff x="6006138" y="3143629"/>
                <a:chExt cx="122758" cy="1698043"/>
              </a:xfrm>
            </p:grpSpPr>
            <p:sp>
              <p:nvSpPr>
                <p:cNvPr id="5958" name="Google Shape;5958;p70"/>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59" name="Google Shape;5959;p70"/>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0" name="Google Shape;5960;p70"/>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1" name="Google Shape;5961;p70"/>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2" name="Google Shape;5962;p70"/>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3" name="Google Shape;5963;p70"/>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4" name="Google Shape;5964;p70"/>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65" name="Google Shape;5965;p70"/>
              <p:cNvGrpSpPr/>
              <p:nvPr/>
            </p:nvGrpSpPr>
            <p:grpSpPr>
              <a:xfrm>
                <a:off x="2029422" y="2882501"/>
                <a:ext cx="103104" cy="1426186"/>
                <a:chOff x="6805413" y="3100904"/>
                <a:chExt cx="122758" cy="1698043"/>
              </a:xfrm>
            </p:grpSpPr>
            <p:sp>
              <p:nvSpPr>
                <p:cNvPr id="5966" name="Google Shape;5966;p70"/>
                <p:cNvSpPr/>
                <p:nvPr/>
              </p:nvSpPr>
              <p:spPr>
                <a:xfrm>
                  <a:off x="680541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7" name="Google Shape;5967;p70"/>
                <p:cNvSpPr/>
                <p:nvPr/>
              </p:nvSpPr>
              <p:spPr>
                <a:xfrm>
                  <a:off x="680541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8" name="Google Shape;5968;p70"/>
                <p:cNvSpPr/>
                <p:nvPr/>
              </p:nvSpPr>
              <p:spPr>
                <a:xfrm>
                  <a:off x="680541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69" name="Google Shape;5969;p70"/>
                <p:cNvSpPr/>
                <p:nvPr/>
              </p:nvSpPr>
              <p:spPr>
                <a:xfrm>
                  <a:off x="680541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0" name="Google Shape;5970;p70"/>
                <p:cNvSpPr/>
                <p:nvPr/>
              </p:nvSpPr>
              <p:spPr>
                <a:xfrm>
                  <a:off x="680541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1" name="Google Shape;5971;p70"/>
                <p:cNvSpPr/>
                <p:nvPr/>
              </p:nvSpPr>
              <p:spPr>
                <a:xfrm>
                  <a:off x="680541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2" name="Google Shape;5972;p70"/>
                <p:cNvSpPr/>
                <p:nvPr/>
              </p:nvSpPr>
              <p:spPr>
                <a:xfrm>
                  <a:off x="680541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73" name="Google Shape;5973;p70"/>
              <p:cNvGrpSpPr/>
              <p:nvPr/>
            </p:nvGrpSpPr>
            <p:grpSpPr>
              <a:xfrm>
                <a:off x="2272795" y="2882501"/>
                <a:ext cx="103104" cy="1426186"/>
                <a:chOff x="5206863" y="3100904"/>
                <a:chExt cx="122758" cy="1698043"/>
              </a:xfrm>
            </p:grpSpPr>
            <p:sp>
              <p:nvSpPr>
                <p:cNvPr id="5974" name="Google Shape;5974;p70"/>
                <p:cNvSpPr/>
                <p:nvPr/>
              </p:nvSpPr>
              <p:spPr>
                <a:xfrm>
                  <a:off x="5206863" y="3100904"/>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5" name="Google Shape;5975;p70"/>
                <p:cNvSpPr/>
                <p:nvPr/>
              </p:nvSpPr>
              <p:spPr>
                <a:xfrm>
                  <a:off x="5206863" y="3363453"/>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6" name="Google Shape;5976;p70"/>
                <p:cNvSpPr/>
                <p:nvPr/>
              </p:nvSpPr>
              <p:spPr>
                <a:xfrm>
                  <a:off x="5206863" y="3625992"/>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7" name="Google Shape;5977;p70"/>
                <p:cNvSpPr/>
                <p:nvPr/>
              </p:nvSpPr>
              <p:spPr>
                <a:xfrm>
                  <a:off x="5206863" y="3888561"/>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8" name="Google Shape;5978;p70"/>
                <p:cNvSpPr/>
                <p:nvPr/>
              </p:nvSpPr>
              <p:spPr>
                <a:xfrm>
                  <a:off x="5206863" y="4151100"/>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79" name="Google Shape;5979;p70"/>
                <p:cNvSpPr/>
                <p:nvPr/>
              </p:nvSpPr>
              <p:spPr>
                <a:xfrm>
                  <a:off x="5206863" y="4413650"/>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0" name="Google Shape;5980;p70"/>
                <p:cNvSpPr/>
                <p:nvPr/>
              </p:nvSpPr>
              <p:spPr>
                <a:xfrm>
                  <a:off x="5206863" y="4676209"/>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w="19050" cap="flat" cmpd="sng">
                  <a:solidFill>
                    <a:srgbClr val="869FB2"/>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5981" name="Google Shape;5981;p70"/>
              <p:cNvGrpSpPr/>
              <p:nvPr/>
            </p:nvGrpSpPr>
            <p:grpSpPr>
              <a:xfrm>
                <a:off x="1542694" y="2882501"/>
                <a:ext cx="103104" cy="1426186"/>
                <a:chOff x="6006138" y="3143629"/>
                <a:chExt cx="122758" cy="1698043"/>
              </a:xfrm>
            </p:grpSpPr>
            <p:sp>
              <p:nvSpPr>
                <p:cNvPr id="5982" name="Google Shape;5982;p70"/>
                <p:cNvSpPr/>
                <p:nvPr/>
              </p:nvSpPr>
              <p:spPr>
                <a:xfrm>
                  <a:off x="6006138" y="3143629"/>
                  <a:ext cx="122758" cy="122748"/>
                </a:xfrm>
                <a:custGeom>
                  <a:avLst/>
                  <a:gdLst/>
                  <a:ahLst/>
                  <a:cxnLst/>
                  <a:rect l="l" t="t" r="r" b="b"/>
                  <a:pathLst>
                    <a:path w="12381" h="12380" extrusionOk="0">
                      <a:moveTo>
                        <a:pt x="6191" y="1"/>
                      </a:moveTo>
                      <a:cubicBezTo>
                        <a:pt x="2771" y="1"/>
                        <a:pt x="0" y="2772"/>
                        <a:pt x="0" y="6190"/>
                      </a:cubicBezTo>
                      <a:cubicBezTo>
                        <a:pt x="0" y="9608"/>
                        <a:pt x="2771" y="12379"/>
                        <a:pt x="6191" y="12379"/>
                      </a:cubicBezTo>
                      <a:cubicBezTo>
                        <a:pt x="9610" y="12379"/>
                        <a:pt x="12381" y="9608"/>
                        <a:pt x="12381" y="6190"/>
                      </a:cubicBezTo>
                      <a:cubicBezTo>
                        <a:pt x="12381" y="2772"/>
                        <a:pt x="9610" y="1"/>
                        <a:pt x="6191" y="1"/>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3" name="Google Shape;5983;p70"/>
                <p:cNvSpPr/>
                <p:nvPr/>
              </p:nvSpPr>
              <p:spPr>
                <a:xfrm>
                  <a:off x="6006138" y="3406178"/>
                  <a:ext cx="122758" cy="122758"/>
                </a:xfrm>
                <a:custGeom>
                  <a:avLst/>
                  <a:gdLst/>
                  <a:ahLst/>
                  <a:cxnLst/>
                  <a:rect l="l" t="t" r="r" b="b"/>
                  <a:pathLst>
                    <a:path w="12381" h="12381" extrusionOk="0">
                      <a:moveTo>
                        <a:pt x="6191" y="0"/>
                      </a:moveTo>
                      <a:cubicBezTo>
                        <a:pt x="2771" y="0"/>
                        <a:pt x="0" y="2771"/>
                        <a:pt x="0" y="6191"/>
                      </a:cubicBezTo>
                      <a:cubicBezTo>
                        <a:pt x="0" y="9610"/>
                        <a:pt x="2771" y="12381"/>
                        <a:pt x="6191" y="12381"/>
                      </a:cubicBezTo>
                      <a:cubicBezTo>
                        <a:pt x="9610" y="12381"/>
                        <a:pt x="12381" y="9610"/>
                        <a:pt x="12381" y="6191"/>
                      </a:cubicBezTo>
                      <a:cubicBezTo>
                        <a:pt x="12381" y="2771"/>
                        <a:pt x="9610" y="0"/>
                        <a:pt x="619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4" name="Google Shape;5984;p70"/>
                <p:cNvSpPr/>
                <p:nvPr/>
              </p:nvSpPr>
              <p:spPr>
                <a:xfrm>
                  <a:off x="6006138" y="3668717"/>
                  <a:ext cx="122738" cy="122768"/>
                </a:xfrm>
                <a:custGeom>
                  <a:avLst/>
                  <a:gdLst/>
                  <a:ahLst/>
                  <a:cxnLst/>
                  <a:rect l="l" t="t" r="r" b="b"/>
                  <a:pathLst>
                    <a:path w="12379" h="12382" extrusionOk="0">
                      <a:moveTo>
                        <a:pt x="6190" y="1"/>
                      </a:moveTo>
                      <a:cubicBezTo>
                        <a:pt x="2771" y="1"/>
                        <a:pt x="0" y="2774"/>
                        <a:pt x="0" y="6192"/>
                      </a:cubicBezTo>
                      <a:cubicBezTo>
                        <a:pt x="0" y="9610"/>
                        <a:pt x="2771" y="12381"/>
                        <a:pt x="6190" y="12381"/>
                      </a:cubicBezTo>
                      <a:cubicBezTo>
                        <a:pt x="9608" y="12381"/>
                        <a:pt x="12379" y="9610"/>
                        <a:pt x="12379" y="6192"/>
                      </a:cubicBezTo>
                      <a:cubicBezTo>
                        <a:pt x="12379" y="2774"/>
                        <a:pt x="9608" y="1"/>
                        <a:pt x="619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5" name="Google Shape;5985;p70"/>
                <p:cNvSpPr/>
                <p:nvPr/>
              </p:nvSpPr>
              <p:spPr>
                <a:xfrm>
                  <a:off x="6006138" y="3931286"/>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6" name="Google Shape;5986;p70"/>
                <p:cNvSpPr/>
                <p:nvPr/>
              </p:nvSpPr>
              <p:spPr>
                <a:xfrm>
                  <a:off x="6006138" y="4193825"/>
                  <a:ext cx="122738" cy="122748"/>
                </a:xfrm>
                <a:custGeom>
                  <a:avLst/>
                  <a:gdLst/>
                  <a:ahLst/>
                  <a:cxnLst/>
                  <a:rect l="l" t="t" r="r" b="b"/>
                  <a:pathLst>
                    <a:path w="12379" h="12380" extrusionOk="0">
                      <a:moveTo>
                        <a:pt x="6190" y="1"/>
                      </a:moveTo>
                      <a:cubicBezTo>
                        <a:pt x="2771" y="1"/>
                        <a:pt x="0" y="2772"/>
                        <a:pt x="0" y="6190"/>
                      </a:cubicBezTo>
                      <a:cubicBezTo>
                        <a:pt x="0" y="9608"/>
                        <a:pt x="2771" y="12379"/>
                        <a:pt x="6190" y="12379"/>
                      </a:cubicBezTo>
                      <a:cubicBezTo>
                        <a:pt x="9608" y="12379"/>
                        <a:pt x="12379" y="9608"/>
                        <a:pt x="12379" y="6190"/>
                      </a:cubicBezTo>
                      <a:cubicBezTo>
                        <a:pt x="12379" y="2772"/>
                        <a:pt x="9608" y="1"/>
                        <a:pt x="6190"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7" name="Google Shape;5987;p70"/>
                <p:cNvSpPr/>
                <p:nvPr/>
              </p:nvSpPr>
              <p:spPr>
                <a:xfrm>
                  <a:off x="6006138" y="4456375"/>
                  <a:ext cx="122738" cy="122758"/>
                </a:xfrm>
                <a:custGeom>
                  <a:avLst/>
                  <a:gdLst/>
                  <a:ahLst/>
                  <a:cxnLst/>
                  <a:rect l="l" t="t" r="r" b="b"/>
                  <a:pathLst>
                    <a:path w="12379" h="12381" extrusionOk="0">
                      <a:moveTo>
                        <a:pt x="6190" y="0"/>
                      </a:moveTo>
                      <a:cubicBezTo>
                        <a:pt x="2771" y="0"/>
                        <a:pt x="0" y="2771"/>
                        <a:pt x="0" y="6191"/>
                      </a:cubicBezTo>
                      <a:cubicBezTo>
                        <a:pt x="0" y="9609"/>
                        <a:pt x="2771" y="12380"/>
                        <a:pt x="6190" y="12380"/>
                      </a:cubicBezTo>
                      <a:cubicBezTo>
                        <a:pt x="9608" y="12380"/>
                        <a:pt x="12379" y="9609"/>
                        <a:pt x="12379" y="6191"/>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88" name="Google Shape;5988;p70"/>
                <p:cNvSpPr/>
                <p:nvPr/>
              </p:nvSpPr>
              <p:spPr>
                <a:xfrm>
                  <a:off x="6006138" y="4718934"/>
                  <a:ext cx="122738" cy="122738"/>
                </a:xfrm>
                <a:custGeom>
                  <a:avLst/>
                  <a:gdLst/>
                  <a:ahLst/>
                  <a:cxnLst/>
                  <a:rect l="l" t="t" r="r" b="b"/>
                  <a:pathLst>
                    <a:path w="12379" h="12379" extrusionOk="0">
                      <a:moveTo>
                        <a:pt x="6190" y="0"/>
                      </a:moveTo>
                      <a:cubicBezTo>
                        <a:pt x="2771" y="0"/>
                        <a:pt x="0" y="2771"/>
                        <a:pt x="0" y="6189"/>
                      </a:cubicBezTo>
                      <a:cubicBezTo>
                        <a:pt x="0" y="9608"/>
                        <a:pt x="2771" y="12379"/>
                        <a:pt x="6190" y="12379"/>
                      </a:cubicBezTo>
                      <a:cubicBezTo>
                        <a:pt x="9608" y="12379"/>
                        <a:pt x="12379" y="9608"/>
                        <a:pt x="12379" y="6189"/>
                      </a:cubicBezTo>
                      <a:cubicBezTo>
                        <a:pt x="12379" y="2771"/>
                        <a:pt x="9608" y="0"/>
                        <a:pt x="6190"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grpSp>
        <p:nvGrpSpPr>
          <p:cNvPr id="5989" name="Google Shape;5989;p70"/>
          <p:cNvGrpSpPr/>
          <p:nvPr/>
        </p:nvGrpSpPr>
        <p:grpSpPr>
          <a:xfrm>
            <a:off x="7577963" y="4690717"/>
            <a:ext cx="3666603" cy="1160903"/>
            <a:chOff x="238125" y="1725700"/>
            <a:chExt cx="7139025" cy="2260325"/>
          </a:xfrm>
        </p:grpSpPr>
        <p:sp>
          <p:nvSpPr>
            <p:cNvPr id="5990" name="Google Shape;5990;p70"/>
            <p:cNvSpPr/>
            <p:nvPr/>
          </p:nvSpPr>
          <p:spPr>
            <a:xfrm>
              <a:off x="238125" y="1741950"/>
              <a:ext cx="6506150" cy="2228050"/>
            </a:xfrm>
            <a:custGeom>
              <a:avLst/>
              <a:gdLst/>
              <a:ahLst/>
              <a:cxnLst/>
              <a:rect l="l" t="t" r="r" b="b"/>
              <a:pathLst>
                <a:path w="260246" h="89122" extrusionOk="0">
                  <a:moveTo>
                    <a:pt x="260246" y="1"/>
                  </a:moveTo>
                  <a:lnTo>
                    <a:pt x="0" y="44559"/>
                  </a:lnTo>
                  <a:lnTo>
                    <a:pt x="260241" y="89121"/>
                  </a:lnTo>
                  <a:cubicBezTo>
                    <a:pt x="250030" y="85482"/>
                    <a:pt x="242259" y="66921"/>
                    <a:pt x="242259" y="44559"/>
                  </a:cubicBezTo>
                  <a:cubicBezTo>
                    <a:pt x="242259" y="22201"/>
                    <a:pt x="250039" y="3626"/>
                    <a:pt x="260246" y="1"/>
                  </a:cubicBezTo>
                  <a:close/>
                </a:path>
              </a:pathLst>
            </a:custGeom>
            <a:solidFill>
              <a:srgbClr val="E3E9ED">
                <a:alpha val="43580"/>
              </a:srgbClr>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1" name="Google Shape;5991;p70"/>
            <p:cNvSpPr/>
            <p:nvPr/>
          </p:nvSpPr>
          <p:spPr>
            <a:xfrm>
              <a:off x="2480475" y="2435950"/>
              <a:ext cx="438500" cy="841400"/>
            </a:xfrm>
            <a:custGeom>
              <a:avLst/>
              <a:gdLst/>
              <a:ahLst/>
              <a:cxnLst/>
              <a:rect l="l" t="t" r="r" b="b"/>
              <a:pathLst>
                <a:path w="17540" h="33656" extrusionOk="0">
                  <a:moveTo>
                    <a:pt x="8770" y="1"/>
                  </a:moveTo>
                  <a:cubicBezTo>
                    <a:pt x="3929" y="1"/>
                    <a:pt x="0" y="7536"/>
                    <a:pt x="0" y="16826"/>
                  </a:cubicBezTo>
                  <a:cubicBezTo>
                    <a:pt x="0" y="26120"/>
                    <a:pt x="3929" y="33655"/>
                    <a:pt x="8770" y="33655"/>
                  </a:cubicBezTo>
                  <a:cubicBezTo>
                    <a:pt x="13616" y="33655"/>
                    <a:pt x="17540" y="26120"/>
                    <a:pt x="17540" y="16826"/>
                  </a:cubicBezTo>
                  <a:cubicBezTo>
                    <a:pt x="17540" y="7536"/>
                    <a:pt x="13616" y="1"/>
                    <a:pt x="8770"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2" name="Google Shape;5992;p70"/>
            <p:cNvSpPr/>
            <p:nvPr/>
          </p:nvSpPr>
          <p:spPr>
            <a:xfrm>
              <a:off x="3663250" y="2219875"/>
              <a:ext cx="607450" cy="1272525"/>
            </a:xfrm>
            <a:custGeom>
              <a:avLst/>
              <a:gdLst/>
              <a:ahLst/>
              <a:cxnLst/>
              <a:rect l="l" t="t" r="r" b="b"/>
              <a:pathLst>
                <a:path w="24298" h="50901" extrusionOk="0">
                  <a:moveTo>
                    <a:pt x="12147" y="1"/>
                  </a:moveTo>
                  <a:cubicBezTo>
                    <a:pt x="8924" y="1"/>
                    <a:pt x="5836" y="2681"/>
                    <a:pt x="3558" y="7450"/>
                  </a:cubicBezTo>
                  <a:cubicBezTo>
                    <a:pt x="1280" y="12224"/>
                    <a:pt x="0" y="18697"/>
                    <a:pt x="0" y="25451"/>
                  </a:cubicBezTo>
                  <a:cubicBezTo>
                    <a:pt x="0" y="32200"/>
                    <a:pt x="1280" y="38673"/>
                    <a:pt x="3558" y="43447"/>
                  </a:cubicBezTo>
                  <a:cubicBezTo>
                    <a:pt x="5836" y="48216"/>
                    <a:pt x="8924" y="50901"/>
                    <a:pt x="12147" y="50901"/>
                  </a:cubicBezTo>
                  <a:cubicBezTo>
                    <a:pt x="15370" y="50901"/>
                    <a:pt x="18457" y="48216"/>
                    <a:pt x="20735" y="43447"/>
                  </a:cubicBezTo>
                  <a:cubicBezTo>
                    <a:pt x="23014" y="38673"/>
                    <a:pt x="24298" y="32200"/>
                    <a:pt x="24298" y="25451"/>
                  </a:cubicBezTo>
                  <a:cubicBezTo>
                    <a:pt x="24298" y="18697"/>
                    <a:pt x="23014" y="12224"/>
                    <a:pt x="20735" y="7450"/>
                  </a:cubicBezTo>
                  <a:cubicBezTo>
                    <a:pt x="18457" y="2681"/>
                    <a:pt x="15370" y="1"/>
                    <a:pt x="12147" y="1"/>
                  </a:cubicBezTo>
                  <a:close/>
                </a:path>
              </a:pathLst>
            </a:custGeom>
            <a:solidFill>
              <a:srgbClr val="A5B7C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3" name="Google Shape;5993;p70"/>
            <p:cNvSpPr/>
            <p:nvPr/>
          </p:nvSpPr>
          <p:spPr>
            <a:xfrm>
              <a:off x="4999700" y="1973525"/>
              <a:ext cx="820500" cy="1764350"/>
            </a:xfrm>
            <a:custGeom>
              <a:avLst/>
              <a:gdLst/>
              <a:ahLst/>
              <a:cxnLst/>
              <a:rect l="l" t="t" r="r" b="b"/>
              <a:pathLst>
                <a:path w="32820" h="70574" extrusionOk="0">
                  <a:moveTo>
                    <a:pt x="16410" y="0"/>
                  </a:moveTo>
                  <a:cubicBezTo>
                    <a:pt x="12057" y="0"/>
                    <a:pt x="7884" y="3716"/>
                    <a:pt x="4806" y="10334"/>
                  </a:cubicBezTo>
                  <a:cubicBezTo>
                    <a:pt x="1728" y="16952"/>
                    <a:pt x="1" y="25925"/>
                    <a:pt x="1" y="35287"/>
                  </a:cubicBezTo>
                  <a:cubicBezTo>
                    <a:pt x="1" y="44644"/>
                    <a:pt x="1728" y="53622"/>
                    <a:pt x="4806" y="60239"/>
                  </a:cubicBezTo>
                  <a:cubicBezTo>
                    <a:pt x="7884" y="66857"/>
                    <a:pt x="12057" y="70573"/>
                    <a:pt x="16410" y="70573"/>
                  </a:cubicBezTo>
                  <a:cubicBezTo>
                    <a:pt x="20759" y="70573"/>
                    <a:pt x="24936" y="66857"/>
                    <a:pt x="28014" y="60239"/>
                  </a:cubicBezTo>
                  <a:cubicBezTo>
                    <a:pt x="31088" y="53622"/>
                    <a:pt x="32819" y="44644"/>
                    <a:pt x="32819" y="35287"/>
                  </a:cubicBezTo>
                  <a:cubicBezTo>
                    <a:pt x="32819" y="25925"/>
                    <a:pt x="31088" y="16952"/>
                    <a:pt x="28014" y="10334"/>
                  </a:cubicBezTo>
                  <a:cubicBezTo>
                    <a:pt x="24936" y="3716"/>
                    <a:pt x="20759" y="0"/>
                    <a:pt x="16410" y="0"/>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4" name="Google Shape;5994;p70"/>
            <p:cNvSpPr/>
            <p:nvPr/>
          </p:nvSpPr>
          <p:spPr>
            <a:xfrm>
              <a:off x="6838275" y="1725700"/>
              <a:ext cx="150" cy="0"/>
            </a:xfrm>
            <a:custGeom>
              <a:avLst/>
              <a:gdLst/>
              <a:ahLst/>
              <a:cxnLst/>
              <a:rect l="l" t="t" r="r" b="b"/>
              <a:pathLst>
                <a:path w="6" extrusionOk="0">
                  <a:moveTo>
                    <a:pt x="5" y="0"/>
                  </a:moveTo>
                  <a:lnTo>
                    <a:pt x="1" y="0"/>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5" name="Google Shape;5995;p70"/>
            <p:cNvSpPr/>
            <p:nvPr/>
          </p:nvSpPr>
          <p:spPr>
            <a:xfrm>
              <a:off x="6838400" y="3986000"/>
              <a:ext cx="25" cy="25"/>
            </a:xfrm>
            <a:custGeom>
              <a:avLst/>
              <a:gdLst/>
              <a:ahLst/>
              <a:cxnLst/>
              <a:rect l="l" t="t" r="r" b="b"/>
              <a:pathLst>
                <a:path w="1" h="1" extrusionOk="0">
                  <a:moveTo>
                    <a:pt x="0" y="1"/>
                  </a:moveTo>
                  <a:lnTo>
                    <a:pt x="0" y="1"/>
                  </a:lnTo>
                  <a:close/>
                </a:path>
              </a:pathLst>
            </a:custGeom>
            <a:solidFill>
              <a:srgbClr val="E3E9ED"/>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6" name="Google Shape;5996;p70"/>
            <p:cNvSpPr/>
            <p:nvPr/>
          </p:nvSpPr>
          <p:spPr>
            <a:xfrm>
              <a:off x="6744250" y="3969975"/>
              <a:ext cx="94175" cy="16050"/>
            </a:xfrm>
            <a:custGeom>
              <a:avLst/>
              <a:gdLst/>
              <a:ahLst/>
              <a:cxnLst/>
              <a:rect l="l" t="t" r="r" b="b"/>
              <a:pathLst>
                <a:path w="3767" h="642" extrusionOk="0">
                  <a:moveTo>
                    <a:pt x="1" y="0"/>
                  </a:moveTo>
                  <a:lnTo>
                    <a:pt x="1" y="0"/>
                  </a:lnTo>
                  <a:cubicBezTo>
                    <a:pt x="1190" y="425"/>
                    <a:pt x="2415" y="642"/>
                    <a:pt x="3662" y="642"/>
                  </a:cubicBezTo>
                  <a:lnTo>
                    <a:pt x="3766" y="642"/>
                  </a:lnTo>
                  <a:lnTo>
                    <a:pt x="1"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7" name="Google Shape;5997;p70"/>
            <p:cNvSpPr/>
            <p:nvPr/>
          </p:nvSpPr>
          <p:spPr>
            <a:xfrm>
              <a:off x="6744250" y="1725700"/>
              <a:ext cx="94050" cy="16175"/>
            </a:xfrm>
            <a:custGeom>
              <a:avLst/>
              <a:gdLst/>
              <a:ahLst/>
              <a:cxnLst/>
              <a:rect l="l" t="t" r="r" b="b"/>
              <a:pathLst>
                <a:path w="3762" h="647" extrusionOk="0">
                  <a:moveTo>
                    <a:pt x="3662" y="0"/>
                  </a:moveTo>
                  <a:cubicBezTo>
                    <a:pt x="2415" y="0"/>
                    <a:pt x="1194" y="222"/>
                    <a:pt x="1" y="646"/>
                  </a:cubicBezTo>
                  <a:lnTo>
                    <a:pt x="3762" y="0"/>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8" name="Google Shape;5998;p70"/>
            <p:cNvSpPr/>
            <p:nvPr/>
          </p:nvSpPr>
          <p:spPr>
            <a:xfrm>
              <a:off x="6294575" y="1725700"/>
              <a:ext cx="1082575" cy="2260225"/>
            </a:xfrm>
            <a:custGeom>
              <a:avLst/>
              <a:gdLst/>
              <a:ahLst/>
              <a:cxnLst/>
              <a:rect l="l" t="t" r="r" b="b"/>
              <a:pathLst>
                <a:path w="43303" h="90409" extrusionOk="0">
                  <a:moveTo>
                    <a:pt x="21749" y="0"/>
                  </a:moveTo>
                  <a:lnTo>
                    <a:pt x="17988" y="646"/>
                  </a:lnTo>
                  <a:cubicBezTo>
                    <a:pt x="7781" y="4276"/>
                    <a:pt x="1" y="22846"/>
                    <a:pt x="1" y="45204"/>
                  </a:cubicBezTo>
                  <a:cubicBezTo>
                    <a:pt x="1" y="67562"/>
                    <a:pt x="7781" y="86132"/>
                    <a:pt x="17988" y="89766"/>
                  </a:cubicBezTo>
                  <a:lnTo>
                    <a:pt x="21753" y="90408"/>
                  </a:lnTo>
                  <a:lnTo>
                    <a:pt x="21758" y="90408"/>
                  </a:lnTo>
                  <a:cubicBezTo>
                    <a:pt x="33665" y="90291"/>
                    <a:pt x="43302" y="70094"/>
                    <a:pt x="43302" y="45204"/>
                  </a:cubicBezTo>
                  <a:cubicBezTo>
                    <a:pt x="43302" y="20315"/>
                    <a:pt x="33665" y="118"/>
                    <a:pt x="21753"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5999" name="Google Shape;5999;p70"/>
            <p:cNvSpPr/>
            <p:nvPr/>
          </p:nvSpPr>
          <p:spPr>
            <a:xfrm>
              <a:off x="1511625" y="2613375"/>
              <a:ext cx="292400" cy="484275"/>
            </a:xfrm>
            <a:custGeom>
              <a:avLst/>
              <a:gdLst/>
              <a:ahLst/>
              <a:cxnLst/>
              <a:rect l="l" t="t" r="r" b="b"/>
              <a:pathLst>
                <a:path w="11696" h="19371" extrusionOk="0">
                  <a:moveTo>
                    <a:pt x="5850" y="1"/>
                  </a:moveTo>
                  <a:cubicBezTo>
                    <a:pt x="2618" y="1"/>
                    <a:pt x="1" y="4336"/>
                    <a:pt x="1" y="9684"/>
                  </a:cubicBezTo>
                  <a:cubicBezTo>
                    <a:pt x="1" y="15036"/>
                    <a:pt x="2618" y="19371"/>
                    <a:pt x="5850" y="19371"/>
                  </a:cubicBezTo>
                  <a:cubicBezTo>
                    <a:pt x="9078" y="19371"/>
                    <a:pt x="11695" y="15036"/>
                    <a:pt x="11695" y="9684"/>
                  </a:cubicBezTo>
                  <a:cubicBezTo>
                    <a:pt x="11695" y="4336"/>
                    <a:pt x="9078" y="1"/>
                    <a:pt x="5850" y="1"/>
                  </a:cubicBez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000" name="Google Shape;6000;p70"/>
          <p:cNvGrpSpPr/>
          <p:nvPr/>
        </p:nvGrpSpPr>
        <p:grpSpPr>
          <a:xfrm>
            <a:off x="7938181" y="3279712"/>
            <a:ext cx="1473936" cy="1222329"/>
            <a:chOff x="5249100" y="1210600"/>
            <a:chExt cx="3502700" cy="2904775"/>
          </a:xfrm>
        </p:grpSpPr>
        <p:sp>
          <p:nvSpPr>
            <p:cNvPr id="6001" name="Google Shape;6001;p70"/>
            <p:cNvSpPr/>
            <p:nvPr/>
          </p:nvSpPr>
          <p:spPr>
            <a:xfrm>
              <a:off x="5479658" y="1210600"/>
              <a:ext cx="3108190" cy="632425"/>
            </a:xfrm>
            <a:custGeom>
              <a:avLst/>
              <a:gdLst/>
              <a:ahLst/>
              <a:cxnLst/>
              <a:rect l="l" t="t" r="r" b="b"/>
              <a:pathLst>
                <a:path w="117257" h="25297" extrusionOk="0">
                  <a:moveTo>
                    <a:pt x="1" y="0"/>
                  </a:moveTo>
                  <a:lnTo>
                    <a:pt x="14647" y="25297"/>
                  </a:lnTo>
                  <a:lnTo>
                    <a:pt x="102066" y="25297"/>
                  </a:lnTo>
                  <a:lnTo>
                    <a:pt x="117257" y="0"/>
                  </a:lnTo>
                  <a:close/>
                </a:path>
              </a:pathLst>
            </a:custGeom>
            <a:solidFill>
              <a:srgbClr val="BAC8D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2" name="Google Shape;6002;p70"/>
            <p:cNvSpPr/>
            <p:nvPr/>
          </p:nvSpPr>
          <p:spPr>
            <a:xfrm>
              <a:off x="5769162" y="1842998"/>
              <a:ext cx="2424880" cy="631925"/>
            </a:xfrm>
            <a:custGeom>
              <a:avLst/>
              <a:gdLst/>
              <a:ahLst/>
              <a:cxnLst/>
              <a:rect l="l" t="t" r="r" b="b"/>
              <a:pathLst>
                <a:path w="91479" h="25277" extrusionOk="0">
                  <a:moveTo>
                    <a:pt x="1" y="1"/>
                  </a:moveTo>
                  <a:lnTo>
                    <a:pt x="14647" y="25276"/>
                  </a:lnTo>
                  <a:lnTo>
                    <a:pt x="76602" y="25276"/>
                  </a:lnTo>
                  <a:lnTo>
                    <a:pt x="91479"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3" name="Google Shape;6003;p70"/>
            <p:cNvSpPr/>
            <p:nvPr/>
          </p:nvSpPr>
          <p:spPr>
            <a:xfrm>
              <a:off x="6065319" y="2474896"/>
              <a:ext cx="1739369" cy="632450"/>
            </a:xfrm>
            <a:custGeom>
              <a:avLst/>
              <a:gdLst/>
              <a:ahLst/>
              <a:cxnLst/>
              <a:rect l="l" t="t" r="r" b="b"/>
              <a:pathLst>
                <a:path w="65618" h="25298" extrusionOk="0">
                  <a:moveTo>
                    <a:pt x="1" y="0"/>
                  </a:moveTo>
                  <a:lnTo>
                    <a:pt x="14417" y="25297"/>
                  </a:lnTo>
                  <a:lnTo>
                    <a:pt x="50887" y="25297"/>
                  </a:lnTo>
                  <a:lnTo>
                    <a:pt x="65617"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04" name="Google Shape;6004;p70"/>
            <p:cNvSpPr/>
            <p:nvPr/>
          </p:nvSpPr>
          <p:spPr>
            <a:xfrm>
              <a:off x="6354293" y="3107319"/>
              <a:ext cx="1061572" cy="632425"/>
            </a:xfrm>
            <a:custGeom>
              <a:avLst/>
              <a:gdLst/>
              <a:ahLst/>
              <a:cxnLst/>
              <a:rect l="l" t="t" r="r" b="b"/>
              <a:pathLst>
                <a:path w="40048" h="25297" extrusionOk="0">
                  <a:moveTo>
                    <a:pt x="0" y="0"/>
                  </a:moveTo>
                  <a:lnTo>
                    <a:pt x="14668" y="25297"/>
                  </a:lnTo>
                  <a:lnTo>
                    <a:pt x="25360" y="25297"/>
                  </a:lnTo>
                  <a:lnTo>
                    <a:pt x="40048" y="0"/>
                  </a:lnTo>
                  <a:close/>
                </a:path>
              </a:pathLst>
            </a:cu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05" name="Google Shape;6005;p70"/>
            <p:cNvCxnSpPr/>
            <p:nvPr/>
          </p:nvCxnSpPr>
          <p:spPr>
            <a:xfrm>
              <a:off x="5249100" y="2382654"/>
              <a:ext cx="922800" cy="0"/>
            </a:xfrm>
            <a:prstGeom prst="straightConnector1">
              <a:avLst/>
            </a:prstGeom>
            <a:noFill/>
            <a:ln w="19050" cap="flat" cmpd="sng">
              <a:solidFill>
                <a:srgbClr val="869FB2"/>
              </a:solidFill>
              <a:prstDash val="solid"/>
              <a:round/>
              <a:headEnd type="oval" w="med" len="med"/>
              <a:tailEnd type="none" w="med" len="med"/>
            </a:ln>
          </p:spPr>
        </p:cxnSp>
        <p:cxnSp>
          <p:nvCxnSpPr>
            <p:cNvPr id="6006" name="Google Shape;6006;p70"/>
            <p:cNvCxnSpPr/>
            <p:nvPr/>
          </p:nvCxnSpPr>
          <p:spPr>
            <a:xfrm rot="10800000">
              <a:off x="8178522" y="1765431"/>
              <a:ext cx="559200" cy="0"/>
            </a:xfrm>
            <a:prstGeom prst="straightConnector1">
              <a:avLst/>
            </a:prstGeom>
            <a:noFill/>
            <a:ln w="19050" cap="flat" cmpd="sng">
              <a:solidFill>
                <a:srgbClr val="BAC8D3"/>
              </a:solidFill>
              <a:prstDash val="solid"/>
              <a:round/>
              <a:headEnd type="oval" w="med" len="med"/>
              <a:tailEnd type="none" w="med" len="med"/>
            </a:ln>
          </p:spPr>
        </p:cxnSp>
        <p:cxnSp>
          <p:nvCxnSpPr>
            <p:cNvPr id="6007" name="Google Shape;6007;p70"/>
            <p:cNvCxnSpPr/>
            <p:nvPr/>
          </p:nvCxnSpPr>
          <p:spPr>
            <a:xfrm rot="10800000">
              <a:off x="7467500" y="2943528"/>
              <a:ext cx="1284300" cy="0"/>
            </a:xfrm>
            <a:prstGeom prst="straightConnector1">
              <a:avLst/>
            </a:prstGeom>
            <a:noFill/>
            <a:ln w="19050" cap="flat" cmpd="sng">
              <a:solidFill>
                <a:srgbClr val="5F7D95"/>
              </a:solidFill>
              <a:prstDash val="solid"/>
              <a:round/>
              <a:headEnd type="oval" w="med" len="med"/>
              <a:tailEnd type="none" w="med" len="med"/>
            </a:ln>
          </p:spPr>
        </p:cxnSp>
        <p:cxnSp>
          <p:nvCxnSpPr>
            <p:cNvPr id="6008" name="Google Shape;6008;p70"/>
            <p:cNvCxnSpPr/>
            <p:nvPr/>
          </p:nvCxnSpPr>
          <p:spPr>
            <a:xfrm>
              <a:off x="5787288" y="3630350"/>
              <a:ext cx="922800" cy="0"/>
            </a:xfrm>
            <a:prstGeom prst="straightConnector1">
              <a:avLst/>
            </a:prstGeom>
            <a:noFill/>
            <a:ln w="19050" cap="flat" cmpd="sng">
              <a:solidFill>
                <a:srgbClr val="435D74"/>
              </a:solidFill>
              <a:prstDash val="solid"/>
              <a:round/>
              <a:headEnd type="oval" w="med" len="med"/>
              <a:tailEnd type="none" w="med" len="med"/>
            </a:ln>
          </p:spPr>
        </p:cxnSp>
        <p:sp>
          <p:nvSpPr>
            <p:cNvPr id="6009" name="Google Shape;6009;p70"/>
            <p:cNvSpPr/>
            <p:nvPr/>
          </p:nvSpPr>
          <p:spPr>
            <a:xfrm>
              <a:off x="6601902" y="3690575"/>
              <a:ext cx="566400" cy="424800"/>
            </a:xfrm>
            <a:prstGeom prst="downArrow">
              <a:avLst>
                <a:gd name="adj1" fmla="val 50000"/>
                <a:gd name="adj2" fmla="val 50000"/>
              </a:avLst>
            </a:prstGeom>
            <a:solidFill>
              <a:srgbClr val="435D74"/>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010" name="Google Shape;6010;p70"/>
          <p:cNvGrpSpPr/>
          <p:nvPr/>
        </p:nvGrpSpPr>
        <p:grpSpPr>
          <a:xfrm>
            <a:off x="9514911" y="1572268"/>
            <a:ext cx="1739533" cy="1499808"/>
            <a:chOff x="7287122" y="1165658"/>
            <a:chExt cx="1219413" cy="1051365"/>
          </a:xfrm>
        </p:grpSpPr>
        <p:grpSp>
          <p:nvGrpSpPr>
            <p:cNvPr id="6011" name="Google Shape;6011;p70"/>
            <p:cNvGrpSpPr/>
            <p:nvPr/>
          </p:nvGrpSpPr>
          <p:grpSpPr>
            <a:xfrm>
              <a:off x="7287122" y="1969723"/>
              <a:ext cx="1219413" cy="247300"/>
              <a:chOff x="7287122" y="1969723"/>
              <a:chExt cx="1219413" cy="247300"/>
            </a:xfrm>
          </p:grpSpPr>
          <p:sp>
            <p:nvSpPr>
              <p:cNvPr id="6012" name="Google Shape;6012;p70"/>
              <p:cNvSpPr/>
              <p:nvPr/>
            </p:nvSpPr>
            <p:spPr>
              <a:xfrm flipH="1">
                <a:off x="8366247" y="1969723"/>
                <a:ext cx="140288" cy="247300"/>
              </a:xfrm>
              <a:custGeom>
                <a:avLst/>
                <a:gdLst/>
                <a:ahLst/>
                <a:cxnLst/>
                <a:rect l="l" t="t" r="r" b="b"/>
                <a:pathLst>
                  <a:path w="14992" h="26428" extrusionOk="0">
                    <a:moveTo>
                      <a:pt x="31" y="0"/>
                    </a:moveTo>
                    <a:cubicBezTo>
                      <a:pt x="25" y="0"/>
                      <a:pt x="19" y="0"/>
                      <a:pt x="13" y="0"/>
                    </a:cubicBezTo>
                    <a:lnTo>
                      <a:pt x="0" y="0"/>
                    </a:lnTo>
                    <a:lnTo>
                      <a:pt x="0" y="26407"/>
                    </a:lnTo>
                    <a:lnTo>
                      <a:pt x="13" y="26427"/>
                    </a:lnTo>
                    <a:lnTo>
                      <a:pt x="14992" y="1860"/>
                    </a:lnTo>
                    <a:cubicBezTo>
                      <a:pt x="10391" y="663"/>
                      <a:pt x="5335" y="0"/>
                      <a:pt x="31" y="0"/>
                    </a:cubicBez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013" name="Google Shape;6013;p70"/>
              <p:cNvGrpSpPr/>
              <p:nvPr/>
            </p:nvGrpSpPr>
            <p:grpSpPr>
              <a:xfrm>
                <a:off x="7287122" y="2063892"/>
                <a:ext cx="1151753" cy="73428"/>
                <a:chOff x="7287122" y="2063892"/>
                <a:chExt cx="1151753" cy="73428"/>
              </a:xfrm>
            </p:grpSpPr>
            <p:sp>
              <p:nvSpPr>
                <p:cNvPr id="6014" name="Google Shape;6014;p70"/>
                <p:cNvSpPr/>
                <p:nvPr/>
              </p:nvSpPr>
              <p:spPr>
                <a:xfrm flipH="1">
                  <a:off x="7287122" y="2063892"/>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CFD9E0"/>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15" name="Google Shape;6015;p70"/>
                <p:cNvCxnSpPr/>
                <p:nvPr/>
              </p:nvCxnSpPr>
              <p:spPr>
                <a:xfrm rot="10800000">
                  <a:off x="7818475" y="2100600"/>
                  <a:ext cx="620400" cy="0"/>
                </a:xfrm>
                <a:prstGeom prst="straightConnector1">
                  <a:avLst/>
                </a:prstGeom>
                <a:noFill/>
                <a:ln w="9525" cap="flat" cmpd="sng">
                  <a:solidFill>
                    <a:srgbClr val="CFD9E0"/>
                  </a:solidFill>
                  <a:prstDash val="solid"/>
                  <a:round/>
                  <a:headEnd type="none" w="med" len="med"/>
                  <a:tailEnd type="oval" w="med" len="med"/>
                </a:ln>
              </p:spPr>
            </p:cxnSp>
          </p:grpSp>
        </p:grpSp>
        <p:grpSp>
          <p:nvGrpSpPr>
            <p:cNvPr id="6016" name="Google Shape;6016;p70"/>
            <p:cNvGrpSpPr/>
            <p:nvPr/>
          </p:nvGrpSpPr>
          <p:grpSpPr>
            <a:xfrm>
              <a:off x="7287122" y="1712201"/>
              <a:ext cx="1219403" cy="246767"/>
              <a:chOff x="7287122" y="1712201"/>
              <a:chExt cx="1219403" cy="246767"/>
            </a:xfrm>
          </p:grpSpPr>
          <p:sp>
            <p:nvSpPr>
              <p:cNvPr id="6017" name="Google Shape;6017;p70"/>
              <p:cNvSpPr/>
              <p:nvPr/>
            </p:nvSpPr>
            <p:spPr>
              <a:xfrm flipH="1">
                <a:off x="8226249" y="1712201"/>
                <a:ext cx="280276" cy="246767"/>
              </a:xfrm>
              <a:custGeom>
                <a:avLst/>
                <a:gdLst/>
                <a:ahLst/>
                <a:cxnLst/>
                <a:rect l="l" t="t" r="r" b="b"/>
                <a:pathLst>
                  <a:path w="29952" h="26371" extrusionOk="0">
                    <a:moveTo>
                      <a:pt x="1" y="0"/>
                    </a:moveTo>
                    <a:lnTo>
                      <a:pt x="1" y="24234"/>
                    </a:lnTo>
                    <a:lnTo>
                      <a:pt x="14" y="24234"/>
                    </a:lnTo>
                    <a:cubicBezTo>
                      <a:pt x="14" y="24234"/>
                      <a:pt x="203" y="24229"/>
                      <a:pt x="558" y="24229"/>
                    </a:cubicBezTo>
                    <a:cubicBezTo>
                      <a:pt x="2473" y="24229"/>
                      <a:pt x="9215" y="24384"/>
                      <a:pt x="17213" y="26370"/>
                    </a:cubicBezTo>
                    <a:lnTo>
                      <a:pt x="29952" y="5713"/>
                    </a:lnTo>
                    <a:cubicBezTo>
                      <a:pt x="29952" y="5713"/>
                      <a:pt x="20827" y="0"/>
                      <a:pt x="14"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018" name="Google Shape;6018;p70"/>
              <p:cNvGrpSpPr/>
              <p:nvPr/>
            </p:nvGrpSpPr>
            <p:grpSpPr>
              <a:xfrm>
                <a:off x="7287122" y="1842861"/>
                <a:ext cx="1005303" cy="73419"/>
                <a:chOff x="7287122" y="1842861"/>
                <a:chExt cx="1005303" cy="73419"/>
              </a:xfrm>
            </p:grpSpPr>
            <p:sp>
              <p:nvSpPr>
                <p:cNvPr id="6019" name="Google Shape;6019;p70"/>
                <p:cNvSpPr/>
                <p:nvPr/>
              </p:nvSpPr>
              <p:spPr>
                <a:xfrm flipH="1">
                  <a:off x="7287122" y="1842861"/>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20" name="Google Shape;6020;p70"/>
                <p:cNvCxnSpPr/>
                <p:nvPr/>
              </p:nvCxnSpPr>
              <p:spPr>
                <a:xfrm rot="10800000">
                  <a:off x="7818425" y="1879575"/>
                  <a:ext cx="474000" cy="0"/>
                </a:xfrm>
                <a:prstGeom prst="straightConnector1">
                  <a:avLst/>
                </a:prstGeom>
                <a:noFill/>
                <a:ln w="9525" cap="flat" cmpd="sng">
                  <a:solidFill>
                    <a:srgbClr val="A5B7C6"/>
                  </a:solidFill>
                  <a:prstDash val="solid"/>
                  <a:round/>
                  <a:headEnd type="none" w="med" len="med"/>
                  <a:tailEnd type="oval" w="med" len="med"/>
                </a:ln>
              </p:spPr>
            </p:cxnSp>
          </p:grpSp>
        </p:grpSp>
        <p:grpSp>
          <p:nvGrpSpPr>
            <p:cNvPr id="6021" name="Google Shape;6021;p70"/>
            <p:cNvGrpSpPr/>
            <p:nvPr/>
          </p:nvGrpSpPr>
          <p:grpSpPr>
            <a:xfrm>
              <a:off x="7287122" y="1447520"/>
              <a:ext cx="1219403" cy="286667"/>
              <a:chOff x="7287122" y="1447520"/>
              <a:chExt cx="1219403" cy="286667"/>
            </a:xfrm>
          </p:grpSpPr>
          <p:sp>
            <p:nvSpPr>
              <p:cNvPr id="6022" name="Google Shape;6022;p70"/>
              <p:cNvSpPr/>
              <p:nvPr/>
            </p:nvSpPr>
            <p:spPr>
              <a:xfrm flipH="1">
                <a:off x="8087665" y="1447520"/>
                <a:ext cx="418860" cy="286667"/>
              </a:xfrm>
              <a:custGeom>
                <a:avLst/>
                <a:gdLst/>
                <a:ahLst/>
                <a:cxnLst/>
                <a:rect l="l" t="t" r="r" b="b"/>
                <a:pathLst>
                  <a:path w="44762" h="30635" extrusionOk="0">
                    <a:moveTo>
                      <a:pt x="1" y="1"/>
                    </a:moveTo>
                    <a:lnTo>
                      <a:pt x="1" y="24648"/>
                    </a:lnTo>
                    <a:lnTo>
                      <a:pt x="14" y="24648"/>
                    </a:lnTo>
                    <a:cubicBezTo>
                      <a:pt x="5607" y="24648"/>
                      <a:pt x="18560" y="25130"/>
                      <a:pt x="31390" y="30635"/>
                    </a:cubicBezTo>
                    <a:lnTo>
                      <a:pt x="44761" y="10327"/>
                    </a:lnTo>
                    <a:cubicBezTo>
                      <a:pt x="44761" y="10327"/>
                      <a:pt x="27304" y="1"/>
                      <a:pt x="14" y="1"/>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023" name="Google Shape;6023;p70"/>
              <p:cNvGrpSpPr/>
              <p:nvPr/>
            </p:nvGrpSpPr>
            <p:grpSpPr>
              <a:xfrm>
                <a:off x="7287122" y="1581977"/>
                <a:ext cx="852803" cy="73428"/>
                <a:chOff x="7287122" y="1581977"/>
                <a:chExt cx="852803" cy="73428"/>
              </a:xfrm>
            </p:grpSpPr>
            <p:sp>
              <p:nvSpPr>
                <p:cNvPr id="6024" name="Google Shape;6024;p70"/>
                <p:cNvSpPr/>
                <p:nvPr/>
              </p:nvSpPr>
              <p:spPr>
                <a:xfrm flipH="1">
                  <a:off x="7287122" y="1581977"/>
                  <a:ext cx="507103" cy="73428"/>
                </a:xfrm>
                <a:custGeom>
                  <a:avLst/>
                  <a:gdLst/>
                  <a:ahLst/>
                  <a:cxnLst/>
                  <a:rect l="l" t="t" r="r" b="b"/>
                  <a:pathLst>
                    <a:path w="35124" h="7847" extrusionOk="0">
                      <a:moveTo>
                        <a:pt x="0" y="1"/>
                      </a:moveTo>
                      <a:lnTo>
                        <a:pt x="0" y="7847"/>
                      </a:lnTo>
                      <a:lnTo>
                        <a:pt x="35123" y="7847"/>
                      </a:lnTo>
                      <a:lnTo>
                        <a:pt x="35123" y="1"/>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25" name="Google Shape;6025;p70"/>
                <p:cNvCxnSpPr/>
                <p:nvPr/>
              </p:nvCxnSpPr>
              <p:spPr>
                <a:xfrm rot="10800000">
                  <a:off x="7818325" y="1618700"/>
                  <a:ext cx="321600" cy="0"/>
                </a:xfrm>
                <a:prstGeom prst="straightConnector1">
                  <a:avLst/>
                </a:prstGeom>
                <a:noFill/>
                <a:ln w="9525" cap="flat" cmpd="sng">
                  <a:solidFill>
                    <a:srgbClr val="869FB2"/>
                  </a:solidFill>
                  <a:prstDash val="solid"/>
                  <a:round/>
                  <a:headEnd type="none" w="med" len="med"/>
                  <a:tailEnd type="oval" w="med" len="med"/>
                </a:ln>
              </p:spPr>
            </p:cxnSp>
          </p:grpSp>
        </p:grpSp>
        <p:grpSp>
          <p:nvGrpSpPr>
            <p:cNvPr id="6026" name="Google Shape;6026;p70"/>
            <p:cNvGrpSpPr/>
            <p:nvPr/>
          </p:nvGrpSpPr>
          <p:grpSpPr>
            <a:xfrm>
              <a:off x="7287122" y="1165658"/>
              <a:ext cx="1219403" cy="344253"/>
              <a:chOff x="7287122" y="1165658"/>
              <a:chExt cx="1219403" cy="344253"/>
            </a:xfrm>
          </p:grpSpPr>
          <p:sp>
            <p:nvSpPr>
              <p:cNvPr id="6027" name="Google Shape;6027;p70"/>
              <p:cNvSpPr/>
              <p:nvPr/>
            </p:nvSpPr>
            <p:spPr>
              <a:xfrm flipH="1">
                <a:off x="7919557" y="1165658"/>
                <a:ext cx="586968" cy="344253"/>
              </a:xfrm>
              <a:custGeom>
                <a:avLst/>
                <a:gdLst/>
                <a:ahLst/>
                <a:cxnLst/>
                <a:rect l="l" t="t" r="r" b="b"/>
                <a:pathLst>
                  <a:path w="62727" h="36789" extrusionOk="0">
                    <a:moveTo>
                      <a:pt x="1" y="1"/>
                    </a:moveTo>
                    <a:lnTo>
                      <a:pt x="1" y="25976"/>
                    </a:lnTo>
                    <a:lnTo>
                      <a:pt x="17" y="25976"/>
                    </a:lnTo>
                    <a:cubicBezTo>
                      <a:pt x="74" y="25976"/>
                      <a:pt x="588" y="25960"/>
                      <a:pt x="1487" y="25960"/>
                    </a:cubicBezTo>
                    <a:cubicBezTo>
                      <a:pt x="7235" y="25960"/>
                      <a:pt x="28709" y="26646"/>
                      <a:pt x="46867" y="36789"/>
                    </a:cubicBezTo>
                    <a:lnTo>
                      <a:pt x="62726" y="12728"/>
                    </a:lnTo>
                    <a:cubicBezTo>
                      <a:pt x="62726" y="12728"/>
                      <a:pt x="39312" y="2"/>
                      <a:pt x="17" y="1"/>
                    </a:cubicBez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028" name="Google Shape;6028;p70"/>
              <p:cNvGrpSpPr/>
              <p:nvPr/>
            </p:nvGrpSpPr>
            <p:grpSpPr>
              <a:xfrm>
                <a:off x="7287122" y="1341025"/>
                <a:ext cx="695703" cy="73419"/>
                <a:chOff x="7287122" y="1341025"/>
                <a:chExt cx="695703" cy="73419"/>
              </a:xfrm>
            </p:grpSpPr>
            <p:sp>
              <p:nvSpPr>
                <p:cNvPr id="6029" name="Google Shape;6029;p70"/>
                <p:cNvSpPr/>
                <p:nvPr/>
              </p:nvSpPr>
              <p:spPr>
                <a:xfrm flipH="1">
                  <a:off x="7287122" y="1341025"/>
                  <a:ext cx="507103" cy="73419"/>
                </a:xfrm>
                <a:custGeom>
                  <a:avLst/>
                  <a:gdLst/>
                  <a:ahLst/>
                  <a:cxnLst/>
                  <a:rect l="l" t="t" r="r" b="b"/>
                  <a:pathLst>
                    <a:path w="35124" h="7846" extrusionOk="0">
                      <a:moveTo>
                        <a:pt x="0" y="1"/>
                      </a:moveTo>
                      <a:lnTo>
                        <a:pt x="0" y="7845"/>
                      </a:lnTo>
                      <a:lnTo>
                        <a:pt x="35123" y="7845"/>
                      </a:lnTo>
                      <a:lnTo>
                        <a:pt x="35123" y="1"/>
                      </a:lnTo>
                      <a:close/>
                    </a:path>
                  </a:pathLst>
                </a:custGeom>
                <a:solidFill>
                  <a:srgbClr val="869FB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30" name="Google Shape;6030;p70"/>
                <p:cNvCxnSpPr/>
                <p:nvPr/>
              </p:nvCxnSpPr>
              <p:spPr>
                <a:xfrm rot="10800000">
                  <a:off x="7818425" y="1377750"/>
                  <a:ext cx="164400" cy="0"/>
                </a:xfrm>
                <a:prstGeom prst="straightConnector1">
                  <a:avLst/>
                </a:prstGeom>
                <a:noFill/>
                <a:ln w="9525" cap="flat" cmpd="sng">
                  <a:solidFill>
                    <a:srgbClr val="869FB1"/>
                  </a:solidFill>
                  <a:prstDash val="solid"/>
                  <a:round/>
                  <a:headEnd type="none" w="med" len="med"/>
                  <a:tailEnd type="oval" w="med" len="med"/>
                </a:ln>
              </p:spPr>
            </p:cxnSp>
          </p:grpSp>
        </p:grpSp>
      </p:grpSp>
      <p:grpSp>
        <p:nvGrpSpPr>
          <p:cNvPr id="6031" name="Google Shape;6031;p70"/>
          <p:cNvGrpSpPr/>
          <p:nvPr/>
        </p:nvGrpSpPr>
        <p:grpSpPr>
          <a:xfrm>
            <a:off x="7736902" y="1580299"/>
            <a:ext cx="1863639" cy="1464720"/>
            <a:chOff x="5900602" y="1193063"/>
            <a:chExt cx="1299851" cy="1021707"/>
          </a:xfrm>
        </p:grpSpPr>
        <p:grpSp>
          <p:nvGrpSpPr>
            <p:cNvPr id="6032" name="Google Shape;6032;p70"/>
            <p:cNvGrpSpPr/>
            <p:nvPr/>
          </p:nvGrpSpPr>
          <p:grpSpPr>
            <a:xfrm>
              <a:off x="6520337" y="1193063"/>
              <a:ext cx="341815" cy="799959"/>
              <a:chOff x="6520337" y="1193063"/>
              <a:chExt cx="341815" cy="799959"/>
            </a:xfrm>
          </p:grpSpPr>
          <p:grpSp>
            <p:nvGrpSpPr>
              <p:cNvPr id="6033" name="Google Shape;6033;p70"/>
              <p:cNvGrpSpPr/>
              <p:nvPr/>
            </p:nvGrpSpPr>
            <p:grpSpPr>
              <a:xfrm>
                <a:off x="6520337" y="1589527"/>
                <a:ext cx="213950" cy="403494"/>
                <a:chOff x="6520337" y="1589527"/>
                <a:chExt cx="213950" cy="403494"/>
              </a:xfrm>
            </p:grpSpPr>
            <p:sp>
              <p:nvSpPr>
                <p:cNvPr id="6034" name="Google Shape;6034;p70"/>
                <p:cNvSpPr/>
                <p:nvPr/>
              </p:nvSpPr>
              <p:spPr>
                <a:xfrm rot="-5400000">
                  <a:off x="6522864" y="1587001"/>
                  <a:ext cx="208853" cy="213906"/>
                </a:xfrm>
                <a:custGeom>
                  <a:avLst/>
                  <a:gdLst/>
                  <a:ahLst/>
                  <a:cxnLst/>
                  <a:rect l="l" t="t" r="r" b="b"/>
                  <a:pathLst>
                    <a:path w="24013" h="24594" extrusionOk="0">
                      <a:moveTo>
                        <a:pt x="725" y="0"/>
                      </a:moveTo>
                      <a:cubicBezTo>
                        <a:pt x="482" y="0"/>
                        <a:pt x="241" y="3"/>
                        <a:pt x="0" y="5"/>
                      </a:cubicBezTo>
                      <a:lnTo>
                        <a:pt x="0" y="22597"/>
                      </a:lnTo>
                      <a:cubicBezTo>
                        <a:pt x="118" y="22596"/>
                        <a:pt x="222" y="22595"/>
                        <a:pt x="312" y="22595"/>
                      </a:cubicBezTo>
                      <a:cubicBezTo>
                        <a:pt x="582" y="22595"/>
                        <a:pt x="725" y="22600"/>
                        <a:pt x="725" y="22600"/>
                      </a:cubicBezTo>
                      <a:cubicBezTo>
                        <a:pt x="725" y="22600"/>
                        <a:pt x="872" y="22595"/>
                        <a:pt x="1149" y="22595"/>
                      </a:cubicBezTo>
                      <a:cubicBezTo>
                        <a:pt x="2638" y="22595"/>
                        <a:pt x="7882" y="22740"/>
                        <a:pt x="14103" y="24594"/>
                      </a:cubicBezTo>
                      <a:lnTo>
                        <a:pt x="24013" y="5327"/>
                      </a:lnTo>
                      <a:cubicBezTo>
                        <a:pt x="24013" y="5327"/>
                        <a:pt x="16917" y="0"/>
                        <a:pt x="725" y="0"/>
                      </a:cubicBez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35" name="Google Shape;6035;p70"/>
                <p:cNvSpPr/>
                <p:nvPr/>
              </p:nvSpPr>
              <p:spPr>
                <a:xfrm rot="-5400000">
                  <a:off x="6529204" y="1787939"/>
                  <a:ext cx="196250" cy="213915"/>
                </a:xfrm>
                <a:custGeom>
                  <a:avLst/>
                  <a:gdLst/>
                  <a:ahLst/>
                  <a:cxnLst/>
                  <a:rect l="l" t="t" r="r" b="b"/>
                  <a:pathLst>
                    <a:path w="22564" h="24595" extrusionOk="0">
                      <a:moveTo>
                        <a:pt x="22564" y="1"/>
                      </a:moveTo>
                      <a:cubicBezTo>
                        <a:pt x="15114" y="73"/>
                        <a:pt x="9649" y="1280"/>
                        <a:pt x="5965" y="2527"/>
                      </a:cubicBezTo>
                      <a:lnTo>
                        <a:pt x="5965" y="2528"/>
                      </a:lnTo>
                      <a:cubicBezTo>
                        <a:pt x="2949" y="3548"/>
                        <a:pt x="1124" y="4595"/>
                        <a:pt x="385" y="5067"/>
                      </a:cubicBezTo>
                      <a:cubicBezTo>
                        <a:pt x="382" y="5067"/>
                        <a:pt x="382" y="5068"/>
                        <a:pt x="380" y="5068"/>
                      </a:cubicBezTo>
                      <a:cubicBezTo>
                        <a:pt x="373" y="5074"/>
                        <a:pt x="366" y="5078"/>
                        <a:pt x="358" y="5083"/>
                      </a:cubicBezTo>
                      <a:cubicBezTo>
                        <a:pt x="344" y="5091"/>
                        <a:pt x="329" y="5100"/>
                        <a:pt x="316" y="5110"/>
                      </a:cubicBezTo>
                      <a:cubicBezTo>
                        <a:pt x="315" y="5112"/>
                        <a:pt x="313" y="5113"/>
                        <a:pt x="312" y="5113"/>
                      </a:cubicBezTo>
                      <a:cubicBezTo>
                        <a:pt x="293" y="5125"/>
                        <a:pt x="275" y="5136"/>
                        <a:pt x="258" y="5148"/>
                      </a:cubicBezTo>
                      <a:cubicBezTo>
                        <a:pt x="255" y="5150"/>
                        <a:pt x="251" y="5152"/>
                        <a:pt x="248" y="5155"/>
                      </a:cubicBezTo>
                      <a:cubicBezTo>
                        <a:pt x="240" y="5160"/>
                        <a:pt x="232" y="5166"/>
                        <a:pt x="224" y="5171"/>
                      </a:cubicBezTo>
                      <a:lnTo>
                        <a:pt x="191" y="5193"/>
                      </a:lnTo>
                      <a:cubicBezTo>
                        <a:pt x="189" y="5193"/>
                        <a:pt x="189" y="5195"/>
                        <a:pt x="188" y="5195"/>
                      </a:cubicBezTo>
                      <a:lnTo>
                        <a:pt x="171" y="5206"/>
                      </a:lnTo>
                      <a:cubicBezTo>
                        <a:pt x="162" y="5211"/>
                        <a:pt x="153" y="5217"/>
                        <a:pt x="146" y="5222"/>
                      </a:cubicBezTo>
                      <a:cubicBezTo>
                        <a:pt x="144" y="5224"/>
                        <a:pt x="144" y="5225"/>
                        <a:pt x="141" y="5225"/>
                      </a:cubicBezTo>
                      <a:cubicBezTo>
                        <a:pt x="137" y="5230"/>
                        <a:pt x="131" y="5231"/>
                        <a:pt x="127" y="5236"/>
                      </a:cubicBezTo>
                      <a:cubicBezTo>
                        <a:pt x="118" y="5243"/>
                        <a:pt x="109" y="5247"/>
                        <a:pt x="102" y="5253"/>
                      </a:cubicBezTo>
                      <a:cubicBezTo>
                        <a:pt x="95" y="5260"/>
                        <a:pt x="88" y="5265"/>
                        <a:pt x="80" y="5269"/>
                      </a:cubicBezTo>
                      <a:cubicBezTo>
                        <a:pt x="39" y="5297"/>
                        <a:pt x="15" y="5316"/>
                        <a:pt x="6" y="5323"/>
                      </a:cubicBezTo>
                      <a:lnTo>
                        <a:pt x="3" y="5324"/>
                      </a:lnTo>
                      <a:lnTo>
                        <a:pt x="0" y="5326"/>
                      </a:lnTo>
                      <a:lnTo>
                        <a:pt x="9910" y="24594"/>
                      </a:lnTo>
                      <a:cubicBezTo>
                        <a:pt x="10017" y="24561"/>
                        <a:pt x="10124" y="24530"/>
                        <a:pt x="10231" y="24499"/>
                      </a:cubicBezTo>
                      <a:cubicBezTo>
                        <a:pt x="10284" y="24482"/>
                        <a:pt x="10339" y="24466"/>
                        <a:pt x="10392" y="24451"/>
                      </a:cubicBezTo>
                      <a:cubicBezTo>
                        <a:pt x="10473" y="24428"/>
                        <a:pt x="10553" y="24403"/>
                        <a:pt x="10633" y="24381"/>
                      </a:cubicBezTo>
                      <a:cubicBezTo>
                        <a:pt x="10664" y="24373"/>
                        <a:pt x="10691" y="24364"/>
                        <a:pt x="10721" y="24357"/>
                      </a:cubicBezTo>
                      <a:cubicBezTo>
                        <a:pt x="10786" y="24339"/>
                        <a:pt x="10855" y="24320"/>
                        <a:pt x="10920" y="24303"/>
                      </a:cubicBezTo>
                      <a:cubicBezTo>
                        <a:pt x="10930" y="24298"/>
                        <a:pt x="10943" y="24297"/>
                        <a:pt x="10955" y="24293"/>
                      </a:cubicBezTo>
                      <a:cubicBezTo>
                        <a:pt x="11032" y="24274"/>
                        <a:pt x="11111" y="24252"/>
                        <a:pt x="11188" y="24231"/>
                      </a:cubicBezTo>
                      <a:cubicBezTo>
                        <a:pt x="11192" y="24230"/>
                        <a:pt x="11200" y="24227"/>
                        <a:pt x="11206" y="24226"/>
                      </a:cubicBezTo>
                      <a:cubicBezTo>
                        <a:pt x="11307" y="24198"/>
                        <a:pt x="11409" y="24172"/>
                        <a:pt x="11511" y="24146"/>
                      </a:cubicBezTo>
                      <a:cubicBezTo>
                        <a:pt x="11613" y="24118"/>
                        <a:pt x="11715" y="24093"/>
                        <a:pt x="11816" y="24067"/>
                      </a:cubicBezTo>
                      <a:cubicBezTo>
                        <a:pt x="11877" y="24052"/>
                        <a:pt x="11938" y="24036"/>
                        <a:pt x="11998" y="24022"/>
                      </a:cubicBezTo>
                      <a:cubicBezTo>
                        <a:pt x="12071" y="24004"/>
                        <a:pt x="12143" y="23987"/>
                        <a:pt x="12216" y="23969"/>
                      </a:cubicBezTo>
                      <a:cubicBezTo>
                        <a:pt x="17046" y="22790"/>
                        <a:pt x="20998" y="22614"/>
                        <a:pt x="22564" y="22595"/>
                      </a:cubicBezTo>
                      <a:lnTo>
                        <a:pt x="22564" y="1"/>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036" name="Google Shape;6036;p70"/>
              <p:cNvGrpSpPr/>
              <p:nvPr/>
            </p:nvGrpSpPr>
            <p:grpSpPr>
              <a:xfrm>
                <a:off x="6577204" y="1193063"/>
                <a:ext cx="284947" cy="464512"/>
                <a:chOff x="6577204" y="1193063"/>
                <a:chExt cx="284947" cy="464512"/>
              </a:xfrm>
            </p:grpSpPr>
            <p:sp>
              <p:nvSpPr>
                <p:cNvPr id="6037" name="Google Shape;6037;p70"/>
                <p:cNvSpPr/>
                <p:nvPr/>
              </p:nvSpPr>
              <p:spPr>
                <a:xfrm>
                  <a:off x="6577204"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A5B7C6"/>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38" name="Google Shape;6038;p70"/>
                <p:cNvCxnSpPr/>
                <p:nvPr/>
              </p:nvCxnSpPr>
              <p:spPr>
                <a:xfrm rot="10800000">
                  <a:off x="6677825" y="1279575"/>
                  <a:ext cx="0" cy="378000"/>
                </a:xfrm>
                <a:prstGeom prst="straightConnector1">
                  <a:avLst/>
                </a:prstGeom>
                <a:noFill/>
                <a:ln w="9525" cap="flat" cmpd="sng">
                  <a:solidFill>
                    <a:srgbClr val="A5B7C6"/>
                  </a:solidFill>
                  <a:prstDash val="solid"/>
                  <a:round/>
                  <a:headEnd type="none" w="med" len="med"/>
                  <a:tailEnd type="oval" w="med" len="med"/>
                </a:ln>
              </p:spPr>
            </p:cxnSp>
          </p:grpSp>
        </p:grpSp>
        <p:grpSp>
          <p:nvGrpSpPr>
            <p:cNvPr id="6039" name="Google Shape;6039;p70"/>
            <p:cNvGrpSpPr/>
            <p:nvPr/>
          </p:nvGrpSpPr>
          <p:grpSpPr>
            <a:xfrm>
              <a:off x="6238903" y="1193063"/>
              <a:ext cx="300475" cy="900152"/>
              <a:chOff x="6238903" y="1193063"/>
              <a:chExt cx="300475" cy="900152"/>
            </a:xfrm>
          </p:grpSpPr>
          <p:grpSp>
            <p:nvGrpSpPr>
              <p:cNvPr id="6040" name="Google Shape;6040;p70"/>
              <p:cNvGrpSpPr/>
              <p:nvPr/>
            </p:nvGrpSpPr>
            <p:grpSpPr>
              <a:xfrm>
                <a:off x="6290865" y="1489315"/>
                <a:ext cx="248514" cy="603900"/>
                <a:chOff x="6290865" y="1489315"/>
                <a:chExt cx="248514" cy="603900"/>
              </a:xfrm>
            </p:grpSpPr>
            <p:sp>
              <p:nvSpPr>
                <p:cNvPr id="6041" name="Google Shape;6041;p70"/>
                <p:cNvSpPr/>
                <p:nvPr/>
              </p:nvSpPr>
              <p:spPr>
                <a:xfrm rot="-5400000">
                  <a:off x="6260589" y="1519591"/>
                  <a:ext cx="309066" cy="248514"/>
                </a:xfrm>
                <a:custGeom>
                  <a:avLst/>
                  <a:gdLst/>
                  <a:ahLst/>
                  <a:cxnLst/>
                  <a:rect l="l" t="t" r="r" b="b"/>
                  <a:pathLst>
                    <a:path w="35535" h="28573" extrusionOk="0">
                      <a:moveTo>
                        <a:pt x="727" y="0"/>
                      </a:moveTo>
                      <a:cubicBezTo>
                        <a:pt x="484" y="0"/>
                        <a:pt x="241" y="2"/>
                        <a:pt x="0" y="3"/>
                      </a:cubicBezTo>
                      <a:lnTo>
                        <a:pt x="0" y="22994"/>
                      </a:lnTo>
                      <a:cubicBezTo>
                        <a:pt x="259" y="22992"/>
                        <a:pt x="501" y="22989"/>
                        <a:pt x="727" y="22989"/>
                      </a:cubicBezTo>
                      <a:cubicBezTo>
                        <a:pt x="5078" y="22989"/>
                        <a:pt x="15152" y="23439"/>
                        <a:pt x="25134" y="28572"/>
                      </a:cubicBezTo>
                      <a:lnTo>
                        <a:pt x="35534" y="9632"/>
                      </a:lnTo>
                      <a:cubicBezTo>
                        <a:pt x="35534" y="9632"/>
                        <a:pt x="21952" y="0"/>
                        <a:pt x="727" y="0"/>
                      </a:cubicBez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2" name="Google Shape;6042;p70"/>
                <p:cNvSpPr/>
                <p:nvPr/>
              </p:nvSpPr>
              <p:spPr>
                <a:xfrm rot="-5400000">
                  <a:off x="6266916" y="1820752"/>
                  <a:ext cx="296437" cy="248488"/>
                </a:xfrm>
                <a:custGeom>
                  <a:avLst/>
                  <a:gdLst/>
                  <a:ahLst/>
                  <a:cxnLst/>
                  <a:rect l="l" t="t" r="r" b="b"/>
                  <a:pathLst>
                    <a:path w="34083" h="28570" extrusionOk="0">
                      <a:moveTo>
                        <a:pt x="34083" y="0"/>
                      </a:moveTo>
                      <a:cubicBezTo>
                        <a:pt x="22684" y="120"/>
                        <a:pt x="13548" y="2997"/>
                        <a:pt x="7617" y="5579"/>
                      </a:cubicBezTo>
                      <a:cubicBezTo>
                        <a:pt x="5629" y="6444"/>
                        <a:pt x="3999" y="7274"/>
                        <a:pt x="2767" y="7955"/>
                      </a:cubicBezTo>
                      <a:cubicBezTo>
                        <a:pt x="2743" y="7970"/>
                        <a:pt x="2717" y="7985"/>
                        <a:pt x="2693" y="7996"/>
                      </a:cubicBezTo>
                      <a:cubicBezTo>
                        <a:pt x="2692" y="7996"/>
                        <a:pt x="2689" y="7999"/>
                        <a:pt x="2687" y="7999"/>
                      </a:cubicBezTo>
                      <a:cubicBezTo>
                        <a:pt x="2454" y="8127"/>
                        <a:pt x="2237" y="8251"/>
                        <a:pt x="2034" y="8368"/>
                      </a:cubicBezTo>
                      <a:lnTo>
                        <a:pt x="1958" y="8411"/>
                      </a:lnTo>
                      <a:cubicBezTo>
                        <a:pt x="1952" y="8416"/>
                        <a:pt x="1949" y="8418"/>
                        <a:pt x="1943" y="8421"/>
                      </a:cubicBezTo>
                      <a:cubicBezTo>
                        <a:pt x="1913" y="8437"/>
                        <a:pt x="1884" y="8455"/>
                        <a:pt x="1854" y="8472"/>
                      </a:cubicBezTo>
                      <a:cubicBezTo>
                        <a:pt x="1844" y="8478"/>
                        <a:pt x="1834" y="8483"/>
                        <a:pt x="1825" y="8488"/>
                      </a:cubicBezTo>
                      <a:cubicBezTo>
                        <a:pt x="1718" y="8552"/>
                        <a:pt x="1616" y="8612"/>
                        <a:pt x="1517" y="8670"/>
                      </a:cubicBezTo>
                      <a:cubicBezTo>
                        <a:pt x="1476" y="8697"/>
                        <a:pt x="1435" y="8720"/>
                        <a:pt x="1396" y="8743"/>
                      </a:cubicBezTo>
                      <a:cubicBezTo>
                        <a:pt x="1349" y="8771"/>
                        <a:pt x="1305" y="8799"/>
                        <a:pt x="1262" y="8823"/>
                      </a:cubicBezTo>
                      <a:cubicBezTo>
                        <a:pt x="1246" y="8832"/>
                        <a:pt x="1230" y="8844"/>
                        <a:pt x="1214" y="8852"/>
                      </a:cubicBezTo>
                      <a:cubicBezTo>
                        <a:pt x="1166" y="8882"/>
                        <a:pt x="1119" y="8911"/>
                        <a:pt x="1072" y="8938"/>
                      </a:cubicBezTo>
                      <a:cubicBezTo>
                        <a:pt x="1042" y="8956"/>
                        <a:pt x="1013" y="8973"/>
                        <a:pt x="985" y="8991"/>
                      </a:cubicBezTo>
                      <a:cubicBezTo>
                        <a:pt x="941" y="9018"/>
                        <a:pt x="901" y="9043"/>
                        <a:pt x="860" y="9069"/>
                      </a:cubicBezTo>
                      <a:cubicBezTo>
                        <a:pt x="845" y="9078"/>
                        <a:pt x="832" y="9087"/>
                        <a:pt x="821" y="9094"/>
                      </a:cubicBezTo>
                      <a:cubicBezTo>
                        <a:pt x="794" y="9112"/>
                        <a:pt x="771" y="9126"/>
                        <a:pt x="748" y="9141"/>
                      </a:cubicBezTo>
                      <a:cubicBezTo>
                        <a:pt x="733" y="9148"/>
                        <a:pt x="720" y="9157"/>
                        <a:pt x="706" y="9166"/>
                      </a:cubicBezTo>
                      <a:cubicBezTo>
                        <a:pt x="692" y="9174"/>
                        <a:pt x="678" y="9182"/>
                        <a:pt x="665" y="9192"/>
                      </a:cubicBezTo>
                      <a:cubicBezTo>
                        <a:pt x="643" y="9206"/>
                        <a:pt x="621" y="9218"/>
                        <a:pt x="599" y="9233"/>
                      </a:cubicBezTo>
                      <a:cubicBezTo>
                        <a:pt x="582" y="9244"/>
                        <a:pt x="567" y="9254"/>
                        <a:pt x="551" y="9265"/>
                      </a:cubicBezTo>
                      <a:cubicBezTo>
                        <a:pt x="534" y="9275"/>
                        <a:pt x="518" y="9283"/>
                        <a:pt x="502" y="9295"/>
                      </a:cubicBezTo>
                      <a:cubicBezTo>
                        <a:pt x="483" y="9305"/>
                        <a:pt x="465" y="9318"/>
                        <a:pt x="446" y="9330"/>
                      </a:cubicBezTo>
                      <a:cubicBezTo>
                        <a:pt x="305" y="9422"/>
                        <a:pt x="196" y="9493"/>
                        <a:pt x="122" y="9544"/>
                      </a:cubicBezTo>
                      <a:lnTo>
                        <a:pt x="104" y="9556"/>
                      </a:lnTo>
                      <a:cubicBezTo>
                        <a:pt x="72" y="9578"/>
                        <a:pt x="46" y="9595"/>
                        <a:pt x="30" y="9607"/>
                      </a:cubicBezTo>
                      <a:cubicBezTo>
                        <a:pt x="28" y="9608"/>
                        <a:pt x="24" y="9610"/>
                        <a:pt x="23" y="9611"/>
                      </a:cubicBezTo>
                      <a:cubicBezTo>
                        <a:pt x="17" y="9615"/>
                        <a:pt x="14" y="9618"/>
                        <a:pt x="9" y="9621"/>
                      </a:cubicBezTo>
                      <a:cubicBezTo>
                        <a:pt x="8" y="9623"/>
                        <a:pt x="7" y="9624"/>
                        <a:pt x="5" y="9624"/>
                      </a:cubicBezTo>
                      <a:lnTo>
                        <a:pt x="1" y="9629"/>
                      </a:lnTo>
                      <a:lnTo>
                        <a:pt x="10402" y="28569"/>
                      </a:lnTo>
                      <a:lnTo>
                        <a:pt x="10669" y="28432"/>
                      </a:lnTo>
                      <a:cubicBezTo>
                        <a:pt x="10734" y="28399"/>
                        <a:pt x="10803" y="28365"/>
                        <a:pt x="10868" y="28333"/>
                      </a:cubicBezTo>
                      <a:cubicBezTo>
                        <a:pt x="10913" y="28309"/>
                        <a:pt x="10960" y="28287"/>
                        <a:pt x="11007" y="28263"/>
                      </a:cubicBezTo>
                      <a:cubicBezTo>
                        <a:pt x="11052" y="28242"/>
                        <a:pt x="11095" y="28220"/>
                        <a:pt x="11141" y="28198"/>
                      </a:cubicBezTo>
                      <a:cubicBezTo>
                        <a:pt x="11264" y="28138"/>
                        <a:pt x="11387" y="28079"/>
                        <a:pt x="11510" y="28020"/>
                      </a:cubicBezTo>
                      <a:cubicBezTo>
                        <a:pt x="11570" y="27991"/>
                        <a:pt x="11633" y="27962"/>
                        <a:pt x="11694" y="27933"/>
                      </a:cubicBezTo>
                      <a:cubicBezTo>
                        <a:pt x="11754" y="27904"/>
                        <a:pt x="11816" y="27875"/>
                        <a:pt x="11877" y="27846"/>
                      </a:cubicBezTo>
                      <a:cubicBezTo>
                        <a:pt x="20843" y="23637"/>
                        <a:pt x="29650" y="23043"/>
                        <a:pt x="34083" y="22991"/>
                      </a:cubicBezTo>
                      <a:lnTo>
                        <a:pt x="34083"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043" name="Google Shape;6043;p70"/>
              <p:cNvGrpSpPr/>
              <p:nvPr/>
            </p:nvGrpSpPr>
            <p:grpSpPr>
              <a:xfrm>
                <a:off x="6238903" y="1193063"/>
                <a:ext cx="284947" cy="333087"/>
                <a:chOff x="6238903" y="1193063"/>
                <a:chExt cx="284947" cy="333087"/>
              </a:xfrm>
            </p:grpSpPr>
            <p:sp>
              <p:nvSpPr>
                <p:cNvPr id="6044" name="Google Shape;6044;p70"/>
                <p:cNvSpPr/>
                <p:nvPr/>
              </p:nvSpPr>
              <p:spPr>
                <a:xfrm>
                  <a:off x="6238903" y="1193063"/>
                  <a:ext cx="284947" cy="63648"/>
                </a:xfrm>
                <a:custGeom>
                  <a:avLst/>
                  <a:gdLst/>
                  <a:ahLst/>
                  <a:cxnLst/>
                  <a:rect l="l" t="t" r="r" b="b"/>
                  <a:pathLst>
                    <a:path w="32762" h="7318" extrusionOk="0">
                      <a:moveTo>
                        <a:pt x="0" y="0"/>
                      </a:moveTo>
                      <a:lnTo>
                        <a:pt x="0" y="7317"/>
                      </a:lnTo>
                      <a:lnTo>
                        <a:pt x="32762" y="7317"/>
                      </a:lnTo>
                      <a:lnTo>
                        <a:pt x="32762" y="0"/>
                      </a:lnTo>
                      <a:close/>
                    </a:path>
                  </a:pathLst>
                </a:custGeom>
                <a:solidFill>
                  <a:srgbClr val="869FB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45" name="Google Shape;6045;p70"/>
                <p:cNvCxnSpPr/>
                <p:nvPr/>
              </p:nvCxnSpPr>
              <p:spPr>
                <a:xfrm rot="10800000">
                  <a:off x="6431250" y="1279250"/>
                  <a:ext cx="0" cy="246900"/>
                </a:xfrm>
                <a:prstGeom prst="straightConnector1">
                  <a:avLst/>
                </a:prstGeom>
                <a:noFill/>
                <a:ln w="9525" cap="flat" cmpd="sng">
                  <a:solidFill>
                    <a:srgbClr val="869FB2"/>
                  </a:solidFill>
                  <a:prstDash val="solid"/>
                  <a:round/>
                  <a:headEnd type="none" w="med" len="med"/>
                  <a:tailEnd type="oval" w="med" len="med"/>
                </a:ln>
              </p:spPr>
            </p:cxnSp>
          </p:grpSp>
        </p:grpSp>
        <p:grpSp>
          <p:nvGrpSpPr>
            <p:cNvPr id="6046" name="Google Shape;6046;p70"/>
            <p:cNvGrpSpPr/>
            <p:nvPr/>
          </p:nvGrpSpPr>
          <p:grpSpPr>
            <a:xfrm>
              <a:off x="5900602" y="1193063"/>
              <a:ext cx="444345" cy="1021707"/>
              <a:chOff x="5900602" y="1193063"/>
              <a:chExt cx="444345" cy="1021707"/>
            </a:xfrm>
          </p:grpSpPr>
          <p:grpSp>
            <p:nvGrpSpPr>
              <p:cNvPr id="6047" name="Google Shape;6047;p70"/>
              <p:cNvGrpSpPr/>
              <p:nvPr/>
            </p:nvGrpSpPr>
            <p:grpSpPr>
              <a:xfrm>
                <a:off x="6046501" y="1367785"/>
                <a:ext cx="298446" cy="846986"/>
                <a:chOff x="6046501" y="1367785"/>
                <a:chExt cx="298446" cy="846986"/>
              </a:xfrm>
            </p:grpSpPr>
            <p:sp>
              <p:nvSpPr>
                <p:cNvPr id="6048" name="Google Shape;6048;p70"/>
                <p:cNvSpPr/>
                <p:nvPr/>
              </p:nvSpPr>
              <p:spPr>
                <a:xfrm rot="-5400000">
                  <a:off x="5980418" y="1433868"/>
                  <a:ext cx="430613" cy="298446"/>
                </a:xfrm>
                <a:custGeom>
                  <a:avLst/>
                  <a:gdLst/>
                  <a:ahLst/>
                  <a:cxnLst/>
                  <a:rect l="l" t="t" r="r" b="b"/>
                  <a:pathLst>
                    <a:path w="49510" h="34314" extrusionOk="0">
                      <a:moveTo>
                        <a:pt x="722" y="0"/>
                      </a:moveTo>
                      <a:cubicBezTo>
                        <a:pt x="481" y="0"/>
                        <a:pt x="241" y="0"/>
                        <a:pt x="1" y="3"/>
                      </a:cubicBezTo>
                      <a:lnTo>
                        <a:pt x="1" y="24234"/>
                      </a:lnTo>
                      <a:cubicBezTo>
                        <a:pt x="243" y="24230"/>
                        <a:pt x="428" y="24229"/>
                        <a:pt x="550" y="24229"/>
                      </a:cubicBezTo>
                      <a:cubicBezTo>
                        <a:pt x="648" y="24229"/>
                        <a:pt x="706" y="24230"/>
                        <a:pt x="722" y="24230"/>
                      </a:cubicBezTo>
                      <a:lnTo>
                        <a:pt x="729" y="24230"/>
                      </a:lnTo>
                      <a:cubicBezTo>
                        <a:pt x="773" y="24230"/>
                        <a:pt x="1173" y="24214"/>
                        <a:pt x="1871" y="24214"/>
                      </a:cubicBezTo>
                      <a:cubicBezTo>
                        <a:pt x="6340" y="24214"/>
                        <a:pt x="23046" y="24853"/>
                        <a:pt x="37171" y="34314"/>
                      </a:cubicBezTo>
                      <a:lnTo>
                        <a:pt x="49510" y="11872"/>
                      </a:lnTo>
                      <a:cubicBezTo>
                        <a:pt x="49510" y="11872"/>
                        <a:pt x="31299" y="3"/>
                        <a:pt x="729" y="0"/>
                      </a:cubicBez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49" name="Google Shape;6049;p70"/>
                <p:cNvSpPr/>
                <p:nvPr/>
              </p:nvSpPr>
              <p:spPr>
                <a:xfrm rot="-5400000">
                  <a:off x="5986745" y="1856568"/>
                  <a:ext cx="417984" cy="298420"/>
                </a:xfrm>
                <a:custGeom>
                  <a:avLst/>
                  <a:gdLst/>
                  <a:ahLst/>
                  <a:cxnLst/>
                  <a:rect l="l" t="t" r="r" b="b"/>
                  <a:pathLst>
                    <a:path w="48058" h="34311" extrusionOk="0">
                      <a:moveTo>
                        <a:pt x="48058" y="0"/>
                      </a:moveTo>
                      <a:cubicBezTo>
                        <a:pt x="40706" y="47"/>
                        <a:pt x="34078" y="776"/>
                        <a:pt x="28261" y="1849"/>
                      </a:cubicBezTo>
                      <a:cubicBezTo>
                        <a:pt x="20919" y="3208"/>
                        <a:pt x="14865" y="5126"/>
                        <a:pt x="10271" y="6917"/>
                      </a:cubicBezTo>
                      <a:cubicBezTo>
                        <a:pt x="5004" y="8972"/>
                        <a:pt x="1653" y="10865"/>
                        <a:pt x="474" y="11571"/>
                      </a:cubicBezTo>
                      <a:cubicBezTo>
                        <a:pt x="462" y="11578"/>
                        <a:pt x="449" y="11585"/>
                        <a:pt x="439" y="11593"/>
                      </a:cubicBezTo>
                      <a:cubicBezTo>
                        <a:pt x="427" y="11600"/>
                        <a:pt x="417" y="11606"/>
                        <a:pt x="406" y="11613"/>
                      </a:cubicBezTo>
                      <a:cubicBezTo>
                        <a:pt x="384" y="11628"/>
                        <a:pt x="365" y="11638"/>
                        <a:pt x="344" y="11651"/>
                      </a:cubicBezTo>
                      <a:cubicBezTo>
                        <a:pt x="328" y="11661"/>
                        <a:pt x="311" y="11671"/>
                        <a:pt x="296" y="11680"/>
                      </a:cubicBezTo>
                      <a:cubicBezTo>
                        <a:pt x="285" y="11689"/>
                        <a:pt x="273" y="11696"/>
                        <a:pt x="260" y="11703"/>
                      </a:cubicBezTo>
                      <a:cubicBezTo>
                        <a:pt x="251" y="11709"/>
                        <a:pt x="242" y="11715"/>
                        <a:pt x="235" y="11719"/>
                      </a:cubicBezTo>
                      <a:cubicBezTo>
                        <a:pt x="126" y="11788"/>
                        <a:pt x="53" y="11833"/>
                        <a:pt x="20" y="11855"/>
                      </a:cubicBezTo>
                      <a:cubicBezTo>
                        <a:pt x="18" y="11856"/>
                        <a:pt x="14" y="11858"/>
                        <a:pt x="12" y="11861"/>
                      </a:cubicBezTo>
                      <a:cubicBezTo>
                        <a:pt x="4" y="11865"/>
                        <a:pt x="1" y="11869"/>
                        <a:pt x="1" y="11869"/>
                      </a:cubicBezTo>
                      <a:lnTo>
                        <a:pt x="12338" y="34311"/>
                      </a:lnTo>
                      <a:cubicBezTo>
                        <a:pt x="12429" y="34252"/>
                        <a:pt x="12518" y="34194"/>
                        <a:pt x="12608" y="34136"/>
                      </a:cubicBezTo>
                      <a:cubicBezTo>
                        <a:pt x="12655" y="34107"/>
                        <a:pt x="12700" y="34076"/>
                        <a:pt x="12747" y="34047"/>
                      </a:cubicBezTo>
                      <a:cubicBezTo>
                        <a:pt x="12789" y="34021"/>
                        <a:pt x="12830" y="33996"/>
                        <a:pt x="12869" y="33970"/>
                      </a:cubicBezTo>
                      <a:cubicBezTo>
                        <a:pt x="12927" y="33932"/>
                        <a:pt x="12986" y="33896"/>
                        <a:pt x="13045" y="33858"/>
                      </a:cubicBezTo>
                      <a:cubicBezTo>
                        <a:pt x="13124" y="33808"/>
                        <a:pt x="13204" y="33759"/>
                        <a:pt x="13283" y="33709"/>
                      </a:cubicBezTo>
                      <a:cubicBezTo>
                        <a:pt x="13363" y="33661"/>
                        <a:pt x="13441" y="33612"/>
                        <a:pt x="13521" y="33562"/>
                      </a:cubicBezTo>
                      <a:cubicBezTo>
                        <a:pt x="13601" y="33513"/>
                        <a:pt x="13679" y="33465"/>
                        <a:pt x="13759" y="33417"/>
                      </a:cubicBezTo>
                      <a:cubicBezTo>
                        <a:pt x="13842" y="33367"/>
                        <a:pt x="13922" y="33319"/>
                        <a:pt x="14003" y="33270"/>
                      </a:cubicBezTo>
                      <a:cubicBezTo>
                        <a:pt x="14082" y="33222"/>
                        <a:pt x="14159" y="33175"/>
                        <a:pt x="14238" y="33130"/>
                      </a:cubicBezTo>
                      <a:cubicBezTo>
                        <a:pt x="14318" y="33082"/>
                        <a:pt x="14398" y="33037"/>
                        <a:pt x="14478" y="32990"/>
                      </a:cubicBezTo>
                      <a:cubicBezTo>
                        <a:pt x="14558" y="32943"/>
                        <a:pt x="14638" y="32897"/>
                        <a:pt x="14718" y="32852"/>
                      </a:cubicBezTo>
                      <a:cubicBezTo>
                        <a:pt x="14798" y="32804"/>
                        <a:pt x="14879" y="32758"/>
                        <a:pt x="14959" y="32713"/>
                      </a:cubicBezTo>
                      <a:cubicBezTo>
                        <a:pt x="15120" y="32622"/>
                        <a:pt x="15280" y="32531"/>
                        <a:pt x="15444" y="32441"/>
                      </a:cubicBezTo>
                      <a:cubicBezTo>
                        <a:pt x="15521" y="32397"/>
                        <a:pt x="15598" y="32357"/>
                        <a:pt x="15674" y="32314"/>
                      </a:cubicBezTo>
                      <a:cubicBezTo>
                        <a:pt x="15698" y="32301"/>
                        <a:pt x="15723" y="32287"/>
                        <a:pt x="15746" y="32274"/>
                      </a:cubicBezTo>
                      <a:cubicBezTo>
                        <a:pt x="15888" y="32196"/>
                        <a:pt x="16029" y="32119"/>
                        <a:pt x="16172" y="32045"/>
                      </a:cubicBezTo>
                      <a:cubicBezTo>
                        <a:pt x="29547" y="24910"/>
                        <a:pt x="44618" y="24279"/>
                        <a:pt x="48058" y="24228"/>
                      </a:cubicBezTo>
                      <a:lnTo>
                        <a:pt x="48058" y="0"/>
                      </a:lnTo>
                      <a:close/>
                    </a:path>
                  </a:pathLst>
                </a:custGeom>
                <a:solidFill>
                  <a:srgbClr val="657E93"/>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050" name="Google Shape;6050;p70"/>
              <p:cNvGrpSpPr/>
              <p:nvPr/>
            </p:nvGrpSpPr>
            <p:grpSpPr>
              <a:xfrm>
                <a:off x="5900602" y="1193063"/>
                <a:ext cx="284947" cy="182312"/>
                <a:chOff x="5900602" y="1193063"/>
                <a:chExt cx="284947" cy="182312"/>
              </a:xfrm>
            </p:grpSpPr>
            <p:sp>
              <p:nvSpPr>
                <p:cNvPr id="6051" name="Google Shape;6051;p70"/>
                <p:cNvSpPr/>
                <p:nvPr/>
              </p:nvSpPr>
              <p:spPr>
                <a:xfrm>
                  <a:off x="5900602" y="1193063"/>
                  <a:ext cx="284947" cy="63648"/>
                </a:xfrm>
                <a:custGeom>
                  <a:avLst/>
                  <a:gdLst/>
                  <a:ahLst/>
                  <a:cxnLst/>
                  <a:rect l="l" t="t" r="r" b="b"/>
                  <a:pathLst>
                    <a:path w="32762" h="7318" extrusionOk="0">
                      <a:moveTo>
                        <a:pt x="0" y="0"/>
                      </a:moveTo>
                      <a:lnTo>
                        <a:pt x="0" y="7318"/>
                      </a:lnTo>
                      <a:lnTo>
                        <a:pt x="32762" y="7318"/>
                      </a:lnTo>
                      <a:lnTo>
                        <a:pt x="32762" y="0"/>
                      </a:lnTo>
                      <a:close/>
                    </a:path>
                  </a:pathLst>
                </a:custGeom>
                <a:solidFill>
                  <a:srgbClr val="667E92"/>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52" name="Google Shape;6052;p70"/>
                <p:cNvCxnSpPr/>
                <p:nvPr/>
              </p:nvCxnSpPr>
              <p:spPr>
                <a:xfrm rot="10800000">
                  <a:off x="6156950" y="1279675"/>
                  <a:ext cx="0" cy="95700"/>
                </a:xfrm>
                <a:prstGeom prst="straightConnector1">
                  <a:avLst/>
                </a:prstGeom>
                <a:noFill/>
                <a:ln w="9525" cap="flat" cmpd="sng">
                  <a:solidFill>
                    <a:srgbClr val="657E93"/>
                  </a:solidFill>
                  <a:prstDash val="solid"/>
                  <a:round/>
                  <a:headEnd type="none" w="med" len="med"/>
                  <a:tailEnd type="oval" w="med" len="med"/>
                </a:ln>
              </p:spPr>
            </p:cxnSp>
          </p:grpSp>
        </p:grpSp>
        <p:grpSp>
          <p:nvGrpSpPr>
            <p:cNvPr id="6053" name="Google Shape;6053;p70"/>
            <p:cNvGrpSpPr/>
            <p:nvPr/>
          </p:nvGrpSpPr>
          <p:grpSpPr>
            <a:xfrm>
              <a:off x="6738300" y="1193063"/>
              <a:ext cx="462153" cy="707634"/>
              <a:chOff x="6738300" y="1193063"/>
              <a:chExt cx="462153" cy="707634"/>
            </a:xfrm>
          </p:grpSpPr>
          <p:grpSp>
            <p:nvGrpSpPr>
              <p:cNvPr id="6054" name="Google Shape;6054;p70"/>
              <p:cNvGrpSpPr/>
              <p:nvPr/>
            </p:nvGrpSpPr>
            <p:grpSpPr>
              <a:xfrm>
                <a:off x="6915505" y="1193063"/>
                <a:ext cx="284947" cy="597387"/>
                <a:chOff x="6915505" y="1193063"/>
                <a:chExt cx="284947" cy="597387"/>
              </a:xfrm>
            </p:grpSpPr>
            <p:sp>
              <p:nvSpPr>
                <p:cNvPr id="6055" name="Google Shape;6055;p70"/>
                <p:cNvSpPr/>
                <p:nvPr/>
              </p:nvSpPr>
              <p:spPr>
                <a:xfrm>
                  <a:off x="6915505" y="1193063"/>
                  <a:ext cx="284947" cy="63648"/>
                </a:xfrm>
                <a:custGeom>
                  <a:avLst/>
                  <a:gdLst/>
                  <a:ahLst/>
                  <a:cxnLst/>
                  <a:rect l="l" t="t" r="r" b="b"/>
                  <a:pathLst>
                    <a:path w="32762" h="7318" extrusionOk="0">
                      <a:moveTo>
                        <a:pt x="0" y="1"/>
                      </a:moveTo>
                      <a:lnTo>
                        <a:pt x="0" y="7318"/>
                      </a:lnTo>
                      <a:lnTo>
                        <a:pt x="32762" y="7318"/>
                      </a:lnTo>
                      <a:lnTo>
                        <a:pt x="32762" y="1"/>
                      </a:ln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cxnSp>
              <p:nvCxnSpPr>
                <p:cNvPr id="6056" name="Google Shape;6056;p70"/>
                <p:cNvCxnSpPr/>
                <p:nvPr/>
              </p:nvCxnSpPr>
              <p:spPr>
                <a:xfrm rot="10800000">
                  <a:off x="6938275" y="1279850"/>
                  <a:ext cx="0" cy="510600"/>
                </a:xfrm>
                <a:prstGeom prst="straightConnector1">
                  <a:avLst/>
                </a:prstGeom>
                <a:noFill/>
                <a:ln w="9525" cap="flat" cmpd="sng">
                  <a:solidFill>
                    <a:srgbClr val="E3E7EA"/>
                  </a:solidFill>
                  <a:prstDash val="solid"/>
                  <a:round/>
                  <a:headEnd type="none" w="med" len="med"/>
                  <a:tailEnd type="oval" w="med" len="med"/>
                </a:ln>
              </p:spPr>
            </p:cxnSp>
          </p:grpSp>
          <p:grpSp>
            <p:nvGrpSpPr>
              <p:cNvPr id="6057" name="Google Shape;6057;p70"/>
              <p:cNvGrpSpPr/>
              <p:nvPr/>
            </p:nvGrpSpPr>
            <p:grpSpPr>
              <a:xfrm>
                <a:off x="6738300" y="1684725"/>
                <a:ext cx="230066" cy="215971"/>
                <a:chOff x="6738300" y="1684725"/>
                <a:chExt cx="230066" cy="215971"/>
              </a:xfrm>
            </p:grpSpPr>
            <p:sp>
              <p:nvSpPr>
                <p:cNvPr id="6058" name="Google Shape;6058;p70"/>
                <p:cNvSpPr/>
                <p:nvPr/>
              </p:nvSpPr>
              <p:spPr>
                <a:xfrm rot="-5400000">
                  <a:off x="6799187" y="1731518"/>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059" name="Google Shape;6059;p70"/>
                <p:cNvSpPr/>
                <p:nvPr/>
              </p:nvSpPr>
              <p:spPr>
                <a:xfrm rot="-5400000" flipH="1">
                  <a:off x="6799182" y="1623843"/>
                  <a:ext cx="108296" cy="230061"/>
                </a:xfrm>
                <a:custGeom>
                  <a:avLst/>
                  <a:gdLst/>
                  <a:ahLst/>
                  <a:cxnLst/>
                  <a:rect l="l" t="t" r="r" b="b"/>
                  <a:pathLst>
                    <a:path w="10928" h="23215" extrusionOk="0">
                      <a:moveTo>
                        <a:pt x="10928" y="0"/>
                      </a:moveTo>
                      <a:cubicBezTo>
                        <a:pt x="8679" y="38"/>
                        <a:pt x="6494" y="261"/>
                        <a:pt x="4395" y="647"/>
                      </a:cubicBezTo>
                      <a:lnTo>
                        <a:pt x="4395" y="648"/>
                      </a:lnTo>
                      <a:cubicBezTo>
                        <a:pt x="3153" y="875"/>
                        <a:pt x="1943" y="1159"/>
                        <a:pt x="769" y="1499"/>
                      </a:cubicBezTo>
                      <a:cubicBezTo>
                        <a:pt x="691" y="1522"/>
                        <a:pt x="612" y="1544"/>
                        <a:pt x="535" y="1567"/>
                      </a:cubicBezTo>
                      <a:cubicBezTo>
                        <a:pt x="501" y="1576"/>
                        <a:pt x="469" y="1588"/>
                        <a:pt x="436" y="1596"/>
                      </a:cubicBezTo>
                      <a:cubicBezTo>
                        <a:pt x="404" y="1606"/>
                        <a:pt x="370" y="1617"/>
                        <a:pt x="338" y="1625"/>
                      </a:cubicBezTo>
                      <a:cubicBezTo>
                        <a:pt x="303" y="1637"/>
                        <a:pt x="270" y="1646"/>
                        <a:pt x="238" y="1657"/>
                      </a:cubicBezTo>
                      <a:cubicBezTo>
                        <a:pt x="159" y="1681"/>
                        <a:pt x="79" y="1704"/>
                        <a:pt x="1" y="1730"/>
                      </a:cubicBezTo>
                      <a:lnTo>
                        <a:pt x="10928" y="23215"/>
                      </a:lnTo>
                      <a:lnTo>
                        <a:pt x="10928" y="0"/>
                      </a:lnTo>
                      <a:close/>
                    </a:path>
                  </a:pathLst>
                </a:custGeom>
                <a:solidFill>
                  <a:srgbClr val="E3E7EA"/>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063"/>
        <p:cNvGrpSpPr/>
        <p:nvPr/>
      </p:nvGrpSpPr>
      <p:grpSpPr>
        <a:xfrm>
          <a:off x="0" y="0"/>
          <a:ext cx="0" cy="0"/>
          <a:chOff x="0" y="0"/>
          <a:chExt cx="0" cy="0"/>
        </a:xfrm>
      </p:grpSpPr>
      <p:sp>
        <p:nvSpPr>
          <p:cNvPr id="6064" name="Google Shape;6064;p71"/>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and our </a:t>
            </a:r>
            <a:r>
              <a:rPr lang="en">
                <a:latin typeface="Arial"/>
                <a:ea typeface="Arial"/>
                <a:cs typeface="Arial"/>
                <a:sym typeface="Arial"/>
              </a:rPr>
              <a:t>sets </a:t>
            </a:r>
            <a:r>
              <a:rPr lang="en">
                <a:solidFill>
                  <a:srgbClr val="FFFFFF"/>
                </a:solidFill>
                <a:latin typeface="Arial"/>
                <a:ea typeface="Arial"/>
                <a:cs typeface="Arial"/>
                <a:sym typeface="Arial"/>
              </a:rPr>
              <a:t>of editable icons</a:t>
            </a:r>
            <a:endParaRPr>
              <a:solidFill>
                <a:srgbClr val="FFFFFF"/>
              </a:solidFill>
              <a:latin typeface="Arial"/>
              <a:ea typeface="Arial"/>
              <a:cs typeface="Arial"/>
              <a:sym typeface="Arial"/>
            </a:endParaRPr>
          </a:p>
        </p:txBody>
      </p:sp>
      <p:sp>
        <p:nvSpPr>
          <p:cNvPr id="6065" name="Google Shape;6065;p71"/>
          <p:cNvSpPr txBox="1">
            <a:spLocks noGrp="1"/>
          </p:cNvSpPr>
          <p:nvPr>
            <p:ph type="body" idx="4294967295"/>
          </p:nvPr>
        </p:nvSpPr>
        <p:spPr>
          <a:xfrm>
            <a:off x="1105167" y="2147033"/>
            <a:ext cx="10034400" cy="643200"/>
          </a:xfrm>
          <a:prstGeom prst="rect">
            <a:avLst/>
          </a:prstGeom>
        </p:spPr>
        <p:txBody>
          <a:bodyPr spcFirstLastPara="1" wrap="square" lIns="121900" tIns="121900" rIns="121900" bIns="121900" anchor="ctr" anchorCtr="0">
            <a:noAutofit/>
          </a:bodyPr>
          <a:lstStyle/>
          <a:p>
            <a:pPr marL="0" indent="0" algn="ctr">
              <a:buNone/>
            </a:pPr>
            <a:r>
              <a:rPr lang="en" dirty="0">
                <a:solidFill>
                  <a:srgbClr val="FFFFFF"/>
                </a:solidFill>
                <a:latin typeface="Arial"/>
                <a:ea typeface="Arial"/>
                <a:cs typeface="Arial"/>
                <a:sym typeface="Arial"/>
              </a:rPr>
              <a:t>You can</a:t>
            </a:r>
            <a:r>
              <a:rPr lang="en" dirty="0">
                <a:solidFill>
                  <a:srgbClr val="435D74"/>
                </a:solidFill>
                <a:latin typeface="Arial"/>
                <a:ea typeface="Arial"/>
                <a:cs typeface="Arial"/>
                <a:sym typeface="Arial"/>
              </a:rPr>
              <a:t> </a:t>
            </a:r>
            <a:r>
              <a:rPr lang="en" dirty="0">
                <a:solidFill>
                  <a:srgbClr val="869FB2"/>
                </a:solidFill>
                <a:latin typeface="Arial"/>
                <a:ea typeface="Arial"/>
                <a:cs typeface="Arial"/>
                <a:sym typeface="Arial"/>
              </a:rPr>
              <a:t>resize</a:t>
            </a:r>
            <a:r>
              <a:rPr lang="en" dirty="0">
                <a:solidFill>
                  <a:srgbClr val="435D74"/>
                </a:solidFill>
                <a:latin typeface="Arial"/>
                <a:ea typeface="Arial"/>
                <a:cs typeface="Arial"/>
                <a:sym typeface="Arial"/>
              </a:rPr>
              <a:t> </a:t>
            </a:r>
            <a:r>
              <a:rPr lang="en" dirty="0">
                <a:solidFill>
                  <a:srgbClr val="FFFFFF"/>
                </a:solidFill>
                <a:latin typeface="Arial"/>
                <a:ea typeface="Arial"/>
                <a:cs typeface="Arial"/>
                <a:sym typeface="Arial"/>
              </a:rPr>
              <a:t>these icons without losing quality.</a:t>
            </a:r>
            <a:endParaRPr dirty="0">
              <a:solidFill>
                <a:srgbClr val="FFFFFF"/>
              </a:solidFill>
              <a:latin typeface="Arial"/>
              <a:ea typeface="Arial"/>
              <a:cs typeface="Arial"/>
              <a:sym typeface="Arial"/>
            </a:endParaRPr>
          </a:p>
          <a:p>
            <a:pPr marL="0" indent="0" algn="ctr">
              <a:buNone/>
            </a:pPr>
            <a:r>
              <a:rPr lang="en" dirty="0">
                <a:solidFill>
                  <a:srgbClr val="FFFFFF"/>
                </a:solidFill>
                <a:latin typeface="Arial"/>
                <a:ea typeface="Arial"/>
                <a:cs typeface="Arial"/>
                <a:sym typeface="Arial"/>
              </a:rPr>
              <a:t>You can </a:t>
            </a:r>
            <a:r>
              <a:rPr lang="en" dirty="0">
                <a:solidFill>
                  <a:srgbClr val="869FB2"/>
                </a:solidFill>
                <a:latin typeface="Arial"/>
                <a:ea typeface="Arial"/>
                <a:cs typeface="Arial"/>
                <a:sym typeface="Arial"/>
              </a:rPr>
              <a:t>change the stroke and fill color</a:t>
            </a:r>
            <a:r>
              <a:rPr lang="en" dirty="0">
                <a:solidFill>
                  <a:srgbClr val="FFFFFF"/>
                </a:solidFill>
                <a:latin typeface="Arial"/>
                <a:ea typeface="Arial"/>
                <a:cs typeface="Arial"/>
                <a:sym typeface="Arial"/>
              </a:rPr>
              <a:t>; just select the icon and click on the</a:t>
            </a:r>
            <a:r>
              <a:rPr lang="en" dirty="0">
                <a:solidFill>
                  <a:srgbClr val="435D74"/>
                </a:solidFill>
                <a:latin typeface="Arial"/>
                <a:ea typeface="Arial"/>
                <a:cs typeface="Arial"/>
                <a:sym typeface="Arial"/>
              </a:rPr>
              <a:t> </a:t>
            </a:r>
            <a:r>
              <a:rPr lang="en" dirty="0">
                <a:solidFill>
                  <a:srgbClr val="869FB2"/>
                </a:solidFill>
                <a:latin typeface="Arial"/>
                <a:ea typeface="Arial"/>
                <a:cs typeface="Arial"/>
                <a:sym typeface="Arial"/>
              </a:rPr>
              <a:t>paint bucket/pen</a:t>
            </a:r>
            <a:r>
              <a:rPr lang="en" dirty="0">
                <a:solidFill>
                  <a:srgbClr val="FFFFFF"/>
                </a:solidFill>
                <a:latin typeface="Arial"/>
                <a:ea typeface="Arial"/>
                <a:cs typeface="Arial"/>
                <a:sym typeface="Arial"/>
              </a:rPr>
              <a:t>.</a:t>
            </a:r>
            <a:endParaRPr dirty="0">
              <a:solidFill>
                <a:srgbClr val="FFFFFF"/>
              </a:solidFill>
              <a:latin typeface="Arial"/>
              <a:ea typeface="Arial"/>
              <a:cs typeface="Arial"/>
              <a:sym typeface="Arial"/>
            </a:endParaRPr>
          </a:p>
          <a:p>
            <a:pPr marL="0" indent="0" algn="ctr">
              <a:buNone/>
            </a:pPr>
            <a:r>
              <a:rPr lang="en" dirty="0">
                <a:solidFill>
                  <a:srgbClr val="FFFFFF"/>
                </a:solidFill>
                <a:latin typeface="Arial"/>
                <a:ea typeface="Arial"/>
                <a:cs typeface="Arial"/>
                <a:sym typeface="Arial"/>
              </a:rPr>
              <a:t>In Google Slides, you can also use </a:t>
            </a:r>
            <a:r>
              <a:rPr lang="en" dirty="0">
                <a:solidFill>
                  <a:srgbClr val="869FB2"/>
                </a:solidFill>
                <a:uFill>
                  <a:noFill/>
                </a:uFill>
                <a:latin typeface="Arial"/>
                <a:ea typeface="Arial"/>
                <a:cs typeface="Arial"/>
                <a:sym typeface="Arial"/>
              </a:rPr>
              <a:t>Flaticon’s extension</a:t>
            </a:r>
            <a:r>
              <a:rPr lang="en" dirty="0">
                <a:solidFill>
                  <a:srgbClr val="FFFFFF"/>
                </a:solidFill>
                <a:latin typeface="Arial"/>
                <a:ea typeface="Arial"/>
                <a:cs typeface="Arial"/>
                <a:sym typeface="Arial"/>
              </a:rPr>
              <a:t>, allowing you to customize and add even more icons.</a:t>
            </a:r>
            <a:br>
              <a:rPr lang="en" dirty="0">
                <a:solidFill>
                  <a:srgbClr val="435D74"/>
                </a:solidFill>
                <a:latin typeface="Arial"/>
                <a:ea typeface="Arial"/>
                <a:cs typeface="Arial"/>
                <a:sym typeface="Arial"/>
              </a:rPr>
            </a:br>
            <a:endParaRPr dirty="0">
              <a:solidFill>
                <a:srgbClr val="435D74"/>
              </a:solidFill>
              <a:latin typeface="Arial"/>
              <a:ea typeface="Arial"/>
              <a:cs typeface="Arial"/>
              <a:sym typeface="Arial"/>
            </a:endParaRPr>
          </a:p>
        </p:txBody>
      </p:sp>
      <p:grpSp>
        <p:nvGrpSpPr>
          <p:cNvPr id="6066" name="Google Shape;6066;p71"/>
          <p:cNvGrpSpPr/>
          <p:nvPr/>
        </p:nvGrpSpPr>
        <p:grpSpPr>
          <a:xfrm>
            <a:off x="1127807" y="3076978"/>
            <a:ext cx="453557" cy="398637"/>
            <a:chOff x="892750" y="267400"/>
            <a:chExt cx="483125" cy="424625"/>
          </a:xfrm>
        </p:grpSpPr>
        <p:sp>
          <p:nvSpPr>
            <p:cNvPr id="6067" name="Google Shape;6067;p71"/>
            <p:cNvSpPr/>
            <p:nvPr/>
          </p:nvSpPr>
          <p:spPr>
            <a:xfrm>
              <a:off x="892750" y="267400"/>
              <a:ext cx="483125" cy="424625"/>
            </a:xfrm>
            <a:custGeom>
              <a:avLst/>
              <a:gdLst/>
              <a:ahLst/>
              <a:cxnLst/>
              <a:rect l="l" t="t" r="r" b="b"/>
              <a:pathLst>
                <a:path w="19325" h="16985" extrusionOk="0">
                  <a:moveTo>
                    <a:pt x="2832" y="1133"/>
                  </a:moveTo>
                  <a:cubicBezTo>
                    <a:pt x="3143" y="1133"/>
                    <a:pt x="3397" y="1383"/>
                    <a:pt x="3397" y="1697"/>
                  </a:cubicBezTo>
                  <a:lnTo>
                    <a:pt x="3397" y="2265"/>
                  </a:lnTo>
                  <a:lnTo>
                    <a:pt x="2265" y="2265"/>
                  </a:lnTo>
                  <a:lnTo>
                    <a:pt x="2265" y="1697"/>
                  </a:lnTo>
                  <a:cubicBezTo>
                    <a:pt x="2265" y="1383"/>
                    <a:pt x="2518" y="1133"/>
                    <a:pt x="2832" y="1133"/>
                  </a:cubicBezTo>
                  <a:close/>
                  <a:moveTo>
                    <a:pt x="11927" y="1133"/>
                  </a:moveTo>
                  <a:cubicBezTo>
                    <a:pt x="12241" y="1133"/>
                    <a:pt x="12494" y="1383"/>
                    <a:pt x="12494" y="1697"/>
                  </a:cubicBezTo>
                  <a:lnTo>
                    <a:pt x="12494" y="2265"/>
                  </a:lnTo>
                  <a:lnTo>
                    <a:pt x="6833" y="2265"/>
                  </a:lnTo>
                  <a:lnTo>
                    <a:pt x="6833" y="1697"/>
                  </a:lnTo>
                  <a:cubicBezTo>
                    <a:pt x="6833" y="1383"/>
                    <a:pt x="7084" y="1133"/>
                    <a:pt x="7398" y="1133"/>
                  </a:cubicBezTo>
                  <a:close/>
                  <a:moveTo>
                    <a:pt x="17628" y="3397"/>
                  </a:moveTo>
                  <a:cubicBezTo>
                    <a:pt x="17939" y="3397"/>
                    <a:pt x="18192" y="3648"/>
                    <a:pt x="18192" y="3962"/>
                  </a:cubicBezTo>
                  <a:lnTo>
                    <a:pt x="18192" y="4530"/>
                  </a:lnTo>
                  <a:lnTo>
                    <a:pt x="17628" y="4530"/>
                  </a:lnTo>
                  <a:cubicBezTo>
                    <a:pt x="16688" y="4530"/>
                    <a:pt x="15928" y="5288"/>
                    <a:pt x="15928" y="6227"/>
                  </a:cubicBezTo>
                  <a:lnTo>
                    <a:pt x="15928" y="9059"/>
                  </a:lnTo>
                  <a:lnTo>
                    <a:pt x="13584" y="9059"/>
                  </a:lnTo>
                  <a:cubicBezTo>
                    <a:pt x="13304" y="7108"/>
                    <a:pt x="11631" y="5662"/>
                    <a:pt x="9662" y="5662"/>
                  </a:cubicBezTo>
                  <a:cubicBezTo>
                    <a:pt x="7694" y="5662"/>
                    <a:pt x="6021" y="7108"/>
                    <a:pt x="5740" y="9059"/>
                  </a:cubicBezTo>
                  <a:lnTo>
                    <a:pt x="3397" y="9059"/>
                  </a:lnTo>
                  <a:lnTo>
                    <a:pt x="3397" y="6227"/>
                  </a:lnTo>
                  <a:cubicBezTo>
                    <a:pt x="3397" y="5288"/>
                    <a:pt x="2636" y="4530"/>
                    <a:pt x="1700" y="4530"/>
                  </a:cubicBezTo>
                  <a:lnTo>
                    <a:pt x="1132" y="4530"/>
                  </a:lnTo>
                  <a:lnTo>
                    <a:pt x="1132" y="3962"/>
                  </a:lnTo>
                  <a:cubicBezTo>
                    <a:pt x="1132" y="3648"/>
                    <a:pt x="1386" y="3397"/>
                    <a:pt x="1700" y="3397"/>
                  </a:cubicBezTo>
                  <a:close/>
                  <a:moveTo>
                    <a:pt x="9663" y="6793"/>
                  </a:moveTo>
                  <a:cubicBezTo>
                    <a:pt x="10399" y="6793"/>
                    <a:pt x="11123" y="7080"/>
                    <a:pt x="11664" y="7622"/>
                  </a:cubicBezTo>
                  <a:cubicBezTo>
                    <a:pt x="12473" y="8431"/>
                    <a:pt x="12715" y="9648"/>
                    <a:pt x="12277" y="10708"/>
                  </a:cubicBezTo>
                  <a:cubicBezTo>
                    <a:pt x="11839" y="11764"/>
                    <a:pt x="10807" y="12456"/>
                    <a:pt x="9662" y="12456"/>
                  </a:cubicBezTo>
                  <a:cubicBezTo>
                    <a:pt x="8098" y="12453"/>
                    <a:pt x="6833" y="11188"/>
                    <a:pt x="6833" y="9624"/>
                  </a:cubicBezTo>
                  <a:cubicBezTo>
                    <a:pt x="6833" y="8479"/>
                    <a:pt x="7521" y="7447"/>
                    <a:pt x="8578" y="7009"/>
                  </a:cubicBezTo>
                  <a:cubicBezTo>
                    <a:pt x="8929" y="6864"/>
                    <a:pt x="9298" y="6793"/>
                    <a:pt x="9663" y="6793"/>
                  </a:cubicBezTo>
                  <a:close/>
                  <a:moveTo>
                    <a:pt x="1700" y="5662"/>
                  </a:moveTo>
                  <a:cubicBezTo>
                    <a:pt x="2011" y="5662"/>
                    <a:pt x="2265" y="5913"/>
                    <a:pt x="2265" y="6227"/>
                  </a:cubicBezTo>
                  <a:lnTo>
                    <a:pt x="2265" y="13020"/>
                  </a:lnTo>
                  <a:cubicBezTo>
                    <a:pt x="2265" y="13334"/>
                    <a:pt x="2011" y="13588"/>
                    <a:pt x="1700" y="13588"/>
                  </a:cubicBezTo>
                  <a:lnTo>
                    <a:pt x="1132" y="13588"/>
                  </a:lnTo>
                  <a:lnTo>
                    <a:pt x="1132" y="5662"/>
                  </a:lnTo>
                  <a:close/>
                  <a:moveTo>
                    <a:pt x="18192" y="5662"/>
                  </a:moveTo>
                  <a:lnTo>
                    <a:pt x="18192" y="13588"/>
                  </a:lnTo>
                  <a:lnTo>
                    <a:pt x="17628" y="13588"/>
                  </a:lnTo>
                  <a:cubicBezTo>
                    <a:pt x="17314" y="13588"/>
                    <a:pt x="17060" y="13334"/>
                    <a:pt x="17060" y="13020"/>
                  </a:cubicBezTo>
                  <a:lnTo>
                    <a:pt x="17060" y="6227"/>
                  </a:lnTo>
                  <a:cubicBezTo>
                    <a:pt x="17060" y="5913"/>
                    <a:pt x="17314" y="5662"/>
                    <a:pt x="17628" y="5662"/>
                  </a:cubicBezTo>
                  <a:close/>
                  <a:moveTo>
                    <a:pt x="15928" y="10191"/>
                  </a:moveTo>
                  <a:lnTo>
                    <a:pt x="15928" y="13020"/>
                  </a:lnTo>
                  <a:cubicBezTo>
                    <a:pt x="15928" y="13959"/>
                    <a:pt x="16688" y="14717"/>
                    <a:pt x="17628" y="14720"/>
                  </a:cubicBezTo>
                  <a:lnTo>
                    <a:pt x="18192" y="14720"/>
                  </a:lnTo>
                  <a:lnTo>
                    <a:pt x="18192" y="15285"/>
                  </a:lnTo>
                  <a:cubicBezTo>
                    <a:pt x="18192" y="15599"/>
                    <a:pt x="17939" y="15853"/>
                    <a:pt x="17628" y="15853"/>
                  </a:cubicBezTo>
                  <a:lnTo>
                    <a:pt x="1700" y="15853"/>
                  </a:lnTo>
                  <a:cubicBezTo>
                    <a:pt x="1386" y="15853"/>
                    <a:pt x="1132" y="15599"/>
                    <a:pt x="1132" y="15285"/>
                  </a:cubicBezTo>
                  <a:lnTo>
                    <a:pt x="1132" y="14720"/>
                  </a:lnTo>
                  <a:lnTo>
                    <a:pt x="1700" y="14720"/>
                  </a:lnTo>
                  <a:cubicBezTo>
                    <a:pt x="2636" y="14717"/>
                    <a:pt x="3397" y="13959"/>
                    <a:pt x="3397" y="13020"/>
                  </a:cubicBezTo>
                  <a:lnTo>
                    <a:pt x="3397" y="10191"/>
                  </a:lnTo>
                  <a:lnTo>
                    <a:pt x="5740" y="10191"/>
                  </a:lnTo>
                  <a:cubicBezTo>
                    <a:pt x="6021" y="12139"/>
                    <a:pt x="7694" y="13585"/>
                    <a:pt x="9662" y="13585"/>
                  </a:cubicBezTo>
                  <a:cubicBezTo>
                    <a:pt x="11631" y="13585"/>
                    <a:pt x="13304" y="12139"/>
                    <a:pt x="13584" y="10191"/>
                  </a:cubicBezTo>
                  <a:close/>
                  <a:moveTo>
                    <a:pt x="2832" y="1"/>
                  </a:moveTo>
                  <a:cubicBezTo>
                    <a:pt x="1893" y="1"/>
                    <a:pt x="1132" y="758"/>
                    <a:pt x="1132" y="1697"/>
                  </a:cubicBezTo>
                  <a:lnTo>
                    <a:pt x="1132" y="2362"/>
                  </a:lnTo>
                  <a:cubicBezTo>
                    <a:pt x="453" y="2600"/>
                    <a:pt x="0" y="3243"/>
                    <a:pt x="0" y="3962"/>
                  </a:cubicBezTo>
                  <a:lnTo>
                    <a:pt x="0" y="15285"/>
                  </a:lnTo>
                  <a:cubicBezTo>
                    <a:pt x="0" y="16224"/>
                    <a:pt x="761" y="16982"/>
                    <a:pt x="1700" y="16985"/>
                  </a:cubicBezTo>
                  <a:lnTo>
                    <a:pt x="17628" y="16985"/>
                  </a:lnTo>
                  <a:cubicBezTo>
                    <a:pt x="18564" y="16982"/>
                    <a:pt x="19324" y="16224"/>
                    <a:pt x="19324" y="15285"/>
                  </a:cubicBezTo>
                  <a:lnTo>
                    <a:pt x="19324" y="3962"/>
                  </a:lnTo>
                  <a:cubicBezTo>
                    <a:pt x="19324" y="3023"/>
                    <a:pt x="18564" y="2265"/>
                    <a:pt x="17628" y="2265"/>
                  </a:cubicBezTo>
                  <a:lnTo>
                    <a:pt x="13627" y="2265"/>
                  </a:lnTo>
                  <a:lnTo>
                    <a:pt x="13627" y="1697"/>
                  </a:lnTo>
                  <a:cubicBezTo>
                    <a:pt x="13624" y="758"/>
                    <a:pt x="12866" y="1"/>
                    <a:pt x="11927" y="1"/>
                  </a:cubicBezTo>
                  <a:lnTo>
                    <a:pt x="7398" y="1"/>
                  </a:lnTo>
                  <a:cubicBezTo>
                    <a:pt x="6459" y="1"/>
                    <a:pt x="5701" y="758"/>
                    <a:pt x="5701" y="1697"/>
                  </a:cubicBezTo>
                  <a:lnTo>
                    <a:pt x="5701" y="2265"/>
                  </a:lnTo>
                  <a:lnTo>
                    <a:pt x="4529" y="2265"/>
                  </a:lnTo>
                  <a:lnTo>
                    <a:pt x="4529" y="1697"/>
                  </a:lnTo>
                  <a:cubicBezTo>
                    <a:pt x="4529" y="758"/>
                    <a:pt x="3768" y="1"/>
                    <a:pt x="28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68" name="Google Shape;6068;p71"/>
            <p:cNvSpPr/>
            <p:nvPr/>
          </p:nvSpPr>
          <p:spPr>
            <a:xfrm>
              <a:off x="1091875" y="465500"/>
              <a:ext cx="88275" cy="85000"/>
            </a:xfrm>
            <a:custGeom>
              <a:avLst/>
              <a:gdLst/>
              <a:ahLst/>
              <a:cxnLst/>
              <a:rect l="l" t="t" r="r" b="b"/>
              <a:pathLst>
                <a:path w="3531"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2"/>
                    <a:pt x="1048" y="129"/>
                  </a:cubicBezTo>
                  <a:cubicBezTo>
                    <a:pt x="414" y="392"/>
                    <a:pt x="0" y="1011"/>
                    <a:pt x="0" y="1700"/>
                  </a:cubicBezTo>
                  <a:cubicBezTo>
                    <a:pt x="0" y="2639"/>
                    <a:pt x="758" y="3396"/>
                    <a:pt x="1697" y="3399"/>
                  </a:cubicBezTo>
                  <a:cubicBezTo>
                    <a:pt x="2386" y="3399"/>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69" name="Google Shape;6069;p71"/>
            <p:cNvSpPr/>
            <p:nvPr/>
          </p:nvSpPr>
          <p:spPr>
            <a:xfrm>
              <a:off x="1005975" y="380625"/>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2" y="879"/>
                    <a:pt x="1132" y="565"/>
                  </a:cubicBezTo>
                  <a:cubicBezTo>
                    <a:pt x="1132" y="251"/>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070" name="Google Shape;6070;p71"/>
          <p:cNvGrpSpPr/>
          <p:nvPr/>
        </p:nvGrpSpPr>
        <p:grpSpPr>
          <a:xfrm>
            <a:off x="1712386" y="3049495"/>
            <a:ext cx="398661" cy="453605"/>
            <a:chOff x="1516475" y="238075"/>
            <a:chExt cx="424650" cy="483175"/>
          </a:xfrm>
        </p:grpSpPr>
        <p:sp>
          <p:nvSpPr>
            <p:cNvPr id="6071" name="Google Shape;6071;p71"/>
            <p:cNvSpPr/>
            <p:nvPr/>
          </p:nvSpPr>
          <p:spPr>
            <a:xfrm>
              <a:off x="1516475" y="238075"/>
              <a:ext cx="424650" cy="483175"/>
            </a:xfrm>
            <a:custGeom>
              <a:avLst/>
              <a:gdLst/>
              <a:ahLst/>
              <a:cxnLst/>
              <a:rect l="l" t="t" r="r" b="b"/>
              <a:pathLst>
                <a:path w="16986" h="19327" extrusionOk="0">
                  <a:moveTo>
                    <a:pt x="8491" y="1134"/>
                  </a:moveTo>
                  <a:cubicBezTo>
                    <a:pt x="11302" y="1134"/>
                    <a:pt x="13588" y="3438"/>
                    <a:pt x="13588" y="6267"/>
                  </a:cubicBezTo>
                  <a:cubicBezTo>
                    <a:pt x="13588" y="7318"/>
                    <a:pt x="13262" y="8342"/>
                    <a:pt x="12655" y="9199"/>
                  </a:cubicBezTo>
                  <a:cubicBezTo>
                    <a:pt x="12625" y="9242"/>
                    <a:pt x="12604" y="9272"/>
                    <a:pt x="12595" y="9284"/>
                  </a:cubicBezTo>
                  <a:lnTo>
                    <a:pt x="8491" y="15724"/>
                  </a:lnTo>
                  <a:lnTo>
                    <a:pt x="4388" y="9287"/>
                  </a:lnTo>
                  <a:cubicBezTo>
                    <a:pt x="4382" y="9275"/>
                    <a:pt x="4373" y="9266"/>
                    <a:pt x="4367" y="9257"/>
                  </a:cubicBezTo>
                  <a:cubicBezTo>
                    <a:pt x="4249" y="9091"/>
                    <a:pt x="4140" y="8921"/>
                    <a:pt x="4041" y="8743"/>
                  </a:cubicBezTo>
                  <a:cubicBezTo>
                    <a:pt x="3618" y="7985"/>
                    <a:pt x="3398" y="7134"/>
                    <a:pt x="3398" y="6267"/>
                  </a:cubicBezTo>
                  <a:cubicBezTo>
                    <a:pt x="3398" y="6174"/>
                    <a:pt x="3398" y="6080"/>
                    <a:pt x="3404" y="5990"/>
                  </a:cubicBezTo>
                  <a:cubicBezTo>
                    <a:pt x="3552" y="3266"/>
                    <a:pt x="5786" y="1134"/>
                    <a:pt x="8491" y="1134"/>
                  </a:cubicBezTo>
                  <a:close/>
                  <a:moveTo>
                    <a:pt x="11049" y="13819"/>
                  </a:moveTo>
                  <a:cubicBezTo>
                    <a:pt x="14358" y="14233"/>
                    <a:pt x="15853" y="15289"/>
                    <a:pt x="15853" y="15930"/>
                  </a:cubicBezTo>
                  <a:cubicBezTo>
                    <a:pt x="15853" y="16304"/>
                    <a:pt x="15339" y="16887"/>
                    <a:pt x="13905" y="17397"/>
                  </a:cubicBezTo>
                  <a:cubicBezTo>
                    <a:pt x="12471" y="17910"/>
                    <a:pt x="10545" y="18194"/>
                    <a:pt x="8491" y="18194"/>
                  </a:cubicBezTo>
                  <a:cubicBezTo>
                    <a:pt x="6438" y="18194"/>
                    <a:pt x="4515" y="17910"/>
                    <a:pt x="3077" y="17397"/>
                  </a:cubicBezTo>
                  <a:cubicBezTo>
                    <a:pt x="1640" y="16884"/>
                    <a:pt x="1133" y="16304"/>
                    <a:pt x="1133" y="15930"/>
                  </a:cubicBezTo>
                  <a:cubicBezTo>
                    <a:pt x="1133" y="15289"/>
                    <a:pt x="2625" y="14233"/>
                    <a:pt x="5934" y="13819"/>
                  </a:cubicBezTo>
                  <a:lnTo>
                    <a:pt x="8014" y="17083"/>
                  </a:lnTo>
                  <a:cubicBezTo>
                    <a:pt x="8126" y="17258"/>
                    <a:pt x="8309" y="17346"/>
                    <a:pt x="8491" y="17346"/>
                  </a:cubicBezTo>
                  <a:cubicBezTo>
                    <a:pt x="8674" y="17346"/>
                    <a:pt x="8857" y="17258"/>
                    <a:pt x="8968" y="17083"/>
                  </a:cubicBezTo>
                  <a:lnTo>
                    <a:pt x="11049" y="13819"/>
                  </a:lnTo>
                  <a:close/>
                  <a:moveTo>
                    <a:pt x="8494" y="1"/>
                  </a:moveTo>
                  <a:cubicBezTo>
                    <a:pt x="6947" y="1"/>
                    <a:pt x="5399" y="578"/>
                    <a:pt x="4201" y="1738"/>
                  </a:cubicBezTo>
                  <a:cubicBezTo>
                    <a:pt x="3050" y="2837"/>
                    <a:pt x="2359" y="4338"/>
                    <a:pt x="2274" y="5929"/>
                  </a:cubicBezTo>
                  <a:cubicBezTo>
                    <a:pt x="2268" y="6041"/>
                    <a:pt x="2265" y="6156"/>
                    <a:pt x="2265" y="6267"/>
                  </a:cubicBezTo>
                  <a:cubicBezTo>
                    <a:pt x="2265" y="7327"/>
                    <a:pt x="2534" y="8372"/>
                    <a:pt x="3050" y="9296"/>
                  </a:cubicBezTo>
                  <a:cubicBezTo>
                    <a:pt x="3168" y="9507"/>
                    <a:pt x="3301" y="9713"/>
                    <a:pt x="3440" y="9909"/>
                  </a:cubicBezTo>
                  <a:lnTo>
                    <a:pt x="5267" y="12771"/>
                  </a:lnTo>
                  <a:cubicBezTo>
                    <a:pt x="3953" y="12971"/>
                    <a:pt x="2809" y="13294"/>
                    <a:pt x="1921" y="13713"/>
                  </a:cubicBezTo>
                  <a:cubicBezTo>
                    <a:pt x="333" y="14465"/>
                    <a:pt x="1" y="15332"/>
                    <a:pt x="1" y="15930"/>
                  </a:cubicBezTo>
                  <a:cubicBezTo>
                    <a:pt x="1" y="16648"/>
                    <a:pt x="469" y="17669"/>
                    <a:pt x="2697" y="18466"/>
                  </a:cubicBezTo>
                  <a:cubicBezTo>
                    <a:pt x="4252" y="19022"/>
                    <a:pt x="6311" y="19326"/>
                    <a:pt x="8491" y="19326"/>
                  </a:cubicBezTo>
                  <a:cubicBezTo>
                    <a:pt x="10671" y="19326"/>
                    <a:pt x="12731" y="19022"/>
                    <a:pt x="14286" y="18466"/>
                  </a:cubicBezTo>
                  <a:cubicBezTo>
                    <a:pt x="16514" y="17669"/>
                    <a:pt x="16985" y="16648"/>
                    <a:pt x="16985" y="15930"/>
                  </a:cubicBezTo>
                  <a:cubicBezTo>
                    <a:pt x="16985" y="15332"/>
                    <a:pt x="16650" y="14465"/>
                    <a:pt x="15062" y="13713"/>
                  </a:cubicBezTo>
                  <a:cubicBezTo>
                    <a:pt x="14174" y="13294"/>
                    <a:pt x="13030" y="12971"/>
                    <a:pt x="11716" y="12768"/>
                  </a:cubicBezTo>
                  <a:lnTo>
                    <a:pt x="13549" y="9897"/>
                  </a:lnTo>
                  <a:lnTo>
                    <a:pt x="13561" y="9879"/>
                  </a:lnTo>
                  <a:cubicBezTo>
                    <a:pt x="13567" y="9873"/>
                    <a:pt x="13570" y="9867"/>
                    <a:pt x="13576" y="9861"/>
                  </a:cubicBezTo>
                  <a:cubicBezTo>
                    <a:pt x="15327" y="7382"/>
                    <a:pt x="15041" y="3997"/>
                    <a:pt x="12897" y="1847"/>
                  </a:cubicBezTo>
                  <a:cubicBezTo>
                    <a:pt x="11689" y="618"/>
                    <a:pt x="10092" y="1"/>
                    <a:pt x="84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72" name="Google Shape;6072;p71"/>
            <p:cNvSpPr/>
            <p:nvPr/>
          </p:nvSpPr>
          <p:spPr>
            <a:xfrm>
              <a:off x="1652425" y="324000"/>
              <a:ext cx="147150" cy="141575"/>
            </a:xfrm>
            <a:custGeom>
              <a:avLst/>
              <a:gdLst/>
              <a:ahLst/>
              <a:cxnLst/>
              <a:rect l="l" t="t" r="r" b="b"/>
              <a:pathLst>
                <a:path w="5886" h="5663" extrusionOk="0">
                  <a:moveTo>
                    <a:pt x="3054" y="1131"/>
                  </a:moveTo>
                  <a:cubicBezTo>
                    <a:pt x="3495" y="1131"/>
                    <a:pt x="3930" y="1303"/>
                    <a:pt x="4255" y="1629"/>
                  </a:cubicBezTo>
                  <a:cubicBezTo>
                    <a:pt x="4741" y="2115"/>
                    <a:pt x="4886" y="2845"/>
                    <a:pt x="4623" y="3480"/>
                  </a:cubicBezTo>
                  <a:cubicBezTo>
                    <a:pt x="4361" y="4114"/>
                    <a:pt x="3742" y="4530"/>
                    <a:pt x="3053" y="4530"/>
                  </a:cubicBezTo>
                  <a:cubicBezTo>
                    <a:pt x="2114" y="4527"/>
                    <a:pt x="1356" y="3769"/>
                    <a:pt x="1356" y="2830"/>
                  </a:cubicBezTo>
                  <a:cubicBezTo>
                    <a:pt x="1356" y="2142"/>
                    <a:pt x="1770" y="1523"/>
                    <a:pt x="2404" y="1260"/>
                  </a:cubicBezTo>
                  <a:cubicBezTo>
                    <a:pt x="2614" y="1173"/>
                    <a:pt x="2835" y="1131"/>
                    <a:pt x="3054" y="1131"/>
                  </a:cubicBezTo>
                  <a:close/>
                  <a:moveTo>
                    <a:pt x="3053" y="0"/>
                  </a:moveTo>
                  <a:cubicBezTo>
                    <a:pt x="2316" y="0"/>
                    <a:pt x="1593" y="287"/>
                    <a:pt x="1051" y="828"/>
                  </a:cubicBezTo>
                  <a:cubicBezTo>
                    <a:pt x="242" y="1638"/>
                    <a:pt x="1" y="2855"/>
                    <a:pt x="439" y="3914"/>
                  </a:cubicBezTo>
                  <a:cubicBezTo>
                    <a:pt x="876" y="4971"/>
                    <a:pt x="1909" y="5663"/>
                    <a:pt x="3053" y="5663"/>
                  </a:cubicBezTo>
                  <a:cubicBezTo>
                    <a:pt x="4617" y="5660"/>
                    <a:pt x="5883" y="4394"/>
                    <a:pt x="5886" y="2830"/>
                  </a:cubicBezTo>
                  <a:cubicBezTo>
                    <a:pt x="5886" y="1686"/>
                    <a:pt x="5194" y="653"/>
                    <a:pt x="4137" y="216"/>
                  </a:cubicBezTo>
                  <a:cubicBezTo>
                    <a:pt x="3786" y="70"/>
                    <a:pt x="3418" y="0"/>
                    <a:pt x="30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073" name="Google Shape;6073;p71"/>
          <p:cNvGrpSpPr/>
          <p:nvPr/>
        </p:nvGrpSpPr>
        <p:grpSpPr>
          <a:xfrm>
            <a:off x="2236507" y="3156694"/>
            <a:ext cx="455317" cy="239207"/>
            <a:chOff x="2080675" y="352325"/>
            <a:chExt cx="485000" cy="254800"/>
          </a:xfrm>
        </p:grpSpPr>
        <p:sp>
          <p:nvSpPr>
            <p:cNvPr id="6074" name="Google Shape;6074;p71"/>
            <p:cNvSpPr/>
            <p:nvPr/>
          </p:nvSpPr>
          <p:spPr>
            <a:xfrm>
              <a:off x="2080675" y="352325"/>
              <a:ext cx="485000" cy="254800"/>
            </a:xfrm>
            <a:custGeom>
              <a:avLst/>
              <a:gdLst/>
              <a:ahLst/>
              <a:cxnLst/>
              <a:rect l="l" t="t" r="r" b="b"/>
              <a:pathLst>
                <a:path w="19400" h="10192" extrusionOk="0">
                  <a:moveTo>
                    <a:pt x="5514" y="2183"/>
                  </a:moveTo>
                  <a:cubicBezTo>
                    <a:pt x="4291" y="3932"/>
                    <a:pt x="4291" y="6254"/>
                    <a:pt x="5514" y="8002"/>
                  </a:cubicBezTo>
                  <a:cubicBezTo>
                    <a:pt x="4858" y="7685"/>
                    <a:pt x="4230" y="7320"/>
                    <a:pt x="3632" y="6909"/>
                  </a:cubicBezTo>
                  <a:cubicBezTo>
                    <a:pt x="2841" y="6368"/>
                    <a:pt x="2099" y="5762"/>
                    <a:pt x="1410" y="5097"/>
                  </a:cubicBezTo>
                  <a:cubicBezTo>
                    <a:pt x="2071" y="4454"/>
                    <a:pt x="3572" y="3126"/>
                    <a:pt x="5514" y="2183"/>
                  </a:cubicBezTo>
                  <a:close/>
                  <a:moveTo>
                    <a:pt x="13865" y="2171"/>
                  </a:moveTo>
                  <a:cubicBezTo>
                    <a:pt x="14527" y="2491"/>
                    <a:pt x="15167" y="2866"/>
                    <a:pt x="15774" y="3283"/>
                  </a:cubicBezTo>
                  <a:cubicBezTo>
                    <a:pt x="16562" y="3823"/>
                    <a:pt x="17304" y="4430"/>
                    <a:pt x="17996" y="5094"/>
                  </a:cubicBezTo>
                  <a:cubicBezTo>
                    <a:pt x="17307" y="5759"/>
                    <a:pt x="16565" y="6365"/>
                    <a:pt x="15774" y="6909"/>
                  </a:cubicBezTo>
                  <a:cubicBezTo>
                    <a:pt x="15167" y="7326"/>
                    <a:pt x="14530" y="7697"/>
                    <a:pt x="13865" y="8017"/>
                  </a:cubicBezTo>
                  <a:cubicBezTo>
                    <a:pt x="15097" y="6263"/>
                    <a:pt x="15097" y="3926"/>
                    <a:pt x="13865" y="2171"/>
                  </a:cubicBezTo>
                  <a:close/>
                  <a:moveTo>
                    <a:pt x="9801" y="1133"/>
                  </a:moveTo>
                  <a:cubicBezTo>
                    <a:pt x="11948" y="1190"/>
                    <a:pt x="13657" y="2947"/>
                    <a:pt x="13657" y="5091"/>
                  </a:cubicBezTo>
                  <a:cubicBezTo>
                    <a:pt x="13657" y="7238"/>
                    <a:pt x="11948" y="8995"/>
                    <a:pt x="9801" y="9053"/>
                  </a:cubicBezTo>
                  <a:lnTo>
                    <a:pt x="9566" y="9053"/>
                  </a:lnTo>
                  <a:cubicBezTo>
                    <a:pt x="7431" y="8983"/>
                    <a:pt x="5734" y="7232"/>
                    <a:pt x="5728" y="5094"/>
                  </a:cubicBezTo>
                  <a:cubicBezTo>
                    <a:pt x="5731" y="2947"/>
                    <a:pt x="7440" y="1190"/>
                    <a:pt x="9587" y="1133"/>
                  </a:cubicBezTo>
                  <a:close/>
                  <a:moveTo>
                    <a:pt x="9557" y="0"/>
                  </a:moveTo>
                  <a:cubicBezTo>
                    <a:pt x="7440" y="37"/>
                    <a:pt x="5166" y="852"/>
                    <a:pt x="2965" y="2362"/>
                  </a:cubicBezTo>
                  <a:cubicBezTo>
                    <a:pt x="1283" y="3518"/>
                    <a:pt x="239" y="4665"/>
                    <a:pt x="196" y="4714"/>
                  </a:cubicBezTo>
                  <a:cubicBezTo>
                    <a:pt x="0" y="4928"/>
                    <a:pt x="0" y="5257"/>
                    <a:pt x="196" y="5472"/>
                  </a:cubicBezTo>
                  <a:cubicBezTo>
                    <a:pt x="239" y="5523"/>
                    <a:pt x="1283" y="6670"/>
                    <a:pt x="2965" y="7827"/>
                  </a:cubicBezTo>
                  <a:cubicBezTo>
                    <a:pt x="5166" y="9337"/>
                    <a:pt x="7440" y="10149"/>
                    <a:pt x="9557" y="10188"/>
                  </a:cubicBezTo>
                  <a:cubicBezTo>
                    <a:pt x="9602" y="10188"/>
                    <a:pt x="9647" y="10191"/>
                    <a:pt x="9692" y="10191"/>
                  </a:cubicBezTo>
                  <a:lnTo>
                    <a:pt x="9717" y="10191"/>
                  </a:lnTo>
                  <a:cubicBezTo>
                    <a:pt x="11869" y="10185"/>
                    <a:pt x="14194" y="9367"/>
                    <a:pt x="16435" y="7827"/>
                  </a:cubicBezTo>
                  <a:cubicBezTo>
                    <a:pt x="18120" y="6670"/>
                    <a:pt x="19161" y="5523"/>
                    <a:pt x="19207" y="5475"/>
                  </a:cubicBezTo>
                  <a:cubicBezTo>
                    <a:pt x="19400" y="5257"/>
                    <a:pt x="19400" y="4931"/>
                    <a:pt x="19207" y="4714"/>
                  </a:cubicBezTo>
                  <a:cubicBezTo>
                    <a:pt x="19161" y="4665"/>
                    <a:pt x="18120" y="3521"/>
                    <a:pt x="16435" y="2365"/>
                  </a:cubicBezTo>
                  <a:cubicBezTo>
                    <a:pt x="14191" y="822"/>
                    <a:pt x="11869" y="6"/>
                    <a:pt x="97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75" name="Google Shape;6075;p71"/>
            <p:cNvSpPr/>
            <p:nvPr/>
          </p:nvSpPr>
          <p:spPr>
            <a:xfrm>
              <a:off x="2246650" y="408900"/>
              <a:ext cx="147075" cy="141600"/>
            </a:xfrm>
            <a:custGeom>
              <a:avLst/>
              <a:gdLst/>
              <a:ahLst/>
              <a:cxnLst/>
              <a:rect l="l" t="t" r="r" b="b"/>
              <a:pathLst>
                <a:path w="5883" h="5664" extrusionOk="0">
                  <a:moveTo>
                    <a:pt x="3054" y="1132"/>
                  </a:moveTo>
                  <a:cubicBezTo>
                    <a:pt x="3495" y="1132"/>
                    <a:pt x="3930" y="1304"/>
                    <a:pt x="4255" y="1630"/>
                  </a:cubicBezTo>
                  <a:cubicBezTo>
                    <a:pt x="4738" y="2116"/>
                    <a:pt x="4886" y="2846"/>
                    <a:pt x="4624" y="3480"/>
                  </a:cubicBezTo>
                  <a:cubicBezTo>
                    <a:pt x="4358" y="4115"/>
                    <a:pt x="3739" y="4531"/>
                    <a:pt x="3053" y="4531"/>
                  </a:cubicBezTo>
                  <a:cubicBezTo>
                    <a:pt x="2114" y="4528"/>
                    <a:pt x="1357" y="3770"/>
                    <a:pt x="1353" y="2831"/>
                  </a:cubicBezTo>
                  <a:cubicBezTo>
                    <a:pt x="1353" y="2143"/>
                    <a:pt x="1767" y="1524"/>
                    <a:pt x="2404" y="1261"/>
                  </a:cubicBezTo>
                  <a:cubicBezTo>
                    <a:pt x="2614" y="1174"/>
                    <a:pt x="2835" y="1132"/>
                    <a:pt x="3054" y="1132"/>
                  </a:cubicBezTo>
                  <a:close/>
                  <a:moveTo>
                    <a:pt x="3053" y="1"/>
                  </a:moveTo>
                  <a:cubicBezTo>
                    <a:pt x="2316" y="1"/>
                    <a:pt x="1593" y="288"/>
                    <a:pt x="1052" y="829"/>
                  </a:cubicBezTo>
                  <a:cubicBezTo>
                    <a:pt x="242" y="1639"/>
                    <a:pt x="1" y="2855"/>
                    <a:pt x="439" y="3915"/>
                  </a:cubicBezTo>
                  <a:cubicBezTo>
                    <a:pt x="876" y="4972"/>
                    <a:pt x="1909" y="5663"/>
                    <a:pt x="3053" y="5663"/>
                  </a:cubicBezTo>
                  <a:cubicBezTo>
                    <a:pt x="4614" y="5660"/>
                    <a:pt x="5883" y="4395"/>
                    <a:pt x="5883" y="2831"/>
                  </a:cubicBezTo>
                  <a:cubicBezTo>
                    <a:pt x="5883" y="1687"/>
                    <a:pt x="5194" y="654"/>
                    <a:pt x="4137" y="216"/>
                  </a:cubicBezTo>
                  <a:cubicBezTo>
                    <a:pt x="3786" y="71"/>
                    <a:pt x="3418" y="1"/>
                    <a:pt x="30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076" name="Google Shape;6076;p71"/>
          <p:cNvGrpSpPr/>
          <p:nvPr/>
        </p:nvGrpSpPr>
        <p:grpSpPr>
          <a:xfrm>
            <a:off x="2835412" y="3049518"/>
            <a:ext cx="398661" cy="453557"/>
            <a:chOff x="2705375" y="238125"/>
            <a:chExt cx="424650" cy="483125"/>
          </a:xfrm>
        </p:grpSpPr>
        <p:sp>
          <p:nvSpPr>
            <p:cNvPr id="6077" name="Google Shape;6077;p71"/>
            <p:cNvSpPr/>
            <p:nvPr/>
          </p:nvSpPr>
          <p:spPr>
            <a:xfrm>
              <a:off x="2705375" y="238125"/>
              <a:ext cx="424650" cy="483125"/>
            </a:xfrm>
            <a:custGeom>
              <a:avLst/>
              <a:gdLst/>
              <a:ahLst/>
              <a:cxnLst/>
              <a:rect l="l" t="t" r="r" b="b"/>
              <a:pathLst>
                <a:path w="16986" h="19325" extrusionOk="0">
                  <a:moveTo>
                    <a:pt x="10192" y="1132"/>
                  </a:moveTo>
                  <a:cubicBezTo>
                    <a:pt x="10503" y="1132"/>
                    <a:pt x="10756" y="1386"/>
                    <a:pt x="10756" y="1700"/>
                  </a:cubicBezTo>
                  <a:lnTo>
                    <a:pt x="10756" y="2265"/>
                  </a:lnTo>
                  <a:lnTo>
                    <a:pt x="6227" y="2265"/>
                  </a:lnTo>
                  <a:lnTo>
                    <a:pt x="6227" y="1700"/>
                  </a:lnTo>
                  <a:cubicBezTo>
                    <a:pt x="6227" y="1386"/>
                    <a:pt x="6481" y="1132"/>
                    <a:pt x="6795" y="1132"/>
                  </a:cubicBezTo>
                  <a:close/>
                  <a:moveTo>
                    <a:pt x="15285" y="3397"/>
                  </a:moveTo>
                  <a:cubicBezTo>
                    <a:pt x="15599" y="3397"/>
                    <a:pt x="15853" y="3651"/>
                    <a:pt x="15853" y="3965"/>
                  </a:cubicBezTo>
                  <a:lnTo>
                    <a:pt x="15853" y="4529"/>
                  </a:lnTo>
                  <a:lnTo>
                    <a:pt x="1133" y="4529"/>
                  </a:lnTo>
                  <a:lnTo>
                    <a:pt x="1133" y="3965"/>
                  </a:lnTo>
                  <a:cubicBezTo>
                    <a:pt x="1133" y="3651"/>
                    <a:pt x="1384" y="3397"/>
                    <a:pt x="1698" y="3397"/>
                  </a:cubicBezTo>
                  <a:close/>
                  <a:moveTo>
                    <a:pt x="14669" y="5661"/>
                  </a:moveTo>
                  <a:lnTo>
                    <a:pt x="13682" y="17679"/>
                  </a:lnTo>
                  <a:cubicBezTo>
                    <a:pt x="13658" y="17972"/>
                    <a:pt x="13410" y="18192"/>
                    <a:pt x="13120" y="18192"/>
                  </a:cubicBezTo>
                  <a:lnTo>
                    <a:pt x="3866" y="18192"/>
                  </a:lnTo>
                  <a:cubicBezTo>
                    <a:pt x="3573" y="18192"/>
                    <a:pt x="3325" y="17972"/>
                    <a:pt x="3301" y="17679"/>
                  </a:cubicBezTo>
                  <a:lnTo>
                    <a:pt x="2314" y="5661"/>
                  </a:lnTo>
                  <a:close/>
                  <a:moveTo>
                    <a:pt x="6795" y="0"/>
                  </a:moveTo>
                  <a:cubicBezTo>
                    <a:pt x="5856" y="0"/>
                    <a:pt x="5095" y="761"/>
                    <a:pt x="5095" y="1700"/>
                  </a:cubicBezTo>
                  <a:lnTo>
                    <a:pt x="5095" y="2265"/>
                  </a:lnTo>
                  <a:lnTo>
                    <a:pt x="1698" y="2265"/>
                  </a:lnTo>
                  <a:cubicBezTo>
                    <a:pt x="759" y="2265"/>
                    <a:pt x="1" y="3025"/>
                    <a:pt x="1" y="3965"/>
                  </a:cubicBezTo>
                  <a:lnTo>
                    <a:pt x="1" y="5097"/>
                  </a:lnTo>
                  <a:cubicBezTo>
                    <a:pt x="1" y="5408"/>
                    <a:pt x="252" y="5661"/>
                    <a:pt x="566" y="5661"/>
                  </a:cubicBezTo>
                  <a:lnTo>
                    <a:pt x="1176" y="5661"/>
                  </a:lnTo>
                  <a:lnTo>
                    <a:pt x="2172" y="17779"/>
                  </a:lnTo>
                  <a:lnTo>
                    <a:pt x="2172" y="17782"/>
                  </a:lnTo>
                  <a:cubicBezTo>
                    <a:pt x="2247" y="18655"/>
                    <a:pt x="2981" y="19325"/>
                    <a:pt x="3860" y="19325"/>
                  </a:cubicBezTo>
                  <a:cubicBezTo>
                    <a:pt x="3862" y="19325"/>
                    <a:pt x="3864" y="19325"/>
                    <a:pt x="3866" y="19324"/>
                  </a:cubicBezTo>
                  <a:lnTo>
                    <a:pt x="13120" y="19324"/>
                  </a:lnTo>
                  <a:cubicBezTo>
                    <a:pt x="13122" y="19325"/>
                    <a:pt x="13124" y="19325"/>
                    <a:pt x="13126" y="19325"/>
                  </a:cubicBezTo>
                  <a:cubicBezTo>
                    <a:pt x="14002" y="19325"/>
                    <a:pt x="14736" y="18655"/>
                    <a:pt x="14811" y="17779"/>
                  </a:cubicBezTo>
                  <a:lnTo>
                    <a:pt x="14811" y="17776"/>
                  </a:lnTo>
                  <a:lnTo>
                    <a:pt x="15808" y="5661"/>
                  </a:lnTo>
                  <a:lnTo>
                    <a:pt x="16418" y="5661"/>
                  </a:lnTo>
                  <a:cubicBezTo>
                    <a:pt x="16732" y="5661"/>
                    <a:pt x="16985" y="5408"/>
                    <a:pt x="16985" y="5097"/>
                  </a:cubicBezTo>
                  <a:lnTo>
                    <a:pt x="16985" y="3965"/>
                  </a:lnTo>
                  <a:cubicBezTo>
                    <a:pt x="16982" y="3025"/>
                    <a:pt x="16224" y="2265"/>
                    <a:pt x="15285" y="2265"/>
                  </a:cubicBezTo>
                  <a:lnTo>
                    <a:pt x="11889" y="2265"/>
                  </a:lnTo>
                  <a:lnTo>
                    <a:pt x="11889" y="1700"/>
                  </a:lnTo>
                  <a:cubicBezTo>
                    <a:pt x="11889" y="761"/>
                    <a:pt x="11128" y="0"/>
                    <a:pt x="101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78" name="Google Shape;6078;p71"/>
            <p:cNvSpPr/>
            <p:nvPr/>
          </p:nvSpPr>
          <p:spPr>
            <a:xfrm>
              <a:off x="2903525" y="407950"/>
              <a:ext cx="28350" cy="228375"/>
            </a:xfrm>
            <a:custGeom>
              <a:avLst/>
              <a:gdLst/>
              <a:ahLst/>
              <a:cxnLst/>
              <a:rect l="l" t="t" r="r" b="b"/>
              <a:pathLst>
                <a:path w="1134" h="9135" extrusionOk="0">
                  <a:moveTo>
                    <a:pt x="566" y="1"/>
                  </a:moveTo>
                  <a:cubicBezTo>
                    <a:pt x="252" y="1"/>
                    <a:pt x="1" y="254"/>
                    <a:pt x="1" y="568"/>
                  </a:cubicBezTo>
                  <a:lnTo>
                    <a:pt x="1" y="8570"/>
                  </a:lnTo>
                  <a:cubicBezTo>
                    <a:pt x="1" y="8881"/>
                    <a:pt x="252"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79" name="Google Shape;6079;p71"/>
            <p:cNvSpPr/>
            <p:nvPr/>
          </p:nvSpPr>
          <p:spPr>
            <a:xfrm>
              <a:off x="2988450" y="407950"/>
              <a:ext cx="28350" cy="228375"/>
            </a:xfrm>
            <a:custGeom>
              <a:avLst/>
              <a:gdLst/>
              <a:ahLst/>
              <a:cxnLst/>
              <a:rect l="l" t="t" r="r" b="b"/>
              <a:pathLst>
                <a:path w="1134" h="9135" extrusionOk="0">
                  <a:moveTo>
                    <a:pt x="566" y="1"/>
                  </a:moveTo>
                  <a:cubicBezTo>
                    <a:pt x="251" y="1"/>
                    <a:pt x="1" y="254"/>
                    <a:pt x="1" y="568"/>
                  </a:cubicBezTo>
                  <a:lnTo>
                    <a:pt x="1" y="8570"/>
                  </a:lnTo>
                  <a:cubicBezTo>
                    <a:pt x="1" y="8881"/>
                    <a:pt x="251" y="9135"/>
                    <a:pt x="566" y="9135"/>
                  </a:cubicBezTo>
                  <a:cubicBezTo>
                    <a:pt x="880" y="9135"/>
                    <a:pt x="1133" y="8881"/>
                    <a:pt x="1133" y="8570"/>
                  </a:cubicBezTo>
                  <a:lnTo>
                    <a:pt x="1133" y="568"/>
                  </a:ln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0" name="Google Shape;6080;p71"/>
            <p:cNvSpPr/>
            <p:nvPr/>
          </p:nvSpPr>
          <p:spPr>
            <a:xfrm>
              <a:off x="2818625" y="407950"/>
              <a:ext cx="28325" cy="228375"/>
            </a:xfrm>
            <a:custGeom>
              <a:avLst/>
              <a:gdLst/>
              <a:ahLst/>
              <a:cxnLst/>
              <a:rect l="l" t="t" r="r" b="b"/>
              <a:pathLst>
                <a:path w="1133" h="9135" extrusionOk="0">
                  <a:moveTo>
                    <a:pt x="565" y="1"/>
                  </a:moveTo>
                  <a:cubicBezTo>
                    <a:pt x="251" y="1"/>
                    <a:pt x="0" y="254"/>
                    <a:pt x="0" y="568"/>
                  </a:cubicBezTo>
                  <a:lnTo>
                    <a:pt x="0" y="8570"/>
                  </a:lnTo>
                  <a:cubicBezTo>
                    <a:pt x="0" y="8881"/>
                    <a:pt x="251" y="9135"/>
                    <a:pt x="565" y="9135"/>
                  </a:cubicBezTo>
                  <a:cubicBezTo>
                    <a:pt x="879" y="9135"/>
                    <a:pt x="1132" y="8881"/>
                    <a:pt x="1132" y="8570"/>
                  </a:cubicBezTo>
                  <a:lnTo>
                    <a:pt x="1132" y="568"/>
                  </a:lnTo>
                  <a:cubicBezTo>
                    <a:pt x="1132"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081" name="Google Shape;6081;p71"/>
          <p:cNvGrpSpPr/>
          <p:nvPr/>
        </p:nvGrpSpPr>
        <p:grpSpPr>
          <a:xfrm>
            <a:off x="3390267" y="3049941"/>
            <a:ext cx="401548" cy="452713"/>
            <a:chOff x="3299850" y="238575"/>
            <a:chExt cx="427725" cy="482225"/>
          </a:xfrm>
        </p:grpSpPr>
        <p:sp>
          <p:nvSpPr>
            <p:cNvPr id="6082" name="Google Shape;6082;p71"/>
            <p:cNvSpPr/>
            <p:nvPr/>
          </p:nvSpPr>
          <p:spPr>
            <a:xfrm>
              <a:off x="3299850" y="323500"/>
              <a:ext cx="427725" cy="397300"/>
            </a:xfrm>
            <a:custGeom>
              <a:avLst/>
              <a:gdLst/>
              <a:ahLst/>
              <a:cxnLst/>
              <a:rect l="l" t="t" r="r" b="b"/>
              <a:pathLst>
                <a:path w="17109" h="15892" extrusionOk="0">
                  <a:moveTo>
                    <a:pt x="3397" y="6794"/>
                  </a:moveTo>
                  <a:lnTo>
                    <a:pt x="3397" y="14759"/>
                  </a:lnTo>
                  <a:lnTo>
                    <a:pt x="1132" y="14759"/>
                  </a:lnTo>
                  <a:lnTo>
                    <a:pt x="1132" y="6794"/>
                  </a:lnTo>
                  <a:close/>
                  <a:moveTo>
                    <a:pt x="9034" y="1132"/>
                  </a:moveTo>
                  <a:cubicBezTo>
                    <a:pt x="9683" y="1175"/>
                    <a:pt x="10191" y="1712"/>
                    <a:pt x="10191" y="2364"/>
                  </a:cubicBezTo>
                  <a:cubicBezTo>
                    <a:pt x="10191" y="3346"/>
                    <a:pt x="9774" y="5275"/>
                    <a:pt x="9221" y="5828"/>
                  </a:cubicBezTo>
                  <a:cubicBezTo>
                    <a:pt x="8865" y="6184"/>
                    <a:pt x="9119" y="6794"/>
                    <a:pt x="9623" y="6794"/>
                  </a:cubicBezTo>
                  <a:lnTo>
                    <a:pt x="15285" y="6794"/>
                  </a:lnTo>
                  <a:cubicBezTo>
                    <a:pt x="15599" y="6794"/>
                    <a:pt x="15849" y="7047"/>
                    <a:pt x="15849" y="7361"/>
                  </a:cubicBezTo>
                  <a:cubicBezTo>
                    <a:pt x="15849" y="7672"/>
                    <a:pt x="15599" y="7926"/>
                    <a:pt x="15285" y="7926"/>
                  </a:cubicBezTo>
                  <a:lnTo>
                    <a:pt x="11888" y="7926"/>
                  </a:lnTo>
                  <a:cubicBezTo>
                    <a:pt x="11574" y="7926"/>
                    <a:pt x="11323" y="8180"/>
                    <a:pt x="11323" y="8494"/>
                  </a:cubicBezTo>
                  <a:cubicBezTo>
                    <a:pt x="11323" y="8805"/>
                    <a:pt x="11574" y="9058"/>
                    <a:pt x="11888" y="9058"/>
                  </a:cubicBezTo>
                  <a:lnTo>
                    <a:pt x="15285" y="9058"/>
                  </a:lnTo>
                  <a:cubicBezTo>
                    <a:pt x="15586" y="9058"/>
                    <a:pt x="15852" y="9342"/>
                    <a:pt x="15852" y="9662"/>
                  </a:cubicBezTo>
                  <a:cubicBezTo>
                    <a:pt x="15852" y="9976"/>
                    <a:pt x="15599" y="10230"/>
                    <a:pt x="15285" y="10230"/>
                  </a:cubicBezTo>
                  <a:lnTo>
                    <a:pt x="11888" y="10230"/>
                  </a:lnTo>
                  <a:cubicBezTo>
                    <a:pt x="11574" y="10230"/>
                    <a:pt x="11323" y="10484"/>
                    <a:pt x="11323" y="10795"/>
                  </a:cubicBezTo>
                  <a:cubicBezTo>
                    <a:pt x="11323" y="11109"/>
                    <a:pt x="11574" y="11362"/>
                    <a:pt x="11888" y="11362"/>
                  </a:cubicBezTo>
                  <a:lnTo>
                    <a:pt x="14152" y="11362"/>
                  </a:lnTo>
                  <a:cubicBezTo>
                    <a:pt x="14466" y="11362"/>
                    <a:pt x="14717" y="11616"/>
                    <a:pt x="14717" y="11927"/>
                  </a:cubicBezTo>
                  <a:cubicBezTo>
                    <a:pt x="14717" y="12241"/>
                    <a:pt x="14466" y="12494"/>
                    <a:pt x="14152" y="12494"/>
                  </a:cubicBezTo>
                  <a:lnTo>
                    <a:pt x="11888" y="12494"/>
                  </a:lnTo>
                  <a:cubicBezTo>
                    <a:pt x="11574" y="12494"/>
                    <a:pt x="11323" y="12748"/>
                    <a:pt x="11323" y="13059"/>
                  </a:cubicBezTo>
                  <a:cubicBezTo>
                    <a:pt x="11323" y="13373"/>
                    <a:pt x="11574" y="13627"/>
                    <a:pt x="11888" y="13627"/>
                  </a:cubicBezTo>
                  <a:lnTo>
                    <a:pt x="13020" y="13627"/>
                  </a:lnTo>
                  <a:cubicBezTo>
                    <a:pt x="13334" y="13627"/>
                    <a:pt x="13585" y="13880"/>
                    <a:pt x="13585" y="14191"/>
                  </a:cubicBezTo>
                  <a:cubicBezTo>
                    <a:pt x="13585" y="14505"/>
                    <a:pt x="13334" y="14759"/>
                    <a:pt x="13020" y="14759"/>
                  </a:cubicBezTo>
                  <a:lnTo>
                    <a:pt x="9197" y="14759"/>
                  </a:lnTo>
                  <a:cubicBezTo>
                    <a:pt x="8041" y="14759"/>
                    <a:pt x="6890" y="14572"/>
                    <a:pt x="5794" y="14207"/>
                  </a:cubicBezTo>
                  <a:lnTo>
                    <a:pt x="4529" y="13784"/>
                  </a:lnTo>
                  <a:lnTo>
                    <a:pt x="4529" y="7712"/>
                  </a:lnTo>
                  <a:lnTo>
                    <a:pt x="5686" y="7132"/>
                  </a:lnTo>
                  <a:cubicBezTo>
                    <a:pt x="6265" y="6842"/>
                    <a:pt x="6797" y="6459"/>
                    <a:pt x="7253" y="6003"/>
                  </a:cubicBezTo>
                  <a:lnTo>
                    <a:pt x="7289" y="5963"/>
                  </a:lnTo>
                  <a:cubicBezTo>
                    <a:pt x="8352" y="4901"/>
                    <a:pt x="8917" y="2654"/>
                    <a:pt x="9034" y="1132"/>
                  </a:cubicBezTo>
                  <a:close/>
                  <a:moveTo>
                    <a:pt x="8491" y="0"/>
                  </a:moveTo>
                  <a:cubicBezTo>
                    <a:pt x="8177" y="0"/>
                    <a:pt x="7926" y="254"/>
                    <a:pt x="7926" y="568"/>
                  </a:cubicBezTo>
                  <a:cubicBezTo>
                    <a:pt x="7926" y="1887"/>
                    <a:pt x="7380" y="4276"/>
                    <a:pt x="6492" y="5166"/>
                  </a:cubicBezTo>
                  <a:lnTo>
                    <a:pt x="6456" y="5203"/>
                  </a:lnTo>
                  <a:cubicBezTo>
                    <a:pt x="6081" y="5574"/>
                    <a:pt x="5652" y="5885"/>
                    <a:pt x="5181" y="6120"/>
                  </a:cubicBezTo>
                  <a:lnTo>
                    <a:pt x="4529" y="6444"/>
                  </a:lnTo>
                  <a:lnTo>
                    <a:pt x="4529" y="6229"/>
                  </a:lnTo>
                  <a:cubicBezTo>
                    <a:pt x="4529" y="5915"/>
                    <a:pt x="4276" y="5661"/>
                    <a:pt x="3962" y="5661"/>
                  </a:cubicBezTo>
                  <a:lnTo>
                    <a:pt x="565" y="5661"/>
                  </a:lnTo>
                  <a:cubicBezTo>
                    <a:pt x="251" y="5661"/>
                    <a:pt x="0" y="5915"/>
                    <a:pt x="0" y="6229"/>
                  </a:cubicBezTo>
                  <a:lnTo>
                    <a:pt x="0" y="15324"/>
                  </a:lnTo>
                  <a:cubicBezTo>
                    <a:pt x="0" y="15638"/>
                    <a:pt x="251" y="15891"/>
                    <a:pt x="565" y="15891"/>
                  </a:cubicBezTo>
                  <a:lnTo>
                    <a:pt x="3962" y="15891"/>
                  </a:lnTo>
                  <a:cubicBezTo>
                    <a:pt x="4276" y="15891"/>
                    <a:pt x="4529" y="15638"/>
                    <a:pt x="4529" y="15324"/>
                  </a:cubicBezTo>
                  <a:lnTo>
                    <a:pt x="4529" y="14976"/>
                  </a:lnTo>
                  <a:lnTo>
                    <a:pt x="5435" y="15278"/>
                  </a:lnTo>
                  <a:cubicBezTo>
                    <a:pt x="6649" y="15683"/>
                    <a:pt x="7917" y="15888"/>
                    <a:pt x="9197" y="15888"/>
                  </a:cubicBezTo>
                  <a:lnTo>
                    <a:pt x="13020" y="15888"/>
                  </a:lnTo>
                  <a:cubicBezTo>
                    <a:pt x="14219" y="15888"/>
                    <a:pt x="15040" y="14681"/>
                    <a:pt x="14599" y="13566"/>
                  </a:cubicBezTo>
                  <a:cubicBezTo>
                    <a:pt x="15577" y="13298"/>
                    <a:pt x="16106" y="12241"/>
                    <a:pt x="15731" y="11302"/>
                  </a:cubicBezTo>
                  <a:cubicBezTo>
                    <a:pt x="16468" y="11100"/>
                    <a:pt x="16981" y="10429"/>
                    <a:pt x="16984" y="9662"/>
                  </a:cubicBezTo>
                  <a:cubicBezTo>
                    <a:pt x="16981" y="9233"/>
                    <a:pt x="16824" y="8823"/>
                    <a:pt x="16541" y="8503"/>
                  </a:cubicBezTo>
                  <a:cubicBezTo>
                    <a:pt x="16994" y="8005"/>
                    <a:pt x="17108" y="7289"/>
                    <a:pt x="16837" y="6673"/>
                  </a:cubicBezTo>
                  <a:cubicBezTo>
                    <a:pt x="16565" y="6060"/>
                    <a:pt x="15958" y="5661"/>
                    <a:pt x="15285" y="5661"/>
                  </a:cubicBezTo>
                  <a:lnTo>
                    <a:pt x="10635" y="5661"/>
                  </a:lnTo>
                  <a:cubicBezTo>
                    <a:pt x="11109" y="4577"/>
                    <a:pt x="11323" y="3104"/>
                    <a:pt x="11323" y="2364"/>
                  </a:cubicBezTo>
                  <a:cubicBezTo>
                    <a:pt x="11320" y="1060"/>
                    <a:pt x="10263" y="3"/>
                    <a:pt x="89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3" name="Google Shape;6083;p71"/>
            <p:cNvSpPr/>
            <p:nvPr/>
          </p:nvSpPr>
          <p:spPr>
            <a:xfrm>
              <a:off x="3467650" y="238575"/>
              <a:ext cx="46525" cy="56650"/>
            </a:xfrm>
            <a:custGeom>
              <a:avLst/>
              <a:gdLst/>
              <a:ahLst/>
              <a:cxnLst/>
              <a:rect l="l" t="t" r="r" b="b"/>
              <a:pathLst>
                <a:path w="1861" h="2266" extrusionOk="0">
                  <a:moveTo>
                    <a:pt x="646" y="1"/>
                  </a:moveTo>
                  <a:cubicBezTo>
                    <a:pt x="561" y="1"/>
                    <a:pt x="475" y="20"/>
                    <a:pt x="393" y="61"/>
                  </a:cubicBezTo>
                  <a:cubicBezTo>
                    <a:pt x="112" y="199"/>
                    <a:pt x="0" y="541"/>
                    <a:pt x="139" y="821"/>
                  </a:cubicBezTo>
                  <a:lnTo>
                    <a:pt x="707" y="1954"/>
                  </a:lnTo>
                  <a:cubicBezTo>
                    <a:pt x="805" y="2150"/>
                    <a:pt x="1005" y="2265"/>
                    <a:pt x="1212" y="2265"/>
                  </a:cubicBezTo>
                  <a:cubicBezTo>
                    <a:pt x="1297" y="2265"/>
                    <a:pt x="1384" y="2246"/>
                    <a:pt x="1465" y="2204"/>
                  </a:cubicBezTo>
                  <a:cubicBezTo>
                    <a:pt x="1746" y="2065"/>
                    <a:pt x="1860" y="1727"/>
                    <a:pt x="1718" y="1446"/>
                  </a:cubicBezTo>
                  <a:lnTo>
                    <a:pt x="1154" y="314"/>
                  </a:lnTo>
                  <a:cubicBezTo>
                    <a:pt x="1053" y="115"/>
                    <a:pt x="854" y="1"/>
                    <a:pt x="6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4" name="Google Shape;6084;p71"/>
            <p:cNvSpPr/>
            <p:nvPr/>
          </p:nvSpPr>
          <p:spPr>
            <a:xfrm>
              <a:off x="3566675" y="238575"/>
              <a:ext cx="46525" cy="56675"/>
            </a:xfrm>
            <a:custGeom>
              <a:avLst/>
              <a:gdLst/>
              <a:ahLst/>
              <a:cxnLst/>
              <a:rect l="l" t="t" r="r" b="b"/>
              <a:pathLst>
                <a:path w="1861" h="2267" extrusionOk="0">
                  <a:moveTo>
                    <a:pt x="1215" y="1"/>
                  </a:moveTo>
                  <a:cubicBezTo>
                    <a:pt x="1007" y="1"/>
                    <a:pt x="808" y="115"/>
                    <a:pt x="707" y="314"/>
                  </a:cubicBezTo>
                  <a:lnTo>
                    <a:pt x="143" y="1446"/>
                  </a:lnTo>
                  <a:cubicBezTo>
                    <a:pt x="1" y="1727"/>
                    <a:pt x="116" y="2065"/>
                    <a:pt x="396" y="2207"/>
                  </a:cubicBezTo>
                  <a:cubicBezTo>
                    <a:pt x="477" y="2247"/>
                    <a:pt x="562" y="2266"/>
                    <a:pt x="646" y="2266"/>
                  </a:cubicBezTo>
                  <a:cubicBezTo>
                    <a:pt x="854" y="2266"/>
                    <a:pt x="1055" y="2151"/>
                    <a:pt x="1154" y="1954"/>
                  </a:cubicBezTo>
                  <a:lnTo>
                    <a:pt x="1722" y="821"/>
                  </a:lnTo>
                  <a:cubicBezTo>
                    <a:pt x="1861" y="541"/>
                    <a:pt x="1749" y="199"/>
                    <a:pt x="1468" y="61"/>
                  </a:cubicBezTo>
                  <a:cubicBezTo>
                    <a:pt x="1387" y="20"/>
                    <a:pt x="1300" y="1"/>
                    <a:pt x="12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5" name="Google Shape;6085;p71"/>
            <p:cNvSpPr/>
            <p:nvPr/>
          </p:nvSpPr>
          <p:spPr>
            <a:xfrm>
              <a:off x="361122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6" name="Google Shape;6086;p71"/>
            <p:cNvSpPr/>
            <p:nvPr/>
          </p:nvSpPr>
          <p:spPr>
            <a:xfrm>
              <a:off x="341307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087" name="Google Shape;6087;p71"/>
          <p:cNvGrpSpPr/>
          <p:nvPr/>
        </p:nvGrpSpPr>
        <p:grpSpPr>
          <a:xfrm>
            <a:off x="3906163" y="3049518"/>
            <a:ext cx="469940" cy="453557"/>
            <a:chOff x="3857225" y="238125"/>
            <a:chExt cx="500575" cy="483125"/>
          </a:xfrm>
        </p:grpSpPr>
        <p:sp>
          <p:nvSpPr>
            <p:cNvPr id="6088" name="Google Shape;6088;p71"/>
            <p:cNvSpPr/>
            <p:nvPr/>
          </p:nvSpPr>
          <p:spPr>
            <a:xfrm>
              <a:off x="3857225" y="238125"/>
              <a:ext cx="500575" cy="483125"/>
            </a:xfrm>
            <a:custGeom>
              <a:avLst/>
              <a:gdLst/>
              <a:ahLst/>
              <a:cxnLst/>
              <a:rect l="l" t="t" r="r" b="b"/>
              <a:pathLst>
                <a:path w="20023" h="19325" extrusionOk="0">
                  <a:moveTo>
                    <a:pt x="15671" y="3398"/>
                  </a:moveTo>
                  <a:cubicBezTo>
                    <a:pt x="15707" y="3398"/>
                    <a:pt x="15744" y="3402"/>
                    <a:pt x="15780" y="3409"/>
                  </a:cubicBezTo>
                  <a:lnTo>
                    <a:pt x="15801" y="3415"/>
                  </a:lnTo>
                  <a:cubicBezTo>
                    <a:pt x="15814" y="3415"/>
                    <a:pt x="15823" y="3418"/>
                    <a:pt x="15835" y="3421"/>
                  </a:cubicBezTo>
                  <a:cubicBezTo>
                    <a:pt x="15844" y="3424"/>
                    <a:pt x="15856" y="3430"/>
                    <a:pt x="15868" y="3433"/>
                  </a:cubicBezTo>
                  <a:lnTo>
                    <a:pt x="15886" y="3439"/>
                  </a:lnTo>
                  <a:cubicBezTo>
                    <a:pt x="15892" y="3442"/>
                    <a:pt x="15898" y="3445"/>
                    <a:pt x="15904" y="3448"/>
                  </a:cubicBezTo>
                  <a:cubicBezTo>
                    <a:pt x="15922" y="3457"/>
                    <a:pt x="15943" y="3466"/>
                    <a:pt x="15964" y="3478"/>
                  </a:cubicBezTo>
                  <a:cubicBezTo>
                    <a:pt x="15986" y="3494"/>
                    <a:pt x="16010" y="3509"/>
                    <a:pt x="16031" y="3524"/>
                  </a:cubicBezTo>
                  <a:cubicBezTo>
                    <a:pt x="16046" y="3536"/>
                    <a:pt x="16058" y="3551"/>
                    <a:pt x="16073" y="3563"/>
                  </a:cubicBezTo>
                  <a:cubicBezTo>
                    <a:pt x="16085" y="3575"/>
                    <a:pt x="16100" y="3590"/>
                    <a:pt x="16112" y="3605"/>
                  </a:cubicBezTo>
                  <a:cubicBezTo>
                    <a:pt x="16294" y="3829"/>
                    <a:pt x="16279" y="4158"/>
                    <a:pt x="16073" y="4363"/>
                  </a:cubicBezTo>
                  <a:lnTo>
                    <a:pt x="13054" y="7383"/>
                  </a:lnTo>
                  <a:cubicBezTo>
                    <a:pt x="12939" y="7232"/>
                    <a:pt x="12815" y="7090"/>
                    <a:pt x="12682" y="6954"/>
                  </a:cubicBezTo>
                  <a:cubicBezTo>
                    <a:pt x="12546" y="6821"/>
                    <a:pt x="12405" y="6697"/>
                    <a:pt x="12254" y="6582"/>
                  </a:cubicBezTo>
                  <a:lnTo>
                    <a:pt x="15273" y="3563"/>
                  </a:lnTo>
                  <a:cubicBezTo>
                    <a:pt x="15380" y="3456"/>
                    <a:pt x="15523" y="3398"/>
                    <a:pt x="15671" y="3398"/>
                  </a:cubicBezTo>
                  <a:close/>
                  <a:moveTo>
                    <a:pt x="9887" y="9183"/>
                  </a:moveTo>
                  <a:cubicBezTo>
                    <a:pt x="10031" y="9183"/>
                    <a:pt x="10176" y="9238"/>
                    <a:pt x="10288" y="9348"/>
                  </a:cubicBezTo>
                  <a:cubicBezTo>
                    <a:pt x="10511" y="9575"/>
                    <a:pt x="10508" y="9937"/>
                    <a:pt x="10279" y="10157"/>
                  </a:cubicBezTo>
                  <a:cubicBezTo>
                    <a:pt x="10169" y="10268"/>
                    <a:pt x="10024" y="10323"/>
                    <a:pt x="9879" y="10323"/>
                  </a:cubicBezTo>
                  <a:cubicBezTo>
                    <a:pt x="9734" y="10323"/>
                    <a:pt x="9589" y="10268"/>
                    <a:pt x="9479" y="10157"/>
                  </a:cubicBezTo>
                  <a:cubicBezTo>
                    <a:pt x="9258" y="9937"/>
                    <a:pt x="9258" y="9578"/>
                    <a:pt x="9479" y="9357"/>
                  </a:cubicBezTo>
                  <a:cubicBezTo>
                    <a:pt x="9590" y="9241"/>
                    <a:pt x="9739" y="9183"/>
                    <a:pt x="9887" y="9183"/>
                  </a:cubicBezTo>
                  <a:close/>
                  <a:moveTo>
                    <a:pt x="15746" y="1062"/>
                  </a:moveTo>
                  <a:cubicBezTo>
                    <a:pt x="16469" y="1062"/>
                    <a:pt x="17193" y="1337"/>
                    <a:pt x="17746" y="1890"/>
                  </a:cubicBezTo>
                  <a:cubicBezTo>
                    <a:pt x="18878" y="3022"/>
                    <a:pt x="18845" y="4870"/>
                    <a:pt x="17673" y="5963"/>
                  </a:cubicBezTo>
                  <a:lnTo>
                    <a:pt x="11879" y="11758"/>
                  </a:lnTo>
                  <a:cubicBezTo>
                    <a:pt x="11337" y="12300"/>
                    <a:pt x="10612" y="12586"/>
                    <a:pt x="9878" y="12586"/>
                  </a:cubicBezTo>
                  <a:cubicBezTo>
                    <a:pt x="9472" y="12586"/>
                    <a:pt x="9062" y="12499"/>
                    <a:pt x="8679" y="12319"/>
                  </a:cubicBezTo>
                  <a:lnTo>
                    <a:pt x="8663" y="12313"/>
                  </a:lnTo>
                  <a:cubicBezTo>
                    <a:pt x="8198" y="12093"/>
                    <a:pt x="7803" y="11746"/>
                    <a:pt x="7516" y="11317"/>
                  </a:cubicBezTo>
                  <a:lnTo>
                    <a:pt x="8346" y="10487"/>
                  </a:lnTo>
                  <a:cubicBezTo>
                    <a:pt x="8645" y="11113"/>
                    <a:pt x="9259" y="11453"/>
                    <a:pt x="9883" y="11453"/>
                  </a:cubicBezTo>
                  <a:cubicBezTo>
                    <a:pt x="10311" y="11453"/>
                    <a:pt x="10744" y="11293"/>
                    <a:pt x="11082" y="10955"/>
                  </a:cubicBezTo>
                  <a:lnTo>
                    <a:pt x="16873" y="5160"/>
                  </a:lnTo>
                  <a:cubicBezTo>
                    <a:pt x="17541" y="4514"/>
                    <a:pt x="17562" y="3448"/>
                    <a:pt x="16922" y="2775"/>
                  </a:cubicBezTo>
                  <a:cubicBezTo>
                    <a:pt x="16588" y="2423"/>
                    <a:pt x="16140" y="2245"/>
                    <a:pt x="15690" y="2245"/>
                  </a:cubicBezTo>
                  <a:cubicBezTo>
                    <a:pt x="15275" y="2245"/>
                    <a:pt x="14860" y="2395"/>
                    <a:pt x="14533" y="2699"/>
                  </a:cubicBezTo>
                  <a:cubicBezTo>
                    <a:pt x="14512" y="2718"/>
                    <a:pt x="14491" y="2739"/>
                    <a:pt x="14470" y="2760"/>
                  </a:cubicBezTo>
                  <a:lnTo>
                    <a:pt x="11212" y="6021"/>
                  </a:lnTo>
                  <a:cubicBezTo>
                    <a:pt x="10783" y="5867"/>
                    <a:pt x="10333" y="5791"/>
                    <a:pt x="9877" y="5791"/>
                  </a:cubicBezTo>
                  <a:lnTo>
                    <a:pt x="9838" y="5791"/>
                  </a:lnTo>
                  <a:lnTo>
                    <a:pt x="13673" y="1963"/>
                  </a:lnTo>
                  <a:cubicBezTo>
                    <a:pt x="14232" y="1363"/>
                    <a:pt x="14988" y="1062"/>
                    <a:pt x="15746" y="1062"/>
                  </a:cubicBezTo>
                  <a:close/>
                  <a:moveTo>
                    <a:pt x="6707" y="12129"/>
                  </a:moveTo>
                  <a:cubicBezTo>
                    <a:pt x="6819" y="12283"/>
                    <a:pt x="6942" y="12425"/>
                    <a:pt x="7078" y="12558"/>
                  </a:cubicBezTo>
                  <a:cubicBezTo>
                    <a:pt x="7211" y="12694"/>
                    <a:pt x="7353" y="12818"/>
                    <a:pt x="7507" y="12932"/>
                  </a:cubicBezTo>
                  <a:lnTo>
                    <a:pt x="4675" y="15762"/>
                  </a:lnTo>
                  <a:cubicBezTo>
                    <a:pt x="4565" y="15872"/>
                    <a:pt x="4420" y="15927"/>
                    <a:pt x="4275" y="15927"/>
                  </a:cubicBezTo>
                  <a:cubicBezTo>
                    <a:pt x="4130" y="15927"/>
                    <a:pt x="3985" y="15872"/>
                    <a:pt x="3875" y="15762"/>
                  </a:cubicBezTo>
                  <a:cubicBezTo>
                    <a:pt x="3654" y="15541"/>
                    <a:pt x="3654" y="15182"/>
                    <a:pt x="3875" y="14961"/>
                  </a:cubicBezTo>
                  <a:lnTo>
                    <a:pt x="6707" y="12129"/>
                  </a:lnTo>
                  <a:close/>
                  <a:moveTo>
                    <a:pt x="9884" y="6926"/>
                  </a:moveTo>
                  <a:cubicBezTo>
                    <a:pt x="10290" y="6926"/>
                    <a:pt x="10698" y="7013"/>
                    <a:pt x="11082" y="7192"/>
                  </a:cubicBezTo>
                  <a:lnTo>
                    <a:pt x="11094" y="7198"/>
                  </a:lnTo>
                  <a:cubicBezTo>
                    <a:pt x="11562" y="7422"/>
                    <a:pt x="11958" y="7766"/>
                    <a:pt x="12242" y="8198"/>
                  </a:cubicBezTo>
                  <a:lnTo>
                    <a:pt x="11411" y="9028"/>
                  </a:lnTo>
                  <a:cubicBezTo>
                    <a:pt x="11112" y="8400"/>
                    <a:pt x="10499" y="8061"/>
                    <a:pt x="9877" y="8061"/>
                  </a:cubicBezTo>
                  <a:cubicBezTo>
                    <a:pt x="9448" y="8061"/>
                    <a:pt x="9016" y="8222"/>
                    <a:pt x="8679" y="8560"/>
                  </a:cubicBezTo>
                  <a:lnTo>
                    <a:pt x="3074" y="14161"/>
                  </a:lnTo>
                  <a:cubicBezTo>
                    <a:pt x="2410" y="14822"/>
                    <a:pt x="2410" y="15900"/>
                    <a:pt x="3074" y="16562"/>
                  </a:cubicBezTo>
                  <a:cubicBezTo>
                    <a:pt x="3405" y="16894"/>
                    <a:pt x="3840" y="17060"/>
                    <a:pt x="4275" y="17060"/>
                  </a:cubicBezTo>
                  <a:cubicBezTo>
                    <a:pt x="4710" y="17060"/>
                    <a:pt x="5144" y="16894"/>
                    <a:pt x="5475" y="16562"/>
                  </a:cubicBezTo>
                  <a:lnTo>
                    <a:pt x="8546" y="13491"/>
                  </a:lnTo>
                  <a:cubicBezTo>
                    <a:pt x="8974" y="13642"/>
                    <a:pt x="9424" y="13720"/>
                    <a:pt x="9880" y="13720"/>
                  </a:cubicBezTo>
                  <a:lnTo>
                    <a:pt x="9920" y="13720"/>
                  </a:lnTo>
                  <a:lnTo>
                    <a:pt x="6275" y="17362"/>
                  </a:lnTo>
                  <a:cubicBezTo>
                    <a:pt x="5716" y="17961"/>
                    <a:pt x="4960" y="18262"/>
                    <a:pt x="4202" y="18262"/>
                  </a:cubicBezTo>
                  <a:cubicBezTo>
                    <a:pt x="3479" y="18262"/>
                    <a:pt x="2755" y="17987"/>
                    <a:pt x="2202" y="17434"/>
                  </a:cubicBezTo>
                  <a:cubicBezTo>
                    <a:pt x="1070" y="16302"/>
                    <a:pt x="1103" y="14454"/>
                    <a:pt x="2274" y="13361"/>
                  </a:cubicBezTo>
                  <a:lnTo>
                    <a:pt x="7878" y="7757"/>
                  </a:lnTo>
                  <a:cubicBezTo>
                    <a:pt x="8422" y="7214"/>
                    <a:pt x="9147" y="6926"/>
                    <a:pt x="9884" y="6926"/>
                  </a:cubicBezTo>
                  <a:close/>
                  <a:moveTo>
                    <a:pt x="15673" y="1"/>
                  </a:moveTo>
                  <a:cubicBezTo>
                    <a:pt x="14659" y="1"/>
                    <a:pt x="13644" y="388"/>
                    <a:pt x="12870" y="1162"/>
                  </a:cubicBezTo>
                  <a:lnTo>
                    <a:pt x="7078" y="6957"/>
                  </a:lnTo>
                  <a:lnTo>
                    <a:pt x="1471" y="12561"/>
                  </a:lnTo>
                  <a:cubicBezTo>
                    <a:pt x="339" y="13693"/>
                    <a:pt x="1" y="15399"/>
                    <a:pt x="614" y="16879"/>
                  </a:cubicBezTo>
                  <a:cubicBezTo>
                    <a:pt x="1230" y="18358"/>
                    <a:pt x="2673" y="19324"/>
                    <a:pt x="4276" y="19324"/>
                  </a:cubicBezTo>
                  <a:cubicBezTo>
                    <a:pt x="4280" y="19325"/>
                    <a:pt x="4284" y="19325"/>
                    <a:pt x="4288" y="19325"/>
                  </a:cubicBezTo>
                  <a:cubicBezTo>
                    <a:pt x="5334" y="19325"/>
                    <a:pt x="6338" y="18908"/>
                    <a:pt x="7078" y="18165"/>
                  </a:cubicBezTo>
                  <a:lnTo>
                    <a:pt x="12682" y="12561"/>
                  </a:lnTo>
                  <a:lnTo>
                    <a:pt x="18477" y="6767"/>
                  </a:lnTo>
                  <a:cubicBezTo>
                    <a:pt x="20023" y="5221"/>
                    <a:pt x="20023" y="2711"/>
                    <a:pt x="18477" y="1162"/>
                  </a:cubicBezTo>
                  <a:cubicBezTo>
                    <a:pt x="17702" y="388"/>
                    <a:pt x="16688" y="1"/>
                    <a:pt x="156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89" name="Google Shape;6089;p71"/>
            <p:cNvSpPr/>
            <p:nvPr/>
          </p:nvSpPr>
          <p:spPr>
            <a:xfrm>
              <a:off x="4208775" y="588000"/>
              <a:ext cx="71125" cy="68350"/>
            </a:xfrm>
            <a:custGeom>
              <a:avLst/>
              <a:gdLst/>
              <a:ahLst/>
              <a:cxnLst/>
              <a:rect l="l" t="t" r="r" b="b"/>
              <a:pathLst>
                <a:path w="2845" h="2734" extrusionOk="0">
                  <a:moveTo>
                    <a:pt x="621" y="1"/>
                  </a:moveTo>
                  <a:cubicBezTo>
                    <a:pt x="476" y="1"/>
                    <a:pt x="331" y="56"/>
                    <a:pt x="221" y="166"/>
                  </a:cubicBezTo>
                  <a:cubicBezTo>
                    <a:pt x="0" y="387"/>
                    <a:pt x="0" y="746"/>
                    <a:pt x="221" y="966"/>
                  </a:cubicBezTo>
                  <a:lnTo>
                    <a:pt x="1821" y="2567"/>
                  </a:lnTo>
                  <a:cubicBezTo>
                    <a:pt x="1933" y="2677"/>
                    <a:pt x="2079" y="2733"/>
                    <a:pt x="2224" y="2733"/>
                  </a:cubicBezTo>
                  <a:cubicBezTo>
                    <a:pt x="2368" y="2733"/>
                    <a:pt x="2513" y="2678"/>
                    <a:pt x="2624" y="2567"/>
                  </a:cubicBezTo>
                  <a:cubicBezTo>
                    <a:pt x="2845" y="2346"/>
                    <a:pt x="2845" y="1987"/>
                    <a:pt x="2624" y="1767"/>
                  </a:cubicBezTo>
                  <a:lnTo>
                    <a:pt x="1021" y="166"/>
                  </a:ln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0" name="Google Shape;6090;p71"/>
            <p:cNvSpPr/>
            <p:nvPr/>
          </p:nvSpPr>
          <p:spPr>
            <a:xfrm>
              <a:off x="4228400" y="527925"/>
              <a:ext cx="91050" cy="48400"/>
            </a:xfrm>
            <a:custGeom>
              <a:avLst/>
              <a:gdLst/>
              <a:ahLst/>
              <a:cxnLst/>
              <a:rect l="l" t="t" r="r" b="b"/>
              <a:pathLst>
                <a:path w="3642" h="1936" extrusionOk="0">
                  <a:moveTo>
                    <a:pt x="636" y="0"/>
                  </a:moveTo>
                  <a:cubicBezTo>
                    <a:pt x="400" y="0"/>
                    <a:pt x="180" y="150"/>
                    <a:pt x="100" y="389"/>
                  </a:cubicBezTo>
                  <a:cubicBezTo>
                    <a:pt x="0" y="685"/>
                    <a:pt x="160" y="1005"/>
                    <a:pt x="459" y="1105"/>
                  </a:cubicBezTo>
                  <a:lnTo>
                    <a:pt x="2860" y="1905"/>
                  </a:lnTo>
                  <a:cubicBezTo>
                    <a:pt x="2917" y="1923"/>
                    <a:pt x="2977" y="1935"/>
                    <a:pt x="3038" y="1935"/>
                  </a:cubicBezTo>
                  <a:cubicBezTo>
                    <a:pt x="3316" y="1932"/>
                    <a:pt x="3554" y="1733"/>
                    <a:pt x="3596" y="1458"/>
                  </a:cubicBezTo>
                  <a:cubicBezTo>
                    <a:pt x="3642" y="1183"/>
                    <a:pt x="3482" y="918"/>
                    <a:pt x="3219" y="830"/>
                  </a:cubicBezTo>
                  <a:lnTo>
                    <a:pt x="816" y="30"/>
                  </a:lnTo>
                  <a:cubicBezTo>
                    <a:pt x="756" y="10"/>
                    <a:pt x="695" y="0"/>
                    <a:pt x="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1" name="Google Shape;6091;p71"/>
            <p:cNvSpPr/>
            <p:nvPr/>
          </p:nvSpPr>
          <p:spPr>
            <a:xfrm>
              <a:off x="4148300" y="608000"/>
              <a:ext cx="52050" cy="88600"/>
            </a:xfrm>
            <a:custGeom>
              <a:avLst/>
              <a:gdLst/>
              <a:ahLst/>
              <a:cxnLst/>
              <a:rect l="l" t="t" r="r" b="b"/>
              <a:pathLst>
                <a:path w="2082" h="3544" extrusionOk="0">
                  <a:moveTo>
                    <a:pt x="639" y="1"/>
                  </a:moveTo>
                  <a:cubicBezTo>
                    <a:pt x="580" y="1"/>
                    <a:pt x="519" y="10"/>
                    <a:pt x="460" y="31"/>
                  </a:cubicBezTo>
                  <a:cubicBezTo>
                    <a:pt x="161" y="127"/>
                    <a:pt x="1" y="450"/>
                    <a:pt x="100" y="746"/>
                  </a:cubicBezTo>
                  <a:lnTo>
                    <a:pt x="903" y="3150"/>
                  </a:lnTo>
                  <a:cubicBezTo>
                    <a:pt x="979" y="3390"/>
                    <a:pt x="1202" y="3544"/>
                    <a:pt x="1441" y="3544"/>
                  </a:cubicBezTo>
                  <a:cubicBezTo>
                    <a:pt x="1500" y="3544"/>
                    <a:pt x="1560" y="3535"/>
                    <a:pt x="1619" y="3515"/>
                  </a:cubicBezTo>
                  <a:cubicBezTo>
                    <a:pt x="1921" y="3415"/>
                    <a:pt x="2081" y="3089"/>
                    <a:pt x="1975" y="2790"/>
                  </a:cubicBezTo>
                  <a:lnTo>
                    <a:pt x="1175" y="390"/>
                  </a:lnTo>
                  <a:cubicBezTo>
                    <a:pt x="1096" y="151"/>
                    <a:pt x="875" y="1"/>
                    <a:pt x="6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2" name="Google Shape;6092;p71"/>
            <p:cNvSpPr/>
            <p:nvPr/>
          </p:nvSpPr>
          <p:spPr>
            <a:xfrm>
              <a:off x="3928725" y="307900"/>
              <a:ext cx="71200" cy="68375"/>
            </a:xfrm>
            <a:custGeom>
              <a:avLst/>
              <a:gdLst/>
              <a:ahLst/>
              <a:cxnLst/>
              <a:rect l="l" t="t" r="r" b="b"/>
              <a:pathLst>
                <a:path w="2848" h="2735" extrusionOk="0">
                  <a:moveTo>
                    <a:pt x="620" y="1"/>
                  </a:moveTo>
                  <a:cubicBezTo>
                    <a:pt x="475" y="1"/>
                    <a:pt x="330" y="57"/>
                    <a:pt x="221" y="168"/>
                  </a:cubicBezTo>
                  <a:cubicBezTo>
                    <a:pt x="3" y="385"/>
                    <a:pt x="0" y="739"/>
                    <a:pt x="214" y="962"/>
                  </a:cubicBezTo>
                  <a:lnTo>
                    <a:pt x="1815" y="2562"/>
                  </a:lnTo>
                  <a:cubicBezTo>
                    <a:pt x="1926" y="2677"/>
                    <a:pt x="2074" y="2734"/>
                    <a:pt x="2222" y="2734"/>
                  </a:cubicBezTo>
                  <a:cubicBezTo>
                    <a:pt x="2367" y="2734"/>
                    <a:pt x="2512" y="2679"/>
                    <a:pt x="2624" y="2569"/>
                  </a:cubicBezTo>
                  <a:cubicBezTo>
                    <a:pt x="2847" y="2345"/>
                    <a:pt x="2844" y="1983"/>
                    <a:pt x="2615" y="1762"/>
                  </a:cubicBezTo>
                  <a:lnTo>
                    <a:pt x="1015" y="162"/>
                  </a:lnTo>
                  <a:cubicBezTo>
                    <a:pt x="904" y="54"/>
                    <a:pt x="762" y="1"/>
                    <a:pt x="6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3" name="Google Shape;6093;p71"/>
            <p:cNvSpPr/>
            <p:nvPr/>
          </p:nvSpPr>
          <p:spPr>
            <a:xfrm>
              <a:off x="4008200" y="267675"/>
              <a:ext cx="51875" cy="88450"/>
            </a:xfrm>
            <a:custGeom>
              <a:avLst/>
              <a:gdLst/>
              <a:ahLst/>
              <a:cxnLst/>
              <a:rect l="l" t="t" r="r" b="b"/>
              <a:pathLst>
                <a:path w="2075" h="3538" extrusionOk="0">
                  <a:moveTo>
                    <a:pt x="636" y="1"/>
                  </a:moveTo>
                  <a:cubicBezTo>
                    <a:pt x="577" y="1"/>
                    <a:pt x="518" y="10"/>
                    <a:pt x="460" y="29"/>
                  </a:cubicBezTo>
                  <a:cubicBezTo>
                    <a:pt x="161" y="128"/>
                    <a:pt x="1" y="449"/>
                    <a:pt x="100" y="747"/>
                  </a:cubicBezTo>
                  <a:lnTo>
                    <a:pt x="900" y="3151"/>
                  </a:lnTo>
                  <a:cubicBezTo>
                    <a:pt x="979" y="3380"/>
                    <a:pt x="1193" y="3537"/>
                    <a:pt x="1438" y="3537"/>
                  </a:cubicBezTo>
                  <a:cubicBezTo>
                    <a:pt x="1498" y="3534"/>
                    <a:pt x="1559" y="3525"/>
                    <a:pt x="1619" y="3507"/>
                  </a:cubicBezTo>
                  <a:cubicBezTo>
                    <a:pt x="1915" y="3408"/>
                    <a:pt x="2075" y="3088"/>
                    <a:pt x="1975" y="2789"/>
                  </a:cubicBezTo>
                  <a:lnTo>
                    <a:pt x="1175" y="388"/>
                  </a:lnTo>
                  <a:cubicBezTo>
                    <a:pt x="1095" y="151"/>
                    <a:pt x="873" y="1"/>
                    <a:pt x="6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4" name="Google Shape;6094;p71"/>
            <p:cNvSpPr/>
            <p:nvPr/>
          </p:nvSpPr>
          <p:spPr>
            <a:xfrm>
              <a:off x="3888100" y="387825"/>
              <a:ext cx="91675" cy="48300"/>
            </a:xfrm>
            <a:custGeom>
              <a:avLst/>
              <a:gdLst/>
              <a:ahLst/>
              <a:cxnLst/>
              <a:rect l="l" t="t" r="r" b="b"/>
              <a:pathLst>
                <a:path w="3667" h="1932" extrusionOk="0">
                  <a:moveTo>
                    <a:pt x="636" y="0"/>
                  </a:moveTo>
                  <a:cubicBezTo>
                    <a:pt x="400" y="0"/>
                    <a:pt x="180" y="150"/>
                    <a:pt x="100" y="386"/>
                  </a:cubicBezTo>
                  <a:cubicBezTo>
                    <a:pt x="1" y="685"/>
                    <a:pt x="161" y="1005"/>
                    <a:pt x="460" y="1105"/>
                  </a:cubicBezTo>
                  <a:lnTo>
                    <a:pt x="2860" y="1905"/>
                  </a:lnTo>
                  <a:cubicBezTo>
                    <a:pt x="2917" y="1923"/>
                    <a:pt x="2975" y="1932"/>
                    <a:pt x="3032" y="1932"/>
                  </a:cubicBezTo>
                  <a:cubicBezTo>
                    <a:pt x="3270" y="1932"/>
                    <a:pt x="3492" y="1781"/>
                    <a:pt x="3570" y="1543"/>
                  </a:cubicBezTo>
                  <a:cubicBezTo>
                    <a:pt x="3666" y="1250"/>
                    <a:pt x="3512" y="933"/>
                    <a:pt x="3219" y="830"/>
                  </a:cubicBezTo>
                  <a:lnTo>
                    <a:pt x="816" y="30"/>
                  </a:lnTo>
                  <a:cubicBezTo>
                    <a:pt x="756" y="10"/>
                    <a:pt x="696" y="0"/>
                    <a:pt x="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095" name="Google Shape;6095;p71"/>
          <p:cNvSpPr/>
          <p:nvPr/>
        </p:nvSpPr>
        <p:spPr>
          <a:xfrm>
            <a:off x="4462795" y="3049513"/>
            <a:ext cx="469940" cy="453488"/>
          </a:xfrm>
          <a:custGeom>
            <a:avLst/>
            <a:gdLst/>
            <a:ahLst/>
            <a:cxnLst/>
            <a:rect l="l" t="t" r="r" b="b"/>
            <a:pathLst>
              <a:path w="20023" h="19322" extrusionOk="0">
                <a:moveTo>
                  <a:pt x="15673" y="3395"/>
                </a:moveTo>
                <a:cubicBezTo>
                  <a:pt x="15818" y="3395"/>
                  <a:pt x="15963" y="3450"/>
                  <a:pt x="16073" y="3560"/>
                </a:cubicBezTo>
                <a:cubicBezTo>
                  <a:pt x="16294" y="3780"/>
                  <a:pt x="16294" y="4140"/>
                  <a:pt x="16073" y="4360"/>
                </a:cubicBezTo>
                <a:lnTo>
                  <a:pt x="13054" y="7380"/>
                </a:lnTo>
                <a:cubicBezTo>
                  <a:pt x="12939" y="7229"/>
                  <a:pt x="12815" y="7087"/>
                  <a:pt x="12682" y="6951"/>
                </a:cubicBezTo>
                <a:cubicBezTo>
                  <a:pt x="12547" y="6818"/>
                  <a:pt x="12405" y="6694"/>
                  <a:pt x="12254" y="6579"/>
                </a:cubicBezTo>
                <a:lnTo>
                  <a:pt x="15273" y="3560"/>
                </a:lnTo>
                <a:cubicBezTo>
                  <a:pt x="15383" y="3450"/>
                  <a:pt x="15528" y="3395"/>
                  <a:pt x="15673" y="3395"/>
                </a:cubicBezTo>
                <a:close/>
                <a:moveTo>
                  <a:pt x="9879" y="9187"/>
                </a:moveTo>
                <a:cubicBezTo>
                  <a:pt x="10024" y="9187"/>
                  <a:pt x="10169" y="9243"/>
                  <a:pt x="10279" y="9354"/>
                </a:cubicBezTo>
                <a:cubicBezTo>
                  <a:pt x="10635" y="9711"/>
                  <a:pt x="10385" y="10321"/>
                  <a:pt x="9880" y="10321"/>
                </a:cubicBezTo>
                <a:cubicBezTo>
                  <a:pt x="9376" y="10321"/>
                  <a:pt x="9123" y="9711"/>
                  <a:pt x="9479" y="9354"/>
                </a:cubicBezTo>
                <a:cubicBezTo>
                  <a:pt x="9589" y="9243"/>
                  <a:pt x="9734" y="9187"/>
                  <a:pt x="9879" y="9187"/>
                </a:cubicBezTo>
                <a:close/>
                <a:moveTo>
                  <a:pt x="15746" y="1059"/>
                </a:moveTo>
                <a:cubicBezTo>
                  <a:pt x="16469" y="1059"/>
                  <a:pt x="17193" y="1334"/>
                  <a:pt x="17746" y="1887"/>
                </a:cubicBezTo>
                <a:cubicBezTo>
                  <a:pt x="18878" y="3019"/>
                  <a:pt x="18845" y="4867"/>
                  <a:pt x="17674" y="5960"/>
                </a:cubicBezTo>
                <a:lnTo>
                  <a:pt x="11882" y="11755"/>
                </a:lnTo>
                <a:cubicBezTo>
                  <a:pt x="11323" y="12314"/>
                  <a:pt x="10601" y="12585"/>
                  <a:pt x="9883" y="12585"/>
                </a:cubicBezTo>
                <a:cubicBezTo>
                  <a:pt x="8973" y="12585"/>
                  <a:pt x="8071" y="12149"/>
                  <a:pt x="7519" y="11314"/>
                </a:cubicBezTo>
                <a:lnTo>
                  <a:pt x="8350" y="10487"/>
                </a:lnTo>
                <a:cubicBezTo>
                  <a:pt x="8649" y="11113"/>
                  <a:pt x="9263" y="11453"/>
                  <a:pt x="9886" y="11453"/>
                </a:cubicBezTo>
                <a:cubicBezTo>
                  <a:pt x="10313" y="11453"/>
                  <a:pt x="10745" y="11293"/>
                  <a:pt x="11082" y="10955"/>
                </a:cubicBezTo>
                <a:lnTo>
                  <a:pt x="16876" y="5160"/>
                </a:lnTo>
                <a:cubicBezTo>
                  <a:pt x="17538" y="4499"/>
                  <a:pt x="17538" y="3421"/>
                  <a:pt x="16876" y="2760"/>
                </a:cubicBezTo>
                <a:cubicBezTo>
                  <a:pt x="16544" y="2428"/>
                  <a:pt x="16110" y="2262"/>
                  <a:pt x="15675" y="2262"/>
                </a:cubicBezTo>
                <a:cubicBezTo>
                  <a:pt x="15240" y="2262"/>
                  <a:pt x="14805" y="2428"/>
                  <a:pt x="14473" y="2760"/>
                </a:cubicBezTo>
                <a:lnTo>
                  <a:pt x="11212" y="6021"/>
                </a:lnTo>
                <a:cubicBezTo>
                  <a:pt x="10787" y="5872"/>
                  <a:pt x="10339" y="5794"/>
                  <a:pt x="9888" y="5794"/>
                </a:cubicBezTo>
                <a:cubicBezTo>
                  <a:pt x="9872" y="5794"/>
                  <a:pt x="9855" y="5794"/>
                  <a:pt x="9838" y="5794"/>
                </a:cubicBezTo>
                <a:lnTo>
                  <a:pt x="13673" y="1960"/>
                </a:lnTo>
                <a:cubicBezTo>
                  <a:pt x="14232" y="1360"/>
                  <a:pt x="14988" y="1059"/>
                  <a:pt x="15746" y="1059"/>
                </a:cubicBezTo>
                <a:close/>
                <a:moveTo>
                  <a:pt x="6707" y="12126"/>
                </a:moveTo>
                <a:cubicBezTo>
                  <a:pt x="6819" y="12280"/>
                  <a:pt x="6943" y="12422"/>
                  <a:pt x="7078" y="12555"/>
                </a:cubicBezTo>
                <a:cubicBezTo>
                  <a:pt x="7211" y="12691"/>
                  <a:pt x="7356" y="12815"/>
                  <a:pt x="7507" y="12929"/>
                </a:cubicBezTo>
                <a:lnTo>
                  <a:pt x="4675" y="15759"/>
                </a:lnTo>
                <a:cubicBezTo>
                  <a:pt x="4565" y="15869"/>
                  <a:pt x="4420" y="15924"/>
                  <a:pt x="4275" y="15924"/>
                </a:cubicBezTo>
                <a:cubicBezTo>
                  <a:pt x="4130" y="15924"/>
                  <a:pt x="3985" y="15869"/>
                  <a:pt x="3875" y="15759"/>
                </a:cubicBezTo>
                <a:cubicBezTo>
                  <a:pt x="3654" y="15538"/>
                  <a:pt x="3654" y="15179"/>
                  <a:pt x="3875" y="14958"/>
                </a:cubicBezTo>
                <a:lnTo>
                  <a:pt x="6707" y="12126"/>
                </a:lnTo>
                <a:close/>
                <a:moveTo>
                  <a:pt x="9878" y="6924"/>
                </a:moveTo>
                <a:cubicBezTo>
                  <a:pt x="10788" y="6924"/>
                  <a:pt x="11690" y="7359"/>
                  <a:pt x="12242" y="8195"/>
                </a:cubicBezTo>
                <a:lnTo>
                  <a:pt x="11414" y="9022"/>
                </a:lnTo>
                <a:cubicBezTo>
                  <a:pt x="11114" y="8396"/>
                  <a:pt x="10500" y="8056"/>
                  <a:pt x="9877" y="8056"/>
                </a:cubicBezTo>
                <a:cubicBezTo>
                  <a:pt x="9449" y="8056"/>
                  <a:pt x="9017" y="8216"/>
                  <a:pt x="8679" y="8554"/>
                </a:cubicBezTo>
                <a:lnTo>
                  <a:pt x="3075" y="14158"/>
                </a:lnTo>
                <a:cubicBezTo>
                  <a:pt x="2410" y="14819"/>
                  <a:pt x="2410" y="15897"/>
                  <a:pt x="3075" y="16559"/>
                </a:cubicBezTo>
                <a:cubicBezTo>
                  <a:pt x="3407" y="16891"/>
                  <a:pt x="3842" y="17057"/>
                  <a:pt x="4276" y="17057"/>
                </a:cubicBezTo>
                <a:cubicBezTo>
                  <a:pt x="4710" y="17057"/>
                  <a:pt x="5144" y="16891"/>
                  <a:pt x="5475" y="16559"/>
                </a:cubicBezTo>
                <a:lnTo>
                  <a:pt x="8549" y="13488"/>
                </a:lnTo>
                <a:cubicBezTo>
                  <a:pt x="8978" y="13639"/>
                  <a:pt x="9428" y="13714"/>
                  <a:pt x="9880" y="13714"/>
                </a:cubicBezTo>
                <a:lnTo>
                  <a:pt x="9923" y="13714"/>
                </a:lnTo>
                <a:lnTo>
                  <a:pt x="6275" y="17359"/>
                </a:lnTo>
                <a:cubicBezTo>
                  <a:pt x="5716" y="17958"/>
                  <a:pt x="4960" y="18259"/>
                  <a:pt x="4202" y="18259"/>
                </a:cubicBezTo>
                <a:cubicBezTo>
                  <a:pt x="3479" y="18259"/>
                  <a:pt x="2755" y="17984"/>
                  <a:pt x="2202" y="17431"/>
                </a:cubicBezTo>
                <a:cubicBezTo>
                  <a:pt x="1070" y="16299"/>
                  <a:pt x="1103" y="14451"/>
                  <a:pt x="2274" y="13358"/>
                </a:cubicBezTo>
                <a:lnTo>
                  <a:pt x="7879" y="7754"/>
                </a:lnTo>
                <a:cubicBezTo>
                  <a:pt x="8438" y="7195"/>
                  <a:pt x="9160" y="6924"/>
                  <a:pt x="9878" y="6924"/>
                </a:cubicBezTo>
                <a:close/>
                <a:moveTo>
                  <a:pt x="15672" y="0"/>
                </a:moveTo>
                <a:cubicBezTo>
                  <a:pt x="14657" y="0"/>
                  <a:pt x="13643" y="387"/>
                  <a:pt x="12870" y="1159"/>
                </a:cubicBezTo>
                <a:lnTo>
                  <a:pt x="7075" y="6954"/>
                </a:lnTo>
                <a:lnTo>
                  <a:pt x="1474" y="12555"/>
                </a:lnTo>
                <a:cubicBezTo>
                  <a:pt x="339" y="13690"/>
                  <a:pt x="1" y="15393"/>
                  <a:pt x="614" y="16876"/>
                </a:cubicBezTo>
                <a:cubicBezTo>
                  <a:pt x="1227" y="18355"/>
                  <a:pt x="2673" y="19321"/>
                  <a:pt x="4276" y="19321"/>
                </a:cubicBezTo>
                <a:cubicBezTo>
                  <a:pt x="4280" y="19322"/>
                  <a:pt x="4284" y="19322"/>
                  <a:pt x="4288" y="19322"/>
                </a:cubicBezTo>
                <a:cubicBezTo>
                  <a:pt x="5334" y="19322"/>
                  <a:pt x="6338" y="18905"/>
                  <a:pt x="7078" y="18162"/>
                </a:cubicBezTo>
                <a:lnTo>
                  <a:pt x="12679" y="12558"/>
                </a:lnTo>
                <a:lnTo>
                  <a:pt x="18474" y="6767"/>
                </a:lnTo>
                <a:cubicBezTo>
                  <a:pt x="20023" y="5218"/>
                  <a:pt x="20023" y="2708"/>
                  <a:pt x="18474" y="1159"/>
                </a:cubicBezTo>
                <a:cubicBezTo>
                  <a:pt x="17701" y="387"/>
                  <a:pt x="16686" y="0"/>
                  <a:pt x="156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096" name="Google Shape;6096;p71"/>
          <p:cNvGrpSpPr/>
          <p:nvPr/>
        </p:nvGrpSpPr>
        <p:grpSpPr>
          <a:xfrm>
            <a:off x="5035198" y="3049553"/>
            <a:ext cx="453581" cy="453488"/>
            <a:chOff x="5053900" y="238200"/>
            <a:chExt cx="483150" cy="483050"/>
          </a:xfrm>
        </p:grpSpPr>
        <p:sp>
          <p:nvSpPr>
            <p:cNvPr id="6097" name="Google Shape;6097;p71"/>
            <p:cNvSpPr/>
            <p:nvPr/>
          </p:nvSpPr>
          <p:spPr>
            <a:xfrm>
              <a:off x="5053900" y="238200"/>
              <a:ext cx="483150" cy="483050"/>
            </a:xfrm>
            <a:custGeom>
              <a:avLst/>
              <a:gdLst/>
              <a:ahLst/>
              <a:cxnLst/>
              <a:rect l="l" t="t" r="r" b="b"/>
              <a:pathLst>
                <a:path w="19326" h="19322" extrusionOk="0">
                  <a:moveTo>
                    <a:pt x="11363" y="1929"/>
                  </a:moveTo>
                  <a:lnTo>
                    <a:pt x="12825" y="3394"/>
                  </a:lnTo>
                  <a:lnTo>
                    <a:pt x="11363" y="3394"/>
                  </a:lnTo>
                  <a:lnTo>
                    <a:pt x="11363" y="1929"/>
                  </a:lnTo>
                  <a:close/>
                  <a:moveTo>
                    <a:pt x="4569" y="4526"/>
                  </a:moveTo>
                  <a:lnTo>
                    <a:pt x="4569" y="5698"/>
                  </a:lnTo>
                  <a:lnTo>
                    <a:pt x="3437" y="5698"/>
                  </a:lnTo>
                  <a:lnTo>
                    <a:pt x="3437" y="4958"/>
                  </a:lnTo>
                  <a:cubicBezTo>
                    <a:pt x="3437" y="4719"/>
                    <a:pt x="3627" y="4526"/>
                    <a:pt x="3866" y="4526"/>
                  </a:cubicBezTo>
                  <a:close/>
                  <a:moveTo>
                    <a:pt x="15461" y="4526"/>
                  </a:moveTo>
                  <a:cubicBezTo>
                    <a:pt x="15699" y="4526"/>
                    <a:pt x="15889" y="4719"/>
                    <a:pt x="15892" y="4958"/>
                  </a:cubicBezTo>
                  <a:lnTo>
                    <a:pt x="15892" y="5698"/>
                  </a:lnTo>
                  <a:lnTo>
                    <a:pt x="14760" y="5698"/>
                  </a:lnTo>
                  <a:lnTo>
                    <a:pt x="14760" y="4526"/>
                  </a:lnTo>
                  <a:close/>
                  <a:moveTo>
                    <a:pt x="10231" y="1129"/>
                  </a:moveTo>
                  <a:lnTo>
                    <a:pt x="10231" y="3962"/>
                  </a:lnTo>
                  <a:cubicBezTo>
                    <a:pt x="10231" y="4273"/>
                    <a:pt x="10481" y="4526"/>
                    <a:pt x="10795" y="4526"/>
                  </a:cubicBezTo>
                  <a:lnTo>
                    <a:pt x="13628" y="4526"/>
                  </a:lnTo>
                  <a:lnTo>
                    <a:pt x="13628" y="6830"/>
                  </a:lnTo>
                  <a:lnTo>
                    <a:pt x="5702" y="6830"/>
                  </a:lnTo>
                  <a:lnTo>
                    <a:pt x="5702" y="1129"/>
                  </a:lnTo>
                  <a:close/>
                  <a:moveTo>
                    <a:pt x="17628" y="6830"/>
                  </a:moveTo>
                  <a:cubicBezTo>
                    <a:pt x="17939" y="6830"/>
                    <a:pt x="18193" y="7081"/>
                    <a:pt x="18193" y="7395"/>
                  </a:cubicBezTo>
                  <a:lnTo>
                    <a:pt x="18193" y="14188"/>
                  </a:lnTo>
                  <a:cubicBezTo>
                    <a:pt x="18193" y="14502"/>
                    <a:pt x="17939" y="14756"/>
                    <a:pt x="17628" y="14756"/>
                  </a:cubicBezTo>
                  <a:lnTo>
                    <a:pt x="14760" y="14756"/>
                  </a:lnTo>
                  <a:lnTo>
                    <a:pt x="14760" y="12491"/>
                  </a:lnTo>
                  <a:lnTo>
                    <a:pt x="15325" y="12491"/>
                  </a:lnTo>
                  <a:cubicBezTo>
                    <a:pt x="15639" y="12491"/>
                    <a:pt x="15889" y="12238"/>
                    <a:pt x="15889" y="11924"/>
                  </a:cubicBezTo>
                  <a:cubicBezTo>
                    <a:pt x="15889" y="11610"/>
                    <a:pt x="15639" y="11359"/>
                    <a:pt x="15325" y="11359"/>
                  </a:cubicBezTo>
                  <a:lnTo>
                    <a:pt x="4002" y="11359"/>
                  </a:lnTo>
                  <a:cubicBezTo>
                    <a:pt x="3688" y="11359"/>
                    <a:pt x="3437" y="11610"/>
                    <a:pt x="3437" y="11924"/>
                  </a:cubicBezTo>
                  <a:cubicBezTo>
                    <a:pt x="3437" y="12238"/>
                    <a:pt x="3688" y="12491"/>
                    <a:pt x="4002" y="12491"/>
                  </a:cubicBezTo>
                  <a:lnTo>
                    <a:pt x="4569" y="12491"/>
                  </a:lnTo>
                  <a:lnTo>
                    <a:pt x="4569" y="14756"/>
                  </a:lnTo>
                  <a:lnTo>
                    <a:pt x="1701" y="14756"/>
                  </a:lnTo>
                  <a:cubicBezTo>
                    <a:pt x="1387" y="14756"/>
                    <a:pt x="1133" y="14502"/>
                    <a:pt x="1133" y="14188"/>
                  </a:cubicBezTo>
                  <a:lnTo>
                    <a:pt x="1133" y="7395"/>
                  </a:lnTo>
                  <a:cubicBezTo>
                    <a:pt x="1133" y="7081"/>
                    <a:pt x="1387" y="6830"/>
                    <a:pt x="1701" y="6830"/>
                  </a:cubicBezTo>
                  <a:lnTo>
                    <a:pt x="4569" y="6830"/>
                  </a:lnTo>
                  <a:lnTo>
                    <a:pt x="4569" y="7395"/>
                  </a:lnTo>
                  <a:cubicBezTo>
                    <a:pt x="4569" y="7709"/>
                    <a:pt x="4820" y="7962"/>
                    <a:pt x="5134" y="7962"/>
                  </a:cubicBezTo>
                  <a:lnTo>
                    <a:pt x="14192" y="7962"/>
                  </a:lnTo>
                  <a:cubicBezTo>
                    <a:pt x="14506" y="7962"/>
                    <a:pt x="14760" y="7709"/>
                    <a:pt x="14760" y="7395"/>
                  </a:cubicBezTo>
                  <a:lnTo>
                    <a:pt x="14760" y="6830"/>
                  </a:lnTo>
                  <a:close/>
                  <a:moveTo>
                    <a:pt x="13628" y="12491"/>
                  </a:moveTo>
                  <a:lnTo>
                    <a:pt x="13628" y="18189"/>
                  </a:lnTo>
                  <a:lnTo>
                    <a:pt x="5702" y="18189"/>
                  </a:lnTo>
                  <a:lnTo>
                    <a:pt x="5702" y="12491"/>
                  </a:lnTo>
                  <a:close/>
                  <a:moveTo>
                    <a:pt x="5134" y="0"/>
                  </a:moveTo>
                  <a:cubicBezTo>
                    <a:pt x="4820" y="0"/>
                    <a:pt x="4569" y="254"/>
                    <a:pt x="4569" y="568"/>
                  </a:cubicBezTo>
                  <a:lnTo>
                    <a:pt x="4569" y="3394"/>
                  </a:lnTo>
                  <a:lnTo>
                    <a:pt x="3866" y="3394"/>
                  </a:lnTo>
                  <a:cubicBezTo>
                    <a:pt x="3002" y="3394"/>
                    <a:pt x="2305" y="4094"/>
                    <a:pt x="2305" y="4958"/>
                  </a:cubicBezTo>
                  <a:lnTo>
                    <a:pt x="2305" y="5698"/>
                  </a:lnTo>
                  <a:lnTo>
                    <a:pt x="1701" y="5698"/>
                  </a:lnTo>
                  <a:cubicBezTo>
                    <a:pt x="762" y="5698"/>
                    <a:pt x="1" y="6456"/>
                    <a:pt x="1" y="7395"/>
                  </a:cubicBezTo>
                  <a:lnTo>
                    <a:pt x="1" y="14188"/>
                  </a:lnTo>
                  <a:cubicBezTo>
                    <a:pt x="1" y="15127"/>
                    <a:pt x="762" y="15885"/>
                    <a:pt x="1701" y="15888"/>
                  </a:cubicBezTo>
                  <a:lnTo>
                    <a:pt x="4569" y="15888"/>
                  </a:lnTo>
                  <a:lnTo>
                    <a:pt x="4569" y="18757"/>
                  </a:lnTo>
                  <a:cubicBezTo>
                    <a:pt x="4569" y="19068"/>
                    <a:pt x="4820" y="19321"/>
                    <a:pt x="5134" y="19321"/>
                  </a:cubicBezTo>
                  <a:lnTo>
                    <a:pt x="14192" y="19321"/>
                  </a:lnTo>
                  <a:cubicBezTo>
                    <a:pt x="14506" y="19321"/>
                    <a:pt x="14760" y="19068"/>
                    <a:pt x="14760" y="18757"/>
                  </a:cubicBezTo>
                  <a:lnTo>
                    <a:pt x="14760" y="15888"/>
                  </a:lnTo>
                  <a:lnTo>
                    <a:pt x="17628" y="15888"/>
                  </a:lnTo>
                  <a:cubicBezTo>
                    <a:pt x="18565" y="15885"/>
                    <a:pt x="19325" y="15127"/>
                    <a:pt x="19325" y="14188"/>
                  </a:cubicBezTo>
                  <a:lnTo>
                    <a:pt x="19325" y="7395"/>
                  </a:lnTo>
                  <a:cubicBezTo>
                    <a:pt x="19325" y="6456"/>
                    <a:pt x="18565" y="5698"/>
                    <a:pt x="17628" y="5698"/>
                  </a:cubicBezTo>
                  <a:lnTo>
                    <a:pt x="17025" y="5698"/>
                  </a:lnTo>
                  <a:lnTo>
                    <a:pt x="17025" y="4958"/>
                  </a:lnTo>
                  <a:cubicBezTo>
                    <a:pt x="17022" y="4094"/>
                    <a:pt x="16324" y="3394"/>
                    <a:pt x="15461" y="3394"/>
                  </a:cubicBezTo>
                  <a:lnTo>
                    <a:pt x="14428" y="3394"/>
                  </a:lnTo>
                  <a:lnTo>
                    <a:pt x="11197" y="163"/>
                  </a:lnTo>
                  <a:cubicBezTo>
                    <a:pt x="11185" y="151"/>
                    <a:pt x="11173" y="142"/>
                    <a:pt x="11158" y="130"/>
                  </a:cubicBezTo>
                  <a:lnTo>
                    <a:pt x="11146" y="121"/>
                  </a:lnTo>
                  <a:lnTo>
                    <a:pt x="11119" y="100"/>
                  </a:lnTo>
                  <a:lnTo>
                    <a:pt x="11103" y="91"/>
                  </a:lnTo>
                  <a:cubicBezTo>
                    <a:pt x="11094" y="85"/>
                    <a:pt x="11085" y="79"/>
                    <a:pt x="11073" y="72"/>
                  </a:cubicBezTo>
                  <a:lnTo>
                    <a:pt x="11061" y="63"/>
                  </a:lnTo>
                  <a:cubicBezTo>
                    <a:pt x="11049" y="57"/>
                    <a:pt x="11034" y="51"/>
                    <a:pt x="11019" y="45"/>
                  </a:cubicBezTo>
                  <a:lnTo>
                    <a:pt x="11001" y="36"/>
                  </a:lnTo>
                  <a:cubicBezTo>
                    <a:pt x="10992" y="33"/>
                    <a:pt x="10983" y="30"/>
                    <a:pt x="10974" y="27"/>
                  </a:cubicBezTo>
                  <a:lnTo>
                    <a:pt x="10952" y="21"/>
                  </a:lnTo>
                  <a:cubicBezTo>
                    <a:pt x="10943" y="18"/>
                    <a:pt x="10931" y="15"/>
                    <a:pt x="10919" y="12"/>
                  </a:cubicBezTo>
                  <a:lnTo>
                    <a:pt x="10907" y="9"/>
                  </a:lnTo>
                  <a:cubicBezTo>
                    <a:pt x="10889" y="6"/>
                    <a:pt x="10874" y="3"/>
                    <a:pt x="108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8" name="Google Shape;6098;p71"/>
            <p:cNvSpPr/>
            <p:nvPr/>
          </p:nvSpPr>
          <p:spPr>
            <a:xfrm>
              <a:off x="5422900" y="465550"/>
              <a:ext cx="56550" cy="28325"/>
            </a:xfrm>
            <a:custGeom>
              <a:avLst/>
              <a:gdLst/>
              <a:ahLst/>
              <a:cxnLst/>
              <a:rect l="l" t="t" r="r" b="b"/>
              <a:pathLst>
                <a:path w="2262" h="1133" extrusionOk="0">
                  <a:moveTo>
                    <a:pt x="565" y="1"/>
                  </a:moveTo>
                  <a:cubicBezTo>
                    <a:pt x="251" y="1"/>
                    <a:pt x="0" y="251"/>
                    <a:pt x="0" y="565"/>
                  </a:cubicBezTo>
                  <a:cubicBezTo>
                    <a:pt x="0" y="879"/>
                    <a:pt x="251" y="1133"/>
                    <a:pt x="565" y="1133"/>
                  </a:cubicBezTo>
                  <a:lnTo>
                    <a:pt x="1697" y="1133"/>
                  </a:lnTo>
                  <a:cubicBezTo>
                    <a:pt x="2011" y="1133"/>
                    <a:pt x="2262" y="879"/>
                    <a:pt x="2262" y="565"/>
                  </a:cubicBezTo>
                  <a:cubicBezTo>
                    <a:pt x="2262" y="251"/>
                    <a:pt x="2011" y="1"/>
                    <a:pt x="16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099" name="Google Shape;6099;p71"/>
            <p:cNvSpPr/>
            <p:nvPr/>
          </p:nvSpPr>
          <p:spPr>
            <a:xfrm>
              <a:off x="5224725" y="578775"/>
              <a:ext cx="141500" cy="28350"/>
            </a:xfrm>
            <a:custGeom>
              <a:avLst/>
              <a:gdLst/>
              <a:ahLst/>
              <a:cxnLst/>
              <a:rect l="l" t="t" r="r" b="b"/>
              <a:pathLst>
                <a:path w="5660" h="1134" extrusionOk="0">
                  <a:moveTo>
                    <a:pt x="566" y="1"/>
                  </a:moveTo>
                  <a:cubicBezTo>
                    <a:pt x="252" y="1"/>
                    <a:pt x="1" y="251"/>
                    <a:pt x="1" y="565"/>
                  </a:cubicBezTo>
                  <a:cubicBezTo>
                    <a:pt x="1" y="879"/>
                    <a:pt x="252" y="1133"/>
                    <a:pt x="566" y="1133"/>
                  </a:cubicBezTo>
                  <a:lnTo>
                    <a:pt x="5095" y="1133"/>
                  </a:lnTo>
                  <a:cubicBezTo>
                    <a:pt x="5409" y="1133"/>
                    <a:pt x="5659" y="879"/>
                    <a:pt x="5659" y="565"/>
                  </a:cubicBezTo>
                  <a:cubicBezTo>
                    <a:pt x="5659" y="251"/>
                    <a:pt x="5409" y="1"/>
                    <a:pt x="50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0" name="Google Shape;6100;p71"/>
            <p:cNvSpPr/>
            <p:nvPr/>
          </p:nvSpPr>
          <p:spPr>
            <a:xfrm>
              <a:off x="5224725" y="635400"/>
              <a:ext cx="141500" cy="28325"/>
            </a:xfrm>
            <a:custGeom>
              <a:avLst/>
              <a:gdLst/>
              <a:ahLst/>
              <a:cxnLst/>
              <a:rect l="l" t="t" r="r" b="b"/>
              <a:pathLst>
                <a:path w="5660" h="1133" extrusionOk="0">
                  <a:moveTo>
                    <a:pt x="566" y="0"/>
                  </a:moveTo>
                  <a:cubicBezTo>
                    <a:pt x="252" y="0"/>
                    <a:pt x="1" y="251"/>
                    <a:pt x="1" y="565"/>
                  </a:cubicBezTo>
                  <a:cubicBezTo>
                    <a:pt x="1" y="879"/>
                    <a:pt x="252" y="1133"/>
                    <a:pt x="566" y="1133"/>
                  </a:cubicBezTo>
                  <a:lnTo>
                    <a:pt x="5095" y="1133"/>
                  </a:lnTo>
                  <a:cubicBezTo>
                    <a:pt x="5409" y="1133"/>
                    <a:pt x="5659" y="879"/>
                    <a:pt x="5659" y="565"/>
                  </a:cubicBezTo>
                  <a:cubicBezTo>
                    <a:pt x="5659" y="251"/>
                    <a:pt x="5409" y="0"/>
                    <a:pt x="50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01" name="Google Shape;6101;p71"/>
          <p:cNvGrpSpPr/>
          <p:nvPr/>
        </p:nvGrpSpPr>
        <p:grpSpPr>
          <a:xfrm>
            <a:off x="5587131" y="3049518"/>
            <a:ext cx="453557" cy="453557"/>
            <a:chOff x="5648375" y="238125"/>
            <a:chExt cx="483125" cy="483125"/>
          </a:xfrm>
        </p:grpSpPr>
        <p:sp>
          <p:nvSpPr>
            <p:cNvPr id="6102" name="Google Shape;6102;p71"/>
            <p:cNvSpPr/>
            <p:nvPr/>
          </p:nvSpPr>
          <p:spPr>
            <a:xfrm>
              <a:off x="5648375" y="238125"/>
              <a:ext cx="483125" cy="483125"/>
            </a:xfrm>
            <a:custGeom>
              <a:avLst/>
              <a:gdLst/>
              <a:ahLst/>
              <a:cxnLst/>
              <a:rect l="l" t="t" r="r" b="b"/>
              <a:pathLst>
                <a:path w="19325" h="19325" extrusionOk="0">
                  <a:moveTo>
                    <a:pt x="4001" y="1132"/>
                  </a:moveTo>
                  <a:cubicBezTo>
                    <a:pt x="4315" y="1132"/>
                    <a:pt x="4569" y="1386"/>
                    <a:pt x="4569" y="1700"/>
                  </a:cubicBezTo>
                  <a:lnTo>
                    <a:pt x="4569" y="3965"/>
                  </a:lnTo>
                  <a:cubicBezTo>
                    <a:pt x="4569" y="4276"/>
                    <a:pt x="4315" y="4529"/>
                    <a:pt x="4001" y="4529"/>
                  </a:cubicBezTo>
                  <a:cubicBezTo>
                    <a:pt x="3687" y="4529"/>
                    <a:pt x="3436" y="4276"/>
                    <a:pt x="3436" y="3965"/>
                  </a:cubicBezTo>
                  <a:lnTo>
                    <a:pt x="3436" y="1700"/>
                  </a:lnTo>
                  <a:cubicBezTo>
                    <a:pt x="3436" y="1386"/>
                    <a:pt x="3687" y="1132"/>
                    <a:pt x="4001" y="1132"/>
                  </a:cubicBezTo>
                  <a:close/>
                  <a:moveTo>
                    <a:pt x="9662" y="1132"/>
                  </a:moveTo>
                  <a:cubicBezTo>
                    <a:pt x="9976" y="1132"/>
                    <a:pt x="10230" y="1386"/>
                    <a:pt x="10230" y="1700"/>
                  </a:cubicBezTo>
                  <a:lnTo>
                    <a:pt x="10230" y="3965"/>
                  </a:lnTo>
                  <a:cubicBezTo>
                    <a:pt x="10230" y="4276"/>
                    <a:pt x="9976" y="4529"/>
                    <a:pt x="9662" y="4529"/>
                  </a:cubicBezTo>
                  <a:cubicBezTo>
                    <a:pt x="9348" y="4529"/>
                    <a:pt x="9098" y="4276"/>
                    <a:pt x="9098" y="3965"/>
                  </a:cubicBezTo>
                  <a:lnTo>
                    <a:pt x="9098" y="1700"/>
                  </a:lnTo>
                  <a:cubicBezTo>
                    <a:pt x="9098" y="1386"/>
                    <a:pt x="9348" y="1132"/>
                    <a:pt x="9662" y="1132"/>
                  </a:cubicBezTo>
                  <a:close/>
                  <a:moveTo>
                    <a:pt x="15324" y="1132"/>
                  </a:moveTo>
                  <a:cubicBezTo>
                    <a:pt x="15638" y="1132"/>
                    <a:pt x="15891" y="1386"/>
                    <a:pt x="15891" y="1700"/>
                  </a:cubicBezTo>
                  <a:lnTo>
                    <a:pt x="15891" y="3965"/>
                  </a:lnTo>
                  <a:cubicBezTo>
                    <a:pt x="15891" y="4276"/>
                    <a:pt x="15638" y="4529"/>
                    <a:pt x="15324" y="4529"/>
                  </a:cubicBezTo>
                  <a:cubicBezTo>
                    <a:pt x="15010" y="4529"/>
                    <a:pt x="14759" y="4276"/>
                    <a:pt x="14759" y="3965"/>
                  </a:cubicBezTo>
                  <a:lnTo>
                    <a:pt x="14759" y="1700"/>
                  </a:lnTo>
                  <a:cubicBezTo>
                    <a:pt x="14759" y="1386"/>
                    <a:pt x="15010" y="1132"/>
                    <a:pt x="15324" y="1132"/>
                  </a:cubicBezTo>
                  <a:close/>
                  <a:moveTo>
                    <a:pt x="17628" y="3397"/>
                  </a:moveTo>
                  <a:cubicBezTo>
                    <a:pt x="17939" y="3397"/>
                    <a:pt x="18192" y="3651"/>
                    <a:pt x="18192" y="3965"/>
                  </a:cubicBezTo>
                  <a:lnTo>
                    <a:pt x="18192" y="6833"/>
                  </a:lnTo>
                  <a:lnTo>
                    <a:pt x="1132" y="6833"/>
                  </a:lnTo>
                  <a:lnTo>
                    <a:pt x="1132" y="3965"/>
                  </a:lnTo>
                  <a:cubicBezTo>
                    <a:pt x="1132" y="3651"/>
                    <a:pt x="1386" y="3397"/>
                    <a:pt x="1700" y="3397"/>
                  </a:cubicBezTo>
                  <a:lnTo>
                    <a:pt x="2304" y="3397"/>
                  </a:lnTo>
                  <a:lnTo>
                    <a:pt x="2304" y="3965"/>
                  </a:lnTo>
                  <a:cubicBezTo>
                    <a:pt x="2304" y="4901"/>
                    <a:pt x="3062" y="5661"/>
                    <a:pt x="4001" y="5661"/>
                  </a:cubicBezTo>
                  <a:cubicBezTo>
                    <a:pt x="4940" y="5661"/>
                    <a:pt x="5701" y="4901"/>
                    <a:pt x="5701" y="3965"/>
                  </a:cubicBezTo>
                  <a:lnTo>
                    <a:pt x="5701" y="3397"/>
                  </a:lnTo>
                  <a:lnTo>
                    <a:pt x="7965" y="3397"/>
                  </a:lnTo>
                  <a:lnTo>
                    <a:pt x="7965" y="3965"/>
                  </a:lnTo>
                  <a:cubicBezTo>
                    <a:pt x="7965" y="4901"/>
                    <a:pt x="8723" y="5661"/>
                    <a:pt x="9662" y="5661"/>
                  </a:cubicBezTo>
                  <a:cubicBezTo>
                    <a:pt x="10601" y="5661"/>
                    <a:pt x="11362" y="4901"/>
                    <a:pt x="11362" y="3965"/>
                  </a:cubicBezTo>
                  <a:lnTo>
                    <a:pt x="11362" y="3397"/>
                  </a:lnTo>
                  <a:lnTo>
                    <a:pt x="13627" y="3397"/>
                  </a:lnTo>
                  <a:lnTo>
                    <a:pt x="13627" y="3965"/>
                  </a:lnTo>
                  <a:cubicBezTo>
                    <a:pt x="13627" y="4901"/>
                    <a:pt x="14385" y="5661"/>
                    <a:pt x="15324" y="5661"/>
                  </a:cubicBezTo>
                  <a:cubicBezTo>
                    <a:pt x="16263" y="5661"/>
                    <a:pt x="17024" y="4901"/>
                    <a:pt x="17024" y="3965"/>
                  </a:cubicBezTo>
                  <a:lnTo>
                    <a:pt x="17024" y="3397"/>
                  </a:lnTo>
                  <a:close/>
                  <a:moveTo>
                    <a:pt x="18192" y="7965"/>
                  </a:moveTo>
                  <a:lnTo>
                    <a:pt x="18192" y="17628"/>
                  </a:lnTo>
                  <a:cubicBezTo>
                    <a:pt x="18192" y="17939"/>
                    <a:pt x="17939" y="18192"/>
                    <a:pt x="17628" y="18192"/>
                  </a:cubicBezTo>
                  <a:lnTo>
                    <a:pt x="1700" y="18192"/>
                  </a:lnTo>
                  <a:cubicBezTo>
                    <a:pt x="1386" y="18192"/>
                    <a:pt x="1132" y="17939"/>
                    <a:pt x="1132" y="17628"/>
                  </a:cubicBezTo>
                  <a:lnTo>
                    <a:pt x="1132" y="7965"/>
                  </a:lnTo>
                  <a:close/>
                  <a:moveTo>
                    <a:pt x="4001" y="0"/>
                  </a:moveTo>
                  <a:cubicBezTo>
                    <a:pt x="3062" y="0"/>
                    <a:pt x="2304" y="761"/>
                    <a:pt x="2304" y="1700"/>
                  </a:cubicBezTo>
                  <a:lnTo>
                    <a:pt x="2304" y="2265"/>
                  </a:lnTo>
                  <a:lnTo>
                    <a:pt x="1700" y="2265"/>
                  </a:lnTo>
                  <a:cubicBezTo>
                    <a:pt x="761" y="2265"/>
                    <a:pt x="0" y="3025"/>
                    <a:pt x="0" y="3965"/>
                  </a:cubicBezTo>
                  <a:lnTo>
                    <a:pt x="0" y="17628"/>
                  </a:lnTo>
                  <a:cubicBezTo>
                    <a:pt x="0" y="18564"/>
                    <a:pt x="761" y="19324"/>
                    <a:pt x="1700" y="19324"/>
                  </a:cubicBezTo>
                  <a:lnTo>
                    <a:pt x="17628" y="19324"/>
                  </a:lnTo>
                  <a:cubicBezTo>
                    <a:pt x="18564" y="19324"/>
                    <a:pt x="19325" y="18564"/>
                    <a:pt x="19325" y="17628"/>
                  </a:cubicBezTo>
                  <a:lnTo>
                    <a:pt x="19325" y="3965"/>
                  </a:lnTo>
                  <a:cubicBezTo>
                    <a:pt x="19325" y="3025"/>
                    <a:pt x="18564" y="2265"/>
                    <a:pt x="17628" y="2265"/>
                  </a:cubicBezTo>
                  <a:lnTo>
                    <a:pt x="17024" y="2265"/>
                  </a:lnTo>
                  <a:lnTo>
                    <a:pt x="17024" y="1700"/>
                  </a:lnTo>
                  <a:cubicBezTo>
                    <a:pt x="17024" y="761"/>
                    <a:pt x="16263" y="0"/>
                    <a:pt x="15324" y="0"/>
                  </a:cubicBezTo>
                  <a:cubicBezTo>
                    <a:pt x="14385" y="0"/>
                    <a:pt x="13627" y="761"/>
                    <a:pt x="13627" y="1700"/>
                  </a:cubicBezTo>
                  <a:lnTo>
                    <a:pt x="13627" y="2265"/>
                  </a:lnTo>
                  <a:lnTo>
                    <a:pt x="11362" y="2265"/>
                  </a:lnTo>
                  <a:lnTo>
                    <a:pt x="11362" y="1700"/>
                  </a:lnTo>
                  <a:cubicBezTo>
                    <a:pt x="11362" y="761"/>
                    <a:pt x="10601" y="0"/>
                    <a:pt x="9662" y="0"/>
                  </a:cubicBezTo>
                  <a:cubicBezTo>
                    <a:pt x="8723" y="0"/>
                    <a:pt x="7965" y="761"/>
                    <a:pt x="7965" y="1700"/>
                  </a:cubicBezTo>
                  <a:lnTo>
                    <a:pt x="7965" y="2265"/>
                  </a:lnTo>
                  <a:lnTo>
                    <a:pt x="5701" y="2265"/>
                  </a:lnTo>
                  <a:lnTo>
                    <a:pt x="5701" y="1700"/>
                  </a:lnTo>
                  <a:cubicBezTo>
                    <a:pt x="5701" y="761"/>
                    <a:pt x="4940" y="0"/>
                    <a:pt x="40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3" name="Google Shape;6103;p71"/>
            <p:cNvSpPr/>
            <p:nvPr/>
          </p:nvSpPr>
          <p:spPr>
            <a:xfrm>
              <a:off x="5705950" y="465550"/>
              <a:ext cx="84875" cy="28325"/>
            </a:xfrm>
            <a:custGeom>
              <a:avLst/>
              <a:gdLst/>
              <a:ahLst/>
              <a:cxnLst/>
              <a:rect l="l" t="t" r="r" b="b"/>
              <a:pathLst>
                <a:path w="3395" h="1133" extrusionOk="0">
                  <a:moveTo>
                    <a:pt x="566" y="1"/>
                  </a:moveTo>
                  <a:cubicBezTo>
                    <a:pt x="252" y="1"/>
                    <a:pt x="1" y="251"/>
                    <a:pt x="1" y="565"/>
                  </a:cubicBezTo>
                  <a:cubicBezTo>
                    <a:pt x="1" y="879"/>
                    <a:pt x="252" y="1133"/>
                    <a:pt x="566"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4" name="Google Shape;6104;p71"/>
            <p:cNvSpPr/>
            <p:nvPr/>
          </p:nvSpPr>
          <p:spPr>
            <a:xfrm>
              <a:off x="5847500" y="465550"/>
              <a:ext cx="84875" cy="28325"/>
            </a:xfrm>
            <a:custGeom>
              <a:avLst/>
              <a:gdLst/>
              <a:ahLst/>
              <a:cxnLst/>
              <a:rect l="l" t="t" r="r" b="b"/>
              <a:pathLst>
                <a:path w="3395" h="1133" extrusionOk="0">
                  <a:moveTo>
                    <a:pt x="565" y="1"/>
                  </a:moveTo>
                  <a:cubicBezTo>
                    <a:pt x="251" y="1"/>
                    <a:pt x="0" y="251"/>
                    <a:pt x="0" y="565"/>
                  </a:cubicBezTo>
                  <a:cubicBezTo>
                    <a:pt x="0" y="879"/>
                    <a:pt x="251" y="1133"/>
                    <a:pt x="565" y="1133"/>
                  </a:cubicBezTo>
                  <a:lnTo>
                    <a:pt x="2830" y="1133"/>
                  </a:lnTo>
                  <a:cubicBezTo>
                    <a:pt x="3144" y="1133"/>
                    <a:pt x="3394" y="879"/>
                    <a:pt x="3394" y="565"/>
                  </a:cubicBezTo>
                  <a:cubicBezTo>
                    <a:pt x="3394"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5" name="Google Shape;6105;p71"/>
            <p:cNvSpPr/>
            <p:nvPr/>
          </p:nvSpPr>
          <p:spPr>
            <a:xfrm>
              <a:off x="5989025" y="465550"/>
              <a:ext cx="84875" cy="28325"/>
            </a:xfrm>
            <a:custGeom>
              <a:avLst/>
              <a:gdLst/>
              <a:ahLst/>
              <a:cxnLst/>
              <a:rect l="l" t="t" r="r" b="b"/>
              <a:pathLst>
                <a:path w="3395" h="1133" extrusionOk="0">
                  <a:moveTo>
                    <a:pt x="565" y="1"/>
                  </a:moveTo>
                  <a:cubicBezTo>
                    <a:pt x="251" y="1"/>
                    <a:pt x="1" y="251"/>
                    <a:pt x="1" y="565"/>
                  </a:cubicBezTo>
                  <a:cubicBezTo>
                    <a:pt x="1" y="879"/>
                    <a:pt x="251" y="1133"/>
                    <a:pt x="565" y="1133"/>
                  </a:cubicBezTo>
                  <a:lnTo>
                    <a:pt x="2830" y="1133"/>
                  </a:lnTo>
                  <a:cubicBezTo>
                    <a:pt x="3144" y="1133"/>
                    <a:pt x="3395" y="879"/>
                    <a:pt x="3395" y="565"/>
                  </a:cubicBezTo>
                  <a:cubicBezTo>
                    <a:pt x="3395" y="251"/>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6" name="Google Shape;6106;p71"/>
            <p:cNvSpPr/>
            <p:nvPr/>
          </p:nvSpPr>
          <p:spPr>
            <a:xfrm>
              <a:off x="5705950" y="550475"/>
              <a:ext cx="84875" cy="28325"/>
            </a:xfrm>
            <a:custGeom>
              <a:avLst/>
              <a:gdLst/>
              <a:ahLst/>
              <a:cxnLst/>
              <a:rect l="l" t="t" r="r" b="b"/>
              <a:pathLst>
                <a:path w="3395" h="1133" extrusionOk="0">
                  <a:moveTo>
                    <a:pt x="566" y="0"/>
                  </a:moveTo>
                  <a:cubicBezTo>
                    <a:pt x="252" y="0"/>
                    <a:pt x="1" y="251"/>
                    <a:pt x="1" y="565"/>
                  </a:cubicBezTo>
                  <a:cubicBezTo>
                    <a:pt x="1" y="879"/>
                    <a:pt x="252" y="1133"/>
                    <a:pt x="566"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7" name="Google Shape;6107;p71"/>
            <p:cNvSpPr/>
            <p:nvPr/>
          </p:nvSpPr>
          <p:spPr>
            <a:xfrm>
              <a:off x="5847500" y="550475"/>
              <a:ext cx="84875" cy="28325"/>
            </a:xfrm>
            <a:custGeom>
              <a:avLst/>
              <a:gdLst/>
              <a:ahLst/>
              <a:cxnLst/>
              <a:rect l="l" t="t" r="r" b="b"/>
              <a:pathLst>
                <a:path w="3395" h="1133" extrusionOk="0">
                  <a:moveTo>
                    <a:pt x="565" y="0"/>
                  </a:moveTo>
                  <a:cubicBezTo>
                    <a:pt x="251" y="0"/>
                    <a:pt x="0" y="251"/>
                    <a:pt x="0" y="565"/>
                  </a:cubicBezTo>
                  <a:cubicBezTo>
                    <a:pt x="0" y="879"/>
                    <a:pt x="251" y="1133"/>
                    <a:pt x="565" y="1133"/>
                  </a:cubicBezTo>
                  <a:lnTo>
                    <a:pt x="2830" y="1133"/>
                  </a:lnTo>
                  <a:cubicBezTo>
                    <a:pt x="3144" y="1133"/>
                    <a:pt x="3394" y="879"/>
                    <a:pt x="3394" y="565"/>
                  </a:cubicBezTo>
                  <a:cubicBezTo>
                    <a:pt x="3394"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8" name="Google Shape;6108;p71"/>
            <p:cNvSpPr/>
            <p:nvPr/>
          </p:nvSpPr>
          <p:spPr>
            <a:xfrm>
              <a:off x="5989025" y="550475"/>
              <a:ext cx="84875" cy="28325"/>
            </a:xfrm>
            <a:custGeom>
              <a:avLst/>
              <a:gdLst/>
              <a:ahLst/>
              <a:cxnLst/>
              <a:rect l="l" t="t" r="r" b="b"/>
              <a:pathLst>
                <a:path w="3395" h="1133" extrusionOk="0">
                  <a:moveTo>
                    <a:pt x="565" y="0"/>
                  </a:moveTo>
                  <a:cubicBezTo>
                    <a:pt x="251" y="0"/>
                    <a:pt x="1" y="251"/>
                    <a:pt x="1" y="565"/>
                  </a:cubicBezTo>
                  <a:cubicBezTo>
                    <a:pt x="1" y="879"/>
                    <a:pt x="251" y="1133"/>
                    <a:pt x="565" y="1133"/>
                  </a:cubicBezTo>
                  <a:lnTo>
                    <a:pt x="2830" y="1133"/>
                  </a:lnTo>
                  <a:cubicBezTo>
                    <a:pt x="3144" y="1133"/>
                    <a:pt x="3395" y="879"/>
                    <a:pt x="3395" y="565"/>
                  </a:cubicBezTo>
                  <a:cubicBezTo>
                    <a:pt x="3395" y="251"/>
                    <a:pt x="3144" y="0"/>
                    <a:pt x="2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09" name="Google Shape;6109;p71"/>
            <p:cNvSpPr/>
            <p:nvPr/>
          </p:nvSpPr>
          <p:spPr>
            <a:xfrm>
              <a:off x="5705950" y="636300"/>
              <a:ext cx="84875" cy="28325"/>
            </a:xfrm>
            <a:custGeom>
              <a:avLst/>
              <a:gdLst/>
              <a:ahLst/>
              <a:cxnLst/>
              <a:rect l="l" t="t" r="r" b="b"/>
              <a:pathLst>
                <a:path w="3395" h="1133" extrusionOk="0">
                  <a:moveTo>
                    <a:pt x="566" y="1"/>
                  </a:moveTo>
                  <a:cubicBezTo>
                    <a:pt x="252" y="1"/>
                    <a:pt x="1" y="254"/>
                    <a:pt x="1" y="568"/>
                  </a:cubicBezTo>
                  <a:cubicBezTo>
                    <a:pt x="1" y="879"/>
                    <a:pt x="252" y="1133"/>
                    <a:pt x="566"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0" name="Google Shape;6110;p71"/>
            <p:cNvSpPr/>
            <p:nvPr/>
          </p:nvSpPr>
          <p:spPr>
            <a:xfrm>
              <a:off x="5847500" y="636300"/>
              <a:ext cx="84875" cy="28325"/>
            </a:xfrm>
            <a:custGeom>
              <a:avLst/>
              <a:gdLst/>
              <a:ahLst/>
              <a:cxnLst/>
              <a:rect l="l" t="t" r="r" b="b"/>
              <a:pathLst>
                <a:path w="3395" h="1133" extrusionOk="0">
                  <a:moveTo>
                    <a:pt x="565" y="1"/>
                  </a:moveTo>
                  <a:cubicBezTo>
                    <a:pt x="251" y="1"/>
                    <a:pt x="0" y="254"/>
                    <a:pt x="0" y="568"/>
                  </a:cubicBezTo>
                  <a:cubicBezTo>
                    <a:pt x="0" y="879"/>
                    <a:pt x="251" y="1133"/>
                    <a:pt x="565" y="1133"/>
                  </a:cubicBezTo>
                  <a:lnTo>
                    <a:pt x="2830" y="1133"/>
                  </a:lnTo>
                  <a:cubicBezTo>
                    <a:pt x="3144" y="1133"/>
                    <a:pt x="3394" y="879"/>
                    <a:pt x="3394" y="568"/>
                  </a:cubicBezTo>
                  <a:cubicBezTo>
                    <a:pt x="3394"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1" name="Google Shape;6111;p71"/>
            <p:cNvSpPr/>
            <p:nvPr/>
          </p:nvSpPr>
          <p:spPr>
            <a:xfrm>
              <a:off x="5989025" y="636300"/>
              <a:ext cx="84875" cy="28325"/>
            </a:xfrm>
            <a:custGeom>
              <a:avLst/>
              <a:gdLst/>
              <a:ahLst/>
              <a:cxnLst/>
              <a:rect l="l" t="t" r="r" b="b"/>
              <a:pathLst>
                <a:path w="3395" h="1133" extrusionOk="0">
                  <a:moveTo>
                    <a:pt x="565" y="1"/>
                  </a:moveTo>
                  <a:cubicBezTo>
                    <a:pt x="251" y="1"/>
                    <a:pt x="1" y="254"/>
                    <a:pt x="1" y="568"/>
                  </a:cubicBezTo>
                  <a:cubicBezTo>
                    <a:pt x="1" y="879"/>
                    <a:pt x="251" y="1133"/>
                    <a:pt x="565" y="1133"/>
                  </a:cubicBezTo>
                  <a:lnTo>
                    <a:pt x="2830" y="1133"/>
                  </a:lnTo>
                  <a:cubicBezTo>
                    <a:pt x="3144" y="1133"/>
                    <a:pt x="3395" y="879"/>
                    <a:pt x="3395" y="568"/>
                  </a:cubicBezTo>
                  <a:cubicBezTo>
                    <a:pt x="3395" y="254"/>
                    <a:pt x="3144" y="1"/>
                    <a:pt x="2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12" name="Google Shape;6112;p71"/>
          <p:cNvGrpSpPr/>
          <p:nvPr/>
        </p:nvGrpSpPr>
        <p:grpSpPr>
          <a:xfrm>
            <a:off x="6142714" y="3049518"/>
            <a:ext cx="453557" cy="453557"/>
            <a:chOff x="6242825" y="238125"/>
            <a:chExt cx="483125" cy="483125"/>
          </a:xfrm>
        </p:grpSpPr>
        <p:sp>
          <p:nvSpPr>
            <p:cNvPr id="6113" name="Google Shape;6113;p71"/>
            <p:cNvSpPr/>
            <p:nvPr/>
          </p:nvSpPr>
          <p:spPr>
            <a:xfrm>
              <a:off x="6242825" y="238125"/>
              <a:ext cx="483125" cy="483125"/>
            </a:xfrm>
            <a:custGeom>
              <a:avLst/>
              <a:gdLst/>
              <a:ahLst/>
              <a:cxnLst/>
              <a:rect l="l" t="t" r="r" b="b"/>
              <a:pathLst>
                <a:path w="19325" h="19325" extrusionOk="0">
                  <a:moveTo>
                    <a:pt x="18192" y="1132"/>
                  </a:moveTo>
                  <a:lnTo>
                    <a:pt x="18192" y="2400"/>
                  </a:lnTo>
                  <a:cubicBezTo>
                    <a:pt x="17513" y="2639"/>
                    <a:pt x="17060" y="3282"/>
                    <a:pt x="17060" y="4001"/>
                  </a:cubicBezTo>
                  <a:cubicBezTo>
                    <a:pt x="17060" y="4719"/>
                    <a:pt x="17513" y="5363"/>
                    <a:pt x="18192" y="5601"/>
                  </a:cubicBezTo>
                  <a:lnTo>
                    <a:pt x="18192" y="8062"/>
                  </a:lnTo>
                  <a:cubicBezTo>
                    <a:pt x="17513" y="8300"/>
                    <a:pt x="17060" y="8944"/>
                    <a:pt x="17060" y="9662"/>
                  </a:cubicBezTo>
                  <a:cubicBezTo>
                    <a:pt x="17060" y="10381"/>
                    <a:pt x="17513" y="11024"/>
                    <a:pt x="18192" y="11263"/>
                  </a:cubicBezTo>
                  <a:lnTo>
                    <a:pt x="18192" y="13723"/>
                  </a:lnTo>
                  <a:cubicBezTo>
                    <a:pt x="17513" y="13962"/>
                    <a:pt x="17060" y="14605"/>
                    <a:pt x="17060" y="15324"/>
                  </a:cubicBezTo>
                  <a:cubicBezTo>
                    <a:pt x="17060" y="16042"/>
                    <a:pt x="17513" y="16685"/>
                    <a:pt x="18192" y="16924"/>
                  </a:cubicBezTo>
                  <a:lnTo>
                    <a:pt x="18192" y="18192"/>
                  </a:lnTo>
                  <a:lnTo>
                    <a:pt x="16924" y="18192"/>
                  </a:lnTo>
                  <a:cubicBezTo>
                    <a:pt x="16686" y="17513"/>
                    <a:pt x="16043" y="17060"/>
                    <a:pt x="15324" y="17060"/>
                  </a:cubicBezTo>
                  <a:cubicBezTo>
                    <a:pt x="14605" y="17060"/>
                    <a:pt x="13962" y="17513"/>
                    <a:pt x="13724" y="18192"/>
                  </a:cubicBezTo>
                  <a:lnTo>
                    <a:pt x="11263" y="18192"/>
                  </a:lnTo>
                  <a:cubicBezTo>
                    <a:pt x="11024" y="17513"/>
                    <a:pt x="10381" y="17060"/>
                    <a:pt x="9662" y="17060"/>
                  </a:cubicBezTo>
                  <a:cubicBezTo>
                    <a:pt x="8944" y="17060"/>
                    <a:pt x="8301" y="17513"/>
                    <a:pt x="8062" y="18192"/>
                  </a:cubicBezTo>
                  <a:lnTo>
                    <a:pt x="5601" y="18192"/>
                  </a:lnTo>
                  <a:cubicBezTo>
                    <a:pt x="5363" y="17513"/>
                    <a:pt x="4720" y="17060"/>
                    <a:pt x="4001" y="17060"/>
                  </a:cubicBezTo>
                  <a:cubicBezTo>
                    <a:pt x="3282" y="17060"/>
                    <a:pt x="2639" y="17513"/>
                    <a:pt x="2401" y="18192"/>
                  </a:cubicBezTo>
                  <a:lnTo>
                    <a:pt x="1133" y="18192"/>
                  </a:lnTo>
                  <a:lnTo>
                    <a:pt x="1133" y="16924"/>
                  </a:lnTo>
                  <a:cubicBezTo>
                    <a:pt x="1812" y="16685"/>
                    <a:pt x="2265" y="16042"/>
                    <a:pt x="2265" y="15324"/>
                  </a:cubicBezTo>
                  <a:cubicBezTo>
                    <a:pt x="2265" y="14605"/>
                    <a:pt x="1812" y="13962"/>
                    <a:pt x="1133" y="13723"/>
                  </a:cubicBezTo>
                  <a:lnTo>
                    <a:pt x="1133" y="11263"/>
                  </a:lnTo>
                  <a:cubicBezTo>
                    <a:pt x="1812" y="11024"/>
                    <a:pt x="2265" y="10381"/>
                    <a:pt x="2265" y="9662"/>
                  </a:cubicBezTo>
                  <a:cubicBezTo>
                    <a:pt x="2265" y="8944"/>
                    <a:pt x="1812" y="8300"/>
                    <a:pt x="1133" y="8062"/>
                  </a:cubicBezTo>
                  <a:lnTo>
                    <a:pt x="1133" y="5601"/>
                  </a:lnTo>
                  <a:cubicBezTo>
                    <a:pt x="1812" y="5363"/>
                    <a:pt x="2265" y="4719"/>
                    <a:pt x="2265" y="4001"/>
                  </a:cubicBezTo>
                  <a:cubicBezTo>
                    <a:pt x="2265" y="3282"/>
                    <a:pt x="1812" y="2639"/>
                    <a:pt x="1133" y="2400"/>
                  </a:cubicBezTo>
                  <a:lnTo>
                    <a:pt x="1133" y="1132"/>
                  </a:lnTo>
                  <a:lnTo>
                    <a:pt x="2401" y="1132"/>
                  </a:lnTo>
                  <a:cubicBezTo>
                    <a:pt x="2639" y="1812"/>
                    <a:pt x="3282" y="2265"/>
                    <a:pt x="4001" y="2265"/>
                  </a:cubicBezTo>
                  <a:cubicBezTo>
                    <a:pt x="4720" y="2265"/>
                    <a:pt x="5363" y="1812"/>
                    <a:pt x="5601" y="1132"/>
                  </a:cubicBezTo>
                  <a:lnTo>
                    <a:pt x="8062" y="1132"/>
                  </a:lnTo>
                  <a:cubicBezTo>
                    <a:pt x="8301" y="1812"/>
                    <a:pt x="8944" y="2265"/>
                    <a:pt x="9662" y="2265"/>
                  </a:cubicBezTo>
                  <a:cubicBezTo>
                    <a:pt x="10381" y="2265"/>
                    <a:pt x="11024" y="1812"/>
                    <a:pt x="11263" y="1132"/>
                  </a:cubicBezTo>
                  <a:lnTo>
                    <a:pt x="13724" y="1132"/>
                  </a:lnTo>
                  <a:cubicBezTo>
                    <a:pt x="13962" y="1812"/>
                    <a:pt x="14605" y="2265"/>
                    <a:pt x="15324" y="2265"/>
                  </a:cubicBezTo>
                  <a:cubicBezTo>
                    <a:pt x="16043" y="2265"/>
                    <a:pt x="16686" y="1812"/>
                    <a:pt x="16924" y="1132"/>
                  </a:cubicBezTo>
                  <a:close/>
                  <a:moveTo>
                    <a:pt x="568" y="0"/>
                  </a:moveTo>
                  <a:cubicBezTo>
                    <a:pt x="254" y="0"/>
                    <a:pt x="0" y="254"/>
                    <a:pt x="0" y="568"/>
                  </a:cubicBezTo>
                  <a:lnTo>
                    <a:pt x="0" y="2868"/>
                  </a:lnTo>
                  <a:cubicBezTo>
                    <a:pt x="0" y="3183"/>
                    <a:pt x="254" y="3436"/>
                    <a:pt x="568" y="3436"/>
                  </a:cubicBezTo>
                  <a:cubicBezTo>
                    <a:pt x="879" y="3436"/>
                    <a:pt x="1133" y="3687"/>
                    <a:pt x="1133" y="4001"/>
                  </a:cubicBezTo>
                  <a:cubicBezTo>
                    <a:pt x="1133" y="4315"/>
                    <a:pt x="879" y="4568"/>
                    <a:pt x="568" y="4568"/>
                  </a:cubicBezTo>
                  <a:cubicBezTo>
                    <a:pt x="254" y="4568"/>
                    <a:pt x="0" y="4819"/>
                    <a:pt x="0" y="5133"/>
                  </a:cubicBezTo>
                  <a:lnTo>
                    <a:pt x="0" y="8530"/>
                  </a:lnTo>
                  <a:cubicBezTo>
                    <a:pt x="0" y="8844"/>
                    <a:pt x="254" y="9098"/>
                    <a:pt x="568" y="9098"/>
                  </a:cubicBezTo>
                  <a:cubicBezTo>
                    <a:pt x="879" y="9098"/>
                    <a:pt x="1133" y="9348"/>
                    <a:pt x="1133" y="9662"/>
                  </a:cubicBezTo>
                  <a:cubicBezTo>
                    <a:pt x="1133" y="9976"/>
                    <a:pt x="879" y="10230"/>
                    <a:pt x="568" y="10230"/>
                  </a:cubicBezTo>
                  <a:cubicBezTo>
                    <a:pt x="254" y="10230"/>
                    <a:pt x="0" y="10481"/>
                    <a:pt x="0" y="10795"/>
                  </a:cubicBezTo>
                  <a:lnTo>
                    <a:pt x="0" y="14191"/>
                  </a:lnTo>
                  <a:cubicBezTo>
                    <a:pt x="0" y="14505"/>
                    <a:pt x="254" y="14759"/>
                    <a:pt x="568" y="14759"/>
                  </a:cubicBezTo>
                  <a:cubicBezTo>
                    <a:pt x="879" y="14759"/>
                    <a:pt x="1133" y="15010"/>
                    <a:pt x="1133" y="15324"/>
                  </a:cubicBezTo>
                  <a:cubicBezTo>
                    <a:pt x="1133" y="15638"/>
                    <a:pt x="879" y="15891"/>
                    <a:pt x="568" y="15891"/>
                  </a:cubicBezTo>
                  <a:cubicBezTo>
                    <a:pt x="254" y="15891"/>
                    <a:pt x="0" y="16142"/>
                    <a:pt x="0" y="16456"/>
                  </a:cubicBezTo>
                  <a:lnTo>
                    <a:pt x="0" y="18760"/>
                  </a:lnTo>
                  <a:cubicBezTo>
                    <a:pt x="0" y="19071"/>
                    <a:pt x="254" y="19324"/>
                    <a:pt x="568" y="19324"/>
                  </a:cubicBezTo>
                  <a:lnTo>
                    <a:pt x="2869" y="19324"/>
                  </a:lnTo>
                  <a:cubicBezTo>
                    <a:pt x="3183" y="19324"/>
                    <a:pt x="3436" y="19071"/>
                    <a:pt x="3436" y="18760"/>
                  </a:cubicBezTo>
                  <a:cubicBezTo>
                    <a:pt x="3436" y="18446"/>
                    <a:pt x="3687" y="18192"/>
                    <a:pt x="4001" y="18192"/>
                  </a:cubicBezTo>
                  <a:cubicBezTo>
                    <a:pt x="4315" y="18192"/>
                    <a:pt x="4569" y="18446"/>
                    <a:pt x="4569" y="18760"/>
                  </a:cubicBezTo>
                  <a:cubicBezTo>
                    <a:pt x="4569" y="19071"/>
                    <a:pt x="4819" y="19324"/>
                    <a:pt x="5133" y="19324"/>
                  </a:cubicBezTo>
                  <a:lnTo>
                    <a:pt x="8530" y="19324"/>
                  </a:lnTo>
                  <a:cubicBezTo>
                    <a:pt x="8844" y="19324"/>
                    <a:pt x="9098" y="19071"/>
                    <a:pt x="9098" y="18760"/>
                  </a:cubicBezTo>
                  <a:cubicBezTo>
                    <a:pt x="9098" y="18446"/>
                    <a:pt x="9348" y="18192"/>
                    <a:pt x="9662" y="18192"/>
                  </a:cubicBezTo>
                  <a:cubicBezTo>
                    <a:pt x="9976" y="18192"/>
                    <a:pt x="10230" y="18446"/>
                    <a:pt x="10230" y="18760"/>
                  </a:cubicBezTo>
                  <a:cubicBezTo>
                    <a:pt x="10230" y="19071"/>
                    <a:pt x="10481" y="19324"/>
                    <a:pt x="10795" y="19324"/>
                  </a:cubicBezTo>
                  <a:lnTo>
                    <a:pt x="14192" y="19324"/>
                  </a:lnTo>
                  <a:cubicBezTo>
                    <a:pt x="14506" y="19324"/>
                    <a:pt x="14759" y="19071"/>
                    <a:pt x="14759" y="18760"/>
                  </a:cubicBezTo>
                  <a:cubicBezTo>
                    <a:pt x="14759" y="18446"/>
                    <a:pt x="15010" y="18192"/>
                    <a:pt x="15324" y="18192"/>
                  </a:cubicBezTo>
                  <a:cubicBezTo>
                    <a:pt x="15638" y="18192"/>
                    <a:pt x="15892" y="18446"/>
                    <a:pt x="15892" y="18760"/>
                  </a:cubicBezTo>
                  <a:cubicBezTo>
                    <a:pt x="15892" y="19071"/>
                    <a:pt x="16142" y="19324"/>
                    <a:pt x="16456" y="19324"/>
                  </a:cubicBezTo>
                  <a:lnTo>
                    <a:pt x="18760" y="19324"/>
                  </a:lnTo>
                  <a:cubicBezTo>
                    <a:pt x="19071" y="19324"/>
                    <a:pt x="19325" y="19071"/>
                    <a:pt x="19325" y="18760"/>
                  </a:cubicBezTo>
                  <a:lnTo>
                    <a:pt x="19325" y="16456"/>
                  </a:lnTo>
                  <a:cubicBezTo>
                    <a:pt x="19325" y="16142"/>
                    <a:pt x="19071" y="15891"/>
                    <a:pt x="18760" y="15891"/>
                  </a:cubicBezTo>
                  <a:cubicBezTo>
                    <a:pt x="18446" y="15891"/>
                    <a:pt x="18192" y="15638"/>
                    <a:pt x="18192" y="15324"/>
                  </a:cubicBezTo>
                  <a:cubicBezTo>
                    <a:pt x="18192" y="15010"/>
                    <a:pt x="18446" y="14759"/>
                    <a:pt x="18760" y="14759"/>
                  </a:cubicBezTo>
                  <a:cubicBezTo>
                    <a:pt x="19071" y="14759"/>
                    <a:pt x="19325" y="14505"/>
                    <a:pt x="19325" y="14191"/>
                  </a:cubicBezTo>
                  <a:lnTo>
                    <a:pt x="19325" y="10795"/>
                  </a:lnTo>
                  <a:cubicBezTo>
                    <a:pt x="19325" y="10481"/>
                    <a:pt x="19071" y="10230"/>
                    <a:pt x="18760" y="10230"/>
                  </a:cubicBezTo>
                  <a:cubicBezTo>
                    <a:pt x="18446" y="10230"/>
                    <a:pt x="18192" y="9976"/>
                    <a:pt x="18192" y="9662"/>
                  </a:cubicBezTo>
                  <a:cubicBezTo>
                    <a:pt x="18192" y="9348"/>
                    <a:pt x="18446" y="9098"/>
                    <a:pt x="18760" y="9098"/>
                  </a:cubicBezTo>
                  <a:cubicBezTo>
                    <a:pt x="19071" y="9098"/>
                    <a:pt x="19325" y="8844"/>
                    <a:pt x="19325" y="8530"/>
                  </a:cubicBezTo>
                  <a:lnTo>
                    <a:pt x="19325" y="5133"/>
                  </a:lnTo>
                  <a:cubicBezTo>
                    <a:pt x="19325" y="4819"/>
                    <a:pt x="19071" y="4568"/>
                    <a:pt x="18760" y="4568"/>
                  </a:cubicBezTo>
                  <a:cubicBezTo>
                    <a:pt x="18446" y="4568"/>
                    <a:pt x="18192" y="4315"/>
                    <a:pt x="18192" y="4001"/>
                  </a:cubicBezTo>
                  <a:cubicBezTo>
                    <a:pt x="18192" y="3687"/>
                    <a:pt x="18446" y="3436"/>
                    <a:pt x="18760" y="3436"/>
                  </a:cubicBezTo>
                  <a:cubicBezTo>
                    <a:pt x="19071" y="3436"/>
                    <a:pt x="19325" y="3183"/>
                    <a:pt x="19325" y="2868"/>
                  </a:cubicBezTo>
                  <a:lnTo>
                    <a:pt x="19325" y="568"/>
                  </a:lnTo>
                  <a:cubicBezTo>
                    <a:pt x="19325" y="254"/>
                    <a:pt x="19071" y="0"/>
                    <a:pt x="18760" y="0"/>
                  </a:cubicBezTo>
                  <a:lnTo>
                    <a:pt x="16456" y="0"/>
                  </a:lnTo>
                  <a:cubicBezTo>
                    <a:pt x="16142" y="0"/>
                    <a:pt x="15892" y="254"/>
                    <a:pt x="15892" y="568"/>
                  </a:cubicBezTo>
                  <a:cubicBezTo>
                    <a:pt x="15892" y="879"/>
                    <a:pt x="15638" y="1132"/>
                    <a:pt x="15324" y="1132"/>
                  </a:cubicBezTo>
                  <a:cubicBezTo>
                    <a:pt x="15010" y="1132"/>
                    <a:pt x="14759" y="879"/>
                    <a:pt x="14759" y="568"/>
                  </a:cubicBezTo>
                  <a:cubicBezTo>
                    <a:pt x="14759" y="254"/>
                    <a:pt x="14506" y="0"/>
                    <a:pt x="14192" y="0"/>
                  </a:cubicBezTo>
                  <a:lnTo>
                    <a:pt x="10795" y="0"/>
                  </a:lnTo>
                  <a:cubicBezTo>
                    <a:pt x="10481" y="0"/>
                    <a:pt x="10230" y="254"/>
                    <a:pt x="10230" y="568"/>
                  </a:cubicBezTo>
                  <a:cubicBezTo>
                    <a:pt x="10230" y="879"/>
                    <a:pt x="9976" y="1132"/>
                    <a:pt x="9662" y="1132"/>
                  </a:cubicBezTo>
                  <a:cubicBezTo>
                    <a:pt x="9348" y="1132"/>
                    <a:pt x="9098" y="879"/>
                    <a:pt x="9098" y="568"/>
                  </a:cubicBezTo>
                  <a:cubicBezTo>
                    <a:pt x="9098" y="254"/>
                    <a:pt x="8844" y="0"/>
                    <a:pt x="8530" y="0"/>
                  </a:cubicBezTo>
                  <a:lnTo>
                    <a:pt x="5133" y="0"/>
                  </a:lnTo>
                  <a:cubicBezTo>
                    <a:pt x="4819" y="0"/>
                    <a:pt x="4569" y="254"/>
                    <a:pt x="4569" y="568"/>
                  </a:cubicBezTo>
                  <a:cubicBezTo>
                    <a:pt x="4569" y="879"/>
                    <a:pt x="4315" y="1132"/>
                    <a:pt x="4001" y="1132"/>
                  </a:cubicBezTo>
                  <a:cubicBezTo>
                    <a:pt x="3687" y="1132"/>
                    <a:pt x="3436" y="879"/>
                    <a:pt x="3436" y="568"/>
                  </a:cubicBezTo>
                  <a:cubicBezTo>
                    <a:pt x="3436" y="254"/>
                    <a:pt x="3183" y="0"/>
                    <a:pt x="2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4" name="Google Shape;6114;p71"/>
            <p:cNvSpPr/>
            <p:nvPr/>
          </p:nvSpPr>
          <p:spPr>
            <a:xfrm>
              <a:off x="6328725" y="324025"/>
              <a:ext cx="311400" cy="311400"/>
            </a:xfrm>
            <a:custGeom>
              <a:avLst/>
              <a:gdLst/>
              <a:ahLst/>
              <a:cxnLst/>
              <a:rect l="l" t="t" r="r" b="b"/>
              <a:pathLst>
                <a:path w="12456" h="12456" extrusionOk="0">
                  <a:moveTo>
                    <a:pt x="11323" y="1132"/>
                  </a:moveTo>
                  <a:lnTo>
                    <a:pt x="11323" y="5991"/>
                  </a:lnTo>
                  <a:lnTo>
                    <a:pt x="10025" y="4692"/>
                  </a:lnTo>
                  <a:cubicBezTo>
                    <a:pt x="9913" y="4582"/>
                    <a:pt x="9768" y="4527"/>
                    <a:pt x="9623" y="4527"/>
                  </a:cubicBezTo>
                  <a:cubicBezTo>
                    <a:pt x="9478" y="4527"/>
                    <a:pt x="9333" y="4582"/>
                    <a:pt x="9222" y="4692"/>
                  </a:cubicBezTo>
                  <a:lnTo>
                    <a:pt x="6498" y="7419"/>
                  </a:lnTo>
                  <a:lnTo>
                    <a:pt x="4303" y="5773"/>
                  </a:lnTo>
                  <a:cubicBezTo>
                    <a:pt x="4201" y="5698"/>
                    <a:pt x="4081" y="5661"/>
                    <a:pt x="3962" y="5661"/>
                  </a:cubicBezTo>
                  <a:cubicBezTo>
                    <a:pt x="3824" y="5661"/>
                    <a:pt x="3687" y="5711"/>
                    <a:pt x="3578" y="5810"/>
                  </a:cubicBezTo>
                  <a:lnTo>
                    <a:pt x="1133" y="8053"/>
                  </a:lnTo>
                  <a:lnTo>
                    <a:pt x="1133" y="1132"/>
                  </a:lnTo>
                  <a:close/>
                  <a:moveTo>
                    <a:pt x="4001" y="6960"/>
                  </a:moveTo>
                  <a:lnTo>
                    <a:pt x="5689" y="8228"/>
                  </a:lnTo>
                  <a:lnTo>
                    <a:pt x="2594" y="11323"/>
                  </a:lnTo>
                  <a:lnTo>
                    <a:pt x="1133" y="11323"/>
                  </a:lnTo>
                  <a:lnTo>
                    <a:pt x="1133" y="9590"/>
                  </a:lnTo>
                  <a:lnTo>
                    <a:pt x="4001" y="6960"/>
                  </a:lnTo>
                  <a:close/>
                  <a:moveTo>
                    <a:pt x="9623" y="5894"/>
                  </a:moveTo>
                  <a:lnTo>
                    <a:pt x="11323" y="7594"/>
                  </a:lnTo>
                  <a:lnTo>
                    <a:pt x="11323" y="11323"/>
                  </a:lnTo>
                  <a:lnTo>
                    <a:pt x="4197" y="11323"/>
                  </a:lnTo>
                  <a:lnTo>
                    <a:pt x="9623" y="5894"/>
                  </a:lnTo>
                  <a:close/>
                  <a:moveTo>
                    <a:pt x="565" y="0"/>
                  </a:moveTo>
                  <a:cubicBezTo>
                    <a:pt x="251" y="0"/>
                    <a:pt x="0" y="251"/>
                    <a:pt x="0" y="565"/>
                  </a:cubicBezTo>
                  <a:lnTo>
                    <a:pt x="0" y="11888"/>
                  </a:lnTo>
                  <a:cubicBezTo>
                    <a:pt x="0" y="12202"/>
                    <a:pt x="251" y="12455"/>
                    <a:pt x="565" y="12455"/>
                  </a:cubicBezTo>
                  <a:lnTo>
                    <a:pt x="11888" y="12455"/>
                  </a:lnTo>
                  <a:cubicBezTo>
                    <a:pt x="12202" y="12455"/>
                    <a:pt x="12456" y="12202"/>
                    <a:pt x="12456" y="11888"/>
                  </a:cubicBezTo>
                  <a:lnTo>
                    <a:pt x="12456" y="565"/>
                  </a:lnTo>
                  <a:cubicBezTo>
                    <a:pt x="12456" y="251"/>
                    <a:pt x="12202" y="0"/>
                    <a:pt x="118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5" name="Google Shape;6115;p71"/>
            <p:cNvSpPr/>
            <p:nvPr/>
          </p:nvSpPr>
          <p:spPr>
            <a:xfrm>
              <a:off x="6441950" y="380575"/>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16" name="Google Shape;6116;p71"/>
          <p:cNvGrpSpPr/>
          <p:nvPr/>
        </p:nvGrpSpPr>
        <p:grpSpPr>
          <a:xfrm>
            <a:off x="1125541" y="3636483"/>
            <a:ext cx="458088" cy="398591"/>
            <a:chOff x="889275" y="861850"/>
            <a:chExt cx="487950" cy="424575"/>
          </a:xfrm>
        </p:grpSpPr>
        <p:sp>
          <p:nvSpPr>
            <p:cNvPr id="6117" name="Google Shape;6117;p71"/>
            <p:cNvSpPr/>
            <p:nvPr/>
          </p:nvSpPr>
          <p:spPr>
            <a:xfrm>
              <a:off x="1319225" y="1031700"/>
              <a:ext cx="56650" cy="28325"/>
            </a:xfrm>
            <a:custGeom>
              <a:avLst/>
              <a:gdLst/>
              <a:ahLst/>
              <a:cxnLst/>
              <a:rect l="l" t="t" r="r" b="b"/>
              <a:pathLst>
                <a:path w="2266" h="1133" extrusionOk="0">
                  <a:moveTo>
                    <a:pt x="569" y="1"/>
                  </a:moveTo>
                  <a:cubicBezTo>
                    <a:pt x="255" y="1"/>
                    <a:pt x="1" y="251"/>
                    <a:pt x="1" y="565"/>
                  </a:cubicBezTo>
                  <a:cubicBezTo>
                    <a:pt x="1" y="879"/>
                    <a:pt x="255" y="1133"/>
                    <a:pt x="569" y="1133"/>
                  </a:cubicBezTo>
                  <a:lnTo>
                    <a:pt x="1701" y="1133"/>
                  </a:lnTo>
                  <a:cubicBezTo>
                    <a:pt x="2012" y="1133"/>
                    <a:pt x="2265" y="879"/>
                    <a:pt x="2265" y="565"/>
                  </a:cubicBezTo>
                  <a:cubicBezTo>
                    <a:pt x="2265" y="251"/>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8" name="Google Shape;6118;p71"/>
            <p:cNvSpPr/>
            <p:nvPr/>
          </p:nvSpPr>
          <p:spPr>
            <a:xfrm>
              <a:off x="1314475" y="946725"/>
              <a:ext cx="62750" cy="56700"/>
            </a:xfrm>
            <a:custGeom>
              <a:avLst/>
              <a:gdLst/>
              <a:ahLst/>
              <a:cxnLst/>
              <a:rect l="l" t="t" r="r" b="b"/>
              <a:pathLst>
                <a:path w="2510" h="2268" extrusionOk="0">
                  <a:moveTo>
                    <a:pt x="1889" y="0"/>
                  </a:moveTo>
                  <a:cubicBezTo>
                    <a:pt x="1744" y="0"/>
                    <a:pt x="1599" y="55"/>
                    <a:pt x="1489" y="166"/>
                  </a:cubicBezTo>
                  <a:lnTo>
                    <a:pt x="357" y="1298"/>
                  </a:lnTo>
                  <a:cubicBezTo>
                    <a:pt x="1" y="1657"/>
                    <a:pt x="251" y="2267"/>
                    <a:pt x="759" y="2267"/>
                  </a:cubicBezTo>
                  <a:cubicBezTo>
                    <a:pt x="906" y="2267"/>
                    <a:pt x="1051" y="2207"/>
                    <a:pt x="1157" y="2101"/>
                  </a:cubicBezTo>
                  <a:lnTo>
                    <a:pt x="2289" y="969"/>
                  </a:lnTo>
                  <a:cubicBezTo>
                    <a:pt x="2510" y="745"/>
                    <a:pt x="2510" y="389"/>
                    <a:pt x="2289" y="166"/>
                  </a:cubicBezTo>
                  <a:cubicBezTo>
                    <a:pt x="2179" y="55"/>
                    <a:pt x="2034" y="0"/>
                    <a:pt x="18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19" name="Google Shape;6119;p71"/>
            <p:cNvSpPr/>
            <p:nvPr/>
          </p:nvSpPr>
          <p:spPr>
            <a:xfrm>
              <a:off x="1317875" y="1088250"/>
              <a:ext cx="59350" cy="56675"/>
            </a:xfrm>
            <a:custGeom>
              <a:avLst/>
              <a:gdLst/>
              <a:ahLst/>
              <a:cxnLst/>
              <a:rect l="l" t="t" r="r" b="b"/>
              <a:pathLst>
                <a:path w="2374" h="2267" extrusionOk="0">
                  <a:moveTo>
                    <a:pt x="621" y="1"/>
                  </a:moveTo>
                  <a:cubicBezTo>
                    <a:pt x="476" y="1"/>
                    <a:pt x="331" y="56"/>
                    <a:pt x="221" y="166"/>
                  </a:cubicBezTo>
                  <a:cubicBezTo>
                    <a:pt x="1" y="390"/>
                    <a:pt x="1" y="746"/>
                    <a:pt x="221" y="969"/>
                  </a:cubicBezTo>
                  <a:lnTo>
                    <a:pt x="1353" y="2102"/>
                  </a:lnTo>
                  <a:cubicBezTo>
                    <a:pt x="1463" y="2212"/>
                    <a:pt x="1608" y="2267"/>
                    <a:pt x="1753" y="2267"/>
                  </a:cubicBezTo>
                  <a:cubicBezTo>
                    <a:pt x="1898" y="2267"/>
                    <a:pt x="2043" y="2212"/>
                    <a:pt x="2153" y="2102"/>
                  </a:cubicBezTo>
                  <a:cubicBezTo>
                    <a:pt x="2374" y="1878"/>
                    <a:pt x="2374" y="1522"/>
                    <a:pt x="2153" y="1298"/>
                  </a:cubicBezTo>
                  <a:lnTo>
                    <a:pt x="1021" y="166"/>
                  </a:ln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20" name="Google Shape;6120;p71"/>
            <p:cNvSpPr/>
            <p:nvPr/>
          </p:nvSpPr>
          <p:spPr>
            <a:xfrm>
              <a:off x="889275" y="861850"/>
              <a:ext cx="400700" cy="424575"/>
            </a:xfrm>
            <a:custGeom>
              <a:avLst/>
              <a:gdLst/>
              <a:ahLst/>
              <a:cxnLst/>
              <a:rect l="l" t="t" r="r" b="b"/>
              <a:pathLst>
                <a:path w="16028" h="16983" extrusionOk="0">
                  <a:moveTo>
                    <a:pt x="4668" y="4530"/>
                  </a:moveTo>
                  <a:lnTo>
                    <a:pt x="4668" y="10191"/>
                  </a:lnTo>
                  <a:lnTo>
                    <a:pt x="4104" y="10191"/>
                  </a:lnTo>
                  <a:cubicBezTo>
                    <a:pt x="2539" y="10191"/>
                    <a:pt x="1271" y="8923"/>
                    <a:pt x="1271" y="7359"/>
                  </a:cubicBezTo>
                  <a:cubicBezTo>
                    <a:pt x="1271" y="5795"/>
                    <a:pt x="2539" y="4530"/>
                    <a:pt x="4104" y="4530"/>
                  </a:cubicBezTo>
                  <a:close/>
                  <a:moveTo>
                    <a:pt x="6972" y="4530"/>
                  </a:moveTo>
                  <a:lnTo>
                    <a:pt x="6972" y="10191"/>
                  </a:lnTo>
                  <a:lnTo>
                    <a:pt x="5800" y="10191"/>
                  </a:lnTo>
                  <a:lnTo>
                    <a:pt x="5800" y="4530"/>
                  </a:lnTo>
                  <a:close/>
                  <a:moveTo>
                    <a:pt x="12633" y="1565"/>
                  </a:moveTo>
                  <a:lnTo>
                    <a:pt x="12633" y="13153"/>
                  </a:lnTo>
                  <a:lnTo>
                    <a:pt x="8104" y="10436"/>
                  </a:lnTo>
                  <a:lnTo>
                    <a:pt x="8104" y="4282"/>
                  </a:lnTo>
                  <a:lnTo>
                    <a:pt x="12633" y="1565"/>
                  </a:lnTo>
                  <a:close/>
                  <a:moveTo>
                    <a:pt x="14330" y="1133"/>
                  </a:moveTo>
                  <a:cubicBezTo>
                    <a:pt x="14644" y="1133"/>
                    <a:pt x="14898" y="1384"/>
                    <a:pt x="14898" y="1698"/>
                  </a:cubicBezTo>
                  <a:lnTo>
                    <a:pt x="14898" y="13021"/>
                  </a:lnTo>
                  <a:cubicBezTo>
                    <a:pt x="14898" y="13335"/>
                    <a:pt x="14644" y="13588"/>
                    <a:pt x="14330" y="13588"/>
                  </a:cubicBezTo>
                  <a:lnTo>
                    <a:pt x="13766" y="13588"/>
                  </a:lnTo>
                  <a:lnTo>
                    <a:pt x="13766" y="1133"/>
                  </a:lnTo>
                  <a:close/>
                  <a:moveTo>
                    <a:pt x="5800" y="11324"/>
                  </a:moveTo>
                  <a:lnTo>
                    <a:pt x="5800" y="15285"/>
                  </a:lnTo>
                  <a:cubicBezTo>
                    <a:pt x="5800" y="15599"/>
                    <a:pt x="5547" y="15850"/>
                    <a:pt x="5236" y="15850"/>
                  </a:cubicBezTo>
                  <a:cubicBezTo>
                    <a:pt x="4922" y="15850"/>
                    <a:pt x="4668" y="15599"/>
                    <a:pt x="4668" y="15285"/>
                  </a:cubicBezTo>
                  <a:lnTo>
                    <a:pt x="4668" y="11324"/>
                  </a:lnTo>
                  <a:close/>
                  <a:moveTo>
                    <a:pt x="13132" y="1"/>
                  </a:moveTo>
                  <a:lnTo>
                    <a:pt x="13098" y="7"/>
                  </a:lnTo>
                  <a:lnTo>
                    <a:pt x="13074" y="10"/>
                  </a:lnTo>
                  <a:cubicBezTo>
                    <a:pt x="13065" y="10"/>
                    <a:pt x="13056" y="16"/>
                    <a:pt x="13047" y="19"/>
                  </a:cubicBezTo>
                  <a:cubicBezTo>
                    <a:pt x="13038" y="22"/>
                    <a:pt x="13029" y="22"/>
                    <a:pt x="13020" y="25"/>
                  </a:cubicBezTo>
                  <a:lnTo>
                    <a:pt x="12996" y="34"/>
                  </a:lnTo>
                  <a:lnTo>
                    <a:pt x="12966" y="46"/>
                  </a:lnTo>
                  <a:lnTo>
                    <a:pt x="12947" y="58"/>
                  </a:lnTo>
                  <a:cubicBezTo>
                    <a:pt x="12935" y="61"/>
                    <a:pt x="12926" y="67"/>
                    <a:pt x="12917" y="73"/>
                  </a:cubicBezTo>
                  <a:lnTo>
                    <a:pt x="12908" y="79"/>
                  </a:lnTo>
                  <a:lnTo>
                    <a:pt x="7380" y="3398"/>
                  </a:lnTo>
                  <a:lnTo>
                    <a:pt x="4104" y="3398"/>
                  </a:lnTo>
                  <a:cubicBezTo>
                    <a:pt x="2023" y="3398"/>
                    <a:pt x="299" y="5001"/>
                    <a:pt x="151" y="7075"/>
                  </a:cubicBezTo>
                  <a:cubicBezTo>
                    <a:pt x="0" y="9150"/>
                    <a:pt x="1480" y="10986"/>
                    <a:pt x="3536" y="11281"/>
                  </a:cubicBezTo>
                  <a:lnTo>
                    <a:pt x="3536" y="15285"/>
                  </a:lnTo>
                  <a:cubicBezTo>
                    <a:pt x="3536" y="16224"/>
                    <a:pt x="4297" y="16982"/>
                    <a:pt x="5236" y="16982"/>
                  </a:cubicBezTo>
                  <a:cubicBezTo>
                    <a:pt x="6172" y="16982"/>
                    <a:pt x="6933" y="16224"/>
                    <a:pt x="6933" y="15285"/>
                  </a:cubicBezTo>
                  <a:lnTo>
                    <a:pt x="6933" y="11324"/>
                  </a:lnTo>
                  <a:lnTo>
                    <a:pt x="7380" y="11324"/>
                  </a:lnTo>
                  <a:lnTo>
                    <a:pt x="12908" y="14639"/>
                  </a:lnTo>
                  <a:cubicBezTo>
                    <a:pt x="12911" y="14642"/>
                    <a:pt x="12914" y="14642"/>
                    <a:pt x="12920" y="14645"/>
                  </a:cubicBezTo>
                  <a:lnTo>
                    <a:pt x="12935" y="14654"/>
                  </a:lnTo>
                  <a:cubicBezTo>
                    <a:pt x="12947" y="14660"/>
                    <a:pt x="12963" y="14666"/>
                    <a:pt x="12975" y="14672"/>
                  </a:cubicBezTo>
                  <a:lnTo>
                    <a:pt x="12984" y="14675"/>
                  </a:lnTo>
                  <a:cubicBezTo>
                    <a:pt x="12996" y="14681"/>
                    <a:pt x="13011" y="14687"/>
                    <a:pt x="13023" y="14690"/>
                  </a:cubicBezTo>
                  <a:lnTo>
                    <a:pt x="13038" y="14696"/>
                  </a:lnTo>
                  <a:cubicBezTo>
                    <a:pt x="13053" y="14699"/>
                    <a:pt x="13068" y="14702"/>
                    <a:pt x="13083" y="14708"/>
                  </a:cubicBezTo>
                  <a:cubicBezTo>
                    <a:pt x="13101" y="14712"/>
                    <a:pt x="13117" y="14715"/>
                    <a:pt x="13135" y="14715"/>
                  </a:cubicBezTo>
                  <a:lnTo>
                    <a:pt x="13144" y="14715"/>
                  </a:lnTo>
                  <a:cubicBezTo>
                    <a:pt x="13162" y="14715"/>
                    <a:pt x="13180" y="14718"/>
                    <a:pt x="13198" y="14718"/>
                  </a:cubicBezTo>
                  <a:lnTo>
                    <a:pt x="14330" y="14718"/>
                  </a:lnTo>
                  <a:cubicBezTo>
                    <a:pt x="15266" y="14718"/>
                    <a:pt x="16027" y="13957"/>
                    <a:pt x="16027" y="13021"/>
                  </a:cubicBezTo>
                  <a:lnTo>
                    <a:pt x="16027" y="1698"/>
                  </a:lnTo>
                  <a:cubicBezTo>
                    <a:pt x="16027" y="759"/>
                    <a:pt x="15266" y="1"/>
                    <a:pt x="143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21" name="Google Shape;6121;p71"/>
          <p:cNvSpPr/>
          <p:nvPr/>
        </p:nvSpPr>
        <p:spPr>
          <a:xfrm>
            <a:off x="1709500" y="3608838"/>
            <a:ext cx="403965" cy="453605"/>
          </a:xfrm>
          <a:custGeom>
            <a:avLst/>
            <a:gdLst/>
            <a:ahLst/>
            <a:cxnLst/>
            <a:rect l="l" t="t" r="r" b="b"/>
            <a:pathLst>
              <a:path w="17212" h="19327" extrusionOk="0">
                <a:moveTo>
                  <a:pt x="15400" y="1132"/>
                </a:moveTo>
                <a:cubicBezTo>
                  <a:pt x="15714" y="1132"/>
                  <a:pt x="15965" y="1386"/>
                  <a:pt x="15965" y="1700"/>
                </a:cubicBezTo>
                <a:cubicBezTo>
                  <a:pt x="15965" y="2011"/>
                  <a:pt x="15714" y="2265"/>
                  <a:pt x="15400" y="2265"/>
                </a:cubicBezTo>
                <a:lnTo>
                  <a:pt x="1813" y="2265"/>
                </a:lnTo>
                <a:cubicBezTo>
                  <a:pt x="1499" y="2265"/>
                  <a:pt x="1248" y="2011"/>
                  <a:pt x="1248" y="1700"/>
                </a:cubicBezTo>
                <a:cubicBezTo>
                  <a:pt x="1248" y="1386"/>
                  <a:pt x="1499" y="1132"/>
                  <a:pt x="1813" y="1132"/>
                </a:cubicBezTo>
                <a:close/>
                <a:moveTo>
                  <a:pt x="14835" y="3397"/>
                </a:moveTo>
                <a:lnTo>
                  <a:pt x="14835" y="10230"/>
                </a:lnTo>
                <a:lnTo>
                  <a:pt x="2380" y="10230"/>
                </a:lnTo>
                <a:lnTo>
                  <a:pt x="2380" y="3397"/>
                </a:lnTo>
                <a:close/>
                <a:moveTo>
                  <a:pt x="15400" y="11362"/>
                </a:moveTo>
                <a:cubicBezTo>
                  <a:pt x="15714" y="11362"/>
                  <a:pt x="15965" y="11613"/>
                  <a:pt x="15965" y="11927"/>
                </a:cubicBezTo>
                <a:cubicBezTo>
                  <a:pt x="15965" y="12241"/>
                  <a:pt x="15714" y="12495"/>
                  <a:pt x="15400" y="12495"/>
                </a:cubicBezTo>
                <a:lnTo>
                  <a:pt x="1813" y="12495"/>
                </a:lnTo>
                <a:cubicBezTo>
                  <a:pt x="1499" y="12495"/>
                  <a:pt x="1248" y="12241"/>
                  <a:pt x="1248" y="11927"/>
                </a:cubicBezTo>
                <a:cubicBezTo>
                  <a:pt x="1248" y="11613"/>
                  <a:pt x="1499" y="11362"/>
                  <a:pt x="1813" y="11362"/>
                </a:cubicBezTo>
                <a:close/>
                <a:moveTo>
                  <a:pt x="1813" y="0"/>
                </a:moveTo>
                <a:cubicBezTo>
                  <a:pt x="985" y="0"/>
                  <a:pt x="279" y="595"/>
                  <a:pt x="140" y="1410"/>
                </a:cubicBezTo>
                <a:cubicBezTo>
                  <a:pt x="1" y="2226"/>
                  <a:pt x="466" y="3023"/>
                  <a:pt x="1248" y="3300"/>
                </a:cubicBezTo>
                <a:lnTo>
                  <a:pt x="1248" y="10327"/>
                </a:lnTo>
                <a:cubicBezTo>
                  <a:pt x="569" y="10565"/>
                  <a:pt x="116" y="11208"/>
                  <a:pt x="116" y="11927"/>
                </a:cubicBezTo>
                <a:cubicBezTo>
                  <a:pt x="116" y="12866"/>
                  <a:pt x="874" y="13624"/>
                  <a:pt x="1813" y="13627"/>
                </a:cubicBezTo>
                <a:lnTo>
                  <a:pt x="6774" y="13627"/>
                </a:lnTo>
                <a:lnTo>
                  <a:pt x="2522" y="18383"/>
                </a:lnTo>
                <a:cubicBezTo>
                  <a:pt x="2311" y="18615"/>
                  <a:pt x="2332" y="18974"/>
                  <a:pt x="2564" y="19183"/>
                </a:cubicBezTo>
                <a:cubicBezTo>
                  <a:pt x="2673" y="19279"/>
                  <a:pt x="2809" y="19326"/>
                  <a:pt x="2943" y="19326"/>
                </a:cubicBezTo>
                <a:cubicBezTo>
                  <a:pt x="3100" y="19326"/>
                  <a:pt x="3256" y="19262"/>
                  <a:pt x="3368" y="19137"/>
                </a:cubicBezTo>
                <a:lnTo>
                  <a:pt x="8042" y="13908"/>
                </a:lnTo>
                <a:lnTo>
                  <a:pt x="8042" y="18760"/>
                </a:lnTo>
                <a:cubicBezTo>
                  <a:pt x="8042" y="19071"/>
                  <a:pt x="8292" y="19325"/>
                  <a:pt x="8606" y="19325"/>
                </a:cubicBezTo>
                <a:cubicBezTo>
                  <a:pt x="8920" y="19325"/>
                  <a:pt x="9174" y="19071"/>
                  <a:pt x="9174" y="18760"/>
                </a:cubicBezTo>
                <a:lnTo>
                  <a:pt x="9174" y="13908"/>
                </a:lnTo>
                <a:lnTo>
                  <a:pt x="13845" y="19137"/>
                </a:lnTo>
                <a:cubicBezTo>
                  <a:pt x="13956" y="19260"/>
                  <a:pt x="14109" y="19322"/>
                  <a:pt x="14263" y="19322"/>
                </a:cubicBezTo>
                <a:cubicBezTo>
                  <a:pt x="14398" y="19322"/>
                  <a:pt x="14534" y="19274"/>
                  <a:pt x="14642" y="19177"/>
                </a:cubicBezTo>
                <a:cubicBezTo>
                  <a:pt x="14875" y="18971"/>
                  <a:pt x="14896" y="18615"/>
                  <a:pt x="14691" y="18383"/>
                </a:cubicBezTo>
                <a:lnTo>
                  <a:pt x="10439" y="13627"/>
                </a:lnTo>
                <a:lnTo>
                  <a:pt x="15400" y="13627"/>
                </a:lnTo>
                <a:cubicBezTo>
                  <a:pt x="16227" y="13624"/>
                  <a:pt x="16934" y="13029"/>
                  <a:pt x="17073" y="12214"/>
                </a:cubicBezTo>
                <a:cubicBezTo>
                  <a:pt x="17212" y="11399"/>
                  <a:pt x="16747" y="10601"/>
                  <a:pt x="15968" y="10327"/>
                </a:cubicBezTo>
                <a:lnTo>
                  <a:pt x="15968" y="3300"/>
                </a:lnTo>
                <a:cubicBezTo>
                  <a:pt x="16747" y="3023"/>
                  <a:pt x="17212" y="2226"/>
                  <a:pt x="17073" y="1410"/>
                </a:cubicBezTo>
                <a:cubicBezTo>
                  <a:pt x="16934" y="595"/>
                  <a:pt x="16227" y="0"/>
                  <a:pt x="154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22" name="Google Shape;6122;p71"/>
          <p:cNvSpPr/>
          <p:nvPr/>
        </p:nvSpPr>
        <p:spPr>
          <a:xfrm>
            <a:off x="2236175" y="3608838"/>
            <a:ext cx="455341" cy="453605"/>
          </a:xfrm>
          <a:custGeom>
            <a:avLst/>
            <a:gdLst/>
            <a:ahLst/>
            <a:cxnLst/>
            <a:rect l="l" t="t" r="r" b="b"/>
            <a:pathLst>
              <a:path w="19401" h="19327" extrusionOk="0">
                <a:moveTo>
                  <a:pt x="14796" y="1700"/>
                </a:moveTo>
                <a:lnTo>
                  <a:pt x="17815" y="3965"/>
                </a:lnTo>
                <a:lnTo>
                  <a:pt x="14796" y="6229"/>
                </a:lnTo>
                <a:lnTo>
                  <a:pt x="14796" y="5097"/>
                </a:lnTo>
                <a:cubicBezTo>
                  <a:pt x="14796" y="4783"/>
                  <a:pt x="14542" y="4529"/>
                  <a:pt x="14231" y="4529"/>
                </a:cubicBezTo>
                <a:lnTo>
                  <a:pt x="10795" y="4529"/>
                </a:lnTo>
                <a:cubicBezTo>
                  <a:pt x="9807" y="4529"/>
                  <a:pt x="8893" y="5046"/>
                  <a:pt x="8379" y="5888"/>
                </a:cubicBezTo>
                <a:cubicBezTo>
                  <a:pt x="8177" y="5547"/>
                  <a:pt x="7932" y="5230"/>
                  <a:pt x="7658" y="4946"/>
                </a:cubicBezTo>
                <a:cubicBezTo>
                  <a:pt x="8409" y="3974"/>
                  <a:pt x="9566" y="3403"/>
                  <a:pt x="10795" y="3397"/>
                </a:cubicBezTo>
                <a:lnTo>
                  <a:pt x="14231" y="3397"/>
                </a:lnTo>
                <a:cubicBezTo>
                  <a:pt x="14542" y="3397"/>
                  <a:pt x="14796" y="3143"/>
                  <a:pt x="14796" y="2832"/>
                </a:cubicBezTo>
                <a:lnTo>
                  <a:pt x="14796" y="1700"/>
                </a:lnTo>
                <a:close/>
                <a:moveTo>
                  <a:pt x="5807" y="13011"/>
                </a:moveTo>
                <a:cubicBezTo>
                  <a:pt x="5888" y="13398"/>
                  <a:pt x="6015" y="13778"/>
                  <a:pt x="6184" y="14137"/>
                </a:cubicBezTo>
                <a:cubicBezTo>
                  <a:pt x="5538" y="14566"/>
                  <a:pt x="4777" y="14796"/>
                  <a:pt x="4001" y="14796"/>
                </a:cubicBezTo>
                <a:lnTo>
                  <a:pt x="1700" y="14796"/>
                </a:lnTo>
                <a:cubicBezTo>
                  <a:pt x="1386" y="14796"/>
                  <a:pt x="1133" y="14542"/>
                  <a:pt x="1133" y="14231"/>
                </a:cubicBezTo>
                <a:cubicBezTo>
                  <a:pt x="1133" y="13917"/>
                  <a:pt x="1386" y="13663"/>
                  <a:pt x="1700" y="13663"/>
                </a:cubicBezTo>
                <a:lnTo>
                  <a:pt x="4001" y="13663"/>
                </a:lnTo>
                <a:cubicBezTo>
                  <a:pt x="4662" y="13663"/>
                  <a:pt x="5299" y="13434"/>
                  <a:pt x="5807" y="13011"/>
                </a:cubicBezTo>
                <a:close/>
                <a:moveTo>
                  <a:pt x="4001" y="4529"/>
                </a:moveTo>
                <a:cubicBezTo>
                  <a:pt x="6190" y="4532"/>
                  <a:pt x="7963" y="6305"/>
                  <a:pt x="7966" y="8494"/>
                </a:cubicBezTo>
                <a:lnTo>
                  <a:pt x="7966" y="11966"/>
                </a:lnTo>
                <a:cubicBezTo>
                  <a:pt x="7966" y="13527"/>
                  <a:pt x="9231" y="14792"/>
                  <a:pt x="10795" y="14796"/>
                </a:cubicBezTo>
                <a:lnTo>
                  <a:pt x="14231" y="14796"/>
                </a:lnTo>
                <a:cubicBezTo>
                  <a:pt x="14542" y="14796"/>
                  <a:pt x="14796" y="14542"/>
                  <a:pt x="14796" y="14231"/>
                </a:cubicBezTo>
                <a:lnTo>
                  <a:pt x="14796" y="13099"/>
                </a:lnTo>
                <a:lnTo>
                  <a:pt x="17815" y="15363"/>
                </a:lnTo>
                <a:lnTo>
                  <a:pt x="14796" y="17628"/>
                </a:lnTo>
                <a:lnTo>
                  <a:pt x="14796" y="16495"/>
                </a:lnTo>
                <a:cubicBezTo>
                  <a:pt x="14796" y="16181"/>
                  <a:pt x="14542" y="15928"/>
                  <a:pt x="14231" y="15928"/>
                </a:cubicBezTo>
                <a:lnTo>
                  <a:pt x="10795" y="15928"/>
                </a:lnTo>
                <a:cubicBezTo>
                  <a:pt x="8606" y="15925"/>
                  <a:pt x="6833" y="14152"/>
                  <a:pt x="6833" y="11966"/>
                </a:cubicBezTo>
                <a:lnTo>
                  <a:pt x="6833" y="8494"/>
                </a:lnTo>
                <a:cubicBezTo>
                  <a:pt x="6830" y="6930"/>
                  <a:pt x="5565" y="5665"/>
                  <a:pt x="4001" y="5662"/>
                </a:cubicBezTo>
                <a:lnTo>
                  <a:pt x="1700" y="5662"/>
                </a:lnTo>
                <a:cubicBezTo>
                  <a:pt x="1386" y="5662"/>
                  <a:pt x="1133" y="5408"/>
                  <a:pt x="1133" y="5097"/>
                </a:cubicBezTo>
                <a:cubicBezTo>
                  <a:pt x="1133" y="4783"/>
                  <a:pt x="1386" y="4529"/>
                  <a:pt x="1700" y="4529"/>
                </a:cubicBezTo>
                <a:close/>
                <a:moveTo>
                  <a:pt x="14230" y="0"/>
                </a:moveTo>
                <a:cubicBezTo>
                  <a:pt x="13937" y="0"/>
                  <a:pt x="13663" y="232"/>
                  <a:pt x="13663" y="568"/>
                </a:cubicBezTo>
                <a:lnTo>
                  <a:pt x="13663" y="2265"/>
                </a:lnTo>
                <a:lnTo>
                  <a:pt x="10795" y="2265"/>
                </a:lnTo>
                <a:cubicBezTo>
                  <a:pt x="9228" y="2265"/>
                  <a:pt x="7745" y="2989"/>
                  <a:pt x="6782" y="4224"/>
                </a:cubicBezTo>
                <a:cubicBezTo>
                  <a:pt x="5955" y="3684"/>
                  <a:pt x="4988" y="3397"/>
                  <a:pt x="4001" y="3397"/>
                </a:cubicBezTo>
                <a:lnTo>
                  <a:pt x="1700" y="3397"/>
                </a:lnTo>
                <a:cubicBezTo>
                  <a:pt x="761" y="3397"/>
                  <a:pt x="0" y="4158"/>
                  <a:pt x="0" y="5097"/>
                </a:cubicBezTo>
                <a:cubicBezTo>
                  <a:pt x="0" y="6033"/>
                  <a:pt x="761" y="6794"/>
                  <a:pt x="1700" y="6794"/>
                </a:cubicBezTo>
                <a:lnTo>
                  <a:pt x="4001" y="6794"/>
                </a:lnTo>
                <a:cubicBezTo>
                  <a:pt x="4940" y="6794"/>
                  <a:pt x="5698" y="7555"/>
                  <a:pt x="5701" y="8494"/>
                </a:cubicBezTo>
                <a:lnTo>
                  <a:pt x="5701" y="10834"/>
                </a:lnTo>
                <a:cubicBezTo>
                  <a:pt x="5698" y="11770"/>
                  <a:pt x="4940" y="12531"/>
                  <a:pt x="4001" y="12531"/>
                </a:cubicBezTo>
                <a:lnTo>
                  <a:pt x="1700" y="12531"/>
                </a:lnTo>
                <a:cubicBezTo>
                  <a:pt x="761" y="12531"/>
                  <a:pt x="0" y="13292"/>
                  <a:pt x="0" y="14231"/>
                </a:cubicBezTo>
                <a:cubicBezTo>
                  <a:pt x="0" y="15167"/>
                  <a:pt x="761" y="15928"/>
                  <a:pt x="1700" y="15928"/>
                </a:cubicBezTo>
                <a:lnTo>
                  <a:pt x="4001" y="15928"/>
                </a:lnTo>
                <a:cubicBezTo>
                  <a:pt x="4988" y="15928"/>
                  <a:pt x="5955" y="15641"/>
                  <a:pt x="6782" y="15100"/>
                </a:cubicBezTo>
                <a:cubicBezTo>
                  <a:pt x="7745" y="16338"/>
                  <a:pt x="9228" y="17060"/>
                  <a:pt x="10795" y="17060"/>
                </a:cubicBezTo>
                <a:lnTo>
                  <a:pt x="13663" y="17060"/>
                </a:lnTo>
                <a:lnTo>
                  <a:pt x="13663" y="18760"/>
                </a:lnTo>
                <a:cubicBezTo>
                  <a:pt x="13663" y="19095"/>
                  <a:pt x="13938" y="19326"/>
                  <a:pt x="14232" y="19326"/>
                </a:cubicBezTo>
                <a:cubicBezTo>
                  <a:pt x="14347" y="19326"/>
                  <a:pt x="14464" y="19291"/>
                  <a:pt x="14569" y="19213"/>
                </a:cubicBezTo>
                <a:lnTo>
                  <a:pt x="19098" y="15816"/>
                </a:lnTo>
                <a:cubicBezTo>
                  <a:pt x="19400" y="15590"/>
                  <a:pt x="19400" y="15134"/>
                  <a:pt x="19098" y="14910"/>
                </a:cubicBezTo>
                <a:lnTo>
                  <a:pt x="14569" y="11513"/>
                </a:lnTo>
                <a:cubicBezTo>
                  <a:pt x="14464" y="11434"/>
                  <a:pt x="14345" y="11398"/>
                  <a:pt x="14230" y="11398"/>
                </a:cubicBezTo>
                <a:cubicBezTo>
                  <a:pt x="13937" y="11398"/>
                  <a:pt x="13663" y="11630"/>
                  <a:pt x="13663" y="11966"/>
                </a:cubicBezTo>
                <a:lnTo>
                  <a:pt x="13663" y="13663"/>
                </a:lnTo>
                <a:lnTo>
                  <a:pt x="10795" y="13663"/>
                </a:lnTo>
                <a:cubicBezTo>
                  <a:pt x="9856" y="13663"/>
                  <a:pt x="9098" y="12902"/>
                  <a:pt x="9098" y="11966"/>
                </a:cubicBezTo>
                <a:lnTo>
                  <a:pt x="9098" y="7362"/>
                </a:lnTo>
                <a:cubicBezTo>
                  <a:pt x="9098" y="6423"/>
                  <a:pt x="9856" y="5662"/>
                  <a:pt x="10795" y="5662"/>
                </a:cubicBezTo>
                <a:lnTo>
                  <a:pt x="13663" y="5662"/>
                </a:lnTo>
                <a:lnTo>
                  <a:pt x="13663" y="7362"/>
                </a:lnTo>
                <a:cubicBezTo>
                  <a:pt x="13663" y="7576"/>
                  <a:pt x="13784" y="7769"/>
                  <a:pt x="13977" y="7866"/>
                </a:cubicBezTo>
                <a:cubicBezTo>
                  <a:pt x="14057" y="7906"/>
                  <a:pt x="14144" y="7926"/>
                  <a:pt x="14230" y="7926"/>
                </a:cubicBezTo>
                <a:cubicBezTo>
                  <a:pt x="14350" y="7926"/>
                  <a:pt x="14469" y="7888"/>
                  <a:pt x="14569" y="7815"/>
                </a:cubicBezTo>
                <a:lnTo>
                  <a:pt x="19098" y="4418"/>
                </a:lnTo>
                <a:cubicBezTo>
                  <a:pt x="19400" y="4191"/>
                  <a:pt x="19400" y="3735"/>
                  <a:pt x="19098" y="3512"/>
                </a:cubicBezTo>
                <a:lnTo>
                  <a:pt x="14569" y="115"/>
                </a:lnTo>
                <a:cubicBezTo>
                  <a:pt x="14464" y="36"/>
                  <a:pt x="14345" y="0"/>
                  <a:pt x="14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23" name="Google Shape;6123;p71"/>
          <p:cNvGrpSpPr/>
          <p:nvPr/>
        </p:nvGrpSpPr>
        <p:grpSpPr>
          <a:xfrm>
            <a:off x="2807964" y="3608999"/>
            <a:ext cx="453557" cy="453557"/>
            <a:chOff x="2676100" y="832575"/>
            <a:chExt cx="483125" cy="483125"/>
          </a:xfrm>
        </p:grpSpPr>
        <p:sp>
          <p:nvSpPr>
            <p:cNvPr id="6124" name="Google Shape;6124;p71"/>
            <p:cNvSpPr/>
            <p:nvPr/>
          </p:nvSpPr>
          <p:spPr>
            <a:xfrm>
              <a:off x="2676100" y="832575"/>
              <a:ext cx="483125" cy="483125"/>
            </a:xfrm>
            <a:custGeom>
              <a:avLst/>
              <a:gdLst/>
              <a:ahLst/>
              <a:cxnLst/>
              <a:rect l="l" t="t" r="r" b="b"/>
              <a:pathLst>
                <a:path w="19325" h="19325" extrusionOk="0">
                  <a:moveTo>
                    <a:pt x="10351" y="1132"/>
                  </a:moveTo>
                  <a:lnTo>
                    <a:pt x="10562" y="2008"/>
                  </a:lnTo>
                  <a:cubicBezTo>
                    <a:pt x="10614" y="2226"/>
                    <a:pt x="10789" y="2392"/>
                    <a:pt x="11009" y="2434"/>
                  </a:cubicBezTo>
                  <a:cubicBezTo>
                    <a:pt x="12021" y="2618"/>
                    <a:pt x="12981" y="3014"/>
                    <a:pt x="13826" y="3596"/>
                  </a:cubicBezTo>
                  <a:cubicBezTo>
                    <a:pt x="13922" y="3663"/>
                    <a:pt x="14033" y="3696"/>
                    <a:pt x="14146" y="3696"/>
                  </a:cubicBezTo>
                  <a:cubicBezTo>
                    <a:pt x="14247" y="3696"/>
                    <a:pt x="14349" y="3669"/>
                    <a:pt x="14439" y="3614"/>
                  </a:cubicBezTo>
                  <a:lnTo>
                    <a:pt x="15179" y="3171"/>
                  </a:lnTo>
                  <a:lnTo>
                    <a:pt x="16154" y="4146"/>
                  </a:lnTo>
                  <a:lnTo>
                    <a:pt x="15711" y="4889"/>
                  </a:lnTo>
                  <a:cubicBezTo>
                    <a:pt x="15596" y="5079"/>
                    <a:pt x="15602" y="5317"/>
                    <a:pt x="15729" y="5499"/>
                  </a:cubicBezTo>
                  <a:cubicBezTo>
                    <a:pt x="16311" y="6344"/>
                    <a:pt x="16707" y="7304"/>
                    <a:pt x="16891" y="8316"/>
                  </a:cubicBezTo>
                  <a:cubicBezTo>
                    <a:pt x="16933" y="8536"/>
                    <a:pt x="17100" y="8711"/>
                    <a:pt x="17317" y="8763"/>
                  </a:cubicBezTo>
                  <a:lnTo>
                    <a:pt x="18193" y="8974"/>
                  </a:lnTo>
                  <a:lnTo>
                    <a:pt x="18193" y="10351"/>
                  </a:lnTo>
                  <a:lnTo>
                    <a:pt x="17317" y="10562"/>
                  </a:lnTo>
                  <a:cubicBezTo>
                    <a:pt x="17100" y="10614"/>
                    <a:pt x="16933" y="10789"/>
                    <a:pt x="16894" y="11009"/>
                  </a:cubicBezTo>
                  <a:cubicBezTo>
                    <a:pt x="16710" y="12021"/>
                    <a:pt x="16311" y="12981"/>
                    <a:pt x="15729" y="13826"/>
                  </a:cubicBezTo>
                  <a:cubicBezTo>
                    <a:pt x="15605" y="14007"/>
                    <a:pt x="15596" y="14246"/>
                    <a:pt x="15711" y="14436"/>
                  </a:cubicBezTo>
                  <a:lnTo>
                    <a:pt x="16154" y="15179"/>
                  </a:lnTo>
                  <a:lnTo>
                    <a:pt x="15179" y="16154"/>
                  </a:lnTo>
                  <a:lnTo>
                    <a:pt x="14439" y="15710"/>
                  </a:lnTo>
                  <a:cubicBezTo>
                    <a:pt x="14349" y="15656"/>
                    <a:pt x="14247" y="15629"/>
                    <a:pt x="14146" y="15629"/>
                  </a:cubicBezTo>
                  <a:cubicBezTo>
                    <a:pt x="14033" y="15629"/>
                    <a:pt x="13922" y="15662"/>
                    <a:pt x="13826" y="15729"/>
                  </a:cubicBezTo>
                  <a:cubicBezTo>
                    <a:pt x="12981" y="16311"/>
                    <a:pt x="12021" y="16707"/>
                    <a:pt x="11009" y="16891"/>
                  </a:cubicBezTo>
                  <a:cubicBezTo>
                    <a:pt x="10789" y="16933"/>
                    <a:pt x="10614" y="17099"/>
                    <a:pt x="10562" y="17317"/>
                  </a:cubicBezTo>
                  <a:lnTo>
                    <a:pt x="10351" y="18192"/>
                  </a:lnTo>
                  <a:lnTo>
                    <a:pt x="8974" y="18192"/>
                  </a:lnTo>
                  <a:lnTo>
                    <a:pt x="8763" y="17317"/>
                  </a:lnTo>
                  <a:cubicBezTo>
                    <a:pt x="8712" y="17099"/>
                    <a:pt x="8536" y="16933"/>
                    <a:pt x="8316" y="16891"/>
                  </a:cubicBezTo>
                  <a:cubicBezTo>
                    <a:pt x="7304" y="16707"/>
                    <a:pt x="6344" y="16311"/>
                    <a:pt x="5499" y="15729"/>
                  </a:cubicBezTo>
                  <a:cubicBezTo>
                    <a:pt x="5404" y="15662"/>
                    <a:pt x="5293" y="15629"/>
                    <a:pt x="5181" y="15629"/>
                  </a:cubicBezTo>
                  <a:cubicBezTo>
                    <a:pt x="5081" y="15629"/>
                    <a:pt x="4979" y="15656"/>
                    <a:pt x="4889" y="15710"/>
                  </a:cubicBezTo>
                  <a:lnTo>
                    <a:pt x="4146" y="16154"/>
                  </a:lnTo>
                  <a:lnTo>
                    <a:pt x="3171" y="15179"/>
                  </a:lnTo>
                  <a:lnTo>
                    <a:pt x="3615" y="14436"/>
                  </a:lnTo>
                  <a:cubicBezTo>
                    <a:pt x="3729" y="14246"/>
                    <a:pt x="3723" y="14007"/>
                    <a:pt x="3597" y="13826"/>
                  </a:cubicBezTo>
                  <a:cubicBezTo>
                    <a:pt x="3014" y="12981"/>
                    <a:pt x="2618" y="12021"/>
                    <a:pt x="2434" y="11009"/>
                  </a:cubicBezTo>
                  <a:cubicBezTo>
                    <a:pt x="2392" y="10789"/>
                    <a:pt x="2226" y="10614"/>
                    <a:pt x="2011" y="10562"/>
                  </a:cubicBezTo>
                  <a:lnTo>
                    <a:pt x="1133" y="10351"/>
                  </a:lnTo>
                  <a:lnTo>
                    <a:pt x="1133" y="8974"/>
                  </a:lnTo>
                  <a:lnTo>
                    <a:pt x="2008" y="8763"/>
                  </a:lnTo>
                  <a:cubicBezTo>
                    <a:pt x="2226" y="8711"/>
                    <a:pt x="2392" y="8536"/>
                    <a:pt x="2431" y="8316"/>
                  </a:cubicBezTo>
                  <a:cubicBezTo>
                    <a:pt x="2615" y="7304"/>
                    <a:pt x="3014" y="6344"/>
                    <a:pt x="3597" y="5499"/>
                  </a:cubicBezTo>
                  <a:cubicBezTo>
                    <a:pt x="3720" y="5317"/>
                    <a:pt x="3729" y="5079"/>
                    <a:pt x="3615" y="4889"/>
                  </a:cubicBezTo>
                  <a:lnTo>
                    <a:pt x="3171" y="4146"/>
                  </a:lnTo>
                  <a:lnTo>
                    <a:pt x="4146" y="3171"/>
                  </a:lnTo>
                  <a:lnTo>
                    <a:pt x="4889" y="3614"/>
                  </a:lnTo>
                  <a:cubicBezTo>
                    <a:pt x="4979" y="3669"/>
                    <a:pt x="5081" y="3696"/>
                    <a:pt x="5181" y="3696"/>
                  </a:cubicBezTo>
                  <a:cubicBezTo>
                    <a:pt x="5293" y="3696"/>
                    <a:pt x="5404" y="3663"/>
                    <a:pt x="5499" y="3596"/>
                  </a:cubicBezTo>
                  <a:cubicBezTo>
                    <a:pt x="6344" y="3014"/>
                    <a:pt x="7304" y="2618"/>
                    <a:pt x="8316" y="2434"/>
                  </a:cubicBezTo>
                  <a:cubicBezTo>
                    <a:pt x="8536" y="2392"/>
                    <a:pt x="8712" y="2226"/>
                    <a:pt x="8763" y="2008"/>
                  </a:cubicBezTo>
                  <a:lnTo>
                    <a:pt x="8974" y="1132"/>
                  </a:lnTo>
                  <a:close/>
                  <a:moveTo>
                    <a:pt x="8530" y="0"/>
                  </a:moveTo>
                  <a:cubicBezTo>
                    <a:pt x="8268" y="0"/>
                    <a:pt x="8041" y="178"/>
                    <a:pt x="7981" y="432"/>
                  </a:cubicBezTo>
                  <a:lnTo>
                    <a:pt x="7748" y="1392"/>
                  </a:lnTo>
                  <a:cubicBezTo>
                    <a:pt x="6833" y="1604"/>
                    <a:pt x="5961" y="1963"/>
                    <a:pt x="5167" y="2461"/>
                  </a:cubicBezTo>
                  <a:lnTo>
                    <a:pt x="4348" y="1969"/>
                  </a:lnTo>
                  <a:cubicBezTo>
                    <a:pt x="4260" y="1915"/>
                    <a:pt x="4160" y="1889"/>
                    <a:pt x="4061" y="1889"/>
                  </a:cubicBezTo>
                  <a:cubicBezTo>
                    <a:pt x="3913" y="1889"/>
                    <a:pt x="3767" y="1946"/>
                    <a:pt x="3657" y="2056"/>
                  </a:cubicBezTo>
                  <a:lnTo>
                    <a:pt x="2057" y="3657"/>
                  </a:lnTo>
                  <a:cubicBezTo>
                    <a:pt x="1872" y="3841"/>
                    <a:pt x="1839" y="4125"/>
                    <a:pt x="1972" y="4348"/>
                  </a:cubicBezTo>
                  <a:lnTo>
                    <a:pt x="2461" y="5163"/>
                  </a:lnTo>
                  <a:cubicBezTo>
                    <a:pt x="1963" y="5958"/>
                    <a:pt x="1604" y="6830"/>
                    <a:pt x="1395" y="7745"/>
                  </a:cubicBezTo>
                  <a:lnTo>
                    <a:pt x="435" y="7978"/>
                  </a:lnTo>
                  <a:cubicBezTo>
                    <a:pt x="179" y="8041"/>
                    <a:pt x="0" y="8267"/>
                    <a:pt x="0" y="8530"/>
                  </a:cubicBezTo>
                  <a:lnTo>
                    <a:pt x="0" y="10795"/>
                  </a:lnTo>
                  <a:cubicBezTo>
                    <a:pt x="0" y="11057"/>
                    <a:pt x="179" y="11284"/>
                    <a:pt x="432" y="11344"/>
                  </a:cubicBezTo>
                  <a:lnTo>
                    <a:pt x="1392" y="11580"/>
                  </a:lnTo>
                  <a:cubicBezTo>
                    <a:pt x="1604" y="12492"/>
                    <a:pt x="1963" y="13364"/>
                    <a:pt x="2461" y="14158"/>
                  </a:cubicBezTo>
                  <a:lnTo>
                    <a:pt x="1969" y="14977"/>
                  </a:lnTo>
                  <a:cubicBezTo>
                    <a:pt x="1836" y="15200"/>
                    <a:pt x="1872" y="15484"/>
                    <a:pt x="2057" y="15668"/>
                  </a:cubicBezTo>
                  <a:lnTo>
                    <a:pt x="3657" y="17268"/>
                  </a:lnTo>
                  <a:cubicBezTo>
                    <a:pt x="3766" y="17378"/>
                    <a:pt x="3911" y="17435"/>
                    <a:pt x="4057" y="17435"/>
                  </a:cubicBezTo>
                  <a:cubicBezTo>
                    <a:pt x="4157" y="17435"/>
                    <a:pt x="4258" y="17408"/>
                    <a:pt x="4348" y="17353"/>
                  </a:cubicBezTo>
                  <a:lnTo>
                    <a:pt x="5164" y="16864"/>
                  </a:lnTo>
                  <a:cubicBezTo>
                    <a:pt x="5958" y="17362"/>
                    <a:pt x="6830" y="17721"/>
                    <a:pt x="7745" y="17930"/>
                  </a:cubicBezTo>
                  <a:lnTo>
                    <a:pt x="7978" y="18890"/>
                  </a:lnTo>
                  <a:cubicBezTo>
                    <a:pt x="8041" y="19147"/>
                    <a:pt x="8268" y="19325"/>
                    <a:pt x="8530" y="19325"/>
                  </a:cubicBezTo>
                  <a:lnTo>
                    <a:pt x="10795" y="19325"/>
                  </a:lnTo>
                  <a:cubicBezTo>
                    <a:pt x="11058" y="19325"/>
                    <a:pt x="11284" y="19147"/>
                    <a:pt x="11344" y="18893"/>
                  </a:cubicBezTo>
                  <a:lnTo>
                    <a:pt x="11577" y="17933"/>
                  </a:lnTo>
                  <a:cubicBezTo>
                    <a:pt x="12492" y="17721"/>
                    <a:pt x="13364" y="17362"/>
                    <a:pt x="14159" y="16864"/>
                  </a:cubicBezTo>
                  <a:lnTo>
                    <a:pt x="14977" y="17356"/>
                  </a:lnTo>
                  <a:cubicBezTo>
                    <a:pt x="15066" y="17410"/>
                    <a:pt x="15166" y="17436"/>
                    <a:pt x="15266" y="17436"/>
                  </a:cubicBezTo>
                  <a:cubicBezTo>
                    <a:pt x="15413" y="17436"/>
                    <a:pt x="15559" y="17379"/>
                    <a:pt x="15668" y="17271"/>
                  </a:cubicBezTo>
                  <a:lnTo>
                    <a:pt x="17269" y="15668"/>
                  </a:lnTo>
                  <a:cubicBezTo>
                    <a:pt x="17453" y="15484"/>
                    <a:pt x="17489" y="15200"/>
                    <a:pt x="17353" y="14977"/>
                  </a:cubicBezTo>
                  <a:lnTo>
                    <a:pt x="16864" y="14161"/>
                  </a:lnTo>
                  <a:cubicBezTo>
                    <a:pt x="17362" y="13367"/>
                    <a:pt x="17722" y="12495"/>
                    <a:pt x="17930" y="11580"/>
                  </a:cubicBezTo>
                  <a:lnTo>
                    <a:pt x="18890" y="11347"/>
                  </a:lnTo>
                  <a:cubicBezTo>
                    <a:pt x="19147" y="11284"/>
                    <a:pt x="19325" y="11057"/>
                    <a:pt x="19325" y="10795"/>
                  </a:cubicBezTo>
                  <a:lnTo>
                    <a:pt x="19325" y="8530"/>
                  </a:lnTo>
                  <a:cubicBezTo>
                    <a:pt x="19325" y="8267"/>
                    <a:pt x="19147" y="8041"/>
                    <a:pt x="18893" y="7981"/>
                  </a:cubicBezTo>
                  <a:lnTo>
                    <a:pt x="17933" y="7748"/>
                  </a:lnTo>
                  <a:cubicBezTo>
                    <a:pt x="17722" y="6833"/>
                    <a:pt x="17362" y="5961"/>
                    <a:pt x="16864" y="5166"/>
                  </a:cubicBezTo>
                  <a:lnTo>
                    <a:pt x="17356" y="4348"/>
                  </a:lnTo>
                  <a:cubicBezTo>
                    <a:pt x="17489" y="4128"/>
                    <a:pt x="17453" y="3841"/>
                    <a:pt x="17272" y="3657"/>
                  </a:cubicBezTo>
                  <a:lnTo>
                    <a:pt x="15668" y="2056"/>
                  </a:lnTo>
                  <a:cubicBezTo>
                    <a:pt x="15559" y="1947"/>
                    <a:pt x="15415" y="1890"/>
                    <a:pt x="15268" y="1890"/>
                  </a:cubicBezTo>
                  <a:cubicBezTo>
                    <a:pt x="15168" y="1890"/>
                    <a:pt x="15068" y="1917"/>
                    <a:pt x="14977" y="1972"/>
                  </a:cubicBezTo>
                  <a:lnTo>
                    <a:pt x="14162" y="2461"/>
                  </a:lnTo>
                  <a:cubicBezTo>
                    <a:pt x="13367" y="1963"/>
                    <a:pt x="12495" y="1604"/>
                    <a:pt x="11580" y="1395"/>
                  </a:cubicBezTo>
                  <a:lnTo>
                    <a:pt x="11347" y="435"/>
                  </a:lnTo>
                  <a:cubicBezTo>
                    <a:pt x="11284" y="178"/>
                    <a:pt x="11058" y="0"/>
                    <a:pt x="107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25" name="Google Shape;6125;p71"/>
            <p:cNvSpPr/>
            <p:nvPr/>
          </p:nvSpPr>
          <p:spPr>
            <a:xfrm>
              <a:off x="2762000" y="918475"/>
              <a:ext cx="311400" cy="311400"/>
            </a:xfrm>
            <a:custGeom>
              <a:avLst/>
              <a:gdLst/>
              <a:ahLst/>
              <a:cxnLst/>
              <a:rect l="l" t="t" r="r" b="b"/>
              <a:pathLst>
                <a:path w="12456" h="12456" extrusionOk="0">
                  <a:moveTo>
                    <a:pt x="6227" y="1133"/>
                  </a:moveTo>
                  <a:cubicBezTo>
                    <a:pt x="9038" y="1133"/>
                    <a:pt x="11323" y="3418"/>
                    <a:pt x="11323" y="6226"/>
                  </a:cubicBezTo>
                  <a:cubicBezTo>
                    <a:pt x="11323" y="9038"/>
                    <a:pt x="9038" y="11323"/>
                    <a:pt x="6227" y="11323"/>
                  </a:cubicBezTo>
                  <a:cubicBezTo>
                    <a:pt x="3419" y="11323"/>
                    <a:pt x="1133" y="9038"/>
                    <a:pt x="1133" y="6226"/>
                  </a:cubicBezTo>
                  <a:cubicBezTo>
                    <a:pt x="1133" y="3418"/>
                    <a:pt x="3419" y="1133"/>
                    <a:pt x="6227" y="1133"/>
                  </a:cubicBezTo>
                  <a:close/>
                  <a:moveTo>
                    <a:pt x="6227" y="0"/>
                  </a:moveTo>
                  <a:cubicBezTo>
                    <a:pt x="2794" y="0"/>
                    <a:pt x="1" y="2793"/>
                    <a:pt x="1" y="6226"/>
                  </a:cubicBezTo>
                  <a:cubicBezTo>
                    <a:pt x="1" y="9663"/>
                    <a:pt x="2794" y="12456"/>
                    <a:pt x="6227" y="12456"/>
                  </a:cubicBezTo>
                  <a:cubicBezTo>
                    <a:pt x="9663" y="12456"/>
                    <a:pt x="12456" y="9663"/>
                    <a:pt x="12456" y="6226"/>
                  </a:cubicBezTo>
                  <a:cubicBezTo>
                    <a:pt x="12456" y="2793"/>
                    <a:pt x="9663" y="0"/>
                    <a:pt x="62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26" name="Google Shape;6126;p71"/>
            <p:cNvSpPr/>
            <p:nvPr/>
          </p:nvSpPr>
          <p:spPr>
            <a:xfrm>
              <a:off x="2810775" y="975075"/>
              <a:ext cx="206025" cy="198150"/>
            </a:xfrm>
            <a:custGeom>
              <a:avLst/>
              <a:gdLst/>
              <a:ahLst/>
              <a:cxnLst/>
              <a:rect l="l" t="t" r="r" b="b"/>
              <a:pathLst>
                <a:path w="8241" h="7926" extrusionOk="0">
                  <a:moveTo>
                    <a:pt x="4275" y="1132"/>
                  </a:moveTo>
                  <a:cubicBezTo>
                    <a:pt x="4640" y="1132"/>
                    <a:pt x="5009" y="1203"/>
                    <a:pt x="5360" y="1348"/>
                  </a:cubicBezTo>
                  <a:cubicBezTo>
                    <a:pt x="6416" y="1785"/>
                    <a:pt x="7108" y="2818"/>
                    <a:pt x="7108" y="3962"/>
                  </a:cubicBezTo>
                  <a:cubicBezTo>
                    <a:pt x="7105" y="5527"/>
                    <a:pt x="5840" y="6792"/>
                    <a:pt x="4276" y="6795"/>
                  </a:cubicBezTo>
                  <a:cubicBezTo>
                    <a:pt x="3131" y="6795"/>
                    <a:pt x="2099" y="6103"/>
                    <a:pt x="1661" y="5046"/>
                  </a:cubicBezTo>
                  <a:cubicBezTo>
                    <a:pt x="1223" y="3987"/>
                    <a:pt x="1465" y="2770"/>
                    <a:pt x="2274" y="1961"/>
                  </a:cubicBezTo>
                  <a:cubicBezTo>
                    <a:pt x="2815" y="1419"/>
                    <a:pt x="3538" y="1132"/>
                    <a:pt x="4275" y="1132"/>
                  </a:cubicBezTo>
                  <a:close/>
                  <a:moveTo>
                    <a:pt x="4276" y="1"/>
                  </a:moveTo>
                  <a:cubicBezTo>
                    <a:pt x="2672" y="1"/>
                    <a:pt x="1229" y="964"/>
                    <a:pt x="613" y="2447"/>
                  </a:cubicBezTo>
                  <a:cubicBezTo>
                    <a:pt x="0" y="3926"/>
                    <a:pt x="341" y="5632"/>
                    <a:pt x="1474" y="6764"/>
                  </a:cubicBezTo>
                  <a:cubicBezTo>
                    <a:pt x="2232" y="7523"/>
                    <a:pt x="3247" y="7926"/>
                    <a:pt x="4279" y="7926"/>
                  </a:cubicBezTo>
                  <a:cubicBezTo>
                    <a:pt x="4789" y="7926"/>
                    <a:pt x="5302" y="7828"/>
                    <a:pt x="5791" y="7625"/>
                  </a:cubicBezTo>
                  <a:cubicBezTo>
                    <a:pt x="7274" y="7009"/>
                    <a:pt x="8240" y="5566"/>
                    <a:pt x="8240" y="3962"/>
                  </a:cubicBezTo>
                  <a:cubicBezTo>
                    <a:pt x="8237" y="1773"/>
                    <a:pt x="6465" y="1"/>
                    <a:pt x="42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27" name="Google Shape;6127;p71"/>
          <p:cNvGrpSpPr/>
          <p:nvPr/>
        </p:nvGrpSpPr>
        <p:grpSpPr>
          <a:xfrm>
            <a:off x="3356636" y="3608999"/>
            <a:ext cx="468813" cy="453557"/>
            <a:chOff x="3270550" y="832575"/>
            <a:chExt cx="499375" cy="483125"/>
          </a:xfrm>
        </p:grpSpPr>
        <p:sp>
          <p:nvSpPr>
            <p:cNvPr id="6128" name="Google Shape;6128;p71"/>
            <p:cNvSpPr/>
            <p:nvPr/>
          </p:nvSpPr>
          <p:spPr>
            <a:xfrm>
              <a:off x="3270550" y="865975"/>
              <a:ext cx="463725" cy="449725"/>
            </a:xfrm>
            <a:custGeom>
              <a:avLst/>
              <a:gdLst/>
              <a:ahLst/>
              <a:cxnLst/>
              <a:rect l="l" t="t" r="r" b="b"/>
              <a:pathLst>
                <a:path w="18549" h="17989" extrusionOk="0">
                  <a:moveTo>
                    <a:pt x="4823" y="1361"/>
                  </a:moveTo>
                  <a:lnTo>
                    <a:pt x="9177" y="8619"/>
                  </a:lnTo>
                  <a:cubicBezTo>
                    <a:pt x="9237" y="8716"/>
                    <a:pt x="9325" y="8794"/>
                    <a:pt x="9427" y="8843"/>
                  </a:cubicBezTo>
                  <a:lnTo>
                    <a:pt x="17136" y="12345"/>
                  </a:lnTo>
                  <a:cubicBezTo>
                    <a:pt x="15653" y="15102"/>
                    <a:pt x="12779" y="16856"/>
                    <a:pt x="9663" y="16856"/>
                  </a:cubicBezTo>
                  <a:cubicBezTo>
                    <a:pt x="4958" y="16856"/>
                    <a:pt x="1133" y="13031"/>
                    <a:pt x="1133" y="8326"/>
                  </a:cubicBezTo>
                  <a:cubicBezTo>
                    <a:pt x="1133" y="5573"/>
                    <a:pt x="2534" y="2952"/>
                    <a:pt x="4823" y="1361"/>
                  </a:cubicBezTo>
                  <a:close/>
                  <a:moveTo>
                    <a:pt x="5005" y="0"/>
                  </a:moveTo>
                  <a:cubicBezTo>
                    <a:pt x="4907" y="0"/>
                    <a:pt x="4807" y="26"/>
                    <a:pt x="4717" y="80"/>
                  </a:cubicBezTo>
                  <a:cubicBezTo>
                    <a:pt x="3313" y="926"/>
                    <a:pt x="2141" y="2106"/>
                    <a:pt x="1311" y="3516"/>
                  </a:cubicBezTo>
                  <a:cubicBezTo>
                    <a:pt x="453" y="4975"/>
                    <a:pt x="1" y="6636"/>
                    <a:pt x="1" y="8326"/>
                  </a:cubicBezTo>
                  <a:cubicBezTo>
                    <a:pt x="1" y="10896"/>
                    <a:pt x="1009" y="13321"/>
                    <a:pt x="2839" y="15150"/>
                  </a:cubicBezTo>
                  <a:cubicBezTo>
                    <a:pt x="4669" y="16980"/>
                    <a:pt x="7093" y="17989"/>
                    <a:pt x="9663" y="17989"/>
                  </a:cubicBezTo>
                  <a:cubicBezTo>
                    <a:pt x="13410" y="17989"/>
                    <a:pt x="16846" y="15757"/>
                    <a:pt x="18419" y="12306"/>
                  </a:cubicBezTo>
                  <a:cubicBezTo>
                    <a:pt x="18549" y="12022"/>
                    <a:pt x="18422" y="11687"/>
                    <a:pt x="18138" y="11557"/>
                  </a:cubicBezTo>
                  <a:lnTo>
                    <a:pt x="10058" y="7886"/>
                  </a:lnTo>
                  <a:lnTo>
                    <a:pt x="5493" y="277"/>
                  </a:lnTo>
                  <a:cubicBezTo>
                    <a:pt x="5387" y="99"/>
                    <a:pt x="5198" y="0"/>
                    <a:pt x="50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29" name="Google Shape;6129;p71"/>
            <p:cNvSpPr/>
            <p:nvPr/>
          </p:nvSpPr>
          <p:spPr>
            <a:xfrm>
              <a:off x="3562600" y="876075"/>
              <a:ext cx="207325" cy="241775"/>
            </a:xfrm>
            <a:custGeom>
              <a:avLst/>
              <a:gdLst/>
              <a:ahLst/>
              <a:cxnLst/>
              <a:rect l="l" t="t" r="r" b="b"/>
              <a:pathLst>
                <a:path w="8293" h="9671" extrusionOk="0">
                  <a:moveTo>
                    <a:pt x="4204" y="1437"/>
                  </a:moveTo>
                  <a:cubicBezTo>
                    <a:pt x="5680" y="2826"/>
                    <a:pt x="6517" y="4764"/>
                    <a:pt x="6511" y="6790"/>
                  </a:cubicBezTo>
                  <a:cubicBezTo>
                    <a:pt x="6511" y="7300"/>
                    <a:pt x="6459" y="7811"/>
                    <a:pt x="6354" y="8309"/>
                  </a:cubicBezTo>
                  <a:lnTo>
                    <a:pt x="1468" y="6090"/>
                  </a:lnTo>
                  <a:lnTo>
                    <a:pt x="4204" y="1437"/>
                  </a:lnTo>
                  <a:close/>
                  <a:moveTo>
                    <a:pt x="4060" y="1"/>
                  </a:moveTo>
                  <a:cubicBezTo>
                    <a:pt x="3867" y="1"/>
                    <a:pt x="3677" y="99"/>
                    <a:pt x="3570" y="280"/>
                  </a:cubicBezTo>
                  <a:lnTo>
                    <a:pt x="173" y="6056"/>
                  </a:lnTo>
                  <a:cubicBezTo>
                    <a:pt x="1" y="6346"/>
                    <a:pt x="119" y="6721"/>
                    <a:pt x="427" y="6860"/>
                  </a:cubicBezTo>
                  <a:lnTo>
                    <a:pt x="6499" y="9622"/>
                  </a:lnTo>
                  <a:cubicBezTo>
                    <a:pt x="6574" y="9656"/>
                    <a:pt x="6653" y="9671"/>
                    <a:pt x="6734" y="9671"/>
                  </a:cubicBezTo>
                  <a:cubicBezTo>
                    <a:pt x="6982" y="9671"/>
                    <a:pt x="7202" y="9508"/>
                    <a:pt x="7275" y="9269"/>
                  </a:cubicBezTo>
                  <a:cubicBezTo>
                    <a:pt x="8292" y="5921"/>
                    <a:pt x="7157" y="2291"/>
                    <a:pt x="4409" y="123"/>
                  </a:cubicBezTo>
                  <a:cubicBezTo>
                    <a:pt x="4305" y="40"/>
                    <a:pt x="4182" y="1"/>
                    <a:pt x="40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0" name="Google Shape;6130;p71"/>
            <p:cNvSpPr/>
            <p:nvPr/>
          </p:nvSpPr>
          <p:spPr>
            <a:xfrm>
              <a:off x="3443500" y="832575"/>
              <a:ext cx="187300" cy="173625"/>
            </a:xfrm>
            <a:custGeom>
              <a:avLst/>
              <a:gdLst/>
              <a:ahLst/>
              <a:cxnLst/>
              <a:rect l="l" t="t" r="r" b="b"/>
              <a:pathLst>
                <a:path w="7492" h="6945" extrusionOk="0">
                  <a:moveTo>
                    <a:pt x="3877" y="1133"/>
                  </a:moveTo>
                  <a:cubicBezTo>
                    <a:pt x="4588" y="1133"/>
                    <a:pt x="5300" y="1235"/>
                    <a:pt x="5991" y="1440"/>
                  </a:cubicBezTo>
                  <a:lnTo>
                    <a:pt x="3735" y="5269"/>
                  </a:lnTo>
                  <a:lnTo>
                    <a:pt x="1492" y="1528"/>
                  </a:lnTo>
                  <a:cubicBezTo>
                    <a:pt x="2264" y="1265"/>
                    <a:pt x="3070" y="1133"/>
                    <a:pt x="3877" y="1133"/>
                  </a:cubicBezTo>
                  <a:close/>
                  <a:moveTo>
                    <a:pt x="3877" y="0"/>
                  </a:moveTo>
                  <a:cubicBezTo>
                    <a:pt x="2702" y="0"/>
                    <a:pt x="1528" y="243"/>
                    <a:pt x="432" y="728"/>
                  </a:cubicBezTo>
                  <a:cubicBezTo>
                    <a:pt x="121" y="867"/>
                    <a:pt x="0" y="1244"/>
                    <a:pt x="175" y="1537"/>
                  </a:cubicBezTo>
                  <a:lnTo>
                    <a:pt x="3255" y="6670"/>
                  </a:lnTo>
                  <a:cubicBezTo>
                    <a:pt x="3358" y="6839"/>
                    <a:pt x="3542" y="6945"/>
                    <a:pt x="3741" y="6945"/>
                  </a:cubicBezTo>
                  <a:lnTo>
                    <a:pt x="3744" y="6945"/>
                  </a:lnTo>
                  <a:cubicBezTo>
                    <a:pt x="3943" y="6945"/>
                    <a:pt x="4128" y="6839"/>
                    <a:pt x="4230" y="6667"/>
                  </a:cubicBezTo>
                  <a:lnTo>
                    <a:pt x="7313" y="1419"/>
                  </a:lnTo>
                  <a:cubicBezTo>
                    <a:pt x="7491" y="1120"/>
                    <a:pt x="7358" y="737"/>
                    <a:pt x="7038" y="607"/>
                  </a:cubicBezTo>
                  <a:cubicBezTo>
                    <a:pt x="6023" y="202"/>
                    <a:pt x="4950" y="0"/>
                    <a:pt x="38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31" name="Google Shape;6131;p71"/>
          <p:cNvGrpSpPr/>
          <p:nvPr/>
        </p:nvGrpSpPr>
        <p:grpSpPr>
          <a:xfrm>
            <a:off x="3914342" y="3623175"/>
            <a:ext cx="453581" cy="425205"/>
            <a:chOff x="3865000" y="847675"/>
            <a:chExt cx="483150" cy="452925"/>
          </a:xfrm>
        </p:grpSpPr>
        <p:sp>
          <p:nvSpPr>
            <p:cNvPr id="6132" name="Google Shape;6132;p71"/>
            <p:cNvSpPr/>
            <p:nvPr/>
          </p:nvSpPr>
          <p:spPr>
            <a:xfrm>
              <a:off x="3865000" y="847675"/>
              <a:ext cx="483150" cy="452925"/>
            </a:xfrm>
            <a:custGeom>
              <a:avLst/>
              <a:gdLst/>
              <a:ahLst/>
              <a:cxnLst/>
              <a:rect l="l" t="t" r="r" b="b"/>
              <a:pathLst>
                <a:path w="19326" h="18117" extrusionOk="0">
                  <a:moveTo>
                    <a:pt x="9627" y="1132"/>
                  </a:moveTo>
                  <a:cubicBezTo>
                    <a:pt x="14349" y="1132"/>
                    <a:pt x="18193" y="4436"/>
                    <a:pt x="18193" y="8494"/>
                  </a:cubicBezTo>
                  <a:cubicBezTo>
                    <a:pt x="18193" y="12552"/>
                    <a:pt x="14349" y="15852"/>
                    <a:pt x="9627" y="15852"/>
                  </a:cubicBezTo>
                  <a:cubicBezTo>
                    <a:pt x="9619" y="15852"/>
                    <a:pt x="9611" y="15852"/>
                    <a:pt x="9603" y="15852"/>
                  </a:cubicBezTo>
                  <a:cubicBezTo>
                    <a:pt x="8397" y="15852"/>
                    <a:pt x="7207" y="15626"/>
                    <a:pt x="6088" y="15185"/>
                  </a:cubicBezTo>
                  <a:cubicBezTo>
                    <a:pt x="6019" y="15158"/>
                    <a:pt x="5947" y="15144"/>
                    <a:pt x="5876" y="15144"/>
                  </a:cubicBezTo>
                  <a:cubicBezTo>
                    <a:pt x="5720" y="15144"/>
                    <a:pt x="5568" y="15208"/>
                    <a:pt x="5460" y="15327"/>
                  </a:cubicBezTo>
                  <a:cubicBezTo>
                    <a:pt x="4780" y="16070"/>
                    <a:pt x="3896" y="16595"/>
                    <a:pt x="2917" y="16837"/>
                  </a:cubicBezTo>
                  <a:cubicBezTo>
                    <a:pt x="3461" y="15801"/>
                    <a:pt x="3582" y="14593"/>
                    <a:pt x="3262" y="13467"/>
                  </a:cubicBezTo>
                  <a:cubicBezTo>
                    <a:pt x="3238" y="13379"/>
                    <a:pt x="3189" y="13295"/>
                    <a:pt x="3126" y="13228"/>
                  </a:cubicBezTo>
                  <a:cubicBezTo>
                    <a:pt x="1843" y="11906"/>
                    <a:pt x="1133" y="10224"/>
                    <a:pt x="1133" y="8494"/>
                  </a:cubicBezTo>
                  <a:cubicBezTo>
                    <a:pt x="1133" y="4436"/>
                    <a:pt x="4944" y="1132"/>
                    <a:pt x="9627" y="1132"/>
                  </a:cubicBezTo>
                  <a:close/>
                  <a:moveTo>
                    <a:pt x="9627" y="0"/>
                  </a:moveTo>
                  <a:cubicBezTo>
                    <a:pt x="7066" y="0"/>
                    <a:pt x="4663" y="876"/>
                    <a:pt x="2848" y="2461"/>
                  </a:cubicBezTo>
                  <a:cubicBezTo>
                    <a:pt x="1012" y="4067"/>
                    <a:pt x="1" y="6211"/>
                    <a:pt x="1" y="8494"/>
                  </a:cubicBezTo>
                  <a:cubicBezTo>
                    <a:pt x="1" y="10472"/>
                    <a:pt x="783" y="12389"/>
                    <a:pt x="2208" y="13908"/>
                  </a:cubicBezTo>
                  <a:cubicBezTo>
                    <a:pt x="2492" y="15073"/>
                    <a:pt x="2148" y="16302"/>
                    <a:pt x="1299" y="17151"/>
                  </a:cubicBezTo>
                  <a:cubicBezTo>
                    <a:pt x="943" y="17507"/>
                    <a:pt x="1193" y="18117"/>
                    <a:pt x="1701" y="18117"/>
                  </a:cubicBezTo>
                  <a:cubicBezTo>
                    <a:pt x="3313" y="18114"/>
                    <a:pt x="4862" y="17489"/>
                    <a:pt x="6024" y="16372"/>
                  </a:cubicBezTo>
                  <a:cubicBezTo>
                    <a:pt x="7173" y="16776"/>
                    <a:pt x="8380" y="16985"/>
                    <a:pt x="9600" y="16985"/>
                  </a:cubicBezTo>
                  <a:cubicBezTo>
                    <a:pt x="9609" y="16985"/>
                    <a:pt x="9618" y="16985"/>
                    <a:pt x="9627" y="16985"/>
                  </a:cubicBezTo>
                  <a:cubicBezTo>
                    <a:pt x="12184" y="16985"/>
                    <a:pt x="14606" y="16112"/>
                    <a:pt x="16439" y="14524"/>
                  </a:cubicBezTo>
                  <a:cubicBezTo>
                    <a:pt x="18302" y="12914"/>
                    <a:pt x="19325" y="10773"/>
                    <a:pt x="19325" y="8494"/>
                  </a:cubicBezTo>
                  <a:cubicBezTo>
                    <a:pt x="19325" y="6211"/>
                    <a:pt x="18302" y="4070"/>
                    <a:pt x="16439" y="2461"/>
                  </a:cubicBezTo>
                  <a:cubicBezTo>
                    <a:pt x="14606" y="873"/>
                    <a:pt x="12184" y="0"/>
                    <a:pt x="96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3" name="Google Shape;6133;p71"/>
            <p:cNvSpPr/>
            <p:nvPr/>
          </p:nvSpPr>
          <p:spPr>
            <a:xfrm>
              <a:off x="4173600"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2" y="1738"/>
                    <a:pt x="1132" y="1512"/>
                  </a:cubicBezTo>
                  <a:cubicBezTo>
                    <a:pt x="1132"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4" name="Google Shape;6134;p71"/>
            <p:cNvSpPr/>
            <p:nvPr/>
          </p:nvSpPr>
          <p:spPr>
            <a:xfrm>
              <a:off x="4068825" y="1029775"/>
              <a:ext cx="78450" cy="75550"/>
            </a:xfrm>
            <a:custGeom>
              <a:avLst/>
              <a:gdLst/>
              <a:ahLst/>
              <a:cxnLst/>
              <a:rect l="l" t="t" r="r" b="b"/>
              <a:pathLst>
                <a:path w="3138" h="3022" extrusionOk="0">
                  <a:moveTo>
                    <a:pt x="1510" y="1134"/>
                  </a:moveTo>
                  <a:cubicBezTo>
                    <a:pt x="1845" y="1134"/>
                    <a:pt x="2014" y="1539"/>
                    <a:pt x="1776" y="1777"/>
                  </a:cubicBezTo>
                  <a:cubicBezTo>
                    <a:pt x="1699" y="1855"/>
                    <a:pt x="1605" y="1889"/>
                    <a:pt x="1513" y="1889"/>
                  </a:cubicBezTo>
                  <a:cubicBezTo>
                    <a:pt x="1319" y="1889"/>
                    <a:pt x="1132" y="1738"/>
                    <a:pt x="1132" y="1512"/>
                  </a:cubicBezTo>
                  <a:cubicBezTo>
                    <a:pt x="1132" y="1300"/>
                    <a:pt x="1302" y="1134"/>
                    <a:pt x="1510" y="1134"/>
                  </a:cubicBezTo>
                  <a:close/>
                  <a:moveTo>
                    <a:pt x="1511" y="1"/>
                  </a:moveTo>
                  <a:cubicBezTo>
                    <a:pt x="1316" y="1"/>
                    <a:pt x="1120" y="39"/>
                    <a:pt x="933" y="117"/>
                  </a:cubicBezTo>
                  <a:cubicBezTo>
                    <a:pt x="369" y="349"/>
                    <a:pt x="0" y="899"/>
                    <a:pt x="0" y="1512"/>
                  </a:cubicBezTo>
                  <a:cubicBezTo>
                    <a:pt x="0" y="2345"/>
                    <a:pt x="677" y="3021"/>
                    <a:pt x="1510" y="3021"/>
                  </a:cubicBezTo>
                  <a:cubicBezTo>
                    <a:pt x="2120" y="3021"/>
                    <a:pt x="2672" y="2653"/>
                    <a:pt x="2905" y="2088"/>
                  </a:cubicBezTo>
                  <a:cubicBezTo>
                    <a:pt x="3137" y="1524"/>
                    <a:pt x="3011" y="875"/>
                    <a:pt x="2579" y="443"/>
                  </a:cubicBezTo>
                  <a:cubicBezTo>
                    <a:pt x="2290" y="154"/>
                    <a:pt x="1903" y="1"/>
                    <a:pt x="15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5" name="Google Shape;6135;p71"/>
            <p:cNvSpPr/>
            <p:nvPr/>
          </p:nvSpPr>
          <p:spPr>
            <a:xfrm>
              <a:off x="3964125" y="1029775"/>
              <a:ext cx="78450" cy="75550"/>
            </a:xfrm>
            <a:custGeom>
              <a:avLst/>
              <a:gdLst/>
              <a:ahLst/>
              <a:cxnLst/>
              <a:rect l="l" t="t" r="r" b="b"/>
              <a:pathLst>
                <a:path w="3138" h="3022" extrusionOk="0">
                  <a:moveTo>
                    <a:pt x="1510" y="1134"/>
                  </a:moveTo>
                  <a:cubicBezTo>
                    <a:pt x="1845" y="1134"/>
                    <a:pt x="2014" y="1539"/>
                    <a:pt x="1776" y="1777"/>
                  </a:cubicBezTo>
                  <a:cubicBezTo>
                    <a:pt x="1698" y="1855"/>
                    <a:pt x="1604" y="1889"/>
                    <a:pt x="1511" y="1889"/>
                  </a:cubicBezTo>
                  <a:cubicBezTo>
                    <a:pt x="1318" y="1889"/>
                    <a:pt x="1133" y="1738"/>
                    <a:pt x="1133" y="1512"/>
                  </a:cubicBezTo>
                  <a:cubicBezTo>
                    <a:pt x="1133" y="1300"/>
                    <a:pt x="1299" y="1134"/>
                    <a:pt x="1510" y="1134"/>
                  </a:cubicBezTo>
                  <a:close/>
                  <a:moveTo>
                    <a:pt x="1509" y="1"/>
                  </a:moveTo>
                  <a:cubicBezTo>
                    <a:pt x="1314" y="1"/>
                    <a:pt x="1118" y="39"/>
                    <a:pt x="930" y="117"/>
                  </a:cubicBezTo>
                  <a:cubicBezTo>
                    <a:pt x="366" y="349"/>
                    <a:pt x="0" y="899"/>
                    <a:pt x="0" y="1512"/>
                  </a:cubicBezTo>
                  <a:cubicBezTo>
                    <a:pt x="0" y="2345"/>
                    <a:pt x="674" y="3021"/>
                    <a:pt x="1510" y="3021"/>
                  </a:cubicBezTo>
                  <a:cubicBezTo>
                    <a:pt x="2120" y="3021"/>
                    <a:pt x="2669" y="2653"/>
                    <a:pt x="2902" y="2088"/>
                  </a:cubicBezTo>
                  <a:cubicBezTo>
                    <a:pt x="3137" y="1524"/>
                    <a:pt x="3008" y="875"/>
                    <a:pt x="2576" y="443"/>
                  </a:cubicBezTo>
                  <a:cubicBezTo>
                    <a:pt x="2287" y="154"/>
                    <a:pt x="1902" y="1"/>
                    <a:pt x="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36" name="Google Shape;6136;p71"/>
          <p:cNvGrpSpPr/>
          <p:nvPr/>
        </p:nvGrpSpPr>
        <p:grpSpPr>
          <a:xfrm>
            <a:off x="4468585" y="3636400"/>
            <a:ext cx="459731" cy="398755"/>
            <a:chOff x="4452900" y="861750"/>
            <a:chExt cx="489700" cy="424750"/>
          </a:xfrm>
        </p:grpSpPr>
        <p:sp>
          <p:nvSpPr>
            <p:cNvPr id="6137" name="Google Shape;6137;p71"/>
            <p:cNvSpPr/>
            <p:nvPr/>
          </p:nvSpPr>
          <p:spPr>
            <a:xfrm>
              <a:off x="4452900" y="861750"/>
              <a:ext cx="489700" cy="424750"/>
            </a:xfrm>
            <a:custGeom>
              <a:avLst/>
              <a:gdLst/>
              <a:ahLst/>
              <a:cxnLst/>
              <a:rect l="l" t="t" r="r" b="b"/>
              <a:pathLst>
                <a:path w="19588" h="16990" extrusionOk="0">
                  <a:moveTo>
                    <a:pt x="3660" y="1137"/>
                  </a:moveTo>
                  <a:cubicBezTo>
                    <a:pt x="4575" y="1137"/>
                    <a:pt x="5402" y="1687"/>
                    <a:pt x="5752" y="2532"/>
                  </a:cubicBezTo>
                  <a:cubicBezTo>
                    <a:pt x="6102" y="3380"/>
                    <a:pt x="5909" y="4353"/>
                    <a:pt x="5260" y="5002"/>
                  </a:cubicBezTo>
                  <a:cubicBezTo>
                    <a:pt x="4828" y="5434"/>
                    <a:pt x="4249" y="5664"/>
                    <a:pt x="3660" y="5664"/>
                  </a:cubicBezTo>
                  <a:cubicBezTo>
                    <a:pt x="3368" y="5664"/>
                    <a:pt x="3073" y="5607"/>
                    <a:pt x="2793" y="5491"/>
                  </a:cubicBezTo>
                  <a:cubicBezTo>
                    <a:pt x="1948" y="5141"/>
                    <a:pt x="1395" y="4317"/>
                    <a:pt x="1395" y="3402"/>
                  </a:cubicBezTo>
                  <a:cubicBezTo>
                    <a:pt x="1395" y="2149"/>
                    <a:pt x="2410" y="1137"/>
                    <a:pt x="3660" y="1137"/>
                  </a:cubicBezTo>
                  <a:close/>
                  <a:moveTo>
                    <a:pt x="10453" y="1137"/>
                  </a:moveTo>
                  <a:cubicBezTo>
                    <a:pt x="11043" y="1137"/>
                    <a:pt x="11622" y="1366"/>
                    <a:pt x="12054" y="1798"/>
                  </a:cubicBezTo>
                  <a:cubicBezTo>
                    <a:pt x="12703" y="2447"/>
                    <a:pt x="12896" y="3420"/>
                    <a:pt x="12546" y="4268"/>
                  </a:cubicBezTo>
                  <a:cubicBezTo>
                    <a:pt x="12196" y="5114"/>
                    <a:pt x="11368" y="5666"/>
                    <a:pt x="10453" y="5666"/>
                  </a:cubicBezTo>
                  <a:cubicBezTo>
                    <a:pt x="9203" y="5663"/>
                    <a:pt x="8189" y="4652"/>
                    <a:pt x="8189" y="3402"/>
                  </a:cubicBezTo>
                  <a:cubicBezTo>
                    <a:pt x="8189" y="2484"/>
                    <a:pt x="8741" y="1659"/>
                    <a:pt x="9587" y="1309"/>
                  </a:cubicBezTo>
                  <a:cubicBezTo>
                    <a:pt x="9867" y="1193"/>
                    <a:pt x="10161" y="1137"/>
                    <a:pt x="10453" y="1137"/>
                  </a:cubicBezTo>
                  <a:close/>
                  <a:moveTo>
                    <a:pt x="14983" y="9063"/>
                  </a:moveTo>
                  <a:lnTo>
                    <a:pt x="14983" y="13592"/>
                  </a:lnTo>
                  <a:lnTo>
                    <a:pt x="13850" y="13592"/>
                  </a:lnTo>
                  <a:lnTo>
                    <a:pt x="13850" y="9063"/>
                  </a:lnTo>
                  <a:close/>
                  <a:moveTo>
                    <a:pt x="18455" y="7276"/>
                  </a:moveTo>
                  <a:lnTo>
                    <a:pt x="18455" y="15377"/>
                  </a:lnTo>
                  <a:lnTo>
                    <a:pt x="16115" y="13849"/>
                  </a:lnTo>
                  <a:lnTo>
                    <a:pt x="16115" y="8803"/>
                  </a:lnTo>
                  <a:lnTo>
                    <a:pt x="18455" y="7276"/>
                  </a:lnTo>
                  <a:close/>
                  <a:moveTo>
                    <a:pt x="12153" y="6799"/>
                  </a:moveTo>
                  <a:cubicBezTo>
                    <a:pt x="12464" y="6799"/>
                    <a:pt x="12718" y="7049"/>
                    <a:pt x="12718" y="7363"/>
                  </a:cubicBezTo>
                  <a:lnTo>
                    <a:pt x="12718" y="15289"/>
                  </a:lnTo>
                  <a:cubicBezTo>
                    <a:pt x="12718" y="15603"/>
                    <a:pt x="12464" y="15857"/>
                    <a:pt x="12153" y="15857"/>
                  </a:cubicBezTo>
                  <a:lnTo>
                    <a:pt x="1963" y="15857"/>
                  </a:lnTo>
                  <a:cubicBezTo>
                    <a:pt x="1649" y="15857"/>
                    <a:pt x="1395" y="15603"/>
                    <a:pt x="1395" y="15289"/>
                  </a:cubicBezTo>
                  <a:lnTo>
                    <a:pt x="1395" y="7363"/>
                  </a:lnTo>
                  <a:cubicBezTo>
                    <a:pt x="1395" y="7049"/>
                    <a:pt x="1649" y="6799"/>
                    <a:pt x="1963" y="6799"/>
                  </a:cubicBezTo>
                  <a:close/>
                  <a:moveTo>
                    <a:pt x="3656" y="0"/>
                  </a:moveTo>
                  <a:cubicBezTo>
                    <a:pt x="3623" y="0"/>
                    <a:pt x="3590" y="1"/>
                    <a:pt x="3557" y="2"/>
                  </a:cubicBezTo>
                  <a:cubicBezTo>
                    <a:pt x="2198" y="44"/>
                    <a:pt x="997" y="889"/>
                    <a:pt x="498" y="2155"/>
                  </a:cubicBezTo>
                  <a:cubicBezTo>
                    <a:pt x="0" y="3417"/>
                    <a:pt x="305" y="4857"/>
                    <a:pt x="1271" y="5811"/>
                  </a:cubicBezTo>
                  <a:cubicBezTo>
                    <a:pt x="658" y="6086"/>
                    <a:pt x="263" y="6693"/>
                    <a:pt x="263" y="7363"/>
                  </a:cubicBezTo>
                  <a:lnTo>
                    <a:pt x="263" y="15289"/>
                  </a:lnTo>
                  <a:cubicBezTo>
                    <a:pt x="263" y="16228"/>
                    <a:pt x="1024" y="16986"/>
                    <a:pt x="1963" y="16989"/>
                  </a:cubicBezTo>
                  <a:lnTo>
                    <a:pt x="12153" y="16989"/>
                  </a:lnTo>
                  <a:cubicBezTo>
                    <a:pt x="13089" y="16986"/>
                    <a:pt x="13850" y="16228"/>
                    <a:pt x="13850" y="15289"/>
                  </a:cubicBezTo>
                  <a:lnTo>
                    <a:pt x="13850" y="14725"/>
                  </a:lnTo>
                  <a:lnTo>
                    <a:pt x="15381" y="14725"/>
                  </a:lnTo>
                  <a:lnTo>
                    <a:pt x="18712" y="16896"/>
                  </a:lnTo>
                  <a:cubicBezTo>
                    <a:pt x="18810" y="16959"/>
                    <a:pt x="18916" y="16988"/>
                    <a:pt x="19020" y="16988"/>
                  </a:cubicBezTo>
                  <a:cubicBezTo>
                    <a:pt x="19315" y="16988"/>
                    <a:pt x="19587" y="16754"/>
                    <a:pt x="19587" y="16422"/>
                  </a:cubicBezTo>
                  <a:lnTo>
                    <a:pt x="19587" y="6231"/>
                  </a:lnTo>
                  <a:cubicBezTo>
                    <a:pt x="19587" y="6023"/>
                    <a:pt x="19473" y="5832"/>
                    <a:pt x="19291" y="5733"/>
                  </a:cubicBezTo>
                  <a:cubicBezTo>
                    <a:pt x="19206" y="5687"/>
                    <a:pt x="19114" y="5664"/>
                    <a:pt x="19021" y="5664"/>
                  </a:cubicBezTo>
                  <a:cubicBezTo>
                    <a:pt x="18913" y="5664"/>
                    <a:pt x="18806" y="5695"/>
                    <a:pt x="18712" y="5757"/>
                  </a:cubicBezTo>
                  <a:lnTo>
                    <a:pt x="15381" y="7931"/>
                  </a:lnTo>
                  <a:lnTo>
                    <a:pt x="13850" y="7931"/>
                  </a:lnTo>
                  <a:lnTo>
                    <a:pt x="13850" y="7363"/>
                  </a:lnTo>
                  <a:cubicBezTo>
                    <a:pt x="13850" y="6693"/>
                    <a:pt x="13455" y="6086"/>
                    <a:pt x="12842" y="5811"/>
                  </a:cubicBezTo>
                  <a:cubicBezTo>
                    <a:pt x="13808" y="4857"/>
                    <a:pt x="14113" y="3417"/>
                    <a:pt x="13615" y="2155"/>
                  </a:cubicBezTo>
                  <a:cubicBezTo>
                    <a:pt x="13117" y="889"/>
                    <a:pt x="11915" y="44"/>
                    <a:pt x="10556" y="2"/>
                  </a:cubicBezTo>
                  <a:cubicBezTo>
                    <a:pt x="10523" y="1"/>
                    <a:pt x="10490" y="0"/>
                    <a:pt x="10457" y="0"/>
                  </a:cubicBezTo>
                  <a:cubicBezTo>
                    <a:pt x="9137" y="0"/>
                    <a:pt x="7933" y="763"/>
                    <a:pt x="7374" y="1967"/>
                  </a:cubicBezTo>
                  <a:cubicBezTo>
                    <a:pt x="6800" y="3199"/>
                    <a:pt x="7017" y="4652"/>
                    <a:pt x="7926" y="5666"/>
                  </a:cubicBezTo>
                  <a:lnTo>
                    <a:pt x="6190" y="5666"/>
                  </a:lnTo>
                  <a:cubicBezTo>
                    <a:pt x="7096" y="4652"/>
                    <a:pt x="7313" y="3199"/>
                    <a:pt x="6740" y="1967"/>
                  </a:cubicBezTo>
                  <a:cubicBezTo>
                    <a:pt x="6180" y="763"/>
                    <a:pt x="4976" y="0"/>
                    <a:pt x="36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8" name="Google Shape;6138;p71"/>
            <p:cNvSpPr/>
            <p:nvPr/>
          </p:nvSpPr>
          <p:spPr>
            <a:xfrm>
              <a:off x="4572675" y="1074100"/>
              <a:ext cx="115375" cy="141625"/>
            </a:xfrm>
            <a:custGeom>
              <a:avLst/>
              <a:gdLst/>
              <a:ahLst/>
              <a:cxnLst/>
              <a:rect l="l" t="t" r="r" b="b"/>
              <a:pathLst>
                <a:path w="4615" h="5665" extrusionOk="0">
                  <a:moveTo>
                    <a:pt x="1133" y="1626"/>
                  </a:moveTo>
                  <a:lnTo>
                    <a:pt x="2945" y="2834"/>
                  </a:lnTo>
                  <a:lnTo>
                    <a:pt x="1133" y="4041"/>
                  </a:lnTo>
                  <a:lnTo>
                    <a:pt x="1133" y="1626"/>
                  </a:lnTo>
                  <a:close/>
                  <a:moveTo>
                    <a:pt x="569" y="1"/>
                  </a:moveTo>
                  <a:cubicBezTo>
                    <a:pt x="274" y="1"/>
                    <a:pt x="1" y="236"/>
                    <a:pt x="1" y="569"/>
                  </a:cubicBezTo>
                  <a:lnTo>
                    <a:pt x="1" y="5098"/>
                  </a:lnTo>
                  <a:cubicBezTo>
                    <a:pt x="1" y="5430"/>
                    <a:pt x="275" y="5665"/>
                    <a:pt x="571" y="5665"/>
                  </a:cubicBezTo>
                  <a:cubicBezTo>
                    <a:pt x="676" y="5665"/>
                    <a:pt x="784" y="5635"/>
                    <a:pt x="883" y="5569"/>
                  </a:cubicBezTo>
                  <a:lnTo>
                    <a:pt x="4280" y="3305"/>
                  </a:lnTo>
                  <a:cubicBezTo>
                    <a:pt x="4615" y="3078"/>
                    <a:pt x="4615" y="2583"/>
                    <a:pt x="4280" y="2360"/>
                  </a:cubicBezTo>
                  <a:lnTo>
                    <a:pt x="4280" y="2363"/>
                  </a:lnTo>
                  <a:lnTo>
                    <a:pt x="883" y="98"/>
                  </a:lnTo>
                  <a:cubicBezTo>
                    <a:pt x="783" y="31"/>
                    <a:pt x="674" y="1"/>
                    <a:pt x="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39" name="Google Shape;6139;p71"/>
            <p:cNvSpPr/>
            <p:nvPr/>
          </p:nvSpPr>
          <p:spPr>
            <a:xfrm>
              <a:off x="4714225" y="1060000"/>
              <a:ext cx="28325" cy="28350"/>
            </a:xfrm>
            <a:custGeom>
              <a:avLst/>
              <a:gdLst/>
              <a:ahLst/>
              <a:cxnLst/>
              <a:rect l="l" t="t" r="r" b="b"/>
              <a:pathLst>
                <a:path w="1133" h="1134" extrusionOk="0">
                  <a:moveTo>
                    <a:pt x="568" y="1"/>
                  </a:moveTo>
                  <a:cubicBezTo>
                    <a:pt x="254" y="1"/>
                    <a:pt x="0" y="251"/>
                    <a:pt x="0" y="565"/>
                  </a:cubicBezTo>
                  <a:cubicBezTo>
                    <a:pt x="0" y="879"/>
                    <a:pt x="254" y="1133"/>
                    <a:pt x="568" y="1133"/>
                  </a:cubicBezTo>
                  <a:cubicBezTo>
                    <a:pt x="879" y="1133"/>
                    <a:pt x="1133" y="879"/>
                    <a:pt x="1133" y="565"/>
                  </a:cubicBezTo>
                  <a:cubicBezTo>
                    <a:pt x="1133" y="251"/>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40" name="Google Shape;6140;p71"/>
          <p:cNvGrpSpPr/>
          <p:nvPr/>
        </p:nvGrpSpPr>
        <p:grpSpPr>
          <a:xfrm>
            <a:off x="5024895" y="3609011"/>
            <a:ext cx="474188" cy="453535"/>
            <a:chOff x="5049750" y="832600"/>
            <a:chExt cx="505100" cy="483100"/>
          </a:xfrm>
        </p:grpSpPr>
        <p:sp>
          <p:nvSpPr>
            <p:cNvPr id="6141" name="Google Shape;6141;p71"/>
            <p:cNvSpPr/>
            <p:nvPr/>
          </p:nvSpPr>
          <p:spPr>
            <a:xfrm>
              <a:off x="5049750" y="832600"/>
              <a:ext cx="505100" cy="483100"/>
            </a:xfrm>
            <a:custGeom>
              <a:avLst/>
              <a:gdLst/>
              <a:ahLst/>
              <a:cxnLst/>
              <a:rect l="l" t="t" r="r" b="b"/>
              <a:pathLst>
                <a:path w="20204" h="19324" extrusionOk="0">
                  <a:moveTo>
                    <a:pt x="12136" y="1129"/>
                  </a:moveTo>
                  <a:cubicBezTo>
                    <a:pt x="13730" y="1129"/>
                    <a:pt x="15325" y="1737"/>
                    <a:pt x="16538" y="2952"/>
                  </a:cubicBezTo>
                  <a:cubicBezTo>
                    <a:pt x="18969" y="5383"/>
                    <a:pt x="18969" y="9323"/>
                    <a:pt x="16538" y="11757"/>
                  </a:cubicBezTo>
                  <a:cubicBezTo>
                    <a:pt x="15341" y="12950"/>
                    <a:pt x="13747" y="13579"/>
                    <a:pt x="12129" y="13579"/>
                  </a:cubicBezTo>
                  <a:cubicBezTo>
                    <a:pt x="11233" y="13579"/>
                    <a:pt x="10329" y="13386"/>
                    <a:pt x="9482" y="12989"/>
                  </a:cubicBezTo>
                  <a:cubicBezTo>
                    <a:pt x="9461" y="12980"/>
                    <a:pt x="9440" y="12968"/>
                    <a:pt x="9419" y="12959"/>
                  </a:cubicBezTo>
                  <a:cubicBezTo>
                    <a:pt x="8794" y="12657"/>
                    <a:pt x="8223" y="12249"/>
                    <a:pt x="7734" y="11757"/>
                  </a:cubicBezTo>
                  <a:cubicBezTo>
                    <a:pt x="5306" y="9329"/>
                    <a:pt x="5306" y="5380"/>
                    <a:pt x="7734" y="2952"/>
                  </a:cubicBezTo>
                  <a:cubicBezTo>
                    <a:pt x="8948" y="1737"/>
                    <a:pt x="10542" y="1129"/>
                    <a:pt x="12136" y="1129"/>
                  </a:cubicBezTo>
                  <a:close/>
                  <a:moveTo>
                    <a:pt x="5871" y="11216"/>
                  </a:moveTo>
                  <a:cubicBezTo>
                    <a:pt x="6475" y="12195"/>
                    <a:pt x="7296" y="13016"/>
                    <a:pt x="8271" y="13620"/>
                  </a:cubicBezTo>
                  <a:lnTo>
                    <a:pt x="7734" y="14160"/>
                  </a:lnTo>
                  <a:cubicBezTo>
                    <a:pt x="7622" y="14271"/>
                    <a:pt x="7477" y="14326"/>
                    <a:pt x="7332" y="14326"/>
                  </a:cubicBezTo>
                  <a:cubicBezTo>
                    <a:pt x="7188" y="14326"/>
                    <a:pt x="7044" y="14271"/>
                    <a:pt x="6934" y="14160"/>
                  </a:cubicBezTo>
                  <a:lnTo>
                    <a:pt x="5330" y="12557"/>
                  </a:lnTo>
                  <a:cubicBezTo>
                    <a:pt x="5110" y="12337"/>
                    <a:pt x="5110" y="11977"/>
                    <a:pt x="5330" y="11757"/>
                  </a:cubicBezTo>
                  <a:lnTo>
                    <a:pt x="5871" y="11216"/>
                  </a:lnTo>
                  <a:close/>
                  <a:moveTo>
                    <a:pt x="4932" y="13762"/>
                  </a:moveTo>
                  <a:lnTo>
                    <a:pt x="5732" y="14562"/>
                  </a:lnTo>
                  <a:lnTo>
                    <a:pt x="4932" y="15362"/>
                  </a:lnTo>
                  <a:lnTo>
                    <a:pt x="4131" y="14562"/>
                  </a:lnTo>
                  <a:lnTo>
                    <a:pt x="4932" y="13762"/>
                  </a:lnTo>
                  <a:close/>
                  <a:moveTo>
                    <a:pt x="3328" y="15362"/>
                  </a:moveTo>
                  <a:lnTo>
                    <a:pt x="4128" y="16162"/>
                  </a:lnTo>
                  <a:lnTo>
                    <a:pt x="2268" y="18025"/>
                  </a:lnTo>
                  <a:cubicBezTo>
                    <a:pt x="2157" y="18135"/>
                    <a:pt x="2013" y="18190"/>
                    <a:pt x="1868" y="18190"/>
                  </a:cubicBezTo>
                  <a:cubicBezTo>
                    <a:pt x="1723" y="18190"/>
                    <a:pt x="1577" y="18134"/>
                    <a:pt x="1465" y="18022"/>
                  </a:cubicBezTo>
                  <a:cubicBezTo>
                    <a:pt x="1245" y="17802"/>
                    <a:pt x="1245" y="17443"/>
                    <a:pt x="1465" y="17222"/>
                  </a:cubicBezTo>
                  <a:lnTo>
                    <a:pt x="3328" y="15362"/>
                  </a:lnTo>
                  <a:close/>
                  <a:moveTo>
                    <a:pt x="12135" y="1"/>
                  </a:moveTo>
                  <a:cubicBezTo>
                    <a:pt x="10250" y="1"/>
                    <a:pt x="8365" y="718"/>
                    <a:pt x="6931" y="2152"/>
                  </a:cubicBezTo>
                  <a:cubicBezTo>
                    <a:pt x="4769" y="4311"/>
                    <a:pt x="4237" y="7493"/>
                    <a:pt x="5330" y="10157"/>
                  </a:cubicBezTo>
                  <a:lnTo>
                    <a:pt x="4527" y="10957"/>
                  </a:lnTo>
                  <a:cubicBezTo>
                    <a:pt x="4020" y="11467"/>
                    <a:pt x="3887" y="12240"/>
                    <a:pt x="4198" y="12892"/>
                  </a:cubicBezTo>
                  <a:lnTo>
                    <a:pt x="665" y="16422"/>
                  </a:lnTo>
                  <a:cubicBezTo>
                    <a:pt x="1" y="17086"/>
                    <a:pt x="1" y="18161"/>
                    <a:pt x="665" y="18825"/>
                  </a:cubicBezTo>
                  <a:cubicBezTo>
                    <a:pt x="996" y="19158"/>
                    <a:pt x="1431" y="19324"/>
                    <a:pt x="1865" y="19324"/>
                  </a:cubicBezTo>
                  <a:cubicBezTo>
                    <a:pt x="2300" y="19324"/>
                    <a:pt x="2735" y="19158"/>
                    <a:pt x="3066" y="18825"/>
                  </a:cubicBezTo>
                  <a:lnTo>
                    <a:pt x="6598" y="15293"/>
                  </a:lnTo>
                  <a:cubicBezTo>
                    <a:pt x="6831" y="15403"/>
                    <a:pt x="7081" y="15457"/>
                    <a:pt x="7328" y="15457"/>
                  </a:cubicBezTo>
                  <a:cubicBezTo>
                    <a:pt x="7770" y="15457"/>
                    <a:pt x="8206" y="15286"/>
                    <a:pt x="8531" y="14961"/>
                  </a:cubicBezTo>
                  <a:lnTo>
                    <a:pt x="9331" y="14163"/>
                  </a:lnTo>
                  <a:cubicBezTo>
                    <a:pt x="10241" y="14538"/>
                    <a:pt x="11190" y="14717"/>
                    <a:pt x="12127" y="14717"/>
                  </a:cubicBezTo>
                  <a:cubicBezTo>
                    <a:pt x="14530" y="14717"/>
                    <a:pt x="16858" y="13537"/>
                    <a:pt x="18256" y="11437"/>
                  </a:cubicBezTo>
                  <a:cubicBezTo>
                    <a:pt x="20204" y="8520"/>
                    <a:pt x="19821" y="4631"/>
                    <a:pt x="17342" y="2152"/>
                  </a:cubicBezTo>
                  <a:cubicBezTo>
                    <a:pt x="15906" y="718"/>
                    <a:pt x="14020" y="1"/>
                    <a:pt x="121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42" name="Google Shape;6142;p71"/>
            <p:cNvSpPr/>
            <p:nvPr/>
          </p:nvSpPr>
          <p:spPr>
            <a:xfrm>
              <a:off x="5216725" y="889175"/>
              <a:ext cx="276000" cy="254400"/>
            </a:xfrm>
            <a:custGeom>
              <a:avLst/>
              <a:gdLst/>
              <a:ahLst/>
              <a:cxnLst/>
              <a:rect l="l" t="t" r="r" b="b"/>
              <a:pathLst>
                <a:path w="11040" h="10176" extrusionOk="0">
                  <a:moveTo>
                    <a:pt x="5456" y="1133"/>
                  </a:moveTo>
                  <a:cubicBezTo>
                    <a:pt x="6487" y="1133"/>
                    <a:pt x="7500" y="1535"/>
                    <a:pt x="8259" y="2293"/>
                  </a:cubicBezTo>
                  <a:cubicBezTo>
                    <a:pt x="9802" y="3839"/>
                    <a:pt x="9802" y="6348"/>
                    <a:pt x="8259" y="7897"/>
                  </a:cubicBezTo>
                  <a:cubicBezTo>
                    <a:pt x="7501" y="8653"/>
                    <a:pt x="6489" y="9055"/>
                    <a:pt x="5460" y="9055"/>
                  </a:cubicBezTo>
                  <a:cubicBezTo>
                    <a:pt x="4948" y="9055"/>
                    <a:pt x="4433" y="8956"/>
                    <a:pt x="3941" y="8751"/>
                  </a:cubicBezTo>
                  <a:cubicBezTo>
                    <a:pt x="2462" y="8138"/>
                    <a:pt x="1499" y="6695"/>
                    <a:pt x="1499" y="5095"/>
                  </a:cubicBezTo>
                  <a:cubicBezTo>
                    <a:pt x="1499" y="3491"/>
                    <a:pt x="2462" y="2048"/>
                    <a:pt x="3941" y="1435"/>
                  </a:cubicBezTo>
                  <a:cubicBezTo>
                    <a:pt x="4431" y="1232"/>
                    <a:pt x="4946" y="1133"/>
                    <a:pt x="5456" y="1133"/>
                  </a:cubicBezTo>
                  <a:close/>
                  <a:moveTo>
                    <a:pt x="5468" y="1"/>
                  </a:moveTo>
                  <a:cubicBezTo>
                    <a:pt x="5465" y="1"/>
                    <a:pt x="5461" y="1"/>
                    <a:pt x="5457" y="1"/>
                  </a:cubicBezTo>
                  <a:cubicBezTo>
                    <a:pt x="3029" y="4"/>
                    <a:pt x="943" y="1719"/>
                    <a:pt x="472" y="4098"/>
                  </a:cubicBezTo>
                  <a:cubicBezTo>
                    <a:pt x="1" y="6481"/>
                    <a:pt x="1275" y="8860"/>
                    <a:pt x="3519" y="9787"/>
                  </a:cubicBezTo>
                  <a:cubicBezTo>
                    <a:pt x="4151" y="10049"/>
                    <a:pt x="4811" y="10175"/>
                    <a:pt x="5463" y="10175"/>
                  </a:cubicBezTo>
                  <a:cubicBezTo>
                    <a:pt x="7120" y="10175"/>
                    <a:pt x="8725" y="9362"/>
                    <a:pt x="9693" y="7912"/>
                  </a:cubicBezTo>
                  <a:cubicBezTo>
                    <a:pt x="11040" y="5895"/>
                    <a:pt x="10774" y="3207"/>
                    <a:pt x="9059" y="1492"/>
                  </a:cubicBezTo>
                  <a:cubicBezTo>
                    <a:pt x="8108" y="535"/>
                    <a:pt x="6814" y="1"/>
                    <a:pt x="54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43" name="Google Shape;6143;p71"/>
          <p:cNvSpPr/>
          <p:nvPr/>
        </p:nvSpPr>
        <p:spPr>
          <a:xfrm>
            <a:off x="5585240" y="3641702"/>
            <a:ext cx="455600" cy="387865"/>
          </a:xfrm>
          <a:custGeom>
            <a:avLst/>
            <a:gdLst/>
            <a:ahLst/>
            <a:cxnLst/>
            <a:rect l="l" t="t" r="r" b="b"/>
            <a:pathLst>
              <a:path w="19412" h="16526" extrusionOk="0">
                <a:moveTo>
                  <a:pt x="8421" y="4128"/>
                </a:moveTo>
                <a:lnTo>
                  <a:pt x="8421" y="6791"/>
                </a:lnTo>
                <a:lnTo>
                  <a:pt x="5302" y="6791"/>
                </a:lnTo>
                <a:lnTo>
                  <a:pt x="4511" y="4128"/>
                </a:lnTo>
                <a:close/>
                <a:moveTo>
                  <a:pt x="12661" y="4131"/>
                </a:moveTo>
                <a:lnTo>
                  <a:pt x="12661" y="6791"/>
                </a:lnTo>
                <a:lnTo>
                  <a:pt x="9554" y="6791"/>
                </a:lnTo>
                <a:lnTo>
                  <a:pt x="9554" y="4131"/>
                </a:lnTo>
                <a:close/>
                <a:moveTo>
                  <a:pt x="17999" y="4131"/>
                </a:moveTo>
                <a:lnTo>
                  <a:pt x="17208" y="6791"/>
                </a:lnTo>
                <a:lnTo>
                  <a:pt x="13793" y="6791"/>
                </a:lnTo>
                <a:lnTo>
                  <a:pt x="13793" y="4131"/>
                </a:lnTo>
                <a:close/>
                <a:moveTo>
                  <a:pt x="8421" y="7923"/>
                </a:moveTo>
                <a:lnTo>
                  <a:pt x="8421" y="10583"/>
                </a:lnTo>
                <a:lnTo>
                  <a:pt x="6432" y="10583"/>
                </a:lnTo>
                <a:lnTo>
                  <a:pt x="5640" y="7923"/>
                </a:lnTo>
                <a:close/>
                <a:moveTo>
                  <a:pt x="12661" y="7923"/>
                </a:moveTo>
                <a:lnTo>
                  <a:pt x="12661" y="10583"/>
                </a:lnTo>
                <a:lnTo>
                  <a:pt x="9554" y="10583"/>
                </a:lnTo>
                <a:lnTo>
                  <a:pt x="9554" y="7923"/>
                </a:lnTo>
                <a:close/>
                <a:moveTo>
                  <a:pt x="16873" y="7923"/>
                </a:moveTo>
                <a:lnTo>
                  <a:pt x="16076" y="10583"/>
                </a:lnTo>
                <a:lnTo>
                  <a:pt x="13793" y="10583"/>
                </a:lnTo>
                <a:lnTo>
                  <a:pt x="13793" y="7923"/>
                </a:lnTo>
                <a:close/>
                <a:moveTo>
                  <a:pt x="7935" y="13570"/>
                </a:moveTo>
                <a:cubicBezTo>
                  <a:pt x="8744" y="13570"/>
                  <a:pt x="9152" y="14551"/>
                  <a:pt x="8578" y="15125"/>
                </a:cubicBezTo>
                <a:cubicBezTo>
                  <a:pt x="8393" y="15310"/>
                  <a:pt x="8165" y="15393"/>
                  <a:pt x="7941" y="15393"/>
                </a:cubicBezTo>
                <a:cubicBezTo>
                  <a:pt x="7473" y="15393"/>
                  <a:pt x="7023" y="15029"/>
                  <a:pt x="7023" y="14482"/>
                </a:cubicBezTo>
                <a:cubicBezTo>
                  <a:pt x="7023" y="13977"/>
                  <a:pt x="7431" y="13573"/>
                  <a:pt x="7932" y="13570"/>
                </a:cubicBezTo>
                <a:close/>
                <a:moveTo>
                  <a:pt x="14910" y="13570"/>
                </a:moveTo>
                <a:cubicBezTo>
                  <a:pt x="15719" y="13570"/>
                  <a:pt x="16127" y="14551"/>
                  <a:pt x="15553" y="15125"/>
                </a:cubicBezTo>
                <a:cubicBezTo>
                  <a:pt x="15368" y="15310"/>
                  <a:pt x="15140" y="15393"/>
                  <a:pt x="14916" y="15393"/>
                </a:cubicBezTo>
                <a:cubicBezTo>
                  <a:pt x="14448" y="15393"/>
                  <a:pt x="13998" y="15029"/>
                  <a:pt x="13998" y="14482"/>
                </a:cubicBezTo>
                <a:cubicBezTo>
                  <a:pt x="13998" y="13977"/>
                  <a:pt x="14406" y="13570"/>
                  <a:pt x="14910" y="13570"/>
                </a:cubicBezTo>
                <a:close/>
                <a:moveTo>
                  <a:pt x="568" y="0"/>
                </a:moveTo>
                <a:cubicBezTo>
                  <a:pt x="254" y="0"/>
                  <a:pt x="0" y="254"/>
                  <a:pt x="0" y="565"/>
                </a:cubicBezTo>
                <a:cubicBezTo>
                  <a:pt x="0" y="879"/>
                  <a:pt x="254" y="1133"/>
                  <a:pt x="568" y="1133"/>
                </a:cubicBezTo>
                <a:lnTo>
                  <a:pt x="2437" y="1133"/>
                </a:lnTo>
                <a:lnTo>
                  <a:pt x="3204" y="3714"/>
                </a:lnTo>
                <a:cubicBezTo>
                  <a:pt x="3207" y="3720"/>
                  <a:pt x="3210" y="3729"/>
                  <a:pt x="3213" y="3738"/>
                </a:cubicBezTo>
                <a:lnTo>
                  <a:pt x="5251" y="10589"/>
                </a:lnTo>
                <a:cubicBezTo>
                  <a:pt x="4052" y="10671"/>
                  <a:pt x="3131" y="11685"/>
                  <a:pt x="3171" y="12887"/>
                </a:cubicBezTo>
                <a:cubicBezTo>
                  <a:pt x="3210" y="14089"/>
                  <a:pt x="4194" y="15043"/>
                  <a:pt x="5396" y="15046"/>
                </a:cubicBezTo>
                <a:lnTo>
                  <a:pt x="5970" y="15046"/>
                </a:lnTo>
                <a:cubicBezTo>
                  <a:pt x="6220" y="15922"/>
                  <a:pt x="7020" y="16526"/>
                  <a:pt x="7932" y="16526"/>
                </a:cubicBezTo>
                <a:cubicBezTo>
                  <a:pt x="8841" y="16526"/>
                  <a:pt x="9641" y="15922"/>
                  <a:pt x="9895" y="15046"/>
                </a:cubicBezTo>
                <a:lnTo>
                  <a:pt x="12947" y="15046"/>
                </a:lnTo>
                <a:cubicBezTo>
                  <a:pt x="13198" y="15922"/>
                  <a:pt x="13998" y="16523"/>
                  <a:pt x="14910" y="16523"/>
                </a:cubicBezTo>
                <a:cubicBezTo>
                  <a:pt x="15819" y="16523"/>
                  <a:pt x="16619" y="15922"/>
                  <a:pt x="16873" y="15046"/>
                </a:cubicBezTo>
                <a:lnTo>
                  <a:pt x="17616" y="15046"/>
                </a:lnTo>
                <a:cubicBezTo>
                  <a:pt x="17927" y="15046"/>
                  <a:pt x="18180" y="14793"/>
                  <a:pt x="18180" y="14482"/>
                </a:cubicBezTo>
                <a:cubicBezTo>
                  <a:pt x="18180" y="14167"/>
                  <a:pt x="17927" y="13914"/>
                  <a:pt x="17616" y="13914"/>
                </a:cubicBezTo>
                <a:lnTo>
                  <a:pt x="16873" y="13914"/>
                </a:lnTo>
                <a:cubicBezTo>
                  <a:pt x="16619" y="13041"/>
                  <a:pt x="15819" y="12437"/>
                  <a:pt x="14910" y="12437"/>
                </a:cubicBezTo>
                <a:cubicBezTo>
                  <a:pt x="13998" y="12437"/>
                  <a:pt x="13198" y="13041"/>
                  <a:pt x="12947" y="13914"/>
                </a:cubicBezTo>
                <a:lnTo>
                  <a:pt x="9895" y="13914"/>
                </a:lnTo>
                <a:cubicBezTo>
                  <a:pt x="9644" y="13038"/>
                  <a:pt x="8844" y="12437"/>
                  <a:pt x="7932" y="12437"/>
                </a:cubicBezTo>
                <a:cubicBezTo>
                  <a:pt x="7023" y="12437"/>
                  <a:pt x="6223" y="13038"/>
                  <a:pt x="5970" y="13914"/>
                </a:cubicBezTo>
                <a:lnTo>
                  <a:pt x="5399" y="13914"/>
                </a:lnTo>
                <a:cubicBezTo>
                  <a:pt x="4798" y="13905"/>
                  <a:pt x="4318" y="13416"/>
                  <a:pt x="4318" y="12815"/>
                </a:cubicBezTo>
                <a:cubicBezTo>
                  <a:pt x="4318" y="12217"/>
                  <a:pt x="4798" y="11728"/>
                  <a:pt x="5399" y="11716"/>
                </a:cubicBezTo>
                <a:lnTo>
                  <a:pt x="16501" y="11716"/>
                </a:lnTo>
                <a:cubicBezTo>
                  <a:pt x="16752" y="11716"/>
                  <a:pt x="16972" y="11553"/>
                  <a:pt x="17045" y="11311"/>
                </a:cubicBezTo>
                <a:lnTo>
                  <a:pt x="19303" y="3726"/>
                </a:lnTo>
                <a:cubicBezTo>
                  <a:pt x="19412" y="3362"/>
                  <a:pt x="19140" y="2999"/>
                  <a:pt x="18765" y="2999"/>
                </a:cubicBezTo>
                <a:cubicBezTo>
                  <a:pt x="18763" y="2999"/>
                  <a:pt x="18761" y="2999"/>
                  <a:pt x="18760" y="2999"/>
                </a:cubicBezTo>
                <a:lnTo>
                  <a:pt x="4173" y="2999"/>
                </a:lnTo>
                <a:lnTo>
                  <a:pt x="3400" y="405"/>
                </a:lnTo>
                <a:cubicBezTo>
                  <a:pt x="3328" y="163"/>
                  <a:pt x="3107" y="0"/>
                  <a:pt x="28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44" name="Google Shape;6144;p71"/>
          <p:cNvGrpSpPr/>
          <p:nvPr/>
        </p:nvGrpSpPr>
        <p:grpSpPr>
          <a:xfrm>
            <a:off x="6170162" y="3608999"/>
            <a:ext cx="398661" cy="453557"/>
            <a:chOff x="6272100" y="832575"/>
            <a:chExt cx="424650" cy="483125"/>
          </a:xfrm>
        </p:grpSpPr>
        <p:sp>
          <p:nvSpPr>
            <p:cNvPr id="6145" name="Google Shape;6145;p71"/>
            <p:cNvSpPr/>
            <p:nvPr/>
          </p:nvSpPr>
          <p:spPr>
            <a:xfrm>
              <a:off x="6272100" y="832575"/>
              <a:ext cx="424650" cy="483125"/>
            </a:xfrm>
            <a:custGeom>
              <a:avLst/>
              <a:gdLst/>
              <a:ahLst/>
              <a:cxnLst/>
              <a:rect l="l" t="t" r="r" b="b"/>
              <a:pathLst>
                <a:path w="16986" h="19325" extrusionOk="0">
                  <a:moveTo>
                    <a:pt x="2265" y="6537"/>
                  </a:moveTo>
                  <a:lnTo>
                    <a:pt x="2265" y="8334"/>
                  </a:lnTo>
                  <a:lnTo>
                    <a:pt x="1366" y="7437"/>
                  </a:lnTo>
                  <a:lnTo>
                    <a:pt x="2265" y="6537"/>
                  </a:lnTo>
                  <a:close/>
                  <a:moveTo>
                    <a:pt x="14721" y="6537"/>
                  </a:moveTo>
                  <a:lnTo>
                    <a:pt x="15617" y="7437"/>
                  </a:lnTo>
                  <a:lnTo>
                    <a:pt x="14721" y="8334"/>
                  </a:lnTo>
                  <a:lnTo>
                    <a:pt x="14721" y="6537"/>
                  </a:lnTo>
                  <a:close/>
                  <a:moveTo>
                    <a:pt x="13588" y="1132"/>
                  </a:moveTo>
                  <a:lnTo>
                    <a:pt x="13588" y="9466"/>
                  </a:lnTo>
                  <a:lnTo>
                    <a:pt x="10521" y="12531"/>
                  </a:lnTo>
                  <a:lnTo>
                    <a:pt x="6462" y="12531"/>
                  </a:lnTo>
                  <a:lnTo>
                    <a:pt x="3398" y="9466"/>
                  </a:lnTo>
                  <a:lnTo>
                    <a:pt x="3398" y="1132"/>
                  </a:lnTo>
                  <a:close/>
                  <a:moveTo>
                    <a:pt x="1133" y="8802"/>
                  </a:moveTo>
                  <a:lnTo>
                    <a:pt x="5427" y="13099"/>
                  </a:lnTo>
                  <a:lnTo>
                    <a:pt x="1133" y="17392"/>
                  </a:lnTo>
                  <a:lnTo>
                    <a:pt x="1133" y="8802"/>
                  </a:lnTo>
                  <a:close/>
                  <a:moveTo>
                    <a:pt x="15853" y="8802"/>
                  </a:moveTo>
                  <a:lnTo>
                    <a:pt x="15853" y="17392"/>
                  </a:lnTo>
                  <a:lnTo>
                    <a:pt x="11556" y="13099"/>
                  </a:lnTo>
                  <a:lnTo>
                    <a:pt x="15853" y="8802"/>
                  </a:lnTo>
                  <a:close/>
                  <a:moveTo>
                    <a:pt x="10521" y="13663"/>
                  </a:moveTo>
                  <a:lnTo>
                    <a:pt x="15050" y="18192"/>
                  </a:lnTo>
                  <a:lnTo>
                    <a:pt x="1933" y="18192"/>
                  </a:lnTo>
                  <a:lnTo>
                    <a:pt x="6462" y="13663"/>
                  </a:lnTo>
                  <a:close/>
                  <a:moveTo>
                    <a:pt x="2830" y="0"/>
                  </a:moveTo>
                  <a:cubicBezTo>
                    <a:pt x="2516" y="0"/>
                    <a:pt x="2265" y="254"/>
                    <a:pt x="2265" y="568"/>
                  </a:cubicBezTo>
                  <a:lnTo>
                    <a:pt x="2265" y="4937"/>
                  </a:lnTo>
                  <a:lnTo>
                    <a:pt x="164" y="7036"/>
                  </a:lnTo>
                  <a:lnTo>
                    <a:pt x="161" y="7042"/>
                  </a:lnTo>
                  <a:cubicBezTo>
                    <a:pt x="152" y="7051"/>
                    <a:pt x="143" y="7063"/>
                    <a:pt x="134" y="7072"/>
                  </a:cubicBezTo>
                  <a:lnTo>
                    <a:pt x="125" y="7084"/>
                  </a:lnTo>
                  <a:cubicBezTo>
                    <a:pt x="112" y="7096"/>
                    <a:pt x="103" y="7108"/>
                    <a:pt x="94" y="7120"/>
                  </a:cubicBezTo>
                  <a:cubicBezTo>
                    <a:pt x="91" y="7126"/>
                    <a:pt x="88" y="7129"/>
                    <a:pt x="85" y="7132"/>
                  </a:cubicBezTo>
                  <a:cubicBezTo>
                    <a:pt x="85" y="7138"/>
                    <a:pt x="73" y="7153"/>
                    <a:pt x="70" y="7162"/>
                  </a:cubicBezTo>
                  <a:cubicBezTo>
                    <a:pt x="64" y="7171"/>
                    <a:pt x="61" y="7174"/>
                    <a:pt x="58" y="7180"/>
                  </a:cubicBezTo>
                  <a:cubicBezTo>
                    <a:pt x="55" y="7186"/>
                    <a:pt x="52" y="7199"/>
                    <a:pt x="46" y="7208"/>
                  </a:cubicBezTo>
                  <a:cubicBezTo>
                    <a:pt x="43" y="7217"/>
                    <a:pt x="40" y="7220"/>
                    <a:pt x="40" y="7226"/>
                  </a:cubicBezTo>
                  <a:cubicBezTo>
                    <a:pt x="34" y="7241"/>
                    <a:pt x="28" y="7256"/>
                    <a:pt x="25" y="7271"/>
                  </a:cubicBezTo>
                  <a:cubicBezTo>
                    <a:pt x="25" y="7274"/>
                    <a:pt x="22" y="7280"/>
                    <a:pt x="19" y="7283"/>
                  </a:cubicBezTo>
                  <a:cubicBezTo>
                    <a:pt x="16" y="7295"/>
                    <a:pt x="13" y="7307"/>
                    <a:pt x="13" y="7319"/>
                  </a:cubicBezTo>
                  <a:cubicBezTo>
                    <a:pt x="13" y="7325"/>
                    <a:pt x="10" y="7331"/>
                    <a:pt x="10" y="7334"/>
                  </a:cubicBezTo>
                  <a:cubicBezTo>
                    <a:pt x="7" y="7340"/>
                    <a:pt x="4" y="7359"/>
                    <a:pt x="4" y="7371"/>
                  </a:cubicBezTo>
                  <a:lnTo>
                    <a:pt x="4" y="7386"/>
                  </a:lnTo>
                  <a:cubicBezTo>
                    <a:pt x="4" y="7401"/>
                    <a:pt x="1" y="7416"/>
                    <a:pt x="1" y="7434"/>
                  </a:cubicBezTo>
                  <a:lnTo>
                    <a:pt x="1" y="17625"/>
                  </a:lnTo>
                  <a:cubicBezTo>
                    <a:pt x="1" y="18063"/>
                    <a:pt x="170" y="18482"/>
                    <a:pt x="475" y="18799"/>
                  </a:cubicBezTo>
                  <a:cubicBezTo>
                    <a:pt x="481" y="18808"/>
                    <a:pt x="490" y="18817"/>
                    <a:pt x="499" y="18826"/>
                  </a:cubicBezTo>
                  <a:cubicBezTo>
                    <a:pt x="508" y="18833"/>
                    <a:pt x="517" y="18842"/>
                    <a:pt x="526" y="18851"/>
                  </a:cubicBezTo>
                  <a:cubicBezTo>
                    <a:pt x="840" y="19156"/>
                    <a:pt x="1260" y="19325"/>
                    <a:pt x="1698" y="19325"/>
                  </a:cubicBezTo>
                  <a:lnTo>
                    <a:pt x="15285" y="19325"/>
                  </a:lnTo>
                  <a:cubicBezTo>
                    <a:pt x="15723" y="19325"/>
                    <a:pt x="16143" y="19156"/>
                    <a:pt x="16460" y="18854"/>
                  </a:cubicBezTo>
                  <a:cubicBezTo>
                    <a:pt x="16469" y="18845"/>
                    <a:pt x="16478" y="18836"/>
                    <a:pt x="16487" y="18826"/>
                  </a:cubicBezTo>
                  <a:cubicBezTo>
                    <a:pt x="16496" y="18817"/>
                    <a:pt x="16502" y="18808"/>
                    <a:pt x="16511" y="18799"/>
                  </a:cubicBezTo>
                  <a:cubicBezTo>
                    <a:pt x="16816" y="18485"/>
                    <a:pt x="16985" y="18063"/>
                    <a:pt x="16985" y="17628"/>
                  </a:cubicBezTo>
                  <a:lnTo>
                    <a:pt x="16985" y="7437"/>
                  </a:lnTo>
                  <a:cubicBezTo>
                    <a:pt x="16985" y="7419"/>
                    <a:pt x="16985" y="7404"/>
                    <a:pt x="16982" y="7389"/>
                  </a:cubicBezTo>
                  <a:lnTo>
                    <a:pt x="16982" y="7371"/>
                  </a:lnTo>
                  <a:cubicBezTo>
                    <a:pt x="16982" y="7362"/>
                    <a:pt x="16979" y="7350"/>
                    <a:pt x="16976" y="7337"/>
                  </a:cubicBezTo>
                  <a:cubicBezTo>
                    <a:pt x="16973" y="7328"/>
                    <a:pt x="16973" y="7325"/>
                    <a:pt x="16973" y="7319"/>
                  </a:cubicBezTo>
                  <a:cubicBezTo>
                    <a:pt x="16973" y="7316"/>
                    <a:pt x="16967" y="7298"/>
                    <a:pt x="16964" y="7286"/>
                  </a:cubicBezTo>
                  <a:cubicBezTo>
                    <a:pt x="16964" y="7283"/>
                    <a:pt x="16964" y="7277"/>
                    <a:pt x="16961" y="7271"/>
                  </a:cubicBezTo>
                  <a:cubicBezTo>
                    <a:pt x="16958" y="7256"/>
                    <a:pt x="16952" y="7244"/>
                    <a:pt x="16946" y="7229"/>
                  </a:cubicBezTo>
                  <a:cubicBezTo>
                    <a:pt x="16943" y="7223"/>
                    <a:pt x="16940" y="7217"/>
                    <a:pt x="16940" y="7211"/>
                  </a:cubicBezTo>
                  <a:cubicBezTo>
                    <a:pt x="16937" y="7205"/>
                    <a:pt x="16931" y="7193"/>
                    <a:pt x="16925" y="7183"/>
                  </a:cubicBezTo>
                  <a:cubicBezTo>
                    <a:pt x="16922" y="7174"/>
                    <a:pt x="16919" y="7171"/>
                    <a:pt x="16916" y="7165"/>
                  </a:cubicBezTo>
                  <a:cubicBezTo>
                    <a:pt x="16913" y="7159"/>
                    <a:pt x="16904" y="7144"/>
                    <a:pt x="16898" y="7135"/>
                  </a:cubicBezTo>
                  <a:lnTo>
                    <a:pt x="16892" y="7123"/>
                  </a:lnTo>
                  <a:cubicBezTo>
                    <a:pt x="16882" y="7108"/>
                    <a:pt x="16873" y="7096"/>
                    <a:pt x="16861" y="7084"/>
                  </a:cubicBezTo>
                  <a:lnTo>
                    <a:pt x="16852" y="7075"/>
                  </a:lnTo>
                  <a:cubicBezTo>
                    <a:pt x="16843" y="7063"/>
                    <a:pt x="16834" y="7054"/>
                    <a:pt x="16825" y="7045"/>
                  </a:cubicBezTo>
                  <a:lnTo>
                    <a:pt x="16819" y="7039"/>
                  </a:lnTo>
                  <a:lnTo>
                    <a:pt x="14721" y="4937"/>
                  </a:lnTo>
                  <a:lnTo>
                    <a:pt x="14721" y="568"/>
                  </a:lnTo>
                  <a:cubicBezTo>
                    <a:pt x="14721" y="254"/>
                    <a:pt x="14467" y="0"/>
                    <a:pt x="141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46" name="Google Shape;6146;p71"/>
            <p:cNvSpPr/>
            <p:nvPr/>
          </p:nvSpPr>
          <p:spPr>
            <a:xfrm>
              <a:off x="6384200" y="889150"/>
              <a:ext cx="199300" cy="198200"/>
            </a:xfrm>
            <a:custGeom>
              <a:avLst/>
              <a:gdLst/>
              <a:ahLst/>
              <a:cxnLst/>
              <a:rect l="l" t="t" r="r" b="b"/>
              <a:pathLst>
                <a:path w="7972" h="7928" extrusionOk="0">
                  <a:moveTo>
                    <a:pt x="4005" y="3398"/>
                  </a:moveTo>
                  <a:cubicBezTo>
                    <a:pt x="4274" y="3398"/>
                    <a:pt x="4534" y="3588"/>
                    <a:pt x="4569" y="3900"/>
                  </a:cubicBezTo>
                  <a:cubicBezTo>
                    <a:pt x="4560" y="3951"/>
                    <a:pt x="4560" y="4003"/>
                    <a:pt x="4566" y="4057"/>
                  </a:cubicBezTo>
                  <a:cubicBezTo>
                    <a:pt x="4521" y="4329"/>
                    <a:pt x="4285" y="4531"/>
                    <a:pt x="4007" y="4531"/>
                  </a:cubicBezTo>
                  <a:cubicBezTo>
                    <a:pt x="3518" y="4531"/>
                    <a:pt x="3259" y="3954"/>
                    <a:pt x="3585" y="3589"/>
                  </a:cubicBezTo>
                  <a:cubicBezTo>
                    <a:pt x="3702" y="3458"/>
                    <a:pt x="3855" y="3398"/>
                    <a:pt x="4005" y="3398"/>
                  </a:cubicBezTo>
                  <a:close/>
                  <a:moveTo>
                    <a:pt x="4005" y="1"/>
                  </a:moveTo>
                  <a:cubicBezTo>
                    <a:pt x="3351" y="1"/>
                    <a:pt x="2696" y="163"/>
                    <a:pt x="2102" y="488"/>
                  </a:cubicBezTo>
                  <a:cubicBezTo>
                    <a:pt x="876" y="1161"/>
                    <a:pt x="94" y="2432"/>
                    <a:pt x="46" y="3830"/>
                  </a:cubicBezTo>
                  <a:cubicBezTo>
                    <a:pt x="1" y="5231"/>
                    <a:pt x="695" y="6551"/>
                    <a:pt x="1876" y="7303"/>
                  </a:cubicBezTo>
                  <a:cubicBezTo>
                    <a:pt x="2510" y="7713"/>
                    <a:pt x="3247" y="7928"/>
                    <a:pt x="4001" y="7928"/>
                  </a:cubicBezTo>
                  <a:cubicBezTo>
                    <a:pt x="4629" y="7925"/>
                    <a:pt x="5248" y="7783"/>
                    <a:pt x="5816" y="7517"/>
                  </a:cubicBezTo>
                  <a:cubicBezTo>
                    <a:pt x="6106" y="7390"/>
                    <a:pt x="6233" y="7049"/>
                    <a:pt x="6100" y="6762"/>
                  </a:cubicBezTo>
                  <a:cubicBezTo>
                    <a:pt x="6006" y="6555"/>
                    <a:pt x="5802" y="6435"/>
                    <a:pt x="5589" y="6435"/>
                  </a:cubicBezTo>
                  <a:cubicBezTo>
                    <a:pt x="5506" y="6435"/>
                    <a:pt x="5422" y="6453"/>
                    <a:pt x="5342" y="6491"/>
                  </a:cubicBezTo>
                  <a:cubicBezTo>
                    <a:pt x="4902" y="6692"/>
                    <a:pt x="4449" y="6792"/>
                    <a:pt x="4007" y="6792"/>
                  </a:cubicBezTo>
                  <a:cubicBezTo>
                    <a:pt x="3468" y="6792"/>
                    <a:pt x="2947" y="6644"/>
                    <a:pt x="2486" y="6349"/>
                  </a:cubicBezTo>
                  <a:cubicBezTo>
                    <a:pt x="1643" y="5811"/>
                    <a:pt x="1145" y="4869"/>
                    <a:pt x="1178" y="3870"/>
                  </a:cubicBezTo>
                  <a:cubicBezTo>
                    <a:pt x="1211" y="2870"/>
                    <a:pt x="1770" y="1961"/>
                    <a:pt x="2649" y="1481"/>
                  </a:cubicBezTo>
                  <a:cubicBezTo>
                    <a:pt x="3073" y="1247"/>
                    <a:pt x="3541" y="1131"/>
                    <a:pt x="4009" y="1131"/>
                  </a:cubicBezTo>
                  <a:cubicBezTo>
                    <a:pt x="4508" y="1131"/>
                    <a:pt x="5007" y="1263"/>
                    <a:pt x="5451" y="1527"/>
                  </a:cubicBezTo>
                  <a:cubicBezTo>
                    <a:pt x="6311" y="2037"/>
                    <a:pt x="6840" y="2964"/>
                    <a:pt x="6840" y="3966"/>
                  </a:cubicBezTo>
                  <a:cubicBezTo>
                    <a:pt x="6846" y="4277"/>
                    <a:pt x="6598" y="4537"/>
                    <a:pt x="6284" y="4543"/>
                  </a:cubicBezTo>
                  <a:cubicBezTo>
                    <a:pt x="6280" y="4543"/>
                    <a:pt x="6277" y="4543"/>
                    <a:pt x="6273" y="4543"/>
                  </a:cubicBezTo>
                  <a:cubicBezTo>
                    <a:pt x="5967" y="4543"/>
                    <a:pt x="5713" y="4298"/>
                    <a:pt x="5707" y="3990"/>
                  </a:cubicBezTo>
                  <a:lnTo>
                    <a:pt x="5707" y="3972"/>
                  </a:lnTo>
                  <a:lnTo>
                    <a:pt x="5707" y="3966"/>
                  </a:lnTo>
                  <a:cubicBezTo>
                    <a:pt x="5707" y="3163"/>
                    <a:pt x="5146" y="2469"/>
                    <a:pt x="4361" y="2300"/>
                  </a:cubicBezTo>
                  <a:cubicBezTo>
                    <a:pt x="4241" y="2274"/>
                    <a:pt x="4121" y="2261"/>
                    <a:pt x="4003" y="2261"/>
                  </a:cubicBezTo>
                  <a:cubicBezTo>
                    <a:pt x="3345" y="2261"/>
                    <a:pt x="2731" y="2647"/>
                    <a:pt x="2452" y="3269"/>
                  </a:cubicBezTo>
                  <a:cubicBezTo>
                    <a:pt x="2126" y="4000"/>
                    <a:pt x="2353" y="4863"/>
                    <a:pt x="3002" y="5337"/>
                  </a:cubicBezTo>
                  <a:cubicBezTo>
                    <a:pt x="3302" y="5555"/>
                    <a:pt x="3654" y="5663"/>
                    <a:pt x="4005" y="5663"/>
                  </a:cubicBezTo>
                  <a:cubicBezTo>
                    <a:pt x="4413" y="5663"/>
                    <a:pt x="4818" y="5517"/>
                    <a:pt x="5140" y="5228"/>
                  </a:cubicBezTo>
                  <a:cubicBezTo>
                    <a:pt x="5457" y="5513"/>
                    <a:pt x="5863" y="5662"/>
                    <a:pt x="6274" y="5662"/>
                  </a:cubicBezTo>
                  <a:cubicBezTo>
                    <a:pt x="6507" y="5662"/>
                    <a:pt x="6742" y="5614"/>
                    <a:pt x="6963" y="5515"/>
                  </a:cubicBezTo>
                  <a:cubicBezTo>
                    <a:pt x="7576" y="5241"/>
                    <a:pt x="7969" y="4634"/>
                    <a:pt x="7972" y="3966"/>
                  </a:cubicBezTo>
                  <a:cubicBezTo>
                    <a:pt x="7972" y="2565"/>
                    <a:pt x="7232" y="1267"/>
                    <a:pt x="6027" y="554"/>
                  </a:cubicBezTo>
                  <a:cubicBezTo>
                    <a:pt x="5405" y="186"/>
                    <a:pt x="4705" y="1"/>
                    <a:pt x="40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47" name="Google Shape;6147;p71"/>
          <p:cNvGrpSpPr/>
          <p:nvPr/>
        </p:nvGrpSpPr>
        <p:grpSpPr>
          <a:xfrm>
            <a:off x="1127771" y="4167731"/>
            <a:ext cx="453628" cy="453581"/>
            <a:chOff x="893650" y="1428000"/>
            <a:chExt cx="483200" cy="483150"/>
          </a:xfrm>
        </p:grpSpPr>
        <p:sp>
          <p:nvSpPr>
            <p:cNvPr id="6148" name="Google Shape;6148;p71"/>
            <p:cNvSpPr/>
            <p:nvPr/>
          </p:nvSpPr>
          <p:spPr>
            <a:xfrm>
              <a:off x="893650" y="1428000"/>
              <a:ext cx="483200" cy="483150"/>
            </a:xfrm>
            <a:custGeom>
              <a:avLst/>
              <a:gdLst/>
              <a:ahLst/>
              <a:cxnLst/>
              <a:rect l="l" t="t" r="r" b="b"/>
              <a:pathLst>
                <a:path w="19328" h="19326" extrusionOk="0">
                  <a:moveTo>
                    <a:pt x="3436" y="6012"/>
                  </a:moveTo>
                  <a:lnTo>
                    <a:pt x="3436" y="8869"/>
                  </a:lnTo>
                  <a:lnTo>
                    <a:pt x="1516" y="7435"/>
                  </a:lnTo>
                  <a:lnTo>
                    <a:pt x="3436" y="6012"/>
                  </a:lnTo>
                  <a:close/>
                  <a:moveTo>
                    <a:pt x="15892" y="6012"/>
                  </a:moveTo>
                  <a:lnTo>
                    <a:pt x="17812" y="7438"/>
                  </a:lnTo>
                  <a:lnTo>
                    <a:pt x="15892" y="8869"/>
                  </a:lnTo>
                  <a:lnTo>
                    <a:pt x="15892" y="6012"/>
                  </a:lnTo>
                  <a:close/>
                  <a:moveTo>
                    <a:pt x="14759" y="1133"/>
                  </a:moveTo>
                  <a:lnTo>
                    <a:pt x="14759" y="9717"/>
                  </a:lnTo>
                  <a:lnTo>
                    <a:pt x="9665" y="13522"/>
                  </a:lnTo>
                  <a:lnTo>
                    <a:pt x="4569" y="9717"/>
                  </a:lnTo>
                  <a:lnTo>
                    <a:pt x="4569" y="1133"/>
                  </a:lnTo>
                  <a:close/>
                  <a:moveTo>
                    <a:pt x="18195" y="8564"/>
                  </a:moveTo>
                  <a:lnTo>
                    <a:pt x="18195" y="17625"/>
                  </a:lnTo>
                  <a:cubicBezTo>
                    <a:pt x="18195" y="17939"/>
                    <a:pt x="17942" y="18193"/>
                    <a:pt x="17628" y="18193"/>
                  </a:cubicBezTo>
                  <a:lnTo>
                    <a:pt x="1700" y="18193"/>
                  </a:lnTo>
                  <a:cubicBezTo>
                    <a:pt x="1386" y="18193"/>
                    <a:pt x="1136" y="17939"/>
                    <a:pt x="1136" y="17625"/>
                  </a:cubicBezTo>
                  <a:lnTo>
                    <a:pt x="1136" y="8564"/>
                  </a:lnTo>
                  <a:lnTo>
                    <a:pt x="9324" y="14681"/>
                  </a:lnTo>
                  <a:cubicBezTo>
                    <a:pt x="9425" y="14757"/>
                    <a:pt x="9545" y="14794"/>
                    <a:pt x="9664" y="14794"/>
                  </a:cubicBezTo>
                  <a:cubicBezTo>
                    <a:pt x="9783" y="14794"/>
                    <a:pt x="9903" y="14757"/>
                    <a:pt x="10004" y="14681"/>
                  </a:cubicBezTo>
                  <a:lnTo>
                    <a:pt x="18195" y="8564"/>
                  </a:lnTo>
                  <a:close/>
                  <a:moveTo>
                    <a:pt x="4004" y="1"/>
                  </a:moveTo>
                  <a:cubicBezTo>
                    <a:pt x="3690" y="1"/>
                    <a:pt x="3436" y="251"/>
                    <a:pt x="3436" y="565"/>
                  </a:cubicBezTo>
                  <a:lnTo>
                    <a:pt x="3436" y="4605"/>
                  </a:lnTo>
                  <a:lnTo>
                    <a:pt x="230" y="6982"/>
                  </a:lnTo>
                  <a:lnTo>
                    <a:pt x="221" y="6991"/>
                  </a:lnTo>
                  <a:cubicBezTo>
                    <a:pt x="212" y="6997"/>
                    <a:pt x="200" y="7006"/>
                    <a:pt x="190" y="7015"/>
                  </a:cubicBezTo>
                  <a:lnTo>
                    <a:pt x="175" y="7030"/>
                  </a:lnTo>
                  <a:cubicBezTo>
                    <a:pt x="163" y="7042"/>
                    <a:pt x="151" y="7051"/>
                    <a:pt x="142" y="7063"/>
                  </a:cubicBezTo>
                  <a:cubicBezTo>
                    <a:pt x="139" y="7069"/>
                    <a:pt x="136" y="7072"/>
                    <a:pt x="133" y="7075"/>
                  </a:cubicBezTo>
                  <a:cubicBezTo>
                    <a:pt x="121" y="7090"/>
                    <a:pt x="106" y="7105"/>
                    <a:pt x="94" y="7124"/>
                  </a:cubicBezTo>
                  <a:cubicBezTo>
                    <a:pt x="94" y="7127"/>
                    <a:pt x="91" y="7130"/>
                    <a:pt x="88" y="7133"/>
                  </a:cubicBezTo>
                  <a:cubicBezTo>
                    <a:pt x="82" y="7148"/>
                    <a:pt x="73" y="7163"/>
                    <a:pt x="64" y="7178"/>
                  </a:cubicBezTo>
                  <a:cubicBezTo>
                    <a:pt x="61" y="7181"/>
                    <a:pt x="58" y="7187"/>
                    <a:pt x="58" y="7193"/>
                  </a:cubicBezTo>
                  <a:cubicBezTo>
                    <a:pt x="52" y="7205"/>
                    <a:pt x="46" y="7220"/>
                    <a:pt x="39" y="7232"/>
                  </a:cubicBezTo>
                  <a:lnTo>
                    <a:pt x="33" y="7250"/>
                  </a:lnTo>
                  <a:cubicBezTo>
                    <a:pt x="27" y="7265"/>
                    <a:pt x="24" y="7278"/>
                    <a:pt x="18" y="7293"/>
                  </a:cubicBezTo>
                  <a:cubicBezTo>
                    <a:pt x="18" y="7299"/>
                    <a:pt x="15" y="7305"/>
                    <a:pt x="15" y="7311"/>
                  </a:cubicBezTo>
                  <a:cubicBezTo>
                    <a:pt x="12" y="7326"/>
                    <a:pt x="9" y="7341"/>
                    <a:pt x="6" y="7356"/>
                  </a:cubicBezTo>
                  <a:cubicBezTo>
                    <a:pt x="6" y="7362"/>
                    <a:pt x="6" y="7368"/>
                    <a:pt x="3" y="7374"/>
                  </a:cubicBezTo>
                  <a:cubicBezTo>
                    <a:pt x="3" y="7392"/>
                    <a:pt x="0" y="7410"/>
                    <a:pt x="0" y="7432"/>
                  </a:cubicBezTo>
                  <a:lnTo>
                    <a:pt x="0" y="7435"/>
                  </a:lnTo>
                  <a:lnTo>
                    <a:pt x="3" y="7435"/>
                  </a:lnTo>
                  <a:lnTo>
                    <a:pt x="3" y="17625"/>
                  </a:lnTo>
                  <a:cubicBezTo>
                    <a:pt x="3" y="18564"/>
                    <a:pt x="761" y="19325"/>
                    <a:pt x="1700" y="19325"/>
                  </a:cubicBezTo>
                  <a:lnTo>
                    <a:pt x="17628" y="19325"/>
                  </a:lnTo>
                  <a:cubicBezTo>
                    <a:pt x="18567" y="19325"/>
                    <a:pt x="19325" y="18564"/>
                    <a:pt x="19328" y="17625"/>
                  </a:cubicBezTo>
                  <a:lnTo>
                    <a:pt x="19328" y="7435"/>
                  </a:lnTo>
                  <a:lnTo>
                    <a:pt x="19328" y="7428"/>
                  </a:lnTo>
                  <a:cubicBezTo>
                    <a:pt x="19328" y="7410"/>
                    <a:pt x="19325" y="7389"/>
                    <a:pt x="19322" y="7371"/>
                  </a:cubicBezTo>
                  <a:cubicBezTo>
                    <a:pt x="19322" y="7365"/>
                    <a:pt x="19322" y="7359"/>
                    <a:pt x="19319" y="7353"/>
                  </a:cubicBezTo>
                  <a:cubicBezTo>
                    <a:pt x="19319" y="7338"/>
                    <a:pt x="19316" y="7323"/>
                    <a:pt x="19313" y="7308"/>
                  </a:cubicBezTo>
                  <a:cubicBezTo>
                    <a:pt x="19313" y="7302"/>
                    <a:pt x="19310" y="7296"/>
                    <a:pt x="19307" y="7290"/>
                  </a:cubicBezTo>
                  <a:cubicBezTo>
                    <a:pt x="19304" y="7278"/>
                    <a:pt x="19301" y="7262"/>
                    <a:pt x="19294" y="7247"/>
                  </a:cubicBezTo>
                  <a:lnTo>
                    <a:pt x="19288" y="7232"/>
                  </a:lnTo>
                  <a:cubicBezTo>
                    <a:pt x="19282" y="7217"/>
                    <a:pt x="19276" y="7205"/>
                    <a:pt x="19270" y="7190"/>
                  </a:cubicBezTo>
                  <a:cubicBezTo>
                    <a:pt x="19267" y="7184"/>
                    <a:pt x="19264" y="7181"/>
                    <a:pt x="19264" y="7175"/>
                  </a:cubicBezTo>
                  <a:cubicBezTo>
                    <a:pt x="19255" y="7160"/>
                    <a:pt x="19246" y="7145"/>
                    <a:pt x="19237" y="7133"/>
                  </a:cubicBezTo>
                  <a:cubicBezTo>
                    <a:pt x="19237" y="7130"/>
                    <a:pt x="19234" y="7124"/>
                    <a:pt x="19231" y="7120"/>
                  </a:cubicBezTo>
                  <a:cubicBezTo>
                    <a:pt x="19219" y="7105"/>
                    <a:pt x="19207" y="7087"/>
                    <a:pt x="19195" y="7072"/>
                  </a:cubicBezTo>
                  <a:cubicBezTo>
                    <a:pt x="19192" y="7069"/>
                    <a:pt x="19189" y="7066"/>
                    <a:pt x="19186" y="7063"/>
                  </a:cubicBezTo>
                  <a:cubicBezTo>
                    <a:pt x="19174" y="7051"/>
                    <a:pt x="19165" y="7039"/>
                    <a:pt x="19153" y="7027"/>
                  </a:cubicBezTo>
                  <a:lnTo>
                    <a:pt x="19137" y="7015"/>
                  </a:lnTo>
                  <a:cubicBezTo>
                    <a:pt x="19125" y="7006"/>
                    <a:pt x="19116" y="6997"/>
                    <a:pt x="19104" y="6988"/>
                  </a:cubicBezTo>
                  <a:lnTo>
                    <a:pt x="19095" y="6979"/>
                  </a:lnTo>
                  <a:lnTo>
                    <a:pt x="15892" y="4605"/>
                  </a:lnTo>
                  <a:lnTo>
                    <a:pt x="15892" y="565"/>
                  </a:lnTo>
                  <a:cubicBezTo>
                    <a:pt x="15892" y="251"/>
                    <a:pt x="15638" y="1"/>
                    <a:pt x="153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49" name="Google Shape;6149;p71"/>
            <p:cNvSpPr/>
            <p:nvPr/>
          </p:nvSpPr>
          <p:spPr>
            <a:xfrm>
              <a:off x="1036150" y="1514825"/>
              <a:ext cx="198175" cy="28325"/>
            </a:xfrm>
            <a:custGeom>
              <a:avLst/>
              <a:gdLst/>
              <a:ahLst/>
              <a:cxnLst/>
              <a:rect l="l" t="t" r="r" b="b"/>
              <a:pathLst>
                <a:path w="7927" h="1133" extrusionOk="0">
                  <a:moveTo>
                    <a:pt x="569" y="0"/>
                  </a:moveTo>
                  <a:cubicBezTo>
                    <a:pt x="255" y="0"/>
                    <a:pt x="1" y="251"/>
                    <a:pt x="1" y="565"/>
                  </a:cubicBezTo>
                  <a:cubicBezTo>
                    <a:pt x="1" y="879"/>
                    <a:pt x="255" y="1132"/>
                    <a:pt x="569" y="1132"/>
                  </a:cubicBezTo>
                  <a:lnTo>
                    <a:pt x="7362" y="1132"/>
                  </a:lnTo>
                  <a:cubicBezTo>
                    <a:pt x="7673" y="1132"/>
                    <a:pt x="7927" y="879"/>
                    <a:pt x="7927" y="565"/>
                  </a:cubicBezTo>
                  <a:cubicBezTo>
                    <a:pt x="7927" y="251"/>
                    <a:pt x="7673" y="0"/>
                    <a:pt x="73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50" name="Google Shape;6150;p71"/>
            <p:cNvSpPr/>
            <p:nvPr/>
          </p:nvSpPr>
          <p:spPr>
            <a:xfrm>
              <a:off x="1036150" y="1571425"/>
              <a:ext cx="198175" cy="28325"/>
            </a:xfrm>
            <a:custGeom>
              <a:avLst/>
              <a:gdLst/>
              <a:ahLst/>
              <a:cxnLst/>
              <a:rect l="l" t="t" r="r" b="b"/>
              <a:pathLst>
                <a:path w="7927" h="1133" extrusionOk="0">
                  <a:moveTo>
                    <a:pt x="569" y="1"/>
                  </a:moveTo>
                  <a:cubicBezTo>
                    <a:pt x="255" y="1"/>
                    <a:pt x="1" y="251"/>
                    <a:pt x="1" y="565"/>
                  </a:cubicBezTo>
                  <a:cubicBezTo>
                    <a:pt x="1" y="879"/>
                    <a:pt x="255" y="1133"/>
                    <a:pt x="569" y="1133"/>
                  </a:cubicBezTo>
                  <a:lnTo>
                    <a:pt x="7362" y="1133"/>
                  </a:lnTo>
                  <a:cubicBezTo>
                    <a:pt x="7673" y="1133"/>
                    <a:pt x="7927" y="879"/>
                    <a:pt x="7927" y="565"/>
                  </a:cubicBezTo>
                  <a:cubicBezTo>
                    <a:pt x="7927" y="251"/>
                    <a:pt x="7673" y="1"/>
                    <a:pt x="73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51" name="Google Shape;6151;p71"/>
            <p:cNvSpPr/>
            <p:nvPr/>
          </p:nvSpPr>
          <p:spPr>
            <a:xfrm>
              <a:off x="1036150" y="1628050"/>
              <a:ext cx="113275" cy="28325"/>
            </a:xfrm>
            <a:custGeom>
              <a:avLst/>
              <a:gdLst/>
              <a:ahLst/>
              <a:cxnLst/>
              <a:rect l="l" t="t" r="r" b="b"/>
              <a:pathLst>
                <a:path w="4531" h="1133" extrusionOk="0">
                  <a:moveTo>
                    <a:pt x="569" y="0"/>
                  </a:moveTo>
                  <a:cubicBezTo>
                    <a:pt x="255" y="0"/>
                    <a:pt x="1" y="251"/>
                    <a:pt x="1" y="565"/>
                  </a:cubicBezTo>
                  <a:cubicBezTo>
                    <a:pt x="1" y="879"/>
                    <a:pt x="255" y="1132"/>
                    <a:pt x="569" y="1132"/>
                  </a:cubicBezTo>
                  <a:lnTo>
                    <a:pt x="3965" y="1132"/>
                  </a:lnTo>
                  <a:cubicBezTo>
                    <a:pt x="4276" y="1132"/>
                    <a:pt x="4530" y="879"/>
                    <a:pt x="4530" y="565"/>
                  </a:cubicBezTo>
                  <a:cubicBezTo>
                    <a:pt x="4530" y="251"/>
                    <a:pt x="4276" y="0"/>
                    <a:pt x="3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52" name="Google Shape;6152;p71"/>
          <p:cNvSpPr/>
          <p:nvPr/>
        </p:nvSpPr>
        <p:spPr>
          <a:xfrm>
            <a:off x="1684708" y="4248099"/>
            <a:ext cx="453557" cy="292343"/>
          </a:xfrm>
          <a:custGeom>
            <a:avLst/>
            <a:gdLst/>
            <a:ahLst/>
            <a:cxnLst/>
            <a:rect l="l" t="t" r="r" b="b"/>
            <a:pathLst>
              <a:path w="19325" h="12456" extrusionOk="0">
                <a:moveTo>
                  <a:pt x="17057" y="1133"/>
                </a:moveTo>
                <a:lnTo>
                  <a:pt x="9662" y="6652"/>
                </a:lnTo>
                <a:lnTo>
                  <a:pt x="2268" y="1133"/>
                </a:lnTo>
                <a:close/>
                <a:moveTo>
                  <a:pt x="18192" y="1697"/>
                </a:moveTo>
                <a:lnTo>
                  <a:pt x="18192" y="10756"/>
                </a:lnTo>
                <a:cubicBezTo>
                  <a:pt x="18192" y="11070"/>
                  <a:pt x="17939" y="11323"/>
                  <a:pt x="17628" y="11323"/>
                </a:cubicBezTo>
                <a:lnTo>
                  <a:pt x="1700" y="11323"/>
                </a:lnTo>
                <a:cubicBezTo>
                  <a:pt x="1386" y="11323"/>
                  <a:pt x="1132" y="11070"/>
                  <a:pt x="1132" y="10756"/>
                </a:cubicBezTo>
                <a:lnTo>
                  <a:pt x="1132" y="1697"/>
                </a:lnTo>
                <a:lnTo>
                  <a:pt x="9324" y="7812"/>
                </a:lnTo>
                <a:cubicBezTo>
                  <a:pt x="9424" y="7887"/>
                  <a:pt x="9543" y="7925"/>
                  <a:pt x="9663" y="7925"/>
                </a:cubicBezTo>
                <a:cubicBezTo>
                  <a:pt x="9782" y="7925"/>
                  <a:pt x="9902" y="7887"/>
                  <a:pt x="10004" y="7812"/>
                </a:cubicBezTo>
                <a:lnTo>
                  <a:pt x="18192" y="1697"/>
                </a:lnTo>
                <a:close/>
                <a:moveTo>
                  <a:pt x="1688" y="0"/>
                </a:moveTo>
                <a:cubicBezTo>
                  <a:pt x="1287" y="0"/>
                  <a:pt x="900" y="145"/>
                  <a:pt x="598" y="405"/>
                </a:cubicBezTo>
                <a:cubicBezTo>
                  <a:pt x="583" y="417"/>
                  <a:pt x="571" y="429"/>
                  <a:pt x="556" y="444"/>
                </a:cubicBezTo>
                <a:cubicBezTo>
                  <a:pt x="202" y="764"/>
                  <a:pt x="0" y="1220"/>
                  <a:pt x="0" y="1697"/>
                </a:cubicBezTo>
                <a:lnTo>
                  <a:pt x="0" y="10756"/>
                </a:lnTo>
                <a:cubicBezTo>
                  <a:pt x="0" y="11695"/>
                  <a:pt x="761" y="12453"/>
                  <a:pt x="1700" y="12456"/>
                </a:cubicBezTo>
                <a:lnTo>
                  <a:pt x="17628" y="12456"/>
                </a:lnTo>
                <a:cubicBezTo>
                  <a:pt x="18564" y="12453"/>
                  <a:pt x="19325" y="11695"/>
                  <a:pt x="19325" y="10756"/>
                </a:cubicBezTo>
                <a:lnTo>
                  <a:pt x="19325" y="1697"/>
                </a:lnTo>
                <a:cubicBezTo>
                  <a:pt x="19325" y="1220"/>
                  <a:pt x="19122" y="764"/>
                  <a:pt x="18769" y="441"/>
                </a:cubicBezTo>
                <a:cubicBezTo>
                  <a:pt x="18757" y="429"/>
                  <a:pt x="18742" y="417"/>
                  <a:pt x="18727" y="405"/>
                </a:cubicBezTo>
                <a:cubicBezTo>
                  <a:pt x="18422" y="145"/>
                  <a:pt x="18037" y="0"/>
                  <a:pt x="17640" y="0"/>
                </a:cubicBezTo>
                <a:cubicBezTo>
                  <a:pt x="17636" y="0"/>
                  <a:pt x="17632" y="0"/>
                  <a:pt x="17628" y="1"/>
                </a:cubicBezTo>
                <a:lnTo>
                  <a:pt x="1700" y="1"/>
                </a:lnTo>
                <a:cubicBezTo>
                  <a:pt x="1696" y="0"/>
                  <a:pt x="1692" y="0"/>
                  <a:pt x="16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53" name="Google Shape;6153;p71"/>
          <p:cNvSpPr/>
          <p:nvPr/>
        </p:nvSpPr>
        <p:spPr>
          <a:xfrm>
            <a:off x="2228102" y="4167530"/>
            <a:ext cx="471489" cy="453511"/>
          </a:xfrm>
          <a:custGeom>
            <a:avLst/>
            <a:gdLst/>
            <a:ahLst/>
            <a:cxnLst/>
            <a:rect l="l" t="t" r="r" b="b"/>
            <a:pathLst>
              <a:path w="20089" h="19323" extrusionOk="0">
                <a:moveTo>
                  <a:pt x="4477" y="1134"/>
                </a:moveTo>
                <a:cubicBezTo>
                  <a:pt x="4624" y="1134"/>
                  <a:pt x="4765" y="1194"/>
                  <a:pt x="4868" y="1300"/>
                </a:cubicBezTo>
                <a:lnTo>
                  <a:pt x="7268" y="3694"/>
                </a:lnTo>
                <a:cubicBezTo>
                  <a:pt x="7489" y="3915"/>
                  <a:pt x="7489" y="4271"/>
                  <a:pt x="7268" y="4494"/>
                </a:cubicBezTo>
                <a:lnTo>
                  <a:pt x="6870" y="4893"/>
                </a:lnTo>
                <a:lnTo>
                  <a:pt x="3669" y="1692"/>
                </a:lnTo>
                <a:lnTo>
                  <a:pt x="4068" y="1300"/>
                </a:lnTo>
                <a:cubicBezTo>
                  <a:pt x="4173" y="1191"/>
                  <a:pt x="4315" y="1134"/>
                  <a:pt x="4466" y="1134"/>
                </a:cubicBezTo>
                <a:cubicBezTo>
                  <a:pt x="4470" y="1134"/>
                  <a:pt x="4473" y="1134"/>
                  <a:pt x="4477" y="1134"/>
                </a:cubicBezTo>
                <a:close/>
                <a:moveTo>
                  <a:pt x="15822" y="12484"/>
                </a:moveTo>
                <a:cubicBezTo>
                  <a:pt x="15973" y="12484"/>
                  <a:pt x="16118" y="12544"/>
                  <a:pt x="16224" y="12650"/>
                </a:cubicBezTo>
                <a:lnTo>
                  <a:pt x="18624" y="15053"/>
                </a:lnTo>
                <a:cubicBezTo>
                  <a:pt x="18845" y="15274"/>
                  <a:pt x="18845" y="15633"/>
                  <a:pt x="18624" y="15854"/>
                </a:cubicBezTo>
                <a:lnTo>
                  <a:pt x="18226" y="16255"/>
                </a:lnTo>
                <a:lnTo>
                  <a:pt x="15022" y="13051"/>
                </a:lnTo>
                <a:lnTo>
                  <a:pt x="15421" y="12650"/>
                </a:lnTo>
                <a:cubicBezTo>
                  <a:pt x="15526" y="12544"/>
                  <a:pt x="15671" y="12484"/>
                  <a:pt x="15822" y="12484"/>
                </a:cubicBezTo>
                <a:close/>
                <a:moveTo>
                  <a:pt x="2881" y="2508"/>
                </a:moveTo>
                <a:lnTo>
                  <a:pt x="6073" y="5699"/>
                </a:lnTo>
                <a:cubicBezTo>
                  <a:pt x="5227" y="6656"/>
                  <a:pt x="5275" y="8103"/>
                  <a:pt x="6175" y="9005"/>
                </a:cubicBezTo>
                <a:lnTo>
                  <a:pt x="10910" y="13743"/>
                </a:lnTo>
                <a:cubicBezTo>
                  <a:pt x="11379" y="14214"/>
                  <a:pt x="11998" y="14451"/>
                  <a:pt x="12618" y="14451"/>
                </a:cubicBezTo>
                <a:cubicBezTo>
                  <a:pt x="13188" y="14451"/>
                  <a:pt x="13758" y="14252"/>
                  <a:pt x="14216" y="13849"/>
                </a:cubicBezTo>
                <a:lnTo>
                  <a:pt x="17408" y="17040"/>
                </a:lnTo>
                <a:cubicBezTo>
                  <a:pt x="16480" y="17810"/>
                  <a:pt x="15350" y="18190"/>
                  <a:pt x="14222" y="18190"/>
                </a:cubicBezTo>
                <a:cubicBezTo>
                  <a:pt x="12939" y="18190"/>
                  <a:pt x="11660" y="17697"/>
                  <a:pt x="10689" y="16726"/>
                </a:cubicBezTo>
                <a:lnTo>
                  <a:pt x="10692" y="16726"/>
                </a:lnTo>
                <a:lnTo>
                  <a:pt x="3192" y="9226"/>
                </a:lnTo>
                <a:cubicBezTo>
                  <a:pt x="1371" y="7402"/>
                  <a:pt x="1235" y="4491"/>
                  <a:pt x="2881" y="2508"/>
                </a:cubicBezTo>
                <a:close/>
                <a:moveTo>
                  <a:pt x="4468" y="1"/>
                </a:moveTo>
                <a:cubicBezTo>
                  <a:pt x="4034" y="1"/>
                  <a:pt x="3600" y="166"/>
                  <a:pt x="3267" y="497"/>
                </a:cubicBezTo>
                <a:lnTo>
                  <a:pt x="2473" y="1285"/>
                </a:lnTo>
                <a:lnTo>
                  <a:pt x="2464" y="1294"/>
                </a:lnTo>
                <a:lnTo>
                  <a:pt x="2458" y="1300"/>
                </a:lnTo>
                <a:lnTo>
                  <a:pt x="2392" y="1366"/>
                </a:lnTo>
                <a:cubicBezTo>
                  <a:pt x="0" y="3758"/>
                  <a:pt x="0" y="7635"/>
                  <a:pt x="2392" y="10026"/>
                </a:cubicBezTo>
                <a:lnTo>
                  <a:pt x="9889" y="17529"/>
                </a:lnTo>
                <a:cubicBezTo>
                  <a:pt x="11086" y="18725"/>
                  <a:pt x="12654" y="19323"/>
                  <a:pt x="14222" y="19323"/>
                </a:cubicBezTo>
                <a:cubicBezTo>
                  <a:pt x="15789" y="19323"/>
                  <a:pt x="17356" y="18725"/>
                  <a:pt x="18552" y="17529"/>
                </a:cubicBezTo>
                <a:lnTo>
                  <a:pt x="18624" y="17457"/>
                </a:lnTo>
                <a:lnTo>
                  <a:pt x="19425" y="16657"/>
                </a:lnTo>
                <a:cubicBezTo>
                  <a:pt x="20089" y="15992"/>
                  <a:pt x="20089" y="14917"/>
                  <a:pt x="19425" y="14253"/>
                </a:cubicBezTo>
                <a:lnTo>
                  <a:pt x="17024" y="11850"/>
                </a:lnTo>
                <a:cubicBezTo>
                  <a:pt x="16692" y="11518"/>
                  <a:pt x="16257" y="11352"/>
                  <a:pt x="15822" y="11352"/>
                </a:cubicBezTo>
                <a:cubicBezTo>
                  <a:pt x="15388" y="11352"/>
                  <a:pt x="14953" y="11518"/>
                  <a:pt x="14621" y="11850"/>
                </a:cubicBezTo>
                <a:lnTo>
                  <a:pt x="13820" y="12650"/>
                </a:lnTo>
                <a:lnTo>
                  <a:pt x="13531" y="12943"/>
                </a:lnTo>
                <a:cubicBezTo>
                  <a:pt x="13278" y="13193"/>
                  <a:pt x="12949" y="13319"/>
                  <a:pt x="12620" y="13319"/>
                </a:cubicBezTo>
                <a:cubicBezTo>
                  <a:pt x="12291" y="13319"/>
                  <a:pt x="11962" y="13193"/>
                  <a:pt x="11710" y="12943"/>
                </a:cubicBezTo>
                <a:lnTo>
                  <a:pt x="6978" y="8205"/>
                </a:lnTo>
                <a:cubicBezTo>
                  <a:pt x="6474" y="7704"/>
                  <a:pt x="6474" y="6889"/>
                  <a:pt x="6978" y="6385"/>
                </a:cubicBezTo>
                <a:lnTo>
                  <a:pt x="7268" y="6095"/>
                </a:lnTo>
                <a:lnTo>
                  <a:pt x="8068" y="5294"/>
                </a:lnTo>
                <a:cubicBezTo>
                  <a:pt x="8733" y="4630"/>
                  <a:pt x="8733" y="3555"/>
                  <a:pt x="8068" y="2891"/>
                </a:cubicBezTo>
                <a:lnTo>
                  <a:pt x="5668" y="497"/>
                </a:lnTo>
                <a:cubicBezTo>
                  <a:pt x="5336" y="166"/>
                  <a:pt x="4902" y="1"/>
                  <a:pt x="44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54" name="Google Shape;6154;p71"/>
          <p:cNvGrpSpPr/>
          <p:nvPr/>
        </p:nvGrpSpPr>
        <p:grpSpPr>
          <a:xfrm>
            <a:off x="2799529" y="4195285"/>
            <a:ext cx="470433" cy="398473"/>
            <a:chOff x="2676100" y="1456375"/>
            <a:chExt cx="501100" cy="424450"/>
          </a:xfrm>
        </p:grpSpPr>
        <p:sp>
          <p:nvSpPr>
            <p:cNvPr id="6155" name="Google Shape;6155;p71"/>
            <p:cNvSpPr/>
            <p:nvPr/>
          </p:nvSpPr>
          <p:spPr>
            <a:xfrm>
              <a:off x="3079725" y="1534750"/>
              <a:ext cx="97475" cy="268275"/>
            </a:xfrm>
            <a:custGeom>
              <a:avLst/>
              <a:gdLst/>
              <a:ahLst/>
              <a:cxnLst/>
              <a:rect l="l" t="t" r="r" b="b"/>
              <a:pathLst>
                <a:path w="3899" h="10731" extrusionOk="0">
                  <a:moveTo>
                    <a:pt x="621" y="1"/>
                  </a:moveTo>
                  <a:cubicBezTo>
                    <a:pt x="476" y="1"/>
                    <a:pt x="331" y="56"/>
                    <a:pt x="221" y="166"/>
                  </a:cubicBezTo>
                  <a:cubicBezTo>
                    <a:pt x="0" y="387"/>
                    <a:pt x="0" y="746"/>
                    <a:pt x="221" y="966"/>
                  </a:cubicBezTo>
                  <a:cubicBezTo>
                    <a:pt x="2657" y="3397"/>
                    <a:pt x="2657" y="7340"/>
                    <a:pt x="221" y="9771"/>
                  </a:cubicBezTo>
                  <a:cubicBezTo>
                    <a:pt x="6" y="9992"/>
                    <a:pt x="9" y="10345"/>
                    <a:pt x="230" y="10565"/>
                  </a:cubicBezTo>
                  <a:cubicBezTo>
                    <a:pt x="340" y="10675"/>
                    <a:pt x="484" y="10730"/>
                    <a:pt x="629" y="10730"/>
                  </a:cubicBezTo>
                  <a:cubicBezTo>
                    <a:pt x="770" y="10730"/>
                    <a:pt x="912" y="10677"/>
                    <a:pt x="1021" y="10571"/>
                  </a:cubicBezTo>
                  <a:cubicBezTo>
                    <a:pt x="3898" y="7700"/>
                    <a:pt x="3898" y="3038"/>
                    <a:pt x="1021" y="166"/>
                  </a:cubicBezTo>
                  <a:cubicBezTo>
                    <a:pt x="911" y="56"/>
                    <a:pt x="766" y="1"/>
                    <a:pt x="6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56" name="Google Shape;6156;p71"/>
            <p:cNvSpPr/>
            <p:nvPr/>
          </p:nvSpPr>
          <p:spPr>
            <a:xfrm>
              <a:off x="3039725" y="1574925"/>
              <a:ext cx="75350" cy="188250"/>
            </a:xfrm>
            <a:custGeom>
              <a:avLst/>
              <a:gdLst/>
              <a:ahLst/>
              <a:cxnLst/>
              <a:rect l="l" t="t" r="r" b="b"/>
              <a:pathLst>
                <a:path w="3014" h="7530" extrusionOk="0">
                  <a:moveTo>
                    <a:pt x="629" y="1"/>
                  </a:moveTo>
                  <a:cubicBezTo>
                    <a:pt x="484" y="1"/>
                    <a:pt x="339" y="56"/>
                    <a:pt x="230" y="166"/>
                  </a:cubicBezTo>
                  <a:cubicBezTo>
                    <a:pt x="12" y="383"/>
                    <a:pt x="9" y="736"/>
                    <a:pt x="224" y="960"/>
                  </a:cubicBezTo>
                  <a:cubicBezTo>
                    <a:pt x="1769" y="2506"/>
                    <a:pt x="1769" y="5018"/>
                    <a:pt x="224" y="6564"/>
                  </a:cubicBezTo>
                  <a:cubicBezTo>
                    <a:pt x="0" y="6784"/>
                    <a:pt x="0" y="7144"/>
                    <a:pt x="224" y="7364"/>
                  </a:cubicBezTo>
                  <a:cubicBezTo>
                    <a:pt x="334" y="7474"/>
                    <a:pt x="479" y="7529"/>
                    <a:pt x="624" y="7529"/>
                  </a:cubicBezTo>
                  <a:cubicBezTo>
                    <a:pt x="769" y="7529"/>
                    <a:pt x="913" y="7474"/>
                    <a:pt x="1024" y="7364"/>
                  </a:cubicBezTo>
                  <a:cubicBezTo>
                    <a:pt x="3013" y="5374"/>
                    <a:pt x="3013" y="2149"/>
                    <a:pt x="1024" y="160"/>
                  </a:cubicBezTo>
                  <a:cubicBezTo>
                    <a:pt x="913" y="53"/>
                    <a:pt x="771" y="1"/>
                    <a:pt x="6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57" name="Google Shape;6157;p71"/>
            <p:cNvSpPr/>
            <p:nvPr/>
          </p:nvSpPr>
          <p:spPr>
            <a:xfrm>
              <a:off x="2676100" y="1456375"/>
              <a:ext cx="340700" cy="424450"/>
            </a:xfrm>
            <a:custGeom>
              <a:avLst/>
              <a:gdLst/>
              <a:ahLst/>
              <a:cxnLst/>
              <a:rect l="l" t="t" r="r" b="b"/>
              <a:pathLst>
                <a:path w="13628" h="16978" extrusionOk="0">
                  <a:moveTo>
                    <a:pt x="2265" y="6792"/>
                  </a:moveTo>
                  <a:lnTo>
                    <a:pt x="2265" y="10189"/>
                  </a:lnTo>
                  <a:lnTo>
                    <a:pt x="1700" y="10189"/>
                  </a:lnTo>
                  <a:cubicBezTo>
                    <a:pt x="1386" y="10189"/>
                    <a:pt x="1133" y="9935"/>
                    <a:pt x="1133" y="9621"/>
                  </a:cubicBezTo>
                  <a:lnTo>
                    <a:pt x="1133" y="7356"/>
                  </a:lnTo>
                  <a:cubicBezTo>
                    <a:pt x="1133" y="7042"/>
                    <a:pt x="1386" y="6792"/>
                    <a:pt x="1700" y="6792"/>
                  </a:cubicBezTo>
                  <a:close/>
                  <a:moveTo>
                    <a:pt x="5701" y="5659"/>
                  </a:moveTo>
                  <a:lnTo>
                    <a:pt x="5701" y="11321"/>
                  </a:lnTo>
                  <a:lnTo>
                    <a:pt x="3965" y="11321"/>
                  </a:lnTo>
                  <a:cubicBezTo>
                    <a:pt x="3651" y="11321"/>
                    <a:pt x="3397" y="11067"/>
                    <a:pt x="3397" y="10753"/>
                  </a:cubicBezTo>
                  <a:lnTo>
                    <a:pt x="3397" y="6224"/>
                  </a:lnTo>
                  <a:cubicBezTo>
                    <a:pt x="3397" y="5910"/>
                    <a:pt x="3651" y="5659"/>
                    <a:pt x="3965" y="5659"/>
                  </a:cubicBezTo>
                  <a:close/>
                  <a:moveTo>
                    <a:pt x="10230" y="2827"/>
                  </a:moveTo>
                  <a:lnTo>
                    <a:pt x="10230" y="14150"/>
                  </a:lnTo>
                  <a:lnTo>
                    <a:pt x="6833" y="11602"/>
                  </a:lnTo>
                  <a:lnTo>
                    <a:pt x="6833" y="5376"/>
                  </a:lnTo>
                  <a:lnTo>
                    <a:pt x="10230" y="2827"/>
                  </a:lnTo>
                  <a:close/>
                  <a:moveTo>
                    <a:pt x="11927" y="1130"/>
                  </a:moveTo>
                  <a:cubicBezTo>
                    <a:pt x="12241" y="1130"/>
                    <a:pt x="12495" y="1381"/>
                    <a:pt x="12495" y="1695"/>
                  </a:cubicBezTo>
                  <a:lnTo>
                    <a:pt x="12495" y="15282"/>
                  </a:lnTo>
                  <a:cubicBezTo>
                    <a:pt x="12495" y="15596"/>
                    <a:pt x="12241" y="15847"/>
                    <a:pt x="11927" y="15847"/>
                  </a:cubicBezTo>
                  <a:cubicBezTo>
                    <a:pt x="11613" y="15847"/>
                    <a:pt x="11363" y="15596"/>
                    <a:pt x="11363" y="15282"/>
                  </a:cubicBezTo>
                  <a:lnTo>
                    <a:pt x="11363" y="1695"/>
                  </a:lnTo>
                  <a:cubicBezTo>
                    <a:pt x="11363" y="1381"/>
                    <a:pt x="11613" y="1130"/>
                    <a:pt x="11927" y="1130"/>
                  </a:cubicBezTo>
                  <a:close/>
                  <a:moveTo>
                    <a:pt x="11925" y="0"/>
                  </a:moveTo>
                  <a:cubicBezTo>
                    <a:pt x="11115" y="0"/>
                    <a:pt x="10405" y="580"/>
                    <a:pt x="10257" y="1393"/>
                  </a:cubicBezTo>
                  <a:lnTo>
                    <a:pt x="6079" y="4527"/>
                  </a:lnTo>
                  <a:lnTo>
                    <a:pt x="3965" y="4527"/>
                  </a:lnTo>
                  <a:cubicBezTo>
                    <a:pt x="3243" y="4527"/>
                    <a:pt x="2603" y="4980"/>
                    <a:pt x="2362" y="5659"/>
                  </a:cubicBezTo>
                  <a:lnTo>
                    <a:pt x="1700" y="5659"/>
                  </a:lnTo>
                  <a:cubicBezTo>
                    <a:pt x="761" y="5659"/>
                    <a:pt x="0" y="6417"/>
                    <a:pt x="0" y="7356"/>
                  </a:cubicBezTo>
                  <a:lnTo>
                    <a:pt x="0" y="9621"/>
                  </a:lnTo>
                  <a:cubicBezTo>
                    <a:pt x="0" y="10560"/>
                    <a:pt x="761" y="11318"/>
                    <a:pt x="1700" y="11321"/>
                  </a:cubicBezTo>
                  <a:lnTo>
                    <a:pt x="2362" y="11321"/>
                  </a:lnTo>
                  <a:cubicBezTo>
                    <a:pt x="2603" y="11997"/>
                    <a:pt x="3243" y="12450"/>
                    <a:pt x="3965" y="12453"/>
                  </a:cubicBezTo>
                  <a:lnTo>
                    <a:pt x="6079" y="12453"/>
                  </a:lnTo>
                  <a:lnTo>
                    <a:pt x="10257" y="15584"/>
                  </a:lnTo>
                  <a:cubicBezTo>
                    <a:pt x="10405" y="16397"/>
                    <a:pt x="11115" y="16977"/>
                    <a:pt x="11925" y="16977"/>
                  </a:cubicBezTo>
                  <a:cubicBezTo>
                    <a:pt x="11976" y="16977"/>
                    <a:pt x="12027" y="16975"/>
                    <a:pt x="12078" y="16970"/>
                  </a:cubicBezTo>
                  <a:cubicBezTo>
                    <a:pt x="12954" y="16892"/>
                    <a:pt x="13624" y="16161"/>
                    <a:pt x="13627" y="15282"/>
                  </a:cubicBezTo>
                  <a:lnTo>
                    <a:pt x="13627" y="1695"/>
                  </a:lnTo>
                  <a:cubicBezTo>
                    <a:pt x="13624" y="816"/>
                    <a:pt x="12954" y="85"/>
                    <a:pt x="12078" y="7"/>
                  </a:cubicBezTo>
                  <a:cubicBezTo>
                    <a:pt x="12027" y="2"/>
                    <a:pt x="11976" y="0"/>
                    <a:pt x="119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58" name="Google Shape;6158;p71"/>
          <p:cNvGrpSpPr/>
          <p:nvPr/>
        </p:nvGrpSpPr>
        <p:grpSpPr>
          <a:xfrm>
            <a:off x="3364227" y="4167742"/>
            <a:ext cx="453628" cy="453557"/>
            <a:chOff x="3270475" y="1427025"/>
            <a:chExt cx="483200" cy="483125"/>
          </a:xfrm>
        </p:grpSpPr>
        <p:sp>
          <p:nvSpPr>
            <p:cNvPr id="6159" name="Google Shape;6159;p71"/>
            <p:cNvSpPr/>
            <p:nvPr/>
          </p:nvSpPr>
          <p:spPr>
            <a:xfrm>
              <a:off x="3270475" y="1427025"/>
              <a:ext cx="483200" cy="483125"/>
            </a:xfrm>
            <a:custGeom>
              <a:avLst/>
              <a:gdLst/>
              <a:ahLst/>
              <a:cxnLst/>
              <a:rect l="l" t="t" r="r" b="b"/>
              <a:pathLst>
                <a:path w="19328" h="19325" extrusionOk="0">
                  <a:moveTo>
                    <a:pt x="9630" y="1133"/>
                  </a:moveTo>
                  <a:cubicBezTo>
                    <a:pt x="14352" y="1133"/>
                    <a:pt x="18196" y="4943"/>
                    <a:pt x="18196" y="9626"/>
                  </a:cubicBezTo>
                  <a:cubicBezTo>
                    <a:pt x="18196" y="14349"/>
                    <a:pt x="14352" y="18193"/>
                    <a:pt x="9630" y="18193"/>
                  </a:cubicBezTo>
                  <a:cubicBezTo>
                    <a:pt x="4946" y="18193"/>
                    <a:pt x="1136" y="14349"/>
                    <a:pt x="1136" y="9626"/>
                  </a:cubicBezTo>
                  <a:cubicBezTo>
                    <a:pt x="1136" y="4943"/>
                    <a:pt x="4946" y="1133"/>
                    <a:pt x="9630" y="1133"/>
                  </a:cubicBezTo>
                  <a:close/>
                  <a:moveTo>
                    <a:pt x="9641" y="0"/>
                  </a:moveTo>
                  <a:cubicBezTo>
                    <a:pt x="9637" y="0"/>
                    <a:pt x="9633" y="0"/>
                    <a:pt x="9630" y="0"/>
                  </a:cubicBezTo>
                  <a:cubicBezTo>
                    <a:pt x="4312" y="0"/>
                    <a:pt x="4" y="4309"/>
                    <a:pt x="4" y="9626"/>
                  </a:cubicBezTo>
                  <a:cubicBezTo>
                    <a:pt x="1" y="12187"/>
                    <a:pt x="1012" y="14648"/>
                    <a:pt x="2821" y="16465"/>
                  </a:cubicBezTo>
                  <a:cubicBezTo>
                    <a:pt x="4644" y="18310"/>
                    <a:pt x="7063" y="19325"/>
                    <a:pt x="9630" y="19325"/>
                  </a:cubicBezTo>
                  <a:cubicBezTo>
                    <a:pt x="10922" y="19325"/>
                    <a:pt x="12199" y="19065"/>
                    <a:pt x="13389" y="18555"/>
                  </a:cubicBezTo>
                  <a:cubicBezTo>
                    <a:pt x="15711" y="17558"/>
                    <a:pt x="17562" y="15708"/>
                    <a:pt x="18558" y="13386"/>
                  </a:cubicBezTo>
                  <a:cubicBezTo>
                    <a:pt x="19068" y="12196"/>
                    <a:pt x="19328" y="10919"/>
                    <a:pt x="19328" y="9626"/>
                  </a:cubicBezTo>
                  <a:cubicBezTo>
                    <a:pt x="19328" y="7060"/>
                    <a:pt x="18313" y="4641"/>
                    <a:pt x="16469" y="2818"/>
                  </a:cubicBezTo>
                  <a:cubicBezTo>
                    <a:pt x="14654" y="1012"/>
                    <a:pt x="12197" y="0"/>
                    <a:pt x="96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60" name="Google Shape;6160;p71"/>
            <p:cNvSpPr/>
            <p:nvPr/>
          </p:nvSpPr>
          <p:spPr>
            <a:xfrm>
              <a:off x="3497550" y="1596875"/>
              <a:ext cx="87650" cy="141525"/>
            </a:xfrm>
            <a:custGeom>
              <a:avLst/>
              <a:gdLst/>
              <a:ahLst/>
              <a:cxnLst/>
              <a:rect l="l" t="t" r="r" b="b"/>
              <a:pathLst>
                <a:path w="3506" h="5661" extrusionOk="0">
                  <a:moveTo>
                    <a:pt x="2885" y="1"/>
                  </a:moveTo>
                  <a:cubicBezTo>
                    <a:pt x="2740" y="1"/>
                    <a:pt x="2595" y="56"/>
                    <a:pt x="2485" y="166"/>
                  </a:cubicBezTo>
                  <a:lnTo>
                    <a:pt x="220" y="2431"/>
                  </a:lnTo>
                  <a:cubicBezTo>
                    <a:pt x="0" y="2651"/>
                    <a:pt x="0" y="3011"/>
                    <a:pt x="220" y="3231"/>
                  </a:cubicBezTo>
                  <a:lnTo>
                    <a:pt x="2485" y="5496"/>
                  </a:lnTo>
                  <a:cubicBezTo>
                    <a:pt x="2595" y="5606"/>
                    <a:pt x="2740" y="5661"/>
                    <a:pt x="2885" y="5661"/>
                  </a:cubicBezTo>
                  <a:cubicBezTo>
                    <a:pt x="3030" y="5661"/>
                    <a:pt x="3175" y="5606"/>
                    <a:pt x="3285" y="5496"/>
                  </a:cubicBezTo>
                  <a:cubicBezTo>
                    <a:pt x="3506" y="5275"/>
                    <a:pt x="3506" y="4916"/>
                    <a:pt x="3285" y="4695"/>
                  </a:cubicBezTo>
                  <a:lnTo>
                    <a:pt x="1422" y="2832"/>
                  </a:lnTo>
                  <a:lnTo>
                    <a:pt x="3285" y="966"/>
                  </a:lnTo>
                  <a:cubicBezTo>
                    <a:pt x="3506" y="746"/>
                    <a:pt x="3506" y="387"/>
                    <a:pt x="3285" y="166"/>
                  </a:cubicBezTo>
                  <a:cubicBezTo>
                    <a:pt x="3175" y="56"/>
                    <a:pt x="3030" y="1"/>
                    <a:pt x="28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61" name="Google Shape;6161;p71"/>
            <p:cNvSpPr/>
            <p:nvPr/>
          </p:nvSpPr>
          <p:spPr>
            <a:xfrm>
              <a:off x="3327100" y="1483625"/>
              <a:ext cx="369975" cy="369925"/>
            </a:xfrm>
            <a:custGeom>
              <a:avLst/>
              <a:gdLst/>
              <a:ahLst/>
              <a:cxnLst/>
              <a:rect l="l" t="t" r="r" b="b"/>
              <a:pathLst>
                <a:path w="14799" h="14797" extrusionOk="0">
                  <a:moveTo>
                    <a:pt x="7929" y="1157"/>
                  </a:moveTo>
                  <a:cubicBezTo>
                    <a:pt x="9206" y="1272"/>
                    <a:pt x="10420" y="1770"/>
                    <a:pt x="11411" y="2589"/>
                  </a:cubicBezTo>
                  <a:lnTo>
                    <a:pt x="11042" y="2957"/>
                  </a:lnTo>
                  <a:cubicBezTo>
                    <a:pt x="10828" y="3180"/>
                    <a:pt x="10831" y="3534"/>
                    <a:pt x="11048" y="3751"/>
                  </a:cubicBezTo>
                  <a:cubicBezTo>
                    <a:pt x="11158" y="3861"/>
                    <a:pt x="11303" y="3916"/>
                    <a:pt x="11448" y="3916"/>
                  </a:cubicBezTo>
                  <a:cubicBezTo>
                    <a:pt x="11590" y="3916"/>
                    <a:pt x="11732" y="3863"/>
                    <a:pt x="11842" y="3757"/>
                  </a:cubicBezTo>
                  <a:lnTo>
                    <a:pt x="12214" y="3389"/>
                  </a:lnTo>
                  <a:cubicBezTo>
                    <a:pt x="13026" y="4349"/>
                    <a:pt x="13524" y="5539"/>
                    <a:pt x="13639" y="6795"/>
                  </a:cubicBezTo>
                  <a:lnTo>
                    <a:pt x="13101" y="6795"/>
                  </a:lnTo>
                  <a:cubicBezTo>
                    <a:pt x="12787" y="6795"/>
                    <a:pt x="12534" y="7048"/>
                    <a:pt x="12534" y="7362"/>
                  </a:cubicBezTo>
                  <a:cubicBezTo>
                    <a:pt x="12534" y="7673"/>
                    <a:pt x="12787" y="7927"/>
                    <a:pt x="13101" y="7927"/>
                  </a:cubicBezTo>
                  <a:lnTo>
                    <a:pt x="13639" y="7927"/>
                  </a:lnTo>
                  <a:cubicBezTo>
                    <a:pt x="13515" y="9198"/>
                    <a:pt x="13005" y="10400"/>
                    <a:pt x="12178" y="11375"/>
                  </a:cubicBezTo>
                  <a:lnTo>
                    <a:pt x="11842" y="11040"/>
                  </a:lnTo>
                  <a:cubicBezTo>
                    <a:pt x="11732" y="10934"/>
                    <a:pt x="11590" y="10881"/>
                    <a:pt x="11448" y="10881"/>
                  </a:cubicBezTo>
                  <a:cubicBezTo>
                    <a:pt x="11303" y="10881"/>
                    <a:pt x="11158" y="10936"/>
                    <a:pt x="11048" y="11046"/>
                  </a:cubicBezTo>
                  <a:cubicBezTo>
                    <a:pt x="10831" y="11264"/>
                    <a:pt x="10828" y="11617"/>
                    <a:pt x="11042" y="11840"/>
                  </a:cubicBezTo>
                  <a:lnTo>
                    <a:pt x="11377" y="12175"/>
                  </a:lnTo>
                  <a:cubicBezTo>
                    <a:pt x="10402" y="13003"/>
                    <a:pt x="9200" y="13513"/>
                    <a:pt x="7929" y="13637"/>
                  </a:cubicBezTo>
                  <a:lnTo>
                    <a:pt x="7929" y="13099"/>
                  </a:lnTo>
                  <a:cubicBezTo>
                    <a:pt x="7929" y="12785"/>
                    <a:pt x="7676" y="12532"/>
                    <a:pt x="7365" y="12532"/>
                  </a:cubicBezTo>
                  <a:cubicBezTo>
                    <a:pt x="7051" y="12532"/>
                    <a:pt x="6797" y="12785"/>
                    <a:pt x="6797" y="13099"/>
                  </a:cubicBezTo>
                  <a:lnTo>
                    <a:pt x="6797" y="13637"/>
                  </a:lnTo>
                  <a:cubicBezTo>
                    <a:pt x="5541" y="13522"/>
                    <a:pt x="4351" y="13024"/>
                    <a:pt x="3391" y="12212"/>
                  </a:cubicBezTo>
                  <a:lnTo>
                    <a:pt x="3759" y="11840"/>
                  </a:lnTo>
                  <a:cubicBezTo>
                    <a:pt x="3974" y="11617"/>
                    <a:pt x="3971" y="11264"/>
                    <a:pt x="3753" y="11046"/>
                  </a:cubicBezTo>
                  <a:cubicBezTo>
                    <a:pt x="3643" y="10936"/>
                    <a:pt x="3499" y="10881"/>
                    <a:pt x="3354" y="10881"/>
                  </a:cubicBezTo>
                  <a:cubicBezTo>
                    <a:pt x="3212" y="10881"/>
                    <a:pt x="3070" y="10934"/>
                    <a:pt x="2959" y="11040"/>
                  </a:cubicBezTo>
                  <a:lnTo>
                    <a:pt x="2591" y="11408"/>
                  </a:lnTo>
                  <a:cubicBezTo>
                    <a:pt x="1773" y="10418"/>
                    <a:pt x="1274" y="9204"/>
                    <a:pt x="1160" y="7927"/>
                  </a:cubicBezTo>
                  <a:lnTo>
                    <a:pt x="1703" y="7927"/>
                  </a:lnTo>
                  <a:cubicBezTo>
                    <a:pt x="2014" y="7927"/>
                    <a:pt x="2268" y="7673"/>
                    <a:pt x="2268" y="7362"/>
                  </a:cubicBezTo>
                  <a:cubicBezTo>
                    <a:pt x="2268" y="7048"/>
                    <a:pt x="2014" y="6795"/>
                    <a:pt x="1703" y="6795"/>
                  </a:cubicBezTo>
                  <a:lnTo>
                    <a:pt x="1163" y="6795"/>
                  </a:lnTo>
                  <a:cubicBezTo>
                    <a:pt x="1274" y="5539"/>
                    <a:pt x="1770" y="4346"/>
                    <a:pt x="2579" y="3377"/>
                  </a:cubicBezTo>
                  <a:lnTo>
                    <a:pt x="2959" y="3757"/>
                  </a:lnTo>
                  <a:cubicBezTo>
                    <a:pt x="3070" y="3863"/>
                    <a:pt x="3212" y="3916"/>
                    <a:pt x="3354" y="3916"/>
                  </a:cubicBezTo>
                  <a:cubicBezTo>
                    <a:pt x="3499" y="3916"/>
                    <a:pt x="3643" y="3861"/>
                    <a:pt x="3753" y="3751"/>
                  </a:cubicBezTo>
                  <a:cubicBezTo>
                    <a:pt x="3971" y="3534"/>
                    <a:pt x="3974" y="3180"/>
                    <a:pt x="3759" y="2957"/>
                  </a:cubicBezTo>
                  <a:lnTo>
                    <a:pt x="3379" y="2577"/>
                  </a:lnTo>
                  <a:cubicBezTo>
                    <a:pt x="4348" y="1767"/>
                    <a:pt x="5541" y="1272"/>
                    <a:pt x="6797" y="1160"/>
                  </a:cubicBezTo>
                  <a:lnTo>
                    <a:pt x="6797" y="1701"/>
                  </a:lnTo>
                  <a:cubicBezTo>
                    <a:pt x="6797" y="2012"/>
                    <a:pt x="7051" y="2266"/>
                    <a:pt x="7365" y="2266"/>
                  </a:cubicBezTo>
                  <a:cubicBezTo>
                    <a:pt x="7676" y="2266"/>
                    <a:pt x="7929" y="2012"/>
                    <a:pt x="7929" y="1701"/>
                  </a:cubicBezTo>
                  <a:lnTo>
                    <a:pt x="7929" y="1157"/>
                  </a:lnTo>
                  <a:close/>
                  <a:moveTo>
                    <a:pt x="7376" y="1"/>
                  </a:moveTo>
                  <a:cubicBezTo>
                    <a:pt x="7372" y="1"/>
                    <a:pt x="7368" y="1"/>
                    <a:pt x="7365" y="1"/>
                  </a:cubicBezTo>
                  <a:cubicBezTo>
                    <a:pt x="5435" y="1"/>
                    <a:pt x="3581" y="759"/>
                    <a:pt x="2210" y="2115"/>
                  </a:cubicBezTo>
                  <a:cubicBezTo>
                    <a:pt x="2174" y="2142"/>
                    <a:pt x="2141" y="2172"/>
                    <a:pt x="2114" y="2208"/>
                  </a:cubicBezTo>
                  <a:cubicBezTo>
                    <a:pt x="761" y="3582"/>
                    <a:pt x="3" y="5433"/>
                    <a:pt x="3" y="7362"/>
                  </a:cubicBezTo>
                  <a:cubicBezTo>
                    <a:pt x="0" y="9322"/>
                    <a:pt x="776" y="11206"/>
                    <a:pt x="2159" y="12598"/>
                  </a:cubicBezTo>
                  <a:lnTo>
                    <a:pt x="2177" y="12616"/>
                  </a:lnTo>
                  <a:lnTo>
                    <a:pt x="2180" y="12619"/>
                  </a:lnTo>
                  <a:lnTo>
                    <a:pt x="2186" y="12625"/>
                  </a:lnTo>
                  <a:cubicBezTo>
                    <a:pt x="3578" y="14023"/>
                    <a:pt x="5414" y="14796"/>
                    <a:pt x="7365" y="14796"/>
                  </a:cubicBezTo>
                  <a:cubicBezTo>
                    <a:pt x="9327" y="14796"/>
                    <a:pt x="11187" y="14017"/>
                    <a:pt x="12603" y="12601"/>
                  </a:cubicBezTo>
                  <a:cubicBezTo>
                    <a:pt x="14019" y="11185"/>
                    <a:pt x="14798" y="9325"/>
                    <a:pt x="14798" y="7362"/>
                  </a:cubicBezTo>
                  <a:cubicBezTo>
                    <a:pt x="14798" y="5415"/>
                    <a:pt x="14028" y="3576"/>
                    <a:pt x="12627" y="2184"/>
                  </a:cubicBezTo>
                  <a:lnTo>
                    <a:pt x="12621" y="2178"/>
                  </a:lnTo>
                  <a:cubicBezTo>
                    <a:pt x="12621" y="2175"/>
                    <a:pt x="12618" y="2175"/>
                    <a:pt x="12618" y="2175"/>
                  </a:cubicBezTo>
                  <a:lnTo>
                    <a:pt x="12600" y="2157"/>
                  </a:lnTo>
                  <a:cubicBezTo>
                    <a:pt x="11211" y="777"/>
                    <a:pt x="9331" y="1"/>
                    <a:pt x="73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62" name="Google Shape;6162;p71"/>
          <p:cNvGrpSpPr/>
          <p:nvPr/>
        </p:nvGrpSpPr>
        <p:grpSpPr>
          <a:xfrm>
            <a:off x="3912111" y="4167707"/>
            <a:ext cx="458040" cy="453628"/>
            <a:chOff x="3860250" y="1427025"/>
            <a:chExt cx="487900" cy="483200"/>
          </a:xfrm>
        </p:grpSpPr>
        <p:sp>
          <p:nvSpPr>
            <p:cNvPr id="6163" name="Google Shape;6163;p71"/>
            <p:cNvSpPr/>
            <p:nvPr/>
          </p:nvSpPr>
          <p:spPr>
            <a:xfrm>
              <a:off x="3875800" y="1427025"/>
              <a:ext cx="472350" cy="468650"/>
            </a:xfrm>
            <a:custGeom>
              <a:avLst/>
              <a:gdLst/>
              <a:ahLst/>
              <a:cxnLst/>
              <a:rect l="l" t="t" r="r" b="b"/>
              <a:pathLst>
                <a:path w="18894" h="18746" extrusionOk="0">
                  <a:moveTo>
                    <a:pt x="15874" y="1821"/>
                  </a:moveTo>
                  <a:lnTo>
                    <a:pt x="6498" y="9403"/>
                  </a:lnTo>
                  <a:lnTo>
                    <a:pt x="1918" y="5629"/>
                  </a:lnTo>
                  <a:lnTo>
                    <a:pt x="15874" y="1821"/>
                  </a:lnTo>
                  <a:close/>
                  <a:moveTo>
                    <a:pt x="14524" y="4370"/>
                  </a:moveTo>
                  <a:lnTo>
                    <a:pt x="8425" y="11912"/>
                  </a:lnTo>
                  <a:lnTo>
                    <a:pt x="6257" y="12634"/>
                  </a:lnTo>
                  <a:lnTo>
                    <a:pt x="6981" y="10469"/>
                  </a:lnTo>
                  <a:lnTo>
                    <a:pt x="14524" y="4370"/>
                  </a:lnTo>
                  <a:close/>
                  <a:moveTo>
                    <a:pt x="17072" y="3020"/>
                  </a:moveTo>
                  <a:lnTo>
                    <a:pt x="13265" y="16976"/>
                  </a:lnTo>
                  <a:lnTo>
                    <a:pt x="9491" y="12392"/>
                  </a:lnTo>
                  <a:lnTo>
                    <a:pt x="17072" y="3020"/>
                  </a:lnTo>
                  <a:close/>
                  <a:moveTo>
                    <a:pt x="18298" y="0"/>
                  </a:moveTo>
                  <a:cubicBezTo>
                    <a:pt x="18286" y="0"/>
                    <a:pt x="18274" y="0"/>
                    <a:pt x="18262" y="3"/>
                  </a:cubicBezTo>
                  <a:lnTo>
                    <a:pt x="18253" y="3"/>
                  </a:lnTo>
                  <a:cubicBezTo>
                    <a:pt x="18238" y="6"/>
                    <a:pt x="18223" y="6"/>
                    <a:pt x="18211" y="12"/>
                  </a:cubicBezTo>
                  <a:lnTo>
                    <a:pt x="18193" y="15"/>
                  </a:lnTo>
                  <a:lnTo>
                    <a:pt x="18178" y="18"/>
                  </a:lnTo>
                  <a:lnTo>
                    <a:pt x="562" y="4822"/>
                  </a:lnTo>
                  <a:cubicBezTo>
                    <a:pt x="121" y="4943"/>
                    <a:pt x="0" y="5511"/>
                    <a:pt x="351" y="5804"/>
                  </a:cubicBezTo>
                  <a:lnTo>
                    <a:pt x="5834" y="10321"/>
                  </a:lnTo>
                  <a:lnTo>
                    <a:pt x="4826" y="13349"/>
                  </a:lnTo>
                  <a:cubicBezTo>
                    <a:pt x="4696" y="13732"/>
                    <a:pt x="4991" y="14098"/>
                    <a:pt x="5359" y="14098"/>
                  </a:cubicBezTo>
                  <a:cubicBezTo>
                    <a:pt x="5418" y="14098"/>
                    <a:pt x="5479" y="14089"/>
                    <a:pt x="5541" y="14068"/>
                  </a:cubicBezTo>
                  <a:lnTo>
                    <a:pt x="8570" y="13060"/>
                  </a:lnTo>
                  <a:lnTo>
                    <a:pt x="13087" y="18540"/>
                  </a:lnTo>
                  <a:cubicBezTo>
                    <a:pt x="13195" y="18670"/>
                    <a:pt x="13355" y="18745"/>
                    <a:pt x="13525" y="18745"/>
                  </a:cubicBezTo>
                  <a:cubicBezTo>
                    <a:pt x="13564" y="18745"/>
                    <a:pt x="13603" y="18742"/>
                    <a:pt x="13642" y="18733"/>
                  </a:cubicBezTo>
                  <a:cubicBezTo>
                    <a:pt x="13848" y="18691"/>
                    <a:pt x="14014" y="18534"/>
                    <a:pt x="14071" y="18328"/>
                  </a:cubicBezTo>
                  <a:lnTo>
                    <a:pt x="18875" y="716"/>
                  </a:lnTo>
                  <a:cubicBezTo>
                    <a:pt x="18875" y="710"/>
                    <a:pt x="18875" y="704"/>
                    <a:pt x="18878" y="698"/>
                  </a:cubicBezTo>
                  <a:lnTo>
                    <a:pt x="18881" y="683"/>
                  </a:lnTo>
                  <a:cubicBezTo>
                    <a:pt x="18884" y="668"/>
                    <a:pt x="18887" y="653"/>
                    <a:pt x="18890" y="637"/>
                  </a:cubicBezTo>
                  <a:cubicBezTo>
                    <a:pt x="18890" y="637"/>
                    <a:pt x="18890" y="634"/>
                    <a:pt x="18890" y="631"/>
                  </a:cubicBezTo>
                  <a:cubicBezTo>
                    <a:pt x="18890" y="619"/>
                    <a:pt x="18890" y="604"/>
                    <a:pt x="18893" y="592"/>
                  </a:cubicBezTo>
                  <a:lnTo>
                    <a:pt x="18893" y="580"/>
                  </a:lnTo>
                  <a:cubicBezTo>
                    <a:pt x="18893" y="568"/>
                    <a:pt x="18893" y="553"/>
                    <a:pt x="18893" y="541"/>
                  </a:cubicBezTo>
                  <a:cubicBezTo>
                    <a:pt x="18893" y="538"/>
                    <a:pt x="18893" y="535"/>
                    <a:pt x="18893" y="532"/>
                  </a:cubicBezTo>
                  <a:cubicBezTo>
                    <a:pt x="18893" y="517"/>
                    <a:pt x="18890" y="502"/>
                    <a:pt x="18890" y="487"/>
                  </a:cubicBezTo>
                  <a:cubicBezTo>
                    <a:pt x="18890" y="483"/>
                    <a:pt x="18890" y="480"/>
                    <a:pt x="18887" y="477"/>
                  </a:cubicBezTo>
                  <a:cubicBezTo>
                    <a:pt x="18887" y="465"/>
                    <a:pt x="18884" y="453"/>
                    <a:pt x="18881" y="441"/>
                  </a:cubicBezTo>
                  <a:lnTo>
                    <a:pt x="18878" y="429"/>
                  </a:lnTo>
                  <a:cubicBezTo>
                    <a:pt x="18875" y="417"/>
                    <a:pt x="18872" y="402"/>
                    <a:pt x="18866" y="390"/>
                  </a:cubicBezTo>
                  <a:cubicBezTo>
                    <a:pt x="18866" y="387"/>
                    <a:pt x="18866" y="384"/>
                    <a:pt x="18863" y="381"/>
                  </a:cubicBezTo>
                  <a:cubicBezTo>
                    <a:pt x="18860" y="369"/>
                    <a:pt x="18854" y="354"/>
                    <a:pt x="18848" y="345"/>
                  </a:cubicBezTo>
                  <a:cubicBezTo>
                    <a:pt x="18848" y="339"/>
                    <a:pt x="18845" y="333"/>
                    <a:pt x="18842" y="329"/>
                  </a:cubicBezTo>
                  <a:cubicBezTo>
                    <a:pt x="18839" y="323"/>
                    <a:pt x="18833" y="308"/>
                    <a:pt x="18830" y="299"/>
                  </a:cubicBezTo>
                  <a:cubicBezTo>
                    <a:pt x="18824" y="290"/>
                    <a:pt x="18824" y="290"/>
                    <a:pt x="18821" y="287"/>
                  </a:cubicBezTo>
                  <a:cubicBezTo>
                    <a:pt x="18815" y="275"/>
                    <a:pt x="18806" y="263"/>
                    <a:pt x="18797" y="248"/>
                  </a:cubicBezTo>
                  <a:lnTo>
                    <a:pt x="18790" y="239"/>
                  </a:lnTo>
                  <a:cubicBezTo>
                    <a:pt x="18784" y="230"/>
                    <a:pt x="18775" y="221"/>
                    <a:pt x="18769" y="212"/>
                  </a:cubicBezTo>
                  <a:cubicBezTo>
                    <a:pt x="18760" y="203"/>
                    <a:pt x="18763" y="203"/>
                    <a:pt x="18760" y="200"/>
                  </a:cubicBezTo>
                  <a:cubicBezTo>
                    <a:pt x="18751" y="188"/>
                    <a:pt x="18739" y="176"/>
                    <a:pt x="18727" y="163"/>
                  </a:cubicBezTo>
                  <a:cubicBezTo>
                    <a:pt x="18718" y="154"/>
                    <a:pt x="18706" y="142"/>
                    <a:pt x="18694" y="133"/>
                  </a:cubicBezTo>
                  <a:lnTo>
                    <a:pt x="18682" y="124"/>
                  </a:lnTo>
                  <a:cubicBezTo>
                    <a:pt x="18673" y="115"/>
                    <a:pt x="18664" y="109"/>
                    <a:pt x="18655" y="103"/>
                  </a:cubicBezTo>
                  <a:lnTo>
                    <a:pt x="18643" y="94"/>
                  </a:lnTo>
                  <a:cubicBezTo>
                    <a:pt x="18630" y="88"/>
                    <a:pt x="18618" y="79"/>
                    <a:pt x="18606" y="73"/>
                  </a:cubicBezTo>
                  <a:lnTo>
                    <a:pt x="18591" y="64"/>
                  </a:lnTo>
                  <a:lnTo>
                    <a:pt x="18564" y="52"/>
                  </a:lnTo>
                  <a:lnTo>
                    <a:pt x="18549" y="43"/>
                  </a:lnTo>
                  <a:cubicBezTo>
                    <a:pt x="18537" y="40"/>
                    <a:pt x="18522" y="34"/>
                    <a:pt x="18510" y="28"/>
                  </a:cubicBezTo>
                  <a:lnTo>
                    <a:pt x="18501" y="28"/>
                  </a:lnTo>
                  <a:cubicBezTo>
                    <a:pt x="18489" y="22"/>
                    <a:pt x="18476" y="18"/>
                    <a:pt x="18464" y="15"/>
                  </a:cubicBezTo>
                  <a:lnTo>
                    <a:pt x="18449" y="12"/>
                  </a:lnTo>
                  <a:lnTo>
                    <a:pt x="18416" y="6"/>
                  </a:lnTo>
                  <a:lnTo>
                    <a:pt x="18404" y="3"/>
                  </a:lnTo>
                  <a:cubicBezTo>
                    <a:pt x="18389" y="3"/>
                    <a:pt x="18374" y="0"/>
                    <a:pt x="183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64" name="Google Shape;6164;p71"/>
            <p:cNvSpPr/>
            <p:nvPr/>
          </p:nvSpPr>
          <p:spPr>
            <a:xfrm>
              <a:off x="3860250" y="1861675"/>
              <a:ext cx="54675" cy="48550"/>
            </a:xfrm>
            <a:custGeom>
              <a:avLst/>
              <a:gdLst/>
              <a:ahLst/>
              <a:cxnLst/>
              <a:rect l="l" t="t" r="r" b="b"/>
              <a:pathLst>
                <a:path w="2187" h="1942" extrusionOk="0">
                  <a:moveTo>
                    <a:pt x="1563" y="1"/>
                  </a:moveTo>
                  <a:cubicBezTo>
                    <a:pt x="1416" y="1"/>
                    <a:pt x="1268" y="58"/>
                    <a:pt x="1157" y="172"/>
                  </a:cubicBezTo>
                  <a:lnTo>
                    <a:pt x="357" y="976"/>
                  </a:lnTo>
                  <a:cubicBezTo>
                    <a:pt x="0" y="1332"/>
                    <a:pt x="254" y="1942"/>
                    <a:pt x="758" y="1942"/>
                  </a:cubicBezTo>
                  <a:cubicBezTo>
                    <a:pt x="906" y="1942"/>
                    <a:pt x="1051" y="1882"/>
                    <a:pt x="1157" y="1776"/>
                  </a:cubicBezTo>
                  <a:lnTo>
                    <a:pt x="1957" y="973"/>
                  </a:lnTo>
                  <a:cubicBezTo>
                    <a:pt x="2184" y="755"/>
                    <a:pt x="2187" y="390"/>
                    <a:pt x="1963" y="166"/>
                  </a:cubicBezTo>
                  <a:cubicBezTo>
                    <a:pt x="1853" y="56"/>
                    <a:pt x="1708" y="1"/>
                    <a:pt x="15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65" name="Google Shape;6165;p71"/>
            <p:cNvSpPr/>
            <p:nvPr/>
          </p:nvSpPr>
          <p:spPr>
            <a:xfrm>
              <a:off x="3923425" y="1801775"/>
              <a:ext cx="51350" cy="48550"/>
            </a:xfrm>
            <a:custGeom>
              <a:avLst/>
              <a:gdLst/>
              <a:ahLst/>
              <a:cxnLst/>
              <a:rect l="l" t="t" r="r" b="b"/>
              <a:pathLst>
                <a:path w="2054" h="1942" extrusionOk="0">
                  <a:moveTo>
                    <a:pt x="1430" y="0"/>
                  </a:moveTo>
                  <a:cubicBezTo>
                    <a:pt x="1286" y="0"/>
                    <a:pt x="1141" y="56"/>
                    <a:pt x="1030" y="168"/>
                  </a:cubicBezTo>
                  <a:lnTo>
                    <a:pt x="230" y="968"/>
                  </a:lnTo>
                  <a:cubicBezTo>
                    <a:pt x="4" y="1189"/>
                    <a:pt x="1" y="1551"/>
                    <a:pt x="224" y="1774"/>
                  </a:cubicBezTo>
                  <a:cubicBezTo>
                    <a:pt x="334" y="1886"/>
                    <a:pt x="478" y="1941"/>
                    <a:pt x="623" y="1941"/>
                  </a:cubicBezTo>
                  <a:cubicBezTo>
                    <a:pt x="771" y="1941"/>
                    <a:pt x="919" y="1883"/>
                    <a:pt x="1030" y="1768"/>
                  </a:cubicBezTo>
                  <a:lnTo>
                    <a:pt x="1831" y="968"/>
                  </a:lnTo>
                  <a:cubicBezTo>
                    <a:pt x="2054" y="745"/>
                    <a:pt x="2051" y="388"/>
                    <a:pt x="1831" y="168"/>
                  </a:cubicBezTo>
                  <a:cubicBezTo>
                    <a:pt x="1720" y="56"/>
                    <a:pt x="1575" y="0"/>
                    <a:pt x="14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66" name="Google Shape;6166;p71"/>
          <p:cNvSpPr/>
          <p:nvPr/>
        </p:nvSpPr>
        <p:spPr>
          <a:xfrm>
            <a:off x="4470938" y="4167506"/>
            <a:ext cx="453652" cy="453557"/>
          </a:xfrm>
          <a:custGeom>
            <a:avLst/>
            <a:gdLst/>
            <a:ahLst/>
            <a:cxnLst/>
            <a:rect l="l" t="t" r="r" b="b"/>
            <a:pathLst>
              <a:path w="19329" h="19325" extrusionOk="0">
                <a:moveTo>
                  <a:pt x="9062" y="1229"/>
                </a:moveTo>
                <a:lnTo>
                  <a:pt x="9062" y="4539"/>
                </a:lnTo>
                <a:cubicBezTo>
                  <a:pt x="8470" y="4557"/>
                  <a:pt x="7885" y="4602"/>
                  <a:pt x="7311" y="4674"/>
                </a:cubicBezTo>
                <a:cubicBezTo>
                  <a:pt x="7223" y="4339"/>
                  <a:pt x="7036" y="4037"/>
                  <a:pt x="6773" y="3811"/>
                </a:cubicBezTo>
                <a:cubicBezTo>
                  <a:pt x="7392" y="2428"/>
                  <a:pt x="8211" y="1513"/>
                  <a:pt x="9062" y="1229"/>
                </a:cubicBezTo>
                <a:close/>
                <a:moveTo>
                  <a:pt x="10194" y="1226"/>
                </a:moveTo>
                <a:cubicBezTo>
                  <a:pt x="11278" y="1586"/>
                  <a:pt x="12272" y="2944"/>
                  <a:pt x="12912" y="4835"/>
                </a:cubicBezTo>
                <a:cubicBezTo>
                  <a:pt x="12015" y="4662"/>
                  <a:pt x="11106" y="4566"/>
                  <a:pt x="10194" y="4539"/>
                </a:cubicBezTo>
                <a:lnTo>
                  <a:pt x="10194" y="1226"/>
                </a:lnTo>
                <a:close/>
                <a:moveTo>
                  <a:pt x="5665" y="4530"/>
                </a:moveTo>
                <a:cubicBezTo>
                  <a:pt x="6170" y="4530"/>
                  <a:pt x="6423" y="5139"/>
                  <a:pt x="6067" y="5496"/>
                </a:cubicBezTo>
                <a:cubicBezTo>
                  <a:pt x="5950" y="5611"/>
                  <a:pt x="5808" y="5663"/>
                  <a:pt x="5669" y="5663"/>
                </a:cubicBezTo>
                <a:cubicBezTo>
                  <a:pt x="5378" y="5663"/>
                  <a:pt x="5101" y="5438"/>
                  <a:pt x="5101" y="5097"/>
                </a:cubicBezTo>
                <a:cubicBezTo>
                  <a:pt x="5101" y="4783"/>
                  <a:pt x="5351" y="4530"/>
                  <a:pt x="5665" y="4530"/>
                </a:cubicBezTo>
                <a:close/>
                <a:moveTo>
                  <a:pt x="6743" y="1643"/>
                </a:moveTo>
                <a:cubicBezTo>
                  <a:pt x="6363" y="2129"/>
                  <a:pt x="6019" y="2718"/>
                  <a:pt x="5717" y="3397"/>
                </a:cubicBezTo>
                <a:lnTo>
                  <a:pt x="5665" y="3397"/>
                </a:lnTo>
                <a:cubicBezTo>
                  <a:pt x="4578" y="3397"/>
                  <a:pt x="3769" y="4406"/>
                  <a:pt x="4008" y="5469"/>
                </a:cubicBezTo>
                <a:cubicBezTo>
                  <a:pt x="3075" y="5822"/>
                  <a:pt x="2277" y="6266"/>
                  <a:pt x="1646" y="6773"/>
                </a:cubicBezTo>
                <a:cubicBezTo>
                  <a:pt x="2507" y="4394"/>
                  <a:pt x="4373" y="2516"/>
                  <a:pt x="6743" y="1643"/>
                </a:cubicBezTo>
                <a:close/>
                <a:moveTo>
                  <a:pt x="12510" y="1631"/>
                </a:moveTo>
                <a:lnTo>
                  <a:pt x="12510" y="1631"/>
                </a:lnTo>
                <a:cubicBezTo>
                  <a:pt x="14926" y="2500"/>
                  <a:pt x="16828" y="4403"/>
                  <a:pt x="17698" y="6818"/>
                </a:cubicBezTo>
                <a:cubicBezTo>
                  <a:pt x="17269" y="6483"/>
                  <a:pt x="16810" y="6196"/>
                  <a:pt x="16327" y="5955"/>
                </a:cubicBezTo>
                <a:cubicBezTo>
                  <a:pt x="15645" y="5614"/>
                  <a:pt x="14932" y="5342"/>
                  <a:pt x="14195" y="5136"/>
                </a:cubicBezTo>
                <a:cubicBezTo>
                  <a:pt x="13933" y="4203"/>
                  <a:pt x="13585" y="3349"/>
                  <a:pt x="13169" y="2612"/>
                </a:cubicBezTo>
                <a:cubicBezTo>
                  <a:pt x="12975" y="2268"/>
                  <a:pt x="12755" y="1942"/>
                  <a:pt x="12510" y="1631"/>
                </a:cubicBezTo>
                <a:close/>
                <a:moveTo>
                  <a:pt x="4636" y="6444"/>
                </a:moveTo>
                <a:cubicBezTo>
                  <a:pt x="4684" y="6483"/>
                  <a:pt x="4738" y="6519"/>
                  <a:pt x="4793" y="6553"/>
                </a:cubicBezTo>
                <a:cubicBezTo>
                  <a:pt x="4651" y="7407"/>
                  <a:pt x="4566" y="8268"/>
                  <a:pt x="4542" y="9134"/>
                </a:cubicBezTo>
                <a:lnTo>
                  <a:pt x="1230" y="9134"/>
                </a:lnTo>
                <a:cubicBezTo>
                  <a:pt x="1568" y="8083"/>
                  <a:pt x="2821" y="7081"/>
                  <a:pt x="4636" y="6444"/>
                </a:cubicBezTo>
                <a:close/>
                <a:moveTo>
                  <a:pt x="9062" y="5674"/>
                </a:moveTo>
                <a:lnTo>
                  <a:pt x="9062" y="9134"/>
                </a:lnTo>
                <a:lnTo>
                  <a:pt x="5674" y="9134"/>
                </a:lnTo>
                <a:cubicBezTo>
                  <a:pt x="5698" y="8343"/>
                  <a:pt x="5774" y="7558"/>
                  <a:pt x="5904" y="6776"/>
                </a:cubicBezTo>
                <a:lnTo>
                  <a:pt x="5904" y="6779"/>
                </a:lnTo>
                <a:cubicBezTo>
                  <a:pt x="6462" y="6698"/>
                  <a:pt x="6949" y="6344"/>
                  <a:pt x="7196" y="5834"/>
                </a:cubicBezTo>
                <a:cubicBezTo>
                  <a:pt x="7815" y="5746"/>
                  <a:pt x="8437" y="5692"/>
                  <a:pt x="9062" y="5674"/>
                </a:cubicBezTo>
                <a:close/>
                <a:moveTo>
                  <a:pt x="10194" y="5671"/>
                </a:moveTo>
                <a:cubicBezTo>
                  <a:pt x="11227" y="5701"/>
                  <a:pt x="12257" y="5834"/>
                  <a:pt x="13265" y="6063"/>
                </a:cubicBezTo>
                <a:cubicBezTo>
                  <a:pt x="13422" y="6743"/>
                  <a:pt x="13534" y="7431"/>
                  <a:pt x="13597" y="8126"/>
                </a:cubicBezTo>
                <a:cubicBezTo>
                  <a:pt x="13144" y="8310"/>
                  <a:pt x="12794" y="8675"/>
                  <a:pt x="12631" y="9134"/>
                </a:cubicBezTo>
                <a:lnTo>
                  <a:pt x="10194" y="9134"/>
                </a:lnTo>
                <a:lnTo>
                  <a:pt x="10194" y="5671"/>
                </a:lnTo>
                <a:close/>
                <a:moveTo>
                  <a:pt x="14497" y="6417"/>
                </a:moveTo>
                <a:cubicBezTo>
                  <a:pt x="14950" y="6571"/>
                  <a:pt x="15391" y="6752"/>
                  <a:pt x="15817" y="6966"/>
                </a:cubicBezTo>
                <a:cubicBezTo>
                  <a:pt x="17037" y="7585"/>
                  <a:pt x="17837" y="8352"/>
                  <a:pt x="18099" y="9137"/>
                </a:cubicBezTo>
                <a:lnTo>
                  <a:pt x="15835" y="9134"/>
                </a:lnTo>
                <a:cubicBezTo>
                  <a:pt x="15654" y="8627"/>
                  <a:pt x="15243" y="8234"/>
                  <a:pt x="14730" y="8077"/>
                </a:cubicBezTo>
                <a:cubicBezTo>
                  <a:pt x="14678" y="7519"/>
                  <a:pt x="14603" y="6966"/>
                  <a:pt x="14497" y="6417"/>
                </a:cubicBezTo>
                <a:close/>
                <a:moveTo>
                  <a:pt x="14241" y="9137"/>
                </a:moveTo>
                <a:cubicBezTo>
                  <a:pt x="14555" y="9137"/>
                  <a:pt x="14808" y="9391"/>
                  <a:pt x="14808" y="9702"/>
                </a:cubicBezTo>
                <a:cubicBezTo>
                  <a:pt x="14808" y="10016"/>
                  <a:pt x="14555" y="10270"/>
                  <a:pt x="14241" y="10270"/>
                </a:cubicBezTo>
                <a:lnTo>
                  <a:pt x="14241" y="10267"/>
                </a:lnTo>
                <a:lnTo>
                  <a:pt x="14204" y="10267"/>
                </a:lnTo>
                <a:cubicBezTo>
                  <a:pt x="13902" y="10251"/>
                  <a:pt x="13667" y="10004"/>
                  <a:pt x="13667" y="9702"/>
                </a:cubicBezTo>
                <a:cubicBezTo>
                  <a:pt x="13667" y="9403"/>
                  <a:pt x="13899" y="9155"/>
                  <a:pt x="14195" y="9137"/>
                </a:cubicBezTo>
                <a:close/>
                <a:moveTo>
                  <a:pt x="18099" y="10270"/>
                </a:moveTo>
                <a:cubicBezTo>
                  <a:pt x="17861" y="10967"/>
                  <a:pt x="17194" y="11643"/>
                  <a:pt x="16161" y="12217"/>
                </a:cubicBezTo>
                <a:cubicBezTo>
                  <a:pt x="15632" y="12504"/>
                  <a:pt x="15080" y="12742"/>
                  <a:pt x="14506" y="12930"/>
                </a:cubicBezTo>
                <a:cubicBezTo>
                  <a:pt x="14606" y="12407"/>
                  <a:pt x="14678" y="11873"/>
                  <a:pt x="14730" y="11323"/>
                </a:cubicBezTo>
                <a:lnTo>
                  <a:pt x="14730" y="11326"/>
                </a:lnTo>
                <a:cubicBezTo>
                  <a:pt x="15243" y="11166"/>
                  <a:pt x="15654" y="10774"/>
                  <a:pt x="15835" y="10270"/>
                </a:cubicBezTo>
                <a:close/>
                <a:moveTo>
                  <a:pt x="4542" y="10267"/>
                </a:moveTo>
                <a:cubicBezTo>
                  <a:pt x="4566" y="11163"/>
                  <a:pt x="4660" y="12060"/>
                  <a:pt x="4820" y="12945"/>
                </a:cubicBezTo>
                <a:cubicBezTo>
                  <a:pt x="2927" y="12320"/>
                  <a:pt x="1583" y="11351"/>
                  <a:pt x="1230" y="10267"/>
                </a:cubicBezTo>
                <a:close/>
                <a:moveTo>
                  <a:pt x="9062" y="10267"/>
                </a:moveTo>
                <a:lnTo>
                  <a:pt x="9062" y="12628"/>
                </a:lnTo>
                <a:cubicBezTo>
                  <a:pt x="8603" y="12791"/>
                  <a:pt x="8238" y="13141"/>
                  <a:pt x="8054" y="13594"/>
                </a:cubicBezTo>
                <a:cubicBezTo>
                  <a:pt x="7377" y="13534"/>
                  <a:pt x="6707" y="13428"/>
                  <a:pt x="6046" y="13280"/>
                </a:cubicBezTo>
                <a:cubicBezTo>
                  <a:pt x="5828" y="12290"/>
                  <a:pt x="5702" y="11281"/>
                  <a:pt x="5674" y="10267"/>
                </a:cubicBezTo>
                <a:close/>
                <a:moveTo>
                  <a:pt x="12631" y="10267"/>
                </a:moveTo>
                <a:cubicBezTo>
                  <a:pt x="12794" y="10725"/>
                  <a:pt x="13144" y="11091"/>
                  <a:pt x="13597" y="11275"/>
                </a:cubicBezTo>
                <a:cubicBezTo>
                  <a:pt x="13534" y="11945"/>
                  <a:pt x="13431" y="12613"/>
                  <a:pt x="13280" y="13268"/>
                </a:cubicBezTo>
                <a:cubicBezTo>
                  <a:pt x="12595" y="13422"/>
                  <a:pt x="11900" y="13531"/>
                  <a:pt x="11203" y="13594"/>
                </a:cubicBezTo>
                <a:cubicBezTo>
                  <a:pt x="11019" y="13141"/>
                  <a:pt x="10653" y="12791"/>
                  <a:pt x="10194" y="12628"/>
                </a:cubicBezTo>
                <a:lnTo>
                  <a:pt x="10194" y="10267"/>
                </a:lnTo>
                <a:close/>
                <a:moveTo>
                  <a:pt x="9627" y="13678"/>
                </a:moveTo>
                <a:cubicBezTo>
                  <a:pt x="9923" y="13678"/>
                  <a:pt x="10170" y="13905"/>
                  <a:pt x="10191" y="14201"/>
                </a:cubicBezTo>
                <a:lnTo>
                  <a:pt x="10191" y="14231"/>
                </a:lnTo>
                <a:cubicBezTo>
                  <a:pt x="10191" y="14231"/>
                  <a:pt x="10191" y="14234"/>
                  <a:pt x="10191" y="14237"/>
                </a:cubicBezTo>
                <a:cubicBezTo>
                  <a:pt x="10188" y="14545"/>
                  <a:pt x="9938" y="14793"/>
                  <a:pt x="9630" y="14796"/>
                </a:cubicBezTo>
                <a:cubicBezTo>
                  <a:pt x="9319" y="14796"/>
                  <a:pt x="9065" y="14545"/>
                  <a:pt x="9062" y="14237"/>
                </a:cubicBezTo>
                <a:lnTo>
                  <a:pt x="9062" y="14231"/>
                </a:lnTo>
                <a:lnTo>
                  <a:pt x="9062" y="14201"/>
                </a:lnTo>
                <a:cubicBezTo>
                  <a:pt x="9083" y="13905"/>
                  <a:pt x="9331" y="13678"/>
                  <a:pt x="9627" y="13678"/>
                </a:cubicBezTo>
                <a:close/>
                <a:moveTo>
                  <a:pt x="1640" y="12579"/>
                </a:moveTo>
                <a:lnTo>
                  <a:pt x="1640" y="12579"/>
                </a:lnTo>
                <a:cubicBezTo>
                  <a:pt x="1936" y="12812"/>
                  <a:pt x="2250" y="13020"/>
                  <a:pt x="2579" y="13204"/>
                </a:cubicBezTo>
                <a:cubicBezTo>
                  <a:pt x="3313" y="13615"/>
                  <a:pt x="4168" y="13953"/>
                  <a:pt x="5110" y="14213"/>
                </a:cubicBezTo>
                <a:cubicBezTo>
                  <a:pt x="5496" y="15620"/>
                  <a:pt x="6061" y="16813"/>
                  <a:pt x="6752" y="17691"/>
                </a:cubicBezTo>
                <a:cubicBezTo>
                  <a:pt x="4373" y="16828"/>
                  <a:pt x="2501" y="14956"/>
                  <a:pt x="1640" y="12579"/>
                </a:cubicBezTo>
                <a:close/>
                <a:moveTo>
                  <a:pt x="17698" y="12555"/>
                </a:moveTo>
                <a:cubicBezTo>
                  <a:pt x="16837" y="14938"/>
                  <a:pt x="14932" y="16831"/>
                  <a:pt x="12535" y="17691"/>
                </a:cubicBezTo>
                <a:cubicBezTo>
                  <a:pt x="12770" y="17395"/>
                  <a:pt x="12981" y="17081"/>
                  <a:pt x="13169" y="16752"/>
                </a:cubicBezTo>
                <a:cubicBezTo>
                  <a:pt x="13594" y="16013"/>
                  <a:pt x="13945" y="15149"/>
                  <a:pt x="14213" y="14201"/>
                </a:cubicBezTo>
                <a:cubicBezTo>
                  <a:pt x="15140" y="13944"/>
                  <a:pt x="15986" y="13609"/>
                  <a:pt x="16713" y="13204"/>
                </a:cubicBezTo>
                <a:cubicBezTo>
                  <a:pt x="17058" y="13014"/>
                  <a:pt x="17387" y="12797"/>
                  <a:pt x="17698" y="12555"/>
                </a:cubicBezTo>
                <a:close/>
                <a:moveTo>
                  <a:pt x="6381" y="14503"/>
                </a:moveTo>
                <a:cubicBezTo>
                  <a:pt x="6906" y="14602"/>
                  <a:pt x="7450" y="14678"/>
                  <a:pt x="8005" y="14726"/>
                </a:cubicBezTo>
                <a:cubicBezTo>
                  <a:pt x="8162" y="15240"/>
                  <a:pt x="8555" y="15650"/>
                  <a:pt x="9062" y="15831"/>
                </a:cubicBezTo>
                <a:lnTo>
                  <a:pt x="9062" y="18096"/>
                </a:lnTo>
                <a:cubicBezTo>
                  <a:pt x="8286" y="17833"/>
                  <a:pt x="7531" y="17048"/>
                  <a:pt x="6933" y="15853"/>
                </a:cubicBezTo>
                <a:cubicBezTo>
                  <a:pt x="6716" y="15415"/>
                  <a:pt x="6532" y="14965"/>
                  <a:pt x="6381" y="14503"/>
                </a:cubicBezTo>
                <a:close/>
                <a:moveTo>
                  <a:pt x="12933" y="14497"/>
                </a:moveTo>
                <a:cubicBezTo>
                  <a:pt x="12740" y="15083"/>
                  <a:pt x="12486" y="15650"/>
                  <a:pt x="12184" y="16188"/>
                </a:cubicBezTo>
                <a:cubicBezTo>
                  <a:pt x="11595" y="17211"/>
                  <a:pt x="10904" y="17869"/>
                  <a:pt x="10194" y="18099"/>
                </a:cubicBezTo>
                <a:lnTo>
                  <a:pt x="10194" y="15831"/>
                </a:lnTo>
                <a:cubicBezTo>
                  <a:pt x="10702" y="15650"/>
                  <a:pt x="11094" y="15240"/>
                  <a:pt x="11251" y="14726"/>
                </a:cubicBezTo>
                <a:cubicBezTo>
                  <a:pt x="11828" y="14675"/>
                  <a:pt x="12390" y="14596"/>
                  <a:pt x="12933" y="14497"/>
                </a:cubicBezTo>
                <a:close/>
                <a:moveTo>
                  <a:pt x="9630" y="0"/>
                </a:moveTo>
                <a:cubicBezTo>
                  <a:pt x="7063" y="0"/>
                  <a:pt x="4645" y="1015"/>
                  <a:pt x="2821" y="2860"/>
                </a:cubicBezTo>
                <a:cubicBezTo>
                  <a:pt x="1012" y="4678"/>
                  <a:pt x="1" y="7138"/>
                  <a:pt x="4" y="9702"/>
                </a:cubicBezTo>
                <a:cubicBezTo>
                  <a:pt x="4" y="15016"/>
                  <a:pt x="4313" y="19325"/>
                  <a:pt x="9630" y="19325"/>
                </a:cubicBezTo>
                <a:cubicBezTo>
                  <a:pt x="9634" y="19325"/>
                  <a:pt x="9637" y="19325"/>
                  <a:pt x="9641" y="19325"/>
                </a:cubicBezTo>
                <a:cubicBezTo>
                  <a:pt x="12198" y="19325"/>
                  <a:pt x="14654" y="18314"/>
                  <a:pt x="16469" y="16508"/>
                </a:cubicBezTo>
                <a:cubicBezTo>
                  <a:pt x="18314" y="14687"/>
                  <a:pt x="19328" y="12268"/>
                  <a:pt x="19328" y="9702"/>
                </a:cubicBezTo>
                <a:cubicBezTo>
                  <a:pt x="19328" y="8407"/>
                  <a:pt x="19069" y="7129"/>
                  <a:pt x="18558" y="5940"/>
                </a:cubicBezTo>
                <a:cubicBezTo>
                  <a:pt x="18066" y="4789"/>
                  <a:pt x="17360" y="3741"/>
                  <a:pt x="16472" y="2857"/>
                </a:cubicBezTo>
                <a:cubicBezTo>
                  <a:pt x="15587" y="1969"/>
                  <a:pt x="14539" y="1263"/>
                  <a:pt x="13389" y="770"/>
                </a:cubicBezTo>
                <a:cubicBezTo>
                  <a:pt x="12199" y="260"/>
                  <a:pt x="10922" y="0"/>
                  <a:pt x="96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67" name="Google Shape;6167;p71"/>
          <p:cNvSpPr/>
          <p:nvPr/>
        </p:nvSpPr>
        <p:spPr>
          <a:xfrm>
            <a:off x="5032189" y="4167494"/>
            <a:ext cx="458040" cy="453581"/>
          </a:xfrm>
          <a:custGeom>
            <a:avLst/>
            <a:gdLst/>
            <a:ahLst/>
            <a:cxnLst/>
            <a:rect l="l" t="t" r="r" b="b"/>
            <a:pathLst>
              <a:path w="19516" h="19326" extrusionOk="0">
                <a:moveTo>
                  <a:pt x="15929" y="1934"/>
                </a:moveTo>
                <a:lnTo>
                  <a:pt x="15929" y="2834"/>
                </a:lnTo>
                <a:cubicBezTo>
                  <a:pt x="15929" y="3145"/>
                  <a:pt x="16182" y="3398"/>
                  <a:pt x="16496" y="3398"/>
                </a:cubicBezTo>
                <a:lnTo>
                  <a:pt x="17393" y="3398"/>
                </a:lnTo>
                <a:lnTo>
                  <a:pt x="16261" y="4531"/>
                </a:lnTo>
                <a:lnTo>
                  <a:pt x="14796" y="4531"/>
                </a:lnTo>
                <a:lnTo>
                  <a:pt x="14796" y="3066"/>
                </a:lnTo>
                <a:lnTo>
                  <a:pt x="15929" y="1934"/>
                </a:lnTo>
                <a:close/>
                <a:moveTo>
                  <a:pt x="9663" y="7927"/>
                </a:moveTo>
                <a:cubicBezTo>
                  <a:pt x="9926" y="7927"/>
                  <a:pt x="10183" y="7991"/>
                  <a:pt x="10418" y="8109"/>
                </a:cubicBezTo>
                <a:lnTo>
                  <a:pt x="9262" y="9262"/>
                </a:lnTo>
                <a:cubicBezTo>
                  <a:pt x="9041" y="9485"/>
                  <a:pt x="9041" y="9842"/>
                  <a:pt x="9262" y="10065"/>
                </a:cubicBezTo>
                <a:cubicBezTo>
                  <a:pt x="9372" y="10175"/>
                  <a:pt x="9517" y="10231"/>
                  <a:pt x="9662" y="10231"/>
                </a:cubicBezTo>
                <a:cubicBezTo>
                  <a:pt x="9807" y="10231"/>
                  <a:pt x="9952" y="10175"/>
                  <a:pt x="10062" y="10065"/>
                </a:cubicBezTo>
                <a:lnTo>
                  <a:pt x="11218" y="8909"/>
                </a:lnTo>
                <a:cubicBezTo>
                  <a:pt x="11336" y="9141"/>
                  <a:pt x="11399" y="9401"/>
                  <a:pt x="11399" y="9664"/>
                </a:cubicBezTo>
                <a:cubicBezTo>
                  <a:pt x="11399" y="10585"/>
                  <a:pt x="10605" y="11364"/>
                  <a:pt x="9663" y="11364"/>
                </a:cubicBezTo>
                <a:cubicBezTo>
                  <a:pt x="8721" y="11364"/>
                  <a:pt x="7927" y="10585"/>
                  <a:pt x="7927" y="9664"/>
                </a:cubicBezTo>
                <a:cubicBezTo>
                  <a:pt x="7927" y="8722"/>
                  <a:pt x="8721" y="7927"/>
                  <a:pt x="9663" y="7927"/>
                </a:cubicBezTo>
                <a:close/>
                <a:moveTo>
                  <a:pt x="9663" y="5663"/>
                </a:moveTo>
                <a:cubicBezTo>
                  <a:pt x="10527" y="5666"/>
                  <a:pt x="11363" y="5953"/>
                  <a:pt x="12049" y="6478"/>
                </a:cubicBezTo>
                <a:lnTo>
                  <a:pt x="11242" y="7287"/>
                </a:lnTo>
                <a:cubicBezTo>
                  <a:pt x="10777" y="6967"/>
                  <a:pt x="10228" y="6798"/>
                  <a:pt x="9663" y="6795"/>
                </a:cubicBezTo>
                <a:cubicBezTo>
                  <a:pt x="8108" y="6795"/>
                  <a:pt x="6795" y="8109"/>
                  <a:pt x="6795" y="9664"/>
                </a:cubicBezTo>
                <a:cubicBezTo>
                  <a:pt x="6795" y="10422"/>
                  <a:pt x="7103" y="11143"/>
                  <a:pt x="7649" y="11669"/>
                </a:cubicBezTo>
                <a:cubicBezTo>
                  <a:pt x="8208" y="12220"/>
                  <a:pt x="8935" y="12495"/>
                  <a:pt x="9663" y="12495"/>
                </a:cubicBezTo>
                <a:cubicBezTo>
                  <a:pt x="10391" y="12495"/>
                  <a:pt x="11119" y="12220"/>
                  <a:pt x="11677" y="11669"/>
                </a:cubicBezTo>
                <a:cubicBezTo>
                  <a:pt x="12224" y="11143"/>
                  <a:pt x="12532" y="10422"/>
                  <a:pt x="12532" y="9664"/>
                </a:cubicBezTo>
                <a:cubicBezTo>
                  <a:pt x="12529" y="9099"/>
                  <a:pt x="12360" y="8549"/>
                  <a:pt x="12043" y="8084"/>
                </a:cubicBezTo>
                <a:lnTo>
                  <a:pt x="12849" y="7278"/>
                </a:lnTo>
                <a:cubicBezTo>
                  <a:pt x="13374" y="7964"/>
                  <a:pt x="13661" y="8800"/>
                  <a:pt x="13664" y="9664"/>
                </a:cubicBezTo>
                <a:cubicBezTo>
                  <a:pt x="13664" y="11850"/>
                  <a:pt x="11870" y="13628"/>
                  <a:pt x="9663" y="13628"/>
                </a:cubicBezTo>
                <a:cubicBezTo>
                  <a:pt x="7456" y="13628"/>
                  <a:pt x="5662" y="11850"/>
                  <a:pt x="5662" y="9664"/>
                </a:cubicBezTo>
                <a:cubicBezTo>
                  <a:pt x="5662" y="7496"/>
                  <a:pt x="7495" y="5663"/>
                  <a:pt x="9663" y="5663"/>
                </a:cubicBezTo>
                <a:close/>
                <a:moveTo>
                  <a:pt x="9676" y="3398"/>
                </a:moveTo>
                <a:cubicBezTo>
                  <a:pt x="11130" y="3398"/>
                  <a:pt x="12541" y="3902"/>
                  <a:pt x="13664" y="4826"/>
                </a:cubicBezTo>
                <a:lnTo>
                  <a:pt x="13664" y="4863"/>
                </a:lnTo>
                <a:lnTo>
                  <a:pt x="12861" y="5663"/>
                </a:lnTo>
                <a:cubicBezTo>
                  <a:pt x="11911" y="4901"/>
                  <a:pt x="10770" y="4528"/>
                  <a:pt x="9634" y="4528"/>
                </a:cubicBezTo>
                <a:cubicBezTo>
                  <a:pt x="8214" y="4528"/>
                  <a:pt x="6803" y="5111"/>
                  <a:pt x="5786" y="6246"/>
                </a:cubicBezTo>
                <a:cubicBezTo>
                  <a:pt x="3959" y="8287"/>
                  <a:pt x="4047" y="11403"/>
                  <a:pt x="5985" y="13341"/>
                </a:cubicBezTo>
                <a:cubicBezTo>
                  <a:pt x="6991" y="14346"/>
                  <a:pt x="8313" y="14852"/>
                  <a:pt x="9638" y="14852"/>
                </a:cubicBezTo>
                <a:cubicBezTo>
                  <a:pt x="10866" y="14852"/>
                  <a:pt x="12096" y="14417"/>
                  <a:pt x="13078" y="13538"/>
                </a:cubicBezTo>
                <a:cubicBezTo>
                  <a:pt x="15119" y="11711"/>
                  <a:pt x="15376" y="8604"/>
                  <a:pt x="13664" y="6463"/>
                </a:cubicBezTo>
                <a:lnTo>
                  <a:pt x="14464" y="5663"/>
                </a:lnTo>
                <a:lnTo>
                  <a:pt x="14503" y="5663"/>
                </a:lnTo>
                <a:cubicBezTo>
                  <a:pt x="15430" y="6789"/>
                  <a:pt x="15935" y="8205"/>
                  <a:pt x="15929" y="9664"/>
                </a:cubicBezTo>
                <a:cubicBezTo>
                  <a:pt x="15929" y="13100"/>
                  <a:pt x="13117" y="15893"/>
                  <a:pt x="9663" y="15893"/>
                </a:cubicBezTo>
                <a:cubicBezTo>
                  <a:pt x="6209" y="15893"/>
                  <a:pt x="3398" y="13100"/>
                  <a:pt x="3398" y="9664"/>
                </a:cubicBezTo>
                <a:cubicBezTo>
                  <a:pt x="3398" y="6209"/>
                  <a:pt x="6209" y="3398"/>
                  <a:pt x="9663" y="3398"/>
                </a:cubicBezTo>
                <a:cubicBezTo>
                  <a:pt x="9668" y="3398"/>
                  <a:pt x="9672" y="3398"/>
                  <a:pt x="9676" y="3398"/>
                </a:cubicBezTo>
                <a:close/>
                <a:moveTo>
                  <a:pt x="9663" y="1134"/>
                </a:moveTo>
                <a:cubicBezTo>
                  <a:pt x="11176" y="1134"/>
                  <a:pt x="12661" y="1532"/>
                  <a:pt x="13975" y="2287"/>
                </a:cubicBezTo>
                <a:lnTo>
                  <a:pt x="13830" y="2432"/>
                </a:lnTo>
                <a:cubicBezTo>
                  <a:pt x="13724" y="2538"/>
                  <a:pt x="13664" y="2683"/>
                  <a:pt x="13664" y="2834"/>
                </a:cubicBezTo>
                <a:lnTo>
                  <a:pt x="13664" y="3428"/>
                </a:lnTo>
                <a:cubicBezTo>
                  <a:pt x="12473" y="2670"/>
                  <a:pt x="11090" y="2266"/>
                  <a:pt x="9679" y="2266"/>
                </a:cubicBezTo>
                <a:cubicBezTo>
                  <a:pt x="9674" y="2266"/>
                  <a:pt x="9668" y="2266"/>
                  <a:pt x="9663" y="2266"/>
                </a:cubicBezTo>
                <a:cubicBezTo>
                  <a:pt x="7701" y="2266"/>
                  <a:pt x="5847" y="3039"/>
                  <a:pt x="4443" y="4443"/>
                </a:cubicBezTo>
                <a:cubicBezTo>
                  <a:pt x="3039" y="5847"/>
                  <a:pt x="2266" y="7701"/>
                  <a:pt x="2266" y="9664"/>
                </a:cubicBezTo>
                <a:cubicBezTo>
                  <a:pt x="2266" y="11626"/>
                  <a:pt x="3039" y="13474"/>
                  <a:pt x="4443" y="14866"/>
                </a:cubicBezTo>
                <a:cubicBezTo>
                  <a:pt x="5886" y="16305"/>
                  <a:pt x="7775" y="17024"/>
                  <a:pt x="9663" y="17024"/>
                </a:cubicBezTo>
                <a:cubicBezTo>
                  <a:pt x="11552" y="17024"/>
                  <a:pt x="13441" y="16305"/>
                  <a:pt x="14884" y="14866"/>
                </a:cubicBezTo>
                <a:cubicBezTo>
                  <a:pt x="16288" y="13474"/>
                  <a:pt x="17061" y="11626"/>
                  <a:pt x="17061" y="9664"/>
                </a:cubicBezTo>
                <a:cubicBezTo>
                  <a:pt x="17064" y="8248"/>
                  <a:pt x="16659" y="6859"/>
                  <a:pt x="15898" y="5663"/>
                </a:cubicBezTo>
                <a:lnTo>
                  <a:pt x="16496" y="5663"/>
                </a:lnTo>
                <a:cubicBezTo>
                  <a:pt x="16644" y="5663"/>
                  <a:pt x="16789" y="5602"/>
                  <a:pt x="16895" y="5497"/>
                </a:cubicBezTo>
                <a:lnTo>
                  <a:pt x="17040" y="5352"/>
                </a:lnTo>
                <a:cubicBezTo>
                  <a:pt x="17795" y="6665"/>
                  <a:pt x="18193" y="8151"/>
                  <a:pt x="18193" y="9664"/>
                </a:cubicBezTo>
                <a:cubicBezTo>
                  <a:pt x="18193" y="14368"/>
                  <a:pt x="14367" y="18194"/>
                  <a:pt x="9663" y="18194"/>
                </a:cubicBezTo>
                <a:cubicBezTo>
                  <a:pt x="4959" y="18194"/>
                  <a:pt x="1133" y="14368"/>
                  <a:pt x="1133" y="9664"/>
                </a:cubicBezTo>
                <a:cubicBezTo>
                  <a:pt x="1133" y="4959"/>
                  <a:pt x="4959" y="1134"/>
                  <a:pt x="9663" y="1134"/>
                </a:cubicBezTo>
                <a:close/>
                <a:moveTo>
                  <a:pt x="16491" y="0"/>
                </a:moveTo>
                <a:cubicBezTo>
                  <a:pt x="16352" y="0"/>
                  <a:pt x="16210" y="52"/>
                  <a:pt x="16095" y="167"/>
                </a:cubicBezTo>
                <a:lnTo>
                  <a:pt x="14799" y="1463"/>
                </a:lnTo>
                <a:cubicBezTo>
                  <a:pt x="13256" y="509"/>
                  <a:pt x="11478" y="4"/>
                  <a:pt x="9663" y="1"/>
                </a:cubicBezTo>
                <a:cubicBezTo>
                  <a:pt x="7094" y="1"/>
                  <a:pt x="4669" y="1010"/>
                  <a:pt x="2839" y="2840"/>
                </a:cubicBezTo>
                <a:cubicBezTo>
                  <a:pt x="1009" y="4669"/>
                  <a:pt x="1" y="7094"/>
                  <a:pt x="1" y="9664"/>
                </a:cubicBezTo>
                <a:cubicBezTo>
                  <a:pt x="1" y="12233"/>
                  <a:pt x="1009" y="14658"/>
                  <a:pt x="2839" y="16488"/>
                </a:cubicBezTo>
                <a:cubicBezTo>
                  <a:pt x="4669" y="18317"/>
                  <a:pt x="7094" y="19326"/>
                  <a:pt x="9663" y="19326"/>
                </a:cubicBezTo>
                <a:cubicBezTo>
                  <a:pt x="12233" y="19326"/>
                  <a:pt x="14657" y="18317"/>
                  <a:pt x="16487" y="16488"/>
                </a:cubicBezTo>
                <a:cubicBezTo>
                  <a:pt x="18317" y="14658"/>
                  <a:pt x="19325" y="12233"/>
                  <a:pt x="19325" y="9664"/>
                </a:cubicBezTo>
                <a:cubicBezTo>
                  <a:pt x="19322" y="7849"/>
                  <a:pt x="18818" y="6070"/>
                  <a:pt x="17864" y="4528"/>
                </a:cubicBezTo>
                <a:lnTo>
                  <a:pt x="19159" y="3232"/>
                </a:lnTo>
                <a:cubicBezTo>
                  <a:pt x="19516" y="2876"/>
                  <a:pt x="19265" y="2266"/>
                  <a:pt x="18761" y="2266"/>
                </a:cubicBezTo>
                <a:lnTo>
                  <a:pt x="17061" y="2266"/>
                </a:lnTo>
                <a:lnTo>
                  <a:pt x="17061" y="569"/>
                </a:lnTo>
                <a:cubicBezTo>
                  <a:pt x="17061" y="226"/>
                  <a:pt x="16782" y="0"/>
                  <a:pt x="164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68" name="Google Shape;6168;p71"/>
          <p:cNvGrpSpPr/>
          <p:nvPr/>
        </p:nvGrpSpPr>
        <p:grpSpPr>
          <a:xfrm>
            <a:off x="5587097" y="4167742"/>
            <a:ext cx="453628" cy="453557"/>
            <a:chOff x="5648375" y="1427025"/>
            <a:chExt cx="483200" cy="483125"/>
          </a:xfrm>
        </p:grpSpPr>
        <p:sp>
          <p:nvSpPr>
            <p:cNvPr id="6169" name="Google Shape;6169;p71"/>
            <p:cNvSpPr/>
            <p:nvPr/>
          </p:nvSpPr>
          <p:spPr>
            <a:xfrm>
              <a:off x="5801075" y="1484625"/>
              <a:ext cx="177725" cy="162475"/>
            </a:xfrm>
            <a:custGeom>
              <a:avLst/>
              <a:gdLst/>
              <a:ahLst/>
              <a:cxnLst/>
              <a:rect l="l" t="t" r="r" b="b"/>
              <a:pathLst>
                <a:path w="7109" h="6499" extrusionOk="0">
                  <a:moveTo>
                    <a:pt x="3554" y="1845"/>
                  </a:moveTo>
                  <a:lnTo>
                    <a:pt x="3920" y="2582"/>
                  </a:lnTo>
                  <a:cubicBezTo>
                    <a:pt x="4001" y="2751"/>
                    <a:pt x="4161" y="2866"/>
                    <a:pt x="4345" y="2893"/>
                  </a:cubicBezTo>
                  <a:lnTo>
                    <a:pt x="5158" y="3011"/>
                  </a:lnTo>
                  <a:lnTo>
                    <a:pt x="4569" y="3584"/>
                  </a:lnTo>
                  <a:cubicBezTo>
                    <a:pt x="4436" y="3714"/>
                    <a:pt x="4376" y="3901"/>
                    <a:pt x="4406" y="4086"/>
                  </a:cubicBezTo>
                  <a:lnTo>
                    <a:pt x="4545" y="4898"/>
                  </a:lnTo>
                  <a:lnTo>
                    <a:pt x="3820" y="4514"/>
                  </a:lnTo>
                  <a:cubicBezTo>
                    <a:pt x="3737" y="4469"/>
                    <a:pt x="3646" y="4446"/>
                    <a:pt x="3555" y="4446"/>
                  </a:cubicBezTo>
                  <a:cubicBezTo>
                    <a:pt x="3464" y="4446"/>
                    <a:pt x="3373" y="4469"/>
                    <a:pt x="3292" y="4514"/>
                  </a:cubicBezTo>
                  <a:lnTo>
                    <a:pt x="2561" y="4895"/>
                  </a:lnTo>
                  <a:lnTo>
                    <a:pt x="2703" y="4086"/>
                  </a:lnTo>
                  <a:cubicBezTo>
                    <a:pt x="2733" y="3901"/>
                    <a:pt x="2673" y="3714"/>
                    <a:pt x="2540" y="3584"/>
                  </a:cubicBezTo>
                  <a:lnTo>
                    <a:pt x="1951" y="3011"/>
                  </a:lnTo>
                  <a:lnTo>
                    <a:pt x="2763" y="2893"/>
                  </a:lnTo>
                  <a:cubicBezTo>
                    <a:pt x="2947" y="2866"/>
                    <a:pt x="3107" y="2751"/>
                    <a:pt x="3192" y="2582"/>
                  </a:cubicBezTo>
                  <a:lnTo>
                    <a:pt x="3554" y="1845"/>
                  </a:lnTo>
                  <a:close/>
                  <a:moveTo>
                    <a:pt x="3554" y="0"/>
                  </a:moveTo>
                  <a:cubicBezTo>
                    <a:pt x="3353" y="0"/>
                    <a:pt x="3151" y="106"/>
                    <a:pt x="3047" y="317"/>
                  </a:cubicBezTo>
                  <a:lnTo>
                    <a:pt x="2307" y="1815"/>
                  </a:lnTo>
                  <a:lnTo>
                    <a:pt x="653" y="2056"/>
                  </a:lnTo>
                  <a:cubicBezTo>
                    <a:pt x="188" y="2123"/>
                    <a:pt x="0" y="2694"/>
                    <a:pt x="339" y="3023"/>
                  </a:cubicBezTo>
                  <a:lnTo>
                    <a:pt x="1537" y="4188"/>
                  </a:lnTo>
                  <a:lnTo>
                    <a:pt x="1253" y="5837"/>
                  </a:lnTo>
                  <a:cubicBezTo>
                    <a:pt x="1191" y="6202"/>
                    <a:pt x="1480" y="6499"/>
                    <a:pt x="1809" y="6499"/>
                  </a:cubicBezTo>
                  <a:cubicBezTo>
                    <a:pt x="1897" y="6499"/>
                    <a:pt x="1987" y="6478"/>
                    <a:pt x="2075" y="6432"/>
                  </a:cubicBezTo>
                  <a:lnTo>
                    <a:pt x="3554" y="5656"/>
                  </a:lnTo>
                  <a:lnTo>
                    <a:pt x="5034" y="6432"/>
                  </a:lnTo>
                  <a:cubicBezTo>
                    <a:pt x="5121" y="6478"/>
                    <a:pt x="5212" y="6499"/>
                    <a:pt x="5299" y="6499"/>
                  </a:cubicBezTo>
                  <a:cubicBezTo>
                    <a:pt x="5629" y="6499"/>
                    <a:pt x="5917" y="6202"/>
                    <a:pt x="5855" y="5837"/>
                  </a:cubicBezTo>
                  <a:lnTo>
                    <a:pt x="5574" y="4188"/>
                  </a:lnTo>
                  <a:lnTo>
                    <a:pt x="6770" y="3023"/>
                  </a:lnTo>
                  <a:cubicBezTo>
                    <a:pt x="7108" y="2694"/>
                    <a:pt x="6921" y="2123"/>
                    <a:pt x="6456" y="2056"/>
                  </a:cubicBezTo>
                  <a:lnTo>
                    <a:pt x="4801" y="1815"/>
                  </a:lnTo>
                  <a:lnTo>
                    <a:pt x="4062" y="317"/>
                  </a:lnTo>
                  <a:cubicBezTo>
                    <a:pt x="3957" y="106"/>
                    <a:pt x="3756" y="0"/>
                    <a:pt x="35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70" name="Google Shape;6170;p71"/>
            <p:cNvSpPr/>
            <p:nvPr/>
          </p:nvSpPr>
          <p:spPr>
            <a:xfrm>
              <a:off x="5648375" y="1427025"/>
              <a:ext cx="483200" cy="483125"/>
            </a:xfrm>
            <a:custGeom>
              <a:avLst/>
              <a:gdLst/>
              <a:ahLst/>
              <a:cxnLst/>
              <a:rect l="l" t="t" r="r" b="b"/>
              <a:pathLst>
                <a:path w="19328" h="19325" extrusionOk="0">
                  <a:moveTo>
                    <a:pt x="2265" y="2304"/>
                  </a:moveTo>
                  <a:cubicBezTo>
                    <a:pt x="2890" y="2304"/>
                    <a:pt x="3397" y="2808"/>
                    <a:pt x="3397" y="3437"/>
                  </a:cubicBezTo>
                  <a:lnTo>
                    <a:pt x="3397" y="7398"/>
                  </a:lnTo>
                  <a:lnTo>
                    <a:pt x="3397" y="7474"/>
                  </a:lnTo>
                  <a:lnTo>
                    <a:pt x="1637" y="6299"/>
                  </a:lnTo>
                  <a:cubicBezTo>
                    <a:pt x="1320" y="6088"/>
                    <a:pt x="1129" y="5734"/>
                    <a:pt x="1132" y="5357"/>
                  </a:cubicBezTo>
                  <a:lnTo>
                    <a:pt x="1132" y="3437"/>
                  </a:lnTo>
                  <a:cubicBezTo>
                    <a:pt x="1132" y="2808"/>
                    <a:pt x="1640" y="2304"/>
                    <a:pt x="2265" y="2304"/>
                  </a:cubicBezTo>
                  <a:close/>
                  <a:moveTo>
                    <a:pt x="17060" y="2304"/>
                  </a:moveTo>
                  <a:cubicBezTo>
                    <a:pt x="17685" y="2304"/>
                    <a:pt x="18192" y="2808"/>
                    <a:pt x="18192" y="3437"/>
                  </a:cubicBezTo>
                  <a:lnTo>
                    <a:pt x="18192" y="5357"/>
                  </a:lnTo>
                  <a:cubicBezTo>
                    <a:pt x="18192" y="5737"/>
                    <a:pt x="18005" y="6091"/>
                    <a:pt x="17688" y="6302"/>
                  </a:cubicBezTo>
                  <a:lnTo>
                    <a:pt x="15928" y="7474"/>
                  </a:lnTo>
                  <a:lnTo>
                    <a:pt x="15928" y="7398"/>
                  </a:lnTo>
                  <a:lnTo>
                    <a:pt x="15928" y="3437"/>
                  </a:lnTo>
                  <a:cubicBezTo>
                    <a:pt x="15928" y="2808"/>
                    <a:pt x="16435" y="2304"/>
                    <a:pt x="17060" y="2304"/>
                  </a:cubicBezTo>
                  <a:close/>
                  <a:moveTo>
                    <a:pt x="14795" y="1133"/>
                  </a:moveTo>
                  <a:lnTo>
                    <a:pt x="14795" y="7398"/>
                  </a:lnTo>
                  <a:cubicBezTo>
                    <a:pt x="14795" y="8763"/>
                    <a:pt x="14095" y="9641"/>
                    <a:pt x="12120" y="10759"/>
                  </a:cubicBezTo>
                  <a:cubicBezTo>
                    <a:pt x="11069" y="11354"/>
                    <a:pt x="10372" y="12422"/>
                    <a:pt x="10248" y="13627"/>
                  </a:cubicBezTo>
                  <a:lnTo>
                    <a:pt x="9058" y="13627"/>
                  </a:lnTo>
                  <a:cubicBezTo>
                    <a:pt x="8877" y="12368"/>
                    <a:pt x="8041" y="11269"/>
                    <a:pt x="6791" y="10686"/>
                  </a:cubicBezTo>
                  <a:cubicBezTo>
                    <a:pt x="5332" y="10007"/>
                    <a:pt x="4529" y="8835"/>
                    <a:pt x="4529" y="7398"/>
                  </a:cubicBezTo>
                  <a:lnTo>
                    <a:pt x="4529" y="1133"/>
                  </a:lnTo>
                  <a:close/>
                  <a:moveTo>
                    <a:pt x="11927" y="14759"/>
                  </a:moveTo>
                  <a:cubicBezTo>
                    <a:pt x="12241" y="14759"/>
                    <a:pt x="12495" y="15010"/>
                    <a:pt x="12495" y="15324"/>
                  </a:cubicBezTo>
                  <a:lnTo>
                    <a:pt x="12495" y="15892"/>
                  </a:lnTo>
                  <a:lnTo>
                    <a:pt x="10795" y="15892"/>
                  </a:lnTo>
                  <a:cubicBezTo>
                    <a:pt x="10481" y="15892"/>
                    <a:pt x="10230" y="16142"/>
                    <a:pt x="10230" y="16456"/>
                  </a:cubicBezTo>
                  <a:cubicBezTo>
                    <a:pt x="10230" y="16770"/>
                    <a:pt x="10481" y="17024"/>
                    <a:pt x="10795" y="17024"/>
                  </a:cubicBezTo>
                  <a:lnTo>
                    <a:pt x="13059" y="17024"/>
                  </a:lnTo>
                  <a:cubicBezTo>
                    <a:pt x="13373" y="17024"/>
                    <a:pt x="13627" y="17275"/>
                    <a:pt x="13627" y="17589"/>
                  </a:cubicBezTo>
                  <a:lnTo>
                    <a:pt x="13627" y="18193"/>
                  </a:lnTo>
                  <a:lnTo>
                    <a:pt x="5701" y="18193"/>
                  </a:lnTo>
                  <a:lnTo>
                    <a:pt x="5701" y="17589"/>
                  </a:lnTo>
                  <a:cubicBezTo>
                    <a:pt x="5701" y="17275"/>
                    <a:pt x="5951" y="17024"/>
                    <a:pt x="6265" y="17024"/>
                  </a:cubicBezTo>
                  <a:lnTo>
                    <a:pt x="8530" y="17024"/>
                  </a:lnTo>
                  <a:cubicBezTo>
                    <a:pt x="8844" y="17024"/>
                    <a:pt x="9095" y="16770"/>
                    <a:pt x="9095" y="16456"/>
                  </a:cubicBezTo>
                  <a:cubicBezTo>
                    <a:pt x="9095" y="16142"/>
                    <a:pt x="8844" y="15892"/>
                    <a:pt x="8530" y="15892"/>
                  </a:cubicBezTo>
                  <a:lnTo>
                    <a:pt x="6833" y="15892"/>
                  </a:lnTo>
                  <a:lnTo>
                    <a:pt x="6833" y="15324"/>
                  </a:lnTo>
                  <a:cubicBezTo>
                    <a:pt x="6833" y="15010"/>
                    <a:pt x="7084" y="14759"/>
                    <a:pt x="7398" y="14759"/>
                  </a:cubicBezTo>
                  <a:close/>
                  <a:moveTo>
                    <a:pt x="3965" y="0"/>
                  </a:moveTo>
                  <a:cubicBezTo>
                    <a:pt x="3651" y="0"/>
                    <a:pt x="3397" y="254"/>
                    <a:pt x="3397" y="568"/>
                  </a:cubicBezTo>
                  <a:lnTo>
                    <a:pt x="3397" y="1474"/>
                  </a:lnTo>
                  <a:cubicBezTo>
                    <a:pt x="3032" y="1264"/>
                    <a:pt x="2645" y="1168"/>
                    <a:pt x="2269" y="1168"/>
                  </a:cubicBezTo>
                  <a:cubicBezTo>
                    <a:pt x="1086" y="1168"/>
                    <a:pt x="0" y="2113"/>
                    <a:pt x="0" y="3437"/>
                  </a:cubicBezTo>
                  <a:lnTo>
                    <a:pt x="0" y="5357"/>
                  </a:lnTo>
                  <a:cubicBezTo>
                    <a:pt x="0" y="6115"/>
                    <a:pt x="378" y="6821"/>
                    <a:pt x="1009" y="7241"/>
                  </a:cubicBezTo>
                  <a:lnTo>
                    <a:pt x="3651" y="9001"/>
                  </a:lnTo>
                  <a:cubicBezTo>
                    <a:pt x="3663" y="9010"/>
                    <a:pt x="3678" y="9019"/>
                    <a:pt x="3690" y="9026"/>
                  </a:cubicBezTo>
                  <a:cubicBezTo>
                    <a:pt x="4125" y="10170"/>
                    <a:pt x="5027" y="11112"/>
                    <a:pt x="6314" y="11710"/>
                  </a:cubicBezTo>
                  <a:cubicBezTo>
                    <a:pt x="7156" y="12105"/>
                    <a:pt x="7736" y="12812"/>
                    <a:pt x="7911" y="13627"/>
                  </a:cubicBezTo>
                  <a:lnTo>
                    <a:pt x="7398" y="13627"/>
                  </a:lnTo>
                  <a:cubicBezTo>
                    <a:pt x="6459" y="13627"/>
                    <a:pt x="5701" y="14385"/>
                    <a:pt x="5701" y="15324"/>
                  </a:cubicBezTo>
                  <a:lnTo>
                    <a:pt x="5701" y="15988"/>
                  </a:lnTo>
                  <a:cubicBezTo>
                    <a:pt x="5021" y="16227"/>
                    <a:pt x="4569" y="16870"/>
                    <a:pt x="4569" y="17589"/>
                  </a:cubicBezTo>
                  <a:lnTo>
                    <a:pt x="4569" y="18760"/>
                  </a:lnTo>
                  <a:cubicBezTo>
                    <a:pt x="4569" y="19071"/>
                    <a:pt x="4819" y="19325"/>
                    <a:pt x="5133" y="19325"/>
                  </a:cubicBezTo>
                  <a:lnTo>
                    <a:pt x="14191" y="19325"/>
                  </a:lnTo>
                  <a:cubicBezTo>
                    <a:pt x="14506" y="19325"/>
                    <a:pt x="14759" y="19071"/>
                    <a:pt x="14759" y="18760"/>
                  </a:cubicBezTo>
                  <a:lnTo>
                    <a:pt x="14759" y="17589"/>
                  </a:lnTo>
                  <a:cubicBezTo>
                    <a:pt x="14756" y="16870"/>
                    <a:pt x="14303" y="16227"/>
                    <a:pt x="13627" y="15988"/>
                  </a:cubicBezTo>
                  <a:lnTo>
                    <a:pt x="13627" y="15324"/>
                  </a:lnTo>
                  <a:cubicBezTo>
                    <a:pt x="13624" y="14385"/>
                    <a:pt x="12866" y="13627"/>
                    <a:pt x="11927" y="13627"/>
                  </a:cubicBezTo>
                  <a:lnTo>
                    <a:pt x="11389" y="13627"/>
                  </a:lnTo>
                  <a:cubicBezTo>
                    <a:pt x="11507" y="12833"/>
                    <a:pt x="11981" y="12139"/>
                    <a:pt x="12679" y="11743"/>
                  </a:cubicBezTo>
                  <a:cubicBezTo>
                    <a:pt x="14044" y="10973"/>
                    <a:pt x="15088" y="10170"/>
                    <a:pt x="15593" y="9047"/>
                  </a:cubicBezTo>
                  <a:cubicBezTo>
                    <a:pt x="15623" y="9035"/>
                    <a:pt x="15650" y="9019"/>
                    <a:pt x="15677" y="9001"/>
                  </a:cubicBezTo>
                  <a:lnTo>
                    <a:pt x="18319" y="7241"/>
                  </a:lnTo>
                  <a:cubicBezTo>
                    <a:pt x="18947" y="6821"/>
                    <a:pt x="19328" y="6115"/>
                    <a:pt x="19328" y="5357"/>
                  </a:cubicBezTo>
                  <a:lnTo>
                    <a:pt x="19328" y="3437"/>
                  </a:lnTo>
                  <a:cubicBezTo>
                    <a:pt x="19325" y="2113"/>
                    <a:pt x="18239" y="1168"/>
                    <a:pt x="17057" y="1168"/>
                  </a:cubicBezTo>
                  <a:cubicBezTo>
                    <a:pt x="16681" y="1168"/>
                    <a:pt x="16295" y="1264"/>
                    <a:pt x="15931" y="1474"/>
                  </a:cubicBezTo>
                  <a:lnTo>
                    <a:pt x="15931" y="568"/>
                  </a:lnTo>
                  <a:cubicBezTo>
                    <a:pt x="15931" y="254"/>
                    <a:pt x="15677" y="0"/>
                    <a:pt x="153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71" name="Google Shape;6171;p71"/>
          <p:cNvGrpSpPr/>
          <p:nvPr/>
        </p:nvGrpSpPr>
        <p:grpSpPr>
          <a:xfrm>
            <a:off x="6139744" y="4167719"/>
            <a:ext cx="459496" cy="453605"/>
            <a:chOff x="6238300" y="1426975"/>
            <a:chExt cx="489450" cy="483175"/>
          </a:xfrm>
        </p:grpSpPr>
        <p:sp>
          <p:nvSpPr>
            <p:cNvPr id="6172" name="Google Shape;6172;p71"/>
            <p:cNvSpPr/>
            <p:nvPr/>
          </p:nvSpPr>
          <p:spPr>
            <a:xfrm>
              <a:off x="6238300" y="1426975"/>
              <a:ext cx="489450" cy="483175"/>
            </a:xfrm>
            <a:custGeom>
              <a:avLst/>
              <a:gdLst/>
              <a:ahLst/>
              <a:cxnLst/>
              <a:rect l="l" t="t" r="r" b="b"/>
              <a:pathLst>
                <a:path w="19578" h="19327" extrusionOk="0">
                  <a:moveTo>
                    <a:pt x="16109" y="2267"/>
                  </a:moveTo>
                  <a:lnTo>
                    <a:pt x="16109" y="4803"/>
                  </a:lnTo>
                  <a:lnTo>
                    <a:pt x="14977" y="3831"/>
                  </a:lnTo>
                  <a:lnTo>
                    <a:pt x="14977" y="2267"/>
                  </a:lnTo>
                  <a:close/>
                  <a:moveTo>
                    <a:pt x="9880" y="1135"/>
                  </a:moveTo>
                  <a:cubicBezTo>
                    <a:pt x="10011" y="1135"/>
                    <a:pt x="10142" y="1181"/>
                    <a:pt x="10248" y="1274"/>
                  </a:cubicBezTo>
                  <a:lnTo>
                    <a:pt x="18174" y="8067"/>
                  </a:lnTo>
                  <a:cubicBezTo>
                    <a:pt x="18413" y="8270"/>
                    <a:pt x="18440" y="8626"/>
                    <a:pt x="18238" y="8864"/>
                  </a:cubicBezTo>
                  <a:lnTo>
                    <a:pt x="18238" y="8861"/>
                  </a:lnTo>
                  <a:cubicBezTo>
                    <a:pt x="18129" y="8988"/>
                    <a:pt x="17972" y="9061"/>
                    <a:pt x="17809" y="9061"/>
                  </a:cubicBezTo>
                  <a:cubicBezTo>
                    <a:pt x="17673" y="9061"/>
                    <a:pt x="17540" y="9012"/>
                    <a:pt x="17440" y="8925"/>
                  </a:cubicBezTo>
                  <a:lnTo>
                    <a:pt x="10251" y="2762"/>
                  </a:lnTo>
                  <a:cubicBezTo>
                    <a:pt x="10145" y="2672"/>
                    <a:pt x="10014" y="2626"/>
                    <a:pt x="9883" y="2626"/>
                  </a:cubicBezTo>
                  <a:cubicBezTo>
                    <a:pt x="9751" y="2626"/>
                    <a:pt x="9620" y="2672"/>
                    <a:pt x="9514" y="2762"/>
                  </a:cubicBezTo>
                  <a:lnTo>
                    <a:pt x="2687" y="8553"/>
                  </a:lnTo>
                  <a:cubicBezTo>
                    <a:pt x="2657" y="8575"/>
                    <a:pt x="2633" y="8596"/>
                    <a:pt x="2609" y="8623"/>
                  </a:cubicBezTo>
                  <a:lnTo>
                    <a:pt x="2250" y="8925"/>
                  </a:lnTo>
                  <a:cubicBezTo>
                    <a:pt x="2142" y="9016"/>
                    <a:pt x="2012" y="9060"/>
                    <a:pt x="1882" y="9060"/>
                  </a:cubicBezTo>
                  <a:cubicBezTo>
                    <a:pt x="1723" y="9060"/>
                    <a:pt x="1565" y="8994"/>
                    <a:pt x="1452" y="8864"/>
                  </a:cubicBezTo>
                  <a:cubicBezTo>
                    <a:pt x="1250" y="8629"/>
                    <a:pt x="1274" y="8273"/>
                    <a:pt x="1510" y="8067"/>
                  </a:cubicBezTo>
                  <a:lnTo>
                    <a:pt x="9511" y="1274"/>
                  </a:lnTo>
                  <a:cubicBezTo>
                    <a:pt x="9617" y="1181"/>
                    <a:pt x="9748" y="1135"/>
                    <a:pt x="9880" y="1135"/>
                  </a:cubicBezTo>
                  <a:close/>
                  <a:moveTo>
                    <a:pt x="12147" y="13665"/>
                  </a:moveTo>
                  <a:lnTo>
                    <a:pt x="12147" y="18195"/>
                  </a:lnTo>
                  <a:lnTo>
                    <a:pt x="7543" y="18195"/>
                  </a:lnTo>
                  <a:lnTo>
                    <a:pt x="7543" y="13665"/>
                  </a:lnTo>
                  <a:close/>
                  <a:moveTo>
                    <a:pt x="9883" y="3937"/>
                  </a:moveTo>
                  <a:lnTo>
                    <a:pt x="16109" y="9275"/>
                  </a:lnTo>
                  <a:lnTo>
                    <a:pt x="16109" y="18195"/>
                  </a:lnTo>
                  <a:lnTo>
                    <a:pt x="13280" y="18195"/>
                  </a:lnTo>
                  <a:lnTo>
                    <a:pt x="13280" y="13101"/>
                  </a:lnTo>
                  <a:cubicBezTo>
                    <a:pt x="13280" y="12787"/>
                    <a:pt x="13026" y="12533"/>
                    <a:pt x="12712" y="12533"/>
                  </a:cubicBezTo>
                  <a:lnTo>
                    <a:pt x="6975" y="12533"/>
                  </a:lnTo>
                  <a:cubicBezTo>
                    <a:pt x="6661" y="12533"/>
                    <a:pt x="6410" y="12787"/>
                    <a:pt x="6410" y="13101"/>
                  </a:cubicBezTo>
                  <a:lnTo>
                    <a:pt x="6410" y="18195"/>
                  </a:lnTo>
                  <a:lnTo>
                    <a:pt x="3578" y="18195"/>
                  </a:lnTo>
                  <a:lnTo>
                    <a:pt x="3578" y="9281"/>
                  </a:lnTo>
                  <a:lnTo>
                    <a:pt x="9883" y="3937"/>
                  </a:lnTo>
                  <a:close/>
                  <a:moveTo>
                    <a:pt x="9883" y="0"/>
                  </a:moveTo>
                  <a:cubicBezTo>
                    <a:pt x="9489" y="0"/>
                    <a:pt x="9095" y="137"/>
                    <a:pt x="8778" y="410"/>
                  </a:cubicBezTo>
                  <a:lnTo>
                    <a:pt x="773" y="7204"/>
                  </a:lnTo>
                  <a:cubicBezTo>
                    <a:pt x="154" y="7738"/>
                    <a:pt x="0" y="8635"/>
                    <a:pt x="411" y="9345"/>
                  </a:cubicBezTo>
                  <a:cubicBezTo>
                    <a:pt x="720" y="9881"/>
                    <a:pt x="1289" y="10193"/>
                    <a:pt x="1882" y="10193"/>
                  </a:cubicBezTo>
                  <a:cubicBezTo>
                    <a:pt x="2070" y="10193"/>
                    <a:pt x="2261" y="10162"/>
                    <a:pt x="2446" y="10096"/>
                  </a:cubicBezTo>
                  <a:lnTo>
                    <a:pt x="2446" y="18762"/>
                  </a:lnTo>
                  <a:cubicBezTo>
                    <a:pt x="2446" y="19073"/>
                    <a:pt x="2699" y="19327"/>
                    <a:pt x="3010" y="19327"/>
                  </a:cubicBezTo>
                  <a:lnTo>
                    <a:pt x="16673" y="19327"/>
                  </a:lnTo>
                  <a:cubicBezTo>
                    <a:pt x="16987" y="19327"/>
                    <a:pt x="17241" y="19073"/>
                    <a:pt x="17241" y="18762"/>
                  </a:cubicBezTo>
                  <a:lnTo>
                    <a:pt x="17241" y="10096"/>
                  </a:lnTo>
                  <a:cubicBezTo>
                    <a:pt x="17431" y="10163"/>
                    <a:pt x="17623" y="10195"/>
                    <a:pt x="17809" y="10195"/>
                  </a:cubicBezTo>
                  <a:cubicBezTo>
                    <a:pt x="18756" y="10195"/>
                    <a:pt x="19578" y="9388"/>
                    <a:pt x="19500" y="8363"/>
                  </a:cubicBezTo>
                  <a:cubicBezTo>
                    <a:pt x="19466" y="7913"/>
                    <a:pt x="19255" y="7497"/>
                    <a:pt x="18914" y="7204"/>
                  </a:cubicBezTo>
                  <a:lnTo>
                    <a:pt x="17241" y="5770"/>
                  </a:lnTo>
                  <a:lnTo>
                    <a:pt x="17241" y="1702"/>
                  </a:lnTo>
                  <a:cubicBezTo>
                    <a:pt x="17241" y="1388"/>
                    <a:pt x="16987" y="1135"/>
                    <a:pt x="16676" y="1135"/>
                  </a:cubicBezTo>
                  <a:lnTo>
                    <a:pt x="14412" y="1135"/>
                  </a:lnTo>
                  <a:cubicBezTo>
                    <a:pt x="14098" y="1135"/>
                    <a:pt x="13844" y="1388"/>
                    <a:pt x="13844" y="1702"/>
                  </a:cubicBezTo>
                  <a:lnTo>
                    <a:pt x="13844" y="2862"/>
                  </a:lnTo>
                  <a:lnTo>
                    <a:pt x="10988" y="410"/>
                  </a:lnTo>
                  <a:cubicBezTo>
                    <a:pt x="10671" y="137"/>
                    <a:pt x="10277" y="0"/>
                    <a:pt x="98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73" name="Google Shape;6173;p71"/>
            <p:cNvSpPr/>
            <p:nvPr/>
          </p:nvSpPr>
          <p:spPr>
            <a:xfrm>
              <a:off x="6426850" y="1596875"/>
              <a:ext cx="115150" cy="113250"/>
            </a:xfrm>
            <a:custGeom>
              <a:avLst/>
              <a:gdLst/>
              <a:ahLst/>
              <a:cxnLst/>
              <a:rect l="l" t="t" r="r" b="b"/>
              <a:pathLst>
                <a:path w="4606" h="4530" extrusionOk="0">
                  <a:moveTo>
                    <a:pt x="3473" y="1132"/>
                  </a:moveTo>
                  <a:lnTo>
                    <a:pt x="3473" y="3397"/>
                  </a:lnTo>
                  <a:lnTo>
                    <a:pt x="1133" y="3397"/>
                  </a:lnTo>
                  <a:lnTo>
                    <a:pt x="1133" y="1132"/>
                  </a:lnTo>
                  <a:close/>
                  <a:moveTo>
                    <a:pt x="565" y="0"/>
                  </a:moveTo>
                  <a:cubicBezTo>
                    <a:pt x="251" y="0"/>
                    <a:pt x="1" y="254"/>
                    <a:pt x="1" y="568"/>
                  </a:cubicBezTo>
                  <a:lnTo>
                    <a:pt x="1" y="3965"/>
                  </a:lnTo>
                  <a:cubicBezTo>
                    <a:pt x="1" y="4276"/>
                    <a:pt x="251" y="4529"/>
                    <a:pt x="565" y="4529"/>
                  </a:cubicBezTo>
                  <a:lnTo>
                    <a:pt x="4038" y="4529"/>
                  </a:lnTo>
                  <a:cubicBezTo>
                    <a:pt x="4352" y="4529"/>
                    <a:pt x="4605" y="4276"/>
                    <a:pt x="4605" y="3965"/>
                  </a:cubicBezTo>
                  <a:lnTo>
                    <a:pt x="4605" y="568"/>
                  </a:lnTo>
                  <a:cubicBezTo>
                    <a:pt x="4605" y="254"/>
                    <a:pt x="4352" y="0"/>
                    <a:pt x="40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74" name="Google Shape;6174;p71"/>
            <p:cNvSpPr/>
            <p:nvPr/>
          </p:nvSpPr>
          <p:spPr>
            <a:xfrm>
              <a:off x="6485350" y="1796900"/>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75" name="Google Shape;6175;p71"/>
          <p:cNvSpPr/>
          <p:nvPr/>
        </p:nvSpPr>
        <p:spPr>
          <a:xfrm>
            <a:off x="1153916" y="4727032"/>
            <a:ext cx="401056" cy="451633"/>
          </a:xfrm>
          <a:custGeom>
            <a:avLst/>
            <a:gdLst/>
            <a:ahLst/>
            <a:cxnLst/>
            <a:rect l="l" t="t" r="r" b="b"/>
            <a:pathLst>
              <a:path w="17088" h="19243" extrusionOk="0">
                <a:moveTo>
                  <a:pt x="15955" y="1281"/>
                </a:moveTo>
                <a:lnTo>
                  <a:pt x="15955" y="3452"/>
                </a:lnTo>
                <a:lnTo>
                  <a:pt x="5586" y="5877"/>
                </a:lnTo>
                <a:lnTo>
                  <a:pt x="5586" y="3703"/>
                </a:lnTo>
                <a:lnTo>
                  <a:pt x="15955" y="1281"/>
                </a:lnTo>
                <a:close/>
                <a:moveTo>
                  <a:pt x="14425" y="12363"/>
                </a:moveTo>
                <a:cubicBezTo>
                  <a:pt x="14622" y="12363"/>
                  <a:pt x="14821" y="12401"/>
                  <a:pt x="15010" y="12480"/>
                </a:cubicBezTo>
                <a:cubicBezTo>
                  <a:pt x="15584" y="12716"/>
                  <a:pt x="15955" y="13274"/>
                  <a:pt x="15955" y="13893"/>
                </a:cubicBezTo>
                <a:cubicBezTo>
                  <a:pt x="15955" y="14739"/>
                  <a:pt x="15270" y="15421"/>
                  <a:pt x="14424" y="15421"/>
                </a:cubicBezTo>
                <a:cubicBezTo>
                  <a:pt x="13805" y="15421"/>
                  <a:pt x="13250" y="15050"/>
                  <a:pt x="13011" y="14479"/>
                </a:cubicBezTo>
                <a:cubicBezTo>
                  <a:pt x="12776" y="13905"/>
                  <a:pt x="12905" y="13247"/>
                  <a:pt x="13343" y="12809"/>
                </a:cubicBezTo>
                <a:cubicBezTo>
                  <a:pt x="13636" y="12519"/>
                  <a:pt x="14027" y="12363"/>
                  <a:pt x="14425" y="12363"/>
                </a:cubicBezTo>
                <a:close/>
                <a:moveTo>
                  <a:pt x="2925" y="15050"/>
                </a:moveTo>
                <a:cubicBezTo>
                  <a:pt x="3122" y="15050"/>
                  <a:pt x="3322" y="15088"/>
                  <a:pt x="3512" y="15168"/>
                </a:cubicBezTo>
                <a:cubicBezTo>
                  <a:pt x="4083" y="15403"/>
                  <a:pt x="4454" y="15962"/>
                  <a:pt x="4454" y="16581"/>
                </a:cubicBezTo>
                <a:cubicBezTo>
                  <a:pt x="4454" y="17423"/>
                  <a:pt x="3769" y="18108"/>
                  <a:pt x="2926" y="18108"/>
                </a:cubicBezTo>
                <a:cubicBezTo>
                  <a:pt x="2307" y="18108"/>
                  <a:pt x="1749" y="17737"/>
                  <a:pt x="1513" y="17166"/>
                </a:cubicBezTo>
                <a:cubicBezTo>
                  <a:pt x="1275" y="16593"/>
                  <a:pt x="1407" y="15934"/>
                  <a:pt x="1845" y="15497"/>
                </a:cubicBezTo>
                <a:cubicBezTo>
                  <a:pt x="2136" y="15206"/>
                  <a:pt x="2527" y="15050"/>
                  <a:pt x="2925" y="15050"/>
                </a:cubicBezTo>
                <a:close/>
                <a:moveTo>
                  <a:pt x="16525" y="0"/>
                </a:moveTo>
                <a:cubicBezTo>
                  <a:pt x="16481" y="0"/>
                  <a:pt x="16437" y="5"/>
                  <a:pt x="16393" y="16"/>
                </a:cubicBezTo>
                <a:lnTo>
                  <a:pt x="4892" y="2703"/>
                </a:lnTo>
                <a:cubicBezTo>
                  <a:pt x="4635" y="2761"/>
                  <a:pt x="4454" y="2990"/>
                  <a:pt x="4454" y="3253"/>
                </a:cubicBezTo>
                <a:lnTo>
                  <a:pt x="4454" y="14404"/>
                </a:lnTo>
                <a:cubicBezTo>
                  <a:pt x="3994" y="14081"/>
                  <a:pt x="3459" y="13921"/>
                  <a:pt x="2926" y="13921"/>
                </a:cubicBezTo>
                <a:cubicBezTo>
                  <a:pt x="2299" y="13921"/>
                  <a:pt x="1673" y="14143"/>
                  <a:pt x="1175" y="14579"/>
                </a:cubicBezTo>
                <a:cubicBezTo>
                  <a:pt x="251" y="15388"/>
                  <a:pt x="0" y="16720"/>
                  <a:pt x="568" y="17810"/>
                </a:cubicBezTo>
                <a:cubicBezTo>
                  <a:pt x="1032" y="18704"/>
                  <a:pt x="1950" y="19242"/>
                  <a:pt x="2925" y="19242"/>
                </a:cubicBezTo>
                <a:cubicBezTo>
                  <a:pt x="3136" y="19242"/>
                  <a:pt x="3349" y="19217"/>
                  <a:pt x="3560" y="19165"/>
                </a:cubicBezTo>
                <a:cubicBezTo>
                  <a:pt x="4750" y="18872"/>
                  <a:pt x="5589" y="17807"/>
                  <a:pt x="5586" y="16581"/>
                </a:cubicBezTo>
                <a:lnTo>
                  <a:pt x="5586" y="7039"/>
                </a:lnTo>
                <a:lnTo>
                  <a:pt x="15955" y="4618"/>
                </a:lnTo>
                <a:lnTo>
                  <a:pt x="15955" y="11716"/>
                </a:lnTo>
                <a:cubicBezTo>
                  <a:pt x="15508" y="11399"/>
                  <a:pt x="14974" y="11230"/>
                  <a:pt x="14424" y="11230"/>
                </a:cubicBezTo>
                <a:cubicBezTo>
                  <a:pt x="13349" y="11230"/>
                  <a:pt x="12377" y="11879"/>
                  <a:pt x="11966" y="12873"/>
                </a:cubicBezTo>
                <a:cubicBezTo>
                  <a:pt x="11553" y="13869"/>
                  <a:pt x="11782" y="15014"/>
                  <a:pt x="12543" y="15774"/>
                </a:cubicBezTo>
                <a:cubicBezTo>
                  <a:pt x="13052" y="16283"/>
                  <a:pt x="13733" y="16555"/>
                  <a:pt x="14426" y="16555"/>
                </a:cubicBezTo>
                <a:cubicBezTo>
                  <a:pt x="14769" y="16555"/>
                  <a:pt x="15115" y="16488"/>
                  <a:pt x="15445" y="16351"/>
                </a:cubicBezTo>
                <a:cubicBezTo>
                  <a:pt x="16438" y="15941"/>
                  <a:pt x="17087" y="14968"/>
                  <a:pt x="17087" y="13893"/>
                </a:cubicBezTo>
                <a:lnTo>
                  <a:pt x="17087" y="565"/>
                </a:lnTo>
                <a:cubicBezTo>
                  <a:pt x="17087" y="246"/>
                  <a:pt x="16826" y="0"/>
                  <a:pt x="165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76" name="Google Shape;6176;p71"/>
          <p:cNvGrpSpPr/>
          <p:nvPr/>
        </p:nvGrpSpPr>
        <p:grpSpPr>
          <a:xfrm>
            <a:off x="1684938" y="4726392"/>
            <a:ext cx="453557" cy="453581"/>
            <a:chOff x="1487200" y="2021475"/>
            <a:chExt cx="483125" cy="483150"/>
          </a:xfrm>
        </p:grpSpPr>
        <p:sp>
          <p:nvSpPr>
            <p:cNvPr id="6177" name="Google Shape;6177;p71"/>
            <p:cNvSpPr/>
            <p:nvPr/>
          </p:nvSpPr>
          <p:spPr>
            <a:xfrm>
              <a:off x="1487200" y="2021475"/>
              <a:ext cx="483125" cy="483150"/>
            </a:xfrm>
            <a:custGeom>
              <a:avLst/>
              <a:gdLst/>
              <a:ahLst/>
              <a:cxnLst/>
              <a:rect l="l" t="t" r="r" b="b"/>
              <a:pathLst>
                <a:path w="19325" h="19326" extrusionOk="0">
                  <a:moveTo>
                    <a:pt x="17628" y="1133"/>
                  </a:moveTo>
                  <a:cubicBezTo>
                    <a:pt x="17939" y="1133"/>
                    <a:pt x="18192" y="1386"/>
                    <a:pt x="18192" y="1701"/>
                  </a:cubicBezTo>
                  <a:lnTo>
                    <a:pt x="18192" y="14796"/>
                  </a:lnTo>
                  <a:lnTo>
                    <a:pt x="1132" y="14796"/>
                  </a:lnTo>
                  <a:lnTo>
                    <a:pt x="1132" y="1701"/>
                  </a:lnTo>
                  <a:cubicBezTo>
                    <a:pt x="1132" y="1386"/>
                    <a:pt x="1386" y="1133"/>
                    <a:pt x="1700" y="1133"/>
                  </a:cubicBezTo>
                  <a:close/>
                  <a:moveTo>
                    <a:pt x="18192" y="15928"/>
                  </a:moveTo>
                  <a:lnTo>
                    <a:pt x="18192" y="17628"/>
                  </a:lnTo>
                  <a:cubicBezTo>
                    <a:pt x="18192" y="17939"/>
                    <a:pt x="17939" y="18193"/>
                    <a:pt x="17628" y="18193"/>
                  </a:cubicBezTo>
                  <a:lnTo>
                    <a:pt x="1700" y="18193"/>
                  </a:lnTo>
                  <a:cubicBezTo>
                    <a:pt x="1386" y="18193"/>
                    <a:pt x="1132" y="17939"/>
                    <a:pt x="1132" y="17628"/>
                  </a:cubicBezTo>
                  <a:lnTo>
                    <a:pt x="1132" y="15928"/>
                  </a:lnTo>
                  <a:close/>
                  <a:moveTo>
                    <a:pt x="1700" y="1"/>
                  </a:moveTo>
                  <a:cubicBezTo>
                    <a:pt x="761" y="1"/>
                    <a:pt x="0" y="761"/>
                    <a:pt x="0" y="1701"/>
                  </a:cubicBezTo>
                  <a:lnTo>
                    <a:pt x="0" y="17628"/>
                  </a:lnTo>
                  <a:cubicBezTo>
                    <a:pt x="0" y="18564"/>
                    <a:pt x="761" y="19325"/>
                    <a:pt x="1700" y="19325"/>
                  </a:cubicBezTo>
                  <a:lnTo>
                    <a:pt x="17628" y="19325"/>
                  </a:lnTo>
                  <a:cubicBezTo>
                    <a:pt x="18564" y="19325"/>
                    <a:pt x="19325" y="18564"/>
                    <a:pt x="19325" y="17628"/>
                  </a:cubicBezTo>
                  <a:lnTo>
                    <a:pt x="19325" y="1701"/>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78" name="Google Shape;6178;p71"/>
            <p:cNvSpPr/>
            <p:nvPr/>
          </p:nvSpPr>
          <p:spPr>
            <a:xfrm>
              <a:off x="1573100" y="2078100"/>
              <a:ext cx="84875" cy="284000"/>
            </a:xfrm>
            <a:custGeom>
              <a:avLst/>
              <a:gdLst/>
              <a:ahLst/>
              <a:cxnLst/>
              <a:rect l="l" t="t" r="r" b="b"/>
              <a:pathLst>
                <a:path w="3395" h="11360" extrusionOk="0">
                  <a:moveTo>
                    <a:pt x="1697" y="6833"/>
                  </a:moveTo>
                  <a:cubicBezTo>
                    <a:pt x="2201" y="6833"/>
                    <a:pt x="2455" y="7440"/>
                    <a:pt x="2099" y="7799"/>
                  </a:cubicBezTo>
                  <a:cubicBezTo>
                    <a:pt x="1983" y="7914"/>
                    <a:pt x="1841" y="7966"/>
                    <a:pt x="1702" y="7966"/>
                  </a:cubicBezTo>
                  <a:cubicBezTo>
                    <a:pt x="1411" y="7966"/>
                    <a:pt x="1133" y="7739"/>
                    <a:pt x="1133" y="7398"/>
                  </a:cubicBezTo>
                  <a:cubicBezTo>
                    <a:pt x="1133" y="7084"/>
                    <a:pt x="1383" y="6833"/>
                    <a:pt x="1697" y="6833"/>
                  </a:cubicBezTo>
                  <a:close/>
                  <a:moveTo>
                    <a:pt x="1697" y="0"/>
                  </a:moveTo>
                  <a:cubicBezTo>
                    <a:pt x="1383" y="0"/>
                    <a:pt x="1133" y="254"/>
                    <a:pt x="1133" y="568"/>
                  </a:cubicBezTo>
                  <a:lnTo>
                    <a:pt x="1133" y="5798"/>
                  </a:lnTo>
                  <a:cubicBezTo>
                    <a:pt x="453" y="6036"/>
                    <a:pt x="0" y="6679"/>
                    <a:pt x="0" y="7398"/>
                  </a:cubicBezTo>
                  <a:cubicBezTo>
                    <a:pt x="0" y="8116"/>
                    <a:pt x="453" y="8760"/>
                    <a:pt x="1133" y="8998"/>
                  </a:cubicBezTo>
                  <a:lnTo>
                    <a:pt x="1133" y="10795"/>
                  </a:lnTo>
                  <a:cubicBezTo>
                    <a:pt x="1133" y="11109"/>
                    <a:pt x="1383" y="11359"/>
                    <a:pt x="1697" y="11359"/>
                  </a:cubicBezTo>
                  <a:cubicBezTo>
                    <a:pt x="2011" y="11359"/>
                    <a:pt x="2265" y="11109"/>
                    <a:pt x="2265" y="10795"/>
                  </a:cubicBezTo>
                  <a:lnTo>
                    <a:pt x="2265" y="8998"/>
                  </a:lnTo>
                  <a:cubicBezTo>
                    <a:pt x="2941" y="8760"/>
                    <a:pt x="3394" y="8116"/>
                    <a:pt x="3394" y="7398"/>
                  </a:cubicBezTo>
                  <a:cubicBezTo>
                    <a:pt x="3394" y="6679"/>
                    <a:pt x="2941" y="6036"/>
                    <a:pt x="2265" y="5798"/>
                  </a:cubicBezTo>
                  <a:lnTo>
                    <a:pt x="2265" y="568"/>
                  </a:lnTo>
                  <a:cubicBezTo>
                    <a:pt x="2265"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79" name="Google Shape;6179;p71"/>
            <p:cNvSpPr/>
            <p:nvPr/>
          </p:nvSpPr>
          <p:spPr>
            <a:xfrm>
              <a:off x="1686325" y="2078100"/>
              <a:ext cx="84875" cy="284000"/>
            </a:xfrm>
            <a:custGeom>
              <a:avLst/>
              <a:gdLst/>
              <a:ahLst/>
              <a:cxnLst/>
              <a:rect l="l" t="t" r="r" b="b"/>
              <a:pathLst>
                <a:path w="3395" h="11360" extrusionOk="0">
                  <a:moveTo>
                    <a:pt x="1697" y="3436"/>
                  </a:moveTo>
                  <a:cubicBezTo>
                    <a:pt x="2011" y="3436"/>
                    <a:pt x="2262" y="3687"/>
                    <a:pt x="2262" y="4001"/>
                  </a:cubicBezTo>
                  <a:cubicBezTo>
                    <a:pt x="2262" y="4315"/>
                    <a:pt x="2011" y="4569"/>
                    <a:pt x="1697" y="4569"/>
                  </a:cubicBezTo>
                  <a:cubicBezTo>
                    <a:pt x="1383" y="4569"/>
                    <a:pt x="1133" y="4315"/>
                    <a:pt x="1133" y="4001"/>
                  </a:cubicBezTo>
                  <a:cubicBezTo>
                    <a:pt x="1133" y="3687"/>
                    <a:pt x="1383" y="3436"/>
                    <a:pt x="1697" y="3436"/>
                  </a:cubicBezTo>
                  <a:close/>
                  <a:moveTo>
                    <a:pt x="1697" y="0"/>
                  </a:moveTo>
                  <a:cubicBezTo>
                    <a:pt x="1383" y="0"/>
                    <a:pt x="1133" y="254"/>
                    <a:pt x="1133" y="568"/>
                  </a:cubicBezTo>
                  <a:lnTo>
                    <a:pt x="1133" y="2401"/>
                  </a:lnTo>
                  <a:cubicBezTo>
                    <a:pt x="453" y="2639"/>
                    <a:pt x="0" y="3282"/>
                    <a:pt x="0" y="4001"/>
                  </a:cubicBezTo>
                  <a:cubicBezTo>
                    <a:pt x="0" y="4720"/>
                    <a:pt x="453" y="5363"/>
                    <a:pt x="1133" y="5601"/>
                  </a:cubicBezTo>
                  <a:lnTo>
                    <a:pt x="1133" y="10795"/>
                  </a:lnTo>
                  <a:cubicBezTo>
                    <a:pt x="1133" y="11109"/>
                    <a:pt x="1383" y="11359"/>
                    <a:pt x="1697" y="11359"/>
                  </a:cubicBezTo>
                  <a:cubicBezTo>
                    <a:pt x="2011" y="11359"/>
                    <a:pt x="2265" y="11109"/>
                    <a:pt x="2265" y="10795"/>
                  </a:cubicBezTo>
                  <a:lnTo>
                    <a:pt x="2265" y="5601"/>
                  </a:lnTo>
                  <a:cubicBezTo>
                    <a:pt x="2941" y="5363"/>
                    <a:pt x="3394" y="4720"/>
                    <a:pt x="3394" y="4001"/>
                  </a:cubicBezTo>
                  <a:cubicBezTo>
                    <a:pt x="3394" y="3282"/>
                    <a:pt x="2941" y="2639"/>
                    <a:pt x="2265" y="2401"/>
                  </a:cubicBezTo>
                  <a:lnTo>
                    <a:pt x="2265" y="568"/>
                  </a:lnTo>
                  <a:cubicBezTo>
                    <a:pt x="2265" y="254"/>
                    <a:pt x="2011"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0" name="Google Shape;6180;p71"/>
            <p:cNvSpPr/>
            <p:nvPr/>
          </p:nvSpPr>
          <p:spPr>
            <a:xfrm>
              <a:off x="1799550" y="2078100"/>
              <a:ext cx="84875" cy="284000"/>
            </a:xfrm>
            <a:custGeom>
              <a:avLst/>
              <a:gdLst/>
              <a:ahLst/>
              <a:cxnLst/>
              <a:rect l="l" t="t" r="r" b="b"/>
              <a:pathLst>
                <a:path w="3395" h="11360" extrusionOk="0">
                  <a:moveTo>
                    <a:pt x="1698" y="6833"/>
                  </a:moveTo>
                  <a:cubicBezTo>
                    <a:pt x="2202" y="6833"/>
                    <a:pt x="2455" y="7440"/>
                    <a:pt x="2099" y="7799"/>
                  </a:cubicBezTo>
                  <a:cubicBezTo>
                    <a:pt x="1983" y="7914"/>
                    <a:pt x="1841" y="7966"/>
                    <a:pt x="1703" y="7966"/>
                  </a:cubicBezTo>
                  <a:cubicBezTo>
                    <a:pt x="1411" y="7966"/>
                    <a:pt x="1133" y="7739"/>
                    <a:pt x="1133" y="7398"/>
                  </a:cubicBezTo>
                  <a:cubicBezTo>
                    <a:pt x="1133" y="7084"/>
                    <a:pt x="1384" y="6833"/>
                    <a:pt x="1698" y="6833"/>
                  </a:cubicBezTo>
                  <a:close/>
                  <a:moveTo>
                    <a:pt x="1698" y="0"/>
                  </a:moveTo>
                  <a:cubicBezTo>
                    <a:pt x="1384" y="0"/>
                    <a:pt x="1133" y="254"/>
                    <a:pt x="1133" y="568"/>
                  </a:cubicBezTo>
                  <a:lnTo>
                    <a:pt x="1133" y="5798"/>
                  </a:lnTo>
                  <a:cubicBezTo>
                    <a:pt x="454" y="6036"/>
                    <a:pt x="1" y="6679"/>
                    <a:pt x="1" y="7398"/>
                  </a:cubicBezTo>
                  <a:cubicBezTo>
                    <a:pt x="1" y="8116"/>
                    <a:pt x="454" y="8760"/>
                    <a:pt x="1133" y="8998"/>
                  </a:cubicBezTo>
                  <a:lnTo>
                    <a:pt x="1133" y="10795"/>
                  </a:lnTo>
                  <a:cubicBezTo>
                    <a:pt x="1133" y="11109"/>
                    <a:pt x="1384" y="11359"/>
                    <a:pt x="1698" y="11359"/>
                  </a:cubicBezTo>
                  <a:cubicBezTo>
                    <a:pt x="2012" y="11359"/>
                    <a:pt x="2265" y="11109"/>
                    <a:pt x="2265" y="10795"/>
                  </a:cubicBezTo>
                  <a:lnTo>
                    <a:pt x="2265" y="8998"/>
                  </a:lnTo>
                  <a:cubicBezTo>
                    <a:pt x="2942" y="8760"/>
                    <a:pt x="3394" y="8116"/>
                    <a:pt x="3394" y="7398"/>
                  </a:cubicBezTo>
                  <a:cubicBezTo>
                    <a:pt x="3394" y="6679"/>
                    <a:pt x="2942" y="6036"/>
                    <a:pt x="2265" y="5798"/>
                  </a:cubicBezTo>
                  <a:lnTo>
                    <a:pt x="2265" y="568"/>
                  </a:lnTo>
                  <a:cubicBezTo>
                    <a:pt x="2265" y="254"/>
                    <a:pt x="2012"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81" name="Google Shape;6181;p71"/>
          <p:cNvGrpSpPr/>
          <p:nvPr/>
        </p:nvGrpSpPr>
        <p:grpSpPr>
          <a:xfrm>
            <a:off x="2237387" y="4753864"/>
            <a:ext cx="453557" cy="398637"/>
            <a:chOff x="2081650" y="2050750"/>
            <a:chExt cx="483125" cy="424625"/>
          </a:xfrm>
        </p:grpSpPr>
        <p:sp>
          <p:nvSpPr>
            <p:cNvPr id="6182" name="Google Shape;6182;p71"/>
            <p:cNvSpPr/>
            <p:nvPr/>
          </p:nvSpPr>
          <p:spPr>
            <a:xfrm>
              <a:off x="2081650" y="2050750"/>
              <a:ext cx="483125" cy="424625"/>
            </a:xfrm>
            <a:custGeom>
              <a:avLst/>
              <a:gdLst/>
              <a:ahLst/>
              <a:cxnLst/>
              <a:rect l="l" t="t" r="r" b="b"/>
              <a:pathLst>
                <a:path w="19325" h="16985" extrusionOk="0">
                  <a:moveTo>
                    <a:pt x="5662" y="1402"/>
                  </a:moveTo>
                  <a:lnTo>
                    <a:pt x="5662" y="13770"/>
                  </a:lnTo>
                  <a:lnTo>
                    <a:pt x="1133" y="15581"/>
                  </a:lnTo>
                  <a:lnTo>
                    <a:pt x="1133" y="3214"/>
                  </a:lnTo>
                  <a:lnTo>
                    <a:pt x="5662" y="1402"/>
                  </a:lnTo>
                  <a:close/>
                  <a:moveTo>
                    <a:pt x="18192" y="1402"/>
                  </a:moveTo>
                  <a:lnTo>
                    <a:pt x="18192" y="13770"/>
                  </a:lnTo>
                  <a:lnTo>
                    <a:pt x="13663" y="15581"/>
                  </a:lnTo>
                  <a:lnTo>
                    <a:pt x="13663" y="3214"/>
                  </a:lnTo>
                  <a:lnTo>
                    <a:pt x="18192" y="1402"/>
                  </a:lnTo>
                  <a:close/>
                  <a:moveTo>
                    <a:pt x="6794" y="1348"/>
                  </a:moveTo>
                  <a:lnTo>
                    <a:pt x="12531" y="3241"/>
                  </a:lnTo>
                  <a:lnTo>
                    <a:pt x="12531" y="9464"/>
                  </a:lnTo>
                  <a:lnTo>
                    <a:pt x="12510" y="9461"/>
                  </a:lnTo>
                  <a:cubicBezTo>
                    <a:pt x="12205" y="9437"/>
                    <a:pt x="11903" y="9364"/>
                    <a:pt x="11619" y="9244"/>
                  </a:cubicBezTo>
                  <a:cubicBezTo>
                    <a:pt x="11548" y="9214"/>
                    <a:pt x="11474" y="9200"/>
                    <a:pt x="11401" y="9200"/>
                  </a:cubicBezTo>
                  <a:cubicBezTo>
                    <a:pt x="11181" y="9200"/>
                    <a:pt x="10970" y="9330"/>
                    <a:pt x="10879" y="9546"/>
                  </a:cubicBezTo>
                  <a:cubicBezTo>
                    <a:pt x="10759" y="9832"/>
                    <a:pt x="10891" y="10165"/>
                    <a:pt x="11178" y="10288"/>
                  </a:cubicBezTo>
                  <a:cubicBezTo>
                    <a:pt x="11574" y="10454"/>
                    <a:pt x="11994" y="10557"/>
                    <a:pt x="12422" y="10590"/>
                  </a:cubicBezTo>
                  <a:lnTo>
                    <a:pt x="12468" y="10590"/>
                  </a:lnTo>
                  <a:cubicBezTo>
                    <a:pt x="12489" y="10590"/>
                    <a:pt x="12510" y="10587"/>
                    <a:pt x="12531" y="10584"/>
                  </a:cubicBezTo>
                  <a:lnTo>
                    <a:pt x="12531" y="15633"/>
                  </a:lnTo>
                  <a:lnTo>
                    <a:pt x="6794" y="13746"/>
                  </a:lnTo>
                  <a:lnTo>
                    <a:pt x="6794" y="6774"/>
                  </a:lnTo>
                  <a:cubicBezTo>
                    <a:pt x="6951" y="6777"/>
                    <a:pt x="7105" y="6795"/>
                    <a:pt x="7259" y="6822"/>
                  </a:cubicBezTo>
                  <a:cubicBezTo>
                    <a:pt x="7295" y="6828"/>
                    <a:pt x="7331" y="6834"/>
                    <a:pt x="7368" y="6834"/>
                  </a:cubicBezTo>
                  <a:cubicBezTo>
                    <a:pt x="7658" y="6831"/>
                    <a:pt x="7902" y="6611"/>
                    <a:pt x="7929" y="6321"/>
                  </a:cubicBezTo>
                  <a:cubicBezTo>
                    <a:pt x="7957" y="6028"/>
                    <a:pt x="7760" y="5765"/>
                    <a:pt x="7473" y="5711"/>
                  </a:cubicBezTo>
                  <a:cubicBezTo>
                    <a:pt x="7250" y="5669"/>
                    <a:pt x="7020" y="5644"/>
                    <a:pt x="6794" y="5641"/>
                  </a:cubicBezTo>
                  <a:lnTo>
                    <a:pt x="6794" y="1348"/>
                  </a:lnTo>
                  <a:close/>
                  <a:moveTo>
                    <a:pt x="18757" y="0"/>
                  </a:moveTo>
                  <a:cubicBezTo>
                    <a:pt x="18687" y="0"/>
                    <a:pt x="18616" y="13"/>
                    <a:pt x="18549" y="40"/>
                  </a:cubicBezTo>
                  <a:lnTo>
                    <a:pt x="13077" y="2229"/>
                  </a:lnTo>
                  <a:lnTo>
                    <a:pt x="6405" y="28"/>
                  </a:lnTo>
                  <a:cubicBezTo>
                    <a:pt x="6395" y="25"/>
                    <a:pt x="6386" y="25"/>
                    <a:pt x="6380" y="22"/>
                  </a:cubicBezTo>
                  <a:cubicBezTo>
                    <a:pt x="6371" y="19"/>
                    <a:pt x="6359" y="16"/>
                    <a:pt x="6347" y="13"/>
                  </a:cubicBezTo>
                  <a:lnTo>
                    <a:pt x="6311" y="7"/>
                  </a:lnTo>
                  <a:cubicBezTo>
                    <a:pt x="6302" y="7"/>
                    <a:pt x="6290" y="4"/>
                    <a:pt x="6281" y="4"/>
                  </a:cubicBezTo>
                  <a:lnTo>
                    <a:pt x="6211" y="4"/>
                  </a:lnTo>
                  <a:cubicBezTo>
                    <a:pt x="6199" y="4"/>
                    <a:pt x="6187" y="4"/>
                    <a:pt x="6172" y="7"/>
                  </a:cubicBezTo>
                  <a:cubicBezTo>
                    <a:pt x="6166" y="9"/>
                    <a:pt x="6161" y="9"/>
                    <a:pt x="6157" y="9"/>
                  </a:cubicBezTo>
                  <a:cubicBezTo>
                    <a:pt x="6152" y="9"/>
                    <a:pt x="6148" y="9"/>
                    <a:pt x="6142" y="10"/>
                  </a:cubicBezTo>
                  <a:cubicBezTo>
                    <a:pt x="6133" y="13"/>
                    <a:pt x="6118" y="13"/>
                    <a:pt x="6106" y="16"/>
                  </a:cubicBezTo>
                  <a:lnTo>
                    <a:pt x="6075" y="22"/>
                  </a:lnTo>
                  <a:cubicBezTo>
                    <a:pt x="6063" y="28"/>
                    <a:pt x="6048" y="31"/>
                    <a:pt x="6036" y="37"/>
                  </a:cubicBezTo>
                  <a:cubicBezTo>
                    <a:pt x="6027" y="40"/>
                    <a:pt x="6021" y="40"/>
                    <a:pt x="6015" y="43"/>
                  </a:cubicBezTo>
                  <a:lnTo>
                    <a:pt x="354" y="2308"/>
                  </a:lnTo>
                  <a:cubicBezTo>
                    <a:pt x="139" y="2396"/>
                    <a:pt x="0" y="2601"/>
                    <a:pt x="0" y="2830"/>
                  </a:cubicBezTo>
                  <a:lnTo>
                    <a:pt x="0" y="16418"/>
                  </a:lnTo>
                  <a:cubicBezTo>
                    <a:pt x="0" y="16744"/>
                    <a:pt x="267" y="16984"/>
                    <a:pt x="566" y="16984"/>
                  </a:cubicBezTo>
                  <a:cubicBezTo>
                    <a:pt x="635" y="16984"/>
                    <a:pt x="706" y="16971"/>
                    <a:pt x="776" y="16943"/>
                  </a:cubicBezTo>
                  <a:lnTo>
                    <a:pt x="6248" y="14754"/>
                  </a:lnTo>
                  <a:lnTo>
                    <a:pt x="12917" y="16952"/>
                  </a:lnTo>
                  <a:cubicBezTo>
                    <a:pt x="12933" y="16958"/>
                    <a:pt x="12951" y="16964"/>
                    <a:pt x="12966" y="16967"/>
                  </a:cubicBezTo>
                  <a:cubicBezTo>
                    <a:pt x="13008" y="16976"/>
                    <a:pt x="13050" y="16983"/>
                    <a:pt x="13096" y="16983"/>
                  </a:cubicBezTo>
                  <a:lnTo>
                    <a:pt x="13099" y="16983"/>
                  </a:lnTo>
                  <a:cubicBezTo>
                    <a:pt x="13156" y="16983"/>
                    <a:pt x="13213" y="16973"/>
                    <a:pt x="13271" y="16955"/>
                  </a:cubicBezTo>
                  <a:cubicBezTo>
                    <a:pt x="13283" y="16952"/>
                    <a:pt x="13295" y="16946"/>
                    <a:pt x="13307" y="16940"/>
                  </a:cubicBezTo>
                  <a:lnTo>
                    <a:pt x="18965" y="14676"/>
                  </a:lnTo>
                  <a:cubicBezTo>
                    <a:pt x="19183" y="14591"/>
                    <a:pt x="19325" y="14386"/>
                    <a:pt x="19325" y="14153"/>
                  </a:cubicBezTo>
                  <a:lnTo>
                    <a:pt x="19325" y="566"/>
                  </a:lnTo>
                  <a:cubicBezTo>
                    <a:pt x="19325" y="379"/>
                    <a:pt x="19231" y="203"/>
                    <a:pt x="19077" y="98"/>
                  </a:cubicBezTo>
                  <a:cubicBezTo>
                    <a:pt x="18981" y="33"/>
                    <a:pt x="18869" y="0"/>
                    <a:pt x="187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3" name="Google Shape;6183;p71"/>
            <p:cNvSpPr/>
            <p:nvPr/>
          </p:nvSpPr>
          <p:spPr>
            <a:xfrm>
              <a:off x="2136375" y="2292025"/>
              <a:ext cx="36400" cy="41975"/>
            </a:xfrm>
            <a:custGeom>
              <a:avLst/>
              <a:gdLst/>
              <a:ahLst/>
              <a:cxnLst/>
              <a:rect l="l" t="t" r="r" b="b"/>
              <a:pathLst>
                <a:path w="1456" h="1679" extrusionOk="0">
                  <a:moveTo>
                    <a:pt x="820" y="1"/>
                  </a:moveTo>
                  <a:cubicBezTo>
                    <a:pt x="583" y="1"/>
                    <a:pt x="361" y="151"/>
                    <a:pt x="284" y="390"/>
                  </a:cubicBezTo>
                  <a:lnTo>
                    <a:pt x="103" y="927"/>
                  </a:lnTo>
                  <a:cubicBezTo>
                    <a:pt x="0" y="1223"/>
                    <a:pt x="160" y="1549"/>
                    <a:pt x="459" y="1649"/>
                  </a:cubicBezTo>
                  <a:cubicBezTo>
                    <a:pt x="519" y="1669"/>
                    <a:pt x="579" y="1678"/>
                    <a:pt x="639" y="1678"/>
                  </a:cubicBezTo>
                  <a:cubicBezTo>
                    <a:pt x="878" y="1678"/>
                    <a:pt x="1101" y="1525"/>
                    <a:pt x="1178" y="1284"/>
                  </a:cubicBezTo>
                  <a:lnTo>
                    <a:pt x="1356" y="746"/>
                  </a:lnTo>
                  <a:cubicBezTo>
                    <a:pt x="1456" y="450"/>
                    <a:pt x="1296" y="130"/>
                    <a:pt x="1000" y="30"/>
                  </a:cubicBezTo>
                  <a:cubicBezTo>
                    <a:pt x="940" y="10"/>
                    <a:pt x="880"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4" name="Google Shape;6184;p71"/>
            <p:cNvSpPr/>
            <p:nvPr/>
          </p:nvSpPr>
          <p:spPr>
            <a:xfrm>
              <a:off x="2296850" y="2220800"/>
              <a:ext cx="46075" cy="51650"/>
            </a:xfrm>
            <a:custGeom>
              <a:avLst/>
              <a:gdLst/>
              <a:ahLst/>
              <a:cxnLst/>
              <a:rect l="l" t="t" r="r" b="b"/>
              <a:pathLst>
                <a:path w="1843" h="2066" extrusionOk="0">
                  <a:moveTo>
                    <a:pt x="634" y="1"/>
                  </a:moveTo>
                  <a:cubicBezTo>
                    <a:pt x="506" y="1"/>
                    <a:pt x="378" y="44"/>
                    <a:pt x="272" y="132"/>
                  </a:cubicBezTo>
                  <a:cubicBezTo>
                    <a:pt x="37" y="331"/>
                    <a:pt x="1" y="681"/>
                    <a:pt x="194" y="920"/>
                  </a:cubicBezTo>
                  <a:cubicBezTo>
                    <a:pt x="354" y="1113"/>
                    <a:pt x="487" y="1327"/>
                    <a:pt x="593" y="1557"/>
                  </a:cubicBezTo>
                  <a:cubicBezTo>
                    <a:pt x="626" y="1626"/>
                    <a:pt x="662" y="1696"/>
                    <a:pt x="698" y="1765"/>
                  </a:cubicBezTo>
                  <a:cubicBezTo>
                    <a:pt x="798" y="1957"/>
                    <a:pt x="993" y="2065"/>
                    <a:pt x="1195" y="2065"/>
                  </a:cubicBezTo>
                  <a:cubicBezTo>
                    <a:pt x="1285" y="2065"/>
                    <a:pt x="1377" y="2044"/>
                    <a:pt x="1462" y="1998"/>
                  </a:cubicBezTo>
                  <a:cubicBezTo>
                    <a:pt x="1740" y="1853"/>
                    <a:pt x="1843" y="1509"/>
                    <a:pt x="1698" y="1234"/>
                  </a:cubicBezTo>
                  <a:cubicBezTo>
                    <a:pt x="1670" y="1183"/>
                    <a:pt x="1643" y="1131"/>
                    <a:pt x="1622" y="1083"/>
                  </a:cubicBezTo>
                  <a:cubicBezTo>
                    <a:pt x="1474" y="763"/>
                    <a:pt x="1287" y="464"/>
                    <a:pt x="1061" y="195"/>
                  </a:cubicBezTo>
                  <a:cubicBezTo>
                    <a:pt x="949" y="67"/>
                    <a:pt x="792" y="1"/>
                    <a:pt x="6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5" name="Google Shape;6185;p71"/>
            <p:cNvSpPr/>
            <p:nvPr/>
          </p:nvSpPr>
          <p:spPr>
            <a:xfrm>
              <a:off x="2158650" y="2216775"/>
              <a:ext cx="47275" cy="51425"/>
            </a:xfrm>
            <a:custGeom>
              <a:avLst/>
              <a:gdLst/>
              <a:ahLst/>
              <a:cxnLst/>
              <a:rect l="l" t="t" r="r" b="b"/>
              <a:pathLst>
                <a:path w="1891" h="2057" extrusionOk="0">
                  <a:moveTo>
                    <a:pt x="1264" y="1"/>
                  </a:moveTo>
                  <a:cubicBezTo>
                    <a:pt x="1109" y="1"/>
                    <a:pt x="955" y="63"/>
                    <a:pt x="843" y="187"/>
                  </a:cubicBezTo>
                  <a:lnTo>
                    <a:pt x="846" y="184"/>
                  </a:lnTo>
                  <a:lnTo>
                    <a:pt x="846" y="184"/>
                  </a:lnTo>
                  <a:cubicBezTo>
                    <a:pt x="547" y="498"/>
                    <a:pt x="305" y="860"/>
                    <a:pt x="130" y="1256"/>
                  </a:cubicBezTo>
                  <a:cubicBezTo>
                    <a:pt x="0" y="1543"/>
                    <a:pt x="127" y="1878"/>
                    <a:pt x="414" y="2005"/>
                  </a:cubicBezTo>
                  <a:cubicBezTo>
                    <a:pt x="486" y="2038"/>
                    <a:pt x="565" y="2056"/>
                    <a:pt x="643" y="2056"/>
                  </a:cubicBezTo>
                  <a:cubicBezTo>
                    <a:pt x="867" y="2056"/>
                    <a:pt x="1069" y="1923"/>
                    <a:pt x="1163" y="1721"/>
                  </a:cubicBezTo>
                  <a:cubicBezTo>
                    <a:pt x="1286" y="1443"/>
                    <a:pt x="1455" y="1187"/>
                    <a:pt x="1664" y="966"/>
                  </a:cubicBezTo>
                  <a:cubicBezTo>
                    <a:pt x="1890" y="740"/>
                    <a:pt x="1884" y="374"/>
                    <a:pt x="1655" y="157"/>
                  </a:cubicBezTo>
                  <a:cubicBezTo>
                    <a:pt x="1544" y="52"/>
                    <a:pt x="1404" y="1"/>
                    <a:pt x="12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6" name="Google Shape;6186;p71"/>
            <p:cNvSpPr/>
            <p:nvPr/>
          </p:nvSpPr>
          <p:spPr>
            <a:xfrm>
              <a:off x="2426475" y="2255725"/>
              <a:ext cx="55875" cy="46900"/>
            </a:xfrm>
            <a:custGeom>
              <a:avLst/>
              <a:gdLst/>
              <a:ahLst/>
              <a:cxnLst/>
              <a:rect l="l" t="t" r="r" b="b"/>
              <a:pathLst>
                <a:path w="2235" h="1876" extrusionOk="0">
                  <a:moveTo>
                    <a:pt x="1592" y="1"/>
                  </a:moveTo>
                  <a:cubicBezTo>
                    <a:pt x="1423" y="1"/>
                    <a:pt x="1257" y="76"/>
                    <a:pt x="1144" y="220"/>
                  </a:cubicBezTo>
                  <a:cubicBezTo>
                    <a:pt x="960" y="462"/>
                    <a:pt x="734" y="667"/>
                    <a:pt x="477" y="830"/>
                  </a:cubicBezTo>
                  <a:cubicBezTo>
                    <a:pt x="0" y="1135"/>
                    <a:pt x="218" y="1875"/>
                    <a:pt x="782" y="1875"/>
                  </a:cubicBezTo>
                  <a:cubicBezTo>
                    <a:pt x="891" y="1875"/>
                    <a:pt x="997" y="1845"/>
                    <a:pt x="1087" y="1784"/>
                  </a:cubicBezTo>
                  <a:cubicBezTo>
                    <a:pt x="1452" y="1552"/>
                    <a:pt x="1776" y="1256"/>
                    <a:pt x="2041" y="912"/>
                  </a:cubicBezTo>
                  <a:cubicBezTo>
                    <a:pt x="2234" y="667"/>
                    <a:pt x="2186" y="311"/>
                    <a:pt x="1939" y="121"/>
                  </a:cubicBezTo>
                  <a:cubicBezTo>
                    <a:pt x="1835" y="40"/>
                    <a:pt x="1713" y="1"/>
                    <a:pt x="1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87" name="Google Shape;6187;p71"/>
            <p:cNvSpPr/>
            <p:nvPr/>
          </p:nvSpPr>
          <p:spPr>
            <a:xfrm>
              <a:off x="2473050" y="2192325"/>
              <a:ext cx="37000" cy="41500"/>
            </a:xfrm>
            <a:custGeom>
              <a:avLst/>
              <a:gdLst/>
              <a:ahLst/>
              <a:cxnLst/>
              <a:rect l="l" t="t" r="r" b="b"/>
              <a:pathLst>
                <a:path w="1480" h="1660" extrusionOk="0">
                  <a:moveTo>
                    <a:pt x="838" y="0"/>
                  </a:moveTo>
                  <a:cubicBezTo>
                    <a:pt x="609" y="0"/>
                    <a:pt x="393" y="140"/>
                    <a:pt x="308" y="368"/>
                  </a:cubicBezTo>
                  <a:lnTo>
                    <a:pt x="109" y="896"/>
                  </a:lnTo>
                  <a:cubicBezTo>
                    <a:pt x="0" y="1189"/>
                    <a:pt x="148" y="1515"/>
                    <a:pt x="441" y="1624"/>
                  </a:cubicBezTo>
                  <a:cubicBezTo>
                    <a:pt x="506" y="1648"/>
                    <a:pt x="573" y="1660"/>
                    <a:pt x="639" y="1660"/>
                  </a:cubicBezTo>
                  <a:cubicBezTo>
                    <a:pt x="868" y="1660"/>
                    <a:pt x="1084" y="1520"/>
                    <a:pt x="1169" y="1292"/>
                  </a:cubicBezTo>
                  <a:lnTo>
                    <a:pt x="1368" y="764"/>
                  </a:lnTo>
                  <a:cubicBezTo>
                    <a:pt x="1480" y="471"/>
                    <a:pt x="1329" y="145"/>
                    <a:pt x="1036" y="36"/>
                  </a:cubicBezTo>
                  <a:cubicBezTo>
                    <a:pt x="971" y="12"/>
                    <a:pt x="904" y="0"/>
                    <a:pt x="8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88" name="Google Shape;6188;p71"/>
          <p:cNvGrpSpPr/>
          <p:nvPr/>
        </p:nvGrpSpPr>
        <p:grpSpPr>
          <a:xfrm>
            <a:off x="2807964" y="4784961"/>
            <a:ext cx="453557" cy="336443"/>
            <a:chOff x="2676100" y="2083800"/>
            <a:chExt cx="483125" cy="358375"/>
          </a:xfrm>
        </p:grpSpPr>
        <p:sp>
          <p:nvSpPr>
            <p:cNvPr id="6189" name="Google Shape;6189;p71"/>
            <p:cNvSpPr/>
            <p:nvPr/>
          </p:nvSpPr>
          <p:spPr>
            <a:xfrm>
              <a:off x="2676100" y="2083800"/>
              <a:ext cx="483125" cy="358375"/>
            </a:xfrm>
            <a:custGeom>
              <a:avLst/>
              <a:gdLst/>
              <a:ahLst/>
              <a:cxnLst/>
              <a:rect l="l" t="t" r="r" b="b"/>
              <a:pathLst>
                <a:path w="19325" h="14335" extrusionOk="0">
                  <a:moveTo>
                    <a:pt x="1932" y="6375"/>
                  </a:moveTo>
                  <a:cubicBezTo>
                    <a:pt x="2126" y="6375"/>
                    <a:pt x="2324" y="6447"/>
                    <a:pt x="2485" y="6608"/>
                  </a:cubicBezTo>
                  <a:cubicBezTo>
                    <a:pt x="2984" y="7109"/>
                    <a:pt x="2630" y="7964"/>
                    <a:pt x="1927" y="7964"/>
                  </a:cubicBezTo>
                  <a:cubicBezTo>
                    <a:pt x="1489" y="7964"/>
                    <a:pt x="1133" y="7608"/>
                    <a:pt x="1133" y="7170"/>
                  </a:cubicBezTo>
                  <a:cubicBezTo>
                    <a:pt x="1133" y="6692"/>
                    <a:pt x="1524" y="6375"/>
                    <a:pt x="1932" y="6375"/>
                  </a:cubicBezTo>
                  <a:close/>
                  <a:moveTo>
                    <a:pt x="17401" y="6379"/>
                  </a:moveTo>
                  <a:cubicBezTo>
                    <a:pt x="17836" y="6379"/>
                    <a:pt x="18193" y="6732"/>
                    <a:pt x="18193" y="7170"/>
                  </a:cubicBezTo>
                  <a:cubicBezTo>
                    <a:pt x="18193" y="7648"/>
                    <a:pt x="17801" y="7964"/>
                    <a:pt x="17394" y="7964"/>
                  </a:cubicBezTo>
                  <a:cubicBezTo>
                    <a:pt x="17199" y="7964"/>
                    <a:pt x="17001" y="7892"/>
                    <a:pt x="16840" y="7731"/>
                  </a:cubicBezTo>
                  <a:cubicBezTo>
                    <a:pt x="16342" y="7230"/>
                    <a:pt x="16695" y="6379"/>
                    <a:pt x="17401" y="6379"/>
                  </a:cubicBezTo>
                  <a:close/>
                  <a:moveTo>
                    <a:pt x="9669" y="1276"/>
                  </a:moveTo>
                  <a:lnTo>
                    <a:pt x="14542" y="4851"/>
                  </a:lnTo>
                  <a:cubicBezTo>
                    <a:pt x="14642" y="4924"/>
                    <a:pt x="14760" y="4960"/>
                    <a:pt x="14877" y="4960"/>
                  </a:cubicBezTo>
                  <a:cubicBezTo>
                    <a:pt x="15021" y="4960"/>
                    <a:pt x="15164" y="4905"/>
                    <a:pt x="15273" y="4797"/>
                  </a:cubicBezTo>
                  <a:lnTo>
                    <a:pt x="18193" y="1925"/>
                  </a:lnTo>
                  <a:lnTo>
                    <a:pt x="18193" y="5419"/>
                  </a:lnTo>
                  <a:cubicBezTo>
                    <a:pt x="17930" y="5300"/>
                    <a:pt x="17661" y="5245"/>
                    <a:pt x="17398" y="5245"/>
                  </a:cubicBezTo>
                  <a:cubicBezTo>
                    <a:pt x="16385" y="5245"/>
                    <a:pt x="15475" y="6060"/>
                    <a:pt x="15475" y="7173"/>
                  </a:cubicBezTo>
                  <a:cubicBezTo>
                    <a:pt x="15475" y="8283"/>
                    <a:pt x="16385" y="9098"/>
                    <a:pt x="17398" y="9098"/>
                  </a:cubicBezTo>
                  <a:cubicBezTo>
                    <a:pt x="17660" y="9098"/>
                    <a:pt x="17930" y="9043"/>
                    <a:pt x="18193" y="8924"/>
                  </a:cubicBezTo>
                  <a:lnTo>
                    <a:pt x="18193" y="10878"/>
                  </a:lnTo>
                  <a:lnTo>
                    <a:pt x="1133" y="10878"/>
                  </a:lnTo>
                  <a:lnTo>
                    <a:pt x="1133" y="8924"/>
                  </a:lnTo>
                  <a:cubicBezTo>
                    <a:pt x="1395" y="9043"/>
                    <a:pt x="1665" y="9098"/>
                    <a:pt x="1928" y="9098"/>
                  </a:cubicBezTo>
                  <a:cubicBezTo>
                    <a:pt x="2940" y="9098"/>
                    <a:pt x="3850" y="8283"/>
                    <a:pt x="3850" y="7173"/>
                  </a:cubicBezTo>
                  <a:cubicBezTo>
                    <a:pt x="3850" y="6060"/>
                    <a:pt x="2940" y="5245"/>
                    <a:pt x="1927" y="5245"/>
                  </a:cubicBezTo>
                  <a:cubicBezTo>
                    <a:pt x="1665" y="5245"/>
                    <a:pt x="1395" y="5300"/>
                    <a:pt x="1133" y="5419"/>
                  </a:cubicBezTo>
                  <a:lnTo>
                    <a:pt x="1133" y="1883"/>
                  </a:lnTo>
                  <a:lnTo>
                    <a:pt x="4240" y="4806"/>
                  </a:lnTo>
                  <a:cubicBezTo>
                    <a:pt x="4349" y="4908"/>
                    <a:pt x="4488" y="4960"/>
                    <a:pt x="4628" y="4960"/>
                  </a:cubicBezTo>
                  <a:cubicBezTo>
                    <a:pt x="4748" y="4960"/>
                    <a:pt x="4869" y="4922"/>
                    <a:pt x="4970" y="4845"/>
                  </a:cubicBezTo>
                  <a:lnTo>
                    <a:pt x="9669" y="1276"/>
                  </a:lnTo>
                  <a:close/>
                  <a:moveTo>
                    <a:pt x="18193" y="12007"/>
                  </a:moveTo>
                  <a:lnTo>
                    <a:pt x="18193" y="13203"/>
                  </a:lnTo>
                  <a:lnTo>
                    <a:pt x="1133" y="13206"/>
                  </a:lnTo>
                  <a:lnTo>
                    <a:pt x="1133" y="12007"/>
                  </a:lnTo>
                  <a:close/>
                  <a:moveTo>
                    <a:pt x="570" y="0"/>
                  </a:moveTo>
                  <a:cubicBezTo>
                    <a:pt x="278" y="0"/>
                    <a:pt x="0" y="228"/>
                    <a:pt x="0" y="569"/>
                  </a:cubicBezTo>
                  <a:lnTo>
                    <a:pt x="0" y="13770"/>
                  </a:lnTo>
                  <a:cubicBezTo>
                    <a:pt x="0" y="14081"/>
                    <a:pt x="254" y="14335"/>
                    <a:pt x="565" y="14335"/>
                  </a:cubicBezTo>
                  <a:lnTo>
                    <a:pt x="18760" y="14335"/>
                  </a:lnTo>
                  <a:cubicBezTo>
                    <a:pt x="19071" y="14335"/>
                    <a:pt x="19325" y="14081"/>
                    <a:pt x="19325" y="13770"/>
                  </a:cubicBezTo>
                  <a:lnTo>
                    <a:pt x="19325" y="569"/>
                  </a:lnTo>
                  <a:cubicBezTo>
                    <a:pt x="19325" y="343"/>
                    <a:pt x="19189" y="134"/>
                    <a:pt x="18978" y="47"/>
                  </a:cubicBezTo>
                  <a:cubicBezTo>
                    <a:pt x="18907" y="18"/>
                    <a:pt x="18832" y="3"/>
                    <a:pt x="18758" y="3"/>
                  </a:cubicBezTo>
                  <a:cubicBezTo>
                    <a:pt x="18613" y="3"/>
                    <a:pt x="18470" y="59"/>
                    <a:pt x="18362" y="168"/>
                  </a:cubicBezTo>
                  <a:lnTo>
                    <a:pt x="14823" y="3652"/>
                  </a:lnTo>
                  <a:lnTo>
                    <a:pt x="9998" y="113"/>
                  </a:lnTo>
                  <a:cubicBezTo>
                    <a:pt x="9898" y="39"/>
                    <a:pt x="9780" y="2"/>
                    <a:pt x="9662" y="2"/>
                  </a:cubicBezTo>
                  <a:cubicBezTo>
                    <a:pt x="9542" y="2"/>
                    <a:pt x="9422" y="40"/>
                    <a:pt x="9321" y="116"/>
                  </a:cubicBezTo>
                  <a:lnTo>
                    <a:pt x="4668" y="3652"/>
                  </a:lnTo>
                  <a:lnTo>
                    <a:pt x="955" y="156"/>
                  </a:lnTo>
                  <a:cubicBezTo>
                    <a:pt x="840" y="48"/>
                    <a:pt x="704" y="0"/>
                    <a:pt x="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90" name="Google Shape;6190;p71"/>
            <p:cNvSpPr/>
            <p:nvPr/>
          </p:nvSpPr>
          <p:spPr>
            <a:xfrm>
              <a:off x="2869575" y="2214900"/>
              <a:ext cx="100050" cy="96325"/>
            </a:xfrm>
            <a:custGeom>
              <a:avLst/>
              <a:gdLst/>
              <a:ahLst/>
              <a:cxnLst/>
              <a:rect l="l" t="t" r="r" b="b"/>
              <a:pathLst>
                <a:path w="4002" h="3853" extrusionOk="0">
                  <a:moveTo>
                    <a:pt x="1924" y="1135"/>
                  </a:moveTo>
                  <a:cubicBezTo>
                    <a:pt x="2630" y="1135"/>
                    <a:pt x="2983" y="1986"/>
                    <a:pt x="2485" y="2487"/>
                  </a:cubicBezTo>
                  <a:cubicBezTo>
                    <a:pt x="2323" y="2648"/>
                    <a:pt x="2125" y="2720"/>
                    <a:pt x="1930" y="2720"/>
                  </a:cubicBezTo>
                  <a:cubicBezTo>
                    <a:pt x="1523" y="2720"/>
                    <a:pt x="1133" y="2404"/>
                    <a:pt x="1133" y="1926"/>
                  </a:cubicBezTo>
                  <a:cubicBezTo>
                    <a:pt x="1133" y="1488"/>
                    <a:pt x="1486" y="1135"/>
                    <a:pt x="1924" y="1135"/>
                  </a:cubicBezTo>
                  <a:close/>
                  <a:moveTo>
                    <a:pt x="1922" y="0"/>
                  </a:moveTo>
                  <a:cubicBezTo>
                    <a:pt x="1675" y="0"/>
                    <a:pt x="1425" y="48"/>
                    <a:pt x="1187" y="147"/>
                  </a:cubicBezTo>
                  <a:cubicBezTo>
                    <a:pt x="468" y="446"/>
                    <a:pt x="0" y="1147"/>
                    <a:pt x="0" y="1926"/>
                  </a:cubicBezTo>
                  <a:cubicBezTo>
                    <a:pt x="0" y="2989"/>
                    <a:pt x="861" y="3849"/>
                    <a:pt x="1924" y="3852"/>
                  </a:cubicBezTo>
                  <a:cubicBezTo>
                    <a:pt x="2703" y="3852"/>
                    <a:pt x="3403" y="3381"/>
                    <a:pt x="3702" y="2663"/>
                  </a:cubicBezTo>
                  <a:cubicBezTo>
                    <a:pt x="4001" y="1944"/>
                    <a:pt x="3835" y="1117"/>
                    <a:pt x="3285" y="564"/>
                  </a:cubicBezTo>
                  <a:cubicBezTo>
                    <a:pt x="2916" y="196"/>
                    <a:pt x="2423" y="0"/>
                    <a:pt x="19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191" name="Google Shape;6191;p71"/>
          <p:cNvGrpSpPr/>
          <p:nvPr/>
        </p:nvGrpSpPr>
        <p:grpSpPr>
          <a:xfrm>
            <a:off x="3375317" y="4739688"/>
            <a:ext cx="431449" cy="426989"/>
            <a:chOff x="3282325" y="2035675"/>
            <a:chExt cx="459575" cy="454825"/>
          </a:xfrm>
        </p:grpSpPr>
        <p:sp>
          <p:nvSpPr>
            <p:cNvPr id="6192" name="Google Shape;6192;p71"/>
            <p:cNvSpPr/>
            <p:nvPr/>
          </p:nvSpPr>
          <p:spPr>
            <a:xfrm>
              <a:off x="3337050" y="2234125"/>
              <a:ext cx="85925" cy="206325"/>
            </a:xfrm>
            <a:custGeom>
              <a:avLst/>
              <a:gdLst/>
              <a:ahLst/>
              <a:cxnLst/>
              <a:rect l="l" t="t" r="r" b="b"/>
              <a:pathLst>
                <a:path w="3437" h="8253" extrusionOk="0">
                  <a:moveTo>
                    <a:pt x="2305" y="1133"/>
                  </a:moveTo>
                  <a:lnTo>
                    <a:pt x="2305" y="7120"/>
                  </a:lnTo>
                  <a:lnTo>
                    <a:pt x="1133" y="7120"/>
                  </a:lnTo>
                  <a:lnTo>
                    <a:pt x="1133" y="1133"/>
                  </a:lnTo>
                  <a:close/>
                  <a:moveTo>
                    <a:pt x="568" y="0"/>
                  </a:moveTo>
                  <a:cubicBezTo>
                    <a:pt x="254" y="0"/>
                    <a:pt x="1" y="254"/>
                    <a:pt x="1" y="568"/>
                  </a:cubicBezTo>
                  <a:lnTo>
                    <a:pt x="1" y="7688"/>
                  </a:lnTo>
                  <a:cubicBezTo>
                    <a:pt x="1" y="7999"/>
                    <a:pt x="254" y="8253"/>
                    <a:pt x="568" y="8253"/>
                  </a:cubicBezTo>
                  <a:lnTo>
                    <a:pt x="2869" y="8253"/>
                  </a:lnTo>
                  <a:cubicBezTo>
                    <a:pt x="3183" y="8253"/>
                    <a:pt x="3437" y="7999"/>
                    <a:pt x="3437" y="7688"/>
                  </a:cubicBezTo>
                  <a:lnTo>
                    <a:pt x="3437" y="568"/>
                  </a:lnTo>
                  <a:cubicBezTo>
                    <a:pt x="3437" y="254"/>
                    <a:pt x="3183" y="0"/>
                    <a:pt x="2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93" name="Google Shape;6193;p71"/>
            <p:cNvSpPr/>
            <p:nvPr/>
          </p:nvSpPr>
          <p:spPr>
            <a:xfrm>
              <a:off x="3451275" y="2175475"/>
              <a:ext cx="84925" cy="264975"/>
            </a:xfrm>
            <a:custGeom>
              <a:avLst/>
              <a:gdLst/>
              <a:ahLst/>
              <a:cxnLst/>
              <a:rect l="l" t="t" r="r" b="b"/>
              <a:pathLst>
                <a:path w="3397" h="10599" extrusionOk="0">
                  <a:moveTo>
                    <a:pt x="2265" y="1133"/>
                  </a:moveTo>
                  <a:lnTo>
                    <a:pt x="2265" y="9466"/>
                  </a:lnTo>
                  <a:lnTo>
                    <a:pt x="1132" y="9466"/>
                  </a:lnTo>
                  <a:lnTo>
                    <a:pt x="1132" y="1133"/>
                  </a:lnTo>
                  <a:close/>
                  <a:moveTo>
                    <a:pt x="565" y="0"/>
                  </a:moveTo>
                  <a:cubicBezTo>
                    <a:pt x="254" y="0"/>
                    <a:pt x="0" y="254"/>
                    <a:pt x="0" y="565"/>
                  </a:cubicBezTo>
                  <a:lnTo>
                    <a:pt x="0" y="10034"/>
                  </a:lnTo>
                  <a:cubicBezTo>
                    <a:pt x="0" y="10345"/>
                    <a:pt x="254" y="10599"/>
                    <a:pt x="565" y="10599"/>
                  </a:cubicBezTo>
                  <a:lnTo>
                    <a:pt x="2829" y="10599"/>
                  </a:lnTo>
                  <a:cubicBezTo>
                    <a:pt x="3143" y="10599"/>
                    <a:pt x="3397" y="10345"/>
                    <a:pt x="3397" y="10034"/>
                  </a:cubicBezTo>
                  <a:lnTo>
                    <a:pt x="3397" y="565"/>
                  </a:lnTo>
                  <a:cubicBezTo>
                    <a:pt x="3397" y="254"/>
                    <a:pt x="3143" y="0"/>
                    <a:pt x="2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94" name="Google Shape;6194;p71"/>
            <p:cNvSpPr/>
            <p:nvPr/>
          </p:nvSpPr>
          <p:spPr>
            <a:xfrm>
              <a:off x="3564500" y="2116825"/>
              <a:ext cx="84950" cy="323625"/>
            </a:xfrm>
            <a:custGeom>
              <a:avLst/>
              <a:gdLst/>
              <a:ahLst/>
              <a:cxnLst/>
              <a:rect l="l" t="t" r="r" b="b"/>
              <a:pathLst>
                <a:path w="3398" h="12945" extrusionOk="0">
                  <a:moveTo>
                    <a:pt x="2265" y="1132"/>
                  </a:moveTo>
                  <a:lnTo>
                    <a:pt x="2265" y="11812"/>
                  </a:lnTo>
                  <a:lnTo>
                    <a:pt x="1133" y="11812"/>
                  </a:lnTo>
                  <a:lnTo>
                    <a:pt x="1133" y="1132"/>
                  </a:lnTo>
                  <a:close/>
                  <a:moveTo>
                    <a:pt x="565" y="0"/>
                  </a:moveTo>
                  <a:cubicBezTo>
                    <a:pt x="254" y="0"/>
                    <a:pt x="0" y="251"/>
                    <a:pt x="0" y="565"/>
                  </a:cubicBezTo>
                  <a:lnTo>
                    <a:pt x="0" y="12380"/>
                  </a:lnTo>
                  <a:cubicBezTo>
                    <a:pt x="0" y="12691"/>
                    <a:pt x="254" y="12945"/>
                    <a:pt x="565" y="12945"/>
                  </a:cubicBezTo>
                  <a:lnTo>
                    <a:pt x="2829" y="12945"/>
                  </a:lnTo>
                  <a:cubicBezTo>
                    <a:pt x="3144" y="12945"/>
                    <a:pt x="3397" y="12691"/>
                    <a:pt x="3397" y="12380"/>
                  </a:cubicBezTo>
                  <a:lnTo>
                    <a:pt x="3397" y="565"/>
                  </a:lnTo>
                  <a:cubicBezTo>
                    <a:pt x="3397" y="251"/>
                    <a:pt x="3144" y="0"/>
                    <a:pt x="2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95" name="Google Shape;6195;p71"/>
            <p:cNvSpPr/>
            <p:nvPr/>
          </p:nvSpPr>
          <p:spPr>
            <a:xfrm>
              <a:off x="3282325" y="2035675"/>
              <a:ext cx="459575" cy="454825"/>
            </a:xfrm>
            <a:custGeom>
              <a:avLst/>
              <a:gdLst/>
              <a:ahLst/>
              <a:cxnLst/>
              <a:rect l="l" t="t" r="r" b="b"/>
              <a:pathLst>
                <a:path w="18383" h="18193" extrusionOk="0">
                  <a:moveTo>
                    <a:pt x="568" y="0"/>
                  </a:moveTo>
                  <a:cubicBezTo>
                    <a:pt x="254" y="0"/>
                    <a:pt x="1" y="251"/>
                    <a:pt x="1" y="565"/>
                  </a:cubicBezTo>
                  <a:lnTo>
                    <a:pt x="1" y="17625"/>
                  </a:lnTo>
                  <a:cubicBezTo>
                    <a:pt x="1" y="17939"/>
                    <a:pt x="254" y="18192"/>
                    <a:pt x="568" y="18192"/>
                  </a:cubicBezTo>
                  <a:lnTo>
                    <a:pt x="17815" y="18192"/>
                  </a:lnTo>
                  <a:cubicBezTo>
                    <a:pt x="18129" y="18192"/>
                    <a:pt x="18383" y="17939"/>
                    <a:pt x="18383" y="17625"/>
                  </a:cubicBezTo>
                  <a:cubicBezTo>
                    <a:pt x="18383" y="17311"/>
                    <a:pt x="18129" y="17060"/>
                    <a:pt x="17815" y="17060"/>
                  </a:cubicBezTo>
                  <a:lnTo>
                    <a:pt x="1133" y="17060"/>
                  </a:lnTo>
                  <a:lnTo>
                    <a:pt x="1133" y="565"/>
                  </a:lnTo>
                  <a:cubicBezTo>
                    <a:pt x="1133" y="251"/>
                    <a:pt x="879" y="0"/>
                    <a:pt x="5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196" name="Google Shape;6196;p71"/>
          <p:cNvSpPr/>
          <p:nvPr/>
        </p:nvSpPr>
        <p:spPr>
          <a:xfrm>
            <a:off x="3920245" y="4741722"/>
            <a:ext cx="440579" cy="422249"/>
          </a:xfrm>
          <a:custGeom>
            <a:avLst/>
            <a:gdLst/>
            <a:ahLst/>
            <a:cxnLst/>
            <a:rect l="l" t="t" r="r" b="b"/>
            <a:pathLst>
              <a:path w="18772" h="17991" extrusionOk="0">
                <a:moveTo>
                  <a:pt x="17492" y="6197"/>
                </a:moveTo>
                <a:lnTo>
                  <a:pt x="17217" y="8063"/>
                </a:lnTo>
                <a:lnTo>
                  <a:pt x="15626" y="6472"/>
                </a:lnTo>
                <a:lnTo>
                  <a:pt x="17492" y="6197"/>
                </a:lnTo>
                <a:close/>
                <a:moveTo>
                  <a:pt x="6055" y="9391"/>
                </a:moveTo>
                <a:lnTo>
                  <a:pt x="6055" y="16858"/>
                </a:lnTo>
                <a:lnTo>
                  <a:pt x="1133" y="16858"/>
                </a:lnTo>
                <a:lnTo>
                  <a:pt x="1133" y="13332"/>
                </a:lnTo>
                <a:lnTo>
                  <a:pt x="6055" y="9391"/>
                </a:lnTo>
                <a:close/>
                <a:moveTo>
                  <a:pt x="7187" y="9141"/>
                </a:moveTo>
                <a:lnTo>
                  <a:pt x="11903" y="11568"/>
                </a:lnTo>
                <a:lnTo>
                  <a:pt x="11903" y="16858"/>
                </a:lnTo>
                <a:lnTo>
                  <a:pt x="7187" y="16858"/>
                </a:lnTo>
                <a:lnTo>
                  <a:pt x="7187" y="9141"/>
                </a:lnTo>
                <a:close/>
                <a:moveTo>
                  <a:pt x="565" y="1"/>
                </a:moveTo>
                <a:cubicBezTo>
                  <a:pt x="254" y="1"/>
                  <a:pt x="1" y="255"/>
                  <a:pt x="1" y="569"/>
                </a:cubicBezTo>
                <a:lnTo>
                  <a:pt x="1" y="17423"/>
                </a:lnTo>
                <a:cubicBezTo>
                  <a:pt x="1" y="17737"/>
                  <a:pt x="254" y="17991"/>
                  <a:pt x="565" y="17991"/>
                </a:cubicBezTo>
                <a:lnTo>
                  <a:pt x="18141" y="17991"/>
                </a:lnTo>
                <a:cubicBezTo>
                  <a:pt x="18455" y="17991"/>
                  <a:pt x="18706" y="17737"/>
                  <a:pt x="18706" y="17423"/>
                </a:cubicBezTo>
                <a:cubicBezTo>
                  <a:pt x="18706" y="17112"/>
                  <a:pt x="18455" y="16858"/>
                  <a:pt x="18141" y="16858"/>
                </a:cubicBezTo>
                <a:lnTo>
                  <a:pt x="13033" y="16858"/>
                </a:lnTo>
                <a:lnTo>
                  <a:pt x="13033" y="11457"/>
                </a:lnTo>
                <a:lnTo>
                  <a:pt x="16022" y="8467"/>
                </a:lnTo>
                <a:lnTo>
                  <a:pt x="17214" y="9660"/>
                </a:lnTo>
                <a:cubicBezTo>
                  <a:pt x="17329" y="9774"/>
                  <a:pt x="17471" y="9826"/>
                  <a:pt x="17611" y="9826"/>
                </a:cubicBezTo>
                <a:cubicBezTo>
                  <a:pt x="17874" y="9826"/>
                  <a:pt x="18129" y="9643"/>
                  <a:pt x="18175" y="9343"/>
                </a:cubicBezTo>
                <a:lnTo>
                  <a:pt x="18721" y="5608"/>
                </a:lnTo>
                <a:cubicBezTo>
                  <a:pt x="18771" y="5262"/>
                  <a:pt x="18501" y="4962"/>
                  <a:pt x="18164" y="4962"/>
                </a:cubicBezTo>
                <a:cubicBezTo>
                  <a:pt x="18137" y="4962"/>
                  <a:pt x="18109" y="4964"/>
                  <a:pt x="18081" y="4968"/>
                </a:cubicBezTo>
                <a:lnTo>
                  <a:pt x="14346" y="5514"/>
                </a:lnTo>
                <a:cubicBezTo>
                  <a:pt x="13887" y="5584"/>
                  <a:pt x="13700" y="6145"/>
                  <a:pt x="14029" y="6475"/>
                </a:cubicBezTo>
                <a:lnTo>
                  <a:pt x="15222" y="7667"/>
                </a:lnTo>
                <a:lnTo>
                  <a:pt x="12359" y="10530"/>
                </a:lnTo>
                <a:lnTo>
                  <a:pt x="6879" y="7710"/>
                </a:lnTo>
                <a:cubicBezTo>
                  <a:pt x="6867" y="7703"/>
                  <a:pt x="6855" y="7697"/>
                  <a:pt x="6846" y="7694"/>
                </a:cubicBezTo>
                <a:lnTo>
                  <a:pt x="6831" y="7688"/>
                </a:lnTo>
                <a:lnTo>
                  <a:pt x="6794" y="7673"/>
                </a:lnTo>
                <a:lnTo>
                  <a:pt x="6776" y="7670"/>
                </a:lnTo>
                <a:cubicBezTo>
                  <a:pt x="6767" y="7667"/>
                  <a:pt x="6755" y="7664"/>
                  <a:pt x="6743" y="7661"/>
                </a:cubicBezTo>
                <a:lnTo>
                  <a:pt x="6728" y="7658"/>
                </a:lnTo>
                <a:cubicBezTo>
                  <a:pt x="6713" y="7655"/>
                  <a:pt x="6695" y="7652"/>
                  <a:pt x="6680" y="7649"/>
                </a:cubicBezTo>
                <a:lnTo>
                  <a:pt x="6553" y="7649"/>
                </a:lnTo>
                <a:cubicBezTo>
                  <a:pt x="6541" y="7649"/>
                  <a:pt x="6526" y="7655"/>
                  <a:pt x="6514" y="7655"/>
                </a:cubicBezTo>
                <a:lnTo>
                  <a:pt x="6495" y="7661"/>
                </a:lnTo>
                <a:cubicBezTo>
                  <a:pt x="6483" y="7661"/>
                  <a:pt x="6474" y="7664"/>
                  <a:pt x="6465" y="7667"/>
                </a:cubicBezTo>
                <a:lnTo>
                  <a:pt x="6447" y="7673"/>
                </a:lnTo>
                <a:cubicBezTo>
                  <a:pt x="6432" y="7679"/>
                  <a:pt x="6417" y="7682"/>
                  <a:pt x="6405" y="7688"/>
                </a:cubicBezTo>
                <a:lnTo>
                  <a:pt x="6387" y="7697"/>
                </a:lnTo>
                <a:lnTo>
                  <a:pt x="6360" y="7710"/>
                </a:lnTo>
                <a:lnTo>
                  <a:pt x="6341" y="7719"/>
                </a:lnTo>
                <a:cubicBezTo>
                  <a:pt x="6332" y="7725"/>
                  <a:pt x="6323" y="7731"/>
                  <a:pt x="6314" y="7737"/>
                </a:cubicBezTo>
                <a:lnTo>
                  <a:pt x="6299" y="7746"/>
                </a:lnTo>
                <a:cubicBezTo>
                  <a:pt x="6287" y="7752"/>
                  <a:pt x="6275" y="7761"/>
                  <a:pt x="6266" y="7770"/>
                </a:cubicBezTo>
                <a:lnTo>
                  <a:pt x="6260" y="7776"/>
                </a:lnTo>
                <a:lnTo>
                  <a:pt x="1133" y="11879"/>
                </a:lnTo>
                <a:lnTo>
                  <a:pt x="1133" y="569"/>
                </a:lnTo>
                <a:cubicBezTo>
                  <a:pt x="1133" y="255"/>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197" name="Google Shape;6197;p71"/>
          <p:cNvSpPr/>
          <p:nvPr/>
        </p:nvSpPr>
        <p:spPr>
          <a:xfrm>
            <a:off x="4497585" y="4726058"/>
            <a:ext cx="400351" cy="453581"/>
          </a:xfrm>
          <a:custGeom>
            <a:avLst/>
            <a:gdLst/>
            <a:ahLst/>
            <a:cxnLst/>
            <a:rect l="l" t="t" r="r" b="b"/>
            <a:pathLst>
              <a:path w="17058" h="19326" extrusionOk="0">
                <a:moveTo>
                  <a:pt x="15013" y="2021"/>
                </a:moveTo>
                <a:lnTo>
                  <a:pt x="11577" y="5741"/>
                </a:lnTo>
                <a:cubicBezTo>
                  <a:pt x="11378" y="5958"/>
                  <a:pt x="11378" y="6290"/>
                  <a:pt x="11577" y="6507"/>
                </a:cubicBezTo>
                <a:lnTo>
                  <a:pt x="15013" y="10230"/>
                </a:lnTo>
                <a:lnTo>
                  <a:pt x="3195" y="10230"/>
                </a:lnTo>
                <a:lnTo>
                  <a:pt x="3195" y="2021"/>
                </a:lnTo>
                <a:close/>
                <a:moveTo>
                  <a:pt x="1716" y="1133"/>
                </a:moveTo>
                <a:cubicBezTo>
                  <a:pt x="1906" y="1136"/>
                  <a:pt x="2060" y="1290"/>
                  <a:pt x="2063" y="1480"/>
                </a:cubicBezTo>
                <a:lnTo>
                  <a:pt x="2063" y="17846"/>
                </a:lnTo>
                <a:cubicBezTo>
                  <a:pt x="2060" y="18036"/>
                  <a:pt x="1906" y="18190"/>
                  <a:pt x="1716" y="18193"/>
                </a:cubicBezTo>
                <a:lnTo>
                  <a:pt x="1483" y="18193"/>
                </a:lnTo>
                <a:cubicBezTo>
                  <a:pt x="1290" y="18190"/>
                  <a:pt x="1136" y="18036"/>
                  <a:pt x="1133" y="17846"/>
                </a:cubicBezTo>
                <a:lnTo>
                  <a:pt x="1133" y="1480"/>
                </a:lnTo>
                <a:cubicBezTo>
                  <a:pt x="1136" y="1290"/>
                  <a:pt x="1290" y="1136"/>
                  <a:pt x="1483" y="1133"/>
                </a:cubicBezTo>
                <a:close/>
                <a:moveTo>
                  <a:pt x="1483" y="1"/>
                </a:moveTo>
                <a:cubicBezTo>
                  <a:pt x="665" y="1"/>
                  <a:pt x="4" y="665"/>
                  <a:pt x="1" y="1480"/>
                </a:cubicBezTo>
                <a:lnTo>
                  <a:pt x="1" y="17846"/>
                </a:lnTo>
                <a:cubicBezTo>
                  <a:pt x="4" y="18661"/>
                  <a:pt x="665" y="19325"/>
                  <a:pt x="1483" y="19325"/>
                </a:cubicBezTo>
                <a:lnTo>
                  <a:pt x="1716" y="19325"/>
                </a:lnTo>
                <a:cubicBezTo>
                  <a:pt x="2531" y="19325"/>
                  <a:pt x="3195" y="18661"/>
                  <a:pt x="3195" y="17846"/>
                </a:cubicBezTo>
                <a:lnTo>
                  <a:pt x="3195" y="11363"/>
                </a:lnTo>
                <a:lnTo>
                  <a:pt x="16306" y="11363"/>
                </a:lnTo>
                <a:cubicBezTo>
                  <a:pt x="16801" y="11360"/>
                  <a:pt x="17058" y="10774"/>
                  <a:pt x="16722" y="10412"/>
                </a:cubicBezTo>
                <a:lnTo>
                  <a:pt x="12764" y="6124"/>
                </a:lnTo>
                <a:lnTo>
                  <a:pt x="16722" y="1836"/>
                </a:lnTo>
                <a:cubicBezTo>
                  <a:pt x="16873" y="1673"/>
                  <a:pt x="16916" y="1432"/>
                  <a:pt x="16825" y="1226"/>
                </a:cubicBezTo>
                <a:cubicBezTo>
                  <a:pt x="16734" y="1021"/>
                  <a:pt x="16532" y="885"/>
                  <a:pt x="16306" y="885"/>
                </a:cubicBezTo>
                <a:lnTo>
                  <a:pt x="3071" y="885"/>
                </a:lnTo>
                <a:cubicBezTo>
                  <a:pt x="2833" y="348"/>
                  <a:pt x="2302" y="1"/>
                  <a:pt x="17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198" name="Google Shape;6198;p71"/>
          <p:cNvGrpSpPr/>
          <p:nvPr/>
        </p:nvGrpSpPr>
        <p:grpSpPr>
          <a:xfrm>
            <a:off x="5034916" y="4726404"/>
            <a:ext cx="454144" cy="453557"/>
            <a:chOff x="5053900" y="2021500"/>
            <a:chExt cx="483750" cy="483125"/>
          </a:xfrm>
        </p:grpSpPr>
        <p:sp>
          <p:nvSpPr>
            <p:cNvPr id="6199" name="Google Shape;6199;p71"/>
            <p:cNvSpPr/>
            <p:nvPr/>
          </p:nvSpPr>
          <p:spPr>
            <a:xfrm>
              <a:off x="5281350" y="2078100"/>
              <a:ext cx="127375" cy="127350"/>
            </a:xfrm>
            <a:custGeom>
              <a:avLst/>
              <a:gdLst/>
              <a:ahLst/>
              <a:cxnLst/>
              <a:rect l="l" t="t" r="r" b="b"/>
              <a:pathLst>
                <a:path w="5095" h="5094" extrusionOk="0">
                  <a:moveTo>
                    <a:pt x="565" y="0"/>
                  </a:moveTo>
                  <a:cubicBezTo>
                    <a:pt x="251" y="0"/>
                    <a:pt x="1" y="254"/>
                    <a:pt x="1" y="568"/>
                  </a:cubicBezTo>
                  <a:cubicBezTo>
                    <a:pt x="1" y="879"/>
                    <a:pt x="251" y="1132"/>
                    <a:pt x="565" y="1132"/>
                  </a:cubicBezTo>
                  <a:cubicBezTo>
                    <a:pt x="2440" y="1135"/>
                    <a:pt x="3959" y="2654"/>
                    <a:pt x="3962" y="4529"/>
                  </a:cubicBezTo>
                  <a:cubicBezTo>
                    <a:pt x="3962" y="4843"/>
                    <a:pt x="4216" y="5094"/>
                    <a:pt x="4530" y="5094"/>
                  </a:cubicBezTo>
                  <a:cubicBezTo>
                    <a:pt x="4841" y="5094"/>
                    <a:pt x="5094" y="4843"/>
                    <a:pt x="5094" y="4529"/>
                  </a:cubicBezTo>
                  <a:cubicBezTo>
                    <a:pt x="5091" y="2029"/>
                    <a:pt x="3065" y="3"/>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0" name="Google Shape;6200;p71"/>
            <p:cNvSpPr/>
            <p:nvPr/>
          </p:nvSpPr>
          <p:spPr>
            <a:xfrm>
              <a:off x="5118000" y="2021500"/>
              <a:ext cx="368700" cy="483125"/>
            </a:xfrm>
            <a:custGeom>
              <a:avLst/>
              <a:gdLst/>
              <a:ahLst/>
              <a:cxnLst/>
              <a:rect l="l" t="t" r="r" b="b"/>
              <a:pathLst>
                <a:path w="14748" h="19325" extrusionOk="0">
                  <a:moveTo>
                    <a:pt x="7088" y="1135"/>
                  </a:moveTo>
                  <a:cubicBezTo>
                    <a:pt x="8391" y="1135"/>
                    <a:pt x="9651" y="1571"/>
                    <a:pt x="10668" y="2397"/>
                  </a:cubicBezTo>
                  <a:cubicBezTo>
                    <a:pt x="13159" y="4417"/>
                    <a:pt x="13473" y="8104"/>
                    <a:pt x="11360" y="10516"/>
                  </a:cubicBezTo>
                  <a:cubicBezTo>
                    <a:pt x="10572" y="11419"/>
                    <a:pt x="10085" y="12503"/>
                    <a:pt x="9962" y="13626"/>
                  </a:cubicBezTo>
                  <a:lnTo>
                    <a:pt x="4237" y="13626"/>
                  </a:lnTo>
                  <a:cubicBezTo>
                    <a:pt x="4107" y="12482"/>
                    <a:pt x="3630" y="11407"/>
                    <a:pt x="2866" y="10550"/>
                  </a:cubicBezTo>
                  <a:cubicBezTo>
                    <a:pt x="1658" y="9191"/>
                    <a:pt x="1184" y="7367"/>
                    <a:pt x="1571" y="5549"/>
                  </a:cubicBezTo>
                  <a:cubicBezTo>
                    <a:pt x="2020" y="3427"/>
                    <a:pt x="3748" y="1706"/>
                    <a:pt x="5873" y="1262"/>
                  </a:cubicBezTo>
                  <a:cubicBezTo>
                    <a:pt x="6278" y="1177"/>
                    <a:pt x="6685" y="1135"/>
                    <a:pt x="7088" y="1135"/>
                  </a:cubicBezTo>
                  <a:close/>
                  <a:moveTo>
                    <a:pt x="9931" y="14759"/>
                  </a:moveTo>
                  <a:lnTo>
                    <a:pt x="9931" y="15323"/>
                  </a:lnTo>
                  <a:cubicBezTo>
                    <a:pt x="9931" y="15637"/>
                    <a:pt x="9678" y="15891"/>
                    <a:pt x="9364" y="15891"/>
                  </a:cubicBezTo>
                  <a:lnTo>
                    <a:pt x="4835" y="15891"/>
                  </a:lnTo>
                  <a:cubicBezTo>
                    <a:pt x="4521" y="15891"/>
                    <a:pt x="4270" y="15637"/>
                    <a:pt x="4270" y="15323"/>
                  </a:cubicBezTo>
                  <a:lnTo>
                    <a:pt x="4270" y="14759"/>
                  </a:lnTo>
                  <a:close/>
                  <a:moveTo>
                    <a:pt x="8699" y="17023"/>
                  </a:moveTo>
                  <a:cubicBezTo>
                    <a:pt x="8464" y="17694"/>
                    <a:pt x="7827" y="18192"/>
                    <a:pt x="7099" y="18192"/>
                  </a:cubicBezTo>
                  <a:cubicBezTo>
                    <a:pt x="6371" y="18192"/>
                    <a:pt x="5734" y="17694"/>
                    <a:pt x="5499" y="17023"/>
                  </a:cubicBezTo>
                  <a:close/>
                  <a:moveTo>
                    <a:pt x="7087" y="0"/>
                  </a:moveTo>
                  <a:cubicBezTo>
                    <a:pt x="6607" y="0"/>
                    <a:pt x="6123" y="50"/>
                    <a:pt x="5641" y="151"/>
                  </a:cubicBezTo>
                  <a:cubicBezTo>
                    <a:pt x="3053" y="712"/>
                    <a:pt x="1027" y="2729"/>
                    <a:pt x="462" y="5314"/>
                  </a:cubicBezTo>
                  <a:cubicBezTo>
                    <a:pt x="0" y="7488"/>
                    <a:pt x="568" y="9671"/>
                    <a:pt x="2020" y="11301"/>
                  </a:cubicBezTo>
                  <a:cubicBezTo>
                    <a:pt x="2730" y="12099"/>
                    <a:pt x="3135" y="13149"/>
                    <a:pt x="3135" y="14191"/>
                  </a:cubicBezTo>
                  <a:lnTo>
                    <a:pt x="3135" y="15323"/>
                  </a:lnTo>
                  <a:cubicBezTo>
                    <a:pt x="3138" y="16060"/>
                    <a:pt x="3612" y="16709"/>
                    <a:pt x="4309" y="16939"/>
                  </a:cubicBezTo>
                  <a:cubicBezTo>
                    <a:pt x="4409" y="17518"/>
                    <a:pt x="4681" y="18053"/>
                    <a:pt x="5094" y="18473"/>
                  </a:cubicBezTo>
                  <a:cubicBezTo>
                    <a:pt x="5642" y="19040"/>
                    <a:pt x="6371" y="19324"/>
                    <a:pt x="7099" y="19324"/>
                  </a:cubicBezTo>
                  <a:cubicBezTo>
                    <a:pt x="7828" y="19324"/>
                    <a:pt x="8556" y="19040"/>
                    <a:pt x="9104" y="18473"/>
                  </a:cubicBezTo>
                  <a:cubicBezTo>
                    <a:pt x="9518" y="18053"/>
                    <a:pt x="9790" y="17518"/>
                    <a:pt x="9889" y="16939"/>
                  </a:cubicBezTo>
                  <a:cubicBezTo>
                    <a:pt x="10587" y="16709"/>
                    <a:pt x="11061" y="16060"/>
                    <a:pt x="11064" y="15323"/>
                  </a:cubicBezTo>
                  <a:lnTo>
                    <a:pt x="11064" y="14191"/>
                  </a:lnTo>
                  <a:cubicBezTo>
                    <a:pt x="11064" y="13149"/>
                    <a:pt x="11471" y="12108"/>
                    <a:pt x="12211" y="11262"/>
                  </a:cubicBezTo>
                  <a:cubicBezTo>
                    <a:pt x="14747" y="8366"/>
                    <a:pt x="14370" y="3943"/>
                    <a:pt x="11381" y="1518"/>
                  </a:cubicBezTo>
                  <a:cubicBezTo>
                    <a:pt x="10159" y="525"/>
                    <a:pt x="8647" y="0"/>
                    <a:pt x="70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1" name="Google Shape;6201;p71"/>
            <p:cNvSpPr/>
            <p:nvPr/>
          </p:nvSpPr>
          <p:spPr>
            <a:xfrm>
              <a:off x="5053900" y="2191325"/>
              <a:ext cx="56650" cy="28325"/>
            </a:xfrm>
            <a:custGeom>
              <a:avLst/>
              <a:gdLst/>
              <a:ahLst/>
              <a:cxnLst/>
              <a:rect l="l" t="t" r="r" b="b"/>
              <a:pathLst>
                <a:path w="2266" h="1133" extrusionOk="0">
                  <a:moveTo>
                    <a:pt x="569" y="0"/>
                  </a:moveTo>
                  <a:cubicBezTo>
                    <a:pt x="255" y="0"/>
                    <a:pt x="1" y="254"/>
                    <a:pt x="1" y="568"/>
                  </a:cubicBezTo>
                  <a:cubicBezTo>
                    <a:pt x="1" y="879"/>
                    <a:pt x="255" y="1133"/>
                    <a:pt x="569" y="1133"/>
                  </a:cubicBezTo>
                  <a:lnTo>
                    <a:pt x="1701" y="1133"/>
                  </a:lnTo>
                  <a:cubicBezTo>
                    <a:pt x="2012" y="1133"/>
                    <a:pt x="2266" y="879"/>
                    <a:pt x="2266" y="568"/>
                  </a:cubicBezTo>
                  <a:cubicBezTo>
                    <a:pt x="2266" y="254"/>
                    <a:pt x="2012" y="0"/>
                    <a:pt x="17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2" name="Google Shape;6202;p71"/>
            <p:cNvSpPr/>
            <p:nvPr/>
          </p:nvSpPr>
          <p:spPr>
            <a:xfrm>
              <a:off x="5056850" y="2096550"/>
              <a:ext cx="50750" cy="48025"/>
            </a:xfrm>
            <a:custGeom>
              <a:avLst/>
              <a:gdLst/>
              <a:ahLst/>
              <a:cxnLst/>
              <a:rect l="l" t="t" r="r" b="b"/>
              <a:pathLst>
                <a:path w="2030" h="1921" extrusionOk="0">
                  <a:moveTo>
                    <a:pt x="622" y="0"/>
                  </a:moveTo>
                  <a:cubicBezTo>
                    <a:pt x="476" y="0"/>
                    <a:pt x="331" y="56"/>
                    <a:pt x="221" y="168"/>
                  </a:cubicBezTo>
                  <a:cubicBezTo>
                    <a:pt x="4" y="385"/>
                    <a:pt x="1" y="739"/>
                    <a:pt x="215" y="962"/>
                  </a:cubicBezTo>
                  <a:lnTo>
                    <a:pt x="1015" y="1762"/>
                  </a:lnTo>
                  <a:cubicBezTo>
                    <a:pt x="1125" y="1868"/>
                    <a:pt x="1267" y="1921"/>
                    <a:pt x="1409" y="1921"/>
                  </a:cubicBezTo>
                  <a:cubicBezTo>
                    <a:pt x="1554" y="1921"/>
                    <a:pt x="1699" y="1865"/>
                    <a:pt x="1809" y="1753"/>
                  </a:cubicBezTo>
                  <a:cubicBezTo>
                    <a:pt x="2027" y="1536"/>
                    <a:pt x="2030" y="1183"/>
                    <a:pt x="1815" y="962"/>
                  </a:cubicBezTo>
                  <a:lnTo>
                    <a:pt x="1015" y="159"/>
                  </a:lnTo>
                  <a:cubicBezTo>
                    <a:pt x="905" y="53"/>
                    <a:pt x="763" y="0"/>
                    <a:pt x="6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3" name="Google Shape;6203;p71"/>
            <p:cNvSpPr/>
            <p:nvPr/>
          </p:nvSpPr>
          <p:spPr>
            <a:xfrm>
              <a:off x="5056400" y="2266400"/>
              <a:ext cx="51200" cy="48350"/>
            </a:xfrm>
            <a:custGeom>
              <a:avLst/>
              <a:gdLst/>
              <a:ahLst/>
              <a:cxnLst/>
              <a:rect l="l" t="t" r="r" b="b"/>
              <a:pathLst>
                <a:path w="2048" h="1934" extrusionOk="0">
                  <a:moveTo>
                    <a:pt x="1427" y="0"/>
                  </a:moveTo>
                  <a:cubicBezTo>
                    <a:pt x="1285" y="0"/>
                    <a:pt x="1143" y="53"/>
                    <a:pt x="1033" y="159"/>
                  </a:cubicBezTo>
                  <a:lnTo>
                    <a:pt x="233" y="962"/>
                  </a:lnTo>
                  <a:cubicBezTo>
                    <a:pt x="4" y="1179"/>
                    <a:pt x="1" y="1545"/>
                    <a:pt x="227" y="1768"/>
                  </a:cubicBezTo>
                  <a:cubicBezTo>
                    <a:pt x="338" y="1879"/>
                    <a:pt x="482" y="1934"/>
                    <a:pt x="627" y="1934"/>
                  </a:cubicBezTo>
                  <a:cubicBezTo>
                    <a:pt x="774" y="1934"/>
                    <a:pt x="922" y="1876"/>
                    <a:pt x="1033" y="1762"/>
                  </a:cubicBezTo>
                  <a:lnTo>
                    <a:pt x="1833" y="962"/>
                  </a:lnTo>
                  <a:cubicBezTo>
                    <a:pt x="2048" y="738"/>
                    <a:pt x="2045" y="385"/>
                    <a:pt x="1827" y="168"/>
                  </a:cubicBezTo>
                  <a:cubicBezTo>
                    <a:pt x="1717" y="56"/>
                    <a:pt x="1572" y="0"/>
                    <a:pt x="1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4" name="Google Shape;6204;p71"/>
            <p:cNvSpPr/>
            <p:nvPr/>
          </p:nvSpPr>
          <p:spPr>
            <a:xfrm>
              <a:off x="5480400" y="2191325"/>
              <a:ext cx="56650" cy="28325"/>
            </a:xfrm>
            <a:custGeom>
              <a:avLst/>
              <a:gdLst/>
              <a:ahLst/>
              <a:cxnLst/>
              <a:rect l="l" t="t" r="r" b="b"/>
              <a:pathLst>
                <a:path w="2266" h="1133" extrusionOk="0">
                  <a:moveTo>
                    <a:pt x="568" y="0"/>
                  </a:moveTo>
                  <a:cubicBezTo>
                    <a:pt x="254" y="0"/>
                    <a:pt x="1" y="254"/>
                    <a:pt x="1" y="568"/>
                  </a:cubicBezTo>
                  <a:cubicBezTo>
                    <a:pt x="1" y="879"/>
                    <a:pt x="254" y="1133"/>
                    <a:pt x="568" y="1133"/>
                  </a:cubicBezTo>
                  <a:lnTo>
                    <a:pt x="1701" y="1133"/>
                  </a:lnTo>
                  <a:cubicBezTo>
                    <a:pt x="2012" y="1133"/>
                    <a:pt x="2265" y="879"/>
                    <a:pt x="2265" y="568"/>
                  </a:cubicBezTo>
                  <a:cubicBezTo>
                    <a:pt x="2265" y="254"/>
                    <a:pt x="2012" y="0"/>
                    <a:pt x="17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5" name="Google Shape;6205;p71"/>
            <p:cNvSpPr/>
            <p:nvPr/>
          </p:nvSpPr>
          <p:spPr>
            <a:xfrm>
              <a:off x="5479800" y="2096550"/>
              <a:ext cx="54300" cy="48225"/>
            </a:xfrm>
            <a:custGeom>
              <a:avLst/>
              <a:gdLst/>
              <a:ahLst/>
              <a:cxnLst/>
              <a:rect l="l" t="t" r="r" b="b"/>
              <a:pathLst>
                <a:path w="2172" h="1929" extrusionOk="0">
                  <a:moveTo>
                    <a:pt x="1550" y="0"/>
                  </a:moveTo>
                  <a:cubicBezTo>
                    <a:pt x="1409" y="0"/>
                    <a:pt x="1267" y="53"/>
                    <a:pt x="1157" y="159"/>
                  </a:cubicBezTo>
                  <a:lnTo>
                    <a:pt x="357" y="962"/>
                  </a:lnTo>
                  <a:cubicBezTo>
                    <a:pt x="1" y="1318"/>
                    <a:pt x="251" y="1928"/>
                    <a:pt x="756" y="1928"/>
                  </a:cubicBezTo>
                  <a:cubicBezTo>
                    <a:pt x="907" y="1928"/>
                    <a:pt x="1051" y="1868"/>
                    <a:pt x="1157" y="1762"/>
                  </a:cubicBezTo>
                  <a:lnTo>
                    <a:pt x="1957" y="959"/>
                  </a:lnTo>
                  <a:cubicBezTo>
                    <a:pt x="2172" y="739"/>
                    <a:pt x="2169" y="385"/>
                    <a:pt x="1951" y="168"/>
                  </a:cubicBezTo>
                  <a:cubicBezTo>
                    <a:pt x="1841" y="56"/>
                    <a:pt x="1696" y="0"/>
                    <a:pt x="15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06" name="Google Shape;6206;p71"/>
            <p:cNvSpPr/>
            <p:nvPr/>
          </p:nvSpPr>
          <p:spPr>
            <a:xfrm>
              <a:off x="5483350" y="2266400"/>
              <a:ext cx="54300" cy="48225"/>
            </a:xfrm>
            <a:custGeom>
              <a:avLst/>
              <a:gdLst/>
              <a:ahLst/>
              <a:cxnLst/>
              <a:rect l="l" t="t" r="r" b="b"/>
              <a:pathLst>
                <a:path w="2172" h="1929" extrusionOk="0">
                  <a:moveTo>
                    <a:pt x="622" y="0"/>
                  </a:moveTo>
                  <a:cubicBezTo>
                    <a:pt x="476" y="0"/>
                    <a:pt x="331" y="56"/>
                    <a:pt x="221" y="168"/>
                  </a:cubicBezTo>
                  <a:cubicBezTo>
                    <a:pt x="4" y="385"/>
                    <a:pt x="1" y="738"/>
                    <a:pt x="215" y="962"/>
                  </a:cubicBezTo>
                  <a:lnTo>
                    <a:pt x="1015" y="1762"/>
                  </a:lnTo>
                  <a:cubicBezTo>
                    <a:pt x="1121" y="1868"/>
                    <a:pt x="1266" y="1928"/>
                    <a:pt x="1417" y="1928"/>
                  </a:cubicBezTo>
                  <a:cubicBezTo>
                    <a:pt x="1921" y="1928"/>
                    <a:pt x="2172" y="1318"/>
                    <a:pt x="1815" y="962"/>
                  </a:cubicBezTo>
                  <a:lnTo>
                    <a:pt x="1015" y="159"/>
                  </a:lnTo>
                  <a:cubicBezTo>
                    <a:pt x="905" y="53"/>
                    <a:pt x="763" y="0"/>
                    <a:pt x="6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07" name="Google Shape;6207;p71"/>
          <p:cNvSpPr/>
          <p:nvPr/>
        </p:nvSpPr>
        <p:spPr>
          <a:xfrm>
            <a:off x="5666034" y="4726187"/>
            <a:ext cx="293985" cy="453323"/>
          </a:xfrm>
          <a:custGeom>
            <a:avLst/>
            <a:gdLst/>
            <a:ahLst/>
            <a:cxnLst/>
            <a:rect l="l" t="t" r="r" b="b"/>
            <a:pathLst>
              <a:path w="12526" h="19315" extrusionOk="0">
                <a:moveTo>
                  <a:pt x="9690" y="1133"/>
                </a:moveTo>
                <a:cubicBezTo>
                  <a:pt x="9980" y="1139"/>
                  <a:pt x="10213" y="1377"/>
                  <a:pt x="10213" y="1670"/>
                </a:cubicBezTo>
                <a:cubicBezTo>
                  <a:pt x="10213" y="1960"/>
                  <a:pt x="9980" y="2199"/>
                  <a:pt x="9690" y="2208"/>
                </a:cubicBezTo>
                <a:lnTo>
                  <a:pt x="2836" y="2208"/>
                </a:lnTo>
                <a:cubicBezTo>
                  <a:pt x="2540" y="2208"/>
                  <a:pt x="2302" y="1966"/>
                  <a:pt x="2302" y="1670"/>
                </a:cubicBezTo>
                <a:cubicBezTo>
                  <a:pt x="2302" y="1371"/>
                  <a:pt x="2540" y="1133"/>
                  <a:pt x="2839" y="1133"/>
                </a:cubicBezTo>
                <a:close/>
                <a:moveTo>
                  <a:pt x="8564" y="3340"/>
                </a:moveTo>
                <a:lnTo>
                  <a:pt x="8564" y="9554"/>
                </a:lnTo>
                <a:cubicBezTo>
                  <a:pt x="8543" y="9781"/>
                  <a:pt x="8658" y="10001"/>
                  <a:pt x="8860" y="10110"/>
                </a:cubicBezTo>
                <a:cubicBezTo>
                  <a:pt x="9805" y="10620"/>
                  <a:pt x="10581" y="11396"/>
                  <a:pt x="11088" y="12341"/>
                </a:cubicBezTo>
                <a:lnTo>
                  <a:pt x="1435" y="12341"/>
                </a:lnTo>
                <a:cubicBezTo>
                  <a:pt x="1946" y="11396"/>
                  <a:pt x="2718" y="10620"/>
                  <a:pt x="3667" y="10110"/>
                </a:cubicBezTo>
                <a:cubicBezTo>
                  <a:pt x="3869" y="10001"/>
                  <a:pt x="3984" y="9784"/>
                  <a:pt x="3959" y="9554"/>
                </a:cubicBezTo>
                <a:lnTo>
                  <a:pt x="3959" y="3340"/>
                </a:lnTo>
                <a:close/>
                <a:moveTo>
                  <a:pt x="6731" y="13476"/>
                </a:moveTo>
                <a:lnTo>
                  <a:pt x="6731" y="16263"/>
                </a:lnTo>
                <a:cubicBezTo>
                  <a:pt x="6734" y="16879"/>
                  <a:pt x="6571" y="17486"/>
                  <a:pt x="6263" y="18024"/>
                </a:cubicBezTo>
                <a:cubicBezTo>
                  <a:pt x="5955" y="17486"/>
                  <a:pt x="5792" y="16879"/>
                  <a:pt x="5795" y="16263"/>
                </a:cubicBezTo>
                <a:lnTo>
                  <a:pt x="5795" y="13476"/>
                </a:lnTo>
                <a:close/>
                <a:moveTo>
                  <a:pt x="2831" y="1"/>
                </a:moveTo>
                <a:cubicBezTo>
                  <a:pt x="1912" y="1"/>
                  <a:pt x="1166" y="745"/>
                  <a:pt x="1163" y="1664"/>
                </a:cubicBezTo>
                <a:cubicBezTo>
                  <a:pt x="1160" y="2585"/>
                  <a:pt x="1906" y="3337"/>
                  <a:pt x="2827" y="3340"/>
                </a:cubicBezTo>
                <a:lnTo>
                  <a:pt x="2827" y="9285"/>
                </a:lnTo>
                <a:cubicBezTo>
                  <a:pt x="1529" y="10077"/>
                  <a:pt x="544" y="11287"/>
                  <a:pt x="34" y="12719"/>
                </a:cubicBezTo>
                <a:lnTo>
                  <a:pt x="31" y="12728"/>
                </a:lnTo>
                <a:cubicBezTo>
                  <a:pt x="28" y="12740"/>
                  <a:pt x="25" y="12749"/>
                  <a:pt x="22" y="12761"/>
                </a:cubicBezTo>
                <a:cubicBezTo>
                  <a:pt x="19" y="12773"/>
                  <a:pt x="19" y="12776"/>
                  <a:pt x="16" y="12785"/>
                </a:cubicBezTo>
                <a:cubicBezTo>
                  <a:pt x="13" y="12791"/>
                  <a:pt x="13" y="12803"/>
                  <a:pt x="10" y="12812"/>
                </a:cubicBezTo>
                <a:cubicBezTo>
                  <a:pt x="10" y="12821"/>
                  <a:pt x="7" y="12833"/>
                  <a:pt x="7" y="12842"/>
                </a:cubicBezTo>
                <a:lnTo>
                  <a:pt x="4" y="12866"/>
                </a:lnTo>
                <a:lnTo>
                  <a:pt x="4" y="12900"/>
                </a:lnTo>
                <a:cubicBezTo>
                  <a:pt x="4" y="12903"/>
                  <a:pt x="4" y="12906"/>
                  <a:pt x="4" y="12909"/>
                </a:cubicBezTo>
                <a:cubicBezTo>
                  <a:pt x="1" y="12912"/>
                  <a:pt x="1" y="12918"/>
                  <a:pt x="1" y="12921"/>
                </a:cubicBezTo>
                <a:cubicBezTo>
                  <a:pt x="1" y="12933"/>
                  <a:pt x="1" y="12945"/>
                  <a:pt x="4" y="12957"/>
                </a:cubicBezTo>
                <a:lnTo>
                  <a:pt x="7" y="12978"/>
                </a:lnTo>
                <a:cubicBezTo>
                  <a:pt x="7" y="12990"/>
                  <a:pt x="10" y="12999"/>
                  <a:pt x="10" y="13008"/>
                </a:cubicBezTo>
                <a:cubicBezTo>
                  <a:pt x="13" y="13020"/>
                  <a:pt x="13" y="13030"/>
                  <a:pt x="16" y="13039"/>
                </a:cubicBezTo>
                <a:cubicBezTo>
                  <a:pt x="19" y="13048"/>
                  <a:pt x="19" y="13054"/>
                  <a:pt x="22" y="13063"/>
                </a:cubicBezTo>
                <a:cubicBezTo>
                  <a:pt x="25" y="13069"/>
                  <a:pt x="28" y="13081"/>
                  <a:pt x="31" y="13093"/>
                </a:cubicBezTo>
                <a:cubicBezTo>
                  <a:pt x="34" y="13102"/>
                  <a:pt x="37" y="13105"/>
                  <a:pt x="40" y="13111"/>
                </a:cubicBezTo>
                <a:cubicBezTo>
                  <a:pt x="43" y="13120"/>
                  <a:pt x="46" y="13132"/>
                  <a:pt x="52" y="13144"/>
                </a:cubicBezTo>
                <a:lnTo>
                  <a:pt x="61" y="13162"/>
                </a:lnTo>
                <a:cubicBezTo>
                  <a:pt x="67" y="13171"/>
                  <a:pt x="70" y="13181"/>
                  <a:pt x="76" y="13190"/>
                </a:cubicBezTo>
                <a:cubicBezTo>
                  <a:pt x="83" y="13199"/>
                  <a:pt x="86" y="13205"/>
                  <a:pt x="89" y="13211"/>
                </a:cubicBezTo>
                <a:cubicBezTo>
                  <a:pt x="92" y="13217"/>
                  <a:pt x="98" y="13229"/>
                  <a:pt x="104" y="13235"/>
                </a:cubicBezTo>
                <a:lnTo>
                  <a:pt x="122" y="13256"/>
                </a:lnTo>
                <a:lnTo>
                  <a:pt x="137" y="13277"/>
                </a:lnTo>
                <a:cubicBezTo>
                  <a:pt x="143" y="13286"/>
                  <a:pt x="152" y="13292"/>
                  <a:pt x="158" y="13298"/>
                </a:cubicBezTo>
                <a:cubicBezTo>
                  <a:pt x="164" y="13307"/>
                  <a:pt x="167" y="13310"/>
                  <a:pt x="173" y="13316"/>
                </a:cubicBezTo>
                <a:cubicBezTo>
                  <a:pt x="179" y="13322"/>
                  <a:pt x="188" y="13331"/>
                  <a:pt x="197" y="13338"/>
                </a:cubicBezTo>
                <a:lnTo>
                  <a:pt x="215" y="13353"/>
                </a:lnTo>
                <a:lnTo>
                  <a:pt x="240" y="13371"/>
                </a:lnTo>
                <a:lnTo>
                  <a:pt x="264" y="13386"/>
                </a:lnTo>
                <a:lnTo>
                  <a:pt x="285" y="13398"/>
                </a:lnTo>
                <a:cubicBezTo>
                  <a:pt x="294" y="13404"/>
                  <a:pt x="303" y="13410"/>
                  <a:pt x="312" y="13413"/>
                </a:cubicBezTo>
                <a:lnTo>
                  <a:pt x="333" y="13422"/>
                </a:lnTo>
                <a:lnTo>
                  <a:pt x="366" y="13437"/>
                </a:lnTo>
                <a:lnTo>
                  <a:pt x="378" y="13443"/>
                </a:lnTo>
                <a:lnTo>
                  <a:pt x="384" y="13446"/>
                </a:lnTo>
                <a:lnTo>
                  <a:pt x="415" y="13452"/>
                </a:lnTo>
                <a:cubicBezTo>
                  <a:pt x="421" y="13455"/>
                  <a:pt x="430" y="13458"/>
                  <a:pt x="439" y="13458"/>
                </a:cubicBezTo>
                <a:lnTo>
                  <a:pt x="463" y="13464"/>
                </a:lnTo>
                <a:cubicBezTo>
                  <a:pt x="475" y="13467"/>
                  <a:pt x="484" y="13467"/>
                  <a:pt x="496" y="13470"/>
                </a:cubicBezTo>
                <a:lnTo>
                  <a:pt x="514" y="13470"/>
                </a:lnTo>
                <a:cubicBezTo>
                  <a:pt x="532" y="13473"/>
                  <a:pt x="548" y="13473"/>
                  <a:pt x="566" y="13473"/>
                </a:cubicBezTo>
                <a:lnTo>
                  <a:pt x="4663" y="13473"/>
                </a:lnTo>
                <a:lnTo>
                  <a:pt x="4663" y="16263"/>
                </a:lnTo>
                <a:cubicBezTo>
                  <a:pt x="4660" y="17205"/>
                  <a:pt x="4947" y="18126"/>
                  <a:pt x="5481" y="18902"/>
                </a:cubicBezTo>
                <a:cubicBezTo>
                  <a:pt x="5670" y="19177"/>
                  <a:pt x="5967" y="19315"/>
                  <a:pt x="6263" y="19315"/>
                </a:cubicBezTo>
                <a:cubicBezTo>
                  <a:pt x="6560" y="19315"/>
                  <a:pt x="6857" y="19177"/>
                  <a:pt x="7045" y="18902"/>
                </a:cubicBezTo>
                <a:cubicBezTo>
                  <a:pt x="7580" y="18126"/>
                  <a:pt x="7867" y="17205"/>
                  <a:pt x="7864" y="16263"/>
                </a:cubicBezTo>
                <a:lnTo>
                  <a:pt x="7864" y="13476"/>
                </a:lnTo>
                <a:lnTo>
                  <a:pt x="11961" y="13476"/>
                </a:lnTo>
                <a:cubicBezTo>
                  <a:pt x="11979" y="13473"/>
                  <a:pt x="11997" y="13473"/>
                  <a:pt x="12015" y="13473"/>
                </a:cubicBezTo>
                <a:lnTo>
                  <a:pt x="12024" y="13473"/>
                </a:lnTo>
                <a:cubicBezTo>
                  <a:pt x="12040" y="13473"/>
                  <a:pt x="12052" y="13467"/>
                  <a:pt x="12067" y="13464"/>
                </a:cubicBezTo>
                <a:lnTo>
                  <a:pt x="12085" y="13461"/>
                </a:lnTo>
                <a:lnTo>
                  <a:pt x="12115" y="13455"/>
                </a:lnTo>
                <a:lnTo>
                  <a:pt x="12139" y="13446"/>
                </a:lnTo>
                <a:cubicBezTo>
                  <a:pt x="12142" y="13446"/>
                  <a:pt x="12145" y="13443"/>
                  <a:pt x="12148" y="13443"/>
                </a:cubicBezTo>
                <a:lnTo>
                  <a:pt x="12163" y="13437"/>
                </a:lnTo>
                <a:cubicBezTo>
                  <a:pt x="12172" y="13434"/>
                  <a:pt x="12181" y="13431"/>
                  <a:pt x="12194" y="13425"/>
                </a:cubicBezTo>
                <a:lnTo>
                  <a:pt x="12218" y="13413"/>
                </a:lnTo>
                <a:cubicBezTo>
                  <a:pt x="12224" y="13410"/>
                  <a:pt x="12233" y="13404"/>
                  <a:pt x="12242" y="13401"/>
                </a:cubicBezTo>
                <a:cubicBezTo>
                  <a:pt x="12248" y="13395"/>
                  <a:pt x="12257" y="13392"/>
                  <a:pt x="12266" y="13386"/>
                </a:cubicBezTo>
                <a:lnTo>
                  <a:pt x="12284" y="13374"/>
                </a:lnTo>
                <a:cubicBezTo>
                  <a:pt x="12296" y="13365"/>
                  <a:pt x="12305" y="13359"/>
                  <a:pt x="12311" y="13353"/>
                </a:cubicBezTo>
                <a:lnTo>
                  <a:pt x="12329" y="13341"/>
                </a:lnTo>
                <a:cubicBezTo>
                  <a:pt x="12335" y="13331"/>
                  <a:pt x="12344" y="13325"/>
                  <a:pt x="12354" y="13316"/>
                </a:cubicBezTo>
                <a:cubicBezTo>
                  <a:pt x="12363" y="13307"/>
                  <a:pt x="12363" y="13307"/>
                  <a:pt x="12369" y="13301"/>
                </a:cubicBezTo>
                <a:cubicBezTo>
                  <a:pt x="12372" y="13295"/>
                  <a:pt x="12384" y="13286"/>
                  <a:pt x="12390" y="13277"/>
                </a:cubicBezTo>
                <a:cubicBezTo>
                  <a:pt x="12399" y="13268"/>
                  <a:pt x="12399" y="13265"/>
                  <a:pt x="12405" y="13259"/>
                </a:cubicBezTo>
                <a:lnTo>
                  <a:pt x="12423" y="13235"/>
                </a:lnTo>
                <a:cubicBezTo>
                  <a:pt x="12429" y="13229"/>
                  <a:pt x="12432" y="13220"/>
                  <a:pt x="12438" y="13214"/>
                </a:cubicBezTo>
                <a:cubicBezTo>
                  <a:pt x="12441" y="13205"/>
                  <a:pt x="12447" y="13199"/>
                  <a:pt x="12450" y="13190"/>
                </a:cubicBezTo>
                <a:cubicBezTo>
                  <a:pt x="12456" y="13184"/>
                  <a:pt x="12459" y="13174"/>
                  <a:pt x="12465" y="13165"/>
                </a:cubicBezTo>
                <a:cubicBezTo>
                  <a:pt x="12468" y="13156"/>
                  <a:pt x="12471" y="13150"/>
                  <a:pt x="12474" y="13144"/>
                </a:cubicBezTo>
                <a:cubicBezTo>
                  <a:pt x="12477" y="13135"/>
                  <a:pt x="12483" y="13123"/>
                  <a:pt x="12486" y="13114"/>
                </a:cubicBezTo>
                <a:cubicBezTo>
                  <a:pt x="12492" y="13105"/>
                  <a:pt x="12492" y="13099"/>
                  <a:pt x="12495" y="13093"/>
                </a:cubicBezTo>
                <a:cubicBezTo>
                  <a:pt x="12498" y="13084"/>
                  <a:pt x="12501" y="13072"/>
                  <a:pt x="12505" y="13063"/>
                </a:cubicBezTo>
                <a:cubicBezTo>
                  <a:pt x="12508" y="13054"/>
                  <a:pt x="12511" y="13045"/>
                  <a:pt x="12511" y="13039"/>
                </a:cubicBezTo>
                <a:cubicBezTo>
                  <a:pt x="12514" y="13030"/>
                  <a:pt x="12514" y="13020"/>
                  <a:pt x="12517" y="13011"/>
                </a:cubicBezTo>
                <a:cubicBezTo>
                  <a:pt x="12517" y="13002"/>
                  <a:pt x="12520" y="12990"/>
                  <a:pt x="12523" y="12981"/>
                </a:cubicBezTo>
                <a:cubicBezTo>
                  <a:pt x="12523" y="12969"/>
                  <a:pt x="12523" y="12966"/>
                  <a:pt x="12523" y="12957"/>
                </a:cubicBezTo>
                <a:cubicBezTo>
                  <a:pt x="12523" y="12948"/>
                  <a:pt x="12523" y="12933"/>
                  <a:pt x="12526" y="12921"/>
                </a:cubicBezTo>
                <a:lnTo>
                  <a:pt x="12526" y="12909"/>
                </a:lnTo>
                <a:cubicBezTo>
                  <a:pt x="12526" y="12906"/>
                  <a:pt x="12526" y="12903"/>
                  <a:pt x="12526" y="12900"/>
                </a:cubicBezTo>
                <a:lnTo>
                  <a:pt x="12526" y="12866"/>
                </a:lnTo>
                <a:cubicBezTo>
                  <a:pt x="12526" y="12854"/>
                  <a:pt x="12526" y="12851"/>
                  <a:pt x="12523" y="12842"/>
                </a:cubicBezTo>
                <a:cubicBezTo>
                  <a:pt x="12520" y="12833"/>
                  <a:pt x="12520" y="12824"/>
                  <a:pt x="12520" y="12815"/>
                </a:cubicBezTo>
                <a:cubicBezTo>
                  <a:pt x="12517" y="12803"/>
                  <a:pt x="12517" y="12794"/>
                  <a:pt x="12514" y="12785"/>
                </a:cubicBezTo>
                <a:cubicBezTo>
                  <a:pt x="12511" y="12773"/>
                  <a:pt x="12511" y="12770"/>
                  <a:pt x="12508" y="12764"/>
                </a:cubicBezTo>
                <a:cubicBezTo>
                  <a:pt x="12505" y="12755"/>
                  <a:pt x="12501" y="12740"/>
                  <a:pt x="12498" y="12728"/>
                </a:cubicBezTo>
                <a:lnTo>
                  <a:pt x="12495" y="12719"/>
                </a:lnTo>
                <a:cubicBezTo>
                  <a:pt x="11985" y="11290"/>
                  <a:pt x="11001" y="10077"/>
                  <a:pt x="9702" y="9288"/>
                </a:cubicBezTo>
                <a:lnTo>
                  <a:pt x="9702" y="3340"/>
                </a:lnTo>
                <a:cubicBezTo>
                  <a:pt x="10623" y="3337"/>
                  <a:pt x="11369" y="2585"/>
                  <a:pt x="11366" y="1664"/>
                </a:cubicBezTo>
                <a:cubicBezTo>
                  <a:pt x="11363" y="745"/>
                  <a:pt x="10617" y="1"/>
                  <a:pt x="9699" y="1"/>
                </a:cubicBezTo>
                <a:cubicBezTo>
                  <a:pt x="9697" y="1"/>
                  <a:pt x="9695" y="1"/>
                  <a:pt x="9693" y="1"/>
                </a:cubicBezTo>
                <a:lnTo>
                  <a:pt x="2836" y="1"/>
                </a:lnTo>
                <a:cubicBezTo>
                  <a:pt x="2834" y="1"/>
                  <a:pt x="2833" y="1"/>
                  <a:pt x="28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08" name="Google Shape;6208;p71"/>
          <p:cNvGrpSpPr/>
          <p:nvPr/>
        </p:nvGrpSpPr>
        <p:grpSpPr>
          <a:xfrm>
            <a:off x="6135049" y="4730629"/>
            <a:ext cx="468884" cy="445108"/>
            <a:chOff x="6222125" y="2025975"/>
            <a:chExt cx="499450" cy="474125"/>
          </a:xfrm>
        </p:grpSpPr>
        <p:sp>
          <p:nvSpPr>
            <p:cNvPr id="6209" name="Google Shape;6209;p71"/>
            <p:cNvSpPr/>
            <p:nvPr/>
          </p:nvSpPr>
          <p:spPr>
            <a:xfrm>
              <a:off x="6222125" y="2025975"/>
              <a:ext cx="499450" cy="474125"/>
            </a:xfrm>
            <a:custGeom>
              <a:avLst/>
              <a:gdLst/>
              <a:ahLst/>
              <a:cxnLst/>
              <a:rect l="l" t="t" r="r" b="b"/>
              <a:pathLst>
                <a:path w="19978" h="18965" extrusionOk="0">
                  <a:moveTo>
                    <a:pt x="10490" y="1134"/>
                  </a:moveTo>
                  <a:cubicBezTo>
                    <a:pt x="15095" y="1134"/>
                    <a:pt x="18839" y="4878"/>
                    <a:pt x="18839" y="9483"/>
                  </a:cubicBezTo>
                  <a:cubicBezTo>
                    <a:pt x="18839" y="14087"/>
                    <a:pt x="15095" y="17832"/>
                    <a:pt x="10490" y="17832"/>
                  </a:cubicBezTo>
                  <a:cubicBezTo>
                    <a:pt x="5886" y="17832"/>
                    <a:pt x="2142" y="14087"/>
                    <a:pt x="2142" y="9483"/>
                  </a:cubicBezTo>
                  <a:cubicBezTo>
                    <a:pt x="2142" y="4878"/>
                    <a:pt x="5886" y="1134"/>
                    <a:pt x="10490" y="1134"/>
                  </a:cubicBezTo>
                  <a:close/>
                  <a:moveTo>
                    <a:pt x="10488" y="0"/>
                  </a:moveTo>
                  <a:cubicBezTo>
                    <a:pt x="6717" y="0"/>
                    <a:pt x="3222" y="2259"/>
                    <a:pt x="1731" y="5853"/>
                  </a:cubicBezTo>
                  <a:cubicBezTo>
                    <a:pt x="1" y="10032"/>
                    <a:pt x="1462" y="14854"/>
                    <a:pt x="5222" y="17367"/>
                  </a:cubicBezTo>
                  <a:cubicBezTo>
                    <a:pt x="6828" y="18439"/>
                    <a:pt x="8663" y="18964"/>
                    <a:pt x="10487" y="18964"/>
                  </a:cubicBezTo>
                  <a:cubicBezTo>
                    <a:pt x="12934" y="18964"/>
                    <a:pt x="15362" y="18020"/>
                    <a:pt x="17194" y="16186"/>
                  </a:cubicBezTo>
                  <a:cubicBezTo>
                    <a:pt x="18978" y="14414"/>
                    <a:pt x="19978" y="11998"/>
                    <a:pt x="19972" y="9483"/>
                  </a:cubicBezTo>
                  <a:cubicBezTo>
                    <a:pt x="19972" y="4960"/>
                    <a:pt x="16777" y="1065"/>
                    <a:pt x="12341" y="183"/>
                  </a:cubicBezTo>
                  <a:cubicBezTo>
                    <a:pt x="11721" y="60"/>
                    <a:pt x="11101" y="0"/>
                    <a:pt x="104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0" name="Google Shape;6210;p71"/>
            <p:cNvSpPr/>
            <p:nvPr/>
          </p:nvSpPr>
          <p:spPr>
            <a:xfrm>
              <a:off x="6309175" y="2087825"/>
              <a:ext cx="350425" cy="350425"/>
            </a:xfrm>
            <a:custGeom>
              <a:avLst/>
              <a:gdLst/>
              <a:ahLst/>
              <a:cxnLst/>
              <a:rect l="l" t="t" r="r" b="b"/>
              <a:pathLst>
                <a:path w="14017" h="14017" extrusionOk="0">
                  <a:moveTo>
                    <a:pt x="7008" y="1133"/>
                  </a:moveTo>
                  <a:cubicBezTo>
                    <a:pt x="10248" y="1133"/>
                    <a:pt x="12884" y="3769"/>
                    <a:pt x="12884" y="7009"/>
                  </a:cubicBezTo>
                  <a:cubicBezTo>
                    <a:pt x="12884" y="10249"/>
                    <a:pt x="10248" y="12885"/>
                    <a:pt x="7008" y="12885"/>
                  </a:cubicBezTo>
                  <a:cubicBezTo>
                    <a:pt x="3769" y="12885"/>
                    <a:pt x="1133" y="10249"/>
                    <a:pt x="1133" y="7009"/>
                  </a:cubicBezTo>
                  <a:cubicBezTo>
                    <a:pt x="1133" y="3769"/>
                    <a:pt x="3769" y="1133"/>
                    <a:pt x="7008" y="1133"/>
                  </a:cubicBezTo>
                  <a:close/>
                  <a:moveTo>
                    <a:pt x="7008" y="1"/>
                  </a:moveTo>
                  <a:cubicBezTo>
                    <a:pt x="3144" y="1"/>
                    <a:pt x="0" y="3144"/>
                    <a:pt x="0" y="7009"/>
                  </a:cubicBezTo>
                  <a:cubicBezTo>
                    <a:pt x="0" y="10874"/>
                    <a:pt x="3144" y="14017"/>
                    <a:pt x="7008" y="14017"/>
                  </a:cubicBezTo>
                  <a:cubicBezTo>
                    <a:pt x="10873" y="14017"/>
                    <a:pt x="14017" y="10874"/>
                    <a:pt x="14017" y="7009"/>
                  </a:cubicBezTo>
                  <a:cubicBezTo>
                    <a:pt x="14017" y="3144"/>
                    <a:pt x="10873" y="1"/>
                    <a:pt x="7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1" name="Google Shape;6211;p71"/>
            <p:cNvSpPr/>
            <p:nvPr/>
          </p:nvSpPr>
          <p:spPr>
            <a:xfrm>
              <a:off x="6431600" y="2142250"/>
              <a:ext cx="105575" cy="241575"/>
            </a:xfrm>
            <a:custGeom>
              <a:avLst/>
              <a:gdLst/>
              <a:ahLst/>
              <a:cxnLst/>
              <a:rect l="l" t="t" r="r" b="b"/>
              <a:pathLst>
                <a:path w="4223" h="9663" extrusionOk="0">
                  <a:moveTo>
                    <a:pt x="2111" y="1"/>
                  </a:moveTo>
                  <a:cubicBezTo>
                    <a:pt x="1797" y="1"/>
                    <a:pt x="1547" y="254"/>
                    <a:pt x="1547" y="568"/>
                  </a:cubicBezTo>
                  <a:lnTo>
                    <a:pt x="1547" y="1504"/>
                  </a:lnTo>
                  <a:cubicBezTo>
                    <a:pt x="599" y="1785"/>
                    <a:pt x="1" y="2718"/>
                    <a:pt x="143" y="3697"/>
                  </a:cubicBezTo>
                  <a:cubicBezTo>
                    <a:pt x="285" y="4675"/>
                    <a:pt x="1124" y="5399"/>
                    <a:pt x="2111" y="5399"/>
                  </a:cubicBezTo>
                  <a:cubicBezTo>
                    <a:pt x="2872" y="5399"/>
                    <a:pt x="3256" y="6320"/>
                    <a:pt x="2715" y="6858"/>
                  </a:cubicBezTo>
                  <a:cubicBezTo>
                    <a:pt x="2542" y="7033"/>
                    <a:pt x="2328" y="7111"/>
                    <a:pt x="2118" y="7111"/>
                  </a:cubicBezTo>
                  <a:cubicBezTo>
                    <a:pt x="1679" y="7111"/>
                    <a:pt x="1257" y="6769"/>
                    <a:pt x="1257" y="6254"/>
                  </a:cubicBezTo>
                  <a:cubicBezTo>
                    <a:pt x="1257" y="5940"/>
                    <a:pt x="1003" y="5686"/>
                    <a:pt x="689" y="5686"/>
                  </a:cubicBezTo>
                  <a:cubicBezTo>
                    <a:pt x="378" y="5686"/>
                    <a:pt x="125" y="5940"/>
                    <a:pt x="125" y="6254"/>
                  </a:cubicBezTo>
                  <a:cubicBezTo>
                    <a:pt x="125" y="7133"/>
                    <a:pt x="701" y="7909"/>
                    <a:pt x="1547" y="8159"/>
                  </a:cubicBezTo>
                  <a:lnTo>
                    <a:pt x="1547" y="9098"/>
                  </a:lnTo>
                  <a:cubicBezTo>
                    <a:pt x="1547" y="9409"/>
                    <a:pt x="1797" y="9663"/>
                    <a:pt x="2111" y="9663"/>
                  </a:cubicBezTo>
                  <a:cubicBezTo>
                    <a:pt x="2425" y="9663"/>
                    <a:pt x="2679" y="9409"/>
                    <a:pt x="2679" y="9098"/>
                  </a:cubicBezTo>
                  <a:lnTo>
                    <a:pt x="2679" y="8159"/>
                  </a:lnTo>
                  <a:cubicBezTo>
                    <a:pt x="3624" y="7878"/>
                    <a:pt x="4222" y="6945"/>
                    <a:pt x="4080" y="5967"/>
                  </a:cubicBezTo>
                  <a:cubicBezTo>
                    <a:pt x="3939" y="4991"/>
                    <a:pt x="3102" y="4267"/>
                    <a:pt x="2118" y="4267"/>
                  </a:cubicBezTo>
                  <a:cubicBezTo>
                    <a:pt x="2116" y="4267"/>
                    <a:pt x="2114" y="4267"/>
                    <a:pt x="2111" y="4267"/>
                  </a:cubicBezTo>
                  <a:cubicBezTo>
                    <a:pt x="2106" y="4267"/>
                    <a:pt x="2100" y="4267"/>
                    <a:pt x="2095" y="4267"/>
                  </a:cubicBezTo>
                  <a:cubicBezTo>
                    <a:pt x="1622" y="4267"/>
                    <a:pt x="1239" y="3884"/>
                    <a:pt x="1239" y="3410"/>
                  </a:cubicBezTo>
                  <a:cubicBezTo>
                    <a:pt x="1239" y="2935"/>
                    <a:pt x="1622" y="2555"/>
                    <a:pt x="2095" y="2555"/>
                  </a:cubicBezTo>
                  <a:cubicBezTo>
                    <a:pt x="2100" y="2555"/>
                    <a:pt x="2106" y="2555"/>
                    <a:pt x="2111" y="2555"/>
                  </a:cubicBezTo>
                  <a:cubicBezTo>
                    <a:pt x="2582" y="2555"/>
                    <a:pt x="2966" y="2939"/>
                    <a:pt x="2966" y="3410"/>
                  </a:cubicBezTo>
                  <a:cubicBezTo>
                    <a:pt x="2966" y="3724"/>
                    <a:pt x="3220" y="3977"/>
                    <a:pt x="3534" y="3977"/>
                  </a:cubicBezTo>
                  <a:cubicBezTo>
                    <a:pt x="3845" y="3977"/>
                    <a:pt x="4098" y="3724"/>
                    <a:pt x="4098" y="3410"/>
                  </a:cubicBezTo>
                  <a:cubicBezTo>
                    <a:pt x="4098" y="2531"/>
                    <a:pt x="3522" y="1755"/>
                    <a:pt x="2679" y="1504"/>
                  </a:cubicBezTo>
                  <a:lnTo>
                    <a:pt x="2679" y="568"/>
                  </a:lnTo>
                  <a:cubicBezTo>
                    <a:pt x="2679" y="254"/>
                    <a:pt x="2425"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12" name="Google Shape;6212;p71"/>
          <p:cNvGrpSpPr/>
          <p:nvPr/>
        </p:nvGrpSpPr>
        <p:grpSpPr>
          <a:xfrm>
            <a:off x="6745131" y="3152722"/>
            <a:ext cx="447339" cy="247937"/>
            <a:chOff x="896050" y="2725450"/>
            <a:chExt cx="476500" cy="264100"/>
          </a:xfrm>
        </p:grpSpPr>
        <p:sp>
          <p:nvSpPr>
            <p:cNvPr id="6213" name="Google Shape;6213;p71"/>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4" name="Google Shape;6214;p71"/>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5" name="Google Shape;6215;p71"/>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16" name="Google Shape;6216;p71"/>
          <p:cNvGrpSpPr/>
          <p:nvPr/>
        </p:nvGrpSpPr>
        <p:grpSpPr>
          <a:xfrm>
            <a:off x="7319451" y="3049900"/>
            <a:ext cx="453557" cy="453581"/>
            <a:chOff x="1487200" y="2615925"/>
            <a:chExt cx="483125" cy="483150"/>
          </a:xfrm>
        </p:grpSpPr>
        <p:sp>
          <p:nvSpPr>
            <p:cNvPr id="6217" name="Google Shape;6217;p71"/>
            <p:cNvSpPr/>
            <p:nvPr/>
          </p:nvSpPr>
          <p:spPr>
            <a:xfrm>
              <a:off x="1601400" y="2844275"/>
              <a:ext cx="28325" cy="28325"/>
            </a:xfrm>
            <a:custGeom>
              <a:avLst/>
              <a:gdLst/>
              <a:ahLst/>
              <a:cxnLst/>
              <a:rect l="l" t="t" r="r" b="b"/>
              <a:pathLst>
                <a:path w="1133" h="1133" extrusionOk="0">
                  <a:moveTo>
                    <a:pt x="565" y="1"/>
                  </a:moveTo>
                  <a:cubicBezTo>
                    <a:pt x="251" y="1"/>
                    <a:pt x="1" y="254"/>
                    <a:pt x="1" y="568"/>
                  </a:cubicBezTo>
                  <a:cubicBezTo>
                    <a:pt x="1" y="879"/>
                    <a:pt x="251" y="1133"/>
                    <a:pt x="565" y="1133"/>
                  </a:cubicBezTo>
                  <a:cubicBezTo>
                    <a:pt x="879" y="1133"/>
                    <a:pt x="1133" y="879"/>
                    <a:pt x="1133" y="568"/>
                  </a:cubicBez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8" name="Google Shape;6218;p71"/>
            <p:cNvSpPr/>
            <p:nvPr/>
          </p:nvSpPr>
          <p:spPr>
            <a:xfrm>
              <a:off x="1487200" y="2731050"/>
              <a:ext cx="483125" cy="368025"/>
            </a:xfrm>
            <a:custGeom>
              <a:avLst/>
              <a:gdLst/>
              <a:ahLst/>
              <a:cxnLst/>
              <a:rect l="l" t="t" r="r" b="b"/>
              <a:pathLst>
                <a:path w="19325" h="14721" extrusionOk="0">
                  <a:moveTo>
                    <a:pt x="4566" y="1232"/>
                  </a:moveTo>
                  <a:cubicBezTo>
                    <a:pt x="4994" y="1386"/>
                    <a:pt x="5342" y="1703"/>
                    <a:pt x="5535" y="2117"/>
                  </a:cubicBezTo>
                  <a:cubicBezTo>
                    <a:pt x="5630" y="2320"/>
                    <a:pt x="5833" y="2444"/>
                    <a:pt x="6050" y="2444"/>
                  </a:cubicBezTo>
                  <a:cubicBezTo>
                    <a:pt x="6094" y="2444"/>
                    <a:pt x="6139" y="2439"/>
                    <a:pt x="6184" y="2428"/>
                  </a:cubicBezTo>
                  <a:cubicBezTo>
                    <a:pt x="6580" y="2322"/>
                    <a:pt x="6987" y="2268"/>
                    <a:pt x="7398" y="2265"/>
                  </a:cubicBezTo>
                  <a:lnTo>
                    <a:pt x="11927" y="2265"/>
                  </a:lnTo>
                  <a:cubicBezTo>
                    <a:pt x="14738" y="2265"/>
                    <a:pt x="17024" y="4551"/>
                    <a:pt x="17024" y="7362"/>
                  </a:cubicBezTo>
                  <a:cubicBezTo>
                    <a:pt x="17021" y="9385"/>
                    <a:pt x="15819" y="11215"/>
                    <a:pt x="13965" y="12024"/>
                  </a:cubicBezTo>
                  <a:cubicBezTo>
                    <a:pt x="13760" y="12114"/>
                    <a:pt x="13624" y="12320"/>
                    <a:pt x="13627" y="12543"/>
                  </a:cubicBezTo>
                  <a:lnTo>
                    <a:pt x="13627" y="13588"/>
                  </a:lnTo>
                  <a:lnTo>
                    <a:pt x="12495" y="13588"/>
                  </a:lnTo>
                  <a:lnTo>
                    <a:pt x="12495" y="13023"/>
                  </a:lnTo>
                  <a:cubicBezTo>
                    <a:pt x="12495" y="12709"/>
                    <a:pt x="12241" y="12456"/>
                    <a:pt x="11927" y="12456"/>
                  </a:cubicBezTo>
                  <a:lnTo>
                    <a:pt x="7398" y="12456"/>
                  </a:lnTo>
                  <a:cubicBezTo>
                    <a:pt x="7084" y="12456"/>
                    <a:pt x="6833" y="12709"/>
                    <a:pt x="6833" y="13023"/>
                  </a:cubicBezTo>
                  <a:lnTo>
                    <a:pt x="6833" y="13588"/>
                  </a:lnTo>
                  <a:lnTo>
                    <a:pt x="5701" y="13588"/>
                  </a:lnTo>
                  <a:lnTo>
                    <a:pt x="5701" y="12537"/>
                  </a:lnTo>
                  <a:cubicBezTo>
                    <a:pt x="5698" y="12314"/>
                    <a:pt x="5565" y="12108"/>
                    <a:pt x="5360" y="12021"/>
                  </a:cubicBezTo>
                  <a:cubicBezTo>
                    <a:pt x="4185" y="11508"/>
                    <a:pt x="3249" y="10572"/>
                    <a:pt x="2733" y="9400"/>
                  </a:cubicBezTo>
                  <a:cubicBezTo>
                    <a:pt x="2642" y="9192"/>
                    <a:pt x="2440" y="9059"/>
                    <a:pt x="2213" y="9059"/>
                  </a:cubicBezTo>
                  <a:lnTo>
                    <a:pt x="1132" y="9059"/>
                  </a:lnTo>
                  <a:lnTo>
                    <a:pt x="1132" y="6794"/>
                  </a:lnTo>
                  <a:lnTo>
                    <a:pt x="1851" y="6794"/>
                  </a:lnTo>
                  <a:cubicBezTo>
                    <a:pt x="2120" y="6794"/>
                    <a:pt x="2349" y="6604"/>
                    <a:pt x="2404" y="6341"/>
                  </a:cubicBezTo>
                  <a:cubicBezTo>
                    <a:pt x="2651" y="5130"/>
                    <a:pt x="3349" y="4046"/>
                    <a:pt x="4369" y="3286"/>
                  </a:cubicBezTo>
                  <a:cubicBezTo>
                    <a:pt x="4566" y="3138"/>
                    <a:pt x="4644" y="2884"/>
                    <a:pt x="4569" y="2652"/>
                  </a:cubicBezTo>
                  <a:lnTo>
                    <a:pt x="4566" y="2645"/>
                  </a:lnTo>
                  <a:lnTo>
                    <a:pt x="4566" y="1232"/>
                  </a:lnTo>
                  <a:close/>
                  <a:moveTo>
                    <a:pt x="4001" y="0"/>
                  </a:moveTo>
                  <a:cubicBezTo>
                    <a:pt x="3687" y="0"/>
                    <a:pt x="3436" y="254"/>
                    <a:pt x="3436" y="568"/>
                  </a:cubicBezTo>
                  <a:lnTo>
                    <a:pt x="3436" y="2582"/>
                  </a:lnTo>
                  <a:cubicBezTo>
                    <a:pt x="2461" y="3379"/>
                    <a:pt x="1754" y="4454"/>
                    <a:pt x="1407" y="5662"/>
                  </a:cubicBezTo>
                  <a:lnTo>
                    <a:pt x="568" y="5662"/>
                  </a:lnTo>
                  <a:cubicBezTo>
                    <a:pt x="254" y="5662"/>
                    <a:pt x="0" y="5916"/>
                    <a:pt x="0" y="6230"/>
                  </a:cubicBezTo>
                  <a:lnTo>
                    <a:pt x="0" y="9626"/>
                  </a:lnTo>
                  <a:cubicBezTo>
                    <a:pt x="0" y="9937"/>
                    <a:pt x="254" y="10191"/>
                    <a:pt x="568" y="10191"/>
                  </a:cubicBezTo>
                  <a:lnTo>
                    <a:pt x="1857" y="10191"/>
                  </a:lnTo>
                  <a:cubicBezTo>
                    <a:pt x="2452" y="11357"/>
                    <a:pt x="3400" y="12302"/>
                    <a:pt x="4569" y="12897"/>
                  </a:cubicBezTo>
                  <a:lnTo>
                    <a:pt x="4569" y="14156"/>
                  </a:lnTo>
                  <a:cubicBezTo>
                    <a:pt x="4569" y="14467"/>
                    <a:pt x="4819" y="14720"/>
                    <a:pt x="5133" y="14720"/>
                  </a:cubicBezTo>
                  <a:lnTo>
                    <a:pt x="7398" y="14720"/>
                  </a:lnTo>
                  <a:cubicBezTo>
                    <a:pt x="7712" y="14720"/>
                    <a:pt x="7965" y="14467"/>
                    <a:pt x="7965" y="14156"/>
                  </a:cubicBezTo>
                  <a:lnTo>
                    <a:pt x="7965" y="13588"/>
                  </a:lnTo>
                  <a:lnTo>
                    <a:pt x="11362" y="13588"/>
                  </a:lnTo>
                  <a:lnTo>
                    <a:pt x="11362" y="14156"/>
                  </a:lnTo>
                  <a:cubicBezTo>
                    <a:pt x="11362" y="14467"/>
                    <a:pt x="11613" y="14720"/>
                    <a:pt x="11927" y="14720"/>
                  </a:cubicBezTo>
                  <a:lnTo>
                    <a:pt x="14192" y="14720"/>
                  </a:lnTo>
                  <a:cubicBezTo>
                    <a:pt x="14506" y="14720"/>
                    <a:pt x="14759" y="14467"/>
                    <a:pt x="14759" y="14156"/>
                  </a:cubicBezTo>
                  <a:lnTo>
                    <a:pt x="14759" y="12903"/>
                  </a:lnTo>
                  <a:cubicBezTo>
                    <a:pt x="16689" y="11915"/>
                    <a:pt x="17969" y="9998"/>
                    <a:pt x="18135" y="7839"/>
                  </a:cubicBezTo>
                  <a:cubicBezTo>
                    <a:pt x="18383" y="7754"/>
                    <a:pt x="18612" y="7618"/>
                    <a:pt x="18799" y="7437"/>
                  </a:cubicBezTo>
                  <a:cubicBezTo>
                    <a:pt x="19134" y="7123"/>
                    <a:pt x="19325" y="6685"/>
                    <a:pt x="19325" y="6230"/>
                  </a:cubicBezTo>
                  <a:lnTo>
                    <a:pt x="19325" y="5097"/>
                  </a:lnTo>
                  <a:cubicBezTo>
                    <a:pt x="19325" y="4783"/>
                    <a:pt x="19071" y="4530"/>
                    <a:pt x="18760" y="4530"/>
                  </a:cubicBezTo>
                  <a:cubicBezTo>
                    <a:pt x="18446" y="4530"/>
                    <a:pt x="18192" y="4783"/>
                    <a:pt x="18192" y="5097"/>
                  </a:cubicBezTo>
                  <a:lnTo>
                    <a:pt x="18192" y="6230"/>
                  </a:lnTo>
                  <a:cubicBezTo>
                    <a:pt x="18192" y="6332"/>
                    <a:pt x="18159" y="6435"/>
                    <a:pt x="18099" y="6522"/>
                  </a:cubicBezTo>
                  <a:cubicBezTo>
                    <a:pt x="17688" y="3482"/>
                    <a:pt x="15079" y="1133"/>
                    <a:pt x="11927" y="1133"/>
                  </a:cubicBezTo>
                  <a:lnTo>
                    <a:pt x="7398" y="1133"/>
                  </a:lnTo>
                  <a:cubicBezTo>
                    <a:pt x="7041" y="1136"/>
                    <a:pt x="6685" y="1169"/>
                    <a:pt x="6332" y="1238"/>
                  </a:cubicBezTo>
                  <a:cubicBezTo>
                    <a:pt x="5807" y="465"/>
                    <a:pt x="4934" y="3"/>
                    <a:pt x="40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19" name="Google Shape;6219;p71"/>
            <p:cNvSpPr/>
            <p:nvPr/>
          </p:nvSpPr>
          <p:spPr>
            <a:xfrm>
              <a:off x="1658025" y="2615925"/>
              <a:ext cx="141550" cy="143450"/>
            </a:xfrm>
            <a:custGeom>
              <a:avLst/>
              <a:gdLst/>
              <a:ahLst/>
              <a:cxnLst/>
              <a:rect l="l" t="t" r="r" b="b"/>
              <a:pathLst>
                <a:path w="5662" h="5738" extrusionOk="0">
                  <a:moveTo>
                    <a:pt x="2829" y="1133"/>
                  </a:moveTo>
                  <a:cubicBezTo>
                    <a:pt x="3750" y="1133"/>
                    <a:pt x="4529" y="1945"/>
                    <a:pt x="4529" y="2908"/>
                  </a:cubicBezTo>
                  <a:cubicBezTo>
                    <a:pt x="4526" y="3845"/>
                    <a:pt x="3768" y="4605"/>
                    <a:pt x="2829" y="4605"/>
                  </a:cubicBezTo>
                  <a:cubicBezTo>
                    <a:pt x="1890" y="4605"/>
                    <a:pt x="1132" y="3845"/>
                    <a:pt x="1132" y="2908"/>
                  </a:cubicBezTo>
                  <a:cubicBezTo>
                    <a:pt x="1132" y="1945"/>
                    <a:pt x="1908" y="1133"/>
                    <a:pt x="2829" y="1133"/>
                  </a:cubicBezTo>
                  <a:close/>
                  <a:moveTo>
                    <a:pt x="2829" y="1"/>
                  </a:moveTo>
                  <a:cubicBezTo>
                    <a:pt x="2075" y="1"/>
                    <a:pt x="1359" y="312"/>
                    <a:pt x="818" y="876"/>
                  </a:cubicBezTo>
                  <a:cubicBezTo>
                    <a:pt x="293" y="1423"/>
                    <a:pt x="0" y="2151"/>
                    <a:pt x="0" y="2908"/>
                  </a:cubicBezTo>
                  <a:cubicBezTo>
                    <a:pt x="0" y="4470"/>
                    <a:pt x="1265" y="5738"/>
                    <a:pt x="2829" y="5738"/>
                  </a:cubicBezTo>
                  <a:cubicBezTo>
                    <a:pt x="4393" y="5738"/>
                    <a:pt x="5662" y="4470"/>
                    <a:pt x="5662" y="2908"/>
                  </a:cubicBezTo>
                  <a:cubicBezTo>
                    <a:pt x="5659" y="2151"/>
                    <a:pt x="5366" y="1423"/>
                    <a:pt x="4840" y="876"/>
                  </a:cubicBezTo>
                  <a:cubicBezTo>
                    <a:pt x="4303" y="312"/>
                    <a:pt x="3584" y="1"/>
                    <a:pt x="2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20" name="Google Shape;6220;p71"/>
          <p:cNvGrpSpPr/>
          <p:nvPr/>
        </p:nvGrpSpPr>
        <p:grpSpPr>
          <a:xfrm>
            <a:off x="7852716" y="3049900"/>
            <a:ext cx="471419" cy="453581"/>
            <a:chOff x="2077575" y="2615925"/>
            <a:chExt cx="502150" cy="483150"/>
          </a:xfrm>
        </p:grpSpPr>
        <p:sp>
          <p:nvSpPr>
            <p:cNvPr id="6221" name="Google Shape;6221;p71"/>
            <p:cNvSpPr/>
            <p:nvPr/>
          </p:nvSpPr>
          <p:spPr>
            <a:xfrm>
              <a:off x="2213375" y="2817500"/>
              <a:ext cx="151225" cy="148400"/>
            </a:xfrm>
            <a:custGeom>
              <a:avLst/>
              <a:gdLst/>
              <a:ahLst/>
              <a:cxnLst/>
              <a:rect l="l" t="t" r="r" b="b"/>
              <a:pathLst>
                <a:path w="6049" h="5936" extrusionOk="0">
                  <a:moveTo>
                    <a:pt x="5426" y="0"/>
                  </a:moveTo>
                  <a:cubicBezTo>
                    <a:pt x="5281" y="0"/>
                    <a:pt x="5136" y="56"/>
                    <a:pt x="5025" y="166"/>
                  </a:cubicBezTo>
                  <a:lnTo>
                    <a:pt x="4557" y="634"/>
                  </a:lnTo>
                  <a:cubicBezTo>
                    <a:pt x="4322" y="522"/>
                    <a:pt x="4072" y="468"/>
                    <a:pt x="3825" y="468"/>
                  </a:cubicBezTo>
                  <a:cubicBezTo>
                    <a:pt x="3288" y="468"/>
                    <a:pt x="2764" y="723"/>
                    <a:pt x="2437" y="1186"/>
                  </a:cubicBezTo>
                  <a:cubicBezTo>
                    <a:pt x="1957" y="1863"/>
                    <a:pt x="2038" y="2784"/>
                    <a:pt x="2624" y="3369"/>
                  </a:cubicBezTo>
                  <a:cubicBezTo>
                    <a:pt x="2980" y="3726"/>
                    <a:pt x="2727" y="4336"/>
                    <a:pt x="2223" y="4336"/>
                  </a:cubicBezTo>
                  <a:cubicBezTo>
                    <a:pt x="1718" y="4336"/>
                    <a:pt x="1468" y="3726"/>
                    <a:pt x="1824" y="3369"/>
                  </a:cubicBezTo>
                  <a:cubicBezTo>
                    <a:pt x="2044" y="3149"/>
                    <a:pt x="2044" y="2790"/>
                    <a:pt x="1824" y="2569"/>
                  </a:cubicBezTo>
                  <a:cubicBezTo>
                    <a:pt x="1714" y="2458"/>
                    <a:pt x="1569" y="2402"/>
                    <a:pt x="1424" y="2402"/>
                  </a:cubicBezTo>
                  <a:cubicBezTo>
                    <a:pt x="1279" y="2402"/>
                    <a:pt x="1134" y="2458"/>
                    <a:pt x="1024" y="2569"/>
                  </a:cubicBezTo>
                  <a:cubicBezTo>
                    <a:pt x="514" y="3077"/>
                    <a:pt x="381" y="3853"/>
                    <a:pt x="692" y="4502"/>
                  </a:cubicBezTo>
                  <a:lnTo>
                    <a:pt x="221" y="4970"/>
                  </a:lnTo>
                  <a:cubicBezTo>
                    <a:pt x="0" y="5190"/>
                    <a:pt x="0" y="5549"/>
                    <a:pt x="221" y="5770"/>
                  </a:cubicBezTo>
                  <a:cubicBezTo>
                    <a:pt x="332" y="5880"/>
                    <a:pt x="477" y="5935"/>
                    <a:pt x="622" y="5935"/>
                  </a:cubicBezTo>
                  <a:cubicBezTo>
                    <a:pt x="767" y="5935"/>
                    <a:pt x="912" y="5880"/>
                    <a:pt x="1024" y="5770"/>
                  </a:cubicBezTo>
                  <a:lnTo>
                    <a:pt x="1492" y="5302"/>
                  </a:lnTo>
                  <a:cubicBezTo>
                    <a:pt x="1726" y="5414"/>
                    <a:pt x="1975" y="5467"/>
                    <a:pt x="2220" y="5467"/>
                  </a:cubicBezTo>
                  <a:cubicBezTo>
                    <a:pt x="2758" y="5467"/>
                    <a:pt x="3281" y="5211"/>
                    <a:pt x="3608" y="4749"/>
                  </a:cubicBezTo>
                  <a:cubicBezTo>
                    <a:pt x="4089" y="4073"/>
                    <a:pt x="4010" y="3152"/>
                    <a:pt x="3424" y="2569"/>
                  </a:cubicBezTo>
                  <a:cubicBezTo>
                    <a:pt x="3068" y="2210"/>
                    <a:pt x="3322" y="1600"/>
                    <a:pt x="3826" y="1600"/>
                  </a:cubicBezTo>
                  <a:cubicBezTo>
                    <a:pt x="4330" y="1600"/>
                    <a:pt x="4581" y="2210"/>
                    <a:pt x="4224" y="2569"/>
                  </a:cubicBezTo>
                  <a:cubicBezTo>
                    <a:pt x="4004" y="2790"/>
                    <a:pt x="4004" y="3146"/>
                    <a:pt x="4224" y="3369"/>
                  </a:cubicBezTo>
                  <a:cubicBezTo>
                    <a:pt x="4335" y="3480"/>
                    <a:pt x="4480" y="3535"/>
                    <a:pt x="4624" y="3535"/>
                  </a:cubicBezTo>
                  <a:cubicBezTo>
                    <a:pt x="4769" y="3535"/>
                    <a:pt x="4914" y="3480"/>
                    <a:pt x="5025" y="3369"/>
                  </a:cubicBezTo>
                  <a:cubicBezTo>
                    <a:pt x="5535" y="2859"/>
                    <a:pt x="5668" y="2086"/>
                    <a:pt x="5360" y="1434"/>
                  </a:cubicBezTo>
                  <a:lnTo>
                    <a:pt x="5828" y="966"/>
                  </a:lnTo>
                  <a:cubicBezTo>
                    <a:pt x="6048" y="745"/>
                    <a:pt x="6048" y="386"/>
                    <a:pt x="5828" y="166"/>
                  </a:cubicBezTo>
                  <a:cubicBezTo>
                    <a:pt x="5716" y="56"/>
                    <a:pt x="5571" y="0"/>
                    <a:pt x="5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2" name="Google Shape;6222;p71"/>
            <p:cNvSpPr/>
            <p:nvPr/>
          </p:nvSpPr>
          <p:spPr>
            <a:xfrm>
              <a:off x="2333550" y="2737450"/>
              <a:ext cx="51050" cy="48325"/>
            </a:xfrm>
            <a:custGeom>
              <a:avLst/>
              <a:gdLst/>
              <a:ahLst/>
              <a:cxnLst/>
              <a:rect l="l" t="t" r="r" b="b"/>
              <a:pathLst>
                <a:path w="2042" h="1933" extrusionOk="0">
                  <a:moveTo>
                    <a:pt x="619" y="1"/>
                  </a:moveTo>
                  <a:cubicBezTo>
                    <a:pt x="475" y="1"/>
                    <a:pt x="330" y="56"/>
                    <a:pt x="221" y="167"/>
                  </a:cubicBezTo>
                  <a:cubicBezTo>
                    <a:pt x="0" y="388"/>
                    <a:pt x="0" y="747"/>
                    <a:pt x="221" y="967"/>
                  </a:cubicBezTo>
                  <a:lnTo>
                    <a:pt x="1021" y="1767"/>
                  </a:lnTo>
                  <a:cubicBezTo>
                    <a:pt x="1131" y="1878"/>
                    <a:pt x="1276" y="1933"/>
                    <a:pt x="1421" y="1933"/>
                  </a:cubicBezTo>
                  <a:cubicBezTo>
                    <a:pt x="1566" y="1933"/>
                    <a:pt x="1711" y="1878"/>
                    <a:pt x="1821" y="1767"/>
                  </a:cubicBezTo>
                  <a:cubicBezTo>
                    <a:pt x="2041" y="1547"/>
                    <a:pt x="2041" y="1188"/>
                    <a:pt x="1821" y="967"/>
                  </a:cubicBezTo>
                  <a:lnTo>
                    <a:pt x="1021" y="167"/>
                  </a:lnTo>
                  <a:cubicBezTo>
                    <a:pt x="910" y="57"/>
                    <a:pt x="765" y="1"/>
                    <a:pt x="6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3" name="Google Shape;6223;p71"/>
            <p:cNvSpPr/>
            <p:nvPr/>
          </p:nvSpPr>
          <p:spPr>
            <a:xfrm>
              <a:off x="2393550" y="2797500"/>
              <a:ext cx="51125" cy="48375"/>
            </a:xfrm>
            <a:custGeom>
              <a:avLst/>
              <a:gdLst/>
              <a:ahLst/>
              <a:cxnLst/>
              <a:rect l="l" t="t" r="r" b="b"/>
              <a:pathLst>
                <a:path w="2045" h="1935" extrusionOk="0">
                  <a:moveTo>
                    <a:pt x="621" y="0"/>
                  </a:moveTo>
                  <a:cubicBezTo>
                    <a:pt x="476" y="0"/>
                    <a:pt x="331" y="55"/>
                    <a:pt x="221" y="166"/>
                  </a:cubicBezTo>
                  <a:cubicBezTo>
                    <a:pt x="1" y="386"/>
                    <a:pt x="1" y="745"/>
                    <a:pt x="221" y="966"/>
                  </a:cubicBezTo>
                  <a:lnTo>
                    <a:pt x="1021" y="1769"/>
                  </a:lnTo>
                  <a:cubicBezTo>
                    <a:pt x="1131" y="1879"/>
                    <a:pt x="1276" y="1934"/>
                    <a:pt x="1421" y="1934"/>
                  </a:cubicBezTo>
                  <a:cubicBezTo>
                    <a:pt x="1566" y="1934"/>
                    <a:pt x="1711" y="1879"/>
                    <a:pt x="1821" y="1769"/>
                  </a:cubicBezTo>
                  <a:cubicBezTo>
                    <a:pt x="2045" y="1545"/>
                    <a:pt x="2042" y="1189"/>
                    <a:pt x="1821" y="966"/>
                  </a:cubicBezTo>
                  <a:lnTo>
                    <a:pt x="1021" y="166"/>
                  </a:lnTo>
                  <a:cubicBezTo>
                    <a:pt x="911" y="55"/>
                    <a:pt x="766" y="0"/>
                    <a:pt x="6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4" name="Google Shape;6224;p71"/>
            <p:cNvSpPr/>
            <p:nvPr/>
          </p:nvSpPr>
          <p:spPr>
            <a:xfrm>
              <a:off x="2077575" y="2615925"/>
              <a:ext cx="502150" cy="483150"/>
            </a:xfrm>
            <a:custGeom>
              <a:avLst/>
              <a:gdLst/>
              <a:ahLst/>
              <a:cxnLst/>
              <a:rect l="l" t="t" r="r" b="b"/>
              <a:pathLst>
                <a:path w="20086" h="19326" extrusionOk="0">
                  <a:moveTo>
                    <a:pt x="14865" y="4061"/>
                  </a:moveTo>
                  <a:cubicBezTo>
                    <a:pt x="14901" y="4061"/>
                    <a:pt x="14937" y="4064"/>
                    <a:pt x="14974" y="4071"/>
                  </a:cubicBezTo>
                  <a:cubicBezTo>
                    <a:pt x="15239" y="4125"/>
                    <a:pt x="15430" y="4358"/>
                    <a:pt x="15430" y="4627"/>
                  </a:cubicBezTo>
                  <a:cubicBezTo>
                    <a:pt x="15430" y="4778"/>
                    <a:pt x="15369" y="4922"/>
                    <a:pt x="15264" y="5028"/>
                  </a:cubicBezTo>
                  <a:cubicBezTo>
                    <a:pt x="15153" y="5137"/>
                    <a:pt x="15008" y="5194"/>
                    <a:pt x="14862" y="5194"/>
                  </a:cubicBezTo>
                  <a:cubicBezTo>
                    <a:pt x="14753" y="5194"/>
                    <a:pt x="14643" y="5162"/>
                    <a:pt x="14548" y="5098"/>
                  </a:cubicBezTo>
                  <a:cubicBezTo>
                    <a:pt x="14324" y="4947"/>
                    <a:pt x="14237" y="4660"/>
                    <a:pt x="14340" y="4409"/>
                  </a:cubicBezTo>
                  <a:cubicBezTo>
                    <a:pt x="14428" y="4195"/>
                    <a:pt x="14638" y="4061"/>
                    <a:pt x="14865" y="4061"/>
                  </a:cubicBezTo>
                  <a:close/>
                  <a:moveTo>
                    <a:pt x="13258" y="1136"/>
                  </a:moveTo>
                  <a:cubicBezTo>
                    <a:pt x="14386" y="1136"/>
                    <a:pt x="15514" y="1507"/>
                    <a:pt x="16441" y="2247"/>
                  </a:cubicBezTo>
                  <a:lnTo>
                    <a:pt x="15593" y="3096"/>
                  </a:lnTo>
                  <a:cubicBezTo>
                    <a:pt x="15349" y="2979"/>
                    <a:pt x="15100" y="2926"/>
                    <a:pt x="14858" y="2926"/>
                  </a:cubicBezTo>
                  <a:cubicBezTo>
                    <a:pt x="13865" y="2926"/>
                    <a:pt x="12999" y="3824"/>
                    <a:pt x="13186" y="4916"/>
                  </a:cubicBezTo>
                  <a:cubicBezTo>
                    <a:pt x="13295" y="5541"/>
                    <a:pt x="13742" y="6055"/>
                    <a:pt x="14346" y="6248"/>
                  </a:cubicBezTo>
                  <a:cubicBezTo>
                    <a:pt x="14514" y="6301"/>
                    <a:pt x="14688" y="6327"/>
                    <a:pt x="14859" y="6327"/>
                  </a:cubicBezTo>
                  <a:cubicBezTo>
                    <a:pt x="15304" y="6327"/>
                    <a:pt x="15739" y="6153"/>
                    <a:pt x="16064" y="5828"/>
                  </a:cubicBezTo>
                  <a:cubicBezTo>
                    <a:pt x="16571" y="5321"/>
                    <a:pt x="16704" y="4545"/>
                    <a:pt x="16396" y="3896"/>
                  </a:cubicBezTo>
                  <a:lnTo>
                    <a:pt x="17241" y="3050"/>
                  </a:lnTo>
                  <a:lnTo>
                    <a:pt x="17241" y="3050"/>
                  </a:lnTo>
                  <a:cubicBezTo>
                    <a:pt x="18842" y="5046"/>
                    <a:pt x="18715" y="7981"/>
                    <a:pt x="16864" y="9832"/>
                  </a:cubicBezTo>
                  <a:lnTo>
                    <a:pt x="16462" y="10231"/>
                  </a:lnTo>
                  <a:lnTo>
                    <a:pt x="16064" y="9832"/>
                  </a:lnTo>
                  <a:cubicBezTo>
                    <a:pt x="15952" y="9722"/>
                    <a:pt x="15806" y="9666"/>
                    <a:pt x="15661" y="9666"/>
                  </a:cubicBezTo>
                  <a:cubicBezTo>
                    <a:pt x="15516" y="9666"/>
                    <a:pt x="15372" y="9721"/>
                    <a:pt x="15261" y="9832"/>
                  </a:cubicBezTo>
                  <a:cubicBezTo>
                    <a:pt x="15040" y="10053"/>
                    <a:pt x="15040" y="10412"/>
                    <a:pt x="15261" y="10632"/>
                  </a:cubicBezTo>
                  <a:lnTo>
                    <a:pt x="15662" y="11034"/>
                  </a:lnTo>
                  <a:lnTo>
                    <a:pt x="8666" y="18027"/>
                  </a:lnTo>
                  <a:cubicBezTo>
                    <a:pt x="8556" y="18137"/>
                    <a:pt x="8411" y="18192"/>
                    <a:pt x="8266" y="18192"/>
                  </a:cubicBezTo>
                  <a:cubicBezTo>
                    <a:pt x="8121" y="18192"/>
                    <a:pt x="7976" y="18137"/>
                    <a:pt x="7866" y="18027"/>
                  </a:cubicBezTo>
                  <a:lnTo>
                    <a:pt x="1462" y="11623"/>
                  </a:lnTo>
                  <a:cubicBezTo>
                    <a:pt x="1241" y="11402"/>
                    <a:pt x="1241" y="11043"/>
                    <a:pt x="1462" y="10822"/>
                  </a:cubicBezTo>
                  <a:lnTo>
                    <a:pt x="8458" y="3826"/>
                  </a:lnTo>
                  <a:lnTo>
                    <a:pt x="8856" y="4228"/>
                  </a:lnTo>
                  <a:cubicBezTo>
                    <a:pt x="8966" y="4338"/>
                    <a:pt x="9111" y="4393"/>
                    <a:pt x="9256" y="4393"/>
                  </a:cubicBezTo>
                  <a:cubicBezTo>
                    <a:pt x="9401" y="4393"/>
                    <a:pt x="9546" y="4338"/>
                    <a:pt x="9656" y="4228"/>
                  </a:cubicBezTo>
                  <a:cubicBezTo>
                    <a:pt x="9880" y="4005"/>
                    <a:pt x="9877" y="3648"/>
                    <a:pt x="9656" y="3425"/>
                  </a:cubicBezTo>
                  <a:lnTo>
                    <a:pt x="9258" y="3026"/>
                  </a:lnTo>
                  <a:lnTo>
                    <a:pt x="9656" y="2625"/>
                  </a:lnTo>
                  <a:cubicBezTo>
                    <a:pt x="10649" y="1632"/>
                    <a:pt x="11954" y="1136"/>
                    <a:pt x="13258" y="1136"/>
                  </a:cubicBezTo>
                  <a:close/>
                  <a:moveTo>
                    <a:pt x="13261" y="1"/>
                  </a:moveTo>
                  <a:cubicBezTo>
                    <a:pt x="11661" y="1"/>
                    <a:pt x="10066" y="615"/>
                    <a:pt x="8856" y="1825"/>
                  </a:cubicBezTo>
                  <a:lnTo>
                    <a:pt x="8056" y="2625"/>
                  </a:lnTo>
                  <a:lnTo>
                    <a:pt x="661" y="10019"/>
                  </a:lnTo>
                  <a:cubicBezTo>
                    <a:pt x="0" y="10684"/>
                    <a:pt x="0" y="11759"/>
                    <a:pt x="661" y="12423"/>
                  </a:cubicBezTo>
                  <a:lnTo>
                    <a:pt x="7066" y="18827"/>
                  </a:lnTo>
                  <a:cubicBezTo>
                    <a:pt x="7398" y="19159"/>
                    <a:pt x="7833" y="19325"/>
                    <a:pt x="8267" y="19325"/>
                  </a:cubicBezTo>
                  <a:cubicBezTo>
                    <a:pt x="8702" y="19325"/>
                    <a:pt x="9137" y="19159"/>
                    <a:pt x="9469" y="18827"/>
                  </a:cubicBezTo>
                  <a:lnTo>
                    <a:pt x="17664" y="10632"/>
                  </a:lnTo>
                  <a:cubicBezTo>
                    <a:pt x="19956" y="8337"/>
                    <a:pt x="20086" y="4687"/>
                    <a:pt x="18044" y="2244"/>
                  </a:cubicBezTo>
                  <a:lnTo>
                    <a:pt x="19264" y="1024"/>
                  </a:lnTo>
                  <a:cubicBezTo>
                    <a:pt x="19485" y="804"/>
                    <a:pt x="19485" y="445"/>
                    <a:pt x="19264" y="224"/>
                  </a:cubicBezTo>
                  <a:cubicBezTo>
                    <a:pt x="19154" y="114"/>
                    <a:pt x="19009" y="59"/>
                    <a:pt x="18864" y="59"/>
                  </a:cubicBezTo>
                  <a:cubicBezTo>
                    <a:pt x="18719" y="59"/>
                    <a:pt x="18574" y="114"/>
                    <a:pt x="18464" y="224"/>
                  </a:cubicBezTo>
                  <a:lnTo>
                    <a:pt x="17244" y="1444"/>
                  </a:lnTo>
                  <a:cubicBezTo>
                    <a:pt x="16086" y="478"/>
                    <a:pt x="14671" y="1"/>
                    <a:pt x="13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25" name="Google Shape;6225;p71"/>
          <p:cNvGrpSpPr/>
          <p:nvPr/>
        </p:nvGrpSpPr>
        <p:grpSpPr>
          <a:xfrm>
            <a:off x="8417768" y="3071269"/>
            <a:ext cx="446048" cy="410843"/>
            <a:chOff x="2680100" y="2638725"/>
            <a:chExt cx="475125" cy="437625"/>
          </a:xfrm>
        </p:grpSpPr>
        <p:sp>
          <p:nvSpPr>
            <p:cNvPr id="6226" name="Google Shape;6226;p71"/>
            <p:cNvSpPr/>
            <p:nvPr/>
          </p:nvSpPr>
          <p:spPr>
            <a:xfrm>
              <a:off x="2680100" y="2638725"/>
              <a:ext cx="475125" cy="437625"/>
            </a:xfrm>
            <a:custGeom>
              <a:avLst/>
              <a:gdLst/>
              <a:ahLst/>
              <a:cxnLst/>
              <a:rect l="l" t="t" r="r" b="b"/>
              <a:pathLst>
                <a:path w="19005" h="17505" extrusionOk="0">
                  <a:moveTo>
                    <a:pt x="11399" y="1133"/>
                  </a:moveTo>
                  <a:cubicBezTo>
                    <a:pt x="11803" y="1133"/>
                    <a:pt x="12130" y="1462"/>
                    <a:pt x="12133" y="1867"/>
                  </a:cubicBezTo>
                  <a:lnTo>
                    <a:pt x="12133" y="3301"/>
                  </a:lnTo>
                  <a:lnTo>
                    <a:pt x="6876" y="3301"/>
                  </a:lnTo>
                  <a:lnTo>
                    <a:pt x="6873" y="1867"/>
                  </a:lnTo>
                  <a:cubicBezTo>
                    <a:pt x="6876" y="1462"/>
                    <a:pt x="7202" y="1133"/>
                    <a:pt x="7606" y="1133"/>
                  </a:cubicBezTo>
                  <a:close/>
                  <a:moveTo>
                    <a:pt x="2815" y="4433"/>
                  </a:moveTo>
                  <a:lnTo>
                    <a:pt x="2815" y="5430"/>
                  </a:lnTo>
                  <a:cubicBezTo>
                    <a:pt x="2815" y="5880"/>
                    <a:pt x="2449" y="6245"/>
                    <a:pt x="1999" y="6245"/>
                  </a:cubicBezTo>
                  <a:lnTo>
                    <a:pt x="1133" y="6245"/>
                  </a:lnTo>
                  <a:lnTo>
                    <a:pt x="1133" y="4433"/>
                  </a:lnTo>
                  <a:close/>
                  <a:moveTo>
                    <a:pt x="17873" y="4433"/>
                  </a:moveTo>
                  <a:lnTo>
                    <a:pt x="17873" y="6248"/>
                  </a:lnTo>
                  <a:lnTo>
                    <a:pt x="17006" y="6248"/>
                  </a:lnTo>
                  <a:cubicBezTo>
                    <a:pt x="16556" y="6248"/>
                    <a:pt x="16191" y="5883"/>
                    <a:pt x="16191" y="5433"/>
                  </a:cubicBezTo>
                  <a:lnTo>
                    <a:pt x="16191" y="4433"/>
                  </a:lnTo>
                  <a:close/>
                  <a:moveTo>
                    <a:pt x="15058" y="4430"/>
                  </a:moveTo>
                  <a:lnTo>
                    <a:pt x="15058" y="5430"/>
                  </a:lnTo>
                  <a:cubicBezTo>
                    <a:pt x="15058" y="6505"/>
                    <a:pt x="15931" y="7377"/>
                    <a:pt x="17006" y="7377"/>
                  </a:cubicBezTo>
                  <a:lnTo>
                    <a:pt x="17873" y="7377"/>
                  </a:lnTo>
                  <a:lnTo>
                    <a:pt x="17873" y="13422"/>
                  </a:lnTo>
                  <a:lnTo>
                    <a:pt x="17006" y="13422"/>
                  </a:lnTo>
                  <a:cubicBezTo>
                    <a:pt x="15931" y="13425"/>
                    <a:pt x="15058" y="14295"/>
                    <a:pt x="15058" y="15373"/>
                  </a:cubicBezTo>
                  <a:lnTo>
                    <a:pt x="15058" y="16369"/>
                  </a:lnTo>
                  <a:lnTo>
                    <a:pt x="3947" y="16369"/>
                  </a:lnTo>
                  <a:lnTo>
                    <a:pt x="3947" y="15373"/>
                  </a:lnTo>
                  <a:cubicBezTo>
                    <a:pt x="3947" y="14295"/>
                    <a:pt x="3074" y="13425"/>
                    <a:pt x="1999" y="13422"/>
                  </a:cubicBezTo>
                  <a:lnTo>
                    <a:pt x="1133" y="13422"/>
                  </a:lnTo>
                  <a:lnTo>
                    <a:pt x="1133" y="7377"/>
                  </a:lnTo>
                  <a:lnTo>
                    <a:pt x="1999" y="7377"/>
                  </a:lnTo>
                  <a:cubicBezTo>
                    <a:pt x="3074" y="7377"/>
                    <a:pt x="3947" y="6505"/>
                    <a:pt x="3947" y="5430"/>
                  </a:cubicBezTo>
                  <a:lnTo>
                    <a:pt x="3947" y="4430"/>
                  </a:lnTo>
                  <a:close/>
                  <a:moveTo>
                    <a:pt x="1999" y="14557"/>
                  </a:moveTo>
                  <a:cubicBezTo>
                    <a:pt x="2449" y="14557"/>
                    <a:pt x="2815" y="14923"/>
                    <a:pt x="2815" y="15376"/>
                  </a:cubicBezTo>
                  <a:lnTo>
                    <a:pt x="2815" y="16372"/>
                  </a:lnTo>
                  <a:lnTo>
                    <a:pt x="1133" y="16372"/>
                  </a:lnTo>
                  <a:lnTo>
                    <a:pt x="1133" y="14557"/>
                  </a:lnTo>
                  <a:close/>
                  <a:moveTo>
                    <a:pt x="17873" y="14557"/>
                  </a:moveTo>
                  <a:lnTo>
                    <a:pt x="17873" y="16372"/>
                  </a:lnTo>
                  <a:lnTo>
                    <a:pt x="16191" y="16372"/>
                  </a:lnTo>
                  <a:lnTo>
                    <a:pt x="16191" y="15376"/>
                  </a:lnTo>
                  <a:cubicBezTo>
                    <a:pt x="16191" y="14923"/>
                    <a:pt x="16556" y="14557"/>
                    <a:pt x="17006" y="14557"/>
                  </a:cubicBezTo>
                  <a:close/>
                  <a:moveTo>
                    <a:pt x="7606" y="1"/>
                  </a:moveTo>
                  <a:cubicBezTo>
                    <a:pt x="6577" y="1"/>
                    <a:pt x="5743" y="837"/>
                    <a:pt x="5743" y="1867"/>
                  </a:cubicBezTo>
                  <a:lnTo>
                    <a:pt x="5743" y="3301"/>
                  </a:lnTo>
                  <a:lnTo>
                    <a:pt x="1133" y="3301"/>
                  </a:lnTo>
                  <a:cubicBezTo>
                    <a:pt x="508" y="3301"/>
                    <a:pt x="0" y="3808"/>
                    <a:pt x="0" y="4433"/>
                  </a:cubicBezTo>
                  <a:lnTo>
                    <a:pt x="0" y="16372"/>
                  </a:lnTo>
                  <a:cubicBezTo>
                    <a:pt x="0" y="16997"/>
                    <a:pt x="508" y="17504"/>
                    <a:pt x="1133" y="17504"/>
                  </a:cubicBezTo>
                  <a:lnTo>
                    <a:pt x="17873" y="17504"/>
                  </a:lnTo>
                  <a:cubicBezTo>
                    <a:pt x="18498" y="17504"/>
                    <a:pt x="19005" y="16997"/>
                    <a:pt x="19005" y="16372"/>
                  </a:cubicBezTo>
                  <a:lnTo>
                    <a:pt x="19005" y="4430"/>
                  </a:lnTo>
                  <a:cubicBezTo>
                    <a:pt x="19005" y="3805"/>
                    <a:pt x="18498" y="3298"/>
                    <a:pt x="17873" y="3298"/>
                  </a:cubicBezTo>
                  <a:lnTo>
                    <a:pt x="13265" y="3298"/>
                  </a:lnTo>
                  <a:lnTo>
                    <a:pt x="13265" y="1864"/>
                  </a:lnTo>
                  <a:cubicBezTo>
                    <a:pt x="13262" y="834"/>
                    <a:pt x="12428" y="1"/>
                    <a:pt x="113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7" name="Google Shape;6227;p71"/>
            <p:cNvSpPr/>
            <p:nvPr/>
          </p:nvSpPr>
          <p:spPr>
            <a:xfrm>
              <a:off x="2795000" y="2810525"/>
              <a:ext cx="237800" cy="164300"/>
            </a:xfrm>
            <a:custGeom>
              <a:avLst/>
              <a:gdLst/>
              <a:ahLst/>
              <a:cxnLst/>
              <a:rect l="l" t="t" r="r" b="b"/>
              <a:pathLst>
                <a:path w="9512" h="6572" extrusionOk="0">
                  <a:moveTo>
                    <a:pt x="8379" y="1133"/>
                  </a:moveTo>
                  <a:lnTo>
                    <a:pt x="8379" y="5439"/>
                  </a:lnTo>
                  <a:lnTo>
                    <a:pt x="1132" y="5439"/>
                  </a:lnTo>
                  <a:lnTo>
                    <a:pt x="1132" y="1133"/>
                  </a:lnTo>
                  <a:close/>
                  <a:moveTo>
                    <a:pt x="568" y="1"/>
                  </a:moveTo>
                  <a:cubicBezTo>
                    <a:pt x="254" y="1"/>
                    <a:pt x="0" y="255"/>
                    <a:pt x="0" y="566"/>
                  </a:cubicBezTo>
                  <a:lnTo>
                    <a:pt x="0" y="6007"/>
                  </a:lnTo>
                  <a:cubicBezTo>
                    <a:pt x="0" y="6318"/>
                    <a:pt x="254" y="6571"/>
                    <a:pt x="568" y="6571"/>
                  </a:cubicBezTo>
                  <a:lnTo>
                    <a:pt x="8947" y="6571"/>
                  </a:lnTo>
                  <a:cubicBezTo>
                    <a:pt x="9258" y="6571"/>
                    <a:pt x="9511" y="6318"/>
                    <a:pt x="9511" y="6007"/>
                  </a:cubicBezTo>
                  <a:lnTo>
                    <a:pt x="9511" y="566"/>
                  </a:lnTo>
                  <a:cubicBezTo>
                    <a:pt x="9511" y="255"/>
                    <a:pt x="9258" y="1"/>
                    <a:pt x="89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8" name="Google Shape;6228;p71"/>
            <p:cNvSpPr/>
            <p:nvPr/>
          </p:nvSpPr>
          <p:spPr>
            <a:xfrm>
              <a:off x="2871900" y="2856725"/>
              <a:ext cx="91525" cy="28350"/>
            </a:xfrm>
            <a:custGeom>
              <a:avLst/>
              <a:gdLst/>
              <a:ahLst/>
              <a:cxnLst/>
              <a:rect l="l" t="t" r="r" b="b"/>
              <a:pathLst>
                <a:path w="3661" h="1134" extrusionOk="0">
                  <a:moveTo>
                    <a:pt x="565" y="1"/>
                  </a:moveTo>
                  <a:cubicBezTo>
                    <a:pt x="254" y="1"/>
                    <a:pt x="1" y="254"/>
                    <a:pt x="1" y="565"/>
                  </a:cubicBezTo>
                  <a:cubicBezTo>
                    <a:pt x="1" y="879"/>
                    <a:pt x="254" y="1133"/>
                    <a:pt x="565" y="1133"/>
                  </a:cubicBezTo>
                  <a:lnTo>
                    <a:pt x="3096" y="1133"/>
                  </a:lnTo>
                  <a:cubicBezTo>
                    <a:pt x="3407" y="1133"/>
                    <a:pt x="3660" y="879"/>
                    <a:pt x="3660" y="565"/>
                  </a:cubicBezTo>
                  <a:cubicBezTo>
                    <a:pt x="3660" y="254"/>
                    <a:pt x="3407" y="1"/>
                    <a:pt x="3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29" name="Google Shape;6229;p71"/>
            <p:cNvSpPr/>
            <p:nvPr/>
          </p:nvSpPr>
          <p:spPr>
            <a:xfrm>
              <a:off x="2845500" y="2900300"/>
              <a:ext cx="144350" cy="28325"/>
            </a:xfrm>
            <a:custGeom>
              <a:avLst/>
              <a:gdLst/>
              <a:ahLst/>
              <a:cxnLst/>
              <a:rect l="l" t="t" r="r" b="b"/>
              <a:pathLst>
                <a:path w="5774" h="1133" extrusionOk="0">
                  <a:moveTo>
                    <a:pt x="565" y="0"/>
                  </a:moveTo>
                  <a:cubicBezTo>
                    <a:pt x="254" y="0"/>
                    <a:pt x="0" y="254"/>
                    <a:pt x="0" y="568"/>
                  </a:cubicBezTo>
                  <a:cubicBezTo>
                    <a:pt x="0" y="879"/>
                    <a:pt x="254" y="1132"/>
                    <a:pt x="565" y="1132"/>
                  </a:cubicBezTo>
                  <a:lnTo>
                    <a:pt x="5209" y="1132"/>
                  </a:lnTo>
                  <a:cubicBezTo>
                    <a:pt x="5520" y="1132"/>
                    <a:pt x="5773" y="879"/>
                    <a:pt x="5773" y="568"/>
                  </a:cubicBezTo>
                  <a:cubicBezTo>
                    <a:pt x="5773" y="254"/>
                    <a:pt x="5520" y="0"/>
                    <a:pt x="52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30" name="Google Shape;6230;p71"/>
          <p:cNvGrpSpPr/>
          <p:nvPr/>
        </p:nvGrpSpPr>
        <p:grpSpPr>
          <a:xfrm>
            <a:off x="9038621" y="3049900"/>
            <a:ext cx="318911" cy="453581"/>
            <a:chOff x="3342275" y="2615925"/>
            <a:chExt cx="339700" cy="483150"/>
          </a:xfrm>
        </p:grpSpPr>
        <p:sp>
          <p:nvSpPr>
            <p:cNvPr id="6231" name="Google Shape;6231;p71"/>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32" name="Google Shape;6232;p71"/>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33" name="Google Shape;6233;p71"/>
          <p:cNvSpPr/>
          <p:nvPr/>
        </p:nvSpPr>
        <p:spPr>
          <a:xfrm>
            <a:off x="9562950" y="3049467"/>
            <a:ext cx="372069" cy="453581"/>
          </a:xfrm>
          <a:custGeom>
            <a:avLst/>
            <a:gdLst/>
            <a:ahLst/>
            <a:cxnLst/>
            <a:rect l="l" t="t" r="r" b="b"/>
            <a:pathLst>
              <a:path w="15853" h="19326" extrusionOk="0">
                <a:moveTo>
                  <a:pt x="9627" y="1133"/>
                </a:moveTo>
                <a:cubicBezTo>
                  <a:pt x="9938" y="1133"/>
                  <a:pt x="10191" y="1387"/>
                  <a:pt x="10191" y="1701"/>
                </a:cubicBezTo>
                <a:lnTo>
                  <a:pt x="10191" y="2265"/>
                </a:lnTo>
                <a:lnTo>
                  <a:pt x="1133" y="2265"/>
                </a:lnTo>
                <a:lnTo>
                  <a:pt x="1133" y="1701"/>
                </a:lnTo>
                <a:cubicBezTo>
                  <a:pt x="1133" y="1387"/>
                  <a:pt x="1387" y="1133"/>
                  <a:pt x="1701" y="1133"/>
                </a:cubicBezTo>
                <a:close/>
                <a:moveTo>
                  <a:pt x="10191" y="3398"/>
                </a:moveTo>
                <a:lnTo>
                  <a:pt x="10191" y="8063"/>
                </a:lnTo>
                <a:cubicBezTo>
                  <a:pt x="10009" y="7998"/>
                  <a:pt x="9817" y="7965"/>
                  <a:pt x="9625" y="7965"/>
                </a:cubicBezTo>
                <a:cubicBezTo>
                  <a:pt x="9434" y="7965"/>
                  <a:pt x="9242" y="7998"/>
                  <a:pt x="9059" y="8063"/>
                </a:cubicBezTo>
                <a:lnTo>
                  <a:pt x="9059" y="6230"/>
                </a:lnTo>
                <a:cubicBezTo>
                  <a:pt x="9059" y="5291"/>
                  <a:pt x="8298" y="4530"/>
                  <a:pt x="7362" y="4530"/>
                </a:cubicBezTo>
                <a:cubicBezTo>
                  <a:pt x="6423" y="4530"/>
                  <a:pt x="5662" y="5291"/>
                  <a:pt x="5662" y="6230"/>
                </a:cubicBezTo>
                <a:lnTo>
                  <a:pt x="5662" y="10285"/>
                </a:lnTo>
                <a:cubicBezTo>
                  <a:pt x="4346" y="10557"/>
                  <a:pt x="3401" y="11716"/>
                  <a:pt x="3398" y="13060"/>
                </a:cubicBezTo>
                <a:lnTo>
                  <a:pt x="3398" y="14231"/>
                </a:lnTo>
                <a:cubicBezTo>
                  <a:pt x="3398" y="14419"/>
                  <a:pt x="3404" y="14609"/>
                  <a:pt x="3413" y="14796"/>
                </a:cubicBezTo>
                <a:lnTo>
                  <a:pt x="1133" y="14796"/>
                </a:lnTo>
                <a:lnTo>
                  <a:pt x="1133" y="3398"/>
                </a:lnTo>
                <a:close/>
                <a:moveTo>
                  <a:pt x="3543" y="15928"/>
                </a:moveTo>
                <a:cubicBezTo>
                  <a:pt x="3606" y="16312"/>
                  <a:pt x="3694" y="16689"/>
                  <a:pt x="3802" y="17061"/>
                </a:cubicBezTo>
                <a:lnTo>
                  <a:pt x="1701" y="17061"/>
                </a:lnTo>
                <a:cubicBezTo>
                  <a:pt x="1387" y="17061"/>
                  <a:pt x="1133" y="16807"/>
                  <a:pt x="1133" y="16496"/>
                </a:cubicBezTo>
                <a:lnTo>
                  <a:pt x="1133" y="15928"/>
                </a:lnTo>
                <a:close/>
                <a:moveTo>
                  <a:pt x="7362" y="5662"/>
                </a:moveTo>
                <a:cubicBezTo>
                  <a:pt x="7673" y="5662"/>
                  <a:pt x="7927" y="5916"/>
                  <a:pt x="7927" y="6230"/>
                </a:cubicBezTo>
                <a:lnTo>
                  <a:pt x="7927" y="11928"/>
                </a:lnTo>
                <a:cubicBezTo>
                  <a:pt x="7927" y="12242"/>
                  <a:pt x="8181" y="12492"/>
                  <a:pt x="8495" y="12492"/>
                </a:cubicBezTo>
                <a:cubicBezTo>
                  <a:pt x="8806" y="12492"/>
                  <a:pt x="9059" y="12242"/>
                  <a:pt x="9059" y="11928"/>
                </a:cubicBezTo>
                <a:lnTo>
                  <a:pt x="9059" y="9663"/>
                </a:lnTo>
                <a:cubicBezTo>
                  <a:pt x="9059" y="9349"/>
                  <a:pt x="9313" y="9098"/>
                  <a:pt x="9627" y="9098"/>
                </a:cubicBezTo>
                <a:cubicBezTo>
                  <a:pt x="9938" y="9098"/>
                  <a:pt x="10191" y="9349"/>
                  <a:pt x="10191" y="9663"/>
                </a:cubicBezTo>
                <a:lnTo>
                  <a:pt x="10191" y="11928"/>
                </a:lnTo>
                <a:cubicBezTo>
                  <a:pt x="10191" y="12242"/>
                  <a:pt x="10445" y="12492"/>
                  <a:pt x="10759" y="12492"/>
                </a:cubicBezTo>
                <a:cubicBezTo>
                  <a:pt x="11070" y="12492"/>
                  <a:pt x="11324" y="12242"/>
                  <a:pt x="11324" y="11928"/>
                </a:cubicBezTo>
                <a:lnTo>
                  <a:pt x="11324" y="10795"/>
                </a:lnTo>
                <a:cubicBezTo>
                  <a:pt x="11324" y="10481"/>
                  <a:pt x="11577" y="10231"/>
                  <a:pt x="11891" y="10231"/>
                </a:cubicBezTo>
                <a:cubicBezTo>
                  <a:pt x="12202" y="10231"/>
                  <a:pt x="12456" y="10481"/>
                  <a:pt x="12456" y="10795"/>
                </a:cubicBezTo>
                <a:lnTo>
                  <a:pt x="12456" y="13060"/>
                </a:lnTo>
                <a:cubicBezTo>
                  <a:pt x="12456" y="13374"/>
                  <a:pt x="12710" y="13625"/>
                  <a:pt x="13024" y="13625"/>
                </a:cubicBezTo>
                <a:cubicBezTo>
                  <a:pt x="13335" y="13625"/>
                  <a:pt x="13588" y="13374"/>
                  <a:pt x="13588" y="13060"/>
                </a:cubicBezTo>
                <a:lnTo>
                  <a:pt x="13588" y="11928"/>
                </a:lnTo>
                <a:cubicBezTo>
                  <a:pt x="13588" y="11614"/>
                  <a:pt x="13842" y="11363"/>
                  <a:pt x="14156" y="11363"/>
                </a:cubicBezTo>
                <a:cubicBezTo>
                  <a:pt x="14467" y="11363"/>
                  <a:pt x="14721" y="11614"/>
                  <a:pt x="14721" y="11928"/>
                </a:cubicBezTo>
                <a:lnTo>
                  <a:pt x="14721" y="14231"/>
                </a:lnTo>
                <a:cubicBezTo>
                  <a:pt x="14718" y="15602"/>
                  <a:pt x="14407" y="16958"/>
                  <a:pt x="13806" y="18193"/>
                </a:cubicBezTo>
                <a:lnTo>
                  <a:pt x="5448" y="18193"/>
                </a:lnTo>
                <a:cubicBezTo>
                  <a:pt x="4844" y="16958"/>
                  <a:pt x="4533" y="15602"/>
                  <a:pt x="4530" y="14231"/>
                </a:cubicBezTo>
                <a:lnTo>
                  <a:pt x="4530" y="13060"/>
                </a:lnTo>
                <a:cubicBezTo>
                  <a:pt x="4530" y="12341"/>
                  <a:pt x="4983" y="11698"/>
                  <a:pt x="5662" y="11460"/>
                </a:cubicBezTo>
                <a:lnTo>
                  <a:pt x="5662" y="14231"/>
                </a:lnTo>
                <a:cubicBezTo>
                  <a:pt x="5662" y="14542"/>
                  <a:pt x="5916" y="14796"/>
                  <a:pt x="6230" y="14796"/>
                </a:cubicBezTo>
                <a:cubicBezTo>
                  <a:pt x="6541" y="14796"/>
                  <a:pt x="6795" y="14542"/>
                  <a:pt x="6795" y="14231"/>
                </a:cubicBezTo>
                <a:lnTo>
                  <a:pt x="6795" y="6230"/>
                </a:lnTo>
                <a:cubicBezTo>
                  <a:pt x="6795" y="5916"/>
                  <a:pt x="7048" y="5662"/>
                  <a:pt x="7362" y="5662"/>
                </a:cubicBezTo>
                <a:close/>
                <a:moveTo>
                  <a:pt x="1701" y="1"/>
                </a:moveTo>
                <a:cubicBezTo>
                  <a:pt x="762" y="1"/>
                  <a:pt x="1" y="762"/>
                  <a:pt x="1" y="1701"/>
                </a:cubicBezTo>
                <a:lnTo>
                  <a:pt x="1" y="16496"/>
                </a:lnTo>
                <a:cubicBezTo>
                  <a:pt x="1" y="17432"/>
                  <a:pt x="762" y="18193"/>
                  <a:pt x="1701" y="18193"/>
                </a:cubicBezTo>
                <a:lnTo>
                  <a:pt x="4204" y="18193"/>
                </a:lnTo>
                <a:cubicBezTo>
                  <a:pt x="4285" y="18389"/>
                  <a:pt x="4376" y="18582"/>
                  <a:pt x="4470" y="18773"/>
                </a:cubicBezTo>
                <a:lnTo>
                  <a:pt x="4590" y="19011"/>
                </a:lnTo>
                <a:cubicBezTo>
                  <a:pt x="4687" y="19204"/>
                  <a:pt x="4880" y="19325"/>
                  <a:pt x="5098" y="19325"/>
                </a:cubicBezTo>
                <a:lnTo>
                  <a:pt x="14156" y="19325"/>
                </a:lnTo>
                <a:cubicBezTo>
                  <a:pt x="14370" y="19325"/>
                  <a:pt x="14564" y="19204"/>
                  <a:pt x="14660" y="19011"/>
                </a:cubicBezTo>
                <a:lnTo>
                  <a:pt x="14781" y="18773"/>
                </a:lnTo>
                <a:cubicBezTo>
                  <a:pt x="15485" y="17363"/>
                  <a:pt x="15850" y="15808"/>
                  <a:pt x="15853" y="14231"/>
                </a:cubicBezTo>
                <a:lnTo>
                  <a:pt x="15853" y="11928"/>
                </a:lnTo>
                <a:cubicBezTo>
                  <a:pt x="15853" y="10953"/>
                  <a:pt x="15054" y="10228"/>
                  <a:pt x="14155" y="10228"/>
                </a:cubicBezTo>
                <a:cubicBezTo>
                  <a:pt x="13949" y="10228"/>
                  <a:pt x="13737" y="10266"/>
                  <a:pt x="13528" y="10348"/>
                </a:cubicBezTo>
                <a:cubicBezTo>
                  <a:pt x="13326" y="9609"/>
                  <a:pt x="12655" y="9098"/>
                  <a:pt x="11891" y="9098"/>
                </a:cubicBezTo>
                <a:cubicBezTo>
                  <a:pt x="11883" y="9098"/>
                  <a:pt x="11875" y="9098"/>
                  <a:pt x="11867" y="9098"/>
                </a:cubicBezTo>
                <a:cubicBezTo>
                  <a:pt x="11682" y="9098"/>
                  <a:pt x="11497" y="9131"/>
                  <a:pt x="11324" y="9195"/>
                </a:cubicBezTo>
                <a:lnTo>
                  <a:pt x="11324" y="1701"/>
                </a:lnTo>
                <a:cubicBezTo>
                  <a:pt x="11324" y="762"/>
                  <a:pt x="10563" y="1"/>
                  <a:pt x="96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34" name="Google Shape;6234;p71"/>
          <p:cNvSpPr/>
          <p:nvPr/>
        </p:nvSpPr>
        <p:spPr>
          <a:xfrm>
            <a:off x="10086995" y="3063640"/>
            <a:ext cx="453581" cy="425229"/>
          </a:xfrm>
          <a:custGeom>
            <a:avLst/>
            <a:gdLst/>
            <a:ahLst/>
            <a:cxnLst/>
            <a:rect l="l" t="t" r="r" b="b"/>
            <a:pathLst>
              <a:path w="19326" h="18118" extrusionOk="0">
                <a:moveTo>
                  <a:pt x="17628" y="6794"/>
                </a:moveTo>
                <a:cubicBezTo>
                  <a:pt x="17939" y="6794"/>
                  <a:pt x="18193" y="7048"/>
                  <a:pt x="18193" y="7362"/>
                </a:cubicBezTo>
                <a:lnTo>
                  <a:pt x="18193" y="7927"/>
                </a:lnTo>
                <a:lnTo>
                  <a:pt x="12532" y="7927"/>
                </a:lnTo>
                <a:lnTo>
                  <a:pt x="12532" y="7362"/>
                </a:lnTo>
                <a:cubicBezTo>
                  <a:pt x="12532" y="7048"/>
                  <a:pt x="12785" y="6794"/>
                  <a:pt x="13099" y="6794"/>
                </a:cubicBezTo>
                <a:close/>
                <a:moveTo>
                  <a:pt x="17628" y="1133"/>
                </a:moveTo>
                <a:cubicBezTo>
                  <a:pt x="17939" y="1133"/>
                  <a:pt x="18193" y="1387"/>
                  <a:pt x="18193" y="1701"/>
                </a:cubicBezTo>
                <a:lnTo>
                  <a:pt x="18193" y="5759"/>
                </a:lnTo>
                <a:cubicBezTo>
                  <a:pt x="18012" y="5695"/>
                  <a:pt x="17819" y="5662"/>
                  <a:pt x="17628" y="5662"/>
                </a:cubicBezTo>
                <a:lnTo>
                  <a:pt x="13099" y="5662"/>
                </a:lnTo>
                <a:cubicBezTo>
                  <a:pt x="12160" y="5662"/>
                  <a:pt x="11399" y="6423"/>
                  <a:pt x="11399" y="7362"/>
                </a:cubicBezTo>
                <a:lnTo>
                  <a:pt x="11399" y="11324"/>
                </a:lnTo>
                <a:lnTo>
                  <a:pt x="1133" y="11324"/>
                </a:lnTo>
                <a:lnTo>
                  <a:pt x="1133" y="1701"/>
                </a:lnTo>
                <a:cubicBezTo>
                  <a:pt x="1133" y="1387"/>
                  <a:pt x="1387" y="1133"/>
                  <a:pt x="1701" y="1133"/>
                </a:cubicBezTo>
                <a:close/>
                <a:moveTo>
                  <a:pt x="11399" y="12456"/>
                </a:moveTo>
                <a:lnTo>
                  <a:pt x="11399" y="13588"/>
                </a:lnTo>
                <a:lnTo>
                  <a:pt x="1701" y="13588"/>
                </a:lnTo>
                <a:cubicBezTo>
                  <a:pt x="1387" y="13588"/>
                  <a:pt x="1133" y="13335"/>
                  <a:pt x="1133" y="13024"/>
                </a:cubicBezTo>
                <a:lnTo>
                  <a:pt x="1133" y="12456"/>
                </a:lnTo>
                <a:close/>
                <a:moveTo>
                  <a:pt x="18193" y="9059"/>
                </a:moveTo>
                <a:lnTo>
                  <a:pt x="18193" y="14720"/>
                </a:lnTo>
                <a:lnTo>
                  <a:pt x="12532" y="14720"/>
                </a:lnTo>
                <a:lnTo>
                  <a:pt x="12532" y="9059"/>
                </a:lnTo>
                <a:close/>
                <a:moveTo>
                  <a:pt x="11399" y="14720"/>
                </a:moveTo>
                <a:lnTo>
                  <a:pt x="11399" y="16420"/>
                </a:lnTo>
                <a:cubicBezTo>
                  <a:pt x="11399" y="16611"/>
                  <a:pt x="11432" y="16804"/>
                  <a:pt x="11496" y="16985"/>
                </a:cubicBezTo>
                <a:lnTo>
                  <a:pt x="7051" y="16985"/>
                </a:lnTo>
                <a:lnTo>
                  <a:pt x="7806" y="14720"/>
                </a:lnTo>
                <a:close/>
                <a:moveTo>
                  <a:pt x="18193" y="15853"/>
                </a:moveTo>
                <a:lnTo>
                  <a:pt x="18193" y="16420"/>
                </a:lnTo>
                <a:cubicBezTo>
                  <a:pt x="18193" y="16731"/>
                  <a:pt x="17939" y="16985"/>
                  <a:pt x="17628" y="16985"/>
                </a:cubicBezTo>
                <a:lnTo>
                  <a:pt x="13099" y="16985"/>
                </a:lnTo>
                <a:cubicBezTo>
                  <a:pt x="12785" y="16985"/>
                  <a:pt x="12532" y="16731"/>
                  <a:pt x="12532" y="16420"/>
                </a:cubicBezTo>
                <a:lnTo>
                  <a:pt x="12532" y="15853"/>
                </a:lnTo>
                <a:close/>
                <a:moveTo>
                  <a:pt x="1701" y="1"/>
                </a:moveTo>
                <a:cubicBezTo>
                  <a:pt x="762" y="1"/>
                  <a:pt x="1" y="762"/>
                  <a:pt x="1" y="1701"/>
                </a:cubicBezTo>
                <a:lnTo>
                  <a:pt x="1" y="13024"/>
                </a:lnTo>
                <a:cubicBezTo>
                  <a:pt x="1" y="13960"/>
                  <a:pt x="762" y="14720"/>
                  <a:pt x="1701" y="14720"/>
                </a:cubicBezTo>
                <a:lnTo>
                  <a:pt x="6613" y="14720"/>
                </a:lnTo>
                <a:lnTo>
                  <a:pt x="5859" y="16985"/>
                </a:lnTo>
                <a:lnTo>
                  <a:pt x="4002" y="16985"/>
                </a:lnTo>
                <a:cubicBezTo>
                  <a:pt x="3688" y="16985"/>
                  <a:pt x="3437" y="17239"/>
                  <a:pt x="3437" y="17553"/>
                </a:cubicBezTo>
                <a:cubicBezTo>
                  <a:pt x="3437" y="17864"/>
                  <a:pt x="3688" y="18117"/>
                  <a:pt x="4002" y="18117"/>
                </a:cubicBezTo>
                <a:lnTo>
                  <a:pt x="17628" y="18117"/>
                </a:lnTo>
                <a:cubicBezTo>
                  <a:pt x="18564" y="18117"/>
                  <a:pt x="19325" y="17356"/>
                  <a:pt x="19325" y="16420"/>
                </a:cubicBezTo>
                <a:lnTo>
                  <a:pt x="19325" y="1701"/>
                </a:lnTo>
                <a:cubicBezTo>
                  <a:pt x="19325" y="762"/>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35" name="Google Shape;6235;p71"/>
          <p:cNvSpPr/>
          <p:nvPr/>
        </p:nvSpPr>
        <p:spPr>
          <a:xfrm>
            <a:off x="10653468" y="3063640"/>
            <a:ext cx="453581" cy="425229"/>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36" name="Google Shape;6236;p71"/>
          <p:cNvGrpSpPr/>
          <p:nvPr/>
        </p:nvGrpSpPr>
        <p:grpSpPr>
          <a:xfrm>
            <a:off x="8554461" y="5275236"/>
            <a:ext cx="452643" cy="452361"/>
            <a:chOff x="5648900" y="2616600"/>
            <a:chExt cx="482150" cy="481850"/>
          </a:xfrm>
        </p:grpSpPr>
        <p:sp>
          <p:nvSpPr>
            <p:cNvPr id="6237" name="Google Shape;6237;p71"/>
            <p:cNvSpPr/>
            <p:nvPr/>
          </p:nvSpPr>
          <p:spPr>
            <a:xfrm>
              <a:off x="5811500" y="2777025"/>
              <a:ext cx="156875" cy="148275"/>
            </a:xfrm>
            <a:custGeom>
              <a:avLst/>
              <a:gdLst/>
              <a:ahLst/>
              <a:cxnLst/>
              <a:rect l="l" t="t" r="r" b="b"/>
              <a:pathLst>
                <a:path w="6275" h="5931" extrusionOk="0">
                  <a:moveTo>
                    <a:pt x="3137" y="1265"/>
                  </a:moveTo>
                  <a:lnTo>
                    <a:pt x="4994" y="2615"/>
                  </a:lnTo>
                  <a:lnTo>
                    <a:pt x="4285" y="4798"/>
                  </a:lnTo>
                  <a:lnTo>
                    <a:pt x="1990" y="4798"/>
                  </a:lnTo>
                  <a:lnTo>
                    <a:pt x="1280" y="2615"/>
                  </a:lnTo>
                  <a:lnTo>
                    <a:pt x="3137" y="1265"/>
                  </a:lnTo>
                  <a:close/>
                  <a:moveTo>
                    <a:pt x="3137" y="0"/>
                  </a:moveTo>
                  <a:cubicBezTo>
                    <a:pt x="3020" y="0"/>
                    <a:pt x="2903" y="37"/>
                    <a:pt x="2805" y="109"/>
                  </a:cubicBezTo>
                  <a:lnTo>
                    <a:pt x="281" y="1942"/>
                  </a:lnTo>
                  <a:cubicBezTo>
                    <a:pt x="85" y="2087"/>
                    <a:pt x="0" y="2340"/>
                    <a:pt x="76" y="2573"/>
                  </a:cubicBezTo>
                  <a:lnTo>
                    <a:pt x="1039" y="5541"/>
                  </a:lnTo>
                  <a:cubicBezTo>
                    <a:pt x="1117" y="5773"/>
                    <a:pt x="1335" y="5930"/>
                    <a:pt x="1579" y="5930"/>
                  </a:cubicBezTo>
                  <a:lnTo>
                    <a:pt x="4695" y="5930"/>
                  </a:lnTo>
                  <a:cubicBezTo>
                    <a:pt x="4943" y="5930"/>
                    <a:pt x="5160" y="5773"/>
                    <a:pt x="5236" y="5541"/>
                  </a:cubicBezTo>
                  <a:lnTo>
                    <a:pt x="6199" y="2573"/>
                  </a:lnTo>
                  <a:cubicBezTo>
                    <a:pt x="6275" y="2340"/>
                    <a:pt x="6190" y="2087"/>
                    <a:pt x="5994" y="1942"/>
                  </a:cubicBezTo>
                  <a:lnTo>
                    <a:pt x="3469" y="109"/>
                  </a:lnTo>
                  <a:cubicBezTo>
                    <a:pt x="3371" y="37"/>
                    <a:pt x="3254" y="0"/>
                    <a:pt x="31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38" name="Google Shape;6238;p71"/>
            <p:cNvSpPr/>
            <p:nvPr/>
          </p:nvSpPr>
          <p:spPr>
            <a:xfrm>
              <a:off x="5648900" y="2616600"/>
              <a:ext cx="482150" cy="481850"/>
            </a:xfrm>
            <a:custGeom>
              <a:avLst/>
              <a:gdLst/>
              <a:ahLst/>
              <a:cxnLst/>
              <a:rect l="l" t="t" r="r" b="b"/>
              <a:pathLst>
                <a:path w="19286" h="19274" extrusionOk="0">
                  <a:moveTo>
                    <a:pt x="9641" y="1133"/>
                  </a:moveTo>
                  <a:cubicBezTo>
                    <a:pt x="9936" y="1133"/>
                    <a:pt x="10230" y="1148"/>
                    <a:pt x="10523" y="1179"/>
                  </a:cubicBezTo>
                  <a:cubicBezTo>
                    <a:pt x="10547" y="1182"/>
                    <a:pt x="10571" y="1185"/>
                    <a:pt x="10595" y="1185"/>
                  </a:cubicBezTo>
                  <a:cubicBezTo>
                    <a:pt x="10641" y="1191"/>
                    <a:pt x="10686" y="1197"/>
                    <a:pt x="10731" y="1203"/>
                  </a:cubicBezTo>
                  <a:cubicBezTo>
                    <a:pt x="10958" y="1230"/>
                    <a:pt x="11181" y="1269"/>
                    <a:pt x="11402" y="1314"/>
                  </a:cubicBezTo>
                  <a:lnTo>
                    <a:pt x="11501" y="1622"/>
                  </a:lnTo>
                  <a:lnTo>
                    <a:pt x="9644" y="2969"/>
                  </a:lnTo>
                  <a:lnTo>
                    <a:pt x="7787" y="1622"/>
                  </a:lnTo>
                  <a:lnTo>
                    <a:pt x="7887" y="1314"/>
                  </a:lnTo>
                  <a:cubicBezTo>
                    <a:pt x="8038" y="1281"/>
                    <a:pt x="8192" y="1254"/>
                    <a:pt x="8349" y="1230"/>
                  </a:cubicBezTo>
                  <a:lnTo>
                    <a:pt x="8352" y="1230"/>
                  </a:lnTo>
                  <a:cubicBezTo>
                    <a:pt x="8418" y="1221"/>
                    <a:pt x="8488" y="1209"/>
                    <a:pt x="8554" y="1203"/>
                  </a:cubicBezTo>
                  <a:cubicBezTo>
                    <a:pt x="8606" y="1194"/>
                    <a:pt x="8660" y="1188"/>
                    <a:pt x="8714" y="1185"/>
                  </a:cubicBezTo>
                  <a:lnTo>
                    <a:pt x="8760" y="1179"/>
                  </a:lnTo>
                  <a:cubicBezTo>
                    <a:pt x="9053" y="1148"/>
                    <a:pt x="9347" y="1133"/>
                    <a:pt x="9641" y="1133"/>
                  </a:cubicBezTo>
                  <a:close/>
                  <a:moveTo>
                    <a:pt x="2591" y="5394"/>
                  </a:moveTo>
                  <a:lnTo>
                    <a:pt x="3300" y="7577"/>
                  </a:lnTo>
                  <a:lnTo>
                    <a:pt x="1444" y="8926"/>
                  </a:lnTo>
                  <a:lnTo>
                    <a:pt x="1184" y="8736"/>
                  </a:lnTo>
                  <a:cubicBezTo>
                    <a:pt x="1187" y="8700"/>
                    <a:pt x="1193" y="8661"/>
                    <a:pt x="1199" y="8621"/>
                  </a:cubicBezTo>
                  <a:cubicBezTo>
                    <a:pt x="1202" y="8594"/>
                    <a:pt x="1205" y="8567"/>
                    <a:pt x="1208" y="8540"/>
                  </a:cubicBezTo>
                  <a:cubicBezTo>
                    <a:pt x="1211" y="8498"/>
                    <a:pt x="1220" y="8455"/>
                    <a:pt x="1226" y="8413"/>
                  </a:cubicBezTo>
                  <a:cubicBezTo>
                    <a:pt x="1229" y="8383"/>
                    <a:pt x="1232" y="8353"/>
                    <a:pt x="1238" y="8326"/>
                  </a:cubicBezTo>
                  <a:cubicBezTo>
                    <a:pt x="1244" y="8286"/>
                    <a:pt x="1250" y="8247"/>
                    <a:pt x="1256" y="8208"/>
                  </a:cubicBezTo>
                  <a:cubicBezTo>
                    <a:pt x="1265" y="8169"/>
                    <a:pt x="1268" y="8141"/>
                    <a:pt x="1274" y="8108"/>
                  </a:cubicBezTo>
                  <a:cubicBezTo>
                    <a:pt x="1280" y="8075"/>
                    <a:pt x="1290" y="8036"/>
                    <a:pt x="1296" y="7999"/>
                  </a:cubicBezTo>
                  <a:cubicBezTo>
                    <a:pt x="1302" y="7966"/>
                    <a:pt x="1308" y="7930"/>
                    <a:pt x="1317" y="7894"/>
                  </a:cubicBezTo>
                  <a:cubicBezTo>
                    <a:pt x="1323" y="7861"/>
                    <a:pt x="1332" y="7824"/>
                    <a:pt x="1338" y="7791"/>
                  </a:cubicBezTo>
                  <a:cubicBezTo>
                    <a:pt x="1347" y="7755"/>
                    <a:pt x="1356" y="7719"/>
                    <a:pt x="1362" y="7682"/>
                  </a:cubicBezTo>
                  <a:cubicBezTo>
                    <a:pt x="1371" y="7649"/>
                    <a:pt x="1380" y="7613"/>
                    <a:pt x="1389" y="7577"/>
                  </a:cubicBezTo>
                  <a:cubicBezTo>
                    <a:pt x="1398" y="7541"/>
                    <a:pt x="1407" y="7510"/>
                    <a:pt x="1413" y="7477"/>
                  </a:cubicBezTo>
                  <a:cubicBezTo>
                    <a:pt x="1425" y="7441"/>
                    <a:pt x="1434" y="7399"/>
                    <a:pt x="1447" y="7359"/>
                  </a:cubicBezTo>
                  <a:cubicBezTo>
                    <a:pt x="1456" y="7332"/>
                    <a:pt x="1462" y="7305"/>
                    <a:pt x="1471" y="7278"/>
                  </a:cubicBezTo>
                  <a:cubicBezTo>
                    <a:pt x="1483" y="7233"/>
                    <a:pt x="1495" y="7187"/>
                    <a:pt x="1510" y="7142"/>
                  </a:cubicBezTo>
                  <a:cubicBezTo>
                    <a:pt x="1516" y="7124"/>
                    <a:pt x="1522" y="7106"/>
                    <a:pt x="1528" y="7085"/>
                  </a:cubicBezTo>
                  <a:cubicBezTo>
                    <a:pt x="1546" y="7030"/>
                    <a:pt x="1561" y="6976"/>
                    <a:pt x="1579" y="6925"/>
                  </a:cubicBezTo>
                  <a:lnTo>
                    <a:pt x="1588" y="6900"/>
                  </a:lnTo>
                  <a:cubicBezTo>
                    <a:pt x="1767" y="6375"/>
                    <a:pt x="1996" y="5871"/>
                    <a:pt x="2274" y="5394"/>
                  </a:cubicBezTo>
                  <a:close/>
                  <a:moveTo>
                    <a:pt x="17012" y="5394"/>
                  </a:moveTo>
                  <a:cubicBezTo>
                    <a:pt x="17253" y="5813"/>
                    <a:pt x="17462" y="6257"/>
                    <a:pt x="17628" y="6713"/>
                  </a:cubicBezTo>
                  <a:lnTo>
                    <a:pt x="17628" y="6719"/>
                  </a:lnTo>
                  <a:cubicBezTo>
                    <a:pt x="17649" y="6774"/>
                    <a:pt x="17670" y="6831"/>
                    <a:pt x="17688" y="6888"/>
                  </a:cubicBezTo>
                  <a:cubicBezTo>
                    <a:pt x="17694" y="6906"/>
                    <a:pt x="17700" y="6922"/>
                    <a:pt x="17706" y="6937"/>
                  </a:cubicBezTo>
                  <a:cubicBezTo>
                    <a:pt x="17721" y="6982"/>
                    <a:pt x="17736" y="7027"/>
                    <a:pt x="17749" y="7072"/>
                  </a:cubicBezTo>
                  <a:cubicBezTo>
                    <a:pt x="17758" y="7103"/>
                    <a:pt x="17767" y="7130"/>
                    <a:pt x="17776" y="7157"/>
                  </a:cubicBezTo>
                  <a:cubicBezTo>
                    <a:pt x="17788" y="7196"/>
                    <a:pt x="17797" y="7230"/>
                    <a:pt x="17809" y="7266"/>
                  </a:cubicBezTo>
                  <a:cubicBezTo>
                    <a:pt x="17818" y="7305"/>
                    <a:pt x="17830" y="7341"/>
                    <a:pt x="17839" y="7377"/>
                  </a:cubicBezTo>
                  <a:cubicBezTo>
                    <a:pt x="17848" y="7408"/>
                    <a:pt x="17857" y="7438"/>
                    <a:pt x="17863" y="7468"/>
                  </a:cubicBezTo>
                  <a:cubicBezTo>
                    <a:pt x="17875" y="7510"/>
                    <a:pt x="17887" y="7553"/>
                    <a:pt x="17896" y="7598"/>
                  </a:cubicBezTo>
                  <a:lnTo>
                    <a:pt x="17915" y="7673"/>
                  </a:lnTo>
                  <a:cubicBezTo>
                    <a:pt x="17927" y="7722"/>
                    <a:pt x="17936" y="7767"/>
                    <a:pt x="17948" y="7812"/>
                  </a:cubicBezTo>
                  <a:lnTo>
                    <a:pt x="17963" y="7885"/>
                  </a:lnTo>
                  <a:cubicBezTo>
                    <a:pt x="17972" y="7933"/>
                    <a:pt x="17981" y="7978"/>
                    <a:pt x="17990" y="8027"/>
                  </a:cubicBezTo>
                  <a:cubicBezTo>
                    <a:pt x="17996" y="8051"/>
                    <a:pt x="18002" y="8075"/>
                    <a:pt x="18005" y="8099"/>
                  </a:cubicBezTo>
                  <a:cubicBezTo>
                    <a:pt x="18014" y="8144"/>
                    <a:pt x="18020" y="8193"/>
                    <a:pt x="18029" y="8238"/>
                  </a:cubicBezTo>
                  <a:cubicBezTo>
                    <a:pt x="18032" y="8265"/>
                    <a:pt x="18038" y="8289"/>
                    <a:pt x="18041" y="8317"/>
                  </a:cubicBezTo>
                  <a:cubicBezTo>
                    <a:pt x="18050" y="8362"/>
                    <a:pt x="18057" y="8404"/>
                    <a:pt x="18063" y="8449"/>
                  </a:cubicBezTo>
                  <a:cubicBezTo>
                    <a:pt x="18066" y="8477"/>
                    <a:pt x="18069" y="8507"/>
                    <a:pt x="18075" y="8534"/>
                  </a:cubicBezTo>
                  <a:cubicBezTo>
                    <a:pt x="18078" y="8576"/>
                    <a:pt x="18084" y="8621"/>
                    <a:pt x="18090" y="8664"/>
                  </a:cubicBezTo>
                  <a:cubicBezTo>
                    <a:pt x="18093" y="8688"/>
                    <a:pt x="18096" y="8712"/>
                    <a:pt x="18096" y="8739"/>
                  </a:cubicBezTo>
                  <a:lnTo>
                    <a:pt x="17836" y="8926"/>
                  </a:lnTo>
                  <a:lnTo>
                    <a:pt x="15979" y="7580"/>
                  </a:lnTo>
                  <a:lnTo>
                    <a:pt x="16689" y="5397"/>
                  </a:lnTo>
                  <a:lnTo>
                    <a:pt x="17012" y="5394"/>
                  </a:lnTo>
                  <a:close/>
                  <a:moveTo>
                    <a:pt x="5722" y="15029"/>
                  </a:moveTo>
                  <a:lnTo>
                    <a:pt x="6432" y="17212"/>
                  </a:lnTo>
                  <a:lnTo>
                    <a:pt x="6172" y="17402"/>
                  </a:lnTo>
                  <a:cubicBezTo>
                    <a:pt x="5091" y="16916"/>
                    <a:pt x="4125" y="16209"/>
                    <a:pt x="3331" y="15331"/>
                  </a:cubicBezTo>
                  <a:lnTo>
                    <a:pt x="3427" y="15029"/>
                  </a:lnTo>
                  <a:close/>
                  <a:moveTo>
                    <a:pt x="15855" y="15029"/>
                  </a:moveTo>
                  <a:lnTo>
                    <a:pt x="15952" y="15331"/>
                  </a:lnTo>
                  <a:cubicBezTo>
                    <a:pt x="15158" y="16209"/>
                    <a:pt x="14192" y="16916"/>
                    <a:pt x="13111" y="17402"/>
                  </a:cubicBezTo>
                  <a:lnTo>
                    <a:pt x="12851" y="17212"/>
                  </a:lnTo>
                  <a:lnTo>
                    <a:pt x="13561" y="15029"/>
                  </a:lnTo>
                  <a:close/>
                  <a:moveTo>
                    <a:pt x="6571" y="1707"/>
                  </a:moveTo>
                  <a:cubicBezTo>
                    <a:pt x="6516" y="1927"/>
                    <a:pt x="6604" y="2160"/>
                    <a:pt x="6788" y="2296"/>
                  </a:cubicBezTo>
                  <a:lnTo>
                    <a:pt x="9309" y="4129"/>
                  </a:lnTo>
                  <a:cubicBezTo>
                    <a:pt x="9409" y="4199"/>
                    <a:pt x="9526" y="4235"/>
                    <a:pt x="9643" y="4235"/>
                  </a:cubicBezTo>
                  <a:cubicBezTo>
                    <a:pt x="9760" y="4235"/>
                    <a:pt x="9877" y="4199"/>
                    <a:pt x="9976" y="4129"/>
                  </a:cubicBezTo>
                  <a:lnTo>
                    <a:pt x="12498" y="2296"/>
                  </a:lnTo>
                  <a:cubicBezTo>
                    <a:pt x="12682" y="2160"/>
                    <a:pt x="12769" y="1927"/>
                    <a:pt x="12715" y="1707"/>
                  </a:cubicBezTo>
                  <a:lnTo>
                    <a:pt x="12715" y="1707"/>
                  </a:lnTo>
                  <a:cubicBezTo>
                    <a:pt x="14089" y="2241"/>
                    <a:pt x="15300" y="3123"/>
                    <a:pt x="16230" y="4264"/>
                  </a:cubicBezTo>
                  <a:cubicBezTo>
                    <a:pt x="16003" y="4283"/>
                    <a:pt x="15813" y="4437"/>
                    <a:pt x="15744" y="4651"/>
                  </a:cubicBezTo>
                  <a:lnTo>
                    <a:pt x="14777" y="7616"/>
                  </a:lnTo>
                  <a:cubicBezTo>
                    <a:pt x="14702" y="7852"/>
                    <a:pt x="14786" y="8105"/>
                    <a:pt x="14986" y="8250"/>
                  </a:cubicBezTo>
                  <a:lnTo>
                    <a:pt x="17507" y="10083"/>
                  </a:lnTo>
                  <a:cubicBezTo>
                    <a:pt x="17605" y="10155"/>
                    <a:pt x="17721" y="10192"/>
                    <a:pt x="17838" y="10192"/>
                  </a:cubicBezTo>
                  <a:cubicBezTo>
                    <a:pt x="17940" y="10192"/>
                    <a:pt x="18043" y="10164"/>
                    <a:pt x="18135" y="10107"/>
                  </a:cubicBezTo>
                  <a:lnTo>
                    <a:pt x="18135" y="10107"/>
                  </a:lnTo>
                  <a:cubicBezTo>
                    <a:pt x="18053" y="11581"/>
                    <a:pt x="17592" y="13006"/>
                    <a:pt x="16788" y="14244"/>
                  </a:cubicBezTo>
                  <a:cubicBezTo>
                    <a:pt x="16701" y="14032"/>
                    <a:pt x="16495" y="13896"/>
                    <a:pt x="16269" y="13896"/>
                  </a:cubicBezTo>
                  <a:lnTo>
                    <a:pt x="13150" y="13896"/>
                  </a:lnTo>
                  <a:cubicBezTo>
                    <a:pt x="12905" y="13896"/>
                    <a:pt x="12688" y="14053"/>
                    <a:pt x="12612" y="14289"/>
                  </a:cubicBezTo>
                  <a:lnTo>
                    <a:pt x="11649" y="17254"/>
                  </a:lnTo>
                  <a:cubicBezTo>
                    <a:pt x="11577" y="17471"/>
                    <a:pt x="11646" y="17710"/>
                    <a:pt x="11818" y="17858"/>
                  </a:cubicBezTo>
                  <a:cubicBezTo>
                    <a:pt x="11106" y="18045"/>
                    <a:pt x="10374" y="18139"/>
                    <a:pt x="9643" y="18139"/>
                  </a:cubicBezTo>
                  <a:cubicBezTo>
                    <a:pt x="8911" y="18139"/>
                    <a:pt x="8180" y="18045"/>
                    <a:pt x="7467" y="17858"/>
                  </a:cubicBezTo>
                  <a:cubicBezTo>
                    <a:pt x="7639" y="17710"/>
                    <a:pt x="7709" y="17471"/>
                    <a:pt x="7636" y="17254"/>
                  </a:cubicBezTo>
                  <a:lnTo>
                    <a:pt x="6673" y="14289"/>
                  </a:lnTo>
                  <a:cubicBezTo>
                    <a:pt x="6598" y="14053"/>
                    <a:pt x="6380" y="13896"/>
                    <a:pt x="6136" y="13896"/>
                  </a:cubicBezTo>
                  <a:lnTo>
                    <a:pt x="3020" y="13896"/>
                  </a:lnTo>
                  <a:cubicBezTo>
                    <a:pt x="2790" y="13896"/>
                    <a:pt x="2585" y="14032"/>
                    <a:pt x="2497" y="14244"/>
                  </a:cubicBezTo>
                  <a:cubicBezTo>
                    <a:pt x="1694" y="13006"/>
                    <a:pt x="1229" y="11581"/>
                    <a:pt x="1151" y="10107"/>
                  </a:cubicBezTo>
                  <a:lnTo>
                    <a:pt x="1151" y="10107"/>
                  </a:lnTo>
                  <a:cubicBezTo>
                    <a:pt x="1240" y="10163"/>
                    <a:pt x="1342" y="10191"/>
                    <a:pt x="1443" y="10191"/>
                  </a:cubicBezTo>
                  <a:cubicBezTo>
                    <a:pt x="1560" y="10191"/>
                    <a:pt x="1677" y="10154"/>
                    <a:pt x="1776" y="10083"/>
                  </a:cubicBezTo>
                  <a:lnTo>
                    <a:pt x="4300" y="8250"/>
                  </a:lnTo>
                  <a:cubicBezTo>
                    <a:pt x="4496" y="8105"/>
                    <a:pt x="4581" y="7852"/>
                    <a:pt x="4505" y="7616"/>
                  </a:cubicBezTo>
                  <a:lnTo>
                    <a:pt x="3542" y="4654"/>
                  </a:lnTo>
                  <a:cubicBezTo>
                    <a:pt x="3473" y="4440"/>
                    <a:pt x="3279" y="4286"/>
                    <a:pt x="3053" y="4264"/>
                  </a:cubicBezTo>
                  <a:cubicBezTo>
                    <a:pt x="3986" y="3123"/>
                    <a:pt x="5197" y="2241"/>
                    <a:pt x="6568" y="1707"/>
                  </a:cubicBezTo>
                  <a:close/>
                  <a:moveTo>
                    <a:pt x="9641" y="1"/>
                  </a:moveTo>
                  <a:cubicBezTo>
                    <a:pt x="9566" y="1"/>
                    <a:pt x="9490" y="1"/>
                    <a:pt x="9412" y="4"/>
                  </a:cubicBezTo>
                  <a:lnTo>
                    <a:pt x="9394" y="4"/>
                  </a:lnTo>
                  <a:cubicBezTo>
                    <a:pt x="9318" y="7"/>
                    <a:pt x="9246" y="7"/>
                    <a:pt x="9173" y="13"/>
                  </a:cubicBezTo>
                  <a:lnTo>
                    <a:pt x="9137" y="13"/>
                  </a:lnTo>
                  <a:cubicBezTo>
                    <a:pt x="9077" y="16"/>
                    <a:pt x="9019" y="19"/>
                    <a:pt x="8959" y="22"/>
                  </a:cubicBezTo>
                  <a:lnTo>
                    <a:pt x="8908" y="25"/>
                  </a:lnTo>
                  <a:cubicBezTo>
                    <a:pt x="8850" y="31"/>
                    <a:pt x="8790" y="37"/>
                    <a:pt x="8732" y="40"/>
                  </a:cubicBezTo>
                  <a:lnTo>
                    <a:pt x="8630" y="52"/>
                  </a:lnTo>
                  <a:lnTo>
                    <a:pt x="8551" y="61"/>
                  </a:lnTo>
                  <a:cubicBezTo>
                    <a:pt x="8476" y="67"/>
                    <a:pt x="8400" y="76"/>
                    <a:pt x="8325" y="88"/>
                  </a:cubicBezTo>
                  <a:lnTo>
                    <a:pt x="8313" y="88"/>
                  </a:lnTo>
                  <a:cubicBezTo>
                    <a:pt x="3965" y="695"/>
                    <a:pt x="574" y="4162"/>
                    <a:pt x="67" y="8522"/>
                  </a:cubicBezTo>
                  <a:lnTo>
                    <a:pt x="67" y="8525"/>
                  </a:lnTo>
                  <a:lnTo>
                    <a:pt x="67" y="8537"/>
                  </a:lnTo>
                  <a:cubicBezTo>
                    <a:pt x="61" y="8609"/>
                    <a:pt x="52" y="8685"/>
                    <a:pt x="46" y="8760"/>
                  </a:cubicBezTo>
                  <a:cubicBezTo>
                    <a:pt x="42" y="8794"/>
                    <a:pt x="39" y="8827"/>
                    <a:pt x="36" y="8860"/>
                  </a:cubicBezTo>
                  <a:cubicBezTo>
                    <a:pt x="33" y="8893"/>
                    <a:pt x="33" y="8920"/>
                    <a:pt x="30" y="8951"/>
                  </a:cubicBezTo>
                  <a:lnTo>
                    <a:pt x="30" y="8966"/>
                  </a:lnTo>
                  <a:cubicBezTo>
                    <a:pt x="30" y="8969"/>
                    <a:pt x="30" y="8972"/>
                    <a:pt x="30" y="8975"/>
                  </a:cubicBezTo>
                  <a:cubicBezTo>
                    <a:pt x="15" y="9195"/>
                    <a:pt x="6" y="9416"/>
                    <a:pt x="6" y="9636"/>
                  </a:cubicBezTo>
                  <a:cubicBezTo>
                    <a:pt x="0" y="12000"/>
                    <a:pt x="870" y="14286"/>
                    <a:pt x="2449" y="16046"/>
                  </a:cubicBezTo>
                  <a:lnTo>
                    <a:pt x="2458" y="16055"/>
                  </a:lnTo>
                  <a:cubicBezTo>
                    <a:pt x="2576" y="16191"/>
                    <a:pt x="2703" y="16321"/>
                    <a:pt x="2829" y="16451"/>
                  </a:cubicBezTo>
                  <a:lnTo>
                    <a:pt x="2860" y="16478"/>
                  </a:lnTo>
                  <a:lnTo>
                    <a:pt x="2866" y="16484"/>
                  </a:lnTo>
                  <a:cubicBezTo>
                    <a:pt x="2932" y="16551"/>
                    <a:pt x="2999" y="16617"/>
                    <a:pt x="3068" y="16680"/>
                  </a:cubicBezTo>
                  <a:lnTo>
                    <a:pt x="3077" y="16689"/>
                  </a:lnTo>
                  <a:cubicBezTo>
                    <a:pt x="4927" y="18412"/>
                    <a:pt x="7285" y="19274"/>
                    <a:pt x="9643" y="19274"/>
                  </a:cubicBezTo>
                  <a:cubicBezTo>
                    <a:pt x="12000" y="19274"/>
                    <a:pt x="14357" y="18413"/>
                    <a:pt x="16206" y="16692"/>
                  </a:cubicBezTo>
                  <a:lnTo>
                    <a:pt x="16224" y="16677"/>
                  </a:lnTo>
                  <a:cubicBezTo>
                    <a:pt x="16287" y="16620"/>
                    <a:pt x="16351" y="16560"/>
                    <a:pt x="16411" y="16496"/>
                  </a:cubicBezTo>
                  <a:lnTo>
                    <a:pt x="16435" y="16475"/>
                  </a:lnTo>
                  <a:lnTo>
                    <a:pt x="16459" y="16451"/>
                  </a:lnTo>
                  <a:cubicBezTo>
                    <a:pt x="16583" y="16324"/>
                    <a:pt x="16704" y="16197"/>
                    <a:pt x="16822" y="16067"/>
                  </a:cubicBezTo>
                  <a:lnTo>
                    <a:pt x="16861" y="16025"/>
                  </a:lnTo>
                  <a:cubicBezTo>
                    <a:pt x="16912" y="15965"/>
                    <a:pt x="16963" y="15907"/>
                    <a:pt x="17015" y="15847"/>
                  </a:cubicBezTo>
                  <a:lnTo>
                    <a:pt x="17030" y="15829"/>
                  </a:lnTo>
                  <a:lnTo>
                    <a:pt x="17036" y="15823"/>
                  </a:lnTo>
                  <a:cubicBezTo>
                    <a:pt x="18491" y="14090"/>
                    <a:pt x="19285" y="11898"/>
                    <a:pt x="19279" y="9636"/>
                  </a:cubicBezTo>
                  <a:cubicBezTo>
                    <a:pt x="19279" y="9413"/>
                    <a:pt x="19270" y="9189"/>
                    <a:pt x="19255" y="8969"/>
                  </a:cubicBezTo>
                  <a:cubicBezTo>
                    <a:pt x="19255" y="8969"/>
                    <a:pt x="19255" y="8969"/>
                    <a:pt x="19255" y="8966"/>
                  </a:cubicBezTo>
                  <a:lnTo>
                    <a:pt x="19255" y="8963"/>
                  </a:lnTo>
                  <a:cubicBezTo>
                    <a:pt x="19252" y="8923"/>
                    <a:pt x="19249" y="8881"/>
                    <a:pt x="19246" y="8842"/>
                  </a:cubicBezTo>
                  <a:lnTo>
                    <a:pt x="19243" y="8788"/>
                  </a:lnTo>
                  <a:cubicBezTo>
                    <a:pt x="18848" y="4319"/>
                    <a:pt x="15421" y="714"/>
                    <a:pt x="10976" y="92"/>
                  </a:cubicBezTo>
                  <a:lnTo>
                    <a:pt x="10946" y="85"/>
                  </a:lnTo>
                  <a:cubicBezTo>
                    <a:pt x="10879" y="76"/>
                    <a:pt x="10810" y="70"/>
                    <a:pt x="10740" y="61"/>
                  </a:cubicBezTo>
                  <a:lnTo>
                    <a:pt x="10650" y="52"/>
                  </a:lnTo>
                  <a:lnTo>
                    <a:pt x="10553" y="40"/>
                  </a:lnTo>
                  <a:cubicBezTo>
                    <a:pt x="10496" y="37"/>
                    <a:pt x="10435" y="31"/>
                    <a:pt x="10375" y="25"/>
                  </a:cubicBezTo>
                  <a:lnTo>
                    <a:pt x="10327" y="22"/>
                  </a:lnTo>
                  <a:cubicBezTo>
                    <a:pt x="10266" y="19"/>
                    <a:pt x="10206" y="16"/>
                    <a:pt x="10146" y="13"/>
                  </a:cubicBezTo>
                  <a:lnTo>
                    <a:pt x="10112" y="13"/>
                  </a:lnTo>
                  <a:cubicBezTo>
                    <a:pt x="10040" y="7"/>
                    <a:pt x="9964" y="4"/>
                    <a:pt x="9892" y="4"/>
                  </a:cubicBezTo>
                  <a:lnTo>
                    <a:pt x="9871" y="4"/>
                  </a:lnTo>
                  <a:cubicBezTo>
                    <a:pt x="9795" y="1"/>
                    <a:pt x="9720" y="1"/>
                    <a:pt x="96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39" name="Google Shape;6239;p71"/>
          <p:cNvGrpSpPr/>
          <p:nvPr/>
        </p:nvGrpSpPr>
        <p:grpSpPr>
          <a:xfrm>
            <a:off x="6313507" y="5284189"/>
            <a:ext cx="434168" cy="434259"/>
            <a:chOff x="6242825" y="2615925"/>
            <a:chExt cx="483125" cy="483225"/>
          </a:xfrm>
        </p:grpSpPr>
        <p:sp>
          <p:nvSpPr>
            <p:cNvPr id="6240" name="Google Shape;6240;p71"/>
            <p:cNvSpPr/>
            <p:nvPr/>
          </p:nvSpPr>
          <p:spPr>
            <a:xfrm>
              <a:off x="6242825" y="2672550"/>
              <a:ext cx="483125" cy="426600"/>
            </a:xfrm>
            <a:custGeom>
              <a:avLst/>
              <a:gdLst/>
              <a:ahLst/>
              <a:cxnLst/>
              <a:rect l="l" t="t" r="r" b="b"/>
              <a:pathLst>
                <a:path w="19325" h="17064" extrusionOk="0">
                  <a:moveTo>
                    <a:pt x="10230" y="2331"/>
                  </a:moveTo>
                  <a:cubicBezTo>
                    <a:pt x="11387" y="2603"/>
                    <a:pt x="12437" y="3687"/>
                    <a:pt x="13056" y="5299"/>
                  </a:cubicBezTo>
                  <a:cubicBezTo>
                    <a:pt x="13144" y="5524"/>
                    <a:pt x="13357" y="5662"/>
                    <a:pt x="13583" y="5662"/>
                  </a:cubicBezTo>
                  <a:cubicBezTo>
                    <a:pt x="13652" y="5662"/>
                    <a:pt x="13722" y="5649"/>
                    <a:pt x="13790" y="5623"/>
                  </a:cubicBezTo>
                  <a:cubicBezTo>
                    <a:pt x="14083" y="5511"/>
                    <a:pt x="14228" y="5185"/>
                    <a:pt x="14113" y="4892"/>
                  </a:cubicBezTo>
                  <a:cubicBezTo>
                    <a:pt x="13790" y="4049"/>
                    <a:pt x="13349" y="3307"/>
                    <a:pt x="12830" y="2712"/>
                  </a:cubicBezTo>
                  <a:lnTo>
                    <a:pt x="12830" y="2712"/>
                  </a:lnTo>
                  <a:cubicBezTo>
                    <a:pt x="13911" y="3029"/>
                    <a:pt x="14901" y="3512"/>
                    <a:pt x="15750" y="4143"/>
                  </a:cubicBezTo>
                  <a:cubicBezTo>
                    <a:pt x="16882" y="4988"/>
                    <a:pt x="17649" y="6024"/>
                    <a:pt x="17990" y="7147"/>
                  </a:cubicBezTo>
                  <a:cubicBezTo>
                    <a:pt x="17519" y="6915"/>
                    <a:pt x="17000" y="6794"/>
                    <a:pt x="16476" y="6794"/>
                  </a:cubicBezTo>
                  <a:cubicBezTo>
                    <a:pt x="16469" y="6794"/>
                    <a:pt x="16463" y="6794"/>
                    <a:pt x="16456" y="6794"/>
                  </a:cubicBezTo>
                  <a:cubicBezTo>
                    <a:pt x="15729" y="6794"/>
                    <a:pt x="15040" y="7012"/>
                    <a:pt x="14515" y="7404"/>
                  </a:cubicBezTo>
                  <a:cubicBezTo>
                    <a:pt x="14400" y="7492"/>
                    <a:pt x="14291" y="7588"/>
                    <a:pt x="14192" y="7694"/>
                  </a:cubicBezTo>
                  <a:cubicBezTo>
                    <a:pt x="14092" y="7588"/>
                    <a:pt x="13983" y="7492"/>
                    <a:pt x="13869" y="7404"/>
                  </a:cubicBezTo>
                  <a:cubicBezTo>
                    <a:pt x="13343" y="7012"/>
                    <a:pt x="12655" y="6794"/>
                    <a:pt x="11927" y="6794"/>
                  </a:cubicBezTo>
                  <a:cubicBezTo>
                    <a:pt x="11199" y="6794"/>
                    <a:pt x="10511" y="7012"/>
                    <a:pt x="9986" y="7404"/>
                  </a:cubicBezTo>
                  <a:cubicBezTo>
                    <a:pt x="9871" y="7492"/>
                    <a:pt x="9762" y="7588"/>
                    <a:pt x="9662" y="7694"/>
                  </a:cubicBezTo>
                  <a:cubicBezTo>
                    <a:pt x="9563" y="7588"/>
                    <a:pt x="9454" y="7492"/>
                    <a:pt x="9339" y="7404"/>
                  </a:cubicBezTo>
                  <a:cubicBezTo>
                    <a:pt x="8814" y="7012"/>
                    <a:pt x="8126" y="6794"/>
                    <a:pt x="7398" y="6794"/>
                  </a:cubicBezTo>
                  <a:cubicBezTo>
                    <a:pt x="6670" y="6794"/>
                    <a:pt x="5982" y="7012"/>
                    <a:pt x="5456" y="7404"/>
                  </a:cubicBezTo>
                  <a:cubicBezTo>
                    <a:pt x="5342" y="7492"/>
                    <a:pt x="5233" y="7588"/>
                    <a:pt x="5133" y="7694"/>
                  </a:cubicBezTo>
                  <a:cubicBezTo>
                    <a:pt x="5034" y="7588"/>
                    <a:pt x="4925" y="7492"/>
                    <a:pt x="4810" y="7404"/>
                  </a:cubicBezTo>
                  <a:cubicBezTo>
                    <a:pt x="4285" y="7012"/>
                    <a:pt x="3596" y="6794"/>
                    <a:pt x="2869" y="6794"/>
                  </a:cubicBezTo>
                  <a:cubicBezTo>
                    <a:pt x="2862" y="6794"/>
                    <a:pt x="2856" y="6794"/>
                    <a:pt x="2849" y="6794"/>
                  </a:cubicBezTo>
                  <a:cubicBezTo>
                    <a:pt x="2324" y="6794"/>
                    <a:pt x="1806" y="6915"/>
                    <a:pt x="1335" y="7147"/>
                  </a:cubicBezTo>
                  <a:cubicBezTo>
                    <a:pt x="1676" y="6024"/>
                    <a:pt x="2443" y="4988"/>
                    <a:pt x="3578" y="4143"/>
                  </a:cubicBezTo>
                  <a:cubicBezTo>
                    <a:pt x="4424" y="3512"/>
                    <a:pt x="5414" y="3029"/>
                    <a:pt x="6498" y="2712"/>
                  </a:cubicBezTo>
                  <a:lnTo>
                    <a:pt x="6498" y="2712"/>
                  </a:lnTo>
                  <a:cubicBezTo>
                    <a:pt x="5976" y="3307"/>
                    <a:pt x="5538" y="4049"/>
                    <a:pt x="5212" y="4892"/>
                  </a:cubicBezTo>
                  <a:cubicBezTo>
                    <a:pt x="5097" y="5185"/>
                    <a:pt x="5245" y="5511"/>
                    <a:pt x="5535" y="5623"/>
                  </a:cubicBezTo>
                  <a:cubicBezTo>
                    <a:pt x="5603" y="5649"/>
                    <a:pt x="5673" y="5662"/>
                    <a:pt x="5742" y="5662"/>
                  </a:cubicBezTo>
                  <a:cubicBezTo>
                    <a:pt x="5968" y="5662"/>
                    <a:pt x="6181" y="5524"/>
                    <a:pt x="6269" y="5299"/>
                  </a:cubicBezTo>
                  <a:cubicBezTo>
                    <a:pt x="6891" y="3687"/>
                    <a:pt x="7941" y="2603"/>
                    <a:pt x="9098" y="2331"/>
                  </a:cubicBezTo>
                  <a:lnTo>
                    <a:pt x="9098" y="5097"/>
                  </a:lnTo>
                  <a:cubicBezTo>
                    <a:pt x="9098" y="5408"/>
                    <a:pt x="9351" y="5662"/>
                    <a:pt x="9662" y="5662"/>
                  </a:cubicBezTo>
                  <a:cubicBezTo>
                    <a:pt x="9976" y="5662"/>
                    <a:pt x="10230" y="5408"/>
                    <a:pt x="10230" y="5097"/>
                  </a:cubicBezTo>
                  <a:lnTo>
                    <a:pt x="10230" y="2331"/>
                  </a:lnTo>
                  <a:close/>
                  <a:moveTo>
                    <a:pt x="9662" y="0"/>
                  </a:moveTo>
                  <a:cubicBezTo>
                    <a:pt x="9348" y="0"/>
                    <a:pt x="9098" y="254"/>
                    <a:pt x="9098" y="568"/>
                  </a:cubicBezTo>
                  <a:lnTo>
                    <a:pt x="9098" y="1145"/>
                  </a:lnTo>
                  <a:cubicBezTo>
                    <a:pt x="6764" y="1247"/>
                    <a:pt x="4584" y="1981"/>
                    <a:pt x="2899" y="3234"/>
                  </a:cubicBezTo>
                  <a:cubicBezTo>
                    <a:pt x="1030" y="4629"/>
                    <a:pt x="0" y="6495"/>
                    <a:pt x="0" y="8494"/>
                  </a:cubicBezTo>
                  <a:lnTo>
                    <a:pt x="0" y="9059"/>
                  </a:lnTo>
                  <a:cubicBezTo>
                    <a:pt x="0" y="9373"/>
                    <a:pt x="254" y="9626"/>
                    <a:pt x="568" y="9626"/>
                  </a:cubicBezTo>
                  <a:cubicBezTo>
                    <a:pt x="879" y="9626"/>
                    <a:pt x="1133" y="9373"/>
                    <a:pt x="1133" y="9059"/>
                  </a:cubicBezTo>
                  <a:cubicBezTo>
                    <a:pt x="1133" y="8455"/>
                    <a:pt x="1945" y="7926"/>
                    <a:pt x="2869" y="7926"/>
                  </a:cubicBezTo>
                  <a:cubicBezTo>
                    <a:pt x="3793" y="7926"/>
                    <a:pt x="4569" y="8446"/>
                    <a:pt x="4569" y="9059"/>
                  </a:cubicBezTo>
                  <a:cubicBezTo>
                    <a:pt x="4569" y="9373"/>
                    <a:pt x="4819" y="9623"/>
                    <a:pt x="5133" y="9623"/>
                  </a:cubicBezTo>
                  <a:cubicBezTo>
                    <a:pt x="5447" y="9623"/>
                    <a:pt x="5701" y="9373"/>
                    <a:pt x="5701" y="9059"/>
                  </a:cubicBezTo>
                  <a:cubicBezTo>
                    <a:pt x="5701" y="8446"/>
                    <a:pt x="6477" y="7926"/>
                    <a:pt x="7398" y="7926"/>
                  </a:cubicBezTo>
                  <a:cubicBezTo>
                    <a:pt x="8319" y="7926"/>
                    <a:pt x="9098" y="8446"/>
                    <a:pt x="9098" y="9059"/>
                  </a:cubicBezTo>
                  <a:lnTo>
                    <a:pt x="9098" y="9475"/>
                  </a:lnTo>
                  <a:cubicBezTo>
                    <a:pt x="9098" y="9500"/>
                    <a:pt x="9098" y="9527"/>
                    <a:pt x="9101" y="9551"/>
                  </a:cubicBezTo>
                  <a:cubicBezTo>
                    <a:pt x="9098" y="9575"/>
                    <a:pt x="9098" y="9602"/>
                    <a:pt x="9098" y="9626"/>
                  </a:cubicBezTo>
                  <a:lnTo>
                    <a:pt x="9098" y="14799"/>
                  </a:lnTo>
                  <a:cubicBezTo>
                    <a:pt x="9098" y="15424"/>
                    <a:pt x="8591" y="15931"/>
                    <a:pt x="7966" y="15931"/>
                  </a:cubicBezTo>
                  <a:cubicBezTo>
                    <a:pt x="7337" y="15931"/>
                    <a:pt x="6833" y="15424"/>
                    <a:pt x="6833" y="14799"/>
                  </a:cubicBezTo>
                  <a:lnTo>
                    <a:pt x="6833" y="14231"/>
                  </a:lnTo>
                  <a:cubicBezTo>
                    <a:pt x="6833" y="13920"/>
                    <a:pt x="6580" y="13666"/>
                    <a:pt x="6266" y="13666"/>
                  </a:cubicBezTo>
                  <a:cubicBezTo>
                    <a:pt x="5952" y="13666"/>
                    <a:pt x="5701" y="13920"/>
                    <a:pt x="5701" y="14231"/>
                  </a:cubicBezTo>
                  <a:lnTo>
                    <a:pt x="5701" y="14799"/>
                  </a:lnTo>
                  <a:cubicBezTo>
                    <a:pt x="5701" y="16049"/>
                    <a:pt x="6712" y="17063"/>
                    <a:pt x="7966" y="17063"/>
                  </a:cubicBezTo>
                  <a:cubicBezTo>
                    <a:pt x="9216" y="17063"/>
                    <a:pt x="10230" y="16049"/>
                    <a:pt x="10230" y="14799"/>
                  </a:cubicBezTo>
                  <a:lnTo>
                    <a:pt x="10230" y="9626"/>
                  </a:lnTo>
                  <a:cubicBezTo>
                    <a:pt x="10227" y="9599"/>
                    <a:pt x="10227" y="9575"/>
                    <a:pt x="10224" y="9551"/>
                  </a:cubicBezTo>
                  <a:cubicBezTo>
                    <a:pt x="10227" y="9524"/>
                    <a:pt x="10227" y="9500"/>
                    <a:pt x="10230" y="9475"/>
                  </a:cubicBezTo>
                  <a:lnTo>
                    <a:pt x="10230" y="9059"/>
                  </a:lnTo>
                  <a:cubicBezTo>
                    <a:pt x="10230" y="8446"/>
                    <a:pt x="11006" y="7926"/>
                    <a:pt x="11927" y="7926"/>
                  </a:cubicBezTo>
                  <a:cubicBezTo>
                    <a:pt x="12848" y="7926"/>
                    <a:pt x="13627" y="8446"/>
                    <a:pt x="13627" y="9059"/>
                  </a:cubicBezTo>
                  <a:cubicBezTo>
                    <a:pt x="13627" y="9373"/>
                    <a:pt x="13878" y="9623"/>
                    <a:pt x="14192" y="9623"/>
                  </a:cubicBezTo>
                  <a:cubicBezTo>
                    <a:pt x="14506" y="9623"/>
                    <a:pt x="14759" y="9373"/>
                    <a:pt x="14759" y="9059"/>
                  </a:cubicBezTo>
                  <a:cubicBezTo>
                    <a:pt x="14759" y="8446"/>
                    <a:pt x="15535" y="7926"/>
                    <a:pt x="16456" y="7926"/>
                  </a:cubicBezTo>
                  <a:cubicBezTo>
                    <a:pt x="17377" y="7926"/>
                    <a:pt x="18192" y="8455"/>
                    <a:pt x="18192" y="9059"/>
                  </a:cubicBezTo>
                  <a:cubicBezTo>
                    <a:pt x="18192" y="9373"/>
                    <a:pt x="18446" y="9623"/>
                    <a:pt x="18760" y="9623"/>
                  </a:cubicBezTo>
                  <a:cubicBezTo>
                    <a:pt x="19071" y="9623"/>
                    <a:pt x="19325" y="9373"/>
                    <a:pt x="19325" y="9059"/>
                  </a:cubicBezTo>
                  <a:lnTo>
                    <a:pt x="19325" y="8494"/>
                  </a:lnTo>
                  <a:cubicBezTo>
                    <a:pt x="19325" y="6495"/>
                    <a:pt x="18295" y="4629"/>
                    <a:pt x="16426" y="3234"/>
                  </a:cubicBezTo>
                  <a:cubicBezTo>
                    <a:pt x="14744" y="1981"/>
                    <a:pt x="12561" y="1247"/>
                    <a:pt x="10230" y="1145"/>
                  </a:cubicBezTo>
                  <a:lnTo>
                    <a:pt x="10230" y="568"/>
                  </a:lnTo>
                  <a:cubicBezTo>
                    <a:pt x="10230" y="254"/>
                    <a:pt x="9976"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1" name="Google Shape;6241;p71"/>
            <p:cNvSpPr/>
            <p:nvPr/>
          </p:nvSpPr>
          <p:spPr>
            <a:xfrm>
              <a:off x="6413650"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2" name="Google Shape;6242;p71"/>
            <p:cNvSpPr/>
            <p:nvPr/>
          </p:nvSpPr>
          <p:spPr>
            <a:xfrm>
              <a:off x="6526875" y="2615925"/>
              <a:ext cx="28325" cy="56650"/>
            </a:xfrm>
            <a:custGeom>
              <a:avLst/>
              <a:gdLst/>
              <a:ahLst/>
              <a:cxnLst/>
              <a:rect l="l" t="t" r="r" b="b"/>
              <a:pathLst>
                <a:path w="1133" h="2266" extrusionOk="0">
                  <a:moveTo>
                    <a:pt x="565" y="1"/>
                  </a:moveTo>
                  <a:cubicBezTo>
                    <a:pt x="251" y="1"/>
                    <a:pt x="0" y="254"/>
                    <a:pt x="0" y="568"/>
                  </a:cubicBezTo>
                  <a:lnTo>
                    <a:pt x="0" y="1701"/>
                  </a:lnTo>
                  <a:cubicBezTo>
                    <a:pt x="0" y="2012"/>
                    <a:pt x="251" y="2265"/>
                    <a:pt x="565" y="2265"/>
                  </a:cubicBezTo>
                  <a:cubicBezTo>
                    <a:pt x="879" y="2265"/>
                    <a:pt x="1133" y="2012"/>
                    <a:pt x="1133" y="1701"/>
                  </a:cubicBezTo>
                  <a:lnTo>
                    <a:pt x="1133" y="568"/>
                  </a:lnTo>
                  <a:cubicBezTo>
                    <a:pt x="1133" y="254"/>
                    <a:pt x="879" y="1"/>
                    <a:pt x="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3" name="Google Shape;6243;p71"/>
            <p:cNvSpPr/>
            <p:nvPr/>
          </p:nvSpPr>
          <p:spPr>
            <a:xfrm>
              <a:off x="6611800"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4" name="Google Shape;6244;p71"/>
            <p:cNvSpPr/>
            <p:nvPr/>
          </p:nvSpPr>
          <p:spPr>
            <a:xfrm>
              <a:off x="6328725" y="2644250"/>
              <a:ext cx="28325" cy="56625"/>
            </a:xfrm>
            <a:custGeom>
              <a:avLst/>
              <a:gdLst/>
              <a:ahLst/>
              <a:cxnLst/>
              <a:rect l="l" t="t" r="r" b="b"/>
              <a:pathLst>
                <a:path w="1133" h="2265" extrusionOk="0">
                  <a:moveTo>
                    <a:pt x="565" y="0"/>
                  </a:moveTo>
                  <a:cubicBezTo>
                    <a:pt x="251" y="0"/>
                    <a:pt x="0" y="254"/>
                    <a:pt x="0" y="568"/>
                  </a:cubicBezTo>
                  <a:lnTo>
                    <a:pt x="0" y="1700"/>
                  </a:lnTo>
                  <a:cubicBezTo>
                    <a:pt x="0" y="2011"/>
                    <a:pt x="251" y="2265"/>
                    <a:pt x="565" y="2265"/>
                  </a:cubicBezTo>
                  <a:cubicBezTo>
                    <a:pt x="879" y="2265"/>
                    <a:pt x="1133" y="2011"/>
                    <a:pt x="1133" y="1700"/>
                  </a:cubicBezTo>
                  <a:lnTo>
                    <a:pt x="1133" y="568"/>
                  </a:lnTo>
                  <a:cubicBezTo>
                    <a:pt x="1133"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45" name="Google Shape;6245;p71"/>
          <p:cNvSpPr/>
          <p:nvPr/>
        </p:nvSpPr>
        <p:spPr>
          <a:xfrm>
            <a:off x="6738013" y="3621522"/>
            <a:ext cx="461303" cy="428233"/>
          </a:xfrm>
          <a:custGeom>
            <a:avLst/>
            <a:gdLst/>
            <a:ahLst/>
            <a:cxnLst/>
            <a:rect l="l" t="t" r="r" b="b"/>
            <a:pathLst>
              <a:path w="19655" h="18246" extrusionOk="0">
                <a:moveTo>
                  <a:pt x="9829" y="1835"/>
                </a:moveTo>
                <a:lnTo>
                  <a:pt x="12133" y="6452"/>
                </a:lnTo>
                <a:cubicBezTo>
                  <a:pt x="12218" y="6618"/>
                  <a:pt x="12375" y="6733"/>
                  <a:pt x="12559" y="6760"/>
                </a:cubicBezTo>
                <a:lnTo>
                  <a:pt x="17698" y="7500"/>
                </a:lnTo>
                <a:lnTo>
                  <a:pt x="13984" y="11078"/>
                </a:lnTo>
                <a:cubicBezTo>
                  <a:pt x="13848" y="11211"/>
                  <a:pt x="13788" y="11398"/>
                  <a:pt x="13821" y="11582"/>
                </a:cubicBezTo>
                <a:lnTo>
                  <a:pt x="14700" y="16646"/>
                </a:lnTo>
                <a:lnTo>
                  <a:pt x="10092" y="14251"/>
                </a:lnTo>
                <a:cubicBezTo>
                  <a:pt x="10009" y="14209"/>
                  <a:pt x="9919" y="14188"/>
                  <a:pt x="9830" y="14188"/>
                </a:cubicBezTo>
                <a:cubicBezTo>
                  <a:pt x="9740" y="14188"/>
                  <a:pt x="9651" y="14209"/>
                  <a:pt x="9570" y="14251"/>
                </a:cubicBezTo>
                <a:lnTo>
                  <a:pt x="4962" y="16646"/>
                </a:lnTo>
                <a:lnTo>
                  <a:pt x="5838" y="11582"/>
                </a:lnTo>
                <a:cubicBezTo>
                  <a:pt x="5871" y="11398"/>
                  <a:pt x="5810" y="11208"/>
                  <a:pt x="5674" y="11078"/>
                </a:cubicBezTo>
                <a:lnTo>
                  <a:pt x="1961" y="7500"/>
                </a:lnTo>
                <a:lnTo>
                  <a:pt x="7100" y="6760"/>
                </a:lnTo>
                <a:cubicBezTo>
                  <a:pt x="7284" y="6733"/>
                  <a:pt x="7441" y="6618"/>
                  <a:pt x="7525" y="6452"/>
                </a:cubicBezTo>
                <a:lnTo>
                  <a:pt x="9829" y="1835"/>
                </a:lnTo>
                <a:close/>
                <a:moveTo>
                  <a:pt x="9828" y="1"/>
                </a:moveTo>
                <a:cubicBezTo>
                  <a:pt x="9627" y="1"/>
                  <a:pt x="9426" y="105"/>
                  <a:pt x="9322" y="313"/>
                </a:cubicBezTo>
                <a:lnTo>
                  <a:pt x="6641" y="5682"/>
                </a:lnTo>
                <a:lnTo>
                  <a:pt x="653" y="6543"/>
                </a:lnTo>
                <a:cubicBezTo>
                  <a:pt x="188" y="6609"/>
                  <a:pt x="1" y="7183"/>
                  <a:pt x="339" y="7509"/>
                </a:cubicBezTo>
                <a:lnTo>
                  <a:pt x="4672" y="11685"/>
                </a:lnTo>
                <a:lnTo>
                  <a:pt x="3648" y="17579"/>
                </a:lnTo>
                <a:cubicBezTo>
                  <a:pt x="3584" y="17947"/>
                  <a:pt x="3875" y="18245"/>
                  <a:pt x="4207" y="18245"/>
                </a:cubicBezTo>
                <a:cubicBezTo>
                  <a:pt x="4293" y="18245"/>
                  <a:pt x="4383" y="18225"/>
                  <a:pt x="4470" y="18180"/>
                </a:cubicBezTo>
                <a:lnTo>
                  <a:pt x="9829" y="15393"/>
                </a:lnTo>
                <a:lnTo>
                  <a:pt x="15189" y="18180"/>
                </a:lnTo>
                <a:cubicBezTo>
                  <a:pt x="15275" y="18225"/>
                  <a:pt x="15365" y="18245"/>
                  <a:pt x="15452" y="18245"/>
                </a:cubicBezTo>
                <a:cubicBezTo>
                  <a:pt x="15782" y="18245"/>
                  <a:pt x="16072" y="17948"/>
                  <a:pt x="16007" y="17582"/>
                </a:cubicBezTo>
                <a:lnTo>
                  <a:pt x="14986" y="11685"/>
                </a:lnTo>
                <a:lnTo>
                  <a:pt x="19316" y="7512"/>
                </a:lnTo>
                <a:cubicBezTo>
                  <a:pt x="19655" y="7183"/>
                  <a:pt x="19470" y="6609"/>
                  <a:pt x="19005" y="6543"/>
                </a:cubicBezTo>
                <a:lnTo>
                  <a:pt x="13015" y="5682"/>
                </a:lnTo>
                <a:lnTo>
                  <a:pt x="10333" y="313"/>
                </a:lnTo>
                <a:cubicBezTo>
                  <a:pt x="10229" y="105"/>
                  <a:pt x="10029" y="1"/>
                  <a:pt x="98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46" name="Google Shape;6246;p71"/>
          <p:cNvGrpSpPr/>
          <p:nvPr/>
        </p:nvGrpSpPr>
        <p:grpSpPr>
          <a:xfrm>
            <a:off x="7318173" y="3609382"/>
            <a:ext cx="456116" cy="453581"/>
            <a:chOff x="1487200" y="3210375"/>
            <a:chExt cx="485850" cy="483150"/>
          </a:xfrm>
        </p:grpSpPr>
        <p:sp>
          <p:nvSpPr>
            <p:cNvPr id="6247" name="Google Shape;6247;p71"/>
            <p:cNvSpPr/>
            <p:nvPr/>
          </p:nvSpPr>
          <p:spPr>
            <a:xfrm>
              <a:off x="1712075" y="3294975"/>
              <a:ext cx="146750" cy="141525"/>
            </a:xfrm>
            <a:custGeom>
              <a:avLst/>
              <a:gdLst/>
              <a:ahLst/>
              <a:cxnLst/>
              <a:rect l="l" t="t" r="r" b="b"/>
              <a:pathLst>
                <a:path w="5870" h="5661" extrusionOk="0">
                  <a:moveTo>
                    <a:pt x="2935" y="1832"/>
                  </a:moveTo>
                  <a:lnTo>
                    <a:pt x="3183" y="2327"/>
                  </a:lnTo>
                  <a:cubicBezTo>
                    <a:pt x="3237" y="2438"/>
                    <a:pt x="3327" y="2526"/>
                    <a:pt x="3436" y="2580"/>
                  </a:cubicBezTo>
                  <a:lnTo>
                    <a:pt x="3931" y="2831"/>
                  </a:lnTo>
                  <a:lnTo>
                    <a:pt x="3436" y="3079"/>
                  </a:lnTo>
                  <a:cubicBezTo>
                    <a:pt x="3327" y="3133"/>
                    <a:pt x="3237" y="3220"/>
                    <a:pt x="3183" y="3332"/>
                  </a:cubicBezTo>
                  <a:lnTo>
                    <a:pt x="2935" y="3827"/>
                  </a:lnTo>
                  <a:lnTo>
                    <a:pt x="2684" y="3332"/>
                  </a:lnTo>
                  <a:cubicBezTo>
                    <a:pt x="2630" y="3220"/>
                    <a:pt x="2542" y="3133"/>
                    <a:pt x="2431" y="3079"/>
                  </a:cubicBezTo>
                  <a:lnTo>
                    <a:pt x="1936" y="2831"/>
                  </a:lnTo>
                  <a:lnTo>
                    <a:pt x="2431" y="2580"/>
                  </a:lnTo>
                  <a:cubicBezTo>
                    <a:pt x="2542" y="2526"/>
                    <a:pt x="2630" y="2438"/>
                    <a:pt x="2684" y="2327"/>
                  </a:cubicBezTo>
                  <a:lnTo>
                    <a:pt x="2935" y="1832"/>
                  </a:lnTo>
                  <a:close/>
                  <a:moveTo>
                    <a:pt x="2933" y="0"/>
                  </a:moveTo>
                  <a:cubicBezTo>
                    <a:pt x="2733" y="0"/>
                    <a:pt x="2532" y="104"/>
                    <a:pt x="2428" y="313"/>
                  </a:cubicBezTo>
                  <a:lnTo>
                    <a:pt x="1757" y="1653"/>
                  </a:lnTo>
                  <a:lnTo>
                    <a:pt x="417" y="2324"/>
                  </a:lnTo>
                  <a:cubicBezTo>
                    <a:pt x="0" y="2532"/>
                    <a:pt x="0" y="3127"/>
                    <a:pt x="417" y="3335"/>
                  </a:cubicBezTo>
                  <a:lnTo>
                    <a:pt x="1757" y="4006"/>
                  </a:lnTo>
                  <a:lnTo>
                    <a:pt x="2428" y="5346"/>
                  </a:lnTo>
                  <a:cubicBezTo>
                    <a:pt x="2532" y="5556"/>
                    <a:pt x="2733" y="5661"/>
                    <a:pt x="2933" y="5661"/>
                  </a:cubicBezTo>
                  <a:cubicBezTo>
                    <a:pt x="3134" y="5661"/>
                    <a:pt x="3335" y="5556"/>
                    <a:pt x="3439" y="5346"/>
                  </a:cubicBezTo>
                  <a:lnTo>
                    <a:pt x="4110" y="4006"/>
                  </a:lnTo>
                  <a:lnTo>
                    <a:pt x="5453" y="3335"/>
                  </a:lnTo>
                  <a:cubicBezTo>
                    <a:pt x="5870" y="3127"/>
                    <a:pt x="5870" y="2532"/>
                    <a:pt x="5453" y="2324"/>
                  </a:cubicBezTo>
                  <a:lnTo>
                    <a:pt x="4110" y="1653"/>
                  </a:lnTo>
                  <a:lnTo>
                    <a:pt x="3439" y="313"/>
                  </a:lnTo>
                  <a:cubicBezTo>
                    <a:pt x="3335" y="104"/>
                    <a:pt x="3134" y="0"/>
                    <a:pt x="2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8" name="Google Shape;6248;p71"/>
            <p:cNvSpPr/>
            <p:nvPr/>
          </p:nvSpPr>
          <p:spPr>
            <a:xfrm>
              <a:off x="1825300" y="3408200"/>
              <a:ext cx="147750" cy="141550"/>
            </a:xfrm>
            <a:custGeom>
              <a:avLst/>
              <a:gdLst/>
              <a:ahLst/>
              <a:cxnLst/>
              <a:rect l="l" t="t" r="r" b="b"/>
              <a:pathLst>
                <a:path w="5910" h="5662" extrusionOk="0">
                  <a:moveTo>
                    <a:pt x="2935" y="1832"/>
                  </a:moveTo>
                  <a:lnTo>
                    <a:pt x="3183" y="2327"/>
                  </a:lnTo>
                  <a:cubicBezTo>
                    <a:pt x="3237" y="2439"/>
                    <a:pt x="3328" y="2529"/>
                    <a:pt x="3442" y="2584"/>
                  </a:cubicBezTo>
                  <a:lnTo>
                    <a:pt x="3944" y="2831"/>
                  </a:lnTo>
                  <a:lnTo>
                    <a:pt x="3442" y="3076"/>
                  </a:lnTo>
                  <a:cubicBezTo>
                    <a:pt x="3328" y="3130"/>
                    <a:pt x="3237" y="3221"/>
                    <a:pt x="3183" y="3332"/>
                  </a:cubicBezTo>
                  <a:lnTo>
                    <a:pt x="2935" y="3828"/>
                  </a:lnTo>
                  <a:lnTo>
                    <a:pt x="2685" y="3332"/>
                  </a:lnTo>
                  <a:cubicBezTo>
                    <a:pt x="2630" y="3221"/>
                    <a:pt x="2543" y="3133"/>
                    <a:pt x="2434" y="3079"/>
                  </a:cubicBezTo>
                  <a:lnTo>
                    <a:pt x="1936" y="2831"/>
                  </a:lnTo>
                  <a:lnTo>
                    <a:pt x="2434" y="2581"/>
                  </a:lnTo>
                  <a:cubicBezTo>
                    <a:pt x="2543" y="2526"/>
                    <a:pt x="2630" y="2439"/>
                    <a:pt x="2685" y="2327"/>
                  </a:cubicBezTo>
                  <a:lnTo>
                    <a:pt x="2935" y="1832"/>
                  </a:lnTo>
                  <a:close/>
                  <a:moveTo>
                    <a:pt x="2934" y="0"/>
                  </a:moveTo>
                  <a:cubicBezTo>
                    <a:pt x="2733" y="0"/>
                    <a:pt x="2532" y="105"/>
                    <a:pt x="2428" y="313"/>
                  </a:cubicBezTo>
                  <a:lnTo>
                    <a:pt x="1758" y="1654"/>
                  </a:lnTo>
                  <a:lnTo>
                    <a:pt x="417" y="2324"/>
                  </a:lnTo>
                  <a:cubicBezTo>
                    <a:pt x="0" y="2532"/>
                    <a:pt x="0" y="3127"/>
                    <a:pt x="417" y="3335"/>
                  </a:cubicBezTo>
                  <a:lnTo>
                    <a:pt x="1758" y="4006"/>
                  </a:lnTo>
                  <a:lnTo>
                    <a:pt x="2428" y="5346"/>
                  </a:lnTo>
                  <a:cubicBezTo>
                    <a:pt x="2532" y="5556"/>
                    <a:pt x="2733" y="5661"/>
                    <a:pt x="2934" y="5661"/>
                  </a:cubicBezTo>
                  <a:cubicBezTo>
                    <a:pt x="3134" y="5661"/>
                    <a:pt x="3335" y="5556"/>
                    <a:pt x="3439" y="5346"/>
                  </a:cubicBezTo>
                  <a:lnTo>
                    <a:pt x="4110" y="4009"/>
                  </a:lnTo>
                  <a:lnTo>
                    <a:pt x="5484" y="3338"/>
                  </a:lnTo>
                  <a:cubicBezTo>
                    <a:pt x="5909" y="3133"/>
                    <a:pt x="5909" y="2526"/>
                    <a:pt x="5484" y="2321"/>
                  </a:cubicBezTo>
                  <a:lnTo>
                    <a:pt x="4110" y="1651"/>
                  </a:lnTo>
                  <a:lnTo>
                    <a:pt x="3439" y="313"/>
                  </a:lnTo>
                  <a:cubicBezTo>
                    <a:pt x="3335" y="105"/>
                    <a:pt x="3134" y="0"/>
                    <a:pt x="29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49" name="Google Shape;6249;p71"/>
            <p:cNvSpPr/>
            <p:nvPr/>
          </p:nvSpPr>
          <p:spPr>
            <a:xfrm>
              <a:off x="1487200" y="3210375"/>
              <a:ext cx="410350" cy="483150"/>
            </a:xfrm>
            <a:custGeom>
              <a:avLst/>
              <a:gdLst/>
              <a:ahLst/>
              <a:cxnLst/>
              <a:rect l="l" t="t" r="r" b="b"/>
              <a:pathLst>
                <a:path w="16414" h="19326" extrusionOk="0">
                  <a:moveTo>
                    <a:pt x="9662" y="1133"/>
                  </a:moveTo>
                  <a:cubicBezTo>
                    <a:pt x="9744" y="1133"/>
                    <a:pt x="9825" y="1133"/>
                    <a:pt x="9910" y="1136"/>
                  </a:cubicBezTo>
                  <a:cubicBezTo>
                    <a:pt x="7953" y="2866"/>
                    <a:pt x="6830" y="5351"/>
                    <a:pt x="6833" y="7966"/>
                  </a:cubicBezTo>
                  <a:cubicBezTo>
                    <a:pt x="6833" y="12311"/>
                    <a:pt x="9907" y="16049"/>
                    <a:pt x="14170" y="16889"/>
                  </a:cubicBezTo>
                  <a:cubicBezTo>
                    <a:pt x="12821" y="17740"/>
                    <a:pt x="11260" y="18193"/>
                    <a:pt x="9662" y="18193"/>
                  </a:cubicBezTo>
                  <a:cubicBezTo>
                    <a:pt x="4958" y="18193"/>
                    <a:pt x="1132" y="14368"/>
                    <a:pt x="1132" y="9663"/>
                  </a:cubicBezTo>
                  <a:cubicBezTo>
                    <a:pt x="1132" y="4959"/>
                    <a:pt x="4958" y="1133"/>
                    <a:pt x="9662" y="1133"/>
                  </a:cubicBezTo>
                  <a:close/>
                  <a:moveTo>
                    <a:pt x="9662" y="1"/>
                  </a:moveTo>
                  <a:cubicBezTo>
                    <a:pt x="7093" y="1"/>
                    <a:pt x="4668" y="1009"/>
                    <a:pt x="2838" y="2839"/>
                  </a:cubicBezTo>
                  <a:cubicBezTo>
                    <a:pt x="1009" y="4669"/>
                    <a:pt x="0" y="7094"/>
                    <a:pt x="0" y="9663"/>
                  </a:cubicBezTo>
                  <a:cubicBezTo>
                    <a:pt x="0" y="12233"/>
                    <a:pt x="1009" y="14657"/>
                    <a:pt x="2838" y="16487"/>
                  </a:cubicBezTo>
                  <a:cubicBezTo>
                    <a:pt x="4668" y="18317"/>
                    <a:pt x="7090" y="19325"/>
                    <a:pt x="9662" y="19325"/>
                  </a:cubicBezTo>
                  <a:cubicBezTo>
                    <a:pt x="12008" y="19322"/>
                    <a:pt x="14273" y="18462"/>
                    <a:pt x="16027" y="16907"/>
                  </a:cubicBezTo>
                  <a:cubicBezTo>
                    <a:pt x="16414" y="16566"/>
                    <a:pt x="16181" y="15932"/>
                    <a:pt x="15668" y="15916"/>
                  </a:cubicBezTo>
                  <a:cubicBezTo>
                    <a:pt x="11420" y="15799"/>
                    <a:pt x="7965" y="12233"/>
                    <a:pt x="7965" y="7966"/>
                  </a:cubicBezTo>
                  <a:cubicBezTo>
                    <a:pt x="7965" y="5243"/>
                    <a:pt x="9391" y="2658"/>
                    <a:pt x="11688" y="1215"/>
                  </a:cubicBezTo>
                  <a:cubicBezTo>
                    <a:pt x="12123" y="943"/>
                    <a:pt x="11999" y="276"/>
                    <a:pt x="11495" y="179"/>
                  </a:cubicBezTo>
                  <a:cubicBezTo>
                    <a:pt x="10891" y="61"/>
                    <a:pt x="10278" y="4"/>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50" name="Google Shape;6250;p71"/>
          <p:cNvSpPr/>
          <p:nvPr/>
        </p:nvSpPr>
        <p:spPr>
          <a:xfrm>
            <a:off x="7861326" y="3653000"/>
            <a:ext cx="453557" cy="365264"/>
          </a:xfrm>
          <a:custGeom>
            <a:avLst/>
            <a:gdLst/>
            <a:ahLst/>
            <a:cxnLst/>
            <a:rect l="l" t="t" r="r" b="b"/>
            <a:pathLst>
              <a:path w="19325" h="15563" extrusionOk="0">
                <a:moveTo>
                  <a:pt x="13582" y="1135"/>
                </a:moveTo>
                <a:cubicBezTo>
                  <a:pt x="14814" y="1135"/>
                  <a:pt x="15946" y="1812"/>
                  <a:pt x="16532" y="2896"/>
                </a:cubicBezTo>
                <a:cubicBezTo>
                  <a:pt x="17118" y="3983"/>
                  <a:pt x="17060" y="5302"/>
                  <a:pt x="16381" y="6332"/>
                </a:cubicBezTo>
                <a:cubicBezTo>
                  <a:pt x="15881" y="6149"/>
                  <a:pt x="15358" y="6058"/>
                  <a:pt x="14835" y="6058"/>
                </a:cubicBezTo>
                <a:cubicBezTo>
                  <a:pt x="14169" y="6058"/>
                  <a:pt x="13503" y="6206"/>
                  <a:pt x="12890" y="6501"/>
                </a:cubicBezTo>
                <a:cubicBezTo>
                  <a:pt x="12326" y="5429"/>
                  <a:pt x="11381" y="4611"/>
                  <a:pt x="10239" y="4203"/>
                </a:cubicBezTo>
                <a:cubicBezTo>
                  <a:pt x="10390" y="2470"/>
                  <a:pt x="11843" y="1138"/>
                  <a:pt x="13582" y="1135"/>
                </a:cubicBezTo>
                <a:close/>
                <a:moveTo>
                  <a:pt x="8612" y="5055"/>
                </a:moveTo>
                <a:cubicBezTo>
                  <a:pt x="8920" y="5055"/>
                  <a:pt x="9222" y="5094"/>
                  <a:pt x="9518" y="5172"/>
                </a:cubicBezTo>
                <a:cubicBezTo>
                  <a:pt x="10710" y="5489"/>
                  <a:pt x="11673" y="6413"/>
                  <a:pt x="12093" y="7639"/>
                </a:cubicBezTo>
                <a:cubicBezTo>
                  <a:pt x="12176" y="7879"/>
                  <a:pt x="12400" y="8020"/>
                  <a:pt x="12631" y="8020"/>
                </a:cubicBezTo>
                <a:cubicBezTo>
                  <a:pt x="12744" y="8020"/>
                  <a:pt x="12859" y="7986"/>
                  <a:pt x="12960" y="7914"/>
                </a:cubicBezTo>
                <a:cubicBezTo>
                  <a:pt x="13506" y="7519"/>
                  <a:pt x="14164" y="7304"/>
                  <a:pt x="14838" y="7304"/>
                </a:cubicBezTo>
                <a:cubicBezTo>
                  <a:pt x="14844" y="7304"/>
                  <a:pt x="14850" y="7304"/>
                  <a:pt x="14856" y="7304"/>
                </a:cubicBezTo>
                <a:cubicBezTo>
                  <a:pt x="15360" y="7304"/>
                  <a:pt x="15858" y="7428"/>
                  <a:pt x="16308" y="7663"/>
                </a:cubicBezTo>
                <a:cubicBezTo>
                  <a:pt x="17471" y="8267"/>
                  <a:pt x="18192" y="9493"/>
                  <a:pt x="18192" y="10864"/>
                </a:cubicBezTo>
                <a:cubicBezTo>
                  <a:pt x="18192" y="12830"/>
                  <a:pt x="16689" y="14427"/>
                  <a:pt x="14838" y="14427"/>
                </a:cubicBezTo>
                <a:lnTo>
                  <a:pt x="3904" y="14427"/>
                </a:lnTo>
                <a:cubicBezTo>
                  <a:pt x="2377" y="14427"/>
                  <a:pt x="1133" y="13104"/>
                  <a:pt x="1133" y="11480"/>
                </a:cubicBezTo>
                <a:cubicBezTo>
                  <a:pt x="1133" y="9853"/>
                  <a:pt x="2377" y="8530"/>
                  <a:pt x="3904" y="8530"/>
                </a:cubicBezTo>
                <a:cubicBezTo>
                  <a:pt x="4052" y="8533"/>
                  <a:pt x="4200" y="8545"/>
                  <a:pt x="4345" y="8569"/>
                </a:cubicBezTo>
                <a:cubicBezTo>
                  <a:pt x="4377" y="8575"/>
                  <a:pt x="4409" y="8577"/>
                  <a:pt x="4441" y="8577"/>
                </a:cubicBezTo>
                <a:cubicBezTo>
                  <a:pt x="4704" y="8577"/>
                  <a:pt x="4941" y="8393"/>
                  <a:pt x="4994" y="8128"/>
                </a:cubicBezTo>
                <a:cubicBezTo>
                  <a:pt x="5369" y="6347"/>
                  <a:pt x="6891" y="5055"/>
                  <a:pt x="8612" y="5055"/>
                </a:cubicBezTo>
                <a:close/>
                <a:moveTo>
                  <a:pt x="13579" y="1"/>
                </a:moveTo>
                <a:cubicBezTo>
                  <a:pt x="11392" y="1"/>
                  <a:pt x="9410" y="1624"/>
                  <a:pt x="9128" y="3953"/>
                </a:cubicBezTo>
                <a:cubicBezTo>
                  <a:pt x="8954" y="3933"/>
                  <a:pt x="8780" y="3923"/>
                  <a:pt x="8607" y="3923"/>
                </a:cubicBezTo>
                <a:cubicBezTo>
                  <a:pt x="7490" y="3923"/>
                  <a:pt x="6402" y="4324"/>
                  <a:pt x="5550" y="5064"/>
                </a:cubicBezTo>
                <a:cubicBezTo>
                  <a:pt x="4831" y="5686"/>
                  <a:pt x="4300" y="6495"/>
                  <a:pt x="4016" y="7401"/>
                </a:cubicBezTo>
                <a:lnTo>
                  <a:pt x="3901" y="7401"/>
                </a:lnTo>
                <a:cubicBezTo>
                  <a:pt x="1752" y="7401"/>
                  <a:pt x="0" y="9231"/>
                  <a:pt x="0" y="11480"/>
                </a:cubicBezTo>
                <a:cubicBezTo>
                  <a:pt x="0" y="13730"/>
                  <a:pt x="1749" y="15562"/>
                  <a:pt x="3901" y="15562"/>
                </a:cubicBezTo>
                <a:lnTo>
                  <a:pt x="14838" y="15562"/>
                </a:lnTo>
                <a:cubicBezTo>
                  <a:pt x="17311" y="15562"/>
                  <a:pt x="19325" y="13455"/>
                  <a:pt x="19325" y="10867"/>
                </a:cubicBezTo>
                <a:cubicBezTo>
                  <a:pt x="19325" y="9985"/>
                  <a:pt x="19086" y="9122"/>
                  <a:pt x="18633" y="8364"/>
                </a:cubicBezTo>
                <a:cubicBezTo>
                  <a:pt x="18301" y="7808"/>
                  <a:pt x="17854" y="7331"/>
                  <a:pt x="17326" y="6960"/>
                </a:cubicBezTo>
                <a:cubicBezTo>
                  <a:pt x="18917" y="4544"/>
                  <a:pt x="17842" y="1274"/>
                  <a:pt x="15125" y="278"/>
                </a:cubicBezTo>
                <a:cubicBezTo>
                  <a:pt x="14611" y="89"/>
                  <a:pt x="14089" y="1"/>
                  <a:pt x="135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51" name="Google Shape;6251;p71"/>
          <p:cNvSpPr/>
          <p:nvPr/>
        </p:nvSpPr>
        <p:spPr>
          <a:xfrm>
            <a:off x="8413566" y="3699052"/>
            <a:ext cx="453628" cy="273144"/>
          </a:xfrm>
          <a:custGeom>
            <a:avLst/>
            <a:gdLst/>
            <a:ahLst/>
            <a:cxnLst/>
            <a:rect l="l" t="t" r="r" b="b"/>
            <a:pathLst>
              <a:path w="19328" h="11638" extrusionOk="0">
                <a:moveTo>
                  <a:pt x="8612" y="1133"/>
                </a:moveTo>
                <a:cubicBezTo>
                  <a:pt x="8920" y="1133"/>
                  <a:pt x="9222" y="1172"/>
                  <a:pt x="9518" y="1251"/>
                </a:cubicBezTo>
                <a:cubicBezTo>
                  <a:pt x="10710" y="1571"/>
                  <a:pt x="11674" y="2492"/>
                  <a:pt x="12093" y="3718"/>
                </a:cubicBezTo>
                <a:cubicBezTo>
                  <a:pt x="12176" y="3959"/>
                  <a:pt x="12399" y="4099"/>
                  <a:pt x="12630" y="4099"/>
                </a:cubicBezTo>
                <a:cubicBezTo>
                  <a:pt x="12743" y="4099"/>
                  <a:pt x="12858" y="4065"/>
                  <a:pt x="12960" y="3992"/>
                </a:cubicBezTo>
                <a:cubicBezTo>
                  <a:pt x="13506" y="3597"/>
                  <a:pt x="14165" y="3382"/>
                  <a:pt x="14838" y="3382"/>
                </a:cubicBezTo>
                <a:cubicBezTo>
                  <a:pt x="14844" y="3382"/>
                  <a:pt x="14850" y="3382"/>
                  <a:pt x="14856" y="3382"/>
                </a:cubicBezTo>
                <a:cubicBezTo>
                  <a:pt x="15360" y="3382"/>
                  <a:pt x="15858" y="3506"/>
                  <a:pt x="16308" y="3742"/>
                </a:cubicBezTo>
                <a:cubicBezTo>
                  <a:pt x="17471" y="4346"/>
                  <a:pt x="18193" y="5572"/>
                  <a:pt x="18193" y="6942"/>
                </a:cubicBezTo>
                <a:cubicBezTo>
                  <a:pt x="18193" y="8908"/>
                  <a:pt x="16689" y="10505"/>
                  <a:pt x="14838" y="10505"/>
                </a:cubicBezTo>
                <a:lnTo>
                  <a:pt x="3905" y="10505"/>
                </a:lnTo>
                <a:cubicBezTo>
                  <a:pt x="2377" y="10505"/>
                  <a:pt x="1133" y="9183"/>
                  <a:pt x="1133" y="7558"/>
                </a:cubicBezTo>
                <a:cubicBezTo>
                  <a:pt x="1133" y="5931"/>
                  <a:pt x="2377" y="4611"/>
                  <a:pt x="3905" y="4611"/>
                </a:cubicBezTo>
                <a:cubicBezTo>
                  <a:pt x="4053" y="4611"/>
                  <a:pt x="4200" y="4623"/>
                  <a:pt x="4345" y="4648"/>
                </a:cubicBezTo>
                <a:cubicBezTo>
                  <a:pt x="4378" y="4653"/>
                  <a:pt x="4410" y="4656"/>
                  <a:pt x="4442" y="4656"/>
                </a:cubicBezTo>
                <a:cubicBezTo>
                  <a:pt x="4704" y="4656"/>
                  <a:pt x="4941" y="4473"/>
                  <a:pt x="4995" y="4207"/>
                </a:cubicBezTo>
                <a:cubicBezTo>
                  <a:pt x="5369" y="2425"/>
                  <a:pt x="6891" y="1133"/>
                  <a:pt x="8612" y="1133"/>
                </a:cubicBezTo>
                <a:close/>
                <a:moveTo>
                  <a:pt x="8612" y="1"/>
                </a:moveTo>
                <a:cubicBezTo>
                  <a:pt x="7489" y="4"/>
                  <a:pt x="6405" y="408"/>
                  <a:pt x="5553" y="1142"/>
                </a:cubicBezTo>
                <a:cubicBezTo>
                  <a:pt x="4832" y="1764"/>
                  <a:pt x="4300" y="2573"/>
                  <a:pt x="4016" y="3479"/>
                </a:cubicBezTo>
                <a:lnTo>
                  <a:pt x="3905" y="3479"/>
                </a:lnTo>
                <a:cubicBezTo>
                  <a:pt x="1752" y="3479"/>
                  <a:pt x="0" y="5309"/>
                  <a:pt x="0" y="7558"/>
                </a:cubicBezTo>
                <a:cubicBezTo>
                  <a:pt x="0" y="9808"/>
                  <a:pt x="1752" y="11638"/>
                  <a:pt x="3905" y="11638"/>
                </a:cubicBezTo>
                <a:lnTo>
                  <a:pt x="14838" y="11638"/>
                </a:lnTo>
                <a:cubicBezTo>
                  <a:pt x="17314" y="11638"/>
                  <a:pt x="19325" y="9533"/>
                  <a:pt x="19325" y="6945"/>
                </a:cubicBezTo>
                <a:cubicBezTo>
                  <a:pt x="19328" y="6064"/>
                  <a:pt x="19089" y="5197"/>
                  <a:pt x="18636" y="4442"/>
                </a:cubicBezTo>
                <a:cubicBezTo>
                  <a:pt x="18202" y="3718"/>
                  <a:pt x="17577" y="3129"/>
                  <a:pt x="16831" y="2736"/>
                </a:cubicBezTo>
                <a:cubicBezTo>
                  <a:pt x="16206" y="2412"/>
                  <a:pt x="15522" y="2249"/>
                  <a:pt x="14838" y="2249"/>
                </a:cubicBezTo>
                <a:cubicBezTo>
                  <a:pt x="14173" y="2249"/>
                  <a:pt x="13508" y="2403"/>
                  <a:pt x="12896" y="2709"/>
                </a:cubicBezTo>
                <a:cubicBezTo>
                  <a:pt x="12265" y="1447"/>
                  <a:pt x="11151" y="514"/>
                  <a:pt x="9811" y="158"/>
                </a:cubicBezTo>
                <a:cubicBezTo>
                  <a:pt x="9421" y="55"/>
                  <a:pt x="9016" y="1"/>
                  <a:pt x="86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52" name="Google Shape;6252;p71"/>
          <p:cNvGrpSpPr/>
          <p:nvPr/>
        </p:nvGrpSpPr>
        <p:grpSpPr>
          <a:xfrm>
            <a:off x="8970651" y="3609370"/>
            <a:ext cx="454848" cy="453605"/>
            <a:chOff x="3269875" y="3210400"/>
            <a:chExt cx="484500" cy="483175"/>
          </a:xfrm>
        </p:grpSpPr>
        <p:sp>
          <p:nvSpPr>
            <p:cNvPr id="6253" name="Google Shape;6253;p71"/>
            <p:cNvSpPr/>
            <p:nvPr/>
          </p:nvSpPr>
          <p:spPr>
            <a:xfrm>
              <a:off x="3364000" y="3303850"/>
              <a:ext cx="296300" cy="296300"/>
            </a:xfrm>
            <a:custGeom>
              <a:avLst/>
              <a:gdLst/>
              <a:ahLst/>
              <a:cxnLst/>
              <a:rect l="l" t="t" r="r" b="b"/>
              <a:pathLst>
                <a:path w="11852" h="11852" extrusionOk="0">
                  <a:moveTo>
                    <a:pt x="5925" y="1132"/>
                  </a:moveTo>
                  <a:cubicBezTo>
                    <a:pt x="7863" y="1132"/>
                    <a:pt x="9612" y="2298"/>
                    <a:pt x="10354" y="4088"/>
                  </a:cubicBezTo>
                  <a:cubicBezTo>
                    <a:pt x="11094" y="5882"/>
                    <a:pt x="10683" y="7941"/>
                    <a:pt x="9313" y="9312"/>
                  </a:cubicBezTo>
                  <a:cubicBezTo>
                    <a:pt x="8395" y="10230"/>
                    <a:pt x="7169" y="10717"/>
                    <a:pt x="5920" y="10717"/>
                  </a:cubicBezTo>
                  <a:cubicBezTo>
                    <a:pt x="5304" y="10717"/>
                    <a:pt x="4682" y="10598"/>
                    <a:pt x="4089" y="10354"/>
                  </a:cubicBezTo>
                  <a:cubicBezTo>
                    <a:pt x="2298" y="9611"/>
                    <a:pt x="1133" y="7863"/>
                    <a:pt x="1133" y="5924"/>
                  </a:cubicBezTo>
                  <a:cubicBezTo>
                    <a:pt x="1133" y="3279"/>
                    <a:pt x="3280" y="1132"/>
                    <a:pt x="5925" y="1132"/>
                  </a:cubicBezTo>
                  <a:close/>
                  <a:moveTo>
                    <a:pt x="5925" y="0"/>
                  </a:moveTo>
                  <a:cubicBezTo>
                    <a:pt x="2658" y="0"/>
                    <a:pt x="1" y="2657"/>
                    <a:pt x="1" y="5924"/>
                  </a:cubicBezTo>
                  <a:cubicBezTo>
                    <a:pt x="1" y="9191"/>
                    <a:pt x="2658" y="11851"/>
                    <a:pt x="5925" y="11851"/>
                  </a:cubicBezTo>
                  <a:cubicBezTo>
                    <a:pt x="9192" y="11851"/>
                    <a:pt x="11852" y="9191"/>
                    <a:pt x="11852" y="5924"/>
                  </a:cubicBezTo>
                  <a:cubicBezTo>
                    <a:pt x="11852" y="2657"/>
                    <a:pt x="9192" y="0"/>
                    <a:pt x="59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54" name="Google Shape;6254;p71"/>
            <p:cNvSpPr/>
            <p:nvPr/>
          </p:nvSpPr>
          <p:spPr>
            <a:xfrm>
              <a:off x="3269875" y="3210400"/>
              <a:ext cx="484500" cy="483175"/>
            </a:xfrm>
            <a:custGeom>
              <a:avLst/>
              <a:gdLst/>
              <a:ahLst/>
              <a:cxnLst/>
              <a:rect l="l" t="t" r="r" b="b"/>
              <a:pathLst>
                <a:path w="19380" h="19327" extrusionOk="0">
                  <a:moveTo>
                    <a:pt x="9690" y="1208"/>
                  </a:moveTo>
                  <a:lnTo>
                    <a:pt x="11426" y="2126"/>
                  </a:lnTo>
                  <a:cubicBezTo>
                    <a:pt x="11507" y="2168"/>
                    <a:pt x="11598" y="2192"/>
                    <a:pt x="11692" y="2192"/>
                  </a:cubicBezTo>
                  <a:lnTo>
                    <a:pt x="13651" y="2192"/>
                  </a:lnTo>
                  <a:lnTo>
                    <a:pt x="14765" y="3817"/>
                  </a:lnTo>
                  <a:cubicBezTo>
                    <a:pt x="14817" y="3892"/>
                    <a:pt x="14886" y="3955"/>
                    <a:pt x="14968" y="3998"/>
                  </a:cubicBezTo>
                  <a:lnTo>
                    <a:pt x="16704" y="4916"/>
                  </a:lnTo>
                  <a:lnTo>
                    <a:pt x="16939" y="6878"/>
                  </a:lnTo>
                  <a:cubicBezTo>
                    <a:pt x="16952" y="6969"/>
                    <a:pt x="16985" y="7056"/>
                    <a:pt x="17036" y="7132"/>
                  </a:cubicBezTo>
                  <a:lnTo>
                    <a:pt x="18150" y="8759"/>
                  </a:lnTo>
                  <a:lnTo>
                    <a:pt x="17456" y="10610"/>
                  </a:lnTo>
                  <a:cubicBezTo>
                    <a:pt x="17423" y="10695"/>
                    <a:pt x="17410" y="10785"/>
                    <a:pt x="17423" y="10876"/>
                  </a:cubicBezTo>
                  <a:lnTo>
                    <a:pt x="17658" y="12842"/>
                  </a:lnTo>
                  <a:lnTo>
                    <a:pt x="16188" y="14155"/>
                  </a:lnTo>
                  <a:cubicBezTo>
                    <a:pt x="16121" y="14216"/>
                    <a:pt x="16067" y="14291"/>
                    <a:pt x="16037" y="14379"/>
                  </a:cubicBezTo>
                  <a:lnTo>
                    <a:pt x="15339" y="16226"/>
                  </a:lnTo>
                  <a:lnTo>
                    <a:pt x="13437" y="16701"/>
                  </a:lnTo>
                  <a:cubicBezTo>
                    <a:pt x="13346" y="16722"/>
                    <a:pt x="13265" y="16764"/>
                    <a:pt x="13195" y="16827"/>
                  </a:cubicBezTo>
                  <a:lnTo>
                    <a:pt x="11728" y="18138"/>
                  </a:lnTo>
                  <a:lnTo>
                    <a:pt x="9826" y="17664"/>
                  </a:lnTo>
                  <a:cubicBezTo>
                    <a:pt x="9782" y="17653"/>
                    <a:pt x="9736" y="17648"/>
                    <a:pt x="9690" y="17648"/>
                  </a:cubicBezTo>
                  <a:cubicBezTo>
                    <a:pt x="9644" y="17648"/>
                    <a:pt x="9598" y="17653"/>
                    <a:pt x="9554" y="17664"/>
                  </a:cubicBezTo>
                  <a:lnTo>
                    <a:pt x="7652" y="18138"/>
                  </a:lnTo>
                  <a:lnTo>
                    <a:pt x="6184" y="16827"/>
                  </a:lnTo>
                  <a:cubicBezTo>
                    <a:pt x="6115" y="16767"/>
                    <a:pt x="6033" y="16722"/>
                    <a:pt x="5943" y="16701"/>
                  </a:cubicBezTo>
                  <a:lnTo>
                    <a:pt x="4040" y="16226"/>
                  </a:lnTo>
                  <a:lnTo>
                    <a:pt x="3343" y="14379"/>
                  </a:lnTo>
                  <a:cubicBezTo>
                    <a:pt x="3313" y="14291"/>
                    <a:pt x="3258" y="14216"/>
                    <a:pt x="3192" y="14155"/>
                  </a:cubicBezTo>
                  <a:lnTo>
                    <a:pt x="1721" y="12842"/>
                  </a:lnTo>
                  <a:lnTo>
                    <a:pt x="1960" y="10879"/>
                  </a:lnTo>
                  <a:cubicBezTo>
                    <a:pt x="1969" y="10788"/>
                    <a:pt x="1960" y="10695"/>
                    <a:pt x="1927" y="10610"/>
                  </a:cubicBezTo>
                  <a:lnTo>
                    <a:pt x="1229" y="8762"/>
                  </a:lnTo>
                  <a:lnTo>
                    <a:pt x="2346" y="7132"/>
                  </a:lnTo>
                  <a:cubicBezTo>
                    <a:pt x="2398" y="7056"/>
                    <a:pt x="2428" y="6969"/>
                    <a:pt x="2440" y="6878"/>
                  </a:cubicBezTo>
                  <a:lnTo>
                    <a:pt x="2679" y="4916"/>
                  </a:lnTo>
                  <a:lnTo>
                    <a:pt x="4415" y="3998"/>
                  </a:lnTo>
                  <a:cubicBezTo>
                    <a:pt x="4493" y="3955"/>
                    <a:pt x="4563" y="3892"/>
                    <a:pt x="4617" y="3817"/>
                  </a:cubicBezTo>
                  <a:lnTo>
                    <a:pt x="5731" y="2192"/>
                  </a:lnTo>
                  <a:lnTo>
                    <a:pt x="7691" y="2192"/>
                  </a:lnTo>
                  <a:cubicBezTo>
                    <a:pt x="7781" y="2192"/>
                    <a:pt x="7872" y="2168"/>
                    <a:pt x="7954" y="2126"/>
                  </a:cubicBezTo>
                  <a:lnTo>
                    <a:pt x="9690" y="1208"/>
                  </a:lnTo>
                  <a:close/>
                  <a:moveTo>
                    <a:pt x="9690" y="1"/>
                  </a:moveTo>
                  <a:cubicBezTo>
                    <a:pt x="9599" y="1"/>
                    <a:pt x="9509" y="23"/>
                    <a:pt x="9427" y="66"/>
                  </a:cubicBezTo>
                  <a:lnTo>
                    <a:pt x="7549" y="1057"/>
                  </a:lnTo>
                  <a:lnTo>
                    <a:pt x="5432" y="1057"/>
                  </a:lnTo>
                  <a:cubicBezTo>
                    <a:pt x="5245" y="1057"/>
                    <a:pt x="5070" y="1150"/>
                    <a:pt x="4964" y="1304"/>
                  </a:cubicBezTo>
                  <a:lnTo>
                    <a:pt x="3760" y="3062"/>
                  </a:lnTo>
                  <a:lnTo>
                    <a:pt x="1885" y="4052"/>
                  </a:lnTo>
                  <a:cubicBezTo>
                    <a:pt x="1721" y="4140"/>
                    <a:pt x="1610" y="4300"/>
                    <a:pt x="1586" y="4484"/>
                  </a:cubicBezTo>
                  <a:lnTo>
                    <a:pt x="1332" y="6607"/>
                  </a:lnTo>
                  <a:lnTo>
                    <a:pt x="127" y="8364"/>
                  </a:lnTo>
                  <a:cubicBezTo>
                    <a:pt x="22" y="8515"/>
                    <a:pt x="0" y="8711"/>
                    <a:pt x="67" y="8883"/>
                  </a:cubicBezTo>
                  <a:lnTo>
                    <a:pt x="819" y="10882"/>
                  </a:lnTo>
                  <a:lnTo>
                    <a:pt x="562" y="13002"/>
                  </a:lnTo>
                  <a:cubicBezTo>
                    <a:pt x="538" y="13186"/>
                    <a:pt x="607" y="13370"/>
                    <a:pt x="746" y="13494"/>
                  </a:cubicBezTo>
                  <a:lnTo>
                    <a:pt x="2331" y="14910"/>
                  </a:lnTo>
                  <a:lnTo>
                    <a:pt x="3083" y="16906"/>
                  </a:lnTo>
                  <a:cubicBezTo>
                    <a:pt x="3150" y="17081"/>
                    <a:pt x="3298" y="17211"/>
                    <a:pt x="3476" y="17256"/>
                  </a:cubicBezTo>
                  <a:lnTo>
                    <a:pt x="5535" y="17766"/>
                  </a:lnTo>
                  <a:lnTo>
                    <a:pt x="7120" y="19183"/>
                  </a:lnTo>
                  <a:cubicBezTo>
                    <a:pt x="7225" y="19276"/>
                    <a:pt x="7360" y="19326"/>
                    <a:pt x="7498" y="19326"/>
                  </a:cubicBezTo>
                  <a:cubicBezTo>
                    <a:pt x="7543" y="19326"/>
                    <a:pt x="7589" y="19321"/>
                    <a:pt x="7634" y="19309"/>
                  </a:cubicBezTo>
                  <a:lnTo>
                    <a:pt x="9690" y="18796"/>
                  </a:lnTo>
                  <a:lnTo>
                    <a:pt x="11746" y="19306"/>
                  </a:lnTo>
                  <a:cubicBezTo>
                    <a:pt x="11791" y="19318"/>
                    <a:pt x="11837" y="19324"/>
                    <a:pt x="11882" y="19324"/>
                  </a:cubicBezTo>
                  <a:cubicBezTo>
                    <a:pt x="12021" y="19324"/>
                    <a:pt x="12157" y="19273"/>
                    <a:pt x="12259" y="19180"/>
                  </a:cubicBezTo>
                  <a:lnTo>
                    <a:pt x="13845" y="17763"/>
                  </a:lnTo>
                  <a:lnTo>
                    <a:pt x="15901" y="17253"/>
                  </a:lnTo>
                  <a:cubicBezTo>
                    <a:pt x="16082" y="17208"/>
                    <a:pt x="16230" y="17078"/>
                    <a:pt x="16296" y="16903"/>
                  </a:cubicBezTo>
                  <a:lnTo>
                    <a:pt x="17048" y="14907"/>
                  </a:lnTo>
                  <a:lnTo>
                    <a:pt x="18633" y="13491"/>
                  </a:lnTo>
                  <a:cubicBezTo>
                    <a:pt x="18769" y="13367"/>
                    <a:pt x="18839" y="13183"/>
                    <a:pt x="18818" y="12999"/>
                  </a:cubicBezTo>
                  <a:lnTo>
                    <a:pt x="18561" y="10879"/>
                  </a:lnTo>
                  <a:lnTo>
                    <a:pt x="19313" y="8880"/>
                  </a:lnTo>
                  <a:cubicBezTo>
                    <a:pt x="19379" y="8708"/>
                    <a:pt x="19355" y="8515"/>
                    <a:pt x="19249" y="8361"/>
                  </a:cubicBezTo>
                  <a:lnTo>
                    <a:pt x="18048" y="6607"/>
                  </a:lnTo>
                  <a:lnTo>
                    <a:pt x="17794" y="4484"/>
                  </a:lnTo>
                  <a:cubicBezTo>
                    <a:pt x="17770" y="4300"/>
                    <a:pt x="17658" y="4140"/>
                    <a:pt x="17495" y="4052"/>
                  </a:cubicBezTo>
                  <a:lnTo>
                    <a:pt x="15620" y="3059"/>
                  </a:lnTo>
                  <a:lnTo>
                    <a:pt x="14415" y="1301"/>
                  </a:lnTo>
                  <a:cubicBezTo>
                    <a:pt x="14310" y="1147"/>
                    <a:pt x="14134" y="1057"/>
                    <a:pt x="13947" y="1057"/>
                  </a:cubicBezTo>
                  <a:lnTo>
                    <a:pt x="11831" y="1057"/>
                  </a:lnTo>
                  <a:lnTo>
                    <a:pt x="9955" y="66"/>
                  </a:lnTo>
                  <a:cubicBezTo>
                    <a:pt x="9872" y="23"/>
                    <a:pt x="9781" y="1"/>
                    <a:pt x="96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55" name="Google Shape;6255;p71"/>
          <p:cNvGrpSpPr/>
          <p:nvPr/>
        </p:nvGrpSpPr>
        <p:grpSpPr>
          <a:xfrm>
            <a:off x="9636109" y="3608889"/>
            <a:ext cx="226955" cy="454567"/>
            <a:chOff x="3985700" y="3210375"/>
            <a:chExt cx="241750" cy="484200"/>
          </a:xfrm>
        </p:grpSpPr>
        <p:sp>
          <p:nvSpPr>
            <p:cNvPr id="6256" name="Google Shape;6256;p71"/>
            <p:cNvSpPr/>
            <p:nvPr/>
          </p:nvSpPr>
          <p:spPr>
            <a:xfrm>
              <a:off x="4042700" y="3294475"/>
              <a:ext cx="127750" cy="339425"/>
            </a:xfrm>
            <a:custGeom>
              <a:avLst/>
              <a:gdLst/>
              <a:ahLst/>
              <a:cxnLst/>
              <a:rect l="l" t="t" r="r" b="b"/>
              <a:pathLst>
                <a:path w="5110" h="13577" extrusionOk="0">
                  <a:moveTo>
                    <a:pt x="2554" y="9854"/>
                  </a:moveTo>
                  <a:cubicBezTo>
                    <a:pt x="2721" y="9854"/>
                    <a:pt x="2890" y="9887"/>
                    <a:pt x="3050" y="9953"/>
                  </a:cubicBezTo>
                  <a:cubicBezTo>
                    <a:pt x="3533" y="10155"/>
                    <a:pt x="3850" y="10626"/>
                    <a:pt x="3850" y="11151"/>
                  </a:cubicBezTo>
                  <a:cubicBezTo>
                    <a:pt x="3850" y="11864"/>
                    <a:pt x="3271" y="12444"/>
                    <a:pt x="2555" y="12447"/>
                  </a:cubicBezTo>
                  <a:cubicBezTo>
                    <a:pt x="2030" y="12447"/>
                    <a:pt x="1558" y="12130"/>
                    <a:pt x="1356" y="11647"/>
                  </a:cubicBezTo>
                  <a:cubicBezTo>
                    <a:pt x="1157" y="11164"/>
                    <a:pt x="1269" y="10605"/>
                    <a:pt x="1637" y="10234"/>
                  </a:cubicBezTo>
                  <a:cubicBezTo>
                    <a:pt x="1885" y="9985"/>
                    <a:pt x="2217" y="9854"/>
                    <a:pt x="2554" y="9854"/>
                  </a:cubicBezTo>
                  <a:close/>
                  <a:moveTo>
                    <a:pt x="2555" y="1"/>
                  </a:moveTo>
                  <a:cubicBezTo>
                    <a:pt x="2241" y="1"/>
                    <a:pt x="1990" y="254"/>
                    <a:pt x="1990" y="565"/>
                  </a:cubicBezTo>
                  <a:lnTo>
                    <a:pt x="1990" y="8790"/>
                  </a:lnTo>
                  <a:cubicBezTo>
                    <a:pt x="792" y="9077"/>
                    <a:pt x="0" y="10215"/>
                    <a:pt x="145" y="11435"/>
                  </a:cubicBezTo>
                  <a:cubicBezTo>
                    <a:pt x="287" y="12658"/>
                    <a:pt x="1326" y="13576"/>
                    <a:pt x="2555" y="13576"/>
                  </a:cubicBezTo>
                  <a:cubicBezTo>
                    <a:pt x="3784" y="13576"/>
                    <a:pt x="4823" y="12658"/>
                    <a:pt x="4964" y="11435"/>
                  </a:cubicBezTo>
                  <a:cubicBezTo>
                    <a:pt x="5109" y="10215"/>
                    <a:pt x="4318" y="9077"/>
                    <a:pt x="3123" y="8790"/>
                  </a:cubicBezTo>
                  <a:lnTo>
                    <a:pt x="3123" y="565"/>
                  </a:lnTo>
                  <a:cubicBezTo>
                    <a:pt x="3123" y="254"/>
                    <a:pt x="2869" y="1"/>
                    <a:pt x="25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57" name="Google Shape;6257;p71"/>
            <p:cNvSpPr/>
            <p:nvPr/>
          </p:nvSpPr>
          <p:spPr>
            <a:xfrm>
              <a:off x="3985700" y="3210375"/>
              <a:ext cx="241750" cy="484200"/>
            </a:xfrm>
            <a:custGeom>
              <a:avLst/>
              <a:gdLst/>
              <a:ahLst/>
              <a:cxnLst/>
              <a:rect l="l" t="t" r="r" b="b"/>
              <a:pathLst>
                <a:path w="9670" h="19368" extrusionOk="0">
                  <a:moveTo>
                    <a:pt x="4835" y="1133"/>
                  </a:moveTo>
                  <a:cubicBezTo>
                    <a:pt x="5792" y="1133"/>
                    <a:pt x="6571" y="1909"/>
                    <a:pt x="6571" y="2869"/>
                  </a:cubicBezTo>
                  <a:lnTo>
                    <a:pt x="6574" y="10853"/>
                  </a:lnTo>
                  <a:lnTo>
                    <a:pt x="6574" y="10871"/>
                  </a:lnTo>
                  <a:cubicBezTo>
                    <a:pt x="6568" y="11073"/>
                    <a:pt x="6668" y="11260"/>
                    <a:pt x="6837" y="11369"/>
                  </a:cubicBezTo>
                  <a:cubicBezTo>
                    <a:pt x="7869" y="12027"/>
                    <a:pt x="8513" y="13232"/>
                    <a:pt x="8513" y="14512"/>
                  </a:cubicBezTo>
                  <a:cubicBezTo>
                    <a:pt x="8510" y="16545"/>
                    <a:pt x="6864" y="18190"/>
                    <a:pt x="4835" y="18193"/>
                  </a:cubicBezTo>
                  <a:cubicBezTo>
                    <a:pt x="2803" y="18190"/>
                    <a:pt x="1157" y="16545"/>
                    <a:pt x="1157" y="14515"/>
                  </a:cubicBezTo>
                  <a:cubicBezTo>
                    <a:pt x="1157" y="13280"/>
                    <a:pt x="1818" y="12043"/>
                    <a:pt x="2842" y="11363"/>
                  </a:cubicBezTo>
                  <a:cubicBezTo>
                    <a:pt x="2987" y="11267"/>
                    <a:pt x="3078" y="11110"/>
                    <a:pt x="3093" y="10934"/>
                  </a:cubicBezTo>
                  <a:cubicBezTo>
                    <a:pt x="3096" y="10907"/>
                    <a:pt x="3099" y="10880"/>
                    <a:pt x="3099" y="10856"/>
                  </a:cubicBezTo>
                  <a:lnTo>
                    <a:pt x="3099" y="2869"/>
                  </a:lnTo>
                  <a:cubicBezTo>
                    <a:pt x="3099" y="1909"/>
                    <a:pt x="3875" y="1133"/>
                    <a:pt x="4835" y="1133"/>
                  </a:cubicBezTo>
                  <a:close/>
                  <a:moveTo>
                    <a:pt x="4835" y="1"/>
                  </a:moveTo>
                  <a:cubicBezTo>
                    <a:pt x="3250" y="1"/>
                    <a:pt x="1966" y="1284"/>
                    <a:pt x="1966" y="2869"/>
                  </a:cubicBezTo>
                  <a:lnTo>
                    <a:pt x="1966" y="10596"/>
                  </a:lnTo>
                  <a:cubicBezTo>
                    <a:pt x="750" y="11532"/>
                    <a:pt x="34" y="12979"/>
                    <a:pt x="25" y="14515"/>
                  </a:cubicBezTo>
                  <a:cubicBezTo>
                    <a:pt x="1" y="17188"/>
                    <a:pt x="2163" y="19368"/>
                    <a:pt x="4835" y="19368"/>
                  </a:cubicBezTo>
                  <a:cubicBezTo>
                    <a:pt x="7510" y="19368"/>
                    <a:pt x="9669" y="17188"/>
                    <a:pt x="9648" y="14515"/>
                  </a:cubicBezTo>
                  <a:cubicBezTo>
                    <a:pt x="9648" y="13688"/>
                    <a:pt x="9443" y="12879"/>
                    <a:pt x="9053" y="12151"/>
                  </a:cubicBezTo>
                  <a:cubicBezTo>
                    <a:pt x="8724" y="11541"/>
                    <a:pt x="8265" y="11010"/>
                    <a:pt x="7709" y="10596"/>
                  </a:cubicBezTo>
                  <a:lnTo>
                    <a:pt x="7703" y="2869"/>
                  </a:lnTo>
                  <a:cubicBezTo>
                    <a:pt x="7703" y="1284"/>
                    <a:pt x="6420" y="1"/>
                    <a:pt x="48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58" name="Google Shape;6258;p71"/>
          <p:cNvGrpSpPr/>
          <p:nvPr/>
        </p:nvGrpSpPr>
        <p:grpSpPr>
          <a:xfrm>
            <a:off x="10088469" y="3610238"/>
            <a:ext cx="452009" cy="451868"/>
            <a:chOff x="4460225" y="3211300"/>
            <a:chExt cx="481475" cy="481325"/>
          </a:xfrm>
        </p:grpSpPr>
        <p:sp>
          <p:nvSpPr>
            <p:cNvPr id="6259" name="Google Shape;6259;p71"/>
            <p:cNvSpPr/>
            <p:nvPr/>
          </p:nvSpPr>
          <p:spPr>
            <a:xfrm>
              <a:off x="4602350" y="3353250"/>
              <a:ext cx="205125" cy="197375"/>
            </a:xfrm>
            <a:custGeom>
              <a:avLst/>
              <a:gdLst/>
              <a:ahLst/>
              <a:cxnLst/>
              <a:rect l="l" t="t" r="r" b="b"/>
              <a:pathLst>
                <a:path w="8205" h="7895" extrusionOk="0">
                  <a:moveTo>
                    <a:pt x="3947" y="1134"/>
                  </a:moveTo>
                  <a:cubicBezTo>
                    <a:pt x="5085" y="1134"/>
                    <a:pt x="6112" y="1819"/>
                    <a:pt x="6547" y="2870"/>
                  </a:cubicBezTo>
                  <a:cubicBezTo>
                    <a:pt x="6982" y="3924"/>
                    <a:pt x="6743" y="5132"/>
                    <a:pt x="5937" y="5938"/>
                  </a:cubicBezTo>
                  <a:cubicBezTo>
                    <a:pt x="5398" y="6477"/>
                    <a:pt x="4680" y="6762"/>
                    <a:pt x="3948" y="6762"/>
                  </a:cubicBezTo>
                  <a:cubicBezTo>
                    <a:pt x="3585" y="6762"/>
                    <a:pt x="3218" y="6692"/>
                    <a:pt x="2869" y="6548"/>
                  </a:cubicBezTo>
                  <a:cubicBezTo>
                    <a:pt x="1818" y="6113"/>
                    <a:pt x="1133" y="5087"/>
                    <a:pt x="1133" y="3948"/>
                  </a:cubicBezTo>
                  <a:cubicBezTo>
                    <a:pt x="1133" y="2393"/>
                    <a:pt x="2392" y="1134"/>
                    <a:pt x="3947" y="1134"/>
                  </a:cubicBezTo>
                  <a:close/>
                  <a:moveTo>
                    <a:pt x="3944" y="1"/>
                  </a:moveTo>
                  <a:cubicBezTo>
                    <a:pt x="3436" y="1"/>
                    <a:pt x="2925" y="99"/>
                    <a:pt x="2437" y="301"/>
                  </a:cubicBezTo>
                  <a:cubicBezTo>
                    <a:pt x="961" y="914"/>
                    <a:pt x="1" y="2351"/>
                    <a:pt x="1" y="3948"/>
                  </a:cubicBezTo>
                  <a:cubicBezTo>
                    <a:pt x="4" y="6128"/>
                    <a:pt x="1767" y="7892"/>
                    <a:pt x="3947" y="7895"/>
                  </a:cubicBezTo>
                  <a:cubicBezTo>
                    <a:pt x="5544" y="7895"/>
                    <a:pt x="6982" y="6934"/>
                    <a:pt x="7595" y="5458"/>
                  </a:cubicBezTo>
                  <a:cubicBezTo>
                    <a:pt x="8204" y="3984"/>
                    <a:pt x="7866" y="2287"/>
                    <a:pt x="6737" y="1158"/>
                  </a:cubicBezTo>
                  <a:cubicBezTo>
                    <a:pt x="5981" y="402"/>
                    <a:pt x="4971" y="1"/>
                    <a:pt x="39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60" name="Google Shape;6260;p71"/>
            <p:cNvSpPr/>
            <p:nvPr/>
          </p:nvSpPr>
          <p:spPr>
            <a:xfrm>
              <a:off x="4460225" y="3211300"/>
              <a:ext cx="481475" cy="481325"/>
            </a:xfrm>
            <a:custGeom>
              <a:avLst/>
              <a:gdLst/>
              <a:ahLst/>
              <a:cxnLst/>
              <a:rect l="l" t="t" r="r" b="b"/>
              <a:pathLst>
                <a:path w="19259" h="19253" extrusionOk="0">
                  <a:moveTo>
                    <a:pt x="9632" y="1126"/>
                  </a:moveTo>
                  <a:cubicBezTo>
                    <a:pt x="10704" y="1126"/>
                    <a:pt x="11649" y="1824"/>
                    <a:pt x="11972" y="2845"/>
                  </a:cubicBezTo>
                  <a:cubicBezTo>
                    <a:pt x="12049" y="3090"/>
                    <a:pt x="12276" y="3240"/>
                    <a:pt x="12513" y="3240"/>
                  </a:cubicBezTo>
                  <a:cubicBezTo>
                    <a:pt x="12600" y="3240"/>
                    <a:pt x="12689" y="3220"/>
                    <a:pt x="12772" y="3177"/>
                  </a:cubicBezTo>
                  <a:cubicBezTo>
                    <a:pt x="13131" y="2990"/>
                    <a:pt x="13520" y="2899"/>
                    <a:pt x="13906" y="2899"/>
                  </a:cubicBezTo>
                  <a:cubicBezTo>
                    <a:pt x="14542" y="2899"/>
                    <a:pt x="15169" y="3146"/>
                    <a:pt x="15641" y="3617"/>
                  </a:cubicBezTo>
                  <a:cubicBezTo>
                    <a:pt x="16399" y="4375"/>
                    <a:pt x="16577" y="5535"/>
                    <a:pt x="16082" y="6486"/>
                  </a:cubicBezTo>
                  <a:cubicBezTo>
                    <a:pt x="15922" y="6797"/>
                    <a:pt x="16079" y="7180"/>
                    <a:pt x="16414" y="7286"/>
                  </a:cubicBezTo>
                  <a:cubicBezTo>
                    <a:pt x="17434" y="7609"/>
                    <a:pt x="18132" y="8554"/>
                    <a:pt x="18132" y="9626"/>
                  </a:cubicBezTo>
                  <a:cubicBezTo>
                    <a:pt x="18132" y="10698"/>
                    <a:pt x="17434" y="11643"/>
                    <a:pt x="16414" y="11966"/>
                  </a:cubicBezTo>
                  <a:cubicBezTo>
                    <a:pt x="16079" y="12072"/>
                    <a:pt x="15922" y="12455"/>
                    <a:pt x="16082" y="12766"/>
                  </a:cubicBezTo>
                  <a:cubicBezTo>
                    <a:pt x="16577" y="13718"/>
                    <a:pt x="16399" y="14877"/>
                    <a:pt x="15641" y="15635"/>
                  </a:cubicBezTo>
                  <a:cubicBezTo>
                    <a:pt x="15169" y="16107"/>
                    <a:pt x="14542" y="16354"/>
                    <a:pt x="13906" y="16354"/>
                  </a:cubicBezTo>
                  <a:cubicBezTo>
                    <a:pt x="13520" y="16354"/>
                    <a:pt x="13131" y="16263"/>
                    <a:pt x="12772" y="16076"/>
                  </a:cubicBezTo>
                  <a:cubicBezTo>
                    <a:pt x="12689" y="16033"/>
                    <a:pt x="12600" y="16013"/>
                    <a:pt x="12513" y="16013"/>
                  </a:cubicBezTo>
                  <a:cubicBezTo>
                    <a:pt x="12276" y="16013"/>
                    <a:pt x="12049" y="16163"/>
                    <a:pt x="11972" y="16408"/>
                  </a:cubicBezTo>
                  <a:cubicBezTo>
                    <a:pt x="11649" y="17428"/>
                    <a:pt x="10704" y="18126"/>
                    <a:pt x="9632" y="18126"/>
                  </a:cubicBezTo>
                  <a:cubicBezTo>
                    <a:pt x="8560" y="18126"/>
                    <a:pt x="7615" y="17428"/>
                    <a:pt x="7292" y="16408"/>
                  </a:cubicBezTo>
                  <a:cubicBezTo>
                    <a:pt x="7215" y="16163"/>
                    <a:pt x="6988" y="16013"/>
                    <a:pt x="6751" y="16013"/>
                  </a:cubicBezTo>
                  <a:cubicBezTo>
                    <a:pt x="6664" y="16013"/>
                    <a:pt x="6575" y="16033"/>
                    <a:pt x="6492" y="16076"/>
                  </a:cubicBezTo>
                  <a:cubicBezTo>
                    <a:pt x="6133" y="16263"/>
                    <a:pt x="5744" y="16354"/>
                    <a:pt x="5358" y="16354"/>
                  </a:cubicBezTo>
                  <a:cubicBezTo>
                    <a:pt x="4722" y="16354"/>
                    <a:pt x="4095" y="16107"/>
                    <a:pt x="3623" y="15635"/>
                  </a:cubicBezTo>
                  <a:cubicBezTo>
                    <a:pt x="2865" y="14877"/>
                    <a:pt x="2687" y="13718"/>
                    <a:pt x="3183" y="12766"/>
                  </a:cubicBezTo>
                  <a:cubicBezTo>
                    <a:pt x="3343" y="12455"/>
                    <a:pt x="3186" y="12072"/>
                    <a:pt x="2850" y="11966"/>
                  </a:cubicBezTo>
                  <a:cubicBezTo>
                    <a:pt x="1830" y="11643"/>
                    <a:pt x="1132" y="10698"/>
                    <a:pt x="1132" y="9626"/>
                  </a:cubicBezTo>
                  <a:cubicBezTo>
                    <a:pt x="1132" y="8554"/>
                    <a:pt x="1830" y="7609"/>
                    <a:pt x="2850" y="7286"/>
                  </a:cubicBezTo>
                  <a:cubicBezTo>
                    <a:pt x="3186" y="7180"/>
                    <a:pt x="3343" y="6797"/>
                    <a:pt x="3183" y="6486"/>
                  </a:cubicBezTo>
                  <a:cubicBezTo>
                    <a:pt x="2687" y="5535"/>
                    <a:pt x="2865" y="4375"/>
                    <a:pt x="3623" y="3617"/>
                  </a:cubicBezTo>
                  <a:cubicBezTo>
                    <a:pt x="4095" y="3146"/>
                    <a:pt x="4722" y="2899"/>
                    <a:pt x="5358" y="2899"/>
                  </a:cubicBezTo>
                  <a:cubicBezTo>
                    <a:pt x="5744" y="2899"/>
                    <a:pt x="6133" y="2990"/>
                    <a:pt x="6492" y="3177"/>
                  </a:cubicBezTo>
                  <a:cubicBezTo>
                    <a:pt x="6575" y="3220"/>
                    <a:pt x="6664" y="3240"/>
                    <a:pt x="6751" y="3240"/>
                  </a:cubicBezTo>
                  <a:cubicBezTo>
                    <a:pt x="6988" y="3240"/>
                    <a:pt x="7215" y="3090"/>
                    <a:pt x="7292" y="2845"/>
                  </a:cubicBezTo>
                  <a:cubicBezTo>
                    <a:pt x="7615" y="1824"/>
                    <a:pt x="8560" y="1126"/>
                    <a:pt x="9632" y="1126"/>
                  </a:cubicBezTo>
                  <a:close/>
                  <a:moveTo>
                    <a:pt x="9632" y="0"/>
                  </a:moveTo>
                  <a:cubicBezTo>
                    <a:pt x="8291" y="0"/>
                    <a:pt x="7062" y="746"/>
                    <a:pt x="6447" y="1936"/>
                  </a:cubicBezTo>
                  <a:cubicBezTo>
                    <a:pt x="6091" y="1823"/>
                    <a:pt x="5726" y="1768"/>
                    <a:pt x="5364" y="1768"/>
                  </a:cubicBezTo>
                  <a:cubicBezTo>
                    <a:pt x="4426" y="1768"/>
                    <a:pt x="3508" y="2136"/>
                    <a:pt x="2826" y="2820"/>
                  </a:cubicBezTo>
                  <a:cubicBezTo>
                    <a:pt x="1878" y="3765"/>
                    <a:pt x="1537" y="5163"/>
                    <a:pt x="1942" y="6441"/>
                  </a:cubicBezTo>
                  <a:cubicBezTo>
                    <a:pt x="749" y="7054"/>
                    <a:pt x="0" y="8286"/>
                    <a:pt x="6" y="9626"/>
                  </a:cubicBezTo>
                  <a:cubicBezTo>
                    <a:pt x="0" y="10967"/>
                    <a:pt x="749" y="12199"/>
                    <a:pt x="1942" y="12812"/>
                  </a:cubicBezTo>
                  <a:cubicBezTo>
                    <a:pt x="1537" y="14089"/>
                    <a:pt x="1878" y="15487"/>
                    <a:pt x="2826" y="16432"/>
                  </a:cubicBezTo>
                  <a:cubicBezTo>
                    <a:pt x="3508" y="17116"/>
                    <a:pt x="4426" y="17484"/>
                    <a:pt x="5364" y="17484"/>
                  </a:cubicBezTo>
                  <a:cubicBezTo>
                    <a:pt x="5726" y="17484"/>
                    <a:pt x="6091" y="17429"/>
                    <a:pt x="6447" y="17317"/>
                  </a:cubicBezTo>
                  <a:cubicBezTo>
                    <a:pt x="7062" y="18506"/>
                    <a:pt x="8291" y="19252"/>
                    <a:pt x="9632" y="19252"/>
                  </a:cubicBezTo>
                  <a:cubicBezTo>
                    <a:pt x="10973" y="19252"/>
                    <a:pt x="12202" y="18506"/>
                    <a:pt x="12818" y="17317"/>
                  </a:cubicBezTo>
                  <a:cubicBezTo>
                    <a:pt x="13173" y="17429"/>
                    <a:pt x="13538" y="17484"/>
                    <a:pt x="13900" y="17484"/>
                  </a:cubicBezTo>
                  <a:cubicBezTo>
                    <a:pt x="14838" y="17484"/>
                    <a:pt x="15756" y="17116"/>
                    <a:pt x="16438" y="16432"/>
                  </a:cubicBezTo>
                  <a:cubicBezTo>
                    <a:pt x="17386" y="15487"/>
                    <a:pt x="17727" y="14089"/>
                    <a:pt x="17323" y="12812"/>
                  </a:cubicBezTo>
                  <a:cubicBezTo>
                    <a:pt x="18512" y="12196"/>
                    <a:pt x="19258" y="10967"/>
                    <a:pt x="19258" y="9626"/>
                  </a:cubicBezTo>
                  <a:cubicBezTo>
                    <a:pt x="19258" y="8286"/>
                    <a:pt x="18512" y="7057"/>
                    <a:pt x="17323" y="6441"/>
                  </a:cubicBezTo>
                  <a:cubicBezTo>
                    <a:pt x="17727" y="5163"/>
                    <a:pt x="17386" y="3765"/>
                    <a:pt x="16438" y="2820"/>
                  </a:cubicBezTo>
                  <a:cubicBezTo>
                    <a:pt x="15756" y="2136"/>
                    <a:pt x="14838" y="1768"/>
                    <a:pt x="13900" y="1768"/>
                  </a:cubicBezTo>
                  <a:cubicBezTo>
                    <a:pt x="13538" y="1768"/>
                    <a:pt x="13173" y="1823"/>
                    <a:pt x="12818" y="1936"/>
                  </a:cubicBezTo>
                  <a:cubicBezTo>
                    <a:pt x="12202" y="746"/>
                    <a:pt x="10973" y="0"/>
                    <a:pt x="96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61" name="Google Shape;6261;p71"/>
          <p:cNvSpPr/>
          <p:nvPr/>
        </p:nvSpPr>
        <p:spPr>
          <a:xfrm>
            <a:off x="10653468" y="3635273"/>
            <a:ext cx="453581" cy="400727"/>
          </a:xfrm>
          <a:custGeom>
            <a:avLst/>
            <a:gdLst/>
            <a:ahLst/>
            <a:cxnLst/>
            <a:rect l="l" t="t" r="r" b="b"/>
            <a:pathLst>
              <a:path w="19326" h="17074" extrusionOk="0">
                <a:moveTo>
                  <a:pt x="14226" y="1132"/>
                </a:moveTo>
                <a:cubicBezTo>
                  <a:pt x="15314" y="1132"/>
                  <a:pt x="16352" y="1605"/>
                  <a:pt x="17070" y="2425"/>
                </a:cubicBezTo>
                <a:cubicBezTo>
                  <a:pt x="17798" y="3252"/>
                  <a:pt x="18196" y="4366"/>
                  <a:pt x="18196" y="5568"/>
                </a:cubicBezTo>
                <a:cubicBezTo>
                  <a:pt x="18193" y="8476"/>
                  <a:pt x="15599" y="10686"/>
                  <a:pt x="11671" y="14032"/>
                </a:cubicBezTo>
                <a:cubicBezTo>
                  <a:pt x="11025" y="14581"/>
                  <a:pt x="10364" y="15146"/>
                  <a:pt x="9663" y="15756"/>
                </a:cubicBezTo>
                <a:cubicBezTo>
                  <a:pt x="8963" y="15146"/>
                  <a:pt x="8301" y="14581"/>
                  <a:pt x="7655" y="14032"/>
                </a:cubicBezTo>
                <a:cubicBezTo>
                  <a:pt x="3727" y="10686"/>
                  <a:pt x="1133" y="8476"/>
                  <a:pt x="1133" y="5568"/>
                </a:cubicBezTo>
                <a:cubicBezTo>
                  <a:pt x="1133" y="4366"/>
                  <a:pt x="1535" y="3252"/>
                  <a:pt x="2259" y="2425"/>
                </a:cubicBezTo>
                <a:cubicBezTo>
                  <a:pt x="2977" y="1605"/>
                  <a:pt x="4015" y="1132"/>
                  <a:pt x="5103" y="1132"/>
                </a:cubicBezTo>
                <a:cubicBezTo>
                  <a:pt x="5113" y="1132"/>
                  <a:pt x="5124" y="1132"/>
                  <a:pt x="5134" y="1132"/>
                </a:cubicBezTo>
                <a:cubicBezTo>
                  <a:pt x="6686" y="1132"/>
                  <a:pt x="7691" y="2090"/>
                  <a:pt x="8259" y="2890"/>
                </a:cubicBezTo>
                <a:cubicBezTo>
                  <a:pt x="8631" y="3421"/>
                  <a:pt x="8920" y="4001"/>
                  <a:pt x="9126" y="4614"/>
                </a:cubicBezTo>
                <a:cubicBezTo>
                  <a:pt x="9212" y="4875"/>
                  <a:pt x="9438" y="5006"/>
                  <a:pt x="9665" y="5006"/>
                </a:cubicBezTo>
                <a:cubicBezTo>
                  <a:pt x="9891" y="5006"/>
                  <a:pt x="10118" y="4875"/>
                  <a:pt x="10204" y="4614"/>
                </a:cubicBezTo>
                <a:cubicBezTo>
                  <a:pt x="10409" y="4001"/>
                  <a:pt x="10699" y="3421"/>
                  <a:pt x="11070" y="2890"/>
                </a:cubicBezTo>
                <a:cubicBezTo>
                  <a:pt x="11641" y="2090"/>
                  <a:pt x="12643" y="1132"/>
                  <a:pt x="14195" y="1132"/>
                </a:cubicBezTo>
                <a:cubicBezTo>
                  <a:pt x="14206" y="1132"/>
                  <a:pt x="14216" y="1132"/>
                  <a:pt x="14226" y="1132"/>
                </a:cubicBezTo>
                <a:close/>
                <a:moveTo>
                  <a:pt x="5103" y="0"/>
                </a:moveTo>
                <a:cubicBezTo>
                  <a:pt x="3689" y="0"/>
                  <a:pt x="2343" y="612"/>
                  <a:pt x="1411" y="1676"/>
                </a:cubicBezTo>
                <a:cubicBezTo>
                  <a:pt x="502" y="2709"/>
                  <a:pt x="1" y="4092"/>
                  <a:pt x="1" y="5568"/>
                </a:cubicBezTo>
                <a:cubicBezTo>
                  <a:pt x="1" y="7174"/>
                  <a:pt x="629" y="8672"/>
                  <a:pt x="1976" y="10275"/>
                </a:cubicBezTo>
                <a:cubicBezTo>
                  <a:pt x="3180" y="11710"/>
                  <a:pt x="4914" y="13183"/>
                  <a:pt x="6922" y="14895"/>
                </a:cubicBezTo>
                <a:cubicBezTo>
                  <a:pt x="7670" y="15532"/>
                  <a:pt x="8443" y="16191"/>
                  <a:pt x="9265" y="16909"/>
                </a:cubicBezTo>
                <a:lnTo>
                  <a:pt x="9292" y="16933"/>
                </a:lnTo>
                <a:cubicBezTo>
                  <a:pt x="9397" y="17027"/>
                  <a:pt x="9530" y="17074"/>
                  <a:pt x="9664" y="17074"/>
                </a:cubicBezTo>
                <a:cubicBezTo>
                  <a:pt x="9797" y="17074"/>
                  <a:pt x="9930" y="17027"/>
                  <a:pt x="10038" y="16933"/>
                </a:cubicBezTo>
                <a:lnTo>
                  <a:pt x="10062" y="16909"/>
                </a:lnTo>
                <a:cubicBezTo>
                  <a:pt x="10883" y="16191"/>
                  <a:pt x="11659" y="15532"/>
                  <a:pt x="12405" y="14895"/>
                </a:cubicBezTo>
                <a:cubicBezTo>
                  <a:pt x="14413" y="13183"/>
                  <a:pt x="16146" y="11707"/>
                  <a:pt x="17351" y="10275"/>
                </a:cubicBezTo>
                <a:cubicBezTo>
                  <a:pt x="18697" y="8672"/>
                  <a:pt x="19325" y="7174"/>
                  <a:pt x="19325" y="5568"/>
                </a:cubicBezTo>
                <a:cubicBezTo>
                  <a:pt x="19325" y="4092"/>
                  <a:pt x="18824" y="2709"/>
                  <a:pt x="17915" y="1676"/>
                </a:cubicBezTo>
                <a:cubicBezTo>
                  <a:pt x="16983" y="612"/>
                  <a:pt x="15637" y="0"/>
                  <a:pt x="14224" y="0"/>
                </a:cubicBezTo>
                <a:cubicBezTo>
                  <a:pt x="14213" y="0"/>
                  <a:pt x="14203" y="0"/>
                  <a:pt x="14192" y="0"/>
                </a:cubicBezTo>
                <a:cubicBezTo>
                  <a:pt x="12157" y="0"/>
                  <a:pt x="10868" y="1217"/>
                  <a:pt x="10143" y="2238"/>
                </a:cubicBezTo>
                <a:cubicBezTo>
                  <a:pt x="9968" y="2485"/>
                  <a:pt x="9808" y="2748"/>
                  <a:pt x="9663" y="3017"/>
                </a:cubicBezTo>
                <a:cubicBezTo>
                  <a:pt x="9518" y="2748"/>
                  <a:pt x="9358" y="2485"/>
                  <a:pt x="9183" y="2238"/>
                </a:cubicBezTo>
                <a:cubicBezTo>
                  <a:pt x="8458" y="1217"/>
                  <a:pt x="7169" y="0"/>
                  <a:pt x="5134" y="0"/>
                </a:cubicBezTo>
                <a:cubicBezTo>
                  <a:pt x="5124" y="0"/>
                  <a:pt x="5113" y="0"/>
                  <a:pt x="5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62" name="Google Shape;6262;p71"/>
          <p:cNvGrpSpPr/>
          <p:nvPr/>
        </p:nvGrpSpPr>
        <p:grpSpPr>
          <a:xfrm>
            <a:off x="9146251" y="5314342"/>
            <a:ext cx="456045" cy="374205"/>
            <a:chOff x="5647000" y="3252650"/>
            <a:chExt cx="485775" cy="398600"/>
          </a:xfrm>
        </p:grpSpPr>
        <p:sp>
          <p:nvSpPr>
            <p:cNvPr id="6263" name="Google Shape;6263;p71"/>
            <p:cNvSpPr/>
            <p:nvPr/>
          </p:nvSpPr>
          <p:spPr>
            <a:xfrm>
              <a:off x="5762575" y="3252650"/>
              <a:ext cx="113250" cy="143825"/>
            </a:xfrm>
            <a:custGeom>
              <a:avLst/>
              <a:gdLst/>
              <a:ahLst/>
              <a:cxnLst/>
              <a:rect l="l" t="t" r="r" b="b"/>
              <a:pathLst>
                <a:path w="4530" h="5753" extrusionOk="0">
                  <a:moveTo>
                    <a:pt x="2265" y="1133"/>
                  </a:moveTo>
                  <a:cubicBezTo>
                    <a:pt x="2383" y="1133"/>
                    <a:pt x="2667" y="1348"/>
                    <a:pt x="2960" y="1930"/>
                  </a:cubicBezTo>
                  <a:cubicBezTo>
                    <a:pt x="3246" y="2501"/>
                    <a:pt x="3397" y="3147"/>
                    <a:pt x="3397" y="3488"/>
                  </a:cubicBezTo>
                  <a:cubicBezTo>
                    <a:pt x="3397" y="4113"/>
                    <a:pt x="2890" y="4621"/>
                    <a:pt x="2265" y="4621"/>
                  </a:cubicBezTo>
                  <a:cubicBezTo>
                    <a:pt x="1637" y="4621"/>
                    <a:pt x="1133" y="4113"/>
                    <a:pt x="1133" y="3488"/>
                  </a:cubicBezTo>
                  <a:cubicBezTo>
                    <a:pt x="1133" y="3147"/>
                    <a:pt x="1284" y="2501"/>
                    <a:pt x="1568" y="1930"/>
                  </a:cubicBezTo>
                  <a:cubicBezTo>
                    <a:pt x="1860" y="1348"/>
                    <a:pt x="2144" y="1133"/>
                    <a:pt x="2265" y="1133"/>
                  </a:cubicBezTo>
                  <a:close/>
                  <a:moveTo>
                    <a:pt x="2265" y="1"/>
                  </a:moveTo>
                  <a:cubicBezTo>
                    <a:pt x="1613" y="1"/>
                    <a:pt x="1024" y="493"/>
                    <a:pt x="556" y="1423"/>
                  </a:cubicBezTo>
                  <a:cubicBezTo>
                    <a:pt x="218" y="2096"/>
                    <a:pt x="1" y="2909"/>
                    <a:pt x="1" y="3488"/>
                  </a:cubicBezTo>
                  <a:cubicBezTo>
                    <a:pt x="1" y="4738"/>
                    <a:pt x="1012" y="5750"/>
                    <a:pt x="2265" y="5753"/>
                  </a:cubicBezTo>
                  <a:cubicBezTo>
                    <a:pt x="3515" y="5750"/>
                    <a:pt x="4527" y="4738"/>
                    <a:pt x="4530" y="3488"/>
                  </a:cubicBezTo>
                  <a:cubicBezTo>
                    <a:pt x="4530" y="2909"/>
                    <a:pt x="4309" y="2096"/>
                    <a:pt x="3971" y="1423"/>
                  </a:cubicBezTo>
                  <a:cubicBezTo>
                    <a:pt x="3503" y="493"/>
                    <a:pt x="2914" y="1"/>
                    <a:pt x="22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64" name="Google Shape;6264;p71"/>
            <p:cNvSpPr/>
            <p:nvPr/>
          </p:nvSpPr>
          <p:spPr>
            <a:xfrm>
              <a:off x="5647000" y="3371750"/>
              <a:ext cx="124425" cy="136450"/>
            </a:xfrm>
            <a:custGeom>
              <a:avLst/>
              <a:gdLst/>
              <a:ahLst/>
              <a:cxnLst/>
              <a:rect l="l" t="t" r="r" b="b"/>
              <a:pathLst>
                <a:path w="4977" h="5458" extrusionOk="0">
                  <a:moveTo>
                    <a:pt x="1510" y="1131"/>
                  </a:moveTo>
                  <a:cubicBezTo>
                    <a:pt x="1680" y="1131"/>
                    <a:pt x="1994" y="1221"/>
                    <a:pt x="2422" y="1496"/>
                  </a:cubicBezTo>
                  <a:cubicBezTo>
                    <a:pt x="2969" y="1852"/>
                    <a:pt x="3425" y="2333"/>
                    <a:pt x="3594" y="2625"/>
                  </a:cubicBezTo>
                  <a:cubicBezTo>
                    <a:pt x="3908" y="3166"/>
                    <a:pt x="3721" y="3860"/>
                    <a:pt x="3180" y="4171"/>
                  </a:cubicBezTo>
                  <a:cubicBezTo>
                    <a:pt x="3000" y="4276"/>
                    <a:pt x="2801" y="4325"/>
                    <a:pt x="2603" y="4325"/>
                  </a:cubicBezTo>
                  <a:cubicBezTo>
                    <a:pt x="2200" y="4325"/>
                    <a:pt x="1804" y="4120"/>
                    <a:pt x="1595" y="3758"/>
                  </a:cubicBezTo>
                  <a:cubicBezTo>
                    <a:pt x="1423" y="3462"/>
                    <a:pt x="1233" y="2828"/>
                    <a:pt x="1193" y="2191"/>
                  </a:cubicBezTo>
                  <a:cubicBezTo>
                    <a:pt x="1157" y="1538"/>
                    <a:pt x="1296" y="1212"/>
                    <a:pt x="1399" y="1155"/>
                  </a:cubicBezTo>
                  <a:cubicBezTo>
                    <a:pt x="1432" y="1137"/>
                    <a:pt x="1471" y="1131"/>
                    <a:pt x="1510" y="1131"/>
                  </a:cubicBezTo>
                  <a:close/>
                  <a:moveTo>
                    <a:pt x="1512" y="1"/>
                  </a:moveTo>
                  <a:cubicBezTo>
                    <a:pt x="1262" y="1"/>
                    <a:pt x="1033" y="59"/>
                    <a:pt x="831" y="177"/>
                  </a:cubicBezTo>
                  <a:cubicBezTo>
                    <a:pt x="269" y="500"/>
                    <a:pt x="1" y="1221"/>
                    <a:pt x="61" y="2260"/>
                  </a:cubicBezTo>
                  <a:cubicBezTo>
                    <a:pt x="106" y="3012"/>
                    <a:pt x="324" y="3821"/>
                    <a:pt x="614" y="4325"/>
                  </a:cubicBezTo>
                  <a:cubicBezTo>
                    <a:pt x="919" y="4851"/>
                    <a:pt x="1420" y="5231"/>
                    <a:pt x="2009" y="5382"/>
                  </a:cubicBezTo>
                  <a:cubicBezTo>
                    <a:pt x="2205" y="5431"/>
                    <a:pt x="2404" y="5458"/>
                    <a:pt x="2607" y="5458"/>
                  </a:cubicBezTo>
                  <a:cubicBezTo>
                    <a:pt x="2609" y="5458"/>
                    <a:pt x="2612" y="5458"/>
                    <a:pt x="2615" y="5458"/>
                  </a:cubicBezTo>
                  <a:cubicBezTo>
                    <a:pt x="3421" y="5458"/>
                    <a:pt x="4166" y="5026"/>
                    <a:pt x="4572" y="4328"/>
                  </a:cubicBezTo>
                  <a:cubicBezTo>
                    <a:pt x="4977" y="3628"/>
                    <a:pt x="4977" y="2761"/>
                    <a:pt x="4572" y="2061"/>
                  </a:cubicBezTo>
                  <a:cubicBezTo>
                    <a:pt x="4282" y="1560"/>
                    <a:pt x="3678" y="968"/>
                    <a:pt x="3035" y="548"/>
                  </a:cubicBezTo>
                  <a:cubicBezTo>
                    <a:pt x="2471" y="185"/>
                    <a:pt x="1957" y="1"/>
                    <a:pt x="15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65" name="Google Shape;6265;p71"/>
            <p:cNvSpPr/>
            <p:nvPr/>
          </p:nvSpPr>
          <p:spPr>
            <a:xfrm>
              <a:off x="5904100" y="3252650"/>
              <a:ext cx="113275" cy="143825"/>
            </a:xfrm>
            <a:custGeom>
              <a:avLst/>
              <a:gdLst/>
              <a:ahLst/>
              <a:cxnLst/>
              <a:rect l="l" t="t" r="r" b="b"/>
              <a:pathLst>
                <a:path w="4531" h="5753" extrusionOk="0">
                  <a:moveTo>
                    <a:pt x="2266" y="1133"/>
                  </a:moveTo>
                  <a:cubicBezTo>
                    <a:pt x="2383" y="1133"/>
                    <a:pt x="2667" y="1348"/>
                    <a:pt x="2960" y="1930"/>
                  </a:cubicBezTo>
                  <a:cubicBezTo>
                    <a:pt x="3247" y="2501"/>
                    <a:pt x="3398" y="3147"/>
                    <a:pt x="3398" y="3488"/>
                  </a:cubicBezTo>
                  <a:cubicBezTo>
                    <a:pt x="3398" y="4113"/>
                    <a:pt x="2891" y="4621"/>
                    <a:pt x="2266" y="4621"/>
                  </a:cubicBezTo>
                  <a:cubicBezTo>
                    <a:pt x="1638" y="4621"/>
                    <a:pt x="1133" y="4113"/>
                    <a:pt x="1133" y="3488"/>
                  </a:cubicBezTo>
                  <a:cubicBezTo>
                    <a:pt x="1133" y="3147"/>
                    <a:pt x="1284" y="2501"/>
                    <a:pt x="1568" y="1930"/>
                  </a:cubicBezTo>
                  <a:cubicBezTo>
                    <a:pt x="1861" y="1348"/>
                    <a:pt x="2145" y="1133"/>
                    <a:pt x="2266" y="1133"/>
                  </a:cubicBezTo>
                  <a:close/>
                  <a:moveTo>
                    <a:pt x="2266" y="1"/>
                  </a:moveTo>
                  <a:cubicBezTo>
                    <a:pt x="1613" y="1"/>
                    <a:pt x="1025" y="493"/>
                    <a:pt x="557" y="1423"/>
                  </a:cubicBezTo>
                  <a:cubicBezTo>
                    <a:pt x="218" y="2096"/>
                    <a:pt x="1" y="2909"/>
                    <a:pt x="1" y="3488"/>
                  </a:cubicBezTo>
                  <a:cubicBezTo>
                    <a:pt x="1" y="4738"/>
                    <a:pt x="1012" y="5753"/>
                    <a:pt x="2266" y="5753"/>
                  </a:cubicBezTo>
                  <a:cubicBezTo>
                    <a:pt x="3516" y="5753"/>
                    <a:pt x="4530" y="4738"/>
                    <a:pt x="4530" y="3488"/>
                  </a:cubicBezTo>
                  <a:cubicBezTo>
                    <a:pt x="4530" y="2909"/>
                    <a:pt x="4310" y="2096"/>
                    <a:pt x="3972" y="1423"/>
                  </a:cubicBezTo>
                  <a:cubicBezTo>
                    <a:pt x="3507" y="493"/>
                    <a:pt x="2915" y="1"/>
                    <a:pt x="22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66" name="Google Shape;6266;p71"/>
            <p:cNvSpPr/>
            <p:nvPr/>
          </p:nvSpPr>
          <p:spPr>
            <a:xfrm>
              <a:off x="5996750" y="3371150"/>
              <a:ext cx="136025" cy="136525"/>
            </a:xfrm>
            <a:custGeom>
              <a:avLst/>
              <a:gdLst/>
              <a:ahLst/>
              <a:cxnLst/>
              <a:rect l="l" t="t" r="r" b="b"/>
              <a:pathLst>
                <a:path w="5441" h="5461" extrusionOk="0">
                  <a:moveTo>
                    <a:pt x="3955" y="1136"/>
                  </a:moveTo>
                  <a:cubicBezTo>
                    <a:pt x="3986" y="1136"/>
                    <a:pt x="4019" y="1143"/>
                    <a:pt x="4049" y="1158"/>
                  </a:cubicBezTo>
                  <a:cubicBezTo>
                    <a:pt x="4152" y="1218"/>
                    <a:pt x="4290" y="1541"/>
                    <a:pt x="4251" y="2194"/>
                  </a:cubicBezTo>
                  <a:cubicBezTo>
                    <a:pt x="4215" y="2834"/>
                    <a:pt x="4022" y="3468"/>
                    <a:pt x="3853" y="3761"/>
                  </a:cubicBezTo>
                  <a:cubicBezTo>
                    <a:pt x="3644" y="4124"/>
                    <a:pt x="3246" y="4329"/>
                    <a:pt x="2842" y="4329"/>
                  </a:cubicBezTo>
                  <a:cubicBezTo>
                    <a:pt x="2645" y="4329"/>
                    <a:pt x="2447" y="4280"/>
                    <a:pt x="2267" y="4177"/>
                  </a:cubicBezTo>
                  <a:cubicBezTo>
                    <a:pt x="2008" y="4026"/>
                    <a:pt x="1815" y="3779"/>
                    <a:pt x="1739" y="3489"/>
                  </a:cubicBezTo>
                  <a:cubicBezTo>
                    <a:pt x="1661" y="3199"/>
                    <a:pt x="1703" y="2888"/>
                    <a:pt x="1854" y="2628"/>
                  </a:cubicBezTo>
                  <a:cubicBezTo>
                    <a:pt x="2020" y="2338"/>
                    <a:pt x="2479" y="1855"/>
                    <a:pt x="3025" y="1502"/>
                  </a:cubicBezTo>
                  <a:cubicBezTo>
                    <a:pt x="3451" y="1224"/>
                    <a:pt x="3768" y="1137"/>
                    <a:pt x="3937" y="1137"/>
                  </a:cubicBezTo>
                  <a:cubicBezTo>
                    <a:pt x="3943" y="1136"/>
                    <a:pt x="3949" y="1136"/>
                    <a:pt x="3955" y="1136"/>
                  </a:cubicBezTo>
                  <a:close/>
                  <a:moveTo>
                    <a:pt x="3932" y="1"/>
                  </a:moveTo>
                  <a:cubicBezTo>
                    <a:pt x="3486" y="1"/>
                    <a:pt x="2972" y="186"/>
                    <a:pt x="2409" y="551"/>
                  </a:cubicBezTo>
                  <a:cubicBezTo>
                    <a:pt x="1766" y="968"/>
                    <a:pt x="1162" y="1562"/>
                    <a:pt x="872" y="2064"/>
                  </a:cubicBezTo>
                  <a:cubicBezTo>
                    <a:pt x="1" y="3572"/>
                    <a:pt x="1091" y="5461"/>
                    <a:pt x="2834" y="5461"/>
                  </a:cubicBezTo>
                  <a:cubicBezTo>
                    <a:pt x="2835" y="5461"/>
                    <a:pt x="2837" y="5461"/>
                    <a:pt x="2838" y="5461"/>
                  </a:cubicBezTo>
                  <a:cubicBezTo>
                    <a:pt x="3037" y="5461"/>
                    <a:pt x="3240" y="5433"/>
                    <a:pt x="3436" y="5385"/>
                  </a:cubicBezTo>
                  <a:cubicBezTo>
                    <a:pt x="4022" y="5234"/>
                    <a:pt x="4526" y="4854"/>
                    <a:pt x="4831" y="4328"/>
                  </a:cubicBezTo>
                  <a:cubicBezTo>
                    <a:pt x="5121" y="3824"/>
                    <a:pt x="5335" y="3015"/>
                    <a:pt x="5380" y="2260"/>
                  </a:cubicBezTo>
                  <a:cubicBezTo>
                    <a:pt x="5441" y="1221"/>
                    <a:pt x="5175" y="503"/>
                    <a:pt x="4614" y="177"/>
                  </a:cubicBezTo>
                  <a:cubicBezTo>
                    <a:pt x="4410" y="59"/>
                    <a:pt x="4182" y="1"/>
                    <a:pt x="39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67" name="Google Shape;6267;p71"/>
            <p:cNvSpPr/>
            <p:nvPr/>
          </p:nvSpPr>
          <p:spPr>
            <a:xfrm>
              <a:off x="5734275" y="3424700"/>
              <a:ext cx="311325" cy="226550"/>
            </a:xfrm>
            <a:custGeom>
              <a:avLst/>
              <a:gdLst/>
              <a:ahLst/>
              <a:cxnLst/>
              <a:rect l="l" t="t" r="r" b="b"/>
              <a:pathLst>
                <a:path w="12453" h="9062" extrusionOk="0">
                  <a:moveTo>
                    <a:pt x="6226" y="1135"/>
                  </a:moveTo>
                  <a:cubicBezTo>
                    <a:pt x="8575" y="1135"/>
                    <a:pt x="9059" y="1815"/>
                    <a:pt x="9059" y="2832"/>
                  </a:cubicBezTo>
                  <a:lnTo>
                    <a:pt x="9059" y="3159"/>
                  </a:lnTo>
                  <a:cubicBezTo>
                    <a:pt x="9056" y="3850"/>
                    <a:pt x="9472" y="4472"/>
                    <a:pt x="10115" y="4732"/>
                  </a:cubicBezTo>
                  <a:cubicBezTo>
                    <a:pt x="10846" y="5031"/>
                    <a:pt x="11323" y="5619"/>
                    <a:pt x="11323" y="6229"/>
                  </a:cubicBezTo>
                  <a:cubicBezTo>
                    <a:pt x="11323" y="6658"/>
                    <a:pt x="11103" y="7069"/>
                    <a:pt x="10704" y="7389"/>
                  </a:cubicBezTo>
                  <a:cubicBezTo>
                    <a:pt x="10269" y="7736"/>
                    <a:pt x="9687" y="7929"/>
                    <a:pt x="9059" y="7929"/>
                  </a:cubicBezTo>
                  <a:cubicBezTo>
                    <a:pt x="9046" y="7929"/>
                    <a:pt x="9034" y="7929"/>
                    <a:pt x="9021" y="7929"/>
                  </a:cubicBezTo>
                  <a:cubicBezTo>
                    <a:pt x="8787" y="7929"/>
                    <a:pt x="8554" y="7902"/>
                    <a:pt x="8328" y="7848"/>
                  </a:cubicBezTo>
                  <a:cubicBezTo>
                    <a:pt x="7639" y="7673"/>
                    <a:pt x="6933" y="7585"/>
                    <a:pt x="6223" y="7585"/>
                  </a:cubicBezTo>
                  <a:cubicBezTo>
                    <a:pt x="5517" y="7585"/>
                    <a:pt x="4813" y="7673"/>
                    <a:pt x="4128" y="7848"/>
                  </a:cubicBezTo>
                  <a:cubicBezTo>
                    <a:pt x="3901" y="7902"/>
                    <a:pt x="3666" y="7929"/>
                    <a:pt x="3434" y="7929"/>
                  </a:cubicBezTo>
                  <a:cubicBezTo>
                    <a:pt x="3422" y="7929"/>
                    <a:pt x="3409" y="7929"/>
                    <a:pt x="3397" y="7929"/>
                  </a:cubicBezTo>
                  <a:cubicBezTo>
                    <a:pt x="2769" y="7929"/>
                    <a:pt x="2183" y="7736"/>
                    <a:pt x="1748" y="7389"/>
                  </a:cubicBezTo>
                  <a:cubicBezTo>
                    <a:pt x="1350" y="7069"/>
                    <a:pt x="1133" y="6658"/>
                    <a:pt x="1133" y="6229"/>
                  </a:cubicBezTo>
                  <a:cubicBezTo>
                    <a:pt x="1133" y="5619"/>
                    <a:pt x="1604" y="5031"/>
                    <a:pt x="2340" y="4732"/>
                  </a:cubicBezTo>
                  <a:cubicBezTo>
                    <a:pt x="2980" y="4472"/>
                    <a:pt x="3397" y="3850"/>
                    <a:pt x="3397" y="3159"/>
                  </a:cubicBezTo>
                  <a:lnTo>
                    <a:pt x="3397" y="2832"/>
                  </a:lnTo>
                  <a:cubicBezTo>
                    <a:pt x="3397" y="1815"/>
                    <a:pt x="3877" y="1135"/>
                    <a:pt x="6226" y="1135"/>
                  </a:cubicBezTo>
                  <a:close/>
                  <a:moveTo>
                    <a:pt x="6226" y="0"/>
                  </a:moveTo>
                  <a:cubicBezTo>
                    <a:pt x="5034" y="0"/>
                    <a:pt x="4185" y="157"/>
                    <a:pt x="3557" y="498"/>
                  </a:cubicBezTo>
                  <a:cubicBezTo>
                    <a:pt x="2700" y="960"/>
                    <a:pt x="2262" y="1745"/>
                    <a:pt x="2262" y="2829"/>
                  </a:cubicBezTo>
                  <a:lnTo>
                    <a:pt x="2262" y="3156"/>
                  </a:lnTo>
                  <a:cubicBezTo>
                    <a:pt x="2265" y="3388"/>
                    <a:pt x="2123" y="3593"/>
                    <a:pt x="1912" y="3681"/>
                  </a:cubicBezTo>
                  <a:cubicBezTo>
                    <a:pt x="749" y="4158"/>
                    <a:pt x="0" y="5157"/>
                    <a:pt x="0" y="6229"/>
                  </a:cubicBezTo>
                  <a:cubicBezTo>
                    <a:pt x="0" y="7790"/>
                    <a:pt x="1522" y="9062"/>
                    <a:pt x="3397" y="9062"/>
                  </a:cubicBezTo>
                  <a:cubicBezTo>
                    <a:pt x="3409" y="9062"/>
                    <a:pt x="3421" y="9062"/>
                    <a:pt x="3433" y="9062"/>
                  </a:cubicBezTo>
                  <a:cubicBezTo>
                    <a:pt x="3760" y="9062"/>
                    <a:pt x="4088" y="9022"/>
                    <a:pt x="4409" y="8944"/>
                  </a:cubicBezTo>
                  <a:cubicBezTo>
                    <a:pt x="5005" y="8793"/>
                    <a:pt x="5616" y="8717"/>
                    <a:pt x="6228" y="8717"/>
                  </a:cubicBezTo>
                  <a:cubicBezTo>
                    <a:pt x="6839" y="8717"/>
                    <a:pt x="7451" y="8793"/>
                    <a:pt x="8047" y="8944"/>
                  </a:cubicBezTo>
                  <a:cubicBezTo>
                    <a:pt x="8366" y="9022"/>
                    <a:pt x="8691" y="9059"/>
                    <a:pt x="9017" y="9059"/>
                  </a:cubicBezTo>
                  <a:cubicBezTo>
                    <a:pt x="9030" y="9059"/>
                    <a:pt x="9043" y="9059"/>
                    <a:pt x="9056" y="9059"/>
                  </a:cubicBezTo>
                  <a:cubicBezTo>
                    <a:pt x="10931" y="9059"/>
                    <a:pt x="12452" y="7787"/>
                    <a:pt x="12452" y="6226"/>
                  </a:cubicBezTo>
                  <a:cubicBezTo>
                    <a:pt x="12452" y="5154"/>
                    <a:pt x="11704" y="4155"/>
                    <a:pt x="10541" y="3681"/>
                  </a:cubicBezTo>
                  <a:cubicBezTo>
                    <a:pt x="10330" y="3593"/>
                    <a:pt x="10188" y="3388"/>
                    <a:pt x="10188" y="3156"/>
                  </a:cubicBezTo>
                  <a:lnTo>
                    <a:pt x="10188" y="2829"/>
                  </a:lnTo>
                  <a:cubicBezTo>
                    <a:pt x="10188" y="1745"/>
                    <a:pt x="9753" y="960"/>
                    <a:pt x="8896" y="498"/>
                  </a:cubicBezTo>
                  <a:cubicBezTo>
                    <a:pt x="8267" y="157"/>
                    <a:pt x="7419" y="0"/>
                    <a:pt x="62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68" name="Google Shape;6268;p71"/>
          <p:cNvGrpSpPr/>
          <p:nvPr/>
        </p:nvGrpSpPr>
        <p:grpSpPr>
          <a:xfrm>
            <a:off x="6886838" y="5322357"/>
            <a:ext cx="435381" cy="357939"/>
            <a:chOff x="6242450" y="3252800"/>
            <a:chExt cx="484475" cy="398300"/>
          </a:xfrm>
        </p:grpSpPr>
        <p:sp>
          <p:nvSpPr>
            <p:cNvPr id="6269" name="Google Shape;6269;p71"/>
            <p:cNvSpPr/>
            <p:nvPr/>
          </p:nvSpPr>
          <p:spPr>
            <a:xfrm>
              <a:off x="6626825" y="3427175"/>
              <a:ext cx="28325" cy="28350"/>
            </a:xfrm>
            <a:custGeom>
              <a:avLst/>
              <a:gdLst/>
              <a:ahLst/>
              <a:cxnLst/>
              <a:rect l="l" t="t" r="r" b="b"/>
              <a:pathLst>
                <a:path w="1133" h="1134" extrusionOk="0">
                  <a:moveTo>
                    <a:pt x="568" y="1"/>
                  </a:moveTo>
                  <a:cubicBezTo>
                    <a:pt x="254" y="1"/>
                    <a:pt x="0" y="254"/>
                    <a:pt x="0" y="565"/>
                  </a:cubicBezTo>
                  <a:cubicBezTo>
                    <a:pt x="0" y="879"/>
                    <a:pt x="254" y="1133"/>
                    <a:pt x="568" y="1133"/>
                  </a:cubicBezTo>
                  <a:cubicBezTo>
                    <a:pt x="879" y="1133"/>
                    <a:pt x="1132" y="879"/>
                    <a:pt x="1132" y="565"/>
                  </a:cubicBezTo>
                  <a:cubicBezTo>
                    <a:pt x="1132" y="254"/>
                    <a:pt x="879" y="1"/>
                    <a:pt x="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70" name="Google Shape;6270;p71"/>
            <p:cNvSpPr/>
            <p:nvPr/>
          </p:nvSpPr>
          <p:spPr>
            <a:xfrm>
              <a:off x="6508150" y="3418300"/>
              <a:ext cx="45550" cy="68400"/>
            </a:xfrm>
            <a:custGeom>
              <a:avLst/>
              <a:gdLst/>
              <a:ahLst/>
              <a:cxnLst/>
              <a:rect l="l" t="t" r="r" b="b"/>
              <a:pathLst>
                <a:path w="1822" h="2736" extrusionOk="0">
                  <a:moveTo>
                    <a:pt x="1062" y="0"/>
                  </a:moveTo>
                  <a:cubicBezTo>
                    <a:pt x="917" y="0"/>
                    <a:pt x="772" y="55"/>
                    <a:pt x="662" y="166"/>
                  </a:cubicBezTo>
                  <a:cubicBezTo>
                    <a:pt x="1" y="830"/>
                    <a:pt x="1" y="1905"/>
                    <a:pt x="662" y="2569"/>
                  </a:cubicBezTo>
                  <a:cubicBezTo>
                    <a:pt x="768" y="2675"/>
                    <a:pt x="912" y="2732"/>
                    <a:pt x="1063" y="2735"/>
                  </a:cubicBezTo>
                  <a:cubicBezTo>
                    <a:pt x="1568" y="2732"/>
                    <a:pt x="1821" y="2122"/>
                    <a:pt x="1462" y="1766"/>
                  </a:cubicBezTo>
                  <a:cubicBezTo>
                    <a:pt x="1242" y="1545"/>
                    <a:pt x="1242" y="1186"/>
                    <a:pt x="1462" y="966"/>
                  </a:cubicBezTo>
                  <a:cubicBezTo>
                    <a:pt x="1685" y="745"/>
                    <a:pt x="1685" y="386"/>
                    <a:pt x="1462" y="166"/>
                  </a:cubicBezTo>
                  <a:cubicBezTo>
                    <a:pt x="1352" y="55"/>
                    <a:pt x="1207" y="0"/>
                    <a:pt x="10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71" name="Google Shape;6271;p71"/>
            <p:cNvSpPr/>
            <p:nvPr/>
          </p:nvSpPr>
          <p:spPr>
            <a:xfrm>
              <a:off x="6242450" y="3252800"/>
              <a:ext cx="484475" cy="398300"/>
            </a:xfrm>
            <a:custGeom>
              <a:avLst/>
              <a:gdLst/>
              <a:ahLst/>
              <a:cxnLst/>
              <a:rect l="l" t="t" r="r" b="b"/>
              <a:pathLst>
                <a:path w="19379" h="15932" extrusionOk="0">
                  <a:moveTo>
                    <a:pt x="9593" y="1178"/>
                  </a:moveTo>
                  <a:cubicBezTo>
                    <a:pt x="11124" y="1417"/>
                    <a:pt x="12374" y="2528"/>
                    <a:pt x="12794" y="4017"/>
                  </a:cubicBezTo>
                  <a:cubicBezTo>
                    <a:pt x="12443" y="4032"/>
                    <a:pt x="12093" y="4065"/>
                    <a:pt x="11746" y="4116"/>
                  </a:cubicBezTo>
                  <a:cubicBezTo>
                    <a:pt x="10595" y="3543"/>
                    <a:pt x="9792" y="2450"/>
                    <a:pt x="9593" y="1178"/>
                  </a:cubicBezTo>
                  <a:close/>
                  <a:moveTo>
                    <a:pt x="1697" y="2890"/>
                  </a:moveTo>
                  <a:cubicBezTo>
                    <a:pt x="3790" y="2894"/>
                    <a:pt x="5520" y="4524"/>
                    <a:pt x="5653" y="6613"/>
                  </a:cubicBezTo>
                  <a:lnTo>
                    <a:pt x="4360" y="5321"/>
                  </a:lnTo>
                  <a:cubicBezTo>
                    <a:pt x="4250" y="5211"/>
                    <a:pt x="4105" y="5156"/>
                    <a:pt x="3960" y="5156"/>
                  </a:cubicBezTo>
                  <a:cubicBezTo>
                    <a:pt x="3815" y="5156"/>
                    <a:pt x="3670" y="5211"/>
                    <a:pt x="3560" y="5321"/>
                  </a:cubicBezTo>
                  <a:cubicBezTo>
                    <a:pt x="3340" y="5542"/>
                    <a:pt x="3340" y="5901"/>
                    <a:pt x="3560" y="6121"/>
                  </a:cubicBezTo>
                  <a:lnTo>
                    <a:pt x="4852" y="7414"/>
                  </a:lnTo>
                  <a:cubicBezTo>
                    <a:pt x="2763" y="7281"/>
                    <a:pt x="1132" y="5551"/>
                    <a:pt x="1132" y="3458"/>
                  </a:cubicBezTo>
                  <a:lnTo>
                    <a:pt x="1129" y="3458"/>
                  </a:lnTo>
                  <a:lnTo>
                    <a:pt x="1129" y="2890"/>
                  </a:lnTo>
                  <a:close/>
                  <a:moveTo>
                    <a:pt x="15511" y="5593"/>
                  </a:moveTo>
                  <a:cubicBezTo>
                    <a:pt x="16553" y="6067"/>
                    <a:pt x="17477" y="6888"/>
                    <a:pt x="18135" y="7966"/>
                  </a:cubicBezTo>
                  <a:cubicBezTo>
                    <a:pt x="17471" y="9056"/>
                    <a:pt x="16532" y="9887"/>
                    <a:pt x="15472" y="10358"/>
                  </a:cubicBezTo>
                  <a:cubicBezTo>
                    <a:pt x="13748" y="9228"/>
                    <a:pt x="13766" y="6695"/>
                    <a:pt x="15511" y="5593"/>
                  </a:cubicBezTo>
                  <a:close/>
                  <a:moveTo>
                    <a:pt x="13326" y="5134"/>
                  </a:moveTo>
                  <a:cubicBezTo>
                    <a:pt x="13345" y="5134"/>
                    <a:pt x="13363" y="5134"/>
                    <a:pt x="13382" y="5134"/>
                  </a:cubicBezTo>
                  <a:cubicBezTo>
                    <a:pt x="13417" y="5140"/>
                    <a:pt x="13451" y="5143"/>
                    <a:pt x="13485" y="5143"/>
                  </a:cubicBezTo>
                  <a:cubicBezTo>
                    <a:pt x="13504" y="5143"/>
                    <a:pt x="13523" y="5142"/>
                    <a:pt x="13542" y="5140"/>
                  </a:cubicBezTo>
                  <a:cubicBezTo>
                    <a:pt x="13548" y="5140"/>
                    <a:pt x="13554" y="5137"/>
                    <a:pt x="13560" y="5137"/>
                  </a:cubicBezTo>
                  <a:cubicBezTo>
                    <a:pt x="13775" y="5143"/>
                    <a:pt x="13989" y="5161"/>
                    <a:pt x="14204" y="5197"/>
                  </a:cubicBezTo>
                  <a:cubicBezTo>
                    <a:pt x="12688" y="6728"/>
                    <a:pt x="12676" y="9189"/>
                    <a:pt x="14170" y="10738"/>
                  </a:cubicBezTo>
                  <a:cubicBezTo>
                    <a:pt x="13968" y="10771"/>
                    <a:pt x="13763" y="10789"/>
                    <a:pt x="13560" y="10792"/>
                  </a:cubicBezTo>
                  <a:lnTo>
                    <a:pt x="13542" y="10792"/>
                  </a:lnTo>
                  <a:cubicBezTo>
                    <a:pt x="13520" y="10789"/>
                    <a:pt x="13497" y="10787"/>
                    <a:pt x="13475" y="10787"/>
                  </a:cubicBezTo>
                  <a:cubicBezTo>
                    <a:pt x="13444" y="10787"/>
                    <a:pt x="13414" y="10790"/>
                    <a:pt x="13382" y="10795"/>
                  </a:cubicBezTo>
                  <a:cubicBezTo>
                    <a:pt x="13362" y="10796"/>
                    <a:pt x="13341" y="10796"/>
                    <a:pt x="13321" y="10796"/>
                  </a:cubicBezTo>
                  <a:cubicBezTo>
                    <a:pt x="12807" y="10796"/>
                    <a:pt x="12296" y="10759"/>
                    <a:pt x="11788" y="10684"/>
                  </a:cubicBezTo>
                  <a:cubicBezTo>
                    <a:pt x="11755" y="10675"/>
                    <a:pt x="11722" y="10672"/>
                    <a:pt x="11691" y="10669"/>
                  </a:cubicBezTo>
                  <a:cubicBezTo>
                    <a:pt x="9931" y="10370"/>
                    <a:pt x="8938" y="9530"/>
                    <a:pt x="7114" y="7990"/>
                  </a:cubicBezTo>
                  <a:lnTo>
                    <a:pt x="7105" y="7987"/>
                  </a:lnTo>
                  <a:lnTo>
                    <a:pt x="7177" y="7927"/>
                  </a:lnTo>
                  <a:cubicBezTo>
                    <a:pt x="8986" y="6402"/>
                    <a:pt x="9973" y="5569"/>
                    <a:pt x="11691" y="5267"/>
                  </a:cubicBezTo>
                  <a:cubicBezTo>
                    <a:pt x="11731" y="5264"/>
                    <a:pt x="11767" y="5258"/>
                    <a:pt x="11806" y="5249"/>
                  </a:cubicBezTo>
                  <a:cubicBezTo>
                    <a:pt x="12310" y="5173"/>
                    <a:pt x="12816" y="5134"/>
                    <a:pt x="13326" y="5134"/>
                  </a:cubicBezTo>
                  <a:close/>
                  <a:moveTo>
                    <a:pt x="4852" y="8561"/>
                  </a:moveTo>
                  <a:lnTo>
                    <a:pt x="3560" y="9850"/>
                  </a:lnTo>
                  <a:cubicBezTo>
                    <a:pt x="3340" y="10071"/>
                    <a:pt x="3340" y="10430"/>
                    <a:pt x="3560" y="10650"/>
                  </a:cubicBezTo>
                  <a:cubicBezTo>
                    <a:pt x="3670" y="10762"/>
                    <a:pt x="3815" y="10818"/>
                    <a:pt x="3960" y="10818"/>
                  </a:cubicBezTo>
                  <a:cubicBezTo>
                    <a:pt x="4105" y="10818"/>
                    <a:pt x="4250" y="10762"/>
                    <a:pt x="4360" y="10650"/>
                  </a:cubicBezTo>
                  <a:lnTo>
                    <a:pt x="5653" y="9361"/>
                  </a:lnTo>
                  <a:lnTo>
                    <a:pt x="5653" y="9361"/>
                  </a:lnTo>
                  <a:cubicBezTo>
                    <a:pt x="5520" y="11451"/>
                    <a:pt x="3790" y="13078"/>
                    <a:pt x="1697" y="13081"/>
                  </a:cubicBezTo>
                  <a:lnTo>
                    <a:pt x="1129" y="13081"/>
                  </a:lnTo>
                  <a:lnTo>
                    <a:pt x="1129" y="12517"/>
                  </a:lnTo>
                  <a:cubicBezTo>
                    <a:pt x="1132" y="10421"/>
                    <a:pt x="2760" y="8691"/>
                    <a:pt x="4852" y="8561"/>
                  </a:cubicBezTo>
                  <a:close/>
                  <a:moveTo>
                    <a:pt x="11734" y="11822"/>
                  </a:moveTo>
                  <a:cubicBezTo>
                    <a:pt x="12066" y="11870"/>
                    <a:pt x="12416" y="11901"/>
                    <a:pt x="12794" y="11916"/>
                  </a:cubicBezTo>
                  <a:cubicBezTo>
                    <a:pt x="12374" y="13407"/>
                    <a:pt x="11121" y="14515"/>
                    <a:pt x="9593" y="14754"/>
                  </a:cubicBezTo>
                  <a:cubicBezTo>
                    <a:pt x="9792" y="13489"/>
                    <a:pt x="10589" y="12396"/>
                    <a:pt x="11734" y="11822"/>
                  </a:cubicBezTo>
                  <a:close/>
                  <a:moveTo>
                    <a:pt x="8986" y="1"/>
                  </a:moveTo>
                  <a:cubicBezTo>
                    <a:pt x="8984" y="1"/>
                    <a:pt x="8982" y="1"/>
                    <a:pt x="8980" y="1"/>
                  </a:cubicBezTo>
                  <a:cubicBezTo>
                    <a:pt x="8666" y="1"/>
                    <a:pt x="8412" y="255"/>
                    <a:pt x="8412" y="566"/>
                  </a:cubicBezTo>
                  <a:cubicBezTo>
                    <a:pt x="8415" y="2084"/>
                    <a:pt x="9092" y="3522"/>
                    <a:pt x="10257" y="4491"/>
                  </a:cubicBezTo>
                  <a:cubicBezTo>
                    <a:pt x="9019" y="4950"/>
                    <a:pt x="8044" y="5720"/>
                    <a:pt x="6794" y="6774"/>
                  </a:cubicBezTo>
                  <a:cubicBezTo>
                    <a:pt x="6749" y="4002"/>
                    <a:pt x="4481" y="1761"/>
                    <a:pt x="1697" y="1761"/>
                  </a:cubicBezTo>
                  <a:lnTo>
                    <a:pt x="565" y="1761"/>
                  </a:lnTo>
                  <a:cubicBezTo>
                    <a:pt x="251" y="1761"/>
                    <a:pt x="0" y="2015"/>
                    <a:pt x="0" y="2326"/>
                  </a:cubicBezTo>
                  <a:lnTo>
                    <a:pt x="0" y="3458"/>
                  </a:lnTo>
                  <a:cubicBezTo>
                    <a:pt x="0" y="5366"/>
                    <a:pt x="1066" y="7115"/>
                    <a:pt x="2763" y="7987"/>
                  </a:cubicBezTo>
                  <a:cubicBezTo>
                    <a:pt x="1066" y="8863"/>
                    <a:pt x="0" y="10611"/>
                    <a:pt x="0" y="12517"/>
                  </a:cubicBezTo>
                  <a:lnTo>
                    <a:pt x="0" y="13649"/>
                  </a:lnTo>
                  <a:cubicBezTo>
                    <a:pt x="0" y="13963"/>
                    <a:pt x="254" y="14213"/>
                    <a:pt x="565" y="14213"/>
                  </a:cubicBezTo>
                  <a:lnTo>
                    <a:pt x="1697" y="14213"/>
                  </a:lnTo>
                  <a:cubicBezTo>
                    <a:pt x="4478" y="14213"/>
                    <a:pt x="6746" y="11973"/>
                    <a:pt x="6794" y="9204"/>
                  </a:cubicBezTo>
                  <a:cubicBezTo>
                    <a:pt x="7808" y="10056"/>
                    <a:pt x="8606" y="10693"/>
                    <a:pt x="9523" y="11149"/>
                  </a:cubicBezTo>
                  <a:cubicBezTo>
                    <a:pt x="9756" y="11263"/>
                    <a:pt x="9998" y="11366"/>
                    <a:pt x="10242" y="11457"/>
                  </a:cubicBezTo>
                  <a:cubicBezTo>
                    <a:pt x="9086" y="12426"/>
                    <a:pt x="8415" y="13857"/>
                    <a:pt x="8412" y="15367"/>
                  </a:cubicBezTo>
                  <a:cubicBezTo>
                    <a:pt x="8412" y="15678"/>
                    <a:pt x="8666" y="15932"/>
                    <a:pt x="8980" y="15932"/>
                  </a:cubicBezTo>
                  <a:cubicBezTo>
                    <a:pt x="8982" y="15932"/>
                    <a:pt x="8984" y="15932"/>
                    <a:pt x="8986" y="15932"/>
                  </a:cubicBezTo>
                  <a:cubicBezTo>
                    <a:pt x="11387" y="15932"/>
                    <a:pt x="13461" y="14254"/>
                    <a:pt x="13962" y="11907"/>
                  </a:cubicBezTo>
                  <a:cubicBezTo>
                    <a:pt x="14971" y="11813"/>
                    <a:pt x="15943" y="11481"/>
                    <a:pt x="16794" y="10934"/>
                  </a:cubicBezTo>
                  <a:cubicBezTo>
                    <a:pt x="17812" y="10288"/>
                    <a:pt x="18672" y="9355"/>
                    <a:pt x="19285" y="8238"/>
                  </a:cubicBezTo>
                  <a:cubicBezTo>
                    <a:pt x="19379" y="8069"/>
                    <a:pt x="19379" y="7864"/>
                    <a:pt x="19285" y="7694"/>
                  </a:cubicBezTo>
                  <a:cubicBezTo>
                    <a:pt x="18672" y="6577"/>
                    <a:pt x="17809" y="5644"/>
                    <a:pt x="16794" y="4998"/>
                  </a:cubicBezTo>
                  <a:cubicBezTo>
                    <a:pt x="15943" y="4452"/>
                    <a:pt x="14971" y="4119"/>
                    <a:pt x="13962" y="4026"/>
                  </a:cubicBezTo>
                  <a:cubicBezTo>
                    <a:pt x="13461" y="1679"/>
                    <a:pt x="11387" y="1"/>
                    <a:pt x="8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72" name="Google Shape;6272;p71"/>
          <p:cNvGrpSpPr/>
          <p:nvPr/>
        </p:nvGrpSpPr>
        <p:grpSpPr>
          <a:xfrm>
            <a:off x="6769482" y="4168136"/>
            <a:ext cx="398637" cy="453557"/>
            <a:chOff x="922025" y="3804850"/>
            <a:chExt cx="424625" cy="483125"/>
          </a:xfrm>
        </p:grpSpPr>
        <p:sp>
          <p:nvSpPr>
            <p:cNvPr id="6273" name="Google Shape;6273;p71"/>
            <p:cNvSpPr/>
            <p:nvPr/>
          </p:nvSpPr>
          <p:spPr>
            <a:xfrm>
              <a:off x="922025" y="3804850"/>
              <a:ext cx="424625" cy="483125"/>
            </a:xfrm>
            <a:custGeom>
              <a:avLst/>
              <a:gdLst/>
              <a:ahLst/>
              <a:cxnLst/>
              <a:rect l="l" t="t" r="r" b="b"/>
              <a:pathLst>
                <a:path w="16985" h="19325" extrusionOk="0">
                  <a:moveTo>
                    <a:pt x="14153" y="1132"/>
                  </a:moveTo>
                  <a:cubicBezTo>
                    <a:pt x="15092" y="1132"/>
                    <a:pt x="15850" y="1893"/>
                    <a:pt x="15853" y="2832"/>
                  </a:cubicBezTo>
                  <a:lnTo>
                    <a:pt x="15853" y="3560"/>
                  </a:lnTo>
                  <a:cubicBezTo>
                    <a:pt x="15472" y="3162"/>
                    <a:pt x="15037" y="2769"/>
                    <a:pt x="14648" y="2558"/>
                  </a:cubicBezTo>
                  <a:cubicBezTo>
                    <a:pt x="14158" y="2296"/>
                    <a:pt x="13305" y="2239"/>
                    <a:pt x="12660" y="2239"/>
                  </a:cubicBezTo>
                  <a:cubicBezTo>
                    <a:pt x="12589" y="2239"/>
                    <a:pt x="12521" y="2239"/>
                    <a:pt x="12456" y="2241"/>
                  </a:cubicBezTo>
                  <a:lnTo>
                    <a:pt x="12456" y="1132"/>
                  </a:lnTo>
                  <a:close/>
                  <a:moveTo>
                    <a:pt x="12611" y="3372"/>
                  </a:moveTo>
                  <a:cubicBezTo>
                    <a:pt x="13207" y="3372"/>
                    <a:pt x="13858" y="3421"/>
                    <a:pt x="14110" y="3557"/>
                  </a:cubicBezTo>
                  <a:cubicBezTo>
                    <a:pt x="14430" y="3726"/>
                    <a:pt x="14844" y="4128"/>
                    <a:pt x="15209" y="4529"/>
                  </a:cubicBezTo>
                  <a:lnTo>
                    <a:pt x="12456" y="4529"/>
                  </a:lnTo>
                  <a:lnTo>
                    <a:pt x="12456" y="3373"/>
                  </a:lnTo>
                  <a:cubicBezTo>
                    <a:pt x="12507" y="3372"/>
                    <a:pt x="12559" y="3372"/>
                    <a:pt x="12611" y="3372"/>
                  </a:cubicBezTo>
                  <a:close/>
                  <a:moveTo>
                    <a:pt x="7927" y="6794"/>
                  </a:moveTo>
                  <a:lnTo>
                    <a:pt x="7927" y="9626"/>
                  </a:lnTo>
                  <a:cubicBezTo>
                    <a:pt x="7924" y="11812"/>
                    <a:pt x="6151" y="13585"/>
                    <a:pt x="3962" y="13588"/>
                  </a:cubicBezTo>
                  <a:lnTo>
                    <a:pt x="3397" y="13588"/>
                  </a:lnTo>
                  <a:lnTo>
                    <a:pt x="3397" y="12455"/>
                  </a:lnTo>
                  <a:lnTo>
                    <a:pt x="3962" y="12455"/>
                  </a:lnTo>
                  <a:cubicBezTo>
                    <a:pt x="5526" y="12452"/>
                    <a:pt x="6791" y="11187"/>
                    <a:pt x="6794" y="9626"/>
                  </a:cubicBezTo>
                  <a:cubicBezTo>
                    <a:pt x="6794" y="9312"/>
                    <a:pt x="6541" y="9058"/>
                    <a:pt x="6227" y="9058"/>
                  </a:cubicBezTo>
                  <a:cubicBezTo>
                    <a:pt x="5913" y="9058"/>
                    <a:pt x="5662" y="9312"/>
                    <a:pt x="5662" y="9626"/>
                  </a:cubicBezTo>
                  <a:cubicBezTo>
                    <a:pt x="5659" y="10562"/>
                    <a:pt x="4901" y="11323"/>
                    <a:pt x="3962" y="11323"/>
                  </a:cubicBezTo>
                  <a:lnTo>
                    <a:pt x="3397" y="11323"/>
                  </a:lnTo>
                  <a:lnTo>
                    <a:pt x="3397" y="10758"/>
                  </a:lnTo>
                  <a:cubicBezTo>
                    <a:pt x="3397" y="8569"/>
                    <a:pt x="5170" y="6797"/>
                    <a:pt x="7359" y="6794"/>
                  </a:cubicBezTo>
                  <a:close/>
                  <a:moveTo>
                    <a:pt x="11323" y="1132"/>
                  </a:moveTo>
                  <a:lnTo>
                    <a:pt x="11323" y="10758"/>
                  </a:lnTo>
                  <a:cubicBezTo>
                    <a:pt x="11320" y="12320"/>
                    <a:pt x="10055" y="13585"/>
                    <a:pt x="8491" y="13588"/>
                  </a:cubicBezTo>
                  <a:lnTo>
                    <a:pt x="7160" y="13588"/>
                  </a:lnTo>
                  <a:cubicBezTo>
                    <a:pt x="8361" y="12621"/>
                    <a:pt x="9059" y="11166"/>
                    <a:pt x="9059" y="9626"/>
                  </a:cubicBezTo>
                  <a:lnTo>
                    <a:pt x="9059" y="6229"/>
                  </a:lnTo>
                  <a:cubicBezTo>
                    <a:pt x="9059" y="5915"/>
                    <a:pt x="8805" y="5662"/>
                    <a:pt x="8491" y="5662"/>
                  </a:cubicBezTo>
                  <a:lnTo>
                    <a:pt x="7359" y="5662"/>
                  </a:lnTo>
                  <a:cubicBezTo>
                    <a:pt x="6779" y="5662"/>
                    <a:pt x="6206" y="5761"/>
                    <a:pt x="5662" y="5954"/>
                  </a:cubicBezTo>
                  <a:lnTo>
                    <a:pt x="5662" y="5097"/>
                  </a:lnTo>
                  <a:cubicBezTo>
                    <a:pt x="5662" y="2908"/>
                    <a:pt x="7434" y="1135"/>
                    <a:pt x="9624" y="1132"/>
                  </a:cubicBezTo>
                  <a:close/>
                  <a:moveTo>
                    <a:pt x="6794" y="14720"/>
                  </a:moveTo>
                  <a:lnTo>
                    <a:pt x="6794" y="16957"/>
                  </a:lnTo>
                  <a:cubicBezTo>
                    <a:pt x="6115" y="16698"/>
                    <a:pt x="5665" y="16049"/>
                    <a:pt x="5662" y="15324"/>
                  </a:cubicBezTo>
                  <a:lnTo>
                    <a:pt x="5662" y="14720"/>
                  </a:lnTo>
                  <a:close/>
                  <a:moveTo>
                    <a:pt x="4530" y="14720"/>
                  </a:moveTo>
                  <a:lnTo>
                    <a:pt x="4530" y="18096"/>
                  </a:lnTo>
                  <a:cubicBezTo>
                    <a:pt x="3850" y="17854"/>
                    <a:pt x="3397" y="17214"/>
                    <a:pt x="3397" y="16495"/>
                  </a:cubicBezTo>
                  <a:lnTo>
                    <a:pt x="3397" y="14720"/>
                  </a:lnTo>
                  <a:close/>
                  <a:moveTo>
                    <a:pt x="3326" y="1"/>
                  </a:moveTo>
                  <a:cubicBezTo>
                    <a:pt x="3182" y="1"/>
                    <a:pt x="3037" y="56"/>
                    <a:pt x="2926" y="166"/>
                  </a:cubicBezTo>
                  <a:cubicBezTo>
                    <a:pt x="2480" y="613"/>
                    <a:pt x="2265" y="1114"/>
                    <a:pt x="2265" y="1700"/>
                  </a:cubicBezTo>
                  <a:cubicBezTo>
                    <a:pt x="2265" y="2950"/>
                    <a:pt x="3277" y="3965"/>
                    <a:pt x="4530" y="3965"/>
                  </a:cubicBezTo>
                  <a:cubicBezTo>
                    <a:pt x="4572" y="3965"/>
                    <a:pt x="4614" y="3965"/>
                    <a:pt x="4657" y="3959"/>
                  </a:cubicBezTo>
                  <a:lnTo>
                    <a:pt x="4657" y="3959"/>
                  </a:lnTo>
                  <a:cubicBezTo>
                    <a:pt x="4572" y="4333"/>
                    <a:pt x="4527" y="4714"/>
                    <a:pt x="4530" y="5097"/>
                  </a:cubicBezTo>
                  <a:lnTo>
                    <a:pt x="4530" y="6522"/>
                  </a:lnTo>
                  <a:cubicBezTo>
                    <a:pt x="3114" y="7467"/>
                    <a:pt x="2265" y="9055"/>
                    <a:pt x="2265" y="10758"/>
                  </a:cubicBezTo>
                  <a:lnTo>
                    <a:pt x="2265" y="13588"/>
                  </a:lnTo>
                  <a:lnTo>
                    <a:pt x="565" y="13588"/>
                  </a:lnTo>
                  <a:cubicBezTo>
                    <a:pt x="251" y="13588"/>
                    <a:pt x="1" y="13841"/>
                    <a:pt x="1" y="14155"/>
                  </a:cubicBezTo>
                  <a:cubicBezTo>
                    <a:pt x="1" y="14466"/>
                    <a:pt x="251" y="14720"/>
                    <a:pt x="565" y="14720"/>
                  </a:cubicBezTo>
                  <a:lnTo>
                    <a:pt x="2265" y="14720"/>
                  </a:lnTo>
                  <a:lnTo>
                    <a:pt x="2265" y="16495"/>
                  </a:lnTo>
                  <a:cubicBezTo>
                    <a:pt x="2265" y="18056"/>
                    <a:pt x="3530" y="19322"/>
                    <a:pt x="5094" y="19325"/>
                  </a:cubicBezTo>
                  <a:cubicBezTo>
                    <a:pt x="5408" y="19325"/>
                    <a:pt x="5662" y="19071"/>
                    <a:pt x="5662" y="18760"/>
                  </a:cubicBezTo>
                  <a:lnTo>
                    <a:pt x="5662" y="17613"/>
                  </a:lnTo>
                  <a:cubicBezTo>
                    <a:pt x="6148" y="17990"/>
                    <a:pt x="6743" y="18192"/>
                    <a:pt x="7359" y="18192"/>
                  </a:cubicBezTo>
                  <a:cubicBezTo>
                    <a:pt x="7673" y="18192"/>
                    <a:pt x="7927" y="17939"/>
                    <a:pt x="7927" y="17628"/>
                  </a:cubicBezTo>
                  <a:lnTo>
                    <a:pt x="7927" y="14720"/>
                  </a:lnTo>
                  <a:lnTo>
                    <a:pt x="9059" y="14720"/>
                  </a:lnTo>
                  <a:lnTo>
                    <a:pt x="9059" y="18760"/>
                  </a:lnTo>
                  <a:cubicBezTo>
                    <a:pt x="9059" y="19071"/>
                    <a:pt x="9309" y="19325"/>
                    <a:pt x="9624" y="19325"/>
                  </a:cubicBezTo>
                  <a:cubicBezTo>
                    <a:pt x="9938" y="19325"/>
                    <a:pt x="10191" y="19071"/>
                    <a:pt x="10191" y="18760"/>
                  </a:cubicBezTo>
                  <a:lnTo>
                    <a:pt x="10191" y="14720"/>
                  </a:lnTo>
                  <a:lnTo>
                    <a:pt x="16417" y="14720"/>
                  </a:lnTo>
                  <a:cubicBezTo>
                    <a:pt x="16731" y="14720"/>
                    <a:pt x="16982" y="14466"/>
                    <a:pt x="16982" y="14155"/>
                  </a:cubicBezTo>
                  <a:cubicBezTo>
                    <a:pt x="16982" y="13841"/>
                    <a:pt x="16731" y="13588"/>
                    <a:pt x="16417" y="13588"/>
                  </a:cubicBezTo>
                  <a:lnTo>
                    <a:pt x="11263" y="13588"/>
                  </a:lnTo>
                  <a:cubicBezTo>
                    <a:pt x="12024" y="12845"/>
                    <a:pt x="12456" y="11821"/>
                    <a:pt x="12456" y="10758"/>
                  </a:cubicBezTo>
                  <a:lnTo>
                    <a:pt x="12456" y="5662"/>
                  </a:lnTo>
                  <a:lnTo>
                    <a:pt x="16417" y="5662"/>
                  </a:lnTo>
                  <a:cubicBezTo>
                    <a:pt x="16435" y="5662"/>
                    <a:pt x="16454" y="5662"/>
                    <a:pt x="16472" y="5659"/>
                  </a:cubicBezTo>
                  <a:lnTo>
                    <a:pt x="16484" y="5659"/>
                  </a:lnTo>
                  <a:cubicBezTo>
                    <a:pt x="16496" y="5659"/>
                    <a:pt x="16511" y="5656"/>
                    <a:pt x="16523" y="5653"/>
                  </a:cubicBezTo>
                  <a:cubicBezTo>
                    <a:pt x="16529" y="5653"/>
                    <a:pt x="16535" y="5653"/>
                    <a:pt x="16538" y="5650"/>
                  </a:cubicBezTo>
                  <a:cubicBezTo>
                    <a:pt x="16550" y="5647"/>
                    <a:pt x="16562" y="5643"/>
                    <a:pt x="16577" y="5640"/>
                  </a:cubicBezTo>
                  <a:lnTo>
                    <a:pt x="16592" y="5637"/>
                  </a:lnTo>
                  <a:cubicBezTo>
                    <a:pt x="16607" y="5631"/>
                    <a:pt x="16623" y="5625"/>
                    <a:pt x="16638" y="5619"/>
                  </a:cubicBezTo>
                  <a:lnTo>
                    <a:pt x="16644" y="5616"/>
                  </a:lnTo>
                  <a:cubicBezTo>
                    <a:pt x="16659" y="5610"/>
                    <a:pt x="16671" y="5604"/>
                    <a:pt x="16683" y="5598"/>
                  </a:cubicBezTo>
                  <a:lnTo>
                    <a:pt x="16701" y="5586"/>
                  </a:lnTo>
                  <a:cubicBezTo>
                    <a:pt x="16710" y="5583"/>
                    <a:pt x="16719" y="5577"/>
                    <a:pt x="16728" y="5571"/>
                  </a:cubicBezTo>
                  <a:cubicBezTo>
                    <a:pt x="16734" y="5568"/>
                    <a:pt x="16740" y="5562"/>
                    <a:pt x="16746" y="5559"/>
                  </a:cubicBezTo>
                  <a:lnTo>
                    <a:pt x="16758" y="5550"/>
                  </a:lnTo>
                  <a:lnTo>
                    <a:pt x="16768" y="5541"/>
                  </a:lnTo>
                  <a:lnTo>
                    <a:pt x="16792" y="5523"/>
                  </a:lnTo>
                  <a:cubicBezTo>
                    <a:pt x="16798" y="5517"/>
                    <a:pt x="16807" y="5511"/>
                    <a:pt x="16813" y="5505"/>
                  </a:cubicBezTo>
                  <a:lnTo>
                    <a:pt x="16831" y="5486"/>
                  </a:lnTo>
                  <a:lnTo>
                    <a:pt x="16849" y="5462"/>
                  </a:lnTo>
                  <a:lnTo>
                    <a:pt x="16864" y="5444"/>
                  </a:lnTo>
                  <a:cubicBezTo>
                    <a:pt x="16870" y="5435"/>
                    <a:pt x="16879" y="5429"/>
                    <a:pt x="16885" y="5420"/>
                  </a:cubicBezTo>
                  <a:lnTo>
                    <a:pt x="16897" y="5399"/>
                  </a:lnTo>
                  <a:cubicBezTo>
                    <a:pt x="16903" y="5390"/>
                    <a:pt x="16906" y="5381"/>
                    <a:pt x="16912" y="5375"/>
                  </a:cubicBezTo>
                  <a:lnTo>
                    <a:pt x="16925" y="5351"/>
                  </a:lnTo>
                  <a:cubicBezTo>
                    <a:pt x="16928" y="5342"/>
                    <a:pt x="16934" y="5332"/>
                    <a:pt x="16937" y="5326"/>
                  </a:cubicBezTo>
                  <a:cubicBezTo>
                    <a:pt x="16940" y="5317"/>
                    <a:pt x="16943" y="5305"/>
                    <a:pt x="16949" y="5296"/>
                  </a:cubicBezTo>
                  <a:cubicBezTo>
                    <a:pt x="16952" y="5287"/>
                    <a:pt x="16955" y="5281"/>
                    <a:pt x="16958" y="5275"/>
                  </a:cubicBezTo>
                  <a:cubicBezTo>
                    <a:pt x="16958" y="5266"/>
                    <a:pt x="16964" y="5254"/>
                    <a:pt x="16964" y="5245"/>
                  </a:cubicBezTo>
                  <a:cubicBezTo>
                    <a:pt x="16967" y="5236"/>
                    <a:pt x="16970" y="5230"/>
                    <a:pt x="16970" y="5221"/>
                  </a:cubicBezTo>
                  <a:cubicBezTo>
                    <a:pt x="16973" y="5215"/>
                    <a:pt x="16976" y="5203"/>
                    <a:pt x="16976" y="5194"/>
                  </a:cubicBezTo>
                  <a:cubicBezTo>
                    <a:pt x="16979" y="5182"/>
                    <a:pt x="16979" y="5175"/>
                    <a:pt x="16982" y="5166"/>
                  </a:cubicBezTo>
                  <a:cubicBezTo>
                    <a:pt x="16982" y="5157"/>
                    <a:pt x="16982" y="5148"/>
                    <a:pt x="16982" y="5139"/>
                  </a:cubicBezTo>
                  <a:cubicBezTo>
                    <a:pt x="16982" y="5130"/>
                    <a:pt x="16982" y="5118"/>
                    <a:pt x="16985" y="5109"/>
                  </a:cubicBezTo>
                  <a:lnTo>
                    <a:pt x="16985" y="5097"/>
                  </a:lnTo>
                  <a:lnTo>
                    <a:pt x="16985" y="2832"/>
                  </a:lnTo>
                  <a:cubicBezTo>
                    <a:pt x="16982" y="1271"/>
                    <a:pt x="15717" y="3"/>
                    <a:pt x="14153" y="3"/>
                  </a:cubicBezTo>
                  <a:lnTo>
                    <a:pt x="9624" y="3"/>
                  </a:lnTo>
                  <a:cubicBezTo>
                    <a:pt x="7754" y="3"/>
                    <a:pt x="6033" y="1027"/>
                    <a:pt x="5143" y="2672"/>
                  </a:cubicBezTo>
                  <a:cubicBezTo>
                    <a:pt x="5106" y="2681"/>
                    <a:pt x="5067" y="2697"/>
                    <a:pt x="5034" y="2715"/>
                  </a:cubicBezTo>
                  <a:cubicBezTo>
                    <a:pt x="4869" y="2797"/>
                    <a:pt x="4697" y="2834"/>
                    <a:pt x="4530" y="2834"/>
                  </a:cubicBezTo>
                  <a:cubicBezTo>
                    <a:pt x="3934" y="2834"/>
                    <a:pt x="3395" y="2356"/>
                    <a:pt x="3397" y="1700"/>
                  </a:cubicBezTo>
                  <a:cubicBezTo>
                    <a:pt x="3397" y="1419"/>
                    <a:pt x="3494" y="1199"/>
                    <a:pt x="3727" y="966"/>
                  </a:cubicBezTo>
                  <a:cubicBezTo>
                    <a:pt x="3950" y="746"/>
                    <a:pt x="3950" y="387"/>
                    <a:pt x="3727" y="166"/>
                  </a:cubicBezTo>
                  <a:cubicBezTo>
                    <a:pt x="3616" y="56"/>
                    <a:pt x="3471" y="1"/>
                    <a:pt x="33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74" name="Google Shape;6274;p71"/>
            <p:cNvSpPr/>
            <p:nvPr/>
          </p:nvSpPr>
          <p:spPr>
            <a:xfrm>
              <a:off x="1135200" y="3869900"/>
              <a:ext cx="37850" cy="28400"/>
            </a:xfrm>
            <a:custGeom>
              <a:avLst/>
              <a:gdLst/>
              <a:ahLst/>
              <a:cxnLst/>
              <a:rect l="l" t="t" r="r" b="b"/>
              <a:pathLst>
                <a:path w="1514" h="1136" extrusionOk="0">
                  <a:moveTo>
                    <a:pt x="758" y="1"/>
                  </a:moveTo>
                  <a:cubicBezTo>
                    <a:pt x="254" y="1"/>
                    <a:pt x="0" y="611"/>
                    <a:pt x="357" y="970"/>
                  </a:cubicBezTo>
                  <a:cubicBezTo>
                    <a:pt x="467" y="1080"/>
                    <a:pt x="612" y="1135"/>
                    <a:pt x="757" y="1135"/>
                  </a:cubicBezTo>
                  <a:cubicBezTo>
                    <a:pt x="902" y="1135"/>
                    <a:pt x="1047" y="1080"/>
                    <a:pt x="1157" y="970"/>
                  </a:cubicBezTo>
                  <a:cubicBezTo>
                    <a:pt x="1513" y="611"/>
                    <a:pt x="1263" y="1"/>
                    <a:pt x="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75" name="Google Shape;6275;p71"/>
          <p:cNvSpPr/>
          <p:nvPr/>
        </p:nvSpPr>
        <p:spPr>
          <a:xfrm>
            <a:off x="7313802" y="4166672"/>
            <a:ext cx="464401" cy="455224"/>
          </a:xfrm>
          <a:custGeom>
            <a:avLst/>
            <a:gdLst/>
            <a:ahLst/>
            <a:cxnLst/>
            <a:rect l="l" t="t" r="r" b="b"/>
            <a:pathLst>
              <a:path w="19787" h="19396" extrusionOk="0">
                <a:moveTo>
                  <a:pt x="16583" y="1203"/>
                </a:moveTo>
                <a:cubicBezTo>
                  <a:pt x="17017" y="1203"/>
                  <a:pt x="17451" y="1370"/>
                  <a:pt x="17782" y="1702"/>
                </a:cubicBezTo>
                <a:cubicBezTo>
                  <a:pt x="18446" y="2363"/>
                  <a:pt x="18446" y="3438"/>
                  <a:pt x="17782" y="4102"/>
                </a:cubicBezTo>
                <a:lnTo>
                  <a:pt x="16565" y="5319"/>
                </a:lnTo>
                <a:lnTo>
                  <a:pt x="14165" y="2918"/>
                </a:lnTo>
                <a:lnTo>
                  <a:pt x="15382" y="1702"/>
                </a:lnTo>
                <a:cubicBezTo>
                  <a:pt x="15714" y="1370"/>
                  <a:pt x="16149" y="1203"/>
                  <a:pt x="16583" y="1203"/>
                </a:cubicBezTo>
                <a:close/>
                <a:moveTo>
                  <a:pt x="13362" y="3719"/>
                </a:moveTo>
                <a:lnTo>
                  <a:pt x="14162" y="4519"/>
                </a:lnTo>
                <a:lnTo>
                  <a:pt x="4587" y="14096"/>
                </a:lnTo>
                <a:cubicBezTo>
                  <a:pt x="4255" y="13861"/>
                  <a:pt x="3884" y="13692"/>
                  <a:pt x="3488" y="13595"/>
                </a:cubicBezTo>
                <a:lnTo>
                  <a:pt x="13310" y="3770"/>
                </a:lnTo>
                <a:lnTo>
                  <a:pt x="13362" y="3719"/>
                </a:lnTo>
                <a:close/>
                <a:moveTo>
                  <a:pt x="14965" y="5322"/>
                </a:moveTo>
                <a:lnTo>
                  <a:pt x="15765" y="6122"/>
                </a:lnTo>
                <a:lnTo>
                  <a:pt x="15714" y="6173"/>
                </a:lnTo>
                <a:lnTo>
                  <a:pt x="5888" y="15996"/>
                </a:lnTo>
                <a:cubicBezTo>
                  <a:pt x="5792" y="15600"/>
                  <a:pt x="5623" y="15229"/>
                  <a:pt x="5387" y="14897"/>
                </a:cubicBezTo>
                <a:lnTo>
                  <a:pt x="14965" y="5322"/>
                </a:lnTo>
                <a:close/>
                <a:moveTo>
                  <a:pt x="2704" y="14631"/>
                </a:moveTo>
                <a:cubicBezTo>
                  <a:pt x="3925" y="14631"/>
                  <a:pt x="4911" y="15655"/>
                  <a:pt x="4850" y="16889"/>
                </a:cubicBezTo>
                <a:lnTo>
                  <a:pt x="3736" y="17249"/>
                </a:lnTo>
                <a:cubicBezTo>
                  <a:pt x="3449" y="16572"/>
                  <a:pt x="2911" y="16035"/>
                  <a:pt x="2235" y="15748"/>
                </a:cubicBezTo>
                <a:lnTo>
                  <a:pt x="2594" y="14634"/>
                </a:lnTo>
                <a:cubicBezTo>
                  <a:pt x="2631" y="14632"/>
                  <a:pt x="2667" y="14631"/>
                  <a:pt x="2704" y="14631"/>
                </a:cubicBezTo>
                <a:close/>
                <a:moveTo>
                  <a:pt x="1888" y="16835"/>
                </a:moveTo>
                <a:cubicBezTo>
                  <a:pt x="2217" y="17001"/>
                  <a:pt x="2483" y="17267"/>
                  <a:pt x="2649" y="17596"/>
                </a:cubicBezTo>
                <a:lnTo>
                  <a:pt x="1528" y="17955"/>
                </a:lnTo>
                <a:lnTo>
                  <a:pt x="1888" y="16835"/>
                </a:lnTo>
                <a:close/>
                <a:moveTo>
                  <a:pt x="16654" y="1"/>
                </a:moveTo>
                <a:cubicBezTo>
                  <a:pt x="15897" y="1"/>
                  <a:pt x="15141" y="302"/>
                  <a:pt x="14581" y="901"/>
                </a:cubicBezTo>
                <a:lnTo>
                  <a:pt x="11710" y="3770"/>
                </a:lnTo>
                <a:lnTo>
                  <a:pt x="1882" y="13601"/>
                </a:lnTo>
                <a:cubicBezTo>
                  <a:pt x="1861" y="13619"/>
                  <a:pt x="1842" y="13641"/>
                  <a:pt x="1827" y="13662"/>
                </a:cubicBezTo>
                <a:lnTo>
                  <a:pt x="1809" y="13677"/>
                </a:lnTo>
                <a:lnTo>
                  <a:pt x="1788" y="13695"/>
                </a:lnTo>
                <a:cubicBezTo>
                  <a:pt x="1782" y="13701"/>
                  <a:pt x="1773" y="13707"/>
                  <a:pt x="1767" y="13716"/>
                </a:cubicBezTo>
                <a:cubicBezTo>
                  <a:pt x="1761" y="13722"/>
                  <a:pt x="1755" y="13725"/>
                  <a:pt x="1752" y="13731"/>
                </a:cubicBezTo>
                <a:cubicBezTo>
                  <a:pt x="1746" y="13737"/>
                  <a:pt x="1737" y="13746"/>
                  <a:pt x="1728" y="13755"/>
                </a:cubicBezTo>
                <a:lnTo>
                  <a:pt x="1716" y="13773"/>
                </a:lnTo>
                <a:cubicBezTo>
                  <a:pt x="1710" y="13782"/>
                  <a:pt x="1704" y="13789"/>
                  <a:pt x="1698" y="13801"/>
                </a:cubicBezTo>
                <a:cubicBezTo>
                  <a:pt x="1688" y="13810"/>
                  <a:pt x="1688" y="13813"/>
                  <a:pt x="1685" y="13819"/>
                </a:cubicBezTo>
                <a:cubicBezTo>
                  <a:pt x="1679" y="13825"/>
                  <a:pt x="1673" y="13837"/>
                  <a:pt x="1667" y="13846"/>
                </a:cubicBezTo>
                <a:cubicBezTo>
                  <a:pt x="1661" y="13855"/>
                  <a:pt x="1658" y="13861"/>
                  <a:pt x="1655" y="13870"/>
                </a:cubicBezTo>
                <a:cubicBezTo>
                  <a:pt x="1652" y="13879"/>
                  <a:pt x="1646" y="13885"/>
                  <a:pt x="1643" y="13894"/>
                </a:cubicBezTo>
                <a:cubicBezTo>
                  <a:pt x="1640" y="13903"/>
                  <a:pt x="1634" y="13918"/>
                  <a:pt x="1631" y="13933"/>
                </a:cubicBezTo>
                <a:cubicBezTo>
                  <a:pt x="1631" y="13936"/>
                  <a:pt x="1625" y="13939"/>
                  <a:pt x="1625" y="13943"/>
                </a:cubicBezTo>
                <a:lnTo>
                  <a:pt x="1625" y="13949"/>
                </a:lnTo>
                <a:cubicBezTo>
                  <a:pt x="1625" y="13949"/>
                  <a:pt x="1625" y="13952"/>
                  <a:pt x="1625" y="13952"/>
                </a:cubicBezTo>
                <a:lnTo>
                  <a:pt x="118" y="18656"/>
                </a:lnTo>
                <a:cubicBezTo>
                  <a:pt x="1" y="19021"/>
                  <a:pt x="272" y="19393"/>
                  <a:pt x="656" y="19396"/>
                </a:cubicBezTo>
                <a:cubicBezTo>
                  <a:pt x="713" y="19396"/>
                  <a:pt x="771" y="19387"/>
                  <a:pt x="828" y="19368"/>
                </a:cubicBezTo>
                <a:lnTo>
                  <a:pt x="5538" y="17859"/>
                </a:lnTo>
                <a:lnTo>
                  <a:pt x="5547" y="17856"/>
                </a:lnTo>
                <a:cubicBezTo>
                  <a:pt x="5559" y="17853"/>
                  <a:pt x="5571" y="17847"/>
                  <a:pt x="5584" y="17844"/>
                </a:cubicBezTo>
                <a:lnTo>
                  <a:pt x="5599" y="17838"/>
                </a:lnTo>
                <a:cubicBezTo>
                  <a:pt x="5611" y="17832"/>
                  <a:pt x="5623" y="17826"/>
                  <a:pt x="5635" y="17819"/>
                </a:cubicBezTo>
                <a:cubicBezTo>
                  <a:pt x="5650" y="17810"/>
                  <a:pt x="5653" y="17810"/>
                  <a:pt x="5659" y="17804"/>
                </a:cubicBezTo>
                <a:cubicBezTo>
                  <a:pt x="5668" y="17798"/>
                  <a:pt x="5680" y="17792"/>
                  <a:pt x="5689" y="17786"/>
                </a:cubicBezTo>
                <a:cubicBezTo>
                  <a:pt x="5698" y="17780"/>
                  <a:pt x="5701" y="17777"/>
                  <a:pt x="5710" y="17771"/>
                </a:cubicBezTo>
                <a:lnTo>
                  <a:pt x="5728" y="17756"/>
                </a:lnTo>
                <a:lnTo>
                  <a:pt x="5750" y="17738"/>
                </a:lnTo>
                <a:cubicBezTo>
                  <a:pt x="5756" y="17732"/>
                  <a:pt x="5762" y="17726"/>
                  <a:pt x="5768" y="17720"/>
                </a:cubicBezTo>
                <a:cubicBezTo>
                  <a:pt x="5774" y="17714"/>
                  <a:pt x="5780" y="17708"/>
                  <a:pt x="5783" y="17702"/>
                </a:cubicBezTo>
                <a:lnTo>
                  <a:pt x="5798" y="17687"/>
                </a:lnTo>
                <a:cubicBezTo>
                  <a:pt x="5810" y="17678"/>
                  <a:pt x="5819" y="17669"/>
                  <a:pt x="5828" y="17659"/>
                </a:cubicBezTo>
                <a:lnTo>
                  <a:pt x="15714" y="7777"/>
                </a:lnTo>
                <a:lnTo>
                  <a:pt x="18582" y="4902"/>
                </a:lnTo>
                <a:cubicBezTo>
                  <a:pt x="19754" y="3809"/>
                  <a:pt x="19787" y="1961"/>
                  <a:pt x="18655" y="829"/>
                </a:cubicBezTo>
                <a:cubicBezTo>
                  <a:pt x="18102" y="276"/>
                  <a:pt x="17378" y="1"/>
                  <a:pt x="166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76" name="Google Shape;6276;p71"/>
          <p:cNvGrpSpPr/>
          <p:nvPr/>
        </p:nvGrpSpPr>
        <p:grpSpPr>
          <a:xfrm>
            <a:off x="7879789" y="4168136"/>
            <a:ext cx="417273" cy="453557"/>
            <a:chOff x="2100300" y="3804850"/>
            <a:chExt cx="444475" cy="483125"/>
          </a:xfrm>
        </p:grpSpPr>
        <p:sp>
          <p:nvSpPr>
            <p:cNvPr id="6277" name="Google Shape;6277;p71"/>
            <p:cNvSpPr/>
            <p:nvPr/>
          </p:nvSpPr>
          <p:spPr>
            <a:xfrm>
              <a:off x="2100300" y="3804850"/>
              <a:ext cx="444475" cy="483125"/>
            </a:xfrm>
            <a:custGeom>
              <a:avLst/>
              <a:gdLst/>
              <a:ahLst/>
              <a:cxnLst/>
              <a:rect l="l" t="t" r="r" b="b"/>
              <a:pathLst>
                <a:path w="17779" h="19325" extrusionOk="0">
                  <a:moveTo>
                    <a:pt x="2123" y="4001"/>
                  </a:moveTo>
                  <a:cubicBezTo>
                    <a:pt x="2627" y="4001"/>
                    <a:pt x="2881" y="4611"/>
                    <a:pt x="2524" y="4967"/>
                  </a:cubicBezTo>
                  <a:cubicBezTo>
                    <a:pt x="2408" y="5083"/>
                    <a:pt x="2265" y="5134"/>
                    <a:pt x="2126" y="5134"/>
                  </a:cubicBezTo>
                  <a:cubicBezTo>
                    <a:pt x="1835" y="5134"/>
                    <a:pt x="1558" y="4909"/>
                    <a:pt x="1558" y="4569"/>
                  </a:cubicBezTo>
                  <a:cubicBezTo>
                    <a:pt x="1558" y="4255"/>
                    <a:pt x="1809" y="4001"/>
                    <a:pt x="2123" y="4001"/>
                  </a:cubicBezTo>
                  <a:close/>
                  <a:moveTo>
                    <a:pt x="15710" y="4001"/>
                  </a:moveTo>
                  <a:cubicBezTo>
                    <a:pt x="16215" y="4001"/>
                    <a:pt x="16468" y="4611"/>
                    <a:pt x="16112" y="4967"/>
                  </a:cubicBezTo>
                  <a:cubicBezTo>
                    <a:pt x="15995" y="5083"/>
                    <a:pt x="15853" y="5134"/>
                    <a:pt x="15714" y="5134"/>
                  </a:cubicBezTo>
                  <a:cubicBezTo>
                    <a:pt x="15423" y="5134"/>
                    <a:pt x="15146" y="4909"/>
                    <a:pt x="15146" y="4569"/>
                  </a:cubicBezTo>
                  <a:cubicBezTo>
                    <a:pt x="15146" y="4255"/>
                    <a:pt x="15396" y="4001"/>
                    <a:pt x="15710" y="4001"/>
                  </a:cubicBezTo>
                  <a:close/>
                  <a:moveTo>
                    <a:pt x="8917" y="1132"/>
                  </a:moveTo>
                  <a:cubicBezTo>
                    <a:pt x="9551" y="1132"/>
                    <a:pt x="10251" y="1993"/>
                    <a:pt x="10789" y="3436"/>
                  </a:cubicBezTo>
                  <a:cubicBezTo>
                    <a:pt x="10894" y="3723"/>
                    <a:pt x="10994" y="4028"/>
                    <a:pt x="11084" y="4345"/>
                  </a:cubicBezTo>
                  <a:cubicBezTo>
                    <a:pt x="10345" y="4590"/>
                    <a:pt x="9623" y="4877"/>
                    <a:pt x="8917" y="5203"/>
                  </a:cubicBezTo>
                  <a:cubicBezTo>
                    <a:pt x="8210" y="4877"/>
                    <a:pt x="7488" y="4590"/>
                    <a:pt x="6749" y="4345"/>
                  </a:cubicBezTo>
                  <a:cubicBezTo>
                    <a:pt x="6842" y="4028"/>
                    <a:pt x="6939" y="3723"/>
                    <a:pt x="7044" y="3436"/>
                  </a:cubicBezTo>
                  <a:cubicBezTo>
                    <a:pt x="7582" y="1993"/>
                    <a:pt x="8282" y="1132"/>
                    <a:pt x="8917" y="1132"/>
                  </a:cubicBezTo>
                  <a:close/>
                  <a:moveTo>
                    <a:pt x="6483" y="5453"/>
                  </a:moveTo>
                  <a:cubicBezTo>
                    <a:pt x="6845" y="5577"/>
                    <a:pt x="7217" y="5713"/>
                    <a:pt x="7591" y="5867"/>
                  </a:cubicBezTo>
                  <a:cubicBezTo>
                    <a:pt x="7371" y="5985"/>
                    <a:pt x="7153" y="6105"/>
                    <a:pt x="6936" y="6229"/>
                  </a:cubicBezTo>
                  <a:cubicBezTo>
                    <a:pt x="6715" y="6356"/>
                    <a:pt x="6501" y="6486"/>
                    <a:pt x="6287" y="6619"/>
                  </a:cubicBezTo>
                  <a:cubicBezTo>
                    <a:pt x="6341" y="6217"/>
                    <a:pt x="6407" y="5831"/>
                    <a:pt x="6483" y="5453"/>
                  </a:cubicBezTo>
                  <a:close/>
                  <a:moveTo>
                    <a:pt x="11350" y="5453"/>
                  </a:moveTo>
                  <a:cubicBezTo>
                    <a:pt x="11426" y="5831"/>
                    <a:pt x="11492" y="6217"/>
                    <a:pt x="11546" y="6619"/>
                  </a:cubicBezTo>
                  <a:cubicBezTo>
                    <a:pt x="11335" y="6486"/>
                    <a:pt x="11118" y="6356"/>
                    <a:pt x="10897" y="6229"/>
                  </a:cubicBezTo>
                  <a:cubicBezTo>
                    <a:pt x="10677" y="6102"/>
                    <a:pt x="10459" y="5982"/>
                    <a:pt x="10242" y="5867"/>
                  </a:cubicBezTo>
                  <a:cubicBezTo>
                    <a:pt x="10619" y="5716"/>
                    <a:pt x="10988" y="5574"/>
                    <a:pt x="11350" y="5453"/>
                  </a:cubicBezTo>
                  <a:close/>
                  <a:moveTo>
                    <a:pt x="3799" y="4852"/>
                  </a:moveTo>
                  <a:cubicBezTo>
                    <a:pt x="4336" y="4904"/>
                    <a:pt x="4870" y="4997"/>
                    <a:pt x="5396" y="5133"/>
                  </a:cubicBezTo>
                  <a:cubicBezTo>
                    <a:pt x="5239" y="5894"/>
                    <a:pt x="5124" y="6661"/>
                    <a:pt x="5055" y="7434"/>
                  </a:cubicBezTo>
                  <a:cubicBezTo>
                    <a:pt x="4421" y="7881"/>
                    <a:pt x="3811" y="8361"/>
                    <a:pt x="3231" y="8877"/>
                  </a:cubicBezTo>
                  <a:cubicBezTo>
                    <a:pt x="3004" y="8645"/>
                    <a:pt x="2796" y="8412"/>
                    <a:pt x="2606" y="8180"/>
                  </a:cubicBezTo>
                  <a:cubicBezTo>
                    <a:pt x="1969" y="7404"/>
                    <a:pt x="1579" y="6691"/>
                    <a:pt x="1483" y="6139"/>
                  </a:cubicBezTo>
                  <a:lnTo>
                    <a:pt x="1483" y="6139"/>
                  </a:lnTo>
                  <a:cubicBezTo>
                    <a:pt x="1695" y="6225"/>
                    <a:pt x="1912" y="6266"/>
                    <a:pt x="2125" y="6266"/>
                  </a:cubicBezTo>
                  <a:cubicBezTo>
                    <a:pt x="2922" y="6266"/>
                    <a:pt x="3656" y="5698"/>
                    <a:pt x="3799" y="4852"/>
                  </a:cubicBezTo>
                  <a:close/>
                  <a:moveTo>
                    <a:pt x="14037" y="4852"/>
                  </a:moveTo>
                  <a:cubicBezTo>
                    <a:pt x="14180" y="5698"/>
                    <a:pt x="14914" y="6266"/>
                    <a:pt x="15711" y="6266"/>
                  </a:cubicBezTo>
                  <a:cubicBezTo>
                    <a:pt x="15924" y="6266"/>
                    <a:pt x="16141" y="6225"/>
                    <a:pt x="16353" y="6139"/>
                  </a:cubicBezTo>
                  <a:lnTo>
                    <a:pt x="16353" y="6139"/>
                  </a:lnTo>
                  <a:cubicBezTo>
                    <a:pt x="16254" y="6691"/>
                    <a:pt x="15867" y="7404"/>
                    <a:pt x="15227" y="8180"/>
                  </a:cubicBezTo>
                  <a:cubicBezTo>
                    <a:pt x="15037" y="8412"/>
                    <a:pt x="14829" y="8645"/>
                    <a:pt x="14602" y="8877"/>
                  </a:cubicBezTo>
                  <a:cubicBezTo>
                    <a:pt x="14022" y="8361"/>
                    <a:pt x="13412" y="7881"/>
                    <a:pt x="12778" y="7434"/>
                  </a:cubicBezTo>
                  <a:cubicBezTo>
                    <a:pt x="12709" y="6661"/>
                    <a:pt x="12594" y="5894"/>
                    <a:pt x="12440" y="5133"/>
                  </a:cubicBezTo>
                  <a:cubicBezTo>
                    <a:pt x="12963" y="4997"/>
                    <a:pt x="13497" y="4904"/>
                    <a:pt x="14037" y="4852"/>
                  </a:cubicBezTo>
                  <a:close/>
                  <a:moveTo>
                    <a:pt x="4964" y="8908"/>
                  </a:moveTo>
                  <a:lnTo>
                    <a:pt x="4964" y="8908"/>
                  </a:lnTo>
                  <a:cubicBezTo>
                    <a:pt x="4958" y="9158"/>
                    <a:pt x="4955" y="9409"/>
                    <a:pt x="4955" y="9662"/>
                  </a:cubicBezTo>
                  <a:cubicBezTo>
                    <a:pt x="4952" y="9916"/>
                    <a:pt x="4958" y="10167"/>
                    <a:pt x="4964" y="10417"/>
                  </a:cubicBezTo>
                  <a:cubicBezTo>
                    <a:pt x="4644" y="10170"/>
                    <a:pt x="4339" y="9916"/>
                    <a:pt x="4052" y="9662"/>
                  </a:cubicBezTo>
                  <a:cubicBezTo>
                    <a:pt x="4339" y="9409"/>
                    <a:pt x="4644" y="9155"/>
                    <a:pt x="4964" y="8908"/>
                  </a:cubicBezTo>
                  <a:close/>
                  <a:moveTo>
                    <a:pt x="12869" y="8908"/>
                  </a:moveTo>
                  <a:lnTo>
                    <a:pt x="12869" y="8908"/>
                  </a:lnTo>
                  <a:cubicBezTo>
                    <a:pt x="13189" y="9155"/>
                    <a:pt x="13491" y="9409"/>
                    <a:pt x="13781" y="9662"/>
                  </a:cubicBezTo>
                  <a:cubicBezTo>
                    <a:pt x="13494" y="9916"/>
                    <a:pt x="13189" y="10170"/>
                    <a:pt x="12869" y="10417"/>
                  </a:cubicBezTo>
                  <a:cubicBezTo>
                    <a:pt x="12875" y="10167"/>
                    <a:pt x="12878" y="9916"/>
                    <a:pt x="12881" y="9662"/>
                  </a:cubicBezTo>
                  <a:cubicBezTo>
                    <a:pt x="12881" y="9409"/>
                    <a:pt x="12875" y="9158"/>
                    <a:pt x="12869" y="8908"/>
                  </a:cubicBezTo>
                  <a:close/>
                  <a:moveTo>
                    <a:pt x="8917" y="6459"/>
                  </a:moveTo>
                  <a:cubicBezTo>
                    <a:pt x="9391" y="6688"/>
                    <a:pt x="9865" y="6942"/>
                    <a:pt x="10333" y="7211"/>
                  </a:cubicBezTo>
                  <a:cubicBezTo>
                    <a:pt x="10801" y="7482"/>
                    <a:pt x="11260" y="7766"/>
                    <a:pt x="11694" y="8059"/>
                  </a:cubicBezTo>
                  <a:cubicBezTo>
                    <a:pt x="11728" y="8581"/>
                    <a:pt x="11749" y="9119"/>
                    <a:pt x="11749" y="9662"/>
                  </a:cubicBezTo>
                  <a:cubicBezTo>
                    <a:pt x="11749" y="10206"/>
                    <a:pt x="11728" y="10743"/>
                    <a:pt x="11694" y="11266"/>
                  </a:cubicBezTo>
                  <a:cubicBezTo>
                    <a:pt x="11260" y="11559"/>
                    <a:pt x="10804" y="11839"/>
                    <a:pt x="10333" y="12114"/>
                  </a:cubicBezTo>
                  <a:cubicBezTo>
                    <a:pt x="9862" y="12386"/>
                    <a:pt x="9388" y="12637"/>
                    <a:pt x="8920" y="12869"/>
                  </a:cubicBezTo>
                  <a:cubicBezTo>
                    <a:pt x="8445" y="12640"/>
                    <a:pt x="7971" y="12386"/>
                    <a:pt x="7500" y="12114"/>
                  </a:cubicBezTo>
                  <a:cubicBezTo>
                    <a:pt x="7032" y="11842"/>
                    <a:pt x="6576" y="11559"/>
                    <a:pt x="6139" y="11266"/>
                  </a:cubicBezTo>
                  <a:cubicBezTo>
                    <a:pt x="6105" y="10743"/>
                    <a:pt x="6087" y="10206"/>
                    <a:pt x="6087" y="9662"/>
                  </a:cubicBezTo>
                  <a:cubicBezTo>
                    <a:pt x="6087" y="9119"/>
                    <a:pt x="6105" y="8581"/>
                    <a:pt x="6139" y="8059"/>
                  </a:cubicBezTo>
                  <a:cubicBezTo>
                    <a:pt x="6576" y="7766"/>
                    <a:pt x="7029" y="7485"/>
                    <a:pt x="7500" y="7211"/>
                  </a:cubicBezTo>
                  <a:cubicBezTo>
                    <a:pt x="7971" y="6942"/>
                    <a:pt x="8445" y="6688"/>
                    <a:pt x="8917" y="6459"/>
                  </a:cubicBezTo>
                  <a:close/>
                  <a:moveTo>
                    <a:pt x="11546" y="12706"/>
                  </a:moveTo>
                  <a:lnTo>
                    <a:pt x="11546" y="12706"/>
                  </a:lnTo>
                  <a:cubicBezTo>
                    <a:pt x="11492" y="13108"/>
                    <a:pt x="11426" y="13497"/>
                    <a:pt x="11350" y="13872"/>
                  </a:cubicBezTo>
                  <a:cubicBezTo>
                    <a:pt x="10988" y="13751"/>
                    <a:pt x="10619" y="13612"/>
                    <a:pt x="10242" y="13461"/>
                  </a:cubicBezTo>
                  <a:cubicBezTo>
                    <a:pt x="10462" y="13343"/>
                    <a:pt x="10680" y="13219"/>
                    <a:pt x="10897" y="13096"/>
                  </a:cubicBezTo>
                  <a:cubicBezTo>
                    <a:pt x="11115" y="12969"/>
                    <a:pt x="11332" y="12839"/>
                    <a:pt x="11546" y="12706"/>
                  </a:cubicBezTo>
                  <a:close/>
                  <a:moveTo>
                    <a:pt x="6287" y="12706"/>
                  </a:moveTo>
                  <a:cubicBezTo>
                    <a:pt x="6498" y="12836"/>
                    <a:pt x="6715" y="12966"/>
                    <a:pt x="6936" y="13092"/>
                  </a:cubicBezTo>
                  <a:cubicBezTo>
                    <a:pt x="7153" y="13219"/>
                    <a:pt x="7374" y="13343"/>
                    <a:pt x="7597" y="13461"/>
                  </a:cubicBezTo>
                  <a:lnTo>
                    <a:pt x="7594" y="13461"/>
                  </a:lnTo>
                  <a:cubicBezTo>
                    <a:pt x="7217" y="13615"/>
                    <a:pt x="6848" y="13754"/>
                    <a:pt x="6483" y="13875"/>
                  </a:cubicBezTo>
                  <a:cubicBezTo>
                    <a:pt x="6407" y="13497"/>
                    <a:pt x="6341" y="13108"/>
                    <a:pt x="6287" y="12706"/>
                  </a:cubicBezTo>
                  <a:close/>
                  <a:moveTo>
                    <a:pt x="14602" y="10447"/>
                  </a:moveTo>
                  <a:cubicBezTo>
                    <a:pt x="14829" y="10680"/>
                    <a:pt x="15037" y="10912"/>
                    <a:pt x="15227" y="11145"/>
                  </a:cubicBezTo>
                  <a:cubicBezTo>
                    <a:pt x="15867" y="11921"/>
                    <a:pt x="16254" y="12634"/>
                    <a:pt x="16353" y="13186"/>
                  </a:cubicBezTo>
                  <a:cubicBezTo>
                    <a:pt x="16141" y="13099"/>
                    <a:pt x="15923" y="13059"/>
                    <a:pt x="15710" y="13059"/>
                  </a:cubicBezTo>
                  <a:cubicBezTo>
                    <a:pt x="14912" y="13059"/>
                    <a:pt x="14180" y="13627"/>
                    <a:pt x="14034" y="14472"/>
                  </a:cubicBezTo>
                  <a:cubicBezTo>
                    <a:pt x="13497" y="14421"/>
                    <a:pt x="12963" y="14327"/>
                    <a:pt x="12440" y="14192"/>
                  </a:cubicBezTo>
                  <a:cubicBezTo>
                    <a:pt x="12594" y="13431"/>
                    <a:pt x="12709" y="12664"/>
                    <a:pt x="12778" y="11891"/>
                  </a:cubicBezTo>
                  <a:cubicBezTo>
                    <a:pt x="13412" y="11444"/>
                    <a:pt x="14022" y="10964"/>
                    <a:pt x="14602" y="10447"/>
                  </a:cubicBezTo>
                  <a:close/>
                  <a:moveTo>
                    <a:pt x="3231" y="10447"/>
                  </a:moveTo>
                  <a:cubicBezTo>
                    <a:pt x="3811" y="10964"/>
                    <a:pt x="4421" y="11444"/>
                    <a:pt x="5055" y="11891"/>
                  </a:cubicBezTo>
                  <a:cubicBezTo>
                    <a:pt x="5124" y="12664"/>
                    <a:pt x="5239" y="13434"/>
                    <a:pt x="5393" y="14195"/>
                  </a:cubicBezTo>
                  <a:cubicBezTo>
                    <a:pt x="5079" y="14273"/>
                    <a:pt x="4774" y="14336"/>
                    <a:pt x="4478" y="14388"/>
                  </a:cubicBezTo>
                  <a:cubicBezTo>
                    <a:pt x="4028" y="14462"/>
                    <a:pt x="3616" y="14499"/>
                    <a:pt x="3250" y="14499"/>
                  </a:cubicBezTo>
                  <a:cubicBezTo>
                    <a:pt x="2389" y="14499"/>
                    <a:pt x="1786" y="14296"/>
                    <a:pt x="1561" y="13908"/>
                  </a:cubicBezTo>
                  <a:cubicBezTo>
                    <a:pt x="1244" y="13358"/>
                    <a:pt x="1634" y="12326"/>
                    <a:pt x="2606" y="11145"/>
                  </a:cubicBezTo>
                  <a:cubicBezTo>
                    <a:pt x="2796" y="10912"/>
                    <a:pt x="3007" y="10680"/>
                    <a:pt x="3231" y="10447"/>
                  </a:cubicBezTo>
                  <a:close/>
                  <a:moveTo>
                    <a:pt x="15707" y="14191"/>
                  </a:moveTo>
                  <a:cubicBezTo>
                    <a:pt x="15999" y="14191"/>
                    <a:pt x="16278" y="14416"/>
                    <a:pt x="16278" y="14759"/>
                  </a:cubicBezTo>
                  <a:cubicBezTo>
                    <a:pt x="16278" y="15070"/>
                    <a:pt x="16024" y="15324"/>
                    <a:pt x="15710" y="15324"/>
                  </a:cubicBezTo>
                  <a:cubicBezTo>
                    <a:pt x="15206" y="15324"/>
                    <a:pt x="14952" y="14714"/>
                    <a:pt x="15309" y="14358"/>
                  </a:cubicBezTo>
                  <a:cubicBezTo>
                    <a:pt x="15425" y="14242"/>
                    <a:pt x="15568" y="14191"/>
                    <a:pt x="15707" y="14191"/>
                  </a:cubicBezTo>
                  <a:close/>
                  <a:moveTo>
                    <a:pt x="8917" y="14122"/>
                  </a:moveTo>
                  <a:cubicBezTo>
                    <a:pt x="9623" y="14448"/>
                    <a:pt x="10348" y="14735"/>
                    <a:pt x="11084" y="14980"/>
                  </a:cubicBezTo>
                  <a:cubicBezTo>
                    <a:pt x="10994" y="15297"/>
                    <a:pt x="10894" y="15602"/>
                    <a:pt x="10789" y="15892"/>
                  </a:cubicBezTo>
                  <a:cubicBezTo>
                    <a:pt x="10251" y="17332"/>
                    <a:pt x="9551" y="18192"/>
                    <a:pt x="8917" y="18192"/>
                  </a:cubicBezTo>
                  <a:cubicBezTo>
                    <a:pt x="8282" y="18192"/>
                    <a:pt x="7582" y="17332"/>
                    <a:pt x="7044" y="15892"/>
                  </a:cubicBezTo>
                  <a:cubicBezTo>
                    <a:pt x="6939" y="15602"/>
                    <a:pt x="6839" y="15300"/>
                    <a:pt x="6749" y="14980"/>
                  </a:cubicBezTo>
                  <a:cubicBezTo>
                    <a:pt x="7488" y="14735"/>
                    <a:pt x="8213" y="14448"/>
                    <a:pt x="8917" y="14122"/>
                  </a:cubicBezTo>
                  <a:close/>
                  <a:moveTo>
                    <a:pt x="8917" y="0"/>
                  </a:moveTo>
                  <a:cubicBezTo>
                    <a:pt x="7757" y="0"/>
                    <a:pt x="6715" y="1081"/>
                    <a:pt x="5985" y="3041"/>
                  </a:cubicBezTo>
                  <a:cubicBezTo>
                    <a:pt x="5867" y="3355"/>
                    <a:pt x="5758" y="3687"/>
                    <a:pt x="5662" y="4031"/>
                  </a:cubicBezTo>
                  <a:cubicBezTo>
                    <a:pt x="4919" y="3844"/>
                    <a:pt x="4215" y="3732"/>
                    <a:pt x="3587" y="3702"/>
                  </a:cubicBezTo>
                  <a:cubicBezTo>
                    <a:pt x="3271" y="3173"/>
                    <a:pt x="2709" y="2871"/>
                    <a:pt x="2126" y="2871"/>
                  </a:cubicBezTo>
                  <a:cubicBezTo>
                    <a:pt x="1901" y="2871"/>
                    <a:pt x="1673" y="2916"/>
                    <a:pt x="1455" y="3011"/>
                  </a:cubicBezTo>
                  <a:cubicBezTo>
                    <a:pt x="670" y="3346"/>
                    <a:pt x="260" y="4212"/>
                    <a:pt x="492" y="5034"/>
                  </a:cubicBezTo>
                  <a:cubicBezTo>
                    <a:pt x="54" y="6024"/>
                    <a:pt x="489" y="7389"/>
                    <a:pt x="1733" y="8898"/>
                  </a:cubicBezTo>
                  <a:cubicBezTo>
                    <a:pt x="1942" y="9152"/>
                    <a:pt x="2171" y="9409"/>
                    <a:pt x="2416" y="9662"/>
                  </a:cubicBezTo>
                  <a:cubicBezTo>
                    <a:pt x="2171" y="9916"/>
                    <a:pt x="1942" y="10170"/>
                    <a:pt x="1733" y="10426"/>
                  </a:cubicBezTo>
                  <a:cubicBezTo>
                    <a:pt x="411" y="12033"/>
                    <a:pt x="0" y="13470"/>
                    <a:pt x="583" y="14475"/>
                  </a:cubicBezTo>
                  <a:cubicBezTo>
                    <a:pt x="1021" y="15233"/>
                    <a:pt x="1954" y="15629"/>
                    <a:pt x="3270" y="15629"/>
                  </a:cubicBezTo>
                  <a:cubicBezTo>
                    <a:pt x="3738" y="15626"/>
                    <a:pt x="4203" y="15584"/>
                    <a:pt x="4662" y="15505"/>
                  </a:cubicBezTo>
                  <a:cubicBezTo>
                    <a:pt x="4985" y="15451"/>
                    <a:pt x="5320" y="15378"/>
                    <a:pt x="5662" y="15294"/>
                  </a:cubicBezTo>
                  <a:cubicBezTo>
                    <a:pt x="5761" y="15641"/>
                    <a:pt x="5867" y="15970"/>
                    <a:pt x="5985" y="16284"/>
                  </a:cubicBezTo>
                  <a:cubicBezTo>
                    <a:pt x="6715" y="18244"/>
                    <a:pt x="7757" y="19325"/>
                    <a:pt x="8917" y="19325"/>
                  </a:cubicBezTo>
                  <a:cubicBezTo>
                    <a:pt x="10076" y="19325"/>
                    <a:pt x="11118" y="18244"/>
                    <a:pt x="11848" y="16284"/>
                  </a:cubicBezTo>
                  <a:cubicBezTo>
                    <a:pt x="11966" y="15970"/>
                    <a:pt x="12075" y="15638"/>
                    <a:pt x="12171" y="15294"/>
                  </a:cubicBezTo>
                  <a:cubicBezTo>
                    <a:pt x="12917" y="15481"/>
                    <a:pt x="13618" y="15593"/>
                    <a:pt x="14246" y="15623"/>
                  </a:cubicBezTo>
                  <a:cubicBezTo>
                    <a:pt x="14562" y="16152"/>
                    <a:pt x="15123" y="16453"/>
                    <a:pt x="15705" y="16453"/>
                  </a:cubicBezTo>
                  <a:cubicBezTo>
                    <a:pt x="15930" y="16453"/>
                    <a:pt x="16159" y="16408"/>
                    <a:pt x="16378" y="16314"/>
                  </a:cubicBezTo>
                  <a:cubicBezTo>
                    <a:pt x="17163" y="15979"/>
                    <a:pt x="17573" y="15112"/>
                    <a:pt x="17341" y="14291"/>
                  </a:cubicBezTo>
                  <a:cubicBezTo>
                    <a:pt x="17779" y="13301"/>
                    <a:pt x="17344" y="11936"/>
                    <a:pt x="16100" y="10426"/>
                  </a:cubicBezTo>
                  <a:cubicBezTo>
                    <a:pt x="15891" y="10170"/>
                    <a:pt x="15662" y="9916"/>
                    <a:pt x="15417" y="9662"/>
                  </a:cubicBezTo>
                  <a:cubicBezTo>
                    <a:pt x="15662" y="9409"/>
                    <a:pt x="15891" y="9152"/>
                    <a:pt x="16100" y="8898"/>
                  </a:cubicBezTo>
                  <a:cubicBezTo>
                    <a:pt x="17347" y="7389"/>
                    <a:pt x="17779" y="6024"/>
                    <a:pt x="17341" y="5034"/>
                  </a:cubicBezTo>
                  <a:cubicBezTo>
                    <a:pt x="17573" y="4212"/>
                    <a:pt x="17163" y="3346"/>
                    <a:pt x="16378" y="3011"/>
                  </a:cubicBezTo>
                  <a:cubicBezTo>
                    <a:pt x="16159" y="2916"/>
                    <a:pt x="15930" y="2871"/>
                    <a:pt x="15705" y="2871"/>
                  </a:cubicBezTo>
                  <a:cubicBezTo>
                    <a:pt x="15123" y="2871"/>
                    <a:pt x="14562" y="3173"/>
                    <a:pt x="14246" y="3702"/>
                  </a:cubicBezTo>
                  <a:cubicBezTo>
                    <a:pt x="13615" y="3732"/>
                    <a:pt x="12914" y="3844"/>
                    <a:pt x="12171" y="4031"/>
                  </a:cubicBezTo>
                  <a:cubicBezTo>
                    <a:pt x="12075" y="3684"/>
                    <a:pt x="11966" y="3355"/>
                    <a:pt x="11848" y="3041"/>
                  </a:cubicBezTo>
                  <a:cubicBezTo>
                    <a:pt x="11118" y="1081"/>
                    <a:pt x="10076" y="0"/>
                    <a:pt x="89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78" name="Google Shape;6278;p71"/>
            <p:cNvSpPr/>
            <p:nvPr/>
          </p:nvSpPr>
          <p:spPr>
            <a:xfrm>
              <a:off x="2280775" y="4003900"/>
              <a:ext cx="88275" cy="85025"/>
            </a:xfrm>
            <a:custGeom>
              <a:avLst/>
              <a:gdLst/>
              <a:ahLst/>
              <a:cxnLst/>
              <a:rect l="l" t="t" r="r" b="b"/>
              <a:pathLst>
                <a:path w="3531" h="3401" extrusionOk="0">
                  <a:moveTo>
                    <a:pt x="1698" y="1136"/>
                  </a:moveTo>
                  <a:cubicBezTo>
                    <a:pt x="2202" y="1136"/>
                    <a:pt x="2455" y="1743"/>
                    <a:pt x="2099" y="2102"/>
                  </a:cubicBezTo>
                  <a:cubicBezTo>
                    <a:pt x="1983" y="2217"/>
                    <a:pt x="1841" y="2268"/>
                    <a:pt x="1703" y="2268"/>
                  </a:cubicBezTo>
                  <a:cubicBezTo>
                    <a:pt x="1411" y="2268"/>
                    <a:pt x="1133" y="2042"/>
                    <a:pt x="1133" y="1700"/>
                  </a:cubicBezTo>
                  <a:cubicBezTo>
                    <a:pt x="1133" y="1386"/>
                    <a:pt x="1383" y="1136"/>
                    <a:pt x="1698" y="1136"/>
                  </a:cubicBezTo>
                  <a:close/>
                  <a:moveTo>
                    <a:pt x="1698" y="1"/>
                  </a:moveTo>
                  <a:cubicBezTo>
                    <a:pt x="1479" y="1"/>
                    <a:pt x="1258" y="43"/>
                    <a:pt x="1048" y="130"/>
                  </a:cubicBezTo>
                  <a:cubicBezTo>
                    <a:pt x="414" y="393"/>
                    <a:pt x="1" y="1012"/>
                    <a:pt x="1" y="1700"/>
                  </a:cubicBezTo>
                  <a:cubicBezTo>
                    <a:pt x="1" y="2639"/>
                    <a:pt x="758" y="3397"/>
                    <a:pt x="1698" y="3400"/>
                  </a:cubicBezTo>
                  <a:cubicBezTo>
                    <a:pt x="2386" y="3400"/>
                    <a:pt x="3005" y="2984"/>
                    <a:pt x="3268" y="2350"/>
                  </a:cubicBezTo>
                  <a:cubicBezTo>
                    <a:pt x="3530" y="1715"/>
                    <a:pt x="3385" y="985"/>
                    <a:pt x="2899" y="499"/>
                  </a:cubicBezTo>
                  <a:cubicBezTo>
                    <a:pt x="2574" y="173"/>
                    <a:pt x="2140" y="1"/>
                    <a:pt x="16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79" name="Google Shape;6279;p71"/>
          <p:cNvGrpSpPr/>
          <p:nvPr/>
        </p:nvGrpSpPr>
        <p:grpSpPr>
          <a:xfrm>
            <a:off x="8444618" y="4168136"/>
            <a:ext cx="392348" cy="453557"/>
            <a:chOff x="2708700" y="3804850"/>
            <a:chExt cx="417925" cy="483125"/>
          </a:xfrm>
        </p:grpSpPr>
        <p:sp>
          <p:nvSpPr>
            <p:cNvPr id="6280" name="Google Shape;6280;p71"/>
            <p:cNvSpPr/>
            <p:nvPr/>
          </p:nvSpPr>
          <p:spPr>
            <a:xfrm>
              <a:off x="2708700" y="3804850"/>
              <a:ext cx="417925" cy="483125"/>
            </a:xfrm>
            <a:custGeom>
              <a:avLst/>
              <a:gdLst/>
              <a:ahLst/>
              <a:cxnLst/>
              <a:rect l="l" t="t" r="r" b="b"/>
              <a:pathLst>
                <a:path w="16717" h="19325" extrusionOk="0">
                  <a:moveTo>
                    <a:pt x="10354" y="1132"/>
                  </a:moveTo>
                  <a:lnTo>
                    <a:pt x="10354" y="8618"/>
                  </a:lnTo>
                  <a:cubicBezTo>
                    <a:pt x="10354" y="8714"/>
                    <a:pt x="10379" y="8811"/>
                    <a:pt x="10430" y="8898"/>
                  </a:cubicBezTo>
                  <a:lnTo>
                    <a:pt x="12447" y="12425"/>
                  </a:lnTo>
                  <a:lnTo>
                    <a:pt x="4273" y="12425"/>
                  </a:lnTo>
                  <a:lnTo>
                    <a:pt x="6290" y="8898"/>
                  </a:lnTo>
                  <a:cubicBezTo>
                    <a:pt x="6339" y="8811"/>
                    <a:pt x="6366" y="8714"/>
                    <a:pt x="6366" y="8618"/>
                  </a:cubicBezTo>
                  <a:lnTo>
                    <a:pt x="6366" y="1132"/>
                  </a:lnTo>
                  <a:close/>
                  <a:moveTo>
                    <a:pt x="13090" y="13557"/>
                  </a:moveTo>
                  <a:lnTo>
                    <a:pt x="15469" y="17718"/>
                  </a:lnTo>
                  <a:cubicBezTo>
                    <a:pt x="15527" y="17818"/>
                    <a:pt x="15530" y="17939"/>
                    <a:pt x="15472" y="18038"/>
                  </a:cubicBezTo>
                  <a:cubicBezTo>
                    <a:pt x="15418" y="18135"/>
                    <a:pt x="15318" y="18192"/>
                    <a:pt x="15210" y="18192"/>
                  </a:cubicBezTo>
                  <a:lnTo>
                    <a:pt x="1511" y="18192"/>
                  </a:lnTo>
                  <a:cubicBezTo>
                    <a:pt x="1399" y="18192"/>
                    <a:pt x="1299" y="18135"/>
                    <a:pt x="1245" y="18038"/>
                  </a:cubicBezTo>
                  <a:cubicBezTo>
                    <a:pt x="1187" y="17939"/>
                    <a:pt x="1187" y="17818"/>
                    <a:pt x="1245" y="17718"/>
                  </a:cubicBezTo>
                  <a:lnTo>
                    <a:pt x="3624" y="13557"/>
                  </a:lnTo>
                  <a:close/>
                  <a:moveTo>
                    <a:pt x="4717" y="0"/>
                  </a:moveTo>
                  <a:cubicBezTo>
                    <a:pt x="4403" y="0"/>
                    <a:pt x="4153" y="254"/>
                    <a:pt x="4153" y="568"/>
                  </a:cubicBezTo>
                  <a:cubicBezTo>
                    <a:pt x="4153" y="879"/>
                    <a:pt x="4403" y="1132"/>
                    <a:pt x="4717" y="1132"/>
                  </a:cubicBezTo>
                  <a:lnTo>
                    <a:pt x="5234" y="1132"/>
                  </a:lnTo>
                  <a:lnTo>
                    <a:pt x="5234" y="8467"/>
                  </a:lnTo>
                  <a:lnTo>
                    <a:pt x="264" y="17157"/>
                  </a:lnTo>
                  <a:cubicBezTo>
                    <a:pt x="1" y="17604"/>
                    <a:pt x="4" y="18159"/>
                    <a:pt x="267" y="18606"/>
                  </a:cubicBezTo>
                  <a:cubicBezTo>
                    <a:pt x="519" y="19050"/>
                    <a:pt x="992" y="19325"/>
                    <a:pt x="1502" y="19325"/>
                  </a:cubicBezTo>
                  <a:cubicBezTo>
                    <a:pt x="1505" y="19325"/>
                    <a:pt x="1508" y="19325"/>
                    <a:pt x="1511" y="19325"/>
                  </a:cubicBezTo>
                  <a:lnTo>
                    <a:pt x="15207" y="19325"/>
                  </a:lnTo>
                  <a:cubicBezTo>
                    <a:pt x="15210" y="19325"/>
                    <a:pt x="15212" y="19325"/>
                    <a:pt x="15215" y="19325"/>
                  </a:cubicBezTo>
                  <a:cubicBezTo>
                    <a:pt x="15725" y="19325"/>
                    <a:pt x="16198" y="19050"/>
                    <a:pt x="16451" y="18606"/>
                  </a:cubicBezTo>
                  <a:cubicBezTo>
                    <a:pt x="16713" y="18159"/>
                    <a:pt x="16716" y="17607"/>
                    <a:pt x="16454" y="17157"/>
                  </a:cubicBezTo>
                  <a:lnTo>
                    <a:pt x="11487" y="8467"/>
                  </a:lnTo>
                  <a:lnTo>
                    <a:pt x="11487" y="1132"/>
                  </a:lnTo>
                  <a:lnTo>
                    <a:pt x="12003" y="1132"/>
                  </a:lnTo>
                  <a:cubicBezTo>
                    <a:pt x="12314" y="1132"/>
                    <a:pt x="12568" y="879"/>
                    <a:pt x="12568" y="568"/>
                  </a:cubicBezTo>
                  <a:cubicBezTo>
                    <a:pt x="12568" y="254"/>
                    <a:pt x="12314" y="0"/>
                    <a:pt x="120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1" name="Google Shape;6281;p71"/>
            <p:cNvSpPr/>
            <p:nvPr/>
          </p:nvSpPr>
          <p:spPr>
            <a:xfrm>
              <a:off x="2875975" y="4055200"/>
              <a:ext cx="33100" cy="28350"/>
            </a:xfrm>
            <a:custGeom>
              <a:avLst/>
              <a:gdLst/>
              <a:ahLst/>
              <a:cxnLst/>
              <a:rect l="l" t="t" r="r" b="b"/>
              <a:pathLst>
                <a:path w="1324" h="1134" extrusionOk="0">
                  <a:moveTo>
                    <a:pt x="570" y="1"/>
                  </a:moveTo>
                  <a:cubicBezTo>
                    <a:pt x="280" y="1"/>
                    <a:pt x="1" y="225"/>
                    <a:pt x="1" y="566"/>
                  </a:cubicBezTo>
                  <a:cubicBezTo>
                    <a:pt x="1" y="880"/>
                    <a:pt x="255" y="1134"/>
                    <a:pt x="569" y="1134"/>
                  </a:cubicBezTo>
                  <a:cubicBezTo>
                    <a:pt x="1073" y="1134"/>
                    <a:pt x="1323" y="524"/>
                    <a:pt x="967" y="168"/>
                  </a:cubicBezTo>
                  <a:cubicBezTo>
                    <a:pt x="852" y="52"/>
                    <a:pt x="710" y="1"/>
                    <a:pt x="5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2" name="Google Shape;6282;p71"/>
            <p:cNvSpPr/>
            <p:nvPr/>
          </p:nvSpPr>
          <p:spPr>
            <a:xfrm>
              <a:off x="2931025" y="4055200"/>
              <a:ext cx="33075" cy="28350"/>
            </a:xfrm>
            <a:custGeom>
              <a:avLst/>
              <a:gdLst/>
              <a:ahLst/>
              <a:cxnLst/>
              <a:rect l="l" t="t" r="r" b="b"/>
              <a:pathLst>
                <a:path w="1323" h="1134" extrusionOk="0">
                  <a:moveTo>
                    <a:pt x="569" y="1"/>
                  </a:moveTo>
                  <a:cubicBezTo>
                    <a:pt x="279" y="1"/>
                    <a:pt x="0" y="225"/>
                    <a:pt x="0" y="566"/>
                  </a:cubicBezTo>
                  <a:cubicBezTo>
                    <a:pt x="0" y="880"/>
                    <a:pt x="254" y="1134"/>
                    <a:pt x="565" y="1134"/>
                  </a:cubicBezTo>
                  <a:cubicBezTo>
                    <a:pt x="1069" y="1134"/>
                    <a:pt x="1323" y="524"/>
                    <a:pt x="966" y="168"/>
                  </a:cubicBezTo>
                  <a:cubicBezTo>
                    <a:pt x="851" y="52"/>
                    <a:pt x="709" y="1"/>
                    <a:pt x="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3" name="Google Shape;6283;p71"/>
            <p:cNvSpPr/>
            <p:nvPr/>
          </p:nvSpPr>
          <p:spPr>
            <a:xfrm>
              <a:off x="2903525" y="4008200"/>
              <a:ext cx="28350" cy="28325"/>
            </a:xfrm>
            <a:custGeom>
              <a:avLst/>
              <a:gdLst/>
              <a:ahLst/>
              <a:cxnLst/>
              <a:rect l="l" t="t" r="r" b="b"/>
              <a:pathLst>
                <a:path w="1134" h="1133" extrusionOk="0">
                  <a:moveTo>
                    <a:pt x="566" y="1"/>
                  </a:moveTo>
                  <a:cubicBezTo>
                    <a:pt x="252" y="1"/>
                    <a:pt x="1" y="254"/>
                    <a:pt x="1" y="568"/>
                  </a:cubicBezTo>
                  <a:cubicBezTo>
                    <a:pt x="1" y="879"/>
                    <a:pt x="252" y="1133"/>
                    <a:pt x="566" y="1133"/>
                  </a:cubicBezTo>
                  <a:cubicBezTo>
                    <a:pt x="880" y="1133"/>
                    <a:pt x="1133" y="879"/>
                    <a:pt x="1133" y="568"/>
                  </a:cubicBezTo>
                  <a:cubicBezTo>
                    <a:pt x="1133" y="254"/>
                    <a:pt x="880" y="1"/>
                    <a:pt x="5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284" name="Google Shape;6284;p71"/>
          <p:cNvSpPr/>
          <p:nvPr/>
        </p:nvSpPr>
        <p:spPr>
          <a:xfrm>
            <a:off x="8970792" y="4221559"/>
            <a:ext cx="453557" cy="345432"/>
          </a:xfrm>
          <a:custGeom>
            <a:avLst/>
            <a:gdLst/>
            <a:ahLst/>
            <a:cxnLst/>
            <a:rect l="l" t="t" r="r" b="b"/>
            <a:pathLst>
              <a:path w="19325" h="14718" extrusionOk="0">
                <a:moveTo>
                  <a:pt x="14192" y="1133"/>
                </a:moveTo>
                <a:cubicBezTo>
                  <a:pt x="14974" y="1133"/>
                  <a:pt x="15520" y="1906"/>
                  <a:pt x="15261" y="2643"/>
                </a:cubicBezTo>
                <a:cubicBezTo>
                  <a:pt x="15131" y="3008"/>
                  <a:pt x="15403" y="3395"/>
                  <a:pt x="15792" y="3398"/>
                </a:cubicBezTo>
                <a:lnTo>
                  <a:pt x="17628" y="3398"/>
                </a:lnTo>
                <a:cubicBezTo>
                  <a:pt x="17939" y="3398"/>
                  <a:pt x="18193" y="3648"/>
                  <a:pt x="18193" y="3962"/>
                </a:cubicBezTo>
                <a:lnTo>
                  <a:pt x="18193" y="10756"/>
                </a:lnTo>
                <a:cubicBezTo>
                  <a:pt x="18193" y="11070"/>
                  <a:pt x="17939" y="11324"/>
                  <a:pt x="17628" y="11324"/>
                </a:cubicBezTo>
                <a:lnTo>
                  <a:pt x="10230" y="11324"/>
                </a:lnTo>
                <a:lnTo>
                  <a:pt x="10230" y="9624"/>
                </a:lnTo>
                <a:cubicBezTo>
                  <a:pt x="11480" y="9624"/>
                  <a:pt x="12492" y="8609"/>
                  <a:pt x="12492" y="7359"/>
                </a:cubicBezTo>
                <a:cubicBezTo>
                  <a:pt x="12492" y="6109"/>
                  <a:pt x="11480" y="5095"/>
                  <a:pt x="10230" y="5095"/>
                </a:cubicBezTo>
                <a:lnTo>
                  <a:pt x="10230" y="3398"/>
                </a:lnTo>
                <a:lnTo>
                  <a:pt x="12592" y="3398"/>
                </a:lnTo>
                <a:cubicBezTo>
                  <a:pt x="12981" y="3395"/>
                  <a:pt x="13253" y="3008"/>
                  <a:pt x="13123" y="2643"/>
                </a:cubicBezTo>
                <a:cubicBezTo>
                  <a:pt x="12863" y="1906"/>
                  <a:pt x="13410" y="1133"/>
                  <a:pt x="14192" y="1133"/>
                </a:cubicBezTo>
                <a:close/>
                <a:moveTo>
                  <a:pt x="9098" y="3398"/>
                </a:moveTo>
                <a:lnTo>
                  <a:pt x="9098" y="5759"/>
                </a:lnTo>
                <a:cubicBezTo>
                  <a:pt x="9098" y="6082"/>
                  <a:pt x="9363" y="6323"/>
                  <a:pt x="9663" y="6323"/>
                </a:cubicBezTo>
                <a:cubicBezTo>
                  <a:pt x="9726" y="6323"/>
                  <a:pt x="9790" y="6313"/>
                  <a:pt x="9853" y="6290"/>
                </a:cubicBezTo>
                <a:cubicBezTo>
                  <a:pt x="9979" y="6247"/>
                  <a:pt x="10105" y="6226"/>
                  <a:pt x="10229" y="6226"/>
                </a:cubicBezTo>
                <a:cubicBezTo>
                  <a:pt x="10828" y="6226"/>
                  <a:pt x="11357" y="6708"/>
                  <a:pt x="11360" y="7353"/>
                </a:cubicBezTo>
                <a:cubicBezTo>
                  <a:pt x="11362" y="8003"/>
                  <a:pt x="10832" y="8493"/>
                  <a:pt x="10229" y="8493"/>
                </a:cubicBezTo>
                <a:cubicBezTo>
                  <a:pt x="10108" y="8493"/>
                  <a:pt x="9985" y="8473"/>
                  <a:pt x="9862" y="8431"/>
                </a:cubicBezTo>
                <a:cubicBezTo>
                  <a:pt x="9829" y="8419"/>
                  <a:pt x="9796" y="8410"/>
                  <a:pt x="9759" y="8404"/>
                </a:cubicBezTo>
                <a:cubicBezTo>
                  <a:pt x="9726" y="8398"/>
                  <a:pt x="9692" y="8395"/>
                  <a:pt x="9659" y="8395"/>
                </a:cubicBezTo>
                <a:cubicBezTo>
                  <a:pt x="9350" y="8395"/>
                  <a:pt x="9090" y="8653"/>
                  <a:pt x="9098" y="8975"/>
                </a:cubicBezTo>
                <a:lnTo>
                  <a:pt x="9098" y="11324"/>
                </a:lnTo>
                <a:lnTo>
                  <a:pt x="6737" y="11324"/>
                </a:lnTo>
                <a:cubicBezTo>
                  <a:pt x="6344" y="11324"/>
                  <a:pt x="6073" y="11710"/>
                  <a:pt x="6202" y="12079"/>
                </a:cubicBezTo>
                <a:cubicBezTo>
                  <a:pt x="6462" y="12813"/>
                  <a:pt x="5916" y="13585"/>
                  <a:pt x="5134" y="13585"/>
                </a:cubicBezTo>
                <a:cubicBezTo>
                  <a:pt x="4352" y="13585"/>
                  <a:pt x="3805" y="12813"/>
                  <a:pt x="4065" y="12079"/>
                </a:cubicBezTo>
                <a:cubicBezTo>
                  <a:pt x="4195" y="11710"/>
                  <a:pt x="3923" y="11324"/>
                  <a:pt x="3533" y="11324"/>
                </a:cubicBezTo>
                <a:lnTo>
                  <a:pt x="1700" y="11324"/>
                </a:lnTo>
                <a:cubicBezTo>
                  <a:pt x="1386" y="11324"/>
                  <a:pt x="1133" y="11070"/>
                  <a:pt x="1133" y="10756"/>
                </a:cubicBezTo>
                <a:lnTo>
                  <a:pt x="1133" y="3962"/>
                </a:lnTo>
                <a:cubicBezTo>
                  <a:pt x="1133" y="3648"/>
                  <a:pt x="1386" y="3398"/>
                  <a:pt x="1700" y="3398"/>
                </a:cubicBezTo>
                <a:lnTo>
                  <a:pt x="2941" y="3398"/>
                </a:lnTo>
                <a:cubicBezTo>
                  <a:pt x="2570" y="4829"/>
                  <a:pt x="3654" y="6227"/>
                  <a:pt x="5134" y="6227"/>
                </a:cubicBezTo>
                <a:cubicBezTo>
                  <a:pt x="6613" y="6227"/>
                  <a:pt x="7697" y="4829"/>
                  <a:pt x="7326" y="3398"/>
                </a:cubicBezTo>
                <a:close/>
                <a:moveTo>
                  <a:pt x="14192" y="1"/>
                </a:moveTo>
                <a:cubicBezTo>
                  <a:pt x="12942" y="1"/>
                  <a:pt x="11927" y="1012"/>
                  <a:pt x="11927" y="2266"/>
                </a:cubicBezTo>
                <a:lnTo>
                  <a:pt x="6399" y="2266"/>
                </a:lnTo>
                <a:cubicBezTo>
                  <a:pt x="5910" y="2266"/>
                  <a:pt x="5650" y="2842"/>
                  <a:pt x="5979" y="3208"/>
                </a:cubicBezTo>
                <a:cubicBezTo>
                  <a:pt x="6631" y="3938"/>
                  <a:pt x="6112" y="5095"/>
                  <a:pt x="5134" y="5095"/>
                </a:cubicBezTo>
                <a:cubicBezTo>
                  <a:pt x="4155" y="5095"/>
                  <a:pt x="3636" y="3938"/>
                  <a:pt x="4291" y="3208"/>
                </a:cubicBezTo>
                <a:cubicBezTo>
                  <a:pt x="4617" y="2842"/>
                  <a:pt x="4358" y="2266"/>
                  <a:pt x="3868" y="2266"/>
                </a:cubicBezTo>
                <a:lnTo>
                  <a:pt x="1700" y="2266"/>
                </a:lnTo>
                <a:cubicBezTo>
                  <a:pt x="761" y="2266"/>
                  <a:pt x="1" y="3023"/>
                  <a:pt x="1" y="3962"/>
                </a:cubicBezTo>
                <a:lnTo>
                  <a:pt x="1" y="10756"/>
                </a:lnTo>
                <a:cubicBezTo>
                  <a:pt x="1" y="11695"/>
                  <a:pt x="761" y="12453"/>
                  <a:pt x="1700" y="12456"/>
                </a:cubicBezTo>
                <a:lnTo>
                  <a:pt x="2869" y="12456"/>
                </a:lnTo>
                <a:cubicBezTo>
                  <a:pt x="2869" y="13706"/>
                  <a:pt x="3884" y="14718"/>
                  <a:pt x="5134" y="14718"/>
                </a:cubicBezTo>
                <a:cubicBezTo>
                  <a:pt x="6384" y="14718"/>
                  <a:pt x="7398" y="13706"/>
                  <a:pt x="7398" y="12456"/>
                </a:cubicBezTo>
                <a:lnTo>
                  <a:pt x="17628" y="12456"/>
                </a:lnTo>
                <a:cubicBezTo>
                  <a:pt x="18564" y="12453"/>
                  <a:pt x="19325" y="11695"/>
                  <a:pt x="19325" y="10756"/>
                </a:cubicBezTo>
                <a:lnTo>
                  <a:pt x="19325" y="3962"/>
                </a:lnTo>
                <a:cubicBezTo>
                  <a:pt x="19325" y="3023"/>
                  <a:pt x="18564" y="2266"/>
                  <a:pt x="17628" y="2266"/>
                </a:cubicBezTo>
                <a:lnTo>
                  <a:pt x="16457" y="2266"/>
                </a:lnTo>
                <a:cubicBezTo>
                  <a:pt x="16457" y="1012"/>
                  <a:pt x="15442" y="1"/>
                  <a:pt x="141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5" name="Google Shape;6285;p71"/>
          <p:cNvSpPr/>
          <p:nvPr/>
        </p:nvSpPr>
        <p:spPr>
          <a:xfrm>
            <a:off x="9539742" y="4167494"/>
            <a:ext cx="418493" cy="453581"/>
          </a:xfrm>
          <a:custGeom>
            <a:avLst/>
            <a:gdLst/>
            <a:ahLst/>
            <a:cxnLst/>
            <a:rect l="l" t="t" r="r" b="b"/>
            <a:pathLst>
              <a:path w="17831" h="19326" extrusionOk="0">
                <a:moveTo>
                  <a:pt x="7090" y="1417"/>
                </a:moveTo>
                <a:lnTo>
                  <a:pt x="7090" y="1417"/>
                </a:lnTo>
                <a:cubicBezTo>
                  <a:pt x="7570" y="1746"/>
                  <a:pt x="8228" y="2317"/>
                  <a:pt x="8533" y="3111"/>
                </a:cubicBezTo>
                <a:cubicBezTo>
                  <a:pt x="8835" y="3905"/>
                  <a:pt x="8727" y="4766"/>
                  <a:pt x="8591" y="5337"/>
                </a:cubicBezTo>
                <a:cubicBezTo>
                  <a:pt x="8111" y="5004"/>
                  <a:pt x="7452" y="4437"/>
                  <a:pt x="7148" y="3643"/>
                </a:cubicBezTo>
                <a:cubicBezTo>
                  <a:pt x="6843" y="2848"/>
                  <a:pt x="6954" y="1985"/>
                  <a:pt x="7090" y="1417"/>
                </a:cubicBezTo>
                <a:close/>
                <a:moveTo>
                  <a:pt x="12577" y="5533"/>
                </a:moveTo>
                <a:cubicBezTo>
                  <a:pt x="12772" y="5533"/>
                  <a:pt x="12967" y="5549"/>
                  <a:pt x="13162" y="5581"/>
                </a:cubicBezTo>
                <a:cubicBezTo>
                  <a:pt x="15215" y="5913"/>
                  <a:pt x="16623" y="7906"/>
                  <a:pt x="16299" y="10023"/>
                </a:cubicBezTo>
                <a:cubicBezTo>
                  <a:pt x="15711" y="13866"/>
                  <a:pt x="14596" y="16484"/>
                  <a:pt x="13078" y="17592"/>
                </a:cubicBezTo>
                <a:cubicBezTo>
                  <a:pt x="12526" y="17996"/>
                  <a:pt x="11929" y="18194"/>
                  <a:pt x="11264" y="18194"/>
                </a:cubicBezTo>
                <a:cubicBezTo>
                  <a:pt x="11073" y="18194"/>
                  <a:pt x="10877" y="18177"/>
                  <a:pt x="10674" y="18145"/>
                </a:cubicBezTo>
                <a:cubicBezTo>
                  <a:pt x="10119" y="18054"/>
                  <a:pt x="9681" y="17828"/>
                  <a:pt x="9334" y="17454"/>
                </a:cubicBezTo>
                <a:cubicBezTo>
                  <a:pt x="9222" y="17333"/>
                  <a:pt x="9070" y="17272"/>
                  <a:pt x="8918" y="17272"/>
                </a:cubicBezTo>
                <a:cubicBezTo>
                  <a:pt x="8767" y="17272"/>
                  <a:pt x="8615" y="17333"/>
                  <a:pt x="8503" y="17454"/>
                </a:cubicBezTo>
                <a:cubicBezTo>
                  <a:pt x="8156" y="17831"/>
                  <a:pt x="7715" y="18057"/>
                  <a:pt x="7160" y="18145"/>
                </a:cubicBezTo>
                <a:cubicBezTo>
                  <a:pt x="6958" y="18177"/>
                  <a:pt x="6762" y="18194"/>
                  <a:pt x="6571" y="18194"/>
                </a:cubicBezTo>
                <a:cubicBezTo>
                  <a:pt x="5907" y="18194"/>
                  <a:pt x="5310" y="17996"/>
                  <a:pt x="4756" y="17592"/>
                </a:cubicBezTo>
                <a:cubicBezTo>
                  <a:pt x="3237" y="16484"/>
                  <a:pt x="2126" y="13869"/>
                  <a:pt x="1537" y="10023"/>
                </a:cubicBezTo>
                <a:cubicBezTo>
                  <a:pt x="1214" y="7906"/>
                  <a:pt x="2621" y="5913"/>
                  <a:pt x="4675" y="5581"/>
                </a:cubicBezTo>
                <a:cubicBezTo>
                  <a:pt x="4869" y="5549"/>
                  <a:pt x="5065" y="5533"/>
                  <a:pt x="5260" y="5533"/>
                </a:cubicBezTo>
                <a:cubicBezTo>
                  <a:pt x="6062" y="5533"/>
                  <a:pt x="6848" y="5799"/>
                  <a:pt x="7492" y="6300"/>
                </a:cubicBezTo>
                <a:cubicBezTo>
                  <a:pt x="7913" y="6620"/>
                  <a:pt x="8416" y="6780"/>
                  <a:pt x="8918" y="6780"/>
                </a:cubicBezTo>
                <a:cubicBezTo>
                  <a:pt x="9421" y="6780"/>
                  <a:pt x="9924" y="6620"/>
                  <a:pt x="10345" y="6300"/>
                </a:cubicBezTo>
                <a:cubicBezTo>
                  <a:pt x="10989" y="5799"/>
                  <a:pt x="11775" y="5533"/>
                  <a:pt x="12577" y="5533"/>
                </a:cubicBezTo>
                <a:close/>
                <a:moveTo>
                  <a:pt x="6762" y="0"/>
                </a:moveTo>
                <a:cubicBezTo>
                  <a:pt x="6543" y="0"/>
                  <a:pt x="6335" y="128"/>
                  <a:pt x="6242" y="345"/>
                </a:cubicBezTo>
                <a:cubicBezTo>
                  <a:pt x="6208" y="424"/>
                  <a:pt x="5420" y="2302"/>
                  <a:pt x="6091" y="4047"/>
                </a:cubicBezTo>
                <a:cubicBezTo>
                  <a:pt x="6154" y="4207"/>
                  <a:pt x="6227" y="4364"/>
                  <a:pt x="6308" y="4518"/>
                </a:cubicBezTo>
                <a:cubicBezTo>
                  <a:pt x="5965" y="4440"/>
                  <a:pt x="5614" y="4401"/>
                  <a:pt x="5262" y="4401"/>
                </a:cubicBezTo>
                <a:cubicBezTo>
                  <a:pt x="5004" y="4401"/>
                  <a:pt x="4746" y="4422"/>
                  <a:pt x="4490" y="4464"/>
                </a:cubicBezTo>
                <a:cubicBezTo>
                  <a:pt x="1827" y="4893"/>
                  <a:pt x="0" y="7462"/>
                  <a:pt x="417" y="10192"/>
                </a:cubicBezTo>
                <a:cubicBezTo>
                  <a:pt x="713" y="12139"/>
                  <a:pt x="1148" y="13812"/>
                  <a:pt x="1706" y="15162"/>
                </a:cubicBezTo>
                <a:cubicBezTo>
                  <a:pt x="2341" y="16693"/>
                  <a:pt x="3141" y="17819"/>
                  <a:pt x="4086" y="18507"/>
                </a:cubicBezTo>
                <a:cubicBezTo>
                  <a:pt x="4833" y="19051"/>
                  <a:pt x="5666" y="19325"/>
                  <a:pt x="6571" y="19325"/>
                </a:cubicBezTo>
                <a:cubicBezTo>
                  <a:pt x="6821" y="19325"/>
                  <a:pt x="7077" y="19304"/>
                  <a:pt x="7338" y="19262"/>
                </a:cubicBezTo>
                <a:cubicBezTo>
                  <a:pt x="7942" y="19163"/>
                  <a:pt x="8470" y="18942"/>
                  <a:pt x="8914" y="18601"/>
                </a:cubicBezTo>
                <a:cubicBezTo>
                  <a:pt x="9361" y="18942"/>
                  <a:pt x="9889" y="19163"/>
                  <a:pt x="10493" y="19262"/>
                </a:cubicBezTo>
                <a:cubicBezTo>
                  <a:pt x="10747" y="19301"/>
                  <a:pt x="11000" y="19323"/>
                  <a:pt x="11260" y="19326"/>
                </a:cubicBezTo>
                <a:cubicBezTo>
                  <a:pt x="12163" y="19326"/>
                  <a:pt x="12996" y="19051"/>
                  <a:pt x="13742" y="18504"/>
                </a:cubicBezTo>
                <a:cubicBezTo>
                  <a:pt x="14687" y="17816"/>
                  <a:pt x="15490" y="16693"/>
                  <a:pt x="16124" y="15162"/>
                </a:cubicBezTo>
                <a:cubicBezTo>
                  <a:pt x="16686" y="13812"/>
                  <a:pt x="17121" y="12139"/>
                  <a:pt x="17417" y="10195"/>
                </a:cubicBezTo>
                <a:cubicBezTo>
                  <a:pt x="17830" y="7465"/>
                  <a:pt x="16007" y="4893"/>
                  <a:pt x="13343" y="4464"/>
                </a:cubicBezTo>
                <a:cubicBezTo>
                  <a:pt x="13086" y="4421"/>
                  <a:pt x="12827" y="4400"/>
                  <a:pt x="12570" y="4400"/>
                </a:cubicBezTo>
                <a:cubicBezTo>
                  <a:pt x="11637" y="4400"/>
                  <a:pt x="10720" y="4675"/>
                  <a:pt x="9934" y="5201"/>
                </a:cubicBezTo>
                <a:cubicBezTo>
                  <a:pt x="10233" y="4524"/>
                  <a:pt x="10710" y="3917"/>
                  <a:pt x="11360" y="3380"/>
                </a:cubicBezTo>
                <a:cubicBezTo>
                  <a:pt x="11807" y="3005"/>
                  <a:pt x="12305" y="2698"/>
                  <a:pt x="12842" y="2465"/>
                </a:cubicBezTo>
                <a:cubicBezTo>
                  <a:pt x="13132" y="2350"/>
                  <a:pt x="13277" y="2024"/>
                  <a:pt x="13165" y="1731"/>
                </a:cubicBezTo>
                <a:cubicBezTo>
                  <a:pt x="13080" y="1507"/>
                  <a:pt x="12866" y="1369"/>
                  <a:pt x="12640" y="1369"/>
                </a:cubicBezTo>
                <a:cubicBezTo>
                  <a:pt x="12572" y="1369"/>
                  <a:pt x="12502" y="1382"/>
                  <a:pt x="12435" y="1408"/>
                </a:cubicBezTo>
                <a:cubicBezTo>
                  <a:pt x="12398" y="1420"/>
                  <a:pt x="11565" y="1746"/>
                  <a:pt x="10668" y="2480"/>
                </a:cubicBezTo>
                <a:cubicBezTo>
                  <a:pt x="10345" y="2743"/>
                  <a:pt x="10046" y="3039"/>
                  <a:pt x="9777" y="3356"/>
                </a:cubicBezTo>
                <a:cubicBezTo>
                  <a:pt x="9732" y="3135"/>
                  <a:pt x="9669" y="2915"/>
                  <a:pt x="9590" y="2704"/>
                </a:cubicBezTo>
                <a:cubicBezTo>
                  <a:pt x="8920" y="958"/>
                  <a:pt x="7078" y="89"/>
                  <a:pt x="7000" y="52"/>
                </a:cubicBezTo>
                <a:cubicBezTo>
                  <a:pt x="6922" y="17"/>
                  <a:pt x="6842" y="0"/>
                  <a:pt x="67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286" name="Google Shape;6286;p71"/>
          <p:cNvGrpSpPr/>
          <p:nvPr/>
        </p:nvGrpSpPr>
        <p:grpSpPr>
          <a:xfrm>
            <a:off x="10093785" y="4169837"/>
            <a:ext cx="441377" cy="450155"/>
            <a:chOff x="4467450" y="3808475"/>
            <a:chExt cx="470150" cy="479500"/>
          </a:xfrm>
        </p:grpSpPr>
        <p:sp>
          <p:nvSpPr>
            <p:cNvPr id="6287" name="Google Shape;6287;p71"/>
            <p:cNvSpPr/>
            <p:nvPr/>
          </p:nvSpPr>
          <p:spPr>
            <a:xfrm>
              <a:off x="4729325" y="3808475"/>
              <a:ext cx="56625" cy="138200"/>
            </a:xfrm>
            <a:custGeom>
              <a:avLst/>
              <a:gdLst/>
              <a:ahLst/>
              <a:cxnLst/>
              <a:rect l="l" t="t" r="r" b="b"/>
              <a:pathLst>
                <a:path w="2265"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7" y="5341"/>
                  </a:cubicBezTo>
                  <a:cubicBezTo>
                    <a:pt x="1782" y="5103"/>
                    <a:pt x="1755" y="4735"/>
                    <a:pt x="1510" y="4529"/>
                  </a:cubicBezTo>
                  <a:cubicBezTo>
                    <a:pt x="1432" y="4457"/>
                    <a:pt x="1133" y="4128"/>
                    <a:pt x="1133" y="3820"/>
                  </a:cubicBezTo>
                  <a:cubicBezTo>
                    <a:pt x="1133" y="3521"/>
                    <a:pt x="1413"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8" name="Google Shape;6288;p71"/>
            <p:cNvSpPr/>
            <p:nvPr/>
          </p:nvSpPr>
          <p:spPr>
            <a:xfrm>
              <a:off x="4644400"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0" y="2965"/>
                    <a:pt x="0" y="3820"/>
                  </a:cubicBezTo>
                  <a:cubicBezTo>
                    <a:pt x="0" y="4671"/>
                    <a:pt x="677" y="5302"/>
                    <a:pt x="755" y="5372"/>
                  </a:cubicBezTo>
                  <a:cubicBezTo>
                    <a:pt x="866" y="5476"/>
                    <a:pt x="1007" y="5528"/>
                    <a:pt x="1147" y="5528"/>
                  </a:cubicBezTo>
                  <a:cubicBezTo>
                    <a:pt x="1302"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89" name="Google Shape;6289;p71"/>
            <p:cNvSpPr/>
            <p:nvPr/>
          </p:nvSpPr>
          <p:spPr>
            <a:xfrm>
              <a:off x="4559475" y="3808475"/>
              <a:ext cx="56650" cy="138200"/>
            </a:xfrm>
            <a:custGeom>
              <a:avLst/>
              <a:gdLst/>
              <a:ahLst/>
              <a:cxnLst/>
              <a:rect l="l" t="t" r="r" b="b"/>
              <a:pathLst>
                <a:path w="2266" h="5528" extrusionOk="0">
                  <a:moveTo>
                    <a:pt x="1510" y="0"/>
                  </a:moveTo>
                  <a:lnTo>
                    <a:pt x="1133" y="423"/>
                  </a:lnTo>
                  <a:lnTo>
                    <a:pt x="752" y="839"/>
                  </a:lnTo>
                  <a:cubicBezTo>
                    <a:pt x="852" y="930"/>
                    <a:pt x="1133" y="1256"/>
                    <a:pt x="1133" y="1555"/>
                  </a:cubicBezTo>
                  <a:cubicBezTo>
                    <a:pt x="1133" y="1851"/>
                    <a:pt x="852" y="2177"/>
                    <a:pt x="755" y="2265"/>
                  </a:cubicBezTo>
                  <a:cubicBezTo>
                    <a:pt x="680" y="2334"/>
                    <a:pt x="1" y="2965"/>
                    <a:pt x="1" y="3820"/>
                  </a:cubicBezTo>
                  <a:cubicBezTo>
                    <a:pt x="1" y="4671"/>
                    <a:pt x="677" y="5302"/>
                    <a:pt x="755" y="5372"/>
                  </a:cubicBezTo>
                  <a:cubicBezTo>
                    <a:pt x="866" y="5476"/>
                    <a:pt x="1007" y="5528"/>
                    <a:pt x="1148" y="5528"/>
                  </a:cubicBezTo>
                  <a:cubicBezTo>
                    <a:pt x="1303" y="5528"/>
                    <a:pt x="1457" y="5465"/>
                    <a:pt x="1568" y="5341"/>
                  </a:cubicBezTo>
                  <a:cubicBezTo>
                    <a:pt x="1782" y="5103"/>
                    <a:pt x="1755" y="4735"/>
                    <a:pt x="1510" y="4529"/>
                  </a:cubicBezTo>
                  <a:cubicBezTo>
                    <a:pt x="1432" y="4457"/>
                    <a:pt x="1133" y="4128"/>
                    <a:pt x="1133" y="3820"/>
                  </a:cubicBezTo>
                  <a:cubicBezTo>
                    <a:pt x="1133" y="3521"/>
                    <a:pt x="1414" y="3195"/>
                    <a:pt x="1510" y="3107"/>
                  </a:cubicBezTo>
                  <a:cubicBezTo>
                    <a:pt x="1586" y="3038"/>
                    <a:pt x="2265" y="2407"/>
                    <a:pt x="2265" y="1555"/>
                  </a:cubicBezTo>
                  <a:cubicBezTo>
                    <a:pt x="2265" y="701"/>
                    <a:pt x="1589" y="70"/>
                    <a:pt x="15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0" name="Google Shape;6290;p71"/>
            <p:cNvSpPr/>
            <p:nvPr/>
          </p:nvSpPr>
          <p:spPr>
            <a:xfrm>
              <a:off x="4467450" y="3975675"/>
              <a:ext cx="470150" cy="312300"/>
            </a:xfrm>
            <a:custGeom>
              <a:avLst/>
              <a:gdLst/>
              <a:ahLst/>
              <a:cxnLst/>
              <a:rect l="l" t="t" r="r" b="b"/>
              <a:pathLst>
                <a:path w="18806" h="12492" extrusionOk="0">
                  <a:moveTo>
                    <a:pt x="16340" y="2263"/>
                  </a:moveTo>
                  <a:cubicBezTo>
                    <a:pt x="16709" y="2263"/>
                    <a:pt x="17020" y="2371"/>
                    <a:pt x="17233" y="2582"/>
                  </a:cubicBezTo>
                  <a:cubicBezTo>
                    <a:pt x="17622" y="2974"/>
                    <a:pt x="17571" y="3581"/>
                    <a:pt x="17505" y="3907"/>
                  </a:cubicBezTo>
                  <a:cubicBezTo>
                    <a:pt x="17375" y="4553"/>
                    <a:pt x="16994" y="5221"/>
                    <a:pt x="16430" y="5785"/>
                  </a:cubicBezTo>
                  <a:cubicBezTo>
                    <a:pt x="15793" y="6426"/>
                    <a:pt x="15014" y="6824"/>
                    <a:pt x="14337" y="6897"/>
                  </a:cubicBezTo>
                  <a:cubicBezTo>
                    <a:pt x="15056" y="5562"/>
                    <a:pt x="15539" y="4007"/>
                    <a:pt x="15744" y="2346"/>
                  </a:cubicBezTo>
                  <a:cubicBezTo>
                    <a:pt x="15954" y="2291"/>
                    <a:pt x="16154" y="2263"/>
                    <a:pt x="16340" y="2263"/>
                  </a:cubicBezTo>
                  <a:close/>
                  <a:moveTo>
                    <a:pt x="14709" y="1132"/>
                  </a:moveTo>
                  <a:cubicBezTo>
                    <a:pt x="14618" y="3340"/>
                    <a:pt x="13999" y="5390"/>
                    <a:pt x="12978" y="6987"/>
                  </a:cubicBezTo>
                  <a:cubicBezTo>
                    <a:pt x="12948" y="7023"/>
                    <a:pt x="12921" y="7066"/>
                    <a:pt x="12900" y="7108"/>
                  </a:cubicBezTo>
                  <a:cubicBezTo>
                    <a:pt x="12390" y="7881"/>
                    <a:pt x="11786" y="8542"/>
                    <a:pt x="11103" y="9059"/>
                  </a:cubicBezTo>
                  <a:lnTo>
                    <a:pt x="4750" y="9059"/>
                  </a:lnTo>
                  <a:cubicBezTo>
                    <a:pt x="2634" y="7461"/>
                    <a:pt x="1281" y="4478"/>
                    <a:pt x="1145" y="1132"/>
                  </a:cubicBezTo>
                  <a:close/>
                  <a:moveTo>
                    <a:pt x="13247" y="10191"/>
                  </a:moveTo>
                  <a:lnTo>
                    <a:pt x="12827" y="11048"/>
                  </a:lnTo>
                  <a:cubicBezTo>
                    <a:pt x="12731" y="11239"/>
                    <a:pt x="12538" y="11359"/>
                    <a:pt x="12326" y="11359"/>
                  </a:cubicBezTo>
                  <a:lnTo>
                    <a:pt x="3531" y="11359"/>
                  </a:lnTo>
                  <a:cubicBezTo>
                    <a:pt x="3316" y="11359"/>
                    <a:pt x="3120" y="11239"/>
                    <a:pt x="3026" y="11048"/>
                  </a:cubicBezTo>
                  <a:lnTo>
                    <a:pt x="2607" y="10191"/>
                  </a:lnTo>
                  <a:close/>
                  <a:moveTo>
                    <a:pt x="569" y="0"/>
                  </a:moveTo>
                  <a:cubicBezTo>
                    <a:pt x="255" y="0"/>
                    <a:pt x="1" y="254"/>
                    <a:pt x="1" y="565"/>
                  </a:cubicBezTo>
                  <a:cubicBezTo>
                    <a:pt x="1" y="3931"/>
                    <a:pt x="1145" y="7045"/>
                    <a:pt x="3060" y="9059"/>
                  </a:cubicBezTo>
                  <a:lnTo>
                    <a:pt x="569" y="9059"/>
                  </a:lnTo>
                  <a:cubicBezTo>
                    <a:pt x="255" y="9059"/>
                    <a:pt x="1" y="9312"/>
                    <a:pt x="1" y="9623"/>
                  </a:cubicBezTo>
                  <a:cubicBezTo>
                    <a:pt x="1" y="9937"/>
                    <a:pt x="255" y="10191"/>
                    <a:pt x="569" y="10191"/>
                  </a:cubicBezTo>
                  <a:lnTo>
                    <a:pt x="1348" y="10191"/>
                  </a:lnTo>
                  <a:lnTo>
                    <a:pt x="2012" y="11550"/>
                  </a:lnTo>
                  <a:lnTo>
                    <a:pt x="2012" y="11556"/>
                  </a:lnTo>
                  <a:cubicBezTo>
                    <a:pt x="2298" y="12127"/>
                    <a:pt x="2883" y="12492"/>
                    <a:pt x="3523" y="12492"/>
                  </a:cubicBezTo>
                  <a:cubicBezTo>
                    <a:pt x="3525" y="12492"/>
                    <a:pt x="3528" y="12492"/>
                    <a:pt x="3531" y="12492"/>
                  </a:cubicBezTo>
                  <a:lnTo>
                    <a:pt x="12326" y="12492"/>
                  </a:lnTo>
                  <a:cubicBezTo>
                    <a:pt x="12329" y="12492"/>
                    <a:pt x="12332" y="12492"/>
                    <a:pt x="12334" y="12492"/>
                  </a:cubicBezTo>
                  <a:cubicBezTo>
                    <a:pt x="12974" y="12492"/>
                    <a:pt x="13559" y="12127"/>
                    <a:pt x="13845" y="11553"/>
                  </a:cubicBezTo>
                  <a:lnTo>
                    <a:pt x="13845" y="11550"/>
                  </a:lnTo>
                  <a:lnTo>
                    <a:pt x="14509" y="10191"/>
                  </a:lnTo>
                  <a:lnTo>
                    <a:pt x="15288" y="10191"/>
                  </a:lnTo>
                  <a:cubicBezTo>
                    <a:pt x="15602" y="10191"/>
                    <a:pt x="15856" y="9937"/>
                    <a:pt x="15856" y="9623"/>
                  </a:cubicBezTo>
                  <a:cubicBezTo>
                    <a:pt x="15856" y="9309"/>
                    <a:pt x="15602" y="9059"/>
                    <a:pt x="15288" y="9059"/>
                  </a:cubicBezTo>
                  <a:lnTo>
                    <a:pt x="12797" y="9059"/>
                  </a:lnTo>
                  <a:cubicBezTo>
                    <a:pt x="13111" y="8726"/>
                    <a:pt x="13401" y="8373"/>
                    <a:pt x="13664" y="8002"/>
                  </a:cubicBezTo>
                  <a:cubicBezTo>
                    <a:pt x="13812" y="8026"/>
                    <a:pt x="13963" y="8038"/>
                    <a:pt x="14114" y="8038"/>
                  </a:cubicBezTo>
                  <a:cubicBezTo>
                    <a:pt x="15143" y="8038"/>
                    <a:pt x="16303" y="7516"/>
                    <a:pt x="17233" y="6589"/>
                  </a:cubicBezTo>
                  <a:cubicBezTo>
                    <a:pt x="17951" y="5867"/>
                    <a:pt x="18444" y="4994"/>
                    <a:pt x="18619" y="4131"/>
                  </a:cubicBezTo>
                  <a:cubicBezTo>
                    <a:pt x="18806" y="3183"/>
                    <a:pt x="18601" y="2349"/>
                    <a:pt x="18033" y="1785"/>
                  </a:cubicBezTo>
                  <a:cubicBezTo>
                    <a:pt x="17604" y="1353"/>
                    <a:pt x="17013" y="1132"/>
                    <a:pt x="16345" y="1132"/>
                  </a:cubicBezTo>
                  <a:cubicBezTo>
                    <a:pt x="16181" y="1132"/>
                    <a:pt x="16013" y="1145"/>
                    <a:pt x="15841" y="1172"/>
                  </a:cubicBezTo>
                  <a:cubicBezTo>
                    <a:pt x="15850" y="972"/>
                    <a:pt x="15853" y="770"/>
                    <a:pt x="15853" y="565"/>
                  </a:cubicBezTo>
                  <a:cubicBezTo>
                    <a:pt x="15853" y="254"/>
                    <a:pt x="15599" y="0"/>
                    <a:pt x="152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91" name="Google Shape;6291;p71"/>
          <p:cNvGrpSpPr/>
          <p:nvPr/>
        </p:nvGrpSpPr>
        <p:grpSpPr>
          <a:xfrm>
            <a:off x="10654247" y="4168136"/>
            <a:ext cx="453581" cy="453557"/>
            <a:chOff x="5053900" y="3804850"/>
            <a:chExt cx="483150" cy="483125"/>
          </a:xfrm>
        </p:grpSpPr>
        <p:sp>
          <p:nvSpPr>
            <p:cNvPr id="6292" name="Google Shape;6292;p71"/>
            <p:cNvSpPr/>
            <p:nvPr/>
          </p:nvSpPr>
          <p:spPr>
            <a:xfrm>
              <a:off x="5053900" y="3804850"/>
              <a:ext cx="483150" cy="483125"/>
            </a:xfrm>
            <a:custGeom>
              <a:avLst/>
              <a:gdLst/>
              <a:ahLst/>
              <a:cxnLst/>
              <a:rect l="l" t="t" r="r" b="b"/>
              <a:pathLst>
                <a:path w="19326" h="19325" extrusionOk="0">
                  <a:moveTo>
                    <a:pt x="9663" y="1132"/>
                  </a:moveTo>
                  <a:cubicBezTo>
                    <a:pt x="14367" y="1132"/>
                    <a:pt x="18193" y="4958"/>
                    <a:pt x="18193" y="9662"/>
                  </a:cubicBezTo>
                  <a:cubicBezTo>
                    <a:pt x="18193" y="14367"/>
                    <a:pt x="14367" y="18192"/>
                    <a:pt x="9663" y="18192"/>
                  </a:cubicBezTo>
                  <a:cubicBezTo>
                    <a:pt x="4959" y="18192"/>
                    <a:pt x="1133" y="14367"/>
                    <a:pt x="1133" y="9662"/>
                  </a:cubicBezTo>
                  <a:cubicBezTo>
                    <a:pt x="1133" y="4958"/>
                    <a:pt x="4959" y="1132"/>
                    <a:pt x="9663" y="1132"/>
                  </a:cubicBezTo>
                  <a:close/>
                  <a:moveTo>
                    <a:pt x="9663" y="0"/>
                  </a:moveTo>
                  <a:cubicBezTo>
                    <a:pt x="7094" y="0"/>
                    <a:pt x="4669" y="1009"/>
                    <a:pt x="2839" y="2838"/>
                  </a:cubicBezTo>
                  <a:cubicBezTo>
                    <a:pt x="1009" y="4668"/>
                    <a:pt x="1" y="7093"/>
                    <a:pt x="1" y="9662"/>
                  </a:cubicBezTo>
                  <a:cubicBezTo>
                    <a:pt x="1" y="12232"/>
                    <a:pt x="1009" y="14657"/>
                    <a:pt x="2839" y="16486"/>
                  </a:cubicBezTo>
                  <a:cubicBezTo>
                    <a:pt x="4669" y="18316"/>
                    <a:pt x="7094" y="19325"/>
                    <a:pt x="9663" y="19325"/>
                  </a:cubicBezTo>
                  <a:cubicBezTo>
                    <a:pt x="12233" y="19325"/>
                    <a:pt x="14657" y="18316"/>
                    <a:pt x="16487" y="16486"/>
                  </a:cubicBezTo>
                  <a:cubicBezTo>
                    <a:pt x="18317" y="14657"/>
                    <a:pt x="19325" y="12232"/>
                    <a:pt x="19325" y="9662"/>
                  </a:cubicBezTo>
                  <a:cubicBezTo>
                    <a:pt x="19325" y="7093"/>
                    <a:pt x="18317" y="4668"/>
                    <a:pt x="16487" y="2838"/>
                  </a:cubicBezTo>
                  <a:cubicBezTo>
                    <a:pt x="14657" y="1009"/>
                    <a:pt x="12233" y="0"/>
                    <a:pt x="96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3" name="Google Shape;6293;p71"/>
            <p:cNvSpPr/>
            <p:nvPr/>
          </p:nvSpPr>
          <p:spPr>
            <a:xfrm>
              <a:off x="516812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4" name="Google Shape;6294;p71"/>
            <p:cNvSpPr/>
            <p:nvPr/>
          </p:nvSpPr>
          <p:spPr>
            <a:xfrm>
              <a:off x="5334575" y="3947350"/>
              <a:ext cx="88325" cy="84950"/>
            </a:xfrm>
            <a:custGeom>
              <a:avLst/>
              <a:gdLst/>
              <a:ahLst/>
              <a:cxnLst/>
              <a:rect l="l" t="t" r="r" b="b"/>
              <a:pathLst>
                <a:path w="3533" h="3398" extrusionOk="0">
                  <a:moveTo>
                    <a:pt x="1829" y="1130"/>
                  </a:moveTo>
                  <a:cubicBezTo>
                    <a:pt x="2121" y="1130"/>
                    <a:pt x="2401" y="1356"/>
                    <a:pt x="2401" y="1698"/>
                  </a:cubicBezTo>
                  <a:cubicBezTo>
                    <a:pt x="2401" y="2012"/>
                    <a:pt x="2147" y="2265"/>
                    <a:pt x="1833" y="2265"/>
                  </a:cubicBezTo>
                  <a:cubicBezTo>
                    <a:pt x="1329" y="2265"/>
                    <a:pt x="1075" y="1656"/>
                    <a:pt x="1431" y="1296"/>
                  </a:cubicBezTo>
                  <a:cubicBezTo>
                    <a:pt x="1547" y="1181"/>
                    <a:pt x="1690" y="1130"/>
                    <a:pt x="1829" y="1130"/>
                  </a:cubicBezTo>
                  <a:close/>
                  <a:moveTo>
                    <a:pt x="1833" y="1"/>
                  </a:moveTo>
                  <a:cubicBezTo>
                    <a:pt x="1145" y="1"/>
                    <a:pt x="526" y="415"/>
                    <a:pt x="263" y="1049"/>
                  </a:cubicBezTo>
                  <a:cubicBezTo>
                    <a:pt x="0" y="1683"/>
                    <a:pt x="145" y="2413"/>
                    <a:pt x="631" y="2900"/>
                  </a:cubicBezTo>
                  <a:cubicBezTo>
                    <a:pt x="956" y="3225"/>
                    <a:pt x="1391" y="3397"/>
                    <a:pt x="1833" y="3397"/>
                  </a:cubicBezTo>
                  <a:cubicBezTo>
                    <a:pt x="2052" y="3397"/>
                    <a:pt x="2272" y="3355"/>
                    <a:pt x="2482" y="3268"/>
                  </a:cubicBezTo>
                  <a:cubicBezTo>
                    <a:pt x="3116" y="3005"/>
                    <a:pt x="3533" y="2386"/>
                    <a:pt x="3533" y="1698"/>
                  </a:cubicBezTo>
                  <a:cubicBezTo>
                    <a:pt x="3530" y="759"/>
                    <a:pt x="2772" y="1"/>
                    <a:pt x="18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5" name="Google Shape;6295;p71"/>
            <p:cNvSpPr/>
            <p:nvPr/>
          </p:nvSpPr>
          <p:spPr>
            <a:xfrm>
              <a:off x="5170150" y="4060600"/>
              <a:ext cx="250650" cy="113225"/>
            </a:xfrm>
            <a:custGeom>
              <a:avLst/>
              <a:gdLst/>
              <a:ahLst/>
              <a:cxnLst/>
              <a:rect l="l" t="t" r="r" b="b"/>
              <a:pathLst>
                <a:path w="10026" h="4529" extrusionOk="0">
                  <a:moveTo>
                    <a:pt x="5006" y="0"/>
                  </a:moveTo>
                  <a:cubicBezTo>
                    <a:pt x="2684" y="0"/>
                    <a:pt x="659" y="1572"/>
                    <a:pt x="79" y="3820"/>
                  </a:cubicBezTo>
                  <a:cubicBezTo>
                    <a:pt x="1" y="4125"/>
                    <a:pt x="182" y="4433"/>
                    <a:pt x="487" y="4511"/>
                  </a:cubicBezTo>
                  <a:cubicBezTo>
                    <a:pt x="533" y="4523"/>
                    <a:pt x="580" y="4528"/>
                    <a:pt x="625" y="4528"/>
                  </a:cubicBezTo>
                  <a:cubicBezTo>
                    <a:pt x="878" y="4528"/>
                    <a:pt x="1109" y="4359"/>
                    <a:pt x="1175" y="4103"/>
                  </a:cubicBezTo>
                  <a:cubicBezTo>
                    <a:pt x="1625" y="2352"/>
                    <a:pt x="3205" y="1126"/>
                    <a:pt x="5013" y="1126"/>
                  </a:cubicBezTo>
                  <a:cubicBezTo>
                    <a:pt x="6822" y="1126"/>
                    <a:pt x="8401" y="2352"/>
                    <a:pt x="8851" y="4103"/>
                  </a:cubicBezTo>
                  <a:cubicBezTo>
                    <a:pt x="8917" y="4359"/>
                    <a:pt x="9148" y="4528"/>
                    <a:pt x="9401" y="4528"/>
                  </a:cubicBezTo>
                  <a:cubicBezTo>
                    <a:pt x="9447" y="4528"/>
                    <a:pt x="9493" y="4523"/>
                    <a:pt x="9539" y="4511"/>
                  </a:cubicBezTo>
                  <a:cubicBezTo>
                    <a:pt x="9844" y="4433"/>
                    <a:pt x="10025" y="4125"/>
                    <a:pt x="9947" y="3820"/>
                  </a:cubicBezTo>
                  <a:cubicBezTo>
                    <a:pt x="9368" y="1572"/>
                    <a:pt x="7342" y="0"/>
                    <a:pt x="5020" y="0"/>
                  </a:cubicBezTo>
                  <a:cubicBezTo>
                    <a:pt x="5018" y="0"/>
                    <a:pt x="5015" y="0"/>
                    <a:pt x="5013" y="0"/>
                  </a:cubicBezTo>
                  <a:cubicBezTo>
                    <a:pt x="5011" y="0"/>
                    <a:pt x="5009" y="0"/>
                    <a:pt x="50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296" name="Google Shape;6296;p71"/>
          <p:cNvGrpSpPr/>
          <p:nvPr/>
        </p:nvGrpSpPr>
        <p:grpSpPr>
          <a:xfrm>
            <a:off x="9741442" y="5274695"/>
            <a:ext cx="453557" cy="453557"/>
            <a:chOff x="5648375" y="3804850"/>
            <a:chExt cx="483125" cy="483125"/>
          </a:xfrm>
        </p:grpSpPr>
        <p:sp>
          <p:nvSpPr>
            <p:cNvPr id="6297" name="Google Shape;6297;p71"/>
            <p:cNvSpPr/>
            <p:nvPr/>
          </p:nvSpPr>
          <p:spPr>
            <a:xfrm>
              <a:off x="5648375" y="3804850"/>
              <a:ext cx="483125" cy="483125"/>
            </a:xfrm>
            <a:custGeom>
              <a:avLst/>
              <a:gdLst/>
              <a:ahLst/>
              <a:cxnLst/>
              <a:rect l="l" t="t" r="r" b="b"/>
              <a:pathLst>
                <a:path w="19325" h="19325" extrusionOk="0">
                  <a:moveTo>
                    <a:pt x="9662" y="1132"/>
                  </a:moveTo>
                  <a:cubicBezTo>
                    <a:pt x="14367" y="1132"/>
                    <a:pt x="18192" y="4958"/>
                    <a:pt x="18192" y="9662"/>
                  </a:cubicBezTo>
                  <a:cubicBezTo>
                    <a:pt x="18192" y="14367"/>
                    <a:pt x="14367" y="18192"/>
                    <a:pt x="9662" y="18192"/>
                  </a:cubicBezTo>
                  <a:cubicBezTo>
                    <a:pt x="4958" y="18192"/>
                    <a:pt x="1132" y="14367"/>
                    <a:pt x="1132" y="9662"/>
                  </a:cubicBezTo>
                  <a:cubicBezTo>
                    <a:pt x="1132" y="4958"/>
                    <a:pt x="4958" y="1132"/>
                    <a:pt x="9662" y="1132"/>
                  </a:cubicBezTo>
                  <a:close/>
                  <a:moveTo>
                    <a:pt x="9662" y="0"/>
                  </a:moveTo>
                  <a:cubicBezTo>
                    <a:pt x="7093" y="0"/>
                    <a:pt x="4668" y="1009"/>
                    <a:pt x="2838" y="2838"/>
                  </a:cubicBezTo>
                  <a:cubicBezTo>
                    <a:pt x="1009" y="4668"/>
                    <a:pt x="0" y="7093"/>
                    <a:pt x="0" y="9662"/>
                  </a:cubicBezTo>
                  <a:cubicBezTo>
                    <a:pt x="0" y="12232"/>
                    <a:pt x="1009" y="14657"/>
                    <a:pt x="2838" y="16486"/>
                  </a:cubicBezTo>
                  <a:cubicBezTo>
                    <a:pt x="4668" y="18316"/>
                    <a:pt x="7093" y="19325"/>
                    <a:pt x="9662" y="19325"/>
                  </a:cubicBezTo>
                  <a:cubicBezTo>
                    <a:pt x="12232" y="19325"/>
                    <a:pt x="14656" y="18316"/>
                    <a:pt x="16486" y="16486"/>
                  </a:cubicBezTo>
                  <a:cubicBezTo>
                    <a:pt x="18316" y="14657"/>
                    <a:pt x="19325" y="12232"/>
                    <a:pt x="19325" y="9662"/>
                  </a:cubicBezTo>
                  <a:cubicBezTo>
                    <a:pt x="19325" y="7093"/>
                    <a:pt x="18316" y="4668"/>
                    <a:pt x="16486" y="2838"/>
                  </a:cubicBezTo>
                  <a:cubicBezTo>
                    <a:pt x="14656" y="1009"/>
                    <a:pt x="12232"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8" name="Google Shape;6298;p71"/>
            <p:cNvSpPr/>
            <p:nvPr/>
          </p:nvSpPr>
          <p:spPr>
            <a:xfrm>
              <a:off x="5762575" y="3947300"/>
              <a:ext cx="88275" cy="85000"/>
            </a:xfrm>
            <a:custGeom>
              <a:avLst/>
              <a:gdLst/>
              <a:ahLst/>
              <a:cxnLst/>
              <a:rect l="l" t="t" r="r" b="b"/>
              <a:pathLst>
                <a:path w="3531" h="3400" extrusionOk="0">
                  <a:moveTo>
                    <a:pt x="1697" y="1135"/>
                  </a:moveTo>
                  <a:cubicBezTo>
                    <a:pt x="2202"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8" y="0"/>
                  </a:moveTo>
                  <a:cubicBezTo>
                    <a:pt x="1479" y="0"/>
                    <a:pt x="1258" y="43"/>
                    <a:pt x="1048" y="130"/>
                  </a:cubicBezTo>
                  <a:cubicBezTo>
                    <a:pt x="414" y="392"/>
                    <a:pt x="1" y="1011"/>
                    <a:pt x="1" y="1700"/>
                  </a:cubicBezTo>
                  <a:cubicBezTo>
                    <a:pt x="1" y="2639"/>
                    <a:pt x="758" y="3397"/>
                    <a:pt x="1697" y="3400"/>
                  </a:cubicBezTo>
                  <a:cubicBezTo>
                    <a:pt x="2386" y="3400"/>
                    <a:pt x="3005" y="2983"/>
                    <a:pt x="3268" y="2349"/>
                  </a:cubicBezTo>
                  <a:cubicBezTo>
                    <a:pt x="3530" y="1715"/>
                    <a:pt x="3385" y="984"/>
                    <a:pt x="2899" y="498"/>
                  </a:cubicBezTo>
                  <a:cubicBezTo>
                    <a:pt x="2574" y="173"/>
                    <a:pt x="2139"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299" name="Google Shape;6299;p71"/>
            <p:cNvSpPr/>
            <p:nvPr/>
          </p:nvSpPr>
          <p:spPr>
            <a:xfrm>
              <a:off x="5932425" y="3947300"/>
              <a:ext cx="88250" cy="85000"/>
            </a:xfrm>
            <a:custGeom>
              <a:avLst/>
              <a:gdLst/>
              <a:ahLst/>
              <a:cxnLst/>
              <a:rect l="l" t="t" r="r" b="b"/>
              <a:pathLst>
                <a:path w="3530" h="3400" extrusionOk="0">
                  <a:moveTo>
                    <a:pt x="1697" y="1135"/>
                  </a:moveTo>
                  <a:cubicBezTo>
                    <a:pt x="2201" y="1135"/>
                    <a:pt x="2455" y="1742"/>
                    <a:pt x="2099" y="2101"/>
                  </a:cubicBezTo>
                  <a:cubicBezTo>
                    <a:pt x="1983" y="2216"/>
                    <a:pt x="1841" y="2268"/>
                    <a:pt x="1702" y="2268"/>
                  </a:cubicBezTo>
                  <a:cubicBezTo>
                    <a:pt x="1411" y="2268"/>
                    <a:pt x="1133" y="2041"/>
                    <a:pt x="1133" y="1700"/>
                  </a:cubicBezTo>
                  <a:cubicBezTo>
                    <a:pt x="1133" y="1386"/>
                    <a:pt x="1383" y="1135"/>
                    <a:pt x="1697" y="1135"/>
                  </a:cubicBezTo>
                  <a:close/>
                  <a:moveTo>
                    <a:pt x="1697" y="0"/>
                  </a:moveTo>
                  <a:cubicBezTo>
                    <a:pt x="1479" y="0"/>
                    <a:pt x="1258" y="43"/>
                    <a:pt x="1048" y="130"/>
                  </a:cubicBezTo>
                  <a:cubicBezTo>
                    <a:pt x="414" y="392"/>
                    <a:pt x="0" y="1011"/>
                    <a:pt x="0" y="1700"/>
                  </a:cubicBezTo>
                  <a:cubicBezTo>
                    <a:pt x="0" y="2639"/>
                    <a:pt x="758" y="3397"/>
                    <a:pt x="1697" y="3400"/>
                  </a:cubicBezTo>
                  <a:cubicBezTo>
                    <a:pt x="2386" y="3400"/>
                    <a:pt x="3005" y="2983"/>
                    <a:pt x="3267" y="2349"/>
                  </a:cubicBezTo>
                  <a:cubicBezTo>
                    <a:pt x="3530" y="1715"/>
                    <a:pt x="3385" y="984"/>
                    <a:pt x="2899" y="498"/>
                  </a:cubicBezTo>
                  <a:cubicBezTo>
                    <a:pt x="2574" y="173"/>
                    <a:pt x="2139" y="0"/>
                    <a:pt x="16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0" name="Google Shape;6300;p71"/>
            <p:cNvSpPr/>
            <p:nvPr/>
          </p:nvSpPr>
          <p:spPr>
            <a:xfrm>
              <a:off x="5762575" y="4060600"/>
              <a:ext cx="254800" cy="141550"/>
            </a:xfrm>
            <a:custGeom>
              <a:avLst/>
              <a:gdLst/>
              <a:ahLst/>
              <a:cxnLst/>
              <a:rect l="l" t="t" r="r" b="b"/>
              <a:pathLst>
                <a:path w="10192" h="5662" extrusionOk="0">
                  <a:moveTo>
                    <a:pt x="9017" y="1132"/>
                  </a:moveTo>
                  <a:cubicBezTo>
                    <a:pt x="8736" y="3083"/>
                    <a:pt x="7066" y="4529"/>
                    <a:pt x="5094" y="4529"/>
                  </a:cubicBezTo>
                  <a:cubicBezTo>
                    <a:pt x="3123" y="4529"/>
                    <a:pt x="1453" y="3083"/>
                    <a:pt x="1172" y="1132"/>
                  </a:cubicBezTo>
                  <a:close/>
                  <a:moveTo>
                    <a:pt x="565" y="0"/>
                  </a:moveTo>
                  <a:cubicBezTo>
                    <a:pt x="251" y="0"/>
                    <a:pt x="1" y="251"/>
                    <a:pt x="1" y="565"/>
                  </a:cubicBezTo>
                  <a:cubicBezTo>
                    <a:pt x="1" y="3373"/>
                    <a:pt x="2286" y="5662"/>
                    <a:pt x="5094" y="5662"/>
                  </a:cubicBezTo>
                  <a:cubicBezTo>
                    <a:pt x="7905" y="5662"/>
                    <a:pt x="10191" y="3373"/>
                    <a:pt x="10191" y="565"/>
                  </a:cubicBezTo>
                  <a:cubicBezTo>
                    <a:pt x="10191" y="251"/>
                    <a:pt x="9938" y="0"/>
                    <a:pt x="962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01" name="Google Shape;6301;p71"/>
          <p:cNvGrpSpPr/>
          <p:nvPr/>
        </p:nvGrpSpPr>
        <p:grpSpPr>
          <a:xfrm>
            <a:off x="7461382" y="5291038"/>
            <a:ext cx="374564" cy="420599"/>
            <a:chOff x="6276025" y="3812400"/>
            <a:chExt cx="416800" cy="468025"/>
          </a:xfrm>
        </p:grpSpPr>
        <p:sp>
          <p:nvSpPr>
            <p:cNvPr id="6302" name="Google Shape;6302;p71"/>
            <p:cNvSpPr/>
            <p:nvPr/>
          </p:nvSpPr>
          <p:spPr>
            <a:xfrm>
              <a:off x="6276025" y="3812400"/>
              <a:ext cx="416800" cy="468025"/>
            </a:xfrm>
            <a:custGeom>
              <a:avLst/>
              <a:gdLst/>
              <a:ahLst/>
              <a:cxnLst/>
              <a:rect l="l" t="t" r="r" b="b"/>
              <a:pathLst>
                <a:path w="16672" h="18721" extrusionOk="0">
                  <a:moveTo>
                    <a:pt x="8334" y="1132"/>
                  </a:moveTo>
                  <a:cubicBezTo>
                    <a:pt x="12311" y="1132"/>
                    <a:pt x="15536" y="4354"/>
                    <a:pt x="15536" y="8334"/>
                  </a:cubicBezTo>
                  <a:lnTo>
                    <a:pt x="15536" y="8346"/>
                  </a:lnTo>
                  <a:lnTo>
                    <a:pt x="15536" y="11652"/>
                  </a:lnTo>
                  <a:cubicBezTo>
                    <a:pt x="15536" y="12332"/>
                    <a:pt x="15240" y="12981"/>
                    <a:pt x="14724" y="13425"/>
                  </a:cubicBezTo>
                  <a:lnTo>
                    <a:pt x="12849" y="15034"/>
                  </a:lnTo>
                  <a:cubicBezTo>
                    <a:pt x="12725" y="15143"/>
                    <a:pt x="12652" y="15300"/>
                    <a:pt x="12652" y="15466"/>
                  </a:cubicBezTo>
                  <a:lnTo>
                    <a:pt x="12652" y="17588"/>
                  </a:lnTo>
                  <a:lnTo>
                    <a:pt x="11197" y="17588"/>
                  </a:lnTo>
                  <a:lnTo>
                    <a:pt x="11197" y="16254"/>
                  </a:lnTo>
                  <a:cubicBezTo>
                    <a:pt x="11197" y="15943"/>
                    <a:pt x="10943" y="15689"/>
                    <a:pt x="10629" y="15689"/>
                  </a:cubicBezTo>
                  <a:cubicBezTo>
                    <a:pt x="10318" y="15689"/>
                    <a:pt x="10065" y="15943"/>
                    <a:pt x="10065" y="16254"/>
                  </a:cubicBezTo>
                  <a:lnTo>
                    <a:pt x="10065" y="17588"/>
                  </a:lnTo>
                  <a:lnTo>
                    <a:pt x="8902" y="17588"/>
                  </a:lnTo>
                  <a:lnTo>
                    <a:pt x="8902" y="16254"/>
                  </a:lnTo>
                  <a:cubicBezTo>
                    <a:pt x="8902" y="15943"/>
                    <a:pt x="8648" y="15689"/>
                    <a:pt x="8334" y="15689"/>
                  </a:cubicBezTo>
                  <a:cubicBezTo>
                    <a:pt x="8020" y="15689"/>
                    <a:pt x="7770" y="15943"/>
                    <a:pt x="7770" y="16254"/>
                  </a:cubicBezTo>
                  <a:lnTo>
                    <a:pt x="7770" y="17588"/>
                  </a:lnTo>
                  <a:lnTo>
                    <a:pt x="6604" y="17588"/>
                  </a:lnTo>
                  <a:lnTo>
                    <a:pt x="6604" y="16254"/>
                  </a:lnTo>
                  <a:cubicBezTo>
                    <a:pt x="6604" y="15943"/>
                    <a:pt x="6351" y="15689"/>
                    <a:pt x="6040" y="15689"/>
                  </a:cubicBezTo>
                  <a:cubicBezTo>
                    <a:pt x="5726" y="15689"/>
                    <a:pt x="5472" y="15943"/>
                    <a:pt x="5472" y="16254"/>
                  </a:cubicBezTo>
                  <a:lnTo>
                    <a:pt x="5472" y="17588"/>
                  </a:lnTo>
                  <a:lnTo>
                    <a:pt x="4017" y="17588"/>
                  </a:lnTo>
                  <a:lnTo>
                    <a:pt x="4017" y="15466"/>
                  </a:lnTo>
                  <a:cubicBezTo>
                    <a:pt x="4017" y="15300"/>
                    <a:pt x="3944" y="15143"/>
                    <a:pt x="3820" y="15037"/>
                  </a:cubicBezTo>
                  <a:lnTo>
                    <a:pt x="1945" y="13425"/>
                  </a:lnTo>
                  <a:cubicBezTo>
                    <a:pt x="1429" y="12981"/>
                    <a:pt x="1133" y="12335"/>
                    <a:pt x="1133" y="11652"/>
                  </a:cubicBezTo>
                  <a:lnTo>
                    <a:pt x="1133" y="8406"/>
                  </a:lnTo>
                  <a:cubicBezTo>
                    <a:pt x="1133" y="4396"/>
                    <a:pt x="4361" y="1132"/>
                    <a:pt x="8331" y="1132"/>
                  </a:cubicBezTo>
                  <a:close/>
                  <a:moveTo>
                    <a:pt x="8331" y="0"/>
                  </a:moveTo>
                  <a:cubicBezTo>
                    <a:pt x="3736" y="3"/>
                    <a:pt x="1" y="3774"/>
                    <a:pt x="1" y="8409"/>
                  </a:cubicBezTo>
                  <a:lnTo>
                    <a:pt x="1" y="11655"/>
                  </a:lnTo>
                  <a:cubicBezTo>
                    <a:pt x="1" y="12664"/>
                    <a:pt x="442" y="13627"/>
                    <a:pt x="1209" y="14285"/>
                  </a:cubicBezTo>
                  <a:lnTo>
                    <a:pt x="2884" y="15725"/>
                  </a:lnTo>
                  <a:lnTo>
                    <a:pt x="2884" y="18156"/>
                  </a:lnTo>
                  <a:cubicBezTo>
                    <a:pt x="2884" y="18467"/>
                    <a:pt x="3138" y="18721"/>
                    <a:pt x="3449" y="18721"/>
                  </a:cubicBezTo>
                  <a:lnTo>
                    <a:pt x="13220" y="18721"/>
                  </a:lnTo>
                  <a:cubicBezTo>
                    <a:pt x="13531" y="18721"/>
                    <a:pt x="13785" y="18467"/>
                    <a:pt x="13785" y="18156"/>
                  </a:cubicBezTo>
                  <a:lnTo>
                    <a:pt x="13785" y="15725"/>
                  </a:lnTo>
                  <a:lnTo>
                    <a:pt x="15463" y="14282"/>
                  </a:lnTo>
                  <a:cubicBezTo>
                    <a:pt x="16227" y="13624"/>
                    <a:pt x="16671" y="12664"/>
                    <a:pt x="16671" y="11652"/>
                  </a:cubicBezTo>
                  <a:lnTo>
                    <a:pt x="16671" y="8334"/>
                  </a:lnTo>
                  <a:lnTo>
                    <a:pt x="16671" y="8322"/>
                  </a:lnTo>
                  <a:cubicBezTo>
                    <a:pt x="16662" y="3723"/>
                    <a:pt x="12933" y="0"/>
                    <a:pt x="83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3" name="Google Shape;6303;p71"/>
            <p:cNvSpPr/>
            <p:nvPr/>
          </p:nvSpPr>
          <p:spPr>
            <a:xfrm>
              <a:off x="6436375" y="4078825"/>
              <a:ext cx="96025" cy="80400"/>
            </a:xfrm>
            <a:custGeom>
              <a:avLst/>
              <a:gdLst/>
              <a:ahLst/>
              <a:cxnLst/>
              <a:rect l="l" t="t" r="r" b="b"/>
              <a:pathLst>
                <a:path w="3841" h="3216" extrusionOk="0">
                  <a:moveTo>
                    <a:pt x="1922" y="1"/>
                  </a:moveTo>
                  <a:cubicBezTo>
                    <a:pt x="1736" y="1"/>
                    <a:pt x="1551" y="91"/>
                    <a:pt x="1440" y="270"/>
                  </a:cubicBezTo>
                  <a:lnTo>
                    <a:pt x="166" y="2354"/>
                  </a:lnTo>
                  <a:cubicBezTo>
                    <a:pt x="0" y="2623"/>
                    <a:pt x="85" y="2970"/>
                    <a:pt x="350" y="3133"/>
                  </a:cubicBezTo>
                  <a:cubicBezTo>
                    <a:pt x="443" y="3189"/>
                    <a:pt x="545" y="3216"/>
                    <a:pt x="646" y="3216"/>
                  </a:cubicBezTo>
                  <a:cubicBezTo>
                    <a:pt x="837" y="3216"/>
                    <a:pt x="1023" y="3120"/>
                    <a:pt x="1129" y="2946"/>
                  </a:cubicBezTo>
                  <a:lnTo>
                    <a:pt x="1923" y="1653"/>
                  </a:lnTo>
                  <a:lnTo>
                    <a:pt x="2712" y="2946"/>
                  </a:lnTo>
                  <a:cubicBezTo>
                    <a:pt x="2818" y="3120"/>
                    <a:pt x="3005" y="3216"/>
                    <a:pt x="3196" y="3216"/>
                  </a:cubicBezTo>
                  <a:cubicBezTo>
                    <a:pt x="3297" y="3216"/>
                    <a:pt x="3399" y="3189"/>
                    <a:pt x="3491" y="3133"/>
                  </a:cubicBezTo>
                  <a:cubicBezTo>
                    <a:pt x="3759" y="2970"/>
                    <a:pt x="3841" y="2623"/>
                    <a:pt x="3678" y="2354"/>
                  </a:cubicBezTo>
                  <a:lnTo>
                    <a:pt x="2407" y="270"/>
                  </a:lnTo>
                  <a:cubicBezTo>
                    <a:pt x="2295" y="91"/>
                    <a:pt x="2108" y="1"/>
                    <a:pt x="19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4" name="Google Shape;6304;p71"/>
            <p:cNvSpPr/>
            <p:nvPr/>
          </p:nvSpPr>
          <p:spPr>
            <a:xfrm>
              <a:off x="6327450" y="3974775"/>
              <a:ext cx="125550" cy="118300"/>
            </a:xfrm>
            <a:custGeom>
              <a:avLst/>
              <a:gdLst/>
              <a:ahLst/>
              <a:cxnLst/>
              <a:rect l="l" t="t" r="r" b="b"/>
              <a:pathLst>
                <a:path w="5022" h="4732" extrusionOk="0">
                  <a:moveTo>
                    <a:pt x="2505" y="1115"/>
                  </a:moveTo>
                  <a:cubicBezTo>
                    <a:pt x="2806" y="1115"/>
                    <a:pt x="3107" y="1230"/>
                    <a:pt x="3337" y="1461"/>
                  </a:cubicBezTo>
                  <a:cubicBezTo>
                    <a:pt x="3795" y="1920"/>
                    <a:pt x="3795" y="2663"/>
                    <a:pt x="3337" y="3125"/>
                  </a:cubicBezTo>
                  <a:cubicBezTo>
                    <a:pt x="3049" y="3413"/>
                    <a:pt x="2565" y="3600"/>
                    <a:pt x="2133" y="3600"/>
                  </a:cubicBezTo>
                  <a:cubicBezTo>
                    <a:pt x="1861" y="3600"/>
                    <a:pt x="1610" y="3526"/>
                    <a:pt x="1440" y="3358"/>
                  </a:cubicBezTo>
                  <a:cubicBezTo>
                    <a:pt x="1253" y="3167"/>
                    <a:pt x="1166" y="2844"/>
                    <a:pt x="1208" y="2473"/>
                  </a:cubicBezTo>
                  <a:cubicBezTo>
                    <a:pt x="1253" y="2089"/>
                    <a:pt x="1431" y="1703"/>
                    <a:pt x="1673" y="1461"/>
                  </a:cubicBezTo>
                  <a:cubicBezTo>
                    <a:pt x="1902" y="1230"/>
                    <a:pt x="2203" y="1115"/>
                    <a:pt x="2505" y="1115"/>
                  </a:cubicBezTo>
                  <a:close/>
                  <a:moveTo>
                    <a:pt x="2486" y="0"/>
                  </a:moveTo>
                  <a:cubicBezTo>
                    <a:pt x="1903" y="0"/>
                    <a:pt x="1321" y="219"/>
                    <a:pt x="873" y="658"/>
                  </a:cubicBezTo>
                  <a:cubicBezTo>
                    <a:pt x="444" y="1084"/>
                    <a:pt x="157" y="1697"/>
                    <a:pt x="85" y="2340"/>
                  </a:cubicBezTo>
                  <a:cubicBezTo>
                    <a:pt x="0" y="3059"/>
                    <a:pt x="202" y="3717"/>
                    <a:pt x="640" y="4155"/>
                  </a:cubicBezTo>
                  <a:cubicBezTo>
                    <a:pt x="1042" y="4556"/>
                    <a:pt x="1582" y="4731"/>
                    <a:pt x="2138" y="4731"/>
                  </a:cubicBezTo>
                  <a:cubicBezTo>
                    <a:pt x="2141" y="4731"/>
                    <a:pt x="2145" y="4731"/>
                    <a:pt x="2149" y="4731"/>
                  </a:cubicBezTo>
                  <a:cubicBezTo>
                    <a:pt x="2882" y="4731"/>
                    <a:pt x="3638" y="4424"/>
                    <a:pt x="4137" y="3922"/>
                  </a:cubicBezTo>
                  <a:cubicBezTo>
                    <a:pt x="5021" y="3016"/>
                    <a:pt x="5012" y="1570"/>
                    <a:pt x="4119" y="676"/>
                  </a:cubicBezTo>
                  <a:cubicBezTo>
                    <a:pt x="3668" y="226"/>
                    <a:pt x="3077" y="0"/>
                    <a:pt x="24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5" name="Google Shape;6305;p71"/>
            <p:cNvSpPr/>
            <p:nvPr/>
          </p:nvSpPr>
          <p:spPr>
            <a:xfrm>
              <a:off x="6515325" y="3974300"/>
              <a:ext cx="126000" cy="118775"/>
            </a:xfrm>
            <a:custGeom>
              <a:avLst/>
              <a:gdLst/>
              <a:ahLst/>
              <a:cxnLst/>
              <a:rect l="l" t="t" r="r" b="b"/>
              <a:pathLst>
                <a:path w="5040" h="4751" extrusionOk="0">
                  <a:moveTo>
                    <a:pt x="2535" y="1133"/>
                  </a:moveTo>
                  <a:cubicBezTo>
                    <a:pt x="2836" y="1133"/>
                    <a:pt x="3138" y="1248"/>
                    <a:pt x="3367" y="1477"/>
                  </a:cubicBezTo>
                  <a:cubicBezTo>
                    <a:pt x="3609" y="1722"/>
                    <a:pt x="3787" y="2108"/>
                    <a:pt x="3832" y="2492"/>
                  </a:cubicBezTo>
                  <a:cubicBezTo>
                    <a:pt x="3874" y="2860"/>
                    <a:pt x="3790" y="3183"/>
                    <a:pt x="3600" y="3374"/>
                  </a:cubicBezTo>
                  <a:cubicBezTo>
                    <a:pt x="3429" y="3544"/>
                    <a:pt x="3178" y="3618"/>
                    <a:pt x="2906" y="3618"/>
                  </a:cubicBezTo>
                  <a:cubicBezTo>
                    <a:pt x="2474" y="3618"/>
                    <a:pt x="1991" y="3430"/>
                    <a:pt x="1703" y="3141"/>
                  </a:cubicBezTo>
                  <a:cubicBezTo>
                    <a:pt x="1244" y="2682"/>
                    <a:pt x="1244" y="1936"/>
                    <a:pt x="1703" y="1477"/>
                  </a:cubicBezTo>
                  <a:cubicBezTo>
                    <a:pt x="1933" y="1248"/>
                    <a:pt x="2234" y="1133"/>
                    <a:pt x="2535" y="1133"/>
                  </a:cubicBezTo>
                  <a:close/>
                  <a:moveTo>
                    <a:pt x="2535" y="0"/>
                  </a:moveTo>
                  <a:cubicBezTo>
                    <a:pt x="1944" y="0"/>
                    <a:pt x="1353" y="226"/>
                    <a:pt x="903" y="677"/>
                  </a:cubicBezTo>
                  <a:cubicBezTo>
                    <a:pt x="0" y="1580"/>
                    <a:pt x="0" y="3041"/>
                    <a:pt x="903" y="3941"/>
                  </a:cubicBezTo>
                  <a:cubicBezTo>
                    <a:pt x="1329" y="4370"/>
                    <a:pt x="1945" y="4660"/>
                    <a:pt x="2588" y="4732"/>
                  </a:cubicBezTo>
                  <a:cubicBezTo>
                    <a:pt x="2691" y="4744"/>
                    <a:pt x="2793" y="4750"/>
                    <a:pt x="2899" y="4750"/>
                  </a:cubicBezTo>
                  <a:cubicBezTo>
                    <a:pt x="3491" y="4750"/>
                    <a:pt x="4028" y="4548"/>
                    <a:pt x="4400" y="4174"/>
                  </a:cubicBezTo>
                  <a:cubicBezTo>
                    <a:pt x="4838" y="3739"/>
                    <a:pt x="5040" y="3078"/>
                    <a:pt x="4958" y="2362"/>
                  </a:cubicBezTo>
                  <a:cubicBezTo>
                    <a:pt x="4883" y="1719"/>
                    <a:pt x="4596" y="1103"/>
                    <a:pt x="4167" y="677"/>
                  </a:cubicBezTo>
                  <a:cubicBezTo>
                    <a:pt x="3717" y="226"/>
                    <a:pt x="3126" y="0"/>
                    <a:pt x="25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06" name="Google Shape;6306;p71"/>
          <p:cNvGrpSpPr/>
          <p:nvPr/>
        </p:nvGrpSpPr>
        <p:grpSpPr>
          <a:xfrm>
            <a:off x="6740391" y="4726786"/>
            <a:ext cx="456820" cy="453581"/>
            <a:chOff x="890400" y="4399350"/>
            <a:chExt cx="486600" cy="483150"/>
          </a:xfrm>
        </p:grpSpPr>
        <p:sp>
          <p:nvSpPr>
            <p:cNvPr id="6307" name="Google Shape;6307;p71"/>
            <p:cNvSpPr/>
            <p:nvPr/>
          </p:nvSpPr>
          <p:spPr>
            <a:xfrm>
              <a:off x="1125300" y="4503075"/>
              <a:ext cx="153800" cy="141650"/>
            </a:xfrm>
            <a:custGeom>
              <a:avLst/>
              <a:gdLst/>
              <a:ahLst/>
              <a:cxnLst/>
              <a:rect l="l" t="t" r="r" b="b"/>
              <a:pathLst>
                <a:path w="6152" h="5666" extrusionOk="0">
                  <a:moveTo>
                    <a:pt x="3044" y="1140"/>
                  </a:moveTo>
                  <a:cubicBezTo>
                    <a:pt x="3263" y="1140"/>
                    <a:pt x="3484" y="1182"/>
                    <a:pt x="3694" y="1269"/>
                  </a:cubicBezTo>
                  <a:cubicBezTo>
                    <a:pt x="4328" y="1532"/>
                    <a:pt x="4741" y="2151"/>
                    <a:pt x="4741" y="2836"/>
                  </a:cubicBezTo>
                  <a:cubicBezTo>
                    <a:pt x="4741" y="3525"/>
                    <a:pt x="4328" y="4144"/>
                    <a:pt x="3694" y="4406"/>
                  </a:cubicBezTo>
                  <a:cubicBezTo>
                    <a:pt x="3484" y="4493"/>
                    <a:pt x="3263" y="4536"/>
                    <a:pt x="3044" y="4536"/>
                  </a:cubicBezTo>
                  <a:cubicBezTo>
                    <a:pt x="2602" y="4536"/>
                    <a:pt x="2168" y="4363"/>
                    <a:pt x="1843" y="4038"/>
                  </a:cubicBezTo>
                  <a:cubicBezTo>
                    <a:pt x="1178" y="3377"/>
                    <a:pt x="1178" y="2299"/>
                    <a:pt x="1843" y="1638"/>
                  </a:cubicBezTo>
                  <a:cubicBezTo>
                    <a:pt x="2168" y="1312"/>
                    <a:pt x="2602" y="1140"/>
                    <a:pt x="3044" y="1140"/>
                  </a:cubicBezTo>
                  <a:close/>
                  <a:moveTo>
                    <a:pt x="3043" y="0"/>
                  </a:moveTo>
                  <a:cubicBezTo>
                    <a:pt x="2680" y="0"/>
                    <a:pt x="2313" y="70"/>
                    <a:pt x="1961" y="215"/>
                  </a:cubicBezTo>
                  <a:cubicBezTo>
                    <a:pt x="710" y="732"/>
                    <a:pt x="1" y="2060"/>
                    <a:pt x="264" y="3386"/>
                  </a:cubicBezTo>
                  <a:cubicBezTo>
                    <a:pt x="529" y="4709"/>
                    <a:pt x="1688" y="5666"/>
                    <a:pt x="3038" y="5666"/>
                  </a:cubicBezTo>
                  <a:cubicBezTo>
                    <a:pt x="3040" y="5666"/>
                    <a:pt x="3042" y="5666"/>
                    <a:pt x="3045" y="5666"/>
                  </a:cubicBezTo>
                  <a:cubicBezTo>
                    <a:pt x="3048" y="5666"/>
                    <a:pt x="3052" y="5666"/>
                    <a:pt x="3056" y="5666"/>
                  </a:cubicBezTo>
                  <a:cubicBezTo>
                    <a:pt x="3801" y="5666"/>
                    <a:pt x="4518" y="5367"/>
                    <a:pt x="5046" y="4838"/>
                  </a:cubicBezTo>
                  <a:cubicBezTo>
                    <a:pt x="6004" y="3884"/>
                    <a:pt x="6152" y="2386"/>
                    <a:pt x="5400" y="1260"/>
                  </a:cubicBezTo>
                  <a:cubicBezTo>
                    <a:pt x="4862" y="453"/>
                    <a:pt x="3967" y="0"/>
                    <a:pt x="30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8" name="Google Shape;6308;p71"/>
            <p:cNvSpPr/>
            <p:nvPr/>
          </p:nvSpPr>
          <p:spPr>
            <a:xfrm>
              <a:off x="890400" y="4399350"/>
              <a:ext cx="486600" cy="483150"/>
            </a:xfrm>
            <a:custGeom>
              <a:avLst/>
              <a:gdLst/>
              <a:ahLst/>
              <a:cxnLst/>
              <a:rect l="l" t="t" r="r" b="b"/>
              <a:pathLst>
                <a:path w="19464" h="19326" extrusionOk="0">
                  <a:moveTo>
                    <a:pt x="17908" y="1131"/>
                  </a:moveTo>
                  <a:cubicBezTo>
                    <a:pt x="18031" y="1131"/>
                    <a:pt x="18157" y="1132"/>
                    <a:pt x="18283" y="1134"/>
                  </a:cubicBezTo>
                  <a:cubicBezTo>
                    <a:pt x="18301" y="2369"/>
                    <a:pt x="18232" y="3465"/>
                    <a:pt x="18057" y="4449"/>
                  </a:cubicBezTo>
                  <a:cubicBezTo>
                    <a:pt x="16453" y="4223"/>
                    <a:pt x="15191" y="2960"/>
                    <a:pt x="14968" y="1357"/>
                  </a:cubicBezTo>
                  <a:cubicBezTo>
                    <a:pt x="15851" y="1203"/>
                    <a:pt x="16825" y="1131"/>
                    <a:pt x="17908" y="1131"/>
                  </a:cubicBezTo>
                  <a:close/>
                  <a:moveTo>
                    <a:pt x="6462" y="6683"/>
                  </a:moveTo>
                  <a:lnTo>
                    <a:pt x="6462" y="6686"/>
                  </a:lnTo>
                  <a:cubicBezTo>
                    <a:pt x="6003" y="7471"/>
                    <a:pt x="5574" y="8281"/>
                    <a:pt x="5173" y="9066"/>
                  </a:cubicBezTo>
                  <a:lnTo>
                    <a:pt x="2712" y="8839"/>
                  </a:lnTo>
                  <a:cubicBezTo>
                    <a:pt x="3545" y="7571"/>
                    <a:pt x="4952" y="6756"/>
                    <a:pt x="6462" y="6683"/>
                  </a:cubicBezTo>
                  <a:close/>
                  <a:moveTo>
                    <a:pt x="13863" y="1608"/>
                  </a:moveTo>
                  <a:cubicBezTo>
                    <a:pt x="14195" y="3637"/>
                    <a:pt x="15783" y="5225"/>
                    <a:pt x="17809" y="5557"/>
                  </a:cubicBezTo>
                  <a:cubicBezTo>
                    <a:pt x="17347" y="7209"/>
                    <a:pt x="16532" y="8534"/>
                    <a:pt x="15303" y="9718"/>
                  </a:cubicBezTo>
                  <a:cubicBezTo>
                    <a:pt x="13932" y="11043"/>
                    <a:pt x="11825" y="12218"/>
                    <a:pt x="9868" y="13221"/>
                  </a:cubicBezTo>
                  <a:lnTo>
                    <a:pt x="6196" y="9552"/>
                  </a:lnTo>
                  <a:cubicBezTo>
                    <a:pt x="7199" y="7592"/>
                    <a:pt x="8376" y="5485"/>
                    <a:pt x="9699" y="4114"/>
                  </a:cubicBezTo>
                  <a:cubicBezTo>
                    <a:pt x="10886" y="2885"/>
                    <a:pt x="12208" y="2073"/>
                    <a:pt x="13863" y="1608"/>
                  </a:cubicBezTo>
                  <a:close/>
                  <a:moveTo>
                    <a:pt x="5659" y="10612"/>
                  </a:moveTo>
                  <a:lnTo>
                    <a:pt x="8805" y="13758"/>
                  </a:lnTo>
                  <a:lnTo>
                    <a:pt x="8503" y="13909"/>
                  </a:lnTo>
                  <a:cubicBezTo>
                    <a:pt x="8237" y="14039"/>
                    <a:pt x="7984" y="14169"/>
                    <a:pt x="7736" y="14292"/>
                  </a:cubicBezTo>
                  <a:lnTo>
                    <a:pt x="5124" y="11681"/>
                  </a:lnTo>
                  <a:cubicBezTo>
                    <a:pt x="5248" y="11433"/>
                    <a:pt x="5378" y="11179"/>
                    <a:pt x="5508" y="10914"/>
                  </a:cubicBezTo>
                  <a:lnTo>
                    <a:pt x="5659" y="10612"/>
                  </a:lnTo>
                  <a:close/>
                  <a:moveTo>
                    <a:pt x="12658" y="13000"/>
                  </a:moveTo>
                  <a:lnTo>
                    <a:pt x="12658" y="13000"/>
                  </a:lnTo>
                  <a:cubicBezTo>
                    <a:pt x="12567" y="14483"/>
                    <a:pt x="11782" y="15835"/>
                    <a:pt x="10538" y="16651"/>
                  </a:cubicBezTo>
                  <a:lnTo>
                    <a:pt x="10348" y="14247"/>
                  </a:lnTo>
                  <a:cubicBezTo>
                    <a:pt x="11109" y="13858"/>
                    <a:pt x="11894" y="13441"/>
                    <a:pt x="12658" y="13000"/>
                  </a:cubicBezTo>
                  <a:close/>
                  <a:moveTo>
                    <a:pt x="4596" y="12756"/>
                  </a:moveTo>
                  <a:lnTo>
                    <a:pt x="5233" y="13393"/>
                  </a:lnTo>
                  <a:lnTo>
                    <a:pt x="4034" y="14594"/>
                  </a:lnTo>
                  <a:cubicBezTo>
                    <a:pt x="3814" y="14815"/>
                    <a:pt x="3811" y="15174"/>
                    <a:pt x="4034" y="15395"/>
                  </a:cubicBezTo>
                  <a:cubicBezTo>
                    <a:pt x="4145" y="15505"/>
                    <a:pt x="4290" y="15560"/>
                    <a:pt x="4434" y="15560"/>
                  </a:cubicBezTo>
                  <a:cubicBezTo>
                    <a:pt x="4579" y="15560"/>
                    <a:pt x="4724" y="15505"/>
                    <a:pt x="4835" y="15395"/>
                  </a:cubicBezTo>
                  <a:lnTo>
                    <a:pt x="6036" y="14193"/>
                  </a:lnTo>
                  <a:lnTo>
                    <a:pt x="6673" y="14833"/>
                  </a:lnTo>
                  <a:cubicBezTo>
                    <a:pt x="6528" y="15192"/>
                    <a:pt x="6311" y="15521"/>
                    <a:pt x="6036" y="15796"/>
                  </a:cubicBezTo>
                  <a:cubicBezTo>
                    <a:pt x="5387" y="16445"/>
                    <a:pt x="3110" y="17327"/>
                    <a:pt x="1555" y="17864"/>
                  </a:cubicBezTo>
                  <a:cubicBezTo>
                    <a:pt x="2096" y="16312"/>
                    <a:pt x="2984" y="14042"/>
                    <a:pt x="3633" y="13393"/>
                  </a:cubicBezTo>
                  <a:cubicBezTo>
                    <a:pt x="3908" y="13115"/>
                    <a:pt x="4234" y="12900"/>
                    <a:pt x="4596" y="12756"/>
                  </a:cubicBezTo>
                  <a:close/>
                  <a:moveTo>
                    <a:pt x="17939" y="0"/>
                  </a:moveTo>
                  <a:cubicBezTo>
                    <a:pt x="16582" y="0"/>
                    <a:pt x="15371" y="113"/>
                    <a:pt x="14282" y="349"/>
                  </a:cubicBezTo>
                  <a:cubicBezTo>
                    <a:pt x="14258" y="352"/>
                    <a:pt x="14234" y="358"/>
                    <a:pt x="14213" y="364"/>
                  </a:cubicBezTo>
                  <a:cubicBezTo>
                    <a:pt x="12057" y="841"/>
                    <a:pt x="10360" y="1801"/>
                    <a:pt x="8887" y="3329"/>
                  </a:cubicBezTo>
                  <a:cubicBezTo>
                    <a:pt x="8277" y="3960"/>
                    <a:pt x="7703" y="4724"/>
                    <a:pt x="7166" y="5548"/>
                  </a:cubicBezTo>
                  <a:lnTo>
                    <a:pt x="6676" y="5548"/>
                  </a:lnTo>
                  <a:cubicBezTo>
                    <a:pt x="5583" y="5548"/>
                    <a:pt x="4511" y="5856"/>
                    <a:pt x="3584" y="6436"/>
                  </a:cubicBezTo>
                  <a:cubicBezTo>
                    <a:pt x="2658" y="7016"/>
                    <a:pt x="1909" y="7837"/>
                    <a:pt x="1420" y="8815"/>
                  </a:cubicBezTo>
                  <a:lnTo>
                    <a:pt x="1284" y="9084"/>
                  </a:lnTo>
                  <a:cubicBezTo>
                    <a:pt x="1096" y="9458"/>
                    <a:pt x="1368" y="9902"/>
                    <a:pt x="1791" y="9905"/>
                  </a:cubicBezTo>
                  <a:lnTo>
                    <a:pt x="1948" y="9905"/>
                  </a:lnTo>
                  <a:lnTo>
                    <a:pt x="4623" y="10153"/>
                  </a:lnTo>
                  <a:cubicBezTo>
                    <a:pt x="4581" y="10237"/>
                    <a:pt x="4539" y="10322"/>
                    <a:pt x="4496" y="10409"/>
                  </a:cubicBezTo>
                  <a:cubicBezTo>
                    <a:pt x="4297" y="10802"/>
                    <a:pt x="4113" y="11176"/>
                    <a:pt x="3929" y="11533"/>
                  </a:cubicBezTo>
                  <a:cubicBezTo>
                    <a:pt x="3880" y="11626"/>
                    <a:pt x="3859" y="11732"/>
                    <a:pt x="3868" y="11838"/>
                  </a:cubicBezTo>
                  <a:cubicBezTo>
                    <a:pt x="3485" y="12031"/>
                    <a:pt x="3135" y="12287"/>
                    <a:pt x="2833" y="12592"/>
                  </a:cubicBezTo>
                  <a:cubicBezTo>
                    <a:pt x="1664" y="13761"/>
                    <a:pt x="275" y="18097"/>
                    <a:pt x="121" y="18586"/>
                  </a:cubicBezTo>
                  <a:cubicBezTo>
                    <a:pt x="1" y="18966"/>
                    <a:pt x="294" y="19325"/>
                    <a:pt x="657" y="19325"/>
                  </a:cubicBezTo>
                  <a:cubicBezTo>
                    <a:pt x="713" y="19325"/>
                    <a:pt x="770" y="19317"/>
                    <a:pt x="828" y="19299"/>
                  </a:cubicBezTo>
                  <a:cubicBezTo>
                    <a:pt x="1320" y="19145"/>
                    <a:pt x="5665" y="17765"/>
                    <a:pt x="6836" y="16593"/>
                  </a:cubicBezTo>
                  <a:cubicBezTo>
                    <a:pt x="7144" y="16288"/>
                    <a:pt x="7398" y="15935"/>
                    <a:pt x="7594" y="15549"/>
                  </a:cubicBezTo>
                  <a:lnTo>
                    <a:pt x="7628" y="15549"/>
                  </a:lnTo>
                  <a:cubicBezTo>
                    <a:pt x="7715" y="15549"/>
                    <a:pt x="7806" y="15527"/>
                    <a:pt x="7884" y="15485"/>
                  </a:cubicBezTo>
                  <a:cubicBezTo>
                    <a:pt x="8240" y="15304"/>
                    <a:pt x="8615" y="15117"/>
                    <a:pt x="9010" y="14920"/>
                  </a:cubicBezTo>
                  <a:lnTo>
                    <a:pt x="9255" y="14797"/>
                  </a:lnTo>
                  <a:lnTo>
                    <a:pt x="9463" y="17418"/>
                  </a:lnTo>
                  <a:lnTo>
                    <a:pt x="9463" y="17578"/>
                  </a:lnTo>
                  <a:cubicBezTo>
                    <a:pt x="9463" y="17906"/>
                    <a:pt x="9732" y="18144"/>
                    <a:pt x="10028" y="18144"/>
                  </a:cubicBezTo>
                  <a:cubicBezTo>
                    <a:pt x="10113" y="18144"/>
                    <a:pt x="10201" y="18124"/>
                    <a:pt x="10285" y="18082"/>
                  </a:cubicBezTo>
                  <a:lnTo>
                    <a:pt x="10553" y="17946"/>
                  </a:lnTo>
                  <a:cubicBezTo>
                    <a:pt x="12543" y="16950"/>
                    <a:pt x="13802" y="14914"/>
                    <a:pt x="13799" y="12689"/>
                  </a:cubicBezTo>
                  <a:lnTo>
                    <a:pt x="13799" y="12303"/>
                  </a:lnTo>
                  <a:cubicBezTo>
                    <a:pt x="14654" y="11750"/>
                    <a:pt x="15442" y="11161"/>
                    <a:pt x="16091" y="10536"/>
                  </a:cubicBezTo>
                  <a:cubicBezTo>
                    <a:pt x="17619" y="9060"/>
                    <a:pt x="18582" y="7366"/>
                    <a:pt x="19059" y="5207"/>
                  </a:cubicBezTo>
                  <a:cubicBezTo>
                    <a:pt x="19065" y="5186"/>
                    <a:pt x="19068" y="5165"/>
                    <a:pt x="19071" y="5140"/>
                  </a:cubicBezTo>
                  <a:cubicBezTo>
                    <a:pt x="19361" y="3809"/>
                    <a:pt x="19464" y="2302"/>
                    <a:pt x="19403" y="563"/>
                  </a:cubicBezTo>
                  <a:cubicBezTo>
                    <a:pt x="19394" y="264"/>
                    <a:pt x="19156" y="25"/>
                    <a:pt x="18857" y="16"/>
                  </a:cubicBezTo>
                  <a:cubicBezTo>
                    <a:pt x="18544" y="6"/>
                    <a:pt x="18238" y="0"/>
                    <a:pt x="179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09" name="Google Shape;6309;p71"/>
            <p:cNvSpPr/>
            <p:nvPr/>
          </p:nvSpPr>
          <p:spPr>
            <a:xfrm>
              <a:off x="1106975" y="4639875"/>
              <a:ext cx="28325" cy="28325"/>
            </a:xfrm>
            <a:custGeom>
              <a:avLst/>
              <a:gdLst/>
              <a:ahLst/>
              <a:cxnLst/>
              <a:rect l="l" t="t" r="r" b="b"/>
              <a:pathLst>
                <a:path w="1133" h="1133" extrusionOk="0">
                  <a:moveTo>
                    <a:pt x="565" y="0"/>
                  </a:moveTo>
                  <a:cubicBezTo>
                    <a:pt x="254" y="0"/>
                    <a:pt x="0" y="254"/>
                    <a:pt x="0" y="568"/>
                  </a:cubicBezTo>
                  <a:cubicBezTo>
                    <a:pt x="0" y="879"/>
                    <a:pt x="254" y="1133"/>
                    <a:pt x="565" y="1133"/>
                  </a:cubicBezTo>
                  <a:cubicBezTo>
                    <a:pt x="879" y="1133"/>
                    <a:pt x="1132" y="879"/>
                    <a:pt x="1132" y="568"/>
                  </a:cubicBezTo>
                  <a:cubicBezTo>
                    <a:pt x="1132" y="254"/>
                    <a:pt x="879" y="0"/>
                    <a:pt x="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10" name="Google Shape;6310;p71"/>
          <p:cNvGrpSpPr/>
          <p:nvPr/>
        </p:nvGrpSpPr>
        <p:grpSpPr>
          <a:xfrm>
            <a:off x="7319451" y="4747158"/>
            <a:ext cx="453557" cy="412837"/>
            <a:chOff x="1487200" y="4421025"/>
            <a:chExt cx="483125" cy="439750"/>
          </a:xfrm>
        </p:grpSpPr>
        <p:sp>
          <p:nvSpPr>
            <p:cNvPr id="6311" name="Google Shape;6311;p71"/>
            <p:cNvSpPr/>
            <p:nvPr/>
          </p:nvSpPr>
          <p:spPr>
            <a:xfrm>
              <a:off x="1487200" y="4421025"/>
              <a:ext cx="483125" cy="439750"/>
            </a:xfrm>
            <a:custGeom>
              <a:avLst/>
              <a:gdLst/>
              <a:ahLst/>
              <a:cxnLst/>
              <a:rect l="l" t="t" r="r" b="b"/>
              <a:pathLst>
                <a:path w="19325" h="17590" extrusionOk="0">
                  <a:moveTo>
                    <a:pt x="12818" y="1130"/>
                  </a:moveTo>
                  <a:cubicBezTo>
                    <a:pt x="14361" y="1130"/>
                    <a:pt x="15671" y="2389"/>
                    <a:pt x="15867" y="4059"/>
                  </a:cubicBezTo>
                  <a:cubicBezTo>
                    <a:pt x="15867" y="4077"/>
                    <a:pt x="15870" y="4095"/>
                    <a:pt x="15873" y="4110"/>
                  </a:cubicBezTo>
                  <a:lnTo>
                    <a:pt x="16242" y="5871"/>
                  </a:lnTo>
                  <a:lnTo>
                    <a:pt x="9406" y="5871"/>
                  </a:lnTo>
                  <a:lnTo>
                    <a:pt x="11707" y="4110"/>
                  </a:lnTo>
                  <a:cubicBezTo>
                    <a:pt x="11957" y="3920"/>
                    <a:pt x="12008" y="3561"/>
                    <a:pt x="11815" y="3310"/>
                  </a:cubicBezTo>
                  <a:cubicBezTo>
                    <a:pt x="11703" y="3166"/>
                    <a:pt x="11534" y="3091"/>
                    <a:pt x="11364" y="3091"/>
                  </a:cubicBezTo>
                  <a:cubicBezTo>
                    <a:pt x="11242" y="3091"/>
                    <a:pt x="11119" y="3130"/>
                    <a:pt x="11015" y="3211"/>
                  </a:cubicBezTo>
                  <a:lnTo>
                    <a:pt x="7618" y="5816"/>
                  </a:lnTo>
                  <a:cubicBezTo>
                    <a:pt x="7597" y="5835"/>
                    <a:pt x="7576" y="5853"/>
                    <a:pt x="7558" y="5871"/>
                  </a:cubicBezTo>
                  <a:lnTo>
                    <a:pt x="3083" y="5871"/>
                  </a:lnTo>
                  <a:lnTo>
                    <a:pt x="3451" y="4110"/>
                  </a:lnTo>
                  <a:cubicBezTo>
                    <a:pt x="3454" y="4095"/>
                    <a:pt x="3457" y="4077"/>
                    <a:pt x="3460" y="4059"/>
                  </a:cubicBezTo>
                  <a:cubicBezTo>
                    <a:pt x="3654" y="2389"/>
                    <a:pt x="4964" y="1130"/>
                    <a:pt x="6507" y="1130"/>
                  </a:cubicBezTo>
                  <a:close/>
                  <a:moveTo>
                    <a:pt x="16939" y="7021"/>
                  </a:moveTo>
                  <a:cubicBezTo>
                    <a:pt x="17631" y="7021"/>
                    <a:pt x="18192" y="7580"/>
                    <a:pt x="18192" y="8274"/>
                  </a:cubicBezTo>
                  <a:lnTo>
                    <a:pt x="18192" y="11913"/>
                  </a:lnTo>
                  <a:cubicBezTo>
                    <a:pt x="18192" y="12604"/>
                    <a:pt x="17631" y="13163"/>
                    <a:pt x="16939" y="13166"/>
                  </a:cubicBezTo>
                  <a:lnTo>
                    <a:pt x="2385" y="13166"/>
                  </a:lnTo>
                  <a:cubicBezTo>
                    <a:pt x="1694" y="13163"/>
                    <a:pt x="1132" y="12604"/>
                    <a:pt x="1132" y="11913"/>
                  </a:cubicBezTo>
                  <a:lnTo>
                    <a:pt x="1132" y="8274"/>
                  </a:lnTo>
                  <a:cubicBezTo>
                    <a:pt x="1132" y="7580"/>
                    <a:pt x="1694" y="7021"/>
                    <a:pt x="2385" y="7021"/>
                  </a:cubicBezTo>
                  <a:close/>
                  <a:moveTo>
                    <a:pt x="5813" y="14304"/>
                  </a:moveTo>
                  <a:lnTo>
                    <a:pt x="5813" y="15889"/>
                  </a:lnTo>
                  <a:cubicBezTo>
                    <a:pt x="5813" y="16203"/>
                    <a:pt x="5559" y="16457"/>
                    <a:pt x="5248" y="16457"/>
                  </a:cubicBezTo>
                  <a:lnTo>
                    <a:pt x="3874" y="16457"/>
                  </a:lnTo>
                  <a:cubicBezTo>
                    <a:pt x="3560" y="16457"/>
                    <a:pt x="3306" y="16203"/>
                    <a:pt x="3306" y="15889"/>
                  </a:cubicBezTo>
                  <a:lnTo>
                    <a:pt x="3306" y="14304"/>
                  </a:lnTo>
                  <a:close/>
                  <a:moveTo>
                    <a:pt x="16018" y="14304"/>
                  </a:moveTo>
                  <a:lnTo>
                    <a:pt x="16018" y="15889"/>
                  </a:lnTo>
                  <a:cubicBezTo>
                    <a:pt x="16018" y="16203"/>
                    <a:pt x="15765" y="16457"/>
                    <a:pt x="15454" y="16457"/>
                  </a:cubicBezTo>
                  <a:lnTo>
                    <a:pt x="14080" y="16457"/>
                  </a:lnTo>
                  <a:cubicBezTo>
                    <a:pt x="13766" y="16457"/>
                    <a:pt x="13512" y="16203"/>
                    <a:pt x="13512" y="15889"/>
                  </a:cubicBezTo>
                  <a:lnTo>
                    <a:pt x="13512" y="14304"/>
                  </a:lnTo>
                  <a:close/>
                  <a:moveTo>
                    <a:pt x="6507" y="1"/>
                  </a:moveTo>
                  <a:cubicBezTo>
                    <a:pt x="4396" y="1"/>
                    <a:pt x="2609" y="1677"/>
                    <a:pt x="2337" y="3902"/>
                  </a:cubicBezTo>
                  <a:lnTo>
                    <a:pt x="1911" y="5934"/>
                  </a:lnTo>
                  <a:cubicBezTo>
                    <a:pt x="800" y="6161"/>
                    <a:pt x="0" y="7139"/>
                    <a:pt x="0" y="8274"/>
                  </a:cubicBezTo>
                  <a:lnTo>
                    <a:pt x="0" y="11910"/>
                  </a:lnTo>
                  <a:cubicBezTo>
                    <a:pt x="3" y="13145"/>
                    <a:pt x="945" y="14177"/>
                    <a:pt x="2174" y="14286"/>
                  </a:cubicBezTo>
                  <a:lnTo>
                    <a:pt x="2174" y="15889"/>
                  </a:lnTo>
                  <a:cubicBezTo>
                    <a:pt x="2174" y="16828"/>
                    <a:pt x="2935" y="17586"/>
                    <a:pt x="3874" y="17589"/>
                  </a:cubicBezTo>
                  <a:lnTo>
                    <a:pt x="5248" y="17589"/>
                  </a:lnTo>
                  <a:cubicBezTo>
                    <a:pt x="6184" y="17586"/>
                    <a:pt x="6945" y="16828"/>
                    <a:pt x="6945" y="15889"/>
                  </a:cubicBezTo>
                  <a:lnTo>
                    <a:pt x="6945" y="14298"/>
                  </a:lnTo>
                  <a:lnTo>
                    <a:pt x="12380" y="14298"/>
                  </a:lnTo>
                  <a:lnTo>
                    <a:pt x="12380" y="15889"/>
                  </a:lnTo>
                  <a:cubicBezTo>
                    <a:pt x="12380" y="16828"/>
                    <a:pt x="13141" y="17586"/>
                    <a:pt x="14080" y="17589"/>
                  </a:cubicBezTo>
                  <a:lnTo>
                    <a:pt x="15454" y="17589"/>
                  </a:lnTo>
                  <a:cubicBezTo>
                    <a:pt x="16390" y="17586"/>
                    <a:pt x="17151" y="16828"/>
                    <a:pt x="17151" y="15889"/>
                  </a:cubicBezTo>
                  <a:lnTo>
                    <a:pt x="17151" y="14286"/>
                  </a:lnTo>
                  <a:cubicBezTo>
                    <a:pt x="18380" y="14177"/>
                    <a:pt x="19322" y="13145"/>
                    <a:pt x="19325" y="11913"/>
                  </a:cubicBezTo>
                  <a:lnTo>
                    <a:pt x="19325" y="8274"/>
                  </a:lnTo>
                  <a:cubicBezTo>
                    <a:pt x="19325" y="7139"/>
                    <a:pt x="18524" y="6161"/>
                    <a:pt x="17413" y="5934"/>
                  </a:cubicBezTo>
                  <a:lnTo>
                    <a:pt x="16988" y="3902"/>
                  </a:lnTo>
                  <a:cubicBezTo>
                    <a:pt x="16716" y="1677"/>
                    <a:pt x="14928" y="1"/>
                    <a:pt x="128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12" name="Google Shape;6312;p71"/>
            <p:cNvSpPr/>
            <p:nvPr/>
          </p:nvSpPr>
          <p:spPr>
            <a:xfrm>
              <a:off x="1544950" y="4622200"/>
              <a:ext cx="103950" cy="100025"/>
            </a:xfrm>
            <a:custGeom>
              <a:avLst/>
              <a:gdLst/>
              <a:ahLst/>
              <a:cxnLst/>
              <a:rect l="l" t="t" r="r" b="b"/>
              <a:pathLst>
                <a:path w="4158" h="4001" extrusionOk="0">
                  <a:moveTo>
                    <a:pt x="2152" y="1131"/>
                  </a:moveTo>
                  <a:cubicBezTo>
                    <a:pt x="2599" y="1131"/>
                    <a:pt x="3025" y="1477"/>
                    <a:pt x="3025" y="2000"/>
                  </a:cubicBezTo>
                  <a:cubicBezTo>
                    <a:pt x="3025" y="2480"/>
                    <a:pt x="2639" y="2869"/>
                    <a:pt x="2159" y="2869"/>
                  </a:cubicBezTo>
                  <a:cubicBezTo>
                    <a:pt x="1386" y="2869"/>
                    <a:pt x="996" y="1933"/>
                    <a:pt x="1543" y="1387"/>
                  </a:cubicBezTo>
                  <a:cubicBezTo>
                    <a:pt x="1721" y="1210"/>
                    <a:pt x="1939" y="1131"/>
                    <a:pt x="2152" y="1131"/>
                  </a:cubicBezTo>
                  <a:close/>
                  <a:moveTo>
                    <a:pt x="2159" y="1"/>
                  </a:moveTo>
                  <a:cubicBezTo>
                    <a:pt x="1350" y="1"/>
                    <a:pt x="619" y="487"/>
                    <a:pt x="311" y="1233"/>
                  </a:cubicBezTo>
                  <a:cubicBezTo>
                    <a:pt x="0" y="1982"/>
                    <a:pt x="172" y="2842"/>
                    <a:pt x="743" y="3413"/>
                  </a:cubicBezTo>
                  <a:cubicBezTo>
                    <a:pt x="1127" y="3796"/>
                    <a:pt x="1639" y="4001"/>
                    <a:pt x="2159" y="4001"/>
                  </a:cubicBezTo>
                  <a:cubicBezTo>
                    <a:pt x="2416" y="4001"/>
                    <a:pt x="2676" y="3951"/>
                    <a:pt x="2923" y="3848"/>
                  </a:cubicBezTo>
                  <a:cubicBezTo>
                    <a:pt x="3672" y="3540"/>
                    <a:pt x="4158" y="2809"/>
                    <a:pt x="4158" y="2000"/>
                  </a:cubicBezTo>
                  <a:cubicBezTo>
                    <a:pt x="4158" y="895"/>
                    <a:pt x="3261" y="1"/>
                    <a:pt x="21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13" name="Google Shape;6313;p71"/>
            <p:cNvSpPr/>
            <p:nvPr/>
          </p:nvSpPr>
          <p:spPr>
            <a:xfrm>
              <a:off x="1804675" y="4622200"/>
              <a:ext cx="103975" cy="100025"/>
            </a:xfrm>
            <a:custGeom>
              <a:avLst/>
              <a:gdLst/>
              <a:ahLst/>
              <a:cxnLst/>
              <a:rect l="l" t="t" r="r" b="b"/>
              <a:pathLst>
                <a:path w="4159" h="4001" extrusionOk="0">
                  <a:moveTo>
                    <a:pt x="2152" y="1131"/>
                  </a:moveTo>
                  <a:cubicBezTo>
                    <a:pt x="2598" y="1131"/>
                    <a:pt x="3026" y="1477"/>
                    <a:pt x="3026" y="2000"/>
                  </a:cubicBezTo>
                  <a:cubicBezTo>
                    <a:pt x="3026" y="2480"/>
                    <a:pt x="2637" y="2869"/>
                    <a:pt x="2157" y="2869"/>
                  </a:cubicBezTo>
                  <a:cubicBezTo>
                    <a:pt x="1384" y="2869"/>
                    <a:pt x="997" y="1933"/>
                    <a:pt x="1544" y="1387"/>
                  </a:cubicBezTo>
                  <a:cubicBezTo>
                    <a:pt x="1721" y="1210"/>
                    <a:pt x="1938" y="1131"/>
                    <a:pt x="2152" y="1131"/>
                  </a:cubicBezTo>
                  <a:close/>
                  <a:moveTo>
                    <a:pt x="2157" y="1"/>
                  </a:moveTo>
                  <a:cubicBezTo>
                    <a:pt x="1348" y="1"/>
                    <a:pt x="620" y="487"/>
                    <a:pt x="309" y="1233"/>
                  </a:cubicBezTo>
                  <a:cubicBezTo>
                    <a:pt x="1" y="1982"/>
                    <a:pt x="170" y="2842"/>
                    <a:pt x="744" y="3413"/>
                  </a:cubicBezTo>
                  <a:cubicBezTo>
                    <a:pt x="1125" y="3796"/>
                    <a:pt x="1637" y="4001"/>
                    <a:pt x="2158" y="4001"/>
                  </a:cubicBezTo>
                  <a:cubicBezTo>
                    <a:pt x="2416" y="4001"/>
                    <a:pt x="2676" y="3951"/>
                    <a:pt x="2924" y="3848"/>
                  </a:cubicBezTo>
                  <a:cubicBezTo>
                    <a:pt x="3670" y="3540"/>
                    <a:pt x="4159" y="2809"/>
                    <a:pt x="4159" y="2000"/>
                  </a:cubicBezTo>
                  <a:cubicBezTo>
                    <a:pt x="4156" y="895"/>
                    <a:pt x="3262" y="1"/>
                    <a:pt x="21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14" name="Google Shape;6314;p71"/>
            <p:cNvSpPr/>
            <p:nvPr/>
          </p:nvSpPr>
          <p:spPr>
            <a:xfrm>
              <a:off x="1667450" y="4661825"/>
              <a:ext cx="119825" cy="28350"/>
            </a:xfrm>
            <a:custGeom>
              <a:avLst/>
              <a:gdLst/>
              <a:ahLst/>
              <a:cxnLst/>
              <a:rect l="l" t="t" r="r" b="b"/>
              <a:pathLst>
                <a:path w="4793" h="1134" extrusionOk="0">
                  <a:moveTo>
                    <a:pt x="565" y="1"/>
                  </a:moveTo>
                  <a:cubicBezTo>
                    <a:pt x="251" y="1"/>
                    <a:pt x="1" y="252"/>
                    <a:pt x="1" y="566"/>
                  </a:cubicBezTo>
                  <a:cubicBezTo>
                    <a:pt x="1" y="880"/>
                    <a:pt x="251" y="1133"/>
                    <a:pt x="565" y="1133"/>
                  </a:cubicBezTo>
                  <a:lnTo>
                    <a:pt x="4228" y="1133"/>
                  </a:lnTo>
                  <a:cubicBezTo>
                    <a:pt x="4539" y="1133"/>
                    <a:pt x="4792" y="880"/>
                    <a:pt x="4792" y="566"/>
                  </a:cubicBezTo>
                  <a:cubicBezTo>
                    <a:pt x="4792" y="252"/>
                    <a:pt x="4539" y="1"/>
                    <a:pt x="42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15" name="Google Shape;6315;p71"/>
          <p:cNvGrpSpPr/>
          <p:nvPr/>
        </p:nvGrpSpPr>
        <p:grpSpPr>
          <a:xfrm>
            <a:off x="7858490" y="4726810"/>
            <a:ext cx="459871" cy="453535"/>
            <a:chOff x="2079300" y="4399325"/>
            <a:chExt cx="489850" cy="483100"/>
          </a:xfrm>
        </p:grpSpPr>
        <p:sp>
          <p:nvSpPr>
            <p:cNvPr id="6316" name="Google Shape;6316;p71"/>
            <p:cNvSpPr/>
            <p:nvPr/>
          </p:nvSpPr>
          <p:spPr>
            <a:xfrm>
              <a:off x="2079300" y="4399325"/>
              <a:ext cx="489850" cy="483100"/>
            </a:xfrm>
            <a:custGeom>
              <a:avLst/>
              <a:gdLst/>
              <a:ahLst/>
              <a:cxnLst/>
              <a:rect l="l" t="t" r="r" b="b"/>
              <a:pathLst>
                <a:path w="19594" h="19324" extrusionOk="0">
                  <a:moveTo>
                    <a:pt x="17109" y="1134"/>
                  </a:moveTo>
                  <a:cubicBezTo>
                    <a:pt x="17415" y="1134"/>
                    <a:pt x="17714" y="1254"/>
                    <a:pt x="17939" y="1479"/>
                  </a:cubicBezTo>
                  <a:cubicBezTo>
                    <a:pt x="18268" y="1805"/>
                    <a:pt x="18371" y="2297"/>
                    <a:pt x="18205" y="2732"/>
                  </a:cubicBezTo>
                  <a:cubicBezTo>
                    <a:pt x="18003" y="3260"/>
                    <a:pt x="17770" y="3774"/>
                    <a:pt x="17507" y="4275"/>
                  </a:cubicBezTo>
                  <a:cubicBezTo>
                    <a:pt x="16288" y="4088"/>
                    <a:pt x="15330" y="3130"/>
                    <a:pt x="15143" y="1911"/>
                  </a:cubicBezTo>
                  <a:cubicBezTo>
                    <a:pt x="15644" y="1648"/>
                    <a:pt x="16158" y="1415"/>
                    <a:pt x="16686" y="1210"/>
                  </a:cubicBezTo>
                  <a:lnTo>
                    <a:pt x="16686" y="1213"/>
                  </a:lnTo>
                  <a:cubicBezTo>
                    <a:pt x="16824" y="1160"/>
                    <a:pt x="16967" y="1134"/>
                    <a:pt x="17109" y="1134"/>
                  </a:cubicBezTo>
                  <a:close/>
                  <a:moveTo>
                    <a:pt x="2905" y="2901"/>
                  </a:moveTo>
                  <a:lnTo>
                    <a:pt x="10016" y="4541"/>
                  </a:lnTo>
                  <a:cubicBezTo>
                    <a:pt x="9744" y="4855"/>
                    <a:pt x="9485" y="5178"/>
                    <a:pt x="9234" y="5513"/>
                  </a:cubicBezTo>
                  <a:lnTo>
                    <a:pt x="9234" y="5516"/>
                  </a:lnTo>
                  <a:lnTo>
                    <a:pt x="7812" y="7463"/>
                  </a:lnTo>
                  <a:lnTo>
                    <a:pt x="2027" y="3780"/>
                  </a:lnTo>
                  <a:lnTo>
                    <a:pt x="2905" y="2901"/>
                  </a:lnTo>
                  <a:close/>
                  <a:moveTo>
                    <a:pt x="2465" y="11352"/>
                  </a:moveTo>
                  <a:lnTo>
                    <a:pt x="4738" y="11676"/>
                  </a:lnTo>
                  <a:lnTo>
                    <a:pt x="3488" y="13388"/>
                  </a:lnTo>
                  <a:lnTo>
                    <a:pt x="1574" y="12240"/>
                  </a:lnTo>
                  <a:lnTo>
                    <a:pt x="2465" y="11352"/>
                  </a:lnTo>
                  <a:close/>
                  <a:moveTo>
                    <a:pt x="14111" y="2502"/>
                  </a:moveTo>
                  <a:cubicBezTo>
                    <a:pt x="14479" y="3870"/>
                    <a:pt x="15545" y="4939"/>
                    <a:pt x="16913" y="5308"/>
                  </a:cubicBezTo>
                  <a:cubicBezTo>
                    <a:pt x="16318" y="6250"/>
                    <a:pt x="15617" y="7122"/>
                    <a:pt x="14823" y="7907"/>
                  </a:cubicBezTo>
                  <a:cubicBezTo>
                    <a:pt x="14811" y="7916"/>
                    <a:pt x="14802" y="7928"/>
                    <a:pt x="14793" y="7937"/>
                  </a:cubicBezTo>
                  <a:cubicBezTo>
                    <a:pt x="14304" y="8418"/>
                    <a:pt x="13784" y="8861"/>
                    <a:pt x="13235" y="9269"/>
                  </a:cubicBezTo>
                  <a:lnTo>
                    <a:pt x="5140" y="15184"/>
                  </a:lnTo>
                  <a:cubicBezTo>
                    <a:pt x="5128" y="15196"/>
                    <a:pt x="5113" y="15208"/>
                    <a:pt x="5101" y="15217"/>
                  </a:cubicBezTo>
                  <a:cubicBezTo>
                    <a:pt x="5082" y="15235"/>
                    <a:pt x="5061" y="15248"/>
                    <a:pt x="5040" y="15260"/>
                  </a:cubicBezTo>
                  <a:cubicBezTo>
                    <a:pt x="5031" y="15263"/>
                    <a:pt x="5022" y="15269"/>
                    <a:pt x="5016" y="15272"/>
                  </a:cubicBezTo>
                  <a:cubicBezTo>
                    <a:pt x="4925" y="15314"/>
                    <a:pt x="4801" y="15339"/>
                    <a:pt x="4674" y="15339"/>
                  </a:cubicBezTo>
                  <a:cubicBezTo>
                    <a:pt x="4506" y="15339"/>
                    <a:pt x="4333" y="15295"/>
                    <a:pt x="4228" y="15190"/>
                  </a:cubicBezTo>
                  <a:cubicBezTo>
                    <a:pt x="3998" y="14961"/>
                    <a:pt x="4004" y="14544"/>
                    <a:pt x="4237" y="14278"/>
                  </a:cubicBezTo>
                  <a:cubicBezTo>
                    <a:pt x="4249" y="14266"/>
                    <a:pt x="4261" y="14251"/>
                    <a:pt x="4270" y="14239"/>
                  </a:cubicBezTo>
                  <a:lnTo>
                    <a:pt x="10149" y="6186"/>
                  </a:lnTo>
                  <a:cubicBezTo>
                    <a:pt x="11230" y="4722"/>
                    <a:pt x="12574" y="3475"/>
                    <a:pt x="14111" y="2502"/>
                  </a:cubicBezTo>
                  <a:close/>
                  <a:moveTo>
                    <a:pt x="14877" y="9402"/>
                  </a:moveTo>
                  <a:lnTo>
                    <a:pt x="16517" y="16513"/>
                  </a:lnTo>
                  <a:lnTo>
                    <a:pt x="15635" y="17391"/>
                  </a:lnTo>
                  <a:lnTo>
                    <a:pt x="11955" y="11606"/>
                  </a:lnTo>
                  <a:lnTo>
                    <a:pt x="13905" y="10181"/>
                  </a:lnTo>
                  <a:cubicBezTo>
                    <a:pt x="14240" y="9933"/>
                    <a:pt x="14563" y="9674"/>
                    <a:pt x="14877" y="9402"/>
                  </a:cubicBezTo>
                  <a:close/>
                  <a:moveTo>
                    <a:pt x="7743" y="14686"/>
                  </a:moveTo>
                  <a:lnTo>
                    <a:pt x="8069" y="16957"/>
                  </a:lnTo>
                  <a:lnTo>
                    <a:pt x="7181" y="17844"/>
                  </a:lnTo>
                  <a:lnTo>
                    <a:pt x="6034" y="15936"/>
                  </a:lnTo>
                  <a:lnTo>
                    <a:pt x="7743" y="14686"/>
                  </a:lnTo>
                  <a:close/>
                  <a:moveTo>
                    <a:pt x="17108" y="0"/>
                  </a:moveTo>
                  <a:cubicBezTo>
                    <a:pt x="16830" y="0"/>
                    <a:pt x="16550" y="50"/>
                    <a:pt x="16282" y="153"/>
                  </a:cubicBezTo>
                  <a:cubicBezTo>
                    <a:pt x="14280" y="923"/>
                    <a:pt x="12456" y="2092"/>
                    <a:pt x="10919" y="3586"/>
                  </a:cubicBezTo>
                  <a:lnTo>
                    <a:pt x="7758" y="2856"/>
                  </a:lnTo>
                  <a:lnTo>
                    <a:pt x="7978" y="2635"/>
                  </a:lnTo>
                  <a:cubicBezTo>
                    <a:pt x="8198" y="2415"/>
                    <a:pt x="8198" y="2056"/>
                    <a:pt x="7978" y="1835"/>
                  </a:cubicBezTo>
                  <a:cubicBezTo>
                    <a:pt x="7868" y="1724"/>
                    <a:pt x="7724" y="1669"/>
                    <a:pt x="7579" y="1669"/>
                  </a:cubicBezTo>
                  <a:cubicBezTo>
                    <a:pt x="7434" y="1669"/>
                    <a:pt x="7288" y="1725"/>
                    <a:pt x="7178" y="1835"/>
                  </a:cubicBezTo>
                  <a:lnTo>
                    <a:pt x="6456" y="2557"/>
                  </a:lnTo>
                  <a:lnTo>
                    <a:pt x="3850" y="1956"/>
                  </a:lnTo>
                  <a:lnTo>
                    <a:pt x="4074" y="1736"/>
                  </a:lnTo>
                  <a:cubicBezTo>
                    <a:pt x="4300" y="1515"/>
                    <a:pt x="4303" y="1150"/>
                    <a:pt x="4080" y="926"/>
                  </a:cubicBezTo>
                  <a:cubicBezTo>
                    <a:pt x="3969" y="816"/>
                    <a:pt x="3824" y="761"/>
                    <a:pt x="3679" y="761"/>
                  </a:cubicBezTo>
                  <a:cubicBezTo>
                    <a:pt x="3531" y="761"/>
                    <a:pt x="3384" y="818"/>
                    <a:pt x="3274" y="932"/>
                  </a:cubicBezTo>
                  <a:lnTo>
                    <a:pt x="1945" y="2261"/>
                  </a:lnTo>
                  <a:lnTo>
                    <a:pt x="725" y="3478"/>
                  </a:lnTo>
                  <a:cubicBezTo>
                    <a:pt x="469" y="3734"/>
                    <a:pt x="517" y="4163"/>
                    <a:pt x="822" y="4356"/>
                  </a:cubicBezTo>
                  <a:lnTo>
                    <a:pt x="7145" y="8378"/>
                  </a:lnTo>
                  <a:lnTo>
                    <a:pt x="5496" y="10640"/>
                  </a:lnTo>
                  <a:lnTo>
                    <a:pt x="2344" y="10190"/>
                  </a:lnTo>
                  <a:cubicBezTo>
                    <a:pt x="2317" y="10186"/>
                    <a:pt x="2290" y="10185"/>
                    <a:pt x="2264" y="10185"/>
                  </a:cubicBezTo>
                  <a:cubicBezTo>
                    <a:pt x="2113" y="10185"/>
                    <a:pt x="1969" y="10242"/>
                    <a:pt x="1864" y="10350"/>
                  </a:cubicBezTo>
                  <a:lnTo>
                    <a:pt x="260" y="11950"/>
                  </a:lnTo>
                  <a:cubicBezTo>
                    <a:pt x="1" y="12213"/>
                    <a:pt x="55" y="12648"/>
                    <a:pt x="369" y="12838"/>
                  </a:cubicBezTo>
                  <a:lnTo>
                    <a:pt x="2966" y="14393"/>
                  </a:lnTo>
                  <a:cubicBezTo>
                    <a:pt x="2851" y="14964"/>
                    <a:pt x="3008" y="15574"/>
                    <a:pt x="3428" y="15990"/>
                  </a:cubicBezTo>
                  <a:cubicBezTo>
                    <a:pt x="3757" y="16322"/>
                    <a:pt x="4219" y="16467"/>
                    <a:pt x="4669" y="16467"/>
                  </a:cubicBezTo>
                  <a:cubicBezTo>
                    <a:pt x="4786" y="16467"/>
                    <a:pt x="4901" y="16458"/>
                    <a:pt x="5016" y="16440"/>
                  </a:cubicBezTo>
                  <a:lnTo>
                    <a:pt x="6580" y="19049"/>
                  </a:lnTo>
                  <a:cubicBezTo>
                    <a:pt x="6671" y="19197"/>
                    <a:pt x="6825" y="19297"/>
                    <a:pt x="6997" y="19318"/>
                  </a:cubicBezTo>
                  <a:cubicBezTo>
                    <a:pt x="7021" y="19321"/>
                    <a:pt x="7042" y="19324"/>
                    <a:pt x="7066" y="19324"/>
                  </a:cubicBezTo>
                  <a:cubicBezTo>
                    <a:pt x="7217" y="19324"/>
                    <a:pt x="7359" y="19263"/>
                    <a:pt x="7465" y="19158"/>
                  </a:cubicBezTo>
                  <a:lnTo>
                    <a:pt x="9068" y="17554"/>
                  </a:lnTo>
                  <a:cubicBezTo>
                    <a:pt x="9192" y="17431"/>
                    <a:pt x="9252" y="17252"/>
                    <a:pt x="9228" y="17074"/>
                  </a:cubicBezTo>
                  <a:lnTo>
                    <a:pt x="8778" y="13931"/>
                  </a:lnTo>
                  <a:lnTo>
                    <a:pt x="11040" y="12276"/>
                  </a:lnTo>
                  <a:lnTo>
                    <a:pt x="15062" y="18596"/>
                  </a:lnTo>
                  <a:cubicBezTo>
                    <a:pt x="15152" y="18741"/>
                    <a:pt x="15306" y="18835"/>
                    <a:pt x="15475" y="18853"/>
                  </a:cubicBezTo>
                  <a:cubicBezTo>
                    <a:pt x="15496" y="18856"/>
                    <a:pt x="15518" y="18859"/>
                    <a:pt x="15539" y="18859"/>
                  </a:cubicBezTo>
                  <a:cubicBezTo>
                    <a:pt x="15687" y="18859"/>
                    <a:pt x="15832" y="18798"/>
                    <a:pt x="15937" y="18693"/>
                  </a:cubicBezTo>
                  <a:lnTo>
                    <a:pt x="16740" y="17890"/>
                  </a:lnTo>
                  <a:lnTo>
                    <a:pt x="18483" y="16144"/>
                  </a:lnTo>
                  <a:cubicBezTo>
                    <a:pt x="18712" y="15924"/>
                    <a:pt x="18715" y="15562"/>
                    <a:pt x="18492" y="15338"/>
                  </a:cubicBezTo>
                  <a:cubicBezTo>
                    <a:pt x="18381" y="15228"/>
                    <a:pt x="18236" y="15172"/>
                    <a:pt x="18090" y="15172"/>
                  </a:cubicBezTo>
                  <a:cubicBezTo>
                    <a:pt x="17942" y="15172"/>
                    <a:pt x="17794" y="15230"/>
                    <a:pt x="17683" y="15344"/>
                  </a:cubicBezTo>
                  <a:lnTo>
                    <a:pt x="17462" y="15568"/>
                  </a:lnTo>
                  <a:lnTo>
                    <a:pt x="16861" y="12965"/>
                  </a:lnTo>
                  <a:lnTo>
                    <a:pt x="17583" y="12243"/>
                  </a:lnTo>
                  <a:cubicBezTo>
                    <a:pt x="17803" y="12020"/>
                    <a:pt x="17803" y="11660"/>
                    <a:pt x="17583" y="11440"/>
                  </a:cubicBezTo>
                  <a:cubicBezTo>
                    <a:pt x="17473" y="11330"/>
                    <a:pt x="17328" y="11275"/>
                    <a:pt x="17183" y="11275"/>
                  </a:cubicBezTo>
                  <a:cubicBezTo>
                    <a:pt x="17038" y="11275"/>
                    <a:pt x="16893" y="11330"/>
                    <a:pt x="16783" y="11440"/>
                  </a:cubicBezTo>
                  <a:lnTo>
                    <a:pt x="16559" y="11663"/>
                  </a:lnTo>
                  <a:lnTo>
                    <a:pt x="15835" y="8499"/>
                  </a:lnTo>
                  <a:cubicBezTo>
                    <a:pt x="17329" y="6962"/>
                    <a:pt x="18498" y="5138"/>
                    <a:pt x="19265" y="3137"/>
                  </a:cubicBezTo>
                  <a:cubicBezTo>
                    <a:pt x="19594" y="2285"/>
                    <a:pt x="19389" y="1322"/>
                    <a:pt x="18742" y="676"/>
                  </a:cubicBezTo>
                  <a:cubicBezTo>
                    <a:pt x="18302" y="236"/>
                    <a:pt x="17711" y="0"/>
                    <a:pt x="171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17" name="Google Shape;6317;p71"/>
            <p:cNvSpPr/>
            <p:nvPr/>
          </p:nvSpPr>
          <p:spPr>
            <a:xfrm>
              <a:off x="2348725" y="4522375"/>
              <a:ext cx="94375" cy="88150"/>
            </a:xfrm>
            <a:custGeom>
              <a:avLst/>
              <a:gdLst/>
              <a:ahLst/>
              <a:cxnLst/>
              <a:rect l="l" t="t" r="r" b="b"/>
              <a:pathLst>
                <a:path w="3775" h="3526" extrusionOk="0">
                  <a:moveTo>
                    <a:pt x="3155" y="0"/>
                  </a:moveTo>
                  <a:cubicBezTo>
                    <a:pt x="3013" y="0"/>
                    <a:pt x="2870" y="53"/>
                    <a:pt x="2760" y="159"/>
                  </a:cubicBezTo>
                  <a:lnTo>
                    <a:pt x="359" y="2560"/>
                  </a:lnTo>
                  <a:cubicBezTo>
                    <a:pt x="0" y="2916"/>
                    <a:pt x="254" y="3526"/>
                    <a:pt x="758" y="3526"/>
                  </a:cubicBezTo>
                  <a:cubicBezTo>
                    <a:pt x="909" y="3526"/>
                    <a:pt x="1054" y="3468"/>
                    <a:pt x="1160" y="3360"/>
                  </a:cubicBezTo>
                  <a:lnTo>
                    <a:pt x="3560" y="959"/>
                  </a:lnTo>
                  <a:cubicBezTo>
                    <a:pt x="3774" y="736"/>
                    <a:pt x="3771" y="383"/>
                    <a:pt x="3554" y="165"/>
                  </a:cubicBezTo>
                  <a:cubicBezTo>
                    <a:pt x="3444" y="55"/>
                    <a:pt x="3300" y="0"/>
                    <a:pt x="31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318" name="Google Shape;6318;p71"/>
          <p:cNvSpPr/>
          <p:nvPr/>
        </p:nvSpPr>
        <p:spPr>
          <a:xfrm>
            <a:off x="8441010" y="4726093"/>
            <a:ext cx="398732" cy="453511"/>
          </a:xfrm>
          <a:custGeom>
            <a:avLst/>
            <a:gdLst/>
            <a:ahLst/>
            <a:cxnLst/>
            <a:rect l="l" t="t" r="r" b="b"/>
            <a:pathLst>
              <a:path w="16989" h="19323" extrusionOk="0">
                <a:moveTo>
                  <a:pt x="8495" y="2378"/>
                </a:moveTo>
                <a:cubicBezTo>
                  <a:pt x="9434" y="2378"/>
                  <a:pt x="10195" y="3136"/>
                  <a:pt x="10195" y="4075"/>
                </a:cubicBezTo>
                <a:lnTo>
                  <a:pt x="10195" y="4642"/>
                </a:lnTo>
                <a:lnTo>
                  <a:pt x="6798" y="4642"/>
                </a:lnTo>
                <a:lnTo>
                  <a:pt x="6798" y="4075"/>
                </a:lnTo>
                <a:cubicBezTo>
                  <a:pt x="6798" y="3136"/>
                  <a:pt x="7556" y="2378"/>
                  <a:pt x="8495" y="2378"/>
                </a:cubicBezTo>
                <a:close/>
                <a:moveTo>
                  <a:pt x="4242" y="1130"/>
                </a:moveTo>
                <a:cubicBezTo>
                  <a:pt x="4665" y="1130"/>
                  <a:pt x="5096" y="1267"/>
                  <a:pt x="5469" y="1565"/>
                </a:cubicBezTo>
                <a:lnTo>
                  <a:pt x="6330" y="2251"/>
                </a:lnTo>
                <a:cubicBezTo>
                  <a:pt x="5901" y="2761"/>
                  <a:pt x="5662" y="3407"/>
                  <a:pt x="5665" y="4075"/>
                </a:cubicBezTo>
                <a:lnTo>
                  <a:pt x="5665" y="4642"/>
                </a:lnTo>
                <a:lnTo>
                  <a:pt x="3872" y="4642"/>
                </a:lnTo>
                <a:cubicBezTo>
                  <a:pt x="3870" y="4642"/>
                  <a:pt x="3869" y="4642"/>
                  <a:pt x="3867" y="4642"/>
                </a:cubicBezTo>
                <a:cubicBezTo>
                  <a:pt x="2879" y="4642"/>
                  <a:pt x="2127" y="3756"/>
                  <a:pt x="2290" y="2782"/>
                </a:cubicBezTo>
                <a:cubicBezTo>
                  <a:pt x="2459" y="1765"/>
                  <a:pt x="3331" y="1130"/>
                  <a:pt x="4242" y="1130"/>
                </a:cubicBezTo>
                <a:close/>
                <a:moveTo>
                  <a:pt x="12746" y="1131"/>
                </a:moveTo>
                <a:cubicBezTo>
                  <a:pt x="13657" y="1131"/>
                  <a:pt x="14530" y="1767"/>
                  <a:pt x="14700" y="2782"/>
                </a:cubicBezTo>
                <a:cubicBezTo>
                  <a:pt x="14862" y="3756"/>
                  <a:pt x="14110" y="4642"/>
                  <a:pt x="13122" y="4642"/>
                </a:cubicBezTo>
                <a:cubicBezTo>
                  <a:pt x="13121" y="4642"/>
                  <a:pt x="13119" y="4642"/>
                  <a:pt x="13117" y="4642"/>
                </a:cubicBezTo>
                <a:lnTo>
                  <a:pt x="11327" y="4642"/>
                </a:lnTo>
                <a:lnTo>
                  <a:pt x="11327" y="4075"/>
                </a:lnTo>
                <a:cubicBezTo>
                  <a:pt x="11327" y="3407"/>
                  <a:pt x="11088" y="2761"/>
                  <a:pt x="10660" y="2251"/>
                </a:cubicBezTo>
                <a:lnTo>
                  <a:pt x="11523" y="1565"/>
                </a:lnTo>
                <a:cubicBezTo>
                  <a:pt x="11895" y="1267"/>
                  <a:pt x="12325" y="1131"/>
                  <a:pt x="12746" y="1131"/>
                </a:cubicBezTo>
                <a:close/>
                <a:moveTo>
                  <a:pt x="6798" y="5775"/>
                </a:moveTo>
                <a:lnTo>
                  <a:pt x="6798" y="8039"/>
                </a:lnTo>
                <a:lnTo>
                  <a:pt x="1136" y="8039"/>
                </a:lnTo>
                <a:lnTo>
                  <a:pt x="1136" y="6339"/>
                </a:lnTo>
                <a:cubicBezTo>
                  <a:pt x="1136" y="6025"/>
                  <a:pt x="1387" y="5775"/>
                  <a:pt x="1701" y="5775"/>
                </a:cubicBezTo>
                <a:close/>
                <a:moveTo>
                  <a:pt x="15288" y="5775"/>
                </a:moveTo>
                <a:cubicBezTo>
                  <a:pt x="15602" y="5775"/>
                  <a:pt x="15856" y="6025"/>
                  <a:pt x="15856" y="6339"/>
                </a:cubicBezTo>
                <a:lnTo>
                  <a:pt x="15856" y="8039"/>
                </a:lnTo>
                <a:lnTo>
                  <a:pt x="10195" y="8039"/>
                </a:lnTo>
                <a:lnTo>
                  <a:pt x="10195" y="5775"/>
                </a:lnTo>
                <a:close/>
                <a:moveTo>
                  <a:pt x="6798" y="9171"/>
                </a:moveTo>
                <a:lnTo>
                  <a:pt x="6798" y="11361"/>
                </a:lnTo>
                <a:lnTo>
                  <a:pt x="2269" y="11361"/>
                </a:lnTo>
                <a:lnTo>
                  <a:pt x="2269" y="9171"/>
                </a:lnTo>
                <a:close/>
                <a:moveTo>
                  <a:pt x="14724" y="9171"/>
                </a:moveTo>
                <a:lnTo>
                  <a:pt x="14724" y="11361"/>
                </a:lnTo>
                <a:lnTo>
                  <a:pt x="10195" y="11361"/>
                </a:lnTo>
                <a:lnTo>
                  <a:pt x="10195" y="9171"/>
                </a:lnTo>
                <a:close/>
                <a:moveTo>
                  <a:pt x="6798" y="12493"/>
                </a:moveTo>
                <a:lnTo>
                  <a:pt x="6798" y="13625"/>
                </a:lnTo>
                <a:lnTo>
                  <a:pt x="2269" y="13625"/>
                </a:lnTo>
                <a:lnTo>
                  <a:pt x="2269" y="12493"/>
                </a:lnTo>
                <a:close/>
                <a:moveTo>
                  <a:pt x="14724" y="12493"/>
                </a:moveTo>
                <a:lnTo>
                  <a:pt x="14724" y="13625"/>
                </a:lnTo>
                <a:lnTo>
                  <a:pt x="10195" y="13625"/>
                </a:lnTo>
                <a:lnTo>
                  <a:pt x="10195" y="12493"/>
                </a:lnTo>
                <a:close/>
                <a:moveTo>
                  <a:pt x="6798" y="14757"/>
                </a:moveTo>
                <a:lnTo>
                  <a:pt x="6798" y="18191"/>
                </a:lnTo>
                <a:lnTo>
                  <a:pt x="2833" y="18191"/>
                </a:lnTo>
                <a:cubicBezTo>
                  <a:pt x="2519" y="18191"/>
                  <a:pt x="2269" y="17937"/>
                  <a:pt x="2269" y="17626"/>
                </a:cubicBezTo>
                <a:lnTo>
                  <a:pt x="2269" y="14757"/>
                </a:lnTo>
                <a:close/>
                <a:moveTo>
                  <a:pt x="9062" y="5775"/>
                </a:moveTo>
                <a:lnTo>
                  <a:pt x="9062" y="18191"/>
                </a:lnTo>
                <a:lnTo>
                  <a:pt x="7930" y="18191"/>
                </a:lnTo>
                <a:lnTo>
                  <a:pt x="7930" y="5775"/>
                </a:lnTo>
                <a:close/>
                <a:moveTo>
                  <a:pt x="14724" y="14757"/>
                </a:moveTo>
                <a:lnTo>
                  <a:pt x="14724" y="17626"/>
                </a:lnTo>
                <a:cubicBezTo>
                  <a:pt x="14724" y="17937"/>
                  <a:pt x="14470" y="18191"/>
                  <a:pt x="14156" y="18191"/>
                </a:cubicBezTo>
                <a:lnTo>
                  <a:pt x="10195" y="18191"/>
                </a:lnTo>
                <a:lnTo>
                  <a:pt x="10195" y="14757"/>
                </a:lnTo>
                <a:close/>
                <a:moveTo>
                  <a:pt x="4235" y="0"/>
                </a:moveTo>
                <a:cubicBezTo>
                  <a:pt x="3860" y="0"/>
                  <a:pt x="3484" y="68"/>
                  <a:pt x="3123" y="207"/>
                </a:cubicBezTo>
                <a:cubicBezTo>
                  <a:pt x="2096" y="599"/>
                  <a:pt x="1351" y="1508"/>
                  <a:pt x="1172" y="2595"/>
                </a:cubicBezTo>
                <a:cubicBezTo>
                  <a:pt x="1052" y="3314"/>
                  <a:pt x="1224" y="4050"/>
                  <a:pt x="1653" y="4642"/>
                </a:cubicBezTo>
                <a:cubicBezTo>
                  <a:pt x="732" y="4666"/>
                  <a:pt x="1" y="5421"/>
                  <a:pt x="1" y="6339"/>
                </a:cubicBezTo>
                <a:lnTo>
                  <a:pt x="4" y="8604"/>
                </a:lnTo>
                <a:cubicBezTo>
                  <a:pt x="4" y="8918"/>
                  <a:pt x="255" y="9171"/>
                  <a:pt x="569" y="9171"/>
                </a:cubicBezTo>
                <a:lnTo>
                  <a:pt x="1136" y="9171"/>
                </a:lnTo>
                <a:lnTo>
                  <a:pt x="1136" y="17626"/>
                </a:lnTo>
                <a:cubicBezTo>
                  <a:pt x="1136" y="18562"/>
                  <a:pt x="1894" y="19323"/>
                  <a:pt x="2833" y="19323"/>
                </a:cubicBezTo>
                <a:lnTo>
                  <a:pt x="14156" y="19323"/>
                </a:lnTo>
                <a:cubicBezTo>
                  <a:pt x="15095" y="19323"/>
                  <a:pt x="15853" y="18562"/>
                  <a:pt x="15856" y="17626"/>
                </a:cubicBezTo>
                <a:lnTo>
                  <a:pt x="15856" y="9171"/>
                </a:lnTo>
                <a:lnTo>
                  <a:pt x="16421" y="9171"/>
                </a:lnTo>
                <a:cubicBezTo>
                  <a:pt x="16735" y="9171"/>
                  <a:pt x="16988" y="8918"/>
                  <a:pt x="16988" y="8604"/>
                </a:cubicBezTo>
                <a:lnTo>
                  <a:pt x="16988" y="6339"/>
                </a:lnTo>
                <a:cubicBezTo>
                  <a:pt x="16988" y="5418"/>
                  <a:pt x="16255" y="4666"/>
                  <a:pt x="15337" y="4642"/>
                </a:cubicBezTo>
                <a:cubicBezTo>
                  <a:pt x="15762" y="4050"/>
                  <a:pt x="15938" y="3314"/>
                  <a:pt x="15817" y="2595"/>
                </a:cubicBezTo>
                <a:cubicBezTo>
                  <a:pt x="15636" y="1508"/>
                  <a:pt x="14893" y="599"/>
                  <a:pt x="13866" y="207"/>
                </a:cubicBezTo>
                <a:cubicBezTo>
                  <a:pt x="13506" y="68"/>
                  <a:pt x="13129" y="0"/>
                  <a:pt x="12755" y="0"/>
                </a:cubicBezTo>
                <a:cubicBezTo>
                  <a:pt x="12061" y="0"/>
                  <a:pt x="11376" y="233"/>
                  <a:pt x="10817" y="681"/>
                </a:cubicBezTo>
                <a:lnTo>
                  <a:pt x="9742" y="1535"/>
                </a:lnTo>
                <a:cubicBezTo>
                  <a:pt x="9348" y="1340"/>
                  <a:pt x="8920" y="1243"/>
                  <a:pt x="8494" y="1243"/>
                </a:cubicBezTo>
                <a:cubicBezTo>
                  <a:pt x="8067" y="1243"/>
                  <a:pt x="7640" y="1340"/>
                  <a:pt x="7248" y="1535"/>
                </a:cubicBezTo>
                <a:lnTo>
                  <a:pt x="6173" y="681"/>
                </a:lnTo>
                <a:cubicBezTo>
                  <a:pt x="5614" y="233"/>
                  <a:pt x="4928" y="0"/>
                  <a:pt x="42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319" name="Google Shape;6319;p71"/>
          <p:cNvGrpSpPr/>
          <p:nvPr/>
        </p:nvGrpSpPr>
        <p:grpSpPr>
          <a:xfrm>
            <a:off x="9013919" y="4726810"/>
            <a:ext cx="368315" cy="453535"/>
            <a:chOff x="3316000" y="4399325"/>
            <a:chExt cx="392325" cy="483100"/>
          </a:xfrm>
        </p:grpSpPr>
        <p:sp>
          <p:nvSpPr>
            <p:cNvPr id="6320" name="Google Shape;6320;p71"/>
            <p:cNvSpPr/>
            <p:nvPr/>
          </p:nvSpPr>
          <p:spPr>
            <a:xfrm>
              <a:off x="3316000" y="4399325"/>
              <a:ext cx="392325" cy="483100"/>
            </a:xfrm>
            <a:custGeom>
              <a:avLst/>
              <a:gdLst/>
              <a:ahLst/>
              <a:cxnLst/>
              <a:rect l="l" t="t" r="r" b="b"/>
              <a:pathLst>
                <a:path w="15693" h="19324" extrusionOk="0">
                  <a:moveTo>
                    <a:pt x="7824" y="1132"/>
                  </a:moveTo>
                  <a:cubicBezTo>
                    <a:pt x="8714" y="1132"/>
                    <a:pt x="9554" y="1551"/>
                    <a:pt x="10088" y="2264"/>
                  </a:cubicBezTo>
                  <a:cubicBezTo>
                    <a:pt x="9551" y="2977"/>
                    <a:pt x="8711" y="3393"/>
                    <a:pt x="7824" y="3396"/>
                  </a:cubicBezTo>
                  <a:lnTo>
                    <a:pt x="5049" y="3396"/>
                  </a:lnTo>
                  <a:cubicBezTo>
                    <a:pt x="5321" y="2080"/>
                    <a:pt x="6477" y="1135"/>
                    <a:pt x="7824" y="1132"/>
                  </a:cubicBezTo>
                  <a:close/>
                  <a:moveTo>
                    <a:pt x="10595" y="3393"/>
                  </a:moveTo>
                  <a:cubicBezTo>
                    <a:pt x="10635" y="3580"/>
                    <a:pt x="10653" y="3771"/>
                    <a:pt x="10653" y="3964"/>
                  </a:cubicBezTo>
                  <a:lnTo>
                    <a:pt x="10653" y="6304"/>
                  </a:lnTo>
                  <a:cubicBezTo>
                    <a:pt x="10653" y="7865"/>
                    <a:pt x="9385" y="9133"/>
                    <a:pt x="7824" y="9133"/>
                  </a:cubicBezTo>
                  <a:cubicBezTo>
                    <a:pt x="6260" y="9133"/>
                    <a:pt x="4991" y="7865"/>
                    <a:pt x="4991" y="6304"/>
                  </a:cubicBezTo>
                  <a:lnTo>
                    <a:pt x="4991" y="4529"/>
                  </a:lnTo>
                  <a:lnTo>
                    <a:pt x="7824" y="4529"/>
                  </a:lnTo>
                  <a:cubicBezTo>
                    <a:pt x="8859" y="4525"/>
                    <a:pt x="9856" y="4121"/>
                    <a:pt x="10595" y="3393"/>
                  </a:cubicBezTo>
                  <a:close/>
                  <a:moveTo>
                    <a:pt x="6465" y="10027"/>
                  </a:moveTo>
                  <a:cubicBezTo>
                    <a:pt x="6903" y="10187"/>
                    <a:pt x="7362" y="10267"/>
                    <a:pt x="7823" y="10267"/>
                  </a:cubicBezTo>
                  <a:cubicBezTo>
                    <a:pt x="8283" y="10267"/>
                    <a:pt x="8743" y="10187"/>
                    <a:pt x="9182" y="10027"/>
                  </a:cubicBezTo>
                  <a:lnTo>
                    <a:pt x="9182" y="10027"/>
                  </a:lnTo>
                  <a:lnTo>
                    <a:pt x="7824" y="12071"/>
                  </a:lnTo>
                  <a:lnTo>
                    <a:pt x="6465" y="10027"/>
                  </a:lnTo>
                  <a:close/>
                  <a:moveTo>
                    <a:pt x="10152" y="10610"/>
                  </a:moveTo>
                  <a:lnTo>
                    <a:pt x="11051" y="11476"/>
                  </a:lnTo>
                  <a:lnTo>
                    <a:pt x="9433" y="13904"/>
                  </a:lnTo>
                  <a:lnTo>
                    <a:pt x="8551" y="13022"/>
                  </a:lnTo>
                  <a:lnTo>
                    <a:pt x="10152" y="10610"/>
                  </a:lnTo>
                  <a:close/>
                  <a:moveTo>
                    <a:pt x="5493" y="10610"/>
                  </a:moveTo>
                  <a:lnTo>
                    <a:pt x="7096" y="13022"/>
                  </a:lnTo>
                  <a:lnTo>
                    <a:pt x="6211" y="13907"/>
                  </a:lnTo>
                  <a:lnTo>
                    <a:pt x="4593" y="11476"/>
                  </a:lnTo>
                  <a:lnTo>
                    <a:pt x="5493" y="10610"/>
                  </a:lnTo>
                  <a:close/>
                  <a:moveTo>
                    <a:pt x="3630" y="12074"/>
                  </a:moveTo>
                  <a:lnTo>
                    <a:pt x="5653" y="15109"/>
                  </a:lnTo>
                  <a:cubicBezTo>
                    <a:pt x="5746" y="15251"/>
                    <a:pt x="5900" y="15341"/>
                    <a:pt x="6069" y="15356"/>
                  </a:cubicBezTo>
                  <a:cubicBezTo>
                    <a:pt x="6087" y="15359"/>
                    <a:pt x="6106" y="15359"/>
                    <a:pt x="6124" y="15359"/>
                  </a:cubicBezTo>
                  <a:cubicBezTo>
                    <a:pt x="6275" y="15359"/>
                    <a:pt x="6417" y="15302"/>
                    <a:pt x="6525" y="15193"/>
                  </a:cubicBezTo>
                  <a:lnTo>
                    <a:pt x="7256" y="14463"/>
                  </a:lnTo>
                  <a:lnTo>
                    <a:pt x="7256" y="18192"/>
                  </a:lnTo>
                  <a:lnTo>
                    <a:pt x="2247" y="18192"/>
                  </a:lnTo>
                  <a:lnTo>
                    <a:pt x="1332" y="13502"/>
                  </a:lnTo>
                  <a:cubicBezTo>
                    <a:pt x="1329" y="13493"/>
                    <a:pt x="1326" y="13484"/>
                    <a:pt x="1326" y="13475"/>
                  </a:cubicBezTo>
                  <a:cubicBezTo>
                    <a:pt x="1235" y="13110"/>
                    <a:pt x="1438" y="12735"/>
                    <a:pt x="1791" y="12612"/>
                  </a:cubicBezTo>
                  <a:lnTo>
                    <a:pt x="3630" y="12074"/>
                  </a:lnTo>
                  <a:close/>
                  <a:moveTo>
                    <a:pt x="12015" y="12074"/>
                  </a:moveTo>
                  <a:lnTo>
                    <a:pt x="13899" y="12612"/>
                  </a:lnTo>
                  <a:cubicBezTo>
                    <a:pt x="14252" y="12735"/>
                    <a:pt x="14454" y="13110"/>
                    <a:pt x="14367" y="13475"/>
                  </a:cubicBezTo>
                  <a:cubicBezTo>
                    <a:pt x="14364" y="13481"/>
                    <a:pt x="14361" y="13490"/>
                    <a:pt x="14361" y="13496"/>
                  </a:cubicBezTo>
                  <a:lnTo>
                    <a:pt x="13395" y="18192"/>
                  </a:lnTo>
                  <a:lnTo>
                    <a:pt x="8388" y="18192"/>
                  </a:lnTo>
                  <a:lnTo>
                    <a:pt x="8388" y="14463"/>
                  </a:lnTo>
                  <a:lnTo>
                    <a:pt x="9119" y="15196"/>
                  </a:lnTo>
                  <a:cubicBezTo>
                    <a:pt x="9228" y="15302"/>
                    <a:pt x="9370" y="15362"/>
                    <a:pt x="9521" y="15362"/>
                  </a:cubicBezTo>
                  <a:cubicBezTo>
                    <a:pt x="9539" y="15362"/>
                    <a:pt x="9557" y="15359"/>
                    <a:pt x="9578" y="15359"/>
                  </a:cubicBezTo>
                  <a:cubicBezTo>
                    <a:pt x="9744" y="15341"/>
                    <a:pt x="9898" y="15251"/>
                    <a:pt x="9992" y="15109"/>
                  </a:cubicBezTo>
                  <a:lnTo>
                    <a:pt x="12015" y="12074"/>
                  </a:lnTo>
                  <a:close/>
                  <a:moveTo>
                    <a:pt x="7823" y="1"/>
                  </a:moveTo>
                  <a:cubicBezTo>
                    <a:pt x="7476" y="1"/>
                    <a:pt x="7126" y="46"/>
                    <a:pt x="6779" y="141"/>
                  </a:cubicBezTo>
                  <a:cubicBezTo>
                    <a:pt x="5055" y="612"/>
                    <a:pt x="3859" y="2176"/>
                    <a:pt x="3859" y="3964"/>
                  </a:cubicBezTo>
                  <a:lnTo>
                    <a:pt x="3859" y="6304"/>
                  </a:lnTo>
                  <a:cubicBezTo>
                    <a:pt x="3859" y="7355"/>
                    <a:pt x="4279" y="8363"/>
                    <a:pt x="5022" y="9106"/>
                  </a:cubicBezTo>
                  <a:lnTo>
                    <a:pt x="5022" y="9489"/>
                  </a:lnTo>
                  <a:lnTo>
                    <a:pt x="3539" y="10921"/>
                  </a:lnTo>
                  <a:lnTo>
                    <a:pt x="1462" y="11528"/>
                  </a:lnTo>
                  <a:lnTo>
                    <a:pt x="1444" y="11534"/>
                  </a:lnTo>
                  <a:cubicBezTo>
                    <a:pt x="529" y="11842"/>
                    <a:pt x="0" y="12796"/>
                    <a:pt x="221" y="13735"/>
                  </a:cubicBezTo>
                  <a:lnTo>
                    <a:pt x="1223" y="18868"/>
                  </a:lnTo>
                  <a:cubicBezTo>
                    <a:pt x="1274" y="19131"/>
                    <a:pt x="1507" y="19324"/>
                    <a:pt x="1779" y="19324"/>
                  </a:cubicBezTo>
                  <a:cubicBezTo>
                    <a:pt x="1794" y="19324"/>
                    <a:pt x="1809" y="19324"/>
                    <a:pt x="1824" y="19321"/>
                  </a:cubicBezTo>
                  <a:cubicBezTo>
                    <a:pt x="1839" y="19321"/>
                    <a:pt x="1854" y="19324"/>
                    <a:pt x="1869" y="19324"/>
                  </a:cubicBezTo>
                  <a:lnTo>
                    <a:pt x="13856" y="19324"/>
                  </a:lnTo>
                  <a:cubicBezTo>
                    <a:pt x="14125" y="19324"/>
                    <a:pt x="14358" y="19134"/>
                    <a:pt x="14412" y="18871"/>
                  </a:cubicBezTo>
                  <a:lnTo>
                    <a:pt x="15469" y="13735"/>
                  </a:lnTo>
                  <a:cubicBezTo>
                    <a:pt x="15692" y="12796"/>
                    <a:pt x="15164" y="11842"/>
                    <a:pt x="14249" y="11534"/>
                  </a:cubicBezTo>
                  <a:lnTo>
                    <a:pt x="14225" y="11525"/>
                  </a:lnTo>
                  <a:lnTo>
                    <a:pt x="12108" y="10921"/>
                  </a:lnTo>
                  <a:lnTo>
                    <a:pt x="10623" y="9489"/>
                  </a:lnTo>
                  <a:lnTo>
                    <a:pt x="10623" y="9103"/>
                  </a:lnTo>
                  <a:cubicBezTo>
                    <a:pt x="11368" y="8363"/>
                    <a:pt x="11785" y="7355"/>
                    <a:pt x="11785" y="6304"/>
                  </a:cubicBezTo>
                  <a:lnTo>
                    <a:pt x="11785" y="3964"/>
                  </a:lnTo>
                  <a:cubicBezTo>
                    <a:pt x="11785" y="3281"/>
                    <a:pt x="11610" y="2611"/>
                    <a:pt x="11275" y="2019"/>
                  </a:cubicBezTo>
                  <a:cubicBezTo>
                    <a:pt x="11263" y="1995"/>
                    <a:pt x="11251" y="1971"/>
                    <a:pt x="11233" y="1950"/>
                  </a:cubicBezTo>
                  <a:cubicBezTo>
                    <a:pt x="10507" y="720"/>
                    <a:pt x="9197" y="1"/>
                    <a:pt x="782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21" name="Google Shape;6321;p71"/>
            <p:cNvSpPr/>
            <p:nvPr/>
          </p:nvSpPr>
          <p:spPr>
            <a:xfrm>
              <a:off x="3582300" y="4797475"/>
              <a:ext cx="56650" cy="28350"/>
            </a:xfrm>
            <a:custGeom>
              <a:avLst/>
              <a:gdLst/>
              <a:ahLst/>
              <a:cxnLst/>
              <a:rect l="l" t="t" r="r" b="b"/>
              <a:pathLst>
                <a:path w="2266" h="1134" extrusionOk="0">
                  <a:moveTo>
                    <a:pt x="569" y="1"/>
                  </a:moveTo>
                  <a:cubicBezTo>
                    <a:pt x="254" y="1"/>
                    <a:pt x="1" y="255"/>
                    <a:pt x="1" y="569"/>
                  </a:cubicBezTo>
                  <a:cubicBezTo>
                    <a:pt x="1" y="880"/>
                    <a:pt x="254" y="1133"/>
                    <a:pt x="569"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22" name="Google Shape;6322;p71"/>
          <p:cNvGrpSpPr/>
          <p:nvPr/>
        </p:nvGrpSpPr>
        <p:grpSpPr>
          <a:xfrm>
            <a:off x="9580239" y="4726786"/>
            <a:ext cx="338696" cy="453581"/>
            <a:chOff x="3926225" y="4399275"/>
            <a:chExt cx="360775" cy="483150"/>
          </a:xfrm>
        </p:grpSpPr>
        <p:sp>
          <p:nvSpPr>
            <p:cNvPr id="6323" name="Google Shape;6323;p71"/>
            <p:cNvSpPr/>
            <p:nvPr/>
          </p:nvSpPr>
          <p:spPr>
            <a:xfrm>
              <a:off x="4163400" y="4797475"/>
              <a:ext cx="56650" cy="28350"/>
            </a:xfrm>
            <a:custGeom>
              <a:avLst/>
              <a:gdLst/>
              <a:ahLst/>
              <a:cxnLst/>
              <a:rect l="l" t="t" r="r" b="b"/>
              <a:pathLst>
                <a:path w="2266" h="1134" extrusionOk="0">
                  <a:moveTo>
                    <a:pt x="568" y="1"/>
                  </a:moveTo>
                  <a:cubicBezTo>
                    <a:pt x="254" y="1"/>
                    <a:pt x="1" y="255"/>
                    <a:pt x="1" y="569"/>
                  </a:cubicBezTo>
                  <a:cubicBezTo>
                    <a:pt x="1" y="880"/>
                    <a:pt x="254" y="1133"/>
                    <a:pt x="568" y="1133"/>
                  </a:cubicBezTo>
                  <a:lnTo>
                    <a:pt x="1701" y="1133"/>
                  </a:lnTo>
                  <a:cubicBezTo>
                    <a:pt x="2012" y="1133"/>
                    <a:pt x="2265" y="880"/>
                    <a:pt x="2265" y="569"/>
                  </a:cubicBezTo>
                  <a:cubicBezTo>
                    <a:pt x="2265" y="255"/>
                    <a:pt x="2012"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24" name="Google Shape;6324;p71"/>
            <p:cNvSpPr/>
            <p:nvPr/>
          </p:nvSpPr>
          <p:spPr>
            <a:xfrm>
              <a:off x="3926225" y="4399275"/>
              <a:ext cx="360775" cy="483150"/>
            </a:xfrm>
            <a:custGeom>
              <a:avLst/>
              <a:gdLst/>
              <a:ahLst/>
              <a:cxnLst/>
              <a:rect l="l" t="t" r="r" b="b"/>
              <a:pathLst>
                <a:path w="14431" h="19326" extrusionOk="0">
                  <a:moveTo>
                    <a:pt x="10055" y="1134"/>
                  </a:moveTo>
                  <a:cubicBezTo>
                    <a:pt x="10547" y="1134"/>
                    <a:pt x="10985" y="1457"/>
                    <a:pt x="11133" y="1928"/>
                  </a:cubicBezTo>
                  <a:cubicBezTo>
                    <a:pt x="11281" y="2399"/>
                    <a:pt x="11106" y="2912"/>
                    <a:pt x="10698" y="3196"/>
                  </a:cubicBezTo>
                  <a:cubicBezTo>
                    <a:pt x="10692" y="3181"/>
                    <a:pt x="10683" y="3169"/>
                    <a:pt x="10677" y="3154"/>
                  </a:cubicBezTo>
                  <a:cubicBezTo>
                    <a:pt x="10665" y="3129"/>
                    <a:pt x="10650" y="3105"/>
                    <a:pt x="10635" y="3081"/>
                  </a:cubicBezTo>
                  <a:cubicBezTo>
                    <a:pt x="10270" y="2468"/>
                    <a:pt x="9750" y="1964"/>
                    <a:pt x="9125" y="1620"/>
                  </a:cubicBezTo>
                  <a:cubicBezTo>
                    <a:pt x="9337" y="1318"/>
                    <a:pt x="9684" y="1134"/>
                    <a:pt x="10055" y="1134"/>
                  </a:cubicBezTo>
                  <a:close/>
                  <a:moveTo>
                    <a:pt x="7223" y="2266"/>
                  </a:moveTo>
                  <a:cubicBezTo>
                    <a:pt x="8114" y="2266"/>
                    <a:pt x="8953" y="2686"/>
                    <a:pt x="9488" y="3398"/>
                  </a:cubicBezTo>
                  <a:cubicBezTo>
                    <a:pt x="8953" y="4111"/>
                    <a:pt x="8114" y="4527"/>
                    <a:pt x="7223" y="4531"/>
                  </a:cubicBezTo>
                  <a:lnTo>
                    <a:pt x="4448" y="4531"/>
                  </a:lnTo>
                  <a:cubicBezTo>
                    <a:pt x="4720" y="3214"/>
                    <a:pt x="5879" y="2269"/>
                    <a:pt x="7223" y="2266"/>
                  </a:cubicBezTo>
                  <a:close/>
                  <a:moveTo>
                    <a:pt x="9998" y="4527"/>
                  </a:moveTo>
                  <a:cubicBezTo>
                    <a:pt x="10034" y="4715"/>
                    <a:pt x="10055" y="4905"/>
                    <a:pt x="10055" y="5098"/>
                  </a:cubicBezTo>
                  <a:lnTo>
                    <a:pt x="10055" y="7363"/>
                  </a:lnTo>
                  <a:cubicBezTo>
                    <a:pt x="10055" y="8924"/>
                    <a:pt x="8787" y="10192"/>
                    <a:pt x="7223" y="10192"/>
                  </a:cubicBezTo>
                  <a:cubicBezTo>
                    <a:pt x="5659" y="10192"/>
                    <a:pt x="4394" y="8924"/>
                    <a:pt x="4394" y="7363"/>
                  </a:cubicBezTo>
                  <a:lnTo>
                    <a:pt x="4394" y="5663"/>
                  </a:lnTo>
                  <a:lnTo>
                    <a:pt x="7223" y="5663"/>
                  </a:lnTo>
                  <a:cubicBezTo>
                    <a:pt x="8262" y="5660"/>
                    <a:pt x="9255" y="5255"/>
                    <a:pt x="9998" y="4527"/>
                  </a:cubicBezTo>
                  <a:close/>
                  <a:moveTo>
                    <a:pt x="5526" y="10941"/>
                  </a:moveTo>
                  <a:cubicBezTo>
                    <a:pt x="6063" y="11196"/>
                    <a:pt x="6643" y="11324"/>
                    <a:pt x="7224" y="11324"/>
                  </a:cubicBezTo>
                  <a:cubicBezTo>
                    <a:pt x="7777" y="11324"/>
                    <a:pt x="8331" y="11208"/>
                    <a:pt x="8847" y="10977"/>
                  </a:cubicBezTo>
                  <a:lnTo>
                    <a:pt x="8847" y="11967"/>
                  </a:lnTo>
                  <a:cubicBezTo>
                    <a:pt x="8847" y="12227"/>
                    <a:pt x="9026" y="12454"/>
                    <a:pt x="9279" y="12517"/>
                  </a:cubicBezTo>
                  <a:lnTo>
                    <a:pt x="9466" y="12562"/>
                  </a:lnTo>
                  <a:cubicBezTo>
                    <a:pt x="8899" y="13298"/>
                    <a:pt x="8061" y="13665"/>
                    <a:pt x="7223" y="13665"/>
                  </a:cubicBezTo>
                  <a:cubicBezTo>
                    <a:pt x="6379" y="13665"/>
                    <a:pt x="5536" y="13293"/>
                    <a:pt x="4970" y="12547"/>
                  </a:cubicBezTo>
                  <a:lnTo>
                    <a:pt x="5097" y="12514"/>
                  </a:lnTo>
                  <a:cubicBezTo>
                    <a:pt x="5348" y="12454"/>
                    <a:pt x="5526" y="12227"/>
                    <a:pt x="5526" y="11964"/>
                  </a:cubicBezTo>
                  <a:lnTo>
                    <a:pt x="5526" y="10941"/>
                  </a:lnTo>
                  <a:close/>
                  <a:moveTo>
                    <a:pt x="3805" y="12837"/>
                  </a:moveTo>
                  <a:cubicBezTo>
                    <a:pt x="4515" y="14051"/>
                    <a:pt x="5813" y="14794"/>
                    <a:pt x="7217" y="14797"/>
                  </a:cubicBezTo>
                  <a:cubicBezTo>
                    <a:pt x="7220" y="14797"/>
                    <a:pt x="7223" y="14797"/>
                    <a:pt x="7225" y="14797"/>
                  </a:cubicBezTo>
                  <a:cubicBezTo>
                    <a:pt x="8626" y="14797"/>
                    <a:pt x="9924" y="14054"/>
                    <a:pt x="10635" y="12849"/>
                  </a:cubicBezTo>
                  <a:lnTo>
                    <a:pt x="11767" y="13124"/>
                  </a:lnTo>
                  <a:cubicBezTo>
                    <a:pt x="12649" y="13344"/>
                    <a:pt x="13201" y="14217"/>
                    <a:pt x="13020" y="15105"/>
                  </a:cubicBezTo>
                  <a:lnTo>
                    <a:pt x="12404" y="18194"/>
                  </a:lnTo>
                  <a:lnTo>
                    <a:pt x="2027" y="18194"/>
                  </a:lnTo>
                  <a:lnTo>
                    <a:pt x="1408" y="15105"/>
                  </a:lnTo>
                  <a:cubicBezTo>
                    <a:pt x="1229" y="14214"/>
                    <a:pt x="1782" y="13341"/>
                    <a:pt x="2661" y="13124"/>
                  </a:cubicBezTo>
                  <a:lnTo>
                    <a:pt x="3805" y="12837"/>
                  </a:lnTo>
                  <a:close/>
                  <a:moveTo>
                    <a:pt x="10061" y="0"/>
                  </a:moveTo>
                  <a:cubicBezTo>
                    <a:pt x="9256" y="0"/>
                    <a:pt x="8461" y="426"/>
                    <a:pt x="8047" y="1221"/>
                  </a:cubicBezTo>
                  <a:cubicBezTo>
                    <a:pt x="7767" y="1162"/>
                    <a:pt x="7489" y="1134"/>
                    <a:pt x="7216" y="1134"/>
                  </a:cubicBezTo>
                  <a:cubicBezTo>
                    <a:pt x="5084" y="1134"/>
                    <a:pt x="3261" y="2863"/>
                    <a:pt x="3261" y="5098"/>
                  </a:cubicBezTo>
                  <a:lnTo>
                    <a:pt x="3261" y="7363"/>
                  </a:lnTo>
                  <a:cubicBezTo>
                    <a:pt x="3258" y="8398"/>
                    <a:pt x="3666" y="9392"/>
                    <a:pt x="4394" y="10132"/>
                  </a:cubicBezTo>
                  <a:lnTo>
                    <a:pt x="4394" y="11524"/>
                  </a:lnTo>
                  <a:lnTo>
                    <a:pt x="2386" y="12025"/>
                  </a:lnTo>
                  <a:cubicBezTo>
                    <a:pt x="921" y="12390"/>
                    <a:pt x="0" y="13846"/>
                    <a:pt x="299" y="15328"/>
                  </a:cubicBezTo>
                  <a:lnTo>
                    <a:pt x="1006" y="18870"/>
                  </a:lnTo>
                  <a:cubicBezTo>
                    <a:pt x="1060" y="19136"/>
                    <a:pt x="1293" y="19326"/>
                    <a:pt x="1562" y="19326"/>
                  </a:cubicBezTo>
                  <a:lnTo>
                    <a:pt x="12866" y="19326"/>
                  </a:lnTo>
                  <a:cubicBezTo>
                    <a:pt x="13138" y="19326"/>
                    <a:pt x="13371" y="19136"/>
                    <a:pt x="13422" y="18870"/>
                  </a:cubicBezTo>
                  <a:lnTo>
                    <a:pt x="14131" y="15328"/>
                  </a:lnTo>
                  <a:cubicBezTo>
                    <a:pt x="14430" y="13842"/>
                    <a:pt x="13506" y="12387"/>
                    <a:pt x="12039" y="12025"/>
                  </a:cubicBezTo>
                  <a:lnTo>
                    <a:pt x="10569" y="11665"/>
                  </a:lnTo>
                  <a:lnTo>
                    <a:pt x="10565" y="11665"/>
                  </a:lnTo>
                  <a:cubicBezTo>
                    <a:pt x="10505" y="11638"/>
                    <a:pt x="10445" y="11626"/>
                    <a:pt x="10378" y="11620"/>
                  </a:cubicBezTo>
                  <a:lnTo>
                    <a:pt x="9980" y="11524"/>
                  </a:lnTo>
                  <a:lnTo>
                    <a:pt x="9980" y="10207"/>
                  </a:lnTo>
                  <a:cubicBezTo>
                    <a:pt x="10750" y="9461"/>
                    <a:pt x="11188" y="8435"/>
                    <a:pt x="11188" y="7363"/>
                  </a:cubicBezTo>
                  <a:lnTo>
                    <a:pt x="11188" y="5098"/>
                  </a:lnTo>
                  <a:cubicBezTo>
                    <a:pt x="11188" y="4820"/>
                    <a:pt x="11157" y="4546"/>
                    <a:pt x="11100" y="4274"/>
                  </a:cubicBezTo>
                  <a:cubicBezTo>
                    <a:pt x="12459" y="3567"/>
                    <a:pt x="12739" y="1747"/>
                    <a:pt x="11659" y="663"/>
                  </a:cubicBezTo>
                  <a:cubicBezTo>
                    <a:pt x="11209" y="214"/>
                    <a:pt x="10632" y="0"/>
                    <a:pt x="100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325" name="Google Shape;6325;p71"/>
          <p:cNvSpPr/>
          <p:nvPr/>
        </p:nvSpPr>
        <p:spPr>
          <a:xfrm>
            <a:off x="10194178" y="4726104"/>
            <a:ext cx="239183" cy="453488"/>
          </a:xfrm>
          <a:custGeom>
            <a:avLst/>
            <a:gdLst/>
            <a:ahLst/>
            <a:cxnLst/>
            <a:rect l="l" t="t" r="r" b="b"/>
            <a:pathLst>
              <a:path w="10191" h="19322" extrusionOk="0">
                <a:moveTo>
                  <a:pt x="5102" y="1126"/>
                </a:moveTo>
                <a:cubicBezTo>
                  <a:pt x="5353" y="1126"/>
                  <a:pt x="5610" y="1220"/>
                  <a:pt x="5819" y="1429"/>
                </a:cubicBezTo>
                <a:cubicBezTo>
                  <a:pt x="6115" y="1724"/>
                  <a:pt x="6202" y="2165"/>
                  <a:pt x="6042" y="2549"/>
                </a:cubicBezTo>
                <a:cubicBezTo>
                  <a:pt x="5882" y="2932"/>
                  <a:pt x="5508" y="3180"/>
                  <a:pt x="5094" y="3180"/>
                </a:cubicBezTo>
                <a:cubicBezTo>
                  <a:pt x="4526" y="3180"/>
                  <a:pt x="4070" y="2721"/>
                  <a:pt x="4067" y="2156"/>
                </a:cubicBezTo>
                <a:cubicBezTo>
                  <a:pt x="4067" y="1537"/>
                  <a:pt x="4574" y="1126"/>
                  <a:pt x="5102" y="1126"/>
                </a:cubicBezTo>
                <a:close/>
                <a:moveTo>
                  <a:pt x="7513" y="5432"/>
                </a:moveTo>
                <a:cubicBezTo>
                  <a:pt x="8364" y="5432"/>
                  <a:pt x="9059" y="6214"/>
                  <a:pt x="9059" y="7175"/>
                </a:cubicBezTo>
                <a:lnTo>
                  <a:pt x="9059" y="10433"/>
                </a:lnTo>
                <a:cubicBezTo>
                  <a:pt x="9059" y="10747"/>
                  <a:pt x="8805" y="11000"/>
                  <a:pt x="8491" y="11000"/>
                </a:cubicBezTo>
                <a:cubicBezTo>
                  <a:pt x="8177" y="11000"/>
                  <a:pt x="7926" y="10747"/>
                  <a:pt x="7926" y="10433"/>
                </a:cubicBezTo>
                <a:lnTo>
                  <a:pt x="7926" y="7395"/>
                </a:lnTo>
                <a:cubicBezTo>
                  <a:pt x="7926" y="7081"/>
                  <a:pt x="7673" y="6830"/>
                  <a:pt x="7359" y="6830"/>
                </a:cubicBezTo>
                <a:cubicBezTo>
                  <a:pt x="7045" y="6830"/>
                  <a:pt x="6794" y="7081"/>
                  <a:pt x="6794" y="7395"/>
                </a:cubicBezTo>
                <a:lnTo>
                  <a:pt x="6794" y="17625"/>
                </a:lnTo>
                <a:cubicBezTo>
                  <a:pt x="6794" y="17936"/>
                  <a:pt x="6540" y="18190"/>
                  <a:pt x="6226" y="18190"/>
                </a:cubicBezTo>
                <a:cubicBezTo>
                  <a:pt x="5912" y="18190"/>
                  <a:pt x="5662" y="17936"/>
                  <a:pt x="5662" y="17625"/>
                </a:cubicBezTo>
                <a:lnTo>
                  <a:pt x="5662" y="11867"/>
                </a:lnTo>
                <a:cubicBezTo>
                  <a:pt x="5662" y="11556"/>
                  <a:pt x="5408" y="11302"/>
                  <a:pt x="5094" y="11302"/>
                </a:cubicBezTo>
                <a:cubicBezTo>
                  <a:pt x="4780" y="11302"/>
                  <a:pt x="4529" y="11556"/>
                  <a:pt x="4529" y="11867"/>
                </a:cubicBezTo>
                <a:lnTo>
                  <a:pt x="4529" y="17625"/>
                </a:lnTo>
                <a:cubicBezTo>
                  <a:pt x="4529" y="17936"/>
                  <a:pt x="4276" y="18190"/>
                  <a:pt x="3962" y="18190"/>
                </a:cubicBezTo>
                <a:cubicBezTo>
                  <a:pt x="3648" y="18190"/>
                  <a:pt x="3397" y="17936"/>
                  <a:pt x="3397" y="17625"/>
                </a:cubicBezTo>
                <a:lnTo>
                  <a:pt x="3397" y="7395"/>
                </a:lnTo>
                <a:cubicBezTo>
                  <a:pt x="3397" y="7081"/>
                  <a:pt x="3143" y="6830"/>
                  <a:pt x="2829" y="6830"/>
                </a:cubicBezTo>
                <a:cubicBezTo>
                  <a:pt x="2515" y="6830"/>
                  <a:pt x="2265" y="7081"/>
                  <a:pt x="2265" y="7395"/>
                </a:cubicBezTo>
                <a:lnTo>
                  <a:pt x="2265" y="10433"/>
                </a:lnTo>
                <a:cubicBezTo>
                  <a:pt x="2265" y="10747"/>
                  <a:pt x="2011" y="11000"/>
                  <a:pt x="1697" y="11000"/>
                </a:cubicBezTo>
                <a:cubicBezTo>
                  <a:pt x="1383" y="11000"/>
                  <a:pt x="1133" y="10747"/>
                  <a:pt x="1133" y="10433"/>
                </a:cubicBezTo>
                <a:lnTo>
                  <a:pt x="1133" y="7175"/>
                </a:lnTo>
                <a:cubicBezTo>
                  <a:pt x="1133" y="6214"/>
                  <a:pt x="1824" y="5432"/>
                  <a:pt x="2675" y="5432"/>
                </a:cubicBezTo>
                <a:close/>
                <a:moveTo>
                  <a:pt x="5094" y="0"/>
                </a:moveTo>
                <a:cubicBezTo>
                  <a:pt x="3950" y="0"/>
                  <a:pt x="3002" y="894"/>
                  <a:pt x="2938" y="2038"/>
                </a:cubicBezTo>
                <a:cubicBezTo>
                  <a:pt x="2878" y="3180"/>
                  <a:pt x="3720" y="4173"/>
                  <a:pt x="4859" y="4300"/>
                </a:cubicBezTo>
                <a:lnTo>
                  <a:pt x="2675" y="4300"/>
                </a:lnTo>
                <a:cubicBezTo>
                  <a:pt x="1199" y="4300"/>
                  <a:pt x="0" y="5589"/>
                  <a:pt x="0" y="7175"/>
                </a:cubicBezTo>
                <a:lnTo>
                  <a:pt x="0" y="10433"/>
                </a:lnTo>
                <a:cubicBezTo>
                  <a:pt x="0" y="11403"/>
                  <a:pt x="797" y="12134"/>
                  <a:pt x="1698" y="12134"/>
                </a:cubicBezTo>
                <a:cubicBezTo>
                  <a:pt x="1885" y="12134"/>
                  <a:pt x="2076" y="12103"/>
                  <a:pt x="2265" y="12036"/>
                </a:cubicBezTo>
                <a:lnTo>
                  <a:pt x="2265" y="17625"/>
                </a:lnTo>
                <a:cubicBezTo>
                  <a:pt x="2265" y="18561"/>
                  <a:pt x="3023" y="19322"/>
                  <a:pt x="3962" y="19322"/>
                </a:cubicBezTo>
                <a:cubicBezTo>
                  <a:pt x="4378" y="19322"/>
                  <a:pt x="4783" y="19168"/>
                  <a:pt x="5094" y="18887"/>
                </a:cubicBezTo>
                <a:cubicBezTo>
                  <a:pt x="5412" y="19172"/>
                  <a:pt x="5817" y="19321"/>
                  <a:pt x="6228" y="19321"/>
                </a:cubicBezTo>
                <a:cubicBezTo>
                  <a:pt x="6462" y="19321"/>
                  <a:pt x="6697" y="19272"/>
                  <a:pt x="6918" y="19174"/>
                </a:cubicBezTo>
                <a:cubicBezTo>
                  <a:pt x="7531" y="18899"/>
                  <a:pt x="7923" y="18292"/>
                  <a:pt x="7926" y="17625"/>
                </a:cubicBezTo>
                <a:lnTo>
                  <a:pt x="7926" y="12036"/>
                </a:lnTo>
                <a:cubicBezTo>
                  <a:pt x="8115" y="12103"/>
                  <a:pt x="8305" y="12134"/>
                  <a:pt x="8492" y="12134"/>
                </a:cubicBezTo>
                <a:cubicBezTo>
                  <a:pt x="9392" y="12134"/>
                  <a:pt x="10188" y="11403"/>
                  <a:pt x="10191" y="10433"/>
                </a:cubicBezTo>
                <a:lnTo>
                  <a:pt x="10191" y="7175"/>
                </a:lnTo>
                <a:cubicBezTo>
                  <a:pt x="10191" y="5589"/>
                  <a:pt x="8989" y="4300"/>
                  <a:pt x="7513" y="4300"/>
                </a:cubicBezTo>
                <a:lnTo>
                  <a:pt x="5330" y="4300"/>
                </a:lnTo>
                <a:cubicBezTo>
                  <a:pt x="6468" y="4173"/>
                  <a:pt x="7310" y="3180"/>
                  <a:pt x="7250" y="2038"/>
                </a:cubicBezTo>
                <a:cubicBezTo>
                  <a:pt x="7187" y="894"/>
                  <a:pt x="6238" y="0"/>
                  <a:pt x="50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326" name="Google Shape;6326;p71"/>
          <p:cNvGrpSpPr/>
          <p:nvPr/>
        </p:nvGrpSpPr>
        <p:grpSpPr>
          <a:xfrm>
            <a:off x="10654317" y="4726869"/>
            <a:ext cx="453440" cy="453417"/>
            <a:chOff x="5053975" y="4399375"/>
            <a:chExt cx="483000" cy="482975"/>
          </a:xfrm>
        </p:grpSpPr>
        <p:sp>
          <p:nvSpPr>
            <p:cNvPr id="6327" name="Google Shape;6327;p71"/>
            <p:cNvSpPr/>
            <p:nvPr/>
          </p:nvSpPr>
          <p:spPr>
            <a:xfrm>
              <a:off x="5053975" y="4399375"/>
              <a:ext cx="483000" cy="482975"/>
            </a:xfrm>
            <a:custGeom>
              <a:avLst/>
              <a:gdLst/>
              <a:ahLst/>
              <a:cxnLst/>
              <a:rect l="l" t="t" r="r" b="b"/>
              <a:pathLst>
                <a:path w="19320" h="19319" extrusionOk="0">
                  <a:moveTo>
                    <a:pt x="9660" y="1130"/>
                  </a:moveTo>
                  <a:cubicBezTo>
                    <a:pt x="11822" y="1130"/>
                    <a:pt x="13981" y="1972"/>
                    <a:pt x="15666" y="3654"/>
                  </a:cubicBezTo>
                  <a:cubicBezTo>
                    <a:pt x="19033" y="7021"/>
                    <a:pt x="19033" y="12299"/>
                    <a:pt x="15666" y="15665"/>
                  </a:cubicBezTo>
                  <a:cubicBezTo>
                    <a:pt x="13983" y="17349"/>
                    <a:pt x="11821" y="18190"/>
                    <a:pt x="9660" y="18190"/>
                  </a:cubicBezTo>
                  <a:cubicBezTo>
                    <a:pt x="7499" y="18190"/>
                    <a:pt x="5338" y="17349"/>
                    <a:pt x="3655" y="15665"/>
                  </a:cubicBezTo>
                  <a:cubicBezTo>
                    <a:pt x="288" y="12299"/>
                    <a:pt x="288" y="7024"/>
                    <a:pt x="3655" y="3654"/>
                  </a:cubicBezTo>
                  <a:cubicBezTo>
                    <a:pt x="5339" y="1972"/>
                    <a:pt x="7498" y="1130"/>
                    <a:pt x="9660" y="1130"/>
                  </a:cubicBezTo>
                  <a:close/>
                  <a:moveTo>
                    <a:pt x="9660" y="0"/>
                  </a:moveTo>
                  <a:cubicBezTo>
                    <a:pt x="7112" y="0"/>
                    <a:pt x="4693" y="1015"/>
                    <a:pt x="2854" y="2854"/>
                  </a:cubicBezTo>
                  <a:cubicBezTo>
                    <a:pt x="1016" y="4693"/>
                    <a:pt x="1" y="7111"/>
                    <a:pt x="1" y="9660"/>
                  </a:cubicBezTo>
                  <a:cubicBezTo>
                    <a:pt x="1" y="12208"/>
                    <a:pt x="1016" y="14627"/>
                    <a:pt x="2854" y="16465"/>
                  </a:cubicBezTo>
                  <a:cubicBezTo>
                    <a:pt x="4693" y="18304"/>
                    <a:pt x="7112" y="19319"/>
                    <a:pt x="9660" y="19319"/>
                  </a:cubicBezTo>
                  <a:cubicBezTo>
                    <a:pt x="12209" y="19319"/>
                    <a:pt x="14627" y="18304"/>
                    <a:pt x="16466" y="16465"/>
                  </a:cubicBezTo>
                  <a:cubicBezTo>
                    <a:pt x="18305" y="14627"/>
                    <a:pt x="19319" y="12208"/>
                    <a:pt x="19319" y="9660"/>
                  </a:cubicBezTo>
                  <a:cubicBezTo>
                    <a:pt x="19319" y="7111"/>
                    <a:pt x="18305" y="4693"/>
                    <a:pt x="16466" y="2854"/>
                  </a:cubicBezTo>
                  <a:cubicBezTo>
                    <a:pt x="14627" y="1015"/>
                    <a:pt x="12209" y="0"/>
                    <a:pt x="96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28" name="Google Shape;6328;p71"/>
            <p:cNvSpPr/>
            <p:nvPr/>
          </p:nvSpPr>
          <p:spPr>
            <a:xfrm>
              <a:off x="5100725" y="4528375"/>
              <a:ext cx="309350" cy="296450"/>
            </a:xfrm>
            <a:custGeom>
              <a:avLst/>
              <a:gdLst/>
              <a:ahLst/>
              <a:cxnLst/>
              <a:rect l="l" t="t" r="r" b="b"/>
              <a:pathLst>
                <a:path w="12374" h="11858" extrusionOk="0">
                  <a:moveTo>
                    <a:pt x="2352" y="1462"/>
                  </a:moveTo>
                  <a:lnTo>
                    <a:pt x="10828" y="9938"/>
                  </a:lnTo>
                  <a:cubicBezTo>
                    <a:pt x="9875" y="10469"/>
                    <a:pt x="8830" y="10728"/>
                    <a:pt x="7793" y="10728"/>
                  </a:cubicBezTo>
                  <a:cubicBezTo>
                    <a:pt x="6180" y="10728"/>
                    <a:pt x="4586" y="10102"/>
                    <a:pt x="3388" y="8902"/>
                  </a:cubicBezTo>
                  <a:cubicBezTo>
                    <a:pt x="1416" y="6933"/>
                    <a:pt x="993" y="3896"/>
                    <a:pt x="2352" y="1462"/>
                  </a:cubicBezTo>
                  <a:close/>
                  <a:moveTo>
                    <a:pt x="2253" y="0"/>
                  </a:moveTo>
                  <a:cubicBezTo>
                    <a:pt x="2078" y="0"/>
                    <a:pt x="1904" y="81"/>
                    <a:pt x="1794" y="236"/>
                  </a:cubicBezTo>
                  <a:cubicBezTo>
                    <a:pt x="257" y="2395"/>
                    <a:pt x="0" y="5215"/>
                    <a:pt x="1120" y="7616"/>
                  </a:cubicBezTo>
                  <a:cubicBezTo>
                    <a:pt x="2243" y="10016"/>
                    <a:pt x="4568" y="11628"/>
                    <a:pt x="7210" y="11837"/>
                  </a:cubicBezTo>
                  <a:lnTo>
                    <a:pt x="7210" y="11834"/>
                  </a:lnTo>
                  <a:cubicBezTo>
                    <a:pt x="7404" y="11849"/>
                    <a:pt x="7597" y="11858"/>
                    <a:pt x="7787" y="11858"/>
                  </a:cubicBezTo>
                  <a:cubicBezTo>
                    <a:pt x="9318" y="11858"/>
                    <a:pt x="10807" y="11384"/>
                    <a:pt x="12057" y="10502"/>
                  </a:cubicBezTo>
                  <a:cubicBezTo>
                    <a:pt x="12340" y="10297"/>
                    <a:pt x="12374" y="9886"/>
                    <a:pt x="12126" y="9639"/>
                  </a:cubicBezTo>
                  <a:lnTo>
                    <a:pt x="2654" y="167"/>
                  </a:lnTo>
                  <a:cubicBezTo>
                    <a:pt x="2542" y="55"/>
                    <a:pt x="2397" y="0"/>
                    <a:pt x="22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29" name="Google Shape;6329;p71"/>
            <p:cNvSpPr/>
            <p:nvPr/>
          </p:nvSpPr>
          <p:spPr>
            <a:xfrm>
              <a:off x="5180875" y="4456850"/>
              <a:ext cx="316625" cy="296575"/>
            </a:xfrm>
            <a:custGeom>
              <a:avLst/>
              <a:gdLst/>
              <a:ahLst/>
              <a:cxnLst/>
              <a:rect l="l" t="t" r="r" b="b"/>
              <a:pathLst>
                <a:path w="12665" h="11863" extrusionOk="0">
                  <a:moveTo>
                    <a:pt x="4584" y="1128"/>
                  </a:moveTo>
                  <a:cubicBezTo>
                    <a:pt x="6196" y="1128"/>
                    <a:pt x="7791" y="1755"/>
                    <a:pt x="8987" y="2958"/>
                  </a:cubicBezTo>
                  <a:cubicBezTo>
                    <a:pt x="10964" y="4924"/>
                    <a:pt x="11387" y="7967"/>
                    <a:pt x="10022" y="10398"/>
                  </a:cubicBezTo>
                  <a:lnTo>
                    <a:pt x="1547" y="1923"/>
                  </a:lnTo>
                  <a:cubicBezTo>
                    <a:pt x="2499" y="1388"/>
                    <a:pt x="3545" y="1128"/>
                    <a:pt x="4584" y="1128"/>
                  </a:cubicBezTo>
                  <a:close/>
                  <a:moveTo>
                    <a:pt x="4578" y="1"/>
                  </a:moveTo>
                  <a:cubicBezTo>
                    <a:pt x="3095" y="1"/>
                    <a:pt x="1604" y="448"/>
                    <a:pt x="321" y="1361"/>
                  </a:cubicBezTo>
                  <a:cubicBezTo>
                    <a:pt x="34" y="1563"/>
                    <a:pt x="1" y="1977"/>
                    <a:pt x="248" y="2224"/>
                  </a:cubicBezTo>
                  <a:lnTo>
                    <a:pt x="9723" y="11697"/>
                  </a:lnTo>
                  <a:cubicBezTo>
                    <a:pt x="9829" y="11802"/>
                    <a:pt x="9971" y="11863"/>
                    <a:pt x="10122" y="11863"/>
                  </a:cubicBezTo>
                  <a:lnTo>
                    <a:pt x="10170" y="11863"/>
                  </a:lnTo>
                  <a:cubicBezTo>
                    <a:pt x="10336" y="11847"/>
                    <a:pt x="10487" y="11763"/>
                    <a:pt x="10584" y="11624"/>
                  </a:cubicBezTo>
                  <a:cubicBezTo>
                    <a:pt x="12664" y="8698"/>
                    <a:pt x="12326" y="4697"/>
                    <a:pt x="9787" y="2158"/>
                  </a:cubicBezTo>
                  <a:cubicBezTo>
                    <a:pt x="8361" y="733"/>
                    <a:pt x="6476" y="1"/>
                    <a:pt x="45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30" name="Google Shape;6330;p71"/>
          <p:cNvGrpSpPr/>
          <p:nvPr/>
        </p:nvGrpSpPr>
        <p:grpSpPr>
          <a:xfrm>
            <a:off x="10334146" y="5274723"/>
            <a:ext cx="453557" cy="453557"/>
            <a:chOff x="5648375" y="4399300"/>
            <a:chExt cx="483125" cy="483125"/>
          </a:xfrm>
        </p:grpSpPr>
        <p:sp>
          <p:nvSpPr>
            <p:cNvPr id="6331" name="Google Shape;6331;p71"/>
            <p:cNvSpPr/>
            <p:nvPr/>
          </p:nvSpPr>
          <p:spPr>
            <a:xfrm>
              <a:off x="5648375" y="4399300"/>
              <a:ext cx="483125" cy="483125"/>
            </a:xfrm>
            <a:custGeom>
              <a:avLst/>
              <a:gdLst/>
              <a:ahLst/>
              <a:cxnLst/>
              <a:rect l="l" t="t" r="r" b="b"/>
              <a:pathLst>
                <a:path w="19325" h="19325" extrusionOk="0">
                  <a:moveTo>
                    <a:pt x="9662" y="1133"/>
                  </a:moveTo>
                  <a:cubicBezTo>
                    <a:pt x="11906" y="1133"/>
                    <a:pt x="14041" y="2029"/>
                    <a:pt x="15668" y="3657"/>
                  </a:cubicBezTo>
                  <a:cubicBezTo>
                    <a:pt x="17295" y="5287"/>
                    <a:pt x="18192" y="7419"/>
                    <a:pt x="18192" y="9663"/>
                  </a:cubicBezTo>
                  <a:cubicBezTo>
                    <a:pt x="18192" y="11906"/>
                    <a:pt x="17295" y="14041"/>
                    <a:pt x="15668" y="15668"/>
                  </a:cubicBezTo>
                  <a:cubicBezTo>
                    <a:pt x="14041" y="17296"/>
                    <a:pt x="11906" y="18193"/>
                    <a:pt x="9662" y="18193"/>
                  </a:cubicBezTo>
                  <a:cubicBezTo>
                    <a:pt x="7419" y="18193"/>
                    <a:pt x="5284" y="17296"/>
                    <a:pt x="3657" y="15668"/>
                  </a:cubicBezTo>
                  <a:cubicBezTo>
                    <a:pt x="290" y="12302"/>
                    <a:pt x="290" y="7024"/>
                    <a:pt x="3657" y="3657"/>
                  </a:cubicBezTo>
                  <a:cubicBezTo>
                    <a:pt x="5287" y="2029"/>
                    <a:pt x="7419" y="1133"/>
                    <a:pt x="9662" y="1133"/>
                  </a:cubicBezTo>
                  <a:close/>
                  <a:moveTo>
                    <a:pt x="9662" y="0"/>
                  </a:moveTo>
                  <a:cubicBezTo>
                    <a:pt x="7117" y="0"/>
                    <a:pt x="4698" y="1015"/>
                    <a:pt x="2856" y="2857"/>
                  </a:cubicBezTo>
                  <a:cubicBezTo>
                    <a:pt x="1015" y="4699"/>
                    <a:pt x="0" y="7117"/>
                    <a:pt x="0" y="9663"/>
                  </a:cubicBezTo>
                  <a:cubicBezTo>
                    <a:pt x="0" y="12208"/>
                    <a:pt x="1015" y="14627"/>
                    <a:pt x="2856" y="16468"/>
                  </a:cubicBezTo>
                  <a:cubicBezTo>
                    <a:pt x="4698" y="18310"/>
                    <a:pt x="7117" y="19325"/>
                    <a:pt x="9662" y="19325"/>
                  </a:cubicBezTo>
                  <a:cubicBezTo>
                    <a:pt x="12208" y="19325"/>
                    <a:pt x="14626" y="18310"/>
                    <a:pt x="16468" y="16468"/>
                  </a:cubicBezTo>
                  <a:cubicBezTo>
                    <a:pt x="18310" y="14627"/>
                    <a:pt x="19325" y="12208"/>
                    <a:pt x="19325" y="9663"/>
                  </a:cubicBezTo>
                  <a:cubicBezTo>
                    <a:pt x="19325" y="7117"/>
                    <a:pt x="18310" y="4699"/>
                    <a:pt x="16468" y="2857"/>
                  </a:cubicBezTo>
                  <a:cubicBezTo>
                    <a:pt x="14626" y="1015"/>
                    <a:pt x="12211" y="0"/>
                    <a:pt x="9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32" name="Google Shape;6332;p71"/>
            <p:cNvSpPr/>
            <p:nvPr/>
          </p:nvSpPr>
          <p:spPr>
            <a:xfrm>
              <a:off x="5734275" y="4598425"/>
              <a:ext cx="311400" cy="84950"/>
            </a:xfrm>
            <a:custGeom>
              <a:avLst/>
              <a:gdLst/>
              <a:ahLst/>
              <a:cxnLst/>
              <a:rect l="l" t="t" r="r" b="b"/>
              <a:pathLst>
                <a:path w="12456" h="3398" extrusionOk="0">
                  <a:moveTo>
                    <a:pt x="11323" y="1133"/>
                  </a:moveTo>
                  <a:lnTo>
                    <a:pt x="11323" y="2265"/>
                  </a:lnTo>
                  <a:lnTo>
                    <a:pt x="1133" y="2265"/>
                  </a:lnTo>
                  <a:lnTo>
                    <a:pt x="1133" y="1133"/>
                  </a:lnTo>
                  <a:close/>
                  <a:moveTo>
                    <a:pt x="565" y="1"/>
                  </a:moveTo>
                  <a:cubicBezTo>
                    <a:pt x="251" y="1"/>
                    <a:pt x="0" y="251"/>
                    <a:pt x="0" y="565"/>
                  </a:cubicBezTo>
                  <a:lnTo>
                    <a:pt x="0" y="2830"/>
                  </a:lnTo>
                  <a:cubicBezTo>
                    <a:pt x="0" y="3144"/>
                    <a:pt x="251" y="3398"/>
                    <a:pt x="565" y="3398"/>
                  </a:cubicBezTo>
                  <a:lnTo>
                    <a:pt x="11888" y="3398"/>
                  </a:lnTo>
                  <a:cubicBezTo>
                    <a:pt x="12202" y="3398"/>
                    <a:pt x="12455" y="3144"/>
                    <a:pt x="12455" y="2830"/>
                  </a:cubicBezTo>
                  <a:lnTo>
                    <a:pt x="12455" y="565"/>
                  </a:lnTo>
                  <a:cubicBezTo>
                    <a:pt x="12455" y="251"/>
                    <a:pt x="12202" y="1"/>
                    <a:pt x="118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33" name="Google Shape;6333;p71"/>
          <p:cNvGrpSpPr/>
          <p:nvPr/>
        </p:nvGrpSpPr>
        <p:grpSpPr>
          <a:xfrm>
            <a:off x="7975109" y="5299516"/>
            <a:ext cx="440009" cy="403659"/>
            <a:chOff x="6239575" y="4416275"/>
            <a:chExt cx="489625" cy="449175"/>
          </a:xfrm>
        </p:grpSpPr>
        <p:sp>
          <p:nvSpPr>
            <p:cNvPr id="6334" name="Google Shape;6334;p71"/>
            <p:cNvSpPr/>
            <p:nvPr/>
          </p:nvSpPr>
          <p:spPr>
            <a:xfrm>
              <a:off x="6239575" y="4416275"/>
              <a:ext cx="489625" cy="449175"/>
            </a:xfrm>
            <a:custGeom>
              <a:avLst/>
              <a:gdLst/>
              <a:ahLst/>
              <a:cxnLst/>
              <a:rect l="l" t="t" r="r" b="b"/>
              <a:pathLst>
                <a:path w="19585" h="17967" extrusionOk="0">
                  <a:moveTo>
                    <a:pt x="9792" y="1132"/>
                  </a:moveTo>
                  <a:cubicBezTo>
                    <a:pt x="10374" y="1132"/>
                    <a:pt x="10955" y="1424"/>
                    <a:pt x="11278" y="2009"/>
                  </a:cubicBezTo>
                  <a:lnTo>
                    <a:pt x="18111" y="14313"/>
                  </a:lnTo>
                  <a:cubicBezTo>
                    <a:pt x="18404" y="14838"/>
                    <a:pt x="18395" y="15481"/>
                    <a:pt x="18087" y="15998"/>
                  </a:cubicBezTo>
                  <a:cubicBezTo>
                    <a:pt x="17786" y="16518"/>
                    <a:pt x="17232" y="16834"/>
                    <a:pt x="16634" y="16834"/>
                  </a:cubicBezTo>
                  <a:cubicBezTo>
                    <a:pt x="16631" y="16834"/>
                    <a:pt x="16628" y="16834"/>
                    <a:pt x="16625" y="16834"/>
                  </a:cubicBezTo>
                  <a:lnTo>
                    <a:pt x="2962" y="16834"/>
                  </a:lnTo>
                  <a:cubicBezTo>
                    <a:pt x="1667" y="16834"/>
                    <a:pt x="849" y="15445"/>
                    <a:pt x="1474" y="14313"/>
                  </a:cubicBezTo>
                  <a:lnTo>
                    <a:pt x="8307" y="2009"/>
                  </a:lnTo>
                  <a:cubicBezTo>
                    <a:pt x="8630" y="1424"/>
                    <a:pt x="9211" y="1132"/>
                    <a:pt x="9792" y="1132"/>
                  </a:cubicBezTo>
                  <a:close/>
                  <a:moveTo>
                    <a:pt x="9792" y="1"/>
                  </a:moveTo>
                  <a:cubicBezTo>
                    <a:pt x="8763" y="1"/>
                    <a:pt x="7815" y="559"/>
                    <a:pt x="7317" y="1462"/>
                  </a:cubicBezTo>
                  <a:lnTo>
                    <a:pt x="483" y="13766"/>
                  </a:lnTo>
                  <a:cubicBezTo>
                    <a:pt x="0" y="14642"/>
                    <a:pt x="15" y="15711"/>
                    <a:pt x="523" y="16574"/>
                  </a:cubicBezTo>
                  <a:cubicBezTo>
                    <a:pt x="1033" y="17435"/>
                    <a:pt x="1960" y="17966"/>
                    <a:pt x="2962" y="17966"/>
                  </a:cubicBezTo>
                  <a:lnTo>
                    <a:pt x="16625" y="17966"/>
                  </a:lnTo>
                  <a:cubicBezTo>
                    <a:pt x="17625" y="17966"/>
                    <a:pt x="18555" y="17435"/>
                    <a:pt x="19062" y="16574"/>
                  </a:cubicBezTo>
                  <a:cubicBezTo>
                    <a:pt x="19572" y="15711"/>
                    <a:pt x="19585" y="14642"/>
                    <a:pt x="19101" y="13766"/>
                  </a:cubicBezTo>
                  <a:lnTo>
                    <a:pt x="12271" y="1462"/>
                  </a:lnTo>
                  <a:cubicBezTo>
                    <a:pt x="11770" y="559"/>
                    <a:pt x="10822" y="1"/>
                    <a:pt x="97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35" name="Google Shape;6335;p71"/>
            <p:cNvSpPr/>
            <p:nvPr/>
          </p:nvSpPr>
          <p:spPr>
            <a:xfrm>
              <a:off x="6438550" y="4723875"/>
              <a:ext cx="88350" cy="84950"/>
            </a:xfrm>
            <a:custGeom>
              <a:avLst/>
              <a:gdLst/>
              <a:ahLst/>
              <a:cxnLst/>
              <a:rect l="l" t="t" r="r" b="b"/>
              <a:pathLst>
                <a:path w="3534" h="3398" extrusionOk="0">
                  <a:moveTo>
                    <a:pt x="1830" y="1132"/>
                  </a:moveTo>
                  <a:cubicBezTo>
                    <a:pt x="2122" y="1132"/>
                    <a:pt x="2401" y="1358"/>
                    <a:pt x="2401" y="1701"/>
                  </a:cubicBezTo>
                  <a:cubicBezTo>
                    <a:pt x="2401" y="2012"/>
                    <a:pt x="2147" y="2266"/>
                    <a:pt x="1833" y="2266"/>
                  </a:cubicBezTo>
                  <a:cubicBezTo>
                    <a:pt x="1329" y="2266"/>
                    <a:pt x="1076" y="1656"/>
                    <a:pt x="1432" y="1299"/>
                  </a:cubicBezTo>
                  <a:cubicBezTo>
                    <a:pt x="1548" y="1184"/>
                    <a:pt x="1691" y="1132"/>
                    <a:pt x="1830" y="1132"/>
                  </a:cubicBezTo>
                  <a:close/>
                  <a:moveTo>
                    <a:pt x="1833" y="1"/>
                  </a:moveTo>
                  <a:cubicBezTo>
                    <a:pt x="1145" y="1"/>
                    <a:pt x="526" y="415"/>
                    <a:pt x="263" y="1049"/>
                  </a:cubicBezTo>
                  <a:cubicBezTo>
                    <a:pt x="1" y="1683"/>
                    <a:pt x="146" y="2414"/>
                    <a:pt x="632" y="2900"/>
                  </a:cubicBezTo>
                  <a:cubicBezTo>
                    <a:pt x="957" y="3225"/>
                    <a:pt x="1391" y="3397"/>
                    <a:pt x="1833" y="3397"/>
                  </a:cubicBezTo>
                  <a:cubicBezTo>
                    <a:pt x="2052" y="3397"/>
                    <a:pt x="2273" y="3355"/>
                    <a:pt x="2483" y="3268"/>
                  </a:cubicBezTo>
                  <a:cubicBezTo>
                    <a:pt x="3117" y="3005"/>
                    <a:pt x="3533" y="2386"/>
                    <a:pt x="3533" y="1701"/>
                  </a:cubicBezTo>
                  <a:cubicBezTo>
                    <a:pt x="3530" y="762"/>
                    <a:pt x="2772" y="1"/>
                    <a:pt x="18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36" name="Google Shape;6336;p71"/>
            <p:cNvSpPr/>
            <p:nvPr/>
          </p:nvSpPr>
          <p:spPr>
            <a:xfrm>
              <a:off x="6441950" y="4497425"/>
              <a:ext cx="84950" cy="198250"/>
            </a:xfrm>
            <a:custGeom>
              <a:avLst/>
              <a:gdLst/>
              <a:ahLst/>
              <a:cxnLst/>
              <a:rect l="l" t="t" r="r" b="b"/>
              <a:pathLst>
                <a:path w="3398" h="7930" extrusionOk="0">
                  <a:moveTo>
                    <a:pt x="1697" y="1133"/>
                  </a:moveTo>
                  <a:cubicBezTo>
                    <a:pt x="2011" y="1133"/>
                    <a:pt x="2265" y="1387"/>
                    <a:pt x="2265" y="1701"/>
                  </a:cubicBezTo>
                  <a:lnTo>
                    <a:pt x="2265" y="6230"/>
                  </a:lnTo>
                  <a:cubicBezTo>
                    <a:pt x="2265" y="6544"/>
                    <a:pt x="2011" y="6797"/>
                    <a:pt x="1697" y="6797"/>
                  </a:cubicBezTo>
                  <a:cubicBezTo>
                    <a:pt x="1383" y="6797"/>
                    <a:pt x="1133" y="6544"/>
                    <a:pt x="1133" y="6230"/>
                  </a:cubicBezTo>
                  <a:lnTo>
                    <a:pt x="1133" y="1701"/>
                  </a:lnTo>
                  <a:cubicBezTo>
                    <a:pt x="1133" y="1387"/>
                    <a:pt x="1383" y="1133"/>
                    <a:pt x="1697" y="1133"/>
                  </a:cubicBezTo>
                  <a:close/>
                  <a:moveTo>
                    <a:pt x="1697" y="1"/>
                  </a:moveTo>
                  <a:cubicBezTo>
                    <a:pt x="758" y="1"/>
                    <a:pt x="1" y="762"/>
                    <a:pt x="1" y="1701"/>
                  </a:cubicBezTo>
                  <a:lnTo>
                    <a:pt x="1" y="6233"/>
                  </a:lnTo>
                  <a:cubicBezTo>
                    <a:pt x="1" y="7169"/>
                    <a:pt x="758" y="7930"/>
                    <a:pt x="1697" y="7930"/>
                  </a:cubicBezTo>
                  <a:cubicBezTo>
                    <a:pt x="2636" y="7930"/>
                    <a:pt x="3397" y="7169"/>
                    <a:pt x="3397" y="6233"/>
                  </a:cubicBezTo>
                  <a:lnTo>
                    <a:pt x="3397" y="1701"/>
                  </a:lnTo>
                  <a:cubicBezTo>
                    <a:pt x="3397" y="762"/>
                    <a:pt x="2636" y="1"/>
                    <a:pt x="16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37" name="Google Shape;6337;p71"/>
          <p:cNvGrpSpPr/>
          <p:nvPr/>
        </p:nvGrpSpPr>
        <p:grpSpPr>
          <a:xfrm>
            <a:off x="4112813" y="5295753"/>
            <a:ext cx="410979" cy="410979"/>
            <a:chOff x="892750" y="4993750"/>
            <a:chExt cx="483125" cy="483125"/>
          </a:xfrm>
        </p:grpSpPr>
        <p:sp>
          <p:nvSpPr>
            <p:cNvPr id="6338" name="Google Shape;6338;p71"/>
            <p:cNvSpPr/>
            <p:nvPr/>
          </p:nvSpPr>
          <p:spPr>
            <a:xfrm>
              <a:off x="89275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5" y="17352"/>
                    <a:pt x="11823" y="18193"/>
                    <a:pt x="9662" y="18193"/>
                  </a:cubicBezTo>
                  <a:cubicBezTo>
                    <a:pt x="7501" y="18193"/>
                    <a:pt x="5340" y="17352"/>
                    <a:pt x="3657" y="15668"/>
                  </a:cubicBezTo>
                  <a:cubicBezTo>
                    <a:pt x="290" y="12302"/>
                    <a:pt x="290" y="7024"/>
                    <a:pt x="3657" y="3657"/>
                  </a:cubicBezTo>
                  <a:cubicBezTo>
                    <a:pt x="5341" y="1975"/>
                    <a:pt x="7500" y="1133"/>
                    <a:pt x="9662" y="1133"/>
                  </a:cubicBezTo>
                  <a:close/>
                  <a:moveTo>
                    <a:pt x="9662" y="1"/>
                  </a:moveTo>
                  <a:cubicBezTo>
                    <a:pt x="7117" y="1"/>
                    <a:pt x="4698" y="1015"/>
                    <a:pt x="2856" y="2857"/>
                  </a:cubicBezTo>
                  <a:cubicBezTo>
                    <a:pt x="1015" y="4699"/>
                    <a:pt x="0" y="7117"/>
                    <a:pt x="0" y="9663"/>
                  </a:cubicBezTo>
                  <a:cubicBezTo>
                    <a:pt x="0" y="12208"/>
                    <a:pt x="1015" y="14627"/>
                    <a:pt x="2856" y="16469"/>
                  </a:cubicBezTo>
                  <a:cubicBezTo>
                    <a:pt x="4698" y="18310"/>
                    <a:pt x="7117" y="19325"/>
                    <a:pt x="9662" y="19325"/>
                  </a:cubicBezTo>
                  <a:cubicBezTo>
                    <a:pt x="12208" y="19325"/>
                    <a:pt x="14626" y="18310"/>
                    <a:pt x="16468" y="16469"/>
                  </a:cubicBezTo>
                  <a:cubicBezTo>
                    <a:pt x="18310" y="14627"/>
                    <a:pt x="19324" y="12208"/>
                    <a:pt x="19324" y="9663"/>
                  </a:cubicBezTo>
                  <a:cubicBezTo>
                    <a:pt x="19324" y="7117"/>
                    <a:pt x="18310" y="4699"/>
                    <a:pt x="16468" y="2857"/>
                  </a:cubicBezTo>
                  <a:cubicBezTo>
                    <a:pt x="14626" y="1015"/>
                    <a:pt x="12208" y="1"/>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39" name="Google Shape;6339;p71"/>
            <p:cNvSpPr/>
            <p:nvPr/>
          </p:nvSpPr>
          <p:spPr>
            <a:xfrm>
              <a:off x="1021000" y="5052250"/>
              <a:ext cx="230775" cy="253450"/>
            </a:xfrm>
            <a:custGeom>
              <a:avLst/>
              <a:gdLst/>
              <a:ahLst/>
              <a:cxnLst/>
              <a:rect l="l" t="t" r="r" b="b"/>
              <a:pathLst>
                <a:path w="9231" h="10138" extrusionOk="0">
                  <a:moveTo>
                    <a:pt x="4532" y="1133"/>
                  </a:moveTo>
                  <a:cubicBezTo>
                    <a:pt x="5450" y="1133"/>
                    <a:pt x="6326" y="1483"/>
                    <a:pt x="6936" y="2090"/>
                  </a:cubicBezTo>
                  <a:cubicBezTo>
                    <a:pt x="8261" y="3419"/>
                    <a:pt x="8261" y="5568"/>
                    <a:pt x="6936" y="6894"/>
                  </a:cubicBezTo>
                  <a:lnTo>
                    <a:pt x="6933" y="6894"/>
                  </a:lnTo>
                  <a:cubicBezTo>
                    <a:pt x="6688" y="7142"/>
                    <a:pt x="6404" y="7347"/>
                    <a:pt x="6096" y="7510"/>
                  </a:cubicBezTo>
                  <a:cubicBezTo>
                    <a:pt x="5595" y="7767"/>
                    <a:pt x="5275" y="8135"/>
                    <a:pt x="5154" y="8600"/>
                  </a:cubicBezTo>
                  <a:cubicBezTo>
                    <a:pt x="5079" y="8842"/>
                    <a:pt x="4856" y="9000"/>
                    <a:pt x="4614" y="9000"/>
                  </a:cubicBezTo>
                  <a:cubicBezTo>
                    <a:pt x="4566" y="9000"/>
                    <a:pt x="4517" y="8993"/>
                    <a:pt x="4469" y="8980"/>
                  </a:cubicBezTo>
                  <a:cubicBezTo>
                    <a:pt x="4176" y="8905"/>
                    <a:pt x="3995" y="8612"/>
                    <a:pt x="4058" y="8316"/>
                  </a:cubicBezTo>
                  <a:cubicBezTo>
                    <a:pt x="4254" y="7534"/>
                    <a:pt x="4765" y="6924"/>
                    <a:pt x="5574" y="6504"/>
                  </a:cubicBezTo>
                  <a:cubicBezTo>
                    <a:pt x="6936" y="5801"/>
                    <a:pt x="7220" y="3974"/>
                    <a:pt x="6136" y="2890"/>
                  </a:cubicBezTo>
                  <a:cubicBezTo>
                    <a:pt x="5690" y="2458"/>
                    <a:pt x="5113" y="2243"/>
                    <a:pt x="4535" y="2243"/>
                  </a:cubicBezTo>
                  <a:cubicBezTo>
                    <a:pt x="3958" y="2243"/>
                    <a:pt x="3380" y="2458"/>
                    <a:pt x="2935" y="2890"/>
                  </a:cubicBezTo>
                  <a:cubicBezTo>
                    <a:pt x="2506" y="3313"/>
                    <a:pt x="2268" y="3890"/>
                    <a:pt x="2268" y="4494"/>
                  </a:cubicBezTo>
                  <a:cubicBezTo>
                    <a:pt x="2268" y="4805"/>
                    <a:pt x="2014" y="5058"/>
                    <a:pt x="1703" y="5058"/>
                  </a:cubicBezTo>
                  <a:cubicBezTo>
                    <a:pt x="1389" y="5058"/>
                    <a:pt x="1135" y="4805"/>
                    <a:pt x="1135" y="4494"/>
                  </a:cubicBezTo>
                  <a:cubicBezTo>
                    <a:pt x="1132" y="3591"/>
                    <a:pt x="1492" y="2724"/>
                    <a:pt x="2132" y="2090"/>
                  </a:cubicBezTo>
                  <a:cubicBezTo>
                    <a:pt x="2739" y="1483"/>
                    <a:pt x="3614" y="1133"/>
                    <a:pt x="4532" y="1133"/>
                  </a:cubicBezTo>
                  <a:close/>
                  <a:moveTo>
                    <a:pt x="4532" y="1"/>
                  </a:moveTo>
                  <a:cubicBezTo>
                    <a:pt x="3315" y="1"/>
                    <a:pt x="2150" y="469"/>
                    <a:pt x="1332" y="1290"/>
                  </a:cubicBezTo>
                  <a:cubicBezTo>
                    <a:pt x="477" y="2135"/>
                    <a:pt x="0" y="3289"/>
                    <a:pt x="3" y="4494"/>
                  </a:cubicBezTo>
                  <a:cubicBezTo>
                    <a:pt x="3" y="5430"/>
                    <a:pt x="764" y="6190"/>
                    <a:pt x="1703" y="6190"/>
                  </a:cubicBezTo>
                  <a:cubicBezTo>
                    <a:pt x="2639" y="6190"/>
                    <a:pt x="3400" y="5430"/>
                    <a:pt x="3400" y="4494"/>
                  </a:cubicBezTo>
                  <a:cubicBezTo>
                    <a:pt x="3400" y="3830"/>
                    <a:pt x="3944" y="3358"/>
                    <a:pt x="4535" y="3358"/>
                  </a:cubicBezTo>
                  <a:cubicBezTo>
                    <a:pt x="4731" y="3358"/>
                    <a:pt x="4933" y="3410"/>
                    <a:pt x="5121" y="3524"/>
                  </a:cubicBezTo>
                  <a:cubicBezTo>
                    <a:pt x="5876" y="3986"/>
                    <a:pt x="5837" y="5094"/>
                    <a:pt x="5052" y="5499"/>
                  </a:cubicBezTo>
                  <a:cubicBezTo>
                    <a:pt x="3959" y="6064"/>
                    <a:pt x="3234" y="6945"/>
                    <a:pt x="2959" y="8041"/>
                  </a:cubicBezTo>
                  <a:cubicBezTo>
                    <a:pt x="2742" y="8941"/>
                    <a:pt x="3288" y="9850"/>
                    <a:pt x="4185" y="10083"/>
                  </a:cubicBezTo>
                  <a:cubicBezTo>
                    <a:pt x="4327" y="10119"/>
                    <a:pt x="4470" y="10137"/>
                    <a:pt x="4611" y="10137"/>
                  </a:cubicBezTo>
                  <a:cubicBezTo>
                    <a:pt x="5356" y="10137"/>
                    <a:pt x="6039" y="9642"/>
                    <a:pt x="6247" y="8893"/>
                  </a:cubicBezTo>
                  <a:cubicBezTo>
                    <a:pt x="6262" y="8832"/>
                    <a:pt x="6305" y="8675"/>
                    <a:pt x="6616" y="8515"/>
                  </a:cubicBezTo>
                  <a:cubicBezTo>
                    <a:pt x="7899" y="7851"/>
                    <a:pt x="8787" y="6613"/>
                    <a:pt x="9007" y="5188"/>
                  </a:cubicBezTo>
                  <a:cubicBezTo>
                    <a:pt x="9230" y="3760"/>
                    <a:pt x="8756" y="2313"/>
                    <a:pt x="7736" y="1290"/>
                  </a:cubicBezTo>
                  <a:cubicBezTo>
                    <a:pt x="6918" y="472"/>
                    <a:pt x="5749" y="1"/>
                    <a:pt x="45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40" name="Google Shape;6340;p71"/>
            <p:cNvSpPr/>
            <p:nvPr/>
          </p:nvSpPr>
          <p:spPr>
            <a:xfrm>
              <a:off x="1088475" y="5334425"/>
              <a:ext cx="88350" cy="84925"/>
            </a:xfrm>
            <a:custGeom>
              <a:avLst/>
              <a:gdLst/>
              <a:ahLst/>
              <a:cxnLst/>
              <a:rect l="l" t="t" r="r" b="b"/>
              <a:pathLst>
                <a:path w="3534" h="3397" extrusionOk="0">
                  <a:moveTo>
                    <a:pt x="1829" y="1129"/>
                  </a:moveTo>
                  <a:cubicBezTo>
                    <a:pt x="2121" y="1129"/>
                    <a:pt x="2401" y="1356"/>
                    <a:pt x="2401" y="1697"/>
                  </a:cubicBezTo>
                  <a:cubicBezTo>
                    <a:pt x="2401" y="2011"/>
                    <a:pt x="2147" y="2265"/>
                    <a:pt x="1833" y="2265"/>
                  </a:cubicBezTo>
                  <a:cubicBezTo>
                    <a:pt x="1329" y="2265"/>
                    <a:pt x="1075" y="1655"/>
                    <a:pt x="1432" y="1296"/>
                  </a:cubicBezTo>
                  <a:cubicBezTo>
                    <a:pt x="1548" y="1181"/>
                    <a:pt x="1690" y="1129"/>
                    <a:pt x="1829" y="1129"/>
                  </a:cubicBezTo>
                  <a:close/>
                  <a:moveTo>
                    <a:pt x="1833" y="0"/>
                  </a:moveTo>
                  <a:cubicBezTo>
                    <a:pt x="1145" y="0"/>
                    <a:pt x="526" y="414"/>
                    <a:pt x="263" y="1048"/>
                  </a:cubicBezTo>
                  <a:cubicBezTo>
                    <a:pt x="0" y="1682"/>
                    <a:pt x="145" y="2413"/>
                    <a:pt x="631" y="2899"/>
                  </a:cubicBezTo>
                  <a:cubicBezTo>
                    <a:pt x="957" y="3224"/>
                    <a:pt x="1391" y="3397"/>
                    <a:pt x="1833" y="3397"/>
                  </a:cubicBezTo>
                  <a:cubicBezTo>
                    <a:pt x="2052" y="3397"/>
                    <a:pt x="2272" y="3354"/>
                    <a:pt x="2482" y="3267"/>
                  </a:cubicBezTo>
                  <a:cubicBezTo>
                    <a:pt x="3116" y="3005"/>
                    <a:pt x="3533" y="2386"/>
                    <a:pt x="3533" y="1697"/>
                  </a:cubicBezTo>
                  <a:cubicBezTo>
                    <a:pt x="3530" y="758"/>
                    <a:pt x="2772" y="0"/>
                    <a:pt x="18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41" name="Google Shape;6341;p71"/>
          <p:cNvGrpSpPr/>
          <p:nvPr/>
        </p:nvGrpSpPr>
        <p:grpSpPr>
          <a:xfrm>
            <a:off x="4662959" y="5295753"/>
            <a:ext cx="410979" cy="410979"/>
            <a:chOff x="1487200" y="4993750"/>
            <a:chExt cx="483125" cy="483125"/>
          </a:xfrm>
        </p:grpSpPr>
        <p:sp>
          <p:nvSpPr>
            <p:cNvPr id="6342" name="Google Shape;6342;p71"/>
            <p:cNvSpPr/>
            <p:nvPr/>
          </p:nvSpPr>
          <p:spPr>
            <a:xfrm>
              <a:off x="148720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3" y="17352"/>
                    <a:pt x="11822" y="18193"/>
                    <a:pt x="9661" y="18193"/>
                  </a:cubicBezTo>
                  <a:cubicBezTo>
                    <a:pt x="7500" y="18193"/>
                    <a:pt x="5340" y="17352"/>
                    <a:pt x="3657" y="15668"/>
                  </a:cubicBezTo>
                  <a:cubicBezTo>
                    <a:pt x="290" y="12302"/>
                    <a:pt x="290" y="7024"/>
                    <a:pt x="3657" y="3657"/>
                  </a:cubicBezTo>
                  <a:cubicBezTo>
                    <a:pt x="5342" y="1975"/>
                    <a:pt x="7500" y="1133"/>
                    <a:pt x="9662" y="1133"/>
                  </a:cubicBezTo>
                  <a:close/>
                  <a:moveTo>
                    <a:pt x="9662" y="1"/>
                  </a:moveTo>
                  <a:cubicBezTo>
                    <a:pt x="7117" y="1"/>
                    <a:pt x="4698" y="1015"/>
                    <a:pt x="2857" y="2857"/>
                  </a:cubicBezTo>
                  <a:cubicBezTo>
                    <a:pt x="1015" y="4699"/>
                    <a:pt x="0" y="7117"/>
                    <a:pt x="0" y="9663"/>
                  </a:cubicBezTo>
                  <a:cubicBezTo>
                    <a:pt x="0" y="12208"/>
                    <a:pt x="1015" y="14627"/>
                    <a:pt x="2857" y="16469"/>
                  </a:cubicBezTo>
                  <a:cubicBezTo>
                    <a:pt x="4698" y="18310"/>
                    <a:pt x="7117" y="19325"/>
                    <a:pt x="9662"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43" name="Google Shape;6343;p71"/>
            <p:cNvSpPr/>
            <p:nvPr/>
          </p:nvSpPr>
          <p:spPr>
            <a:xfrm>
              <a:off x="1602600" y="5143950"/>
              <a:ext cx="250350" cy="182725"/>
            </a:xfrm>
            <a:custGeom>
              <a:avLst/>
              <a:gdLst/>
              <a:ahLst/>
              <a:cxnLst/>
              <a:rect l="l" t="t" r="r" b="b"/>
              <a:pathLst>
                <a:path w="10014" h="7309" extrusionOk="0">
                  <a:moveTo>
                    <a:pt x="8149" y="1134"/>
                  </a:moveTo>
                  <a:cubicBezTo>
                    <a:pt x="8294" y="1134"/>
                    <a:pt x="8439" y="1189"/>
                    <a:pt x="8549" y="1300"/>
                  </a:cubicBezTo>
                  <a:cubicBezTo>
                    <a:pt x="8769" y="1520"/>
                    <a:pt x="8769" y="1879"/>
                    <a:pt x="8549" y="2100"/>
                  </a:cubicBezTo>
                  <a:lnTo>
                    <a:pt x="4639" y="6007"/>
                  </a:lnTo>
                  <a:cubicBezTo>
                    <a:pt x="4527" y="6120"/>
                    <a:pt x="4377" y="6177"/>
                    <a:pt x="4227" y="6177"/>
                  </a:cubicBezTo>
                  <a:cubicBezTo>
                    <a:pt x="4081" y="6177"/>
                    <a:pt x="3937" y="6123"/>
                    <a:pt x="3830" y="6016"/>
                  </a:cubicBezTo>
                  <a:lnTo>
                    <a:pt x="1547" y="3748"/>
                  </a:lnTo>
                  <a:cubicBezTo>
                    <a:pt x="1296" y="3534"/>
                    <a:pt x="1281" y="3151"/>
                    <a:pt x="1514" y="2918"/>
                  </a:cubicBezTo>
                  <a:cubicBezTo>
                    <a:pt x="1626" y="2806"/>
                    <a:pt x="1771" y="2750"/>
                    <a:pt x="1916" y="2750"/>
                  </a:cubicBezTo>
                  <a:cubicBezTo>
                    <a:pt x="2074" y="2750"/>
                    <a:pt x="2232" y="2817"/>
                    <a:pt x="2344" y="2948"/>
                  </a:cubicBezTo>
                  <a:lnTo>
                    <a:pt x="3784" y="4388"/>
                  </a:lnTo>
                  <a:cubicBezTo>
                    <a:pt x="3793" y="4401"/>
                    <a:pt x="3805" y="4410"/>
                    <a:pt x="3817" y="4419"/>
                  </a:cubicBezTo>
                  <a:cubicBezTo>
                    <a:pt x="3817" y="4422"/>
                    <a:pt x="3820" y="4422"/>
                    <a:pt x="3823" y="4425"/>
                  </a:cubicBezTo>
                  <a:cubicBezTo>
                    <a:pt x="3934" y="4535"/>
                    <a:pt x="4078" y="4590"/>
                    <a:pt x="4222" y="4590"/>
                  </a:cubicBezTo>
                  <a:cubicBezTo>
                    <a:pt x="4367" y="4590"/>
                    <a:pt x="4512" y="4535"/>
                    <a:pt x="4624" y="4425"/>
                  </a:cubicBezTo>
                  <a:lnTo>
                    <a:pt x="7749" y="1300"/>
                  </a:lnTo>
                  <a:cubicBezTo>
                    <a:pt x="7859" y="1189"/>
                    <a:pt x="8004" y="1134"/>
                    <a:pt x="8149" y="1134"/>
                  </a:cubicBezTo>
                  <a:close/>
                  <a:moveTo>
                    <a:pt x="8146" y="1"/>
                  </a:moveTo>
                  <a:cubicBezTo>
                    <a:pt x="7712" y="1"/>
                    <a:pt x="7279" y="166"/>
                    <a:pt x="6949" y="496"/>
                  </a:cubicBezTo>
                  <a:lnTo>
                    <a:pt x="6946" y="496"/>
                  </a:lnTo>
                  <a:lnTo>
                    <a:pt x="4219" y="3223"/>
                  </a:lnTo>
                  <a:lnTo>
                    <a:pt x="3144" y="2148"/>
                  </a:lnTo>
                  <a:cubicBezTo>
                    <a:pt x="2808" y="1779"/>
                    <a:pt x="2348" y="1594"/>
                    <a:pt x="1887" y="1594"/>
                  </a:cubicBezTo>
                  <a:cubicBezTo>
                    <a:pt x="1453" y="1594"/>
                    <a:pt x="1019" y="1758"/>
                    <a:pt x="686" y="2091"/>
                  </a:cubicBezTo>
                  <a:cubicBezTo>
                    <a:pt x="1" y="2776"/>
                    <a:pt x="28" y="3896"/>
                    <a:pt x="747" y="4549"/>
                  </a:cubicBezTo>
                  <a:lnTo>
                    <a:pt x="3029" y="6819"/>
                  </a:lnTo>
                  <a:cubicBezTo>
                    <a:pt x="3344" y="7131"/>
                    <a:pt x="3768" y="7308"/>
                    <a:pt x="4214" y="7308"/>
                  </a:cubicBezTo>
                  <a:cubicBezTo>
                    <a:pt x="4218" y="7308"/>
                    <a:pt x="4221" y="7308"/>
                    <a:pt x="4225" y="7308"/>
                  </a:cubicBezTo>
                  <a:cubicBezTo>
                    <a:pt x="4678" y="7308"/>
                    <a:pt x="5116" y="7127"/>
                    <a:pt x="5439" y="6807"/>
                  </a:cubicBezTo>
                  <a:lnTo>
                    <a:pt x="9349" y="2900"/>
                  </a:lnTo>
                  <a:cubicBezTo>
                    <a:pt x="10013" y="2236"/>
                    <a:pt x="10013" y="1161"/>
                    <a:pt x="9349" y="499"/>
                  </a:cubicBezTo>
                  <a:cubicBezTo>
                    <a:pt x="9017" y="167"/>
                    <a:pt x="8581" y="1"/>
                    <a:pt x="81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44" name="Google Shape;6344;p71"/>
          <p:cNvGrpSpPr/>
          <p:nvPr/>
        </p:nvGrpSpPr>
        <p:grpSpPr>
          <a:xfrm>
            <a:off x="5213105" y="5295753"/>
            <a:ext cx="410979" cy="410979"/>
            <a:chOff x="2081650" y="4993750"/>
            <a:chExt cx="483125" cy="483125"/>
          </a:xfrm>
        </p:grpSpPr>
        <p:sp>
          <p:nvSpPr>
            <p:cNvPr id="6345" name="Google Shape;6345;p71"/>
            <p:cNvSpPr/>
            <p:nvPr/>
          </p:nvSpPr>
          <p:spPr>
            <a:xfrm>
              <a:off x="2081650" y="4993750"/>
              <a:ext cx="483125" cy="483125"/>
            </a:xfrm>
            <a:custGeom>
              <a:avLst/>
              <a:gdLst/>
              <a:ahLst/>
              <a:cxnLst/>
              <a:rect l="l" t="t" r="r" b="b"/>
              <a:pathLst>
                <a:path w="19325" h="19325" extrusionOk="0">
                  <a:moveTo>
                    <a:pt x="9663" y="1133"/>
                  </a:moveTo>
                  <a:cubicBezTo>
                    <a:pt x="11824" y="1133"/>
                    <a:pt x="13983" y="1975"/>
                    <a:pt x="15668" y="3657"/>
                  </a:cubicBezTo>
                  <a:cubicBezTo>
                    <a:pt x="19035" y="7027"/>
                    <a:pt x="19035" y="12302"/>
                    <a:pt x="15668" y="15668"/>
                  </a:cubicBezTo>
                  <a:cubicBezTo>
                    <a:pt x="13983" y="17350"/>
                    <a:pt x="11824" y="18193"/>
                    <a:pt x="9663" y="18193"/>
                  </a:cubicBezTo>
                  <a:cubicBezTo>
                    <a:pt x="7501" y="18193"/>
                    <a:pt x="5342" y="17350"/>
                    <a:pt x="3657" y="15668"/>
                  </a:cubicBezTo>
                  <a:cubicBezTo>
                    <a:pt x="290" y="12302"/>
                    <a:pt x="290" y="7024"/>
                    <a:pt x="3657" y="3657"/>
                  </a:cubicBezTo>
                  <a:cubicBezTo>
                    <a:pt x="5342" y="1975"/>
                    <a:pt x="7501" y="1133"/>
                    <a:pt x="9663" y="1133"/>
                  </a:cubicBezTo>
                  <a:close/>
                  <a:moveTo>
                    <a:pt x="9663" y="1"/>
                  </a:moveTo>
                  <a:cubicBezTo>
                    <a:pt x="7117" y="1"/>
                    <a:pt x="4699" y="1015"/>
                    <a:pt x="2857" y="2857"/>
                  </a:cubicBezTo>
                  <a:cubicBezTo>
                    <a:pt x="1015" y="4699"/>
                    <a:pt x="0" y="7117"/>
                    <a:pt x="0" y="9663"/>
                  </a:cubicBezTo>
                  <a:cubicBezTo>
                    <a:pt x="0" y="12208"/>
                    <a:pt x="1015" y="14627"/>
                    <a:pt x="2857" y="16469"/>
                  </a:cubicBezTo>
                  <a:cubicBezTo>
                    <a:pt x="4699" y="18310"/>
                    <a:pt x="7117" y="19325"/>
                    <a:pt x="9663"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46" name="Google Shape;6346;p71"/>
            <p:cNvSpPr/>
            <p:nvPr/>
          </p:nvSpPr>
          <p:spPr>
            <a:xfrm>
              <a:off x="2209375" y="5125625"/>
              <a:ext cx="227600" cy="219350"/>
            </a:xfrm>
            <a:custGeom>
              <a:avLst/>
              <a:gdLst/>
              <a:ahLst/>
              <a:cxnLst/>
              <a:rect l="l" t="t" r="r" b="b"/>
              <a:pathLst>
                <a:path w="9104" h="8774" extrusionOk="0">
                  <a:moveTo>
                    <a:pt x="7232" y="1143"/>
                  </a:moveTo>
                  <a:cubicBezTo>
                    <a:pt x="7377" y="1143"/>
                    <a:pt x="7522" y="1198"/>
                    <a:pt x="7633" y="1308"/>
                  </a:cubicBezTo>
                  <a:cubicBezTo>
                    <a:pt x="7851" y="1528"/>
                    <a:pt x="7854" y="1882"/>
                    <a:pt x="7639" y="2102"/>
                  </a:cubicBezTo>
                  <a:lnTo>
                    <a:pt x="5755" y="3986"/>
                  </a:lnTo>
                  <a:cubicBezTo>
                    <a:pt x="5532" y="4210"/>
                    <a:pt x="5532" y="4566"/>
                    <a:pt x="5755" y="4789"/>
                  </a:cubicBezTo>
                  <a:lnTo>
                    <a:pt x="7639" y="6673"/>
                  </a:lnTo>
                  <a:cubicBezTo>
                    <a:pt x="7854" y="6894"/>
                    <a:pt x="7851" y="7247"/>
                    <a:pt x="7633" y="7468"/>
                  </a:cubicBezTo>
                  <a:cubicBezTo>
                    <a:pt x="7522" y="7577"/>
                    <a:pt x="7377" y="7633"/>
                    <a:pt x="7232" y="7633"/>
                  </a:cubicBezTo>
                  <a:cubicBezTo>
                    <a:pt x="7090" y="7633"/>
                    <a:pt x="6948" y="7580"/>
                    <a:pt x="6839" y="7474"/>
                  </a:cubicBezTo>
                  <a:lnTo>
                    <a:pt x="6830" y="7468"/>
                  </a:lnTo>
                  <a:lnTo>
                    <a:pt x="4946" y="5650"/>
                  </a:lnTo>
                  <a:cubicBezTo>
                    <a:pt x="4836" y="5544"/>
                    <a:pt x="4695" y="5491"/>
                    <a:pt x="4554" y="5491"/>
                  </a:cubicBezTo>
                  <a:cubicBezTo>
                    <a:pt x="4412" y="5491"/>
                    <a:pt x="4271" y="5544"/>
                    <a:pt x="4161" y="5650"/>
                  </a:cubicBezTo>
                  <a:lnTo>
                    <a:pt x="2277" y="7468"/>
                  </a:lnTo>
                  <a:lnTo>
                    <a:pt x="2268" y="7474"/>
                  </a:lnTo>
                  <a:cubicBezTo>
                    <a:pt x="2159" y="7580"/>
                    <a:pt x="2017" y="7633"/>
                    <a:pt x="1875" y="7633"/>
                  </a:cubicBezTo>
                  <a:cubicBezTo>
                    <a:pt x="1730" y="7633"/>
                    <a:pt x="1585" y="7577"/>
                    <a:pt x="1474" y="7468"/>
                  </a:cubicBezTo>
                  <a:cubicBezTo>
                    <a:pt x="1256" y="7247"/>
                    <a:pt x="1253" y="6894"/>
                    <a:pt x="1468" y="6673"/>
                  </a:cubicBezTo>
                  <a:lnTo>
                    <a:pt x="3352" y="4789"/>
                  </a:lnTo>
                  <a:cubicBezTo>
                    <a:pt x="3575" y="4566"/>
                    <a:pt x="3575" y="4210"/>
                    <a:pt x="3352" y="3986"/>
                  </a:cubicBezTo>
                  <a:lnTo>
                    <a:pt x="1468" y="2102"/>
                  </a:lnTo>
                  <a:cubicBezTo>
                    <a:pt x="1253" y="1882"/>
                    <a:pt x="1256" y="1528"/>
                    <a:pt x="1474" y="1308"/>
                  </a:cubicBezTo>
                  <a:cubicBezTo>
                    <a:pt x="1585" y="1198"/>
                    <a:pt x="1730" y="1143"/>
                    <a:pt x="1875" y="1143"/>
                  </a:cubicBezTo>
                  <a:cubicBezTo>
                    <a:pt x="2017" y="1143"/>
                    <a:pt x="2159" y="1196"/>
                    <a:pt x="2268" y="1302"/>
                  </a:cubicBezTo>
                  <a:lnTo>
                    <a:pt x="2277" y="1308"/>
                  </a:lnTo>
                  <a:lnTo>
                    <a:pt x="4161" y="3126"/>
                  </a:lnTo>
                  <a:cubicBezTo>
                    <a:pt x="4271" y="3231"/>
                    <a:pt x="4412" y="3284"/>
                    <a:pt x="4554" y="3284"/>
                  </a:cubicBezTo>
                  <a:cubicBezTo>
                    <a:pt x="4695" y="3284"/>
                    <a:pt x="4836" y="3231"/>
                    <a:pt x="4946" y="3126"/>
                  </a:cubicBezTo>
                  <a:lnTo>
                    <a:pt x="6830" y="1308"/>
                  </a:lnTo>
                  <a:lnTo>
                    <a:pt x="6839" y="1302"/>
                  </a:lnTo>
                  <a:cubicBezTo>
                    <a:pt x="6948" y="1196"/>
                    <a:pt x="7090" y="1143"/>
                    <a:pt x="7232" y="1143"/>
                  </a:cubicBezTo>
                  <a:close/>
                  <a:moveTo>
                    <a:pt x="1865" y="0"/>
                  </a:moveTo>
                  <a:cubicBezTo>
                    <a:pt x="1430" y="0"/>
                    <a:pt x="995" y="166"/>
                    <a:pt x="664" y="499"/>
                  </a:cubicBezTo>
                  <a:cubicBezTo>
                    <a:pt x="0" y="1163"/>
                    <a:pt x="3" y="2241"/>
                    <a:pt x="667" y="2902"/>
                  </a:cubicBezTo>
                  <a:lnTo>
                    <a:pt x="2153" y="4388"/>
                  </a:lnTo>
                  <a:lnTo>
                    <a:pt x="667" y="5873"/>
                  </a:lnTo>
                  <a:cubicBezTo>
                    <a:pt x="0" y="6535"/>
                    <a:pt x="0" y="7610"/>
                    <a:pt x="661" y="8274"/>
                  </a:cubicBezTo>
                  <a:cubicBezTo>
                    <a:pt x="995" y="8607"/>
                    <a:pt x="1431" y="8774"/>
                    <a:pt x="1868" y="8774"/>
                  </a:cubicBezTo>
                  <a:cubicBezTo>
                    <a:pt x="2301" y="8774"/>
                    <a:pt x="2734" y="8609"/>
                    <a:pt x="3065" y="8280"/>
                  </a:cubicBezTo>
                  <a:lnTo>
                    <a:pt x="4554" y="6846"/>
                  </a:lnTo>
                  <a:lnTo>
                    <a:pt x="6042" y="8280"/>
                  </a:lnTo>
                  <a:cubicBezTo>
                    <a:pt x="6373" y="8609"/>
                    <a:pt x="6806" y="8774"/>
                    <a:pt x="7239" y="8774"/>
                  </a:cubicBezTo>
                  <a:cubicBezTo>
                    <a:pt x="7675" y="8774"/>
                    <a:pt x="8111" y="8607"/>
                    <a:pt x="8443" y="8274"/>
                  </a:cubicBezTo>
                  <a:cubicBezTo>
                    <a:pt x="9104" y="7610"/>
                    <a:pt x="9104" y="6535"/>
                    <a:pt x="8440" y="5873"/>
                  </a:cubicBezTo>
                  <a:lnTo>
                    <a:pt x="6957" y="4388"/>
                  </a:lnTo>
                  <a:lnTo>
                    <a:pt x="8440" y="2902"/>
                  </a:lnTo>
                  <a:cubicBezTo>
                    <a:pt x="8760" y="2585"/>
                    <a:pt x="8938" y="2153"/>
                    <a:pt x="8938" y="1703"/>
                  </a:cubicBezTo>
                  <a:cubicBezTo>
                    <a:pt x="8938" y="1018"/>
                    <a:pt x="8524" y="399"/>
                    <a:pt x="7893" y="133"/>
                  </a:cubicBezTo>
                  <a:cubicBezTo>
                    <a:pt x="7682" y="46"/>
                    <a:pt x="7460" y="3"/>
                    <a:pt x="7239" y="3"/>
                  </a:cubicBezTo>
                  <a:cubicBezTo>
                    <a:pt x="6799" y="3"/>
                    <a:pt x="6366" y="174"/>
                    <a:pt x="6042" y="496"/>
                  </a:cubicBezTo>
                  <a:lnTo>
                    <a:pt x="4554" y="1930"/>
                  </a:lnTo>
                  <a:lnTo>
                    <a:pt x="3065" y="496"/>
                  </a:lnTo>
                  <a:cubicBezTo>
                    <a:pt x="2733" y="165"/>
                    <a:pt x="2299" y="0"/>
                    <a:pt x="18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47" name="Google Shape;6347;p71"/>
          <p:cNvGrpSpPr/>
          <p:nvPr/>
        </p:nvGrpSpPr>
        <p:grpSpPr>
          <a:xfrm>
            <a:off x="1988437" y="5305584"/>
            <a:ext cx="391976" cy="391976"/>
            <a:chOff x="2676100" y="4993750"/>
            <a:chExt cx="483125" cy="483125"/>
          </a:xfrm>
        </p:grpSpPr>
        <p:sp>
          <p:nvSpPr>
            <p:cNvPr id="6348" name="Google Shape;6348;p71"/>
            <p:cNvSpPr/>
            <p:nvPr/>
          </p:nvSpPr>
          <p:spPr>
            <a:xfrm>
              <a:off x="267610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0" y="761"/>
                    <a:pt x="0" y="1700"/>
                  </a:cubicBezTo>
                  <a:lnTo>
                    <a:pt x="0" y="17628"/>
                  </a:lnTo>
                  <a:cubicBezTo>
                    <a:pt x="0"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49" name="Google Shape;6349;p71"/>
            <p:cNvSpPr/>
            <p:nvPr/>
          </p:nvSpPr>
          <p:spPr>
            <a:xfrm>
              <a:off x="2776125" y="5051350"/>
              <a:ext cx="141550" cy="367950"/>
            </a:xfrm>
            <a:custGeom>
              <a:avLst/>
              <a:gdLst/>
              <a:ahLst/>
              <a:cxnLst/>
              <a:rect l="l" t="t" r="r" b="b"/>
              <a:pathLst>
                <a:path w="5662" h="14718" extrusionOk="0">
                  <a:moveTo>
                    <a:pt x="4529" y="4530"/>
                  </a:moveTo>
                  <a:lnTo>
                    <a:pt x="4529" y="5094"/>
                  </a:lnTo>
                  <a:cubicBezTo>
                    <a:pt x="4529" y="5408"/>
                    <a:pt x="4276" y="5662"/>
                    <a:pt x="3965" y="5662"/>
                  </a:cubicBezTo>
                  <a:cubicBezTo>
                    <a:pt x="3651" y="5662"/>
                    <a:pt x="3397" y="5912"/>
                    <a:pt x="3397" y="6226"/>
                  </a:cubicBezTo>
                  <a:lnTo>
                    <a:pt x="3397" y="13020"/>
                  </a:lnTo>
                  <a:cubicBezTo>
                    <a:pt x="3397" y="13334"/>
                    <a:pt x="3143" y="13585"/>
                    <a:pt x="2832" y="13585"/>
                  </a:cubicBezTo>
                  <a:cubicBezTo>
                    <a:pt x="2518" y="13585"/>
                    <a:pt x="2265" y="13334"/>
                    <a:pt x="2265" y="13020"/>
                  </a:cubicBezTo>
                  <a:lnTo>
                    <a:pt x="2265" y="6226"/>
                  </a:lnTo>
                  <a:cubicBezTo>
                    <a:pt x="2265" y="5912"/>
                    <a:pt x="2011" y="5662"/>
                    <a:pt x="1700" y="5662"/>
                  </a:cubicBezTo>
                  <a:cubicBezTo>
                    <a:pt x="1386" y="5662"/>
                    <a:pt x="1132" y="5408"/>
                    <a:pt x="1132" y="5094"/>
                  </a:cubicBezTo>
                  <a:lnTo>
                    <a:pt x="1132" y="4530"/>
                  </a:lnTo>
                  <a:close/>
                  <a:moveTo>
                    <a:pt x="568" y="0"/>
                  </a:moveTo>
                  <a:cubicBezTo>
                    <a:pt x="254" y="0"/>
                    <a:pt x="0" y="251"/>
                    <a:pt x="0" y="565"/>
                  </a:cubicBezTo>
                  <a:lnTo>
                    <a:pt x="0" y="5094"/>
                  </a:lnTo>
                  <a:cubicBezTo>
                    <a:pt x="0" y="5813"/>
                    <a:pt x="453" y="6456"/>
                    <a:pt x="1132" y="6694"/>
                  </a:cubicBezTo>
                  <a:lnTo>
                    <a:pt x="1132" y="13020"/>
                  </a:lnTo>
                  <a:cubicBezTo>
                    <a:pt x="1132" y="13959"/>
                    <a:pt x="1893" y="14717"/>
                    <a:pt x="2832" y="14717"/>
                  </a:cubicBezTo>
                  <a:cubicBezTo>
                    <a:pt x="3768" y="14717"/>
                    <a:pt x="4529" y="13959"/>
                    <a:pt x="4529" y="13020"/>
                  </a:cubicBezTo>
                  <a:lnTo>
                    <a:pt x="4529" y="6694"/>
                  </a:lnTo>
                  <a:cubicBezTo>
                    <a:pt x="5209" y="6456"/>
                    <a:pt x="5662" y="5813"/>
                    <a:pt x="5662" y="5094"/>
                  </a:cubicBezTo>
                  <a:lnTo>
                    <a:pt x="5662" y="565"/>
                  </a:lnTo>
                  <a:cubicBezTo>
                    <a:pt x="5662" y="251"/>
                    <a:pt x="5408" y="0"/>
                    <a:pt x="5097" y="0"/>
                  </a:cubicBezTo>
                  <a:cubicBezTo>
                    <a:pt x="4783" y="0"/>
                    <a:pt x="4529" y="251"/>
                    <a:pt x="4529" y="565"/>
                  </a:cubicBezTo>
                  <a:lnTo>
                    <a:pt x="4529" y="3397"/>
                  </a:lnTo>
                  <a:lnTo>
                    <a:pt x="3397" y="3397"/>
                  </a:lnTo>
                  <a:lnTo>
                    <a:pt x="3397" y="565"/>
                  </a:lnTo>
                  <a:cubicBezTo>
                    <a:pt x="3397" y="251"/>
                    <a:pt x="3143" y="0"/>
                    <a:pt x="2832" y="0"/>
                  </a:cubicBezTo>
                  <a:cubicBezTo>
                    <a:pt x="2518" y="0"/>
                    <a:pt x="2265" y="251"/>
                    <a:pt x="2265" y="565"/>
                  </a:cubicBezTo>
                  <a:lnTo>
                    <a:pt x="2265" y="3397"/>
                  </a:lnTo>
                  <a:lnTo>
                    <a:pt x="1132" y="3397"/>
                  </a:lnTo>
                  <a:lnTo>
                    <a:pt x="1132" y="565"/>
                  </a:lnTo>
                  <a:cubicBezTo>
                    <a:pt x="1132" y="251"/>
                    <a:pt x="879" y="0"/>
                    <a:pt x="5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50" name="Google Shape;6350;p71"/>
            <p:cNvSpPr/>
            <p:nvPr/>
          </p:nvSpPr>
          <p:spPr>
            <a:xfrm>
              <a:off x="2945950" y="5051350"/>
              <a:ext cx="113275" cy="367950"/>
            </a:xfrm>
            <a:custGeom>
              <a:avLst/>
              <a:gdLst/>
              <a:ahLst/>
              <a:cxnLst/>
              <a:rect l="l" t="t" r="r" b="b"/>
              <a:pathLst>
                <a:path w="4531" h="14718" extrusionOk="0">
                  <a:moveTo>
                    <a:pt x="3398" y="1187"/>
                  </a:moveTo>
                  <a:lnTo>
                    <a:pt x="3398" y="13020"/>
                  </a:lnTo>
                  <a:cubicBezTo>
                    <a:pt x="3398" y="13334"/>
                    <a:pt x="3144" y="13585"/>
                    <a:pt x="2833" y="13585"/>
                  </a:cubicBezTo>
                  <a:cubicBezTo>
                    <a:pt x="2519" y="13585"/>
                    <a:pt x="2266" y="13334"/>
                    <a:pt x="2266" y="13020"/>
                  </a:cubicBezTo>
                  <a:lnTo>
                    <a:pt x="2266" y="8491"/>
                  </a:lnTo>
                  <a:cubicBezTo>
                    <a:pt x="2266" y="8177"/>
                    <a:pt x="2012" y="7926"/>
                    <a:pt x="1701" y="7926"/>
                  </a:cubicBezTo>
                  <a:lnTo>
                    <a:pt x="1133" y="7926"/>
                  </a:lnTo>
                  <a:lnTo>
                    <a:pt x="1133" y="3962"/>
                  </a:lnTo>
                  <a:cubicBezTo>
                    <a:pt x="1136" y="2618"/>
                    <a:pt x="2081" y="1459"/>
                    <a:pt x="3398" y="1187"/>
                  </a:cubicBezTo>
                  <a:close/>
                  <a:moveTo>
                    <a:pt x="3965" y="0"/>
                  </a:moveTo>
                  <a:cubicBezTo>
                    <a:pt x="1776" y="0"/>
                    <a:pt x="4" y="1773"/>
                    <a:pt x="1" y="3962"/>
                  </a:cubicBezTo>
                  <a:lnTo>
                    <a:pt x="1" y="8491"/>
                  </a:lnTo>
                  <a:cubicBezTo>
                    <a:pt x="1" y="8805"/>
                    <a:pt x="255" y="9059"/>
                    <a:pt x="569" y="9059"/>
                  </a:cubicBezTo>
                  <a:lnTo>
                    <a:pt x="1133" y="9059"/>
                  </a:lnTo>
                  <a:lnTo>
                    <a:pt x="1133" y="13020"/>
                  </a:lnTo>
                  <a:cubicBezTo>
                    <a:pt x="1133" y="13959"/>
                    <a:pt x="1894" y="14717"/>
                    <a:pt x="2833" y="14717"/>
                  </a:cubicBezTo>
                  <a:cubicBezTo>
                    <a:pt x="3769" y="14717"/>
                    <a:pt x="4530" y="13959"/>
                    <a:pt x="4530" y="13020"/>
                  </a:cubicBezTo>
                  <a:lnTo>
                    <a:pt x="4530" y="565"/>
                  </a:lnTo>
                  <a:cubicBezTo>
                    <a:pt x="4530" y="251"/>
                    <a:pt x="4276" y="0"/>
                    <a:pt x="3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51" name="Google Shape;6351;p71"/>
          <p:cNvGrpSpPr/>
          <p:nvPr/>
        </p:nvGrpSpPr>
        <p:grpSpPr>
          <a:xfrm>
            <a:off x="5763247" y="5295753"/>
            <a:ext cx="410979" cy="410979"/>
            <a:chOff x="3270550" y="4993750"/>
            <a:chExt cx="483125" cy="483125"/>
          </a:xfrm>
        </p:grpSpPr>
        <p:sp>
          <p:nvSpPr>
            <p:cNvPr id="6352" name="Google Shape;6352;p71"/>
            <p:cNvSpPr/>
            <p:nvPr/>
          </p:nvSpPr>
          <p:spPr>
            <a:xfrm>
              <a:off x="3270550" y="4993750"/>
              <a:ext cx="483125" cy="483125"/>
            </a:xfrm>
            <a:custGeom>
              <a:avLst/>
              <a:gdLst/>
              <a:ahLst/>
              <a:cxnLst/>
              <a:rect l="l" t="t" r="r" b="b"/>
              <a:pathLst>
                <a:path w="19325" h="19325" extrusionOk="0">
                  <a:moveTo>
                    <a:pt x="17628" y="1133"/>
                  </a:moveTo>
                  <a:cubicBezTo>
                    <a:pt x="17939" y="1133"/>
                    <a:pt x="18193" y="1386"/>
                    <a:pt x="18193" y="1700"/>
                  </a:cubicBezTo>
                  <a:lnTo>
                    <a:pt x="18193" y="17628"/>
                  </a:lnTo>
                  <a:cubicBezTo>
                    <a:pt x="18193" y="17939"/>
                    <a:pt x="17939" y="18193"/>
                    <a:pt x="17628" y="18193"/>
                  </a:cubicBezTo>
                  <a:lnTo>
                    <a:pt x="1700" y="18193"/>
                  </a:lnTo>
                  <a:cubicBezTo>
                    <a:pt x="1386" y="18193"/>
                    <a:pt x="1133" y="17939"/>
                    <a:pt x="1133" y="17628"/>
                  </a:cubicBezTo>
                  <a:lnTo>
                    <a:pt x="1133" y="1700"/>
                  </a:lnTo>
                  <a:cubicBezTo>
                    <a:pt x="1133" y="1386"/>
                    <a:pt x="1386" y="1133"/>
                    <a:pt x="1700" y="1133"/>
                  </a:cubicBezTo>
                  <a:close/>
                  <a:moveTo>
                    <a:pt x="1700" y="1"/>
                  </a:moveTo>
                  <a:cubicBezTo>
                    <a:pt x="761" y="1"/>
                    <a:pt x="1" y="761"/>
                    <a:pt x="1" y="1700"/>
                  </a:cubicBezTo>
                  <a:lnTo>
                    <a:pt x="1" y="17628"/>
                  </a:lnTo>
                  <a:cubicBezTo>
                    <a:pt x="1" y="18564"/>
                    <a:pt x="761" y="19325"/>
                    <a:pt x="1700" y="19325"/>
                  </a:cubicBezTo>
                  <a:lnTo>
                    <a:pt x="17628" y="19325"/>
                  </a:lnTo>
                  <a:cubicBezTo>
                    <a:pt x="18564" y="19325"/>
                    <a:pt x="19325" y="18564"/>
                    <a:pt x="19325" y="17628"/>
                  </a:cubicBezTo>
                  <a:lnTo>
                    <a:pt x="19325" y="1700"/>
                  </a:lnTo>
                  <a:cubicBezTo>
                    <a:pt x="19325" y="761"/>
                    <a:pt x="18564" y="1"/>
                    <a:pt x="176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53" name="Google Shape;6353;p71"/>
            <p:cNvSpPr/>
            <p:nvPr/>
          </p:nvSpPr>
          <p:spPr>
            <a:xfrm>
              <a:off x="3469675" y="5079600"/>
              <a:ext cx="88275" cy="85000"/>
            </a:xfrm>
            <a:custGeom>
              <a:avLst/>
              <a:gdLst/>
              <a:ahLst/>
              <a:cxnLst/>
              <a:rect l="l" t="t" r="r" b="b"/>
              <a:pathLst>
                <a:path w="3531" h="3400" extrusionOk="0">
                  <a:moveTo>
                    <a:pt x="1698" y="1135"/>
                  </a:moveTo>
                  <a:cubicBezTo>
                    <a:pt x="2202" y="1135"/>
                    <a:pt x="2456" y="1742"/>
                    <a:pt x="2099" y="2101"/>
                  </a:cubicBezTo>
                  <a:cubicBezTo>
                    <a:pt x="1983" y="2216"/>
                    <a:pt x="1842" y="2268"/>
                    <a:pt x="1703" y="2268"/>
                  </a:cubicBezTo>
                  <a:cubicBezTo>
                    <a:pt x="1411" y="2268"/>
                    <a:pt x="1133" y="2041"/>
                    <a:pt x="1133" y="1700"/>
                  </a:cubicBezTo>
                  <a:cubicBezTo>
                    <a:pt x="1133" y="1386"/>
                    <a:pt x="1384" y="1135"/>
                    <a:pt x="1698" y="1135"/>
                  </a:cubicBezTo>
                  <a:close/>
                  <a:moveTo>
                    <a:pt x="1698" y="0"/>
                  </a:moveTo>
                  <a:cubicBezTo>
                    <a:pt x="1479" y="0"/>
                    <a:pt x="1259" y="42"/>
                    <a:pt x="1049" y="129"/>
                  </a:cubicBezTo>
                  <a:cubicBezTo>
                    <a:pt x="415" y="392"/>
                    <a:pt x="1" y="1011"/>
                    <a:pt x="1" y="1700"/>
                  </a:cubicBezTo>
                  <a:cubicBezTo>
                    <a:pt x="1" y="2639"/>
                    <a:pt x="759" y="3397"/>
                    <a:pt x="1698" y="3400"/>
                  </a:cubicBezTo>
                  <a:cubicBezTo>
                    <a:pt x="2386" y="3400"/>
                    <a:pt x="3005" y="2983"/>
                    <a:pt x="3268" y="2349"/>
                  </a:cubicBezTo>
                  <a:cubicBezTo>
                    <a:pt x="3531" y="1715"/>
                    <a:pt x="3386" y="984"/>
                    <a:pt x="2900" y="498"/>
                  </a:cubicBezTo>
                  <a:cubicBezTo>
                    <a:pt x="2574" y="173"/>
                    <a:pt x="2140" y="0"/>
                    <a:pt x="16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54" name="Google Shape;6354;p71"/>
            <p:cNvSpPr/>
            <p:nvPr/>
          </p:nvSpPr>
          <p:spPr>
            <a:xfrm>
              <a:off x="3441375" y="5192875"/>
              <a:ext cx="141475" cy="198175"/>
            </a:xfrm>
            <a:custGeom>
              <a:avLst/>
              <a:gdLst/>
              <a:ahLst/>
              <a:cxnLst/>
              <a:rect l="l" t="t" r="r" b="b"/>
              <a:pathLst>
                <a:path w="5659" h="7927" extrusionOk="0">
                  <a:moveTo>
                    <a:pt x="3397" y="1133"/>
                  </a:moveTo>
                  <a:lnTo>
                    <a:pt x="3397" y="6795"/>
                  </a:lnTo>
                  <a:lnTo>
                    <a:pt x="2265" y="6795"/>
                  </a:lnTo>
                  <a:lnTo>
                    <a:pt x="2265" y="1133"/>
                  </a:lnTo>
                  <a:close/>
                  <a:moveTo>
                    <a:pt x="565" y="1"/>
                  </a:moveTo>
                  <a:cubicBezTo>
                    <a:pt x="251" y="1"/>
                    <a:pt x="1" y="251"/>
                    <a:pt x="1" y="565"/>
                  </a:cubicBezTo>
                  <a:cubicBezTo>
                    <a:pt x="1" y="879"/>
                    <a:pt x="251" y="1133"/>
                    <a:pt x="565" y="1133"/>
                  </a:cubicBezTo>
                  <a:lnTo>
                    <a:pt x="1133" y="1133"/>
                  </a:lnTo>
                  <a:lnTo>
                    <a:pt x="1133" y="6795"/>
                  </a:lnTo>
                  <a:lnTo>
                    <a:pt x="565" y="6795"/>
                  </a:lnTo>
                  <a:cubicBezTo>
                    <a:pt x="251" y="6795"/>
                    <a:pt x="1" y="7045"/>
                    <a:pt x="1" y="7359"/>
                  </a:cubicBezTo>
                  <a:cubicBezTo>
                    <a:pt x="1" y="7673"/>
                    <a:pt x="251" y="7927"/>
                    <a:pt x="565" y="7927"/>
                  </a:cubicBezTo>
                  <a:lnTo>
                    <a:pt x="5094" y="7927"/>
                  </a:lnTo>
                  <a:cubicBezTo>
                    <a:pt x="5408" y="7927"/>
                    <a:pt x="5659" y="7673"/>
                    <a:pt x="5659" y="7359"/>
                  </a:cubicBezTo>
                  <a:cubicBezTo>
                    <a:pt x="5659" y="7045"/>
                    <a:pt x="5408" y="6795"/>
                    <a:pt x="5094" y="6795"/>
                  </a:cubicBezTo>
                  <a:lnTo>
                    <a:pt x="4530" y="6795"/>
                  </a:lnTo>
                  <a:lnTo>
                    <a:pt x="4530" y="565"/>
                  </a:lnTo>
                  <a:cubicBezTo>
                    <a:pt x="4530" y="251"/>
                    <a:pt x="4276" y="1"/>
                    <a:pt x="39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
        <p:nvSpPr>
          <p:cNvPr id="6355" name="Google Shape;6355;p71"/>
          <p:cNvSpPr/>
          <p:nvPr/>
        </p:nvSpPr>
        <p:spPr>
          <a:xfrm>
            <a:off x="2519407" y="5305242"/>
            <a:ext cx="391996" cy="392097"/>
          </a:xfrm>
          <a:custGeom>
            <a:avLst/>
            <a:gdLst/>
            <a:ahLst/>
            <a:cxnLst/>
            <a:rect l="l" t="t" r="r" b="b"/>
            <a:pathLst>
              <a:path w="19326" h="19331" extrusionOk="0">
                <a:moveTo>
                  <a:pt x="9470" y="1131"/>
                </a:moveTo>
                <a:cubicBezTo>
                  <a:pt x="9519" y="1131"/>
                  <a:pt x="9569" y="1143"/>
                  <a:pt x="9615" y="1165"/>
                </a:cubicBezTo>
                <a:lnTo>
                  <a:pt x="17504" y="5208"/>
                </a:lnTo>
                <a:lnTo>
                  <a:pt x="14283" y="6820"/>
                </a:lnTo>
                <a:lnTo>
                  <a:pt x="6360" y="2756"/>
                </a:lnTo>
                <a:lnTo>
                  <a:pt x="9325" y="1168"/>
                </a:lnTo>
                <a:cubicBezTo>
                  <a:pt x="9369" y="1143"/>
                  <a:pt x="9419" y="1131"/>
                  <a:pt x="9470" y="1131"/>
                </a:cubicBezTo>
                <a:close/>
                <a:moveTo>
                  <a:pt x="5149" y="3405"/>
                </a:moveTo>
                <a:lnTo>
                  <a:pt x="13027" y="7448"/>
                </a:lnTo>
                <a:lnTo>
                  <a:pt x="9467" y="9230"/>
                </a:lnTo>
                <a:lnTo>
                  <a:pt x="1779" y="5208"/>
                </a:lnTo>
                <a:lnTo>
                  <a:pt x="5149" y="3405"/>
                </a:lnTo>
                <a:close/>
                <a:moveTo>
                  <a:pt x="1133" y="6150"/>
                </a:moveTo>
                <a:lnTo>
                  <a:pt x="8896" y="10208"/>
                </a:lnTo>
                <a:lnTo>
                  <a:pt x="8896" y="17935"/>
                </a:lnTo>
                <a:lnTo>
                  <a:pt x="1299" y="13916"/>
                </a:lnTo>
                <a:cubicBezTo>
                  <a:pt x="1196" y="13862"/>
                  <a:pt x="1133" y="13753"/>
                  <a:pt x="1133" y="13638"/>
                </a:cubicBezTo>
                <a:lnTo>
                  <a:pt x="1133" y="6150"/>
                </a:lnTo>
                <a:close/>
                <a:moveTo>
                  <a:pt x="18190" y="6132"/>
                </a:moveTo>
                <a:lnTo>
                  <a:pt x="18190" y="13629"/>
                </a:lnTo>
                <a:cubicBezTo>
                  <a:pt x="18193" y="13744"/>
                  <a:pt x="18126" y="13853"/>
                  <a:pt x="18021" y="13907"/>
                </a:cubicBezTo>
                <a:lnTo>
                  <a:pt x="10028" y="17953"/>
                </a:lnTo>
                <a:lnTo>
                  <a:pt x="10028" y="10217"/>
                </a:lnTo>
                <a:lnTo>
                  <a:pt x="13730" y="8363"/>
                </a:lnTo>
                <a:lnTo>
                  <a:pt x="13730" y="10281"/>
                </a:lnTo>
                <a:cubicBezTo>
                  <a:pt x="13730" y="10592"/>
                  <a:pt x="13984" y="10845"/>
                  <a:pt x="14298" y="10845"/>
                </a:cubicBezTo>
                <a:cubicBezTo>
                  <a:pt x="14609" y="10845"/>
                  <a:pt x="14862" y="10592"/>
                  <a:pt x="14862" y="10281"/>
                </a:cubicBezTo>
                <a:lnTo>
                  <a:pt x="14862" y="7796"/>
                </a:lnTo>
                <a:lnTo>
                  <a:pt x="18190" y="6132"/>
                </a:lnTo>
                <a:close/>
                <a:moveTo>
                  <a:pt x="9473" y="0"/>
                </a:moveTo>
                <a:cubicBezTo>
                  <a:pt x="9238" y="0"/>
                  <a:pt x="9003" y="58"/>
                  <a:pt x="8790"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19" y="19279"/>
                  <a:pt x="10125" y="19176"/>
                </a:cubicBezTo>
                <a:lnTo>
                  <a:pt x="18534" y="14916"/>
                </a:lnTo>
                <a:cubicBezTo>
                  <a:pt x="19020" y="14671"/>
                  <a:pt x="19325" y="14173"/>
                  <a:pt x="19325" y="13629"/>
                </a:cubicBezTo>
                <a:lnTo>
                  <a:pt x="19325" y="5752"/>
                </a:lnTo>
                <a:cubicBezTo>
                  <a:pt x="19325" y="5208"/>
                  <a:pt x="19023" y="4713"/>
                  <a:pt x="18537" y="4465"/>
                </a:cubicBezTo>
                <a:lnTo>
                  <a:pt x="10131" y="160"/>
                </a:lnTo>
                <a:cubicBezTo>
                  <a:pt x="9924" y="53"/>
                  <a:pt x="9698" y="0"/>
                  <a:pt x="9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nvGrpSpPr>
          <p:cNvPr id="6356" name="Google Shape;6356;p71"/>
          <p:cNvGrpSpPr/>
          <p:nvPr/>
        </p:nvGrpSpPr>
        <p:grpSpPr>
          <a:xfrm>
            <a:off x="3050791" y="5305524"/>
            <a:ext cx="391996" cy="392097"/>
            <a:chOff x="4459450" y="4993700"/>
            <a:chExt cx="483150" cy="483275"/>
          </a:xfrm>
        </p:grpSpPr>
        <p:sp>
          <p:nvSpPr>
            <p:cNvPr id="6357" name="Google Shape;6357;p71"/>
            <p:cNvSpPr/>
            <p:nvPr/>
          </p:nvSpPr>
          <p:spPr>
            <a:xfrm>
              <a:off x="445945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1" y="3366"/>
                  </a:moveTo>
                  <a:lnTo>
                    <a:pt x="13033" y="7445"/>
                  </a:lnTo>
                  <a:lnTo>
                    <a:pt x="9467" y="9230"/>
                  </a:lnTo>
                  <a:lnTo>
                    <a:pt x="1779" y="5208"/>
                  </a:lnTo>
                  <a:lnTo>
                    <a:pt x="5221"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8" y="17953"/>
                  </a:lnTo>
                  <a:lnTo>
                    <a:pt x="10028"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7" y="172"/>
                  </a:cubicBezTo>
                  <a:lnTo>
                    <a:pt x="765" y="4468"/>
                  </a:lnTo>
                  <a:cubicBezTo>
                    <a:pt x="294" y="4719"/>
                    <a:pt x="1" y="5208"/>
                    <a:pt x="1" y="5739"/>
                  </a:cubicBezTo>
                  <a:lnTo>
                    <a:pt x="1" y="13638"/>
                  </a:lnTo>
                  <a:cubicBezTo>
                    <a:pt x="1" y="14173"/>
                    <a:pt x="297" y="14665"/>
                    <a:pt x="771" y="14913"/>
                  </a:cubicBezTo>
                  <a:lnTo>
                    <a:pt x="8796"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2" y="53"/>
                    <a:pt x="9697" y="0"/>
                    <a:pt x="94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58" name="Google Shape;6358;p71"/>
            <p:cNvSpPr/>
            <p:nvPr/>
          </p:nvSpPr>
          <p:spPr>
            <a:xfrm>
              <a:off x="4530800" y="5235675"/>
              <a:ext cx="99650" cy="118650"/>
            </a:xfrm>
            <a:custGeom>
              <a:avLst/>
              <a:gdLst/>
              <a:ahLst/>
              <a:cxnLst/>
              <a:rect l="l" t="t" r="r" b="b"/>
              <a:pathLst>
                <a:path w="3986" h="4746" extrusionOk="0">
                  <a:moveTo>
                    <a:pt x="859" y="1"/>
                  </a:moveTo>
                  <a:cubicBezTo>
                    <a:pt x="757" y="1"/>
                    <a:pt x="654" y="28"/>
                    <a:pt x="562" y="85"/>
                  </a:cubicBezTo>
                  <a:cubicBezTo>
                    <a:pt x="296" y="251"/>
                    <a:pt x="215" y="596"/>
                    <a:pt x="378" y="861"/>
                  </a:cubicBezTo>
                  <a:lnTo>
                    <a:pt x="1136" y="2081"/>
                  </a:lnTo>
                  <a:lnTo>
                    <a:pt x="432" y="2374"/>
                  </a:lnTo>
                  <a:cubicBezTo>
                    <a:pt x="139" y="2492"/>
                    <a:pt x="0" y="2827"/>
                    <a:pt x="121" y="3117"/>
                  </a:cubicBezTo>
                  <a:cubicBezTo>
                    <a:pt x="211" y="3335"/>
                    <a:pt x="422" y="3466"/>
                    <a:pt x="644" y="3466"/>
                  </a:cubicBezTo>
                  <a:cubicBezTo>
                    <a:pt x="719" y="3466"/>
                    <a:pt x="796" y="3451"/>
                    <a:pt x="870" y="3419"/>
                  </a:cubicBezTo>
                  <a:lnTo>
                    <a:pt x="1742" y="3054"/>
                  </a:lnTo>
                  <a:lnTo>
                    <a:pt x="2627" y="4476"/>
                  </a:lnTo>
                  <a:cubicBezTo>
                    <a:pt x="2733" y="4650"/>
                    <a:pt x="2919" y="4746"/>
                    <a:pt x="3110" y="4746"/>
                  </a:cubicBezTo>
                  <a:cubicBezTo>
                    <a:pt x="3212" y="4746"/>
                    <a:pt x="3316" y="4718"/>
                    <a:pt x="3409" y="4660"/>
                  </a:cubicBezTo>
                  <a:cubicBezTo>
                    <a:pt x="3675" y="4494"/>
                    <a:pt x="3756" y="4144"/>
                    <a:pt x="3587" y="3878"/>
                  </a:cubicBezTo>
                  <a:lnTo>
                    <a:pt x="2802" y="2613"/>
                  </a:lnTo>
                  <a:lnTo>
                    <a:pt x="3560" y="2296"/>
                  </a:lnTo>
                  <a:cubicBezTo>
                    <a:pt x="3850" y="2175"/>
                    <a:pt x="3986" y="1843"/>
                    <a:pt x="3865" y="1556"/>
                  </a:cubicBezTo>
                  <a:cubicBezTo>
                    <a:pt x="3774" y="1338"/>
                    <a:pt x="3564" y="1207"/>
                    <a:pt x="3343" y="1207"/>
                  </a:cubicBezTo>
                  <a:cubicBezTo>
                    <a:pt x="3270" y="1207"/>
                    <a:pt x="3196" y="1221"/>
                    <a:pt x="3125" y="1251"/>
                  </a:cubicBezTo>
                  <a:lnTo>
                    <a:pt x="2195" y="1637"/>
                  </a:lnTo>
                  <a:lnTo>
                    <a:pt x="1338" y="264"/>
                  </a:lnTo>
                  <a:cubicBezTo>
                    <a:pt x="1230" y="93"/>
                    <a:pt x="1047" y="1"/>
                    <a:pt x="8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grpSp>
        <p:nvGrpSpPr>
          <p:cNvPr id="6359" name="Google Shape;6359;p71"/>
          <p:cNvGrpSpPr/>
          <p:nvPr/>
        </p:nvGrpSpPr>
        <p:grpSpPr>
          <a:xfrm>
            <a:off x="3581962" y="5305524"/>
            <a:ext cx="391996" cy="392097"/>
            <a:chOff x="5053900" y="4993700"/>
            <a:chExt cx="483150" cy="483275"/>
          </a:xfrm>
        </p:grpSpPr>
        <p:sp>
          <p:nvSpPr>
            <p:cNvPr id="6360" name="Google Shape;6360;p71"/>
            <p:cNvSpPr/>
            <p:nvPr/>
          </p:nvSpPr>
          <p:spPr>
            <a:xfrm>
              <a:off x="5053900" y="4993700"/>
              <a:ext cx="483150" cy="483275"/>
            </a:xfrm>
            <a:custGeom>
              <a:avLst/>
              <a:gdLst/>
              <a:ahLst/>
              <a:cxnLst/>
              <a:rect l="l" t="t" r="r" b="b"/>
              <a:pathLst>
                <a:path w="19326" h="19331" extrusionOk="0">
                  <a:moveTo>
                    <a:pt x="9470" y="1131"/>
                  </a:moveTo>
                  <a:cubicBezTo>
                    <a:pt x="9519" y="1131"/>
                    <a:pt x="9569" y="1143"/>
                    <a:pt x="9615" y="1165"/>
                  </a:cubicBezTo>
                  <a:lnTo>
                    <a:pt x="17505" y="5208"/>
                  </a:lnTo>
                  <a:lnTo>
                    <a:pt x="14283" y="6820"/>
                  </a:lnTo>
                  <a:lnTo>
                    <a:pt x="6429" y="2720"/>
                  </a:lnTo>
                  <a:lnTo>
                    <a:pt x="9325" y="1168"/>
                  </a:lnTo>
                  <a:cubicBezTo>
                    <a:pt x="9369" y="1143"/>
                    <a:pt x="9419" y="1131"/>
                    <a:pt x="9470" y="1131"/>
                  </a:cubicBezTo>
                  <a:close/>
                  <a:moveTo>
                    <a:pt x="5222" y="3366"/>
                  </a:moveTo>
                  <a:lnTo>
                    <a:pt x="13033" y="7445"/>
                  </a:lnTo>
                  <a:lnTo>
                    <a:pt x="9467" y="9230"/>
                  </a:lnTo>
                  <a:lnTo>
                    <a:pt x="1779" y="5208"/>
                  </a:lnTo>
                  <a:lnTo>
                    <a:pt x="5222" y="3366"/>
                  </a:lnTo>
                  <a:close/>
                  <a:moveTo>
                    <a:pt x="1133" y="6150"/>
                  </a:moveTo>
                  <a:lnTo>
                    <a:pt x="8896" y="10208"/>
                  </a:lnTo>
                  <a:lnTo>
                    <a:pt x="8896" y="17935"/>
                  </a:lnTo>
                  <a:lnTo>
                    <a:pt x="1299" y="13916"/>
                  </a:lnTo>
                  <a:cubicBezTo>
                    <a:pt x="1197" y="13862"/>
                    <a:pt x="1133" y="13753"/>
                    <a:pt x="1133" y="13638"/>
                  </a:cubicBezTo>
                  <a:lnTo>
                    <a:pt x="1133" y="6150"/>
                  </a:lnTo>
                  <a:close/>
                  <a:moveTo>
                    <a:pt x="18193" y="6132"/>
                  </a:moveTo>
                  <a:lnTo>
                    <a:pt x="18193" y="13629"/>
                  </a:lnTo>
                  <a:cubicBezTo>
                    <a:pt x="18193" y="13744"/>
                    <a:pt x="18127" y="13853"/>
                    <a:pt x="18021" y="13907"/>
                  </a:cubicBezTo>
                  <a:lnTo>
                    <a:pt x="10029" y="17953"/>
                  </a:lnTo>
                  <a:lnTo>
                    <a:pt x="10029" y="10217"/>
                  </a:lnTo>
                  <a:lnTo>
                    <a:pt x="13730" y="8363"/>
                  </a:lnTo>
                  <a:lnTo>
                    <a:pt x="13730" y="10281"/>
                  </a:lnTo>
                  <a:cubicBezTo>
                    <a:pt x="13730" y="10592"/>
                    <a:pt x="13984" y="10845"/>
                    <a:pt x="14298" y="10845"/>
                  </a:cubicBezTo>
                  <a:cubicBezTo>
                    <a:pt x="14609" y="10845"/>
                    <a:pt x="14863" y="10592"/>
                    <a:pt x="14863" y="10281"/>
                  </a:cubicBezTo>
                  <a:lnTo>
                    <a:pt x="14863" y="7796"/>
                  </a:lnTo>
                  <a:lnTo>
                    <a:pt x="18193" y="6132"/>
                  </a:lnTo>
                  <a:close/>
                  <a:moveTo>
                    <a:pt x="9472" y="0"/>
                  </a:moveTo>
                  <a:cubicBezTo>
                    <a:pt x="9237" y="0"/>
                    <a:pt x="9002" y="58"/>
                    <a:pt x="8788" y="172"/>
                  </a:cubicBezTo>
                  <a:lnTo>
                    <a:pt x="765" y="4468"/>
                  </a:lnTo>
                  <a:cubicBezTo>
                    <a:pt x="294" y="4719"/>
                    <a:pt x="1" y="5208"/>
                    <a:pt x="1" y="5739"/>
                  </a:cubicBezTo>
                  <a:lnTo>
                    <a:pt x="1" y="13638"/>
                  </a:lnTo>
                  <a:cubicBezTo>
                    <a:pt x="1" y="14173"/>
                    <a:pt x="297" y="14665"/>
                    <a:pt x="771" y="14913"/>
                  </a:cubicBezTo>
                  <a:lnTo>
                    <a:pt x="8797" y="19164"/>
                  </a:lnTo>
                  <a:cubicBezTo>
                    <a:pt x="9008" y="19275"/>
                    <a:pt x="9240" y="19331"/>
                    <a:pt x="9473" y="19331"/>
                  </a:cubicBezTo>
                  <a:cubicBezTo>
                    <a:pt x="9696" y="19331"/>
                    <a:pt x="9920" y="19279"/>
                    <a:pt x="10125" y="19176"/>
                  </a:cubicBezTo>
                  <a:lnTo>
                    <a:pt x="18534" y="14916"/>
                  </a:lnTo>
                  <a:cubicBezTo>
                    <a:pt x="19020" y="14671"/>
                    <a:pt x="19325" y="14173"/>
                    <a:pt x="19325" y="13629"/>
                  </a:cubicBezTo>
                  <a:lnTo>
                    <a:pt x="19325" y="5752"/>
                  </a:lnTo>
                  <a:cubicBezTo>
                    <a:pt x="19325" y="5208"/>
                    <a:pt x="19023" y="4713"/>
                    <a:pt x="18537" y="4465"/>
                  </a:cubicBezTo>
                  <a:lnTo>
                    <a:pt x="10128" y="160"/>
                  </a:lnTo>
                  <a:cubicBezTo>
                    <a:pt x="9923" y="53"/>
                    <a:pt x="9698" y="0"/>
                    <a:pt x="94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sp>
          <p:nvSpPr>
            <p:cNvPr id="6361" name="Google Shape;6361;p71"/>
            <p:cNvSpPr/>
            <p:nvPr/>
          </p:nvSpPr>
          <p:spPr>
            <a:xfrm>
              <a:off x="5123725" y="5264025"/>
              <a:ext cx="105200" cy="61775"/>
            </a:xfrm>
            <a:custGeom>
              <a:avLst/>
              <a:gdLst/>
              <a:ahLst/>
              <a:cxnLst/>
              <a:rect l="l" t="t" r="r" b="b"/>
              <a:pathLst>
                <a:path w="4208" h="2471" extrusionOk="0">
                  <a:moveTo>
                    <a:pt x="3561" y="1"/>
                  </a:moveTo>
                  <a:cubicBezTo>
                    <a:pt x="3462" y="1"/>
                    <a:pt x="3362" y="26"/>
                    <a:pt x="3271" y="81"/>
                  </a:cubicBezTo>
                  <a:lnTo>
                    <a:pt x="1523" y="1122"/>
                  </a:lnTo>
                  <a:lnTo>
                    <a:pt x="1139" y="449"/>
                  </a:lnTo>
                  <a:cubicBezTo>
                    <a:pt x="1035" y="266"/>
                    <a:pt x="844" y="162"/>
                    <a:pt x="647" y="162"/>
                  </a:cubicBezTo>
                  <a:cubicBezTo>
                    <a:pt x="551" y="162"/>
                    <a:pt x="455" y="187"/>
                    <a:pt x="366" y="238"/>
                  </a:cubicBezTo>
                  <a:cubicBezTo>
                    <a:pt x="95" y="392"/>
                    <a:pt x="1" y="736"/>
                    <a:pt x="155" y="1008"/>
                  </a:cubicBezTo>
                  <a:lnTo>
                    <a:pt x="825" y="2185"/>
                  </a:lnTo>
                  <a:lnTo>
                    <a:pt x="831" y="2191"/>
                  </a:lnTo>
                  <a:cubicBezTo>
                    <a:pt x="831" y="2194"/>
                    <a:pt x="831" y="2194"/>
                    <a:pt x="831" y="2194"/>
                  </a:cubicBezTo>
                  <a:cubicBezTo>
                    <a:pt x="834" y="2200"/>
                    <a:pt x="837" y="2203"/>
                    <a:pt x="840" y="2206"/>
                  </a:cubicBezTo>
                  <a:lnTo>
                    <a:pt x="849" y="2224"/>
                  </a:lnTo>
                  <a:lnTo>
                    <a:pt x="861" y="2240"/>
                  </a:lnTo>
                  <a:lnTo>
                    <a:pt x="874" y="2255"/>
                  </a:lnTo>
                  <a:lnTo>
                    <a:pt x="883" y="2270"/>
                  </a:lnTo>
                  <a:lnTo>
                    <a:pt x="898" y="2282"/>
                  </a:lnTo>
                  <a:lnTo>
                    <a:pt x="910" y="2297"/>
                  </a:lnTo>
                  <a:lnTo>
                    <a:pt x="922" y="2312"/>
                  </a:lnTo>
                  <a:lnTo>
                    <a:pt x="937" y="2324"/>
                  </a:lnTo>
                  <a:lnTo>
                    <a:pt x="949" y="2336"/>
                  </a:lnTo>
                  <a:lnTo>
                    <a:pt x="964" y="2348"/>
                  </a:lnTo>
                  <a:cubicBezTo>
                    <a:pt x="970" y="2351"/>
                    <a:pt x="973" y="2354"/>
                    <a:pt x="979" y="2357"/>
                  </a:cubicBezTo>
                  <a:lnTo>
                    <a:pt x="994" y="2369"/>
                  </a:lnTo>
                  <a:lnTo>
                    <a:pt x="1009" y="2378"/>
                  </a:lnTo>
                  <a:lnTo>
                    <a:pt x="1028" y="2391"/>
                  </a:lnTo>
                  <a:lnTo>
                    <a:pt x="1040" y="2400"/>
                  </a:lnTo>
                  <a:lnTo>
                    <a:pt x="1058" y="2409"/>
                  </a:lnTo>
                  <a:lnTo>
                    <a:pt x="1073" y="2415"/>
                  </a:lnTo>
                  <a:cubicBezTo>
                    <a:pt x="1079" y="2418"/>
                    <a:pt x="1085" y="2421"/>
                    <a:pt x="1091" y="2424"/>
                  </a:cubicBezTo>
                  <a:lnTo>
                    <a:pt x="1106" y="2430"/>
                  </a:lnTo>
                  <a:lnTo>
                    <a:pt x="1124" y="2436"/>
                  </a:lnTo>
                  <a:lnTo>
                    <a:pt x="1139" y="2442"/>
                  </a:lnTo>
                  <a:lnTo>
                    <a:pt x="1160" y="2448"/>
                  </a:lnTo>
                  <a:lnTo>
                    <a:pt x="1176" y="2454"/>
                  </a:lnTo>
                  <a:lnTo>
                    <a:pt x="1197" y="2457"/>
                  </a:lnTo>
                  <a:lnTo>
                    <a:pt x="1212" y="2460"/>
                  </a:lnTo>
                  <a:lnTo>
                    <a:pt x="1233" y="2463"/>
                  </a:lnTo>
                  <a:lnTo>
                    <a:pt x="1245" y="2466"/>
                  </a:lnTo>
                  <a:cubicBezTo>
                    <a:pt x="1254" y="2466"/>
                    <a:pt x="1263" y="2466"/>
                    <a:pt x="1269" y="2469"/>
                  </a:cubicBezTo>
                  <a:cubicBezTo>
                    <a:pt x="1272" y="2470"/>
                    <a:pt x="1274" y="2470"/>
                    <a:pt x="1276" y="2470"/>
                  </a:cubicBezTo>
                  <a:cubicBezTo>
                    <a:pt x="1279" y="2470"/>
                    <a:pt x="1279" y="2469"/>
                    <a:pt x="1281" y="2469"/>
                  </a:cubicBezTo>
                  <a:lnTo>
                    <a:pt x="1369" y="2469"/>
                  </a:lnTo>
                  <a:lnTo>
                    <a:pt x="1393" y="2466"/>
                  </a:lnTo>
                  <a:lnTo>
                    <a:pt x="1408" y="2463"/>
                  </a:lnTo>
                  <a:cubicBezTo>
                    <a:pt x="1414" y="2463"/>
                    <a:pt x="1420" y="2463"/>
                    <a:pt x="1426" y="2460"/>
                  </a:cubicBezTo>
                  <a:lnTo>
                    <a:pt x="1444" y="2457"/>
                  </a:lnTo>
                  <a:lnTo>
                    <a:pt x="1462" y="2451"/>
                  </a:lnTo>
                  <a:lnTo>
                    <a:pt x="1480" y="2448"/>
                  </a:lnTo>
                  <a:lnTo>
                    <a:pt x="1499" y="2442"/>
                  </a:lnTo>
                  <a:lnTo>
                    <a:pt x="1517" y="2436"/>
                  </a:lnTo>
                  <a:cubicBezTo>
                    <a:pt x="1523" y="2433"/>
                    <a:pt x="1529" y="2430"/>
                    <a:pt x="1535" y="2427"/>
                  </a:cubicBezTo>
                  <a:lnTo>
                    <a:pt x="1553" y="2421"/>
                  </a:lnTo>
                  <a:lnTo>
                    <a:pt x="1568" y="2412"/>
                  </a:lnTo>
                  <a:lnTo>
                    <a:pt x="1586" y="2403"/>
                  </a:lnTo>
                  <a:cubicBezTo>
                    <a:pt x="1589" y="2403"/>
                    <a:pt x="1595" y="2400"/>
                    <a:pt x="1598" y="2397"/>
                  </a:cubicBezTo>
                  <a:cubicBezTo>
                    <a:pt x="1600" y="2395"/>
                    <a:pt x="1600" y="2395"/>
                    <a:pt x="1601" y="2395"/>
                  </a:cubicBezTo>
                  <a:cubicBezTo>
                    <a:pt x="1601" y="2395"/>
                    <a:pt x="1601" y="2395"/>
                    <a:pt x="1601" y="2394"/>
                  </a:cubicBezTo>
                  <a:lnTo>
                    <a:pt x="1607" y="2391"/>
                  </a:lnTo>
                  <a:lnTo>
                    <a:pt x="3851" y="1053"/>
                  </a:lnTo>
                  <a:cubicBezTo>
                    <a:pt x="4119" y="893"/>
                    <a:pt x="4207" y="546"/>
                    <a:pt x="4047" y="277"/>
                  </a:cubicBezTo>
                  <a:cubicBezTo>
                    <a:pt x="3941" y="99"/>
                    <a:pt x="3753" y="1"/>
                    <a:pt x="35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435D74"/>
                </a:solidFill>
                <a:latin typeface="Arial"/>
                <a:cs typeface="Arial"/>
                <a:sym typeface="Arial"/>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365"/>
        <p:cNvGrpSpPr/>
        <p:nvPr/>
      </p:nvGrpSpPr>
      <p:grpSpPr>
        <a:xfrm>
          <a:off x="0" y="0"/>
          <a:ext cx="0" cy="0"/>
          <a:chOff x="0" y="0"/>
          <a:chExt cx="0" cy="0"/>
        </a:xfrm>
      </p:grpSpPr>
      <p:sp>
        <p:nvSpPr>
          <p:cNvPr id="6366" name="Google Shape;6366;p72"/>
          <p:cNvSpPr/>
          <p:nvPr/>
        </p:nvSpPr>
        <p:spPr>
          <a:xfrm>
            <a:off x="1125467" y="2045341"/>
            <a:ext cx="431556" cy="498080"/>
          </a:xfrm>
          <a:custGeom>
            <a:avLst/>
            <a:gdLst/>
            <a:ahLst/>
            <a:cxnLst/>
            <a:rect l="l" t="t" r="r" b="b"/>
            <a:pathLst>
              <a:path w="10996" h="12691" extrusionOk="0">
                <a:moveTo>
                  <a:pt x="6050" y="820"/>
                </a:moveTo>
                <a:lnTo>
                  <a:pt x="6050" y="1639"/>
                </a:lnTo>
                <a:lnTo>
                  <a:pt x="5199" y="1639"/>
                </a:lnTo>
                <a:lnTo>
                  <a:pt x="5199" y="820"/>
                </a:lnTo>
                <a:close/>
                <a:moveTo>
                  <a:pt x="9358" y="2458"/>
                </a:moveTo>
                <a:lnTo>
                  <a:pt x="9358" y="8255"/>
                </a:lnTo>
                <a:lnTo>
                  <a:pt x="1923" y="8255"/>
                </a:lnTo>
                <a:lnTo>
                  <a:pt x="1923" y="2458"/>
                </a:lnTo>
                <a:close/>
                <a:moveTo>
                  <a:pt x="9767" y="9074"/>
                </a:moveTo>
                <a:cubicBezTo>
                  <a:pt x="10019" y="9074"/>
                  <a:pt x="10177" y="9295"/>
                  <a:pt x="10208" y="9515"/>
                </a:cubicBezTo>
                <a:cubicBezTo>
                  <a:pt x="10177" y="9704"/>
                  <a:pt x="10051" y="9830"/>
                  <a:pt x="9893" y="9925"/>
                </a:cubicBezTo>
                <a:cubicBezTo>
                  <a:pt x="9862" y="9940"/>
                  <a:pt x="9893" y="9948"/>
                  <a:pt x="9594" y="9948"/>
                </a:cubicBezTo>
                <a:cubicBezTo>
                  <a:pt x="9295" y="9948"/>
                  <a:pt x="8665" y="9940"/>
                  <a:pt x="7310" y="9925"/>
                </a:cubicBezTo>
                <a:lnTo>
                  <a:pt x="1513" y="9925"/>
                </a:lnTo>
                <a:cubicBezTo>
                  <a:pt x="1324" y="9925"/>
                  <a:pt x="1166" y="9799"/>
                  <a:pt x="1103" y="9641"/>
                </a:cubicBezTo>
                <a:cubicBezTo>
                  <a:pt x="1040" y="9358"/>
                  <a:pt x="1229" y="9074"/>
                  <a:pt x="1513" y="9074"/>
                </a:cubicBezTo>
                <a:close/>
                <a:moveTo>
                  <a:pt x="4790" y="1"/>
                </a:moveTo>
                <a:cubicBezTo>
                  <a:pt x="4538" y="1"/>
                  <a:pt x="4348" y="190"/>
                  <a:pt x="4348" y="379"/>
                </a:cubicBezTo>
                <a:lnTo>
                  <a:pt x="4348" y="1639"/>
                </a:lnTo>
                <a:lnTo>
                  <a:pt x="1419" y="1639"/>
                </a:lnTo>
                <a:cubicBezTo>
                  <a:pt x="1198" y="1639"/>
                  <a:pt x="1040" y="1828"/>
                  <a:pt x="1040" y="2080"/>
                </a:cubicBezTo>
                <a:lnTo>
                  <a:pt x="1040" y="8349"/>
                </a:lnTo>
                <a:cubicBezTo>
                  <a:pt x="788" y="8413"/>
                  <a:pt x="568" y="8570"/>
                  <a:pt x="410" y="8791"/>
                </a:cubicBezTo>
                <a:cubicBezTo>
                  <a:pt x="1" y="9358"/>
                  <a:pt x="158" y="10145"/>
                  <a:pt x="725" y="10555"/>
                </a:cubicBezTo>
                <a:cubicBezTo>
                  <a:pt x="914" y="10649"/>
                  <a:pt x="1166" y="10744"/>
                  <a:pt x="1419" y="10744"/>
                </a:cubicBezTo>
                <a:lnTo>
                  <a:pt x="3277" y="10744"/>
                </a:lnTo>
                <a:lnTo>
                  <a:pt x="2679" y="12067"/>
                </a:lnTo>
                <a:cubicBezTo>
                  <a:pt x="2616" y="12288"/>
                  <a:pt x="2679" y="12508"/>
                  <a:pt x="2836" y="12634"/>
                </a:cubicBezTo>
                <a:cubicBezTo>
                  <a:pt x="2913" y="12673"/>
                  <a:pt x="2987" y="12691"/>
                  <a:pt x="3057" y="12691"/>
                </a:cubicBezTo>
                <a:cubicBezTo>
                  <a:pt x="3214" y="12691"/>
                  <a:pt x="3347" y="12598"/>
                  <a:pt x="3435" y="12445"/>
                </a:cubicBezTo>
                <a:lnTo>
                  <a:pt x="4159" y="10744"/>
                </a:lnTo>
                <a:lnTo>
                  <a:pt x="5136" y="10744"/>
                </a:lnTo>
                <a:lnTo>
                  <a:pt x="5136" y="12225"/>
                </a:lnTo>
                <a:cubicBezTo>
                  <a:pt x="5136" y="12445"/>
                  <a:pt x="5294" y="12634"/>
                  <a:pt x="5483" y="12666"/>
                </a:cubicBezTo>
                <a:cubicBezTo>
                  <a:pt x="5501" y="12668"/>
                  <a:pt x="5520" y="12669"/>
                  <a:pt x="5538" y="12669"/>
                </a:cubicBezTo>
                <a:cubicBezTo>
                  <a:pt x="5766" y="12669"/>
                  <a:pt x="5955" y="12492"/>
                  <a:pt x="5955" y="12288"/>
                </a:cubicBezTo>
                <a:lnTo>
                  <a:pt x="5955" y="10744"/>
                </a:lnTo>
                <a:lnTo>
                  <a:pt x="6932" y="10744"/>
                </a:lnTo>
                <a:lnTo>
                  <a:pt x="7657" y="12382"/>
                </a:lnTo>
                <a:cubicBezTo>
                  <a:pt x="7708" y="12538"/>
                  <a:pt x="7888" y="12651"/>
                  <a:pt x="8056" y="12651"/>
                </a:cubicBezTo>
                <a:cubicBezTo>
                  <a:pt x="8092" y="12651"/>
                  <a:pt x="8127" y="12645"/>
                  <a:pt x="8161" y="12634"/>
                </a:cubicBezTo>
                <a:cubicBezTo>
                  <a:pt x="8413" y="12540"/>
                  <a:pt x="8507" y="12256"/>
                  <a:pt x="8444" y="12067"/>
                </a:cubicBezTo>
                <a:lnTo>
                  <a:pt x="7846" y="10744"/>
                </a:lnTo>
                <a:lnTo>
                  <a:pt x="9704" y="10744"/>
                </a:lnTo>
                <a:cubicBezTo>
                  <a:pt x="10366" y="10744"/>
                  <a:pt x="10965" y="10177"/>
                  <a:pt x="10965" y="9484"/>
                </a:cubicBezTo>
                <a:cubicBezTo>
                  <a:pt x="10996" y="8980"/>
                  <a:pt x="10681" y="8507"/>
                  <a:pt x="10177" y="8349"/>
                </a:cubicBezTo>
                <a:lnTo>
                  <a:pt x="10177" y="2080"/>
                </a:lnTo>
                <a:cubicBezTo>
                  <a:pt x="10177" y="1828"/>
                  <a:pt x="9988" y="1639"/>
                  <a:pt x="9736" y="1639"/>
                </a:cubicBezTo>
                <a:lnTo>
                  <a:pt x="6869" y="1639"/>
                </a:lnTo>
                <a:lnTo>
                  <a:pt x="6869" y="379"/>
                </a:lnTo>
                <a:cubicBezTo>
                  <a:pt x="6869" y="158"/>
                  <a:pt x="6680" y="1"/>
                  <a:pt x="64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7" name="Google Shape;6367;p72"/>
          <p:cNvSpPr/>
          <p:nvPr/>
        </p:nvSpPr>
        <p:spPr>
          <a:xfrm>
            <a:off x="1125472" y="2664815"/>
            <a:ext cx="510677" cy="451651"/>
          </a:xfrm>
          <a:custGeom>
            <a:avLst/>
            <a:gdLst/>
            <a:ahLst/>
            <a:cxnLst/>
            <a:rect l="l" t="t" r="r" b="b"/>
            <a:pathLst>
              <a:path w="13012" h="11508" extrusionOk="0">
                <a:moveTo>
                  <a:pt x="9306" y="836"/>
                </a:moveTo>
                <a:cubicBezTo>
                  <a:pt x="9412" y="836"/>
                  <a:pt x="9515" y="875"/>
                  <a:pt x="9578" y="954"/>
                </a:cubicBezTo>
                <a:lnTo>
                  <a:pt x="11909" y="3285"/>
                </a:lnTo>
                <a:cubicBezTo>
                  <a:pt x="12067" y="3443"/>
                  <a:pt x="12067" y="3695"/>
                  <a:pt x="11909" y="3884"/>
                </a:cubicBezTo>
                <a:lnTo>
                  <a:pt x="6900" y="8861"/>
                </a:lnTo>
                <a:lnTo>
                  <a:pt x="4001" y="5963"/>
                </a:lnTo>
                <a:lnTo>
                  <a:pt x="9011" y="954"/>
                </a:lnTo>
                <a:cubicBezTo>
                  <a:pt x="9089" y="875"/>
                  <a:pt x="9200" y="836"/>
                  <a:pt x="9306" y="836"/>
                </a:cubicBezTo>
                <a:close/>
                <a:moveTo>
                  <a:pt x="3466" y="6499"/>
                </a:moveTo>
                <a:lnTo>
                  <a:pt x="6364" y="9428"/>
                </a:lnTo>
                <a:lnTo>
                  <a:pt x="6049" y="9744"/>
                </a:lnTo>
                <a:cubicBezTo>
                  <a:pt x="5986" y="9807"/>
                  <a:pt x="5892" y="9870"/>
                  <a:pt x="5766" y="9870"/>
                </a:cubicBezTo>
                <a:cubicBezTo>
                  <a:pt x="5640" y="9870"/>
                  <a:pt x="5577" y="9807"/>
                  <a:pt x="5514" y="9744"/>
                </a:cubicBezTo>
                <a:cubicBezTo>
                  <a:pt x="5255" y="9506"/>
                  <a:pt x="4936" y="9372"/>
                  <a:pt x="4610" y="9372"/>
                </a:cubicBezTo>
                <a:cubicBezTo>
                  <a:pt x="4460" y="9372"/>
                  <a:pt x="4308" y="9400"/>
                  <a:pt x="4159" y="9460"/>
                </a:cubicBezTo>
                <a:cubicBezTo>
                  <a:pt x="3938" y="9555"/>
                  <a:pt x="3812" y="9712"/>
                  <a:pt x="3686" y="9807"/>
                </a:cubicBezTo>
                <a:lnTo>
                  <a:pt x="3088" y="9239"/>
                </a:lnTo>
                <a:lnTo>
                  <a:pt x="3182" y="9145"/>
                </a:lnTo>
                <a:cubicBezTo>
                  <a:pt x="3655" y="8672"/>
                  <a:pt x="3686" y="7853"/>
                  <a:pt x="3151" y="7381"/>
                </a:cubicBezTo>
                <a:cubicBezTo>
                  <a:pt x="2993" y="7223"/>
                  <a:pt x="3025" y="6940"/>
                  <a:pt x="3182" y="6782"/>
                </a:cubicBezTo>
                <a:lnTo>
                  <a:pt x="3466" y="6499"/>
                </a:lnTo>
                <a:close/>
                <a:moveTo>
                  <a:pt x="2426" y="9807"/>
                </a:moveTo>
                <a:lnTo>
                  <a:pt x="3025" y="10405"/>
                </a:lnTo>
                <a:lnTo>
                  <a:pt x="2773" y="10657"/>
                </a:lnTo>
                <a:lnTo>
                  <a:pt x="1544" y="10657"/>
                </a:lnTo>
                <a:lnTo>
                  <a:pt x="2426" y="9807"/>
                </a:lnTo>
                <a:close/>
                <a:moveTo>
                  <a:pt x="9310" y="1"/>
                </a:moveTo>
                <a:cubicBezTo>
                  <a:pt x="8995" y="1"/>
                  <a:pt x="8680" y="119"/>
                  <a:pt x="8443" y="355"/>
                </a:cubicBezTo>
                <a:lnTo>
                  <a:pt x="2584" y="6247"/>
                </a:lnTo>
                <a:cubicBezTo>
                  <a:pt x="2111" y="6719"/>
                  <a:pt x="2079" y="7538"/>
                  <a:pt x="2552" y="8011"/>
                </a:cubicBezTo>
                <a:cubicBezTo>
                  <a:pt x="2710" y="8137"/>
                  <a:pt x="2710" y="8357"/>
                  <a:pt x="2615" y="8483"/>
                </a:cubicBezTo>
                <a:cubicBezTo>
                  <a:pt x="2584" y="8546"/>
                  <a:pt x="2584" y="8546"/>
                  <a:pt x="2552" y="8609"/>
                </a:cubicBezTo>
                <a:lnTo>
                  <a:pt x="252" y="10815"/>
                </a:lnTo>
                <a:cubicBezTo>
                  <a:pt x="0" y="11067"/>
                  <a:pt x="189" y="11508"/>
                  <a:pt x="536" y="11508"/>
                </a:cubicBezTo>
                <a:lnTo>
                  <a:pt x="2930" y="11508"/>
                </a:lnTo>
                <a:cubicBezTo>
                  <a:pt x="3056" y="11508"/>
                  <a:pt x="3182" y="11476"/>
                  <a:pt x="3245" y="11382"/>
                </a:cubicBezTo>
                <a:lnTo>
                  <a:pt x="4285" y="10374"/>
                </a:lnTo>
                <a:cubicBezTo>
                  <a:pt x="4364" y="10295"/>
                  <a:pt x="4474" y="10255"/>
                  <a:pt x="4584" y="10255"/>
                </a:cubicBezTo>
                <a:cubicBezTo>
                  <a:pt x="4694" y="10255"/>
                  <a:pt x="4805" y="10295"/>
                  <a:pt x="4883" y="10374"/>
                </a:cubicBezTo>
                <a:cubicBezTo>
                  <a:pt x="5092" y="10614"/>
                  <a:pt x="5413" y="10740"/>
                  <a:pt x="5742" y="10740"/>
                </a:cubicBezTo>
                <a:cubicBezTo>
                  <a:pt x="6060" y="10740"/>
                  <a:pt x="6384" y="10622"/>
                  <a:pt x="6616" y="10374"/>
                </a:cubicBezTo>
                <a:lnTo>
                  <a:pt x="12476" y="4482"/>
                </a:lnTo>
                <a:cubicBezTo>
                  <a:pt x="12980" y="3978"/>
                  <a:pt x="13012" y="3191"/>
                  <a:pt x="12508" y="2686"/>
                </a:cubicBezTo>
                <a:lnTo>
                  <a:pt x="10176" y="355"/>
                </a:lnTo>
                <a:cubicBezTo>
                  <a:pt x="9940" y="119"/>
                  <a:pt x="9625" y="1"/>
                  <a:pt x="9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68" name="Google Shape;6368;p72"/>
          <p:cNvSpPr/>
          <p:nvPr/>
        </p:nvSpPr>
        <p:spPr>
          <a:xfrm>
            <a:off x="1136579" y="3237860"/>
            <a:ext cx="488464" cy="497883"/>
          </a:xfrm>
          <a:custGeom>
            <a:avLst/>
            <a:gdLst/>
            <a:ahLst/>
            <a:cxnLst/>
            <a:rect l="l" t="t" r="r" b="b"/>
            <a:pathLst>
              <a:path w="12446" h="12686" extrusionOk="0">
                <a:moveTo>
                  <a:pt x="6176" y="808"/>
                </a:moveTo>
                <a:cubicBezTo>
                  <a:pt x="6428" y="808"/>
                  <a:pt x="6554" y="997"/>
                  <a:pt x="6554" y="1249"/>
                </a:cubicBezTo>
                <a:cubicBezTo>
                  <a:pt x="6554" y="1497"/>
                  <a:pt x="6359" y="1667"/>
                  <a:pt x="6153" y="1667"/>
                </a:cubicBezTo>
                <a:cubicBezTo>
                  <a:pt x="6097" y="1667"/>
                  <a:pt x="6041" y="1654"/>
                  <a:pt x="5987" y="1627"/>
                </a:cubicBezTo>
                <a:cubicBezTo>
                  <a:pt x="5829" y="1564"/>
                  <a:pt x="5735" y="1438"/>
                  <a:pt x="5735" y="1249"/>
                </a:cubicBezTo>
                <a:cubicBezTo>
                  <a:pt x="5766" y="997"/>
                  <a:pt x="5924" y="808"/>
                  <a:pt x="6176" y="808"/>
                </a:cubicBezTo>
                <a:close/>
                <a:moveTo>
                  <a:pt x="1986" y="2541"/>
                </a:moveTo>
                <a:lnTo>
                  <a:pt x="3088" y="5755"/>
                </a:lnTo>
                <a:lnTo>
                  <a:pt x="946" y="5755"/>
                </a:lnTo>
                <a:lnTo>
                  <a:pt x="1986" y="2541"/>
                </a:lnTo>
                <a:close/>
                <a:moveTo>
                  <a:pt x="10303" y="2541"/>
                </a:moveTo>
                <a:lnTo>
                  <a:pt x="11374" y="5755"/>
                </a:lnTo>
                <a:lnTo>
                  <a:pt x="9200" y="5755"/>
                </a:lnTo>
                <a:lnTo>
                  <a:pt x="10303" y="2541"/>
                </a:lnTo>
                <a:close/>
                <a:moveTo>
                  <a:pt x="3183" y="6605"/>
                </a:moveTo>
                <a:cubicBezTo>
                  <a:pt x="3025" y="7109"/>
                  <a:pt x="2584" y="7424"/>
                  <a:pt x="2049" y="7424"/>
                </a:cubicBezTo>
                <a:cubicBezTo>
                  <a:pt x="1481" y="7424"/>
                  <a:pt x="1040" y="7078"/>
                  <a:pt x="851" y="6605"/>
                </a:cubicBezTo>
                <a:close/>
                <a:moveTo>
                  <a:pt x="11437" y="6605"/>
                </a:moveTo>
                <a:cubicBezTo>
                  <a:pt x="11279" y="7109"/>
                  <a:pt x="10870" y="7424"/>
                  <a:pt x="10303" y="7424"/>
                </a:cubicBezTo>
                <a:cubicBezTo>
                  <a:pt x="9767" y="7424"/>
                  <a:pt x="9326" y="7078"/>
                  <a:pt x="9137" y="6605"/>
                </a:cubicBezTo>
                <a:close/>
                <a:moveTo>
                  <a:pt x="6617" y="2415"/>
                </a:moveTo>
                <a:lnTo>
                  <a:pt x="6617" y="8558"/>
                </a:lnTo>
                <a:lnTo>
                  <a:pt x="5766" y="8558"/>
                </a:lnTo>
                <a:lnTo>
                  <a:pt x="5766" y="2415"/>
                </a:lnTo>
                <a:cubicBezTo>
                  <a:pt x="5908" y="2462"/>
                  <a:pt x="6050" y="2486"/>
                  <a:pt x="6191" y="2486"/>
                </a:cubicBezTo>
                <a:cubicBezTo>
                  <a:pt x="6333" y="2486"/>
                  <a:pt x="6475" y="2462"/>
                  <a:pt x="6617" y="2415"/>
                </a:cubicBezTo>
                <a:close/>
                <a:moveTo>
                  <a:pt x="8255" y="9346"/>
                </a:moveTo>
                <a:lnTo>
                  <a:pt x="8255" y="10165"/>
                </a:lnTo>
                <a:lnTo>
                  <a:pt x="4128" y="10165"/>
                </a:lnTo>
                <a:lnTo>
                  <a:pt x="4128" y="9346"/>
                </a:lnTo>
                <a:close/>
                <a:moveTo>
                  <a:pt x="9074" y="11016"/>
                </a:moveTo>
                <a:lnTo>
                  <a:pt x="9074" y="11835"/>
                </a:lnTo>
                <a:lnTo>
                  <a:pt x="3309" y="11835"/>
                </a:lnTo>
                <a:lnTo>
                  <a:pt x="3309" y="11016"/>
                </a:lnTo>
                <a:close/>
                <a:moveTo>
                  <a:pt x="6265" y="1"/>
                </a:moveTo>
                <a:cubicBezTo>
                  <a:pt x="5747" y="1"/>
                  <a:pt x="5253" y="326"/>
                  <a:pt x="5073" y="840"/>
                </a:cubicBezTo>
                <a:lnTo>
                  <a:pt x="1292" y="840"/>
                </a:lnTo>
                <a:cubicBezTo>
                  <a:pt x="1103" y="840"/>
                  <a:pt x="914" y="997"/>
                  <a:pt x="851" y="1186"/>
                </a:cubicBezTo>
                <a:cubicBezTo>
                  <a:pt x="820" y="1438"/>
                  <a:pt x="1009" y="1659"/>
                  <a:pt x="1261" y="1659"/>
                </a:cubicBezTo>
                <a:lnTo>
                  <a:pt x="1481" y="1659"/>
                </a:lnTo>
                <a:cubicBezTo>
                  <a:pt x="30" y="6044"/>
                  <a:pt x="1" y="6133"/>
                  <a:pt x="1" y="6133"/>
                </a:cubicBezTo>
                <a:lnTo>
                  <a:pt x="1" y="6133"/>
                </a:lnTo>
                <a:cubicBezTo>
                  <a:pt x="1" y="6133"/>
                  <a:pt x="1" y="6133"/>
                  <a:pt x="1" y="6133"/>
                </a:cubicBezTo>
                <a:lnTo>
                  <a:pt x="1" y="6196"/>
                </a:lnTo>
                <a:cubicBezTo>
                  <a:pt x="1" y="6479"/>
                  <a:pt x="64" y="6763"/>
                  <a:pt x="158" y="6983"/>
                </a:cubicBezTo>
                <a:cubicBezTo>
                  <a:pt x="464" y="7784"/>
                  <a:pt x="1229" y="8250"/>
                  <a:pt x="2042" y="8250"/>
                </a:cubicBezTo>
                <a:cubicBezTo>
                  <a:pt x="2317" y="8250"/>
                  <a:pt x="2597" y="8197"/>
                  <a:pt x="2868" y="8086"/>
                </a:cubicBezTo>
                <a:cubicBezTo>
                  <a:pt x="3403" y="7865"/>
                  <a:pt x="3844" y="7393"/>
                  <a:pt x="4033" y="6794"/>
                </a:cubicBezTo>
                <a:cubicBezTo>
                  <a:pt x="4128" y="6542"/>
                  <a:pt x="4159" y="6290"/>
                  <a:pt x="4128" y="6164"/>
                </a:cubicBezTo>
                <a:lnTo>
                  <a:pt x="4128" y="6038"/>
                </a:lnTo>
                <a:cubicBezTo>
                  <a:pt x="4128" y="6007"/>
                  <a:pt x="2679" y="1659"/>
                  <a:pt x="2679" y="1627"/>
                </a:cubicBezTo>
                <a:lnTo>
                  <a:pt x="4978" y="1627"/>
                </a:lnTo>
                <a:lnTo>
                  <a:pt x="4978" y="8527"/>
                </a:lnTo>
                <a:lnTo>
                  <a:pt x="3781" y="8527"/>
                </a:lnTo>
                <a:cubicBezTo>
                  <a:pt x="3529" y="8527"/>
                  <a:pt x="3340" y="8716"/>
                  <a:pt x="3340" y="8968"/>
                </a:cubicBezTo>
                <a:lnTo>
                  <a:pt x="3340" y="10165"/>
                </a:lnTo>
                <a:lnTo>
                  <a:pt x="2931" y="10165"/>
                </a:lnTo>
                <a:cubicBezTo>
                  <a:pt x="2710" y="10165"/>
                  <a:pt x="2521" y="10386"/>
                  <a:pt x="2521" y="10606"/>
                </a:cubicBezTo>
                <a:lnTo>
                  <a:pt x="2521" y="12245"/>
                </a:lnTo>
                <a:cubicBezTo>
                  <a:pt x="2521" y="12497"/>
                  <a:pt x="2710" y="12686"/>
                  <a:pt x="2931" y="12686"/>
                </a:cubicBezTo>
                <a:lnTo>
                  <a:pt x="9547" y="12686"/>
                </a:lnTo>
                <a:cubicBezTo>
                  <a:pt x="9673" y="12686"/>
                  <a:pt x="9767" y="12654"/>
                  <a:pt x="9830" y="12560"/>
                </a:cubicBezTo>
                <a:cubicBezTo>
                  <a:pt x="9925" y="12497"/>
                  <a:pt x="9956" y="12371"/>
                  <a:pt x="9956" y="12308"/>
                </a:cubicBezTo>
                <a:lnTo>
                  <a:pt x="9956" y="10638"/>
                </a:lnTo>
                <a:cubicBezTo>
                  <a:pt x="9956" y="10417"/>
                  <a:pt x="9767" y="10228"/>
                  <a:pt x="9515" y="10228"/>
                </a:cubicBezTo>
                <a:lnTo>
                  <a:pt x="9137" y="10228"/>
                </a:lnTo>
                <a:lnTo>
                  <a:pt x="9137" y="8968"/>
                </a:lnTo>
                <a:cubicBezTo>
                  <a:pt x="9137" y="8716"/>
                  <a:pt x="8917" y="8527"/>
                  <a:pt x="8696" y="8527"/>
                </a:cubicBezTo>
                <a:lnTo>
                  <a:pt x="7467" y="8527"/>
                </a:lnTo>
                <a:lnTo>
                  <a:pt x="7467" y="1627"/>
                </a:lnTo>
                <a:lnTo>
                  <a:pt x="9799" y="1627"/>
                </a:lnTo>
                <a:cubicBezTo>
                  <a:pt x="9799" y="1659"/>
                  <a:pt x="8350" y="6038"/>
                  <a:pt x="8350" y="6070"/>
                </a:cubicBezTo>
                <a:lnTo>
                  <a:pt x="8350" y="6164"/>
                </a:lnTo>
                <a:lnTo>
                  <a:pt x="8350" y="6227"/>
                </a:lnTo>
                <a:cubicBezTo>
                  <a:pt x="8350" y="6952"/>
                  <a:pt x="8696" y="7550"/>
                  <a:pt x="9232" y="7928"/>
                </a:cubicBezTo>
                <a:cubicBezTo>
                  <a:pt x="9601" y="8178"/>
                  <a:pt x="10011" y="8295"/>
                  <a:pt x="10411" y="8295"/>
                </a:cubicBezTo>
                <a:cubicBezTo>
                  <a:pt x="11275" y="8295"/>
                  <a:pt x="12092" y="7751"/>
                  <a:pt x="12351" y="6826"/>
                </a:cubicBezTo>
                <a:cubicBezTo>
                  <a:pt x="12382" y="6637"/>
                  <a:pt x="12445" y="6448"/>
                  <a:pt x="12445" y="6227"/>
                </a:cubicBezTo>
                <a:cubicBezTo>
                  <a:pt x="12382" y="6164"/>
                  <a:pt x="12351" y="6133"/>
                  <a:pt x="12351" y="6070"/>
                </a:cubicBezTo>
                <a:lnTo>
                  <a:pt x="10901" y="1659"/>
                </a:lnTo>
                <a:lnTo>
                  <a:pt x="11153" y="1659"/>
                </a:lnTo>
                <a:cubicBezTo>
                  <a:pt x="11342" y="1659"/>
                  <a:pt x="11532" y="1501"/>
                  <a:pt x="11563" y="1312"/>
                </a:cubicBezTo>
                <a:cubicBezTo>
                  <a:pt x="11626" y="1092"/>
                  <a:pt x="11406" y="840"/>
                  <a:pt x="11185" y="840"/>
                </a:cubicBezTo>
                <a:lnTo>
                  <a:pt x="7404" y="840"/>
                </a:lnTo>
                <a:cubicBezTo>
                  <a:pt x="7278" y="462"/>
                  <a:pt x="6963" y="178"/>
                  <a:pt x="6617" y="52"/>
                </a:cubicBezTo>
                <a:cubicBezTo>
                  <a:pt x="6501" y="17"/>
                  <a:pt x="6382" y="1"/>
                  <a:pt x="62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369" name="Google Shape;6369;p72"/>
          <p:cNvGrpSpPr/>
          <p:nvPr/>
        </p:nvGrpSpPr>
        <p:grpSpPr>
          <a:xfrm>
            <a:off x="3983637" y="2082537"/>
            <a:ext cx="495843" cy="498355"/>
            <a:chOff x="-41270450" y="1973375"/>
            <a:chExt cx="315850" cy="317450"/>
          </a:xfrm>
        </p:grpSpPr>
        <p:sp>
          <p:nvSpPr>
            <p:cNvPr id="6370" name="Google Shape;6370;p72"/>
            <p:cNvSpPr/>
            <p:nvPr/>
          </p:nvSpPr>
          <p:spPr>
            <a:xfrm>
              <a:off x="-41270450" y="1973375"/>
              <a:ext cx="315850" cy="317450"/>
            </a:xfrm>
            <a:custGeom>
              <a:avLst/>
              <a:gdLst/>
              <a:ahLst/>
              <a:cxnLst/>
              <a:rect l="l" t="t" r="r" b="b"/>
              <a:pathLst>
                <a:path w="12634" h="12698" extrusionOk="0">
                  <a:moveTo>
                    <a:pt x="11814" y="820"/>
                  </a:moveTo>
                  <a:lnTo>
                    <a:pt x="11814" y="11847"/>
                  </a:lnTo>
                  <a:lnTo>
                    <a:pt x="788" y="11847"/>
                  </a:lnTo>
                  <a:lnTo>
                    <a:pt x="788" y="820"/>
                  </a:lnTo>
                  <a:close/>
                  <a:moveTo>
                    <a:pt x="378" y="1"/>
                  </a:moveTo>
                  <a:cubicBezTo>
                    <a:pt x="158" y="1"/>
                    <a:pt x="0" y="190"/>
                    <a:pt x="0" y="410"/>
                  </a:cubicBezTo>
                  <a:lnTo>
                    <a:pt x="0" y="12288"/>
                  </a:lnTo>
                  <a:cubicBezTo>
                    <a:pt x="0" y="12508"/>
                    <a:pt x="189" y="12697"/>
                    <a:pt x="378" y="12697"/>
                  </a:cubicBezTo>
                  <a:lnTo>
                    <a:pt x="12224" y="12697"/>
                  </a:lnTo>
                  <a:cubicBezTo>
                    <a:pt x="12476" y="12697"/>
                    <a:pt x="12634" y="12508"/>
                    <a:pt x="12634" y="12288"/>
                  </a:cubicBezTo>
                  <a:lnTo>
                    <a:pt x="12634" y="410"/>
                  </a:lnTo>
                  <a:cubicBezTo>
                    <a:pt x="12634" y="158"/>
                    <a:pt x="12476" y="1"/>
                    <a:pt x="122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1" name="Google Shape;6371;p72"/>
            <p:cNvSpPr/>
            <p:nvPr/>
          </p:nvSpPr>
          <p:spPr>
            <a:xfrm>
              <a:off x="-41230300" y="2015125"/>
              <a:ext cx="235525" cy="192200"/>
            </a:xfrm>
            <a:custGeom>
              <a:avLst/>
              <a:gdLst/>
              <a:ahLst/>
              <a:cxnLst/>
              <a:rect l="l" t="t" r="r" b="b"/>
              <a:pathLst>
                <a:path w="9421" h="7688" extrusionOk="0">
                  <a:moveTo>
                    <a:pt x="8539" y="788"/>
                  </a:moveTo>
                  <a:lnTo>
                    <a:pt x="8539" y="6869"/>
                  </a:lnTo>
                  <a:lnTo>
                    <a:pt x="820" y="6869"/>
                  </a:lnTo>
                  <a:lnTo>
                    <a:pt x="820" y="788"/>
                  </a:lnTo>
                  <a:close/>
                  <a:moveTo>
                    <a:pt x="442" y="1"/>
                  </a:moveTo>
                  <a:cubicBezTo>
                    <a:pt x="190" y="1"/>
                    <a:pt x="1" y="221"/>
                    <a:pt x="1" y="410"/>
                  </a:cubicBezTo>
                  <a:lnTo>
                    <a:pt x="1" y="7310"/>
                  </a:lnTo>
                  <a:cubicBezTo>
                    <a:pt x="1" y="7404"/>
                    <a:pt x="32" y="7499"/>
                    <a:pt x="127" y="7562"/>
                  </a:cubicBezTo>
                  <a:cubicBezTo>
                    <a:pt x="190" y="7656"/>
                    <a:pt x="316" y="7688"/>
                    <a:pt x="442" y="7688"/>
                  </a:cubicBezTo>
                  <a:lnTo>
                    <a:pt x="8980" y="7688"/>
                  </a:lnTo>
                  <a:cubicBezTo>
                    <a:pt x="9232" y="7688"/>
                    <a:pt x="9421" y="7499"/>
                    <a:pt x="9421" y="7310"/>
                  </a:cubicBezTo>
                  <a:lnTo>
                    <a:pt x="9421" y="410"/>
                  </a:lnTo>
                  <a:cubicBezTo>
                    <a:pt x="9421" y="158"/>
                    <a:pt x="9232" y="1"/>
                    <a:pt x="89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2" name="Google Shape;6372;p72"/>
            <p:cNvSpPr/>
            <p:nvPr/>
          </p:nvSpPr>
          <p:spPr>
            <a:xfrm>
              <a:off x="-41139725" y="2061750"/>
              <a:ext cx="83525" cy="103675"/>
            </a:xfrm>
            <a:custGeom>
              <a:avLst/>
              <a:gdLst/>
              <a:ahLst/>
              <a:cxnLst/>
              <a:rect l="l" t="t" r="r" b="b"/>
              <a:pathLst>
                <a:path w="3341" h="4147" extrusionOk="0">
                  <a:moveTo>
                    <a:pt x="789" y="1223"/>
                  </a:moveTo>
                  <a:lnTo>
                    <a:pt x="2112" y="2074"/>
                  </a:lnTo>
                  <a:lnTo>
                    <a:pt x="789" y="2987"/>
                  </a:lnTo>
                  <a:lnTo>
                    <a:pt x="789" y="1223"/>
                  </a:lnTo>
                  <a:close/>
                  <a:moveTo>
                    <a:pt x="389" y="0"/>
                  </a:moveTo>
                  <a:cubicBezTo>
                    <a:pt x="182" y="0"/>
                    <a:pt x="1" y="185"/>
                    <a:pt x="1" y="435"/>
                  </a:cubicBezTo>
                  <a:lnTo>
                    <a:pt x="1" y="3743"/>
                  </a:lnTo>
                  <a:cubicBezTo>
                    <a:pt x="1" y="3981"/>
                    <a:pt x="198" y="4147"/>
                    <a:pt x="416" y="4147"/>
                  </a:cubicBezTo>
                  <a:cubicBezTo>
                    <a:pt x="487" y="4147"/>
                    <a:pt x="561" y="4129"/>
                    <a:pt x="631" y="4090"/>
                  </a:cubicBezTo>
                  <a:lnTo>
                    <a:pt x="3120" y="2452"/>
                  </a:lnTo>
                  <a:cubicBezTo>
                    <a:pt x="3340" y="2294"/>
                    <a:pt x="3340" y="1916"/>
                    <a:pt x="3120" y="1727"/>
                  </a:cubicBezTo>
                  <a:lnTo>
                    <a:pt x="631" y="89"/>
                  </a:lnTo>
                  <a:cubicBezTo>
                    <a:pt x="552" y="28"/>
                    <a:pt x="469" y="0"/>
                    <a:pt x="3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3" name="Google Shape;6373;p72"/>
            <p:cNvSpPr/>
            <p:nvPr/>
          </p:nvSpPr>
          <p:spPr>
            <a:xfrm>
              <a:off x="-41230300" y="2227000"/>
              <a:ext cx="235525" cy="21300"/>
            </a:xfrm>
            <a:custGeom>
              <a:avLst/>
              <a:gdLst/>
              <a:ahLst/>
              <a:cxnLst/>
              <a:rect l="l" t="t" r="r" b="b"/>
              <a:pathLst>
                <a:path w="9421" h="852" extrusionOk="0">
                  <a:moveTo>
                    <a:pt x="442" y="0"/>
                  </a:moveTo>
                  <a:cubicBezTo>
                    <a:pt x="190" y="0"/>
                    <a:pt x="1" y="189"/>
                    <a:pt x="1" y="441"/>
                  </a:cubicBezTo>
                  <a:cubicBezTo>
                    <a:pt x="1" y="662"/>
                    <a:pt x="190" y="851"/>
                    <a:pt x="442" y="851"/>
                  </a:cubicBezTo>
                  <a:lnTo>
                    <a:pt x="8980" y="851"/>
                  </a:lnTo>
                  <a:cubicBezTo>
                    <a:pt x="9232" y="851"/>
                    <a:pt x="9421" y="662"/>
                    <a:pt x="9421" y="441"/>
                  </a:cubicBezTo>
                  <a:cubicBezTo>
                    <a:pt x="9421" y="189"/>
                    <a:pt x="9232" y="0"/>
                    <a:pt x="89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374" name="Google Shape;6374;p72"/>
          <p:cNvGrpSpPr/>
          <p:nvPr/>
        </p:nvGrpSpPr>
        <p:grpSpPr>
          <a:xfrm>
            <a:off x="4007210" y="2678479"/>
            <a:ext cx="527828" cy="496117"/>
            <a:chOff x="-41291625" y="2339025"/>
            <a:chExt cx="336225" cy="316025"/>
          </a:xfrm>
        </p:grpSpPr>
        <p:sp>
          <p:nvSpPr>
            <p:cNvPr id="6375" name="Google Shape;6375;p72"/>
            <p:cNvSpPr/>
            <p:nvPr/>
          </p:nvSpPr>
          <p:spPr>
            <a:xfrm>
              <a:off x="-41291625" y="2339025"/>
              <a:ext cx="336225" cy="316025"/>
            </a:xfrm>
            <a:custGeom>
              <a:avLst/>
              <a:gdLst/>
              <a:ahLst/>
              <a:cxnLst/>
              <a:rect l="l" t="t" r="r" b="b"/>
              <a:pathLst>
                <a:path w="13449" h="12641" extrusionOk="0">
                  <a:moveTo>
                    <a:pt x="6644" y="1064"/>
                  </a:moveTo>
                  <a:lnTo>
                    <a:pt x="7810" y="2261"/>
                  </a:lnTo>
                  <a:lnTo>
                    <a:pt x="6644" y="3427"/>
                  </a:lnTo>
                  <a:lnTo>
                    <a:pt x="5447" y="2261"/>
                  </a:lnTo>
                  <a:lnTo>
                    <a:pt x="6644" y="1064"/>
                  </a:lnTo>
                  <a:close/>
                  <a:moveTo>
                    <a:pt x="11307" y="5727"/>
                  </a:moveTo>
                  <a:lnTo>
                    <a:pt x="12504" y="6893"/>
                  </a:lnTo>
                  <a:lnTo>
                    <a:pt x="11307" y="8090"/>
                  </a:lnTo>
                  <a:lnTo>
                    <a:pt x="10141" y="6893"/>
                  </a:lnTo>
                  <a:lnTo>
                    <a:pt x="11307" y="5727"/>
                  </a:lnTo>
                  <a:close/>
                  <a:moveTo>
                    <a:pt x="4848" y="2829"/>
                  </a:moveTo>
                  <a:lnTo>
                    <a:pt x="6045" y="4026"/>
                  </a:lnTo>
                  <a:cubicBezTo>
                    <a:pt x="3872" y="6200"/>
                    <a:pt x="3935" y="6105"/>
                    <a:pt x="3809" y="6294"/>
                  </a:cubicBezTo>
                  <a:cubicBezTo>
                    <a:pt x="2769" y="7712"/>
                    <a:pt x="3494" y="9728"/>
                    <a:pt x="5226" y="10169"/>
                  </a:cubicBezTo>
                  <a:cubicBezTo>
                    <a:pt x="5463" y="10232"/>
                    <a:pt x="5675" y="10248"/>
                    <a:pt x="5825" y="10248"/>
                  </a:cubicBezTo>
                  <a:cubicBezTo>
                    <a:pt x="5975" y="10248"/>
                    <a:pt x="6061" y="10232"/>
                    <a:pt x="6045" y="10232"/>
                  </a:cubicBezTo>
                  <a:cubicBezTo>
                    <a:pt x="6045" y="10232"/>
                    <a:pt x="6108" y="10232"/>
                    <a:pt x="6234" y="10201"/>
                  </a:cubicBezTo>
                  <a:cubicBezTo>
                    <a:pt x="6739" y="10138"/>
                    <a:pt x="7180" y="9886"/>
                    <a:pt x="7526" y="9539"/>
                  </a:cubicBezTo>
                  <a:lnTo>
                    <a:pt x="9542" y="7523"/>
                  </a:lnTo>
                  <a:lnTo>
                    <a:pt x="10740" y="8720"/>
                  </a:lnTo>
                  <a:cubicBezTo>
                    <a:pt x="8566" y="10831"/>
                    <a:pt x="8629" y="10768"/>
                    <a:pt x="8440" y="10925"/>
                  </a:cubicBezTo>
                  <a:cubicBezTo>
                    <a:pt x="7699" y="11547"/>
                    <a:pt x="6741" y="11878"/>
                    <a:pt x="5785" y="11878"/>
                  </a:cubicBezTo>
                  <a:cubicBezTo>
                    <a:pt x="5480" y="11878"/>
                    <a:pt x="5176" y="11844"/>
                    <a:pt x="4880" y="11776"/>
                  </a:cubicBezTo>
                  <a:cubicBezTo>
                    <a:pt x="2769" y="11303"/>
                    <a:pt x="1257" y="9192"/>
                    <a:pt x="1729" y="6924"/>
                  </a:cubicBezTo>
                  <a:cubicBezTo>
                    <a:pt x="1887" y="6231"/>
                    <a:pt x="2202" y="5506"/>
                    <a:pt x="2769" y="4939"/>
                  </a:cubicBezTo>
                  <a:lnTo>
                    <a:pt x="4848" y="2829"/>
                  </a:lnTo>
                  <a:close/>
                  <a:moveTo>
                    <a:pt x="6565" y="1"/>
                  </a:moveTo>
                  <a:cubicBezTo>
                    <a:pt x="6455" y="1"/>
                    <a:pt x="6345" y="40"/>
                    <a:pt x="6266" y="119"/>
                  </a:cubicBezTo>
                  <a:lnTo>
                    <a:pt x="2202" y="4183"/>
                  </a:lnTo>
                  <a:cubicBezTo>
                    <a:pt x="1635" y="4782"/>
                    <a:pt x="1194" y="5538"/>
                    <a:pt x="942" y="6263"/>
                  </a:cubicBezTo>
                  <a:cubicBezTo>
                    <a:pt x="0" y="9451"/>
                    <a:pt x="2425" y="12640"/>
                    <a:pt x="5705" y="12640"/>
                  </a:cubicBezTo>
                  <a:cubicBezTo>
                    <a:pt x="5828" y="12640"/>
                    <a:pt x="5952" y="12636"/>
                    <a:pt x="6077" y="12627"/>
                  </a:cubicBezTo>
                  <a:cubicBezTo>
                    <a:pt x="6077" y="12627"/>
                    <a:pt x="6203" y="12627"/>
                    <a:pt x="6266" y="12564"/>
                  </a:cubicBezTo>
                  <a:cubicBezTo>
                    <a:pt x="7243" y="12469"/>
                    <a:pt x="8188" y="12059"/>
                    <a:pt x="8975" y="11366"/>
                  </a:cubicBezTo>
                  <a:cubicBezTo>
                    <a:pt x="9133" y="11240"/>
                    <a:pt x="8786" y="11555"/>
                    <a:pt x="13229" y="7113"/>
                  </a:cubicBezTo>
                  <a:cubicBezTo>
                    <a:pt x="13323" y="7019"/>
                    <a:pt x="13355" y="6893"/>
                    <a:pt x="13355" y="6830"/>
                  </a:cubicBezTo>
                  <a:cubicBezTo>
                    <a:pt x="13355" y="6735"/>
                    <a:pt x="13449" y="6704"/>
                    <a:pt x="13355" y="6641"/>
                  </a:cubicBezTo>
                  <a:lnTo>
                    <a:pt x="11590" y="4845"/>
                  </a:lnTo>
                  <a:cubicBezTo>
                    <a:pt x="11512" y="4766"/>
                    <a:pt x="11401" y="4727"/>
                    <a:pt x="11291" y="4727"/>
                  </a:cubicBezTo>
                  <a:cubicBezTo>
                    <a:pt x="11181" y="4727"/>
                    <a:pt x="11070" y="4766"/>
                    <a:pt x="10992" y="4845"/>
                  </a:cubicBezTo>
                  <a:lnTo>
                    <a:pt x="6928" y="8909"/>
                  </a:lnTo>
                  <a:cubicBezTo>
                    <a:pt x="6588" y="9236"/>
                    <a:pt x="6159" y="9392"/>
                    <a:pt x="5737" y="9392"/>
                  </a:cubicBezTo>
                  <a:cubicBezTo>
                    <a:pt x="5102" y="9392"/>
                    <a:pt x="4483" y="9036"/>
                    <a:pt x="4218" y="8373"/>
                  </a:cubicBezTo>
                  <a:cubicBezTo>
                    <a:pt x="3998" y="7743"/>
                    <a:pt x="4092" y="7019"/>
                    <a:pt x="4565" y="6546"/>
                  </a:cubicBezTo>
                  <a:lnTo>
                    <a:pt x="8629" y="2482"/>
                  </a:lnTo>
                  <a:cubicBezTo>
                    <a:pt x="8786" y="2324"/>
                    <a:pt x="8786" y="2072"/>
                    <a:pt x="8629" y="1883"/>
                  </a:cubicBezTo>
                  <a:lnTo>
                    <a:pt x="6865" y="119"/>
                  </a:lnTo>
                  <a:cubicBezTo>
                    <a:pt x="6786" y="40"/>
                    <a:pt x="6676" y="1"/>
                    <a:pt x="65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6" name="Google Shape;6376;p72"/>
            <p:cNvSpPr/>
            <p:nvPr/>
          </p:nvSpPr>
          <p:spPr>
            <a:xfrm>
              <a:off x="-41234225" y="26208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377" name="Google Shape;6377;p72"/>
          <p:cNvSpPr/>
          <p:nvPr/>
        </p:nvSpPr>
        <p:spPr>
          <a:xfrm>
            <a:off x="3976036" y="2927833"/>
            <a:ext cx="0" cy="39"/>
          </a:xfrm>
          <a:custGeom>
            <a:avLst/>
            <a:gdLst/>
            <a:ahLst/>
            <a:cxnLst/>
            <a:rect l="l" t="t" r="r" b="b"/>
            <a:pathLst>
              <a:path h="1" extrusionOk="0">
                <a:moveTo>
                  <a:pt x="0"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8" name="Google Shape;6378;p72"/>
          <p:cNvSpPr/>
          <p:nvPr/>
        </p:nvSpPr>
        <p:spPr>
          <a:xfrm>
            <a:off x="4021902" y="3254863"/>
            <a:ext cx="502004" cy="497923"/>
          </a:xfrm>
          <a:custGeom>
            <a:avLst/>
            <a:gdLst/>
            <a:ahLst/>
            <a:cxnLst/>
            <a:rect l="l" t="t" r="r" b="b"/>
            <a:pathLst>
              <a:path w="12791" h="12687" extrusionOk="0">
                <a:moveTo>
                  <a:pt x="2986" y="7684"/>
                </a:moveTo>
                <a:cubicBezTo>
                  <a:pt x="4110" y="7684"/>
                  <a:pt x="5072" y="8568"/>
                  <a:pt x="5072" y="9751"/>
                </a:cubicBezTo>
                <a:cubicBezTo>
                  <a:pt x="5072" y="10727"/>
                  <a:pt x="4474" y="11484"/>
                  <a:pt x="3623" y="11736"/>
                </a:cubicBezTo>
                <a:cubicBezTo>
                  <a:pt x="3405" y="11810"/>
                  <a:pt x="3185" y="11846"/>
                  <a:pt x="2971" y="11846"/>
                </a:cubicBezTo>
                <a:cubicBezTo>
                  <a:pt x="2101" y="11846"/>
                  <a:pt x="1311" y="11265"/>
                  <a:pt x="1008" y="10381"/>
                </a:cubicBezTo>
                <a:cubicBezTo>
                  <a:pt x="662" y="9278"/>
                  <a:pt x="1292" y="8113"/>
                  <a:pt x="2394" y="7766"/>
                </a:cubicBezTo>
                <a:cubicBezTo>
                  <a:pt x="2594" y="7710"/>
                  <a:pt x="2792" y="7684"/>
                  <a:pt x="2986" y="7684"/>
                </a:cubicBezTo>
                <a:close/>
                <a:moveTo>
                  <a:pt x="9886" y="7696"/>
                </a:moveTo>
                <a:cubicBezTo>
                  <a:pt x="10161" y="7696"/>
                  <a:pt x="10441" y="7749"/>
                  <a:pt x="10712" y="7861"/>
                </a:cubicBezTo>
                <a:cubicBezTo>
                  <a:pt x="11468" y="8176"/>
                  <a:pt x="11972" y="8869"/>
                  <a:pt x="11972" y="9751"/>
                </a:cubicBezTo>
                <a:cubicBezTo>
                  <a:pt x="11972" y="10696"/>
                  <a:pt x="11373" y="11484"/>
                  <a:pt x="10523" y="11736"/>
                </a:cubicBezTo>
                <a:cubicBezTo>
                  <a:pt x="10305" y="11810"/>
                  <a:pt x="10085" y="11846"/>
                  <a:pt x="9870" y="11846"/>
                </a:cubicBezTo>
                <a:cubicBezTo>
                  <a:pt x="9001" y="11846"/>
                  <a:pt x="8211" y="11265"/>
                  <a:pt x="7908" y="10381"/>
                </a:cubicBezTo>
                <a:cubicBezTo>
                  <a:pt x="7750" y="9940"/>
                  <a:pt x="7782" y="9436"/>
                  <a:pt x="8002" y="8963"/>
                </a:cubicBezTo>
                <a:cubicBezTo>
                  <a:pt x="8309" y="8162"/>
                  <a:pt x="9073" y="7696"/>
                  <a:pt x="9886" y="7696"/>
                </a:cubicBezTo>
                <a:close/>
                <a:moveTo>
                  <a:pt x="2151" y="1"/>
                </a:moveTo>
                <a:cubicBezTo>
                  <a:pt x="1058" y="1"/>
                  <a:pt x="63" y="900"/>
                  <a:pt x="63" y="2064"/>
                </a:cubicBezTo>
                <a:lnTo>
                  <a:pt x="63" y="9593"/>
                </a:lnTo>
                <a:cubicBezTo>
                  <a:pt x="0" y="10633"/>
                  <a:pt x="504" y="11578"/>
                  <a:pt x="1323" y="12177"/>
                </a:cubicBezTo>
                <a:cubicBezTo>
                  <a:pt x="1822" y="12521"/>
                  <a:pt x="2387" y="12686"/>
                  <a:pt x="2947" y="12686"/>
                </a:cubicBezTo>
                <a:cubicBezTo>
                  <a:pt x="3874" y="12686"/>
                  <a:pt x="4786" y="12233"/>
                  <a:pt x="5356" y="11389"/>
                </a:cubicBezTo>
                <a:cubicBezTo>
                  <a:pt x="5671" y="10916"/>
                  <a:pt x="5860" y="10381"/>
                  <a:pt x="5860" y="9782"/>
                </a:cubicBezTo>
                <a:cubicBezTo>
                  <a:pt x="5860" y="9625"/>
                  <a:pt x="6018" y="9467"/>
                  <a:pt x="6207" y="9373"/>
                </a:cubicBezTo>
                <a:cubicBezTo>
                  <a:pt x="6270" y="9357"/>
                  <a:pt x="6340" y="9349"/>
                  <a:pt x="6411" y="9349"/>
                </a:cubicBezTo>
                <a:cubicBezTo>
                  <a:pt x="6482" y="9349"/>
                  <a:pt x="6553" y="9357"/>
                  <a:pt x="6616" y="9373"/>
                </a:cubicBezTo>
                <a:cubicBezTo>
                  <a:pt x="6805" y="9467"/>
                  <a:pt x="6963" y="9625"/>
                  <a:pt x="6963" y="9782"/>
                </a:cubicBezTo>
                <a:cubicBezTo>
                  <a:pt x="6963" y="10759"/>
                  <a:pt x="7467" y="11641"/>
                  <a:pt x="8223" y="12177"/>
                </a:cubicBezTo>
                <a:cubicBezTo>
                  <a:pt x="8709" y="12521"/>
                  <a:pt x="9272" y="12686"/>
                  <a:pt x="9833" y="12686"/>
                </a:cubicBezTo>
                <a:cubicBezTo>
                  <a:pt x="10762" y="12686"/>
                  <a:pt x="11686" y="12233"/>
                  <a:pt x="12256" y="11389"/>
                </a:cubicBezTo>
                <a:cubicBezTo>
                  <a:pt x="12602" y="10885"/>
                  <a:pt x="12791" y="10223"/>
                  <a:pt x="12728" y="9530"/>
                </a:cubicBezTo>
                <a:cubicBezTo>
                  <a:pt x="12791" y="9467"/>
                  <a:pt x="12791" y="9971"/>
                  <a:pt x="12791" y="2064"/>
                </a:cubicBezTo>
                <a:cubicBezTo>
                  <a:pt x="12791" y="1780"/>
                  <a:pt x="12760" y="1497"/>
                  <a:pt x="12634" y="1276"/>
                </a:cubicBezTo>
                <a:cubicBezTo>
                  <a:pt x="12310" y="458"/>
                  <a:pt x="11539" y="8"/>
                  <a:pt x="10750" y="8"/>
                </a:cubicBezTo>
                <a:cubicBezTo>
                  <a:pt x="10232" y="8"/>
                  <a:pt x="9706" y="202"/>
                  <a:pt x="9294" y="614"/>
                </a:cubicBezTo>
                <a:cubicBezTo>
                  <a:pt x="9137" y="772"/>
                  <a:pt x="9137" y="1024"/>
                  <a:pt x="9294" y="1182"/>
                </a:cubicBezTo>
                <a:cubicBezTo>
                  <a:pt x="9373" y="1260"/>
                  <a:pt x="9483" y="1300"/>
                  <a:pt x="9593" y="1300"/>
                </a:cubicBezTo>
                <a:cubicBezTo>
                  <a:pt x="9704" y="1300"/>
                  <a:pt x="9814" y="1260"/>
                  <a:pt x="9893" y="1182"/>
                </a:cubicBezTo>
                <a:cubicBezTo>
                  <a:pt x="10140" y="935"/>
                  <a:pt x="10448" y="819"/>
                  <a:pt x="10752" y="819"/>
                </a:cubicBezTo>
                <a:cubicBezTo>
                  <a:pt x="11263" y="819"/>
                  <a:pt x="11763" y="1144"/>
                  <a:pt x="11940" y="1717"/>
                </a:cubicBezTo>
                <a:cubicBezTo>
                  <a:pt x="11972" y="1812"/>
                  <a:pt x="11972" y="1938"/>
                  <a:pt x="11972" y="2064"/>
                </a:cubicBezTo>
                <a:lnTo>
                  <a:pt x="11972" y="7766"/>
                </a:lnTo>
                <a:cubicBezTo>
                  <a:pt x="11389" y="7183"/>
                  <a:pt x="10644" y="6907"/>
                  <a:pt x="9909" y="6907"/>
                </a:cubicBezTo>
                <a:cubicBezTo>
                  <a:pt x="8779" y="6907"/>
                  <a:pt x="7673" y="7559"/>
                  <a:pt x="7215" y="8743"/>
                </a:cubicBezTo>
                <a:cubicBezTo>
                  <a:pt x="6994" y="8617"/>
                  <a:pt x="6750" y="8554"/>
                  <a:pt x="6494" y="8554"/>
                </a:cubicBezTo>
                <a:cubicBezTo>
                  <a:pt x="6238" y="8554"/>
                  <a:pt x="5970" y="8617"/>
                  <a:pt x="5702" y="8743"/>
                </a:cubicBezTo>
                <a:cubicBezTo>
                  <a:pt x="5513" y="8207"/>
                  <a:pt x="5135" y="7735"/>
                  <a:pt x="4600" y="7388"/>
                </a:cubicBezTo>
                <a:cubicBezTo>
                  <a:pt x="4117" y="7053"/>
                  <a:pt x="3560" y="6889"/>
                  <a:pt x="3001" y="6889"/>
                </a:cubicBezTo>
                <a:cubicBezTo>
                  <a:pt x="2248" y="6889"/>
                  <a:pt x="1493" y="7187"/>
                  <a:pt x="914" y="7766"/>
                </a:cubicBezTo>
                <a:lnTo>
                  <a:pt x="914" y="2064"/>
                </a:lnTo>
                <a:cubicBezTo>
                  <a:pt x="914" y="1340"/>
                  <a:pt x="1486" y="814"/>
                  <a:pt x="2132" y="814"/>
                </a:cubicBezTo>
                <a:cubicBezTo>
                  <a:pt x="2301" y="814"/>
                  <a:pt x="2476" y="851"/>
                  <a:pt x="2646" y="929"/>
                </a:cubicBezTo>
                <a:cubicBezTo>
                  <a:pt x="2804" y="992"/>
                  <a:pt x="2899" y="1087"/>
                  <a:pt x="3025" y="1182"/>
                </a:cubicBezTo>
                <a:cubicBezTo>
                  <a:pt x="3103" y="1260"/>
                  <a:pt x="3214" y="1300"/>
                  <a:pt x="3324" y="1300"/>
                </a:cubicBezTo>
                <a:cubicBezTo>
                  <a:pt x="3434" y="1300"/>
                  <a:pt x="3544" y="1260"/>
                  <a:pt x="3623" y="1182"/>
                </a:cubicBezTo>
                <a:cubicBezTo>
                  <a:pt x="3781" y="1024"/>
                  <a:pt x="3781" y="772"/>
                  <a:pt x="3623" y="614"/>
                </a:cubicBezTo>
                <a:cubicBezTo>
                  <a:pt x="3434" y="394"/>
                  <a:pt x="3214" y="236"/>
                  <a:pt x="2962" y="173"/>
                </a:cubicBezTo>
                <a:cubicBezTo>
                  <a:pt x="2694" y="55"/>
                  <a:pt x="2420" y="1"/>
                  <a:pt x="2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79" name="Google Shape;6379;p72"/>
          <p:cNvSpPr/>
          <p:nvPr/>
        </p:nvSpPr>
        <p:spPr>
          <a:xfrm>
            <a:off x="2409984" y="3837128"/>
            <a:ext cx="309145" cy="497099"/>
          </a:xfrm>
          <a:custGeom>
            <a:avLst/>
            <a:gdLst/>
            <a:ahLst/>
            <a:cxnLst/>
            <a:rect l="l" t="t" r="r" b="b"/>
            <a:pathLst>
              <a:path w="7877" h="12666" extrusionOk="0">
                <a:moveTo>
                  <a:pt x="6491" y="788"/>
                </a:moveTo>
                <a:cubicBezTo>
                  <a:pt x="6743" y="788"/>
                  <a:pt x="6900" y="977"/>
                  <a:pt x="6932" y="1197"/>
                </a:cubicBezTo>
                <a:cubicBezTo>
                  <a:pt x="6869" y="1449"/>
                  <a:pt x="6711" y="1607"/>
                  <a:pt x="6459" y="1607"/>
                </a:cubicBezTo>
                <a:lnTo>
                  <a:pt x="5640" y="1607"/>
                </a:lnTo>
                <a:cubicBezTo>
                  <a:pt x="5388" y="1607"/>
                  <a:pt x="5230" y="1827"/>
                  <a:pt x="5230" y="2017"/>
                </a:cubicBezTo>
                <a:cubicBezTo>
                  <a:pt x="5230" y="2237"/>
                  <a:pt x="5451" y="2458"/>
                  <a:pt x="5640" y="2458"/>
                </a:cubicBezTo>
                <a:lnTo>
                  <a:pt x="6081" y="2458"/>
                </a:lnTo>
                <a:lnTo>
                  <a:pt x="6081" y="4379"/>
                </a:lnTo>
                <a:lnTo>
                  <a:pt x="1922" y="4379"/>
                </a:lnTo>
                <a:lnTo>
                  <a:pt x="1922" y="2458"/>
                </a:lnTo>
                <a:lnTo>
                  <a:pt x="2364" y="2458"/>
                </a:lnTo>
                <a:cubicBezTo>
                  <a:pt x="2616" y="2458"/>
                  <a:pt x="2805" y="2237"/>
                  <a:pt x="2805" y="2017"/>
                </a:cubicBezTo>
                <a:cubicBezTo>
                  <a:pt x="2805" y="1764"/>
                  <a:pt x="2616" y="1607"/>
                  <a:pt x="2364" y="1607"/>
                </a:cubicBezTo>
                <a:lnTo>
                  <a:pt x="1544" y="1607"/>
                </a:lnTo>
                <a:cubicBezTo>
                  <a:pt x="1292" y="1607"/>
                  <a:pt x="1135" y="1418"/>
                  <a:pt x="1135" y="1197"/>
                </a:cubicBezTo>
                <a:cubicBezTo>
                  <a:pt x="1135" y="945"/>
                  <a:pt x="1355" y="788"/>
                  <a:pt x="1544" y="788"/>
                </a:cubicBezTo>
                <a:close/>
                <a:moveTo>
                  <a:pt x="6018" y="5135"/>
                </a:moveTo>
                <a:lnTo>
                  <a:pt x="6018" y="9641"/>
                </a:lnTo>
                <a:cubicBezTo>
                  <a:pt x="6018" y="10901"/>
                  <a:pt x="5136" y="11815"/>
                  <a:pt x="3970" y="11815"/>
                </a:cubicBezTo>
                <a:cubicBezTo>
                  <a:pt x="2994" y="11815"/>
                  <a:pt x="2143" y="11090"/>
                  <a:pt x="1985" y="10176"/>
                </a:cubicBezTo>
                <a:lnTo>
                  <a:pt x="3151" y="10176"/>
                </a:lnTo>
                <a:cubicBezTo>
                  <a:pt x="3403" y="10176"/>
                  <a:pt x="3561" y="9956"/>
                  <a:pt x="3561" y="9735"/>
                </a:cubicBezTo>
                <a:cubicBezTo>
                  <a:pt x="3561" y="9483"/>
                  <a:pt x="3340" y="9326"/>
                  <a:pt x="3151" y="9326"/>
                </a:cubicBezTo>
                <a:lnTo>
                  <a:pt x="1891" y="9326"/>
                </a:lnTo>
                <a:lnTo>
                  <a:pt x="1891" y="8507"/>
                </a:lnTo>
                <a:lnTo>
                  <a:pt x="3151" y="8507"/>
                </a:lnTo>
                <a:cubicBezTo>
                  <a:pt x="3403" y="8507"/>
                  <a:pt x="3561" y="8317"/>
                  <a:pt x="3561" y="8065"/>
                </a:cubicBezTo>
                <a:cubicBezTo>
                  <a:pt x="3561" y="7845"/>
                  <a:pt x="3340" y="7656"/>
                  <a:pt x="3151" y="7656"/>
                </a:cubicBezTo>
                <a:lnTo>
                  <a:pt x="1891" y="7656"/>
                </a:lnTo>
                <a:lnTo>
                  <a:pt x="1891" y="6805"/>
                </a:lnTo>
                <a:lnTo>
                  <a:pt x="3151" y="6805"/>
                </a:lnTo>
                <a:cubicBezTo>
                  <a:pt x="3403" y="6805"/>
                  <a:pt x="3561" y="6616"/>
                  <a:pt x="3561" y="6396"/>
                </a:cubicBezTo>
                <a:cubicBezTo>
                  <a:pt x="3561" y="6144"/>
                  <a:pt x="3340" y="5955"/>
                  <a:pt x="3151" y="5955"/>
                </a:cubicBezTo>
                <a:lnTo>
                  <a:pt x="1891" y="5955"/>
                </a:lnTo>
                <a:lnTo>
                  <a:pt x="1891" y="5135"/>
                </a:lnTo>
                <a:close/>
                <a:moveTo>
                  <a:pt x="1513" y="0"/>
                </a:moveTo>
                <a:cubicBezTo>
                  <a:pt x="1072" y="0"/>
                  <a:pt x="725" y="189"/>
                  <a:pt x="473" y="567"/>
                </a:cubicBezTo>
                <a:cubicBezTo>
                  <a:pt x="1" y="1229"/>
                  <a:pt x="316" y="2143"/>
                  <a:pt x="1103" y="2395"/>
                </a:cubicBezTo>
                <a:lnTo>
                  <a:pt x="1103" y="9767"/>
                </a:lnTo>
                <a:cubicBezTo>
                  <a:pt x="1103" y="11422"/>
                  <a:pt x="2503" y="12666"/>
                  <a:pt x="4038" y="12666"/>
                </a:cubicBezTo>
                <a:cubicBezTo>
                  <a:pt x="4402" y="12666"/>
                  <a:pt x="4774" y="12596"/>
                  <a:pt x="5136" y="12445"/>
                </a:cubicBezTo>
                <a:cubicBezTo>
                  <a:pt x="6176" y="12004"/>
                  <a:pt x="6900" y="10964"/>
                  <a:pt x="6900" y="9767"/>
                </a:cubicBezTo>
                <a:lnTo>
                  <a:pt x="6900" y="2395"/>
                </a:lnTo>
                <a:cubicBezTo>
                  <a:pt x="7121" y="2332"/>
                  <a:pt x="7373" y="2174"/>
                  <a:pt x="7530" y="1922"/>
                </a:cubicBezTo>
                <a:cubicBezTo>
                  <a:pt x="7877" y="1355"/>
                  <a:pt x="7719" y="599"/>
                  <a:pt x="7184" y="189"/>
                </a:cubicBezTo>
                <a:cubicBezTo>
                  <a:pt x="6963" y="95"/>
                  <a:pt x="6743" y="0"/>
                  <a:pt x="64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0" name="Google Shape;6380;p72"/>
          <p:cNvSpPr/>
          <p:nvPr/>
        </p:nvSpPr>
        <p:spPr>
          <a:xfrm>
            <a:off x="2345699" y="4410502"/>
            <a:ext cx="437719" cy="499885"/>
          </a:xfrm>
          <a:custGeom>
            <a:avLst/>
            <a:gdLst/>
            <a:ahLst/>
            <a:cxnLst/>
            <a:rect l="l" t="t" r="r" b="b"/>
            <a:pathLst>
              <a:path w="11153" h="12737" extrusionOk="0">
                <a:moveTo>
                  <a:pt x="9452" y="4262"/>
                </a:moveTo>
                <a:lnTo>
                  <a:pt x="9452" y="4262"/>
                </a:lnTo>
                <a:cubicBezTo>
                  <a:pt x="9704" y="4703"/>
                  <a:pt x="9609" y="5270"/>
                  <a:pt x="9231" y="5679"/>
                </a:cubicBezTo>
                <a:cubicBezTo>
                  <a:pt x="8976" y="5915"/>
                  <a:pt x="8672" y="6040"/>
                  <a:pt x="8364" y="6040"/>
                </a:cubicBezTo>
                <a:cubicBezTo>
                  <a:pt x="8178" y="6040"/>
                  <a:pt x="7992" y="5995"/>
                  <a:pt x="7814" y="5900"/>
                </a:cubicBezTo>
                <a:lnTo>
                  <a:pt x="9452" y="4262"/>
                </a:lnTo>
                <a:close/>
                <a:moveTo>
                  <a:pt x="6018" y="835"/>
                </a:moveTo>
                <a:cubicBezTo>
                  <a:pt x="6120" y="835"/>
                  <a:pt x="6223" y="875"/>
                  <a:pt x="6301" y="954"/>
                </a:cubicBezTo>
                <a:lnTo>
                  <a:pt x="7215" y="1867"/>
                </a:lnTo>
                <a:cubicBezTo>
                  <a:pt x="7306" y="1935"/>
                  <a:pt x="7397" y="1987"/>
                  <a:pt x="7499" y="1987"/>
                </a:cubicBezTo>
                <a:cubicBezTo>
                  <a:pt x="7539" y="1987"/>
                  <a:pt x="7581" y="1979"/>
                  <a:pt x="7625" y="1962"/>
                </a:cubicBezTo>
                <a:cubicBezTo>
                  <a:pt x="7863" y="1897"/>
                  <a:pt x="8110" y="1865"/>
                  <a:pt x="8359" y="1865"/>
                </a:cubicBezTo>
                <a:cubicBezTo>
                  <a:pt x="8963" y="1865"/>
                  <a:pt x="9578" y="2055"/>
                  <a:pt x="10113" y="2434"/>
                </a:cubicBezTo>
                <a:lnTo>
                  <a:pt x="6049" y="6498"/>
                </a:lnTo>
                <a:cubicBezTo>
                  <a:pt x="5482" y="5774"/>
                  <a:pt x="5356" y="4892"/>
                  <a:pt x="5577" y="4010"/>
                </a:cubicBezTo>
                <a:cubicBezTo>
                  <a:pt x="5608" y="3852"/>
                  <a:pt x="5577" y="3726"/>
                  <a:pt x="5451" y="3631"/>
                </a:cubicBezTo>
                <a:lnTo>
                  <a:pt x="5199" y="3379"/>
                </a:lnTo>
                <a:lnTo>
                  <a:pt x="4537" y="2718"/>
                </a:lnTo>
                <a:cubicBezTo>
                  <a:pt x="4380" y="2560"/>
                  <a:pt x="4380" y="2277"/>
                  <a:pt x="4537" y="2119"/>
                </a:cubicBezTo>
                <a:lnTo>
                  <a:pt x="5734" y="954"/>
                </a:lnTo>
                <a:cubicBezTo>
                  <a:pt x="5813" y="875"/>
                  <a:pt x="5915" y="835"/>
                  <a:pt x="6018" y="835"/>
                </a:cubicBezTo>
                <a:close/>
                <a:moveTo>
                  <a:pt x="1290" y="6917"/>
                </a:moveTo>
                <a:cubicBezTo>
                  <a:pt x="1502" y="6917"/>
                  <a:pt x="1702" y="7106"/>
                  <a:pt x="1702" y="7318"/>
                </a:cubicBezTo>
                <a:cubicBezTo>
                  <a:pt x="1670" y="7538"/>
                  <a:pt x="1544" y="7696"/>
                  <a:pt x="1387" y="7727"/>
                </a:cubicBezTo>
                <a:cubicBezTo>
                  <a:pt x="1342" y="7740"/>
                  <a:pt x="1298" y="7746"/>
                  <a:pt x="1256" y="7746"/>
                </a:cubicBezTo>
                <a:cubicBezTo>
                  <a:pt x="1084" y="7746"/>
                  <a:pt x="933" y="7645"/>
                  <a:pt x="883" y="7444"/>
                </a:cubicBezTo>
                <a:cubicBezTo>
                  <a:pt x="788" y="7223"/>
                  <a:pt x="914" y="7002"/>
                  <a:pt x="1166" y="6939"/>
                </a:cubicBezTo>
                <a:cubicBezTo>
                  <a:pt x="1207" y="6924"/>
                  <a:pt x="1248" y="6917"/>
                  <a:pt x="1290" y="6917"/>
                </a:cubicBezTo>
                <a:close/>
                <a:moveTo>
                  <a:pt x="5807" y="10240"/>
                </a:moveTo>
                <a:cubicBezTo>
                  <a:pt x="6104" y="10240"/>
                  <a:pt x="6409" y="10293"/>
                  <a:pt x="6711" y="10405"/>
                </a:cubicBezTo>
                <a:cubicBezTo>
                  <a:pt x="7373" y="10626"/>
                  <a:pt x="7877" y="11193"/>
                  <a:pt x="8160" y="11886"/>
                </a:cubicBezTo>
                <a:lnTo>
                  <a:pt x="3529" y="11886"/>
                </a:lnTo>
                <a:cubicBezTo>
                  <a:pt x="3847" y="10882"/>
                  <a:pt x="4774" y="10240"/>
                  <a:pt x="5807" y="10240"/>
                </a:cubicBezTo>
                <a:close/>
                <a:moveTo>
                  <a:pt x="6030" y="1"/>
                </a:moveTo>
                <a:cubicBezTo>
                  <a:pt x="5711" y="1"/>
                  <a:pt x="5388" y="119"/>
                  <a:pt x="5136" y="355"/>
                </a:cubicBezTo>
                <a:lnTo>
                  <a:pt x="3938" y="1552"/>
                </a:lnTo>
                <a:cubicBezTo>
                  <a:pt x="3466" y="1993"/>
                  <a:pt x="3466" y="2781"/>
                  <a:pt x="3938" y="3316"/>
                </a:cubicBezTo>
                <a:lnTo>
                  <a:pt x="4348" y="3694"/>
                </a:lnTo>
                <a:lnTo>
                  <a:pt x="1828" y="6215"/>
                </a:lnTo>
                <a:cubicBezTo>
                  <a:pt x="1652" y="6127"/>
                  <a:pt x="1468" y="6087"/>
                  <a:pt x="1287" y="6087"/>
                </a:cubicBezTo>
                <a:cubicBezTo>
                  <a:pt x="623" y="6087"/>
                  <a:pt x="0" y="6625"/>
                  <a:pt x="0" y="7318"/>
                </a:cubicBezTo>
                <a:cubicBezTo>
                  <a:pt x="0" y="8052"/>
                  <a:pt x="611" y="8583"/>
                  <a:pt x="1293" y="8583"/>
                </a:cubicBezTo>
                <a:cubicBezTo>
                  <a:pt x="1459" y="8583"/>
                  <a:pt x="1629" y="8551"/>
                  <a:pt x="1796" y="8483"/>
                </a:cubicBezTo>
                <a:lnTo>
                  <a:pt x="3592" y="10279"/>
                </a:lnTo>
                <a:cubicBezTo>
                  <a:pt x="3056" y="10783"/>
                  <a:pt x="2647" y="11476"/>
                  <a:pt x="2584" y="12264"/>
                </a:cubicBezTo>
                <a:cubicBezTo>
                  <a:pt x="2521" y="12484"/>
                  <a:pt x="2741" y="12736"/>
                  <a:pt x="2962" y="12736"/>
                </a:cubicBezTo>
                <a:lnTo>
                  <a:pt x="8664" y="12736"/>
                </a:lnTo>
                <a:cubicBezTo>
                  <a:pt x="8916" y="12736"/>
                  <a:pt x="9105" y="12484"/>
                  <a:pt x="9074" y="12264"/>
                </a:cubicBezTo>
                <a:cubicBezTo>
                  <a:pt x="8837" y="10556"/>
                  <a:pt x="7367" y="9419"/>
                  <a:pt x="5795" y="9419"/>
                </a:cubicBezTo>
                <a:cubicBezTo>
                  <a:pt x="5279" y="9419"/>
                  <a:pt x="4752" y="9542"/>
                  <a:pt x="4254" y="9806"/>
                </a:cubicBezTo>
                <a:lnTo>
                  <a:pt x="2363" y="7916"/>
                </a:lnTo>
                <a:cubicBezTo>
                  <a:pt x="2521" y="7601"/>
                  <a:pt x="2521" y="7223"/>
                  <a:pt x="2426" y="6845"/>
                </a:cubicBezTo>
                <a:lnTo>
                  <a:pt x="4663" y="4608"/>
                </a:lnTo>
                <a:lnTo>
                  <a:pt x="4663" y="4608"/>
                </a:lnTo>
                <a:cubicBezTo>
                  <a:pt x="4632" y="5679"/>
                  <a:pt x="4978" y="6687"/>
                  <a:pt x="5734" y="7444"/>
                </a:cubicBezTo>
                <a:cubicBezTo>
                  <a:pt x="5813" y="7522"/>
                  <a:pt x="5915" y="7562"/>
                  <a:pt x="6018" y="7562"/>
                </a:cubicBezTo>
                <a:cubicBezTo>
                  <a:pt x="6120" y="7562"/>
                  <a:pt x="6223" y="7522"/>
                  <a:pt x="6301" y="7444"/>
                </a:cubicBezTo>
                <a:lnTo>
                  <a:pt x="7215" y="6530"/>
                </a:lnTo>
                <a:cubicBezTo>
                  <a:pt x="7564" y="6771"/>
                  <a:pt x="7958" y="6887"/>
                  <a:pt x="8352" y="6887"/>
                </a:cubicBezTo>
                <a:cubicBezTo>
                  <a:pt x="8883" y="6887"/>
                  <a:pt x="9414" y="6676"/>
                  <a:pt x="9830" y="6278"/>
                </a:cubicBezTo>
                <a:cubicBezTo>
                  <a:pt x="10523" y="5553"/>
                  <a:pt x="10618" y="4451"/>
                  <a:pt x="10082" y="3663"/>
                </a:cubicBezTo>
                <a:lnTo>
                  <a:pt x="10996" y="2749"/>
                </a:lnTo>
                <a:cubicBezTo>
                  <a:pt x="11153" y="2560"/>
                  <a:pt x="11153" y="2340"/>
                  <a:pt x="10996" y="2119"/>
                </a:cubicBezTo>
                <a:cubicBezTo>
                  <a:pt x="10259" y="1383"/>
                  <a:pt x="9297" y="1056"/>
                  <a:pt x="8341" y="1056"/>
                </a:cubicBezTo>
                <a:cubicBezTo>
                  <a:pt x="8111" y="1056"/>
                  <a:pt x="7882" y="1074"/>
                  <a:pt x="7656" y="1111"/>
                </a:cubicBezTo>
                <a:lnTo>
                  <a:pt x="6900" y="355"/>
                </a:lnTo>
                <a:cubicBezTo>
                  <a:pt x="6664" y="119"/>
                  <a:pt x="6349" y="1"/>
                  <a:pt x="60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1" name="Google Shape;6381;p72"/>
          <p:cNvSpPr/>
          <p:nvPr/>
        </p:nvSpPr>
        <p:spPr>
          <a:xfrm>
            <a:off x="2313585" y="5069213"/>
            <a:ext cx="497099" cy="498747"/>
          </a:xfrm>
          <a:custGeom>
            <a:avLst/>
            <a:gdLst/>
            <a:ahLst/>
            <a:cxnLst/>
            <a:rect l="l" t="t" r="r" b="b"/>
            <a:pathLst>
              <a:path w="12666" h="12708" extrusionOk="0">
                <a:moveTo>
                  <a:pt x="6347" y="841"/>
                </a:moveTo>
                <a:cubicBezTo>
                  <a:pt x="6876" y="841"/>
                  <a:pt x="7350" y="1172"/>
                  <a:pt x="7530" y="1712"/>
                </a:cubicBezTo>
                <a:cubicBezTo>
                  <a:pt x="7719" y="2405"/>
                  <a:pt x="7372" y="3067"/>
                  <a:pt x="6679" y="3256"/>
                </a:cubicBezTo>
                <a:cubicBezTo>
                  <a:pt x="6569" y="3289"/>
                  <a:pt x="6457" y="3305"/>
                  <a:pt x="6345" y="3305"/>
                </a:cubicBezTo>
                <a:cubicBezTo>
                  <a:pt x="5822" y="3305"/>
                  <a:pt x="5323" y="2956"/>
                  <a:pt x="5167" y="2437"/>
                </a:cubicBezTo>
                <a:cubicBezTo>
                  <a:pt x="4947" y="1775"/>
                  <a:pt x="5325" y="1082"/>
                  <a:pt x="5986" y="893"/>
                </a:cubicBezTo>
                <a:cubicBezTo>
                  <a:pt x="6108" y="858"/>
                  <a:pt x="6229" y="841"/>
                  <a:pt x="6347" y="841"/>
                </a:cubicBezTo>
                <a:close/>
                <a:moveTo>
                  <a:pt x="6353" y="5919"/>
                </a:moveTo>
                <a:cubicBezTo>
                  <a:pt x="7021" y="5919"/>
                  <a:pt x="7624" y="6459"/>
                  <a:pt x="7624" y="7162"/>
                </a:cubicBezTo>
                <a:cubicBezTo>
                  <a:pt x="7593" y="7698"/>
                  <a:pt x="7215" y="8170"/>
                  <a:pt x="6742" y="8328"/>
                </a:cubicBezTo>
                <a:cubicBezTo>
                  <a:pt x="6608" y="8371"/>
                  <a:pt x="6474" y="8391"/>
                  <a:pt x="6345" y="8391"/>
                </a:cubicBezTo>
                <a:cubicBezTo>
                  <a:pt x="5810" y="8391"/>
                  <a:pt x="5351" y="8042"/>
                  <a:pt x="5199" y="7509"/>
                </a:cubicBezTo>
                <a:cubicBezTo>
                  <a:pt x="5010" y="6847"/>
                  <a:pt x="5356" y="6186"/>
                  <a:pt x="6018" y="5965"/>
                </a:cubicBezTo>
                <a:cubicBezTo>
                  <a:pt x="6130" y="5934"/>
                  <a:pt x="6242" y="5919"/>
                  <a:pt x="6353" y="5919"/>
                </a:cubicBezTo>
                <a:close/>
                <a:moveTo>
                  <a:pt x="2079" y="9351"/>
                </a:moveTo>
                <a:cubicBezTo>
                  <a:pt x="2744" y="9351"/>
                  <a:pt x="3340" y="9871"/>
                  <a:pt x="3340" y="10596"/>
                </a:cubicBezTo>
                <a:cubicBezTo>
                  <a:pt x="3308" y="11163"/>
                  <a:pt x="2962" y="11604"/>
                  <a:pt x="2426" y="11762"/>
                </a:cubicBezTo>
                <a:cubicBezTo>
                  <a:pt x="2305" y="11797"/>
                  <a:pt x="2183" y="11813"/>
                  <a:pt x="2065" y="11813"/>
                </a:cubicBezTo>
                <a:cubicBezTo>
                  <a:pt x="1538" y="11813"/>
                  <a:pt x="1068" y="11483"/>
                  <a:pt x="914" y="10943"/>
                </a:cubicBezTo>
                <a:cubicBezTo>
                  <a:pt x="693" y="10281"/>
                  <a:pt x="1071" y="9588"/>
                  <a:pt x="1733" y="9399"/>
                </a:cubicBezTo>
                <a:cubicBezTo>
                  <a:pt x="1849" y="9367"/>
                  <a:pt x="1965" y="9351"/>
                  <a:pt x="2079" y="9351"/>
                </a:cubicBezTo>
                <a:close/>
                <a:moveTo>
                  <a:pt x="10617" y="9351"/>
                </a:moveTo>
                <a:cubicBezTo>
                  <a:pt x="11281" y="9351"/>
                  <a:pt x="11878" y="9871"/>
                  <a:pt x="11878" y="10596"/>
                </a:cubicBezTo>
                <a:cubicBezTo>
                  <a:pt x="11846" y="11163"/>
                  <a:pt x="11500" y="11604"/>
                  <a:pt x="10995" y="11762"/>
                </a:cubicBezTo>
                <a:cubicBezTo>
                  <a:pt x="10868" y="11797"/>
                  <a:pt x="10742" y="11813"/>
                  <a:pt x="10620" y="11813"/>
                </a:cubicBezTo>
                <a:cubicBezTo>
                  <a:pt x="10076" y="11813"/>
                  <a:pt x="9606" y="11483"/>
                  <a:pt x="9452" y="10943"/>
                </a:cubicBezTo>
                <a:cubicBezTo>
                  <a:pt x="9263" y="10281"/>
                  <a:pt x="9609" y="9588"/>
                  <a:pt x="10271" y="9399"/>
                </a:cubicBezTo>
                <a:cubicBezTo>
                  <a:pt x="10387" y="9367"/>
                  <a:pt x="10503" y="9351"/>
                  <a:pt x="10617" y="9351"/>
                </a:cubicBezTo>
                <a:close/>
                <a:moveTo>
                  <a:pt x="6344" y="0"/>
                </a:moveTo>
                <a:cubicBezTo>
                  <a:pt x="5677" y="0"/>
                  <a:pt x="5021" y="308"/>
                  <a:pt x="4631" y="893"/>
                </a:cubicBezTo>
                <a:cubicBezTo>
                  <a:pt x="3812" y="2122"/>
                  <a:pt x="4474" y="3760"/>
                  <a:pt x="5955" y="4075"/>
                </a:cubicBezTo>
                <a:lnTo>
                  <a:pt x="5955" y="5146"/>
                </a:lnTo>
                <a:cubicBezTo>
                  <a:pt x="4600" y="5430"/>
                  <a:pt x="3907" y="6910"/>
                  <a:pt x="4537" y="8107"/>
                </a:cubicBezTo>
                <a:lnTo>
                  <a:pt x="3434" y="9021"/>
                </a:lnTo>
                <a:cubicBezTo>
                  <a:pt x="3025" y="8706"/>
                  <a:pt x="2584" y="8548"/>
                  <a:pt x="2080" y="8548"/>
                </a:cubicBezTo>
                <a:cubicBezTo>
                  <a:pt x="945" y="8548"/>
                  <a:pt x="0" y="9494"/>
                  <a:pt x="0" y="10628"/>
                </a:cubicBezTo>
                <a:cubicBezTo>
                  <a:pt x="0" y="11762"/>
                  <a:pt x="945" y="12707"/>
                  <a:pt x="2080" y="12707"/>
                </a:cubicBezTo>
                <a:cubicBezTo>
                  <a:pt x="3214" y="12707"/>
                  <a:pt x="4159" y="11793"/>
                  <a:pt x="4159" y="10628"/>
                </a:cubicBezTo>
                <a:cubicBezTo>
                  <a:pt x="4159" y="10281"/>
                  <a:pt x="4096" y="9966"/>
                  <a:pt x="3938" y="9683"/>
                </a:cubicBezTo>
                <a:lnTo>
                  <a:pt x="5041" y="8769"/>
                </a:lnTo>
                <a:cubicBezTo>
                  <a:pt x="5435" y="9084"/>
                  <a:pt x="5907" y="9242"/>
                  <a:pt x="6376" y="9242"/>
                </a:cubicBezTo>
                <a:cubicBezTo>
                  <a:pt x="6845" y="9242"/>
                  <a:pt x="7309" y="9084"/>
                  <a:pt x="7687" y="8769"/>
                </a:cubicBezTo>
                <a:lnTo>
                  <a:pt x="8790" y="9683"/>
                </a:lnTo>
                <a:cubicBezTo>
                  <a:pt x="8318" y="10596"/>
                  <a:pt x="8570" y="11730"/>
                  <a:pt x="9452" y="12361"/>
                </a:cubicBezTo>
                <a:cubicBezTo>
                  <a:pt x="9803" y="12595"/>
                  <a:pt x="10203" y="12707"/>
                  <a:pt x="10598" y="12707"/>
                </a:cubicBezTo>
                <a:cubicBezTo>
                  <a:pt x="11266" y="12707"/>
                  <a:pt x="11923" y="12387"/>
                  <a:pt x="12319" y="11793"/>
                </a:cubicBezTo>
                <a:cubicBezTo>
                  <a:pt x="12571" y="11478"/>
                  <a:pt x="12665" y="11069"/>
                  <a:pt x="12665" y="10659"/>
                </a:cubicBezTo>
                <a:cubicBezTo>
                  <a:pt x="12665" y="9431"/>
                  <a:pt x="11783" y="8548"/>
                  <a:pt x="10617" y="8548"/>
                </a:cubicBezTo>
                <a:cubicBezTo>
                  <a:pt x="10113" y="8548"/>
                  <a:pt x="9672" y="8706"/>
                  <a:pt x="9294" y="9021"/>
                </a:cubicBezTo>
                <a:lnTo>
                  <a:pt x="8192" y="8107"/>
                </a:lnTo>
                <a:cubicBezTo>
                  <a:pt x="8822" y="6879"/>
                  <a:pt x="8097" y="5398"/>
                  <a:pt x="6774" y="5146"/>
                </a:cubicBezTo>
                <a:lnTo>
                  <a:pt x="6774" y="4075"/>
                </a:lnTo>
                <a:cubicBezTo>
                  <a:pt x="7530" y="3917"/>
                  <a:pt x="8097" y="3382"/>
                  <a:pt x="8349" y="2657"/>
                </a:cubicBezTo>
                <a:cubicBezTo>
                  <a:pt x="8633" y="1806"/>
                  <a:pt x="8318" y="861"/>
                  <a:pt x="7530" y="357"/>
                </a:cubicBezTo>
                <a:cubicBezTo>
                  <a:pt x="7170" y="117"/>
                  <a:pt x="6755" y="0"/>
                  <a:pt x="63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2" name="Google Shape;6382;p72"/>
          <p:cNvSpPr/>
          <p:nvPr/>
        </p:nvSpPr>
        <p:spPr>
          <a:xfrm>
            <a:off x="5270996" y="3837442"/>
            <a:ext cx="499571" cy="496471"/>
          </a:xfrm>
          <a:custGeom>
            <a:avLst/>
            <a:gdLst/>
            <a:ahLst/>
            <a:cxnLst/>
            <a:rect l="l" t="t" r="r" b="b"/>
            <a:pathLst>
              <a:path w="12729" h="12650" extrusionOk="0">
                <a:moveTo>
                  <a:pt x="9326" y="1000"/>
                </a:moveTo>
                <a:lnTo>
                  <a:pt x="11657" y="3332"/>
                </a:lnTo>
                <a:lnTo>
                  <a:pt x="3403" y="11617"/>
                </a:lnTo>
                <a:lnTo>
                  <a:pt x="1072" y="9286"/>
                </a:lnTo>
                <a:lnTo>
                  <a:pt x="2521" y="7837"/>
                </a:lnTo>
                <a:lnTo>
                  <a:pt x="3403" y="8688"/>
                </a:lnTo>
                <a:cubicBezTo>
                  <a:pt x="3482" y="8766"/>
                  <a:pt x="3584" y="8806"/>
                  <a:pt x="3686" y="8806"/>
                </a:cubicBezTo>
                <a:cubicBezTo>
                  <a:pt x="3789" y="8806"/>
                  <a:pt x="3891" y="8766"/>
                  <a:pt x="3970" y="8688"/>
                </a:cubicBezTo>
                <a:cubicBezTo>
                  <a:pt x="4128" y="8530"/>
                  <a:pt x="4128" y="8278"/>
                  <a:pt x="3970" y="8089"/>
                </a:cubicBezTo>
                <a:lnTo>
                  <a:pt x="3119" y="7238"/>
                </a:lnTo>
                <a:lnTo>
                  <a:pt x="4191" y="6167"/>
                </a:lnTo>
                <a:lnTo>
                  <a:pt x="5041" y="7049"/>
                </a:lnTo>
                <a:cubicBezTo>
                  <a:pt x="5120" y="7128"/>
                  <a:pt x="5230" y="7167"/>
                  <a:pt x="5340" y="7167"/>
                </a:cubicBezTo>
                <a:cubicBezTo>
                  <a:pt x="5451" y="7167"/>
                  <a:pt x="5561" y="7128"/>
                  <a:pt x="5640" y="7049"/>
                </a:cubicBezTo>
                <a:cubicBezTo>
                  <a:pt x="5797" y="6892"/>
                  <a:pt x="5797" y="6608"/>
                  <a:pt x="5640" y="6451"/>
                </a:cubicBezTo>
                <a:lnTo>
                  <a:pt x="4758" y="5600"/>
                </a:lnTo>
                <a:lnTo>
                  <a:pt x="5829" y="4529"/>
                </a:lnTo>
                <a:lnTo>
                  <a:pt x="6711" y="5380"/>
                </a:lnTo>
                <a:cubicBezTo>
                  <a:pt x="6790" y="5458"/>
                  <a:pt x="6892" y="5498"/>
                  <a:pt x="6994" y="5498"/>
                </a:cubicBezTo>
                <a:cubicBezTo>
                  <a:pt x="7097" y="5498"/>
                  <a:pt x="7199" y="5458"/>
                  <a:pt x="7278" y="5380"/>
                </a:cubicBezTo>
                <a:cubicBezTo>
                  <a:pt x="7436" y="5222"/>
                  <a:pt x="7436" y="4970"/>
                  <a:pt x="7278" y="4812"/>
                </a:cubicBezTo>
                <a:lnTo>
                  <a:pt x="6427" y="3930"/>
                </a:lnTo>
                <a:lnTo>
                  <a:pt x="7499" y="2859"/>
                </a:lnTo>
                <a:lnTo>
                  <a:pt x="8349" y="3741"/>
                </a:lnTo>
                <a:cubicBezTo>
                  <a:pt x="8428" y="3820"/>
                  <a:pt x="8538" y="3859"/>
                  <a:pt x="8648" y="3859"/>
                </a:cubicBezTo>
                <a:cubicBezTo>
                  <a:pt x="8759" y="3859"/>
                  <a:pt x="8869" y="3820"/>
                  <a:pt x="8948" y="3741"/>
                </a:cubicBezTo>
                <a:cubicBezTo>
                  <a:pt x="9105" y="3584"/>
                  <a:pt x="9105" y="3300"/>
                  <a:pt x="8948" y="3143"/>
                </a:cubicBezTo>
                <a:lnTo>
                  <a:pt x="8066" y="2292"/>
                </a:lnTo>
                <a:lnTo>
                  <a:pt x="9326" y="1000"/>
                </a:lnTo>
                <a:close/>
                <a:moveTo>
                  <a:pt x="9357" y="0"/>
                </a:moveTo>
                <a:cubicBezTo>
                  <a:pt x="9255" y="0"/>
                  <a:pt x="9153" y="39"/>
                  <a:pt x="9074" y="118"/>
                </a:cubicBezTo>
                <a:lnTo>
                  <a:pt x="7247" y="1914"/>
                </a:lnTo>
                <a:lnTo>
                  <a:pt x="7120" y="2040"/>
                </a:lnTo>
                <a:lnTo>
                  <a:pt x="5608" y="3584"/>
                </a:lnTo>
                <a:lnTo>
                  <a:pt x="5482" y="3678"/>
                </a:lnTo>
                <a:lnTo>
                  <a:pt x="3938" y="5222"/>
                </a:lnTo>
                <a:lnTo>
                  <a:pt x="3812" y="5348"/>
                </a:lnTo>
                <a:lnTo>
                  <a:pt x="2300" y="6892"/>
                </a:lnTo>
                <a:lnTo>
                  <a:pt x="2174" y="7018"/>
                </a:lnTo>
                <a:lnTo>
                  <a:pt x="158" y="9003"/>
                </a:lnTo>
                <a:cubicBezTo>
                  <a:pt x="0" y="9160"/>
                  <a:pt x="0" y="9444"/>
                  <a:pt x="158" y="9601"/>
                </a:cubicBezTo>
                <a:lnTo>
                  <a:pt x="3088" y="12531"/>
                </a:lnTo>
                <a:cubicBezTo>
                  <a:pt x="3167" y="12610"/>
                  <a:pt x="3269" y="12649"/>
                  <a:pt x="3371" y="12649"/>
                </a:cubicBezTo>
                <a:cubicBezTo>
                  <a:pt x="3474" y="12649"/>
                  <a:pt x="3576" y="12610"/>
                  <a:pt x="3655" y="12531"/>
                </a:cubicBezTo>
                <a:lnTo>
                  <a:pt x="12539" y="3647"/>
                </a:lnTo>
                <a:cubicBezTo>
                  <a:pt x="12728" y="3458"/>
                  <a:pt x="12728" y="3174"/>
                  <a:pt x="12571" y="3017"/>
                </a:cubicBezTo>
                <a:lnTo>
                  <a:pt x="9641" y="118"/>
                </a:lnTo>
                <a:cubicBezTo>
                  <a:pt x="9562" y="39"/>
                  <a:pt x="9460" y="0"/>
                  <a:pt x="9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383" name="Google Shape;6383;p72"/>
          <p:cNvGrpSpPr/>
          <p:nvPr/>
        </p:nvGrpSpPr>
        <p:grpSpPr>
          <a:xfrm>
            <a:off x="1639380" y="2045214"/>
            <a:ext cx="529241" cy="497529"/>
            <a:chOff x="-42804750" y="1949600"/>
            <a:chExt cx="337125" cy="316925"/>
          </a:xfrm>
        </p:grpSpPr>
        <p:sp>
          <p:nvSpPr>
            <p:cNvPr id="6384" name="Google Shape;6384;p72"/>
            <p:cNvSpPr/>
            <p:nvPr/>
          </p:nvSpPr>
          <p:spPr>
            <a:xfrm>
              <a:off x="-42731500" y="2013125"/>
              <a:ext cx="189825" cy="189900"/>
            </a:xfrm>
            <a:custGeom>
              <a:avLst/>
              <a:gdLst/>
              <a:ahLst/>
              <a:cxnLst/>
              <a:rect l="l" t="t" r="r" b="b"/>
              <a:pathLst>
                <a:path w="7593" h="7596" extrusionOk="0">
                  <a:moveTo>
                    <a:pt x="3781" y="805"/>
                  </a:moveTo>
                  <a:cubicBezTo>
                    <a:pt x="5419" y="805"/>
                    <a:pt x="6742" y="2128"/>
                    <a:pt x="6742" y="3767"/>
                  </a:cubicBezTo>
                  <a:cubicBezTo>
                    <a:pt x="6774" y="5405"/>
                    <a:pt x="5419" y="6760"/>
                    <a:pt x="3781" y="6760"/>
                  </a:cubicBezTo>
                  <a:cubicBezTo>
                    <a:pt x="2426" y="6760"/>
                    <a:pt x="1292" y="5878"/>
                    <a:pt x="946" y="4649"/>
                  </a:cubicBezTo>
                  <a:cubicBezTo>
                    <a:pt x="347" y="2727"/>
                    <a:pt x="1765" y="805"/>
                    <a:pt x="3781" y="805"/>
                  </a:cubicBezTo>
                  <a:close/>
                  <a:moveTo>
                    <a:pt x="3809" y="1"/>
                  </a:moveTo>
                  <a:cubicBezTo>
                    <a:pt x="3297" y="1"/>
                    <a:pt x="2785" y="105"/>
                    <a:pt x="2300" y="301"/>
                  </a:cubicBezTo>
                  <a:cubicBezTo>
                    <a:pt x="946" y="868"/>
                    <a:pt x="0" y="2223"/>
                    <a:pt x="0" y="3798"/>
                  </a:cubicBezTo>
                  <a:cubicBezTo>
                    <a:pt x="0" y="5058"/>
                    <a:pt x="630" y="6224"/>
                    <a:pt x="1670" y="6949"/>
                  </a:cubicBezTo>
                  <a:cubicBezTo>
                    <a:pt x="2333" y="7390"/>
                    <a:pt x="3060" y="7596"/>
                    <a:pt x="3776" y="7596"/>
                  </a:cubicBezTo>
                  <a:cubicBezTo>
                    <a:pt x="4286" y="7596"/>
                    <a:pt x="4790" y="7492"/>
                    <a:pt x="5262" y="7295"/>
                  </a:cubicBezTo>
                  <a:cubicBezTo>
                    <a:pt x="6648" y="6697"/>
                    <a:pt x="7593" y="5373"/>
                    <a:pt x="7593" y="3798"/>
                  </a:cubicBezTo>
                  <a:cubicBezTo>
                    <a:pt x="7593" y="2506"/>
                    <a:pt x="6931" y="1341"/>
                    <a:pt x="5892" y="648"/>
                  </a:cubicBezTo>
                  <a:cubicBezTo>
                    <a:pt x="5248" y="206"/>
                    <a:pt x="4528" y="1"/>
                    <a:pt x="38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5" name="Google Shape;6385;p72"/>
            <p:cNvSpPr/>
            <p:nvPr/>
          </p:nvSpPr>
          <p:spPr>
            <a:xfrm>
              <a:off x="-42804750" y="1949600"/>
              <a:ext cx="337125" cy="316925"/>
            </a:xfrm>
            <a:custGeom>
              <a:avLst/>
              <a:gdLst/>
              <a:ahLst/>
              <a:cxnLst/>
              <a:rect l="l" t="t" r="r" b="b"/>
              <a:pathLst>
                <a:path w="13485" h="12677" extrusionOk="0">
                  <a:moveTo>
                    <a:pt x="3306" y="817"/>
                  </a:moveTo>
                  <a:cubicBezTo>
                    <a:pt x="3769" y="817"/>
                    <a:pt x="4233" y="967"/>
                    <a:pt x="4600" y="1267"/>
                  </a:cubicBezTo>
                  <a:cubicBezTo>
                    <a:pt x="3277" y="1802"/>
                    <a:pt x="2174" y="2905"/>
                    <a:pt x="1607" y="4260"/>
                  </a:cubicBezTo>
                  <a:cubicBezTo>
                    <a:pt x="914" y="3283"/>
                    <a:pt x="1072" y="1897"/>
                    <a:pt x="2143" y="1172"/>
                  </a:cubicBezTo>
                  <a:cubicBezTo>
                    <a:pt x="2484" y="935"/>
                    <a:pt x="2895" y="817"/>
                    <a:pt x="3306" y="817"/>
                  </a:cubicBezTo>
                  <a:close/>
                  <a:moveTo>
                    <a:pt x="10101" y="823"/>
                  </a:moveTo>
                  <a:cubicBezTo>
                    <a:pt x="10771" y="823"/>
                    <a:pt x="11436" y="1137"/>
                    <a:pt x="11846" y="1771"/>
                  </a:cubicBezTo>
                  <a:cubicBezTo>
                    <a:pt x="12382" y="2527"/>
                    <a:pt x="12319" y="3535"/>
                    <a:pt x="11783" y="4260"/>
                  </a:cubicBezTo>
                  <a:cubicBezTo>
                    <a:pt x="11248" y="2905"/>
                    <a:pt x="10177" y="1802"/>
                    <a:pt x="8790" y="1267"/>
                  </a:cubicBezTo>
                  <a:cubicBezTo>
                    <a:pt x="9176" y="971"/>
                    <a:pt x="9640" y="823"/>
                    <a:pt x="10101" y="823"/>
                  </a:cubicBezTo>
                  <a:close/>
                  <a:moveTo>
                    <a:pt x="6662" y="1686"/>
                  </a:moveTo>
                  <a:cubicBezTo>
                    <a:pt x="7287" y="1686"/>
                    <a:pt x="7908" y="1809"/>
                    <a:pt x="8475" y="2055"/>
                  </a:cubicBezTo>
                  <a:cubicBezTo>
                    <a:pt x="10177" y="2748"/>
                    <a:pt x="11311" y="4417"/>
                    <a:pt x="11311" y="6339"/>
                  </a:cubicBezTo>
                  <a:cubicBezTo>
                    <a:pt x="11374" y="8891"/>
                    <a:pt x="9263" y="10970"/>
                    <a:pt x="6711" y="10970"/>
                  </a:cubicBezTo>
                  <a:cubicBezTo>
                    <a:pt x="4159" y="10970"/>
                    <a:pt x="2048" y="8891"/>
                    <a:pt x="2017" y="6339"/>
                  </a:cubicBezTo>
                  <a:cubicBezTo>
                    <a:pt x="2017" y="4764"/>
                    <a:pt x="2804" y="3346"/>
                    <a:pt x="4065" y="2464"/>
                  </a:cubicBezTo>
                  <a:cubicBezTo>
                    <a:pt x="4846" y="1943"/>
                    <a:pt x="5759" y="1686"/>
                    <a:pt x="6662" y="1686"/>
                  </a:cubicBezTo>
                  <a:close/>
                  <a:moveTo>
                    <a:pt x="3282" y="1"/>
                  </a:moveTo>
                  <a:cubicBezTo>
                    <a:pt x="2347" y="1"/>
                    <a:pt x="1411" y="437"/>
                    <a:pt x="820" y="1298"/>
                  </a:cubicBezTo>
                  <a:cubicBezTo>
                    <a:pt x="0" y="2496"/>
                    <a:pt x="189" y="4165"/>
                    <a:pt x="1292" y="5142"/>
                  </a:cubicBezTo>
                  <a:cubicBezTo>
                    <a:pt x="820" y="7316"/>
                    <a:pt x="1702" y="9553"/>
                    <a:pt x="3497" y="10844"/>
                  </a:cubicBezTo>
                  <a:lnTo>
                    <a:pt x="2867" y="12073"/>
                  </a:lnTo>
                  <a:cubicBezTo>
                    <a:pt x="2773" y="12262"/>
                    <a:pt x="2867" y="12514"/>
                    <a:pt x="3088" y="12640"/>
                  </a:cubicBezTo>
                  <a:cubicBezTo>
                    <a:pt x="3137" y="12665"/>
                    <a:pt x="3189" y="12677"/>
                    <a:pt x="3240" y="12677"/>
                  </a:cubicBezTo>
                  <a:cubicBezTo>
                    <a:pt x="3386" y="12677"/>
                    <a:pt x="3530" y="12582"/>
                    <a:pt x="3623" y="12420"/>
                  </a:cubicBezTo>
                  <a:lnTo>
                    <a:pt x="4222" y="11254"/>
                  </a:lnTo>
                  <a:cubicBezTo>
                    <a:pt x="4994" y="11632"/>
                    <a:pt x="5821" y="11821"/>
                    <a:pt x="6648" y="11821"/>
                  </a:cubicBezTo>
                  <a:cubicBezTo>
                    <a:pt x="7475" y="11821"/>
                    <a:pt x="8302" y="11632"/>
                    <a:pt x="9074" y="11254"/>
                  </a:cubicBezTo>
                  <a:lnTo>
                    <a:pt x="9641" y="12420"/>
                  </a:lnTo>
                  <a:cubicBezTo>
                    <a:pt x="9736" y="12587"/>
                    <a:pt x="9904" y="12663"/>
                    <a:pt x="10062" y="12663"/>
                  </a:cubicBezTo>
                  <a:cubicBezTo>
                    <a:pt x="10113" y="12663"/>
                    <a:pt x="10162" y="12655"/>
                    <a:pt x="10208" y="12640"/>
                  </a:cubicBezTo>
                  <a:cubicBezTo>
                    <a:pt x="10397" y="12514"/>
                    <a:pt x="10492" y="12262"/>
                    <a:pt x="10397" y="12073"/>
                  </a:cubicBezTo>
                  <a:lnTo>
                    <a:pt x="9767" y="10844"/>
                  </a:lnTo>
                  <a:cubicBezTo>
                    <a:pt x="11594" y="9584"/>
                    <a:pt x="12476" y="7347"/>
                    <a:pt x="11972" y="5142"/>
                  </a:cubicBezTo>
                  <a:cubicBezTo>
                    <a:pt x="13485" y="3882"/>
                    <a:pt x="13359" y="1582"/>
                    <a:pt x="11752" y="511"/>
                  </a:cubicBezTo>
                  <a:cubicBezTo>
                    <a:pt x="11243" y="171"/>
                    <a:pt x="10658" y="5"/>
                    <a:pt x="10078" y="5"/>
                  </a:cubicBezTo>
                  <a:cubicBezTo>
                    <a:pt x="9258" y="5"/>
                    <a:pt x="8449" y="338"/>
                    <a:pt x="7877" y="983"/>
                  </a:cubicBezTo>
                  <a:cubicBezTo>
                    <a:pt x="7483" y="905"/>
                    <a:pt x="7081" y="865"/>
                    <a:pt x="6679" y="865"/>
                  </a:cubicBezTo>
                  <a:cubicBezTo>
                    <a:pt x="6278" y="865"/>
                    <a:pt x="5876" y="905"/>
                    <a:pt x="5482" y="983"/>
                  </a:cubicBezTo>
                  <a:cubicBezTo>
                    <a:pt x="4898" y="326"/>
                    <a:pt x="4090" y="1"/>
                    <a:pt x="32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6" name="Google Shape;6386;p72"/>
            <p:cNvSpPr/>
            <p:nvPr/>
          </p:nvSpPr>
          <p:spPr>
            <a:xfrm>
              <a:off x="-42644075" y="2060025"/>
              <a:ext cx="59100" cy="65400"/>
            </a:xfrm>
            <a:custGeom>
              <a:avLst/>
              <a:gdLst/>
              <a:ahLst/>
              <a:cxnLst/>
              <a:rect l="l" t="t" r="r" b="b"/>
              <a:pathLst>
                <a:path w="2364" h="2616" extrusionOk="0">
                  <a:moveTo>
                    <a:pt x="442" y="0"/>
                  </a:moveTo>
                  <a:cubicBezTo>
                    <a:pt x="189" y="0"/>
                    <a:pt x="0" y="189"/>
                    <a:pt x="0" y="410"/>
                  </a:cubicBezTo>
                  <a:lnTo>
                    <a:pt x="0" y="2237"/>
                  </a:lnTo>
                  <a:cubicBezTo>
                    <a:pt x="0" y="2458"/>
                    <a:pt x="189" y="2615"/>
                    <a:pt x="442" y="2615"/>
                  </a:cubicBezTo>
                  <a:lnTo>
                    <a:pt x="1922" y="2615"/>
                  </a:lnTo>
                  <a:cubicBezTo>
                    <a:pt x="2174" y="2615"/>
                    <a:pt x="2363" y="2426"/>
                    <a:pt x="2363" y="2237"/>
                  </a:cubicBezTo>
                  <a:cubicBezTo>
                    <a:pt x="2363" y="1954"/>
                    <a:pt x="2174" y="1796"/>
                    <a:pt x="1922" y="1796"/>
                  </a:cubicBezTo>
                  <a:lnTo>
                    <a:pt x="820" y="1796"/>
                  </a:lnTo>
                  <a:lnTo>
                    <a:pt x="820" y="410"/>
                  </a:lnTo>
                  <a:cubicBezTo>
                    <a:pt x="820" y="189"/>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387" name="Google Shape;6387;p72"/>
          <p:cNvGrpSpPr/>
          <p:nvPr/>
        </p:nvGrpSpPr>
        <p:grpSpPr>
          <a:xfrm>
            <a:off x="1722948" y="2648810"/>
            <a:ext cx="447608" cy="485677"/>
            <a:chOff x="-42778750" y="2320125"/>
            <a:chExt cx="285125" cy="309375"/>
          </a:xfrm>
        </p:grpSpPr>
        <p:sp>
          <p:nvSpPr>
            <p:cNvPr id="6388" name="Google Shape;6388;p72"/>
            <p:cNvSpPr/>
            <p:nvPr/>
          </p:nvSpPr>
          <p:spPr>
            <a:xfrm>
              <a:off x="-42778750" y="2320125"/>
              <a:ext cx="285125" cy="309375"/>
            </a:xfrm>
            <a:custGeom>
              <a:avLst/>
              <a:gdLst/>
              <a:ahLst/>
              <a:cxnLst/>
              <a:rect l="l" t="t" r="r" b="b"/>
              <a:pathLst>
                <a:path w="11405" h="12375" extrusionOk="0">
                  <a:moveTo>
                    <a:pt x="5654" y="815"/>
                  </a:moveTo>
                  <a:cubicBezTo>
                    <a:pt x="5920" y="815"/>
                    <a:pt x="6185" y="965"/>
                    <a:pt x="6459" y="1253"/>
                  </a:cubicBezTo>
                  <a:cubicBezTo>
                    <a:pt x="6711" y="1568"/>
                    <a:pt x="6963" y="1978"/>
                    <a:pt x="7120" y="2419"/>
                  </a:cubicBezTo>
                  <a:cubicBezTo>
                    <a:pt x="6616" y="2545"/>
                    <a:pt x="6144" y="2734"/>
                    <a:pt x="5671" y="2923"/>
                  </a:cubicBezTo>
                  <a:cubicBezTo>
                    <a:pt x="5198" y="2734"/>
                    <a:pt x="4726" y="2545"/>
                    <a:pt x="4190" y="2419"/>
                  </a:cubicBezTo>
                  <a:cubicBezTo>
                    <a:pt x="4348" y="2072"/>
                    <a:pt x="4568" y="1663"/>
                    <a:pt x="4789" y="1348"/>
                  </a:cubicBezTo>
                  <a:cubicBezTo>
                    <a:pt x="5083" y="988"/>
                    <a:pt x="5368" y="815"/>
                    <a:pt x="5654" y="815"/>
                  </a:cubicBezTo>
                  <a:close/>
                  <a:moveTo>
                    <a:pt x="3938" y="3238"/>
                  </a:moveTo>
                  <a:cubicBezTo>
                    <a:pt x="4159" y="3332"/>
                    <a:pt x="4411" y="3364"/>
                    <a:pt x="4600" y="3427"/>
                  </a:cubicBezTo>
                  <a:cubicBezTo>
                    <a:pt x="4285" y="3616"/>
                    <a:pt x="4033" y="3774"/>
                    <a:pt x="3781" y="3900"/>
                  </a:cubicBezTo>
                  <a:cubicBezTo>
                    <a:pt x="3844" y="3679"/>
                    <a:pt x="3907" y="3427"/>
                    <a:pt x="3938" y="3238"/>
                  </a:cubicBezTo>
                  <a:close/>
                  <a:moveTo>
                    <a:pt x="7341" y="3238"/>
                  </a:moveTo>
                  <a:cubicBezTo>
                    <a:pt x="7435" y="3490"/>
                    <a:pt x="7467" y="3711"/>
                    <a:pt x="7498" y="3963"/>
                  </a:cubicBezTo>
                  <a:cubicBezTo>
                    <a:pt x="7246" y="3805"/>
                    <a:pt x="6963" y="3616"/>
                    <a:pt x="6679" y="3490"/>
                  </a:cubicBezTo>
                  <a:cubicBezTo>
                    <a:pt x="6868" y="3364"/>
                    <a:pt x="7120" y="3301"/>
                    <a:pt x="7341" y="3238"/>
                  </a:cubicBezTo>
                  <a:close/>
                  <a:moveTo>
                    <a:pt x="2340" y="2993"/>
                  </a:moveTo>
                  <a:cubicBezTo>
                    <a:pt x="2618" y="2993"/>
                    <a:pt x="2897" y="3021"/>
                    <a:pt x="3151" y="3049"/>
                  </a:cubicBezTo>
                  <a:cubicBezTo>
                    <a:pt x="3025" y="3522"/>
                    <a:pt x="2899" y="3994"/>
                    <a:pt x="2867" y="4593"/>
                  </a:cubicBezTo>
                  <a:cubicBezTo>
                    <a:pt x="2457" y="4908"/>
                    <a:pt x="2048" y="5223"/>
                    <a:pt x="1670" y="5569"/>
                  </a:cubicBezTo>
                  <a:cubicBezTo>
                    <a:pt x="1040" y="4782"/>
                    <a:pt x="473" y="3616"/>
                    <a:pt x="1355" y="3175"/>
                  </a:cubicBezTo>
                  <a:cubicBezTo>
                    <a:pt x="1651" y="3036"/>
                    <a:pt x="1995" y="2993"/>
                    <a:pt x="2340" y="2993"/>
                  </a:cubicBezTo>
                  <a:close/>
                  <a:moveTo>
                    <a:pt x="8935" y="3013"/>
                  </a:moveTo>
                  <a:cubicBezTo>
                    <a:pt x="9678" y="3013"/>
                    <a:pt x="10397" y="3218"/>
                    <a:pt x="10397" y="3868"/>
                  </a:cubicBezTo>
                  <a:cubicBezTo>
                    <a:pt x="10397" y="4435"/>
                    <a:pt x="9956" y="5097"/>
                    <a:pt x="9609" y="5569"/>
                  </a:cubicBezTo>
                  <a:cubicBezTo>
                    <a:pt x="9294" y="5254"/>
                    <a:pt x="8884" y="4908"/>
                    <a:pt x="8412" y="4593"/>
                  </a:cubicBezTo>
                  <a:cubicBezTo>
                    <a:pt x="8349" y="4089"/>
                    <a:pt x="8254" y="3553"/>
                    <a:pt x="8160" y="3080"/>
                  </a:cubicBezTo>
                  <a:cubicBezTo>
                    <a:pt x="8400" y="3039"/>
                    <a:pt x="8669" y="3013"/>
                    <a:pt x="8935" y="3013"/>
                  </a:cubicBezTo>
                  <a:close/>
                  <a:moveTo>
                    <a:pt x="8538" y="5695"/>
                  </a:moveTo>
                  <a:cubicBezTo>
                    <a:pt x="8727" y="5853"/>
                    <a:pt x="8884" y="6010"/>
                    <a:pt x="9042" y="6168"/>
                  </a:cubicBezTo>
                  <a:cubicBezTo>
                    <a:pt x="8884" y="6325"/>
                    <a:pt x="8695" y="6483"/>
                    <a:pt x="8538" y="6640"/>
                  </a:cubicBezTo>
                  <a:lnTo>
                    <a:pt x="8538" y="5695"/>
                  </a:lnTo>
                  <a:close/>
                  <a:moveTo>
                    <a:pt x="2741" y="5727"/>
                  </a:moveTo>
                  <a:lnTo>
                    <a:pt x="2741" y="6672"/>
                  </a:lnTo>
                  <a:cubicBezTo>
                    <a:pt x="2552" y="6514"/>
                    <a:pt x="2394" y="6357"/>
                    <a:pt x="2237" y="6199"/>
                  </a:cubicBezTo>
                  <a:cubicBezTo>
                    <a:pt x="2426" y="6010"/>
                    <a:pt x="2583" y="5884"/>
                    <a:pt x="2741" y="5727"/>
                  </a:cubicBezTo>
                  <a:close/>
                  <a:moveTo>
                    <a:pt x="5671" y="3837"/>
                  </a:moveTo>
                  <a:cubicBezTo>
                    <a:pt x="6364" y="4152"/>
                    <a:pt x="7026" y="4561"/>
                    <a:pt x="7656" y="5002"/>
                  </a:cubicBezTo>
                  <a:cubicBezTo>
                    <a:pt x="7750" y="5821"/>
                    <a:pt x="7750" y="6609"/>
                    <a:pt x="7656" y="7334"/>
                  </a:cubicBezTo>
                  <a:cubicBezTo>
                    <a:pt x="7026" y="7775"/>
                    <a:pt x="6364" y="8184"/>
                    <a:pt x="5671" y="8531"/>
                  </a:cubicBezTo>
                  <a:cubicBezTo>
                    <a:pt x="4946" y="8216"/>
                    <a:pt x="4285" y="7806"/>
                    <a:pt x="3655" y="7334"/>
                  </a:cubicBezTo>
                  <a:cubicBezTo>
                    <a:pt x="3560" y="6609"/>
                    <a:pt x="3560" y="5821"/>
                    <a:pt x="3655" y="5002"/>
                  </a:cubicBezTo>
                  <a:cubicBezTo>
                    <a:pt x="3970" y="4782"/>
                    <a:pt x="4285" y="4593"/>
                    <a:pt x="4631" y="4404"/>
                  </a:cubicBezTo>
                  <a:cubicBezTo>
                    <a:pt x="4978" y="4183"/>
                    <a:pt x="5356" y="3994"/>
                    <a:pt x="5671" y="3837"/>
                  </a:cubicBezTo>
                  <a:close/>
                  <a:moveTo>
                    <a:pt x="3781" y="8436"/>
                  </a:moveTo>
                  <a:lnTo>
                    <a:pt x="3781" y="8436"/>
                  </a:lnTo>
                  <a:cubicBezTo>
                    <a:pt x="3907" y="8531"/>
                    <a:pt x="4033" y="8594"/>
                    <a:pt x="4222" y="8688"/>
                  </a:cubicBezTo>
                  <a:cubicBezTo>
                    <a:pt x="4241" y="8641"/>
                    <a:pt x="4248" y="8625"/>
                    <a:pt x="4250" y="8625"/>
                  </a:cubicBezTo>
                  <a:lnTo>
                    <a:pt x="4250" y="8625"/>
                  </a:lnTo>
                  <a:cubicBezTo>
                    <a:pt x="4252" y="8625"/>
                    <a:pt x="4233" y="8679"/>
                    <a:pt x="4225" y="8690"/>
                  </a:cubicBezTo>
                  <a:lnTo>
                    <a:pt x="4225" y="8690"/>
                  </a:lnTo>
                  <a:cubicBezTo>
                    <a:pt x="4224" y="8689"/>
                    <a:pt x="4223" y="8689"/>
                    <a:pt x="4222" y="8688"/>
                  </a:cubicBezTo>
                  <a:lnTo>
                    <a:pt x="4222" y="8688"/>
                  </a:lnTo>
                  <a:cubicBezTo>
                    <a:pt x="4222" y="8691"/>
                    <a:pt x="4222" y="8692"/>
                    <a:pt x="4223" y="8692"/>
                  </a:cubicBezTo>
                  <a:cubicBezTo>
                    <a:pt x="4223" y="8692"/>
                    <a:pt x="4224" y="8691"/>
                    <a:pt x="4225" y="8690"/>
                  </a:cubicBezTo>
                  <a:lnTo>
                    <a:pt x="4225" y="8690"/>
                  </a:lnTo>
                  <a:cubicBezTo>
                    <a:pt x="4350" y="8753"/>
                    <a:pt x="4475" y="8846"/>
                    <a:pt x="4631" y="8909"/>
                  </a:cubicBezTo>
                  <a:cubicBezTo>
                    <a:pt x="4411" y="9003"/>
                    <a:pt x="4159" y="9066"/>
                    <a:pt x="3970" y="9129"/>
                  </a:cubicBezTo>
                  <a:cubicBezTo>
                    <a:pt x="3907" y="8909"/>
                    <a:pt x="3844" y="8688"/>
                    <a:pt x="3781" y="8436"/>
                  </a:cubicBezTo>
                  <a:close/>
                  <a:moveTo>
                    <a:pt x="7498" y="8499"/>
                  </a:moveTo>
                  <a:cubicBezTo>
                    <a:pt x="7467" y="8688"/>
                    <a:pt x="7435" y="8909"/>
                    <a:pt x="7341" y="9161"/>
                  </a:cubicBezTo>
                  <a:cubicBezTo>
                    <a:pt x="7120" y="9066"/>
                    <a:pt x="6868" y="9035"/>
                    <a:pt x="6679" y="8972"/>
                  </a:cubicBezTo>
                  <a:cubicBezTo>
                    <a:pt x="6994" y="8814"/>
                    <a:pt x="7278" y="8625"/>
                    <a:pt x="7498" y="8499"/>
                  </a:cubicBezTo>
                  <a:close/>
                  <a:moveTo>
                    <a:pt x="1638" y="6798"/>
                  </a:moveTo>
                  <a:cubicBezTo>
                    <a:pt x="1985" y="7145"/>
                    <a:pt x="2394" y="7491"/>
                    <a:pt x="2836" y="7775"/>
                  </a:cubicBezTo>
                  <a:cubicBezTo>
                    <a:pt x="2899" y="8279"/>
                    <a:pt x="2993" y="8814"/>
                    <a:pt x="3088" y="9287"/>
                  </a:cubicBezTo>
                  <a:cubicBezTo>
                    <a:pt x="2848" y="9347"/>
                    <a:pt x="2583" y="9369"/>
                    <a:pt x="2309" y="9369"/>
                  </a:cubicBezTo>
                  <a:cubicBezTo>
                    <a:pt x="2150" y="9369"/>
                    <a:pt x="1989" y="9361"/>
                    <a:pt x="1827" y="9350"/>
                  </a:cubicBezTo>
                  <a:cubicBezTo>
                    <a:pt x="1103" y="9224"/>
                    <a:pt x="725" y="8846"/>
                    <a:pt x="945" y="8090"/>
                  </a:cubicBezTo>
                  <a:cubicBezTo>
                    <a:pt x="1040" y="7649"/>
                    <a:pt x="1323" y="7239"/>
                    <a:pt x="1638" y="6798"/>
                  </a:cubicBezTo>
                  <a:close/>
                  <a:moveTo>
                    <a:pt x="9641" y="6830"/>
                  </a:moveTo>
                  <a:cubicBezTo>
                    <a:pt x="9987" y="7271"/>
                    <a:pt x="10428" y="7932"/>
                    <a:pt x="10428" y="8531"/>
                  </a:cubicBezTo>
                  <a:cubicBezTo>
                    <a:pt x="10405" y="9192"/>
                    <a:pt x="9707" y="9391"/>
                    <a:pt x="8988" y="9391"/>
                  </a:cubicBezTo>
                  <a:cubicBezTo>
                    <a:pt x="8713" y="9391"/>
                    <a:pt x="8435" y="9362"/>
                    <a:pt x="8191" y="9318"/>
                  </a:cubicBezTo>
                  <a:cubicBezTo>
                    <a:pt x="8286" y="8846"/>
                    <a:pt x="8412" y="8373"/>
                    <a:pt x="8443" y="7806"/>
                  </a:cubicBezTo>
                  <a:cubicBezTo>
                    <a:pt x="8853" y="7491"/>
                    <a:pt x="9294" y="7176"/>
                    <a:pt x="9641" y="6830"/>
                  </a:cubicBezTo>
                  <a:close/>
                  <a:moveTo>
                    <a:pt x="5671" y="9444"/>
                  </a:moveTo>
                  <a:cubicBezTo>
                    <a:pt x="6144" y="9633"/>
                    <a:pt x="6616" y="9822"/>
                    <a:pt x="7120" y="9948"/>
                  </a:cubicBezTo>
                  <a:cubicBezTo>
                    <a:pt x="6868" y="10453"/>
                    <a:pt x="6522" y="11177"/>
                    <a:pt x="6049" y="11429"/>
                  </a:cubicBezTo>
                  <a:cubicBezTo>
                    <a:pt x="5909" y="11527"/>
                    <a:pt x="5782" y="11569"/>
                    <a:pt x="5659" y="11569"/>
                  </a:cubicBezTo>
                  <a:cubicBezTo>
                    <a:pt x="5504" y="11569"/>
                    <a:pt x="5356" y="11503"/>
                    <a:pt x="5198" y="11398"/>
                  </a:cubicBezTo>
                  <a:cubicBezTo>
                    <a:pt x="4757" y="11083"/>
                    <a:pt x="4411" y="10453"/>
                    <a:pt x="4222" y="9948"/>
                  </a:cubicBezTo>
                  <a:cubicBezTo>
                    <a:pt x="4694" y="9822"/>
                    <a:pt x="5198" y="9633"/>
                    <a:pt x="5671" y="9444"/>
                  </a:cubicBezTo>
                  <a:close/>
                  <a:moveTo>
                    <a:pt x="5689" y="1"/>
                  </a:moveTo>
                  <a:cubicBezTo>
                    <a:pt x="5142" y="1"/>
                    <a:pt x="4663" y="283"/>
                    <a:pt x="4285" y="686"/>
                  </a:cubicBezTo>
                  <a:cubicBezTo>
                    <a:pt x="3907" y="1127"/>
                    <a:pt x="3623" y="1663"/>
                    <a:pt x="3434" y="2261"/>
                  </a:cubicBezTo>
                  <a:cubicBezTo>
                    <a:pt x="3054" y="2197"/>
                    <a:pt x="2712" y="2168"/>
                    <a:pt x="2405" y="2168"/>
                  </a:cubicBezTo>
                  <a:cubicBezTo>
                    <a:pt x="753" y="2168"/>
                    <a:pt x="126" y="3018"/>
                    <a:pt x="126" y="3868"/>
                  </a:cubicBezTo>
                  <a:cubicBezTo>
                    <a:pt x="126" y="4687"/>
                    <a:pt x="630" y="5538"/>
                    <a:pt x="1166" y="6168"/>
                  </a:cubicBezTo>
                  <a:cubicBezTo>
                    <a:pt x="788" y="6640"/>
                    <a:pt x="441" y="7176"/>
                    <a:pt x="221" y="7775"/>
                  </a:cubicBezTo>
                  <a:cubicBezTo>
                    <a:pt x="0" y="8499"/>
                    <a:pt x="126" y="9224"/>
                    <a:pt x="693" y="9696"/>
                  </a:cubicBezTo>
                  <a:cubicBezTo>
                    <a:pt x="1155" y="10078"/>
                    <a:pt x="1784" y="10204"/>
                    <a:pt x="2416" y="10204"/>
                  </a:cubicBezTo>
                  <a:cubicBezTo>
                    <a:pt x="2775" y="10204"/>
                    <a:pt x="3135" y="10163"/>
                    <a:pt x="3466" y="10106"/>
                  </a:cubicBezTo>
                  <a:lnTo>
                    <a:pt x="3812" y="10925"/>
                  </a:lnTo>
                  <a:cubicBezTo>
                    <a:pt x="4442" y="12059"/>
                    <a:pt x="5135" y="12374"/>
                    <a:pt x="5702" y="12374"/>
                  </a:cubicBezTo>
                  <a:cubicBezTo>
                    <a:pt x="6837" y="12374"/>
                    <a:pt x="7593" y="11177"/>
                    <a:pt x="8002" y="10106"/>
                  </a:cubicBezTo>
                  <a:cubicBezTo>
                    <a:pt x="8317" y="10159"/>
                    <a:pt x="8660" y="10194"/>
                    <a:pt x="9004" y="10194"/>
                  </a:cubicBezTo>
                  <a:cubicBezTo>
                    <a:pt x="9690" y="10194"/>
                    <a:pt x="10376" y="10054"/>
                    <a:pt x="10838" y="9633"/>
                  </a:cubicBezTo>
                  <a:cubicBezTo>
                    <a:pt x="11310" y="9161"/>
                    <a:pt x="11373" y="8531"/>
                    <a:pt x="11216" y="7901"/>
                  </a:cubicBezTo>
                  <a:cubicBezTo>
                    <a:pt x="10995" y="7302"/>
                    <a:pt x="10617" y="6703"/>
                    <a:pt x="10208" y="6199"/>
                  </a:cubicBezTo>
                  <a:cubicBezTo>
                    <a:pt x="10838" y="5443"/>
                    <a:pt x="11405" y="4435"/>
                    <a:pt x="11184" y="3490"/>
                  </a:cubicBezTo>
                  <a:cubicBezTo>
                    <a:pt x="10995" y="2765"/>
                    <a:pt x="10397" y="2387"/>
                    <a:pt x="9641" y="2230"/>
                  </a:cubicBezTo>
                  <a:cubicBezTo>
                    <a:pt x="9406" y="2175"/>
                    <a:pt x="9153" y="2150"/>
                    <a:pt x="8895" y="2150"/>
                  </a:cubicBezTo>
                  <a:cubicBezTo>
                    <a:pt x="8565" y="2150"/>
                    <a:pt x="8226" y="2191"/>
                    <a:pt x="7908" y="2261"/>
                  </a:cubicBezTo>
                  <a:cubicBezTo>
                    <a:pt x="7593" y="1348"/>
                    <a:pt x="6994" y="340"/>
                    <a:pt x="6112" y="56"/>
                  </a:cubicBezTo>
                  <a:cubicBezTo>
                    <a:pt x="5967" y="18"/>
                    <a:pt x="5826" y="1"/>
                    <a:pt x="56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89" name="Google Shape;6389;p72"/>
            <p:cNvSpPr/>
            <p:nvPr/>
          </p:nvSpPr>
          <p:spPr>
            <a:xfrm>
              <a:off x="-42667700" y="2443600"/>
              <a:ext cx="62250" cy="61475"/>
            </a:xfrm>
            <a:custGeom>
              <a:avLst/>
              <a:gdLst/>
              <a:ahLst/>
              <a:cxnLst/>
              <a:rect l="l" t="t" r="r" b="b"/>
              <a:pathLst>
                <a:path w="2490" h="2459" extrusionOk="0">
                  <a:moveTo>
                    <a:pt x="1249" y="858"/>
                  </a:moveTo>
                  <a:cubicBezTo>
                    <a:pt x="1468" y="858"/>
                    <a:pt x="1639" y="1027"/>
                    <a:pt x="1639" y="1260"/>
                  </a:cubicBezTo>
                  <a:cubicBezTo>
                    <a:pt x="1607" y="1418"/>
                    <a:pt x="1481" y="1575"/>
                    <a:pt x="1323" y="1670"/>
                  </a:cubicBezTo>
                  <a:cubicBezTo>
                    <a:pt x="1285" y="1681"/>
                    <a:pt x="1248" y="1686"/>
                    <a:pt x="1211" y="1686"/>
                  </a:cubicBezTo>
                  <a:cubicBezTo>
                    <a:pt x="1040" y="1686"/>
                    <a:pt x="897" y="1569"/>
                    <a:pt x="819" y="1386"/>
                  </a:cubicBezTo>
                  <a:cubicBezTo>
                    <a:pt x="756" y="1134"/>
                    <a:pt x="851" y="945"/>
                    <a:pt x="1103" y="882"/>
                  </a:cubicBezTo>
                  <a:cubicBezTo>
                    <a:pt x="1153" y="866"/>
                    <a:pt x="1202" y="858"/>
                    <a:pt x="1249" y="858"/>
                  </a:cubicBezTo>
                  <a:close/>
                  <a:moveTo>
                    <a:pt x="1229" y="0"/>
                  </a:moveTo>
                  <a:cubicBezTo>
                    <a:pt x="567" y="0"/>
                    <a:pt x="0" y="567"/>
                    <a:pt x="0" y="1229"/>
                  </a:cubicBezTo>
                  <a:cubicBezTo>
                    <a:pt x="0" y="1874"/>
                    <a:pt x="509" y="2459"/>
                    <a:pt x="1177" y="2459"/>
                  </a:cubicBezTo>
                  <a:cubicBezTo>
                    <a:pt x="1194" y="2459"/>
                    <a:pt x="1211" y="2458"/>
                    <a:pt x="1229" y="2458"/>
                  </a:cubicBezTo>
                  <a:cubicBezTo>
                    <a:pt x="1891" y="2458"/>
                    <a:pt x="2489" y="1891"/>
                    <a:pt x="2489" y="1229"/>
                  </a:cubicBezTo>
                  <a:cubicBezTo>
                    <a:pt x="2426" y="567"/>
                    <a:pt x="1891"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390" name="Google Shape;6390;p72"/>
          <p:cNvGrpSpPr/>
          <p:nvPr/>
        </p:nvGrpSpPr>
        <p:grpSpPr>
          <a:xfrm>
            <a:off x="1693173" y="3244816"/>
            <a:ext cx="500788" cy="499571"/>
            <a:chOff x="-42796875" y="2680675"/>
            <a:chExt cx="319000" cy="318225"/>
          </a:xfrm>
        </p:grpSpPr>
        <p:sp>
          <p:nvSpPr>
            <p:cNvPr id="6391" name="Google Shape;6391;p72"/>
            <p:cNvSpPr/>
            <p:nvPr/>
          </p:nvSpPr>
          <p:spPr>
            <a:xfrm>
              <a:off x="-42671650" y="2853950"/>
              <a:ext cx="70125" cy="21275"/>
            </a:xfrm>
            <a:custGeom>
              <a:avLst/>
              <a:gdLst/>
              <a:ahLst/>
              <a:cxnLst/>
              <a:rect l="l" t="t" r="r" b="b"/>
              <a:pathLst>
                <a:path w="2805" h="851" extrusionOk="0">
                  <a:moveTo>
                    <a:pt x="442" y="0"/>
                  </a:moveTo>
                  <a:cubicBezTo>
                    <a:pt x="190" y="0"/>
                    <a:pt x="1" y="221"/>
                    <a:pt x="1" y="410"/>
                  </a:cubicBezTo>
                  <a:cubicBezTo>
                    <a:pt x="1" y="630"/>
                    <a:pt x="190" y="851"/>
                    <a:pt x="442" y="851"/>
                  </a:cubicBezTo>
                  <a:lnTo>
                    <a:pt x="2364" y="851"/>
                  </a:lnTo>
                  <a:cubicBezTo>
                    <a:pt x="2616" y="851"/>
                    <a:pt x="2773" y="630"/>
                    <a:pt x="2773" y="410"/>
                  </a:cubicBezTo>
                  <a:cubicBezTo>
                    <a:pt x="2805" y="221"/>
                    <a:pt x="2584" y="0"/>
                    <a:pt x="2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2" name="Google Shape;6392;p72"/>
            <p:cNvSpPr/>
            <p:nvPr/>
          </p:nvSpPr>
          <p:spPr>
            <a:xfrm>
              <a:off x="-42671650" y="2895675"/>
              <a:ext cx="70125" cy="20525"/>
            </a:xfrm>
            <a:custGeom>
              <a:avLst/>
              <a:gdLst/>
              <a:ahLst/>
              <a:cxnLst/>
              <a:rect l="l" t="t" r="r" b="b"/>
              <a:pathLst>
                <a:path w="2805" h="821" extrusionOk="0">
                  <a:moveTo>
                    <a:pt x="442" y="1"/>
                  </a:moveTo>
                  <a:cubicBezTo>
                    <a:pt x="190" y="1"/>
                    <a:pt x="1" y="190"/>
                    <a:pt x="1" y="442"/>
                  </a:cubicBezTo>
                  <a:cubicBezTo>
                    <a:pt x="1" y="663"/>
                    <a:pt x="190" y="820"/>
                    <a:pt x="442" y="820"/>
                  </a:cubicBezTo>
                  <a:lnTo>
                    <a:pt x="2364" y="820"/>
                  </a:lnTo>
                  <a:cubicBezTo>
                    <a:pt x="2616" y="820"/>
                    <a:pt x="2773" y="631"/>
                    <a:pt x="2773" y="442"/>
                  </a:cubicBezTo>
                  <a:cubicBezTo>
                    <a:pt x="2805" y="190"/>
                    <a:pt x="2584" y="1"/>
                    <a:pt x="2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3" name="Google Shape;6393;p72"/>
            <p:cNvSpPr/>
            <p:nvPr/>
          </p:nvSpPr>
          <p:spPr>
            <a:xfrm>
              <a:off x="-42796875" y="2680675"/>
              <a:ext cx="319000" cy="318225"/>
            </a:xfrm>
            <a:custGeom>
              <a:avLst/>
              <a:gdLst/>
              <a:ahLst/>
              <a:cxnLst/>
              <a:rect l="l" t="t" r="r" b="b"/>
              <a:pathLst>
                <a:path w="12760" h="12729" extrusionOk="0">
                  <a:moveTo>
                    <a:pt x="9011" y="882"/>
                  </a:moveTo>
                  <a:cubicBezTo>
                    <a:pt x="9168" y="882"/>
                    <a:pt x="9357" y="914"/>
                    <a:pt x="9483" y="945"/>
                  </a:cubicBezTo>
                  <a:cubicBezTo>
                    <a:pt x="9799" y="1071"/>
                    <a:pt x="10051" y="1355"/>
                    <a:pt x="10177" y="1701"/>
                  </a:cubicBezTo>
                  <a:lnTo>
                    <a:pt x="2615" y="1701"/>
                  </a:lnTo>
                  <a:cubicBezTo>
                    <a:pt x="2804" y="1229"/>
                    <a:pt x="3245" y="882"/>
                    <a:pt x="3781" y="882"/>
                  </a:cubicBezTo>
                  <a:close/>
                  <a:moveTo>
                    <a:pt x="1733" y="3623"/>
                  </a:moveTo>
                  <a:lnTo>
                    <a:pt x="1733" y="5293"/>
                  </a:lnTo>
                  <a:lnTo>
                    <a:pt x="914" y="5293"/>
                  </a:lnTo>
                  <a:lnTo>
                    <a:pt x="914" y="3623"/>
                  </a:lnTo>
                  <a:close/>
                  <a:moveTo>
                    <a:pt x="11941" y="3623"/>
                  </a:moveTo>
                  <a:lnTo>
                    <a:pt x="11941" y="5293"/>
                  </a:lnTo>
                  <a:lnTo>
                    <a:pt x="11122" y="5293"/>
                  </a:lnTo>
                  <a:lnTo>
                    <a:pt x="11122" y="3623"/>
                  </a:lnTo>
                  <a:close/>
                  <a:moveTo>
                    <a:pt x="10240" y="2521"/>
                  </a:moveTo>
                  <a:lnTo>
                    <a:pt x="10240" y="5316"/>
                  </a:lnTo>
                  <a:lnTo>
                    <a:pt x="10240" y="5316"/>
                  </a:lnTo>
                  <a:cubicBezTo>
                    <a:pt x="10144" y="5293"/>
                    <a:pt x="10003" y="5293"/>
                    <a:pt x="9862" y="5293"/>
                  </a:cubicBezTo>
                  <a:lnTo>
                    <a:pt x="6932" y="5293"/>
                  </a:lnTo>
                  <a:lnTo>
                    <a:pt x="6932" y="2521"/>
                  </a:lnTo>
                  <a:close/>
                  <a:moveTo>
                    <a:pt x="6144" y="2521"/>
                  </a:moveTo>
                  <a:lnTo>
                    <a:pt x="6144" y="5293"/>
                  </a:lnTo>
                  <a:lnTo>
                    <a:pt x="2962" y="5293"/>
                  </a:lnTo>
                  <a:cubicBezTo>
                    <a:pt x="2804" y="5293"/>
                    <a:pt x="2678" y="5293"/>
                    <a:pt x="2552" y="5324"/>
                  </a:cubicBezTo>
                  <a:lnTo>
                    <a:pt x="2552" y="2521"/>
                  </a:lnTo>
                  <a:close/>
                  <a:moveTo>
                    <a:pt x="9893" y="6207"/>
                  </a:moveTo>
                  <a:cubicBezTo>
                    <a:pt x="10555" y="6207"/>
                    <a:pt x="11122" y="6742"/>
                    <a:pt x="11122" y="7404"/>
                  </a:cubicBezTo>
                  <a:lnTo>
                    <a:pt x="11122" y="9861"/>
                  </a:lnTo>
                  <a:cubicBezTo>
                    <a:pt x="11122" y="10019"/>
                    <a:pt x="11027" y="10145"/>
                    <a:pt x="10933" y="10208"/>
                  </a:cubicBezTo>
                  <a:cubicBezTo>
                    <a:pt x="10838" y="10239"/>
                    <a:pt x="10775" y="10302"/>
                    <a:pt x="10681" y="10302"/>
                  </a:cubicBezTo>
                  <a:lnTo>
                    <a:pt x="2143" y="10302"/>
                  </a:lnTo>
                  <a:cubicBezTo>
                    <a:pt x="1922" y="10302"/>
                    <a:pt x="1796" y="10176"/>
                    <a:pt x="1733" y="10019"/>
                  </a:cubicBezTo>
                  <a:cubicBezTo>
                    <a:pt x="1702" y="9924"/>
                    <a:pt x="1733" y="10050"/>
                    <a:pt x="1733" y="8254"/>
                  </a:cubicBezTo>
                  <a:lnTo>
                    <a:pt x="1733" y="7404"/>
                  </a:lnTo>
                  <a:cubicBezTo>
                    <a:pt x="1733" y="6994"/>
                    <a:pt x="1922" y="6616"/>
                    <a:pt x="2300" y="6396"/>
                  </a:cubicBezTo>
                  <a:cubicBezTo>
                    <a:pt x="2489" y="6270"/>
                    <a:pt x="2710" y="6207"/>
                    <a:pt x="2993" y="6207"/>
                  </a:cubicBezTo>
                  <a:close/>
                  <a:moveTo>
                    <a:pt x="3403" y="11090"/>
                  </a:moveTo>
                  <a:lnTo>
                    <a:pt x="3403" y="11909"/>
                  </a:lnTo>
                  <a:lnTo>
                    <a:pt x="2552" y="11909"/>
                  </a:lnTo>
                  <a:lnTo>
                    <a:pt x="2552" y="11090"/>
                  </a:lnTo>
                  <a:close/>
                  <a:moveTo>
                    <a:pt x="10271" y="11090"/>
                  </a:moveTo>
                  <a:lnTo>
                    <a:pt x="10271" y="11909"/>
                  </a:lnTo>
                  <a:lnTo>
                    <a:pt x="9452" y="11909"/>
                  </a:lnTo>
                  <a:lnTo>
                    <a:pt x="9452" y="11090"/>
                  </a:lnTo>
                  <a:close/>
                  <a:moveTo>
                    <a:pt x="3750" y="0"/>
                  </a:moveTo>
                  <a:cubicBezTo>
                    <a:pt x="2615" y="0"/>
                    <a:pt x="1670" y="945"/>
                    <a:pt x="1670" y="2079"/>
                  </a:cubicBezTo>
                  <a:lnTo>
                    <a:pt x="1670" y="2804"/>
                  </a:lnTo>
                  <a:lnTo>
                    <a:pt x="442" y="2804"/>
                  </a:lnTo>
                  <a:cubicBezTo>
                    <a:pt x="190" y="2804"/>
                    <a:pt x="0" y="2993"/>
                    <a:pt x="0" y="3214"/>
                  </a:cubicBezTo>
                  <a:lnTo>
                    <a:pt x="0" y="5671"/>
                  </a:lnTo>
                  <a:cubicBezTo>
                    <a:pt x="0" y="5923"/>
                    <a:pt x="190" y="6112"/>
                    <a:pt x="442" y="6112"/>
                  </a:cubicBezTo>
                  <a:lnTo>
                    <a:pt x="1261" y="6112"/>
                  </a:lnTo>
                  <a:cubicBezTo>
                    <a:pt x="977" y="6459"/>
                    <a:pt x="820" y="6900"/>
                    <a:pt x="820" y="7341"/>
                  </a:cubicBezTo>
                  <a:lnTo>
                    <a:pt x="820" y="9830"/>
                  </a:lnTo>
                  <a:cubicBezTo>
                    <a:pt x="820" y="10365"/>
                    <a:pt x="1198" y="10806"/>
                    <a:pt x="1670" y="10995"/>
                  </a:cubicBezTo>
                  <a:lnTo>
                    <a:pt x="1670" y="12287"/>
                  </a:lnTo>
                  <a:cubicBezTo>
                    <a:pt x="1670" y="12539"/>
                    <a:pt x="1859" y="12728"/>
                    <a:pt x="2048" y="12728"/>
                  </a:cubicBezTo>
                  <a:lnTo>
                    <a:pt x="3718" y="12728"/>
                  </a:lnTo>
                  <a:cubicBezTo>
                    <a:pt x="3939" y="12728"/>
                    <a:pt x="4096" y="12539"/>
                    <a:pt x="4096" y="12287"/>
                  </a:cubicBezTo>
                  <a:lnTo>
                    <a:pt x="4096" y="11090"/>
                  </a:lnTo>
                  <a:lnTo>
                    <a:pt x="8507" y="11090"/>
                  </a:lnTo>
                  <a:lnTo>
                    <a:pt x="8507" y="12287"/>
                  </a:lnTo>
                  <a:cubicBezTo>
                    <a:pt x="8507" y="12539"/>
                    <a:pt x="8696" y="12728"/>
                    <a:pt x="8916" y="12728"/>
                  </a:cubicBezTo>
                  <a:lnTo>
                    <a:pt x="10555" y="12728"/>
                  </a:lnTo>
                  <a:cubicBezTo>
                    <a:pt x="10807" y="12728"/>
                    <a:pt x="10964" y="12539"/>
                    <a:pt x="10964" y="12287"/>
                  </a:cubicBezTo>
                  <a:lnTo>
                    <a:pt x="10964" y="10995"/>
                  </a:lnTo>
                  <a:cubicBezTo>
                    <a:pt x="11468" y="10838"/>
                    <a:pt x="11783" y="10365"/>
                    <a:pt x="11783" y="9830"/>
                  </a:cubicBezTo>
                  <a:lnTo>
                    <a:pt x="11783" y="7341"/>
                  </a:lnTo>
                  <a:cubicBezTo>
                    <a:pt x="11783" y="6868"/>
                    <a:pt x="11626" y="6427"/>
                    <a:pt x="11374" y="6112"/>
                  </a:cubicBezTo>
                  <a:lnTo>
                    <a:pt x="12224" y="6112"/>
                  </a:lnTo>
                  <a:cubicBezTo>
                    <a:pt x="12445" y="6112"/>
                    <a:pt x="12602" y="5923"/>
                    <a:pt x="12602" y="5671"/>
                  </a:cubicBezTo>
                  <a:lnTo>
                    <a:pt x="12602" y="3214"/>
                  </a:lnTo>
                  <a:cubicBezTo>
                    <a:pt x="12760" y="2993"/>
                    <a:pt x="12571" y="2804"/>
                    <a:pt x="12319" y="2804"/>
                  </a:cubicBezTo>
                  <a:lnTo>
                    <a:pt x="11059" y="2804"/>
                  </a:lnTo>
                  <a:lnTo>
                    <a:pt x="11059" y="2079"/>
                  </a:lnTo>
                  <a:cubicBezTo>
                    <a:pt x="11059" y="945"/>
                    <a:pt x="10145" y="0"/>
                    <a:pt x="89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4" name="Google Shape;6394;p72"/>
            <p:cNvSpPr/>
            <p:nvPr/>
          </p:nvSpPr>
          <p:spPr>
            <a:xfrm>
              <a:off x="-42753550" y="2854500"/>
              <a:ext cx="63825" cy="61700"/>
            </a:xfrm>
            <a:custGeom>
              <a:avLst/>
              <a:gdLst/>
              <a:ahLst/>
              <a:cxnLst/>
              <a:rect l="l" t="t" r="r" b="b"/>
              <a:pathLst>
                <a:path w="2553" h="2468" extrusionOk="0">
                  <a:moveTo>
                    <a:pt x="1263" y="829"/>
                  </a:moveTo>
                  <a:cubicBezTo>
                    <a:pt x="1435" y="829"/>
                    <a:pt x="1565" y="949"/>
                    <a:pt x="1639" y="1144"/>
                  </a:cubicBezTo>
                  <a:cubicBezTo>
                    <a:pt x="1718" y="1410"/>
                    <a:pt x="1483" y="1676"/>
                    <a:pt x="1218" y="1676"/>
                  </a:cubicBezTo>
                  <a:cubicBezTo>
                    <a:pt x="1170" y="1676"/>
                    <a:pt x="1120" y="1668"/>
                    <a:pt x="1071" y="1648"/>
                  </a:cubicBezTo>
                  <a:cubicBezTo>
                    <a:pt x="945" y="1616"/>
                    <a:pt x="882" y="1490"/>
                    <a:pt x="851" y="1364"/>
                  </a:cubicBezTo>
                  <a:cubicBezTo>
                    <a:pt x="756" y="1144"/>
                    <a:pt x="914" y="892"/>
                    <a:pt x="1103" y="860"/>
                  </a:cubicBezTo>
                  <a:cubicBezTo>
                    <a:pt x="1160" y="839"/>
                    <a:pt x="1213" y="829"/>
                    <a:pt x="1263" y="829"/>
                  </a:cubicBezTo>
                  <a:close/>
                  <a:moveTo>
                    <a:pt x="1234" y="0"/>
                  </a:moveTo>
                  <a:cubicBezTo>
                    <a:pt x="841" y="0"/>
                    <a:pt x="443" y="194"/>
                    <a:pt x="189" y="545"/>
                  </a:cubicBezTo>
                  <a:cubicBezTo>
                    <a:pt x="95" y="734"/>
                    <a:pt x="0" y="986"/>
                    <a:pt x="0" y="1238"/>
                  </a:cubicBezTo>
                  <a:cubicBezTo>
                    <a:pt x="0" y="1932"/>
                    <a:pt x="567" y="2467"/>
                    <a:pt x="1229" y="2467"/>
                  </a:cubicBezTo>
                  <a:cubicBezTo>
                    <a:pt x="1765" y="2467"/>
                    <a:pt x="2237" y="2121"/>
                    <a:pt x="2395" y="1616"/>
                  </a:cubicBezTo>
                  <a:cubicBezTo>
                    <a:pt x="2552" y="1081"/>
                    <a:pt x="2363" y="514"/>
                    <a:pt x="1922" y="230"/>
                  </a:cubicBezTo>
                  <a:cubicBezTo>
                    <a:pt x="1718" y="74"/>
                    <a:pt x="1477" y="0"/>
                    <a:pt x="12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5" name="Google Shape;6395;p72"/>
            <p:cNvSpPr/>
            <p:nvPr/>
          </p:nvSpPr>
          <p:spPr>
            <a:xfrm>
              <a:off x="-42581850" y="2853950"/>
              <a:ext cx="63025" cy="61475"/>
            </a:xfrm>
            <a:custGeom>
              <a:avLst/>
              <a:gdLst/>
              <a:ahLst/>
              <a:cxnLst/>
              <a:rect l="l" t="t" r="r" b="b"/>
              <a:pathLst>
                <a:path w="2521" h="2459" extrusionOk="0">
                  <a:moveTo>
                    <a:pt x="1269" y="860"/>
                  </a:moveTo>
                  <a:cubicBezTo>
                    <a:pt x="1493" y="860"/>
                    <a:pt x="1670" y="1049"/>
                    <a:pt x="1670" y="1260"/>
                  </a:cubicBezTo>
                  <a:cubicBezTo>
                    <a:pt x="1670" y="1481"/>
                    <a:pt x="1576" y="1638"/>
                    <a:pt x="1355" y="1670"/>
                  </a:cubicBezTo>
                  <a:cubicBezTo>
                    <a:pt x="1311" y="1683"/>
                    <a:pt x="1268" y="1689"/>
                    <a:pt x="1227" y="1689"/>
                  </a:cubicBezTo>
                  <a:cubicBezTo>
                    <a:pt x="1063" y="1689"/>
                    <a:pt x="927" y="1588"/>
                    <a:pt x="851" y="1386"/>
                  </a:cubicBezTo>
                  <a:cubicBezTo>
                    <a:pt x="788" y="1166"/>
                    <a:pt x="882" y="945"/>
                    <a:pt x="1135" y="882"/>
                  </a:cubicBezTo>
                  <a:cubicBezTo>
                    <a:pt x="1180" y="867"/>
                    <a:pt x="1225" y="860"/>
                    <a:pt x="1269" y="860"/>
                  </a:cubicBezTo>
                  <a:close/>
                  <a:moveTo>
                    <a:pt x="1261" y="0"/>
                  </a:moveTo>
                  <a:cubicBezTo>
                    <a:pt x="567" y="0"/>
                    <a:pt x="0" y="567"/>
                    <a:pt x="32" y="1229"/>
                  </a:cubicBezTo>
                  <a:cubicBezTo>
                    <a:pt x="32" y="1874"/>
                    <a:pt x="541" y="2459"/>
                    <a:pt x="1208" y="2459"/>
                  </a:cubicBezTo>
                  <a:cubicBezTo>
                    <a:pt x="1226" y="2459"/>
                    <a:pt x="1243" y="2458"/>
                    <a:pt x="1261" y="2458"/>
                  </a:cubicBezTo>
                  <a:cubicBezTo>
                    <a:pt x="1922" y="2458"/>
                    <a:pt x="2521" y="1891"/>
                    <a:pt x="2458" y="1229"/>
                  </a:cubicBezTo>
                  <a:cubicBezTo>
                    <a:pt x="2521" y="567"/>
                    <a:pt x="1954"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396" name="Google Shape;6396;p72"/>
          <p:cNvSpPr/>
          <p:nvPr/>
        </p:nvSpPr>
        <p:spPr>
          <a:xfrm>
            <a:off x="4586193" y="2079367"/>
            <a:ext cx="500788" cy="497373"/>
          </a:xfrm>
          <a:custGeom>
            <a:avLst/>
            <a:gdLst/>
            <a:ahLst/>
            <a:cxnLst/>
            <a:rect l="l" t="t" r="r" b="b"/>
            <a:pathLst>
              <a:path w="12760" h="12673" extrusionOk="0">
                <a:moveTo>
                  <a:pt x="2225" y="866"/>
                </a:moveTo>
                <a:cubicBezTo>
                  <a:pt x="2371" y="866"/>
                  <a:pt x="2521" y="929"/>
                  <a:pt x="2647" y="1056"/>
                </a:cubicBezTo>
                <a:lnTo>
                  <a:pt x="3245" y="1654"/>
                </a:lnTo>
                <a:lnTo>
                  <a:pt x="1702" y="3166"/>
                </a:lnTo>
                <a:lnTo>
                  <a:pt x="1103" y="2599"/>
                </a:lnTo>
                <a:cubicBezTo>
                  <a:pt x="1072" y="2536"/>
                  <a:pt x="977" y="2473"/>
                  <a:pt x="977" y="2379"/>
                </a:cubicBezTo>
                <a:cubicBezTo>
                  <a:pt x="914" y="2190"/>
                  <a:pt x="946" y="1906"/>
                  <a:pt x="1103" y="1749"/>
                </a:cubicBezTo>
                <a:lnTo>
                  <a:pt x="1828" y="1056"/>
                </a:lnTo>
                <a:cubicBezTo>
                  <a:pt x="1938" y="929"/>
                  <a:pt x="2080" y="866"/>
                  <a:pt x="2225" y="866"/>
                </a:cubicBezTo>
                <a:close/>
                <a:moveTo>
                  <a:pt x="3812" y="2221"/>
                </a:moveTo>
                <a:lnTo>
                  <a:pt x="4506" y="2914"/>
                </a:lnTo>
                <a:lnTo>
                  <a:pt x="2962" y="4427"/>
                </a:lnTo>
                <a:lnTo>
                  <a:pt x="2300" y="3765"/>
                </a:lnTo>
                <a:lnTo>
                  <a:pt x="3812" y="2221"/>
                </a:lnTo>
                <a:close/>
                <a:moveTo>
                  <a:pt x="9452" y="1056"/>
                </a:moveTo>
                <a:lnTo>
                  <a:pt x="11783" y="3387"/>
                </a:lnTo>
                <a:lnTo>
                  <a:pt x="8979" y="6159"/>
                </a:lnTo>
                <a:lnTo>
                  <a:pt x="6648" y="3828"/>
                </a:lnTo>
                <a:lnTo>
                  <a:pt x="7908" y="2599"/>
                </a:lnTo>
                <a:lnTo>
                  <a:pt x="8790" y="3450"/>
                </a:lnTo>
                <a:cubicBezTo>
                  <a:pt x="8869" y="3529"/>
                  <a:pt x="8979" y="3568"/>
                  <a:pt x="9090" y="3568"/>
                </a:cubicBezTo>
                <a:cubicBezTo>
                  <a:pt x="9200" y="3568"/>
                  <a:pt x="9310" y="3529"/>
                  <a:pt x="9389" y="3450"/>
                </a:cubicBezTo>
                <a:cubicBezTo>
                  <a:pt x="9546" y="3292"/>
                  <a:pt x="9546" y="3009"/>
                  <a:pt x="9389" y="2851"/>
                </a:cubicBezTo>
                <a:lnTo>
                  <a:pt x="8507" y="2001"/>
                </a:lnTo>
                <a:lnTo>
                  <a:pt x="9452" y="1056"/>
                </a:lnTo>
                <a:close/>
                <a:moveTo>
                  <a:pt x="5041" y="3450"/>
                </a:moveTo>
                <a:cubicBezTo>
                  <a:pt x="5356" y="3765"/>
                  <a:pt x="10366" y="8711"/>
                  <a:pt x="10523" y="8932"/>
                </a:cubicBezTo>
                <a:lnTo>
                  <a:pt x="8948" y="10412"/>
                </a:lnTo>
                <a:lnTo>
                  <a:pt x="3497" y="4994"/>
                </a:lnTo>
                <a:lnTo>
                  <a:pt x="5041" y="3450"/>
                </a:lnTo>
                <a:close/>
                <a:moveTo>
                  <a:pt x="10996" y="9625"/>
                </a:moveTo>
                <a:lnTo>
                  <a:pt x="11657" y="11610"/>
                </a:lnTo>
                <a:lnTo>
                  <a:pt x="9609" y="10948"/>
                </a:lnTo>
                <a:lnTo>
                  <a:pt x="10996" y="9625"/>
                </a:lnTo>
                <a:close/>
                <a:moveTo>
                  <a:pt x="3939" y="6600"/>
                </a:moveTo>
                <a:lnTo>
                  <a:pt x="6270" y="8932"/>
                </a:lnTo>
                <a:lnTo>
                  <a:pt x="3466" y="11736"/>
                </a:lnTo>
                <a:lnTo>
                  <a:pt x="1135" y="9404"/>
                </a:lnTo>
                <a:lnTo>
                  <a:pt x="2489" y="8050"/>
                </a:lnTo>
                <a:lnTo>
                  <a:pt x="3340" y="8932"/>
                </a:lnTo>
                <a:cubicBezTo>
                  <a:pt x="3419" y="9010"/>
                  <a:pt x="3529" y="9050"/>
                  <a:pt x="3639" y="9050"/>
                </a:cubicBezTo>
                <a:cubicBezTo>
                  <a:pt x="3749" y="9050"/>
                  <a:pt x="3860" y="9010"/>
                  <a:pt x="3939" y="8932"/>
                </a:cubicBezTo>
                <a:cubicBezTo>
                  <a:pt x="4096" y="8774"/>
                  <a:pt x="4096" y="8491"/>
                  <a:pt x="3939" y="8333"/>
                </a:cubicBezTo>
                <a:lnTo>
                  <a:pt x="3088" y="7482"/>
                </a:lnTo>
                <a:lnTo>
                  <a:pt x="3939" y="6600"/>
                </a:lnTo>
                <a:close/>
                <a:moveTo>
                  <a:pt x="2194" y="0"/>
                </a:moveTo>
                <a:cubicBezTo>
                  <a:pt x="1828" y="0"/>
                  <a:pt x="1465" y="142"/>
                  <a:pt x="1198" y="425"/>
                </a:cubicBezTo>
                <a:lnTo>
                  <a:pt x="473" y="1119"/>
                </a:lnTo>
                <a:cubicBezTo>
                  <a:pt x="221" y="1402"/>
                  <a:pt x="95" y="1749"/>
                  <a:pt x="95" y="2127"/>
                </a:cubicBezTo>
                <a:cubicBezTo>
                  <a:pt x="95" y="2473"/>
                  <a:pt x="252" y="2851"/>
                  <a:pt x="473" y="3103"/>
                </a:cubicBezTo>
                <a:lnTo>
                  <a:pt x="1387" y="4017"/>
                </a:lnTo>
                <a:cubicBezTo>
                  <a:pt x="1387" y="4017"/>
                  <a:pt x="2647" y="5277"/>
                  <a:pt x="2615" y="5277"/>
                </a:cubicBezTo>
                <a:lnTo>
                  <a:pt x="3277" y="5939"/>
                </a:lnTo>
                <a:lnTo>
                  <a:pt x="2174" y="7041"/>
                </a:lnTo>
                <a:lnTo>
                  <a:pt x="2048" y="7167"/>
                </a:lnTo>
                <a:lnTo>
                  <a:pt x="158" y="9058"/>
                </a:lnTo>
                <a:cubicBezTo>
                  <a:pt x="0" y="9215"/>
                  <a:pt x="0" y="9467"/>
                  <a:pt x="158" y="9625"/>
                </a:cubicBezTo>
                <a:lnTo>
                  <a:pt x="3088" y="12555"/>
                </a:lnTo>
                <a:cubicBezTo>
                  <a:pt x="3167" y="12634"/>
                  <a:pt x="3269" y="12673"/>
                  <a:pt x="3371" y="12673"/>
                </a:cubicBezTo>
                <a:cubicBezTo>
                  <a:pt x="3474" y="12673"/>
                  <a:pt x="3576" y="12634"/>
                  <a:pt x="3655" y="12555"/>
                </a:cubicBezTo>
                <a:lnTo>
                  <a:pt x="6742" y="9467"/>
                </a:lnTo>
                <a:lnTo>
                  <a:pt x="8570" y="11295"/>
                </a:lnTo>
                <a:cubicBezTo>
                  <a:pt x="8601" y="11326"/>
                  <a:pt x="8633" y="11358"/>
                  <a:pt x="8696" y="11358"/>
                </a:cubicBezTo>
                <a:cubicBezTo>
                  <a:pt x="8759" y="11452"/>
                  <a:pt x="8822" y="11515"/>
                  <a:pt x="8948" y="11578"/>
                </a:cubicBezTo>
                <a:lnTo>
                  <a:pt x="12098" y="12618"/>
                </a:lnTo>
                <a:cubicBezTo>
                  <a:pt x="12147" y="12637"/>
                  <a:pt x="12196" y="12646"/>
                  <a:pt x="12243" y="12646"/>
                </a:cubicBezTo>
                <a:cubicBezTo>
                  <a:pt x="12500" y="12646"/>
                  <a:pt x="12709" y="12380"/>
                  <a:pt x="12602" y="12114"/>
                </a:cubicBezTo>
                <a:lnTo>
                  <a:pt x="11657" y="8963"/>
                </a:lnTo>
                <a:cubicBezTo>
                  <a:pt x="11626" y="8900"/>
                  <a:pt x="11594" y="8806"/>
                  <a:pt x="11468" y="8743"/>
                </a:cubicBezTo>
                <a:cubicBezTo>
                  <a:pt x="11437" y="8648"/>
                  <a:pt x="11531" y="8806"/>
                  <a:pt x="9546" y="6758"/>
                </a:cubicBezTo>
                <a:lnTo>
                  <a:pt x="12602" y="3702"/>
                </a:lnTo>
                <a:cubicBezTo>
                  <a:pt x="12760" y="3544"/>
                  <a:pt x="12760" y="3261"/>
                  <a:pt x="12602" y="3103"/>
                </a:cubicBezTo>
                <a:lnTo>
                  <a:pt x="9704" y="173"/>
                </a:lnTo>
                <a:cubicBezTo>
                  <a:pt x="9625" y="95"/>
                  <a:pt x="9515" y="55"/>
                  <a:pt x="9405" y="55"/>
                </a:cubicBezTo>
                <a:cubicBezTo>
                  <a:pt x="9294" y="55"/>
                  <a:pt x="9184" y="95"/>
                  <a:pt x="9105" y="173"/>
                </a:cubicBezTo>
                <a:lnTo>
                  <a:pt x="7656" y="1654"/>
                </a:lnTo>
                <a:lnTo>
                  <a:pt x="7530" y="1749"/>
                </a:lnTo>
                <a:lnTo>
                  <a:pt x="6049" y="3261"/>
                </a:lnTo>
                <a:lnTo>
                  <a:pt x="3214" y="425"/>
                </a:lnTo>
                <a:cubicBezTo>
                  <a:pt x="2930" y="142"/>
                  <a:pt x="2560" y="0"/>
                  <a:pt x="21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7" name="Google Shape;6397;p72"/>
          <p:cNvSpPr/>
          <p:nvPr/>
        </p:nvSpPr>
        <p:spPr>
          <a:xfrm>
            <a:off x="4613031" y="2721323"/>
            <a:ext cx="506988" cy="424139"/>
          </a:xfrm>
          <a:custGeom>
            <a:avLst/>
            <a:gdLst/>
            <a:ahLst/>
            <a:cxnLst/>
            <a:rect l="l" t="t" r="r" b="b"/>
            <a:pathLst>
              <a:path w="12918" h="10807" extrusionOk="0">
                <a:moveTo>
                  <a:pt x="10807" y="851"/>
                </a:moveTo>
                <a:cubicBezTo>
                  <a:pt x="10366" y="1608"/>
                  <a:pt x="10366" y="2584"/>
                  <a:pt x="10807" y="3340"/>
                </a:cubicBezTo>
                <a:lnTo>
                  <a:pt x="2332" y="3340"/>
                </a:lnTo>
                <a:cubicBezTo>
                  <a:pt x="1765" y="3340"/>
                  <a:pt x="1293" y="2962"/>
                  <a:pt x="1135" y="2458"/>
                </a:cubicBezTo>
                <a:cubicBezTo>
                  <a:pt x="915" y="1671"/>
                  <a:pt x="1513" y="851"/>
                  <a:pt x="2332" y="851"/>
                </a:cubicBezTo>
                <a:close/>
                <a:moveTo>
                  <a:pt x="8822" y="4159"/>
                </a:moveTo>
                <a:lnTo>
                  <a:pt x="8822" y="6648"/>
                </a:lnTo>
                <a:lnTo>
                  <a:pt x="1891" y="6648"/>
                </a:lnTo>
                <a:lnTo>
                  <a:pt x="1891" y="4159"/>
                </a:lnTo>
                <a:close/>
                <a:moveTo>
                  <a:pt x="10524" y="4159"/>
                </a:moveTo>
                <a:lnTo>
                  <a:pt x="10524" y="6648"/>
                </a:lnTo>
                <a:lnTo>
                  <a:pt x="9704" y="6648"/>
                </a:lnTo>
                <a:lnTo>
                  <a:pt x="9704" y="4159"/>
                </a:lnTo>
                <a:close/>
                <a:moveTo>
                  <a:pt x="12130" y="4159"/>
                </a:moveTo>
                <a:lnTo>
                  <a:pt x="12130" y="6648"/>
                </a:lnTo>
                <a:lnTo>
                  <a:pt x="11343" y="6648"/>
                </a:lnTo>
                <a:lnTo>
                  <a:pt x="11343" y="4159"/>
                </a:lnTo>
                <a:close/>
                <a:moveTo>
                  <a:pt x="1986" y="7467"/>
                </a:moveTo>
                <a:lnTo>
                  <a:pt x="1986" y="9956"/>
                </a:lnTo>
                <a:lnTo>
                  <a:pt x="1104" y="9956"/>
                </a:lnTo>
                <a:lnTo>
                  <a:pt x="1104" y="7467"/>
                </a:lnTo>
                <a:close/>
                <a:moveTo>
                  <a:pt x="3624" y="7467"/>
                </a:moveTo>
                <a:lnTo>
                  <a:pt x="3624" y="9956"/>
                </a:lnTo>
                <a:lnTo>
                  <a:pt x="2805" y="9956"/>
                </a:lnTo>
                <a:lnTo>
                  <a:pt x="2805" y="7467"/>
                </a:lnTo>
                <a:close/>
                <a:moveTo>
                  <a:pt x="11311" y="7467"/>
                </a:moveTo>
                <a:lnTo>
                  <a:pt x="11311" y="9956"/>
                </a:lnTo>
                <a:lnTo>
                  <a:pt x="4443" y="9956"/>
                </a:lnTo>
                <a:lnTo>
                  <a:pt x="4443" y="7467"/>
                </a:lnTo>
                <a:close/>
                <a:moveTo>
                  <a:pt x="2364" y="1"/>
                </a:moveTo>
                <a:cubicBezTo>
                  <a:pt x="1671" y="1"/>
                  <a:pt x="1041" y="379"/>
                  <a:pt x="631" y="914"/>
                </a:cubicBezTo>
                <a:cubicBezTo>
                  <a:pt x="1" y="1828"/>
                  <a:pt x="253" y="3088"/>
                  <a:pt x="1104" y="3718"/>
                </a:cubicBezTo>
                <a:lnTo>
                  <a:pt x="1104" y="6648"/>
                </a:lnTo>
                <a:lnTo>
                  <a:pt x="694" y="6648"/>
                </a:lnTo>
                <a:cubicBezTo>
                  <a:pt x="442" y="6648"/>
                  <a:pt x="284" y="6837"/>
                  <a:pt x="284" y="7058"/>
                </a:cubicBezTo>
                <a:lnTo>
                  <a:pt x="284" y="10366"/>
                </a:lnTo>
                <a:cubicBezTo>
                  <a:pt x="284" y="10618"/>
                  <a:pt x="473" y="10807"/>
                  <a:pt x="694" y="10807"/>
                </a:cubicBezTo>
                <a:lnTo>
                  <a:pt x="11721" y="10807"/>
                </a:lnTo>
                <a:cubicBezTo>
                  <a:pt x="11941" y="10807"/>
                  <a:pt x="12130" y="10618"/>
                  <a:pt x="12130" y="10366"/>
                </a:cubicBezTo>
                <a:lnTo>
                  <a:pt x="12130" y="7499"/>
                </a:lnTo>
                <a:lnTo>
                  <a:pt x="12540" y="7499"/>
                </a:lnTo>
                <a:cubicBezTo>
                  <a:pt x="12760" y="7499"/>
                  <a:pt x="12918" y="7310"/>
                  <a:pt x="12918" y="7058"/>
                </a:cubicBezTo>
                <a:lnTo>
                  <a:pt x="12918" y="3750"/>
                </a:lnTo>
                <a:cubicBezTo>
                  <a:pt x="12918" y="3529"/>
                  <a:pt x="12760" y="3340"/>
                  <a:pt x="12540" y="3340"/>
                </a:cubicBezTo>
                <a:lnTo>
                  <a:pt x="11878" y="3340"/>
                </a:lnTo>
                <a:cubicBezTo>
                  <a:pt x="11091" y="2647"/>
                  <a:pt x="11122" y="1387"/>
                  <a:pt x="11973" y="757"/>
                </a:cubicBezTo>
                <a:cubicBezTo>
                  <a:pt x="12256" y="536"/>
                  <a:pt x="12130" y="64"/>
                  <a:pt x="117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8" name="Google Shape;6398;p72"/>
          <p:cNvSpPr/>
          <p:nvPr/>
        </p:nvSpPr>
        <p:spPr>
          <a:xfrm>
            <a:off x="4625737" y="3254863"/>
            <a:ext cx="500827" cy="496588"/>
          </a:xfrm>
          <a:custGeom>
            <a:avLst/>
            <a:gdLst/>
            <a:ahLst/>
            <a:cxnLst/>
            <a:rect l="l" t="t" r="r" b="b"/>
            <a:pathLst>
              <a:path w="12761" h="12653" extrusionOk="0">
                <a:moveTo>
                  <a:pt x="6396" y="866"/>
                </a:moveTo>
                <a:lnTo>
                  <a:pt x="11469" y="3796"/>
                </a:lnTo>
                <a:cubicBezTo>
                  <a:pt x="8759" y="5340"/>
                  <a:pt x="12729" y="3072"/>
                  <a:pt x="6396" y="6695"/>
                </a:cubicBezTo>
                <a:cubicBezTo>
                  <a:pt x="1" y="3072"/>
                  <a:pt x="4097" y="5403"/>
                  <a:pt x="1324" y="3796"/>
                </a:cubicBezTo>
                <a:lnTo>
                  <a:pt x="6396" y="866"/>
                </a:lnTo>
                <a:close/>
                <a:moveTo>
                  <a:pt x="10208" y="5498"/>
                </a:moveTo>
                <a:lnTo>
                  <a:pt x="10208" y="8081"/>
                </a:lnTo>
                <a:cubicBezTo>
                  <a:pt x="10177" y="8207"/>
                  <a:pt x="10051" y="8365"/>
                  <a:pt x="9925" y="8428"/>
                </a:cubicBezTo>
                <a:cubicBezTo>
                  <a:pt x="9312" y="8970"/>
                  <a:pt x="7887" y="9300"/>
                  <a:pt x="6364" y="9300"/>
                </a:cubicBezTo>
                <a:cubicBezTo>
                  <a:pt x="5852" y="9300"/>
                  <a:pt x="5329" y="9263"/>
                  <a:pt x="4821" y="9184"/>
                </a:cubicBezTo>
                <a:cubicBezTo>
                  <a:pt x="4317" y="9121"/>
                  <a:pt x="3718" y="8963"/>
                  <a:pt x="3246" y="8711"/>
                </a:cubicBezTo>
                <a:cubicBezTo>
                  <a:pt x="2994" y="8585"/>
                  <a:pt x="2584" y="8333"/>
                  <a:pt x="2584" y="8050"/>
                </a:cubicBezTo>
                <a:lnTo>
                  <a:pt x="2584" y="5498"/>
                </a:lnTo>
                <a:cubicBezTo>
                  <a:pt x="4412" y="6537"/>
                  <a:pt x="4317" y="6474"/>
                  <a:pt x="6207" y="7545"/>
                </a:cubicBezTo>
                <a:cubicBezTo>
                  <a:pt x="6255" y="7577"/>
                  <a:pt x="6318" y="7593"/>
                  <a:pt x="6385" y="7593"/>
                </a:cubicBezTo>
                <a:cubicBezTo>
                  <a:pt x="6452" y="7593"/>
                  <a:pt x="6522" y="7577"/>
                  <a:pt x="6585" y="7545"/>
                </a:cubicBezTo>
                <a:cubicBezTo>
                  <a:pt x="6617" y="7482"/>
                  <a:pt x="9925" y="5592"/>
                  <a:pt x="10208" y="5498"/>
                </a:cubicBezTo>
                <a:close/>
                <a:moveTo>
                  <a:pt x="6385" y="0"/>
                </a:moveTo>
                <a:cubicBezTo>
                  <a:pt x="6318" y="0"/>
                  <a:pt x="6255" y="16"/>
                  <a:pt x="6207" y="47"/>
                </a:cubicBezTo>
                <a:lnTo>
                  <a:pt x="284" y="3450"/>
                </a:lnTo>
                <a:cubicBezTo>
                  <a:pt x="1" y="3607"/>
                  <a:pt x="1" y="3985"/>
                  <a:pt x="284" y="4143"/>
                </a:cubicBezTo>
                <a:lnTo>
                  <a:pt x="1797" y="4962"/>
                </a:lnTo>
                <a:lnTo>
                  <a:pt x="1797" y="8018"/>
                </a:lnTo>
                <a:cubicBezTo>
                  <a:pt x="1797" y="8711"/>
                  <a:pt x="2458" y="9215"/>
                  <a:pt x="3088" y="9499"/>
                </a:cubicBezTo>
                <a:cubicBezTo>
                  <a:pt x="3994" y="9903"/>
                  <a:pt x="5215" y="10104"/>
                  <a:pt x="6430" y="10104"/>
                </a:cubicBezTo>
                <a:cubicBezTo>
                  <a:pt x="7963" y="10104"/>
                  <a:pt x="9488" y="9785"/>
                  <a:pt x="10366" y="9152"/>
                </a:cubicBezTo>
                <a:cubicBezTo>
                  <a:pt x="10776" y="8869"/>
                  <a:pt x="11091" y="8491"/>
                  <a:pt x="11091" y="8018"/>
                </a:cubicBezTo>
                <a:lnTo>
                  <a:pt x="11091" y="4962"/>
                </a:lnTo>
                <a:lnTo>
                  <a:pt x="11941" y="4490"/>
                </a:lnTo>
                <a:lnTo>
                  <a:pt x="11941" y="12208"/>
                </a:lnTo>
                <a:cubicBezTo>
                  <a:pt x="11941" y="12429"/>
                  <a:pt x="12099" y="12618"/>
                  <a:pt x="12288" y="12649"/>
                </a:cubicBezTo>
                <a:cubicBezTo>
                  <a:pt x="12306" y="12652"/>
                  <a:pt x="12325" y="12653"/>
                  <a:pt x="12343" y="12653"/>
                </a:cubicBezTo>
                <a:cubicBezTo>
                  <a:pt x="12571" y="12653"/>
                  <a:pt x="12760" y="12475"/>
                  <a:pt x="12760" y="12271"/>
                </a:cubicBezTo>
                <a:lnTo>
                  <a:pt x="12760" y="3796"/>
                </a:lnTo>
                <a:cubicBezTo>
                  <a:pt x="12729" y="3639"/>
                  <a:pt x="12666" y="3513"/>
                  <a:pt x="12508" y="3450"/>
                </a:cubicBezTo>
                <a:lnTo>
                  <a:pt x="6585" y="47"/>
                </a:lnTo>
                <a:cubicBezTo>
                  <a:pt x="6522" y="16"/>
                  <a:pt x="6452" y="0"/>
                  <a:pt x="63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399" name="Google Shape;6399;p72"/>
          <p:cNvSpPr/>
          <p:nvPr/>
        </p:nvSpPr>
        <p:spPr>
          <a:xfrm>
            <a:off x="2973955" y="3837129"/>
            <a:ext cx="358636" cy="494625"/>
          </a:xfrm>
          <a:custGeom>
            <a:avLst/>
            <a:gdLst/>
            <a:ahLst/>
            <a:cxnLst/>
            <a:rect l="l" t="t" r="r" b="b"/>
            <a:pathLst>
              <a:path w="9138" h="12603" extrusionOk="0">
                <a:moveTo>
                  <a:pt x="5420" y="788"/>
                </a:moveTo>
                <a:cubicBezTo>
                  <a:pt x="7026" y="788"/>
                  <a:pt x="8287" y="2080"/>
                  <a:pt x="8287" y="3655"/>
                </a:cubicBezTo>
                <a:lnTo>
                  <a:pt x="8287" y="4978"/>
                </a:lnTo>
                <a:lnTo>
                  <a:pt x="5829" y="4978"/>
                </a:lnTo>
                <a:lnTo>
                  <a:pt x="5829" y="3718"/>
                </a:lnTo>
                <a:cubicBezTo>
                  <a:pt x="5829" y="3151"/>
                  <a:pt x="5451" y="2710"/>
                  <a:pt x="4979" y="2521"/>
                </a:cubicBezTo>
                <a:lnTo>
                  <a:pt x="4979" y="788"/>
                </a:lnTo>
                <a:close/>
                <a:moveTo>
                  <a:pt x="4159" y="882"/>
                </a:moveTo>
                <a:lnTo>
                  <a:pt x="4159" y="2615"/>
                </a:lnTo>
                <a:cubicBezTo>
                  <a:pt x="3687" y="2773"/>
                  <a:pt x="3340" y="3245"/>
                  <a:pt x="3340" y="3781"/>
                </a:cubicBezTo>
                <a:lnTo>
                  <a:pt x="3340" y="5041"/>
                </a:lnTo>
                <a:lnTo>
                  <a:pt x="851" y="5041"/>
                </a:lnTo>
                <a:lnTo>
                  <a:pt x="851" y="3749"/>
                </a:lnTo>
                <a:cubicBezTo>
                  <a:pt x="851" y="2143"/>
                  <a:pt x="2175" y="882"/>
                  <a:pt x="3781" y="882"/>
                </a:cubicBezTo>
                <a:close/>
                <a:moveTo>
                  <a:pt x="4569" y="3308"/>
                </a:moveTo>
                <a:cubicBezTo>
                  <a:pt x="4790" y="3308"/>
                  <a:pt x="4947" y="3497"/>
                  <a:pt x="4947" y="3749"/>
                </a:cubicBezTo>
                <a:lnTo>
                  <a:pt x="4947" y="5388"/>
                </a:lnTo>
                <a:cubicBezTo>
                  <a:pt x="4947" y="5620"/>
                  <a:pt x="4736" y="5830"/>
                  <a:pt x="4504" y="5830"/>
                </a:cubicBezTo>
                <a:cubicBezTo>
                  <a:pt x="4453" y="5830"/>
                  <a:pt x="4400" y="5820"/>
                  <a:pt x="4348" y="5797"/>
                </a:cubicBezTo>
                <a:cubicBezTo>
                  <a:pt x="4191" y="5703"/>
                  <a:pt x="4128" y="5608"/>
                  <a:pt x="4128" y="5388"/>
                </a:cubicBezTo>
                <a:lnTo>
                  <a:pt x="4128" y="3718"/>
                </a:lnTo>
                <a:cubicBezTo>
                  <a:pt x="4159" y="3466"/>
                  <a:pt x="4348" y="3308"/>
                  <a:pt x="4569" y="3308"/>
                </a:cubicBezTo>
                <a:close/>
                <a:moveTo>
                  <a:pt x="8287" y="5797"/>
                </a:moveTo>
                <a:lnTo>
                  <a:pt x="8287" y="8948"/>
                </a:lnTo>
                <a:cubicBezTo>
                  <a:pt x="8287" y="10554"/>
                  <a:pt x="6995" y="11815"/>
                  <a:pt x="5420" y="11815"/>
                </a:cubicBezTo>
                <a:lnTo>
                  <a:pt x="3781" y="11815"/>
                </a:lnTo>
                <a:cubicBezTo>
                  <a:pt x="2143" y="11815"/>
                  <a:pt x="883" y="10523"/>
                  <a:pt x="851" y="8948"/>
                </a:cubicBezTo>
                <a:lnTo>
                  <a:pt x="851" y="5797"/>
                </a:lnTo>
                <a:lnTo>
                  <a:pt x="3403" y="5797"/>
                </a:lnTo>
                <a:cubicBezTo>
                  <a:pt x="3498" y="6018"/>
                  <a:pt x="3655" y="6270"/>
                  <a:pt x="3876" y="6427"/>
                </a:cubicBezTo>
                <a:cubicBezTo>
                  <a:pt x="4098" y="6579"/>
                  <a:pt x="4340" y="6649"/>
                  <a:pt x="4575" y="6649"/>
                </a:cubicBezTo>
                <a:cubicBezTo>
                  <a:pt x="5073" y="6649"/>
                  <a:pt x="5542" y="6332"/>
                  <a:pt x="5735" y="5797"/>
                </a:cubicBezTo>
                <a:close/>
                <a:moveTo>
                  <a:pt x="3750" y="0"/>
                </a:moveTo>
                <a:cubicBezTo>
                  <a:pt x="1702" y="0"/>
                  <a:pt x="1" y="1670"/>
                  <a:pt x="1" y="3718"/>
                </a:cubicBezTo>
                <a:lnTo>
                  <a:pt x="1" y="8885"/>
                </a:lnTo>
                <a:cubicBezTo>
                  <a:pt x="1" y="10932"/>
                  <a:pt x="1639" y="12602"/>
                  <a:pt x="3750" y="12602"/>
                </a:cubicBezTo>
                <a:lnTo>
                  <a:pt x="5388" y="12602"/>
                </a:lnTo>
                <a:cubicBezTo>
                  <a:pt x="7436" y="12602"/>
                  <a:pt x="9137" y="10964"/>
                  <a:pt x="9074" y="8885"/>
                </a:cubicBezTo>
                <a:lnTo>
                  <a:pt x="9074" y="3686"/>
                </a:lnTo>
                <a:cubicBezTo>
                  <a:pt x="9137" y="1670"/>
                  <a:pt x="7467"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0" name="Google Shape;6400;p72"/>
          <p:cNvSpPr/>
          <p:nvPr/>
        </p:nvSpPr>
        <p:spPr>
          <a:xfrm>
            <a:off x="2823309" y="4881877"/>
            <a:ext cx="39" cy="39"/>
          </a:xfrm>
          <a:custGeom>
            <a:avLst/>
            <a:gdLst/>
            <a:ahLst/>
            <a:cxnLst/>
            <a:rect l="l" t="t" r="r" b="b"/>
            <a:pathLst>
              <a:path w="1" h="1" extrusionOk="0">
                <a:moveTo>
                  <a:pt x="1"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01" name="Google Shape;6401;p72"/>
          <p:cNvGrpSpPr/>
          <p:nvPr/>
        </p:nvGrpSpPr>
        <p:grpSpPr>
          <a:xfrm>
            <a:off x="2890867" y="4415850"/>
            <a:ext cx="520568" cy="492781"/>
            <a:chOff x="-39055650" y="2315975"/>
            <a:chExt cx="331600" cy="313900"/>
          </a:xfrm>
        </p:grpSpPr>
        <p:sp>
          <p:nvSpPr>
            <p:cNvPr id="6402" name="Google Shape;6402;p72"/>
            <p:cNvSpPr/>
            <p:nvPr/>
          </p:nvSpPr>
          <p:spPr>
            <a:xfrm>
              <a:off x="-38976900" y="2390225"/>
              <a:ext cx="167775" cy="165825"/>
            </a:xfrm>
            <a:custGeom>
              <a:avLst/>
              <a:gdLst/>
              <a:ahLst/>
              <a:cxnLst/>
              <a:rect l="l" t="t" r="r" b="b"/>
              <a:pathLst>
                <a:path w="6711" h="6633" extrusionOk="0">
                  <a:moveTo>
                    <a:pt x="3765" y="1"/>
                  </a:moveTo>
                  <a:cubicBezTo>
                    <a:pt x="3655" y="1"/>
                    <a:pt x="3545" y="40"/>
                    <a:pt x="3466" y="119"/>
                  </a:cubicBezTo>
                  <a:cubicBezTo>
                    <a:pt x="3309" y="276"/>
                    <a:pt x="3309" y="560"/>
                    <a:pt x="3466" y="718"/>
                  </a:cubicBezTo>
                  <a:lnTo>
                    <a:pt x="4411" y="1663"/>
                  </a:lnTo>
                  <a:lnTo>
                    <a:pt x="3340" y="2734"/>
                  </a:lnTo>
                  <a:lnTo>
                    <a:pt x="2395" y="1789"/>
                  </a:lnTo>
                  <a:cubicBezTo>
                    <a:pt x="2316" y="1710"/>
                    <a:pt x="2214" y="1671"/>
                    <a:pt x="2111" y="1671"/>
                  </a:cubicBezTo>
                  <a:cubicBezTo>
                    <a:pt x="2009" y="1671"/>
                    <a:pt x="1907" y="1710"/>
                    <a:pt x="1828" y="1789"/>
                  </a:cubicBezTo>
                  <a:cubicBezTo>
                    <a:pt x="1670" y="1946"/>
                    <a:pt x="1670" y="2198"/>
                    <a:pt x="1828" y="2387"/>
                  </a:cubicBezTo>
                  <a:lnTo>
                    <a:pt x="2773" y="3332"/>
                  </a:lnTo>
                  <a:lnTo>
                    <a:pt x="1702" y="4372"/>
                  </a:lnTo>
                  <a:lnTo>
                    <a:pt x="757" y="3427"/>
                  </a:lnTo>
                  <a:cubicBezTo>
                    <a:pt x="678" y="3348"/>
                    <a:pt x="568" y="3309"/>
                    <a:pt x="457" y="3309"/>
                  </a:cubicBezTo>
                  <a:cubicBezTo>
                    <a:pt x="347" y="3309"/>
                    <a:pt x="237" y="3348"/>
                    <a:pt x="158" y="3427"/>
                  </a:cubicBezTo>
                  <a:cubicBezTo>
                    <a:pt x="1" y="3584"/>
                    <a:pt x="1" y="3868"/>
                    <a:pt x="158" y="4026"/>
                  </a:cubicBezTo>
                  <a:lnTo>
                    <a:pt x="1103" y="4971"/>
                  </a:lnTo>
                  <a:lnTo>
                    <a:pt x="977" y="5097"/>
                  </a:lnTo>
                  <a:cubicBezTo>
                    <a:pt x="820" y="5254"/>
                    <a:pt x="820" y="5538"/>
                    <a:pt x="977" y="5695"/>
                  </a:cubicBezTo>
                  <a:cubicBezTo>
                    <a:pt x="1056" y="5774"/>
                    <a:pt x="1166" y="5813"/>
                    <a:pt x="1276" y="5813"/>
                  </a:cubicBezTo>
                  <a:cubicBezTo>
                    <a:pt x="1387" y="5813"/>
                    <a:pt x="1497" y="5774"/>
                    <a:pt x="1576" y="5695"/>
                  </a:cubicBezTo>
                  <a:lnTo>
                    <a:pt x="1702" y="5569"/>
                  </a:lnTo>
                  <a:lnTo>
                    <a:pt x="2647" y="6514"/>
                  </a:lnTo>
                  <a:cubicBezTo>
                    <a:pt x="2726" y="6593"/>
                    <a:pt x="2836" y="6633"/>
                    <a:pt x="2946" y="6633"/>
                  </a:cubicBezTo>
                  <a:cubicBezTo>
                    <a:pt x="3057" y="6633"/>
                    <a:pt x="3167" y="6593"/>
                    <a:pt x="3246" y="6514"/>
                  </a:cubicBezTo>
                  <a:cubicBezTo>
                    <a:pt x="3403" y="6357"/>
                    <a:pt x="3403" y="6073"/>
                    <a:pt x="3246" y="5916"/>
                  </a:cubicBezTo>
                  <a:lnTo>
                    <a:pt x="2300" y="4971"/>
                  </a:lnTo>
                  <a:lnTo>
                    <a:pt x="3340" y="3899"/>
                  </a:lnTo>
                  <a:lnTo>
                    <a:pt x="4285" y="4845"/>
                  </a:lnTo>
                  <a:cubicBezTo>
                    <a:pt x="4364" y="4923"/>
                    <a:pt x="4474" y="4963"/>
                    <a:pt x="4585" y="4963"/>
                  </a:cubicBezTo>
                  <a:cubicBezTo>
                    <a:pt x="4695" y="4963"/>
                    <a:pt x="4805" y="4923"/>
                    <a:pt x="4884" y="4845"/>
                  </a:cubicBezTo>
                  <a:cubicBezTo>
                    <a:pt x="5041" y="4687"/>
                    <a:pt x="5041" y="4435"/>
                    <a:pt x="4884" y="4278"/>
                  </a:cubicBezTo>
                  <a:lnTo>
                    <a:pt x="3939" y="3332"/>
                  </a:lnTo>
                  <a:lnTo>
                    <a:pt x="5010" y="2261"/>
                  </a:lnTo>
                  <a:lnTo>
                    <a:pt x="5955" y="3206"/>
                  </a:lnTo>
                  <a:cubicBezTo>
                    <a:pt x="6034" y="3285"/>
                    <a:pt x="6144" y="3325"/>
                    <a:pt x="6254" y="3325"/>
                  </a:cubicBezTo>
                  <a:cubicBezTo>
                    <a:pt x="6365" y="3325"/>
                    <a:pt x="6475" y="3285"/>
                    <a:pt x="6554" y="3206"/>
                  </a:cubicBezTo>
                  <a:cubicBezTo>
                    <a:pt x="6711" y="3049"/>
                    <a:pt x="6711" y="2765"/>
                    <a:pt x="6554" y="2608"/>
                  </a:cubicBezTo>
                  <a:lnTo>
                    <a:pt x="5608" y="1663"/>
                  </a:lnTo>
                  <a:lnTo>
                    <a:pt x="5703" y="1537"/>
                  </a:lnTo>
                  <a:cubicBezTo>
                    <a:pt x="5860" y="1379"/>
                    <a:pt x="5860" y="1127"/>
                    <a:pt x="5703" y="970"/>
                  </a:cubicBezTo>
                  <a:cubicBezTo>
                    <a:pt x="5624" y="891"/>
                    <a:pt x="5522" y="851"/>
                    <a:pt x="5419" y="851"/>
                  </a:cubicBezTo>
                  <a:cubicBezTo>
                    <a:pt x="5317" y="851"/>
                    <a:pt x="5215" y="891"/>
                    <a:pt x="5136" y="970"/>
                  </a:cubicBezTo>
                  <a:lnTo>
                    <a:pt x="5010" y="1064"/>
                  </a:lnTo>
                  <a:lnTo>
                    <a:pt x="4065" y="119"/>
                  </a:lnTo>
                  <a:cubicBezTo>
                    <a:pt x="3986" y="40"/>
                    <a:pt x="3876" y="1"/>
                    <a:pt x="3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3" name="Google Shape;6403;p72"/>
            <p:cNvSpPr/>
            <p:nvPr/>
          </p:nvSpPr>
          <p:spPr>
            <a:xfrm>
              <a:off x="-39055650" y="2315975"/>
              <a:ext cx="331600" cy="313900"/>
            </a:xfrm>
            <a:custGeom>
              <a:avLst/>
              <a:gdLst/>
              <a:ahLst/>
              <a:cxnLst/>
              <a:rect l="l" t="t" r="r" b="b"/>
              <a:pathLst>
                <a:path w="13264" h="12556" extrusionOk="0">
                  <a:moveTo>
                    <a:pt x="9083" y="792"/>
                  </a:moveTo>
                  <a:cubicBezTo>
                    <a:pt x="9988" y="792"/>
                    <a:pt x="10673" y="917"/>
                    <a:pt x="11121" y="1041"/>
                  </a:cubicBezTo>
                  <a:cubicBezTo>
                    <a:pt x="11216" y="1073"/>
                    <a:pt x="11373" y="1167"/>
                    <a:pt x="11499" y="1199"/>
                  </a:cubicBezTo>
                  <a:lnTo>
                    <a:pt x="11625" y="1325"/>
                  </a:lnTo>
                  <a:cubicBezTo>
                    <a:pt x="11814" y="1608"/>
                    <a:pt x="11909" y="2144"/>
                    <a:pt x="11940" y="2459"/>
                  </a:cubicBezTo>
                  <a:cubicBezTo>
                    <a:pt x="12003" y="3152"/>
                    <a:pt x="12003" y="3845"/>
                    <a:pt x="11972" y="4475"/>
                  </a:cubicBezTo>
                  <a:lnTo>
                    <a:pt x="8317" y="821"/>
                  </a:lnTo>
                  <a:cubicBezTo>
                    <a:pt x="8588" y="801"/>
                    <a:pt x="8843" y="792"/>
                    <a:pt x="9083" y="792"/>
                  </a:cubicBezTo>
                  <a:close/>
                  <a:moveTo>
                    <a:pt x="7246" y="978"/>
                  </a:moveTo>
                  <a:lnTo>
                    <a:pt x="11814" y="5546"/>
                  </a:lnTo>
                  <a:cubicBezTo>
                    <a:pt x="11184" y="8728"/>
                    <a:pt x="9136" y="11028"/>
                    <a:pt x="5797" y="11595"/>
                  </a:cubicBezTo>
                  <a:lnTo>
                    <a:pt x="1229" y="7027"/>
                  </a:lnTo>
                  <a:cubicBezTo>
                    <a:pt x="1890" y="3845"/>
                    <a:pt x="3907" y="1608"/>
                    <a:pt x="7246" y="978"/>
                  </a:cubicBezTo>
                  <a:close/>
                  <a:moveTo>
                    <a:pt x="1071" y="8004"/>
                  </a:moveTo>
                  <a:lnTo>
                    <a:pt x="4726" y="11690"/>
                  </a:lnTo>
                  <a:cubicBezTo>
                    <a:pt x="4391" y="11722"/>
                    <a:pt x="4083" y="11736"/>
                    <a:pt x="3800" y="11736"/>
                  </a:cubicBezTo>
                  <a:cubicBezTo>
                    <a:pt x="2431" y="11736"/>
                    <a:pt x="1669" y="11411"/>
                    <a:pt x="1512" y="11280"/>
                  </a:cubicBezTo>
                  <a:cubicBezTo>
                    <a:pt x="1229" y="11028"/>
                    <a:pt x="914" y="9799"/>
                    <a:pt x="1071" y="8004"/>
                  </a:cubicBezTo>
                  <a:close/>
                  <a:moveTo>
                    <a:pt x="9132" y="0"/>
                  </a:moveTo>
                  <a:cubicBezTo>
                    <a:pt x="8355" y="0"/>
                    <a:pt x="7508" y="77"/>
                    <a:pt x="6742" y="222"/>
                  </a:cubicBezTo>
                  <a:cubicBezTo>
                    <a:pt x="5482" y="506"/>
                    <a:pt x="4411" y="978"/>
                    <a:pt x="3560" y="1640"/>
                  </a:cubicBezTo>
                  <a:cubicBezTo>
                    <a:pt x="1764" y="2931"/>
                    <a:pt x="756" y="4948"/>
                    <a:pt x="347" y="7090"/>
                  </a:cubicBezTo>
                  <a:lnTo>
                    <a:pt x="347" y="7122"/>
                  </a:lnTo>
                  <a:cubicBezTo>
                    <a:pt x="0" y="9012"/>
                    <a:pt x="189" y="10934"/>
                    <a:pt x="756" y="11721"/>
                  </a:cubicBezTo>
                  <a:cubicBezTo>
                    <a:pt x="882" y="11879"/>
                    <a:pt x="945" y="11942"/>
                    <a:pt x="1103" y="12036"/>
                  </a:cubicBezTo>
                  <a:cubicBezTo>
                    <a:pt x="1678" y="12389"/>
                    <a:pt x="2725" y="12556"/>
                    <a:pt x="3868" y="12556"/>
                  </a:cubicBezTo>
                  <a:cubicBezTo>
                    <a:pt x="4664" y="12556"/>
                    <a:pt x="5506" y="12475"/>
                    <a:pt x="6270" y="12320"/>
                  </a:cubicBezTo>
                  <a:cubicBezTo>
                    <a:pt x="8380" y="11879"/>
                    <a:pt x="9956" y="10776"/>
                    <a:pt x="11058" y="9295"/>
                  </a:cubicBezTo>
                  <a:cubicBezTo>
                    <a:pt x="13264" y="6302"/>
                    <a:pt x="13075" y="2018"/>
                    <a:pt x="12255" y="852"/>
                  </a:cubicBezTo>
                  <a:cubicBezTo>
                    <a:pt x="12129" y="695"/>
                    <a:pt x="11972" y="537"/>
                    <a:pt x="11657" y="411"/>
                  </a:cubicBezTo>
                  <a:cubicBezTo>
                    <a:pt x="11279" y="222"/>
                    <a:pt x="10712" y="159"/>
                    <a:pt x="10271" y="64"/>
                  </a:cubicBezTo>
                  <a:cubicBezTo>
                    <a:pt x="9925" y="21"/>
                    <a:pt x="9538" y="0"/>
                    <a:pt x="91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04" name="Google Shape;6404;p72"/>
          <p:cNvSpPr/>
          <p:nvPr/>
        </p:nvSpPr>
        <p:spPr>
          <a:xfrm>
            <a:off x="2899810" y="5106517"/>
            <a:ext cx="499532" cy="424139"/>
          </a:xfrm>
          <a:custGeom>
            <a:avLst/>
            <a:gdLst/>
            <a:ahLst/>
            <a:cxnLst/>
            <a:rect l="l" t="t" r="r" b="b"/>
            <a:pathLst>
              <a:path w="12728" h="10807" extrusionOk="0">
                <a:moveTo>
                  <a:pt x="11877" y="819"/>
                </a:moveTo>
                <a:lnTo>
                  <a:pt x="11877" y="2489"/>
                </a:lnTo>
                <a:lnTo>
                  <a:pt x="851" y="2489"/>
                </a:lnTo>
                <a:lnTo>
                  <a:pt x="851" y="819"/>
                </a:lnTo>
                <a:close/>
                <a:moveTo>
                  <a:pt x="3340" y="3308"/>
                </a:moveTo>
                <a:lnTo>
                  <a:pt x="3340" y="6616"/>
                </a:lnTo>
                <a:lnTo>
                  <a:pt x="2520" y="6616"/>
                </a:lnTo>
                <a:lnTo>
                  <a:pt x="2520" y="3308"/>
                </a:lnTo>
                <a:close/>
                <a:moveTo>
                  <a:pt x="6648" y="3308"/>
                </a:moveTo>
                <a:lnTo>
                  <a:pt x="6648" y="6616"/>
                </a:lnTo>
                <a:lnTo>
                  <a:pt x="5828" y="6616"/>
                </a:lnTo>
                <a:lnTo>
                  <a:pt x="5828" y="3308"/>
                </a:lnTo>
                <a:close/>
                <a:moveTo>
                  <a:pt x="10239" y="3308"/>
                </a:moveTo>
                <a:lnTo>
                  <a:pt x="10239" y="6616"/>
                </a:lnTo>
                <a:lnTo>
                  <a:pt x="9420" y="6616"/>
                </a:lnTo>
                <a:lnTo>
                  <a:pt x="9420" y="3308"/>
                </a:lnTo>
                <a:close/>
                <a:moveTo>
                  <a:pt x="1701" y="3308"/>
                </a:moveTo>
                <a:lnTo>
                  <a:pt x="1701" y="7026"/>
                </a:lnTo>
                <a:cubicBezTo>
                  <a:pt x="1701" y="7246"/>
                  <a:pt x="1890" y="7435"/>
                  <a:pt x="2111" y="7435"/>
                </a:cubicBezTo>
                <a:lnTo>
                  <a:pt x="2552" y="7435"/>
                </a:lnTo>
                <a:lnTo>
                  <a:pt x="2552" y="9924"/>
                </a:lnTo>
                <a:lnTo>
                  <a:pt x="851" y="9924"/>
                </a:lnTo>
                <a:lnTo>
                  <a:pt x="851" y="3308"/>
                </a:lnTo>
                <a:close/>
                <a:moveTo>
                  <a:pt x="5009" y="3308"/>
                </a:moveTo>
                <a:lnTo>
                  <a:pt x="5009" y="7026"/>
                </a:lnTo>
                <a:cubicBezTo>
                  <a:pt x="5009" y="7246"/>
                  <a:pt x="5198" y="7435"/>
                  <a:pt x="5387" y="7435"/>
                </a:cubicBezTo>
                <a:lnTo>
                  <a:pt x="5828" y="7435"/>
                </a:lnTo>
                <a:lnTo>
                  <a:pt x="5828" y="9924"/>
                </a:lnTo>
                <a:lnTo>
                  <a:pt x="3340" y="9924"/>
                </a:lnTo>
                <a:lnTo>
                  <a:pt x="3340" y="7435"/>
                </a:lnTo>
                <a:lnTo>
                  <a:pt x="3781" y="7435"/>
                </a:lnTo>
                <a:cubicBezTo>
                  <a:pt x="4001" y="7435"/>
                  <a:pt x="4159" y="7246"/>
                  <a:pt x="4159" y="7026"/>
                </a:cubicBezTo>
                <a:lnTo>
                  <a:pt x="4159" y="3308"/>
                </a:lnTo>
                <a:close/>
                <a:moveTo>
                  <a:pt x="8569" y="3308"/>
                </a:moveTo>
                <a:lnTo>
                  <a:pt x="8569" y="7026"/>
                </a:lnTo>
                <a:cubicBezTo>
                  <a:pt x="8569" y="7246"/>
                  <a:pt x="8790" y="7435"/>
                  <a:pt x="9010" y="7435"/>
                </a:cubicBezTo>
                <a:lnTo>
                  <a:pt x="9452" y="7435"/>
                </a:lnTo>
                <a:lnTo>
                  <a:pt x="9452" y="9924"/>
                </a:lnTo>
                <a:lnTo>
                  <a:pt x="6648" y="9924"/>
                </a:lnTo>
                <a:lnTo>
                  <a:pt x="6648" y="7435"/>
                </a:lnTo>
                <a:lnTo>
                  <a:pt x="7089" y="7435"/>
                </a:lnTo>
                <a:cubicBezTo>
                  <a:pt x="7309" y="7435"/>
                  <a:pt x="7467" y="7246"/>
                  <a:pt x="7467" y="7026"/>
                </a:cubicBezTo>
                <a:lnTo>
                  <a:pt x="7467" y="3308"/>
                </a:lnTo>
                <a:close/>
                <a:moveTo>
                  <a:pt x="11940" y="3308"/>
                </a:moveTo>
                <a:lnTo>
                  <a:pt x="11940" y="9924"/>
                </a:lnTo>
                <a:lnTo>
                  <a:pt x="10239" y="9924"/>
                </a:lnTo>
                <a:lnTo>
                  <a:pt x="10239" y="7435"/>
                </a:lnTo>
                <a:lnTo>
                  <a:pt x="10680" y="7435"/>
                </a:lnTo>
                <a:cubicBezTo>
                  <a:pt x="10901" y="7435"/>
                  <a:pt x="11090" y="7246"/>
                  <a:pt x="11090" y="7026"/>
                </a:cubicBezTo>
                <a:lnTo>
                  <a:pt x="11090" y="3308"/>
                </a:lnTo>
                <a:close/>
                <a:moveTo>
                  <a:pt x="441" y="0"/>
                </a:moveTo>
                <a:cubicBezTo>
                  <a:pt x="189" y="0"/>
                  <a:pt x="0" y="189"/>
                  <a:pt x="0" y="441"/>
                </a:cubicBezTo>
                <a:lnTo>
                  <a:pt x="0" y="10365"/>
                </a:lnTo>
                <a:cubicBezTo>
                  <a:pt x="0" y="10586"/>
                  <a:pt x="189" y="10806"/>
                  <a:pt x="441" y="10806"/>
                </a:cubicBezTo>
                <a:lnTo>
                  <a:pt x="12287" y="10806"/>
                </a:lnTo>
                <a:cubicBezTo>
                  <a:pt x="12508" y="10806"/>
                  <a:pt x="12728" y="10586"/>
                  <a:pt x="12728" y="10365"/>
                </a:cubicBezTo>
                <a:lnTo>
                  <a:pt x="12728" y="2930"/>
                </a:lnTo>
                <a:lnTo>
                  <a:pt x="12728" y="441"/>
                </a:lnTo>
                <a:cubicBezTo>
                  <a:pt x="12728" y="189"/>
                  <a:pt x="12508" y="0"/>
                  <a:pt x="122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5" name="Google Shape;6405;p72"/>
          <p:cNvSpPr/>
          <p:nvPr/>
        </p:nvSpPr>
        <p:spPr>
          <a:xfrm>
            <a:off x="5327253" y="4396296"/>
            <a:ext cx="387051" cy="500473"/>
          </a:xfrm>
          <a:custGeom>
            <a:avLst/>
            <a:gdLst/>
            <a:ahLst/>
            <a:cxnLst/>
            <a:rect l="l" t="t" r="r" b="b"/>
            <a:pathLst>
              <a:path w="9862" h="12752" extrusionOk="0">
                <a:moveTo>
                  <a:pt x="2395" y="1001"/>
                </a:moveTo>
                <a:lnTo>
                  <a:pt x="5042" y="3552"/>
                </a:lnTo>
                <a:lnTo>
                  <a:pt x="3971" y="4655"/>
                </a:lnTo>
                <a:lnTo>
                  <a:pt x="1356" y="2103"/>
                </a:lnTo>
                <a:lnTo>
                  <a:pt x="2395" y="1001"/>
                </a:lnTo>
                <a:close/>
                <a:moveTo>
                  <a:pt x="5640" y="4151"/>
                </a:moveTo>
                <a:lnTo>
                  <a:pt x="6302" y="4781"/>
                </a:lnTo>
                <a:lnTo>
                  <a:pt x="5231" y="5884"/>
                </a:lnTo>
                <a:lnTo>
                  <a:pt x="4569" y="5254"/>
                </a:lnTo>
                <a:lnTo>
                  <a:pt x="5640" y="4151"/>
                </a:lnTo>
                <a:close/>
                <a:moveTo>
                  <a:pt x="4443" y="8562"/>
                </a:moveTo>
                <a:cubicBezTo>
                  <a:pt x="4664" y="8562"/>
                  <a:pt x="4821" y="8688"/>
                  <a:pt x="4853" y="8845"/>
                </a:cubicBezTo>
                <a:cubicBezTo>
                  <a:pt x="4884" y="8908"/>
                  <a:pt x="4853" y="8877"/>
                  <a:pt x="4884" y="9790"/>
                </a:cubicBezTo>
                <a:lnTo>
                  <a:pt x="4884" y="10200"/>
                </a:lnTo>
                <a:lnTo>
                  <a:pt x="4065" y="10200"/>
                </a:lnTo>
                <a:lnTo>
                  <a:pt x="4065" y="9003"/>
                </a:lnTo>
                <a:cubicBezTo>
                  <a:pt x="4065" y="8751"/>
                  <a:pt x="4254" y="8562"/>
                  <a:pt x="4443" y="8562"/>
                </a:cubicBezTo>
                <a:close/>
                <a:moveTo>
                  <a:pt x="7814" y="10956"/>
                </a:moveTo>
                <a:cubicBezTo>
                  <a:pt x="8035" y="10956"/>
                  <a:pt x="8224" y="11145"/>
                  <a:pt x="8224" y="11366"/>
                </a:cubicBezTo>
                <a:lnTo>
                  <a:pt x="8224" y="11744"/>
                </a:lnTo>
                <a:lnTo>
                  <a:pt x="789" y="11870"/>
                </a:lnTo>
                <a:lnTo>
                  <a:pt x="789" y="11460"/>
                </a:lnTo>
                <a:cubicBezTo>
                  <a:pt x="789" y="11271"/>
                  <a:pt x="915" y="11114"/>
                  <a:pt x="1072" y="11082"/>
                </a:cubicBezTo>
                <a:cubicBezTo>
                  <a:pt x="1104" y="11066"/>
                  <a:pt x="1072" y="11066"/>
                  <a:pt x="1371" y="11066"/>
                </a:cubicBezTo>
                <a:cubicBezTo>
                  <a:pt x="1671" y="11066"/>
                  <a:pt x="2301" y="11066"/>
                  <a:pt x="3656" y="11051"/>
                </a:cubicBezTo>
                <a:cubicBezTo>
                  <a:pt x="3719" y="11051"/>
                  <a:pt x="5357" y="10988"/>
                  <a:pt x="5325" y="10988"/>
                </a:cubicBezTo>
                <a:cubicBezTo>
                  <a:pt x="5483" y="10988"/>
                  <a:pt x="7121" y="10956"/>
                  <a:pt x="7814" y="10956"/>
                </a:cubicBezTo>
                <a:close/>
                <a:moveTo>
                  <a:pt x="2427" y="0"/>
                </a:moveTo>
                <a:cubicBezTo>
                  <a:pt x="2324" y="0"/>
                  <a:pt x="2222" y="40"/>
                  <a:pt x="2143" y="118"/>
                </a:cubicBezTo>
                <a:lnTo>
                  <a:pt x="505" y="1820"/>
                </a:lnTo>
                <a:cubicBezTo>
                  <a:pt x="348" y="1977"/>
                  <a:pt x="348" y="2261"/>
                  <a:pt x="505" y="2418"/>
                </a:cubicBezTo>
                <a:lnTo>
                  <a:pt x="1608" y="3458"/>
                </a:lnTo>
                <a:cubicBezTo>
                  <a:pt x="726" y="4624"/>
                  <a:pt x="505" y="6104"/>
                  <a:pt x="946" y="7396"/>
                </a:cubicBezTo>
                <a:cubicBezTo>
                  <a:pt x="1356" y="8499"/>
                  <a:pt x="2175" y="9412"/>
                  <a:pt x="3277" y="9885"/>
                </a:cubicBezTo>
                <a:lnTo>
                  <a:pt x="3277" y="10263"/>
                </a:lnTo>
                <a:lnTo>
                  <a:pt x="1230" y="10294"/>
                </a:lnTo>
                <a:cubicBezTo>
                  <a:pt x="568" y="10294"/>
                  <a:pt x="1" y="10862"/>
                  <a:pt x="1" y="11555"/>
                </a:cubicBezTo>
                <a:lnTo>
                  <a:pt x="1" y="12374"/>
                </a:lnTo>
                <a:cubicBezTo>
                  <a:pt x="1" y="12594"/>
                  <a:pt x="222" y="12752"/>
                  <a:pt x="442" y="12752"/>
                </a:cubicBezTo>
                <a:lnTo>
                  <a:pt x="8728" y="12657"/>
                </a:lnTo>
                <a:cubicBezTo>
                  <a:pt x="8948" y="12657"/>
                  <a:pt x="9106" y="12437"/>
                  <a:pt x="9106" y="12216"/>
                </a:cubicBezTo>
                <a:lnTo>
                  <a:pt x="9106" y="11397"/>
                </a:lnTo>
                <a:cubicBezTo>
                  <a:pt x="9106" y="10704"/>
                  <a:pt x="8507" y="10168"/>
                  <a:pt x="7846" y="10168"/>
                </a:cubicBezTo>
                <a:lnTo>
                  <a:pt x="5798" y="10200"/>
                </a:lnTo>
                <a:lnTo>
                  <a:pt x="5798" y="10137"/>
                </a:lnTo>
                <a:cubicBezTo>
                  <a:pt x="7153" y="9853"/>
                  <a:pt x="8255" y="8908"/>
                  <a:pt x="8759" y="7680"/>
                </a:cubicBezTo>
                <a:lnTo>
                  <a:pt x="9452" y="7680"/>
                </a:lnTo>
                <a:cubicBezTo>
                  <a:pt x="9704" y="7680"/>
                  <a:pt x="9862" y="7491"/>
                  <a:pt x="9862" y="7270"/>
                </a:cubicBezTo>
                <a:cubicBezTo>
                  <a:pt x="9799" y="6986"/>
                  <a:pt x="9610" y="6797"/>
                  <a:pt x="9389" y="6797"/>
                </a:cubicBezTo>
                <a:lnTo>
                  <a:pt x="6901" y="6829"/>
                </a:lnTo>
                <a:cubicBezTo>
                  <a:pt x="6649" y="6829"/>
                  <a:pt x="6491" y="7018"/>
                  <a:pt x="6491" y="7270"/>
                </a:cubicBezTo>
                <a:cubicBezTo>
                  <a:pt x="6491" y="7491"/>
                  <a:pt x="6712" y="7648"/>
                  <a:pt x="6932" y="7648"/>
                </a:cubicBezTo>
                <a:lnTo>
                  <a:pt x="7751" y="7648"/>
                </a:lnTo>
                <a:cubicBezTo>
                  <a:pt x="7342" y="8436"/>
                  <a:pt x="6586" y="9003"/>
                  <a:pt x="5703" y="9223"/>
                </a:cubicBezTo>
                <a:lnTo>
                  <a:pt x="5703" y="8908"/>
                </a:lnTo>
                <a:cubicBezTo>
                  <a:pt x="5703" y="8341"/>
                  <a:pt x="5357" y="7900"/>
                  <a:pt x="4821" y="7711"/>
                </a:cubicBezTo>
                <a:cubicBezTo>
                  <a:pt x="4709" y="7680"/>
                  <a:pt x="4598" y="7665"/>
                  <a:pt x="4488" y="7665"/>
                </a:cubicBezTo>
                <a:cubicBezTo>
                  <a:pt x="3826" y="7665"/>
                  <a:pt x="3246" y="8205"/>
                  <a:pt x="3246" y="8908"/>
                </a:cubicBezTo>
                <a:cubicBezTo>
                  <a:pt x="1450" y="7932"/>
                  <a:pt x="1041" y="5569"/>
                  <a:pt x="2206" y="4025"/>
                </a:cubicBezTo>
                <a:lnTo>
                  <a:pt x="2206" y="4025"/>
                </a:lnTo>
                <a:lnTo>
                  <a:pt x="5010" y="6734"/>
                </a:lnTo>
                <a:cubicBezTo>
                  <a:pt x="5089" y="6813"/>
                  <a:pt x="5199" y="6853"/>
                  <a:pt x="5310" y="6853"/>
                </a:cubicBezTo>
                <a:cubicBezTo>
                  <a:pt x="5420" y="6853"/>
                  <a:pt x="5530" y="6813"/>
                  <a:pt x="5609" y="6734"/>
                </a:cubicBezTo>
                <a:lnTo>
                  <a:pt x="7216" y="5033"/>
                </a:lnTo>
                <a:cubicBezTo>
                  <a:pt x="7373" y="4876"/>
                  <a:pt x="7373" y="4624"/>
                  <a:pt x="7216" y="4466"/>
                </a:cubicBezTo>
                <a:lnTo>
                  <a:pt x="5955" y="3237"/>
                </a:lnTo>
                <a:lnTo>
                  <a:pt x="2710" y="118"/>
                </a:lnTo>
                <a:cubicBezTo>
                  <a:pt x="2632" y="40"/>
                  <a:pt x="2529" y="0"/>
                  <a:pt x="2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06" name="Google Shape;6406;p72"/>
          <p:cNvGrpSpPr/>
          <p:nvPr/>
        </p:nvGrpSpPr>
        <p:grpSpPr>
          <a:xfrm>
            <a:off x="2213089" y="2045450"/>
            <a:ext cx="506988" cy="495724"/>
            <a:chOff x="-42430625" y="1949750"/>
            <a:chExt cx="322950" cy="315775"/>
          </a:xfrm>
        </p:grpSpPr>
        <p:sp>
          <p:nvSpPr>
            <p:cNvPr id="6407" name="Google Shape;6407;p72"/>
            <p:cNvSpPr/>
            <p:nvPr/>
          </p:nvSpPr>
          <p:spPr>
            <a:xfrm>
              <a:off x="-423534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8" name="Google Shape;6408;p72"/>
            <p:cNvSpPr/>
            <p:nvPr/>
          </p:nvSpPr>
          <p:spPr>
            <a:xfrm>
              <a:off x="-42289650" y="2065525"/>
              <a:ext cx="40975" cy="41000"/>
            </a:xfrm>
            <a:custGeom>
              <a:avLst/>
              <a:gdLst/>
              <a:ahLst/>
              <a:cxnLst/>
              <a:rect l="l" t="t" r="r" b="b"/>
              <a:pathLst>
                <a:path w="1639" h="1640" extrusionOk="0">
                  <a:moveTo>
                    <a:pt x="820" y="1"/>
                  </a:moveTo>
                  <a:cubicBezTo>
                    <a:pt x="379" y="1"/>
                    <a:pt x="1" y="379"/>
                    <a:pt x="1" y="820"/>
                  </a:cubicBezTo>
                  <a:cubicBezTo>
                    <a:pt x="1" y="1293"/>
                    <a:pt x="379" y="1639"/>
                    <a:pt x="820" y="1639"/>
                  </a:cubicBezTo>
                  <a:cubicBezTo>
                    <a:pt x="1292" y="1639"/>
                    <a:pt x="1639" y="1293"/>
                    <a:pt x="1639" y="820"/>
                  </a:cubicBezTo>
                  <a:cubicBezTo>
                    <a:pt x="1639"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09" name="Google Shape;6409;p72"/>
            <p:cNvSpPr/>
            <p:nvPr/>
          </p:nvSpPr>
          <p:spPr>
            <a:xfrm>
              <a:off x="-42226625" y="2065525"/>
              <a:ext cx="40975" cy="41000"/>
            </a:xfrm>
            <a:custGeom>
              <a:avLst/>
              <a:gdLst/>
              <a:ahLst/>
              <a:cxnLst/>
              <a:rect l="l" t="t" r="r" b="b"/>
              <a:pathLst>
                <a:path w="1639" h="1640" extrusionOk="0">
                  <a:moveTo>
                    <a:pt x="819" y="1"/>
                  </a:moveTo>
                  <a:cubicBezTo>
                    <a:pt x="378" y="1"/>
                    <a:pt x="0" y="379"/>
                    <a:pt x="0" y="820"/>
                  </a:cubicBezTo>
                  <a:cubicBezTo>
                    <a:pt x="0" y="1293"/>
                    <a:pt x="378" y="1639"/>
                    <a:pt x="819" y="1639"/>
                  </a:cubicBezTo>
                  <a:cubicBezTo>
                    <a:pt x="1292" y="1639"/>
                    <a:pt x="1638" y="1293"/>
                    <a:pt x="1638" y="820"/>
                  </a:cubicBezTo>
                  <a:cubicBezTo>
                    <a:pt x="1638" y="379"/>
                    <a:pt x="1292" y="1"/>
                    <a:pt x="8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0" name="Google Shape;6410;p72"/>
            <p:cNvSpPr/>
            <p:nvPr/>
          </p:nvSpPr>
          <p:spPr>
            <a:xfrm>
              <a:off x="-42430625" y="1949750"/>
              <a:ext cx="322950" cy="315775"/>
            </a:xfrm>
            <a:custGeom>
              <a:avLst/>
              <a:gdLst/>
              <a:ahLst/>
              <a:cxnLst/>
              <a:rect l="l" t="t" r="r" b="b"/>
              <a:pathLst>
                <a:path w="12918" h="12631" extrusionOk="0">
                  <a:moveTo>
                    <a:pt x="6427" y="757"/>
                  </a:moveTo>
                  <a:cubicBezTo>
                    <a:pt x="8790" y="757"/>
                    <a:pt x="10712" y="2017"/>
                    <a:pt x="11500" y="3655"/>
                  </a:cubicBezTo>
                  <a:cubicBezTo>
                    <a:pt x="12098" y="4821"/>
                    <a:pt x="12098" y="6081"/>
                    <a:pt x="11500" y="7215"/>
                  </a:cubicBezTo>
                  <a:cubicBezTo>
                    <a:pt x="10679" y="8857"/>
                    <a:pt x="8789" y="10067"/>
                    <a:pt x="6472" y="10067"/>
                  </a:cubicBezTo>
                  <a:cubicBezTo>
                    <a:pt x="6210" y="10067"/>
                    <a:pt x="5943" y="10051"/>
                    <a:pt x="5671" y="10019"/>
                  </a:cubicBezTo>
                  <a:cubicBezTo>
                    <a:pt x="5545" y="10019"/>
                    <a:pt x="5451" y="10051"/>
                    <a:pt x="5325" y="10145"/>
                  </a:cubicBezTo>
                  <a:lnTo>
                    <a:pt x="4285" y="11153"/>
                  </a:lnTo>
                  <a:lnTo>
                    <a:pt x="4285" y="9988"/>
                  </a:lnTo>
                  <a:cubicBezTo>
                    <a:pt x="4285" y="9830"/>
                    <a:pt x="4190" y="9673"/>
                    <a:pt x="4033" y="9578"/>
                  </a:cubicBezTo>
                  <a:cubicBezTo>
                    <a:pt x="3088" y="9200"/>
                    <a:pt x="2300" y="8602"/>
                    <a:pt x="1796" y="7908"/>
                  </a:cubicBezTo>
                  <a:cubicBezTo>
                    <a:pt x="0" y="5577"/>
                    <a:pt x="1071" y="2458"/>
                    <a:pt x="4033" y="1229"/>
                  </a:cubicBezTo>
                  <a:cubicBezTo>
                    <a:pt x="4726" y="914"/>
                    <a:pt x="5545" y="757"/>
                    <a:pt x="6427" y="757"/>
                  </a:cubicBezTo>
                  <a:close/>
                  <a:moveTo>
                    <a:pt x="6427" y="1"/>
                  </a:moveTo>
                  <a:cubicBezTo>
                    <a:pt x="2962" y="1"/>
                    <a:pt x="126" y="2427"/>
                    <a:pt x="126" y="5451"/>
                  </a:cubicBezTo>
                  <a:cubicBezTo>
                    <a:pt x="126" y="7593"/>
                    <a:pt x="1544" y="9389"/>
                    <a:pt x="3497" y="10303"/>
                  </a:cubicBezTo>
                  <a:lnTo>
                    <a:pt x="3497" y="12193"/>
                  </a:lnTo>
                  <a:cubicBezTo>
                    <a:pt x="3497" y="12319"/>
                    <a:pt x="3560" y="12477"/>
                    <a:pt x="3655" y="12540"/>
                  </a:cubicBezTo>
                  <a:cubicBezTo>
                    <a:pt x="3729" y="12599"/>
                    <a:pt x="3825" y="12631"/>
                    <a:pt x="3921" y="12631"/>
                  </a:cubicBezTo>
                  <a:cubicBezTo>
                    <a:pt x="4029" y="12631"/>
                    <a:pt x="4139" y="12591"/>
                    <a:pt x="4222" y="12508"/>
                  </a:cubicBezTo>
                  <a:lnTo>
                    <a:pt x="5829" y="10901"/>
                  </a:lnTo>
                  <a:cubicBezTo>
                    <a:pt x="6063" y="10925"/>
                    <a:pt x="6295" y="10936"/>
                    <a:pt x="6524" y="10936"/>
                  </a:cubicBezTo>
                  <a:cubicBezTo>
                    <a:pt x="9075" y="10936"/>
                    <a:pt x="11304" y="9530"/>
                    <a:pt x="12287" y="7593"/>
                  </a:cubicBezTo>
                  <a:cubicBezTo>
                    <a:pt x="12917" y="6239"/>
                    <a:pt x="12917" y="4663"/>
                    <a:pt x="12256" y="3309"/>
                  </a:cubicBezTo>
                  <a:cubicBezTo>
                    <a:pt x="11311" y="1324"/>
                    <a:pt x="9074" y="1"/>
                    <a:pt x="6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11" name="Google Shape;6411;p72"/>
          <p:cNvSpPr/>
          <p:nvPr/>
        </p:nvSpPr>
        <p:spPr>
          <a:xfrm>
            <a:off x="2292049" y="2642205"/>
            <a:ext cx="432812" cy="497099"/>
          </a:xfrm>
          <a:custGeom>
            <a:avLst/>
            <a:gdLst/>
            <a:ahLst/>
            <a:cxnLst/>
            <a:rect l="l" t="t" r="r" b="b"/>
            <a:pathLst>
              <a:path w="11028" h="12666" extrusionOk="0">
                <a:moveTo>
                  <a:pt x="8538" y="820"/>
                </a:moveTo>
                <a:lnTo>
                  <a:pt x="8538" y="2710"/>
                </a:lnTo>
                <a:lnTo>
                  <a:pt x="8412" y="2584"/>
                </a:lnTo>
                <a:cubicBezTo>
                  <a:pt x="8333" y="2505"/>
                  <a:pt x="8223" y="2466"/>
                  <a:pt x="8113" y="2466"/>
                </a:cubicBezTo>
                <a:cubicBezTo>
                  <a:pt x="8003" y="2466"/>
                  <a:pt x="7892" y="2505"/>
                  <a:pt x="7814" y="2584"/>
                </a:cubicBezTo>
                <a:lnTo>
                  <a:pt x="7719" y="2710"/>
                </a:lnTo>
                <a:lnTo>
                  <a:pt x="7719" y="820"/>
                </a:lnTo>
                <a:close/>
                <a:moveTo>
                  <a:pt x="10177" y="820"/>
                </a:moveTo>
                <a:lnTo>
                  <a:pt x="10177" y="9357"/>
                </a:lnTo>
                <a:lnTo>
                  <a:pt x="2458" y="9357"/>
                </a:lnTo>
                <a:lnTo>
                  <a:pt x="2458" y="820"/>
                </a:lnTo>
                <a:lnTo>
                  <a:pt x="6869" y="820"/>
                </a:lnTo>
                <a:lnTo>
                  <a:pt x="6869" y="3687"/>
                </a:lnTo>
                <a:cubicBezTo>
                  <a:pt x="6869" y="3813"/>
                  <a:pt x="6932" y="3970"/>
                  <a:pt x="7026" y="4033"/>
                </a:cubicBezTo>
                <a:cubicBezTo>
                  <a:pt x="7100" y="4093"/>
                  <a:pt x="7196" y="4124"/>
                  <a:pt x="7292" y="4124"/>
                </a:cubicBezTo>
                <a:cubicBezTo>
                  <a:pt x="7400" y="4124"/>
                  <a:pt x="7510" y="4085"/>
                  <a:pt x="7593" y="4002"/>
                </a:cubicBezTo>
                <a:lnTo>
                  <a:pt x="8129" y="3466"/>
                </a:lnTo>
                <a:lnTo>
                  <a:pt x="8664" y="3970"/>
                </a:lnTo>
                <a:cubicBezTo>
                  <a:pt x="8719" y="4024"/>
                  <a:pt x="8844" y="4102"/>
                  <a:pt x="8958" y="4102"/>
                </a:cubicBezTo>
                <a:cubicBezTo>
                  <a:pt x="8976" y="4102"/>
                  <a:pt x="8994" y="4100"/>
                  <a:pt x="9011" y="4096"/>
                </a:cubicBezTo>
                <a:cubicBezTo>
                  <a:pt x="9200" y="4033"/>
                  <a:pt x="9357" y="3876"/>
                  <a:pt x="9357" y="3687"/>
                </a:cubicBezTo>
                <a:lnTo>
                  <a:pt x="9357" y="820"/>
                </a:lnTo>
                <a:close/>
                <a:moveTo>
                  <a:pt x="1639" y="851"/>
                </a:moveTo>
                <a:lnTo>
                  <a:pt x="1639" y="9326"/>
                </a:lnTo>
                <a:cubicBezTo>
                  <a:pt x="1355" y="9326"/>
                  <a:pt x="1103" y="9389"/>
                  <a:pt x="820" y="9546"/>
                </a:cubicBezTo>
                <a:lnTo>
                  <a:pt x="820" y="2017"/>
                </a:lnTo>
                <a:cubicBezTo>
                  <a:pt x="820" y="1481"/>
                  <a:pt x="1166" y="1040"/>
                  <a:pt x="1639" y="851"/>
                </a:cubicBezTo>
                <a:close/>
                <a:moveTo>
                  <a:pt x="10145" y="10177"/>
                </a:moveTo>
                <a:lnTo>
                  <a:pt x="10145" y="11846"/>
                </a:lnTo>
                <a:lnTo>
                  <a:pt x="1639" y="11846"/>
                </a:lnTo>
                <a:cubicBezTo>
                  <a:pt x="1166" y="11846"/>
                  <a:pt x="820" y="11500"/>
                  <a:pt x="820" y="11027"/>
                </a:cubicBezTo>
                <a:cubicBezTo>
                  <a:pt x="820" y="10555"/>
                  <a:pt x="1166" y="10177"/>
                  <a:pt x="1639" y="10177"/>
                </a:cubicBezTo>
                <a:close/>
                <a:moveTo>
                  <a:pt x="1985" y="0"/>
                </a:moveTo>
                <a:cubicBezTo>
                  <a:pt x="851" y="32"/>
                  <a:pt x="0" y="946"/>
                  <a:pt x="0" y="2017"/>
                </a:cubicBezTo>
                <a:lnTo>
                  <a:pt x="0" y="11027"/>
                </a:lnTo>
                <a:cubicBezTo>
                  <a:pt x="0" y="11909"/>
                  <a:pt x="725" y="12665"/>
                  <a:pt x="1639" y="12665"/>
                </a:cubicBezTo>
                <a:lnTo>
                  <a:pt x="10618" y="12665"/>
                </a:lnTo>
                <a:cubicBezTo>
                  <a:pt x="10870" y="12665"/>
                  <a:pt x="11027" y="12476"/>
                  <a:pt x="11027" y="12224"/>
                </a:cubicBezTo>
                <a:lnTo>
                  <a:pt x="11027" y="379"/>
                </a:lnTo>
                <a:cubicBezTo>
                  <a:pt x="11027" y="189"/>
                  <a:pt x="10807"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2" name="Google Shape;6412;p72"/>
          <p:cNvSpPr/>
          <p:nvPr/>
        </p:nvSpPr>
        <p:spPr>
          <a:xfrm>
            <a:off x="2262013" y="3218797"/>
            <a:ext cx="493409" cy="496863"/>
          </a:xfrm>
          <a:custGeom>
            <a:avLst/>
            <a:gdLst/>
            <a:ahLst/>
            <a:cxnLst/>
            <a:rect l="l" t="t" r="r" b="b"/>
            <a:pathLst>
              <a:path w="12572" h="12660" extrusionOk="0">
                <a:moveTo>
                  <a:pt x="2773" y="840"/>
                </a:moveTo>
                <a:cubicBezTo>
                  <a:pt x="3025" y="840"/>
                  <a:pt x="3183" y="1061"/>
                  <a:pt x="3183" y="1250"/>
                </a:cubicBezTo>
                <a:lnTo>
                  <a:pt x="3183" y="2888"/>
                </a:lnTo>
                <a:cubicBezTo>
                  <a:pt x="3183" y="3140"/>
                  <a:pt x="2962" y="3298"/>
                  <a:pt x="2773" y="3298"/>
                </a:cubicBezTo>
                <a:cubicBezTo>
                  <a:pt x="2553" y="3298"/>
                  <a:pt x="2395" y="3109"/>
                  <a:pt x="2332" y="2888"/>
                </a:cubicBezTo>
                <a:lnTo>
                  <a:pt x="2332" y="1250"/>
                </a:lnTo>
                <a:cubicBezTo>
                  <a:pt x="2332" y="998"/>
                  <a:pt x="2553" y="840"/>
                  <a:pt x="2773" y="840"/>
                </a:cubicBezTo>
                <a:close/>
                <a:moveTo>
                  <a:pt x="9673" y="840"/>
                </a:moveTo>
                <a:cubicBezTo>
                  <a:pt x="9925" y="840"/>
                  <a:pt x="10082" y="1061"/>
                  <a:pt x="10082" y="1250"/>
                </a:cubicBezTo>
                <a:lnTo>
                  <a:pt x="10082" y="2888"/>
                </a:lnTo>
                <a:cubicBezTo>
                  <a:pt x="10082" y="3140"/>
                  <a:pt x="9862" y="3298"/>
                  <a:pt x="9673" y="3298"/>
                </a:cubicBezTo>
                <a:cubicBezTo>
                  <a:pt x="9452" y="3298"/>
                  <a:pt x="9295" y="3109"/>
                  <a:pt x="9232" y="2888"/>
                </a:cubicBezTo>
                <a:lnTo>
                  <a:pt x="9232" y="1250"/>
                </a:lnTo>
                <a:cubicBezTo>
                  <a:pt x="9232" y="998"/>
                  <a:pt x="9452" y="840"/>
                  <a:pt x="9673" y="840"/>
                </a:cubicBezTo>
                <a:close/>
                <a:moveTo>
                  <a:pt x="11374" y="2479"/>
                </a:moveTo>
                <a:cubicBezTo>
                  <a:pt x="11469" y="2479"/>
                  <a:pt x="11595" y="2542"/>
                  <a:pt x="11689" y="2668"/>
                </a:cubicBezTo>
                <a:cubicBezTo>
                  <a:pt x="11752" y="2794"/>
                  <a:pt x="11721" y="2857"/>
                  <a:pt x="11721" y="2983"/>
                </a:cubicBezTo>
                <a:lnTo>
                  <a:pt x="11721" y="4936"/>
                </a:lnTo>
                <a:lnTo>
                  <a:pt x="694" y="4936"/>
                </a:lnTo>
                <a:lnTo>
                  <a:pt x="694" y="2983"/>
                </a:lnTo>
                <a:cubicBezTo>
                  <a:pt x="694" y="2857"/>
                  <a:pt x="694" y="2794"/>
                  <a:pt x="725" y="2668"/>
                </a:cubicBezTo>
                <a:cubicBezTo>
                  <a:pt x="820" y="2542"/>
                  <a:pt x="946" y="2479"/>
                  <a:pt x="1040" y="2479"/>
                </a:cubicBezTo>
                <a:lnTo>
                  <a:pt x="1513" y="2479"/>
                </a:lnTo>
                <a:lnTo>
                  <a:pt x="1513" y="2888"/>
                </a:lnTo>
                <a:cubicBezTo>
                  <a:pt x="1513" y="3614"/>
                  <a:pt x="2132" y="4133"/>
                  <a:pt x="2803" y="4133"/>
                </a:cubicBezTo>
                <a:cubicBezTo>
                  <a:pt x="2919" y="4133"/>
                  <a:pt x="3036" y="4118"/>
                  <a:pt x="3151" y="4085"/>
                </a:cubicBezTo>
                <a:cubicBezTo>
                  <a:pt x="3655" y="3928"/>
                  <a:pt x="4002" y="3455"/>
                  <a:pt x="4002" y="2888"/>
                </a:cubicBezTo>
                <a:lnTo>
                  <a:pt x="4002" y="2479"/>
                </a:lnTo>
                <a:lnTo>
                  <a:pt x="8413" y="2479"/>
                </a:lnTo>
                <a:lnTo>
                  <a:pt x="8413" y="2888"/>
                </a:lnTo>
                <a:cubicBezTo>
                  <a:pt x="8413" y="3455"/>
                  <a:pt x="8759" y="3928"/>
                  <a:pt x="9263" y="4085"/>
                </a:cubicBezTo>
                <a:cubicBezTo>
                  <a:pt x="9379" y="4118"/>
                  <a:pt x="9496" y="4133"/>
                  <a:pt x="9612" y="4133"/>
                </a:cubicBezTo>
                <a:cubicBezTo>
                  <a:pt x="10282" y="4133"/>
                  <a:pt x="10902" y="3614"/>
                  <a:pt x="10902" y="2888"/>
                </a:cubicBezTo>
                <a:lnTo>
                  <a:pt x="10902" y="2479"/>
                </a:lnTo>
                <a:close/>
                <a:moveTo>
                  <a:pt x="11721" y="5787"/>
                </a:moveTo>
                <a:lnTo>
                  <a:pt x="11721" y="11457"/>
                </a:lnTo>
                <a:cubicBezTo>
                  <a:pt x="11721" y="11678"/>
                  <a:pt x="11532" y="11835"/>
                  <a:pt x="11280" y="11867"/>
                </a:cubicBezTo>
                <a:lnTo>
                  <a:pt x="1072" y="11867"/>
                </a:lnTo>
                <a:cubicBezTo>
                  <a:pt x="851" y="11867"/>
                  <a:pt x="694" y="11678"/>
                  <a:pt x="694" y="11457"/>
                </a:cubicBezTo>
                <a:lnTo>
                  <a:pt x="694" y="5787"/>
                </a:lnTo>
                <a:close/>
                <a:moveTo>
                  <a:pt x="2825" y="1"/>
                </a:moveTo>
                <a:cubicBezTo>
                  <a:pt x="2180" y="1"/>
                  <a:pt x="1608" y="526"/>
                  <a:pt x="1608" y="1250"/>
                </a:cubicBezTo>
                <a:lnTo>
                  <a:pt x="1608" y="1691"/>
                </a:lnTo>
                <a:lnTo>
                  <a:pt x="1135" y="1691"/>
                </a:lnTo>
                <a:cubicBezTo>
                  <a:pt x="851" y="1691"/>
                  <a:pt x="568" y="1785"/>
                  <a:pt x="379" y="2006"/>
                </a:cubicBezTo>
                <a:cubicBezTo>
                  <a:pt x="158" y="2227"/>
                  <a:pt x="1" y="2542"/>
                  <a:pt x="1" y="2888"/>
                </a:cubicBezTo>
                <a:lnTo>
                  <a:pt x="1" y="11457"/>
                </a:lnTo>
                <a:cubicBezTo>
                  <a:pt x="1" y="12087"/>
                  <a:pt x="486" y="12659"/>
                  <a:pt x="1102" y="12659"/>
                </a:cubicBezTo>
                <a:cubicBezTo>
                  <a:pt x="1134" y="12659"/>
                  <a:pt x="1166" y="12658"/>
                  <a:pt x="1198" y="12655"/>
                </a:cubicBezTo>
                <a:lnTo>
                  <a:pt x="11311" y="12655"/>
                </a:lnTo>
                <a:cubicBezTo>
                  <a:pt x="12004" y="12655"/>
                  <a:pt x="12571" y="12119"/>
                  <a:pt x="12571" y="11457"/>
                </a:cubicBezTo>
                <a:lnTo>
                  <a:pt x="12571" y="2888"/>
                </a:lnTo>
                <a:cubicBezTo>
                  <a:pt x="12571" y="2542"/>
                  <a:pt x="12414" y="2227"/>
                  <a:pt x="12193" y="2006"/>
                </a:cubicBezTo>
                <a:cubicBezTo>
                  <a:pt x="12004" y="1785"/>
                  <a:pt x="11721" y="1691"/>
                  <a:pt x="11437" y="1691"/>
                </a:cubicBezTo>
                <a:lnTo>
                  <a:pt x="10965" y="1691"/>
                </a:lnTo>
                <a:lnTo>
                  <a:pt x="10965" y="1250"/>
                </a:lnTo>
                <a:cubicBezTo>
                  <a:pt x="10965" y="526"/>
                  <a:pt x="10392" y="1"/>
                  <a:pt x="9747" y="1"/>
                </a:cubicBezTo>
                <a:cubicBezTo>
                  <a:pt x="9577" y="1"/>
                  <a:pt x="9402" y="37"/>
                  <a:pt x="9232" y="116"/>
                </a:cubicBezTo>
                <a:cubicBezTo>
                  <a:pt x="8759" y="305"/>
                  <a:pt x="8507" y="746"/>
                  <a:pt x="8507" y="1250"/>
                </a:cubicBezTo>
                <a:lnTo>
                  <a:pt x="8507" y="1691"/>
                </a:lnTo>
                <a:lnTo>
                  <a:pt x="4096" y="1691"/>
                </a:lnTo>
                <a:lnTo>
                  <a:pt x="4096" y="1250"/>
                </a:lnTo>
                <a:cubicBezTo>
                  <a:pt x="4096" y="746"/>
                  <a:pt x="3781" y="305"/>
                  <a:pt x="3340" y="116"/>
                </a:cubicBezTo>
                <a:cubicBezTo>
                  <a:pt x="3170" y="37"/>
                  <a:pt x="2995" y="1"/>
                  <a:pt x="28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3" name="Google Shape;6413;p72"/>
          <p:cNvSpPr/>
          <p:nvPr/>
        </p:nvSpPr>
        <p:spPr>
          <a:xfrm>
            <a:off x="5222695" y="2091102"/>
            <a:ext cx="498355" cy="453809"/>
          </a:xfrm>
          <a:custGeom>
            <a:avLst/>
            <a:gdLst/>
            <a:ahLst/>
            <a:cxnLst/>
            <a:rect l="l" t="t" r="r" b="b"/>
            <a:pathLst>
              <a:path w="12698" h="11563" extrusionOk="0">
                <a:moveTo>
                  <a:pt x="2490" y="820"/>
                </a:moveTo>
                <a:cubicBezTo>
                  <a:pt x="3529" y="914"/>
                  <a:pt x="4600" y="1292"/>
                  <a:pt x="5483" y="2017"/>
                </a:cubicBezTo>
                <a:lnTo>
                  <a:pt x="5798" y="2237"/>
                </a:lnTo>
                <a:lnTo>
                  <a:pt x="5798" y="10334"/>
                </a:lnTo>
                <a:lnTo>
                  <a:pt x="5766" y="10334"/>
                </a:lnTo>
                <a:cubicBezTo>
                  <a:pt x="4789" y="9609"/>
                  <a:pt x="3655" y="9168"/>
                  <a:pt x="2490" y="9105"/>
                </a:cubicBezTo>
                <a:lnTo>
                  <a:pt x="2490" y="820"/>
                </a:lnTo>
                <a:close/>
                <a:moveTo>
                  <a:pt x="9925" y="883"/>
                </a:moveTo>
                <a:lnTo>
                  <a:pt x="9925" y="9137"/>
                </a:lnTo>
                <a:cubicBezTo>
                  <a:pt x="8728" y="9200"/>
                  <a:pt x="7593" y="9609"/>
                  <a:pt x="6617" y="10334"/>
                </a:cubicBezTo>
                <a:lnTo>
                  <a:pt x="6617" y="2300"/>
                </a:lnTo>
                <a:lnTo>
                  <a:pt x="6932" y="2048"/>
                </a:lnTo>
                <a:cubicBezTo>
                  <a:pt x="7782" y="1355"/>
                  <a:pt x="8854" y="946"/>
                  <a:pt x="9925" y="883"/>
                </a:cubicBezTo>
                <a:close/>
                <a:moveTo>
                  <a:pt x="1702" y="2458"/>
                </a:moveTo>
                <a:lnTo>
                  <a:pt x="1702" y="9483"/>
                </a:lnTo>
                <a:cubicBezTo>
                  <a:pt x="1702" y="9735"/>
                  <a:pt x="1891" y="9924"/>
                  <a:pt x="2080" y="9924"/>
                </a:cubicBezTo>
                <a:cubicBezTo>
                  <a:pt x="3057" y="9924"/>
                  <a:pt x="4096" y="10208"/>
                  <a:pt x="4978" y="10744"/>
                </a:cubicBezTo>
                <a:lnTo>
                  <a:pt x="1261" y="10744"/>
                </a:lnTo>
                <a:cubicBezTo>
                  <a:pt x="1009" y="10744"/>
                  <a:pt x="851" y="10555"/>
                  <a:pt x="851" y="10334"/>
                </a:cubicBezTo>
                <a:lnTo>
                  <a:pt x="851" y="2867"/>
                </a:lnTo>
                <a:cubicBezTo>
                  <a:pt x="851" y="2647"/>
                  <a:pt x="1040" y="2489"/>
                  <a:pt x="1261" y="2458"/>
                </a:cubicBezTo>
                <a:close/>
                <a:moveTo>
                  <a:pt x="11406" y="2458"/>
                </a:moveTo>
                <a:cubicBezTo>
                  <a:pt x="11658" y="2458"/>
                  <a:pt x="11815" y="2647"/>
                  <a:pt x="11847" y="2867"/>
                </a:cubicBezTo>
                <a:lnTo>
                  <a:pt x="11847" y="10334"/>
                </a:lnTo>
                <a:cubicBezTo>
                  <a:pt x="11847" y="10555"/>
                  <a:pt x="11658" y="10712"/>
                  <a:pt x="11406" y="10744"/>
                </a:cubicBezTo>
                <a:lnTo>
                  <a:pt x="7436" y="10744"/>
                </a:lnTo>
                <a:cubicBezTo>
                  <a:pt x="8255" y="10239"/>
                  <a:pt x="9295" y="9924"/>
                  <a:pt x="10303" y="9924"/>
                </a:cubicBezTo>
                <a:cubicBezTo>
                  <a:pt x="10555" y="9924"/>
                  <a:pt x="10712" y="9735"/>
                  <a:pt x="10712" y="9483"/>
                </a:cubicBezTo>
                <a:lnTo>
                  <a:pt x="10712" y="2458"/>
                </a:lnTo>
                <a:close/>
                <a:moveTo>
                  <a:pt x="2080" y="0"/>
                </a:moveTo>
                <a:cubicBezTo>
                  <a:pt x="1828" y="0"/>
                  <a:pt x="1670" y="189"/>
                  <a:pt x="1670" y="410"/>
                </a:cubicBezTo>
                <a:lnTo>
                  <a:pt x="1670" y="1670"/>
                </a:lnTo>
                <a:lnTo>
                  <a:pt x="1261" y="1670"/>
                </a:lnTo>
                <a:cubicBezTo>
                  <a:pt x="568" y="1670"/>
                  <a:pt x="1" y="2206"/>
                  <a:pt x="32" y="2930"/>
                </a:cubicBezTo>
                <a:lnTo>
                  <a:pt x="32" y="10334"/>
                </a:lnTo>
                <a:cubicBezTo>
                  <a:pt x="32" y="10996"/>
                  <a:pt x="568" y="11563"/>
                  <a:pt x="1261" y="11563"/>
                </a:cubicBezTo>
                <a:lnTo>
                  <a:pt x="11437" y="11563"/>
                </a:lnTo>
                <a:cubicBezTo>
                  <a:pt x="12130" y="11563"/>
                  <a:pt x="12697" y="11027"/>
                  <a:pt x="12697" y="10334"/>
                </a:cubicBezTo>
                <a:lnTo>
                  <a:pt x="12697" y="2867"/>
                </a:lnTo>
                <a:cubicBezTo>
                  <a:pt x="12666" y="2206"/>
                  <a:pt x="12130" y="1670"/>
                  <a:pt x="11437" y="1670"/>
                </a:cubicBezTo>
                <a:lnTo>
                  <a:pt x="10744" y="1670"/>
                </a:lnTo>
                <a:lnTo>
                  <a:pt x="10744" y="410"/>
                </a:lnTo>
                <a:cubicBezTo>
                  <a:pt x="10744" y="158"/>
                  <a:pt x="10555" y="0"/>
                  <a:pt x="10334" y="0"/>
                </a:cubicBezTo>
                <a:cubicBezTo>
                  <a:pt x="8980" y="0"/>
                  <a:pt x="7562" y="473"/>
                  <a:pt x="6396" y="1387"/>
                </a:cubicBezTo>
                <a:lnTo>
                  <a:pt x="6207" y="1544"/>
                </a:lnTo>
                <a:lnTo>
                  <a:pt x="6018" y="1387"/>
                </a:lnTo>
                <a:cubicBezTo>
                  <a:pt x="4915" y="473"/>
                  <a:pt x="3498"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4" name="Google Shape;6414;p72"/>
          <p:cNvSpPr/>
          <p:nvPr/>
        </p:nvSpPr>
        <p:spPr>
          <a:xfrm>
            <a:off x="5248555" y="2676819"/>
            <a:ext cx="505772" cy="498355"/>
          </a:xfrm>
          <a:custGeom>
            <a:avLst/>
            <a:gdLst/>
            <a:ahLst/>
            <a:cxnLst/>
            <a:rect l="l" t="t" r="r" b="b"/>
            <a:pathLst>
              <a:path w="12887" h="12698" extrusionOk="0">
                <a:moveTo>
                  <a:pt x="7814" y="3309"/>
                </a:moveTo>
                <a:cubicBezTo>
                  <a:pt x="7782" y="3592"/>
                  <a:pt x="7782" y="3907"/>
                  <a:pt x="7814" y="4159"/>
                </a:cubicBezTo>
                <a:lnTo>
                  <a:pt x="4947" y="4159"/>
                </a:lnTo>
                <a:cubicBezTo>
                  <a:pt x="4978" y="3876"/>
                  <a:pt x="4978" y="3592"/>
                  <a:pt x="4947" y="3309"/>
                </a:cubicBezTo>
                <a:close/>
                <a:moveTo>
                  <a:pt x="9830" y="788"/>
                </a:moveTo>
                <a:cubicBezTo>
                  <a:pt x="10082" y="788"/>
                  <a:pt x="10366" y="820"/>
                  <a:pt x="10618" y="946"/>
                </a:cubicBezTo>
                <a:cubicBezTo>
                  <a:pt x="11721" y="1481"/>
                  <a:pt x="12193" y="2678"/>
                  <a:pt x="11752" y="3718"/>
                </a:cubicBezTo>
                <a:cubicBezTo>
                  <a:pt x="11500" y="4254"/>
                  <a:pt x="11027" y="4695"/>
                  <a:pt x="10460" y="4884"/>
                </a:cubicBezTo>
                <a:cubicBezTo>
                  <a:pt x="10261" y="4950"/>
                  <a:pt x="10035" y="4990"/>
                  <a:pt x="9816" y="4990"/>
                </a:cubicBezTo>
                <a:cubicBezTo>
                  <a:pt x="9619" y="4990"/>
                  <a:pt x="9427" y="4958"/>
                  <a:pt x="9263" y="4884"/>
                </a:cubicBezTo>
                <a:cubicBezTo>
                  <a:pt x="9074" y="4821"/>
                  <a:pt x="8885" y="4663"/>
                  <a:pt x="8791" y="4474"/>
                </a:cubicBezTo>
                <a:cubicBezTo>
                  <a:pt x="8791" y="4411"/>
                  <a:pt x="8759" y="4380"/>
                  <a:pt x="8728" y="4348"/>
                </a:cubicBezTo>
                <a:cubicBezTo>
                  <a:pt x="8570" y="3970"/>
                  <a:pt x="8570" y="3561"/>
                  <a:pt x="8728" y="3183"/>
                </a:cubicBezTo>
                <a:cubicBezTo>
                  <a:pt x="8759" y="3151"/>
                  <a:pt x="8759" y="3120"/>
                  <a:pt x="8791" y="3088"/>
                </a:cubicBezTo>
                <a:cubicBezTo>
                  <a:pt x="8980" y="2710"/>
                  <a:pt x="9358" y="2521"/>
                  <a:pt x="9830" y="2521"/>
                </a:cubicBezTo>
                <a:cubicBezTo>
                  <a:pt x="9956" y="2521"/>
                  <a:pt x="10019" y="2552"/>
                  <a:pt x="10082" y="2615"/>
                </a:cubicBezTo>
                <a:cubicBezTo>
                  <a:pt x="10240" y="2773"/>
                  <a:pt x="10240" y="3025"/>
                  <a:pt x="10145" y="3183"/>
                </a:cubicBezTo>
                <a:cubicBezTo>
                  <a:pt x="10051" y="3309"/>
                  <a:pt x="9956" y="3340"/>
                  <a:pt x="9830" y="3340"/>
                </a:cubicBezTo>
                <a:cubicBezTo>
                  <a:pt x="9578" y="3340"/>
                  <a:pt x="9389" y="3561"/>
                  <a:pt x="9389" y="3781"/>
                </a:cubicBezTo>
                <a:cubicBezTo>
                  <a:pt x="9389" y="4033"/>
                  <a:pt x="9578" y="4222"/>
                  <a:pt x="9830" y="4222"/>
                </a:cubicBezTo>
                <a:cubicBezTo>
                  <a:pt x="10555" y="4222"/>
                  <a:pt x="11059" y="3655"/>
                  <a:pt x="11059" y="2962"/>
                </a:cubicBezTo>
                <a:cubicBezTo>
                  <a:pt x="11059" y="2395"/>
                  <a:pt x="10681" y="1891"/>
                  <a:pt x="10114" y="1733"/>
                </a:cubicBezTo>
                <a:cubicBezTo>
                  <a:pt x="10034" y="1721"/>
                  <a:pt x="9933" y="1712"/>
                  <a:pt x="9817" y="1712"/>
                </a:cubicBezTo>
                <a:cubicBezTo>
                  <a:pt x="9339" y="1712"/>
                  <a:pt x="8611" y="1861"/>
                  <a:pt x="8129" y="2521"/>
                </a:cubicBezTo>
                <a:lnTo>
                  <a:pt x="4600" y="2521"/>
                </a:lnTo>
                <a:cubicBezTo>
                  <a:pt x="4191" y="1985"/>
                  <a:pt x="3592" y="1702"/>
                  <a:pt x="2931" y="1702"/>
                </a:cubicBezTo>
                <a:cubicBezTo>
                  <a:pt x="2395" y="1702"/>
                  <a:pt x="1986" y="1985"/>
                  <a:pt x="1796" y="2458"/>
                </a:cubicBezTo>
                <a:cubicBezTo>
                  <a:pt x="1481" y="3246"/>
                  <a:pt x="1954" y="4191"/>
                  <a:pt x="2931" y="4191"/>
                </a:cubicBezTo>
                <a:cubicBezTo>
                  <a:pt x="3183" y="4191"/>
                  <a:pt x="3340" y="3970"/>
                  <a:pt x="3340" y="3750"/>
                </a:cubicBezTo>
                <a:cubicBezTo>
                  <a:pt x="3340" y="3498"/>
                  <a:pt x="3120" y="3309"/>
                  <a:pt x="2931" y="3309"/>
                </a:cubicBezTo>
                <a:cubicBezTo>
                  <a:pt x="2805" y="3309"/>
                  <a:pt x="2742" y="3277"/>
                  <a:pt x="2647" y="3246"/>
                </a:cubicBezTo>
                <a:cubicBezTo>
                  <a:pt x="2458" y="3057"/>
                  <a:pt x="2490" y="2615"/>
                  <a:pt x="2805" y="2521"/>
                </a:cubicBezTo>
                <a:cubicBezTo>
                  <a:pt x="2836" y="2513"/>
                  <a:pt x="2879" y="2509"/>
                  <a:pt x="2931" y="2509"/>
                </a:cubicBezTo>
                <a:cubicBezTo>
                  <a:pt x="3084" y="2509"/>
                  <a:pt x="3309" y="2545"/>
                  <a:pt x="3498" y="2615"/>
                </a:cubicBezTo>
                <a:cubicBezTo>
                  <a:pt x="3687" y="2678"/>
                  <a:pt x="3876" y="2836"/>
                  <a:pt x="3970" y="3025"/>
                </a:cubicBezTo>
                <a:cubicBezTo>
                  <a:pt x="3970" y="3088"/>
                  <a:pt x="4002" y="3120"/>
                  <a:pt x="4033" y="3151"/>
                </a:cubicBezTo>
                <a:cubicBezTo>
                  <a:pt x="4191" y="3498"/>
                  <a:pt x="4191" y="3939"/>
                  <a:pt x="4033" y="4285"/>
                </a:cubicBezTo>
                <a:cubicBezTo>
                  <a:pt x="4002" y="4348"/>
                  <a:pt x="4002" y="4380"/>
                  <a:pt x="3970" y="4411"/>
                </a:cubicBezTo>
                <a:cubicBezTo>
                  <a:pt x="3750" y="4726"/>
                  <a:pt x="3403" y="4978"/>
                  <a:pt x="2931" y="4978"/>
                </a:cubicBezTo>
                <a:cubicBezTo>
                  <a:pt x="1796" y="4978"/>
                  <a:pt x="851" y="4033"/>
                  <a:pt x="851" y="2899"/>
                </a:cubicBezTo>
                <a:cubicBezTo>
                  <a:pt x="851" y="1733"/>
                  <a:pt x="1765" y="851"/>
                  <a:pt x="2931" y="788"/>
                </a:cubicBezTo>
                <a:close/>
                <a:moveTo>
                  <a:pt x="7751" y="4915"/>
                </a:moveTo>
                <a:lnTo>
                  <a:pt x="7751" y="10618"/>
                </a:lnTo>
                <a:cubicBezTo>
                  <a:pt x="7751" y="10838"/>
                  <a:pt x="7940" y="11027"/>
                  <a:pt x="8129" y="11027"/>
                </a:cubicBezTo>
                <a:cubicBezTo>
                  <a:pt x="8318" y="11027"/>
                  <a:pt x="8570" y="10838"/>
                  <a:pt x="8570" y="10618"/>
                </a:cubicBezTo>
                <a:lnTo>
                  <a:pt x="8570" y="5419"/>
                </a:lnTo>
                <a:cubicBezTo>
                  <a:pt x="8791" y="5577"/>
                  <a:pt x="9074" y="5671"/>
                  <a:pt x="9389" y="5766"/>
                </a:cubicBezTo>
                <a:lnTo>
                  <a:pt x="9389" y="11878"/>
                </a:lnTo>
                <a:lnTo>
                  <a:pt x="3372" y="11878"/>
                </a:lnTo>
                <a:lnTo>
                  <a:pt x="3372" y="5766"/>
                </a:lnTo>
                <a:cubicBezTo>
                  <a:pt x="3687" y="5734"/>
                  <a:pt x="3970" y="5608"/>
                  <a:pt x="4191" y="5419"/>
                </a:cubicBezTo>
                <a:lnTo>
                  <a:pt x="4191" y="10618"/>
                </a:lnTo>
                <a:cubicBezTo>
                  <a:pt x="4191" y="10838"/>
                  <a:pt x="4380" y="11027"/>
                  <a:pt x="4600" y="11027"/>
                </a:cubicBezTo>
                <a:cubicBezTo>
                  <a:pt x="4821" y="11027"/>
                  <a:pt x="5010" y="10838"/>
                  <a:pt x="5010" y="10618"/>
                </a:cubicBezTo>
                <a:lnTo>
                  <a:pt x="5010" y="4915"/>
                </a:lnTo>
                <a:lnTo>
                  <a:pt x="5861" y="4915"/>
                </a:lnTo>
                <a:lnTo>
                  <a:pt x="5861" y="10618"/>
                </a:lnTo>
                <a:cubicBezTo>
                  <a:pt x="5861" y="10838"/>
                  <a:pt x="6050" y="11027"/>
                  <a:pt x="6239" y="11027"/>
                </a:cubicBezTo>
                <a:cubicBezTo>
                  <a:pt x="6428" y="11027"/>
                  <a:pt x="6648" y="10838"/>
                  <a:pt x="6648" y="10618"/>
                </a:cubicBezTo>
                <a:lnTo>
                  <a:pt x="6648" y="4915"/>
                </a:lnTo>
                <a:close/>
                <a:moveTo>
                  <a:pt x="2931" y="1"/>
                </a:moveTo>
                <a:cubicBezTo>
                  <a:pt x="1324" y="1"/>
                  <a:pt x="1" y="1324"/>
                  <a:pt x="1" y="2899"/>
                </a:cubicBezTo>
                <a:cubicBezTo>
                  <a:pt x="1" y="4348"/>
                  <a:pt x="1072" y="5514"/>
                  <a:pt x="2490" y="5766"/>
                </a:cubicBezTo>
                <a:lnTo>
                  <a:pt x="2490" y="12256"/>
                </a:lnTo>
                <a:cubicBezTo>
                  <a:pt x="2490" y="12508"/>
                  <a:pt x="2679" y="12697"/>
                  <a:pt x="2931" y="12697"/>
                </a:cubicBezTo>
                <a:lnTo>
                  <a:pt x="9830" y="12697"/>
                </a:lnTo>
                <a:cubicBezTo>
                  <a:pt x="10051" y="12697"/>
                  <a:pt x="10208" y="12508"/>
                  <a:pt x="10208" y="12256"/>
                </a:cubicBezTo>
                <a:lnTo>
                  <a:pt x="10208" y="5797"/>
                </a:lnTo>
                <a:cubicBezTo>
                  <a:pt x="10964" y="5671"/>
                  <a:pt x="11721" y="5293"/>
                  <a:pt x="12193" y="4537"/>
                </a:cubicBezTo>
                <a:cubicBezTo>
                  <a:pt x="12823" y="3718"/>
                  <a:pt x="12886" y="2678"/>
                  <a:pt x="12508" y="1796"/>
                </a:cubicBezTo>
                <a:cubicBezTo>
                  <a:pt x="12067" y="725"/>
                  <a:pt x="10996" y="1"/>
                  <a:pt x="98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5" name="Google Shape;6415;p72"/>
          <p:cNvSpPr/>
          <p:nvPr/>
        </p:nvSpPr>
        <p:spPr>
          <a:xfrm>
            <a:off x="5209145" y="3253253"/>
            <a:ext cx="498355" cy="498315"/>
          </a:xfrm>
          <a:custGeom>
            <a:avLst/>
            <a:gdLst/>
            <a:ahLst/>
            <a:cxnLst/>
            <a:rect l="l" t="t" r="r" b="b"/>
            <a:pathLst>
              <a:path w="12698" h="12697" extrusionOk="0">
                <a:moveTo>
                  <a:pt x="11784" y="970"/>
                </a:moveTo>
                <a:lnTo>
                  <a:pt x="11784" y="2577"/>
                </a:lnTo>
                <a:lnTo>
                  <a:pt x="5168" y="4026"/>
                </a:lnTo>
                <a:lnTo>
                  <a:pt x="5168" y="2420"/>
                </a:lnTo>
                <a:lnTo>
                  <a:pt x="11784" y="970"/>
                </a:lnTo>
                <a:close/>
                <a:moveTo>
                  <a:pt x="10115" y="7741"/>
                </a:moveTo>
                <a:cubicBezTo>
                  <a:pt x="10982" y="7741"/>
                  <a:pt x="11784" y="8286"/>
                  <a:pt x="11784" y="8973"/>
                </a:cubicBezTo>
                <a:cubicBezTo>
                  <a:pt x="11784" y="9666"/>
                  <a:pt x="11027" y="10201"/>
                  <a:pt x="10145" y="10201"/>
                </a:cubicBezTo>
                <a:cubicBezTo>
                  <a:pt x="9358" y="10201"/>
                  <a:pt x="8665" y="9792"/>
                  <a:pt x="8507" y="9225"/>
                </a:cubicBezTo>
                <a:cubicBezTo>
                  <a:pt x="8350" y="8689"/>
                  <a:pt x="8728" y="8154"/>
                  <a:pt x="9263" y="7933"/>
                </a:cubicBezTo>
                <a:cubicBezTo>
                  <a:pt x="9537" y="7800"/>
                  <a:pt x="9829" y="7741"/>
                  <a:pt x="10115" y="7741"/>
                </a:cubicBezTo>
                <a:close/>
                <a:moveTo>
                  <a:pt x="2665" y="9393"/>
                </a:moveTo>
                <a:cubicBezTo>
                  <a:pt x="3537" y="9393"/>
                  <a:pt x="4348" y="9928"/>
                  <a:pt x="4348" y="10642"/>
                </a:cubicBezTo>
                <a:cubicBezTo>
                  <a:pt x="4348" y="11304"/>
                  <a:pt x="3592" y="11871"/>
                  <a:pt x="2679" y="11871"/>
                </a:cubicBezTo>
                <a:cubicBezTo>
                  <a:pt x="1891" y="11871"/>
                  <a:pt x="1229" y="11430"/>
                  <a:pt x="1072" y="10894"/>
                </a:cubicBezTo>
                <a:cubicBezTo>
                  <a:pt x="914" y="10327"/>
                  <a:pt x="1261" y="9823"/>
                  <a:pt x="1828" y="9571"/>
                </a:cubicBezTo>
                <a:cubicBezTo>
                  <a:pt x="2097" y="9448"/>
                  <a:pt x="2384" y="9393"/>
                  <a:pt x="2665" y="9393"/>
                </a:cubicBezTo>
                <a:close/>
                <a:moveTo>
                  <a:pt x="12242" y="1"/>
                </a:moveTo>
                <a:cubicBezTo>
                  <a:pt x="12197" y="1"/>
                  <a:pt x="12149" y="9"/>
                  <a:pt x="12099" y="25"/>
                </a:cubicBezTo>
                <a:lnTo>
                  <a:pt x="4663" y="1664"/>
                </a:lnTo>
                <a:cubicBezTo>
                  <a:pt x="4474" y="1695"/>
                  <a:pt x="4348" y="1853"/>
                  <a:pt x="4348" y="2073"/>
                </a:cubicBezTo>
                <a:lnTo>
                  <a:pt x="4348" y="9067"/>
                </a:lnTo>
                <a:cubicBezTo>
                  <a:pt x="3876" y="8721"/>
                  <a:pt x="3277" y="8563"/>
                  <a:pt x="2679" y="8563"/>
                </a:cubicBezTo>
                <a:cubicBezTo>
                  <a:pt x="1481" y="8563"/>
                  <a:pt x="536" y="9256"/>
                  <a:pt x="284" y="10138"/>
                </a:cubicBezTo>
                <a:cubicBezTo>
                  <a:pt x="1" y="11084"/>
                  <a:pt x="568" y="12060"/>
                  <a:pt x="1670" y="12501"/>
                </a:cubicBezTo>
                <a:cubicBezTo>
                  <a:pt x="1997" y="12634"/>
                  <a:pt x="2349" y="12697"/>
                  <a:pt x="2700" y="12697"/>
                </a:cubicBezTo>
                <a:cubicBezTo>
                  <a:pt x="3600" y="12697"/>
                  <a:pt x="4494" y="12281"/>
                  <a:pt x="4947" y="11556"/>
                </a:cubicBezTo>
                <a:cubicBezTo>
                  <a:pt x="5104" y="11273"/>
                  <a:pt x="5199" y="10957"/>
                  <a:pt x="5199" y="10611"/>
                </a:cubicBezTo>
                <a:lnTo>
                  <a:pt x="5199" y="4909"/>
                </a:lnTo>
                <a:lnTo>
                  <a:pt x="11815" y="3428"/>
                </a:lnTo>
                <a:lnTo>
                  <a:pt x="11815" y="7460"/>
                </a:lnTo>
                <a:cubicBezTo>
                  <a:pt x="11342" y="7114"/>
                  <a:pt x="10775" y="6956"/>
                  <a:pt x="10177" y="6956"/>
                </a:cubicBezTo>
                <a:cubicBezTo>
                  <a:pt x="8948" y="6956"/>
                  <a:pt x="8003" y="7649"/>
                  <a:pt x="7782" y="8532"/>
                </a:cubicBezTo>
                <a:cubicBezTo>
                  <a:pt x="7499" y="9477"/>
                  <a:pt x="8034" y="10453"/>
                  <a:pt x="9137" y="10894"/>
                </a:cubicBezTo>
                <a:cubicBezTo>
                  <a:pt x="9470" y="11017"/>
                  <a:pt x="9823" y="11076"/>
                  <a:pt x="10172" y="11076"/>
                </a:cubicBezTo>
                <a:cubicBezTo>
                  <a:pt x="11077" y="11076"/>
                  <a:pt x="11959" y="10677"/>
                  <a:pt x="12414" y="9949"/>
                </a:cubicBezTo>
                <a:cubicBezTo>
                  <a:pt x="12571" y="9666"/>
                  <a:pt x="12697" y="9351"/>
                  <a:pt x="12697" y="8973"/>
                </a:cubicBezTo>
                <a:cubicBezTo>
                  <a:pt x="12603" y="8941"/>
                  <a:pt x="12603" y="403"/>
                  <a:pt x="12603" y="403"/>
                </a:cubicBezTo>
                <a:cubicBezTo>
                  <a:pt x="12603" y="170"/>
                  <a:pt x="12453" y="1"/>
                  <a:pt x="122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6" name="Google Shape;6416;p72"/>
          <p:cNvSpPr/>
          <p:nvPr/>
        </p:nvSpPr>
        <p:spPr>
          <a:xfrm>
            <a:off x="3488467" y="3833085"/>
            <a:ext cx="499571" cy="500827"/>
          </a:xfrm>
          <a:custGeom>
            <a:avLst/>
            <a:gdLst/>
            <a:ahLst/>
            <a:cxnLst/>
            <a:rect l="l" t="t" r="r" b="b"/>
            <a:pathLst>
              <a:path w="12729" h="12761" extrusionOk="0">
                <a:moveTo>
                  <a:pt x="10595" y="882"/>
                </a:moveTo>
                <a:cubicBezTo>
                  <a:pt x="11081" y="882"/>
                  <a:pt x="11558" y="1164"/>
                  <a:pt x="11752" y="1647"/>
                </a:cubicBezTo>
                <a:cubicBezTo>
                  <a:pt x="11941" y="2120"/>
                  <a:pt x="11846" y="2624"/>
                  <a:pt x="11500" y="3033"/>
                </a:cubicBezTo>
                <a:lnTo>
                  <a:pt x="11374" y="3128"/>
                </a:lnTo>
                <a:lnTo>
                  <a:pt x="9609" y="1363"/>
                </a:lnTo>
                <a:lnTo>
                  <a:pt x="9735" y="1237"/>
                </a:lnTo>
                <a:cubicBezTo>
                  <a:pt x="9979" y="994"/>
                  <a:pt x="10288" y="882"/>
                  <a:pt x="10595" y="882"/>
                </a:cubicBezTo>
                <a:close/>
                <a:moveTo>
                  <a:pt x="9011" y="1899"/>
                </a:moveTo>
                <a:lnTo>
                  <a:pt x="10807" y="3695"/>
                </a:lnTo>
                <a:lnTo>
                  <a:pt x="7656" y="6845"/>
                </a:lnTo>
                <a:lnTo>
                  <a:pt x="5860" y="5049"/>
                </a:lnTo>
                <a:lnTo>
                  <a:pt x="9011" y="1899"/>
                </a:lnTo>
                <a:close/>
                <a:moveTo>
                  <a:pt x="5293" y="5648"/>
                </a:moveTo>
                <a:lnTo>
                  <a:pt x="7057" y="7444"/>
                </a:lnTo>
                <a:lnTo>
                  <a:pt x="4065" y="10437"/>
                </a:lnTo>
                <a:lnTo>
                  <a:pt x="2300" y="8641"/>
                </a:lnTo>
                <a:lnTo>
                  <a:pt x="5293" y="5648"/>
                </a:lnTo>
                <a:close/>
                <a:moveTo>
                  <a:pt x="2017" y="9523"/>
                </a:moveTo>
                <a:lnTo>
                  <a:pt x="3245" y="10752"/>
                </a:lnTo>
                <a:lnTo>
                  <a:pt x="1733" y="11004"/>
                </a:lnTo>
                <a:lnTo>
                  <a:pt x="2017" y="9523"/>
                </a:lnTo>
                <a:close/>
                <a:moveTo>
                  <a:pt x="7762" y="1"/>
                </a:moveTo>
                <a:cubicBezTo>
                  <a:pt x="7443" y="1"/>
                  <a:pt x="7120" y="119"/>
                  <a:pt x="6868" y="355"/>
                </a:cubicBezTo>
                <a:lnTo>
                  <a:pt x="4569" y="2624"/>
                </a:lnTo>
                <a:cubicBezTo>
                  <a:pt x="4411" y="2781"/>
                  <a:pt x="4411" y="3065"/>
                  <a:pt x="4569" y="3222"/>
                </a:cubicBezTo>
                <a:cubicBezTo>
                  <a:pt x="4647" y="3301"/>
                  <a:pt x="4758" y="3340"/>
                  <a:pt x="4868" y="3340"/>
                </a:cubicBezTo>
                <a:cubicBezTo>
                  <a:pt x="4978" y="3340"/>
                  <a:pt x="5088" y="3301"/>
                  <a:pt x="5167" y="3222"/>
                </a:cubicBezTo>
                <a:lnTo>
                  <a:pt x="7436" y="922"/>
                </a:lnTo>
                <a:cubicBezTo>
                  <a:pt x="7514" y="844"/>
                  <a:pt x="7625" y="804"/>
                  <a:pt x="7735" y="804"/>
                </a:cubicBezTo>
                <a:cubicBezTo>
                  <a:pt x="7845" y="804"/>
                  <a:pt x="7955" y="844"/>
                  <a:pt x="8034" y="922"/>
                </a:cubicBezTo>
                <a:lnTo>
                  <a:pt x="8475" y="1363"/>
                </a:lnTo>
                <a:lnTo>
                  <a:pt x="5041" y="4797"/>
                </a:lnTo>
                <a:lnTo>
                  <a:pt x="1450" y="8389"/>
                </a:lnTo>
                <a:cubicBezTo>
                  <a:pt x="1418" y="8420"/>
                  <a:pt x="1387" y="8483"/>
                  <a:pt x="1355" y="8578"/>
                </a:cubicBezTo>
                <a:cubicBezTo>
                  <a:pt x="1355" y="8610"/>
                  <a:pt x="1387" y="8420"/>
                  <a:pt x="883" y="11319"/>
                </a:cubicBezTo>
                <a:lnTo>
                  <a:pt x="158" y="12044"/>
                </a:lnTo>
                <a:cubicBezTo>
                  <a:pt x="0" y="12201"/>
                  <a:pt x="0" y="12485"/>
                  <a:pt x="158" y="12642"/>
                </a:cubicBezTo>
                <a:cubicBezTo>
                  <a:pt x="237" y="12721"/>
                  <a:pt x="347" y="12760"/>
                  <a:pt x="457" y="12760"/>
                </a:cubicBezTo>
                <a:cubicBezTo>
                  <a:pt x="567" y="12760"/>
                  <a:pt x="678" y="12721"/>
                  <a:pt x="756" y="12642"/>
                </a:cubicBezTo>
                <a:lnTo>
                  <a:pt x="1450" y="11918"/>
                </a:lnTo>
                <a:cubicBezTo>
                  <a:pt x="1513" y="11918"/>
                  <a:pt x="4191" y="11445"/>
                  <a:pt x="4191" y="11445"/>
                </a:cubicBezTo>
                <a:cubicBezTo>
                  <a:pt x="4254" y="11445"/>
                  <a:pt x="4317" y="11413"/>
                  <a:pt x="4380" y="11382"/>
                </a:cubicBezTo>
                <a:lnTo>
                  <a:pt x="12130" y="3600"/>
                </a:lnTo>
                <a:cubicBezTo>
                  <a:pt x="12539" y="3222"/>
                  <a:pt x="12728" y="2718"/>
                  <a:pt x="12728" y="2151"/>
                </a:cubicBezTo>
                <a:cubicBezTo>
                  <a:pt x="12697" y="985"/>
                  <a:pt x="11783" y="72"/>
                  <a:pt x="10649" y="72"/>
                </a:cubicBezTo>
                <a:cubicBezTo>
                  <a:pt x="10082" y="72"/>
                  <a:pt x="9578" y="261"/>
                  <a:pt x="9168" y="670"/>
                </a:cubicBezTo>
                <a:lnTo>
                  <a:pt x="9074" y="765"/>
                </a:lnTo>
                <a:lnTo>
                  <a:pt x="8633" y="355"/>
                </a:lnTo>
                <a:cubicBezTo>
                  <a:pt x="8396" y="119"/>
                  <a:pt x="8081" y="1"/>
                  <a:pt x="77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17" name="Google Shape;6417;p72"/>
          <p:cNvGrpSpPr/>
          <p:nvPr/>
        </p:nvGrpSpPr>
        <p:grpSpPr>
          <a:xfrm>
            <a:off x="3497792" y="4413376"/>
            <a:ext cx="497099" cy="496077"/>
            <a:chOff x="-38686275" y="2314400"/>
            <a:chExt cx="316650" cy="316000"/>
          </a:xfrm>
        </p:grpSpPr>
        <p:sp>
          <p:nvSpPr>
            <p:cNvPr id="6418" name="Google Shape;6418;p72"/>
            <p:cNvSpPr/>
            <p:nvPr/>
          </p:nvSpPr>
          <p:spPr>
            <a:xfrm>
              <a:off x="-38686275" y="2314400"/>
              <a:ext cx="316650" cy="316000"/>
            </a:xfrm>
            <a:custGeom>
              <a:avLst/>
              <a:gdLst/>
              <a:ahLst/>
              <a:cxnLst/>
              <a:rect l="l" t="t" r="r" b="b"/>
              <a:pathLst>
                <a:path w="12666" h="12640" extrusionOk="0">
                  <a:moveTo>
                    <a:pt x="8161" y="852"/>
                  </a:moveTo>
                  <a:cubicBezTo>
                    <a:pt x="8381" y="852"/>
                    <a:pt x="8539" y="1041"/>
                    <a:pt x="8570" y="1262"/>
                  </a:cubicBezTo>
                  <a:lnTo>
                    <a:pt x="8570" y="1703"/>
                  </a:lnTo>
                  <a:lnTo>
                    <a:pt x="4160" y="1703"/>
                  </a:lnTo>
                  <a:lnTo>
                    <a:pt x="4160" y="1230"/>
                  </a:lnTo>
                  <a:lnTo>
                    <a:pt x="4128" y="1230"/>
                  </a:lnTo>
                  <a:cubicBezTo>
                    <a:pt x="4128" y="1199"/>
                    <a:pt x="4128" y="1104"/>
                    <a:pt x="4160" y="1073"/>
                  </a:cubicBezTo>
                  <a:cubicBezTo>
                    <a:pt x="4254" y="915"/>
                    <a:pt x="4380" y="852"/>
                    <a:pt x="4569" y="852"/>
                  </a:cubicBezTo>
                  <a:close/>
                  <a:moveTo>
                    <a:pt x="11437" y="2427"/>
                  </a:moveTo>
                  <a:cubicBezTo>
                    <a:pt x="11658" y="2427"/>
                    <a:pt x="11815" y="2616"/>
                    <a:pt x="11847" y="2805"/>
                  </a:cubicBezTo>
                  <a:lnTo>
                    <a:pt x="11847" y="5641"/>
                  </a:lnTo>
                  <a:cubicBezTo>
                    <a:pt x="11847" y="5830"/>
                    <a:pt x="11721" y="5987"/>
                    <a:pt x="11563" y="6050"/>
                  </a:cubicBezTo>
                  <a:cubicBezTo>
                    <a:pt x="11542" y="6061"/>
                    <a:pt x="11532" y="6064"/>
                    <a:pt x="11478" y="6064"/>
                  </a:cubicBezTo>
                  <a:cubicBezTo>
                    <a:pt x="11371" y="6064"/>
                    <a:pt x="11091" y="6050"/>
                    <a:pt x="10208" y="6050"/>
                  </a:cubicBezTo>
                  <a:lnTo>
                    <a:pt x="10208" y="4822"/>
                  </a:lnTo>
                  <a:cubicBezTo>
                    <a:pt x="10208" y="4570"/>
                    <a:pt x="9988" y="4381"/>
                    <a:pt x="9767" y="4381"/>
                  </a:cubicBezTo>
                  <a:lnTo>
                    <a:pt x="8129" y="4381"/>
                  </a:lnTo>
                  <a:cubicBezTo>
                    <a:pt x="7877" y="4381"/>
                    <a:pt x="7688" y="4570"/>
                    <a:pt x="7688" y="4822"/>
                  </a:cubicBezTo>
                  <a:lnTo>
                    <a:pt x="7688" y="6050"/>
                  </a:lnTo>
                  <a:lnTo>
                    <a:pt x="4916" y="6050"/>
                  </a:lnTo>
                  <a:lnTo>
                    <a:pt x="4916" y="4822"/>
                  </a:lnTo>
                  <a:cubicBezTo>
                    <a:pt x="4916" y="4570"/>
                    <a:pt x="4727" y="4381"/>
                    <a:pt x="4506" y="4381"/>
                  </a:cubicBezTo>
                  <a:lnTo>
                    <a:pt x="2836" y="4381"/>
                  </a:lnTo>
                  <a:cubicBezTo>
                    <a:pt x="2710" y="4381"/>
                    <a:pt x="2647" y="4412"/>
                    <a:pt x="2553" y="4507"/>
                  </a:cubicBezTo>
                  <a:cubicBezTo>
                    <a:pt x="2490" y="4570"/>
                    <a:pt x="2458" y="4696"/>
                    <a:pt x="2458" y="4790"/>
                  </a:cubicBezTo>
                  <a:lnTo>
                    <a:pt x="2458" y="5987"/>
                  </a:lnTo>
                  <a:lnTo>
                    <a:pt x="1230" y="5987"/>
                  </a:lnTo>
                  <a:cubicBezTo>
                    <a:pt x="978" y="5987"/>
                    <a:pt x="820" y="5798"/>
                    <a:pt x="788" y="5578"/>
                  </a:cubicBezTo>
                  <a:lnTo>
                    <a:pt x="788" y="2805"/>
                  </a:lnTo>
                  <a:cubicBezTo>
                    <a:pt x="788" y="2585"/>
                    <a:pt x="978" y="2427"/>
                    <a:pt x="1230" y="2427"/>
                  </a:cubicBezTo>
                  <a:close/>
                  <a:moveTo>
                    <a:pt x="4128" y="5200"/>
                  </a:moveTo>
                  <a:lnTo>
                    <a:pt x="4128" y="6428"/>
                  </a:lnTo>
                  <a:cubicBezTo>
                    <a:pt x="4128" y="6586"/>
                    <a:pt x="4065" y="6712"/>
                    <a:pt x="3939" y="6775"/>
                  </a:cubicBezTo>
                  <a:cubicBezTo>
                    <a:pt x="3857" y="6826"/>
                    <a:pt x="3768" y="6851"/>
                    <a:pt x="3684" y="6851"/>
                  </a:cubicBezTo>
                  <a:cubicBezTo>
                    <a:pt x="3508" y="6851"/>
                    <a:pt x="3351" y="6746"/>
                    <a:pt x="3309" y="6554"/>
                  </a:cubicBezTo>
                  <a:lnTo>
                    <a:pt x="3309" y="5200"/>
                  </a:lnTo>
                  <a:close/>
                  <a:moveTo>
                    <a:pt x="9358" y="5200"/>
                  </a:moveTo>
                  <a:lnTo>
                    <a:pt x="9358" y="6428"/>
                  </a:lnTo>
                  <a:cubicBezTo>
                    <a:pt x="9358" y="6586"/>
                    <a:pt x="9295" y="6712"/>
                    <a:pt x="9169" y="6775"/>
                  </a:cubicBezTo>
                  <a:cubicBezTo>
                    <a:pt x="9097" y="6826"/>
                    <a:pt x="9015" y="6851"/>
                    <a:pt x="8934" y="6851"/>
                  </a:cubicBezTo>
                  <a:cubicBezTo>
                    <a:pt x="8766" y="6851"/>
                    <a:pt x="8602" y="6746"/>
                    <a:pt x="8539" y="6554"/>
                  </a:cubicBezTo>
                  <a:lnTo>
                    <a:pt x="8539" y="5200"/>
                  </a:lnTo>
                  <a:close/>
                  <a:moveTo>
                    <a:pt x="11059" y="6869"/>
                  </a:moveTo>
                  <a:lnTo>
                    <a:pt x="11059" y="11438"/>
                  </a:lnTo>
                  <a:lnTo>
                    <a:pt x="11028" y="11438"/>
                  </a:lnTo>
                  <a:cubicBezTo>
                    <a:pt x="11028" y="11658"/>
                    <a:pt x="10839" y="11816"/>
                    <a:pt x="10618" y="11816"/>
                  </a:cubicBezTo>
                  <a:lnTo>
                    <a:pt x="2080" y="11816"/>
                  </a:lnTo>
                  <a:cubicBezTo>
                    <a:pt x="1860" y="11816"/>
                    <a:pt x="1702" y="11627"/>
                    <a:pt x="1702" y="11438"/>
                  </a:cubicBezTo>
                  <a:lnTo>
                    <a:pt x="1702" y="6869"/>
                  </a:lnTo>
                  <a:lnTo>
                    <a:pt x="2616" y="6869"/>
                  </a:lnTo>
                  <a:cubicBezTo>
                    <a:pt x="2710" y="7216"/>
                    <a:pt x="3025" y="7531"/>
                    <a:pt x="3403" y="7657"/>
                  </a:cubicBezTo>
                  <a:cubicBezTo>
                    <a:pt x="3520" y="7692"/>
                    <a:pt x="3637" y="7709"/>
                    <a:pt x="3752" y="7709"/>
                  </a:cubicBezTo>
                  <a:cubicBezTo>
                    <a:pt x="4263" y="7709"/>
                    <a:pt x="4736" y="7383"/>
                    <a:pt x="4916" y="6869"/>
                  </a:cubicBezTo>
                  <a:lnTo>
                    <a:pt x="7846" y="6869"/>
                  </a:lnTo>
                  <a:cubicBezTo>
                    <a:pt x="8017" y="7384"/>
                    <a:pt x="8513" y="7708"/>
                    <a:pt x="9036" y="7708"/>
                  </a:cubicBezTo>
                  <a:cubicBezTo>
                    <a:pt x="9185" y="7708"/>
                    <a:pt x="9337" y="7682"/>
                    <a:pt x="9484" y="7626"/>
                  </a:cubicBezTo>
                  <a:cubicBezTo>
                    <a:pt x="9799" y="7500"/>
                    <a:pt x="10082" y="7216"/>
                    <a:pt x="10145" y="6869"/>
                  </a:cubicBezTo>
                  <a:close/>
                  <a:moveTo>
                    <a:pt x="8211" y="0"/>
                  </a:moveTo>
                  <a:cubicBezTo>
                    <a:pt x="8194" y="0"/>
                    <a:pt x="8177" y="1"/>
                    <a:pt x="8161" y="1"/>
                  </a:cubicBezTo>
                  <a:lnTo>
                    <a:pt x="4569" y="1"/>
                  </a:lnTo>
                  <a:cubicBezTo>
                    <a:pt x="3907" y="1"/>
                    <a:pt x="3309" y="569"/>
                    <a:pt x="3340" y="1230"/>
                  </a:cubicBezTo>
                  <a:lnTo>
                    <a:pt x="3340" y="1671"/>
                  </a:lnTo>
                  <a:lnTo>
                    <a:pt x="1261" y="1671"/>
                  </a:lnTo>
                  <a:cubicBezTo>
                    <a:pt x="599" y="1671"/>
                    <a:pt x="1" y="2207"/>
                    <a:pt x="1" y="2868"/>
                  </a:cubicBezTo>
                  <a:lnTo>
                    <a:pt x="1" y="5641"/>
                  </a:lnTo>
                  <a:cubicBezTo>
                    <a:pt x="1" y="6145"/>
                    <a:pt x="316" y="6617"/>
                    <a:pt x="820" y="6838"/>
                  </a:cubicBezTo>
                  <a:lnTo>
                    <a:pt x="820" y="11438"/>
                  </a:lnTo>
                  <a:cubicBezTo>
                    <a:pt x="820" y="12067"/>
                    <a:pt x="1333" y="12639"/>
                    <a:pt x="1953" y="12639"/>
                  </a:cubicBezTo>
                  <a:cubicBezTo>
                    <a:pt x="1984" y="12639"/>
                    <a:pt x="2016" y="12638"/>
                    <a:pt x="2049" y="12635"/>
                  </a:cubicBezTo>
                  <a:lnTo>
                    <a:pt x="10587" y="12635"/>
                  </a:lnTo>
                  <a:cubicBezTo>
                    <a:pt x="11248" y="12635"/>
                    <a:pt x="11847" y="12099"/>
                    <a:pt x="11815" y="11438"/>
                  </a:cubicBezTo>
                  <a:lnTo>
                    <a:pt x="11815" y="6838"/>
                  </a:lnTo>
                  <a:cubicBezTo>
                    <a:pt x="12288" y="6680"/>
                    <a:pt x="12634" y="6208"/>
                    <a:pt x="12634" y="5641"/>
                  </a:cubicBezTo>
                  <a:lnTo>
                    <a:pt x="12634" y="2868"/>
                  </a:lnTo>
                  <a:cubicBezTo>
                    <a:pt x="12666" y="2207"/>
                    <a:pt x="12130" y="1640"/>
                    <a:pt x="11469" y="1640"/>
                  </a:cubicBezTo>
                  <a:lnTo>
                    <a:pt x="9358" y="1640"/>
                  </a:lnTo>
                  <a:lnTo>
                    <a:pt x="9358" y="1230"/>
                  </a:lnTo>
                  <a:cubicBezTo>
                    <a:pt x="9358" y="585"/>
                    <a:pt x="8849" y="0"/>
                    <a:pt x="82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19" name="Google Shape;6419;p72"/>
            <p:cNvSpPr/>
            <p:nvPr/>
          </p:nvSpPr>
          <p:spPr>
            <a:xfrm>
              <a:off x="-38583075" y="2527075"/>
              <a:ext cx="111075" cy="63050"/>
            </a:xfrm>
            <a:custGeom>
              <a:avLst/>
              <a:gdLst/>
              <a:ahLst/>
              <a:cxnLst/>
              <a:rect l="l" t="t" r="r" b="b"/>
              <a:pathLst>
                <a:path w="4443" h="2522" extrusionOk="0">
                  <a:moveTo>
                    <a:pt x="3592" y="851"/>
                  </a:moveTo>
                  <a:lnTo>
                    <a:pt x="3592" y="1670"/>
                  </a:lnTo>
                  <a:lnTo>
                    <a:pt x="819" y="1670"/>
                  </a:lnTo>
                  <a:lnTo>
                    <a:pt x="819" y="851"/>
                  </a:lnTo>
                  <a:close/>
                  <a:moveTo>
                    <a:pt x="441" y="1"/>
                  </a:moveTo>
                  <a:cubicBezTo>
                    <a:pt x="189" y="1"/>
                    <a:pt x="0" y="221"/>
                    <a:pt x="0" y="442"/>
                  </a:cubicBezTo>
                  <a:lnTo>
                    <a:pt x="0" y="2112"/>
                  </a:lnTo>
                  <a:cubicBezTo>
                    <a:pt x="0" y="2332"/>
                    <a:pt x="189" y="2521"/>
                    <a:pt x="441" y="2521"/>
                  </a:cubicBezTo>
                  <a:lnTo>
                    <a:pt x="4033" y="2521"/>
                  </a:lnTo>
                  <a:cubicBezTo>
                    <a:pt x="4253" y="2521"/>
                    <a:pt x="4442" y="2332"/>
                    <a:pt x="4442" y="2112"/>
                  </a:cubicBezTo>
                  <a:lnTo>
                    <a:pt x="4442" y="442"/>
                  </a:lnTo>
                  <a:cubicBezTo>
                    <a:pt x="4411" y="221"/>
                    <a:pt x="4253" y="1"/>
                    <a:pt x="40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20" name="Google Shape;6420;p72"/>
          <p:cNvGrpSpPr/>
          <p:nvPr/>
        </p:nvGrpSpPr>
        <p:grpSpPr>
          <a:xfrm>
            <a:off x="3495928" y="5069429"/>
            <a:ext cx="500827" cy="498315"/>
            <a:chOff x="-38686275" y="2682250"/>
            <a:chExt cx="319025" cy="317425"/>
          </a:xfrm>
        </p:grpSpPr>
        <p:sp>
          <p:nvSpPr>
            <p:cNvPr id="6421" name="Google Shape;6421;p72"/>
            <p:cNvSpPr/>
            <p:nvPr/>
          </p:nvSpPr>
          <p:spPr>
            <a:xfrm>
              <a:off x="-38686275" y="2682250"/>
              <a:ext cx="319025" cy="317425"/>
            </a:xfrm>
            <a:custGeom>
              <a:avLst/>
              <a:gdLst/>
              <a:ahLst/>
              <a:cxnLst/>
              <a:rect l="l" t="t" r="r" b="b"/>
              <a:pathLst>
                <a:path w="12761" h="12697" extrusionOk="0">
                  <a:moveTo>
                    <a:pt x="11511" y="5995"/>
                  </a:moveTo>
                  <a:cubicBezTo>
                    <a:pt x="11742" y="5995"/>
                    <a:pt x="11941" y="6184"/>
                    <a:pt x="11941" y="6396"/>
                  </a:cubicBezTo>
                  <a:cubicBezTo>
                    <a:pt x="11941" y="6616"/>
                    <a:pt x="11815" y="6774"/>
                    <a:pt x="11626" y="6805"/>
                  </a:cubicBezTo>
                  <a:cubicBezTo>
                    <a:pt x="11576" y="6818"/>
                    <a:pt x="11528" y="6824"/>
                    <a:pt x="11483" y="6824"/>
                  </a:cubicBezTo>
                  <a:cubicBezTo>
                    <a:pt x="11302" y="6824"/>
                    <a:pt x="11166" y="6723"/>
                    <a:pt x="11091" y="6522"/>
                  </a:cubicBezTo>
                  <a:cubicBezTo>
                    <a:pt x="11028" y="6301"/>
                    <a:pt x="11154" y="6081"/>
                    <a:pt x="11374" y="6018"/>
                  </a:cubicBezTo>
                  <a:cubicBezTo>
                    <a:pt x="11420" y="6002"/>
                    <a:pt x="11466" y="5995"/>
                    <a:pt x="11511" y="5995"/>
                  </a:cubicBezTo>
                  <a:close/>
                  <a:moveTo>
                    <a:pt x="5042" y="788"/>
                  </a:moveTo>
                  <a:cubicBezTo>
                    <a:pt x="7310" y="788"/>
                    <a:pt x="9169" y="2615"/>
                    <a:pt x="9169" y="4915"/>
                  </a:cubicBezTo>
                  <a:cubicBezTo>
                    <a:pt x="9169" y="7183"/>
                    <a:pt x="7310" y="9042"/>
                    <a:pt x="5042" y="9042"/>
                  </a:cubicBezTo>
                  <a:cubicBezTo>
                    <a:pt x="3624" y="9042"/>
                    <a:pt x="2364" y="8317"/>
                    <a:pt x="1608" y="7246"/>
                  </a:cubicBezTo>
                  <a:cubicBezTo>
                    <a:pt x="820" y="6049"/>
                    <a:pt x="694" y="4568"/>
                    <a:pt x="1230" y="3308"/>
                  </a:cubicBezTo>
                  <a:cubicBezTo>
                    <a:pt x="1860" y="1827"/>
                    <a:pt x="3309" y="788"/>
                    <a:pt x="5042" y="788"/>
                  </a:cubicBezTo>
                  <a:close/>
                  <a:moveTo>
                    <a:pt x="7531" y="9200"/>
                  </a:moveTo>
                  <a:lnTo>
                    <a:pt x="7531" y="11373"/>
                  </a:lnTo>
                  <a:cubicBezTo>
                    <a:pt x="7531" y="11594"/>
                    <a:pt x="7310" y="11751"/>
                    <a:pt x="7089" y="11814"/>
                  </a:cubicBezTo>
                  <a:lnTo>
                    <a:pt x="2962" y="11814"/>
                  </a:lnTo>
                  <a:cubicBezTo>
                    <a:pt x="2710" y="11814"/>
                    <a:pt x="2553" y="11594"/>
                    <a:pt x="2553" y="11373"/>
                  </a:cubicBezTo>
                  <a:lnTo>
                    <a:pt x="2553" y="9200"/>
                  </a:lnTo>
                  <a:cubicBezTo>
                    <a:pt x="3316" y="9645"/>
                    <a:pt x="4174" y="9873"/>
                    <a:pt x="5041" y="9873"/>
                  </a:cubicBezTo>
                  <a:cubicBezTo>
                    <a:pt x="5892" y="9873"/>
                    <a:pt x="6750" y="9652"/>
                    <a:pt x="7531" y="9200"/>
                  </a:cubicBezTo>
                  <a:close/>
                  <a:moveTo>
                    <a:pt x="4947" y="0"/>
                  </a:moveTo>
                  <a:cubicBezTo>
                    <a:pt x="4296" y="0"/>
                    <a:pt x="3643" y="126"/>
                    <a:pt x="3025" y="378"/>
                  </a:cubicBezTo>
                  <a:cubicBezTo>
                    <a:pt x="1230" y="1134"/>
                    <a:pt x="1" y="2930"/>
                    <a:pt x="1" y="4946"/>
                  </a:cubicBezTo>
                  <a:cubicBezTo>
                    <a:pt x="1" y="6396"/>
                    <a:pt x="631" y="7750"/>
                    <a:pt x="1639" y="8664"/>
                  </a:cubicBezTo>
                  <a:lnTo>
                    <a:pt x="1639" y="11436"/>
                  </a:lnTo>
                  <a:cubicBezTo>
                    <a:pt x="1639" y="12098"/>
                    <a:pt x="2206" y="12697"/>
                    <a:pt x="2868" y="12697"/>
                  </a:cubicBezTo>
                  <a:lnTo>
                    <a:pt x="6995" y="12697"/>
                  </a:lnTo>
                  <a:cubicBezTo>
                    <a:pt x="7562" y="12697"/>
                    <a:pt x="8035" y="12350"/>
                    <a:pt x="8192" y="11877"/>
                  </a:cubicBezTo>
                  <a:cubicBezTo>
                    <a:pt x="10114" y="11720"/>
                    <a:pt x="11847" y="10113"/>
                    <a:pt x="11847" y="8160"/>
                  </a:cubicBezTo>
                  <a:lnTo>
                    <a:pt x="11847" y="7719"/>
                  </a:lnTo>
                  <a:cubicBezTo>
                    <a:pt x="12351" y="7530"/>
                    <a:pt x="12666" y="7089"/>
                    <a:pt x="12666" y="6522"/>
                  </a:cubicBezTo>
                  <a:cubicBezTo>
                    <a:pt x="12760" y="5734"/>
                    <a:pt x="12193" y="5198"/>
                    <a:pt x="11500" y="5198"/>
                  </a:cubicBezTo>
                  <a:cubicBezTo>
                    <a:pt x="10839" y="5198"/>
                    <a:pt x="10240" y="5734"/>
                    <a:pt x="10240" y="6459"/>
                  </a:cubicBezTo>
                  <a:cubicBezTo>
                    <a:pt x="10240" y="6994"/>
                    <a:pt x="10587" y="7435"/>
                    <a:pt x="11059" y="7624"/>
                  </a:cubicBezTo>
                  <a:lnTo>
                    <a:pt x="11059" y="8097"/>
                  </a:lnTo>
                  <a:cubicBezTo>
                    <a:pt x="11059" y="9546"/>
                    <a:pt x="9767" y="10775"/>
                    <a:pt x="8318" y="10964"/>
                  </a:cubicBezTo>
                  <a:lnTo>
                    <a:pt x="8318" y="8664"/>
                  </a:lnTo>
                  <a:cubicBezTo>
                    <a:pt x="8633" y="8380"/>
                    <a:pt x="8885" y="8065"/>
                    <a:pt x="9106" y="7750"/>
                  </a:cubicBezTo>
                  <a:cubicBezTo>
                    <a:pt x="10618" y="5514"/>
                    <a:pt x="10051" y="2395"/>
                    <a:pt x="7751" y="851"/>
                  </a:cubicBezTo>
                  <a:cubicBezTo>
                    <a:pt x="6900" y="284"/>
                    <a:pt x="5925" y="0"/>
                    <a:pt x="49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2" name="Google Shape;6422;p72"/>
            <p:cNvSpPr/>
            <p:nvPr/>
          </p:nvSpPr>
          <p:spPr>
            <a:xfrm>
              <a:off x="-38591750" y="2773600"/>
              <a:ext cx="63025" cy="61350"/>
            </a:xfrm>
            <a:custGeom>
              <a:avLst/>
              <a:gdLst/>
              <a:ahLst/>
              <a:cxnLst/>
              <a:rect l="l" t="t" r="r" b="b"/>
              <a:pathLst>
                <a:path w="2521" h="2454" extrusionOk="0">
                  <a:moveTo>
                    <a:pt x="1264" y="788"/>
                  </a:moveTo>
                  <a:cubicBezTo>
                    <a:pt x="1315" y="788"/>
                    <a:pt x="1368" y="798"/>
                    <a:pt x="1418" y="820"/>
                  </a:cubicBezTo>
                  <a:cubicBezTo>
                    <a:pt x="1544" y="851"/>
                    <a:pt x="1607" y="977"/>
                    <a:pt x="1639" y="1103"/>
                  </a:cubicBezTo>
                  <a:cubicBezTo>
                    <a:pt x="1716" y="1387"/>
                    <a:pt x="1519" y="1649"/>
                    <a:pt x="1273" y="1649"/>
                  </a:cubicBezTo>
                  <a:cubicBezTo>
                    <a:pt x="1218" y="1649"/>
                    <a:pt x="1161" y="1636"/>
                    <a:pt x="1103" y="1607"/>
                  </a:cubicBezTo>
                  <a:cubicBezTo>
                    <a:pt x="914" y="1544"/>
                    <a:pt x="788" y="1292"/>
                    <a:pt x="851" y="1072"/>
                  </a:cubicBezTo>
                  <a:cubicBezTo>
                    <a:pt x="924" y="902"/>
                    <a:pt x="1090" y="788"/>
                    <a:pt x="1264" y="788"/>
                  </a:cubicBezTo>
                  <a:close/>
                  <a:moveTo>
                    <a:pt x="1261" y="1"/>
                  </a:moveTo>
                  <a:cubicBezTo>
                    <a:pt x="599" y="1"/>
                    <a:pt x="0" y="536"/>
                    <a:pt x="32" y="1229"/>
                  </a:cubicBezTo>
                  <a:cubicBezTo>
                    <a:pt x="32" y="1765"/>
                    <a:pt x="379" y="2238"/>
                    <a:pt x="914" y="2395"/>
                  </a:cubicBezTo>
                  <a:cubicBezTo>
                    <a:pt x="1038" y="2435"/>
                    <a:pt x="1163" y="2453"/>
                    <a:pt x="1285" y="2453"/>
                  </a:cubicBezTo>
                  <a:cubicBezTo>
                    <a:pt x="1939" y="2453"/>
                    <a:pt x="2521" y="1920"/>
                    <a:pt x="2521" y="1229"/>
                  </a:cubicBezTo>
                  <a:cubicBezTo>
                    <a:pt x="2489" y="536"/>
                    <a:pt x="1922"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23" name="Google Shape;6423;p72"/>
          <p:cNvGrpSpPr/>
          <p:nvPr/>
        </p:nvGrpSpPr>
        <p:grpSpPr>
          <a:xfrm>
            <a:off x="5253771" y="5067487"/>
            <a:ext cx="521824" cy="502200"/>
            <a:chOff x="-37534750" y="2668075"/>
            <a:chExt cx="332400" cy="319900"/>
          </a:xfrm>
        </p:grpSpPr>
        <p:sp>
          <p:nvSpPr>
            <p:cNvPr id="6424" name="Google Shape;6424;p72"/>
            <p:cNvSpPr/>
            <p:nvPr/>
          </p:nvSpPr>
          <p:spPr>
            <a:xfrm>
              <a:off x="-37534750" y="2668075"/>
              <a:ext cx="332400" cy="319900"/>
            </a:xfrm>
            <a:custGeom>
              <a:avLst/>
              <a:gdLst/>
              <a:ahLst/>
              <a:cxnLst/>
              <a:rect l="l" t="t" r="r" b="b"/>
              <a:pathLst>
                <a:path w="13296" h="12796" extrusionOk="0">
                  <a:moveTo>
                    <a:pt x="5258" y="834"/>
                  </a:moveTo>
                  <a:cubicBezTo>
                    <a:pt x="5799" y="834"/>
                    <a:pt x="6338" y="935"/>
                    <a:pt x="6837" y="1134"/>
                  </a:cubicBezTo>
                  <a:cubicBezTo>
                    <a:pt x="9105" y="2142"/>
                    <a:pt x="10019" y="4852"/>
                    <a:pt x="8822" y="6963"/>
                  </a:cubicBezTo>
                  <a:cubicBezTo>
                    <a:pt x="8790" y="7026"/>
                    <a:pt x="8790" y="7026"/>
                    <a:pt x="8790" y="7057"/>
                  </a:cubicBezTo>
                  <a:cubicBezTo>
                    <a:pt x="8632" y="7372"/>
                    <a:pt x="8412" y="7656"/>
                    <a:pt x="8160" y="7876"/>
                  </a:cubicBezTo>
                  <a:cubicBezTo>
                    <a:pt x="8002" y="8002"/>
                    <a:pt x="7876" y="8128"/>
                    <a:pt x="7782" y="8191"/>
                  </a:cubicBezTo>
                  <a:cubicBezTo>
                    <a:pt x="7687" y="8223"/>
                    <a:pt x="7719" y="8223"/>
                    <a:pt x="7687" y="8286"/>
                  </a:cubicBezTo>
                  <a:cubicBezTo>
                    <a:pt x="7152" y="8664"/>
                    <a:pt x="6585" y="8947"/>
                    <a:pt x="5923" y="9073"/>
                  </a:cubicBezTo>
                  <a:cubicBezTo>
                    <a:pt x="5694" y="9110"/>
                    <a:pt x="5468" y="9128"/>
                    <a:pt x="5245" y="9128"/>
                  </a:cubicBezTo>
                  <a:cubicBezTo>
                    <a:pt x="2977" y="9128"/>
                    <a:pt x="1071" y="7298"/>
                    <a:pt x="1071" y="4946"/>
                  </a:cubicBezTo>
                  <a:cubicBezTo>
                    <a:pt x="1071" y="3592"/>
                    <a:pt x="1796" y="2268"/>
                    <a:pt x="2899" y="1544"/>
                  </a:cubicBezTo>
                  <a:cubicBezTo>
                    <a:pt x="3603" y="1068"/>
                    <a:pt x="4433" y="834"/>
                    <a:pt x="5258" y="834"/>
                  </a:cubicBezTo>
                  <a:close/>
                  <a:moveTo>
                    <a:pt x="9200" y="7876"/>
                  </a:moveTo>
                  <a:lnTo>
                    <a:pt x="11909" y="10586"/>
                  </a:lnTo>
                  <a:cubicBezTo>
                    <a:pt x="12067" y="10743"/>
                    <a:pt x="12130" y="10901"/>
                    <a:pt x="12130" y="11153"/>
                  </a:cubicBezTo>
                  <a:cubicBezTo>
                    <a:pt x="12130" y="11594"/>
                    <a:pt x="11783" y="11909"/>
                    <a:pt x="11405" y="11909"/>
                  </a:cubicBezTo>
                  <a:cubicBezTo>
                    <a:pt x="11184" y="11909"/>
                    <a:pt x="10995" y="11814"/>
                    <a:pt x="10838" y="11657"/>
                  </a:cubicBezTo>
                  <a:lnTo>
                    <a:pt x="8128" y="8947"/>
                  </a:lnTo>
                  <a:cubicBezTo>
                    <a:pt x="8160" y="8916"/>
                    <a:pt x="8759" y="8506"/>
                    <a:pt x="9200" y="7876"/>
                  </a:cubicBezTo>
                  <a:close/>
                  <a:moveTo>
                    <a:pt x="5198" y="0"/>
                  </a:moveTo>
                  <a:cubicBezTo>
                    <a:pt x="3529" y="0"/>
                    <a:pt x="1985" y="882"/>
                    <a:pt x="1103" y="2205"/>
                  </a:cubicBezTo>
                  <a:cubicBezTo>
                    <a:pt x="158" y="3623"/>
                    <a:pt x="0" y="5387"/>
                    <a:pt x="630" y="6931"/>
                  </a:cubicBezTo>
                  <a:cubicBezTo>
                    <a:pt x="1470" y="8860"/>
                    <a:pt x="3356" y="9972"/>
                    <a:pt x="5251" y="9972"/>
                  </a:cubicBezTo>
                  <a:cubicBezTo>
                    <a:pt x="5988" y="9972"/>
                    <a:pt x="6725" y="9804"/>
                    <a:pt x="7404" y="9452"/>
                  </a:cubicBezTo>
                  <a:lnTo>
                    <a:pt x="10302" y="12318"/>
                  </a:lnTo>
                  <a:cubicBezTo>
                    <a:pt x="10588" y="12626"/>
                    <a:pt x="11026" y="12796"/>
                    <a:pt x="11468" y="12796"/>
                  </a:cubicBezTo>
                  <a:cubicBezTo>
                    <a:pt x="11661" y="12796"/>
                    <a:pt x="11854" y="12763"/>
                    <a:pt x="12035" y="12697"/>
                  </a:cubicBezTo>
                  <a:cubicBezTo>
                    <a:pt x="13043" y="12161"/>
                    <a:pt x="13295" y="10806"/>
                    <a:pt x="12539" y="10050"/>
                  </a:cubicBezTo>
                  <a:lnTo>
                    <a:pt x="9672" y="7183"/>
                  </a:lnTo>
                  <a:cubicBezTo>
                    <a:pt x="10334" y="5860"/>
                    <a:pt x="10334" y="4348"/>
                    <a:pt x="9767" y="3025"/>
                  </a:cubicBezTo>
                  <a:cubicBezTo>
                    <a:pt x="9042" y="1229"/>
                    <a:pt x="7215" y="0"/>
                    <a:pt x="51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5" name="Google Shape;6425;p72"/>
            <p:cNvSpPr/>
            <p:nvPr/>
          </p:nvSpPr>
          <p:spPr>
            <a:xfrm>
              <a:off x="-37487500" y="2709475"/>
              <a:ext cx="165425" cy="164450"/>
            </a:xfrm>
            <a:custGeom>
              <a:avLst/>
              <a:gdLst/>
              <a:ahLst/>
              <a:cxnLst/>
              <a:rect l="l" t="t" r="r" b="b"/>
              <a:pathLst>
                <a:path w="6617" h="6578" extrusionOk="0">
                  <a:moveTo>
                    <a:pt x="3308" y="833"/>
                  </a:moveTo>
                  <a:cubicBezTo>
                    <a:pt x="4695" y="833"/>
                    <a:pt x="5797" y="1936"/>
                    <a:pt x="5797" y="3290"/>
                  </a:cubicBezTo>
                  <a:cubicBezTo>
                    <a:pt x="5797" y="4614"/>
                    <a:pt x="4726" y="5779"/>
                    <a:pt x="3308" y="5779"/>
                  </a:cubicBezTo>
                  <a:cubicBezTo>
                    <a:pt x="1954" y="5779"/>
                    <a:pt x="851" y="4677"/>
                    <a:pt x="851" y="3290"/>
                  </a:cubicBezTo>
                  <a:cubicBezTo>
                    <a:pt x="851" y="1936"/>
                    <a:pt x="1954" y="833"/>
                    <a:pt x="3308" y="833"/>
                  </a:cubicBezTo>
                  <a:close/>
                  <a:moveTo>
                    <a:pt x="3319" y="0"/>
                  </a:moveTo>
                  <a:cubicBezTo>
                    <a:pt x="2880" y="0"/>
                    <a:pt x="2438" y="81"/>
                    <a:pt x="2017" y="234"/>
                  </a:cubicBezTo>
                  <a:cubicBezTo>
                    <a:pt x="851" y="738"/>
                    <a:pt x="0" y="1936"/>
                    <a:pt x="0" y="3259"/>
                  </a:cubicBezTo>
                  <a:cubicBezTo>
                    <a:pt x="0" y="4362"/>
                    <a:pt x="568" y="5401"/>
                    <a:pt x="1481" y="6031"/>
                  </a:cubicBezTo>
                  <a:cubicBezTo>
                    <a:pt x="2033" y="6405"/>
                    <a:pt x="2645" y="6578"/>
                    <a:pt x="3255" y="6578"/>
                  </a:cubicBezTo>
                  <a:cubicBezTo>
                    <a:pt x="3725" y="6578"/>
                    <a:pt x="4193" y="6475"/>
                    <a:pt x="4632" y="6283"/>
                  </a:cubicBezTo>
                  <a:cubicBezTo>
                    <a:pt x="5829" y="5748"/>
                    <a:pt x="6585" y="4551"/>
                    <a:pt x="6585" y="3259"/>
                  </a:cubicBezTo>
                  <a:cubicBezTo>
                    <a:pt x="6616" y="2219"/>
                    <a:pt x="6081" y="1180"/>
                    <a:pt x="5167" y="549"/>
                  </a:cubicBezTo>
                  <a:cubicBezTo>
                    <a:pt x="4605" y="175"/>
                    <a:pt x="3965" y="0"/>
                    <a:pt x="33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26" name="Google Shape;6426;p72"/>
          <p:cNvSpPr/>
          <p:nvPr/>
        </p:nvSpPr>
        <p:spPr>
          <a:xfrm>
            <a:off x="2809002" y="2044439"/>
            <a:ext cx="500788" cy="496784"/>
          </a:xfrm>
          <a:custGeom>
            <a:avLst/>
            <a:gdLst/>
            <a:ahLst/>
            <a:cxnLst/>
            <a:rect l="l" t="t" r="r" b="b"/>
            <a:pathLst>
              <a:path w="12760" h="12658" extrusionOk="0">
                <a:moveTo>
                  <a:pt x="6270" y="1032"/>
                </a:moveTo>
                <a:lnTo>
                  <a:pt x="6932" y="1693"/>
                </a:lnTo>
                <a:lnTo>
                  <a:pt x="5640" y="1693"/>
                </a:lnTo>
                <a:lnTo>
                  <a:pt x="6270" y="1032"/>
                </a:lnTo>
                <a:close/>
                <a:moveTo>
                  <a:pt x="11342" y="2481"/>
                </a:moveTo>
                <a:lnTo>
                  <a:pt x="10523" y="3300"/>
                </a:lnTo>
                <a:lnTo>
                  <a:pt x="2332" y="3300"/>
                </a:lnTo>
                <a:lnTo>
                  <a:pt x="1513" y="2481"/>
                </a:lnTo>
                <a:close/>
                <a:moveTo>
                  <a:pt x="8381" y="9381"/>
                </a:moveTo>
                <a:lnTo>
                  <a:pt x="8381" y="10200"/>
                </a:lnTo>
                <a:lnTo>
                  <a:pt x="6711" y="10200"/>
                </a:lnTo>
                <a:lnTo>
                  <a:pt x="6711" y="9381"/>
                </a:lnTo>
                <a:close/>
                <a:moveTo>
                  <a:pt x="10303" y="4151"/>
                </a:moveTo>
                <a:lnTo>
                  <a:pt x="10303" y="10200"/>
                </a:lnTo>
                <a:lnTo>
                  <a:pt x="9200" y="10200"/>
                </a:lnTo>
                <a:lnTo>
                  <a:pt x="9200" y="9003"/>
                </a:lnTo>
                <a:cubicBezTo>
                  <a:pt x="9200" y="8751"/>
                  <a:pt x="8980" y="8562"/>
                  <a:pt x="8759" y="8562"/>
                </a:cubicBezTo>
                <a:lnTo>
                  <a:pt x="6270" y="8562"/>
                </a:lnTo>
                <a:cubicBezTo>
                  <a:pt x="6050" y="8562"/>
                  <a:pt x="5892" y="8751"/>
                  <a:pt x="5892" y="9003"/>
                </a:cubicBezTo>
                <a:lnTo>
                  <a:pt x="5892" y="10200"/>
                </a:lnTo>
                <a:lnTo>
                  <a:pt x="2584" y="10200"/>
                </a:lnTo>
                <a:lnTo>
                  <a:pt x="2584" y="4151"/>
                </a:lnTo>
                <a:close/>
                <a:moveTo>
                  <a:pt x="914" y="3080"/>
                </a:moveTo>
                <a:lnTo>
                  <a:pt x="1733" y="3899"/>
                </a:lnTo>
                <a:lnTo>
                  <a:pt x="1733" y="10452"/>
                </a:lnTo>
                <a:lnTo>
                  <a:pt x="914" y="11271"/>
                </a:lnTo>
                <a:lnTo>
                  <a:pt x="914" y="3080"/>
                </a:lnTo>
                <a:close/>
                <a:moveTo>
                  <a:pt x="11941" y="3080"/>
                </a:moveTo>
                <a:lnTo>
                  <a:pt x="11941" y="11271"/>
                </a:lnTo>
                <a:lnTo>
                  <a:pt x="11122" y="10452"/>
                </a:lnTo>
                <a:lnTo>
                  <a:pt x="11122" y="3899"/>
                </a:lnTo>
                <a:lnTo>
                  <a:pt x="11941" y="3080"/>
                </a:lnTo>
                <a:close/>
                <a:moveTo>
                  <a:pt x="10492" y="11050"/>
                </a:moveTo>
                <a:lnTo>
                  <a:pt x="11311" y="11870"/>
                </a:lnTo>
                <a:lnTo>
                  <a:pt x="1481" y="11870"/>
                </a:lnTo>
                <a:lnTo>
                  <a:pt x="2300" y="11050"/>
                </a:lnTo>
                <a:close/>
                <a:moveTo>
                  <a:pt x="6254" y="0"/>
                </a:moveTo>
                <a:cubicBezTo>
                  <a:pt x="6144" y="0"/>
                  <a:pt x="6034" y="39"/>
                  <a:pt x="5955" y="118"/>
                </a:cubicBezTo>
                <a:lnTo>
                  <a:pt x="4443" y="1662"/>
                </a:lnTo>
                <a:lnTo>
                  <a:pt x="379" y="1662"/>
                </a:lnTo>
                <a:cubicBezTo>
                  <a:pt x="221" y="1693"/>
                  <a:pt x="95" y="1819"/>
                  <a:pt x="64" y="1946"/>
                </a:cubicBezTo>
                <a:cubicBezTo>
                  <a:pt x="1" y="2009"/>
                  <a:pt x="64" y="1473"/>
                  <a:pt x="64" y="12248"/>
                </a:cubicBezTo>
                <a:cubicBezTo>
                  <a:pt x="64" y="12374"/>
                  <a:pt x="95" y="12500"/>
                  <a:pt x="221" y="12563"/>
                </a:cubicBezTo>
                <a:cubicBezTo>
                  <a:pt x="284" y="12657"/>
                  <a:pt x="379" y="12657"/>
                  <a:pt x="473" y="12657"/>
                </a:cubicBezTo>
                <a:lnTo>
                  <a:pt x="12351" y="12657"/>
                </a:lnTo>
                <a:cubicBezTo>
                  <a:pt x="12571" y="12657"/>
                  <a:pt x="12729" y="12468"/>
                  <a:pt x="12729" y="12216"/>
                </a:cubicBezTo>
                <a:lnTo>
                  <a:pt x="12729" y="2009"/>
                </a:lnTo>
                <a:cubicBezTo>
                  <a:pt x="12760" y="1851"/>
                  <a:pt x="12571" y="1662"/>
                  <a:pt x="12351" y="1662"/>
                </a:cubicBezTo>
                <a:lnTo>
                  <a:pt x="8097" y="1662"/>
                </a:lnTo>
                <a:lnTo>
                  <a:pt x="6554" y="118"/>
                </a:lnTo>
                <a:cubicBezTo>
                  <a:pt x="6475" y="39"/>
                  <a:pt x="6365" y="0"/>
                  <a:pt x="6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27" name="Google Shape;6427;p72"/>
          <p:cNvGrpSpPr/>
          <p:nvPr/>
        </p:nvGrpSpPr>
        <p:grpSpPr>
          <a:xfrm>
            <a:off x="2842259" y="2642333"/>
            <a:ext cx="500788" cy="498747"/>
            <a:chOff x="-42062025" y="2316000"/>
            <a:chExt cx="319000" cy="317700"/>
          </a:xfrm>
        </p:grpSpPr>
        <p:sp>
          <p:nvSpPr>
            <p:cNvPr id="6428" name="Google Shape;6428;p72"/>
            <p:cNvSpPr/>
            <p:nvPr/>
          </p:nvSpPr>
          <p:spPr>
            <a:xfrm>
              <a:off x="-41965150" y="2477075"/>
              <a:ext cx="124475" cy="112675"/>
            </a:xfrm>
            <a:custGeom>
              <a:avLst/>
              <a:gdLst/>
              <a:ahLst/>
              <a:cxnLst/>
              <a:rect l="l" t="t" r="r" b="b"/>
              <a:pathLst>
                <a:path w="4979" h="4507" extrusionOk="0">
                  <a:moveTo>
                    <a:pt x="2521" y="1371"/>
                  </a:moveTo>
                  <a:lnTo>
                    <a:pt x="2773" y="1812"/>
                  </a:lnTo>
                  <a:cubicBezTo>
                    <a:pt x="2836" y="1938"/>
                    <a:pt x="2931" y="2001"/>
                    <a:pt x="3088" y="2064"/>
                  </a:cubicBezTo>
                  <a:lnTo>
                    <a:pt x="3592" y="2127"/>
                  </a:lnTo>
                  <a:lnTo>
                    <a:pt x="3151" y="2473"/>
                  </a:lnTo>
                  <a:cubicBezTo>
                    <a:pt x="3088" y="2568"/>
                    <a:pt x="2994" y="2725"/>
                    <a:pt x="3057" y="2851"/>
                  </a:cubicBezTo>
                  <a:lnTo>
                    <a:pt x="3120" y="3355"/>
                  </a:lnTo>
                  <a:lnTo>
                    <a:pt x="2679" y="3103"/>
                  </a:lnTo>
                  <a:cubicBezTo>
                    <a:pt x="2631" y="3072"/>
                    <a:pt x="2568" y="3056"/>
                    <a:pt x="2501" y="3056"/>
                  </a:cubicBezTo>
                  <a:cubicBezTo>
                    <a:pt x="2434" y="3056"/>
                    <a:pt x="2364" y="3072"/>
                    <a:pt x="2301" y="3103"/>
                  </a:cubicBezTo>
                  <a:lnTo>
                    <a:pt x="1860" y="3355"/>
                  </a:lnTo>
                  <a:lnTo>
                    <a:pt x="1954" y="2851"/>
                  </a:lnTo>
                  <a:cubicBezTo>
                    <a:pt x="1986" y="2725"/>
                    <a:pt x="1891" y="2568"/>
                    <a:pt x="1828" y="2473"/>
                  </a:cubicBezTo>
                  <a:lnTo>
                    <a:pt x="1481" y="2127"/>
                  </a:lnTo>
                  <a:lnTo>
                    <a:pt x="1986" y="2064"/>
                  </a:lnTo>
                  <a:cubicBezTo>
                    <a:pt x="2112" y="2064"/>
                    <a:pt x="2206" y="1938"/>
                    <a:pt x="2301" y="1812"/>
                  </a:cubicBezTo>
                  <a:lnTo>
                    <a:pt x="2521" y="1371"/>
                  </a:lnTo>
                  <a:close/>
                  <a:moveTo>
                    <a:pt x="2474" y="0"/>
                  </a:moveTo>
                  <a:cubicBezTo>
                    <a:pt x="2332" y="0"/>
                    <a:pt x="2190" y="79"/>
                    <a:pt x="2112" y="236"/>
                  </a:cubicBezTo>
                  <a:lnTo>
                    <a:pt x="1576" y="1276"/>
                  </a:lnTo>
                  <a:lnTo>
                    <a:pt x="473" y="1434"/>
                  </a:lnTo>
                  <a:cubicBezTo>
                    <a:pt x="127" y="1465"/>
                    <a:pt x="1" y="1906"/>
                    <a:pt x="253" y="2127"/>
                  </a:cubicBezTo>
                  <a:lnTo>
                    <a:pt x="1040" y="2914"/>
                  </a:lnTo>
                  <a:lnTo>
                    <a:pt x="851" y="4017"/>
                  </a:lnTo>
                  <a:cubicBezTo>
                    <a:pt x="802" y="4291"/>
                    <a:pt x="1028" y="4506"/>
                    <a:pt x="1249" y="4506"/>
                  </a:cubicBezTo>
                  <a:cubicBezTo>
                    <a:pt x="1308" y="4506"/>
                    <a:pt x="1366" y="4491"/>
                    <a:pt x="1418" y="4458"/>
                  </a:cubicBezTo>
                  <a:lnTo>
                    <a:pt x="2427" y="3954"/>
                  </a:lnTo>
                  <a:lnTo>
                    <a:pt x="3403" y="4458"/>
                  </a:lnTo>
                  <a:cubicBezTo>
                    <a:pt x="3465" y="4489"/>
                    <a:pt x="3528" y="4503"/>
                    <a:pt x="3589" y="4503"/>
                  </a:cubicBezTo>
                  <a:cubicBezTo>
                    <a:pt x="3839" y="4503"/>
                    <a:pt x="4052" y="4270"/>
                    <a:pt x="4002" y="4017"/>
                  </a:cubicBezTo>
                  <a:lnTo>
                    <a:pt x="3781" y="2914"/>
                  </a:lnTo>
                  <a:lnTo>
                    <a:pt x="4569" y="2127"/>
                  </a:lnTo>
                  <a:cubicBezTo>
                    <a:pt x="4978" y="1906"/>
                    <a:pt x="4821" y="1465"/>
                    <a:pt x="4474" y="1434"/>
                  </a:cubicBezTo>
                  <a:lnTo>
                    <a:pt x="3372" y="1276"/>
                  </a:lnTo>
                  <a:lnTo>
                    <a:pt x="2836" y="236"/>
                  </a:lnTo>
                  <a:cubicBezTo>
                    <a:pt x="2757" y="79"/>
                    <a:pt x="2616" y="0"/>
                    <a:pt x="2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29" name="Google Shape;6429;p72"/>
            <p:cNvSpPr/>
            <p:nvPr/>
          </p:nvSpPr>
          <p:spPr>
            <a:xfrm>
              <a:off x="-42062025" y="2316000"/>
              <a:ext cx="319000" cy="317700"/>
            </a:xfrm>
            <a:custGeom>
              <a:avLst/>
              <a:gdLst/>
              <a:ahLst/>
              <a:cxnLst/>
              <a:rect l="l" t="t" r="r" b="b"/>
              <a:pathLst>
                <a:path w="12760" h="12708" extrusionOk="0">
                  <a:moveTo>
                    <a:pt x="9610" y="851"/>
                  </a:moveTo>
                  <a:lnTo>
                    <a:pt x="8129" y="2615"/>
                  </a:lnTo>
                  <a:cubicBezTo>
                    <a:pt x="8097" y="2584"/>
                    <a:pt x="8034" y="2584"/>
                    <a:pt x="7940" y="2584"/>
                  </a:cubicBezTo>
                  <a:lnTo>
                    <a:pt x="4821" y="2584"/>
                  </a:lnTo>
                  <a:cubicBezTo>
                    <a:pt x="4758" y="2584"/>
                    <a:pt x="4726" y="2584"/>
                    <a:pt x="4632" y="2615"/>
                  </a:cubicBezTo>
                  <a:lnTo>
                    <a:pt x="3183" y="851"/>
                  </a:lnTo>
                  <a:close/>
                  <a:moveTo>
                    <a:pt x="7530" y="3371"/>
                  </a:moveTo>
                  <a:lnTo>
                    <a:pt x="6396" y="4726"/>
                  </a:lnTo>
                  <a:lnTo>
                    <a:pt x="5293" y="3371"/>
                  </a:lnTo>
                  <a:close/>
                  <a:moveTo>
                    <a:pt x="10555" y="1009"/>
                  </a:moveTo>
                  <a:lnTo>
                    <a:pt x="11783" y="2237"/>
                  </a:lnTo>
                  <a:lnTo>
                    <a:pt x="8759" y="5923"/>
                  </a:lnTo>
                  <a:cubicBezTo>
                    <a:pt x="8255" y="5545"/>
                    <a:pt x="7719" y="5262"/>
                    <a:pt x="7121" y="5136"/>
                  </a:cubicBezTo>
                  <a:lnTo>
                    <a:pt x="10555" y="1009"/>
                  </a:lnTo>
                  <a:close/>
                  <a:moveTo>
                    <a:pt x="2269" y="1040"/>
                  </a:moveTo>
                  <a:lnTo>
                    <a:pt x="5703" y="5199"/>
                  </a:lnTo>
                  <a:cubicBezTo>
                    <a:pt x="5104" y="5293"/>
                    <a:pt x="4506" y="5545"/>
                    <a:pt x="4033" y="5986"/>
                  </a:cubicBezTo>
                  <a:cubicBezTo>
                    <a:pt x="3214" y="4947"/>
                    <a:pt x="1040" y="2269"/>
                    <a:pt x="1040" y="2269"/>
                  </a:cubicBezTo>
                  <a:lnTo>
                    <a:pt x="2269" y="1040"/>
                  </a:lnTo>
                  <a:close/>
                  <a:moveTo>
                    <a:pt x="6349" y="5978"/>
                  </a:moveTo>
                  <a:cubicBezTo>
                    <a:pt x="7097" y="5978"/>
                    <a:pt x="7845" y="6254"/>
                    <a:pt x="8412" y="6805"/>
                  </a:cubicBezTo>
                  <a:lnTo>
                    <a:pt x="8538" y="6932"/>
                  </a:lnTo>
                  <a:cubicBezTo>
                    <a:pt x="8633" y="7026"/>
                    <a:pt x="8727" y="7152"/>
                    <a:pt x="8822" y="7278"/>
                  </a:cubicBezTo>
                  <a:cubicBezTo>
                    <a:pt x="9452" y="8097"/>
                    <a:pt x="9484" y="9168"/>
                    <a:pt x="9137" y="10082"/>
                  </a:cubicBezTo>
                  <a:cubicBezTo>
                    <a:pt x="8662" y="11199"/>
                    <a:pt x="7524" y="11885"/>
                    <a:pt x="6358" y="11885"/>
                  </a:cubicBezTo>
                  <a:cubicBezTo>
                    <a:pt x="5978" y="11885"/>
                    <a:pt x="5595" y="11812"/>
                    <a:pt x="5230" y="11657"/>
                  </a:cubicBezTo>
                  <a:cubicBezTo>
                    <a:pt x="3340" y="10870"/>
                    <a:pt x="2805" y="8412"/>
                    <a:pt x="4159" y="6932"/>
                  </a:cubicBezTo>
                  <a:lnTo>
                    <a:pt x="4285" y="6805"/>
                  </a:lnTo>
                  <a:cubicBezTo>
                    <a:pt x="4852" y="6254"/>
                    <a:pt x="5601" y="5978"/>
                    <a:pt x="6349" y="5978"/>
                  </a:cubicBezTo>
                  <a:close/>
                  <a:moveTo>
                    <a:pt x="2269" y="0"/>
                  </a:moveTo>
                  <a:cubicBezTo>
                    <a:pt x="2143" y="0"/>
                    <a:pt x="2048" y="32"/>
                    <a:pt x="1954" y="95"/>
                  </a:cubicBezTo>
                  <a:lnTo>
                    <a:pt x="158" y="1922"/>
                  </a:lnTo>
                  <a:cubicBezTo>
                    <a:pt x="1" y="2080"/>
                    <a:pt x="1" y="2300"/>
                    <a:pt x="95" y="2458"/>
                  </a:cubicBezTo>
                  <a:lnTo>
                    <a:pt x="3372" y="6522"/>
                  </a:lnTo>
                  <a:cubicBezTo>
                    <a:pt x="1985" y="8255"/>
                    <a:pt x="2395" y="10807"/>
                    <a:pt x="4254" y="12035"/>
                  </a:cubicBezTo>
                  <a:cubicBezTo>
                    <a:pt x="4911" y="12489"/>
                    <a:pt x="5659" y="12708"/>
                    <a:pt x="6397" y="12708"/>
                  </a:cubicBezTo>
                  <a:cubicBezTo>
                    <a:pt x="7606" y="12708"/>
                    <a:pt x="8791" y="12122"/>
                    <a:pt x="9515" y="11027"/>
                  </a:cubicBezTo>
                  <a:cubicBezTo>
                    <a:pt x="10429" y="9641"/>
                    <a:pt x="10397" y="7814"/>
                    <a:pt x="9326" y="6522"/>
                  </a:cubicBezTo>
                  <a:lnTo>
                    <a:pt x="12634" y="2458"/>
                  </a:lnTo>
                  <a:cubicBezTo>
                    <a:pt x="12760" y="2300"/>
                    <a:pt x="12760" y="2080"/>
                    <a:pt x="12603" y="1922"/>
                  </a:cubicBezTo>
                  <a:lnTo>
                    <a:pt x="10775" y="95"/>
                  </a:lnTo>
                  <a:cubicBezTo>
                    <a:pt x="10712" y="32"/>
                    <a:pt x="10555" y="0"/>
                    <a:pt x="104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30" name="Google Shape;6430;p72"/>
          <p:cNvSpPr/>
          <p:nvPr/>
        </p:nvSpPr>
        <p:spPr>
          <a:xfrm>
            <a:off x="2846703" y="3217580"/>
            <a:ext cx="504516" cy="500395"/>
          </a:xfrm>
          <a:custGeom>
            <a:avLst/>
            <a:gdLst/>
            <a:ahLst/>
            <a:cxnLst/>
            <a:rect l="l" t="t" r="r" b="b"/>
            <a:pathLst>
              <a:path w="12855" h="12750" extrusionOk="0">
                <a:moveTo>
                  <a:pt x="6304" y="770"/>
                </a:moveTo>
                <a:cubicBezTo>
                  <a:pt x="6519" y="770"/>
                  <a:pt x="6711" y="952"/>
                  <a:pt x="6711" y="1186"/>
                </a:cubicBezTo>
                <a:lnTo>
                  <a:pt x="6711" y="1659"/>
                </a:lnTo>
                <a:cubicBezTo>
                  <a:pt x="6569" y="1643"/>
                  <a:pt x="6435" y="1635"/>
                  <a:pt x="6302" y="1635"/>
                </a:cubicBezTo>
                <a:cubicBezTo>
                  <a:pt x="6168" y="1635"/>
                  <a:pt x="6034" y="1643"/>
                  <a:pt x="5892" y="1659"/>
                </a:cubicBezTo>
                <a:lnTo>
                  <a:pt x="5892" y="1186"/>
                </a:lnTo>
                <a:cubicBezTo>
                  <a:pt x="5892" y="1029"/>
                  <a:pt x="5955" y="934"/>
                  <a:pt x="6081" y="840"/>
                </a:cubicBezTo>
                <a:cubicBezTo>
                  <a:pt x="6154" y="791"/>
                  <a:pt x="6230" y="770"/>
                  <a:pt x="6304" y="770"/>
                </a:cubicBezTo>
                <a:close/>
                <a:moveTo>
                  <a:pt x="6249" y="2423"/>
                </a:moveTo>
                <a:cubicBezTo>
                  <a:pt x="7067" y="2423"/>
                  <a:pt x="7748" y="3312"/>
                  <a:pt x="7373" y="4148"/>
                </a:cubicBezTo>
                <a:cubicBezTo>
                  <a:pt x="7184" y="4619"/>
                  <a:pt x="6731" y="4914"/>
                  <a:pt x="6251" y="4914"/>
                </a:cubicBezTo>
                <a:cubicBezTo>
                  <a:pt x="6089" y="4914"/>
                  <a:pt x="5925" y="4881"/>
                  <a:pt x="5766" y="4809"/>
                </a:cubicBezTo>
                <a:cubicBezTo>
                  <a:pt x="5136" y="4557"/>
                  <a:pt x="4852" y="3707"/>
                  <a:pt x="5230" y="3045"/>
                </a:cubicBezTo>
                <a:cubicBezTo>
                  <a:pt x="5325" y="2856"/>
                  <a:pt x="5482" y="2699"/>
                  <a:pt x="5640" y="2604"/>
                </a:cubicBezTo>
                <a:cubicBezTo>
                  <a:pt x="5766" y="2541"/>
                  <a:pt x="5892" y="2510"/>
                  <a:pt x="6018" y="2447"/>
                </a:cubicBezTo>
                <a:cubicBezTo>
                  <a:pt x="6096" y="2431"/>
                  <a:pt x="6173" y="2423"/>
                  <a:pt x="6249" y="2423"/>
                </a:cubicBezTo>
                <a:close/>
                <a:moveTo>
                  <a:pt x="4852" y="5156"/>
                </a:moveTo>
                <a:cubicBezTo>
                  <a:pt x="5041" y="5377"/>
                  <a:pt x="5293" y="5534"/>
                  <a:pt x="5577" y="5597"/>
                </a:cubicBezTo>
                <a:lnTo>
                  <a:pt x="3939" y="8243"/>
                </a:lnTo>
                <a:lnTo>
                  <a:pt x="2962" y="8243"/>
                </a:lnTo>
                <a:lnTo>
                  <a:pt x="4852" y="5156"/>
                </a:lnTo>
                <a:close/>
                <a:moveTo>
                  <a:pt x="7719" y="5187"/>
                </a:moveTo>
                <a:lnTo>
                  <a:pt x="9610" y="8243"/>
                </a:lnTo>
                <a:lnTo>
                  <a:pt x="8633" y="8243"/>
                </a:lnTo>
                <a:lnTo>
                  <a:pt x="7026" y="5597"/>
                </a:lnTo>
                <a:cubicBezTo>
                  <a:pt x="7310" y="5503"/>
                  <a:pt x="7530" y="5377"/>
                  <a:pt x="7719" y="5187"/>
                </a:cubicBezTo>
                <a:close/>
                <a:moveTo>
                  <a:pt x="6333" y="6007"/>
                </a:moveTo>
                <a:lnTo>
                  <a:pt x="7688" y="8275"/>
                </a:lnTo>
                <a:lnTo>
                  <a:pt x="7467" y="8275"/>
                </a:lnTo>
                <a:lnTo>
                  <a:pt x="7467" y="8243"/>
                </a:lnTo>
                <a:cubicBezTo>
                  <a:pt x="7373" y="7960"/>
                  <a:pt x="7215" y="7771"/>
                  <a:pt x="6995" y="7613"/>
                </a:cubicBezTo>
                <a:cubicBezTo>
                  <a:pt x="6783" y="7462"/>
                  <a:pt x="6545" y="7391"/>
                  <a:pt x="6310" y="7391"/>
                </a:cubicBezTo>
                <a:cubicBezTo>
                  <a:pt x="5812" y="7391"/>
                  <a:pt x="5329" y="7708"/>
                  <a:pt x="5136" y="8243"/>
                </a:cubicBezTo>
                <a:lnTo>
                  <a:pt x="4947" y="8243"/>
                </a:lnTo>
                <a:lnTo>
                  <a:pt x="6333" y="6007"/>
                </a:lnTo>
                <a:close/>
                <a:moveTo>
                  <a:pt x="6274" y="8212"/>
                </a:moveTo>
                <a:cubicBezTo>
                  <a:pt x="6325" y="8212"/>
                  <a:pt x="6377" y="8222"/>
                  <a:pt x="6428" y="8243"/>
                </a:cubicBezTo>
                <a:cubicBezTo>
                  <a:pt x="6585" y="8306"/>
                  <a:pt x="6680" y="8495"/>
                  <a:pt x="6680" y="8653"/>
                </a:cubicBezTo>
                <a:cubicBezTo>
                  <a:pt x="6704" y="8901"/>
                  <a:pt x="6515" y="9071"/>
                  <a:pt x="6295" y="9071"/>
                </a:cubicBezTo>
                <a:cubicBezTo>
                  <a:pt x="6235" y="9071"/>
                  <a:pt x="6173" y="9058"/>
                  <a:pt x="6113" y="9031"/>
                </a:cubicBezTo>
                <a:cubicBezTo>
                  <a:pt x="5924" y="8968"/>
                  <a:pt x="5798" y="8716"/>
                  <a:pt x="5892" y="8495"/>
                </a:cubicBezTo>
                <a:cubicBezTo>
                  <a:pt x="5941" y="8326"/>
                  <a:pt x="6101" y="8212"/>
                  <a:pt x="6274" y="8212"/>
                </a:cubicBezTo>
                <a:close/>
                <a:moveTo>
                  <a:pt x="3435" y="9063"/>
                </a:moveTo>
                <a:lnTo>
                  <a:pt x="1891" y="11583"/>
                </a:lnTo>
                <a:cubicBezTo>
                  <a:pt x="1576" y="11205"/>
                  <a:pt x="1513" y="10606"/>
                  <a:pt x="1796" y="10165"/>
                </a:cubicBezTo>
                <a:lnTo>
                  <a:pt x="2458" y="9063"/>
                </a:lnTo>
                <a:close/>
                <a:moveTo>
                  <a:pt x="10145" y="9063"/>
                </a:moveTo>
                <a:lnTo>
                  <a:pt x="10807" y="10165"/>
                </a:lnTo>
                <a:cubicBezTo>
                  <a:pt x="11027" y="10606"/>
                  <a:pt x="10996" y="11205"/>
                  <a:pt x="10681" y="11583"/>
                </a:cubicBezTo>
                <a:lnTo>
                  <a:pt x="9169" y="9063"/>
                </a:lnTo>
                <a:close/>
                <a:moveTo>
                  <a:pt x="6256" y="1"/>
                </a:moveTo>
                <a:cubicBezTo>
                  <a:pt x="5728" y="1"/>
                  <a:pt x="5259" y="331"/>
                  <a:pt x="5104" y="871"/>
                </a:cubicBezTo>
                <a:cubicBezTo>
                  <a:pt x="5041" y="997"/>
                  <a:pt x="5041" y="1123"/>
                  <a:pt x="5041" y="1218"/>
                </a:cubicBezTo>
                <a:lnTo>
                  <a:pt x="5041" y="2069"/>
                </a:lnTo>
                <a:cubicBezTo>
                  <a:pt x="4317" y="2604"/>
                  <a:pt x="4033" y="3581"/>
                  <a:pt x="4348" y="4431"/>
                </a:cubicBezTo>
                <a:cubicBezTo>
                  <a:pt x="4002" y="4998"/>
                  <a:pt x="2836" y="6920"/>
                  <a:pt x="1985" y="8275"/>
                </a:cubicBezTo>
                <a:lnTo>
                  <a:pt x="473" y="8275"/>
                </a:lnTo>
                <a:cubicBezTo>
                  <a:pt x="284" y="8275"/>
                  <a:pt x="95" y="8432"/>
                  <a:pt x="64" y="8653"/>
                </a:cubicBezTo>
                <a:cubicBezTo>
                  <a:pt x="1" y="8874"/>
                  <a:pt x="221" y="9094"/>
                  <a:pt x="442" y="9094"/>
                </a:cubicBezTo>
                <a:lnTo>
                  <a:pt x="1418" y="9094"/>
                </a:lnTo>
                <a:lnTo>
                  <a:pt x="1009" y="9787"/>
                </a:lnTo>
                <a:cubicBezTo>
                  <a:pt x="599" y="10417"/>
                  <a:pt x="599" y="11236"/>
                  <a:pt x="946" y="11866"/>
                </a:cubicBezTo>
                <a:cubicBezTo>
                  <a:pt x="1103" y="12182"/>
                  <a:pt x="1387" y="12465"/>
                  <a:pt x="1702" y="12654"/>
                </a:cubicBezTo>
                <a:cubicBezTo>
                  <a:pt x="1761" y="12694"/>
                  <a:pt x="1827" y="12711"/>
                  <a:pt x="1893" y="12711"/>
                </a:cubicBezTo>
                <a:cubicBezTo>
                  <a:pt x="2037" y="12711"/>
                  <a:pt x="2182" y="12626"/>
                  <a:pt x="2269" y="12497"/>
                </a:cubicBezTo>
                <a:lnTo>
                  <a:pt x="4348" y="9094"/>
                </a:lnTo>
                <a:lnTo>
                  <a:pt x="5041" y="9094"/>
                </a:lnTo>
                <a:cubicBezTo>
                  <a:pt x="5167" y="9504"/>
                  <a:pt x="5482" y="9787"/>
                  <a:pt x="5829" y="9882"/>
                </a:cubicBezTo>
                <a:cubicBezTo>
                  <a:pt x="5961" y="9928"/>
                  <a:pt x="6096" y="9950"/>
                  <a:pt x="6227" y="9950"/>
                </a:cubicBezTo>
                <a:cubicBezTo>
                  <a:pt x="6628" y="9950"/>
                  <a:pt x="7002" y="9749"/>
                  <a:pt x="7215" y="9441"/>
                </a:cubicBezTo>
                <a:cubicBezTo>
                  <a:pt x="7310" y="9346"/>
                  <a:pt x="7373" y="9189"/>
                  <a:pt x="7373" y="9189"/>
                </a:cubicBezTo>
                <a:lnTo>
                  <a:pt x="8097" y="9189"/>
                </a:lnTo>
                <a:lnTo>
                  <a:pt x="10145" y="12528"/>
                </a:lnTo>
                <a:cubicBezTo>
                  <a:pt x="10207" y="12673"/>
                  <a:pt x="10337" y="12750"/>
                  <a:pt x="10473" y="12750"/>
                </a:cubicBezTo>
                <a:cubicBezTo>
                  <a:pt x="10544" y="12750"/>
                  <a:pt x="10616" y="12729"/>
                  <a:pt x="10681" y="12686"/>
                </a:cubicBezTo>
                <a:cubicBezTo>
                  <a:pt x="11657" y="12119"/>
                  <a:pt x="11972" y="10795"/>
                  <a:pt x="11405" y="9850"/>
                </a:cubicBezTo>
                <a:lnTo>
                  <a:pt x="10996" y="9189"/>
                </a:lnTo>
                <a:lnTo>
                  <a:pt x="12288" y="9189"/>
                </a:lnTo>
                <a:cubicBezTo>
                  <a:pt x="12508" y="9189"/>
                  <a:pt x="12697" y="9031"/>
                  <a:pt x="12729" y="8842"/>
                </a:cubicBezTo>
                <a:cubicBezTo>
                  <a:pt x="12855" y="8432"/>
                  <a:pt x="12666" y="8243"/>
                  <a:pt x="12382" y="8243"/>
                </a:cubicBezTo>
                <a:lnTo>
                  <a:pt x="10555" y="8243"/>
                </a:lnTo>
                <a:lnTo>
                  <a:pt x="8192" y="4368"/>
                </a:lnTo>
                <a:cubicBezTo>
                  <a:pt x="8507" y="3549"/>
                  <a:pt x="8255" y="2573"/>
                  <a:pt x="7499" y="2005"/>
                </a:cubicBezTo>
                <a:lnTo>
                  <a:pt x="7499" y="1218"/>
                </a:lnTo>
                <a:cubicBezTo>
                  <a:pt x="7499" y="682"/>
                  <a:pt x="7152" y="210"/>
                  <a:pt x="6617" y="52"/>
                </a:cubicBezTo>
                <a:cubicBezTo>
                  <a:pt x="6495" y="18"/>
                  <a:pt x="6374" y="1"/>
                  <a:pt x="62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31" name="Google Shape;6431;p72"/>
          <p:cNvGrpSpPr/>
          <p:nvPr/>
        </p:nvGrpSpPr>
        <p:grpSpPr>
          <a:xfrm>
            <a:off x="1168759" y="3857138"/>
            <a:ext cx="440191" cy="490897"/>
            <a:chOff x="-40150450" y="1977325"/>
            <a:chExt cx="280400" cy="312700"/>
          </a:xfrm>
        </p:grpSpPr>
        <p:sp>
          <p:nvSpPr>
            <p:cNvPr id="6432" name="Google Shape;6432;p72"/>
            <p:cNvSpPr/>
            <p:nvPr/>
          </p:nvSpPr>
          <p:spPr>
            <a:xfrm>
              <a:off x="-40052800" y="204112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3" name="Google Shape;6433;p72"/>
            <p:cNvSpPr/>
            <p:nvPr/>
          </p:nvSpPr>
          <p:spPr>
            <a:xfrm>
              <a:off x="-40150450" y="1977325"/>
              <a:ext cx="280400" cy="312700"/>
            </a:xfrm>
            <a:custGeom>
              <a:avLst/>
              <a:gdLst/>
              <a:ahLst/>
              <a:cxnLst/>
              <a:rect l="l" t="t" r="r" b="b"/>
              <a:pathLst>
                <a:path w="11216" h="12508" extrusionOk="0">
                  <a:moveTo>
                    <a:pt x="8379" y="838"/>
                  </a:moveTo>
                  <a:cubicBezTo>
                    <a:pt x="8626" y="838"/>
                    <a:pt x="8880" y="873"/>
                    <a:pt x="9137" y="946"/>
                  </a:cubicBezTo>
                  <a:cubicBezTo>
                    <a:pt x="8948" y="1733"/>
                    <a:pt x="8506" y="2300"/>
                    <a:pt x="7971" y="2615"/>
                  </a:cubicBezTo>
                  <a:cubicBezTo>
                    <a:pt x="7908" y="2678"/>
                    <a:pt x="7876" y="2678"/>
                    <a:pt x="7876" y="2678"/>
                  </a:cubicBezTo>
                  <a:cubicBezTo>
                    <a:pt x="7861" y="2694"/>
                    <a:pt x="7853" y="2694"/>
                    <a:pt x="7845" y="2694"/>
                  </a:cubicBezTo>
                  <a:cubicBezTo>
                    <a:pt x="7837" y="2694"/>
                    <a:pt x="7829" y="2694"/>
                    <a:pt x="7813" y="2710"/>
                  </a:cubicBezTo>
                  <a:cubicBezTo>
                    <a:pt x="7470" y="2868"/>
                    <a:pt x="7083" y="2938"/>
                    <a:pt x="6744" y="2938"/>
                  </a:cubicBezTo>
                  <a:cubicBezTo>
                    <a:pt x="6678" y="2938"/>
                    <a:pt x="6615" y="2935"/>
                    <a:pt x="6553" y="2930"/>
                  </a:cubicBezTo>
                  <a:lnTo>
                    <a:pt x="6459" y="2930"/>
                  </a:lnTo>
                  <a:cubicBezTo>
                    <a:pt x="6301" y="2930"/>
                    <a:pt x="6112" y="2899"/>
                    <a:pt x="5955" y="2867"/>
                  </a:cubicBezTo>
                  <a:cubicBezTo>
                    <a:pt x="6240" y="1597"/>
                    <a:pt x="7230" y="838"/>
                    <a:pt x="8379" y="838"/>
                  </a:cubicBezTo>
                  <a:close/>
                  <a:moveTo>
                    <a:pt x="9798" y="8538"/>
                  </a:moveTo>
                  <a:lnTo>
                    <a:pt x="9798" y="8538"/>
                  </a:lnTo>
                  <a:cubicBezTo>
                    <a:pt x="9831" y="8545"/>
                    <a:pt x="9862" y="8554"/>
                    <a:pt x="9892" y="8565"/>
                  </a:cubicBezTo>
                  <a:lnTo>
                    <a:pt x="9892" y="8565"/>
                  </a:lnTo>
                  <a:cubicBezTo>
                    <a:pt x="9829" y="8546"/>
                    <a:pt x="9798" y="8538"/>
                    <a:pt x="9798" y="8538"/>
                  </a:cubicBezTo>
                  <a:close/>
                  <a:moveTo>
                    <a:pt x="3433" y="3256"/>
                  </a:moveTo>
                  <a:cubicBezTo>
                    <a:pt x="3506" y="3256"/>
                    <a:pt x="3570" y="3264"/>
                    <a:pt x="3623" y="3277"/>
                  </a:cubicBezTo>
                  <a:cubicBezTo>
                    <a:pt x="4064" y="3403"/>
                    <a:pt x="4631" y="3970"/>
                    <a:pt x="5167" y="4128"/>
                  </a:cubicBezTo>
                  <a:cubicBezTo>
                    <a:pt x="5293" y="4159"/>
                    <a:pt x="5419" y="4159"/>
                    <a:pt x="5514" y="4159"/>
                  </a:cubicBezTo>
                  <a:lnTo>
                    <a:pt x="5577" y="4159"/>
                  </a:lnTo>
                  <a:cubicBezTo>
                    <a:pt x="5923" y="4159"/>
                    <a:pt x="6270" y="3907"/>
                    <a:pt x="6585" y="3718"/>
                  </a:cubicBezTo>
                  <a:cubicBezTo>
                    <a:pt x="7152" y="3718"/>
                    <a:pt x="7687" y="3592"/>
                    <a:pt x="8160" y="3371"/>
                  </a:cubicBezTo>
                  <a:cubicBezTo>
                    <a:pt x="9294" y="3812"/>
                    <a:pt x="10838" y="5388"/>
                    <a:pt x="9767" y="8475"/>
                  </a:cubicBezTo>
                  <a:cubicBezTo>
                    <a:pt x="9420" y="9672"/>
                    <a:pt x="8506" y="11342"/>
                    <a:pt x="7561" y="11594"/>
                  </a:cubicBezTo>
                  <a:cubicBezTo>
                    <a:pt x="7484" y="11627"/>
                    <a:pt x="7404" y="11641"/>
                    <a:pt x="7319" y="11641"/>
                  </a:cubicBezTo>
                  <a:cubicBezTo>
                    <a:pt x="7161" y="11641"/>
                    <a:pt x="6990" y="11593"/>
                    <a:pt x="6805" y="11531"/>
                  </a:cubicBezTo>
                  <a:cubicBezTo>
                    <a:pt x="6459" y="11279"/>
                    <a:pt x="6081" y="11027"/>
                    <a:pt x="5608" y="11027"/>
                  </a:cubicBezTo>
                  <a:cubicBezTo>
                    <a:pt x="5482" y="11027"/>
                    <a:pt x="5356" y="11027"/>
                    <a:pt x="5135" y="11059"/>
                  </a:cubicBezTo>
                  <a:cubicBezTo>
                    <a:pt x="4820" y="11122"/>
                    <a:pt x="4537" y="11311"/>
                    <a:pt x="4253" y="11468"/>
                  </a:cubicBezTo>
                  <a:cubicBezTo>
                    <a:pt x="4094" y="11568"/>
                    <a:pt x="3934" y="11630"/>
                    <a:pt x="3767" y="11630"/>
                  </a:cubicBezTo>
                  <a:cubicBezTo>
                    <a:pt x="3670" y="11630"/>
                    <a:pt x="3570" y="11609"/>
                    <a:pt x="3466" y="11563"/>
                  </a:cubicBezTo>
                  <a:cubicBezTo>
                    <a:pt x="3119" y="11437"/>
                    <a:pt x="2804" y="11122"/>
                    <a:pt x="2552" y="10838"/>
                  </a:cubicBezTo>
                  <a:cubicBezTo>
                    <a:pt x="1386" y="9515"/>
                    <a:pt x="0" y="6207"/>
                    <a:pt x="1670" y="4222"/>
                  </a:cubicBezTo>
                  <a:cubicBezTo>
                    <a:pt x="2238" y="3518"/>
                    <a:pt x="2992" y="3256"/>
                    <a:pt x="3433" y="3256"/>
                  </a:cubicBezTo>
                  <a:close/>
                  <a:moveTo>
                    <a:pt x="8415" y="0"/>
                  </a:moveTo>
                  <a:cubicBezTo>
                    <a:pt x="7084" y="0"/>
                    <a:pt x="5925" y="752"/>
                    <a:pt x="5356" y="1985"/>
                  </a:cubicBezTo>
                  <a:cubicBezTo>
                    <a:pt x="5104" y="1576"/>
                    <a:pt x="4663" y="1198"/>
                    <a:pt x="4190" y="977"/>
                  </a:cubicBezTo>
                  <a:lnTo>
                    <a:pt x="4033" y="883"/>
                  </a:lnTo>
                  <a:cubicBezTo>
                    <a:pt x="3975" y="858"/>
                    <a:pt x="3917" y="846"/>
                    <a:pt x="3862" y="846"/>
                  </a:cubicBezTo>
                  <a:cubicBezTo>
                    <a:pt x="3703" y="846"/>
                    <a:pt x="3559" y="940"/>
                    <a:pt x="3466" y="1103"/>
                  </a:cubicBezTo>
                  <a:cubicBezTo>
                    <a:pt x="3340" y="1292"/>
                    <a:pt x="3466" y="1513"/>
                    <a:pt x="3655" y="1639"/>
                  </a:cubicBezTo>
                  <a:lnTo>
                    <a:pt x="3812" y="1733"/>
                  </a:lnTo>
                  <a:cubicBezTo>
                    <a:pt x="4411" y="1985"/>
                    <a:pt x="4820" y="2521"/>
                    <a:pt x="4978" y="3088"/>
                  </a:cubicBezTo>
                  <a:cubicBezTo>
                    <a:pt x="4600" y="2867"/>
                    <a:pt x="4253" y="2615"/>
                    <a:pt x="3907" y="2521"/>
                  </a:cubicBezTo>
                  <a:cubicBezTo>
                    <a:pt x="3773" y="2479"/>
                    <a:pt x="3623" y="2459"/>
                    <a:pt x="3462" y="2459"/>
                  </a:cubicBezTo>
                  <a:cubicBezTo>
                    <a:pt x="2151" y="2459"/>
                    <a:pt x="126" y="3831"/>
                    <a:pt x="126" y="6553"/>
                  </a:cubicBezTo>
                  <a:cubicBezTo>
                    <a:pt x="126" y="8034"/>
                    <a:pt x="725" y="9641"/>
                    <a:pt x="1544" y="10870"/>
                  </a:cubicBezTo>
                  <a:cubicBezTo>
                    <a:pt x="2365" y="12070"/>
                    <a:pt x="3159" y="12482"/>
                    <a:pt x="3830" y="12482"/>
                  </a:cubicBezTo>
                  <a:cubicBezTo>
                    <a:pt x="4162" y="12482"/>
                    <a:pt x="4465" y="12381"/>
                    <a:pt x="4726" y="12224"/>
                  </a:cubicBezTo>
                  <a:cubicBezTo>
                    <a:pt x="4978" y="12067"/>
                    <a:pt x="5324" y="11846"/>
                    <a:pt x="5514" y="11846"/>
                  </a:cubicBezTo>
                  <a:cubicBezTo>
                    <a:pt x="5545" y="11846"/>
                    <a:pt x="5573" y="11844"/>
                    <a:pt x="5602" y="11844"/>
                  </a:cubicBezTo>
                  <a:cubicBezTo>
                    <a:pt x="5689" y="11844"/>
                    <a:pt x="5789" y="11862"/>
                    <a:pt x="6049" y="12004"/>
                  </a:cubicBezTo>
                  <a:lnTo>
                    <a:pt x="6396" y="12224"/>
                  </a:lnTo>
                  <a:cubicBezTo>
                    <a:pt x="6711" y="12445"/>
                    <a:pt x="6994" y="12508"/>
                    <a:pt x="7309" y="12508"/>
                  </a:cubicBezTo>
                  <a:cubicBezTo>
                    <a:pt x="8822" y="12508"/>
                    <a:pt x="10082" y="10302"/>
                    <a:pt x="10617" y="8853"/>
                  </a:cubicBezTo>
                  <a:cubicBezTo>
                    <a:pt x="11121" y="7246"/>
                    <a:pt x="11216" y="5514"/>
                    <a:pt x="10271" y="4096"/>
                  </a:cubicBezTo>
                  <a:cubicBezTo>
                    <a:pt x="9924" y="3560"/>
                    <a:pt x="9452" y="3151"/>
                    <a:pt x="8979" y="2867"/>
                  </a:cubicBezTo>
                  <a:cubicBezTo>
                    <a:pt x="9546" y="2363"/>
                    <a:pt x="9924" y="1607"/>
                    <a:pt x="10050" y="693"/>
                  </a:cubicBezTo>
                  <a:cubicBezTo>
                    <a:pt x="10082" y="504"/>
                    <a:pt x="9956" y="347"/>
                    <a:pt x="9767" y="252"/>
                  </a:cubicBezTo>
                  <a:cubicBezTo>
                    <a:pt x="9308" y="81"/>
                    <a:pt x="8852" y="0"/>
                    <a:pt x="84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4" name="Google Shape;6434;p72"/>
            <p:cNvSpPr/>
            <p:nvPr/>
          </p:nvSpPr>
          <p:spPr>
            <a:xfrm>
              <a:off x="-39925200" y="2108075"/>
              <a:ext cx="25" cy="25"/>
            </a:xfrm>
            <a:custGeom>
              <a:avLst/>
              <a:gdLst/>
              <a:ahLst/>
              <a:cxnLst/>
              <a:rect l="l" t="t" r="r" b="b"/>
              <a:pathLst>
                <a:path w="1" h="1" extrusionOk="0">
                  <a:moveTo>
                    <a:pt x="1" y="0"/>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5" name="Google Shape;6435;p72"/>
            <p:cNvSpPr/>
            <p:nvPr/>
          </p:nvSpPr>
          <p:spPr>
            <a:xfrm>
              <a:off x="-39958275" y="2087025"/>
              <a:ext cx="44925" cy="105350"/>
            </a:xfrm>
            <a:custGeom>
              <a:avLst/>
              <a:gdLst/>
              <a:ahLst/>
              <a:cxnLst/>
              <a:rect l="l" t="t" r="r" b="b"/>
              <a:pathLst>
                <a:path w="1797" h="4214" extrusionOk="0">
                  <a:moveTo>
                    <a:pt x="439" y="1"/>
                  </a:moveTo>
                  <a:cubicBezTo>
                    <a:pt x="326" y="1"/>
                    <a:pt x="216" y="55"/>
                    <a:pt x="126" y="181"/>
                  </a:cubicBezTo>
                  <a:cubicBezTo>
                    <a:pt x="0" y="370"/>
                    <a:pt x="0" y="590"/>
                    <a:pt x="189" y="748"/>
                  </a:cubicBezTo>
                  <a:cubicBezTo>
                    <a:pt x="1009" y="1378"/>
                    <a:pt x="914" y="2638"/>
                    <a:pt x="536" y="3678"/>
                  </a:cubicBezTo>
                  <a:cubicBezTo>
                    <a:pt x="473" y="3867"/>
                    <a:pt x="599" y="4087"/>
                    <a:pt x="819" y="4182"/>
                  </a:cubicBezTo>
                  <a:cubicBezTo>
                    <a:pt x="862" y="4203"/>
                    <a:pt x="908" y="4213"/>
                    <a:pt x="954" y="4213"/>
                  </a:cubicBezTo>
                  <a:cubicBezTo>
                    <a:pt x="1112" y="4213"/>
                    <a:pt x="1275" y="4093"/>
                    <a:pt x="1324" y="3898"/>
                  </a:cubicBezTo>
                  <a:cubicBezTo>
                    <a:pt x="1639" y="2922"/>
                    <a:pt x="1796" y="1787"/>
                    <a:pt x="1324" y="842"/>
                  </a:cubicBezTo>
                  <a:cubicBezTo>
                    <a:pt x="1166" y="559"/>
                    <a:pt x="977" y="275"/>
                    <a:pt x="693" y="86"/>
                  </a:cubicBezTo>
                  <a:cubicBezTo>
                    <a:pt x="612" y="32"/>
                    <a:pt x="525" y="1"/>
                    <a:pt x="4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36" name="Google Shape;6436;p72"/>
          <p:cNvGrpSpPr/>
          <p:nvPr/>
        </p:nvGrpSpPr>
        <p:grpSpPr>
          <a:xfrm>
            <a:off x="1160713" y="4469429"/>
            <a:ext cx="456281" cy="497099"/>
            <a:chOff x="-40160700" y="2339625"/>
            <a:chExt cx="290650" cy="316650"/>
          </a:xfrm>
        </p:grpSpPr>
        <p:sp>
          <p:nvSpPr>
            <p:cNvPr id="6437" name="Google Shape;6437;p72"/>
            <p:cNvSpPr/>
            <p:nvPr/>
          </p:nvSpPr>
          <p:spPr>
            <a:xfrm>
              <a:off x="-40005525" y="2552600"/>
              <a:ext cx="70900" cy="62175"/>
            </a:xfrm>
            <a:custGeom>
              <a:avLst/>
              <a:gdLst/>
              <a:ahLst/>
              <a:cxnLst/>
              <a:rect l="l" t="t" r="r" b="b"/>
              <a:pathLst>
                <a:path w="2836" h="2487" extrusionOk="0">
                  <a:moveTo>
                    <a:pt x="1408" y="807"/>
                  </a:moveTo>
                  <a:cubicBezTo>
                    <a:pt x="1461" y="807"/>
                    <a:pt x="1518" y="817"/>
                    <a:pt x="1575" y="839"/>
                  </a:cubicBezTo>
                  <a:cubicBezTo>
                    <a:pt x="1733" y="902"/>
                    <a:pt x="1796" y="1028"/>
                    <a:pt x="1796" y="1248"/>
                  </a:cubicBezTo>
                  <a:cubicBezTo>
                    <a:pt x="1845" y="1496"/>
                    <a:pt x="1661" y="1666"/>
                    <a:pt x="1442" y="1666"/>
                  </a:cubicBezTo>
                  <a:cubicBezTo>
                    <a:pt x="1383" y="1666"/>
                    <a:pt x="1321" y="1653"/>
                    <a:pt x="1260" y="1626"/>
                  </a:cubicBezTo>
                  <a:cubicBezTo>
                    <a:pt x="1071" y="1563"/>
                    <a:pt x="945" y="1311"/>
                    <a:pt x="1008" y="1091"/>
                  </a:cubicBezTo>
                  <a:cubicBezTo>
                    <a:pt x="1081" y="921"/>
                    <a:pt x="1229" y="807"/>
                    <a:pt x="1408" y="807"/>
                  </a:cubicBezTo>
                  <a:close/>
                  <a:moveTo>
                    <a:pt x="1438" y="1"/>
                  </a:moveTo>
                  <a:cubicBezTo>
                    <a:pt x="1040" y="1"/>
                    <a:pt x="635" y="188"/>
                    <a:pt x="378" y="523"/>
                  </a:cubicBezTo>
                  <a:cubicBezTo>
                    <a:pt x="0" y="1091"/>
                    <a:pt x="158" y="1878"/>
                    <a:pt x="693" y="2256"/>
                  </a:cubicBezTo>
                  <a:cubicBezTo>
                    <a:pt x="909" y="2412"/>
                    <a:pt x="1158" y="2486"/>
                    <a:pt x="1405" y="2486"/>
                  </a:cubicBezTo>
                  <a:cubicBezTo>
                    <a:pt x="1806" y="2486"/>
                    <a:pt x="2204" y="2292"/>
                    <a:pt x="2457" y="1941"/>
                  </a:cubicBezTo>
                  <a:cubicBezTo>
                    <a:pt x="2836" y="1406"/>
                    <a:pt x="2678" y="618"/>
                    <a:pt x="2111" y="208"/>
                  </a:cubicBezTo>
                  <a:cubicBezTo>
                    <a:pt x="1911" y="67"/>
                    <a:pt x="1676" y="1"/>
                    <a:pt x="143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8" name="Google Shape;6438;p72"/>
            <p:cNvSpPr/>
            <p:nvPr/>
          </p:nvSpPr>
          <p:spPr>
            <a:xfrm>
              <a:off x="-40039400" y="2605050"/>
              <a:ext cx="29150" cy="20500"/>
            </a:xfrm>
            <a:custGeom>
              <a:avLst/>
              <a:gdLst/>
              <a:ahLst/>
              <a:cxnLst/>
              <a:rect l="l" t="t" r="r" b="b"/>
              <a:pathLst>
                <a:path w="1166" h="820" extrusionOk="0">
                  <a:moveTo>
                    <a:pt x="725" y="1"/>
                  </a:moveTo>
                  <a:cubicBezTo>
                    <a:pt x="473" y="1"/>
                    <a:pt x="0" y="190"/>
                    <a:pt x="0" y="410"/>
                  </a:cubicBezTo>
                  <a:cubicBezTo>
                    <a:pt x="0" y="631"/>
                    <a:pt x="473" y="820"/>
                    <a:pt x="725" y="820"/>
                  </a:cubicBezTo>
                  <a:cubicBezTo>
                    <a:pt x="945" y="820"/>
                    <a:pt x="1166" y="631"/>
                    <a:pt x="1166" y="410"/>
                  </a:cubicBezTo>
                  <a:cubicBezTo>
                    <a:pt x="1103" y="158"/>
                    <a:pt x="914"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39" name="Google Shape;6439;p72"/>
            <p:cNvSpPr/>
            <p:nvPr/>
          </p:nvSpPr>
          <p:spPr>
            <a:xfrm>
              <a:off x="-40079575" y="2584575"/>
              <a:ext cx="19725" cy="19725"/>
            </a:xfrm>
            <a:custGeom>
              <a:avLst/>
              <a:gdLst/>
              <a:ahLst/>
              <a:cxnLst/>
              <a:rect l="l" t="t" r="r" b="b"/>
              <a:pathLst>
                <a:path w="789" h="789" extrusionOk="0">
                  <a:moveTo>
                    <a:pt x="410" y="1"/>
                  </a:moveTo>
                  <a:cubicBezTo>
                    <a:pt x="190" y="1"/>
                    <a:pt x="1" y="158"/>
                    <a:pt x="1" y="379"/>
                  </a:cubicBezTo>
                  <a:cubicBezTo>
                    <a:pt x="1" y="599"/>
                    <a:pt x="190" y="788"/>
                    <a:pt x="410" y="788"/>
                  </a:cubicBezTo>
                  <a:cubicBezTo>
                    <a:pt x="631" y="788"/>
                    <a:pt x="788" y="599"/>
                    <a:pt x="788" y="379"/>
                  </a:cubicBezTo>
                  <a:cubicBezTo>
                    <a:pt x="788" y="158"/>
                    <a:pt x="631"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0" name="Google Shape;6440;p72"/>
            <p:cNvSpPr/>
            <p:nvPr/>
          </p:nvSpPr>
          <p:spPr>
            <a:xfrm>
              <a:off x="-40160700" y="2339625"/>
              <a:ext cx="290650" cy="316650"/>
            </a:xfrm>
            <a:custGeom>
              <a:avLst/>
              <a:gdLst/>
              <a:ahLst/>
              <a:cxnLst/>
              <a:rect l="l" t="t" r="r" b="b"/>
              <a:pathLst>
                <a:path w="11626" h="12666" extrusionOk="0">
                  <a:moveTo>
                    <a:pt x="7656" y="820"/>
                  </a:moveTo>
                  <a:cubicBezTo>
                    <a:pt x="7845" y="820"/>
                    <a:pt x="8003" y="946"/>
                    <a:pt x="8066" y="1072"/>
                  </a:cubicBezTo>
                  <a:cubicBezTo>
                    <a:pt x="8129" y="1355"/>
                    <a:pt x="7940" y="1639"/>
                    <a:pt x="7656" y="1639"/>
                  </a:cubicBezTo>
                  <a:lnTo>
                    <a:pt x="4065" y="1639"/>
                  </a:lnTo>
                  <a:cubicBezTo>
                    <a:pt x="3876" y="1639"/>
                    <a:pt x="3687" y="1450"/>
                    <a:pt x="3687" y="1261"/>
                  </a:cubicBezTo>
                  <a:cubicBezTo>
                    <a:pt x="3687" y="1009"/>
                    <a:pt x="3876" y="851"/>
                    <a:pt x="4065" y="820"/>
                  </a:cubicBezTo>
                  <a:close/>
                  <a:moveTo>
                    <a:pt x="7310" y="2458"/>
                  </a:moveTo>
                  <a:lnTo>
                    <a:pt x="7310" y="5860"/>
                  </a:lnTo>
                  <a:cubicBezTo>
                    <a:pt x="7310" y="6270"/>
                    <a:pt x="7467" y="6711"/>
                    <a:pt x="7656" y="7026"/>
                  </a:cubicBezTo>
                  <a:cubicBezTo>
                    <a:pt x="7026" y="7152"/>
                    <a:pt x="6396" y="7404"/>
                    <a:pt x="5797" y="7782"/>
                  </a:cubicBezTo>
                  <a:cubicBezTo>
                    <a:pt x="5146" y="8207"/>
                    <a:pt x="4241" y="8453"/>
                    <a:pt x="3401" y="8453"/>
                  </a:cubicBezTo>
                  <a:cubicBezTo>
                    <a:pt x="3306" y="8453"/>
                    <a:pt x="3212" y="8450"/>
                    <a:pt x="3120" y="8444"/>
                  </a:cubicBezTo>
                  <a:lnTo>
                    <a:pt x="4128" y="7026"/>
                  </a:lnTo>
                  <a:cubicBezTo>
                    <a:pt x="4380" y="6680"/>
                    <a:pt x="4537" y="6239"/>
                    <a:pt x="4537" y="5829"/>
                  </a:cubicBezTo>
                  <a:lnTo>
                    <a:pt x="4537" y="2458"/>
                  </a:lnTo>
                  <a:close/>
                  <a:moveTo>
                    <a:pt x="8192" y="7782"/>
                  </a:moveTo>
                  <a:cubicBezTo>
                    <a:pt x="10775" y="11500"/>
                    <a:pt x="10586" y="11216"/>
                    <a:pt x="10618" y="11279"/>
                  </a:cubicBezTo>
                  <a:cubicBezTo>
                    <a:pt x="10681" y="11563"/>
                    <a:pt x="10523" y="11846"/>
                    <a:pt x="10208" y="11846"/>
                  </a:cubicBezTo>
                  <a:lnTo>
                    <a:pt x="1576" y="11846"/>
                  </a:lnTo>
                  <a:cubicBezTo>
                    <a:pt x="1198" y="11846"/>
                    <a:pt x="1040" y="11437"/>
                    <a:pt x="1198" y="11216"/>
                  </a:cubicBezTo>
                  <a:lnTo>
                    <a:pt x="2584" y="9232"/>
                  </a:lnTo>
                  <a:cubicBezTo>
                    <a:pt x="2825" y="9263"/>
                    <a:pt x="3077" y="9280"/>
                    <a:pt x="3333" y="9280"/>
                  </a:cubicBezTo>
                  <a:cubicBezTo>
                    <a:pt x="4347" y="9280"/>
                    <a:pt x="5434" y="9022"/>
                    <a:pt x="6239" y="8444"/>
                  </a:cubicBezTo>
                  <a:cubicBezTo>
                    <a:pt x="6837" y="8066"/>
                    <a:pt x="7499" y="7814"/>
                    <a:pt x="8192" y="7782"/>
                  </a:cubicBezTo>
                  <a:close/>
                  <a:moveTo>
                    <a:pt x="4128" y="1"/>
                  </a:moveTo>
                  <a:cubicBezTo>
                    <a:pt x="3435" y="1"/>
                    <a:pt x="2899" y="536"/>
                    <a:pt x="2899" y="1261"/>
                  </a:cubicBezTo>
                  <a:cubicBezTo>
                    <a:pt x="2899" y="1765"/>
                    <a:pt x="3214" y="2237"/>
                    <a:pt x="3718" y="2426"/>
                  </a:cubicBezTo>
                  <a:lnTo>
                    <a:pt x="3718" y="5860"/>
                  </a:lnTo>
                  <a:cubicBezTo>
                    <a:pt x="3718" y="6081"/>
                    <a:pt x="3655" y="6365"/>
                    <a:pt x="3498" y="6554"/>
                  </a:cubicBezTo>
                  <a:lnTo>
                    <a:pt x="568" y="10744"/>
                  </a:lnTo>
                  <a:cubicBezTo>
                    <a:pt x="1" y="11563"/>
                    <a:pt x="568" y="12666"/>
                    <a:pt x="1607" y="12666"/>
                  </a:cubicBezTo>
                  <a:lnTo>
                    <a:pt x="10271" y="12666"/>
                  </a:lnTo>
                  <a:cubicBezTo>
                    <a:pt x="10555" y="12666"/>
                    <a:pt x="10870" y="12540"/>
                    <a:pt x="11090" y="12350"/>
                  </a:cubicBezTo>
                  <a:cubicBezTo>
                    <a:pt x="11531" y="11972"/>
                    <a:pt x="11626" y="11248"/>
                    <a:pt x="11248" y="10744"/>
                  </a:cubicBezTo>
                  <a:lnTo>
                    <a:pt x="8318" y="6554"/>
                  </a:lnTo>
                  <a:cubicBezTo>
                    <a:pt x="8160" y="6365"/>
                    <a:pt x="8097" y="6081"/>
                    <a:pt x="8097" y="5860"/>
                  </a:cubicBezTo>
                  <a:lnTo>
                    <a:pt x="8097" y="2426"/>
                  </a:lnTo>
                  <a:cubicBezTo>
                    <a:pt x="8570" y="2269"/>
                    <a:pt x="8916" y="1796"/>
                    <a:pt x="8916" y="1261"/>
                  </a:cubicBezTo>
                  <a:cubicBezTo>
                    <a:pt x="8916" y="568"/>
                    <a:pt x="8381" y="1"/>
                    <a:pt x="76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41" name="Google Shape;6441;p72"/>
          <p:cNvGrpSpPr/>
          <p:nvPr/>
        </p:nvGrpSpPr>
        <p:grpSpPr>
          <a:xfrm>
            <a:off x="1136479" y="5070039"/>
            <a:ext cx="500788" cy="497099"/>
            <a:chOff x="-40171725" y="2705875"/>
            <a:chExt cx="319000" cy="316650"/>
          </a:xfrm>
        </p:grpSpPr>
        <p:sp>
          <p:nvSpPr>
            <p:cNvPr id="6442" name="Google Shape;6442;p72"/>
            <p:cNvSpPr/>
            <p:nvPr/>
          </p:nvSpPr>
          <p:spPr>
            <a:xfrm>
              <a:off x="-40068550" y="2788575"/>
              <a:ext cx="48075" cy="58775"/>
            </a:xfrm>
            <a:custGeom>
              <a:avLst/>
              <a:gdLst/>
              <a:ahLst/>
              <a:cxnLst/>
              <a:rect l="l" t="t" r="r" b="b"/>
              <a:pathLst>
                <a:path w="1923" h="2351" extrusionOk="0">
                  <a:moveTo>
                    <a:pt x="442" y="0"/>
                  </a:moveTo>
                  <a:cubicBezTo>
                    <a:pt x="190" y="0"/>
                    <a:pt x="1" y="158"/>
                    <a:pt x="32" y="410"/>
                  </a:cubicBezTo>
                  <a:cubicBezTo>
                    <a:pt x="32" y="1261"/>
                    <a:pt x="505" y="1985"/>
                    <a:pt x="1261" y="2300"/>
                  </a:cubicBezTo>
                  <a:cubicBezTo>
                    <a:pt x="1322" y="2335"/>
                    <a:pt x="1386" y="2351"/>
                    <a:pt x="1448" y="2351"/>
                  </a:cubicBezTo>
                  <a:cubicBezTo>
                    <a:pt x="1607" y="2351"/>
                    <a:pt x="1751" y="2247"/>
                    <a:pt x="1796" y="2111"/>
                  </a:cubicBezTo>
                  <a:cubicBezTo>
                    <a:pt x="1922" y="1891"/>
                    <a:pt x="1796" y="1639"/>
                    <a:pt x="1607" y="1576"/>
                  </a:cubicBezTo>
                  <a:cubicBezTo>
                    <a:pt x="1135" y="1355"/>
                    <a:pt x="851" y="945"/>
                    <a:pt x="851" y="410"/>
                  </a:cubicBezTo>
                  <a:cubicBezTo>
                    <a:pt x="851" y="189"/>
                    <a:pt x="662"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3" name="Google Shape;6443;p72"/>
            <p:cNvSpPr/>
            <p:nvPr/>
          </p:nvSpPr>
          <p:spPr>
            <a:xfrm>
              <a:off x="-40171725" y="2705875"/>
              <a:ext cx="319000" cy="316650"/>
            </a:xfrm>
            <a:custGeom>
              <a:avLst/>
              <a:gdLst/>
              <a:ahLst/>
              <a:cxnLst/>
              <a:rect l="l" t="t" r="r" b="b"/>
              <a:pathLst>
                <a:path w="12760" h="12666" extrusionOk="0">
                  <a:moveTo>
                    <a:pt x="2489" y="1639"/>
                  </a:moveTo>
                  <a:lnTo>
                    <a:pt x="2489" y="3718"/>
                  </a:lnTo>
                  <a:cubicBezTo>
                    <a:pt x="2489" y="4127"/>
                    <a:pt x="2552" y="4506"/>
                    <a:pt x="2678" y="4884"/>
                  </a:cubicBezTo>
                  <a:cubicBezTo>
                    <a:pt x="1639" y="4600"/>
                    <a:pt x="820" y="3623"/>
                    <a:pt x="820" y="2458"/>
                  </a:cubicBezTo>
                  <a:lnTo>
                    <a:pt x="820" y="2048"/>
                  </a:lnTo>
                  <a:cubicBezTo>
                    <a:pt x="820" y="1796"/>
                    <a:pt x="1009" y="1639"/>
                    <a:pt x="1261" y="1639"/>
                  </a:cubicBezTo>
                  <a:close/>
                  <a:moveTo>
                    <a:pt x="11500" y="1639"/>
                  </a:moveTo>
                  <a:cubicBezTo>
                    <a:pt x="11720" y="1639"/>
                    <a:pt x="11878" y="1828"/>
                    <a:pt x="11878" y="2048"/>
                  </a:cubicBezTo>
                  <a:lnTo>
                    <a:pt x="11878" y="2426"/>
                  </a:lnTo>
                  <a:cubicBezTo>
                    <a:pt x="11878" y="3623"/>
                    <a:pt x="11090" y="4569"/>
                    <a:pt x="10019" y="4884"/>
                  </a:cubicBezTo>
                  <a:cubicBezTo>
                    <a:pt x="10145" y="4506"/>
                    <a:pt x="10240" y="4127"/>
                    <a:pt x="10240" y="3718"/>
                  </a:cubicBezTo>
                  <a:lnTo>
                    <a:pt x="10240" y="1639"/>
                  </a:lnTo>
                  <a:close/>
                  <a:moveTo>
                    <a:pt x="9389" y="788"/>
                  </a:moveTo>
                  <a:lnTo>
                    <a:pt x="9389" y="3686"/>
                  </a:lnTo>
                  <a:cubicBezTo>
                    <a:pt x="9389" y="4789"/>
                    <a:pt x="8759" y="5860"/>
                    <a:pt x="7656" y="6333"/>
                  </a:cubicBezTo>
                  <a:cubicBezTo>
                    <a:pt x="7247" y="6522"/>
                    <a:pt x="6932" y="6963"/>
                    <a:pt x="6932" y="7467"/>
                  </a:cubicBezTo>
                  <a:cubicBezTo>
                    <a:pt x="6932" y="7467"/>
                    <a:pt x="6932" y="7908"/>
                    <a:pt x="7026" y="8507"/>
                  </a:cubicBezTo>
                  <a:cubicBezTo>
                    <a:pt x="7121" y="8759"/>
                    <a:pt x="7247" y="9074"/>
                    <a:pt x="7341" y="9357"/>
                  </a:cubicBezTo>
                  <a:lnTo>
                    <a:pt x="5356" y="9357"/>
                  </a:lnTo>
                  <a:cubicBezTo>
                    <a:pt x="5671" y="8759"/>
                    <a:pt x="5766" y="8066"/>
                    <a:pt x="5766" y="7498"/>
                  </a:cubicBezTo>
                  <a:cubicBezTo>
                    <a:pt x="5766" y="6994"/>
                    <a:pt x="5451" y="6553"/>
                    <a:pt x="5041" y="6364"/>
                  </a:cubicBezTo>
                  <a:cubicBezTo>
                    <a:pt x="4569" y="6144"/>
                    <a:pt x="4128" y="5766"/>
                    <a:pt x="3813" y="5293"/>
                  </a:cubicBezTo>
                  <a:cubicBezTo>
                    <a:pt x="3498" y="4821"/>
                    <a:pt x="3340" y="4285"/>
                    <a:pt x="3340" y="3686"/>
                  </a:cubicBezTo>
                  <a:lnTo>
                    <a:pt x="3340" y="788"/>
                  </a:lnTo>
                  <a:close/>
                  <a:moveTo>
                    <a:pt x="8696" y="10176"/>
                  </a:moveTo>
                  <a:lnTo>
                    <a:pt x="9263" y="11846"/>
                  </a:lnTo>
                  <a:lnTo>
                    <a:pt x="3498" y="11846"/>
                  </a:lnTo>
                  <a:lnTo>
                    <a:pt x="4033" y="10176"/>
                  </a:lnTo>
                  <a:close/>
                  <a:moveTo>
                    <a:pt x="2930" y="0"/>
                  </a:moveTo>
                  <a:cubicBezTo>
                    <a:pt x="2710" y="0"/>
                    <a:pt x="2552" y="189"/>
                    <a:pt x="2552" y="410"/>
                  </a:cubicBezTo>
                  <a:lnTo>
                    <a:pt x="2552" y="851"/>
                  </a:lnTo>
                  <a:lnTo>
                    <a:pt x="1324" y="851"/>
                  </a:lnTo>
                  <a:cubicBezTo>
                    <a:pt x="1302" y="850"/>
                    <a:pt x="1280" y="850"/>
                    <a:pt x="1258" y="850"/>
                  </a:cubicBezTo>
                  <a:cubicBezTo>
                    <a:pt x="506" y="850"/>
                    <a:pt x="1" y="1374"/>
                    <a:pt x="1" y="2048"/>
                  </a:cubicBezTo>
                  <a:lnTo>
                    <a:pt x="1" y="2426"/>
                  </a:lnTo>
                  <a:cubicBezTo>
                    <a:pt x="1" y="4190"/>
                    <a:pt x="1355" y="5608"/>
                    <a:pt x="3088" y="5766"/>
                  </a:cubicBezTo>
                  <a:cubicBezTo>
                    <a:pt x="3498" y="6364"/>
                    <a:pt x="4033" y="6837"/>
                    <a:pt x="4726" y="7120"/>
                  </a:cubicBezTo>
                  <a:cubicBezTo>
                    <a:pt x="4884" y="7183"/>
                    <a:pt x="4947" y="7309"/>
                    <a:pt x="4947" y="7498"/>
                  </a:cubicBezTo>
                  <a:cubicBezTo>
                    <a:pt x="4947" y="8097"/>
                    <a:pt x="4726" y="8885"/>
                    <a:pt x="4348" y="9357"/>
                  </a:cubicBezTo>
                  <a:lnTo>
                    <a:pt x="3718" y="9357"/>
                  </a:lnTo>
                  <a:cubicBezTo>
                    <a:pt x="3529" y="9357"/>
                    <a:pt x="3372" y="9483"/>
                    <a:pt x="3340" y="9641"/>
                  </a:cubicBezTo>
                  <a:lnTo>
                    <a:pt x="2521" y="12130"/>
                  </a:lnTo>
                  <a:cubicBezTo>
                    <a:pt x="2426" y="12382"/>
                    <a:pt x="2615" y="12665"/>
                    <a:pt x="2899" y="12665"/>
                  </a:cubicBezTo>
                  <a:lnTo>
                    <a:pt x="9799" y="12665"/>
                  </a:lnTo>
                  <a:cubicBezTo>
                    <a:pt x="10082" y="12665"/>
                    <a:pt x="10271" y="12382"/>
                    <a:pt x="10177" y="12130"/>
                  </a:cubicBezTo>
                  <a:lnTo>
                    <a:pt x="9357" y="9641"/>
                  </a:lnTo>
                  <a:cubicBezTo>
                    <a:pt x="9326" y="9483"/>
                    <a:pt x="9168" y="9357"/>
                    <a:pt x="8979" y="9357"/>
                  </a:cubicBezTo>
                  <a:lnTo>
                    <a:pt x="8349" y="9357"/>
                  </a:lnTo>
                  <a:cubicBezTo>
                    <a:pt x="7971" y="8885"/>
                    <a:pt x="7751" y="8097"/>
                    <a:pt x="7751" y="7498"/>
                  </a:cubicBezTo>
                  <a:cubicBezTo>
                    <a:pt x="7751" y="7341"/>
                    <a:pt x="7877" y="7183"/>
                    <a:pt x="7971" y="7152"/>
                  </a:cubicBezTo>
                  <a:cubicBezTo>
                    <a:pt x="8601" y="6868"/>
                    <a:pt x="9200" y="6396"/>
                    <a:pt x="9610" y="5829"/>
                  </a:cubicBezTo>
                  <a:cubicBezTo>
                    <a:pt x="10901" y="5734"/>
                    <a:pt x="12004" y="4947"/>
                    <a:pt x="12476" y="3781"/>
                  </a:cubicBezTo>
                  <a:cubicBezTo>
                    <a:pt x="12760" y="3056"/>
                    <a:pt x="12760" y="2552"/>
                    <a:pt x="12760" y="2080"/>
                  </a:cubicBezTo>
                  <a:cubicBezTo>
                    <a:pt x="12760" y="1435"/>
                    <a:pt x="12221" y="850"/>
                    <a:pt x="11581" y="850"/>
                  </a:cubicBezTo>
                  <a:cubicBezTo>
                    <a:pt x="11565" y="850"/>
                    <a:pt x="11548" y="850"/>
                    <a:pt x="11531" y="851"/>
                  </a:cubicBezTo>
                  <a:lnTo>
                    <a:pt x="10271" y="851"/>
                  </a:lnTo>
                  <a:lnTo>
                    <a:pt x="10271" y="410"/>
                  </a:lnTo>
                  <a:cubicBezTo>
                    <a:pt x="10271" y="189"/>
                    <a:pt x="10082" y="0"/>
                    <a:pt x="98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44" name="Google Shape;6444;p72"/>
          <p:cNvGrpSpPr/>
          <p:nvPr/>
        </p:nvGrpSpPr>
        <p:grpSpPr>
          <a:xfrm>
            <a:off x="4146610" y="3835979"/>
            <a:ext cx="363581" cy="498355"/>
            <a:chOff x="-38275925" y="1946600"/>
            <a:chExt cx="231600" cy="317450"/>
          </a:xfrm>
        </p:grpSpPr>
        <p:sp>
          <p:nvSpPr>
            <p:cNvPr id="6445" name="Google Shape;6445;p72"/>
            <p:cNvSpPr/>
            <p:nvPr/>
          </p:nvSpPr>
          <p:spPr>
            <a:xfrm>
              <a:off x="-38275925" y="1946600"/>
              <a:ext cx="231600" cy="317450"/>
            </a:xfrm>
            <a:custGeom>
              <a:avLst/>
              <a:gdLst/>
              <a:ahLst/>
              <a:cxnLst/>
              <a:rect l="l" t="t" r="r" b="b"/>
              <a:pathLst>
                <a:path w="9264" h="12698" extrusionOk="0">
                  <a:moveTo>
                    <a:pt x="4546" y="892"/>
                  </a:moveTo>
                  <a:cubicBezTo>
                    <a:pt x="4811" y="892"/>
                    <a:pt x="5082" y="920"/>
                    <a:pt x="5357" y="977"/>
                  </a:cubicBezTo>
                  <a:cubicBezTo>
                    <a:pt x="6964" y="1292"/>
                    <a:pt x="8287" y="2742"/>
                    <a:pt x="8287" y="4600"/>
                  </a:cubicBezTo>
                  <a:cubicBezTo>
                    <a:pt x="8287" y="5987"/>
                    <a:pt x="7531" y="7215"/>
                    <a:pt x="6396" y="7845"/>
                  </a:cubicBezTo>
                  <a:cubicBezTo>
                    <a:pt x="5987" y="8034"/>
                    <a:pt x="5798" y="8475"/>
                    <a:pt x="5798" y="8885"/>
                  </a:cubicBezTo>
                  <a:lnTo>
                    <a:pt x="5798" y="9169"/>
                  </a:lnTo>
                  <a:lnTo>
                    <a:pt x="3309" y="9169"/>
                  </a:lnTo>
                  <a:lnTo>
                    <a:pt x="3309" y="8854"/>
                  </a:lnTo>
                  <a:cubicBezTo>
                    <a:pt x="3309" y="8412"/>
                    <a:pt x="3088" y="8034"/>
                    <a:pt x="2679" y="7782"/>
                  </a:cubicBezTo>
                  <a:cubicBezTo>
                    <a:pt x="1545" y="7121"/>
                    <a:pt x="820" y="5955"/>
                    <a:pt x="820" y="4600"/>
                  </a:cubicBezTo>
                  <a:cubicBezTo>
                    <a:pt x="820" y="2536"/>
                    <a:pt x="2499" y="892"/>
                    <a:pt x="4546" y="892"/>
                  </a:cubicBezTo>
                  <a:close/>
                  <a:moveTo>
                    <a:pt x="5798" y="9956"/>
                  </a:moveTo>
                  <a:lnTo>
                    <a:pt x="5798" y="10681"/>
                  </a:lnTo>
                  <a:cubicBezTo>
                    <a:pt x="5798" y="10901"/>
                    <a:pt x="5609" y="11059"/>
                    <a:pt x="5357" y="11090"/>
                  </a:cubicBezTo>
                  <a:lnTo>
                    <a:pt x="3719" y="11090"/>
                  </a:lnTo>
                  <a:cubicBezTo>
                    <a:pt x="3467" y="11090"/>
                    <a:pt x="3309" y="10901"/>
                    <a:pt x="3277" y="10681"/>
                  </a:cubicBezTo>
                  <a:lnTo>
                    <a:pt x="3277" y="9956"/>
                  </a:lnTo>
                  <a:close/>
                  <a:moveTo>
                    <a:pt x="4443" y="1"/>
                  </a:moveTo>
                  <a:cubicBezTo>
                    <a:pt x="2049" y="32"/>
                    <a:pt x="1" y="2080"/>
                    <a:pt x="1" y="4600"/>
                  </a:cubicBezTo>
                  <a:cubicBezTo>
                    <a:pt x="1" y="6270"/>
                    <a:pt x="883" y="7719"/>
                    <a:pt x="2238" y="8539"/>
                  </a:cubicBezTo>
                  <a:cubicBezTo>
                    <a:pt x="2332" y="8570"/>
                    <a:pt x="2395" y="8696"/>
                    <a:pt x="2458" y="8759"/>
                  </a:cubicBezTo>
                  <a:lnTo>
                    <a:pt x="2458" y="10681"/>
                  </a:lnTo>
                  <a:cubicBezTo>
                    <a:pt x="2458" y="11216"/>
                    <a:pt x="2805" y="11689"/>
                    <a:pt x="3309" y="11847"/>
                  </a:cubicBezTo>
                  <a:cubicBezTo>
                    <a:pt x="3467" y="12351"/>
                    <a:pt x="3939" y="12697"/>
                    <a:pt x="4506" y="12697"/>
                  </a:cubicBezTo>
                  <a:cubicBezTo>
                    <a:pt x="5042" y="12697"/>
                    <a:pt x="5514" y="12351"/>
                    <a:pt x="5672" y="11847"/>
                  </a:cubicBezTo>
                  <a:cubicBezTo>
                    <a:pt x="6176" y="11689"/>
                    <a:pt x="6554" y="11216"/>
                    <a:pt x="6554" y="10681"/>
                  </a:cubicBezTo>
                  <a:lnTo>
                    <a:pt x="6554" y="8854"/>
                  </a:lnTo>
                  <a:cubicBezTo>
                    <a:pt x="6554" y="8728"/>
                    <a:pt x="6617" y="8570"/>
                    <a:pt x="6712" y="8507"/>
                  </a:cubicBezTo>
                  <a:cubicBezTo>
                    <a:pt x="8318" y="7593"/>
                    <a:pt x="9263" y="5735"/>
                    <a:pt x="8948" y="3750"/>
                  </a:cubicBezTo>
                  <a:cubicBezTo>
                    <a:pt x="8602" y="1702"/>
                    <a:pt x="6806"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6" name="Google Shape;6446;p72"/>
            <p:cNvSpPr/>
            <p:nvPr/>
          </p:nvSpPr>
          <p:spPr>
            <a:xfrm>
              <a:off x="-38235750" y="1989125"/>
              <a:ext cx="84300" cy="83525"/>
            </a:xfrm>
            <a:custGeom>
              <a:avLst/>
              <a:gdLst/>
              <a:ahLst/>
              <a:cxnLst/>
              <a:rect l="l" t="t" r="r" b="b"/>
              <a:pathLst>
                <a:path w="3372" h="3341" extrusionOk="0">
                  <a:moveTo>
                    <a:pt x="2931" y="1"/>
                  </a:moveTo>
                  <a:cubicBezTo>
                    <a:pt x="1355" y="1"/>
                    <a:pt x="64" y="1293"/>
                    <a:pt x="1" y="2899"/>
                  </a:cubicBezTo>
                  <a:cubicBezTo>
                    <a:pt x="1" y="3120"/>
                    <a:pt x="158" y="3340"/>
                    <a:pt x="410" y="3340"/>
                  </a:cubicBezTo>
                  <a:cubicBezTo>
                    <a:pt x="631" y="3340"/>
                    <a:pt x="851" y="3120"/>
                    <a:pt x="851" y="2899"/>
                  </a:cubicBezTo>
                  <a:cubicBezTo>
                    <a:pt x="883" y="1765"/>
                    <a:pt x="1796" y="820"/>
                    <a:pt x="2931" y="820"/>
                  </a:cubicBezTo>
                  <a:cubicBezTo>
                    <a:pt x="3151" y="820"/>
                    <a:pt x="3372" y="631"/>
                    <a:pt x="3372" y="379"/>
                  </a:cubicBezTo>
                  <a:cubicBezTo>
                    <a:pt x="3372" y="190"/>
                    <a:pt x="3151" y="1"/>
                    <a:pt x="29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47" name="Google Shape;6447;p72"/>
          <p:cNvSpPr/>
          <p:nvPr/>
        </p:nvSpPr>
        <p:spPr>
          <a:xfrm>
            <a:off x="4077164" y="4411601"/>
            <a:ext cx="499571" cy="498785"/>
          </a:xfrm>
          <a:custGeom>
            <a:avLst/>
            <a:gdLst/>
            <a:ahLst/>
            <a:cxnLst/>
            <a:rect l="l" t="t" r="r" b="b"/>
            <a:pathLst>
              <a:path w="12729" h="12709" extrusionOk="0">
                <a:moveTo>
                  <a:pt x="7089" y="894"/>
                </a:moveTo>
                <a:lnTo>
                  <a:pt x="7089" y="894"/>
                </a:lnTo>
                <a:cubicBezTo>
                  <a:pt x="8160" y="989"/>
                  <a:pt x="9137" y="1461"/>
                  <a:pt x="9956" y="2186"/>
                </a:cubicBezTo>
                <a:lnTo>
                  <a:pt x="8192" y="3950"/>
                </a:lnTo>
                <a:cubicBezTo>
                  <a:pt x="7436" y="3099"/>
                  <a:pt x="7089" y="1934"/>
                  <a:pt x="7089" y="894"/>
                </a:cubicBezTo>
                <a:close/>
                <a:moveTo>
                  <a:pt x="10555" y="2721"/>
                </a:moveTo>
                <a:cubicBezTo>
                  <a:pt x="11248" y="3572"/>
                  <a:pt x="11689" y="4549"/>
                  <a:pt x="11847" y="5620"/>
                </a:cubicBezTo>
                <a:cubicBezTo>
                  <a:pt x="10775" y="5620"/>
                  <a:pt x="9673" y="5242"/>
                  <a:pt x="8791" y="4486"/>
                </a:cubicBezTo>
                <a:lnTo>
                  <a:pt x="10555" y="2721"/>
                </a:lnTo>
                <a:close/>
                <a:moveTo>
                  <a:pt x="6270" y="831"/>
                </a:moveTo>
                <a:cubicBezTo>
                  <a:pt x="6207" y="2154"/>
                  <a:pt x="6680" y="3477"/>
                  <a:pt x="7593" y="4549"/>
                </a:cubicBezTo>
                <a:lnTo>
                  <a:pt x="6365" y="5777"/>
                </a:lnTo>
                <a:lnTo>
                  <a:pt x="2805" y="2186"/>
                </a:lnTo>
                <a:cubicBezTo>
                  <a:pt x="3781" y="1304"/>
                  <a:pt x="5010" y="831"/>
                  <a:pt x="6270" y="831"/>
                </a:cubicBezTo>
                <a:close/>
                <a:moveTo>
                  <a:pt x="2206" y="2721"/>
                </a:moveTo>
                <a:lnTo>
                  <a:pt x="5798" y="6313"/>
                </a:lnTo>
                <a:lnTo>
                  <a:pt x="4569" y="7542"/>
                </a:lnTo>
                <a:cubicBezTo>
                  <a:pt x="3648" y="6620"/>
                  <a:pt x="2337" y="6028"/>
                  <a:pt x="958" y="6028"/>
                </a:cubicBezTo>
                <a:cubicBezTo>
                  <a:pt x="923" y="6028"/>
                  <a:pt x="887" y="6029"/>
                  <a:pt x="851" y="6029"/>
                </a:cubicBezTo>
                <a:cubicBezTo>
                  <a:pt x="946" y="4864"/>
                  <a:pt x="1387" y="3666"/>
                  <a:pt x="2206" y="2721"/>
                </a:cubicBezTo>
                <a:close/>
                <a:moveTo>
                  <a:pt x="8192" y="5147"/>
                </a:moveTo>
                <a:cubicBezTo>
                  <a:pt x="9263" y="6029"/>
                  <a:pt x="10586" y="6470"/>
                  <a:pt x="11878" y="6470"/>
                </a:cubicBezTo>
                <a:cubicBezTo>
                  <a:pt x="11847" y="7699"/>
                  <a:pt x="11405" y="8959"/>
                  <a:pt x="10555" y="9936"/>
                </a:cubicBezTo>
                <a:lnTo>
                  <a:pt x="6963" y="6344"/>
                </a:lnTo>
                <a:lnTo>
                  <a:pt x="8192" y="5147"/>
                </a:lnTo>
                <a:close/>
                <a:moveTo>
                  <a:pt x="1027" y="6910"/>
                </a:moveTo>
                <a:cubicBezTo>
                  <a:pt x="2180" y="6910"/>
                  <a:pt x="3239" y="7378"/>
                  <a:pt x="4002" y="8172"/>
                </a:cubicBezTo>
                <a:lnTo>
                  <a:pt x="2206" y="9967"/>
                </a:lnTo>
                <a:cubicBezTo>
                  <a:pt x="1450" y="9117"/>
                  <a:pt x="1009" y="8046"/>
                  <a:pt x="914" y="6911"/>
                </a:cubicBezTo>
                <a:cubicBezTo>
                  <a:pt x="952" y="6910"/>
                  <a:pt x="989" y="6910"/>
                  <a:pt x="1027" y="6910"/>
                </a:cubicBezTo>
                <a:close/>
                <a:moveTo>
                  <a:pt x="4537" y="8770"/>
                </a:moveTo>
                <a:cubicBezTo>
                  <a:pt x="5104" y="9652"/>
                  <a:pt x="5325" y="10692"/>
                  <a:pt x="5199" y="11700"/>
                </a:cubicBezTo>
                <a:cubicBezTo>
                  <a:pt x="4285" y="11511"/>
                  <a:pt x="3498" y="11133"/>
                  <a:pt x="2805" y="10503"/>
                </a:cubicBezTo>
                <a:lnTo>
                  <a:pt x="4537" y="8770"/>
                </a:lnTo>
                <a:close/>
                <a:moveTo>
                  <a:pt x="6365" y="6911"/>
                </a:moveTo>
                <a:lnTo>
                  <a:pt x="9956" y="10503"/>
                </a:lnTo>
                <a:cubicBezTo>
                  <a:pt x="8948" y="11399"/>
                  <a:pt x="7716" y="11847"/>
                  <a:pt x="6481" y="11847"/>
                </a:cubicBezTo>
                <a:cubicBezTo>
                  <a:pt x="6327" y="11847"/>
                  <a:pt x="6172" y="11840"/>
                  <a:pt x="6018" y="11826"/>
                </a:cubicBezTo>
                <a:cubicBezTo>
                  <a:pt x="6176" y="10566"/>
                  <a:pt x="5892" y="9274"/>
                  <a:pt x="5104" y="8172"/>
                </a:cubicBezTo>
                <a:lnTo>
                  <a:pt x="6365" y="6911"/>
                </a:lnTo>
                <a:close/>
                <a:moveTo>
                  <a:pt x="6349" y="0"/>
                </a:moveTo>
                <a:cubicBezTo>
                  <a:pt x="2842" y="0"/>
                  <a:pt x="1" y="2821"/>
                  <a:pt x="1" y="6344"/>
                </a:cubicBezTo>
                <a:cubicBezTo>
                  <a:pt x="1" y="9873"/>
                  <a:pt x="2836" y="12708"/>
                  <a:pt x="6333" y="12708"/>
                </a:cubicBezTo>
                <a:cubicBezTo>
                  <a:pt x="9830" y="12708"/>
                  <a:pt x="12666" y="9873"/>
                  <a:pt x="12666" y="6344"/>
                </a:cubicBezTo>
                <a:cubicBezTo>
                  <a:pt x="12729" y="2973"/>
                  <a:pt x="10082" y="201"/>
                  <a:pt x="6743" y="12"/>
                </a:cubicBezTo>
                <a:cubicBezTo>
                  <a:pt x="6611" y="4"/>
                  <a:pt x="6479" y="0"/>
                  <a:pt x="63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48" name="Google Shape;6448;p72"/>
          <p:cNvSpPr/>
          <p:nvPr/>
        </p:nvSpPr>
        <p:spPr>
          <a:xfrm>
            <a:off x="4183934" y="5068801"/>
            <a:ext cx="293095" cy="499571"/>
          </a:xfrm>
          <a:custGeom>
            <a:avLst/>
            <a:gdLst/>
            <a:ahLst/>
            <a:cxnLst/>
            <a:rect l="l" t="t" r="r" b="b"/>
            <a:pathLst>
              <a:path w="7468" h="12729" extrusionOk="0">
                <a:moveTo>
                  <a:pt x="3715" y="5763"/>
                </a:moveTo>
                <a:cubicBezTo>
                  <a:pt x="3853" y="5763"/>
                  <a:pt x="3994" y="5833"/>
                  <a:pt x="4096" y="5955"/>
                </a:cubicBezTo>
                <a:cubicBezTo>
                  <a:pt x="4285" y="6239"/>
                  <a:pt x="4096" y="6585"/>
                  <a:pt x="3718" y="6585"/>
                </a:cubicBezTo>
                <a:cubicBezTo>
                  <a:pt x="3561" y="6585"/>
                  <a:pt x="3466" y="6491"/>
                  <a:pt x="3372" y="6396"/>
                </a:cubicBezTo>
                <a:cubicBezTo>
                  <a:pt x="3246" y="6239"/>
                  <a:pt x="3309" y="5955"/>
                  <a:pt x="3498" y="5829"/>
                </a:cubicBezTo>
                <a:cubicBezTo>
                  <a:pt x="3565" y="5784"/>
                  <a:pt x="3639" y="5763"/>
                  <a:pt x="3715" y="5763"/>
                </a:cubicBezTo>
                <a:close/>
                <a:moveTo>
                  <a:pt x="4128" y="1922"/>
                </a:moveTo>
                <a:lnTo>
                  <a:pt x="6554" y="6176"/>
                </a:lnTo>
                <a:lnTo>
                  <a:pt x="5104" y="9074"/>
                </a:lnTo>
                <a:lnTo>
                  <a:pt x="2300" y="9074"/>
                </a:lnTo>
                <a:cubicBezTo>
                  <a:pt x="1954" y="8349"/>
                  <a:pt x="977" y="6333"/>
                  <a:pt x="851" y="6176"/>
                </a:cubicBezTo>
                <a:lnTo>
                  <a:pt x="3309" y="1922"/>
                </a:lnTo>
                <a:lnTo>
                  <a:pt x="3309" y="5010"/>
                </a:lnTo>
                <a:cubicBezTo>
                  <a:pt x="2836" y="5167"/>
                  <a:pt x="2458" y="5640"/>
                  <a:pt x="2458" y="6176"/>
                </a:cubicBezTo>
                <a:cubicBezTo>
                  <a:pt x="2458" y="6837"/>
                  <a:pt x="3025" y="7436"/>
                  <a:pt x="3718" y="7436"/>
                </a:cubicBezTo>
                <a:cubicBezTo>
                  <a:pt x="4411" y="7436"/>
                  <a:pt x="4978" y="6900"/>
                  <a:pt x="4947" y="6176"/>
                </a:cubicBezTo>
                <a:cubicBezTo>
                  <a:pt x="4947" y="5640"/>
                  <a:pt x="4600" y="5199"/>
                  <a:pt x="4128" y="5010"/>
                </a:cubicBezTo>
                <a:lnTo>
                  <a:pt x="4128" y="1922"/>
                </a:lnTo>
                <a:close/>
                <a:moveTo>
                  <a:pt x="4947" y="9893"/>
                </a:moveTo>
                <a:lnTo>
                  <a:pt x="4947" y="11815"/>
                </a:lnTo>
                <a:lnTo>
                  <a:pt x="2458" y="11815"/>
                </a:lnTo>
                <a:lnTo>
                  <a:pt x="2458" y="9893"/>
                </a:lnTo>
                <a:close/>
                <a:moveTo>
                  <a:pt x="3592" y="1"/>
                </a:moveTo>
                <a:cubicBezTo>
                  <a:pt x="3529" y="32"/>
                  <a:pt x="3466" y="95"/>
                  <a:pt x="3435" y="127"/>
                </a:cubicBezTo>
                <a:cubicBezTo>
                  <a:pt x="3435" y="127"/>
                  <a:pt x="3435" y="158"/>
                  <a:pt x="3372" y="158"/>
                </a:cubicBezTo>
                <a:lnTo>
                  <a:pt x="3372" y="190"/>
                </a:lnTo>
                <a:lnTo>
                  <a:pt x="64" y="5987"/>
                </a:lnTo>
                <a:cubicBezTo>
                  <a:pt x="1" y="6113"/>
                  <a:pt x="1" y="6270"/>
                  <a:pt x="64" y="6396"/>
                </a:cubicBezTo>
                <a:lnTo>
                  <a:pt x="1670" y="9610"/>
                </a:lnTo>
                <a:lnTo>
                  <a:pt x="1670" y="12288"/>
                </a:lnTo>
                <a:cubicBezTo>
                  <a:pt x="1670" y="12540"/>
                  <a:pt x="1891" y="12729"/>
                  <a:pt x="2080" y="12729"/>
                </a:cubicBezTo>
                <a:lnTo>
                  <a:pt x="5388" y="12729"/>
                </a:lnTo>
                <a:cubicBezTo>
                  <a:pt x="5608" y="12729"/>
                  <a:pt x="5829" y="12540"/>
                  <a:pt x="5829" y="12288"/>
                </a:cubicBezTo>
                <a:lnTo>
                  <a:pt x="5829" y="9610"/>
                </a:lnTo>
                <a:lnTo>
                  <a:pt x="7436" y="6396"/>
                </a:lnTo>
                <a:cubicBezTo>
                  <a:pt x="7467" y="6239"/>
                  <a:pt x="7436" y="6113"/>
                  <a:pt x="7404" y="5987"/>
                </a:cubicBezTo>
                <a:lnTo>
                  <a:pt x="4096" y="190"/>
                </a:lnTo>
                <a:lnTo>
                  <a:pt x="4096" y="158"/>
                </a:lnTo>
                <a:cubicBezTo>
                  <a:pt x="4096" y="158"/>
                  <a:pt x="4096" y="127"/>
                  <a:pt x="4033" y="127"/>
                </a:cubicBezTo>
                <a:cubicBezTo>
                  <a:pt x="4002" y="95"/>
                  <a:pt x="3970" y="32"/>
                  <a:pt x="38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49" name="Google Shape;6449;p72"/>
          <p:cNvGrpSpPr/>
          <p:nvPr/>
        </p:nvGrpSpPr>
        <p:grpSpPr>
          <a:xfrm>
            <a:off x="2898455" y="5699236"/>
            <a:ext cx="509461" cy="495881"/>
            <a:chOff x="-37190575" y="1951325"/>
            <a:chExt cx="324525" cy="315875"/>
          </a:xfrm>
        </p:grpSpPr>
        <p:sp>
          <p:nvSpPr>
            <p:cNvPr id="6450" name="Google Shape;6450;p72"/>
            <p:cNvSpPr/>
            <p:nvPr/>
          </p:nvSpPr>
          <p:spPr>
            <a:xfrm>
              <a:off x="-37190575" y="1951325"/>
              <a:ext cx="324525" cy="315875"/>
            </a:xfrm>
            <a:custGeom>
              <a:avLst/>
              <a:gdLst/>
              <a:ahLst/>
              <a:cxnLst/>
              <a:rect l="l" t="t" r="r" b="b"/>
              <a:pathLst>
                <a:path w="12981" h="12635" extrusionOk="0">
                  <a:moveTo>
                    <a:pt x="6693" y="790"/>
                  </a:moveTo>
                  <a:cubicBezTo>
                    <a:pt x="8301" y="790"/>
                    <a:pt x="9913" y="1489"/>
                    <a:pt x="11028" y="2868"/>
                  </a:cubicBezTo>
                  <a:cubicBezTo>
                    <a:pt x="11752" y="3813"/>
                    <a:pt x="12193" y="5010"/>
                    <a:pt x="12193" y="6270"/>
                  </a:cubicBezTo>
                  <a:cubicBezTo>
                    <a:pt x="12162" y="7058"/>
                    <a:pt x="11563" y="7593"/>
                    <a:pt x="10870" y="7593"/>
                  </a:cubicBezTo>
                  <a:lnTo>
                    <a:pt x="10019" y="7593"/>
                  </a:lnTo>
                  <a:cubicBezTo>
                    <a:pt x="8854" y="7593"/>
                    <a:pt x="7940" y="8539"/>
                    <a:pt x="7940" y="9704"/>
                  </a:cubicBezTo>
                  <a:lnTo>
                    <a:pt x="7940" y="10523"/>
                  </a:lnTo>
                  <a:cubicBezTo>
                    <a:pt x="7940" y="11216"/>
                    <a:pt x="7404" y="11784"/>
                    <a:pt x="6680" y="11815"/>
                  </a:cubicBezTo>
                  <a:cubicBezTo>
                    <a:pt x="6239" y="11815"/>
                    <a:pt x="5892" y="11784"/>
                    <a:pt x="5420" y="11658"/>
                  </a:cubicBezTo>
                  <a:cubicBezTo>
                    <a:pt x="3844" y="11311"/>
                    <a:pt x="2490" y="10208"/>
                    <a:pt x="1765" y="8791"/>
                  </a:cubicBezTo>
                  <a:cubicBezTo>
                    <a:pt x="536" y="6428"/>
                    <a:pt x="1261" y="3340"/>
                    <a:pt x="3624" y="1733"/>
                  </a:cubicBezTo>
                  <a:cubicBezTo>
                    <a:pt x="4545" y="1102"/>
                    <a:pt x="5618" y="790"/>
                    <a:pt x="6693" y="790"/>
                  </a:cubicBezTo>
                  <a:close/>
                  <a:moveTo>
                    <a:pt x="6648" y="1"/>
                  </a:moveTo>
                  <a:cubicBezTo>
                    <a:pt x="4474" y="1"/>
                    <a:pt x="2553" y="1103"/>
                    <a:pt x="1419" y="2805"/>
                  </a:cubicBezTo>
                  <a:cubicBezTo>
                    <a:pt x="95" y="4726"/>
                    <a:pt x="1" y="7215"/>
                    <a:pt x="1009" y="9169"/>
                  </a:cubicBezTo>
                  <a:cubicBezTo>
                    <a:pt x="2080" y="11216"/>
                    <a:pt x="4191" y="12634"/>
                    <a:pt x="6680" y="12634"/>
                  </a:cubicBezTo>
                  <a:cubicBezTo>
                    <a:pt x="7814" y="12634"/>
                    <a:pt x="8791" y="11689"/>
                    <a:pt x="8791" y="10523"/>
                  </a:cubicBezTo>
                  <a:lnTo>
                    <a:pt x="8791" y="9704"/>
                  </a:lnTo>
                  <a:cubicBezTo>
                    <a:pt x="8791" y="8980"/>
                    <a:pt x="9358" y="8444"/>
                    <a:pt x="10019" y="8444"/>
                  </a:cubicBezTo>
                  <a:lnTo>
                    <a:pt x="10870" y="8444"/>
                  </a:lnTo>
                  <a:cubicBezTo>
                    <a:pt x="12004" y="8444"/>
                    <a:pt x="12981" y="7499"/>
                    <a:pt x="12981" y="6333"/>
                  </a:cubicBezTo>
                  <a:cubicBezTo>
                    <a:pt x="12981" y="2962"/>
                    <a:pt x="10240" y="1"/>
                    <a:pt x="66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1" name="Google Shape;6451;p72"/>
            <p:cNvSpPr/>
            <p:nvPr/>
          </p:nvSpPr>
          <p:spPr>
            <a:xfrm>
              <a:off x="-37081875" y="2162600"/>
              <a:ext cx="72475" cy="63100"/>
            </a:xfrm>
            <a:custGeom>
              <a:avLst/>
              <a:gdLst/>
              <a:ahLst/>
              <a:cxnLst/>
              <a:rect l="l" t="t" r="r" b="b"/>
              <a:pathLst>
                <a:path w="2899" h="2524" extrusionOk="0">
                  <a:moveTo>
                    <a:pt x="1418" y="812"/>
                  </a:moveTo>
                  <a:cubicBezTo>
                    <a:pt x="1670" y="812"/>
                    <a:pt x="1859" y="1001"/>
                    <a:pt x="1859" y="1253"/>
                  </a:cubicBezTo>
                  <a:cubicBezTo>
                    <a:pt x="1859" y="1474"/>
                    <a:pt x="1670" y="1663"/>
                    <a:pt x="1418" y="1663"/>
                  </a:cubicBezTo>
                  <a:cubicBezTo>
                    <a:pt x="1198" y="1663"/>
                    <a:pt x="1009" y="1474"/>
                    <a:pt x="1009" y="1253"/>
                  </a:cubicBezTo>
                  <a:cubicBezTo>
                    <a:pt x="1009" y="1001"/>
                    <a:pt x="1198" y="812"/>
                    <a:pt x="1418" y="812"/>
                  </a:cubicBezTo>
                  <a:close/>
                  <a:moveTo>
                    <a:pt x="1405" y="0"/>
                  </a:moveTo>
                  <a:cubicBezTo>
                    <a:pt x="1250" y="0"/>
                    <a:pt x="1094" y="28"/>
                    <a:pt x="946" y="88"/>
                  </a:cubicBezTo>
                  <a:cubicBezTo>
                    <a:pt x="316" y="371"/>
                    <a:pt x="0" y="1127"/>
                    <a:pt x="284" y="1757"/>
                  </a:cubicBezTo>
                  <a:cubicBezTo>
                    <a:pt x="496" y="2229"/>
                    <a:pt x="973" y="2524"/>
                    <a:pt x="1463" y="2524"/>
                  </a:cubicBezTo>
                  <a:cubicBezTo>
                    <a:pt x="1628" y="2524"/>
                    <a:pt x="1795" y="2490"/>
                    <a:pt x="1954" y="2419"/>
                  </a:cubicBezTo>
                  <a:cubicBezTo>
                    <a:pt x="2584" y="2135"/>
                    <a:pt x="2899" y="1379"/>
                    <a:pt x="2615" y="749"/>
                  </a:cubicBezTo>
                  <a:cubicBezTo>
                    <a:pt x="2399" y="292"/>
                    <a:pt x="1907" y="0"/>
                    <a:pt x="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2" name="Google Shape;6452;p72"/>
            <p:cNvSpPr/>
            <p:nvPr/>
          </p:nvSpPr>
          <p:spPr>
            <a:xfrm>
              <a:off x="-37144875" y="2099025"/>
              <a:ext cx="72475" cy="62875"/>
            </a:xfrm>
            <a:custGeom>
              <a:avLst/>
              <a:gdLst/>
              <a:ahLst/>
              <a:cxnLst/>
              <a:rect l="l" t="t" r="r" b="b"/>
              <a:pathLst>
                <a:path w="2899" h="2515" extrusionOk="0">
                  <a:moveTo>
                    <a:pt x="1418" y="835"/>
                  </a:moveTo>
                  <a:cubicBezTo>
                    <a:pt x="1670" y="835"/>
                    <a:pt x="1859" y="1024"/>
                    <a:pt x="1859" y="1276"/>
                  </a:cubicBezTo>
                  <a:cubicBezTo>
                    <a:pt x="1859" y="1496"/>
                    <a:pt x="1670" y="1685"/>
                    <a:pt x="1418" y="1685"/>
                  </a:cubicBezTo>
                  <a:cubicBezTo>
                    <a:pt x="1197" y="1685"/>
                    <a:pt x="1008" y="1496"/>
                    <a:pt x="1008" y="1276"/>
                  </a:cubicBezTo>
                  <a:cubicBezTo>
                    <a:pt x="1008" y="1024"/>
                    <a:pt x="1197" y="835"/>
                    <a:pt x="1418" y="835"/>
                  </a:cubicBezTo>
                  <a:close/>
                  <a:moveTo>
                    <a:pt x="1411" y="0"/>
                  </a:moveTo>
                  <a:cubicBezTo>
                    <a:pt x="1254" y="0"/>
                    <a:pt x="1096" y="26"/>
                    <a:pt x="945" y="79"/>
                  </a:cubicBezTo>
                  <a:cubicBezTo>
                    <a:pt x="315" y="362"/>
                    <a:pt x="0" y="1118"/>
                    <a:pt x="284" y="1748"/>
                  </a:cubicBezTo>
                  <a:cubicBezTo>
                    <a:pt x="496" y="2220"/>
                    <a:pt x="972" y="2515"/>
                    <a:pt x="1463" y="2515"/>
                  </a:cubicBezTo>
                  <a:cubicBezTo>
                    <a:pt x="1628" y="2515"/>
                    <a:pt x="1795" y="2481"/>
                    <a:pt x="1953" y="2410"/>
                  </a:cubicBezTo>
                  <a:cubicBezTo>
                    <a:pt x="2583" y="2126"/>
                    <a:pt x="2899" y="1370"/>
                    <a:pt x="2615" y="740"/>
                  </a:cubicBezTo>
                  <a:cubicBezTo>
                    <a:pt x="2399" y="261"/>
                    <a:pt x="1910" y="0"/>
                    <a:pt x="1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3" name="Google Shape;6453;p72"/>
            <p:cNvSpPr/>
            <p:nvPr/>
          </p:nvSpPr>
          <p:spPr>
            <a:xfrm>
              <a:off x="-37123625" y="2014875"/>
              <a:ext cx="71700" cy="62775"/>
            </a:xfrm>
            <a:custGeom>
              <a:avLst/>
              <a:gdLst/>
              <a:ahLst/>
              <a:cxnLst/>
              <a:rect l="l" t="t" r="r" b="b"/>
              <a:pathLst>
                <a:path w="2868" h="2511" extrusionOk="0">
                  <a:moveTo>
                    <a:pt x="1418" y="798"/>
                  </a:moveTo>
                  <a:cubicBezTo>
                    <a:pt x="1639" y="798"/>
                    <a:pt x="1828" y="1019"/>
                    <a:pt x="1828" y="1239"/>
                  </a:cubicBezTo>
                  <a:cubicBezTo>
                    <a:pt x="1828" y="1460"/>
                    <a:pt x="1639" y="1680"/>
                    <a:pt x="1418" y="1680"/>
                  </a:cubicBezTo>
                  <a:cubicBezTo>
                    <a:pt x="1166" y="1680"/>
                    <a:pt x="977" y="1460"/>
                    <a:pt x="977" y="1239"/>
                  </a:cubicBezTo>
                  <a:cubicBezTo>
                    <a:pt x="1009" y="1019"/>
                    <a:pt x="1166" y="798"/>
                    <a:pt x="1418" y="798"/>
                  </a:cubicBezTo>
                  <a:close/>
                  <a:moveTo>
                    <a:pt x="1431" y="0"/>
                  </a:moveTo>
                  <a:cubicBezTo>
                    <a:pt x="1269" y="0"/>
                    <a:pt x="1105" y="34"/>
                    <a:pt x="946" y="105"/>
                  </a:cubicBezTo>
                  <a:cubicBezTo>
                    <a:pt x="316" y="389"/>
                    <a:pt x="1" y="1113"/>
                    <a:pt x="253" y="1743"/>
                  </a:cubicBezTo>
                  <a:cubicBezTo>
                    <a:pt x="472" y="2231"/>
                    <a:pt x="974" y="2511"/>
                    <a:pt x="1481" y="2511"/>
                  </a:cubicBezTo>
                  <a:cubicBezTo>
                    <a:pt x="1630" y="2511"/>
                    <a:pt x="1780" y="2487"/>
                    <a:pt x="1923" y="2436"/>
                  </a:cubicBezTo>
                  <a:cubicBezTo>
                    <a:pt x="2553" y="2153"/>
                    <a:pt x="2868" y="1397"/>
                    <a:pt x="2584" y="767"/>
                  </a:cubicBezTo>
                  <a:cubicBezTo>
                    <a:pt x="2372" y="295"/>
                    <a:pt x="1913" y="0"/>
                    <a:pt x="14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4" name="Google Shape;6454;p72"/>
            <p:cNvSpPr/>
            <p:nvPr/>
          </p:nvSpPr>
          <p:spPr>
            <a:xfrm>
              <a:off x="-37039350" y="1993250"/>
              <a:ext cx="71700" cy="63125"/>
            </a:xfrm>
            <a:custGeom>
              <a:avLst/>
              <a:gdLst/>
              <a:ahLst/>
              <a:cxnLst/>
              <a:rect l="l" t="t" r="r" b="b"/>
              <a:pathLst>
                <a:path w="2868" h="2525" extrusionOk="0">
                  <a:moveTo>
                    <a:pt x="1418" y="844"/>
                  </a:moveTo>
                  <a:cubicBezTo>
                    <a:pt x="1671" y="844"/>
                    <a:pt x="1860" y="1033"/>
                    <a:pt x="1860" y="1285"/>
                  </a:cubicBezTo>
                  <a:cubicBezTo>
                    <a:pt x="1860" y="1506"/>
                    <a:pt x="1671" y="1726"/>
                    <a:pt x="1418" y="1726"/>
                  </a:cubicBezTo>
                  <a:cubicBezTo>
                    <a:pt x="1198" y="1726"/>
                    <a:pt x="977" y="1506"/>
                    <a:pt x="977" y="1285"/>
                  </a:cubicBezTo>
                  <a:cubicBezTo>
                    <a:pt x="977" y="1033"/>
                    <a:pt x="1198" y="844"/>
                    <a:pt x="1418" y="844"/>
                  </a:cubicBezTo>
                  <a:close/>
                  <a:moveTo>
                    <a:pt x="1402" y="1"/>
                  </a:moveTo>
                  <a:cubicBezTo>
                    <a:pt x="1248" y="1"/>
                    <a:pt x="1094" y="29"/>
                    <a:pt x="946" y="88"/>
                  </a:cubicBezTo>
                  <a:cubicBezTo>
                    <a:pt x="316" y="372"/>
                    <a:pt x="1" y="1128"/>
                    <a:pt x="284" y="1758"/>
                  </a:cubicBezTo>
                  <a:cubicBezTo>
                    <a:pt x="496" y="2229"/>
                    <a:pt x="955" y="2524"/>
                    <a:pt x="1437" y="2524"/>
                  </a:cubicBezTo>
                  <a:cubicBezTo>
                    <a:pt x="1599" y="2524"/>
                    <a:pt x="1764" y="2491"/>
                    <a:pt x="1923" y="2419"/>
                  </a:cubicBezTo>
                  <a:cubicBezTo>
                    <a:pt x="2553" y="2136"/>
                    <a:pt x="2868" y="1411"/>
                    <a:pt x="2616" y="781"/>
                  </a:cubicBezTo>
                  <a:cubicBezTo>
                    <a:pt x="2399" y="299"/>
                    <a:pt x="1905" y="1"/>
                    <a:pt x="14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55" name="Google Shape;6455;p72"/>
          <p:cNvSpPr/>
          <p:nvPr/>
        </p:nvSpPr>
        <p:spPr>
          <a:xfrm>
            <a:off x="3388795" y="2041967"/>
            <a:ext cx="504516" cy="498315"/>
          </a:xfrm>
          <a:custGeom>
            <a:avLst/>
            <a:gdLst/>
            <a:ahLst/>
            <a:cxnLst/>
            <a:rect l="l" t="t" r="r" b="b"/>
            <a:pathLst>
              <a:path w="12855" h="12697" extrusionOk="0">
                <a:moveTo>
                  <a:pt x="8035" y="1032"/>
                </a:moveTo>
                <a:lnTo>
                  <a:pt x="11847" y="4844"/>
                </a:lnTo>
                <a:lnTo>
                  <a:pt x="7468" y="9223"/>
                </a:lnTo>
                <a:lnTo>
                  <a:pt x="3655" y="5380"/>
                </a:lnTo>
                <a:lnTo>
                  <a:pt x="8035" y="1032"/>
                </a:lnTo>
                <a:close/>
                <a:moveTo>
                  <a:pt x="3057" y="5978"/>
                </a:moveTo>
                <a:lnTo>
                  <a:pt x="6869" y="9790"/>
                </a:lnTo>
                <a:lnTo>
                  <a:pt x="4916" y="11775"/>
                </a:lnTo>
                <a:cubicBezTo>
                  <a:pt x="4837" y="11854"/>
                  <a:pt x="4727" y="11893"/>
                  <a:pt x="4616" y="11893"/>
                </a:cubicBezTo>
                <a:cubicBezTo>
                  <a:pt x="4506" y="11893"/>
                  <a:pt x="4396" y="11854"/>
                  <a:pt x="4317" y="11775"/>
                </a:cubicBezTo>
                <a:lnTo>
                  <a:pt x="1104" y="8530"/>
                </a:lnTo>
                <a:cubicBezTo>
                  <a:pt x="946" y="8372"/>
                  <a:pt x="946" y="8120"/>
                  <a:pt x="1104" y="7963"/>
                </a:cubicBezTo>
                <a:lnTo>
                  <a:pt x="3057" y="5978"/>
                </a:lnTo>
                <a:close/>
                <a:moveTo>
                  <a:pt x="7987" y="0"/>
                </a:moveTo>
                <a:cubicBezTo>
                  <a:pt x="7877" y="0"/>
                  <a:pt x="7767" y="39"/>
                  <a:pt x="7688" y="118"/>
                </a:cubicBezTo>
                <a:lnTo>
                  <a:pt x="442" y="7364"/>
                </a:lnTo>
                <a:cubicBezTo>
                  <a:pt x="1" y="7837"/>
                  <a:pt x="1" y="8625"/>
                  <a:pt x="442" y="9129"/>
                </a:cubicBezTo>
                <a:lnTo>
                  <a:pt x="3687" y="12342"/>
                </a:lnTo>
                <a:cubicBezTo>
                  <a:pt x="3923" y="12578"/>
                  <a:pt x="4238" y="12697"/>
                  <a:pt x="4557" y="12697"/>
                </a:cubicBezTo>
                <a:cubicBezTo>
                  <a:pt x="4876" y="12697"/>
                  <a:pt x="5199" y="12578"/>
                  <a:pt x="5451" y="12342"/>
                </a:cubicBezTo>
                <a:lnTo>
                  <a:pt x="12697" y="5096"/>
                </a:lnTo>
                <a:cubicBezTo>
                  <a:pt x="12855" y="4970"/>
                  <a:pt x="12855" y="4686"/>
                  <a:pt x="12697" y="4529"/>
                </a:cubicBezTo>
                <a:lnTo>
                  <a:pt x="8287" y="118"/>
                </a:lnTo>
                <a:cubicBezTo>
                  <a:pt x="8208" y="39"/>
                  <a:pt x="8098" y="0"/>
                  <a:pt x="7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56" name="Google Shape;6456;p72"/>
          <p:cNvGrpSpPr/>
          <p:nvPr/>
        </p:nvGrpSpPr>
        <p:grpSpPr>
          <a:xfrm>
            <a:off x="3432192" y="2747437"/>
            <a:ext cx="498315" cy="390740"/>
            <a:chOff x="-41694200" y="2382950"/>
            <a:chExt cx="317425" cy="248900"/>
          </a:xfrm>
        </p:grpSpPr>
        <p:sp>
          <p:nvSpPr>
            <p:cNvPr id="6457" name="Google Shape;6457;p72"/>
            <p:cNvSpPr/>
            <p:nvPr/>
          </p:nvSpPr>
          <p:spPr>
            <a:xfrm>
              <a:off x="-41694200" y="2382950"/>
              <a:ext cx="317425" cy="248900"/>
            </a:xfrm>
            <a:custGeom>
              <a:avLst/>
              <a:gdLst/>
              <a:ahLst/>
              <a:cxnLst/>
              <a:rect l="l" t="t" r="r" b="b"/>
              <a:pathLst>
                <a:path w="12697" h="9956" extrusionOk="0">
                  <a:moveTo>
                    <a:pt x="10555" y="851"/>
                  </a:moveTo>
                  <a:cubicBezTo>
                    <a:pt x="10807" y="851"/>
                    <a:pt x="10964" y="1040"/>
                    <a:pt x="10964" y="1292"/>
                  </a:cubicBezTo>
                  <a:lnTo>
                    <a:pt x="10964" y="7499"/>
                  </a:lnTo>
                  <a:lnTo>
                    <a:pt x="1576" y="7499"/>
                  </a:lnTo>
                  <a:lnTo>
                    <a:pt x="1576" y="1292"/>
                  </a:lnTo>
                  <a:lnTo>
                    <a:pt x="1607" y="1292"/>
                  </a:lnTo>
                  <a:cubicBezTo>
                    <a:pt x="1607" y="1040"/>
                    <a:pt x="1828" y="882"/>
                    <a:pt x="2017" y="851"/>
                  </a:cubicBezTo>
                  <a:close/>
                  <a:moveTo>
                    <a:pt x="8507" y="8286"/>
                  </a:moveTo>
                  <a:lnTo>
                    <a:pt x="8507" y="8727"/>
                  </a:lnTo>
                  <a:cubicBezTo>
                    <a:pt x="8507" y="8918"/>
                    <a:pt x="8633" y="9073"/>
                    <a:pt x="8777" y="9137"/>
                  </a:cubicBezTo>
                  <a:lnTo>
                    <a:pt x="1198" y="9137"/>
                  </a:lnTo>
                  <a:cubicBezTo>
                    <a:pt x="1009" y="9137"/>
                    <a:pt x="851" y="9011"/>
                    <a:pt x="788" y="8853"/>
                  </a:cubicBezTo>
                  <a:cubicBezTo>
                    <a:pt x="757" y="8759"/>
                    <a:pt x="788" y="8759"/>
                    <a:pt x="788" y="8286"/>
                  </a:cubicBezTo>
                  <a:close/>
                  <a:moveTo>
                    <a:pt x="10145" y="8286"/>
                  </a:moveTo>
                  <a:lnTo>
                    <a:pt x="10145" y="8727"/>
                  </a:lnTo>
                  <a:cubicBezTo>
                    <a:pt x="10145" y="8918"/>
                    <a:pt x="10254" y="9073"/>
                    <a:pt x="10402" y="9137"/>
                  </a:cubicBezTo>
                  <a:lnTo>
                    <a:pt x="9051" y="9137"/>
                  </a:lnTo>
                  <a:cubicBezTo>
                    <a:pt x="9186" y="9073"/>
                    <a:pt x="9294" y="8918"/>
                    <a:pt x="9294" y="8727"/>
                  </a:cubicBezTo>
                  <a:lnTo>
                    <a:pt x="9294" y="8286"/>
                  </a:lnTo>
                  <a:close/>
                  <a:moveTo>
                    <a:pt x="11783" y="8286"/>
                  </a:moveTo>
                  <a:lnTo>
                    <a:pt x="11783" y="8727"/>
                  </a:lnTo>
                  <a:cubicBezTo>
                    <a:pt x="11815" y="8979"/>
                    <a:pt x="11626" y="9137"/>
                    <a:pt x="11374" y="9137"/>
                  </a:cubicBezTo>
                  <a:lnTo>
                    <a:pt x="10720" y="9137"/>
                  </a:lnTo>
                  <a:cubicBezTo>
                    <a:pt x="10874" y="9073"/>
                    <a:pt x="10964" y="8918"/>
                    <a:pt x="10964" y="8727"/>
                  </a:cubicBezTo>
                  <a:lnTo>
                    <a:pt x="10964" y="8286"/>
                  </a:lnTo>
                  <a:close/>
                  <a:moveTo>
                    <a:pt x="2048" y="0"/>
                  </a:moveTo>
                  <a:cubicBezTo>
                    <a:pt x="1387" y="0"/>
                    <a:pt x="788" y="536"/>
                    <a:pt x="820" y="1261"/>
                  </a:cubicBezTo>
                  <a:lnTo>
                    <a:pt x="820" y="7467"/>
                  </a:lnTo>
                  <a:lnTo>
                    <a:pt x="347" y="7467"/>
                  </a:lnTo>
                  <a:cubicBezTo>
                    <a:pt x="158" y="7467"/>
                    <a:pt x="0" y="7625"/>
                    <a:pt x="0" y="7814"/>
                  </a:cubicBezTo>
                  <a:lnTo>
                    <a:pt x="0" y="8696"/>
                  </a:lnTo>
                  <a:cubicBezTo>
                    <a:pt x="0" y="9357"/>
                    <a:pt x="568" y="9956"/>
                    <a:pt x="1229" y="9956"/>
                  </a:cubicBezTo>
                  <a:lnTo>
                    <a:pt x="11437" y="9956"/>
                  </a:lnTo>
                  <a:cubicBezTo>
                    <a:pt x="12098" y="9956"/>
                    <a:pt x="12697" y="9389"/>
                    <a:pt x="12697" y="8696"/>
                  </a:cubicBezTo>
                  <a:lnTo>
                    <a:pt x="12697" y="7877"/>
                  </a:lnTo>
                  <a:cubicBezTo>
                    <a:pt x="12634" y="7656"/>
                    <a:pt x="12445" y="7467"/>
                    <a:pt x="12224" y="7467"/>
                  </a:cubicBezTo>
                  <a:lnTo>
                    <a:pt x="11815" y="7467"/>
                  </a:lnTo>
                  <a:lnTo>
                    <a:pt x="11815" y="1261"/>
                  </a:lnTo>
                  <a:cubicBezTo>
                    <a:pt x="11815" y="567"/>
                    <a:pt x="11279"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58" name="Google Shape;6458;p72"/>
            <p:cNvSpPr/>
            <p:nvPr/>
          </p:nvSpPr>
          <p:spPr>
            <a:xfrm>
              <a:off x="-41586600" y="2425550"/>
              <a:ext cx="107450" cy="102925"/>
            </a:xfrm>
            <a:custGeom>
              <a:avLst/>
              <a:gdLst/>
              <a:ahLst/>
              <a:cxnLst/>
              <a:rect l="l" t="t" r="r" b="b"/>
              <a:pathLst>
                <a:path w="4298" h="4117" extrusionOk="0">
                  <a:moveTo>
                    <a:pt x="1147" y="1037"/>
                  </a:moveTo>
                  <a:lnTo>
                    <a:pt x="2218" y="1384"/>
                  </a:lnTo>
                  <a:lnTo>
                    <a:pt x="1493" y="2108"/>
                  </a:lnTo>
                  <a:lnTo>
                    <a:pt x="1147" y="1037"/>
                  </a:lnTo>
                  <a:close/>
                  <a:moveTo>
                    <a:pt x="466" y="1"/>
                  </a:moveTo>
                  <a:cubicBezTo>
                    <a:pt x="209" y="1"/>
                    <a:pt x="1" y="267"/>
                    <a:pt x="107" y="533"/>
                  </a:cubicBezTo>
                  <a:lnTo>
                    <a:pt x="926" y="3022"/>
                  </a:lnTo>
                  <a:cubicBezTo>
                    <a:pt x="987" y="3184"/>
                    <a:pt x="1164" y="3293"/>
                    <a:pt x="1341" y="3293"/>
                  </a:cubicBezTo>
                  <a:cubicBezTo>
                    <a:pt x="1441" y="3293"/>
                    <a:pt x="1540" y="3259"/>
                    <a:pt x="1619" y="3180"/>
                  </a:cubicBezTo>
                  <a:lnTo>
                    <a:pt x="2155" y="2613"/>
                  </a:lnTo>
                  <a:lnTo>
                    <a:pt x="3541" y="3999"/>
                  </a:lnTo>
                  <a:cubicBezTo>
                    <a:pt x="3620" y="4077"/>
                    <a:pt x="3730" y="4117"/>
                    <a:pt x="3840" y="4117"/>
                  </a:cubicBezTo>
                  <a:cubicBezTo>
                    <a:pt x="3951" y="4117"/>
                    <a:pt x="4061" y="4077"/>
                    <a:pt x="4140" y="3999"/>
                  </a:cubicBezTo>
                  <a:cubicBezTo>
                    <a:pt x="4297" y="3841"/>
                    <a:pt x="4297" y="3558"/>
                    <a:pt x="4140" y="3400"/>
                  </a:cubicBezTo>
                  <a:lnTo>
                    <a:pt x="2722" y="2077"/>
                  </a:lnTo>
                  <a:lnTo>
                    <a:pt x="3258" y="1510"/>
                  </a:lnTo>
                  <a:cubicBezTo>
                    <a:pt x="3510" y="1289"/>
                    <a:pt x="3384" y="911"/>
                    <a:pt x="3100" y="848"/>
                  </a:cubicBezTo>
                  <a:lnTo>
                    <a:pt x="611" y="29"/>
                  </a:lnTo>
                  <a:cubicBezTo>
                    <a:pt x="562" y="10"/>
                    <a:pt x="514" y="1"/>
                    <a:pt x="4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59" name="Google Shape;6459;p72"/>
          <p:cNvGrpSpPr/>
          <p:nvPr/>
        </p:nvGrpSpPr>
        <p:grpSpPr>
          <a:xfrm>
            <a:off x="3427957" y="3218513"/>
            <a:ext cx="500788" cy="498355"/>
            <a:chOff x="-41695775" y="2683025"/>
            <a:chExt cx="319000" cy="317450"/>
          </a:xfrm>
        </p:grpSpPr>
        <p:sp>
          <p:nvSpPr>
            <p:cNvPr id="6460" name="Google Shape;6460;p72"/>
            <p:cNvSpPr/>
            <p:nvPr/>
          </p:nvSpPr>
          <p:spPr>
            <a:xfrm>
              <a:off x="-41695775" y="2683025"/>
              <a:ext cx="319000" cy="317450"/>
            </a:xfrm>
            <a:custGeom>
              <a:avLst/>
              <a:gdLst/>
              <a:ahLst/>
              <a:cxnLst/>
              <a:rect l="l" t="t" r="r" b="b"/>
              <a:pathLst>
                <a:path w="12760" h="12698" extrusionOk="0">
                  <a:moveTo>
                    <a:pt x="6238" y="2521"/>
                  </a:moveTo>
                  <a:lnTo>
                    <a:pt x="10240" y="5199"/>
                  </a:lnTo>
                  <a:lnTo>
                    <a:pt x="10240" y="11815"/>
                  </a:lnTo>
                  <a:lnTo>
                    <a:pt x="2521" y="11815"/>
                  </a:lnTo>
                  <a:lnTo>
                    <a:pt x="2521" y="5199"/>
                  </a:lnTo>
                  <a:lnTo>
                    <a:pt x="6238" y="2521"/>
                  </a:lnTo>
                  <a:close/>
                  <a:moveTo>
                    <a:pt x="6270" y="1"/>
                  </a:moveTo>
                  <a:cubicBezTo>
                    <a:pt x="6049" y="1"/>
                    <a:pt x="5860" y="190"/>
                    <a:pt x="5860" y="379"/>
                  </a:cubicBezTo>
                  <a:lnTo>
                    <a:pt x="5860" y="1859"/>
                  </a:lnTo>
                  <a:lnTo>
                    <a:pt x="1891" y="4695"/>
                  </a:lnTo>
                  <a:lnTo>
                    <a:pt x="221" y="5861"/>
                  </a:lnTo>
                  <a:cubicBezTo>
                    <a:pt x="32" y="5987"/>
                    <a:pt x="0" y="6270"/>
                    <a:pt x="158" y="6459"/>
                  </a:cubicBezTo>
                  <a:cubicBezTo>
                    <a:pt x="229" y="6566"/>
                    <a:pt x="342" y="6623"/>
                    <a:pt x="466" y="6623"/>
                  </a:cubicBezTo>
                  <a:cubicBezTo>
                    <a:pt x="560" y="6623"/>
                    <a:pt x="661" y="6590"/>
                    <a:pt x="757" y="6522"/>
                  </a:cubicBezTo>
                  <a:lnTo>
                    <a:pt x="1733" y="5829"/>
                  </a:lnTo>
                  <a:lnTo>
                    <a:pt x="1733" y="12288"/>
                  </a:lnTo>
                  <a:cubicBezTo>
                    <a:pt x="1733" y="12508"/>
                    <a:pt x="1922" y="12697"/>
                    <a:pt x="2111" y="12697"/>
                  </a:cubicBezTo>
                  <a:lnTo>
                    <a:pt x="10649" y="12697"/>
                  </a:lnTo>
                  <a:cubicBezTo>
                    <a:pt x="10901" y="12697"/>
                    <a:pt x="11059" y="12508"/>
                    <a:pt x="11059" y="12288"/>
                  </a:cubicBezTo>
                  <a:lnTo>
                    <a:pt x="11059" y="5798"/>
                  </a:lnTo>
                  <a:lnTo>
                    <a:pt x="12035" y="6491"/>
                  </a:lnTo>
                  <a:cubicBezTo>
                    <a:pt x="12114" y="6543"/>
                    <a:pt x="12204" y="6568"/>
                    <a:pt x="12294" y="6568"/>
                  </a:cubicBezTo>
                  <a:cubicBezTo>
                    <a:pt x="12418" y="6568"/>
                    <a:pt x="12542" y="6519"/>
                    <a:pt x="12634" y="6428"/>
                  </a:cubicBezTo>
                  <a:cubicBezTo>
                    <a:pt x="12760" y="6207"/>
                    <a:pt x="12697" y="5987"/>
                    <a:pt x="12571" y="5829"/>
                  </a:cubicBezTo>
                  <a:lnTo>
                    <a:pt x="10901" y="4632"/>
                  </a:lnTo>
                  <a:cubicBezTo>
                    <a:pt x="10901" y="4632"/>
                    <a:pt x="6679" y="1796"/>
                    <a:pt x="6648" y="1796"/>
                  </a:cubicBezTo>
                  <a:lnTo>
                    <a:pt x="6648" y="379"/>
                  </a:lnTo>
                  <a:cubicBezTo>
                    <a:pt x="6648" y="158"/>
                    <a:pt x="6459" y="1"/>
                    <a:pt x="62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1" name="Google Shape;6461;p72"/>
            <p:cNvSpPr/>
            <p:nvPr/>
          </p:nvSpPr>
          <p:spPr>
            <a:xfrm>
              <a:off x="-41615450" y="2813750"/>
              <a:ext cx="152050" cy="144975"/>
            </a:xfrm>
            <a:custGeom>
              <a:avLst/>
              <a:gdLst/>
              <a:ahLst/>
              <a:cxnLst/>
              <a:rect l="l" t="t" r="r" b="b"/>
              <a:pathLst>
                <a:path w="6082" h="5799" extrusionOk="0">
                  <a:moveTo>
                    <a:pt x="3050" y="782"/>
                  </a:moveTo>
                  <a:cubicBezTo>
                    <a:pt x="3325" y="782"/>
                    <a:pt x="3606" y="835"/>
                    <a:pt x="3876" y="947"/>
                  </a:cubicBezTo>
                  <a:cubicBezTo>
                    <a:pt x="4853" y="1419"/>
                    <a:pt x="5357" y="2616"/>
                    <a:pt x="4916" y="3656"/>
                  </a:cubicBezTo>
                  <a:cubicBezTo>
                    <a:pt x="4601" y="4412"/>
                    <a:pt x="3908" y="4916"/>
                    <a:pt x="3025" y="4916"/>
                  </a:cubicBezTo>
                  <a:cubicBezTo>
                    <a:pt x="1545" y="4916"/>
                    <a:pt x="568" y="3436"/>
                    <a:pt x="1135" y="2049"/>
                  </a:cubicBezTo>
                  <a:cubicBezTo>
                    <a:pt x="1465" y="1248"/>
                    <a:pt x="2235" y="782"/>
                    <a:pt x="3050" y="782"/>
                  </a:cubicBezTo>
                  <a:close/>
                  <a:moveTo>
                    <a:pt x="2968" y="0"/>
                  </a:moveTo>
                  <a:cubicBezTo>
                    <a:pt x="1995" y="0"/>
                    <a:pt x="1120" y="497"/>
                    <a:pt x="631" y="1262"/>
                  </a:cubicBezTo>
                  <a:cubicBezTo>
                    <a:pt x="95" y="2081"/>
                    <a:pt x="1" y="3152"/>
                    <a:pt x="347" y="4034"/>
                  </a:cubicBezTo>
                  <a:cubicBezTo>
                    <a:pt x="789" y="5074"/>
                    <a:pt x="1860" y="5798"/>
                    <a:pt x="3057" y="5798"/>
                  </a:cubicBezTo>
                  <a:cubicBezTo>
                    <a:pt x="4034" y="5798"/>
                    <a:pt x="4884" y="5326"/>
                    <a:pt x="5451" y="4538"/>
                  </a:cubicBezTo>
                  <a:cubicBezTo>
                    <a:pt x="5987" y="3719"/>
                    <a:pt x="6081" y="2648"/>
                    <a:pt x="5735" y="1766"/>
                  </a:cubicBezTo>
                  <a:cubicBezTo>
                    <a:pt x="5294" y="726"/>
                    <a:pt x="4223" y="1"/>
                    <a:pt x="3057" y="1"/>
                  </a:cubicBezTo>
                  <a:cubicBezTo>
                    <a:pt x="3027" y="1"/>
                    <a:pt x="2997" y="0"/>
                    <a:pt x="29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2" name="Google Shape;6462;p72"/>
            <p:cNvSpPr/>
            <p:nvPr/>
          </p:nvSpPr>
          <p:spPr>
            <a:xfrm>
              <a:off x="-41550075" y="2853950"/>
              <a:ext cx="40200" cy="42550"/>
            </a:xfrm>
            <a:custGeom>
              <a:avLst/>
              <a:gdLst/>
              <a:ahLst/>
              <a:cxnLst/>
              <a:rect l="l" t="t" r="r" b="b"/>
              <a:pathLst>
                <a:path w="1608" h="1702" extrusionOk="0">
                  <a:moveTo>
                    <a:pt x="379" y="0"/>
                  </a:moveTo>
                  <a:cubicBezTo>
                    <a:pt x="190" y="0"/>
                    <a:pt x="1" y="221"/>
                    <a:pt x="1" y="441"/>
                  </a:cubicBezTo>
                  <a:lnTo>
                    <a:pt x="1" y="1260"/>
                  </a:lnTo>
                  <a:cubicBezTo>
                    <a:pt x="1" y="1512"/>
                    <a:pt x="190" y="1701"/>
                    <a:pt x="379" y="1701"/>
                  </a:cubicBezTo>
                  <a:lnTo>
                    <a:pt x="1230" y="1701"/>
                  </a:lnTo>
                  <a:cubicBezTo>
                    <a:pt x="1450" y="1701"/>
                    <a:pt x="1608" y="1512"/>
                    <a:pt x="1608" y="1260"/>
                  </a:cubicBezTo>
                  <a:cubicBezTo>
                    <a:pt x="1608" y="1040"/>
                    <a:pt x="1419" y="851"/>
                    <a:pt x="1230" y="851"/>
                  </a:cubicBezTo>
                  <a:lnTo>
                    <a:pt x="788" y="851"/>
                  </a:lnTo>
                  <a:lnTo>
                    <a:pt x="788" y="410"/>
                  </a:lnTo>
                  <a:cubicBezTo>
                    <a:pt x="788"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63" name="Google Shape;6463;p72"/>
          <p:cNvGrpSpPr/>
          <p:nvPr/>
        </p:nvGrpSpPr>
        <p:grpSpPr>
          <a:xfrm>
            <a:off x="1751022" y="3875540"/>
            <a:ext cx="456281" cy="500827"/>
            <a:chOff x="-39792875" y="1971800"/>
            <a:chExt cx="290650" cy="319025"/>
          </a:xfrm>
        </p:grpSpPr>
        <p:sp>
          <p:nvSpPr>
            <p:cNvPr id="6464" name="Google Shape;6464;p72"/>
            <p:cNvSpPr/>
            <p:nvPr/>
          </p:nvSpPr>
          <p:spPr>
            <a:xfrm>
              <a:off x="-39667650" y="2145075"/>
              <a:ext cx="40975" cy="41775"/>
            </a:xfrm>
            <a:custGeom>
              <a:avLst/>
              <a:gdLst/>
              <a:ahLst/>
              <a:cxnLst/>
              <a:rect l="l" t="t" r="r" b="b"/>
              <a:pathLst>
                <a:path w="1639" h="1671" extrusionOk="0">
                  <a:moveTo>
                    <a:pt x="820" y="1"/>
                  </a:moveTo>
                  <a:cubicBezTo>
                    <a:pt x="379" y="1"/>
                    <a:pt x="1" y="379"/>
                    <a:pt x="1" y="852"/>
                  </a:cubicBezTo>
                  <a:cubicBezTo>
                    <a:pt x="1" y="1293"/>
                    <a:pt x="379" y="1671"/>
                    <a:pt x="820" y="1671"/>
                  </a:cubicBezTo>
                  <a:cubicBezTo>
                    <a:pt x="1261" y="1671"/>
                    <a:pt x="1639" y="1293"/>
                    <a:pt x="1639" y="852"/>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5" name="Google Shape;6465;p72"/>
            <p:cNvSpPr/>
            <p:nvPr/>
          </p:nvSpPr>
          <p:spPr>
            <a:xfrm>
              <a:off x="-39792875" y="1971800"/>
              <a:ext cx="290650" cy="319025"/>
            </a:xfrm>
            <a:custGeom>
              <a:avLst/>
              <a:gdLst/>
              <a:ahLst/>
              <a:cxnLst/>
              <a:rect l="l" t="t" r="r" b="b"/>
              <a:pathLst>
                <a:path w="11626" h="12761" extrusionOk="0">
                  <a:moveTo>
                    <a:pt x="6207" y="3687"/>
                  </a:moveTo>
                  <a:cubicBezTo>
                    <a:pt x="6900" y="3687"/>
                    <a:pt x="7436" y="4222"/>
                    <a:pt x="7436" y="4884"/>
                  </a:cubicBezTo>
                  <a:lnTo>
                    <a:pt x="7436" y="11910"/>
                  </a:lnTo>
                  <a:lnTo>
                    <a:pt x="4159" y="11910"/>
                  </a:lnTo>
                  <a:lnTo>
                    <a:pt x="4159" y="4884"/>
                  </a:lnTo>
                  <a:cubicBezTo>
                    <a:pt x="4159" y="4222"/>
                    <a:pt x="4726" y="3687"/>
                    <a:pt x="5388" y="3687"/>
                  </a:cubicBezTo>
                  <a:close/>
                  <a:moveTo>
                    <a:pt x="10744" y="914"/>
                  </a:moveTo>
                  <a:lnTo>
                    <a:pt x="10744" y="3939"/>
                  </a:lnTo>
                  <a:cubicBezTo>
                    <a:pt x="9767" y="4412"/>
                    <a:pt x="9105" y="5420"/>
                    <a:pt x="9105" y="6554"/>
                  </a:cubicBezTo>
                  <a:cubicBezTo>
                    <a:pt x="9105" y="7688"/>
                    <a:pt x="9767" y="8665"/>
                    <a:pt x="10744" y="9137"/>
                  </a:cubicBezTo>
                  <a:cubicBezTo>
                    <a:pt x="10775" y="10145"/>
                    <a:pt x="10775" y="11280"/>
                    <a:pt x="10775" y="11910"/>
                  </a:cubicBezTo>
                  <a:lnTo>
                    <a:pt x="8318" y="11910"/>
                  </a:lnTo>
                  <a:lnTo>
                    <a:pt x="8318" y="4884"/>
                  </a:lnTo>
                  <a:cubicBezTo>
                    <a:pt x="8318" y="3750"/>
                    <a:pt x="7373" y="2805"/>
                    <a:pt x="6207" y="2805"/>
                  </a:cubicBezTo>
                  <a:lnTo>
                    <a:pt x="5388" y="2805"/>
                  </a:lnTo>
                  <a:cubicBezTo>
                    <a:pt x="4254" y="2805"/>
                    <a:pt x="3308" y="3750"/>
                    <a:pt x="3308" y="4884"/>
                  </a:cubicBezTo>
                  <a:lnTo>
                    <a:pt x="3308" y="11910"/>
                  </a:lnTo>
                  <a:lnTo>
                    <a:pt x="820" y="11910"/>
                  </a:lnTo>
                  <a:lnTo>
                    <a:pt x="820" y="9137"/>
                  </a:lnTo>
                  <a:cubicBezTo>
                    <a:pt x="2174" y="8507"/>
                    <a:pt x="2804" y="7026"/>
                    <a:pt x="2332" y="5640"/>
                  </a:cubicBezTo>
                  <a:cubicBezTo>
                    <a:pt x="2080" y="4884"/>
                    <a:pt x="1544" y="4254"/>
                    <a:pt x="820" y="3939"/>
                  </a:cubicBezTo>
                  <a:lnTo>
                    <a:pt x="820" y="914"/>
                  </a:lnTo>
                  <a:close/>
                  <a:moveTo>
                    <a:pt x="441" y="1"/>
                  </a:moveTo>
                  <a:cubicBezTo>
                    <a:pt x="189" y="1"/>
                    <a:pt x="0" y="221"/>
                    <a:pt x="0" y="442"/>
                  </a:cubicBezTo>
                  <a:lnTo>
                    <a:pt x="0" y="4191"/>
                  </a:lnTo>
                  <a:cubicBezTo>
                    <a:pt x="0" y="4349"/>
                    <a:pt x="126" y="4506"/>
                    <a:pt x="284" y="4569"/>
                  </a:cubicBezTo>
                  <a:cubicBezTo>
                    <a:pt x="1072" y="4853"/>
                    <a:pt x="1639" y="5609"/>
                    <a:pt x="1639" y="6522"/>
                  </a:cubicBezTo>
                  <a:cubicBezTo>
                    <a:pt x="1639" y="7404"/>
                    <a:pt x="1072" y="8161"/>
                    <a:pt x="284" y="8476"/>
                  </a:cubicBezTo>
                  <a:cubicBezTo>
                    <a:pt x="126" y="8507"/>
                    <a:pt x="0" y="8665"/>
                    <a:pt x="0" y="8885"/>
                  </a:cubicBezTo>
                  <a:lnTo>
                    <a:pt x="0" y="12351"/>
                  </a:lnTo>
                  <a:cubicBezTo>
                    <a:pt x="0" y="12571"/>
                    <a:pt x="189" y="12760"/>
                    <a:pt x="441" y="12760"/>
                  </a:cubicBezTo>
                  <a:lnTo>
                    <a:pt x="11185" y="12760"/>
                  </a:lnTo>
                  <a:cubicBezTo>
                    <a:pt x="11405" y="12760"/>
                    <a:pt x="11563" y="12571"/>
                    <a:pt x="11626" y="12382"/>
                  </a:cubicBezTo>
                  <a:lnTo>
                    <a:pt x="11626" y="8885"/>
                  </a:lnTo>
                  <a:cubicBezTo>
                    <a:pt x="11626" y="8696"/>
                    <a:pt x="11500" y="8539"/>
                    <a:pt x="11342" y="8476"/>
                  </a:cubicBezTo>
                  <a:cubicBezTo>
                    <a:pt x="10555" y="8192"/>
                    <a:pt x="9956" y="7404"/>
                    <a:pt x="9956" y="6522"/>
                  </a:cubicBezTo>
                  <a:cubicBezTo>
                    <a:pt x="9956" y="5609"/>
                    <a:pt x="10555" y="4853"/>
                    <a:pt x="11342" y="4569"/>
                  </a:cubicBezTo>
                  <a:cubicBezTo>
                    <a:pt x="11500" y="4538"/>
                    <a:pt x="11626" y="4380"/>
                    <a:pt x="11626" y="4191"/>
                  </a:cubicBezTo>
                  <a:lnTo>
                    <a:pt x="11626" y="442"/>
                  </a:lnTo>
                  <a:cubicBezTo>
                    <a:pt x="11626" y="221"/>
                    <a:pt x="11405" y="1"/>
                    <a:pt x="111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66" name="Google Shape;6466;p72"/>
          <p:cNvGrpSpPr/>
          <p:nvPr/>
        </p:nvGrpSpPr>
        <p:grpSpPr>
          <a:xfrm>
            <a:off x="1762758" y="4450309"/>
            <a:ext cx="432812" cy="499767"/>
            <a:chOff x="-39783425" y="2337925"/>
            <a:chExt cx="275700" cy="318350"/>
          </a:xfrm>
        </p:grpSpPr>
        <p:sp>
          <p:nvSpPr>
            <p:cNvPr id="6467" name="Google Shape;6467;p72"/>
            <p:cNvSpPr/>
            <p:nvPr/>
          </p:nvSpPr>
          <p:spPr>
            <a:xfrm>
              <a:off x="-39739325" y="2468600"/>
              <a:ext cx="194575" cy="148500"/>
            </a:xfrm>
            <a:custGeom>
              <a:avLst/>
              <a:gdLst/>
              <a:ahLst/>
              <a:cxnLst/>
              <a:rect l="l" t="t" r="r" b="b"/>
              <a:pathLst>
                <a:path w="7783" h="5940" extrusionOk="0">
                  <a:moveTo>
                    <a:pt x="6349" y="772"/>
                  </a:moveTo>
                  <a:cubicBezTo>
                    <a:pt x="6459" y="772"/>
                    <a:pt x="6570" y="812"/>
                    <a:pt x="6648" y="891"/>
                  </a:cubicBezTo>
                  <a:cubicBezTo>
                    <a:pt x="6711" y="954"/>
                    <a:pt x="6743" y="1017"/>
                    <a:pt x="6806" y="1080"/>
                  </a:cubicBezTo>
                  <a:cubicBezTo>
                    <a:pt x="6837" y="1300"/>
                    <a:pt x="6837" y="1458"/>
                    <a:pt x="6711" y="1552"/>
                  </a:cubicBezTo>
                  <a:lnTo>
                    <a:pt x="3340" y="4955"/>
                  </a:lnTo>
                  <a:cubicBezTo>
                    <a:pt x="3261" y="5033"/>
                    <a:pt x="3151" y="5073"/>
                    <a:pt x="3041" y="5073"/>
                  </a:cubicBezTo>
                  <a:cubicBezTo>
                    <a:pt x="2931" y="5073"/>
                    <a:pt x="2820" y="5033"/>
                    <a:pt x="2742" y="4955"/>
                  </a:cubicBezTo>
                  <a:lnTo>
                    <a:pt x="1040" y="3253"/>
                  </a:lnTo>
                  <a:cubicBezTo>
                    <a:pt x="883" y="3096"/>
                    <a:pt x="883" y="2812"/>
                    <a:pt x="1040" y="2655"/>
                  </a:cubicBezTo>
                  <a:lnTo>
                    <a:pt x="1135" y="2592"/>
                  </a:lnTo>
                  <a:cubicBezTo>
                    <a:pt x="1214" y="2513"/>
                    <a:pt x="1316" y="2474"/>
                    <a:pt x="1418" y="2474"/>
                  </a:cubicBezTo>
                  <a:cubicBezTo>
                    <a:pt x="1521" y="2474"/>
                    <a:pt x="1623" y="2513"/>
                    <a:pt x="1702" y="2592"/>
                  </a:cubicBezTo>
                  <a:lnTo>
                    <a:pt x="2742" y="3600"/>
                  </a:lnTo>
                  <a:cubicBezTo>
                    <a:pt x="2820" y="3679"/>
                    <a:pt x="2931" y="3718"/>
                    <a:pt x="3041" y="3718"/>
                  </a:cubicBezTo>
                  <a:cubicBezTo>
                    <a:pt x="3151" y="3718"/>
                    <a:pt x="3261" y="3679"/>
                    <a:pt x="3340" y="3600"/>
                  </a:cubicBezTo>
                  <a:lnTo>
                    <a:pt x="6050" y="891"/>
                  </a:lnTo>
                  <a:cubicBezTo>
                    <a:pt x="6128" y="812"/>
                    <a:pt x="6239" y="772"/>
                    <a:pt x="6349" y="772"/>
                  </a:cubicBezTo>
                  <a:close/>
                  <a:moveTo>
                    <a:pt x="6369" y="1"/>
                  </a:moveTo>
                  <a:cubicBezTo>
                    <a:pt x="6050" y="1"/>
                    <a:pt x="5719" y="119"/>
                    <a:pt x="5451" y="355"/>
                  </a:cubicBezTo>
                  <a:lnTo>
                    <a:pt x="3025" y="2781"/>
                  </a:lnTo>
                  <a:lnTo>
                    <a:pt x="2269" y="2025"/>
                  </a:lnTo>
                  <a:cubicBezTo>
                    <a:pt x="2040" y="1796"/>
                    <a:pt x="1742" y="1663"/>
                    <a:pt x="1421" y="1663"/>
                  </a:cubicBezTo>
                  <a:cubicBezTo>
                    <a:pt x="1256" y="1663"/>
                    <a:pt x="1085" y="1698"/>
                    <a:pt x="914" y="1773"/>
                  </a:cubicBezTo>
                  <a:cubicBezTo>
                    <a:pt x="694" y="1867"/>
                    <a:pt x="536" y="1993"/>
                    <a:pt x="473" y="2119"/>
                  </a:cubicBezTo>
                  <a:cubicBezTo>
                    <a:pt x="1" y="2592"/>
                    <a:pt x="1" y="3379"/>
                    <a:pt x="473" y="3883"/>
                  </a:cubicBezTo>
                  <a:lnTo>
                    <a:pt x="2143" y="5585"/>
                  </a:lnTo>
                  <a:cubicBezTo>
                    <a:pt x="2379" y="5821"/>
                    <a:pt x="2694" y="5939"/>
                    <a:pt x="3017" y="5939"/>
                  </a:cubicBezTo>
                  <a:cubicBezTo>
                    <a:pt x="3340" y="5939"/>
                    <a:pt x="3671" y="5821"/>
                    <a:pt x="3939" y="5585"/>
                  </a:cubicBezTo>
                  <a:lnTo>
                    <a:pt x="7310" y="2182"/>
                  </a:lnTo>
                  <a:cubicBezTo>
                    <a:pt x="7656" y="1836"/>
                    <a:pt x="7782" y="1300"/>
                    <a:pt x="7593" y="859"/>
                  </a:cubicBezTo>
                  <a:cubicBezTo>
                    <a:pt x="7467" y="575"/>
                    <a:pt x="7310" y="418"/>
                    <a:pt x="7215" y="355"/>
                  </a:cubicBezTo>
                  <a:cubicBezTo>
                    <a:pt x="6995" y="119"/>
                    <a:pt x="6688" y="1"/>
                    <a:pt x="63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68" name="Google Shape;6468;p72"/>
            <p:cNvSpPr/>
            <p:nvPr/>
          </p:nvSpPr>
          <p:spPr>
            <a:xfrm>
              <a:off x="-39783425" y="2337925"/>
              <a:ext cx="275700" cy="318350"/>
            </a:xfrm>
            <a:custGeom>
              <a:avLst/>
              <a:gdLst/>
              <a:ahLst/>
              <a:cxnLst/>
              <a:rect l="l" t="t" r="r" b="b"/>
              <a:pathLst>
                <a:path w="11028" h="12734" extrusionOk="0">
                  <a:moveTo>
                    <a:pt x="5608" y="793"/>
                  </a:moveTo>
                  <a:cubicBezTo>
                    <a:pt x="5829" y="793"/>
                    <a:pt x="5986" y="1014"/>
                    <a:pt x="6049" y="1234"/>
                  </a:cubicBezTo>
                  <a:cubicBezTo>
                    <a:pt x="6049" y="1486"/>
                    <a:pt x="6238" y="1644"/>
                    <a:pt x="6459" y="1644"/>
                  </a:cubicBezTo>
                  <a:lnTo>
                    <a:pt x="8129" y="1644"/>
                  </a:lnTo>
                  <a:cubicBezTo>
                    <a:pt x="8349" y="1644"/>
                    <a:pt x="8507" y="1833"/>
                    <a:pt x="8570" y="2053"/>
                  </a:cubicBezTo>
                  <a:lnTo>
                    <a:pt x="8570" y="2494"/>
                  </a:lnTo>
                  <a:lnTo>
                    <a:pt x="2773" y="2494"/>
                  </a:lnTo>
                  <a:lnTo>
                    <a:pt x="2773" y="2116"/>
                  </a:lnTo>
                  <a:lnTo>
                    <a:pt x="2741" y="2116"/>
                  </a:lnTo>
                  <a:cubicBezTo>
                    <a:pt x="2741" y="1864"/>
                    <a:pt x="2930" y="1707"/>
                    <a:pt x="3119" y="1675"/>
                  </a:cubicBezTo>
                  <a:lnTo>
                    <a:pt x="4789" y="1675"/>
                  </a:lnTo>
                  <a:cubicBezTo>
                    <a:pt x="5010" y="1675"/>
                    <a:pt x="5167" y="1486"/>
                    <a:pt x="5167" y="1234"/>
                  </a:cubicBezTo>
                  <a:cubicBezTo>
                    <a:pt x="5167" y="1014"/>
                    <a:pt x="5356" y="856"/>
                    <a:pt x="5608" y="793"/>
                  </a:cubicBezTo>
                  <a:close/>
                  <a:moveTo>
                    <a:pt x="10177" y="2494"/>
                  </a:moveTo>
                  <a:lnTo>
                    <a:pt x="10177" y="11883"/>
                  </a:lnTo>
                  <a:lnTo>
                    <a:pt x="788" y="11883"/>
                  </a:lnTo>
                  <a:lnTo>
                    <a:pt x="788" y="2494"/>
                  </a:lnTo>
                  <a:lnTo>
                    <a:pt x="1891" y="2494"/>
                  </a:lnTo>
                  <a:lnTo>
                    <a:pt x="1891" y="2904"/>
                  </a:lnTo>
                  <a:cubicBezTo>
                    <a:pt x="1891" y="3125"/>
                    <a:pt x="2111" y="3314"/>
                    <a:pt x="2332" y="3314"/>
                  </a:cubicBezTo>
                  <a:lnTo>
                    <a:pt x="8948" y="3314"/>
                  </a:lnTo>
                  <a:cubicBezTo>
                    <a:pt x="9200" y="3314"/>
                    <a:pt x="9357" y="3125"/>
                    <a:pt x="9357" y="2904"/>
                  </a:cubicBezTo>
                  <a:lnTo>
                    <a:pt x="9357" y="2494"/>
                  </a:lnTo>
                  <a:close/>
                  <a:moveTo>
                    <a:pt x="5615" y="1"/>
                  </a:moveTo>
                  <a:cubicBezTo>
                    <a:pt x="5456" y="1"/>
                    <a:pt x="5293" y="33"/>
                    <a:pt x="5136" y="100"/>
                  </a:cubicBezTo>
                  <a:cubicBezTo>
                    <a:pt x="4821" y="226"/>
                    <a:pt x="4537" y="478"/>
                    <a:pt x="4474" y="856"/>
                  </a:cubicBezTo>
                  <a:lnTo>
                    <a:pt x="3151" y="856"/>
                  </a:lnTo>
                  <a:cubicBezTo>
                    <a:pt x="2647" y="856"/>
                    <a:pt x="2174" y="1203"/>
                    <a:pt x="1985" y="1675"/>
                  </a:cubicBezTo>
                  <a:lnTo>
                    <a:pt x="410" y="1675"/>
                  </a:lnTo>
                  <a:cubicBezTo>
                    <a:pt x="158" y="1675"/>
                    <a:pt x="0" y="1864"/>
                    <a:pt x="0" y="2116"/>
                  </a:cubicBezTo>
                  <a:lnTo>
                    <a:pt x="0" y="12292"/>
                  </a:lnTo>
                  <a:cubicBezTo>
                    <a:pt x="0" y="12544"/>
                    <a:pt x="221" y="12734"/>
                    <a:pt x="410" y="12734"/>
                  </a:cubicBezTo>
                  <a:lnTo>
                    <a:pt x="10618" y="12734"/>
                  </a:lnTo>
                  <a:cubicBezTo>
                    <a:pt x="10838" y="12734"/>
                    <a:pt x="11027" y="12544"/>
                    <a:pt x="11027" y="12292"/>
                  </a:cubicBezTo>
                  <a:lnTo>
                    <a:pt x="11027" y="2116"/>
                  </a:lnTo>
                  <a:cubicBezTo>
                    <a:pt x="10996" y="1864"/>
                    <a:pt x="10807" y="1675"/>
                    <a:pt x="10555" y="1675"/>
                  </a:cubicBezTo>
                  <a:lnTo>
                    <a:pt x="9263" y="1675"/>
                  </a:lnTo>
                  <a:cubicBezTo>
                    <a:pt x="9105" y="1203"/>
                    <a:pt x="8633" y="856"/>
                    <a:pt x="8097" y="856"/>
                  </a:cubicBezTo>
                  <a:lnTo>
                    <a:pt x="6774" y="856"/>
                  </a:lnTo>
                  <a:cubicBezTo>
                    <a:pt x="6606" y="328"/>
                    <a:pt x="6127" y="1"/>
                    <a:pt x="56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69" name="Google Shape;6469;p72"/>
          <p:cNvSpPr/>
          <p:nvPr/>
        </p:nvSpPr>
        <p:spPr>
          <a:xfrm>
            <a:off x="1728578" y="5069745"/>
            <a:ext cx="495881" cy="497687"/>
          </a:xfrm>
          <a:custGeom>
            <a:avLst/>
            <a:gdLst/>
            <a:ahLst/>
            <a:cxnLst/>
            <a:rect l="l" t="t" r="r" b="b"/>
            <a:pathLst>
              <a:path w="12635" h="12681" extrusionOk="0">
                <a:moveTo>
                  <a:pt x="2017" y="865"/>
                </a:moveTo>
                <a:lnTo>
                  <a:pt x="3624" y="1275"/>
                </a:lnTo>
                <a:cubicBezTo>
                  <a:pt x="3655" y="1370"/>
                  <a:pt x="2679" y="4961"/>
                  <a:pt x="2679" y="4961"/>
                </a:cubicBezTo>
                <a:lnTo>
                  <a:pt x="2553" y="5339"/>
                </a:lnTo>
                <a:lnTo>
                  <a:pt x="946" y="4898"/>
                </a:lnTo>
                <a:lnTo>
                  <a:pt x="2017" y="865"/>
                </a:lnTo>
                <a:close/>
                <a:moveTo>
                  <a:pt x="10460" y="4867"/>
                </a:moveTo>
                <a:lnTo>
                  <a:pt x="11689" y="5182"/>
                </a:lnTo>
                <a:lnTo>
                  <a:pt x="11469" y="6001"/>
                </a:lnTo>
                <a:lnTo>
                  <a:pt x="10240" y="5686"/>
                </a:lnTo>
                <a:lnTo>
                  <a:pt x="10460" y="4867"/>
                </a:lnTo>
                <a:close/>
                <a:moveTo>
                  <a:pt x="4159" y="2346"/>
                </a:moveTo>
                <a:lnTo>
                  <a:pt x="9799" y="3858"/>
                </a:lnTo>
                <a:lnTo>
                  <a:pt x="9200" y="6284"/>
                </a:lnTo>
                <a:lnTo>
                  <a:pt x="8381" y="6064"/>
                </a:lnTo>
                <a:cubicBezTo>
                  <a:pt x="8413" y="5465"/>
                  <a:pt x="8161" y="4867"/>
                  <a:pt x="7625" y="4552"/>
                </a:cubicBezTo>
                <a:cubicBezTo>
                  <a:pt x="7341" y="4366"/>
                  <a:pt x="7014" y="4275"/>
                  <a:pt x="6691" y="4275"/>
                </a:cubicBezTo>
                <a:cubicBezTo>
                  <a:pt x="6084" y="4275"/>
                  <a:pt x="5487" y="4596"/>
                  <a:pt x="5199" y="5213"/>
                </a:cubicBezTo>
                <a:cubicBezTo>
                  <a:pt x="4601" y="5056"/>
                  <a:pt x="3529" y="4804"/>
                  <a:pt x="3529" y="4804"/>
                </a:cubicBezTo>
                <a:cubicBezTo>
                  <a:pt x="3624" y="4552"/>
                  <a:pt x="4128" y="2630"/>
                  <a:pt x="4159" y="2346"/>
                </a:cubicBezTo>
                <a:close/>
                <a:moveTo>
                  <a:pt x="6746" y="5106"/>
                </a:moveTo>
                <a:cubicBezTo>
                  <a:pt x="7102" y="5106"/>
                  <a:pt x="7435" y="5355"/>
                  <a:pt x="7562" y="5686"/>
                </a:cubicBezTo>
                <a:cubicBezTo>
                  <a:pt x="7594" y="5906"/>
                  <a:pt x="7594" y="6095"/>
                  <a:pt x="7531" y="6284"/>
                </a:cubicBezTo>
                <a:cubicBezTo>
                  <a:pt x="7368" y="6610"/>
                  <a:pt x="7067" y="6798"/>
                  <a:pt x="6756" y="6798"/>
                </a:cubicBezTo>
                <a:cubicBezTo>
                  <a:pt x="6646" y="6798"/>
                  <a:pt x="6535" y="6775"/>
                  <a:pt x="6428" y="6725"/>
                </a:cubicBezTo>
                <a:cubicBezTo>
                  <a:pt x="6176" y="6631"/>
                  <a:pt x="6018" y="6442"/>
                  <a:pt x="5955" y="6221"/>
                </a:cubicBezTo>
                <a:cubicBezTo>
                  <a:pt x="5798" y="5749"/>
                  <a:pt x="6050" y="5276"/>
                  <a:pt x="6491" y="5150"/>
                </a:cubicBezTo>
                <a:cubicBezTo>
                  <a:pt x="6575" y="5120"/>
                  <a:pt x="6661" y="5106"/>
                  <a:pt x="6746" y="5106"/>
                </a:cubicBezTo>
                <a:close/>
                <a:moveTo>
                  <a:pt x="7531" y="7387"/>
                </a:moveTo>
                <a:lnTo>
                  <a:pt x="8476" y="9277"/>
                </a:lnTo>
                <a:lnTo>
                  <a:pt x="4947" y="9277"/>
                </a:lnTo>
                <a:lnTo>
                  <a:pt x="5955" y="7387"/>
                </a:lnTo>
                <a:cubicBezTo>
                  <a:pt x="6192" y="7529"/>
                  <a:pt x="6451" y="7600"/>
                  <a:pt x="6719" y="7600"/>
                </a:cubicBezTo>
                <a:cubicBezTo>
                  <a:pt x="6987" y="7600"/>
                  <a:pt x="7263" y="7529"/>
                  <a:pt x="7531" y="7387"/>
                </a:cubicBezTo>
                <a:close/>
                <a:moveTo>
                  <a:pt x="1791" y="1"/>
                </a:moveTo>
                <a:cubicBezTo>
                  <a:pt x="1607" y="1"/>
                  <a:pt x="1440" y="138"/>
                  <a:pt x="1387" y="298"/>
                </a:cubicBezTo>
                <a:lnTo>
                  <a:pt x="95" y="5150"/>
                </a:lnTo>
                <a:cubicBezTo>
                  <a:pt x="1" y="5371"/>
                  <a:pt x="158" y="5591"/>
                  <a:pt x="347" y="5654"/>
                </a:cubicBezTo>
                <a:lnTo>
                  <a:pt x="2742" y="6284"/>
                </a:lnTo>
                <a:cubicBezTo>
                  <a:pt x="2773" y="6288"/>
                  <a:pt x="2804" y="6290"/>
                  <a:pt x="2833" y="6290"/>
                </a:cubicBezTo>
                <a:cubicBezTo>
                  <a:pt x="3040" y="6290"/>
                  <a:pt x="3195" y="6194"/>
                  <a:pt x="3277" y="6001"/>
                </a:cubicBezTo>
                <a:lnTo>
                  <a:pt x="3403" y="5623"/>
                </a:lnTo>
                <a:lnTo>
                  <a:pt x="5073" y="6095"/>
                </a:lnTo>
                <a:cubicBezTo>
                  <a:pt x="5073" y="6379"/>
                  <a:pt x="5199" y="6631"/>
                  <a:pt x="5325" y="6883"/>
                </a:cubicBezTo>
                <a:lnTo>
                  <a:pt x="2616" y="12081"/>
                </a:lnTo>
                <a:cubicBezTo>
                  <a:pt x="2490" y="12270"/>
                  <a:pt x="2553" y="12522"/>
                  <a:pt x="2773" y="12617"/>
                </a:cubicBezTo>
                <a:cubicBezTo>
                  <a:pt x="2838" y="12660"/>
                  <a:pt x="2907" y="12681"/>
                  <a:pt x="2974" y="12681"/>
                </a:cubicBezTo>
                <a:cubicBezTo>
                  <a:pt x="3103" y="12681"/>
                  <a:pt x="3226" y="12604"/>
                  <a:pt x="3309" y="12459"/>
                </a:cubicBezTo>
                <a:lnTo>
                  <a:pt x="4538" y="10191"/>
                </a:lnTo>
                <a:cubicBezTo>
                  <a:pt x="4559" y="10201"/>
                  <a:pt x="4538" y="10205"/>
                  <a:pt x="4668" y="10205"/>
                </a:cubicBezTo>
                <a:cubicBezTo>
                  <a:pt x="4930" y="10205"/>
                  <a:pt x="5798" y="10191"/>
                  <a:pt x="8822" y="10191"/>
                </a:cubicBezTo>
                <a:lnTo>
                  <a:pt x="8917" y="10191"/>
                </a:lnTo>
                <a:lnTo>
                  <a:pt x="10082" y="12459"/>
                </a:lnTo>
                <a:cubicBezTo>
                  <a:pt x="10165" y="12604"/>
                  <a:pt x="10289" y="12681"/>
                  <a:pt x="10426" y="12681"/>
                </a:cubicBezTo>
                <a:cubicBezTo>
                  <a:pt x="10498" y="12681"/>
                  <a:pt x="10574" y="12660"/>
                  <a:pt x="10650" y="12617"/>
                </a:cubicBezTo>
                <a:cubicBezTo>
                  <a:pt x="10839" y="12522"/>
                  <a:pt x="10902" y="12270"/>
                  <a:pt x="10807" y="12081"/>
                </a:cubicBezTo>
                <a:lnTo>
                  <a:pt x="8129" y="6914"/>
                </a:lnTo>
                <a:lnTo>
                  <a:pt x="9389" y="7261"/>
                </a:lnTo>
                <a:cubicBezTo>
                  <a:pt x="9428" y="7272"/>
                  <a:pt x="9466" y="7277"/>
                  <a:pt x="9503" y="7277"/>
                </a:cubicBezTo>
                <a:cubicBezTo>
                  <a:pt x="9674" y="7277"/>
                  <a:pt x="9816" y="7164"/>
                  <a:pt x="9893" y="7009"/>
                </a:cubicBezTo>
                <a:lnTo>
                  <a:pt x="10019" y="6599"/>
                </a:lnTo>
                <a:lnTo>
                  <a:pt x="11626" y="7040"/>
                </a:lnTo>
                <a:cubicBezTo>
                  <a:pt x="11660" y="7050"/>
                  <a:pt x="11694" y="7055"/>
                  <a:pt x="11727" y="7055"/>
                </a:cubicBezTo>
                <a:cubicBezTo>
                  <a:pt x="11910" y="7055"/>
                  <a:pt x="12077" y="6917"/>
                  <a:pt x="12130" y="6757"/>
                </a:cubicBezTo>
                <a:lnTo>
                  <a:pt x="12571" y="5150"/>
                </a:lnTo>
                <a:cubicBezTo>
                  <a:pt x="12634" y="4804"/>
                  <a:pt x="12508" y="4583"/>
                  <a:pt x="12288" y="4520"/>
                </a:cubicBezTo>
                <a:lnTo>
                  <a:pt x="10681" y="4079"/>
                </a:lnTo>
                <a:lnTo>
                  <a:pt x="10776" y="3701"/>
                </a:lnTo>
                <a:cubicBezTo>
                  <a:pt x="10839" y="3449"/>
                  <a:pt x="10713" y="3260"/>
                  <a:pt x="10523" y="3165"/>
                </a:cubicBezTo>
                <a:lnTo>
                  <a:pt x="4443" y="1559"/>
                </a:lnTo>
                <a:lnTo>
                  <a:pt x="4569" y="1181"/>
                </a:lnTo>
                <a:cubicBezTo>
                  <a:pt x="4601" y="928"/>
                  <a:pt x="4506" y="739"/>
                  <a:pt x="4285" y="645"/>
                </a:cubicBezTo>
                <a:lnTo>
                  <a:pt x="1891" y="15"/>
                </a:lnTo>
                <a:cubicBezTo>
                  <a:pt x="1857" y="5"/>
                  <a:pt x="1824" y="1"/>
                  <a:pt x="17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70" name="Google Shape;6470;p72"/>
          <p:cNvGrpSpPr/>
          <p:nvPr/>
        </p:nvGrpSpPr>
        <p:grpSpPr>
          <a:xfrm>
            <a:off x="4653771" y="3838452"/>
            <a:ext cx="511933" cy="496824"/>
            <a:chOff x="-37956150" y="1948175"/>
            <a:chExt cx="326100" cy="316475"/>
          </a:xfrm>
        </p:grpSpPr>
        <p:sp>
          <p:nvSpPr>
            <p:cNvPr id="6471" name="Google Shape;6471;p72"/>
            <p:cNvSpPr/>
            <p:nvPr/>
          </p:nvSpPr>
          <p:spPr>
            <a:xfrm>
              <a:off x="-37956150" y="1948175"/>
              <a:ext cx="326100" cy="316475"/>
            </a:xfrm>
            <a:custGeom>
              <a:avLst/>
              <a:gdLst/>
              <a:ahLst/>
              <a:cxnLst/>
              <a:rect l="l" t="t" r="r" b="b"/>
              <a:pathLst>
                <a:path w="13044" h="12659" extrusionOk="0">
                  <a:moveTo>
                    <a:pt x="11627" y="844"/>
                  </a:moveTo>
                  <a:cubicBezTo>
                    <a:pt x="11847" y="844"/>
                    <a:pt x="12067" y="993"/>
                    <a:pt x="12067" y="1229"/>
                  </a:cubicBezTo>
                  <a:cubicBezTo>
                    <a:pt x="12067" y="1355"/>
                    <a:pt x="12036" y="1418"/>
                    <a:pt x="11941" y="1513"/>
                  </a:cubicBezTo>
                  <a:lnTo>
                    <a:pt x="9106" y="4254"/>
                  </a:lnTo>
                  <a:cubicBezTo>
                    <a:pt x="8948" y="4065"/>
                    <a:pt x="8759" y="3876"/>
                    <a:pt x="8507" y="3687"/>
                  </a:cubicBezTo>
                  <a:cubicBezTo>
                    <a:pt x="9358" y="2899"/>
                    <a:pt x="11343" y="946"/>
                    <a:pt x="11343" y="946"/>
                  </a:cubicBezTo>
                  <a:cubicBezTo>
                    <a:pt x="11423" y="876"/>
                    <a:pt x="11525" y="844"/>
                    <a:pt x="11627" y="844"/>
                  </a:cubicBezTo>
                  <a:close/>
                  <a:moveTo>
                    <a:pt x="3845" y="10712"/>
                  </a:moveTo>
                  <a:lnTo>
                    <a:pt x="4412" y="11311"/>
                  </a:lnTo>
                  <a:lnTo>
                    <a:pt x="4065" y="11657"/>
                  </a:lnTo>
                  <a:cubicBezTo>
                    <a:pt x="3986" y="11736"/>
                    <a:pt x="3876" y="11776"/>
                    <a:pt x="3766" y="11776"/>
                  </a:cubicBezTo>
                  <a:cubicBezTo>
                    <a:pt x="3656" y="11776"/>
                    <a:pt x="3545" y="11736"/>
                    <a:pt x="3467" y="11657"/>
                  </a:cubicBezTo>
                  <a:cubicBezTo>
                    <a:pt x="3309" y="11500"/>
                    <a:pt x="3309" y="11248"/>
                    <a:pt x="3467" y="11090"/>
                  </a:cubicBezTo>
                  <a:lnTo>
                    <a:pt x="3845" y="10712"/>
                  </a:lnTo>
                  <a:close/>
                  <a:moveTo>
                    <a:pt x="6222" y="3658"/>
                  </a:moveTo>
                  <a:cubicBezTo>
                    <a:pt x="6719" y="3658"/>
                    <a:pt x="7224" y="3789"/>
                    <a:pt x="7688" y="4065"/>
                  </a:cubicBezTo>
                  <a:cubicBezTo>
                    <a:pt x="8035" y="4254"/>
                    <a:pt x="8350" y="4569"/>
                    <a:pt x="8602" y="4884"/>
                  </a:cubicBezTo>
                  <a:cubicBezTo>
                    <a:pt x="9389" y="6207"/>
                    <a:pt x="9106" y="7782"/>
                    <a:pt x="8129" y="8759"/>
                  </a:cubicBezTo>
                  <a:lnTo>
                    <a:pt x="7027" y="9862"/>
                  </a:lnTo>
                  <a:cubicBezTo>
                    <a:pt x="6838" y="10051"/>
                    <a:pt x="6712" y="10334"/>
                    <a:pt x="6680" y="10649"/>
                  </a:cubicBezTo>
                  <a:cubicBezTo>
                    <a:pt x="6680" y="11027"/>
                    <a:pt x="6554" y="11468"/>
                    <a:pt x="6270" y="11752"/>
                  </a:cubicBezTo>
                  <a:cubicBezTo>
                    <a:pt x="6255" y="11768"/>
                    <a:pt x="6215" y="11776"/>
                    <a:pt x="6176" y="11776"/>
                  </a:cubicBezTo>
                  <a:cubicBezTo>
                    <a:pt x="6137" y="11776"/>
                    <a:pt x="6097" y="11768"/>
                    <a:pt x="6081" y="11752"/>
                  </a:cubicBezTo>
                  <a:cubicBezTo>
                    <a:pt x="726" y="6396"/>
                    <a:pt x="1009" y="6680"/>
                    <a:pt x="1009" y="6617"/>
                  </a:cubicBezTo>
                  <a:lnTo>
                    <a:pt x="1009" y="6522"/>
                  </a:lnTo>
                  <a:cubicBezTo>
                    <a:pt x="1009" y="6459"/>
                    <a:pt x="1041" y="6459"/>
                    <a:pt x="1041" y="6459"/>
                  </a:cubicBezTo>
                  <a:cubicBezTo>
                    <a:pt x="1198" y="6302"/>
                    <a:pt x="1419" y="6207"/>
                    <a:pt x="1671" y="6113"/>
                  </a:cubicBezTo>
                  <a:cubicBezTo>
                    <a:pt x="2049" y="5987"/>
                    <a:pt x="2269" y="6081"/>
                    <a:pt x="2616" y="5955"/>
                  </a:cubicBezTo>
                  <a:cubicBezTo>
                    <a:pt x="2773" y="5892"/>
                    <a:pt x="2899" y="5798"/>
                    <a:pt x="2994" y="5672"/>
                  </a:cubicBezTo>
                  <a:lnTo>
                    <a:pt x="4191" y="4506"/>
                  </a:lnTo>
                  <a:cubicBezTo>
                    <a:pt x="4741" y="3956"/>
                    <a:pt x="5473" y="3658"/>
                    <a:pt x="6222" y="3658"/>
                  </a:cubicBezTo>
                  <a:close/>
                  <a:moveTo>
                    <a:pt x="11637" y="1"/>
                  </a:moveTo>
                  <a:cubicBezTo>
                    <a:pt x="11322" y="1"/>
                    <a:pt x="11007" y="127"/>
                    <a:pt x="10776" y="379"/>
                  </a:cubicBezTo>
                  <a:lnTo>
                    <a:pt x="7814" y="3277"/>
                  </a:lnTo>
                  <a:cubicBezTo>
                    <a:pt x="7301" y="3032"/>
                    <a:pt x="6741" y="2908"/>
                    <a:pt x="6181" y="2908"/>
                  </a:cubicBezTo>
                  <a:cubicBezTo>
                    <a:pt x="5227" y="2908"/>
                    <a:pt x="4275" y="3268"/>
                    <a:pt x="3561" y="4002"/>
                  </a:cubicBezTo>
                  <a:lnTo>
                    <a:pt x="2364" y="5167"/>
                  </a:lnTo>
                  <a:cubicBezTo>
                    <a:pt x="2301" y="5262"/>
                    <a:pt x="2175" y="5294"/>
                    <a:pt x="2049" y="5294"/>
                  </a:cubicBezTo>
                  <a:cubicBezTo>
                    <a:pt x="915" y="5325"/>
                    <a:pt x="474" y="5924"/>
                    <a:pt x="411" y="5955"/>
                  </a:cubicBezTo>
                  <a:cubicBezTo>
                    <a:pt x="1" y="6365"/>
                    <a:pt x="64" y="6932"/>
                    <a:pt x="411" y="7341"/>
                  </a:cubicBezTo>
                  <a:lnTo>
                    <a:pt x="3246" y="10177"/>
                  </a:lnTo>
                  <a:lnTo>
                    <a:pt x="2836" y="10555"/>
                  </a:lnTo>
                  <a:cubicBezTo>
                    <a:pt x="2206" y="11185"/>
                    <a:pt x="2458" y="12256"/>
                    <a:pt x="3246" y="12571"/>
                  </a:cubicBezTo>
                  <a:cubicBezTo>
                    <a:pt x="3395" y="12631"/>
                    <a:pt x="3547" y="12659"/>
                    <a:pt x="3696" y="12659"/>
                  </a:cubicBezTo>
                  <a:cubicBezTo>
                    <a:pt x="4020" y="12659"/>
                    <a:pt x="4332" y="12525"/>
                    <a:pt x="4569" y="12288"/>
                  </a:cubicBezTo>
                  <a:lnTo>
                    <a:pt x="4979" y="11910"/>
                  </a:lnTo>
                  <a:lnTo>
                    <a:pt x="5451" y="12382"/>
                  </a:lnTo>
                  <a:cubicBezTo>
                    <a:pt x="5636" y="12567"/>
                    <a:pt x="5874" y="12654"/>
                    <a:pt x="6116" y="12654"/>
                  </a:cubicBezTo>
                  <a:cubicBezTo>
                    <a:pt x="6370" y="12654"/>
                    <a:pt x="6628" y="12559"/>
                    <a:pt x="6838" y="12382"/>
                  </a:cubicBezTo>
                  <a:cubicBezTo>
                    <a:pt x="7247" y="11941"/>
                    <a:pt x="7468" y="11342"/>
                    <a:pt x="7499" y="10712"/>
                  </a:cubicBezTo>
                  <a:cubicBezTo>
                    <a:pt x="7499" y="10649"/>
                    <a:pt x="7531" y="10523"/>
                    <a:pt x="7625" y="10460"/>
                  </a:cubicBezTo>
                  <a:lnTo>
                    <a:pt x="8728" y="9358"/>
                  </a:lnTo>
                  <a:cubicBezTo>
                    <a:pt x="9862" y="8192"/>
                    <a:pt x="10209" y="6428"/>
                    <a:pt x="9547" y="5010"/>
                  </a:cubicBezTo>
                  <a:lnTo>
                    <a:pt x="12540" y="2112"/>
                  </a:lnTo>
                  <a:cubicBezTo>
                    <a:pt x="12666" y="1986"/>
                    <a:pt x="12729" y="1828"/>
                    <a:pt x="12823" y="1670"/>
                  </a:cubicBezTo>
                  <a:cubicBezTo>
                    <a:pt x="13044" y="1072"/>
                    <a:pt x="12729" y="379"/>
                    <a:pt x="12099" y="95"/>
                  </a:cubicBezTo>
                  <a:cubicBezTo>
                    <a:pt x="11952" y="32"/>
                    <a:pt x="11794" y="1"/>
                    <a:pt x="116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2" name="Google Shape;6472;p72"/>
            <p:cNvSpPr/>
            <p:nvPr/>
          </p:nvSpPr>
          <p:spPr>
            <a:xfrm>
              <a:off x="-37729300" y="2054500"/>
              <a:ext cx="25" cy="25"/>
            </a:xfrm>
            <a:custGeom>
              <a:avLst/>
              <a:gdLst/>
              <a:ahLst/>
              <a:cxnLst/>
              <a:rect l="l" t="t" r="r" b="b"/>
              <a:pathLst>
                <a:path w="1" h="1" extrusionOk="0">
                  <a:moveTo>
                    <a:pt x="0" y="1"/>
                  </a:move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3" name="Google Shape;6473;p72"/>
            <p:cNvSpPr/>
            <p:nvPr/>
          </p:nvSpPr>
          <p:spPr>
            <a:xfrm>
              <a:off x="-37839575" y="2058625"/>
              <a:ext cx="81950" cy="34300"/>
            </a:xfrm>
            <a:custGeom>
              <a:avLst/>
              <a:gdLst/>
              <a:ahLst/>
              <a:cxnLst/>
              <a:rect l="l" t="t" r="r" b="b"/>
              <a:pathLst>
                <a:path w="3278" h="1372" extrusionOk="0">
                  <a:moveTo>
                    <a:pt x="1497" y="0"/>
                  </a:moveTo>
                  <a:cubicBezTo>
                    <a:pt x="1030" y="0"/>
                    <a:pt x="577" y="150"/>
                    <a:pt x="221" y="434"/>
                  </a:cubicBezTo>
                  <a:cubicBezTo>
                    <a:pt x="32" y="623"/>
                    <a:pt x="1" y="876"/>
                    <a:pt x="158" y="1065"/>
                  </a:cubicBezTo>
                  <a:cubicBezTo>
                    <a:pt x="245" y="1151"/>
                    <a:pt x="350" y="1200"/>
                    <a:pt x="465" y="1200"/>
                  </a:cubicBezTo>
                  <a:cubicBezTo>
                    <a:pt x="558" y="1200"/>
                    <a:pt x="657" y="1167"/>
                    <a:pt x="757" y="1096"/>
                  </a:cubicBezTo>
                  <a:cubicBezTo>
                    <a:pt x="968" y="927"/>
                    <a:pt x="1241" y="840"/>
                    <a:pt x="1524" y="840"/>
                  </a:cubicBezTo>
                  <a:cubicBezTo>
                    <a:pt x="1876" y="840"/>
                    <a:pt x="2242" y="974"/>
                    <a:pt x="2521" y="1254"/>
                  </a:cubicBezTo>
                  <a:cubicBezTo>
                    <a:pt x="2600" y="1332"/>
                    <a:pt x="2710" y="1372"/>
                    <a:pt x="2820" y="1372"/>
                  </a:cubicBezTo>
                  <a:cubicBezTo>
                    <a:pt x="2931" y="1372"/>
                    <a:pt x="3041" y="1332"/>
                    <a:pt x="3120" y="1254"/>
                  </a:cubicBezTo>
                  <a:cubicBezTo>
                    <a:pt x="3277" y="1096"/>
                    <a:pt x="3277" y="844"/>
                    <a:pt x="3120" y="686"/>
                  </a:cubicBezTo>
                  <a:cubicBezTo>
                    <a:pt x="2653" y="220"/>
                    <a:pt x="2064" y="0"/>
                    <a:pt x="14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74" name="Google Shape;6474;p72"/>
          <p:cNvGrpSpPr/>
          <p:nvPr/>
        </p:nvGrpSpPr>
        <p:grpSpPr>
          <a:xfrm>
            <a:off x="4663796" y="4514790"/>
            <a:ext cx="500827" cy="324020"/>
            <a:chOff x="-37953000" y="2379000"/>
            <a:chExt cx="319025" cy="206400"/>
          </a:xfrm>
        </p:grpSpPr>
        <p:sp>
          <p:nvSpPr>
            <p:cNvPr id="6475" name="Google Shape;6475;p72"/>
            <p:cNvSpPr/>
            <p:nvPr/>
          </p:nvSpPr>
          <p:spPr>
            <a:xfrm>
              <a:off x="-37953000" y="2379000"/>
              <a:ext cx="319025" cy="206400"/>
            </a:xfrm>
            <a:custGeom>
              <a:avLst/>
              <a:gdLst/>
              <a:ahLst/>
              <a:cxnLst/>
              <a:rect l="l" t="t" r="r" b="b"/>
              <a:pathLst>
                <a:path w="12761" h="8256" extrusionOk="0">
                  <a:moveTo>
                    <a:pt x="11469" y="788"/>
                  </a:moveTo>
                  <a:cubicBezTo>
                    <a:pt x="11721" y="788"/>
                    <a:pt x="11878" y="977"/>
                    <a:pt x="11910" y="1198"/>
                  </a:cubicBezTo>
                  <a:lnTo>
                    <a:pt x="11910" y="6207"/>
                  </a:lnTo>
                  <a:lnTo>
                    <a:pt x="11847" y="6207"/>
                  </a:lnTo>
                  <a:cubicBezTo>
                    <a:pt x="11847" y="6396"/>
                    <a:pt x="11752" y="6554"/>
                    <a:pt x="11595" y="6617"/>
                  </a:cubicBezTo>
                  <a:cubicBezTo>
                    <a:pt x="11563" y="6627"/>
                    <a:pt x="11612" y="6631"/>
                    <a:pt x="11289" y="6631"/>
                  </a:cubicBezTo>
                  <a:cubicBezTo>
                    <a:pt x="10643" y="6631"/>
                    <a:pt x="8507" y="6617"/>
                    <a:pt x="1261" y="6617"/>
                  </a:cubicBezTo>
                  <a:cubicBezTo>
                    <a:pt x="1041" y="6617"/>
                    <a:pt x="883" y="6396"/>
                    <a:pt x="852" y="6176"/>
                  </a:cubicBezTo>
                  <a:lnTo>
                    <a:pt x="852" y="1198"/>
                  </a:lnTo>
                  <a:cubicBezTo>
                    <a:pt x="852" y="977"/>
                    <a:pt x="1041" y="820"/>
                    <a:pt x="1261" y="788"/>
                  </a:cubicBezTo>
                  <a:close/>
                  <a:moveTo>
                    <a:pt x="1261" y="1"/>
                  </a:moveTo>
                  <a:cubicBezTo>
                    <a:pt x="600" y="1"/>
                    <a:pt x="1" y="536"/>
                    <a:pt x="1" y="1198"/>
                  </a:cubicBezTo>
                  <a:lnTo>
                    <a:pt x="1" y="6176"/>
                  </a:lnTo>
                  <a:cubicBezTo>
                    <a:pt x="1" y="6711"/>
                    <a:pt x="348" y="7152"/>
                    <a:pt x="820" y="7341"/>
                  </a:cubicBezTo>
                  <a:lnTo>
                    <a:pt x="820" y="7814"/>
                  </a:lnTo>
                  <a:cubicBezTo>
                    <a:pt x="820" y="8066"/>
                    <a:pt x="1041" y="8255"/>
                    <a:pt x="1261" y="8255"/>
                  </a:cubicBezTo>
                  <a:lnTo>
                    <a:pt x="2931" y="8255"/>
                  </a:lnTo>
                  <a:cubicBezTo>
                    <a:pt x="3151" y="8255"/>
                    <a:pt x="3341" y="8066"/>
                    <a:pt x="3341" y="7814"/>
                  </a:cubicBezTo>
                  <a:lnTo>
                    <a:pt x="3341" y="7404"/>
                  </a:lnTo>
                  <a:lnTo>
                    <a:pt x="9421" y="7404"/>
                  </a:lnTo>
                  <a:lnTo>
                    <a:pt x="9421" y="7814"/>
                  </a:lnTo>
                  <a:cubicBezTo>
                    <a:pt x="9421" y="8066"/>
                    <a:pt x="9610" y="8255"/>
                    <a:pt x="9862" y="8255"/>
                  </a:cubicBezTo>
                  <a:lnTo>
                    <a:pt x="11500" y="8255"/>
                  </a:lnTo>
                  <a:cubicBezTo>
                    <a:pt x="11752" y="8255"/>
                    <a:pt x="11941" y="8066"/>
                    <a:pt x="11941" y="7814"/>
                  </a:cubicBezTo>
                  <a:lnTo>
                    <a:pt x="11941" y="7341"/>
                  </a:lnTo>
                  <a:cubicBezTo>
                    <a:pt x="12445" y="7184"/>
                    <a:pt x="12760" y="6711"/>
                    <a:pt x="12760" y="6176"/>
                  </a:cubicBezTo>
                  <a:lnTo>
                    <a:pt x="12760" y="1198"/>
                  </a:lnTo>
                  <a:cubicBezTo>
                    <a:pt x="12697" y="536"/>
                    <a:pt x="12130" y="1"/>
                    <a:pt x="11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6" name="Google Shape;6476;p72"/>
            <p:cNvSpPr/>
            <p:nvPr/>
          </p:nvSpPr>
          <p:spPr>
            <a:xfrm>
              <a:off x="-37780500" y="2419975"/>
              <a:ext cx="110300" cy="104075"/>
            </a:xfrm>
            <a:custGeom>
              <a:avLst/>
              <a:gdLst/>
              <a:ahLst/>
              <a:cxnLst/>
              <a:rect l="l" t="t" r="r" b="b"/>
              <a:pathLst>
                <a:path w="4412" h="4163" extrusionOk="0">
                  <a:moveTo>
                    <a:pt x="2043" y="804"/>
                  </a:moveTo>
                  <a:cubicBezTo>
                    <a:pt x="2447" y="804"/>
                    <a:pt x="2859" y="1006"/>
                    <a:pt x="3120" y="1386"/>
                  </a:cubicBezTo>
                  <a:cubicBezTo>
                    <a:pt x="3466" y="1922"/>
                    <a:pt x="3340" y="2709"/>
                    <a:pt x="2742" y="3119"/>
                  </a:cubicBezTo>
                  <a:cubicBezTo>
                    <a:pt x="2544" y="3259"/>
                    <a:pt x="2312" y="3325"/>
                    <a:pt x="2077" y="3325"/>
                  </a:cubicBezTo>
                  <a:cubicBezTo>
                    <a:pt x="1676" y="3325"/>
                    <a:pt x="1267" y="3130"/>
                    <a:pt x="1009" y="2773"/>
                  </a:cubicBezTo>
                  <a:cubicBezTo>
                    <a:pt x="631" y="2205"/>
                    <a:pt x="788" y="1418"/>
                    <a:pt x="1387" y="1008"/>
                  </a:cubicBezTo>
                  <a:cubicBezTo>
                    <a:pt x="1582" y="870"/>
                    <a:pt x="1811" y="804"/>
                    <a:pt x="2043" y="804"/>
                  </a:cubicBezTo>
                  <a:close/>
                  <a:moveTo>
                    <a:pt x="2080" y="0"/>
                  </a:moveTo>
                  <a:cubicBezTo>
                    <a:pt x="946" y="0"/>
                    <a:pt x="1" y="945"/>
                    <a:pt x="1" y="2079"/>
                  </a:cubicBezTo>
                  <a:cubicBezTo>
                    <a:pt x="1" y="2993"/>
                    <a:pt x="599" y="3781"/>
                    <a:pt x="1450" y="4064"/>
                  </a:cubicBezTo>
                  <a:cubicBezTo>
                    <a:pt x="1647" y="4130"/>
                    <a:pt x="1849" y="4163"/>
                    <a:pt x="2050" y="4163"/>
                  </a:cubicBezTo>
                  <a:cubicBezTo>
                    <a:pt x="2332" y="4163"/>
                    <a:pt x="2610" y="4098"/>
                    <a:pt x="2868" y="3970"/>
                  </a:cubicBezTo>
                  <a:cubicBezTo>
                    <a:pt x="3939" y="3560"/>
                    <a:pt x="4411" y="2331"/>
                    <a:pt x="3970" y="1260"/>
                  </a:cubicBezTo>
                  <a:cubicBezTo>
                    <a:pt x="3655" y="504"/>
                    <a:pt x="2899"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7" name="Google Shape;6477;p72"/>
            <p:cNvSpPr/>
            <p:nvPr/>
          </p:nvSpPr>
          <p:spPr>
            <a:xfrm>
              <a:off x="-37910450" y="2419975"/>
              <a:ext cx="103200" cy="21275"/>
            </a:xfrm>
            <a:custGeom>
              <a:avLst/>
              <a:gdLst/>
              <a:ahLst/>
              <a:cxnLst/>
              <a:rect l="l" t="t" r="r" b="b"/>
              <a:pathLst>
                <a:path w="4128" h="851" extrusionOk="0">
                  <a:moveTo>
                    <a:pt x="378" y="0"/>
                  </a:moveTo>
                  <a:cubicBezTo>
                    <a:pt x="158" y="0"/>
                    <a:pt x="0" y="189"/>
                    <a:pt x="0" y="441"/>
                  </a:cubicBezTo>
                  <a:cubicBezTo>
                    <a:pt x="0" y="662"/>
                    <a:pt x="189" y="851"/>
                    <a:pt x="378" y="851"/>
                  </a:cubicBezTo>
                  <a:lnTo>
                    <a:pt x="3686" y="851"/>
                  </a:lnTo>
                  <a:cubicBezTo>
                    <a:pt x="3938" y="851"/>
                    <a:pt x="4127" y="662"/>
                    <a:pt x="4127" y="441"/>
                  </a:cubicBezTo>
                  <a:cubicBezTo>
                    <a:pt x="4096" y="189"/>
                    <a:pt x="3907" y="0"/>
                    <a:pt x="36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8" name="Google Shape;6478;p72"/>
            <p:cNvSpPr/>
            <p:nvPr/>
          </p:nvSpPr>
          <p:spPr>
            <a:xfrm>
              <a:off x="-37910450" y="2461700"/>
              <a:ext cx="103200" cy="21300"/>
            </a:xfrm>
            <a:custGeom>
              <a:avLst/>
              <a:gdLst/>
              <a:ahLst/>
              <a:cxnLst/>
              <a:rect l="l" t="t" r="r" b="b"/>
              <a:pathLst>
                <a:path w="4128" h="852" extrusionOk="0">
                  <a:moveTo>
                    <a:pt x="378" y="1"/>
                  </a:moveTo>
                  <a:cubicBezTo>
                    <a:pt x="158" y="1"/>
                    <a:pt x="0" y="190"/>
                    <a:pt x="0" y="410"/>
                  </a:cubicBezTo>
                  <a:cubicBezTo>
                    <a:pt x="0" y="662"/>
                    <a:pt x="189" y="851"/>
                    <a:pt x="378" y="851"/>
                  </a:cubicBezTo>
                  <a:lnTo>
                    <a:pt x="3686" y="851"/>
                  </a:lnTo>
                  <a:cubicBezTo>
                    <a:pt x="3938" y="851"/>
                    <a:pt x="4127" y="662"/>
                    <a:pt x="4127" y="410"/>
                  </a:cubicBezTo>
                  <a:cubicBezTo>
                    <a:pt x="4127" y="190"/>
                    <a:pt x="3907" y="1"/>
                    <a:pt x="36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79" name="Google Shape;6479;p72"/>
            <p:cNvSpPr/>
            <p:nvPr/>
          </p:nvSpPr>
          <p:spPr>
            <a:xfrm>
              <a:off x="-37910450" y="2502675"/>
              <a:ext cx="103200" cy="22075"/>
            </a:xfrm>
            <a:custGeom>
              <a:avLst/>
              <a:gdLst/>
              <a:ahLst/>
              <a:cxnLst/>
              <a:rect l="l" t="t" r="r" b="b"/>
              <a:pathLst>
                <a:path w="4128" h="883" extrusionOk="0">
                  <a:moveTo>
                    <a:pt x="378" y="0"/>
                  </a:moveTo>
                  <a:cubicBezTo>
                    <a:pt x="158" y="0"/>
                    <a:pt x="0" y="189"/>
                    <a:pt x="0" y="441"/>
                  </a:cubicBezTo>
                  <a:cubicBezTo>
                    <a:pt x="0" y="662"/>
                    <a:pt x="189" y="882"/>
                    <a:pt x="378" y="882"/>
                  </a:cubicBezTo>
                  <a:lnTo>
                    <a:pt x="3686" y="882"/>
                  </a:lnTo>
                  <a:cubicBezTo>
                    <a:pt x="3938" y="882"/>
                    <a:pt x="4127" y="662"/>
                    <a:pt x="4127" y="441"/>
                  </a:cubicBezTo>
                  <a:cubicBezTo>
                    <a:pt x="4127" y="189"/>
                    <a:pt x="3907" y="0"/>
                    <a:pt x="36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480" name="Google Shape;6480;p72"/>
          <p:cNvSpPr/>
          <p:nvPr/>
        </p:nvSpPr>
        <p:spPr>
          <a:xfrm>
            <a:off x="4654601" y="5068801"/>
            <a:ext cx="514407" cy="499571"/>
          </a:xfrm>
          <a:custGeom>
            <a:avLst/>
            <a:gdLst/>
            <a:ahLst/>
            <a:cxnLst/>
            <a:rect l="l" t="t" r="r" b="b"/>
            <a:pathLst>
              <a:path w="13107" h="12729" extrusionOk="0">
                <a:moveTo>
                  <a:pt x="10240" y="838"/>
                </a:moveTo>
                <a:cubicBezTo>
                  <a:pt x="10457" y="838"/>
                  <a:pt x="10681" y="882"/>
                  <a:pt x="10902" y="977"/>
                </a:cubicBezTo>
                <a:cubicBezTo>
                  <a:pt x="11752" y="1323"/>
                  <a:pt x="12130" y="2332"/>
                  <a:pt x="11784" y="3151"/>
                </a:cubicBezTo>
                <a:cubicBezTo>
                  <a:pt x="11505" y="3793"/>
                  <a:pt x="10877" y="4159"/>
                  <a:pt x="10226" y="4159"/>
                </a:cubicBezTo>
                <a:cubicBezTo>
                  <a:pt x="9920" y="4159"/>
                  <a:pt x="9609" y="4078"/>
                  <a:pt x="9326" y="3907"/>
                </a:cubicBezTo>
                <a:cubicBezTo>
                  <a:pt x="8917" y="3592"/>
                  <a:pt x="8602" y="3056"/>
                  <a:pt x="8602" y="2521"/>
                </a:cubicBezTo>
                <a:cubicBezTo>
                  <a:pt x="8627" y="1538"/>
                  <a:pt x="9377" y="838"/>
                  <a:pt x="10240" y="838"/>
                </a:cubicBezTo>
                <a:close/>
                <a:moveTo>
                  <a:pt x="11059" y="4852"/>
                </a:moveTo>
                <a:lnTo>
                  <a:pt x="11059" y="5990"/>
                </a:lnTo>
                <a:lnTo>
                  <a:pt x="10555" y="5514"/>
                </a:lnTo>
                <a:cubicBezTo>
                  <a:pt x="10476" y="5435"/>
                  <a:pt x="10366" y="5395"/>
                  <a:pt x="10256" y="5395"/>
                </a:cubicBezTo>
                <a:cubicBezTo>
                  <a:pt x="10146" y="5395"/>
                  <a:pt x="10035" y="5435"/>
                  <a:pt x="9957" y="5514"/>
                </a:cubicBezTo>
                <a:lnTo>
                  <a:pt x="9421" y="6049"/>
                </a:lnTo>
                <a:lnTo>
                  <a:pt x="9421" y="4852"/>
                </a:lnTo>
                <a:cubicBezTo>
                  <a:pt x="9673" y="4946"/>
                  <a:pt x="9949" y="4994"/>
                  <a:pt x="10228" y="4994"/>
                </a:cubicBezTo>
                <a:cubicBezTo>
                  <a:pt x="10508" y="4994"/>
                  <a:pt x="10791" y="4946"/>
                  <a:pt x="11059" y="4852"/>
                </a:cubicBezTo>
                <a:close/>
                <a:moveTo>
                  <a:pt x="11847" y="11027"/>
                </a:moveTo>
                <a:cubicBezTo>
                  <a:pt x="11658" y="11531"/>
                  <a:pt x="11217" y="11846"/>
                  <a:pt x="10681" y="11846"/>
                </a:cubicBezTo>
                <a:lnTo>
                  <a:pt x="3782" y="11846"/>
                </a:lnTo>
                <a:cubicBezTo>
                  <a:pt x="3971" y="11625"/>
                  <a:pt x="4097" y="11342"/>
                  <a:pt x="4128" y="11027"/>
                </a:cubicBezTo>
                <a:close/>
                <a:moveTo>
                  <a:pt x="8444" y="851"/>
                </a:moveTo>
                <a:cubicBezTo>
                  <a:pt x="7531" y="1890"/>
                  <a:pt x="7594" y="3466"/>
                  <a:pt x="8633" y="4379"/>
                </a:cubicBezTo>
                <a:lnTo>
                  <a:pt x="8633" y="7089"/>
                </a:lnTo>
                <a:cubicBezTo>
                  <a:pt x="8633" y="7246"/>
                  <a:pt x="8759" y="7404"/>
                  <a:pt x="8854" y="7467"/>
                </a:cubicBezTo>
                <a:cubicBezTo>
                  <a:pt x="8916" y="7504"/>
                  <a:pt x="8978" y="7522"/>
                  <a:pt x="9038" y="7522"/>
                </a:cubicBezTo>
                <a:cubicBezTo>
                  <a:pt x="9131" y="7522"/>
                  <a:pt x="9219" y="7480"/>
                  <a:pt x="9295" y="7404"/>
                </a:cubicBezTo>
                <a:lnTo>
                  <a:pt x="10240" y="6459"/>
                </a:lnTo>
                <a:lnTo>
                  <a:pt x="10240" y="10271"/>
                </a:lnTo>
                <a:lnTo>
                  <a:pt x="3782" y="10271"/>
                </a:lnTo>
                <a:cubicBezTo>
                  <a:pt x="3752" y="10262"/>
                  <a:pt x="3724" y="10258"/>
                  <a:pt x="3697" y="10258"/>
                </a:cubicBezTo>
                <a:cubicBezTo>
                  <a:pt x="3522" y="10258"/>
                  <a:pt x="3404" y="10426"/>
                  <a:pt x="3404" y="10617"/>
                </a:cubicBezTo>
                <a:cubicBezTo>
                  <a:pt x="3404" y="11331"/>
                  <a:pt x="2805" y="11880"/>
                  <a:pt x="2143" y="11880"/>
                </a:cubicBezTo>
                <a:cubicBezTo>
                  <a:pt x="1987" y="11880"/>
                  <a:pt x="1827" y="11849"/>
                  <a:pt x="1671" y="11783"/>
                </a:cubicBezTo>
                <a:cubicBezTo>
                  <a:pt x="1293" y="11625"/>
                  <a:pt x="1072" y="11342"/>
                  <a:pt x="946" y="10995"/>
                </a:cubicBezTo>
                <a:cubicBezTo>
                  <a:pt x="883" y="10743"/>
                  <a:pt x="915" y="10617"/>
                  <a:pt x="915" y="10302"/>
                </a:cubicBezTo>
                <a:lnTo>
                  <a:pt x="915" y="851"/>
                </a:lnTo>
                <a:close/>
                <a:moveTo>
                  <a:pt x="442" y="0"/>
                </a:moveTo>
                <a:cubicBezTo>
                  <a:pt x="190" y="0"/>
                  <a:pt x="1" y="189"/>
                  <a:pt x="1" y="441"/>
                </a:cubicBezTo>
                <a:lnTo>
                  <a:pt x="1" y="10617"/>
                </a:lnTo>
                <a:cubicBezTo>
                  <a:pt x="1" y="11783"/>
                  <a:pt x="946" y="12728"/>
                  <a:pt x="2080" y="12728"/>
                </a:cubicBezTo>
                <a:lnTo>
                  <a:pt x="10650" y="12728"/>
                </a:lnTo>
                <a:cubicBezTo>
                  <a:pt x="11784" y="12728"/>
                  <a:pt x="12729" y="11783"/>
                  <a:pt x="12729" y="10617"/>
                </a:cubicBezTo>
                <a:cubicBezTo>
                  <a:pt x="12760" y="10397"/>
                  <a:pt x="12571" y="10208"/>
                  <a:pt x="12319" y="10208"/>
                </a:cubicBezTo>
                <a:lnTo>
                  <a:pt x="11122" y="10208"/>
                </a:lnTo>
                <a:lnTo>
                  <a:pt x="11122" y="7215"/>
                </a:lnTo>
                <a:lnTo>
                  <a:pt x="11217" y="7309"/>
                </a:lnTo>
                <a:cubicBezTo>
                  <a:pt x="11301" y="7393"/>
                  <a:pt x="11413" y="7435"/>
                  <a:pt x="11515" y="7435"/>
                </a:cubicBezTo>
                <a:cubicBezTo>
                  <a:pt x="11567" y="7435"/>
                  <a:pt x="11616" y="7425"/>
                  <a:pt x="11658" y="7404"/>
                </a:cubicBezTo>
                <a:cubicBezTo>
                  <a:pt x="11815" y="7309"/>
                  <a:pt x="11910" y="7215"/>
                  <a:pt x="11910" y="6994"/>
                </a:cubicBezTo>
                <a:lnTo>
                  <a:pt x="11910" y="4285"/>
                </a:lnTo>
                <a:cubicBezTo>
                  <a:pt x="13107" y="3214"/>
                  <a:pt x="12950" y="1292"/>
                  <a:pt x="11626" y="378"/>
                </a:cubicBezTo>
                <a:cubicBezTo>
                  <a:pt x="11437" y="221"/>
                  <a:pt x="11154" y="126"/>
                  <a:pt x="10902" y="63"/>
                </a:cubicBezTo>
                <a:cubicBezTo>
                  <a:pt x="10839" y="0"/>
                  <a:pt x="10744" y="0"/>
                  <a:pt x="106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1" name="Google Shape;6481;p72"/>
          <p:cNvSpPr/>
          <p:nvPr/>
        </p:nvSpPr>
        <p:spPr>
          <a:xfrm>
            <a:off x="3558935" y="5697976"/>
            <a:ext cx="358636" cy="498355"/>
          </a:xfrm>
          <a:custGeom>
            <a:avLst/>
            <a:gdLst/>
            <a:ahLst/>
            <a:cxnLst/>
            <a:rect l="l" t="t" r="r" b="b"/>
            <a:pathLst>
              <a:path w="9138" h="12698" extrusionOk="0">
                <a:moveTo>
                  <a:pt x="7467" y="851"/>
                </a:moveTo>
                <a:lnTo>
                  <a:pt x="7467" y="1765"/>
                </a:lnTo>
                <a:cubicBezTo>
                  <a:pt x="7467" y="2363"/>
                  <a:pt x="7373" y="2931"/>
                  <a:pt x="7152" y="3466"/>
                </a:cubicBezTo>
                <a:cubicBezTo>
                  <a:pt x="6849" y="3390"/>
                  <a:pt x="6530" y="3352"/>
                  <a:pt x="6209" y="3352"/>
                </a:cubicBezTo>
                <a:cubicBezTo>
                  <a:pt x="5595" y="3352"/>
                  <a:pt x="4969" y="3492"/>
                  <a:pt x="4411" y="3781"/>
                </a:cubicBezTo>
                <a:cubicBezTo>
                  <a:pt x="3936" y="4019"/>
                  <a:pt x="3406" y="4131"/>
                  <a:pt x="2877" y="4131"/>
                </a:cubicBezTo>
                <a:cubicBezTo>
                  <a:pt x="2705" y="4131"/>
                  <a:pt x="2533" y="4119"/>
                  <a:pt x="2364" y="4096"/>
                </a:cubicBezTo>
                <a:cubicBezTo>
                  <a:pt x="1891" y="3403"/>
                  <a:pt x="1702" y="2584"/>
                  <a:pt x="1702" y="1765"/>
                </a:cubicBezTo>
                <a:lnTo>
                  <a:pt x="1702" y="851"/>
                </a:lnTo>
                <a:close/>
                <a:moveTo>
                  <a:pt x="6278" y="4137"/>
                </a:moveTo>
                <a:cubicBezTo>
                  <a:pt x="6425" y="4137"/>
                  <a:pt x="6570" y="4145"/>
                  <a:pt x="6711" y="4159"/>
                </a:cubicBezTo>
                <a:cubicBezTo>
                  <a:pt x="6428" y="4506"/>
                  <a:pt x="6081" y="4789"/>
                  <a:pt x="5672" y="4978"/>
                </a:cubicBezTo>
                <a:cubicBezTo>
                  <a:pt x="5168" y="5230"/>
                  <a:pt x="4916" y="5829"/>
                  <a:pt x="4947" y="6365"/>
                </a:cubicBezTo>
                <a:lnTo>
                  <a:pt x="4569" y="7152"/>
                </a:lnTo>
                <a:lnTo>
                  <a:pt x="4159" y="6365"/>
                </a:lnTo>
                <a:cubicBezTo>
                  <a:pt x="4222" y="5829"/>
                  <a:pt x="3970" y="5230"/>
                  <a:pt x="3466" y="4978"/>
                </a:cubicBezTo>
                <a:cubicBezTo>
                  <a:pt x="3372" y="4978"/>
                  <a:pt x="3340" y="4947"/>
                  <a:pt x="3277" y="4915"/>
                </a:cubicBezTo>
                <a:cubicBezTo>
                  <a:pt x="3781" y="4884"/>
                  <a:pt x="4285" y="4726"/>
                  <a:pt x="4758" y="4474"/>
                </a:cubicBezTo>
                <a:cubicBezTo>
                  <a:pt x="5246" y="4230"/>
                  <a:pt x="5773" y="4137"/>
                  <a:pt x="6278" y="4137"/>
                </a:cubicBezTo>
                <a:close/>
                <a:moveTo>
                  <a:pt x="5388" y="7436"/>
                </a:moveTo>
                <a:cubicBezTo>
                  <a:pt x="5483" y="7499"/>
                  <a:pt x="5577" y="7593"/>
                  <a:pt x="5703" y="7656"/>
                </a:cubicBezTo>
                <a:cubicBezTo>
                  <a:pt x="6932" y="8255"/>
                  <a:pt x="7499" y="9610"/>
                  <a:pt x="7499" y="10933"/>
                </a:cubicBezTo>
                <a:lnTo>
                  <a:pt x="7499" y="11437"/>
                </a:lnTo>
                <a:lnTo>
                  <a:pt x="7467" y="11437"/>
                </a:lnTo>
                <a:lnTo>
                  <a:pt x="4853" y="9484"/>
                </a:lnTo>
                <a:cubicBezTo>
                  <a:pt x="4774" y="9421"/>
                  <a:pt x="4679" y="9389"/>
                  <a:pt x="4585" y="9389"/>
                </a:cubicBezTo>
                <a:cubicBezTo>
                  <a:pt x="4490" y="9389"/>
                  <a:pt x="4396" y="9421"/>
                  <a:pt x="4317" y="9484"/>
                </a:cubicBezTo>
                <a:lnTo>
                  <a:pt x="1702" y="11437"/>
                </a:lnTo>
                <a:lnTo>
                  <a:pt x="1702" y="10933"/>
                </a:lnTo>
                <a:cubicBezTo>
                  <a:pt x="1702" y="9547"/>
                  <a:pt x="2269" y="8255"/>
                  <a:pt x="3466" y="7656"/>
                </a:cubicBezTo>
                <a:cubicBezTo>
                  <a:pt x="3592" y="7625"/>
                  <a:pt x="3655" y="7530"/>
                  <a:pt x="3781" y="7436"/>
                </a:cubicBezTo>
                <a:lnTo>
                  <a:pt x="4222" y="8286"/>
                </a:lnTo>
                <a:cubicBezTo>
                  <a:pt x="4301" y="8444"/>
                  <a:pt x="4443" y="8523"/>
                  <a:pt x="4585" y="8523"/>
                </a:cubicBezTo>
                <a:cubicBezTo>
                  <a:pt x="4726" y="8523"/>
                  <a:pt x="4868" y="8444"/>
                  <a:pt x="4947" y="8286"/>
                </a:cubicBezTo>
                <a:lnTo>
                  <a:pt x="5388" y="7436"/>
                </a:lnTo>
                <a:close/>
                <a:moveTo>
                  <a:pt x="4600" y="10303"/>
                </a:moveTo>
                <a:lnTo>
                  <a:pt x="6711" y="11846"/>
                </a:lnTo>
                <a:lnTo>
                  <a:pt x="2521" y="11846"/>
                </a:lnTo>
                <a:lnTo>
                  <a:pt x="4600" y="10303"/>
                </a:lnTo>
                <a:close/>
                <a:moveTo>
                  <a:pt x="442" y="1"/>
                </a:moveTo>
                <a:cubicBezTo>
                  <a:pt x="190" y="1"/>
                  <a:pt x="1" y="190"/>
                  <a:pt x="1" y="410"/>
                </a:cubicBezTo>
                <a:cubicBezTo>
                  <a:pt x="1" y="662"/>
                  <a:pt x="190" y="851"/>
                  <a:pt x="442" y="851"/>
                </a:cubicBezTo>
                <a:lnTo>
                  <a:pt x="851" y="851"/>
                </a:lnTo>
                <a:lnTo>
                  <a:pt x="851" y="1765"/>
                </a:lnTo>
                <a:cubicBezTo>
                  <a:pt x="851" y="3466"/>
                  <a:pt x="1607" y="5041"/>
                  <a:pt x="3120" y="5766"/>
                </a:cubicBezTo>
                <a:cubicBezTo>
                  <a:pt x="3309" y="5860"/>
                  <a:pt x="3340" y="6144"/>
                  <a:pt x="3340" y="6365"/>
                </a:cubicBezTo>
                <a:cubicBezTo>
                  <a:pt x="3340" y="6396"/>
                  <a:pt x="3309" y="6491"/>
                  <a:pt x="3340" y="6522"/>
                </a:cubicBezTo>
                <a:cubicBezTo>
                  <a:pt x="3309" y="6680"/>
                  <a:pt x="3214" y="6869"/>
                  <a:pt x="3120" y="6932"/>
                </a:cubicBezTo>
                <a:cubicBezTo>
                  <a:pt x="1607" y="7656"/>
                  <a:pt x="851" y="9232"/>
                  <a:pt x="851" y="10933"/>
                </a:cubicBezTo>
                <a:lnTo>
                  <a:pt x="851" y="11846"/>
                </a:lnTo>
                <a:lnTo>
                  <a:pt x="442" y="11846"/>
                </a:lnTo>
                <a:cubicBezTo>
                  <a:pt x="190" y="11846"/>
                  <a:pt x="1" y="12035"/>
                  <a:pt x="1" y="12287"/>
                </a:cubicBezTo>
                <a:cubicBezTo>
                  <a:pt x="1" y="12508"/>
                  <a:pt x="190" y="12697"/>
                  <a:pt x="442" y="12697"/>
                </a:cubicBezTo>
                <a:lnTo>
                  <a:pt x="8696" y="12697"/>
                </a:lnTo>
                <a:cubicBezTo>
                  <a:pt x="8948" y="12697"/>
                  <a:pt x="9137" y="12508"/>
                  <a:pt x="9137" y="12287"/>
                </a:cubicBezTo>
                <a:cubicBezTo>
                  <a:pt x="9137" y="12035"/>
                  <a:pt x="8948" y="11846"/>
                  <a:pt x="8696" y="11846"/>
                </a:cubicBezTo>
                <a:lnTo>
                  <a:pt x="8255" y="11846"/>
                </a:lnTo>
                <a:lnTo>
                  <a:pt x="8255" y="10933"/>
                </a:lnTo>
                <a:cubicBezTo>
                  <a:pt x="8255" y="9232"/>
                  <a:pt x="7530" y="7656"/>
                  <a:pt x="6018" y="6932"/>
                </a:cubicBezTo>
                <a:cubicBezTo>
                  <a:pt x="5892" y="6837"/>
                  <a:pt x="5829" y="6680"/>
                  <a:pt x="5798" y="6522"/>
                </a:cubicBezTo>
                <a:lnTo>
                  <a:pt x="5798" y="6365"/>
                </a:lnTo>
                <a:cubicBezTo>
                  <a:pt x="5798" y="6144"/>
                  <a:pt x="5861" y="5860"/>
                  <a:pt x="6018" y="5766"/>
                </a:cubicBezTo>
                <a:cubicBezTo>
                  <a:pt x="7530" y="5041"/>
                  <a:pt x="8255" y="3435"/>
                  <a:pt x="8255" y="1765"/>
                </a:cubicBezTo>
                <a:lnTo>
                  <a:pt x="8255" y="851"/>
                </a:lnTo>
                <a:lnTo>
                  <a:pt x="8696" y="851"/>
                </a:lnTo>
                <a:cubicBezTo>
                  <a:pt x="8948" y="851"/>
                  <a:pt x="9137" y="662"/>
                  <a:pt x="9137" y="410"/>
                </a:cubicBezTo>
                <a:cubicBezTo>
                  <a:pt x="9137" y="190"/>
                  <a:pt x="8948" y="1"/>
                  <a:pt x="86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2" name="Google Shape;6482;p72"/>
          <p:cNvSpPr txBox="1">
            <a:spLocks noGrp="1"/>
          </p:cNvSpPr>
          <p:nvPr>
            <p:ph type="title" idx="4294967295"/>
          </p:nvPr>
        </p:nvSpPr>
        <p:spPr>
          <a:xfrm>
            <a:off x="1132900" y="12639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Educational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6483" name="Google Shape;6483;p72"/>
          <p:cNvSpPr txBox="1">
            <a:spLocks noGrp="1"/>
          </p:cNvSpPr>
          <p:nvPr>
            <p:ph type="title" idx="4294967295"/>
          </p:nvPr>
        </p:nvSpPr>
        <p:spPr>
          <a:xfrm>
            <a:off x="6477867" y="12639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Medical Icons</a:t>
            </a:r>
            <a:endParaRPr>
              <a:solidFill>
                <a:srgbClr val="FFFFFF"/>
              </a:solidFill>
              <a:latin typeface="Arial"/>
              <a:ea typeface="Arial"/>
              <a:cs typeface="Arial"/>
              <a:sym typeface="Arial"/>
            </a:endParaRPr>
          </a:p>
        </p:txBody>
      </p:sp>
      <p:sp>
        <p:nvSpPr>
          <p:cNvPr id="6484" name="Google Shape;6484;p72"/>
          <p:cNvSpPr/>
          <p:nvPr/>
        </p:nvSpPr>
        <p:spPr>
          <a:xfrm>
            <a:off x="6488727" y="2108321"/>
            <a:ext cx="470907" cy="419452"/>
          </a:xfrm>
          <a:custGeom>
            <a:avLst/>
            <a:gdLst/>
            <a:ahLst/>
            <a:cxnLst/>
            <a:rect l="l" t="t" r="r" b="b"/>
            <a:pathLst>
              <a:path w="11815" h="10524" extrusionOk="0">
                <a:moveTo>
                  <a:pt x="8664" y="726"/>
                </a:moveTo>
                <a:cubicBezTo>
                  <a:pt x="9326" y="726"/>
                  <a:pt x="9956" y="1009"/>
                  <a:pt x="10428" y="1482"/>
                </a:cubicBezTo>
                <a:cubicBezTo>
                  <a:pt x="10869" y="1954"/>
                  <a:pt x="11090" y="2616"/>
                  <a:pt x="11090" y="3309"/>
                </a:cubicBezTo>
                <a:cubicBezTo>
                  <a:pt x="11090" y="4191"/>
                  <a:pt x="10712" y="4853"/>
                  <a:pt x="10082" y="5577"/>
                </a:cubicBezTo>
                <a:lnTo>
                  <a:pt x="7435" y="5577"/>
                </a:lnTo>
                <a:cubicBezTo>
                  <a:pt x="7309" y="5577"/>
                  <a:pt x="7215" y="5640"/>
                  <a:pt x="7120" y="5735"/>
                </a:cubicBezTo>
                <a:lnTo>
                  <a:pt x="6648" y="6522"/>
                </a:lnTo>
                <a:lnTo>
                  <a:pt x="5545" y="3687"/>
                </a:lnTo>
                <a:cubicBezTo>
                  <a:pt x="5514" y="3561"/>
                  <a:pt x="5388" y="3435"/>
                  <a:pt x="5230" y="3435"/>
                </a:cubicBezTo>
                <a:cubicBezTo>
                  <a:pt x="5073" y="3435"/>
                  <a:pt x="4947" y="3529"/>
                  <a:pt x="4915" y="3624"/>
                </a:cubicBezTo>
                <a:lnTo>
                  <a:pt x="4096" y="5514"/>
                </a:lnTo>
                <a:lnTo>
                  <a:pt x="1702" y="5514"/>
                </a:lnTo>
                <a:cubicBezTo>
                  <a:pt x="1103" y="4853"/>
                  <a:pt x="693" y="4191"/>
                  <a:pt x="693" y="3309"/>
                </a:cubicBezTo>
                <a:cubicBezTo>
                  <a:pt x="693" y="2616"/>
                  <a:pt x="945" y="1986"/>
                  <a:pt x="1355" y="1482"/>
                </a:cubicBezTo>
                <a:cubicBezTo>
                  <a:pt x="1796" y="1009"/>
                  <a:pt x="2426" y="726"/>
                  <a:pt x="3151" y="726"/>
                </a:cubicBezTo>
                <a:cubicBezTo>
                  <a:pt x="4096" y="726"/>
                  <a:pt x="4726" y="1293"/>
                  <a:pt x="5073" y="1797"/>
                </a:cubicBezTo>
                <a:cubicBezTo>
                  <a:pt x="5388" y="2206"/>
                  <a:pt x="5545" y="2647"/>
                  <a:pt x="5577" y="2836"/>
                </a:cubicBezTo>
                <a:cubicBezTo>
                  <a:pt x="5608" y="2994"/>
                  <a:pt x="5766" y="3088"/>
                  <a:pt x="5892" y="3088"/>
                </a:cubicBezTo>
                <a:cubicBezTo>
                  <a:pt x="6049" y="3088"/>
                  <a:pt x="6175" y="2994"/>
                  <a:pt x="6207" y="2836"/>
                </a:cubicBezTo>
                <a:cubicBezTo>
                  <a:pt x="6238" y="2679"/>
                  <a:pt x="6459" y="2206"/>
                  <a:pt x="6742" y="1797"/>
                </a:cubicBezTo>
                <a:cubicBezTo>
                  <a:pt x="7089" y="1293"/>
                  <a:pt x="7687" y="726"/>
                  <a:pt x="8664" y="726"/>
                </a:cubicBezTo>
                <a:close/>
                <a:moveTo>
                  <a:pt x="5293" y="4790"/>
                </a:moveTo>
                <a:lnTo>
                  <a:pt x="6364" y="7468"/>
                </a:lnTo>
                <a:cubicBezTo>
                  <a:pt x="6396" y="7562"/>
                  <a:pt x="6522" y="7657"/>
                  <a:pt x="6648" y="7688"/>
                </a:cubicBezTo>
                <a:lnTo>
                  <a:pt x="6679" y="7688"/>
                </a:lnTo>
                <a:cubicBezTo>
                  <a:pt x="6805" y="7688"/>
                  <a:pt x="6931" y="7625"/>
                  <a:pt x="6994" y="7531"/>
                </a:cubicBezTo>
                <a:lnTo>
                  <a:pt x="7750" y="6302"/>
                </a:lnTo>
                <a:lnTo>
                  <a:pt x="9483" y="6302"/>
                </a:lnTo>
                <a:cubicBezTo>
                  <a:pt x="9168" y="6459"/>
                  <a:pt x="8916" y="6711"/>
                  <a:pt x="8664" y="6932"/>
                </a:cubicBezTo>
                <a:cubicBezTo>
                  <a:pt x="7813" y="7688"/>
                  <a:pt x="6868" y="8507"/>
                  <a:pt x="5923" y="9610"/>
                </a:cubicBezTo>
                <a:cubicBezTo>
                  <a:pt x="4978" y="8507"/>
                  <a:pt x="4033" y="7688"/>
                  <a:pt x="3214" y="6932"/>
                </a:cubicBezTo>
                <a:cubicBezTo>
                  <a:pt x="2930" y="6711"/>
                  <a:pt x="2710" y="6459"/>
                  <a:pt x="2458" y="6270"/>
                </a:cubicBezTo>
                <a:lnTo>
                  <a:pt x="4411" y="6270"/>
                </a:lnTo>
                <a:cubicBezTo>
                  <a:pt x="4505" y="6270"/>
                  <a:pt x="4663" y="6207"/>
                  <a:pt x="4726" y="6081"/>
                </a:cubicBezTo>
                <a:lnTo>
                  <a:pt x="5293" y="4790"/>
                </a:lnTo>
                <a:close/>
                <a:moveTo>
                  <a:pt x="3151" y="1"/>
                </a:moveTo>
                <a:cubicBezTo>
                  <a:pt x="2269" y="1"/>
                  <a:pt x="1449" y="379"/>
                  <a:pt x="851" y="1009"/>
                </a:cubicBezTo>
                <a:cubicBezTo>
                  <a:pt x="315" y="1576"/>
                  <a:pt x="0" y="2427"/>
                  <a:pt x="0" y="3309"/>
                </a:cubicBezTo>
                <a:cubicBezTo>
                  <a:pt x="0" y="4097"/>
                  <a:pt x="252" y="4821"/>
                  <a:pt x="819" y="5514"/>
                </a:cubicBezTo>
                <a:lnTo>
                  <a:pt x="819" y="5577"/>
                </a:lnTo>
                <a:lnTo>
                  <a:pt x="347" y="5577"/>
                </a:lnTo>
                <a:cubicBezTo>
                  <a:pt x="158" y="5577"/>
                  <a:pt x="0" y="5735"/>
                  <a:pt x="0" y="5924"/>
                </a:cubicBezTo>
                <a:cubicBezTo>
                  <a:pt x="0" y="6113"/>
                  <a:pt x="158" y="6270"/>
                  <a:pt x="347" y="6270"/>
                </a:cubicBezTo>
                <a:lnTo>
                  <a:pt x="1418" y="6270"/>
                </a:lnTo>
                <a:cubicBezTo>
                  <a:pt x="1796" y="6680"/>
                  <a:pt x="2237" y="7058"/>
                  <a:pt x="2710" y="7468"/>
                </a:cubicBezTo>
                <a:cubicBezTo>
                  <a:pt x="3623" y="8255"/>
                  <a:pt x="4600" y="9137"/>
                  <a:pt x="5640" y="10366"/>
                </a:cubicBezTo>
                <a:lnTo>
                  <a:pt x="5640" y="10397"/>
                </a:lnTo>
                <a:cubicBezTo>
                  <a:pt x="5703" y="10492"/>
                  <a:pt x="5797" y="10524"/>
                  <a:pt x="5892" y="10524"/>
                </a:cubicBezTo>
                <a:cubicBezTo>
                  <a:pt x="6018" y="10524"/>
                  <a:pt x="6081" y="10492"/>
                  <a:pt x="6175" y="10397"/>
                </a:cubicBezTo>
                <a:lnTo>
                  <a:pt x="6175" y="10366"/>
                </a:lnTo>
                <a:cubicBezTo>
                  <a:pt x="7152" y="9137"/>
                  <a:pt x="8192" y="8287"/>
                  <a:pt x="9074" y="7468"/>
                </a:cubicBezTo>
                <a:cubicBezTo>
                  <a:pt x="9546" y="7026"/>
                  <a:pt x="9987" y="6617"/>
                  <a:pt x="10397" y="6270"/>
                </a:cubicBezTo>
                <a:lnTo>
                  <a:pt x="11437" y="6270"/>
                </a:lnTo>
                <a:cubicBezTo>
                  <a:pt x="11657" y="6270"/>
                  <a:pt x="11815" y="6113"/>
                  <a:pt x="11815" y="5924"/>
                </a:cubicBezTo>
                <a:cubicBezTo>
                  <a:pt x="11815" y="5735"/>
                  <a:pt x="11657" y="5577"/>
                  <a:pt x="11437" y="5577"/>
                </a:cubicBezTo>
                <a:lnTo>
                  <a:pt x="10964" y="5577"/>
                </a:lnTo>
                <a:lnTo>
                  <a:pt x="10964" y="5514"/>
                </a:lnTo>
                <a:cubicBezTo>
                  <a:pt x="11531" y="4821"/>
                  <a:pt x="11815" y="4097"/>
                  <a:pt x="11815" y="3309"/>
                </a:cubicBezTo>
                <a:cubicBezTo>
                  <a:pt x="11815" y="2458"/>
                  <a:pt x="11500" y="1639"/>
                  <a:pt x="10932" y="1009"/>
                </a:cubicBezTo>
                <a:cubicBezTo>
                  <a:pt x="10365" y="379"/>
                  <a:pt x="9578" y="1"/>
                  <a:pt x="8664" y="1"/>
                </a:cubicBezTo>
                <a:cubicBezTo>
                  <a:pt x="7404" y="1"/>
                  <a:pt x="6616" y="757"/>
                  <a:pt x="6175" y="1387"/>
                </a:cubicBezTo>
                <a:cubicBezTo>
                  <a:pt x="6049" y="1545"/>
                  <a:pt x="5986" y="1702"/>
                  <a:pt x="5892" y="1860"/>
                </a:cubicBezTo>
                <a:cubicBezTo>
                  <a:pt x="5829" y="1702"/>
                  <a:pt x="5703" y="1545"/>
                  <a:pt x="5640" y="1387"/>
                </a:cubicBezTo>
                <a:cubicBezTo>
                  <a:pt x="5199" y="757"/>
                  <a:pt x="4411"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485" name="Google Shape;6485;p72"/>
          <p:cNvGrpSpPr/>
          <p:nvPr/>
        </p:nvGrpSpPr>
        <p:grpSpPr>
          <a:xfrm>
            <a:off x="6487459" y="2677805"/>
            <a:ext cx="472143" cy="473417"/>
            <a:chOff x="-28467625" y="2331750"/>
            <a:chExt cx="296150" cy="296950"/>
          </a:xfrm>
        </p:grpSpPr>
        <p:sp>
          <p:nvSpPr>
            <p:cNvPr id="6486" name="Google Shape;6486;p72"/>
            <p:cNvSpPr/>
            <p:nvPr/>
          </p:nvSpPr>
          <p:spPr>
            <a:xfrm>
              <a:off x="-28467625" y="2331750"/>
              <a:ext cx="296150" cy="296950"/>
            </a:xfrm>
            <a:custGeom>
              <a:avLst/>
              <a:gdLst/>
              <a:ahLst/>
              <a:cxnLst/>
              <a:rect l="l" t="t" r="r" b="b"/>
              <a:pathLst>
                <a:path w="11846" h="11878" extrusionOk="0">
                  <a:moveTo>
                    <a:pt x="1733" y="3466"/>
                  </a:moveTo>
                  <a:cubicBezTo>
                    <a:pt x="1922" y="3466"/>
                    <a:pt x="2080" y="3624"/>
                    <a:pt x="2080" y="3813"/>
                  </a:cubicBezTo>
                  <a:cubicBezTo>
                    <a:pt x="2080" y="4002"/>
                    <a:pt x="1922" y="4159"/>
                    <a:pt x="1733" y="4159"/>
                  </a:cubicBezTo>
                  <a:lnTo>
                    <a:pt x="693" y="4159"/>
                  </a:lnTo>
                  <a:lnTo>
                    <a:pt x="693" y="3466"/>
                  </a:lnTo>
                  <a:close/>
                  <a:moveTo>
                    <a:pt x="1418" y="4821"/>
                  </a:moveTo>
                  <a:lnTo>
                    <a:pt x="1418" y="6963"/>
                  </a:lnTo>
                  <a:lnTo>
                    <a:pt x="693" y="6963"/>
                  </a:lnTo>
                  <a:lnTo>
                    <a:pt x="693" y="4821"/>
                  </a:lnTo>
                  <a:close/>
                  <a:moveTo>
                    <a:pt x="1733" y="7656"/>
                  </a:moveTo>
                  <a:cubicBezTo>
                    <a:pt x="1922" y="7656"/>
                    <a:pt x="2080" y="7814"/>
                    <a:pt x="2080" y="8034"/>
                  </a:cubicBezTo>
                  <a:cubicBezTo>
                    <a:pt x="2080" y="8223"/>
                    <a:pt x="1922" y="8381"/>
                    <a:pt x="1733" y="8381"/>
                  </a:cubicBezTo>
                  <a:lnTo>
                    <a:pt x="693" y="8381"/>
                  </a:lnTo>
                  <a:lnTo>
                    <a:pt x="693" y="7656"/>
                  </a:lnTo>
                  <a:close/>
                  <a:moveTo>
                    <a:pt x="9389" y="2080"/>
                  </a:moveTo>
                  <a:cubicBezTo>
                    <a:pt x="9609" y="2080"/>
                    <a:pt x="9767" y="2237"/>
                    <a:pt x="9767" y="2426"/>
                  </a:cubicBezTo>
                  <a:lnTo>
                    <a:pt x="9767" y="9389"/>
                  </a:lnTo>
                  <a:cubicBezTo>
                    <a:pt x="9767" y="9610"/>
                    <a:pt x="9609" y="9767"/>
                    <a:pt x="9389" y="9767"/>
                  </a:cubicBezTo>
                  <a:lnTo>
                    <a:pt x="2426" y="9767"/>
                  </a:lnTo>
                  <a:cubicBezTo>
                    <a:pt x="2237" y="9767"/>
                    <a:pt x="2080" y="9610"/>
                    <a:pt x="2080" y="9389"/>
                  </a:cubicBezTo>
                  <a:lnTo>
                    <a:pt x="2080" y="9011"/>
                  </a:lnTo>
                  <a:cubicBezTo>
                    <a:pt x="2458" y="8853"/>
                    <a:pt x="2773" y="8507"/>
                    <a:pt x="2773" y="8034"/>
                  </a:cubicBezTo>
                  <a:cubicBezTo>
                    <a:pt x="2773" y="7562"/>
                    <a:pt x="2521" y="7184"/>
                    <a:pt x="2080" y="7026"/>
                  </a:cubicBezTo>
                  <a:lnTo>
                    <a:pt x="2080" y="4789"/>
                  </a:lnTo>
                  <a:cubicBezTo>
                    <a:pt x="2458" y="4632"/>
                    <a:pt x="2773" y="4285"/>
                    <a:pt x="2773" y="3813"/>
                  </a:cubicBezTo>
                  <a:cubicBezTo>
                    <a:pt x="2773" y="3340"/>
                    <a:pt x="2521" y="2994"/>
                    <a:pt x="2080" y="2836"/>
                  </a:cubicBezTo>
                  <a:lnTo>
                    <a:pt x="2080" y="2426"/>
                  </a:lnTo>
                  <a:cubicBezTo>
                    <a:pt x="2080" y="2237"/>
                    <a:pt x="2237" y="2080"/>
                    <a:pt x="2426" y="2080"/>
                  </a:cubicBezTo>
                  <a:close/>
                  <a:moveTo>
                    <a:pt x="9389" y="694"/>
                  </a:moveTo>
                  <a:cubicBezTo>
                    <a:pt x="10334" y="694"/>
                    <a:pt x="11121" y="1481"/>
                    <a:pt x="11121" y="2426"/>
                  </a:cubicBezTo>
                  <a:lnTo>
                    <a:pt x="11121" y="9389"/>
                  </a:lnTo>
                  <a:cubicBezTo>
                    <a:pt x="11121" y="10334"/>
                    <a:pt x="10334" y="11122"/>
                    <a:pt x="9389" y="11122"/>
                  </a:cubicBezTo>
                  <a:lnTo>
                    <a:pt x="2426" y="11122"/>
                  </a:lnTo>
                  <a:cubicBezTo>
                    <a:pt x="1481" y="11122"/>
                    <a:pt x="693" y="10334"/>
                    <a:pt x="693" y="9389"/>
                  </a:cubicBezTo>
                  <a:lnTo>
                    <a:pt x="693" y="9042"/>
                  </a:lnTo>
                  <a:lnTo>
                    <a:pt x="1418" y="9042"/>
                  </a:lnTo>
                  <a:lnTo>
                    <a:pt x="1418" y="9389"/>
                  </a:lnTo>
                  <a:cubicBezTo>
                    <a:pt x="1418" y="9988"/>
                    <a:pt x="1891" y="10429"/>
                    <a:pt x="2426" y="10429"/>
                  </a:cubicBezTo>
                  <a:lnTo>
                    <a:pt x="9389" y="10429"/>
                  </a:lnTo>
                  <a:cubicBezTo>
                    <a:pt x="9987" y="10429"/>
                    <a:pt x="10428" y="9956"/>
                    <a:pt x="10428" y="9389"/>
                  </a:cubicBezTo>
                  <a:lnTo>
                    <a:pt x="10428" y="2426"/>
                  </a:lnTo>
                  <a:cubicBezTo>
                    <a:pt x="10428" y="1828"/>
                    <a:pt x="9956" y="1418"/>
                    <a:pt x="9389" y="1418"/>
                  </a:cubicBezTo>
                  <a:lnTo>
                    <a:pt x="2426" y="1418"/>
                  </a:lnTo>
                  <a:cubicBezTo>
                    <a:pt x="1828" y="1418"/>
                    <a:pt x="1418" y="1891"/>
                    <a:pt x="1418" y="2426"/>
                  </a:cubicBezTo>
                  <a:lnTo>
                    <a:pt x="1418" y="2773"/>
                  </a:lnTo>
                  <a:lnTo>
                    <a:pt x="693" y="2773"/>
                  </a:lnTo>
                  <a:lnTo>
                    <a:pt x="693" y="2426"/>
                  </a:lnTo>
                  <a:cubicBezTo>
                    <a:pt x="693" y="1481"/>
                    <a:pt x="1481" y="694"/>
                    <a:pt x="2426" y="694"/>
                  </a:cubicBezTo>
                  <a:close/>
                  <a:moveTo>
                    <a:pt x="2426" y="1"/>
                  </a:moveTo>
                  <a:cubicBezTo>
                    <a:pt x="1103" y="1"/>
                    <a:pt x="0" y="1103"/>
                    <a:pt x="0" y="2426"/>
                  </a:cubicBezTo>
                  <a:lnTo>
                    <a:pt x="0" y="3151"/>
                  </a:lnTo>
                  <a:lnTo>
                    <a:pt x="0" y="4506"/>
                  </a:lnTo>
                  <a:lnTo>
                    <a:pt x="0" y="7341"/>
                  </a:lnTo>
                  <a:lnTo>
                    <a:pt x="0" y="8727"/>
                  </a:lnTo>
                  <a:lnTo>
                    <a:pt x="0" y="9452"/>
                  </a:lnTo>
                  <a:cubicBezTo>
                    <a:pt x="0" y="10775"/>
                    <a:pt x="1103" y="11878"/>
                    <a:pt x="2426" y="11878"/>
                  </a:cubicBezTo>
                  <a:lnTo>
                    <a:pt x="9389" y="11878"/>
                  </a:lnTo>
                  <a:cubicBezTo>
                    <a:pt x="10743" y="11878"/>
                    <a:pt x="11846" y="10775"/>
                    <a:pt x="11846" y="9452"/>
                  </a:cubicBezTo>
                  <a:lnTo>
                    <a:pt x="11846" y="2458"/>
                  </a:lnTo>
                  <a:cubicBezTo>
                    <a:pt x="11846" y="1103"/>
                    <a:pt x="10743" y="1"/>
                    <a:pt x="93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87" name="Google Shape;6487;p72"/>
            <p:cNvSpPr/>
            <p:nvPr/>
          </p:nvSpPr>
          <p:spPr>
            <a:xfrm>
              <a:off x="-28371550" y="2419175"/>
              <a:ext cx="121325" cy="121325"/>
            </a:xfrm>
            <a:custGeom>
              <a:avLst/>
              <a:gdLst/>
              <a:ahLst/>
              <a:cxnLst/>
              <a:rect l="l" t="t" r="r" b="b"/>
              <a:pathLst>
                <a:path w="4853" h="4853" extrusionOk="0">
                  <a:moveTo>
                    <a:pt x="2773" y="662"/>
                  </a:moveTo>
                  <a:lnTo>
                    <a:pt x="2773" y="1670"/>
                  </a:lnTo>
                  <a:cubicBezTo>
                    <a:pt x="2773" y="1891"/>
                    <a:pt x="2931" y="2048"/>
                    <a:pt x="3120" y="2048"/>
                  </a:cubicBezTo>
                  <a:lnTo>
                    <a:pt x="4159" y="2048"/>
                  </a:lnTo>
                  <a:lnTo>
                    <a:pt x="4159" y="2741"/>
                  </a:lnTo>
                  <a:lnTo>
                    <a:pt x="3120" y="2741"/>
                  </a:lnTo>
                  <a:cubicBezTo>
                    <a:pt x="2931" y="2741"/>
                    <a:pt x="2773" y="2899"/>
                    <a:pt x="2773" y="3120"/>
                  </a:cubicBezTo>
                  <a:lnTo>
                    <a:pt x="2773" y="4128"/>
                  </a:lnTo>
                  <a:lnTo>
                    <a:pt x="2049" y="4128"/>
                  </a:lnTo>
                  <a:lnTo>
                    <a:pt x="2049" y="3120"/>
                  </a:lnTo>
                  <a:cubicBezTo>
                    <a:pt x="2049" y="2899"/>
                    <a:pt x="1891" y="2741"/>
                    <a:pt x="1702" y="2741"/>
                  </a:cubicBezTo>
                  <a:lnTo>
                    <a:pt x="662" y="2741"/>
                  </a:lnTo>
                  <a:lnTo>
                    <a:pt x="662" y="2048"/>
                  </a:lnTo>
                  <a:lnTo>
                    <a:pt x="1702" y="2048"/>
                  </a:lnTo>
                  <a:cubicBezTo>
                    <a:pt x="1891" y="2048"/>
                    <a:pt x="2049" y="1891"/>
                    <a:pt x="2049" y="1670"/>
                  </a:cubicBezTo>
                  <a:lnTo>
                    <a:pt x="2049" y="662"/>
                  </a:lnTo>
                  <a:close/>
                  <a:moveTo>
                    <a:pt x="1734" y="1"/>
                  </a:moveTo>
                  <a:cubicBezTo>
                    <a:pt x="1545" y="1"/>
                    <a:pt x="1387" y="158"/>
                    <a:pt x="1387" y="347"/>
                  </a:cubicBezTo>
                  <a:lnTo>
                    <a:pt x="1387" y="1387"/>
                  </a:lnTo>
                  <a:lnTo>
                    <a:pt x="347" y="1387"/>
                  </a:lnTo>
                  <a:cubicBezTo>
                    <a:pt x="158" y="1387"/>
                    <a:pt x="1" y="1544"/>
                    <a:pt x="1" y="1733"/>
                  </a:cubicBezTo>
                  <a:lnTo>
                    <a:pt x="1" y="3120"/>
                  </a:lnTo>
                  <a:cubicBezTo>
                    <a:pt x="1" y="3309"/>
                    <a:pt x="158" y="3466"/>
                    <a:pt x="347" y="3466"/>
                  </a:cubicBezTo>
                  <a:lnTo>
                    <a:pt x="1387" y="3466"/>
                  </a:lnTo>
                  <a:lnTo>
                    <a:pt x="1387" y="4474"/>
                  </a:lnTo>
                  <a:cubicBezTo>
                    <a:pt x="1387" y="4695"/>
                    <a:pt x="1545" y="4852"/>
                    <a:pt x="1734" y="4852"/>
                  </a:cubicBezTo>
                  <a:lnTo>
                    <a:pt x="3120" y="4852"/>
                  </a:lnTo>
                  <a:cubicBezTo>
                    <a:pt x="3309" y="4852"/>
                    <a:pt x="3466" y="4695"/>
                    <a:pt x="3466" y="4474"/>
                  </a:cubicBezTo>
                  <a:lnTo>
                    <a:pt x="3466" y="3466"/>
                  </a:lnTo>
                  <a:lnTo>
                    <a:pt x="4506" y="3466"/>
                  </a:lnTo>
                  <a:cubicBezTo>
                    <a:pt x="4695" y="3466"/>
                    <a:pt x="4853" y="3309"/>
                    <a:pt x="4853" y="3120"/>
                  </a:cubicBezTo>
                  <a:lnTo>
                    <a:pt x="4853" y="1733"/>
                  </a:lnTo>
                  <a:cubicBezTo>
                    <a:pt x="4853" y="1544"/>
                    <a:pt x="4695" y="1387"/>
                    <a:pt x="4506" y="1387"/>
                  </a:cubicBezTo>
                  <a:lnTo>
                    <a:pt x="3466" y="1387"/>
                  </a:lnTo>
                  <a:lnTo>
                    <a:pt x="3466" y="347"/>
                  </a:lnTo>
                  <a:cubicBezTo>
                    <a:pt x="3466" y="158"/>
                    <a:pt x="3309"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88" name="Google Shape;6488;p72"/>
          <p:cNvGrpSpPr/>
          <p:nvPr/>
        </p:nvGrpSpPr>
        <p:grpSpPr>
          <a:xfrm>
            <a:off x="6506292" y="3268579"/>
            <a:ext cx="434477" cy="468436"/>
            <a:chOff x="-28461325" y="2701925"/>
            <a:chExt cx="272525" cy="293825"/>
          </a:xfrm>
        </p:grpSpPr>
        <p:sp>
          <p:nvSpPr>
            <p:cNvPr id="6489" name="Google Shape;6489;p72"/>
            <p:cNvSpPr/>
            <p:nvPr/>
          </p:nvSpPr>
          <p:spPr>
            <a:xfrm>
              <a:off x="-28427475" y="2789200"/>
              <a:ext cx="54375" cy="80525"/>
            </a:xfrm>
            <a:custGeom>
              <a:avLst/>
              <a:gdLst/>
              <a:ahLst/>
              <a:cxnLst/>
              <a:rect l="l" t="t" r="r" b="b"/>
              <a:pathLst>
                <a:path w="2175" h="3221" extrusionOk="0">
                  <a:moveTo>
                    <a:pt x="1805" y="1"/>
                  </a:moveTo>
                  <a:cubicBezTo>
                    <a:pt x="1782" y="1"/>
                    <a:pt x="1758" y="3"/>
                    <a:pt x="1734" y="7"/>
                  </a:cubicBezTo>
                  <a:cubicBezTo>
                    <a:pt x="946" y="164"/>
                    <a:pt x="285" y="826"/>
                    <a:pt x="127" y="1645"/>
                  </a:cubicBezTo>
                  <a:cubicBezTo>
                    <a:pt x="1" y="2275"/>
                    <a:pt x="190" y="2811"/>
                    <a:pt x="348" y="3063"/>
                  </a:cubicBezTo>
                  <a:cubicBezTo>
                    <a:pt x="442" y="3189"/>
                    <a:pt x="537" y="3220"/>
                    <a:pt x="663" y="3220"/>
                  </a:cubicBezTo>
                  <a:cubicBezTo>
                    <a:pt x="694" y="3220"/>
                    <a:pt x="789" y="3220"/>
                    <a:pt x="820" y="3189"/>
                  </a:cubicBezTo>
                  <a:cubicBezTo>
                    <a:pt x="978" y="3126"/>
                    <a:pt x="1072" y="2874"/>
                    <a:pt x="946" y="2716"/>
                  </a:cubicBezTo>
                  <a:cubicBezTo>
                    <a:pt x="820" y="2527"/>
                    <a:pt x="726" y="2181"/>
                    <a:pt x="789" y="1740"/>
                  </a:cubicBezTo>
                  <a:cubicBezTo>
                    <a:pt x="883" y="1173"/>
                    <a:pt x="1356" y="763"/>
                    <a:pt x="1860" y="637"/>
                  </a:cubicBezTo>
                  <a:cubicBezTo>
                    <a:pt x="2049" y="605"/>
                    <a:pt x="2175" y="448"/>
                    <a:pt x="2112" y="227"/>
                  </a:cubicBezTo>
                  <a:cubicBezTo>
                    <a:pt x="2084" y="90"/>
                    <a:pt x="1961" y="1"/>
                    <a:pt x="18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0" name="Google Shape;6490;p72"/>
            <p:cNvSpPr/>
            <p:nvPr/>
          </p:nvSpPr>
          <p:spPr>
            <a:xfrm>
              <a:off x="-28362875" y="2824025"/>
              <a:ext cx="124475" cy="103200"/>
            </a:xfrm>
            <a:custGeom>
              <a:avLst/>
              <a:gdLst/>
              <a:ahLst/>
              <a:cxnLst/>
              <a:rect l="l" t="t" r="r" b="b"/>
              <a:pathLst>
                <a:path w="4979" h="4128" extrusionOk="0">
                  <a:moveTo>
                    <a:pt x="3434" y="693"/>
                  </a:moveTo>
                  <a:cubicBezTo>
                    <a:pt x="3844" y="693"/>
                    <a:pt x="4159" y="1008"/>
                    <a:pt x="4159" y="1418"/>
                  </a:cubicBezTo>
                  <a:cubicBezTo>
                    <a:pt x="4159" y="1922"/>
                    <a:pt x="3592" y="2394"/>
                    <a:pt x="2741" y="3056"/>
                  </a:cubicBezTo>
                  <a:cubicBezTo>
                    <a:pt x="2615" y="3151"/>
                    <a:pt x="2521" y="3214"/>
                    <a:pt x="2426" y="3340"/>
                  </a:cubicBezTo>
                  <a:cubicBezTo>
                    <a:pt x="2300" y="3245"/>
                    <a:pt x="2174" y="3182"/>
                    <a:pt x="2111" y="3056"/>
                  </a:cubicBezTo>
                  <a:cubicBezTo>
                    <a:pt x="1229" y="2394"/>
                    <a:pt x="694" y="1922"/>
                    <a:pt x="694" y="1418"/>
                  </a:cubicBezTo>
                  <a:cubicBezTo>
                    <a:pt x="694" y="977"/>
                    <a:pt x="1009" y="693"/>
                    <a:pt x="1387" y="693"/>
                  </a:cubicBezTo>
                  <a:cubicBezTo>
                    <a:pt x="1891" y="693"/>
                    <a:pt x="2111" y="1260"/>
                    <a:pt x="2111" y="1292"/>
                  </a:cubicBezTo>
                  <a:cubicBezTo>
                    <a:pt x="2143" y="1449"/>
                    <a:pt x="2269" y="1512"/>
                    <a:pt x="2426" y="1512"/>
                  </a:cubicBezTo>
                  <a:cubicBezTo>
                    <a:pt x="2584" y="1512"/>
                    <a:pt x="2678" y="1418"/>
                    <a:pt x="2741" y="1292"/>
                  </a:cubicBezTo>
                  <a:cubicBezTo>
                    <a:pt x="2741" y="1260"/>
                    <a:pt x="2930" y="693"/>
                    <a:pt x="3434" y="693"/>
                  </a:cubicBezTo>
                  <a:close/>
                  <a:moveTo>
                    <a:pt x="1387" y="0"/>
                  </a:moveTo>
                  <a:cubicBezTo>
                    <a:pt x="599" y="0"/>
                    <a:pt x="0" y="630"/>
                    <a:pt x="0" y="1418"/>
                  </a:cubicBezTo>
                  <a:cubicBezTo>
                    <a:pt x="0" y="2268"/>
                    <a:pt x="725" y="2835"/>
                    <a:pt x="1702" y="3623"/>
                  </a:cubicBezTo>
                  <a:cubicBezTo>
                    <a:pt x="1859" y="3718"/>
                    <a:pt x="2048" y="3875"/>
                    <a:pt x="2269" y="4033"/>
                  </a:cubicBezTo>
                  <a:cubicBezTo>
                    <a:pt x="2332" y="4064"/>
                    <a:pt x="2426" y="4127"/>
                    <a:pt x="2489" y="4127"/>
                  </a:cubicBezTo>
                  <a:cubicBezTo>
                    <a:pt x="2584" y="4127"/>
                    <a:pt x="2647" y="4064"/>
                    <a:pt x="2741" y="4033"/>
                  </a:cubicBezTo>
                  <a:cubicBezTo>
                    <a:pt x="2930" y="3875"/>
                    <a:pt x="3088" y="3718"/>
                    <a:pt x="3277" y="3623"/>
                  </a:cubicBezTo>
                  <a:cubicBezTo>
                    <a:pt x="4254" y="2835"/>
                    <a:pt x="4978" y="2268"/>
                    <a:pt x="4978" y="1418"/>
                  </a:cubicBezTo>
                  <a:cubicBezTo>
                    <a:pt x="4852" y="630"/>
                    <a:pt x="4222" y="0"/>
                    <a:pt x="3434" y="0"/>
                  </a:cubicBezTo>
                  <a:cubicBezTo>
                    <a:pt x="3056" y="0"/>
                    <a:pt x="2647" y="158"/>
                    <a:pt x="2426" y="504"/>
                  </a:cubicBezTo>
                  <a:cubicBezTo>
                    <a:pt x="2143" y="189"/>
                    <a:pt x="1796"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1" name="Google Shape;6491;p72"/>
            <p:cNvSpPr/>
            <p:nvPr/>
          </p:nvSpPr>
          <p:spPr>
            <a:xfrm>
              <a:off x="-28461325" y="2701925"/>
              <a:ext cx="272525" cy="293825"/>
            </a:xfrm>
            <a:custGeom>
              <a:avLst/>
              <a:gdLst/>
              <a:ahLst/>
              <a:cxnLst/>
              <a:rect l="l" t="t" r="r" b="b"/>
              <a:pathLst>
                <a:path w="10901" h="11753" extrusionOk="0">
                  <a:moveTo>
                    <a:pt x="7845" y="2647"/>
                  </a:moveTo>
                  <a:cubicBezTo>
                    <a:pt x="9168" y="2647"/>
                    <a:pt x="10208" y="3781"/>
                    <a:pt x="10208" y="5136"/>
                  </a:cubicBezTo>
                  <a:cubicBezTo>
                    <a:pt x="10208" y="5577"/>
                    <a:pt x="10145" y="5924"/>
                    <a:pt x="9987" y="6239"/>
                  </a:cubicBezTo>
                  <a:lnTo>
                    <a:pt x="8034" y="10303"/>
                  </a:lnTo>
                  <a:cubicBezTo>
                    <a:pt x="7814" y="10807"/>
                    <a:pt x="7341" y="11090"/>
                    <a:pt x="6837" y="11090"/>
                  </a:cubicBezTo>
                  <a:cubicBezTo>
                    <a:pt x="6396" y="11090"/>
                    <a:pt x="6049" y="10901"/>
                    <a:pt x="5766" y="10555"/>
                  </a:cubicBezTo>
                  <a:cubicBezTo>
                    <a:pt x="5703" y="10460"/>
                    <a:pt x="5608" y="10429"/>
                    <a:pt x="5482" y="10429"/>
                  </a:cubicBezTo>
                  <a:cubicBezTo>
                    <a:pt x="5388" y="10429"/>
                    <a:pt x="5293" y="10460"/>
                    <a:pt x="5230" y="10555"/>
                  </a:cubicBezTo>
                  <a:cubicBezTo>
                    <a:pt x="4947" y="10901"/>
                    <a:pt x="4537" y="11090"/>
                    <a:pt x="4159" y="11090"/>
                  </a:cubicBezTo>
                  <a:cubicBezTo>
                    <a:pt x="3655" y="11090"/>
                    <a:pt x="3182" y="10775"/>
                    <a:pt x="2930" y="10303"/>
                  </a:cubicBezTo>
                  <a:lnTo>
                    <a:pt x="1008" y="6239"/>
                  </a:lnTo>
                  <a:cubicBezTo>
                    <a:pt x="851" y="5892"/>
                    <a:pt x="756" y="5546"/>
                    <a:pt x="756" y="5136"/>
                  </a:cubicBezTo>
                  <a:cubicBezTo>
                    <a:pt x="756" y="3781"/>
                    <a:pt x="1828" y="2647"/>
                    <a:pt x="3119" y="2647"/>
                  </a:cubicBezTo>
                  <a:cubicBezTo>
                    <a:pt x="3970" y="2647"/>
                    <a:pt x="4758" y="3120"/>
                    <a:pt x="5167" y="3876"/>
                  </a:cubicBezTo>
                  <a:cubicBezTo>
                    <a:pt x="5262" y="4002"/>
                    <a:pt x="5325" y="4033"/>
                    <a:pt x="5482" y="4033"/>
                  </a:cubicBezTo>
                  <a:cubicBezTo>
                    <a:pt x="5640" y="4033"/>
                    <a:pt x="5734" y="3970"/>
                    <a:pt x="5797" y="3876"/>
                  </a:cubicBezTo>
                  <a:cubicBezTo>
                    <a:pt x="6238" y="3120"/>
                    <a:pt x="7026" y="2647"/>
                    <a:pt x="7845" y="2647"/>
                  </a:cubicBezTo>
                  <a:close/>
                  <a:moveTo>
                    <a:pt x="6774" y="1"/>
                  </a:moveTo>
                  <a:cubicBezTo>
                    <a:pt x="5829" y="1"/>
                    <a:pt x="5104" y="788"/>
                    <a:pt x="5104" y="1734"/>
                  </a:cubicBezTo>
                  <a:lnTo>
                    <a:pt x="5104" y="2773"/>
                  </a:lnTo>
                  <a:cubicBezTo>
                    <a:pt x="4537" y="2301"/>
                    <a:pt x="3844" y="1986"/>
                    <a:pt x="3088" y="1986"/>
                  </a:cubicBezTo>
                  <a:cubicBezTo>
                    <a:pt x="1386" y="1986"/>
                    <a:pt x="0" y="3403"/>
                    <a:pt x="0" y="5136"/>
                  </a:cubicBezTo>
                  <a:cubicBezTo>
                    <a:pt x="0" y="5609"/>
                    <a:pt x="126" y="6081"/>
                    <a:pt x="315" y="6522"/>
                  </a:cubicBezTo>
                  <a:lnTo>
                    <a:pt x="2269" y="10586"/>
                  </a:lnTo>
                  <a:cubicBezTo>
                    <a:pt x="2615" y="11343"/>
                    <a:pt x="3308" y="11752"/>
                    <a:pt x="4096" y="11752"/>
                  </a:cubicBezTo>
                  <a:cubicBezTo>
                    <a:pt x="4632" y="11752"/>
                    <a:pt x="5104" y="11563"/>
                    <a:pt x="5451" y="11248"/>
                  </a:cubicBezTo>
                  <a:cubicBezTo>
                    <a:pt x="5797" y="11563"/>
                    <a:pt x="6270" y="11752"/>
                    <a:pt x="6774" y="11752"/>
                  </a:cubicBezTo>
                  <a:cubicBezTo>
                    <a:pt x="7561" y="11752"/>
                    <a:pt x="8286" y="11280"/>
                    <a:pt x="8633" y="10586"/>
                  </a:cubicBezTo>
                  <a:lnTo>
                    <a:pt x="10554" y="6522"/>
                  </a:lnTo>
                  <a:cubicBezTo>
                    <a:pt x="10775" y="6081"/>
                    <a:pt x="10901" y="5609"/>
                    <a:pt x="10901" y="5136"/>
                  </a:cubicBezTo>
                  <a:cubicBezTo>
                    <a:pt x="10869" y="3466"/>
                    <a:pt x="9515" y="1986"/>
                    <a:pt x="7814" y="1986"/>
                  </a:cubicBezTo>
                  <a:cubicBezTo>
                    <a:pt x="7057" y="1986"/>
                    <a:pt x="6364" y="2269"/>
                    <a:pt x="5797" y="2773"/>
                  </a:cubicBezTo>
                  <a:lnTo>
                    <a:pt x="5797" y="1734"/>
                  </a:lnTo>
                  <a:cubicBezTo>
                    <a:pt x="5797" y="1135"/>
                    <a:pt x="6238" y="694"/>
                    <a:pt x="6774" y="694"/>
                  </a:cubicBezTo>
                  <a:cubicBezTo>
                    <a:pt x="6994" y="694"/>
                    <a:pt x="7152" y="536"/>
                    <a:pt x="7152" y="347"/>
                  </a:cubicBezTo>
                  <a:cubicBezTo>
                    <a:pt x="7152" y="158"/>
                    <a:pt x="6994"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92" name="Google Shape;6492;p72"/>
          <p:cNvGrpSpPr/>
          <p:nvPr/>
        </p:nvGrpSpPr>
        <p:grpSpPr>
          <a:xfrm>
            <a:off x="9471881" y="2166761"/>
            <a:ext cx="472143" cy="302632"/>
            <a:chOff x="-26585200" y="2025375"/>
            <a:chExt cx="296150" cy="189825"/>
          </a:xfrm>
        </p:grpSpPr>
        <p:sp>
          <p:nvSpPr>
            <p:cNvPr id="6493" name="Google Shape;6493;p72"/>
            <p:cNvSpPr/>
            <p:nvPr/>
          </p:nvSpPr>
          <p:spPr>
            <a:xfrm>
              <a:off x="-26340250" y="2127750"/>
              <a:ext cx="51200" cy="70125"/>
            </a:xfrm>
            <a:custGeom>
              <a:avLst/>
              <a:gdLst/>
              <a:ahLst/>
              <a:cxnLst/>
              <a:rect l="l" t="t" r="r" b="b"/>
              <a:pathLst>
                <a:path w="2048" h="2805" extrusionOk="0">
                  <a:moveTo>
                    <a:pt x="1008" y="977"/>
                  </a:moveTo>
                  <a:cubicBezTo>
                    <a:pt x="1229" y="1324"/>
                    <a:pt x="1386" y="1608"/>
                    <a:pt x="1386" y="1734"/>
                  </a:cubicBezTo>
                  <a:cubicBezTo>
                    <a:pt x="1323" y="1923"/>
                    <a:pt x="1166" y="2080"/>
                    <a:pt x="1008" y="2080"/>
                  </a:cubicBezTo>
                  <a:cubicBezTo>
                    <a:pt x="819" y="2080"/>
                    <a:pt x="662" y="1923"/>
                    <a:pt x="662" y="1734"/>
                  </a:cubicBezTo>
                  <a:cubicBezTo>
                    <a:pt x="662" y="1608"/>
                    <a:pt x="819" y="1324"/>
                    <a:pt x="1008" y="977"/>
                  </a:cubicBezTo>
                  <a:close/>
                  <a:moveTo>
                    <a:pt x="1008" y="1"/>
                  </a:moveTo>
                  <a:cubicBezTo>
                    <a:pt x="914" y="1"/>
                    <a:pt x="788" y="32"/>
                    <a:pt x="756" y="158"/>
                  </a:cubicBezTo>
                  <a:cubicBezTo>
                    <a:pt x="756" y="158"/>
                    <a:pt x="536" y="442"/>
                    <a:pt x="378" y="757"/>
                  </a:cubicBezTo>
                  <a:cubicBezTo>
                    <a:pt x="32" y="1324"/>
                    <a:pt x="0" y="1608"/>
                    <a:pt x="0" y="1765"/>
                  </a:cubicBezTo>
                  <a:cubicBezTo>
                    <a:pt x="0" y="2364"/>
                    <a:pt x="473" y="2805"/>
                    <a:pt x="1008" y="2805"/>
                  </a:cubicBezTo>
                  <a:cubicBezTo>
                    <a:pt x="1607" y="2805"/>
                    <a:pt x="2048" y="2332"/>
                    <a:pt x="2048" y="1765"/>
                  </a:cubicBezTo>
                  <a:cubicBezTo>
                    <a:pt x="2048" y="1608"/>
                    <a:pt x="2016" y="1387"/>
                    <a:pt x="1638" y="757"/>
                  </a:cubicBezTo>
                  <a:cubicBezTo>
                    <a:pt x="1449" y="442"/>
                    <a:pt x="1292" y="158"/>
                    <a:pt x="1292" y="158"/>
                  </a:cubicBezTo>
                  <a:cubicBezTo>
                    <a:pt x="1229" y="64"/>
                    <a:pt x="1134"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4" name="Google Shape;6494;p72"/>
            <p:cNvSpPr/>
            <p:nvPr/>
          </p:nvSpPr>
          <p:spPr>
            <a:xfrm>
              <a:off x="-26585200" y="2025375"/>
              <a:ext cx="295375" cy="189825"/>
            </a:xfrm>
            <a:custGeom>
              <a:avLst/>
              <a:gdLst/>
              <a:ahLst/>
              <a:cxnLst/>
              <a:rect l="l" t="t" r="r" b="b"/>
              <a:pathLst>
                <a:path w="11815" h="7593" extrusionOk="0">
                  <a:moveTo>
                    <a:pt x="10775" y="2016"/>
                  </a:moveTo>
                  <a:cubicBezTo>
                    <a:pt x="10964" y="2016"/>
                    <a:pt x="11121" y="2174"/>
                    <a:pt x="11121" y="2363"/>
                  </a:cubicBezTo>
                  <a:cubicBezTo>
                    <a:pt x="11121" y="2552"/>
                    <a:pt x="10964" y="2710"/>
                    <a:pt x="10775" y="2710"/>
                  </a:cubicBezTo>
                  <a:lnTo>
                    <a:pt x="9830" y="2710"/>
                  </a:lnTo>
                  <a:lnTo>
                    <a:pt x="9987" y="2016"/>
                  </a:lnTo>
                  <a:close/>
                  <a:moveTo>
                    <a:pt x="6238" y="693"/>
                  </a:moveTo>
                  <a:cubicBezTo>
                    <a:pt x="6081" y="1103"/>
                    <a:pt x="5734" y="1418"/>
                    <a:pt x="5261" y="1418"/>
                  </a:cubicBezTo>
                  <a:lnTo>
                    <a:pt x="3875" y="1418"/>
                  </a:lnTo>
                  <a:cubicBezTo>
                    <a:pt x="3686" y="1418"/>
                    <a:pt x="3529" y="1575"/>
                    <a:pt x="3529" y="1764"/>
                  </a:cubicBezTo>
                  <a:cubicBezTo>
                    <a:pt x="3529" y="1953"/>
                    <a:pt x="3686" y="2111"/>
                    <a:pt x="3875" y="2111"/>
                  </a:cubicBezTo>
                  <a:lnTo>
                    <a:pt x="9326" y="2111"/>
                  </a:lnTo>
                  <a:lnTo>
                    <a:pt x="9168" y="2836"/>
                  </a:lnTo>
                  <a:lnTo>
                    <a:pt x="5923" y="2836"/>
                  </a:lnTo>
                  <a:lnTo>
                    <a:pt x="5923" y="2710"/>
                  </a:lnTo>
                  <a:cubicBezTo>
                    <a:pt x="5734" y="2710"/>
                    <a:pt x="5576" y="2867"/>
                    <a:pt x="5576" y="3056"/>
                  </a:cubicBezTo>
                  <a:cubicBezTo>
                    <a:pt x="5576" y="3277"/>
                    <a:pt x="5734" y="3434"/>
                    <a:pt x="5923" y="3434"/>
                  </a:cubicBezTo>
                  <a:lnTo>
                    <a:pt x="8034" y="3434"/>
                  </a:lnTo>
                  <a:cubicBezTo>
                    <a:pt x="8223" y="3434"/>
                    <a:pt x="8380" y="3592"/>
                    <a:pt x="8380" y="3781"/>
                  </a:cubicBezTo>
                  <a:cubicBezTo>
                    <a:pt x="8380" y="3970"/>
                    <a:pt x="8223" y="4127"/>
                    <a:pt x="8034" y="4127"/>
                  </a:cubicBezTo>
                  <a:lnTo>
                    <a:pt x="5923" y="4127"/>
                  </a:lnTo>
                  <a:cubicBezTo>
                    <a:pt x="5734" y="4127"/>
                    <a:pt x="5576" y="4285"/>
                    <a:pt x="5576" y="4474"/>
                  </a:cubicBezTo>
                  <a:cubicBezTo>
                    <a:pt x="5576" y="4694"/>
                    <a:pt x="5734" y="4852"/>
                    <a:pt x="5923" y="4852"/>
                  </a:cubicBezTo>
                  <a:lnTo>
                    <a:pt x="7309" y="4852"/>
                  </a:lnTo>
                  <a:cubicBezTo>
                    <a:pt x="7498" y="4852"/>
                    <a:pt x="7656" y="5009"/>
                    <a:pt x="7656" y="5198"/>
                  </a:cubicBezTo>
                  <a:cubicBezTo>
                    <a:pt x="7656" y="5388"/>
                    <a:pt x="7498" y="5545"/>
                    <a:pt x="7309" y="5545"/>
                  </a:cubicBezTo>
                  <a:lnTo>
                    <a:pt x="5923" y="5545"/>
                  </a:lnTo>
                  <a:cubicBezTo>
                    <a:pt x="5734" y="5545"/>
                    <a:pt x="5576" y="5703"/>
                    <a:pt x="5576" y="5892"/>
                  </a:cubicBezTo>
                  <a:cubicBezTo>
                    <a:pt x="5576" y="6112"/>
                    <a:pt x="5734" y="6270"/>
                    <a:pt x="5923" y="6270"/>
                  </a:cubicBezTo>
                  <a:lnTo>
                    <a:pt x="6648" y="6270"/>
                  </a:lnTo>
                  <a:cubicBezTo>
                    <a:pt x="6837" y="6270"/>
                    <a:pt x="6994" y="6427"/>
                    <a:pt x="6994" y="6616"/>
                  </a:cubicBezTo>
                  <a:cubicBezTo>
                    <a:pt x="6994" y="6805"/>
                    <a:pt x="6837" y="6963"/>
                    <a:pt x="6648" y="6963"/>
                  </a:cubicBezTo>
                  <a:lnTo>
                    <a:pt x="3151" y="6963"/>
                  </a:lnTo>
                  <a:cubicBezTo>
                    <a:pt x="1796" y="6963"/>
                    <a:pt x="693" y="5860"/>
                    <a:pt x="693" y="4537"/>
                  </a:cubicBezTo>
                  <a:lnTo>
                    <a:pt x="693" y="3151"/>
                  </a:lnTo>
                  <a:cubicBezTo>
                    <a:pt x="693" y="1796"/>
                    <a:pt x="1796" y="693"/>
                    <a:pt x="3151" y="693"/>
                  </a:cubicBezTo>
                  <a:close/>
                  <a:moveTo>
                    <a:pt x="3088" y="0"/>
                  </a:moveTo>
                  <a:cubicBezTo>
                    <a:pt x="1355" y="0"/>
                    <a:pt x="0" y="1418"/>
                    <a:pt x="0" y="3119"/>
                  </a:cubicBezTo>
                  <a:lnTo>
                    <a:pt x="0" y="4474"/>
                  </a:lnTo>
                  <a:cubicBezTo>
                    <a:pt x="0" y="6207"/>
                    <a:pt x="1418" y="7593"/>
                    <a:pt x="3088" y="7593"/>
                  </a:cubicBezTo>
                  <a:lnTo>
                    <a:pt x="6616" y="7593"/>
                  </a:lnTo>
                  <a:cubicBezTo>
                    <a:pt x="7183" y="7593"/>
                    <a:pt x="7624" y="7120"/>
                    <a:pt x="7624" y="6585"/>
                  </a:cubicBezTo>
                  <a:cubicBezTo>
                    <a:pt x="7624" y="6459"/>
                    <a:pt x="7593" y="6301"/>
                    <a:pt x="7561" y="6175"/>
                  </a:cubicBezTo>
                  <a:cubicBezTo>
                    <a:pt x="7971" y="6049"/>
                    <a:pt x="8317" y="5671"/>
                    <a:pt x="8317" y="5198"/>
                  </a:cubicBezTo>
                  <a:cubicBezTo>
                    <a:pt x="8317" y="5072"/>
                    <a:pt x="8254" y="4915"/>
                    <a:pt x="8223" y="4789"/>
                  </a:cubicBezTo>
                  <a:cubicBezTo>
                    <a:pt x="8664" y="4694"/>
                    <a:pt x="8979" y="4285"/>
                    <a:pt x="8979" y="3812"/>
                  </a:cubicBezTo>
                  <a:cubicBezTo>
                    <a:pt x="8979" y="3686"/>
                    <a:pt x="8948" y="3592"/>
                    <a:pt x="8884" y="3466"/>
                  </a:cubicBezTo>
                  <a:lnTo>
                    <a:pt x="9389" y="3403"/>
                  </a:lnTo>
                  <a:lnTo>
                    <a:pt x="10775" y="3403"/>
                  </a:lnTo>
                  <a:cubicBezTo>
                    <a:pt x="11373" y="3403"/>
                    <a:pt x="11814" y="2930"/>
                    <a:pt x="11814" y="2395"/>
                  </a:cubicBezTo>
                  <a:cubicBezTo>
                    <a:pt x="11814" y="1796"/>
                    <a:pt x="11342" y="1386"/>
                    <a:pt x="10775" y="1386"/>
                  </a:cubicBezTo>
                  <a:lnTo>
                    <a:pt x="6616" y="1386"/>
                  </a:lnTo>
                  <a:cubicBezTo>
                    <a:pt x="6837" y="1103"/>
                    <a:pt x="6963" y="693"/>
                    <a:pt x="6963" y="347"/>
                  </a:cubicBezTo>
                  <a:cubicBezTo>
                    <a:pt x="6963" y="158"/>
                    <a:pt x="6805" y="0"/>
                    <a:pt x="661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5" name="Google Shape;6495;p72"/>
            <p:cNvSpPr/>
            <p:nvPr/>
          </p:nvSpPr>
          <p:spPr>
            <a:xfrm>
              <a:off x="-26480450" y="2093100"/>
              <a:ext cx="18125" cy="18150"/>
            </a:xfrm>
            <a:custGeom>
              <a:avLst/>
              <a:gdLst/>
              <a:ahLst/>
              <a:cxnLst/>
              <a:rect l="l" t="t" r="r" b="b"/>
              <a:pathLst>
                <a:path w="725" h="726" extrusionOk="0">
                  <a:moveTo>
                    <a:pt x="378" y="1"/>
                  </a:moveTo>
                  <a:cubicBezTo>
                    <a:pt x="158" y="1"/>
                    <a:pt x="0" y="158"/>
                    <a:pt x="0" y="347"/>
                  </a:cubicBezTo>
                  <a:cubicBezTo>
                    <a:pt x="0" y="568"/>
                    <a:pt x="158" y="725"/>
                    <a:pt x="378" y="725"/>
                  </a:cubicBezTo>
                  <a:cubicBezTo>
                    <a:pt x="567" y="725"/>
                    <a:pt x="725" y="568"/>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6" name="Google Shape;6496;p72"/>
            <p:cNvSpPr/>
            <p:nvPr/>
          </p:nvSpPr>
          <p:spPr>
            <a:xfrm>
              <a:off x="-26480450" y="212775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497" name="Google Shape;6497;p72"/>
            <p:cNvSpPr/>
            <p:nvPr/>
          </p:nvSpPr>
          <p:spPr>
            <a:xfrm>
              <a:off x="-26480450" y="21624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498" name="Google Shape;6498;p72"/>
          <p:cNvGrpSpPr/>
          <p:nvPr/>
        </p:nvGrpSpPr>
        <p:grpSpPr>
          <a:xfrm>
            <a:off x="9472497" y="2679059"/>
            <a:ext cx="470907" cy="470907"/>
            <a:chOff x="-26584425" y="2340425"/>
            <a:chExt cx="295375" cy="295375"/>
          </a:xfrm>
        </p:grpSpPr>
        <p:sp>
          <p:nvSpPr>
            <p:cNvPr id="6499" name="Google Shape;6499;p72"/>
            <p:cNvSpPr/>
            <p:nvPr/>
          </p:nvSpPr>
          <p:spPr>
            <a:xfrm>
              <a:off x="-26462350" y="2463275"/>
              <a:ext cx="51225" cy="51225"/>
            </a:xfrm>
            <a:custGeom>
              <a:avLst/>
              <a:gdLst/>
              <a:ahLst/>
              <a:cxnLst/>
              <a:rect l="l" t="t" r="r" b="b"/>
              <a:pathLst>
                <a:path w="2049" h="2049" extrusionOk="0">
                  <a:moveTo>
                    <a:pt x="1009" y="631"/>
                  </a:moveTo>
                  <a:cubicBezTo>
                    <a:pt x="1230" y="631"/>
                    <a:pt x="1387" y="788"/>
                    <a:pt x="1387" y="977"/>
                  </a:cubicBezTo>
                  <a:cubicBezTo>
                    <a:pt x="1324" y="1230"/>
                    <a:pt x="1167" y="1356"/>
                    <a:pt x="1009" y="1356"/>
                  </a:cubicBezTo>
                  <a:cubicBezTo>
                    <a:pt x="820" y="1356"/>
                    <a:pt x="662" y="1198"/>
                    <a:pt x="662" y="977"/>
                  </a:cubicBezTo>
                  <a:cubicBezTo>
                    <a:pt x="662" y="788"/>
                    <a:pt x="820" y="631"/>
                    <a:pt x="1009" y="631"/>
                  </a:cubicBezTo>
                  <a:close/>
                  <a:moveTo>
                    <a:pt x="1009" y="1"/>
                  </a:moveTo>
                  <a:cubicBezTo>
                    <a:pt x="442" y="1"/>
                    <a:pt x="1" y="473"/>
                    <a:pt x="1" y="1041"/>
                  </a:cubicBezTo>
                  <a:cubicBezTo>
                    <a:pt x="1" y="1608"/>
                    <a:pt x="473" y="2049"/>
                    <a:pt x="1009" y="2049"/>
                  </a:cubicBezTo>
                  <a:cubicBezTo>
                    <a:pt x="1576" y="2049"/>
                    <a:pt x="2049" y="1576"/>
                    <a:pt x="2049" y="1041"/>
                  </a:cubicBezTo>
                  <a:cubicBezTo>
                    <a:pt x="2049" y="442"/>
                    <a:pt x="1576"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0" name="Google Shape;6500;p72"/>
            <p:cNvSpPr/>
            <p:nvPr/>
          </p:nvSpPr>
          <p:spPr>
            <a:xfrm>
              <a:off x="-26500150" y="2376650"/>
              <a:ext cx="121325" cy="75175"/>
            </a:xfrm>
            <a:custGeom>
              <a:avLst/>
              <a:gdLst/>
              <a:ahLst/>
              <a:cxnLst/>
              <a:rect l="l" t="t" r="r" b="b"/>
              <a:pathLst>
                <a:path w="4853" h="3007" extrusionOk="0">
                  <a:moveTo>
                    <a:pt x="2521" y="662"/>
                  </a:moveTo>
                  <a:cubicBezTo>
                    <a:pt x="3088" y="662"/>
                    <a:pt x="3592" y="788"/>
                    <a:pt x="4065" y="977"/>
                  </a:cubicBezTo>
                  <a:lnTo>
                    <a:pt x="3403" y="2206"/>
                  </a:lnTo>
                  <a:cubicBezTo>
                    <a:pt x="3120" y="2080"/>
                    <a:pt x="2836" y="2048"/>
                    <a:pt x="2553" y="2048"/>
                  </a:cubicBezTo>
                  <a:cubicBezTo>
                    <a:pt x="2206" y="2048"/>
                    <a:pt x="1954" y="2080"/>
                    <a:pt x="1670" y="2206"/>
                  </a:cubicBezTo>
                  <a:lnTo>
                    <a:pt x="1009" y="977"/>
                  </a:lnTo>
                  <a:cubicBezTo>
                    <a:pt x="1481" y="788"/>
                    <a:pt x="1985" y="662"/>
                    <a:pt x="2521" y="662"/>
                  </a:cubicBezTo>
                  <a:close/>
                  <a:moveTo>
                    <a:pt x="2458" y="0"/>
                  </a:moveTo>
                  <a:cubicBezTo>
                    <a:pt x="1702" y="0"/>
                    <a:pt x="914" y="189"/>
                    <a:pt x="253" y="567"/>
                  </a:cubicBezTo>
                  <a:cubicBezTo>
                    <a:pt x="95" y="630"/>
                    <a:pt x="1" y="882"/>
                    <a:pt x="127" y="1040"/>
                  </a:cubicBezTo>
                  <a:lnTo>
                    <a:pt x="1198" y="2836"/>
                  </a:lnTo>
                  <a:cubicBezTo>
                    <a:pt x="1229" y="2930"/>
                    <a:pt x="1324" y="2993"/>
                    <a:pt x="1387" y="2993"/>
                  </a:cubicBezTo>
                  <a:cubicBezTo>
                    <a:pt x="1415" y="3003"/>
                    <a:pt x="1442" y="3006"/>
                    <a:pt x="1470" y="3006"/>
                  </a:cubicBezTo>
                  <a:cubicBezTo>
                    <a:pt x="1537" y="3006"/>
                    <a:pt x="1604" y="2984"/>
                    <a:pt x="1670" y="2962"/>
                  </a:cubicBezTo>
                  <a:cubicBezTo>
                    <a:pt x="1891" y="2804"/>
                    <a:pt x="2206" y="2710"/>
                    <a:pt x="2490" y="2710"/>
                  </a:cubicBezTo>
                  <a:cubicBezTo>
                    <a:pt x="2773" y="2710"/>
                    <a:pt x="3088" y="2804"/>
                    <a:pt x="3309" y="2962"/>
                  </a:cubicBezTo>
                  <a:cubicBezTo>
                    <a:pt x="3372" y="2993"/>
                    <a:pt x="3435" y="2993"/>
                    <a:pt x="3466" y="2993"/>
                  </a:cubicBezTo>
                  <a:lnTo>
                    <a:pt x="3561" y="2993"/>
                  </a:lnTo>
                  <a:cubicBezTo>
                    <a:pt x="3624" y="2962"/>
                    <a:pt x="3718" y="2930"/>
                    <a:pt x="3750" y="2836"/>
                  </a:cubicBezTo>
                  <a:lnTo>
                    <a:pt x="4789" y="1040"/>
                  </a:lnTo>
                  <a:cubicBezTo>
                    <a:pt x="4852" y="882"/>
                    <a:pt x="4821" y="630"/>
                    <a:pt x="4663" y="567"/>
                  </a:cubicBezTo>
                  <a:cubicBezTo>
                    <a:pt x="4002" y="189"/>
                    <a:pt x="3246"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1" name="Google Shape;6501;p72"/>
            <p:cNvSpPr/>
            <p:nvPr/>
          </p:nvSpPr>
          <p:spPr>
            <a:xfrm>
              <a:off x="-26549775" y="2480750"/>
              <a:ext cx="95325" cy="105425"/>
            </a:xfrm>
            <a:custGeom>
              <a:avLst/>
              <a:gdLst/>
              <a:ahLst/>
              <a:cxnLst/>
              <a:rect l="l" t="t" r="r" b="b"/>
              <a:pathLst>
                <a:path w="3813" h="4217" extrusionOk="0">
                  <a:moveTo>
                    <a:pt x="2080" y="688"/>
                  </a:moveTo>
                  <a:cubicBezTo>
                    <a:pt x="2143" y="1287"/>
                    <a:pt x="2458" y="1791"/>
                    <a:pt x="2931" y="2169"/>
                  </a:cubicBezTo>
                  <a:lnTo>
                    <a:pt x="2238" y="3397"/>
                  </a:lnTo>
                  <a:cubicBezTo>
                    <a:pt x="1387" y="2767"/>
                    <a:pt x="820" y="1791"/>
                    <a:pt x="694" y="720"/>
                  </a:cubicBezTo>
                  <a:lnTo>
                    <a:pt x="2080" y="688"/>
                  </a:lnTo>
                  <a:close/>
                  <a:moveTo>
                    <a:pt x="2503" y="0"/>
                  </a:moveTo>
                  <a:cubicBezTo>
                    <a:pt x="2479" y="0"/>
                    <a:pt x="2454" y="8"/>
                    <a:pt x="2427" y="26"/>
                  </a:cubicBezTo>
                  <a:lnTo>
                    <a:pt x="347" y="58"/>
                  </a:lnTo>
                  <a:cubicBezTo>
                    <a:pt x="158" y="58"/>
                    <a:pt x="1" y="215"/>
                    <a:pt x="1" y="405"/>
                  </a:cubicBezTo>
                  <a:cubicBezTo>
                    <a:pt x="1" y="1192"/>
                    <a:pt x="221" y="1948"/>
                    <a:pt x="631" y="2610"/>
                  </a:cubicBezTo>
                  <a:cubicBezTo>
                    <a:pt x="1009" y="3240"/>
                    <a:pt x="1513" y="3807"/>
                    <a:pt x="2206" y="4185"/>
                  </a:cubicBezTo>
                  <a:cubicBezTo>
                    <a:pt x="2238" y="4217"/>
                    <a:pt x="2301" y="4217"/>
                    <a:pt x="2395" y="4217"/>
                  </a:cubicBezTo>
                  <a:lnTo>
                    <a:pt x="2458" y="4217"/>
                  </a:lnTo>
                  <a:cubicBezTo>
                    <a:pt x="2553" y="4185"/>
                    <a:pt x="2616" y="4154"/>
                    <a:pt x="2679" y="4059"/>
                  </a:cubicBezTo>
                  <a:lnTo>
                    <a:pt x="3718" y="2295"/>
                  </a:lnTo>
                  <a:cubicBezTo>
                    <a:pt x="3813" y="2106"/>
                    <a:pt x="3781" y="1917"/>
                    <a:pt x="3624" y="1791"/>
                  </a:cubicBezTo>
                  <a:cubicBezTo>
                    <a:pt x="3088" y="1476"/>
                    <a:pt x="2773" y="909"/>
                    <a:pt x="2773" y="342"/>
                  </a:cubicBezTo>
                  <a:cubicBezTo>
                    <a:pt x="2773" y="247"/>
                    <a:pt x="2742" y="121"/>
                    <a:pt x="2679" y="89"/>
                  </a:cubicBezTo>
                  <a:cubicBezTo>
                    <a:pt x="2612" y="45"/>
                    <a:pt x="2561" y="0"/>
                    <a:pt x="25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2" name="Google Shape;6502;p72"/>
            <p:cNvSpPr/>
            <p:nvPr/>
          </p:nvSpPr>
          <p:spPr>
            <a:xfrm>
              <a:off x="-26421375" y="2481400"/>
              <a:ext cx="96900" cy="104000"/>
            </a:xfrm>
            <a:custGeom>
              <a:avLst/>
              <a:gdLst/>
              <a:ahLst/>
              <a:cxnLst/>
              <a:rect l="l" t="t" r="r" b="b"/>
              <a:pathLst>
                <a:path w="3876" h="4160" extrusionOk="0">
                  <a:moveTo>
                    <a:pt x="1796" y="694"/>
                  </a:moveTo>
                  <a:lnTo>
                    <a:pt x="3151" y="725"/>
                  </a:lnTo>
                  <a:cubicBezTo>
                    <a:pt x="3056" y="1765"/>
                    <a:pt x="2489" y="2741"/>
                    <a:pt x="1638" y="3371"/>
                  </a:cubicBezTo>
                  <a:lnTo>
                    <a:pt x="914" y="2206"/>
                  </a:lnTo>
                  <a:cubicBezTo>
                    <a:pt x="1386" y="1796"/>
                    <a:pt x="1701" y="1292"/>
                    <a:pt x="1796" y="694"/>
                  </a:cubicBezTo>
                  <a:close/>
                  <a:moveTo>
                    <a:pt x="1418" y="0"/>
                  </a:moveTo>
                  <a:cubicBezTo>
                    <a:pt x="1355" y="0"/>
                    <a:pt x="1229" y="32"/>
                    <a:pt x="1197" y="63"/>
                  </a:cubicBezTo>
                  <a:cubicBezTo>
                    <a:pt x="1103" y="158"/>
                    <a:pt x="1071" y="221"/>
                    <a:pt x="1071" y="316"/>
                  </a:cubicBezTo>
                  <a:cubicBezTo>
                    <a:pt x="1071" y="883"/>
                    <a:pt x="756" y="1450"/>
                    <a:pt x="252" y="1765"/>
                  </a:cubicBezTo>
                  <a:cubicBezTo>
                    <a:pt x="95" y="1891"/>
                    <a:pt x="0" y="2080"/>
                    <a:pt x="126" y="2237"/>
                  </a:cubicBezTo>
                  <a:lnTo>
                    <a:pt x="1197" y="4002"/>
                  </a:lnTo>
                  <a:cubicBezTo>
                    <a:pt x="1229" y="4065"/>
                    <a:pt x="1323" y="4128"/>
                    <a:pt x="1386" y="4159"/>
                  </a:cubicBezTo>
                  <a:lnTo>
                    <a:pt x="1481" y="4159"/>
                  </a:lnTo>
                  <a:cubicBezTo>
                    <a:pt x="1544" y="4159"/>
                    <a:pt x="1575" y="4159"/>
                    <a:pt x="1670" y="4128"/>
                  </a:cubicBezTo>
                  <a:cubicBezTo>
                    <a:pt x="2300" y="3718"/>
                    <a:pt x="2836" y="3182"/>
                    <a:pt x="3245" y="2552"/>
                  </a:cubicBezTo>
                  <a:cubicBezTo>
                    <a:pt x="3623" y="1891"/>
                    <a:pt x="3844" y="1135"/>
                    <a:pt x="3875" y="347"/>
                  </a:cubicBezTo>
                  <a:cubicBezTo>
                    <a:pt x="3875" y="189"/>
                    <a:pt x="3718" y="32"/>
                    <a:pt x="3529" y="32"/>
                  </a:cubicBezTo>
                  <a:lnTo>
                    <a:pt x="1418" y="0"/>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3" name="Google Shape;6503;p72"/>
            <p:cNvSpPr/>
            <p:nvPr/>
          </p:nvSpPr>
          <p:spPr>
            <a:xfrm>
              <a:off x="-26584425" y="2340425"/>
              <a:ext cx="295375" cy="295375"/>
            </a:xfrm>
            <a:custGeom>
              <a:avLst/>
              <a:gdLst/>
              <a:ahLst/>
              <a:cxnLst/>
              <a:rect l="l" t="t" r="r" b="b"/>
              <a:pathLst>
                <a:path w="11815" h="11815" extrusionOk="0">
                  <a:moveTo>
                    <a:pt x="5861" y="693"/>
                  </a:moveTo>
                  <a:cubicBezTo>
                    <a:pt x="7247" y="693"/>
                    <a:pt x="8570" y="1260"/>
                    <a:pt x="9578" y="2237"/>
                  </a:cubicBezTo>
                  <a:cubicBezTo>
                    <a:pt x="10555" y="3214"/>
                    <a:pt x="11090" y="4537"/>
                    <a:pt x="11090" y="5955"/>
                  </a:cubicBezTo>
                  <a:cubicBezTo>
                    <a:pt x="11090" y="7309"/>
                    <a:pt x="10586" y="8632"/>
                    <a:pt x="9578" y="9641"/>
                  </a:cubicBezTo>
                  <a:cubicBezTo>
                    <a:pt x="8570" y="10617"/>
                    <a:pt x="7278" y="11184"/>
                    <a:pt x="5861" y="11184"/>
                  </a:cubicBezTo>
                  <a:cubicBezTo>
                    <a:pt x="4474" y="11184"/>
                    <a:pt x="3151" y="10617"/>
                    <a:pt x="2174" y="9641"/>
                  </a:cubicBezTo>
                  <a:cubicBezTo>
                    <a:pt x="1166" y="8664"/>
                    <a:pt x="631" y="7372"/>
                    <a:pt x="631" y="5955"/>
                  </a:cubicBezTo>
                  <a:cubicBezTo>
                    <a:pt x="631" y="4568"/>
                    <a:pt x="1166" y="3214"/>
                    <a:pt x="2174" y="2237"/>
                  </a:cubicBezTo>
                  <a:cubicBezTo>
                    <a:pt x="3151" y="1260"/>
                    <a:pt x="4443" y="693"/>
                    <a:pt x="5861" y="693"/>
                  </a:cubicBezTo>
                  <a:close/>
                  <a:moveTo>
                    <a:pt x="5892" y="0"/>
                  </a:moveTo>
                  <a:cubicBezTo>
                    <a:pt x="4317" y="0"/>
                    <a:pt x="2836" y="630"/>
                    <a:pt x="1733" y="1733"/>
                  </a:cubicBezTo>
                  <a:cubicBezTo>
                    <a:pt x="631" y="2836"/>
                    <a:pt x="1" y="4316"/>
                    <a:pt x="1" y="5891"/>
                  </a:cubicBezTo>
                  <a:cubicBezTo>
                    <a:pt x="1" y="7467"/>
                    <a:pt x="631" y="8979"/>
                    <a:pt x="1733" y="10082"/>
                  </a:cubicBezTo>
                  <a:cubicBezTo>
                    <a:pt x="2836" y="11184"/>
                    <a:pt x="4317" y="11814"/>
                    <a:pt x="5892" y="11814"/>
                  </a:cubicBezTo>
                  <a:cubicBezTo>
                    <a:pt x="7467" y="11814"/>
                    <a:pt x="8980" y="11184"/>
                    <a:pt x="10082" y="10082"/>
                  </a:cubicBezTo>
                  <a:cubicBezTo>
                    <a:pt x="11185" y="8979"/>
                    <a:pt x="11815" y="7467"/>
                    <a:pt x="11815" y="5891"/>
                  </a:cubicBezTo>
                  <a:cubicBezTo>
                    <a:pt x="11815" y="4379"/>
                    <a:pt x="11185" y="2867"/>
                    <a:pt x="10082" y="1733"/>
                  </a:cubicBezTo>
                  <a:cubicBezTo>
                    <a:pt x="8980" y="630"/>
                    <a:pt x="746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04" name="Google Shape;6504;p72"/>
          <p:cNvGrpSpPr/>
          <p:nvPr/>
        </p:nvGrpSpPr>
        <p:grpSpPr>
          <a:xfrm>
            <a:off x="9465604" y="3267185"/>
            <a:ext cx="484697" cy="471225"/>
            <a:chOff x="-26585200" y="2710400"/>
            <a:chExt cx="304025" cy="295575"/>
          </a:xfrm>
        </p:grpSpPr>
        <p:sp>
          <p:nvSpPr>
            <p:cNvPr id="6505" name="Google Shape;6505;p72"/>
            <p:cNvSpPr/>
            <p:nvPr/>
          </p:nvSpPr>
          <p:spPr>
            <a:xfrm>
              <a:off x="-26585200" y="2710400"/>
              <a:ext cx="304025" cy="295575"/>
            </a:xfrm>
            <a:custGeom>
              <a:avLst/>
              <a:gdLst/>
              <a:ahLst/>
              <a:cxnLst/>
              <a:rect l="l" t="t" r="r" b="b"/>
              <a:pathLst>
                <a:path w="12161" h="11823" extrusionOk="0">
                  <a:moveTo>
                    <a:pt x="8711" y="717"/>
                  </a:moveTo>
                  <a:cubicBezTo>
                    <a:pt x="9333" y="717"/>
                    <a:pt x="9956" y="954"/>
                    <a:pt x="10428" y="1426"/>
                  </a:cubicBezTo>
                  <a:cubicBezTo>
                    <a:pt x="11373" y="2371"/>
                    <a:pt x="11373" y="3915"/>
                    <a:pt x="10428" y="4829"/>
                  </a:cubicBezTo>
                  <a:lnTo>
                    <a:pt x="9830" y="5427"/>
                  </a:lnTo>
                  <a:lnTo>
                    <a:pt x="7404" y="3001"/>
                  </a:lnTo>
                  <a:lnTo>
                    <a:pt x="7971" y="2403"/>
                  </a:lnTo>
                  <a:cubicBezTo>
                    <a:pt x="8191" y="2214"/>
                    <a:pt x="8443" y="2088"/>
                    <a:pt x="8727" y="2088"/>
                  </a:cubicBezTo>
                  <a:cubicBezTo>
                    <a:pt x="9011" y="2088"/>
                    <a:pt x="9294" y="2214"/>
                    <a:pt x="9483" y="2403"/>
                  </a:cubicBezTo>
                  <a:cubicBezTo>
                    <a:pt x="9546" y="2466"/>
                    <a:pt x="9633" y="2497"/>
                    <a:pt x="9719" y="2497"/>
                  </a:cubicBezTo>
                  <a:cubicBezTo>
                    <a:pt x="9806" y="2497"/>
                    <a:pt x="9893" y="2466"/>
                    <a:pt x="9956" y="2403"/>
                  </a:cubicBezTo>
                  <a:cubicBezTo>
                    <a:pt x="10082" y="2277"/>
                    <a:pt x="10082" y="2056"/>
                    <a:pt x="9956" y="1930"/>
                  </a:cubicBezTo>
                  <a:cubicBezTo>
                    <a:pt x="9641" y="1615"/>
                    <a:pt x="9200" y="1426"/>
                    <a:pt x="8727" y="1426"/>
                  </a:cubicBezTo>
                  <a:cubicBezTo>
                    <a:pt x="8254" y="1426"/>
                    <a:pt x="7813" y="1615"/>
                    <a:pt x="7530" y="1930"/>
                  </a:cubicBezTo>
                  <a:lnTo>
                    <a:pt x="6931" y="2529"/>
                  </a:lnTo>
                  <a:lnTo>
                    <a:pt x="6459" y="2056"/>
                  </a:lnTo>
                  <a:lnTo>
                    <a:pt x="6994" y="1426"/>
                  </a:lnTo>
                  <a:cubicBezTo>
                    <a:pt x="7467" y="954"/>
                    <a:pt x="8089" y="717"/>
                    <a:pt x="8711" y="717"/>
                  </a:cubicBezTo>
                  <a:close/>
                  <a:moveTo>
                    <a:pt x="2048" y="6372"/>
                  </a:moveTo>
                  <a:lnTo>
                    <a:pt x="4474" y="8830"/>
                  </a:lnTo>
                  <a:lnTo>
                    <a:pt x="3875" y="9397"/>
                  </a:lnTo>
                  <a:cubicBezTo>
                    <a:pt x="3686" y="9602"/>
                    <a:pt x="3426" y="9704"/>
                    <a:pt x="3162" y="9704"/>
                  </a:cubicBezTo>
                  <a:cubicBezTo>
                    <a:pt x="2899" y="9704"/>
                    <a:pt x="2631" y="9602"/>
                    <a:pt x="2426" y="9397"/>
                  </a:cubicBezTo>
                  <a:cubicBezTo>
                    <a:pt x="2363" y="9350"/>
                    <a:pt x="2276" y="9326"/>
                    <a:pt x="2190" y="9326"/>
                  </a:cubicBezTo>
                  <a:cubicBezTo>
                    <a:pt x="2103" y="9326"/>
                    <a:pt x="2016" y="9350"/>
                    <a:pt x="1953" y="9397"/>
                  </a:cubicBezTo>
                  <a:cubicBezTo>
                    <a:pt x="1827" y="9523"/>
                    <a:pt x="1827" y="9775"/>
                    <a:pt x="1953" y="9869"/>
                  </a:cubicBezTo>
                  <a:cubicBezTo>
                    <a:pt x="2331" y="10247"/>
                    <a:pt x="2741" y="10405"/>
                    <a:pt x="3182" y="10405"/>
                  </a:cubicBezTo>
                  <a:cubicBezTo>
                    <a:pt x="3623" y="10405"/>
                    <a:pt x="4096" y="10247"/>
                    <a:pt x="4411" y="9869"/>
                  </a:cubicBezTo>
                  <a:lnTo>
                    <a:pt x="4978" y="9302"/>
                  </a:lnTo>
                  <a:lnTo>
                    <a:pt x="5450" y="9775"/>
                  </a:lnTo>
                  <a:lnTo>
                    <a:pt x="4820" y="10436"/>
                  </a:lnTo>
                  <a:cubicBezTo>
                    <a:pt x="4348" y="10909"/>
                    <a:pt x="3733" y="11145"/>
                    <a:pt x="3119" y="11145"/>
                  </a:cubicBezTo>
                  <a:cubicBezTo>
                    <a:pt x="2505" y="11145"/>
                    <a:pt x="1890" y="10909"/>
                    <a:pt x="1418" y="10436"/>
                  </a:cubicBezTo>
                  <a:cubicBezTo>
                    <a:pt x="473" y="9491"/>
                    <a:pt x="473" y="7948"/>
                    <a:pt x="1449" y="6971"/>
                  </a:cubicBezTo>
                  <a:lnTo>
                    <a:pt x="2048" y="6372"/>
                  </a:lnTo>
                  <a:close/>
                  <a:moveTo>
                    <a:pt x="3151" y="701"/>
                  </a:moveTo>
                  <a:cubicBezTo>
                    <a:pt x="3781" y="701"/>
                    <a:pt x="4411" y="954"/>
                    <a:pt x="4883" y="1426"/>
                  </a:cubicBezTo>
                  <a:lnTo>
                    <a:pt x="10460" y="7002"/>
                  </a:lnTo>
                  <a:cubicBezTo>
                    <a:pt x="11373" y="7948"/>
                    <a:pt x="11373" y="9491"/>
                    <a:pt x="10428" y="10436"/>
                  </a:cubicBezTo>
                  <a:cubicBezTo>
                    <a:pt x="9956" y="10909"/>
                    <a:pt x="9333" y="11145"/>
                    <a:pt x="8711" y="11145"/>
                  </a:cubicBezTo>
                  <a:cubicBezTo>
                    <a:pt x="8089" y="11145"/>
                    <a:pt x="7467" y="10909"/>
                    <a:pt x="6994" y="10436"/>
                  </a:cubicBezTo>
                  <a:lnTo>
                    <a:pt x="6175" y="9617"/>
                  </a:lnTo>
                  <a:lnTo>
                    <a:pt x="5198" y="8641"/>
                  </a:lnTo>
                  <a:lnTo>
                    <a:pt x="2237" y="5679"/>
                  </a:lnTo>
                  <a:lnTo>
                    <a:pt x="1418" y="4860"/>
                  </a:lnTo>
                  <a:cubicBezTo>
                    <a:pt x="473" y="3915"/>
                    <a:pt x="473" y="2371"/>
                    <a:pt x="1418" y="1426"/>
                  </a:cubicBezTo>
                  <a:cubicBezTo>
                    <a:pt x="1890" y="954"/>
                    <a:pt x="2520" y="701"/>
                    <a:pt x="3151" y="701"/>
                  </a:cubicBezTo>
                  <a:close/>
                  <a:moveTo>
                    <a:pt x="8727" y="0"/>
                  </a:moveTo>
                  <a:cubicBezTo>
                    <a:pt x="7931" y="0"/>
                    <a:pt x="7136" y="308"/>
                    <a:pt x="6522" y="922"/>
                  </a:cubicBezTo>
                  <a:lnTo>
                    <a:pt x="5955" y="1489"/>
                  </a:lnTo>
                  <a:lnTo>
                    <a:pt x="5356" y="922"/>
                  </a:lnTo>
                  <a:cubicBezTo>
                    <a:pt x="4757" y="323"/>
                    <a:pt x="3970" y="8"/>
                    <a:pt x="3151" y="8"/>
                  </a:cubicBezTo>
                  <a:cubicBezTo>
                    <a:pt x="2331" y="8"/>
                    <a:pt x="1544" y="323"/>
                    <a:pt x="945" y="922"/>
                  </a:cubicBezTo>
                  <a:cubicBezTo>
                    <a:pt x="347" y="1489"/>
                    <a:pt x="32" y="2277"/>
                    <a:pt x="32" y="3127"/>
                  </a:cubicBezTo>
                  <a:cubicBezTo>
                    <a:pt x="32" y="3946"/>
                    <a:pt x="347" y="4734"/>
                    <a:pt x="945" y="5333"/>
                  </a:cubicBezTo>
                  <a:lnTo>
                    <a:pt x="1544" y="5900"/>
                  </a:lnTo>
                  <a:lnTo>
                    <a:pt x="945" y="6498"/>
                  </a:lnTo>
                  <a:cubicBezTo>
                    <a:pt x="347" y="7097"/>
                    <a:pt x="32" y="7885"/>
                    <a:pt x="0" y="8704"/>
                  </a:cubicBezTo>
                  <a:cubicBezTo>
                    <a:pt x="0" y="9523"/>
                    <a:pt x="315" y="10310"/>
                    <a:pt x="914" y="10909"/>
                  </a:cubicBezTo>
                  <a:cubicBezTo>
                    <a:pt x="1481" y="11508"/>
                    <a:pt x="2331" y="11823"/>
                    <a:pt x="3119" y="11823"/>
                  </a:cubicBezTo>
                  <a:cubicBezTo>
                    <a:pt x="3907" y="11823"/>
                    <a:pt x="4726" y="11508"/>
                    <a:pt x="5324" y="10909"/>
                  </a:cubicBezTo>
                  <a:lnTo>
                    <a:pt x="5892" y="10310"/>
                  </a:lnTo>
                  <a:lnTo>
                    <a:pt x="6490" y="10909"/>
                  </a:lnTo>
                  <a:cubicBezTo>
                    <a:pt x="7089" y="11508"/>
                    <a:pt x="7876" y="11823"/>
                    <a:pt x="8695" y="11823"/>
                  </a:cubicBezTo>
                  <a:cubicBezTo>
                    <a:pt x="9515" y="11823"/>
                    <a:pt x="10302" y="11508"/>
                    <a:pt x="10901" y="10909"/>
                  </a:cubicBezTo>
                  <a:cubicBezTo>
                    <a:pt x="11499" y="10310"/>
                    <a:pt x="11814" y="9523"/>
                    <a:pt x="11814" y="8704"/>
                  </a:cubicBezTo>
                  <a:cubicBezTo>
                    <a:pt x="11846" y="7885"/>
                    <a:pt x="11531" y="7097"/>
                    <a:pt x="10932" y="6498"/>
                  </a:cubicBezTo>
                  <a:lnTo>
                    <a:pt x="10334" y="5900"/>
                  </a:lnTo>
                  <a:lnTo>
                    <a:pt x="10932" y="5333"/>
                  </a:lnTo>
                  <a:cubicBezTo>
                    <a:pt x="12161" y="4104"/>
                    <a:pt x="12161" y="2119"/>
                    <a:pt x="10932" y="922"/>
                  </a:cubicBezTo>
                  <a:cubicBezTo>
                    <a:pt x="10318" y="308"/>
                    <a:pt x="9522" y="0"/>
                    <a:pt x="87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6" name="Google Shape;6506;p72"/>
            <p:cNvSpPr/>
            <p:nvPr/>
          </p:nvSpPr>
          <p:spPr>
            <a:xfrm>
              <a:off x="-26495425" y="2801375"/>
              <a:ext cx="118175" cy="113250"/>
            </a:xfrm>
            <a:custGeom>
              <a:avLst/>
              <a:gdLst/>
              <a:ahLst/>
              <a:cxnLst/>
              <a:rect l="l" t="t" r="r" b="b"/>
              <a:pathLst>
                <a:path w="4727" h="4530" extrusionOk="0">
                  <a:moveTo>
                    <a:pt x="2111" y="749"/>
                  </a:moveTo>
                  <a:cubicBezTo>
                    <a:pt x="2175" y="749"/>
                    <a:pt x="2301" y="780"/>
                    <a:pt x="2364" y="843"/>
                  </a:cubicBezTo>
                  <a:lnTo>
                    <a:pt x="3813" y="2324"/>
                  </a:lnTo>
                  <a:cubicBezTo>
                    <a:pt x="3907" y="2418"/>
                    <a:pt x="3907" y="2639"/>
                    <a:pt x="3813" y="2796"/>
                  </a:cubicBezTo>
                  <a:lnTo>
                    <a:pt x="2805" y="3773"/>
                  </a:lnTo>
                  <a:cubicBezTo>
                    <a:pt x="2757" y="3836"/>
                    <a:pt x="2671" y="3868"/>
                    <a:pt x="2584" y="3868"/>
                  </a:cubicBezTo>
                  <a:cubicBezTo>
                    <a:pt x="2497" y="3868"/>
                    <a:pt x="2411" y="3836"/>
                    <a:pt x="2364" y="3773"/>
                  </a:cubicBezTo>
                  <a:lnTo>
                    <a:pt x="883" y="2324"/>
                  </a:lnTo>
                  <a:cubicBezTo>
                    <a:pt x="788" y="2198"/>
                    <a:pt x="788" y="1946"/>
                    <a:pt x="883" y="1851"/>
                  </a:cubicBezTo>
                  <a:lnTo>
                    <a:pt x="1891" y="843"/>
                  </a:lnTo>
                  <a:cubicBezTo>
                    <a:pt x="1954" y="780"/>
                    <a:pt x="2048" y="749"/>
                    <a:pt x="2111" y="749"/>
                  </a:cubicBezTo>
                  <a:close/>
                  <a:moveTo>
                    <a:pt x="2092" y="0"/>
                  </a:moveTo>
                  <a:cubicBezTo>
                    <a:pt x="1828" y="0"/>
                    <a:pt x="1560" y="103"/>
                    <a:pt x="1355" y="307"/>
                  </a:cubicBezTo>
                  <a:lnTo>
                    <a:pt x="379" y="1284"/>
                  </a:lnTo>
                  <a:cubicBezTo>
                    <a:pt x="1" y="1694"/>
                    <a:pt x="1" y="2355"/>
                    <a:pt x="379" y="2733"/>
                  </a:cubicBezTo>
                  <a:lnTo>
                    <a:pt x="1828" y="4183"/>
                  </a:lnTo>
                  <a:cubicBezTo>
                    <a:pt x="2017" y="4403"/>
                    <a:pt x="2301" y="4529"/>
                    <a:pt x="2584" y="4529"/>
                  </a:cubicBezTo>
                  <a:cubicBezTo>
                    <a:pt x="2868" y="4529"/>
                    <a:pt x="3151" y="4403"/>
                    <a:pt x="3340" y="4183"/>
                  </a:cubicBezTo>
                  <a:lnTo>
                    <a:pt x="4317" y="3206"/>
                  </a:lnTo>
                  <a:cubicBezTo>
                    <a:pt x="4726" y="2828"/>
                    <a:pt x="4726" y="2166"/>
                    <a:pt x="4317" y="1757"/>
                  </a:cubicBezTo>
                  <a:lnTo>
                    <a:pt x="2805" y="307"/>
                  </a:lnTo>
                  <a:cubicBezTo>
                    <a:pt x="2616" y="103"/>
                    <a:pt x="2356" y="0"/>
                    <a:pt x="20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7" name="Google Shape;6507;p72"/>
            <p:cNvSpPr/>
            <p:nvPr/>
          </p:nvSpPr>
          <p:spPr>
            <a:xfrm>
              <a:off x="-26375700" y="295632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8" name="Google Shape;6508;p72"/>
            <p:cNvSpPr/>
            <p:nvPr/>
          </p:nvSpPr>
          <p:spPr>
            <a:xfrm>
              <a:off x="-26339475" y="2920100"/>
              <a:ext cx="18150" cy="18150"/>
            </a:xfrm>
            <a:custGeom>
              <a:avLst/>
              <a:gdLst/>
              <a:ahLst/>
              <a:cxnLst/>
              <a:rect l="l" t="t" r="r" b="b"/>
              <a:pathLst>
                <a:path w="726" h="726" extrusionOk="0">
                  <a:moveTo>
                    <a:pt x="347" y="1"/>
                  </a:moveTo>
                  <a:cubicBezTo>
                    <a:pt x="158" y="1"/>
                    <a:pt x="1" y="158"/>
                    <a:pt x="1" y="347"/>
                  </a:cubicBezTo>
                  <a:cubicBezTo>
                    <a:pt x="1" y="536"/>
                    <a:pt x="158" y="725"/>
                    <a:pt x="347" y="725"/>
                  </a:cubicBezTo>
                  <a:cubicBezTo>
                    <a:pt x="568" y="725"/>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09" name="Google Shape;6509;p72"/>
            <p:cNvSpPr/>
            <p:nvPr/>
          </p:nvSpPr>
          <p:spPr>
            <a:xfrm>
              <a:off x="-26363900" y="2895675"/>
              <a:ext cx="17350" cy="17375"/>
            </a:xfrm>
            <a:custGeom>
              <a:avLst/>
              <a:gdLst/>
              <a:ahLst/>
              <a:cxnLst/>
              <a:rect l="l" t="t" r="r" b="b"/>
              <a:pathLst>
                <a:path w="694" h="695" extrusionOk="0">
                  <a:moveTo>
                    <a:pt x="348" y="1"/>
                  </a:moveTo>
                  <a:cubicBezTo>
                    <a:pt x="159" y="1"/>
                    <a:pt x="1" y="159"/>
                    <a:pt x="1" y="348"/>
                  </a:cubicBezTo>
                  <a:cubicBezTo>
                    <a:pt x="1" y="537"/>
                    <a:pt x="159" y="694"/>
                    <a:pt x="348" y="694"/>
                  </a:cubicBezTo>
                  <a:cubicBezTo>
                    <a:pt x="537" y="694"/>
                    <a:pt x="694" y="537"/>
                    <a:pt x="694" y="348"/>
                  </a:cubicBezTo>
                  <a:cubicBezTo>
                    <a:pt x="694" y="159"/>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0" name="Google Shape;6510;p72"/>
            <p:cNvSpPr/>
            <p:nvPr/>
          </p:nvSpPr>
          <p:spPr>
            <a:xfrm>
              <a:off x="-26369400" y="2925625"/>
              <a:ext cx="17350" cy="18125"/>
            </a:xfrm>
            <a:custGeom>
              <a:avLst/>
              <a:gdLst/>
              <a:ahLst/>
              <a:cxnLst/>
              <a:rect l="l" t="t" r="r" b="b"/>
              <a:pathLst>
                <a:path w="694" h="725" extrusionOk="0">
                  <a:moveTo>
                    <a:pt x="347" y="0"/>
                  </a:moveTo>
                  <a:cubicBezTo>
                    <a:pt x="158" y="0"/>
                    <a:pt x="0" y="189"/>
                    <a:pt x="0" y="378"/>
                  </a:cubicBezTo>
                  <a:cubicBezTo>
                    <a:pt x="0"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1" name="Google Shape;6511;p72"/>
            <p:cNvSpPr/>
            <p:nvPr/>
          </p:nvSpPr>
          <p:spPr>
            <a:xfrm>
              <a:off x="-26400125" y="2932125"/>
              <a:ext cx="17350" cy="17150"/>
            </a:xfrm>
            <a:custGeom>
              <a:avLst/>
              <a:gdLst/>
              <a:ahLst/>
              <a:cxnLst/>
              <a:rect l="l" t="t" r="r" b="b"/>
              <a:pathLst>
                <a:path w="694" h="686" extrusionOk="0">
                  <a:moveTo>
                    <a:pt x="343" y="0"/>
                  </a:moveTo>
                  <a:cubicBezTo>
                    <a:pt x="253" y="0"/>
                    <a:pt x="158" y="39"/>
                    <a:pt x="95" y="118"/>
                  </a:cubicBezTo>
                  <a:cubicBezTo>
                    <a:pt x="1" y="244"/>
                    <a:pt x="1" y="465"/>
                    <a:pt x="95" y="591"/>
                  </a:cubicBezTo>
                  <a:cubicBezTo>
                    <a:pt x="158" y="654"/>
                    <a:pt x="253" y="685"/>
                    <a:pt x="343" y="685"/>
                  </a:cubicBezTo>
                  <a:cubicBezTo>
                    <a:pt x="434" y="685"/>
                    <a:pt x="521" y="654"/>
                    <a:pt x="568" y="591"/>
                  </a:cubicBezTo>
                  <a:cubicBezTo>
                    <a:pt x="694" y="465"/>
                    <a:pt x="694" y="244"/>
                    <a:pt x="568" y="118"/>
                  </a:cubicBezTo>
                  <a:cubicBezTo>
                    <a:pt x="521" y="39"/>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2" name="Google Shape;6512;p72"/>
            <p:cNvSpPr/>
            <p:nvPr/>
          </p:nvSpPr>
          <p:spPr>
            <a:xfrm>
              <a:off x="-26528500" y="28043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3" name="Google Shape;6513;p72"/>
            <p:cNvSpPr/>
            <p:nvPr/>
          </p:nvSpPr>
          <p:spPr>
            <a:xfrm>
              <a:off x="-26490700" y="2768100"/>
              <a:ext cx="17350" cy="17150"/>
            </a:xfrm>
            <a:custGeom>
              <a:avLst/>
              <a:gdLst/>
              <a:ahLst/>
              <a:cxnLst/>
              <a:rect l="l" t="t" r="r" b="b"/>
              <a:pathLst>
                <a:path w="694" h="686" extrusionOk="0">
                  <a:moveTo>
                    <a:pt x="343" y="0"/>
                  </a:moveTo>
                  <a:cubicBezTo>
                    <a:pt x="253" y="0"/>
                    <a:pt x="158" y="32"/>
                    <a:pt x="95" y="95"/>
                  </a:cubicBezTo>
                  <a:cubicBezTo>
                    <a:pt x="1" y="221"/>
                    <a:pt x="1" y="441"/>
                    <a:pt x="95" y="567"/>
                  </a:cubicBezTo>
                  <a:cubicBezTo>
                    <a:pt x="158" y="646"/>
                    <a:pt x="237" y="685"/>
                    <a:pt x="320" y="685"/>
                  </a:cubicBezTo>
                  <a:cubicBezTo>
                    <a:pt x="402" y="685"/>
                    <a:pt x="489" y="646"/>
                    <a:pt x="568" y="567"/>
                  </a:cubicBezTo>
                  <a:cubicBezTo>
                    <a:pt x="694" y="441"/>
                    <a:pt x="694" y="221"/>
                    <a:pt x="568" y="95"/>
                  </a:cubicBezTo>
                  <a:cubicBezTo>
                    <a:pt x="521" y="32"/>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4" name="Google Shape;6514;p72"/>
            <p:cNvSpPr/>
            <p:nvPr/>
          </p:nvSpPr>
          <p:spPr>
            <a:xfrm>
              <a:off x="-26515100" y="2742900"/>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5" name="Google Shape;6515;p72"/>
            <p:cNvSpPr/>
            <p:nvPr/>
          </p:nvSpPr>
          <p:spPr>
            <a:xfrm>
              <a:off x="-26522200" y="2774400"/>
              <a:ext cx="17350" cy="15975"/>
            </a:xfrm>
            <a:custGeom>
              <a:avLst/>
              <a:gdLst/>
              <a:ahLst/>
              <a:cxnLst/>
              <a:rect l="l" t="t" r="r" b="b"/>
              <a:pathLst>
                <a:path w="694" h="639" extrusionOk="0">
                  <a:moveTo>
                    <a:pt x="355" y="0"/>
                  </a:moveTo>
                  <a:cubicBezTo>
                    <a:pt x="268" y="0"/>
                    <a:pt x="174" y="32"/>
                    <a:pt x="95" y="95"/>
                  </a:cubicBezTo>
                  <a:cubicBezTo>
                    <a:pt x="0" y="189"/>
                    <a:pt x="0" y="441"/>
                    <a:pt x="95" y="567"/>
                  </a:cubicBezTo>
                  <a:cubicBezTo>
                    <a:pt x="158" y="615"/>
                    <a:pt x="253" y="638"/>
                    <a:pt x="343" y="638"/>
                  </a:cubicBezTo>
                  <a:cubicBezTo>
                    <a:pt x="434" y="638"/>
                    <a:pt x="520" y="615"/>
                    <a:pt x="568" y="567"/>
                  </a:cubicBezTo>
                  <a:cubicBezTo>
                    <a:pt x="694" y="441"/>
                    <a:pt x="694" y="189"/>
                    <a:pt x="568" y="95"/>
                  </a:cubicBezTo>
                  <a:cubicBezTo>
                    <a:pt x="520" y="32"/>
                    <a:pt x="442" y="0"/>
                    <a:pt x="3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6" name="Google Shape;6516;p72"/>
            <p:cNvSpPr/>
            <p:nvPr/>
          </p:nvSpPr>
          <p:spPr>
            <a:xfrm>
              <a:off x="-26552925" y="2779125"/>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17" name="Google Shape;6517;p72"/>
          <p:cNvGrpSpPr/>
          <p:nvPr/>
        </p:nvGrpSpPr>
        <p:grpSpPr>
          <a:xfrm>
            <a:off x="7672450" y="3855821"/>
            <a:ext cx="472181" cy="470947"/>
            <a:chOff x="-24709875" y="1970225"/>
            <a:chExt cx="296175" cy="295400"/>
          </a:xfrm>
        </p:grpSpPr>
        <p:sp>
          <p:nvSpPr>
            <p:cNvPr id="6518" name="Google Shape;6518;p72"/>
            <p:cNvSpPr/>
            <p:nvPr/>
          </p:nvSpPr>
          <p:spPr>
            <a:xfrm>
              <a:off x="-24709875" y="1970225"/>
              <a:ext cx="296175" cy="295400"/>
            </a:xfrm>
            <a:custGeom>
              <a:avLst/>
              <a:gdLst/>
              <a:ahLst/>
              <a:cxnLst/>
              <a:rect l="l" t="t" r="r" b="b"/>
              <a:pathLst>
                <a:path w="11847" h="11816" extrusionOk="0">
                  <a:moveTo>
                    <a:pt x="9767" y="1450"/>
                  </a:moveTo>
                  <a:cubicBezTo>
                    <a:pt x="9956" y="1450"/>
                    <a:pt x="10366" y="1545"/>
                    <a:pt x="10681" y="1734"/>
                  </a:cubicBezTo>
                  <a:cubicBezTo>
                    <a:pt x="11027" y="1923"/>
                    <a:pt x="11153" y="2080"/>
                    <a:pt x="11153" y="2175"/>
                  </a:cubicBezTo>
                  <a:cubicBezTo>
                    <a:pt x="11153" y="2238"/>
                    <a:pt x="11027" y="2395"/>
                    <a:pt x="10681" y="2584"/>
                  </a:cubicBezTo>
                  <a:cubicBezTo>
                    <a:pt x="10334" y="2773"/>
                    <a:pt x="9956" y="2868"/>
                    <a:pt x="9767" y="2868"/>
                  </a:cubicBezTo>
                  <a:cubicBezTo>
                    <a:pt x="9389" y="2868"/>
                    <a:pt x="9042" y="2553"/>
                    <a:pt x="9042" y="2175"/>
                  </a:cubicBezTo>
                  <a:cubicBezTo>
                    <a:pt x="9105" y="1765"/>
                    <a:pt x="9420" y="1450"/>
                    <a:pt x="9767" y="1450"/>
                  </a:cubicBezTo>
                  <a:close/>
                  <a:moveTo>
                    <a:pt x="4915" y="694"/>
                  </a:moveTo>
                  <a:cubicBezTo>
                    <a:pt x="5671" y="694"/>
                    <a:pt x="6301" y="1324"/>
                    <a:pt x="6301" y="2080"/>
                  </a:cubicBezTo>
                  <a:cubicBezTo>
                    <a:pt x="6301" y="2584"/>
                    <a:pt x="6018" y="3025"/>
                    <a:pt x="5577" y="3309"/>
                  </a:cubicBezTo>
                  <a:lnTo>
                    <a:pt x="5577" y="3151"/>
                  </a:lnTo>
                  <a:cubicBezTo>
                    <a:pt x="5577" y="2553"/>
                    <a:pt x="5104" y="2112"/>
                    <a:pt x="4569" y="2112"/>
                  </a:cubicBezTo>
                  <a:lnTo>
                    <a:pt x="1418" y="2112"/>
                  </a:lnTo>
                  <a:cubicBezTo>
                    <a:pt x="1009" y="2112"/>
                    <a:pt x="693" y="1797"/>
                    <a:pt x="693" y="1419"/>
                  </a:cubicBezTo>
                  <a:cubicBezTo>
                    <a:pt x="693" y="1009"/>
                    <a:pt x="1009" y="694"/>
                    <a:pt x="1418" y="694"/>
                  </a:cubicBezTo>
                  <a:close/>
                  <a:moveTo>
                    <a:pt x="725" y="2584"/>
                  </a:moveTo>
                  <a:cubicBezTo>
                    <a:pt x="914" y="2710"/>
                    <a:pt x="1135" y="2805"/>
                    <a:pt x="1418" y="2805"/>
                  </a:cubicBezTo>
                  <a:lnTo>
                    <a:pt x="4569" y="2805"/>
                  </a:lnTo>
                  <a:cubicBezTo>
                    <a:pt x="4758" y="2805"/>
                    <a:pt x="4915" y="2962"/>
                    <a:pt x="4915" y="3151"/>
                  </a:cubicBezTo>
                  <a:lnTo>
                    <a:pt x="4915" y="3498"/>
                  </a:lnTo>
                  <a:lnTo>
                    <a:pt x="2458" y="3498"/>
                  </a:lnTo>
                  <a:cubicBezTo>
                    <a:pt x="1859" y="3498"/>
                    <a:pt x="1418" y="3970"/>
                    <a:pt x="1418" y="4538"/>
                  </a:cubicBezTo>
                  <a:lnTo>
                    <a:pt x="1418" y="6270"/>
                  </a:lnTo>
                  <a:cubicBezTo>
                    <a:pt x="1009" y="6113"/>
                    <a:pt x="725" y="5703"/>
                    <a:pt x="725" y="5262"/>
                  </a:cubicBezTo>
                  <a:lnTo>
                    <a:pt x="725" y="2584"/>
                  </a:lnTo>
                  <a:close/>
                  <a:moveTo>
                    <a:pt x="10460" y="4884"/>
                  </a:moveTo>
                  <a:cubicBezTo>
                    <a:pt x="10870" y="4884"/>
                    <a:pt x="11185" y="5199"/>
                    <a:pt x="11185" y="5577"/>
                  </a:cubicBezTo>
                  <a:cubicBezTo>
                    <a:pt x="11185" y="5987"/>
                    <a:pt x="10870" y="6302"/>
                    <a:pt x="10460" y="6302"/>
                  </a:cubicBezTo>
                  <a:cubicBezTo>
                    <a:pt x="10082" y="6302"/>
                    <a:pt x="9767" y="5987"/>
                    <a:pt x="9767" y="5577"/>
                  </a:cubicBezTo>
                  <a:cubicBezTo>
                    <a:pt x="9767" y="5199"/>
                    <a:pt x="10082" y="4884"/>
                    <a:pt x="10460" y="4884"/>
                  </a:cubicBezTo>
                  <a:close/>
                  <a:moveTo>
                    <a:pt x="6301" y="3655"/>
                  </a:moveTo>
                  <a:lnTo>
                    <a:pt x="6301" y="6648"/>
                  </a:lnTo>
                  <a:cubicBezTo>
                    <a:pt x="6301" y="7247"/>
                    <a:pt x="5829" y="7657"/>
                    <a:pt x="5293" y="7657"/>
                  </a:cubicBezTo>
                  <a:lnTo>
                    <a:pt x="2458" y="7657"/>
                  </a:lnTo>
                  <a:cubicBezTo>
                    <a:pt x="2439" y="7659"/>
                    <a:pt x="2420" y="7661"/>
                    <a:pt x="2402" y="7661"/>
                  </a:cubicBezTo>
                  <a:cubicBezTo>
                    <a:pt x="2211" y="7661"/>
                    <a:pt x="2080" y="7517"/>
                    <a:pt x="2080" y="7373"/>
                  </a:cubicBezTo>
                  <a:lnTo>
                    <a:pt x="2080" y="4538"/>
                  </a:lnTo>
                  <a:cubicBezTo>
                    <a:pt x="2080" y="4317"/>
                    <a:pt x="2237" y="4159"/>
                    <a:pt x="2458" y="4159"/>
                  </a:cubicBezTo>
                  <a:lnTo>
                    <a:pt x="4915" y="4159"/>
                  </a:lnTo>
                  <a:cubicBezTo>
                    <a:pt x="5073" y="4159"/>
                    <a:pt x="5199" y="4159"/>
                    <a:pt x="5325" y="4128"/>
                  </a:cubicBezTo>
                  <a:lnTo>
                    <a:pt x="5356" y="4128"/>
                  </a:lnTo>
                  <a:cubicBezTo>
                    <a:pt x="5703" y="4033"/>
                    <a:pt x="6081" y="3907"/>
                    <a:pt x="6301" y="3655"/>
                  </a:cubicBezTo>
                  <a:close/>
                  <a:moveTo>
                    <a:pt x="1387" y="1"/>
                  </a:moveTo>
                  <a:cubicBezTo>
                    <a:pt x="630" y="1"/>
                    <a:pt x="0" y="631"/>
                    <a:pt x="0" y="1387"/>
                  </a:cubicBezTo>
                  <a:lnTo>
                    <a:pt x="0" y="5231"/>
                  </a:lnTo>
                  <a:cubicBezTo>
                    <a:pt x="0" y="6050"/>
                    <a:pt x="599" y="6774"/>
                    <a:pt x="1387" y="6932"/>
                  </a:cubicBezTo>
                  <a:lnTo>
                    <a:pt x="1387" y="7310"/>
                  </a:lnTo>
                  <a:cubicBezTo>
                    <a:pt x="1387" y="7909"/>
                    <a:pt x="1859" y="8350"/>
                    <a:pt x="2395" y="8350"/>
                  </a:cubicBezTo>
                  <a:lnTo>
                    <a:pt x="3497" y="8350"/>
                  </a:lnTo>
                  <a:cubicBezTo>
                    <a:pt x="3592" y="10271"/>
                    <a:pt x="5199" y="11815"/>
                    <a:pt x="7120" y="11815"/>
                  </a:cubicBezTo>
                  <a:cubicBezTo>
                    <a:pt x="8066" y="11815"/>
                    <a:pt x="9011" y="11311"/>
                    <a:pt x="9735" y="10366"/>
                  </a:cubicBezTo>
                  <a:cubicBezTo>
                    <a:pt x="10397" y="9515"/>
                    <a:pt x="10744" y="8413"/>
                    <a:pt x="10744" y="7467"/>
                  </a:cubicBezTo>
                  <a:lnTo>
                    <a:pt x="10744" y="6932"/>
                  </a:lnTo>
                  <a:cubicBezTo>
                    <a:pt x="11342" y="6774"/>
                    <a:pt x="11783" y="6207"/>
                    <a:pt x="11783" y="5577"/>
                  </a:cubicBezTo>
                  <a:cubicBezTo>
                    <a:pt x="11846" y="4853"/>
                    <a:pt x="11216" y="4222"/>
                    <a:pt x="10460" y="4222"/>
                  </a:cubicBezTo>
                  <a:cubicBezTo>
                    <a:pt x="9735" y="4222"/>
                    <a:pt x="9105" y="4821"/>
                    <a:pt x="9105" y="5577"/>
                  </a:cubicBezTo>
                  <a:cubicBezTo>
                    <a:pt x="9105" y="6207"/>
                    <a:pt x="9515" y="6774"/>
                    <a:pt x="10113" y="6932"/>
                  </a:cubicBezTo>
                  <a:lnTo>
                    <a:pt x="10113" y="7467"/>
                  </a:lnTo>
                  <a:cubicBezTo>
                    <a:pt x="10113" y="8318"/>
                    <a:pt x="9798" y="9200"/>
                    <a:pt x="9200" y="9956"/>
                  </a:cubicBezTo>
                  <a:cubicBezTo>
                    <a:pt x="8633" y="10712"/>
                    <a:pt x="7908" y="11154"/>
                    <a:pt x="7152" y="11154"/>
                  </a:cubicBezTo>
                  <a:cubicBezTo>
                    <a:pt x="5577" y="11154"/>
                    <a:pt x="4317" y="9925"/>
                    <a:pt x="4222" y="8381"/>
                  </a:cubicBezTo>
                  <a:lnTo>
                    <a:pt x="4915" y="8381"/>
                  </a:lnTo>
                  <a:cubicBezTo>
                    <a:pt x="5010" y="8791"/>
                    <a:pt x="5199" y="9106"/>
                    <a:pt x="5514" y="9358"/>
                  </a:cubicBezTo>
                  <a:cubicBezTo>
                    <a:pt x="5829" y="9641"/>
                    <a:pt x="6238" y="9767"/>
                    <a:pt x="6648" y="9767"/>
                  </a:cubicBezTo>
                  <a:cubicBezTo>
                    <a:pt x="6742" y="9767"/>
                    <a:pt x="6837" y="9767"/>
                    <a:pt x="6931" y="9736"/>
                  </a:cubicBezTo>
                  <a:cubicBezTo>
                    <a:pt x="7751" y="9610"/>
                    <a:pt x="8381" y="8822"/>
                    <a:pt x="8381" y="7940"/>
                  </a:cubicBezTo>
                  <a:lnTo>
                    <a:pt x="8381" y="3183"/>
                  </a:lnTo>
                  <a:cubicBezTo>
                    <a:pt x="8381" y="3025"/>
                    <a:pt x="8412" y="2868"/>
                    <a:pt x="8507" y="2710"/>
                  </a:cubicBezTo>
                  <a:cubicBezTo>
                    <a:pt x="8696" y="3183"/>
                    <a:pt x="9200" y="3529"/>
                    <a:pt x="9767" y="3529"/>
                  </a:cubicBezTo>
                  <a:cubicBezTo>
                    <a:pt x="10113" y="3529"/>
                    <a:pt x="10586" y="3435"/>
                    <a:pt x="11027" y="3183"/>
                  </a:cubicBezTo>
                  <a:cubicBezTo>
                    <a:pt x="11563" y="2899"/>
                    <a:pt x="11846" y="2521"/>
                    <a:pt x="11846" y="2175"/>
                  </a:cubicBezTo>
                  <a:cubicBezTo>
                    <a:pt x="11846" y="1765"/>
                    <a:pt x="11531" y="1419"/>
                    <a:pt x="11027" y="1135"/>
                  </a:cubicBezTo>
                  <a:cubicBezTo>
                    <a:pt x="10618" y="946"/>
                    <a:pt x="10113" y="788"/>
                    <a:pt x="9767" y="788"/>
                  </a:cubicBezTo>
                  <a:cubicBezTo>
                    <a:pt x="9137" y="788"/>
                    <a:pt x="8570" y="1198"/>
                    <a:pt x="8412" y="1765"/>
                  </a:cubicBezTo>
                  <a:cubicBezTo>
                    <a:pt x="7940" y="2080"/>
                    <a:pt x="7688" y="2647"/>
                    <a:pt x="7688" y="3183"/>
                  </a:cubicBezTo>
                  <a:lnTo>
                    <a:pt x="7688" y="7940"/>
                  </a:lnTo>
                  <a:cubicBezTo>
                    <a:pt x="7688" y="8507"/>
                    <a:pt x="7310" y="8980"/>
                    <a:pt x="6805" y="9043"/>
                  </a:cubicBezTo>
                  <a:cubicBezTo>
                    <a:pt x="6740" y="9056"/>
                    <a:pt x="6674" y="9062"/>
                    <a:pt x="6609" y="9062"/>
                  </a:cubicBezTo>
                  <a:cubicBezTo>
                    <a:pt x="6363" y="9062"/>
                    <a:pt x="6129" y="8972"/>
                    <a:pt x="5955" y="8822"/>
                  </a:cubicBezTo>
                  <a:cubicBezTo>
                    <a:pt x="5797" y="8696"/>
                    <a:pt x="5671" y="8507"/>
                    <a:pt x="5640" y="8350"/>
                  </a:cubicBezTo>
                  <a:cubicBezTo>
                    <a:pt x="6427" y="8161"/>
                    <a:pt x="6963" y="7467"/>
                    <a:pt x="6963" y="6648"/>
                  </a:cubicBezTo>
                  <a:lnTo>
                    <a:pt x="6963" y="2427"/>
                  </a:lnTo>
                  <a:lnTo>
                    <a:pt x="6963" y="2080"/>
                  </a:lnTo>
                  <a:cubicBezTo>
                    <a:pt x="6963" y="946"/>
                    <a:pt x="6018" y="1"/>
                    <a:pt x="48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19" name="Google Shape;6519;p72"/>
            <p:cNvSpPr/>
            <p:nvPr/>
          </p:nvSpPr>
          <p:spPr>
            <a:xfrm>
              <a:off x="-24639775" y="209232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20" name="Google Shape;6520;p72"/>
          <p:cNvGrpSpPr/>
          <p:nvPr/>
        </p:nvGrpSpPr>
        <p:grpSpPr>
          <a:xfrm>
            <a:off x="7715137" y="4451659"/>
            <a:ext cx="386809" cy="472143"/>
            <a:chOff x="-24683100" y="2340425"/>
            <a:chExt cx="242625" cy="296150"/>
          </a:xfrm>
        </p:grpSpPr>
        <p:sp>
          <p:nvSpPr>
            <p:cNvPr id="6521" name="Google Shape;6521;p72"/>
            <p:cNvSpPr/>
            <p:nvPr/>
          </p:nvSpPr>
          <p:spPr>
            <a:xfrm>
              <a:off x="-24683100" y="2392400"/>
              <a:ext cx="104000" cy="244175"/>
            </a:xfrm>
            <a:custGeom>
              <a:avLst/>
              <a:gdLst/>
              <a:ahLst/>
              <a:cxnLst/>
              <a:rect l="l" t="t" r="r" b="b"/>
              <a:pathLst>
                <a:path w="4160" h="9767" extrusionOk="0">
                  <a:moveTo>
                    <a:pt x="2080" y="725"/>
                  </a:moveTo>
                  <a:cubicBezTo>
                    <a:pt x="2836" y="725"/>
                    <a:pt x="3466" y="1324"/>
                    <a:pt x="3466" y="2080"/>
                  </a:cubicBezTo>
                  <a:lnTo>
                    <a:pt x="3466" y="4537"/>
                  </a:lnTo>
                  <a:lnTo>
                    <a:pt x="694" y="4537"/>
                  </a:lnTo>
                  <a:lnTo>
                    <a:pt x="694" y="2080"/>
                  </a:lnTo>
                  <a:cubicBezTo>
                    <a:pt x="694" y="1324"/>
                    <a:pt x="1324" y="725"/>
                    <a:pt x="2080" y="725"/>
                  </a:cubicBezTo>
                  <a:close/>
                  <a:moveTo>
                    <a:pt x="3466" y="5230"/>
                  </a:moveTo>
                  <a:lnTo>
                    <a:pt x="3466" y="7688"/>
                  </a:lnTo>
                  <a:cubicBezTo>
                    <a:pt x="3498" y="8475"/>
                    <a:pt x="2867" y="9074"/>
                    <a:pt x="2080" y="9074"/>
                  </a:cubicBezTo>
                  <a:cubicBezTo>
                    <a:pt x="1324" y="9074"/>
                    <a:pt x="694" y="8444"/>
                    <a:pt x="694" y="7688"/>
                  </a:cubicBezTo>
                  <a:lnTo>
                    <a:pt x="694" y="5230"/>
                  </a:lnTo>
                  <a:close/>
                  <a:moveTo>
                    <a:pt x="2080" y="0"/>
                  </a:moveTo>
                  <a:cubicBezTo>
                    <a:pt x="946" y="0"/>
                    <a:pt x="1" y="946"/>
                    <a:pt x="1" y="2080"/>
                  </a:cubicBezTo>
                  <a:lnTo>
                    <a:pt x="1" y="7688"/>
                  </a:lnTo>
                  <a:cubicBezTo>
                    <a:pt x="1" y="8822"/>
                    <a:pt x="946" y="9767"/>
                    <a:pt x="2080" y="9767"/>
                  </a:cubicBezTo>
                  <a:cubicBezTo>
                    <a:pt x="3214" y="9767"/>
                    <a:pt x="4159" y="8822"/>
                    <a:pt x="4159" y="7688"/>
                  </a:cubicBezTo>
                  <a:lnTo>
                    <a:pt x="4159" y="2080"/>
                  </a:lnTo>
                  <a:cubicBezTo>
                    <a:pt x="4159" y="946"/>
                    <a:pt x="3246"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2" name="Google Shape;6522;p72"/>
            <p:cNvSpPr/>
            <p:nvPr/>
          </p:nvSpPr>
          <p:spPr>
            <a:xfrm>
              <a:off x="-24649225" y="2541250"/>
              <a:ext cx="26800" cy="60675"/>
            </a:xfrm>
            <a:custGeom>
              <a:avLst/>
              <a:gdLst/>
              <a:ahLst/>
              <a:cxnLst/>
              <a:rect l="l" t="t" r="r" b="b"/>
              <a:pathLst>
                <a:path w="1072" h="2427" extrusionOk="0">
                  <a:moveTo>
                    <a:pt x="378" y="1"/>
                  </a:moveTo>
                  <a:cubicBezTo>
                    <a:pt x="158" y="1"/>
                    <a:pt x="0" y="158"/>
                    <a:pt x="0" y="347"/>
                  </a:cubicBezTo>
                  <a:lnTo>
                    <a:pt x="0" y="1734"/>
                  </a:lnTo>
                  <a:cubicBezTo>
                    <a:pt x="0" y="2112"/>
                    <a:pt x="315" y="2427"/>
                    <a:pt x="725" y="2427"/>
                  </a:cubicBezTo>
                  <a:cubicBezTo>
                    <a:pt x="914" y="2427"/>
                    <a:pt x="1071" y="2269"/>
                    <a:pt x="1071" y="2080"/>
                  </a:cubicBezTo>
                  <a:cubicBezTo>
                    <a:pt x="1071" y="1891"/>
                    <a:pt x="914" y="1734"/>
                    <a:pt x="725" y="1734"/>
                  </a:cubicBezTo>
                  <a:lnTo>
                    <a:pt x="725" y="347"/>
                  </a:ln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3" name="Google Shape;6523;p72"/>
            <p:cNvSpPr/>
            <p:nvPr/>
          </p:nvSpPr>
          <p:spPr>
            <a:xfrm>
              <a:off x="-24544475" y="2340425"/>
              <a:ext cx="104000" cy="244175"/>
            </a:xfrm>
            <a:custGeom>
              <a:avLst/>
              <a:gdLst/>
              <a:ahLst/>
              <a:cxnLst/>
              <a:rect l="l" t="t" r="r" b="b"/>
              <a:pathLst>
                <a:path w="4160" h="9767" extrusionOk="0">
                  <a:moveTo>
                    <a:pt x="2080" y="693"/>
                  </a:moveTo>
                  <a:cubicBezTo>
                    <a:pt x="2836" y="693"/>
                    <a:pt x="3466" y="1323"/>
                    <a:pt x="3466" y="2079"/>
                  </a:cubicBezTo>
                  <a:lnTo>
                    <a:pt x="3466" y="4537"/>
                  </a:lnTo>
                  <a:lnTo>
                    <a:pt x="694" y="4537"/>
                  </a:lnTo>
                  <a:lnTo>
                    <a:pt x="694" y="2079"/>
                  </a:lnTo>
                  <a:cubicBezTo>
                    <a:pt x="694" y="1323"/>
                    <a:pt x="1324" y="693"/>
                    <a:pt x="2080" y="693"/>
                  </a:cubicBezTo>
                  <a:close/>
                  <a:moveTo>
                    <a:pt x="3466" y="5261"/>
                  </a:moveTo>
                  <a:lnTo>
                    <a:pt x="3466" y="7719"/>
                  </a:lnTo>
                  <a:cubicBezTo>
                    <a:pt x="3497" y="8475"/>
                    <a:pt x="2867" y="9105"/>
                    <a:pt x="2080" y="9105"/>
                  </a:cubicBezTo>
                  <a:cubicBezTo>
                    <a:pt x="1324" y="9105"/>
                    <a:pt x="694" y="8475"/>
                    <a:pt x="694" y="7719"/>
                  </a:cubicBezTo>
                  <a:lnTo>
                    <a:pt x="694" y="5261"/>
                  </a:lnTo>
                  <a:close/>
                  <a:moveTo>
                    <a:pt x="2080" y="0"/>
                  </a:moveTo>
                  <a:cubicBezTo>
                    <a:pt x="946" y="0"/>
                    <a:pt x="0" y="945"/>
                    <a:pt x="0" y="2079"/>
                  </a:cubicBezTo>
                  <a:lnTo>
                    <a:pt x="0" y="7687"/>
                  </a:lnTo>
                  <a:cubicBezTo>
                    <a:pt x="0" y="8821"/>
                    <a:pt x="946" y="9767"/>
                    <a:pt x="2080" y="9767"/>
                  </a:cubicBezTo>
                  <a:cubicBezTo>
                    <a:pt x="3214" y="9767"/>
                    <a:pt x="4159" y="8821"/>
                    <a:pt x="4159" y="7687"/>
                  </a:cubicBezTo>
                  <a:lnTo>
                    <a:pt x="4159" y="2079"/>
                  </a:lnTo>
                  <a:cubicBezTo>
                    <a:pt x="4159" y="945"/>
                    <a:pt x="3277"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4" name="Google Shape;6524;p72"/>
            <p:cNvSpPr/>
            <p:nvPr/>
          </p:nvSpPr>
          <p:spPr>
            <a:xfrm>
              <a:off x="-24501150" y="2375075"/>
              <a:ext cx="26800" cy="60675"/>
            </a:xfrm>
            <a:custGeom>
              <a:avLst/>
              <a:gdLst/>
              <a:ahLst/>
              <a:cxnLst/>
              <a:rect l="l" t="t" r="r" b="b"/>
              <a:pathLst>
                <a:path w="1072" h="2427" extrusionOk="0">
                  <a:moveTo>
                    <a:pt x="347" y="0"/>
                  </a:moveTo>
                  <a:cubicBezTo>
                    <a:pt x="158" y="0"/>
                    <a:pt x="0" y="158"/>
                    <a:pt x="0" y="347"/>
                  </a:cubicBezTo>
                  <a:cubicBezTo>
                    <a:pt x="32" y="536"/>
                    <a:pt x="189" y="693"/>
                    <a:pt x="347" y="693"/>
                  </a:cubicBezTo>
                  <a:lnTo>
                    <a:pt x="347" y="2080"/>
                  </a:lnTo>
                  <a:cubicBezTo>
                    <a:pt x="347" y="2269"/>
                    <a:pt x="504" y="2426"/>
                    <a:pt x="693" y="2426"/>
                  </a:cubicBezTo>
                  <a:cubicBezTo>
                    <a:pt x="914" y="2426"/>
                    <a:pt x="1071" y="2269"/>
                    <a:pt x="1071" y="2080"/>
                  </a:cubicBezTo>
                  <a:lnTo>
                    <a:pt x="1071" y="693"/>
                  </a:lnTo>
                  <a:cubicBezTo>
                    <a:pt x="1071" y="315"/>
                    <a:pt x="75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525" name="Google Shape;6525;p72"/>
          <p:cNvSpPr/>
          <p:nvPr/>
        </p:nvSpPr>
        <p:spPr>
          <a:xfrm>
            <a:off x="7715720" y="5039880"/>
            <a:ext cx="386769" cy="472181"/>
          </a:xfrm>
          <a:custGeom>
            <a:avLst/>
            <a:gdLst/>
            <a:ahLst/>
            <a:cxnLst/>
            <a:rect l="l" t="t" r="r" b="b"/>
            <a:pathLst>
              <a:path w="9704" h="11847" extrusionOk="0">
                <a:moveTo>
                  <a:pt x="7593" y="693"/>
                </a:moveTo>
                <a:lnTo>
                  <a:pt x="7593" y="1418"/>
                </a:lnTo>
                <a:lnTo>
                  <a:pt x="6900" y="1418"/>
                </a:lnTo>
                <a:lnTo>
                  <a:pt x="6900" y="693"/>
                </a:lnTo>
                <a:close/>
                <a:moveTo>
                  <a:pt x="7939" y="2080"/>
                </a:moveTo>
                <a:cubicBezTo>
                  <a:pt x="8160" y="2080"/>
                  <a:pt x="8317" y="2237"/>
                  <a:pt x="8317" y="2426"/>
                </a:cubicBezTo>
                <a:lnTo>
                  <a:pt x="8317" y="5577"/>
                </a:lnTo>
                <a:lnTo>
                  <a:pt x="6868" y="5577"/>
                </a:lnTo>
                <a:cubicBezTo>
                  <a:pt x="6900" y="5482"/>
                  <a:pt x="6931" y="5356"/>
                  <a:pt x="6931" y="5230"/>
                </a:cubicBezTo>
                <a:cubicBezTo>
                  <a:pt x="6931" y="4789"/>
                  <a:pt x="6648" y="4411"/>
                  <a:pt x="6207" y="4254"/>
                </a:cubicBezTo>
                <a:lnTo>
                  <a:pt x="6207" y="2426"/>
                </a:lnTo>
                <a:cubicBezTo>
                  <a:pt x="6207" y="2237"/>
                  <a:pt x="6364" y="2080"/>
                  <a:pt x="6585" y="2080"/>
                </a:cubicBezTo>
                <a:close/>
                <a:moveTo>
                  <a:pt x="5860" y="4915"/>
                </a:moveTo>
                <a:cubicBezTo>
                  <a:pt x="6049" y="4915"/>
                  <a:pt x="6207" y="5073"/>
                  <a:pt x="6207" y="5262"/>
                </a:cubicBezTo>
                <a:cubicBezTo>
                  <a:pt x="6207" y="5482"/>
                  <a:pt x="6049" y="5640"/>
                  <a:pt x="5860" y="5640"/>
                </a:cubicBezTo>
                <a:cubicBezTo>
                  <a:pt x="5671" y="5640"/>
                  <a:pt x="5513" y="5482"/>
                  <a:pt x="5513" y="5262"/>
                </a:cubicBezTo>
                <a:cubicBezTo>
                  <a:pt x="5545" y="5073"/>
                  <a:pt x="5671" y="4915"/>
                  <a:pt x="5860" y="4915"/>
                </a:cubicBezTo>
                <a:close/>
                <a:moveTo>
                  <a:pt x="8317" y="6270"/>
                </a:moveTo>
                <a:lnTo>
                  <a:pt x="8317" y="6616"/>
                </a:lnTo>
                <a:cubicBezTo>
                  <a:pt x="8317" y="6837"/>
                  <a:pt x="8160" y="6963"/>
                  <a:pt x="7939" y="6963"/>
                </a:cubicBezTo>
                <a:lnTo>
                  <a:pt x="6585" y="6963"/>
                </a:lnTo>
                <a:cubicBezTo>
                  <a:pt x="6364" y="6963"/>
                  <a:pt x="6207" y="6805"/>
                  <a:pt x="6207" y="6616"/>
                </a:cubicBezTo>
                <a:lnTo>
                  <a:pt x="6207" y="6270"/>
                </a:lnTo>
                <a:close/>
                <a:moveTo>
                  <a:pt x="7593" y="7688"/>
                </a:moveTo>
                <a:lnTo>
                  <a:pt x="7593" y="8381"/>
                </a:lnTo>
                <a:lnTo>
                  <a:pt x="6900" y="8381"/>
                </a:lnTo>
                <a:lnTo>
                  <a:pt x="6900" y="7688"/>
                </a:lnTo>
                <a:close/>
                <a:moveTo>
                  <a:pt x="5513" y="3529"/>
                </a:moveTo>
                <a:lnTo>
                  <a:pt x="5513" y="4285"/>
                </a:lnTo>
                <a:cubicBezTo>
                  <a:pt x="5198" y="4411"/>
                  <a:pt x="4946" y="4632"/>
                  <a:pt x="4883" y="4947"/>
                </a:cubicBezTo>
                <a:cubicBezTo>
                  <a:pt x="4064" y="5104"/>
                  <a:pt x="3434" y="5829"/>
                  <a:pt x="3434" y="6648"/>
                </a:cubicBezTo>
                <a:lnTo>
                  <a:pt x="3434" y="10113"/>
                </a:lnTo>
                <a:cubicBezTo>
                  <a:pt x="3434" y="10302"/>
                  <a:pt x="3592" y="10460"/>
                  <a:pt x="3781" y="10460"/>
                </a:cubicBezTo>
                <a:lnTo>
                  <a:pt x="5639" y="10460"/>
                </a:lnTo>
                <a:lnTo>
                  <a:pt x="5986" y="11185"/>
                </a:lnTo>
                <a:lnTo>
                  <a:pt x="2048" y="11185"/>
                </a:lnTo>
                <a:lnTo>
                  <a:pt x="2048" y="11153"/>
                </a:lnTo>
                <a:lnTo>
                  <a:pt x="2048" y="7309"/>
                </a:lnTo>
                <a:cubicBezTo>
                  <a:pt x="2048" y="5356"/>
                  <a:pt x="3592" y="3686"/>
                  <a:pt x="5513" y="3529"/>
                </a:cubicBezTo>
                <a:close/>
                <a:moveTo>
                  <a:pt x="5923" y="0"/>
                </a:moveTo>
                <a:cubicBezTo>
                  <a:pt x="5702" y="0"/>
                  <a:pt x="5545" y="158"/>
                  <a:pt x="5545" y="347"/>
                </a:cubicBezTo>
                <a:cubicBezTo>
                  <a:pt x="5545" y="536"/>
                  <a:pt x="5702" y="693"/>
                  <a:pt x="5923" y="693"/>
                </a:cubicBezTo>
                <a:lnTo>
                  <a:pt x="6270" y="693"/>
                </a:lnTo>
                <a:lnTo>
                  <a:pt x="6270" y="1450"/>
                </a:lnTo>
                <a:cubicBezTo>
                  <a:pt x="5860" y="1607"/>
                  <a:pt x="5545" y="1954"/>
                  <a:pt x="5545" y="2426"/>
                </a:cubicBezTo>
                <a:lnTo>
                  <a:pt x="5545" y="2836"/>
                </a:lnTo>
                <a:cubicBezTo>
                  <a:pt x="3245" y="3025"/>
                  <a:pt x="1386" y="4947"/>
                  <a:pt x="1386" y="7309"/>
                </a:cubicBezTo>
                <a:lnTo>
                  <a:pt x="1386" y="11153"/>
                </a:lnTo>
                <a:lnTo>
                  <a:pt x="347" y="11153"/>
                </a:lnTo>
                <a:cubicBezTo>
                  <a:pt x="158" y="11153"/>
                  <a:pt x="0" y="11311"/>
                  <a:pt x="0" y="11500"/>
                </a:cubicBezTo>
                <a:cubicBezTo>
                  <a:pt x="0" y="11689"/>
                  <a:pt x="158" y="11846"/>
                  <a:pt x="347" y="11846"/>
                </a:cubicBezTo>
                <a:lnTo>
                  <a:pt x="7971" y="11846"/>
                </a:lnTo>
                <a:cubicBezTo>
                  <a:pt x="8160" y="11846"/>
                  <a:pt x="8317" y="11689"/>
                  <a:pt x="8317" y="11500"/>
                </a:cubicBezTo>
                <a:cubicBezTo>
                  <a:pt x="8317" y="11311"/>
                  <a:pt x="8160" y="11153"/>
                  <a:pt x="7971" y="11153"/>
                </a:cubicBezTo>
                <a:lnTo>
                  <a:pt x="6774" y="11153"/>
                </a:lnTo>
                <a:lnTo>
                  <a:pt x="6427" y="10428"/>
                </a:lnTo>
                <a:lnTo>
                  <a:pt x="9326" y="10428"/>
                </a:lnTo>
                <a:cubicBezTo>
                  <a:pt x="9546" y="10428"/>
                  <a:pt x="9704" y="10271"/>
                  <a:pt x="9704" y="10082"/>
                </a:cubicBezTo>
                <a:cubicBezTo>
                  <a:pt x="9672" y="9924"/>
                  <a:pt x="9515" y="9767"/>
                  <a:pt x="9326" y="9767"/>
                </a:cubicBezTo>
                <a:lnTo>
                  <a:pt x="4127" y="9767"/>
                </a:lnTo>
                <a:lnTo>
                  <a:pt x="4127" y="6648"/>
                </a:lnTo>
                <a:cubicBezTo>
                  <a:pt x="4127" y="6175"/>
                  <a:pt x="4442" y="5797"/>
                  <a:pt x="4883" y="5671"/>
                </a:cubicBezTo>
                <a:cubicBezTo>
                  <a:pt x="5009" y="5955"/>
                  <a:pt x="5230" y="6175"/>
                  <a:pt x="5513" y="6270"/>
                </a:cubicBezTo>
                <a:lnTo>
                  <a:pt x="5513" y="6648"/>
                </a:lnTo>
                <a:cubicBezTo>
                  <a:pt x="5513" y="7089"/>
                  <a:pt x="5797" y="7467"/>
                  <a:pt x="6238" y="7625"/>
                </a:cubicBezTo>
                <a:lnTo>
                  <a:pt x="6238" y="8727"/>
                </a:lnTo>
                <a:cubicBezTo>
                  <a:pt x="6238" y="8948"/>
                  <a:pt x="6396" y="9105"/>
                  <a:pt x="6585" y="9105"/>
                </a:cubicBezTo>
                <a:lnTo>
                  <a:pt x="7971" y="9105"/>
                </a:lnTo>
                <a:cubicBezTo>
                  <a:pt x="8160" y="9105"/>
                  <a:pt x="8317" y="8948"/>
                  <a:pt x="8317" y="8727"/>
                </a:cubicBezTo>
                <a:lnTo>
                  <a:pt x="8317" y="7625"/>
                </a:lnTo>
                <a:cubicBezTo>
                  <a:pt x="8695" y="7467"/>
                  <a:pt x="9010" y="7120"/>
                  <a:pt x="9010" y="6648"/>
                </a:cubicBezTo>
                <a:lnTo>
                  <a:pt x="9010" y="2426"/>
                </a:lnTo>
                <a:cubicBezTo>
                  <a:pt x="9010" y="2017"/>
                  <a:pt x="8758" y="1607"/>
                  <a:pt x="8317" y="1450"/>
                </a:cubicBezTo>
                <a:lnTo>
                  <a:pt x="8317" y="693"/>
                </a:lnTo>
                <a:lnTo>
                  <a:pt x="8664" y="693"/>
                </a:lnTo>
                <a:cubicBezTo>
                  <a:pt x="8853" y="693"/>
                  <a:pt x="9010" y="536"/>
                  <a:pt x="9010" y="347"/>
                </a:cubicBezTo>
                <a:cubicBezTo>
                  <a:pt x="9010" y="158"/>
                  <a:pt x="8853"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526" name="Google Shape;6526;p72"/>
          <p:cNvGrpSpPr/>
          <p:nvPr/>
        </p:nvGrpSpPr>
        <p:grpSpPr>
          <a:xfrm>
            <a:off x="10656793" y="3855821"/>
            <a:ext cx="480951" cy="470947"/>
            <a:chOff x="-22881800" y="1971800"/>
            <a:chExt cx="301675" cy="295400"/>
          </a:xfrm>
        </p:grpSpPr>
        <p:sp>
          <p:nvSpPr>
            <p:cNvPr id="6527" name="Google Shape;6527;p72"/>
            <p:cNvSpPr/>
            <p:nvPr/>
          </p:nvSpPr>
          <p:spPr>
            <a:xfrm>
              <a:off x="-22773100" y="2041900"/>
              <a:ext cx="86650" cy="86675"/>
            </a:xfrm>
            <a:custGeom>
              <a:avLst/>
              <a:gdLst/>
              <a:ahLst/>
              <a:cxnLst/>
              <a:rect l="l" t="t" r="r" b="b"/>
              <a:pathLst>
                <a:path w="3466" h="3467" extrusionOk="0">
                  <a:moveTo>
                    <a:pt x="1733" y="725"/>
                  </a:moveTo>
                  <a:cubicBezTo>
                    <a:pt x="2268" y="725"/>
                    <a:pt x="2741" y="1198"/>
                    <a:pt x="2741" y="1734"/>
                  </a:cubicBezTo>
                  <a:cubicBezTo>
                    <a:pt x="2741" y="2269"/>
                    <a:pt x="2300" y="2742"/>
                    <a:pt x="1733" y="2742"/>
                  </a:cubicBezTo>
                  <a:cubicBezTo>
                    <a:pt x="1134" y="2742"/>
                    <a:pt x="693" y="2269"/>
                    <a:pt x="693" y="1734"/>
                  </a:cubicBezTo>
                  <a:cubicBezTo>
                    <a:pt x="693" y="1198"/>
                    <a:pt x="1166" y="725"/>
                    <a:pt x="1733" y="725"/>
                  </a:cubicBezTo>
                  <a:close/>
                  <a:moveTo>
                    <a:pt x="1733" y="1"/>
                  </a:moveTo>
                  <a:cubicBezTo>
                    <a:pt x="788" y="1"/>
                    <a:pt x="0" y="788"/>
                    <a:pt x="0" y="1734"/>
                  </a:cubicBezTo>
                  <a:cubicBezTo>
                    <a:pt x="0" y="2679"/>
                    <a:pt x="788" y="3466"/>
                    <a:pt x="1733" y="3466"/>
                  </a:cubicBezTo>
                  <a:cubicBezTo>
                    <a:pt x="2678" y="3466"/>
                    <a:pt x="3466" y="2679"/>
                    <a:pt x="3466" y="1734"/>
                  </a:cubicBezTo>
                  <a:cubicBezTo>
                    <a:pt x="3466" y="757"/>
                    <a:pt x="2678"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8" name="Google Shape;6528;p72"/>
            <p:cNvSpPr/>
            <p:nvPr/>
          </p:nvSpPr>
          <p:spPr>
            <a:xfrm>
              <a:off x="-22737675" y="2145075"/>
              <a:ext cx="51225" cy="51225"/>
            </a:xfrm>
            <a:custGeom>
              <a:avLst/>
              <a:gdLst/>
              <a:ahLst/>
              <a:cxnLst/>
              <a:rect l="l" t="t" r="r" b="b"/>
              <a:pathLst>
                <a:path w="2049" h="2049" extrusionOk="0">
                  <a:moveTo>
                    <a:pt x="1009" y="726"/>
                  </a:moveTo>
                  <a:cubicBezTo>
                    <a:pt x="1198" y="726"/>
                    <a:pt x="1387" y="883"/>
                    <a:pt x="1387" y="1072"/>
                  </a:cubicBezTo>
                  <a:cubicBezTo>
                    <a:pt x="1387" y="1261"/>
                    <a:pt x="1198" y="1419"/>
                    <a:pt x="1009" y="1419"/>
                  </a:cubicBezTo>
                  <a:cubicBezTo>
                    <a:pt x="820" y="1419"/>
                    <a:pt x="662" y="1261"/>
                    <a:pt x="662" y="1072"/>
                  </a:cubicBezTo>
                  <a:cubicBezTo>
                    <a:pt x="662" y="883"/>
                    <a:pt x="820" y="726"/>
                    <a:pt x="1009" y="726"/>
                  </a:cubicBezTo>
                  <a:close/>
                  <a:moveTo>
                    <a:pt x="1009" y="1"/>
                  </a:moveTo>
                  <a:cubicBezTo>
                    <a:pt x="410" y="1"/>
                    <a:pt x="1" y="473"/>
                    <a:pt x="1" y="1041"/>
                  </a:cubicBezTo>
                  <a:cubicBezTo>
                    <a:pt x="1" y="1608"/>
                    <a:pt x="473" y="2049"/>
                    <a:pt x="1009" y="2049"/>
                  </a:cubicBezTo>
                  <a:cubicBezTo>
                    <a:pt x="1576" y="2049"/>
                    <a:pt x="2049" y="1576"/>
                    <a:pt x="2049" y="1041"/>
                  </a:cubicBezTo>
                  <a:cubicBezTo>
                    <a:pt x="2049" y="473"/>
                    <a:pt x="1576"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29" name="Google Shape;6529;p72"/>
            <p:cNvSpPr/>
            <p:nvPr/>
          </p:nvSpPr>
          <p:spPr>
            <a:xfrm>
              <a:off x="-22807775" y="21104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0" name="Google Shape;6530;p72"/>
            <p:cNvSpPr/>
            <p:nvPr/>
          </p:nvSpPr>
          <p:spPr>
            <a:xfrm>
              <a:off x="-22773100" y="21632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1" name="Google Shape;6531;p72"/>
            <p:cNvSpPr/>
            <p:nvPr/>
          </p:nvSpPr>
          <p:spPr>
            <a:xfrm>
              <a:off x="-22669150" y="21104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662" y="190"/>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2" name="Google Shape;6532;p72"/>
            <p:cNvSpPr/>
            <p:nvPr/>
          </p:nvSpPr>
          <p:spPr>
            <a:xfrm>
              <a:off x="-22881800" y="1971800"/>
              <a:ext cx="301675" cy="295400"/>
            </a:xfrm>
            <a:custGeom>
              <a:avLst/>
              <a:gdLst/>
              <a:ahLst/>
              <a:cxnLst/>
              <a:rect l="l" t="t" r="r" b="b"/>
              <a:pathLst>
                <a:path w="12067" h="11816" extrusionOk="0">
                  <a:moveTo>
                    <a:pt x="6081" y="2112"/>
                  </a:moveTo>
                  <a:cubicBezTo>
                    <a:pt x="6553" y="2112"/>
                    <a:pt x="6963" y="2175"/>
                    <a:pt x="7373" y="2332"/>
                  </a:cubicBezTo>
                  <a:cubicBezTo>
                    <a:pt x="8633" y="2805"/>
                    <a:pt x="9578" y="3907"/>
                    <a:pt x="9798" y="5262"/>
                  </a:cubicBezTo>
                  <a:cubicBezTo>
                    <a:pt x="9861" y="5451"/>
                    <a:pt x="9861" y="5672"/>
                    <a:pt x="9861" y="5924"/>
                  </a:cubicBezTo>
                  <a:cubicBezTo>
                    <a:pt x="9861" y="6144"/>
                    <a:pt x="9861" y="6333"/>
                    <a:pt x="9798" y="6585"/>
                  </a:cubicBezTo>
                  <a:cubicBezTo>
                    <a:pt x="9609" y="7909"/>
                    <a:pt x="8633" y="9043"/>
                    <a:pt x="7373" y="9484"/>
                  </a:cubicBezTo>
                  <a:cubicBezTo>
                    <a:pt x="6963" y="9673"/>
                    <a:pt x="6522" y="9736"/>
                    <a:pt x="6081" y="9736"/>
                  </a:cubicBezTo>
                  <a:cubicBezTo>
                    <a:pt x="5640" y="9736"/>
                    <a:pt x="5167" y="9673"/>
                    <a:pt x="4758" y="9484"/>
                  </a:cubicBezTo>
                  <a:cubicBezTo>
                    <a:pt x="3497" y="9043"/>
                    <a:pt x="2552" y="7909"/>
                    <a:pt x="2332" y="6585"/>
                  </a:cubicBezTo>
                  <a:cubicBezTo>
                    <a:pt x="2300" y="6396"/>
                    <a:pt x="2300" y="6144"/>
                    <a:pt x="2300" y="5924"/>
                  </a:cubicBezTo>
                  <a:cubicBezTo>
                    <a:pt x="2300" y="5672"/>
                    <a:pt x="2300" y="5483"/>
                    <a:pt x="2332" y="5262"/>
                  </a:cubicBezTo>
                  <a:cubicBezTo>
                    <a:pt x="2552" y="3907"/>
                    <a:pt x="3497" y="2805"/>
                    <a:pt x="4758" y="2332"/>
                  </a:cubicBezTo>
                  <a:cubicBezTo>
                    <a:pt x="5167" y="2175"/>
                    <a:pt x="5608" y="2112"/>
                    <a:pt x="6081" y="2112"/>
                  </a:cubicBezTo>
                  <a:close/>
                  <a:moveTo>
                    <a:pt x="5329" y="1"/>
                  </a:moveTo>
                  <a:cubicBezTo>
                    <a:pt x="5238" y="1"/>
                    <a:pt x="5151" y="32"/>
                    <a:pt x="5104" y="95"/>
                  </a:cubicBezTo>
                  <a:cubicBezTo>
                    <a:pt x="4978" y="221"/>
                    <a:pt x="4978" y="442"/>
                    <a:pt x="5104" y="568"/>
                  </a:cubicBezTo>
                  <a:cubicBezTo>
                    <a:pt x="5356" y="851"/>
                    <a:pt x="5577" y="1072"/>
                    <a:pt x="5640" y="1387"/>
                  </a:cubicBezTo>
                  <a:cubicBezTo>
                    <a:pt x="5356" y="1419"/>
                    <a:pt x="5041" y="1482"/>
                    <a:pt x="4789" y="1545"/>
                  </a:cubicBezTo>
                  <a:cubicBezTo>
                    <a:pt x="4506" y="1041"/>
                    <a:pt x="4096" y="851"/>
                    <a:pt x="3592" y="599"/>
                  </a:cubicBezTo>
                  <a:cubicBezTo>
                    <a:pt x="3551" y="583"/>
                    <a:pt x="3506" y="575"/>
                    <a:pt x="3461" y="575"/>
                  </a:cubicBezTo>
                  <a:cubicBezTo>
                    <a:pt x="3329" y="575"/>
                    <a:pt x="3189" y="640"/>
                    <a:pt x="3119" y="757"/>
                  </a:cubicBezTo>
                  <a:cubicBezTo>
                    <a:pt x="3056" y="914"/>
                    <a:pt x="3119" y="1167"/>
                    <a:pt x="3277" y="1230"/>
                  </a:cubicBezTo>
                  <a:cubicBezTo>
                    <a:pt x="3623" y="1387"/>
                    <a:pt x="3907" y="1545"/>
                    <a:pt x="4065" y="1828"/>
                  </a:cubicBezTo>
                  <a:cubicBezTo>
                    <a:pt x="3781" y="1954"/>
                    <a:pt x="3560" y="2112"/>
                    <a:pt x="3308" y="2269"/>
                  </a:cubicBezTo>
                  <a:cubicBezTo>
                    <a:pt x="2899" y="1860"/>
                    <a:pt x="2426" y="1828"/>
                    <a:pt x="1891" y="1734"/>
                  </a:cubicBezTo>
                  <a:cubicBezTo>
                    <a:pt x="1702" y="1734"/>
                    <a:pt x="1544" y="1860"/>
                    <a:pt x="1513" y="2049"/>
                  </a:cubicBezTo>
                  <a:cubicBezTo>
                    <a:pt x="1513" y="2269"/>
                    <a:pt x="1639" y="2427"/>
                    <a:pt x="1828" y="2458"/>
                  </a:cubicBezTo>
                  <a:cubicBezTo>
                    <a:pt x="2206" y="2490"/>
                    <a:pt x="2489" y="2521"/>
                    <a:pt x="2773" y="2742"/>
                  </a:cubicBezTo>
                  <a:cubicBezTo>
                    <a:pt x="2584" y="2931"/>
                    <a:pt x="2363" y="3151"/>
                    <a:pt x="2206" y="3403"/>
                  </a:cubicBezTo>
                  <a:cubicBezTo>
                    <a:pt x="1964" y="3318"/>
                    <a:pt x="1741" y="3284"/>
                    <a:pt x="1524" y="3284"/>
                  </a:cubicBezTo>
                  <a:cubicBezTo>
                    <a:pt x="1259" y="3284"/>
                    <a:pt x="1002" y="3334"/>
                    <a:pt x="725" y="3403"/>
                  </a:cubicBezTo>
                  <a:cubicBezTo>
                    <a:pt x="536" y="3435"/>
                    <a:pt x="441" y="3624"/>
                    <a:pt x="473" y="3844"/>
                  </a:cubicBezTo>
                  <a:cubicBezTo>
                    <a:pt x="526" y="4003"/>
                    <a:pt x="667" y="4073"/>
                    <a:pt x="823" y="4073"/>
                  </a:cubicBezTo>
                  <a:cubicBezTo>
                    <a:pt x="853" y="4073"/>
                    <a:pt x="883" y="4070"/>
                    <a:pt x="914" y="4065"/>
                  </a:cubicBezTo>
                  <a:cubicBezTo>
                    <a:pt x="1162" y="3989"/>
                    <a:pt x="1352" y="3947"/>
                    <a:pt x="1534" y="3947"/>
                  </a:cubicBezTo>
                  <a:cubicBezTo>
                    <a:pt x="1652" y="3947"/>
                    <a:pt x="1766" y="3965"/>
                    <a:pt x="1891" y="4002"/>
                  </a:cubicBezTo>
                  <a:cubicBezTo>
                    <a:pt x="1796" y="4254"/>
                    <a:pt x="1670" y="4538"/>
                    <a:pt x="1639" y="4821"/>
                  </a:cubicBezTo>
                  <a:cubicBezTo>
                    <a:pt x="1040" y="4821"/>
                    <a:pt x="630" y="5042"/>
                    <a:pt x="221" y="5357"/>
                  </a:cubicBezTo>
                  <a:cubicBezTo>
                    <a:pt x="63" y="5483"/>
                    <a:pt x="0" y="5672"/>
                    <a:pt x="126" y="5829"/>
                  </a:cubicBezTo>
                  <a:cubicBezTo>
                    <a:pt x="221" y="5924"/>
                    <a:pt x="284" y="5987"/>
                    <a:pt x="410" y="5987"/>
                  </a:cubicBezTo>
                  <a:cubicBezTo>
                    <a:pt x="473" y="5987"/>
                    <a:pt x="567" y="5955"/>
                    <a:pt x="599" y="5924"/>
                  </a:cubicBezTo>
                  <a:cubicBezTo>
                    <a:pt x="914" y="5672"/>
                    <a:pt x="1198" y="5514"/>
                    <a:pt x="1513" y="5514"/>
                  </a:cubicBezTo>
                  <a:lnTo>
                    <a:pt x="1513" y="5924"/>
                  </a:lnTo>
                  <a:cubicBezTo>
                    <a:pt x="1513" y="6081"/>
                    <a:pt x="1513" y="6239"/>
                    <a:pt x="1544" y="6396"/>
                  </a:cubicBezTo>
                  <a:cubicBezTo>
                    <a:pt x="1009" y="6585"/>
                    <a:pt x="725" y="6932"/>
                    <a:pt x="410" y="7373"/>
                  </a:cubicBezTo>
                  <a:cubicBezTo>
                    <a:pt x="284" y="7531"/>
                    <a:pt x="315" y="7720"/>
                    <a:pt x="473" y="7846"/>
                  </a:cubicBezTo>
                  <a:cubicBezTo>
                    <a:pt x="567" y="7877"/>
                    <a:pt x="599" y="7940"/>
                    <a:pt x="694" y="7940"/>
                  </a:cubicBezTo>
                  <a:cubicBezTo>
                    <a:pt x="788" y="7940"/>
                    <a:pt x="914" y="7877"/>
                    <a:pt x="946" y="7783"/>
                  </a:cubicBezTo>
                  <a:cubicBezTo>
                    <a:pt x="1198" y="7467"/>
                    <a:pt x="1355" y="7215"/>
                    <a:pt x="1670" y="7089"/>
                  </a:cubicBezTo>
                  <a:cubicBezTo>
                    <a:pt x="1733" y="7373"/>
                    <a:pt x="1828" y="7657"/>
                    <a:pt x="1985" y="7940"/>
                  </a:cubicBezTo>
                  <a:cubicBezTo>
                    <a:pt x="1544" y="8287"/>
                    <a:pt x="1387" y="8728"/>
                    <a:pt x="1229" y="9232"/>
                  </a:cubicBezTo>
                  <a:cubicBezTo>
                    <a:pt x="1198" y="9421"/>
                    <a:pt x="1324" y="9610"/>
                    <a:pt x="1481" y="9673"/>
                  </a:cubicBezTo>
                  <a:lnTo>
                    <a:pt x="1544" y="9673"/>
                  </a:lnTo>
                  <a:cubicBezTo>
                    <a:pt x="1702" y="9673"/>
                    <a:pt x="1828" y="9547"/>
                    <a:pt x="1891" y="9389"/>
                  </a:cubicBezTo>
                  <a:cubicBezTo>
                    <a:pt x="2017" y="8980"/>
                    <a:pt x="2111" y="8728"/>
                    <a:pt x="2332" y="8476"/>
                  </a:cubicBezTo>
                  <a:cubicBezTo>
                    <a:pt x="2489" y="8728"/>
                    <a:pt x="2678" y="8948"/>
                    <a:pt x="2899" y="9137"/>
                  </a:cubicBezTo>
                  <a:cubicBezTo>
                    <a:pt x="2584" y="9610"/>
                    <a:pt x="2615" y="10082"/>
                    <a:pt x="2647" y="10649"/>
                  </a:cubicBezTo>
                  <a:cubicBezTo>
                    <a:pt x="2647" y="10839"/>
                    <a:pt x="2804" y="10965"/>
                    <a:pt x="2993" y="10965"/>
                  </a:cubicBezTo>
                  <a:lnTo>
                    <a:pt x="3056" y="10965"/>
                  </a:lnTo>
                  <a:cubicBezTo>
                    <a:pt x="3245" y="10965"/>
                    <a:pt x="3371" y="10775"/>
                    <a:pt x="3371" y="10555"/>
                  </a:cubicBezTo>
                  <a:cubicBezTo>
                    <a:pt x="3308" y="10177"/>
                    <a:pt x="3308" y="9862"/>
                    <a:pt x="3434" y="9578"/>
                  </a:cubicBezTo>
                  <a:cubicBezTo>
                    <a:pt x="3686" y="9736"/>
                    <a:pt x="3907" y="9893"/>
                    <a:pt x="4191" y="10019"/>
                  </a:cubicBezTo>
                  <a:cubicBezTo>
                    <a:pt x="4065" y="10555"/>
                    <a:pt x="4222" y="10996"/>
                    <a:pt x="4474" y="11500"/>
                  </a:cubicBezTo>
                  <a:cubicBezTo>
                    <a:pt x="4506" y="11626"/>
                    <a:pt x="4663" y="11721"/>
                    <a:pt x="4789" y="11721"/>
                  </a:cubicBezTo>
                  <a:cubicBezTo>
                    <a:pt x="4821" y="11721"/>
                    <a:pt x="4884" y="11721"/>
                    <a:pt x="4947" y="11658"/>
                  </a:cubicBezTo>
                  <a:cubicBezTo>
                    <a:pt x="5104" y="11595"/>
                    <a:pt x="5167" y="11406"/>
                    <a:pt x="5104" y="11185"/>
                  </a:cubicBezTo>
                  <a:cubicBezTo>
                    <a:pt x="4947" y="10839"/>
                    <a:pt x="4821" y="10555"/>
                    <a:pt x="4852" y="10240"/>
                  </a:cubicBezTo>
                  <a:lnTo>
                    <a:pt x="4852" y="10240"/>
                  </a:lnTo>
                  <a:cubicBezTo>
                    <a:pt x="5136" y="10334"/>
                    <a:pt x="5419" y="10366"/>
                    <a:pt x="5734" y="10397"/>
                  </a:cubicBezTo>
                  <a:cubicBezTo>
                    <a:pt x="5797" y="10965"/>
                    <a:pt x="6112" y="11311"/>
                    <a:pt x="6522" y="11721"/>
                  </a:cubicBezTo>
                  <a:cubicBezTo>
                    <a:pt x="6585" y="11784"/>
                    <a:pt x="6679" y="11815"/>
                    <a:pt x="6742" y="11815"/>
                  </a:cubicBezTo>
                  <a:cubicBezTo>
                    <a:pt x="6837" y="11815"/>
                    <a:pt x="6931" y="11784"/>
                    <a:pt x="6994" y="11721"/>
                  </a:cubicBezTo>
                  <a:cubicBezTo>
                    <a:pt x="7089" y="11595"/>
                    <a:pt x="7089" y="11343"/>
                    <a:pt x="6994" y="11248"/>
                  </a:cubicBezTo>
                  <a:cubicBezTo>
                    <a:pt x="6711" y="10965"/>
                    <a:pt x="6522" y="10712"/>
                    <a:pt x="6427" y="10397"/>
                  </a:cubicBezTo>
                  <a:cubicBezTo>
                    <a:pt x="6711" y="10366"/>
                    <a:pt x="7026" y="10334"/>
                    <a:pt x="7310" y="10240"/>
                  </a:cubicBezTo>
                  <a:cubicBezTo>
                    <a:pt x="7562" y="10775"/>
                    <a:pt x="7971" y="10965"/>
                    <a:pt x="8475" y="11185"/>
                  </a:cubicBezTo>
                  <a:cubicBezTo>
                    <a:pt x="8507" y="11248"/>
                    <a:pt x="8570" y="11248"/>
                    <a:pt x="8633" y="11248"/>
                  </a:cubicBezTo>
                  <a:cubicBezTo>
                    <a:pt x="8759" y="11248"/>
                    <a:pt x="8885" y="11154"/>
                    <a:pt x="8948" y="11028"/>
                  </a:cubicBezTo>
                  <a:cubicBezTo>
                    <a:pt x="9042" y="10870"/>
                    <a:pt x="8948" y="10649"/>
                    <a:pt x="8790" y="10555"/>
                  </a:cubicBezTo>
                  <a:cubicBezTo>
                    <a:pt x="8444" y="10397"/>
                    <a:pt x="8160" y="10240"/>
                    <a:pt x="8003" y="9988"/>
                  </a:cubicBezTo>
                  <a:cubicBezTo>
                    <a:pt x="8286" y="9862"/>
                    <a:pt x="8507" y="9704"/>
                    <a:pt x="8759" y="9547"/>
                  </a:cubicBezTo>
                  <a:cubicBezTo>
                    <a:pt x="9200" y="9925"/>
                    <a:pt x="9672" y="9988"/>
                    <a:pt x="10176" y="10051"/>
                  </a:cubicBezTo>
                  <a:lnTo>
                    <a:pt x="10208" y="10051"/>
                  </a:lnTo>
                  <a:cubicBezTo>
                    <a:pt x="10397" y="10051"/>
                    <a:pt x="10523" y="9925"/>
                    <a:pt x="10555" y="9736"/>
                  </a:cubicBezTo>
                  <a:cubicBezTo>
                    <a:pt x="10555" y="9547"/>
                    <a:pt x="10460" y="9389"/>
                    <a:pt x="10240" y="9358"/>
                  </a:cubicBezTo>
                  <a:cubicBezTo>
                    <a:pt x="9861" y="9295"/>
                    <a:pt x="9578" y="9263"/>
                    <a:pt x="9294" y="9074"/>
                  </a:cubicBezTo>
                  <a:cubicBezTo>
                    <a:pt x="9515" y="8885"/>
                    <a:pt x="9704" y="8633"/>
                    <a:pt x="9861" y="8413"/>
                  </a:cubicBezTo>
                  <a:cubicBezTo>
                    <a:pt x="10082" y="8476"/>
                    <a:pt x="10303" y="8507"/>
                    <a:pt x="10523" y="8507"/>
                  </a:cubicBezTo>
                  <a:cubicBezTo>
                    <a:pt x="10807" y="8507"/>
                    <a:pt x="11090" y="8444"/>
                    <a:pt x="11405" y="8350"/>
                  </a:cubicBezTo>
                  <a:cubicBezTo>
                    <a:pt x="11594" y="8318"/>
                    <a:pt x="11657" y="8129"/>
                    <a:pt x="11626" y="7940"/>
                  </a:cubicBezTo>
                  <a:cubicBezTo>
                    <a:pt x="11599" y="7754"/>
                    <a:pt x="11461" y="7680"/>
                    <a:pt x="11287" y="7680"/>
                  </a:cubicBezTo>
                  <a:cubicBezTo>
                    <a:pt x="11254" y="7680"/>
                    <a:pt x="11220" y="7683"/>
                    <a:pt x="11185" y="7688"/>
                  </a:cubicBezTo>
                  <a:cubicBezTo>
                    <a:pt x="10933" y="7772"/>
                    <a:pt x="10723" y="7814"/>
                    <a:pt x="10517" y="7814"/>
                  </a:cubicBezTo>
                  <a:cubicBezTo>
                    <a:pt x="10415" y="7814"/>
                    <a:pt x="10313" y="7804"/>
                    <a:pt x="10208" y="7783"/>
                  </a:cubicBezTo>
                  <a:cubicBezTo>
                    <a:pt x="10334" y="7499"/>
                    <a:pt x="10460" y="7215"/>
                    <a:pt x="10492" y="6932"/>
                  </a:cubicBezTo>
                  <a:lnTo>
                    <a:pt x="10523" y="6932"/>
                  </a:lnTo>
                  <a:cubicBezTo>
                    <a:pt x="11090" y="6932"/>
                    <a:pt x="11468" y="6711"/>
                    <a:pt x="11909" y="6396"/>
                  </a:cubicBezTo>
                  <a:cubicBezTo>
                    <a:pt x="12004" y="6333"/>
                    <a:pt x="12067" y="6144"/>
                    <a:pt x="11941" y="5987"/>
                  </a:cubicBezTo>
                  <a:cubicBezTo>
                    <a:pt x="11867" y="5895"/>
                    <a:pt x="11773" y="5846"/>
                    <a:pt x="11675" y="5846"/>
                  </a:cubicBezTo>
                  <a:cubicBezTo>
                    <a:pt x="11605" y="5846"/>
                    <a:pt x="11534" y="5871"/>
                    <a:pt x="11468" y="5924"/>
                  </a:cubicBezTo>
                  <a:cubicBezTo>
                    <a:pt x="11153" y="6144"/>
                    <a:pt x="10870" y="6302"/>
                    <a:pt x="10555" y="6302"/>
                  </a:cubicBezTo>
                  <a:lnTo>
                    <a:pt x="10555" y="5924"/>
                  </a:lnTo>
                  <a:cubicBezTo>
                    <a:pt x="10555" y="5766"/>
                    <a:pt x="10555" y="5609"/>
                    <a:pt x="10523" y="5451"/>
                  </a:cubicBezTo>
                  <a:cubicBezTo>
                    <a:pt x="11090" y="5262"/>
                    <a:pt x="11342" y="4884"/>
                    <a:pt x="11657" y="4475"/>
                  </a:cubicBezTo>
                  <a:cubicBezTo>
                    <a:pt x="11783" y="4317"/>
                    <a:pt x="11752" y="4096"/>
                    <a:pt x="11594" y="4002"/>
                  </a:cubicBezTo>
                  <a:cubicBezTo>
                    <a:pt x="11528" y="3949"/>
                    <a:pt x="11457" y="3924"/>
                    <a:pt x="11387" y="3924"/>
                  </a:cubicBezTo>
                  <a:cubicBezTo>
                    <a:pt x="11290" y="3924"/>
                    <a:pt x="11195" y="3973"/>
                    <a:pt x="11122" y="4065"/>
                  </a:cubicBezTo>
                  <a:cubicBezTo>
                    <a:pt x="10870" y="4380"/>
                    <a:pt x="10712" y="4632"/>
                    <a:pt x="10397" y="4727"/>
                  </a:cubicBezTo>
                  <a:cubicBezTo>
                    <a:pt x="10334" y="4475"/>
                    <a:pt x="10240" y="4191"/>
                    <a:pt x="10082" y="3907"/>
                  </a:cubicBezTo>
                  <a:cubicBezTo>
                    <a:pt x="10523" y="3561"/>
                    <a:pt x="10681" y="3120"/>
                    <a:pt x="10838" y="2616"/>
                  </a:cubicBezTo>
                  <a:cubicBezTo>
                    <a:pt x="10870" y="2427"/>
                    <a:pt x="10775" y="2206"/>
                    <a:pt x="10618" y="2175"/>
                  </a:cubicBezTo>
                  <a:cubicBezTo>
                    <a:pt x="10595" y="2171"/>
                    <a:pt x="10572" y="2170"/>
                    <a:pt x="10550" y="2170"/>
                  </a:cubicBezTo>
                  <a:cubicBezTo>
                    <a:pt x="10359" y="2170"/>
                    <a:pt x="10205" y="2286"/>
                    <a:pt x="10176" y="2427"/>
                  </a:cubicBezTo>
                  <a:cubicBezTo>
                    <a:pt x="10050" y="2805"/>
                    <a:pt x="9987" y="3088"/>
                    <a:pt x="9735" y="3309"/>
                  </a:cubicBezTo>
                  <a:cubicBezTo>
                    <a:pt x="9578" y="3088"/>
                    <a:pt x="9389" y="2836"/>
                    <a:pt x="9200" y="2647"/>
                  </a:cubicBezTo>
                  <a:cubicBezTo>
                    <a:pt x="9515" y="2175"/>
                    <a:pt x="9452" y="1702"/>
                    <a:pt x="9420" y="1167"/>
                  </a:cubicBezTo>
                  <a:cubicBezTo>
                    <a:pt x="9420" y="946"/>
                    <a:pt x="9231" y="851"/>
                    <a:pt x="9042" y="851"/>
                  </a:cubicBezTo>
                  <a:cubicBezTo>
                    <a:pt x="8822" y="851"/>
                    <a:pt x="8727" y="1041"/>
                    <a:pt x="8727" y="1230"/>
                  </a:cubicBezTo>
                  <a:cubicBezTo>
                    <a:pt x="8759" y="1639"/>
                    <a:pt x="8759" y="1954"/>
                    <a:pt x="8633" y="2206"/>
                  </a:cubicBezTo>
                  <a:cubicBezTo>
                    <a:pt x="8412" y="2049"/>
                    <a:pt x="8160" y="1891"/>
                    <a:pt x="7877" y="1797"/>
                  </a:cubicBezTo>
                  <a:cubicBezTo>
                    <a:pt x="8003" y="1230"/>
                    <a:pt x="7845" y="788"/>
                    <a:pt x="7625" y="284"/>
                  </a:cubicBezTo>
                  <a:cubicBezTo>
                    <a:pt x="7554" y="168"/>
                    <a:pt x="7432" y="103"/>
                    <a:pt x="7297" y="103"/>
                  </a:cubicBezTo>
                  <a:cubicBezTo>
                    <a:pt x="7250" y="103"/>
                    <a:pt x="7201" y="111"/>
                    <a:pt x="7152" y="127"/>
                  </a:cubicBezTo>
                  <a:cubicBezTo>
                    <a:pt x="6994" y="221"/>
                    <a:pt x="6900" y="410"/>
                    <a:pt x="6994" y="599"/>
                  </a:cubicBezTo>
                  <a:cubicBezTo>
                    <a:pt x="7152" y="946"/>
                    <a:pt x="7247" y="1230"/>
                    <a:pt x="7215" y="1545"/>
                  </a:cubicBezTo>
                  <a:cubicBezTo>
                    <a:pt x="6931" y="1482"/>
                    <a:pt x="6679" y="1419"/>
                    <a:pt x="6364" y="1387"/>
                  </a:cubicBezTo>
                  <a:cubicBezTo>
                    <a:pt x="6270" y="851"/>
                    <a:pt x="5955" y="473"/>
                    <a:pt x="5577" y="95"/>
                  </a:cubicBezTo>
                  <a:cubicBezTo>
                    <a:pt x="5514" y="32"/>
                    <a:pt x="5419" y="1"/>
                    <a:pt x="53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533" name="Google Shape;6533;p72"/>
          <p:cNvSpPr/>
          <p:nvPr/>
        </p:nvSpPr>
        <p:spPr>
          <a:xfrm>
            <a:off x="7101455" y="2081955"/>
            <a:ext cx="419452" cy="472181"/>
          </a:xfrm>
          <a:custGeom>
            <a:avLst/>
            <a:gdLst/>
            <a:ahLst/>
            <a:cxnLst/>
            <a:rect l="l" t="t" r="r" b="b"/>
            <a:pathLst>
              <a:path w="10524" h="11847" extrusionOk="0">
                <a:moveTo>
                  <a:pt x="7278" y="662"/>
                </a:moveTo>
                <a:cubicBezTo>
                  <a:pt x="7499" y="662"/>
                  <a:pt x="7656" y="820"/>
                  <a:pt x="7656" y="1009"/>
                </a:cubicBezTo>
                <a:lnTo>
                  <a:pt x="7656" y="3151"/>
                </a:lnTo>
                <a:cubicBezTo>
                  <a:pt x="7404" y="3057"/>
                  <a:pt x="7184" y="2994"/>
                  <a:pt x="6932" y="2994"/>
                </a:cubicBezTo>
                <a:lnTo>
                  <a:pt x="6932" y="1009"/>
                </a:lnTo>
                <a:cubicBezTo>
                  <a:pt x="6932" y="820"/>
                  <a:pt x="7089" y="662"/>
                  <a:pt x="7278" y="662"/>
                </a:cubicBezTo>
                <a:close/>
                <a:moveTo>
                  <a:pt x="3120" y="662"/>
                </a:moveTo>
                <a:cubicBezTo>
                  <a:pt x="3309" y="662"/>
                  <a:pt x="3466" y="820"/>
                  <a:pt x="3466" y="1009"/>
                </a:cubicBezTo>
                <a:lnTo>
                  <a:pt x="3466" y="2994"/>
                </a:lnTo>
                <a:cubicBezTo>
                  <a:pt x="3246" y="3025"/>
                  <a:pt x="2994" y="3057"/>
                  <a:pt x="2773" y="3183"/>
                </a:cubicBezTo>
                <a:lnTo>
                  <a:pt x="2773" y="1009"/>
                </a:lnTo>
                <a:cubicBezTo>
                  <a:pt x="2773" y="820"/>
                  <a:pt x="2931" y="662"/>
                  <a:pt x="3120" y="662"/>
                </a:cubicBezTo>
                <a:close/>
                <a:moveTo>
                  <a:pt x="4506" y="1702"/>
                </a:moveTo>
                <a:cubicBezTo>
                  <a:pt x="4695" y="1702"/>
                  <a:pt x="4852" y="1860"/>
                  <a:pt x="4852" y="2049"/>
                </a:cubicBezTo>
                <a:lnTo>
                  <a:pt x="4852" y="3309"/>
                </a:lnTo>
                <a:cubicBezTo>
                  <a:pt x="4663" y="3183"/>
                  <a:pt x="4411" y="3057"/>
                  <a:pt x="4128" y="3025"/>
                </a:cubicBezTo>
                <a:lnTo>
                  <a:pt x="4128" y="2049"/>
                </a:lnTo>
                <a:cubicBezTo>
                  <a:pt x="4128" y="1860"/>
                  <a:pt x="4285" y="1702"/>
                  <a:pt x="4506" y="1702"/>
                </a:cubicBezTo>
                <a:close/>
                <a:moveTo>
                  <a:pt x="5861" y="1702"/>
                </a:moveTo>
                <a:cubicBezTo>
                  <a:pt x="6081" y="1702"/>
                  <a:pt x="6239" y="1860"/>
                  <a:pt x="6239" y="2049"/>
                </a:cubicBezTo>
                <a:lnTo>
                  <a:pt x="6239" y="3025"/>
                </a:lnTo>
                <a:cubicBezTo>
                  <a:pt x="5987" y="3120"/>
                  <a:pt x="5766" y="3183"/>
                  <a:pt x="5514" y="3340"/>
                </a:cubicBezTo>
                <a:lnTo>
                  <a:pt x="5514" y="2049"/>
                </a:lnTo>
                <a:cubicBezTo>
                  <a:pt x="5546" y="1860"/>
                  <a:pt x="5703" y="1702"/>
                  <a:pt x="5861" y="1702"/>
                </a:cubicBezTo>
                <a:close/>
                <a:moveTo>
                  <a:pt x="1733" y="1324"/>
                </a:moveTo>
                <a:cubicBezTo>
                  <a:pt x="1922" y="1324"/>
                  <a:pt x="2080" y="1482"/>
                  <a:pt x="2080" y="1702"/>
                </a:cubicBezTo>
                <a:lnTo>
                  <a:pt x="2080" y="3624"/>
                </a:lnTo>
                <a:cubicBezTo>
                  <a:pt x="2017" y="3687"/>
                  <a:pt x="1922" y="3781"/>
                  <a:pt x="1859" y="3907"/>
                </a:cubicBezTo>
                <a:cubicBezTo>
                  <a:pt x="1733" y="3687"/>
                  <a:pt x="1576" y="3529"/>
                  <a:pt x="1387" y="3435"/>
                </a:cubicBezTo>
                <a:lnTo>
                  <a:pt x="1387" y="1702"/>
                </a:lnTo>
                <a:cubicBezTo>
                  <a:pt x="1387" y="1482"/>
                  <a:pt x="1544" y="1324"/>
                  <a:pt x="1733" y="1324"/>
                </a:cubicBezTo>
                <a:close/>
                <a:moveTo>
                  <a:pt x="8665" y="1324"/>
                </a:moveTo>
                <a:cubicBezTo>
                  <a:pt x="8854" y="1324"/>
                  <a:pt x="9011" y="1482"/>
                  <a:pt x="9011" y="1702"/>
                </a:cubicBezTo>
                <a:lnTo>
                  <a:pt x="9011" y="3466"/>
                </a:lnTo>
                <a:cubicBezTo>
                  <a:pt x="8854" y="3592"/>
                  <a:pt x="8759" y="3750"/>
                  <a:pt x="8633" y="3907"/>
                </a:cubicBezTo>
                <a:cubicBezTo>
                  <a:pt x="8539" y="3781"/>
                  <a:pt x="8476" y="3687"/>
                  <a:pt x="8381" y="3592"/>
                </a:cubicBezTo>
                <a:lnTo>
                  <a:pt x="8349" y="3529"/>
                </a:lnTo>
                <a:lnTo>
                  <a:pt x="8349" y="1702"/>
                </a:lnTo>
                <a:cubicBezTo>
                  <a:pt x="8318" y="1482"/>
                  <a:pt x="8476" y="1324"/>
                  <a:pt x="8665" y="1324"/>
                </a:cubicBezTo>
                <a:close/>
                <a:moveTo>
                  <a:pt x="6774" y="3647"/>
                </a:moveTo>
                <a:cubicBezTo>
                  <a:pt x="7160" y="3647"/>
                  <a:pt x="7546" y="3797"/>
                  <a:pt x="7845" y="4096"/>
                </a:cubicBezTo>
                <a:cubicBezTo>
                  <a:pt x="8318" y="4569"/>
                  <a:pt x="8444" y="5294"/>
                  <a:pt x="8066" y="5892"/>
                </a:cubicBezTo>
                <a:cubicBezTo>
                  <a:pt x="7089" y="6176"/>
                  <a:pt x="6333" y="7058"/>
                  <a:pt x="6239" y="8098"/>
                </a:cubicBezTo>
                <a:lnTo>
                  <a:pt x="5199" y="9043"/>
                </a:lnTo>
                <a:lnTo>
                  <a:pt x="4128" y="8035"/>
                </a:lnTo>
                <a:cubicBezTo>
                  <a:pt x="4065" y="6995"/>
                  <a:pt x="3309" y="6144"/>
                  <a:pt x="2332" y="5892"/>
                </a:cubicBezTo>
                <a:cubicBezTo>
                  <a:pt x="1985" y="5325"/>
                  <a:pt x="2112" y="4569"/>
                  <a:pt x="2553" y="4096"/>
                </a:cubicBezTo>
                <a:cubicBezTo>
                  <a:pt x="2836" y="3813"/>
                  <a:pt x="3246" y="3655"/>
                  <a:pt x="3624" y="3655"/>
                </a:cubicBezTo>
                <a:cubicBezTo>
                  <a:pt x="4033" y="3655"/>
                  <a:pt x="4411" y="3813"/>
                  <a:pt x="4695" y="4096"/>
                </a:cubicBezTo>
                <a:lnTo>
                  <a:pt x="4915" y="4317"/>
                </a:lnTo>
                <a:lnTo>
                  <a:pt x="4978" y="4348"/>
                </a:lnTo>
                <a:cubicBezTo>
                  <a:pt x="5026" y="4411"/>
                  <a:pt x="5112" y="4443"/>
                  <a:pt x="5203" y="4443"/>
                </a:cubicBezTo>
                <a:cubicBezTo>
                  <a:pt x="5294" y="4443"/>
                  <a:pt x="5388" y="4411"/>
                  <a:pt x="5451" y="4348"/>
                </a:cubicBezTo>
                <a:lnTo>
                  <a:pt x="5703" y="4096"/>
                </a:lnTo>
                <a:cubicBezTo>
                  <a:pt x="6002" y="3797"/>
                  <a:pt x="6388" y="3647"/>
                  <a:pt x="6774" y="3647"/>
                </a:cubicBezTo>
                <a:close/>
                <a:moveTo>
                  <a:pt x="662" y="3813"/>
                </a:moveTo>
                <a:cubicBezTo>
                  <a:pt x="1103" y="3970"/>
                  <a:pt x="1418" y="4380"/>
                  <a:pt x="1418" y="4884"/>
                </a:cubicBezTo>
                <a:lnTo>
                  <a:pt x="1418" y="6176"/>
                </a:lnTo>
                <a:cubicBezTo>
                  <a:pt x="1418" y="6365"/>
                  <a:pt x="1576" y="6522"/>
                  <a:pt x="1765" y="6522"/>
                </a:cubicBezTo>
                <a:cubicBezTo>
                  <a:pt x="2679" y="6522"/>
                  <a:pt x="3435" y="7247"/>
                  <a:pt x="3435" y="8161"/>
                </a:cubicBezTo>
                <a:lnTo>
                  <a:pt x="3435" y="8224"/>
                </a:lnTo>
                <a:lnTo>
                  <a:pt x="3435" y="8980"/>
                </a:lnTo>
                <a:cubicBezTo>
                  <a:pt x="3435" y="9169"/>
                  <a:pt x="3592" y="9326"/>
                  <a:pt x="3781" y="9326"/>
                </a:cubicBezTo>
                <a:cubicBezTo>
                  <a:pt x="3970" y="9326"/>
                  <a:pt x="4128" y="9169"/>
                  <a:pt x="4128" y="8980"/>
                </a:cubicBezTo>
                <a:lnTo>
                  <a:pt x="4852" y="9610"/>
                </a:lnTo>
                <a:lnTo>
                  <a:pt x="4852" y="11059"/>
                </a:lnTo>
                <a:lnTo>
                  <a:pt x="2080" y="11059"/>
                </a:lnTo>
                <a:lnTo>
                  <a:pt x="2080" y="9925"/>
                </a:lnTo>
                <a:cubicBezTo>
                  <a:pt x="2080" y="9673"/>
                  <a:pt x="1985" y="9421"/>
                  <a:pt x="1765" y="9200"/>
                </a:cubicBezTo>
                <a:lnTo>
                  <a:pt x="1198" y="8633"/>
                </a:lnTo>
                <a:cubicBezTo>
                  <a:pt x="883" y="8287"/>
                  <a:pt x="662" y="7877"/>
                  <a:pt x="662" y="7404"/>
                </a:cubicBezTo>
                <a:lnTo>
                  <a:pt x="662" y="3813"/>
                </a:lnTo>
                <a:close/>
                <a:moveTo>
                  <a:pt x="9767" y="3844"/>
                </a:moveTo>
                <a:lnTo>
                  <a:pt x="9767" y="7436"/>
                </a:lnTo>
                <a:cubicBezTo>
                  <a:pt x="9767" y="7909"/>
                  <a:pt x="9578" y="8350"/>
                  <a:pt x="9263" y="8665"/>
                </a:cubicBezTo>
                <a:lnTo>
                  <a:pt x="8665" y="9263"/>
                </a:lnTo>
                <a:cubicBezTo>
                  <a:pt x="8476" y="9452"/>
                  <a:pt x="8349" y="9704"/>
                  <a:pt x="8349" y="9988"/>
                </a:cubicBezTo>
                <a:lnTo>
                  <a:pt x="8349" y="11153"/>
                </a:lnTo>
                <a:lnTo>
                  <a:pt x="5514" y="11153"/>
                </a:lnTo>
                <a:lnTo>
                  <a:pt x="5514" y="9736"/>
                </a:lnTo>
                <a:lnTo>
                  <a:pt x="6239" y="9043"/>
                </a:lnTo>
                <a:cubicBezTo>
                  <a:pt x="6270" y="9200"/>
                  <a:pt x="6396" y="9326"/>
                  <a:pt x="6585" y="9326"/>
                </a:cubicBezTo>
                <a:cubicBezTo>
                  <a:pt x="6774" y="9326"/>
                  <a:pt x="6932" y="9169"/>
                  <a:pt x="6932" y="8980"/>
                </a:cubicBezTo>
                <a:lnTo>
                  <a:pt x="6932" y="8255"/>
                </a:lnTo>
                <a:cubicBezTo>
                  <a:pt x="6932" y="7404"/>
                  <a:pt x="7530" y="6711"/>
                  <a:pt x="8349" y="6554"/>
                </a:cubicBezTo>
                <a:lnTo>
                  <a:pt x="8665" y="6554"/>
                </a:lnTo>
                <a:cubicBezTo>
                  <a:pt x="8854" y="6554"/>
                  <a:pt x="9011" y="6396"/>
                  <a:pt x="9011" y="6207"/>
                </a:cubicBezTo>
                <a:lnTo>
                  <a:pt x="9011" y="4916"/>
                </a:lnTo>
                <a:cubicBezTo>
                  <a:pt x="9011" y="4443"/>
                  <a:pt x="9326" y="4002"/>
                  <a:pt x="9767" y="3844"/>
                </a:cubicBezTo>
                <a:close/>
                <a:moveTo>
                  <a:pt x="3120" y="1"/>
                </a:moveTo>
                <a:cubicBezTo>
                  <a:pt x="2647" y="1"/>
                  <a:pt x="2238" y="316"/>
                  <a:pt x="2143" y="757"/>
                </a:cubicBezTo>
                <a:cubicBezTo>
                  <a:pt x="2017" y="694"/>
                  <a:pt x="1891" y="662"/>
                  <a:pt x="1733" y="662"/>
                </a:cubicBezTo>
                <a:cubicBezTo>
                  <a:pt x="1135" y="662"/>
                  <a:pt x="725" y="1135"/>
                  <a:pt x="725" y="1702"/>
                </a:cubicBezTo>
                <a:lnTo>
                  <a:pt x="725" y="3120"/>
                </a:lnTo>
                <a:cubicBezTo>
                  <a:pt x="599" y="3057"/>
                  <a:pt x="473" y="3057"/>
                  <a:pt x="347" y="3057"/>
                </a:cubicBezTo>
                <a:cubicBezTo>
                  <a:pt x="158" y="3057"/>
                  <a:pt x="1" y="3214"/>
                  <a:pt x="1" y="3435"/>
                </a:cubicBezTo>
                <a:lnTo>
                  <a:pt x="1" y="7436"/>
                </a:lnTo>
                <a:cubicBezTo>
                  <a:pt x="1" y="8066"/>
                  <a:pt x="253" y="8696"/>
                  <a:pt x="725" y="9169"/>
                </a:cubicBezTo>
                <a:lnTo>
                  <a:pt x="1292" y="9767"/>
                </a:lnTo>
                <a:cubicBezTo>
                  <a:pt x="1387" y="9830"/>
                  <a:pt x="1418" y="9925"/>
                  <a:pt x="1418" y="9988"/>
                </a:cubicBezTo>
                <a:lnTo>
                  <a:pt x="1418" y="11153"/>
                </a:lnTo>
                <a:lnTo>
                  <a:pt x="1072" y="11153"/>
                </a:lnTo>
                <a:cubicBezTo>
                  <a:pt x="883" y="11153"/>
                  <a:pt x="725" y="11311"/>
                  <a:pt x="725" y="11500"/>
                </a:cubicBezTo>
                <a:cubicBezTo>
                  <a:pt x="725" y="11689"/>
                  <a:pt x="883" y="11847"/>
                  <a:pt x="1072" y="11847"/>
                </a:cubicBezTo>
                <a:lnTo>
                  <a:pt x="9389" y="11847"/>
                </a:lnTo>
                <a:cubicBezTo>
                  <a:pt x="9578" y="11847"/>
                  <a:pt x="9736" y="11689"/>
                  <a:pt x="9736" y="11500"/>
                </a:cubicBezTo>
                <a:cubicBezTo>
                  <a:pt x="9736" y="11311"/>
                  <a:pt x="9578" y="11153"/>
                  <a:pt x="9389" y="11153"/>
                </a:cubicBezTo>
                <a:lnTo>
                  <a:pt x="9106" y="11153"/>
                </a:lnTo>
                <a:lnTo>
                  <a:pt x="9106" y="9988"/>
                </a:lnTo>
                <a:cubicBezTo>
                  <a:pt x="9106" y="9925"/>
                  <a:pt x="9137" y="9799"/>
                  <a:pt x="9232" y="9767"/>
                </a:cubicBezTo>
                <a:lnTo>
                  <a:pt x="9830" y="9169"/>
                </a:lnTo>
                <a:cubicBezTo>
                  <a:pt x="10271" y="8696"/>
                  <a:pt x="10523" y="8098"/>
                  <a:pt x="10523" y="7436"/>
                </a:cubicBezTo>
                <a:lnTo>
                  <a:pt x="10523" y="3466"/>
                </a:lnTo>
                <a:cubicBezTo>
                  <a:pt x="10492" y="3214"/>
                  <a:pt x="10334" y="3057"/>
                  <a:pt x="10114" y="3057"/>
                </a:cubicBezTo>
                <a:cubicBezTo>
                  <a:pt x="9956" y="3057"/>
                  <a:pt x="9862" y="3057"/>
                  <a:pt x="9704" y="3120"/>
                </a:cubicBezTo>
                <a:lnTo>
                  <a:pt x="9704" y="1702"/>
                </a:lnTo>
                <a:cubicBezTo>
                  <a:pt x="9704" y="1103"/>
                  <a:pt x="9232" y="662"/>
                  <a:pt x="8665" y="662"/>
                </a:cubicBezTo>
                <a:cubicBezTo>
                  <a:pt x="8539" y="662"/>
                  <a:pt x="8413" y="694"/>
                  <a:pt x="8286" y="757"/>
                </a:cubicBezTo>
                <a:cubicBezTo>
                  <a:pt x="8160" y="316"/>
                  <a:pt x="7751" y="1"/>
                  <a:pt x="7278" y="1"/>
                </a:cubicBezTo>
                <a:cubicBezTo>
                  <a:pt x="6711" y="1"/>
                  <a:pt x="6270" y="473"/>
                  <a:pt x="6270" y="1009"/>
                </a:cubicBezTo>
                <a:lnTo>
                  <a:pt x="6270" y="1103"/>
                </a:lnTo>
                <a:cubicBezTo>
                  <a:pt x="6144" y="1072"/>
                  <a:pt x="6050" y="1009"/>
                  <a:pt x="5924" y="1009"/>
                </a:cubicBezTo>
                <a:cubicBezTo>
                  <a:pt x="5640" y="1009"/>
                  <a:pt x="5388" y="1135"/>
                  <a:pt x="5199" y="1292"/>
                </a:cubicBezTo>
                <a:cubicBezTo>
                  <a:pt x="5010" y="1135"/>
                  <a:pt x="4758" y="1009"/>
                  <a:pt x="4506" y="1009"/>
                </a:cubicBezTo>
                <a:cubicBezTo>
                  <a:pt x="4380" y="1009"/>
                  <a:pt x="4254" y="1072"/>
                  <a:pt x="4128" y="1103"/>
                </a:cubicBezTo>
                <a:lnTo>
                  <a:pt x="4128" y="1009"/>
                </a:lnTo>
                <a:cubicBezTo>
                  <a:pt x="4128" y="442"/>
                  <a:pt x="3655"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4" name="Google Shape;6534;p72"/>
          <p:cNvSpPr/>
          <p:nvPr/>
        </p:nvSpPr>
        <p:spPr>
          <a:xfrm>
            <a:off x="7072579" y="2678543"/>
            <a:ext cx="477204" cy="471863"/>
          </a:xfrm>
          <a:custGeom>
            <a:avLst/>
            <a:gdLst/>
            <a:ahLst/>
            <a:cxnLst/>
            <a:rect l="l" t="t" r="r" b="b"/>
            <a:pathLst>
              <a:path w="11973" h="11839" extrusionOk="0">
                <a:moveTo>
                  <a:pt x="9322" y="655"/>
                </a:moveTo>
                <a:cubicBezTo>
                  <a:pt x="9413" y="655"/>
                  <a:pt x="9499" y="686"/>
                  <a:pt x="9547" y="749"/>
                </a:cubicBezTo>
                <a:lnTo>
                  <a:pt x="11027" y="2198"/>
                </a:lnTo>
                <a:cubicBezTo>
                  <a:pt x="11122" y="2324"/>
                  <a:pt x="11122" y="2545"/>
                  <a:pt x="11027" y="2671"/>
                </a:cubicBezTo>
                <a:cubicBezTo>
                  <a:pt x="10964" y="2718"/>
                  <a:pt x="10870" y="2742"/>
                  <a:pt x="10779" y="2742"/>
                </a:cubicBezTo>
                <a:cubicBezTo>
                  <a:pt x="10689" y="2742"/>
                  <a:pt x="10602" y="2718"/>
                  <a:pt x="10555" y="2671"/>
                </a:cubicBezTo>
                <a:lnTo>
                  <a:pt x="10303" y="2419"/>
                </a:lnTo>
                <a:lnTo>
                  <a:pt x="9074" y="1190"/>
                </a:lnTo>
                <a:cubicBezTo>
                  <a:pt x="8916" y="1096"/>
                  <a:pt x="8916" y="907"/>
                  <a:pt x="9074" y="749"/>
                </a:cubicBezTo>
                <a:cubicBezTo>
                  <a:pt x="9137" y="686"/>
                  <a:pt x="9232" y="655"/>
                  <a:pt x="9322" y="655"/>
                </a:cubicBezTo>
                <a:close/>
                <a:moveTo>
                  <a:pt x="9106" y="2230"/>
                </a:moveTo>
                <a:lnTo>
                  <a:pt x="9547" y="2702"/>
                </a:lnTo>
                <a:lnTo>
                  <a:pt x="9011" y="3270"/>
                </a:lnTo>
                <a:lnTo>
                  <a:pt x="8538" y="2797"/>
                </a:lnTo>
                <a:lnTo>
                  <a:pt x="9106" y="2230"/>
                </a:lnTo>
                <a:close/>
                <a:moveTo>
                  <a:pt x="6333" y="1694"/>
                </a:moveTo>
                <a:cubicBezTo>
                  <a:pt x="6396" y="1694"/>
                  <a:pt x="6522" y="1726"/>
                  <a:pt x="6554" y="1789"/>
                </a:cubicBezTo>
                <a:lnTo>
                  <a:pt x="8759" y="3994"/>
                </a:lnTo>
                <a:lnTo>
                  <a:pt x="9988" y="5223"/>
                </a:lnTo>
                <a:cubicBezTo>
                  <a:pt x="10082" y="5254"/>
                  <a:pt x="10114" y="5349"/>
                  <a:pt x="10114" y="5475"/>
                </a:cubicBezTo>
                <a:cubicBezTo>
                  <a:pt x="10114" y="5538"/>
                  <a:pt x="10082" y="5664"/>
                  <a:pt x="9988" y="5695"/>
                </a:cubicBezTo>
                <a:cubicBezTo>
                  <a:pt x="9925" y="5727"/>
                  <a:pt x="9830" y="5821"/>
                  <a:pt x="9767" y="5821"/>
                </a:cubicBezTo>
                <a:cubicBezTo>
                  <a:pt x="9673" y="5821"/>
                  <a:pt x="9547" y="5790"/>
                  <a:pt x="9515" y="5695"/>
                </a:cubicBezTo>
                <a:lnTo>
                  <a:pt x="6081" y="2261"/>
                </a:lnTo>
                <a:cubicBezTo>
                  <a:pt x="6018" y="2198"/>
                  <a:pt x="5987" y="2104"/>
                  <a:pt x="5987" y="2041"/>
                </a:cubicBezTo>
                <a:cubicBezTo>
                  <a:pt x="5987" y="1946"/>
                  <a:pt x="6018" y="1852"/>
                  <a:pt x="6081" y="1789"/>
                </a:cubicBezTo>
                <a:cubicBezTo>
                  <a:pt x="6176" y="1726"/>
                  <a:pt x="6239" y="1694"/>
                  <a:pt x="6333" y="1694"/>
                </a:cubicBezTo>
                <a:close/>
                <a:moveTo>
                  <a:pt x="6333" y="3459"/>
                </a:moveTo>
                <a:lnTo>
                  <a:pt x="8286" y="5412"/>
                </a:lnTo>
                <a:lnTo>
                  <a:pt x="7782" y="5947"/>
                </a:lnTo>
                <a:lnTo>
                  <a:pt x="7026" y="5191"/>
                </a:lnTo>
                <a:cubicBezTo>
                  <a:pt x="6979" y="5128"/>
                  <a:pt x="6892" y="5097"/>
                  <a:pt x="6802" y="5097"/>
                </a:cubicBezTo>
                <a:cubicBezTo>
                  <a:pt x="6711" y="5097"/>
                  <a:pt x="6617" y="5128"/>
                  <a:pt x="6554" y="5191"/>
                </a:cubicBezTo>
                <a:cubicBezTo>
                  <a:pt x="6459" y="5317"/>
                  <a:pt x="6459" y="5538"/>
                  <a:pt x="6554" y="5664"/>
                </a:cubicBezTo>
                <a:lnTo>
                  <a:pt x="7310" y="6420"/>
                </a:lnTo>
                <a:lnTo>
                  <a:pt x="6837" y="6893"/>
                </a:lnTo>
                <a:lnTo>
                  <a:pt x="4884" y="4908"/>
                </a:lnTo>
                <a:lnTo>
                  <a:pt x="6333" y="3459"/>
                </a:lnTo>
                <a:close/>
                <a:moveTo>
                  <a:pt x="4348" y="5506"/>
                </a:moveTo>
                <a:lnTo>
                  <a:pt x="6333" y="7460"/>
                </a:lnTo>
                <a:lnTo>
                  <a:pt x="5860" y="7932"/>
                </a:lnTo>
                <a:lnTo>
                  <a:pt x="5388" y="7460"/>
                </a:lnTo>
                <a:cubicBezTo>
                  <a:pt x="5325" y="7412"/>
                  <a:pt x="5238" y="7389"/>
                  <a:pt x="5152" y="7389"/>
                </a:cubicBezTo>
                <a:cubicBezTo>
                  <a:pt x="5065" y="7389"/>
                  <a:pt x="4978" y="7412"/>
                  <a:pt x="4915" y="7460"/>
                </a:cubicBezTo>
                <a:cubicBezTo>
                  <a:pt x="4789" y="7586"/>
                  <a:pt x="4789" y="7838"/>
                  <a:pt x="4915" y="7932"/>
                </a:cubicBezTo>
                <a:lnTo>
                  <a:pt x="5388" y="8405"/>
                </a:lnTo>
                <a:lnTo>
                  <a:pt x="5167" y="8657"/>
                </a:lnTo>
                <a:cubicBezTo>
                  <a:pt x="4915" y="8846"/>
                  <a:pt x="4632" y="8940"/>
                  <a:pt x="4360" y="8940"/>
                </a:cubicBezTo>
                <a:cubicBezTo>
                  <a:pt x="4088" y="8940"/>
                  <a:pt x="3828" y="8846"/>
                  <a:pt x="3624" y="8657"/>
                </a:cubicBezTo>
                <a:lnTo>
                  <a:pt x="3151" y="8184"/>
                </a:lnTo>
                <a:cubicBezTo>
                  <a:pt x="2742" y="7775"/>
                  <a:pt x="2742" y="7113"/>
                  <a:pt x="3151" y="6735"/>
                </a:cubicBezTo>
                <a:lnTo>
                  <a:pt x="4348" y="5506"/>
                </a:lnTo>
                <a:close/>
                <a:moveTo>
                  <a:pt x="2678" y="8657"/>
                </a:moveTo>
                <a:lnTo>
                  <a:pt x="3151" y="9129"/>
                </a:lnTo>
                <a:lnTo>
                  <a:pt x="2899" y="9350"/>
                </a:lnTo>
                <a:cubicBezTo>
                  <a:pt x="2836" y="9413"/>
                  <a:pt x="2749" y="9444"/>
                  <a:pt x="2663" y="9444"/>
                </a:cubicBezTo>
                <a:cubicBezTo>
                  <a:pt x="2576" y="9444"/>
                  <a:pt x="2489" y="9413"/>
                  <a:pt x="2426" y="9350"/>
                </a:cubicBezTo>
                <a:cubicBezTo>
                  <a:pt x="2300" y="9255"/>
                  <a:pt x="2300" y="9003"/>
                  <a:pt x="2426" y="8877"/>
                </a:cubicBezTo>
                <a:lnTo>
                  <a:pt x="2678" y="8657"/>
                </a:lnTo>
                <a:close/>
                <a:moveTo>
                  <a:pt x="9389" y="1"/>
                </a:moveTo>
                <a:cubicBezTo>
                  <a:pt x="9121" y="1"/>
                  <a:pt x="8853" y="103"/>
                  <a:pt x="8664" y="308"/>
                </a:cubicBezTo>
                <a:cubicBezTo>
                  <a:pt x="8255" y="686"/>
                  <a:pt x="8255" y="1379"/>
                  <a:pt x="8664" y="1757"/>
                </a:cubicBezTo>
                <a:lnTo>
                  <a:pt x="8097" y="2324"/>
                </a:lnTo>
                <a:lnTo>
                  <a:pt x="7121" y="1316"/>
                </a:lnTo>
                <a:cubicBezTo>
                  <a:pt x="6932" y="1127"/>
                  <a:pt x="6648" y="1001"/>
                  <a:pt x="6365" y="1001"/>
                </a:cubicBezTo>
                <a:cubicBezTo>
                  <a:pt x="6081" y="1001"/>
                  <a:pt x="5829" y="1127"/>
                  <a:pt x="5608" y="1316"/>
                </a:cubicBezTo>
                <a:cubicBezTo>
                  <a:pt x="5419" y="1537"/>
                  <a:pt x="5293" y="1789"/>
                  <a:pt x="5293" y="2072"/>
                </a:cubicBezTo>
                <a:cubicBezTo>
                  <a:pt x="5293" y="2356"/>
                  <a:pt x="5419" y="2639"/>
                  <a:pt x="5608" y="2828"/>
                </a:cubicBezTo>
                <a:lnTo>
                  <a:pt x="5860" y="3049"/>
                </a:lnTo>
                <a:lnTo>
                  <a:pt x="2678" y="6263"/>
                </a:lnTo>
                <a:cubicBezTo>
                  <a:pt x="2143" y="6767"/>
                  <a:pt x="2048" y="7460"/>
                  <a:pt x="2269" y="8090"/>
                </a:cubicBezTo>
                <a:lnTo>
                  <a:pt x="1922" y="8468"/>
                </a:lnTo>
                <a:cubicBezTo>
                  <a:pt x="1607" y="8783"/>
                  <a:pt x="1513" y="9255"/>
                  <a:pt x="1733" y="9634"/>
                </a:cubicBezTo>
                <a:lnTo>
                  <a:pt x="95" y="11240"/>
                </a:lnTo>
                <a:cubicBezTo>
                  <a:pt x="1" y="11366"/>
                  <a:pt x="1" y="11618"/>
                  <a:pt x="95" y="11713"/>
                </a:cubicBezTo>
                <a:cubicBezTo>
                  <a:pt x="190" y="11807"/>
                  <a:pt x="284" y="11839"/>
                  <a:pt x="347" y="11839"/>
                </a:cubicBezTo>
                <a:cubicBezTo>
                  <a:pt x="410" y="11839"/>
                  <a:pt x="536" y="11807"/>
                  <a:pt x="568" y="11713"/>
                </a:cubicBezTo>
                <a:lnTo>
                  <a:pt x="2206" y="10106"/>
                </a:lnTo>
                <a:cubicBezTo>
                  <a:pt x="2363" y="10201"/>
                  <a:pt x="2458" y="10232"/>
                  <a:pt x="2615" y="10232"/>
                </a:cubicBezTo>
                <a:cubicBezTo>
                  <a:pt x="2899" y="10232"/>
                  <a:pt x="3183" y="10106"/>
                  <a:pt x="3372" y="9917"/>
                </a:cubicBezTo>
                <a:lnTo>
                  <a:pt x="3718" y="9571"/>
                </a:lnTo>
                <a:cubicBezTo>
                  <a:pt x="3939" y="9634"/>
                  <a:pt x="4159" y="9665"/>
                  <a:pt x="4348" y="9665"/>
                </a:cubicBezTo>
                <a:cubicBezTo>
                  <a:pt x="4789" y="9665"/>
                  <a:pt x="5262" y="9508"/>
                  <a:pt x="5577" y="9161"/>
                </a:cubicBezTo>
                <a:lnTo>
                  <a:pt x="8759" y="5979"/>
                </a:lnTo>
                <a:lnTo>
                  <a:pt x="9011" y="6199"/>
                </a:lnTo>
                <a:cubicBezTo>
                  <a:pt x="9200" y="6420"/>
                  <a:pt x="9484" y="6515"/>
                  <a:pt x="9767" y="6515"/>
                </a:cubicBezTo>
                <a:cubicBezTo>
                  <a:pt x="10019" y="6515"/>
                  <a:pt x="10303" y="6420"/>
                  <a:pt x="10492" y="6199"/>
                </a:cubicBezTo>
                <a:cubicBezTo>
                  <a:pt x="10712" y="6010"/>
                  <a:pt x="10807" y="5727"/>
                  <a:pt x="10807" y="5475"/>
                </a:cubicBezTo>
                <a:cubicBezTo>
                  <a:pt x="10807" y="5191"/>
                  <a:pt x="10712" y="4908"/>
                  <a:pt x="10492" y="4719"/>
                </a:cubicBezTo>
                <a:lnTo>
                  <a:pt x="9515" y="3711"/>
                </a:lnTo>
                <a:lnTo>
                  <a:pt x="10082" y="3207"/>
                </a:lnTo>
                <a:cubicBezTo>
                  <a:pt x="10271" y="3427"/>
                  <a:pt x="10555" y="3522"/>
                  <a:pt x="10807" y="3522"/>
                </a:cubicBezTo>
                <a:cubicBezTo>
                  <a:pt x="11090" y="3522"/>
                  <a:pt x="11374" y="3427"/>
                  <a:pt x="11563" y="3207"/>
                </a:cubicBezTo>
                <a:cubicBezTo>
                  <a:pt x="11972" y="2828"/>
                  <a:pt x="11972" y="2167"/>
                  <a:pt x="11563" y="1757"/>
                </a:cubicBezTo>
                <a:lnTo>
                  <a:pt x="10114" y="308"/>
                </a:lnTo>
                <a:cubicBezTo>
                  <a:pt x="9925" y="103"/>
                  <a:pt x="9657" y="1"/>
                  <a:pt x="93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535" name="Google Shape;6535;p72"/>
          <p:cNvGrpSpPr/>
          <p:nvPr/>
        </p:nvGrpSpPr>
        <p:grpSpPr>
          <a:xfrm>
            <a:off x="7158585" y="3266706"/>
            <a:ext cx="303907" cy="472181"/>
            <a:chOff x="-28043900" y="2701925"/>
            <a:chExt cx="190625" cy="296175"/>
          </a:xfrm>
        </p:grpSpPr>
        <p:sp>
          <p:nvSpPr>
            <p:cNvPr id="6536" name="Google Shape;6536;p72"/>
            <p:cNvSpPr/>
            <p:nvPr/>
          </p:nvSpPr>
          <p:spPr>
            <a:xfrm>
              <a:off x="-28043900" y="2701925"/>
              <a:ext cx="190625" cy="296175"/>
            </a:xfrm>
            <a:custGeom>
              <a:avLst/>
              <a:gdLst/>
              <a:ahLst/>
              <a:cxnLst/>
              <a:rect l="l" t="t" r="r" b="b"/>
              <a:pathLst>
                <a:path w="7625" h="11847" extrusionOk="0">
                  <a:moveTo>
                    <a:pt x="5136" y="662"/>
                  </a:moveTo>
                  <a:cubicBezTo>
                    <a:pt x="5325" y="662"/>
                    <a:pt x="5483" y="820"/>
                    <a:pt x="5483" y="1009"/>
                  </a:cubicBezTo>
                  <a:cubicBezTo>
                    <a:pt x="5483" y="1198"/>
                    <a:pt x="5325" y="1356"/>
                    <a:pt x="5136" y="1356"/>
                  </a:cubicBezTo>
                  <a:lnTo>
                    <a:pt x="2364" y="1356"/>
                  </a:lnTo>
                  <a:cubicBezTo>
                    <a:pt x="2175" y="1356"/>
                    <a:pt x="2017" y="1198"/>
                    <a:pt x="2017" y="1009"/>
                  </a:cubicBezTo>
                  <a:cubicBezTo>
                    <a:pt x="2017" y="820"/>
                    <a:pt x="2175" y="662"/>
                    <a:pt x="2364" y="662"/>
                  </a:cubicBezTo>
                  <a:close/>
                  <a:moveTo>
                    <a:pt x="4790" y="2080"/>
                  </a:moveTo>
                  <a:lnTo>
                    <a:pt x="4790" y="4411"/>
                  </a:lnTo>
                  <a:cubicBezTo>
                    <a:pt x="4790" y="4758"/>
                    <a:pt x="4979" y="5105"/>
                    <a:pt x="5294" y="5294"/>
                  </a:cubicBezTo>
                  <a:cubicBezTo>
                    <a:pt x="6113" y="5766"/>
                    <a:pt x="6680" y="6554"/>
                    <a:pt x="6837" y="7499"/>
                  </a:cubicBezTo>
                  <a:cubicBezTo>
                    <a:pt x="6504" y="7632"/>
                    <a:pt x="6166" y="7699"/>
                    <a:pt x="5828" y="7699"/>
                  </a:cubicBezTo>
                  <a:cubicBezTo>
                    <a:pt x="5207" y="7699"/>
                    <a:pt x="4582" y="7475"/>
                    <a:pt x="3971" y="7026"/>
                  </a:cubicBezTo>
                  <a:cubicBezTo>
                    <a:pt x="3372" y="6648"/>
                    <a:pt x="2773" y="6396"/>
                    <a:pt x="2143" y="6333"/>
                  </a:cubicBezTo>
                  <a:cubicBezTo>
                    <a:pt x="1970" y="6318"/>
                    <a:pt x="1805" y="6310"/>
                    <a:pt x="1639" y="6310"/>
                  </a:cubicBezTo>
                  <a:cubicBezTo>
                    <a:pt x="1474" y="6310"/>
                    <a:pt x="1308" y="6318"/>
                    <a:pt x="1135" y="6333"/>
                  </a:cubicBezTo>
                  <a:cubicBezTo>
                    <a:pt x="1387" y="5892"/>
                    <a:pt x="1734" y="5546"/>
                    <a:pt x="2175" y="5294"/>
                  </a:cubicBezTo>
                  <a:cubicBezTo>
                    <a:pt x="2490" y="5105"/>
                    <a:pt x="2679" y="4790"/>
                    <a:pt x="2679" y="4443"/>
                  </a:cubicBezTo>
                  <a:lnTo>
                    <a:pt x="2679" y="2080"/>
                  </a:lnTo>
                  <a:close/>
                  <a:moveTo>
                    <a:pt x="1670" y="6939"/>
                  </a:moveTo>
                  <a:cubicBezTo>
                    <a:pt x="2308" y="6939"/>
                    <a:pt x="2942" y="7156"/>
                    <a:pt x="3561" y="7562"/>
                  </a:cubicBezTo>
                  <a:cubicBezTo>
                    <a:pt x="4160" y="7940"/>
                    <a:pt x="4790" y="8192"/>
                    <a:pt x="5420" y="8255"/>
                  </a:cubicBezTo>
                  <a:cubicBezTo>
                    <a:pt x="5577" y="8255"/>
                    <a:pt x="5672" y="8287"/>
                    <a:pt x="5829" y="8287"/>
                  </a:cubicBezTo>
                  <a:cubicBezTo>
                    <a:pt x="6207" y="8287"/>
                    <a:pt x="6554" y="8255"/>
                    <a:pt x="6869" y="8129"/>
                  </a:cubicBezTo>
                  <a:lnTo>
                    <a:pt x="6869" y="8129"/>
                  </a:lnTo>
                  <a:cubicBezTo>
                    <a:pt x="6869" y="8255"/>
                    <a:pt x="6837" y="8381"/>
                    <a:pt x="6837" y="8507"/>
                  </a:cubicBezTo>
                  <a:cubicBezTo>
                    <a:pt x="6585" y="9799"/>
                    <a:pt x="5640" y="10807"/>
                    <a:pt x="4412" y="11059"/>
                  </a:cubicBezTo>
                  <a:cubicBezTo>
                    <a:pt x="4192" y="11103"/>
                    <a:pt x="3970" y="11125"/>
                    <a:pt x="3750" y="11125"/>
                  </a:cubicBezTo>
                  <a:cubicBezTo>
                    <a:pt x="3027" y="11125"/>
                    <a:pt x="2328" y="10888"/>
                    <a:pt x="1797" y="10429"/>
                  </a:cubicBezTo>
                  <a:cubicBezTo>
                    <a:pt x="1041" y="9830"/>
                    <a:pt x="631" y="8917"/>
                    <a:pt x="631" y="7972"/>
                  </a:cubicBezTo>
                  <a:cubicBezTo>
                    <a:pt x="631" y="7656"/>
                    <a:pt x="694" y="7404"/>
                    <a:pt x="757" y="7089"/>
                  </a:cubicBezTo>
                  <a:cubicBezTo>
                    <a:pt x="1062" y="6988"/>
                    <a:pt x="1366" y="6939"/>
                    <a:pt x="1670" y="6939"/>
                  </a:cubicBezTo>
                  <a:close/>
                  <a:moveTo>
                    <a:pt x="2427" y="1"/>
                  </a:moveTo>
                  <a:cubicBezTo>
                    <a:pt x="1828" y="1"/>
                    <a:pt x="1387" y="473"/>
                    <a:pt x="1387" y="1009"/>
                  </a:cubicBezTo>
                  <a:cubicBezTo>
                    <a:pt x="1387" y="1450"/>
                    <a:pt x="1671" y="1828"/>
                    <a:pt x="2112" y="1986"/>
                  </a:cubicBezTo>
                  <a:lnTo>
                    <a:pt x="2112" y="4443"/>
                  </a:lnTo>
                  <a:cubicBezTo>
                    <a:pt x="2112" y="4569"/>
                    <a:pt x="2017" y="4632"/>
                    <a:pt x="1891" y="4727"/>
                  </a:cubicBezTo>
                  <a:cubicBezTo>
                    <a:pt x="1356" y="5042"/>
                    <a:pt x="883" y="5514"/>
                    <a:pt x="536" y="6081"/>
                  </a:cubicBezTo>
                  <a:cubicBezTo>
                    <a:pt x="410" y="6302"/>
                    <a:pt x="284" y="6522"/>
                    <a:pt x="221" y="6711"/>
                  </a:cubicBezTo>
                  <a:lnTo>
                    <a:pt x="221" y="6743"/>
                  </a:lnTo>
                  <a:cubicBezTo>
                    <a:pt x="64" y="7152"/>
                    <a:pt x="1" y="7593"/>
                    <a:pt x="1" y="8003"/>
                  </a:cubicBezTo>
                  <a:cubicBezTo>
                    <a:pt x="1" y="9169"/>
                    <a:pt x="536" y="10271"/>
                    <a:pt x="1419" y="10964"/>
                  </a:cubicBezTo>
                  <a:cubicBezTo>
                    <a:pt x="2112" y="11532"/>
                    <a:pt x="2962" y="11847"/>
                    <a:pt x="3845" y="11847"/>
                  </a:cubicBezTo>
                  <a:cubicBezTo>
                    <a:pt x="4097" y="11847"/>
                    <a:pt x="4380" y="11784"/>
                    <a:pt x="4664" y="11752"/>
                  </a:cubicBezTo>
                  <a:cubicBezTo>
                    <a:pt x="5420" y="11595"/>
                    <a:pt x="6081" y="11248"/>
                    <a:pt x="6585" y="10681"/>
                  </a:cubicBezTo>
                  <a:cubicBezTo>
                    <a:pt x="7090" y="10145"/>
                    <a:pt x="7468" y="9484"/>
                    <a:pt x="7625" y="8728"/>
                  </a:cubicBezTo>
                  <a:cubicBezTo>
                    <a:pt x="7562" y="8350"/>
                    <a:pt x="7562" y="7972"/>
                    <a:pt x="7531" y="7656"/>
                  </a:cubicBezTo>
                  <a:cubicBezTo>
                    <a:pt x="7499" y="7184"/>
                    <a:pt x="7373" y="6743"/>
                    <a:pt x="7184" y="6333"/>
                  </a:cubicBezTo>
                  <a:cubicBezTo>
                    <a:pt x="6837" y="5609"/>
                    <a:pt x="6302" y="5073"/>
                    <a:pt x="5640" y="4664"/>
                  </a:cubicBezTo>
                  <a:cubicBezTo>
                    <a:pt x="5577" y="4632"/>
                    <a:pt x="5483" y="4506"/>
                    <a:pt x="5483" y="4411"/>
                  </a:cubicBezTo>
                  <a:lnTo>
                    <a:pt x="5483" y="1986"/>
                  </a:lnTo>
                  <a:cubicBezTo>
                    <a:pt x="5892" y="1828"/>
                    <a:pt x="6207" y="1482"/>
                    <a:pt x="6207" y="1009"/>
                  </a:cubicBezTo>
                  <a:cubicBezTo>
                    <a:pt x="6207" y="410"/>
                    <a:pt x="5735" y="1"/>
                    <a:pt x="51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7" name="Google Shape;6537;p72"/>
            <p:cNvSpPr/>
            <p:nvPr/>
          </p:nvSpPr>
          <p:spPr>
            <a:xfrm>
              <a:off x="-27976950" y="291065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8" name="Google Shape;6538;p72"/>
            <p:cNvSpPr/>
            <p:nvPr/>
          </p:nvSpPr>
          <p:spPr>
            <a:xfrm>
              <a:off x="-27924175" y="29279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39" name="Google Shape;6539;p72"/>
            <p:cNvSpPr/>
            <p:nvPr/>
          </p:nvSpPr>
          <p:spPr>
            <a:xfrm>
              <a:off x="-27976950" y="2946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0" name="Google Shape;6540;p72"/>
            <p:cNvSpPr/>
            <p:nvPr/>
          </p:nvSpPr>
          <p:spPr>
            <a:xfrm>
              <a:off x="-28010800" y="2893325"/>
              <a:ext cx="17350" cy="18150"/>
            </a:xfrm>
            <a:custGeom>
              <a:avLst/>
              <a:gdLst/>
              <a:ahLst/>
              <a:cxnLst/>
              <a:rect l="l" t="t" r="r" b="b"/>
              <a:pathLst>
                <a:path w="694" h="726" extrusionOk="0">
                  <a:moveTo>
                    <a:pt x="347" y="0"/>
                  </a:moveTo>
                  <a:cubicBezTo>
                    <a:pt x="158" y="0"/>
                    <a:pt x="0" y="158"/>
                    <a:pt x="0" y="379"/>
                  </a:cubicBezTo>
                  <a:cubicBezTo>
                    <a:pt x="0" y="568"/>
                    <a:pt x="158" y="725"/>
                    <a:pt x="347" y="725"/>
                  </a:cubicBezTo>
                  <a:cubicBezTo>
                    <a:pt x="536" y="725"/>
                    <a:pt x="693" y="568"/>
                    <a:pt x="693" y="379"/>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41" name="Google Shape;6541;p72"/>
          <p:cNvGrpSpPr/>
          <p:nvPr/>
        </p:nvGrpSpPr>
        <p:grpSpPr>
          <a:xfrm>
            <a:off x="10055740" y="2082624"/>
            <a:ext cx="472181" cy="470907"/>
            <a:chOff x="-26215025" y="1971025"/>
            <a:chExt cx="296175" cy="295375"/>
          </a:xfrm>
        </p:grpSpPr>
        <p:sp>
          <p:nvSpPr>
            <p:cNvPr id="6542" name="Google Shape;6542;p72"/>
            <p:cNvSpPr/>
            <p:nvPr/>
          </p:nvSpPr>
          <p:spPr>
            <a:xfrm>
              <a:off x="-26092950" y="1971025"/>
              <a:ext cx="51225" cy="225275"/>
            </a:xfrm>
            <a:custGeom>
              <a:avLst/>
              <a:gdLst/>
              <a:ahLst/>
              <a:cxnLst/>
              <a:rect l="l" t="t" r="r" b="b"/>
              <a:pathLst>
                <a:path w="2049" h="9011" extrusionOk="0">
                  <a:moveTo>
                    <a:pt x="1009" y="7246"/>
                  </a:moveTo>
                  <a:cubicBezTo>
                    <a:pt x="1198" y="7593"/>
                    <a:pt x="1355" y="7877"/>
                    <a:pt x="1355" y="8003"/>
                  </a:cubicBezTo>
                  <a:cubicBezTo>
                    <a:pt x="1355" y="8192"/>
                    <a:pt x="1198" y="8349"/>
                    <a:pt x="1009" y="8349"/>
                  </a:cubicBezTo>
                  <a:cubicBezTo>
                    <a:pt x="820" y="8349"/>
                    <a:pt x="662" y="8192"/>
                    <a:pt x="662" y="8003"/>
                  </a:cubicBezTo>
                  <a:cubicBezTo>
                    <a:pt x="694" y="7877"/>
                    <a:pt x="820" y="7562"/>
                    <a:pt x="1009" y="7246"/>
                  </a:cubicBezTo>
                  <a:close/>
                  <a:moveTo>
                    <a:pt x="977" y="0"/>
                  </a:moveTo>
                  <a:cubicBezTo>
                    <a:pt x="788" y="0"/>
                    <a:pt x="631" y="158"/>
                    <a:pt x="631" y="347"/>
                  </a:cubicBezTo>
                  <a:lnTo>
                    <a:pt x="631" y="6490"/>
                  </a:lnTo>
                  <a:cubicBezTo>
                    <a:pt x="536" y="6616"/>
                    <a:pt x="410" y="6774"/>
                    <a:pt x="316" y="6963"/>
                  </a:cubicBezTo>
                  <a:cubicBezTo>
                    <a:pt x="32" y="7562"/>
                    <a:pt x="1" y="7845"/>
                    <a:pt x="1" y="8003"/>
                  </a:cubicBezTo>
                  <a:cubicBezTo>
                    <a:pt x="1" y="8601"/>
                    <a:pt x="473" y="9011"/>
                    <a:pt x="1009" y="9011"/>
                  </a:cubicBezTo>
                  <a:cubicBezTo>
                    <a:pt x="1576" y="9011"/>
                    <a:pt x="2048" y="8538"/>
                    <a:pt x="2048" y="8003"/>
                  </a:cubicBezTo>
                  <a:cubicBezTo>
                    <a:pt x="2048" y="7845"/>
                    <a:pt x="1985" y="7593"/>
                    <a:pt x="1639" y="6963"/>
                  </a:cubicBezTo>
                  <a:cubicBezTo>
                    <a:pt x="1513" y="6774"/>
                    <a:pt x="1418" y="6585"/>
                    <a:pt x="1324" y="6490"/>
                  </a:cubicBezTo>
                  <a:lnTo>
                    <a:pt x="1324" y="347"/>
                  </a:lnTo>
                  <a:cubicBezTo>
                    <a:pt x="1324" y="158"/>
                    <a:pt x="1166" y="0"/>
                    <a:pt x="9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3" name="Google Shape;6543;p72"/>
            <p:cNvSpPr/>
            <p:nvPr/>
          </p:nvSpPr>
          <p:spPr>
            <a:xfrm>
              <a:off x="-26179575"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4" name="Google Shape;6544;p72"/>
            <p:cNvSpPr/>
            <p:nvPr/>
          </p:nvSpPr>
          <p:spPr>
            <a:xfrm>
              <a:off x="-26163050" y="2178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5" name="Google Shape;6545;p72"/>
            <p:cNvSpPr/>
            <p:nvPr/>
          </p:nvSpPr>
          <p:spPr>
            <a:xfrm>
              <a:off x="-26145725"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6" name="Google Shape;6546;p72"/>
            <p:cNvSpPr/>
            <p:nvPr/>
          </p:nvSpPr>
          <p:spPr>
            <a:xfrm>
              <a:off x="-25988975" y="217895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662" y="158"/>
                    <a:pt x="504"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7" name="Google Shape;6547;p72"/>
            <p:cNvSpPr/>
            <p:nvPr/>
          </p:nvSpPr>
          <p:spPr>
            <a:xfrm>
              <a:off x="-260063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8" name="Google Shape;6548;p72"/>
            <p:cNvSpPr/>
            <p:nvPr/>
          </p:nvSpPr>
          <p:spPr>
            <a:xfrm>
              <a:off x="-25972450" y="22144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49" name="Google Shape;6549;p72"/>
            <p:cNvSpPr/>
            <p:nvPr/>
          </p:nvSpPr>
          <p:spPr>
            <a:xfrm>
              <a:off x="-26215025" y="2108850"/>
              <a:ext cx="296175" cy="157550"/>
            </a:xfrm>
            <a:custGeom>
              <a:avLst/>
              <a:gdLst/>
              <a:ahLst/>
              <a:cxnLst/>
              <a:rect l="l" t="t" r="r" b="b"/>
              <a:pathLst>
                <a:path w="11847" h="6302" extrusionOk="0">
                  <a:moveTo>
                    <a:pt x="4128" y="725"/>
                  </a:moveTo>
                  <a:cubicBezTo>
                    <a:pt x="3970" y="946"/>
                    <a:pt x="3844" y="1198"/>
                    <a:pt x="3781" y="1418"/>
                  </a:cubicBezTo>
                  <a:cubicBezTo>
                    <a:pt x="3781" y="1450"/>
                    <a:pt x="3749" y="1513"/>
                    <a:pt x="3749" y="1544"/>
                  </a:cubicBezTo>
                  <a:cubicBezTo>
                    <a:pt x="3403" y="1355"/>
                    <a:pt x="2993" y="1261"/>
                    <a:pt x="2615" y="1261"/>
                  </a:cubicBezTo>
                  <a:cubicBezTo>
                    <a:pt x="2111" y="1261"/>
                    <a:pt x="1450" y="1418"/>
                    <a:pt x="1166" y="1891"/>
                  </a:cubicBezTo>
                  <a:cubicBezTo>
                    <a:pt x="1040" y="2080"/>
                    <a:pt x="851" y="2175"/>
                    <a:pt x="694" y="2175"/>
                  </a:cubicBezTo>
                  <a:lnTo>
                    <a:pt x="694" y="1072"/>
                  </a:lnTo>
                  <a:cubicBezTo>
                    <a:pt x="694" y="851"/>
                    <a:pt x="851" y="725"/>
                    <a:pt x="1040" y="725"/>
                  </a:cubicBezTo>
                  <a:close/>
                  <a:moveTo>
                    <a:pt x="10775" y="725"/>
                  </a:moveTo>
                  <a:cubicBezTo>
                    <a:pt x="10964" y="725"/>
                    <a:pt x="11122" y="883"/>
                    <a:pt x="11122" y="1072"/>
                  </a:cubicBezTo>
                  <a:lnTo>
                    <a:pt x="11122" y="2175"/>
                  </a:lnTo>
                  <a:cubicBezTo>
                    <a:pt x="10933" y="2175"/>
                    <a:pt x="10775" y="2080"/>
                    <a:pt x="10649" y="1891"/>
                  </a:cubicBezTo>
                  <a:cubicBezTo>
                    <a:pt x="10429" y="1513"/>
                    <a:pt x="10050" y="1261"/>
                    <a:pt x="9546" y="1261"/>
                  </a:cubicBezTo>
                  <a:cubicBezTo>
                    <a:pt x="9074" y="1261"/>
                    <a:pt x="8696" y="1513"/>
                    <a:pt x="8444" y="1891"/>
                  </a:cubicBezTo>
                  <a:cubicBezTo>
                    <a:pt x="8412" y="1985"/>
                    <a:pt x="8349" y="2049"/>
                    <a:pt x="8286" y="2143"/>
                  </a:cubicBezTo>
                  <a:cubicBezTo>
                    <a:pt x="8255" y="1828"/>
                    <a:pt x="8097" y="1355"/>
                    <a:pt x="7719" y="725"/>
                  </a:cubicBezTo>
                  <a:close/>
                  <a:moveTo>
                    <a:pt x="9609" y="1922"/>
                  </a:moveTo>
                  <a:cubicBezTo>
                    <a:pt x="9830" y="1922"/>
                    <a:pt x="9987" y="2049"/>
                    <a:pt x="10113" y="2206"/>
                  </a:cubicBezTo>
                  <a:cubicBezTo>
                    <a:pt x="10334" y="2616"/>
                    <a:pt x="10744" y="2836"/>
                    <a:pt x="11185" y="2836"/>
                  </a:cubicBezTo>
                  <a:lnTo>
                    <a:pt x="11185" y="5546"/>
                  </a:lnTo>
                  <a:lnTo>
                    <a:pt x="694" y="5546"/>
                  </a:lnTo>
                  <a:lnTo>
                    <a:pt x="694" y="2931"/>
                  </a:lnTo>
                  <a:cubicBezTo>
                    <a:pt x="1135" y="2931"/>
                    <a:pt x="1576" y="2679"/>
                    <a:pt x="1765" y="2301"/>
                  </a:cubicBezTo>
                  <a:cubicBezTo>
                    <a:pt x="1828" y="2143"/>
                    <a:pt x="2143" y="2017"/>
                    <a:pt x="2615" y="2017"/>
                  </a:cubicBezTo>
                  <a:cubicBezTo>
                    <a:pt x="3056" y="2017"/>
                    <a:pt x="3371" y="2175"/>
                    <a:pt x="3497" y="2301"/>
                  </a:cubicBezTo>
                  <a:lnTo>
                    <a:pt x="3529" y="2364"/>
                  </a:lnTo>
                  <a:cubicBezTo>
                    <a:pt x="3529" y="2395"/>
                    <a:pt x="3560" y="2395"/>
                    <a:pt x="3560" y="2395"/>
                  </a:cubicBezTo>
                  <a:cubicBezTo>
                    <a:pt x="3560" y="2868"/>
                    <a:pt x="3686" y="3309"/>
                    <a:pt x="3939" y="3718"/>
                  </a:cubicBezTo>
                  <a:cubicBezTo>
                    <a:pt x="4317" y="4380"/>
                    <a:pt x="4947" y="4758"/>
                    <a:pt x="5671" y="4852"/>
                  </a:cubicBezTo>
                  <a:lnTo>
                    <a:pt x="5923" y="4852"/>
                  </a:lnTo>
                  <a:cubicBezTo>
                    <a:pt x="7121" y="4852"/>
                    <a:pt x="8097" y="4033"/>
                    <a:pt x="8286" y="2868"/>
                  </a:cubicBezTo>
                  <a:cubicBezTo>
                    <a:pt x="8727" y="2773"/>
                    <a:pt x="8916" y="2458"/>
                    <a:pt x="9074" y="2206"/>
                  </a:cubicBezTo>
                  <a:cubicBezTo>
                    <a:pt x="9200" y="2017"/>
                    <a:pt x="9357" y="1922"/>
                    <a:pt x="9609" y="1922"/>
                  </a:cubicBezTo>
                  <a:close/>
                  <a:moveTo>
                    <a:pt x="1040" y="1"/>
                  </a:moveTo>
                  <a:cubicBezTo>
                    <a:pt x="473" y="1"/>
                    <a:pt x="0" y="473"/>
                    <a:pt x="0" y="1072"/>
                  </a:cubicBezTo>
                  <a:lnTo>
                    <a:pt x="0" y="5955"/>
                  </a:lnTo>
                  <a:cubicBezTo>
                    <a:pt x="0" y="6144"/>
                    <a:pt x="158" y="6302"/>
                    <a:pt x="347" y="6302"/>
                  </a:cubicBezTo>
                  <a:lnTo>
                    <a:pt x="11500" y="6302"/>
                  </a:lnTo>
                  <a:cubicBezTo>
                    <a:pt x="11689" y="6302"/>
                    <a:pt x="11846" y="6144"/>
                    <a:pt x="11846" y="5955"/>
                  </a:cubicBezTo>
                  <a:lnTo>
                    <a:pt x="11846" y="1072"/>
                  </a:lnTo>
                  <a:cubicBezTo>
                    <a:pt x="11846" y="505"/>
                    <a:pt x="11374" y="1"/>
                    <a:pt x="10775" y="1"/>
                  </a:cubicBezTo>
                  <a:lnTo>
                    <a:pt x="7089" y="1"/>
                  </a:lnTo>
                  <a:cubicBezTo>
                    <a:pt x="6963" y="1"/>
                    <a:pt x="6837" y="64"/>
                    <a:pt x="6774" y="190"/>
                  </a:cubicBezTo>
                  <a:cubicBezTo>
                    <a:pt x="6679" y="316"/>
                    <a:pt x="6711" y="442"/>
                    <a:pt x="6774" y="568"/>
                  </a:cubicBezTo>
                  <a:lnTo>
                    <a:pt x="6805" y="599"/>
                  </a:lnTo>
                  <a:cubicBezTo>
                    <a:pt x="7341" y="1387"/>
                    <a:pt x="7625" y="2017"/>
                    <a:pt x="7625" y="2490"/>
                  </a:cubicBezTo>
                  <a:cubicBezTo>
                    <a:pt x="7625" y="3435"/>
                    <a:pt x="6868" y="4191"/>
                    <a:pt x="5923" y="4191"/>
                  </a:cubicBezTo>
                  <a:lnTo>
                    <a:pt x="5734" y="4191"/>
                  </a:lnTo>
                  <a:cubicBezTo>
                    <a:pt x="5230" y="4128"/>
                    <a:pt x="4789" y="3813"/>
                    <a:pt x="4506" y="3340"/>
                  </a:cubicBezTo>
                  <a:cubicBezTo>
                    <a:pt x="4191" y="2836"/>
                    <a:pt x="4159" y="2206"/>
                    <a:pt x="4411" y="1702"/>
                  </a:cubicBezTo>
                  <a:cubicBezTo>
                    <a:pt x="4506" y="1387"/>
                    <a:pt x="4758" y="977"/>
                    <a:pt x="5041" y="599"/>
                  </a:cubicBezTo>
                  <a:lnTo>
                    <a:pt x="5073" y="568"/>
                  </a:lnTo>
                  <a:cubicBezTo>
                    <a:pt x="5136" y="442"/>
                    <a:pt x="5136" y="316"/>
                    <a:pt x="5073" y="190"/>
                  </a:cubicBezTo>
                  <a:cubicBezTo>
                    <a:pt x="4978" y="95"/>
                    <a:pt x="4884" y="1"/>
                    <a:pt x="4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50" name="Google Shape;6550;p72"/>
          <p:cNvGrpSpPr/>
          <p:nvPr/>
        </p:nvGrpSpPr>
        <p:grpSpPr>
          <a:xfrm>
            <a:off x="10055104" y="2679678"/>
            <a:ext cx="473457" cy="469671"/>
            <a:chOff x="-26215825" y="2341200"/>
            <a:chExt cx="296975" cy="294600"/>
          </a:xfrm>
        </p:grpSpPr>
        <p:sp>
          <p:nvSpPr>
            <p:cNvPr id="6551" name="Google Shape;6551;p72"/>
            <p:cNvSpPr/>
            <p:nvPr/>
          </p:nvSpPr>
          <p:spPr>
            <a:xfrm>
              <a:off x="-26215025" y="2463275"/>
              <a:ext cx="296175" cy="172525"/>
            </a:xfrm>
            <a:custGeom>
              <a:avLst/>
              <a:gdLst/>
              <a:ahLst/>
              <a:cxnLst/>
              <a:rect l="l" t="t" r="r" b="b"/>
              <a:pathLst>
                <a:path w="11847" h="6901" extrusionOk="0">
                  <a:moveTo>
                    <a:pt x="10113" y="725"/>
                  </a:moveTo>
                  <a:cubicBezTo>
                    <a:pt x="10712" y="725"/>
                    <a:pt x="11122" y="1198"/>
                    <a:pt x="11122" y="1734"/>
                  </a:cubicBezTo>
                  <a:cubicBezTo>
                    <a:pt x="11122" y="2332"/>
                    <a:pt x="10649" y="2773"/>
                    <a:pt x="10113" y="2773"/>
                  </a:cubicBezTo>
                  <a:lnTo>
                    <a:pt x="6994" y="2773"/>
                  </a:lnTo>
                  <a:cubicBezTo>
                    <a:pt x="6616" y="2773"/>
                    <a:pt x="6301" y="2458"/>
                    <a:pt x="6301" y="2049"/>
                  </a:cubicBezTo>
                  <a:cubicBezTo>
                    <a:pt x="6301" y="1860"/>
                    <a:pt x="6396" y="1671"/>
                    <a:pt x="6553" y="1545"/>
                  </a:cubicBezTo>
                  <a:cubicBezTo>
                    <a:pt x="6837" y="1891"/>
                    <a:pt x="7247" y="2080"/>
                    <a:pt x="7688" y="2080"/>
                  </a:cubicBezTo>
                  <a:cubicBezTo>
                    <a:pt x="8255" y="2080"/>
                    <a:pt x="8727" y="1671"/>
                    <a:pt x="9137" y="1293"/>
                  </a:cubicBezTo>
                  <a:cubicBezTo>
                    <a:pt x="9452" y="977"/>
                    <a:pt x="9767" y="725"/>
                    <a:pt x="10113" y="725"/>
                  </a:cubicBezTo>
                  <a:close/>
                  <a:moveTo>
                    <a:pt x="7656" y="3466"/>
                  </a:moveTo>
                  <a:lnTo>
                    <a:pt x="7656" y="4853"/>
                  </a:lnTo>
                  <a:lnTo>
                    <a:pt x="6963" y="4853"/>
                  </a:lnTo>
                  <a:lnTo>
                    <a:pt x="6963" y="3466"/>
                  </a:lnTo>
                  <a:close/>
                  <a:moveTo>
                    <a:pt x="9074" y="3466"/>
                  </a:moveTo>
                  <a:lnTo>
                    <a:pt x="9074" y="4853"/>
                  </a:lnTo>
                  <a:lnTo>
                    <a:pt x="8381" y="4853"/>
                  </a:lnTo>
                  <a:lnTo>
                    <a:pt x="8381" y="3466"/>
                  </a:lnTo>
                  <a:close/>
                  <a:moveTo>
                    <a:pt x="10460" y="3435"/>
                  </a:moveTo>
                  <a:lnTo>
                    <a:pt x="10460" y="4853"/>
                  </a:lnTo>
                  <a:lnTo>
                    <a:pt x="9767" y="4853"/>
                  </a:lnTo>
                  <a:lnTo>
                    <a:pt x="9767" y="3466"/>
                  </a:lnTo>
                  <a:lnTo>
                    <a:pt x="10113" y="3466"/>
                  </a:lnTo>
                  <a:cubicBezTo>
                    <a:pt x="10240" y="3466"/>
                    <a:pt x="10334" y="3466"/>
                    <a:pt x="10460" y="3435"/>
                  </a:cubicBezTo>
                  <a:close/>
                  <a:moveTo>
                    <a:pt x="2993" y="4128"/>
                  </a:moveTo>
                  <a:cubicBezTo>
                    <a:pt x="3371" y="4128"/>
                    <a:pt x="3781" y="4254"/>
                    <a:pt x="4128" y="4412"/>
                  </a:cubicBezTo>
                  <a:lnTo>
                    <a:pt x="5829" y="5325"/>
                  </a:lnTo>
                  <a:cubicBezTo>
                    <a:pt x="6049" y="5451"/>
                    <a:pt x="6364" y="5514"/>
                    <a:pt x="6648" y="5514"/>
                  </a:cubicBezTo>
                  <a:lnTo>
                    <a:pt x="10838" y="5514"/>
                  </a:lnTo>
                  <a:cubicBezTo>
                    <a:pt x="11027" y="5514"/>
                    <a:pt x="11185" y="5672"/>
                    <a:pt x="11185" y="5861"/>
                  </a:cubicBezTo>
                  <a:cubicBezTo>
                    <a:pt x="11185" y="6050"/>
                    <a:pt x="10964" y="6239"/>
                    <a:pt x="10775" y="6239"/>
                  </a:cubicBezTo>
                  <a:lnTo>
                    <a:pt x="6616" y="6239"/>
                  </a:lnTo>
                  <a:cubicBezTo>
                    <a:pt x="6459" y="6239"/>
                    <a:pt x="6238" y="6176"/>
                    <a:pt x="6144" y="6113"/>
                  </a:cubicBezTo>
                  <a:lnTo>
                    <a:pt x="4443" y="5199"/>
                  </a:lnTo>
                  <a:cubicBezTo>
                    <a:pt x="4002" y="4979"/>
                    <a:pt x="3497" y="4853"/>
                    <a:pt x="2993" y="4853"/>
                  </a:cubicBezTo>
                  <a:lnTo>
                    <a:pt x="694" y="4853"/>
                  </a:lnTo>
                  <a:lnTo>
                    <a:pt x="694" y="4128"/>
                  </a:lnTo>
                  <a:close/>
                  <a:moveTo>
                    <a:pt x="10113" y="1"/>
                  </a:moveTo>
                  <a:cubicBezTo>
                    <a:pt x="9515" y="1"/>
                    <a:pt x="9042" y="442"/>
                    <a:pt x="8664" y="788"/>
                  </a:cubicBezTo>
                  <a:cubicBezTo>
                    <a:pt x="8349" y="1104"/>
                    <a:pt x="8034" y="1387"/>
                    <a:pt x="7656" y="1387"/>
                  </a:cubicBezTo>
                  <a:cubicBezTo>
                    <a:pt x="7404" y="1387"/>
                    <a:pt x="7121" y="1230"/>
                    <a:pt x="7026" y="946"/>
                  </a:cubicBezTo>
                  <a:cubicBezTo>
                    <a:pt x="6973" y="815"/>
                    <a:pt x="6855" y="749"/>
                    <a:pt x="6708" y="749"/>
                  </a:cubicBezTo>
                  <a:cubicBezTo>
                    <a:pt x="6679" y="749"/>
                    <a:pt x="6648" y="752"/>
                    <a:pt x="6616" y="757"/>
                  </a:cubicBezTo>
                  <a:cubicBezTo>
                    <a:pt x="6018" y="914"/>
                    <a:pt x="5577" y="1450"/>
                    <a:pt x="5577" y="2080"/>
                  </a:cubicBezTo>
                  <a:cubicBezTo>
                    <a:pt x="5577" y="2616"/>
                    <a:pt x="5860" y="3025"/>
                    <a:pt x="6301" y="3277"/>
                  </a:cubicBezTo>
                  <a:lnTo>
                    <a:pt x="6301" y="4758"/>
                  </a:lnTo>
                  <a:cubicBezTo>
                    <a:pt x="6270" y="4758"/>
                    <a:pt x="6207" y="4727"/>
                    <a:pt x="6144" y="4695"/>
                  </a:cubicBezTo>
                  <a:lnTo>
                    <a:pt x="4443" y="3781"/>
                  </a:lnTo>
                  <a:cubicBezTo>
                    <a:pt x="4002" y="3561"/>
                    <a:pt x="3497" y="3435"/>
                    <a:pt x="2993" y="3435"/>
                  </a:cubicBezTo>
                  <a:lnTo>
                    <a:pt x="347" y="3435"/>
                  </a:lnTo>
                  <a:cubicBezTo>
                    <a:pt x="158" y="3435"/>
                    <a:pt x="0" y="3592"/>
                    <a:pt x="0" y="3781"/>
                  </a:cubicBezTo>
                  <a:lnTo>
                    <a:pt x="0" y="5168"/>
                  </a:lnTo>
                  <a:cubicBezTo>
                    <a:pt x="0" y="5357"/>
                    <a:pt x="158" y="5514"/>
                    <a:pt x="347" y="5514"/>
                  </a:cubicBezTo>
                  <a:lnTo>
                    <a:pt x="2993" y="5514"/>
                  </a:lnTo>
                  <a:cubicBezTo>
                    <a:pt x="3371" y="5514"/>
                    <a:pt x="3781" y="5640"/>
                    <a:pt x="4128" y="5798"/>
                  </a:cubicBezTo>
                  <a:lnTo>
                    <a:pt x="5829" y="6711"/>
                  </a:lnTo>
                  <a:cubicBezTo>
                    <a:pt x="6049" y="6806"/>
                    <a:pt x="6364" y="6900"/>
                    <a:pt x="6648" y="6900"/>
                  </a:cubicBezTo>
                  <a:lnTo>
                    <a:pt x="10838" y="6900"/>
                  </a:lnTo>
                  <a:cubicBezTo>
                    <a:pt x="11405" y="6900"/>
                    <a:pt x="11846" y="6428"/>
                    <a:pt x="11846" y="5861"/>
                  </a:cubicBezTo>
                  <a:cubicBezTo>
                    <a:pt x="11846" y="5451"/>
                    <a:pt x="11563" y="5042"/>
                    <a:pt x="11122" y="4884"/>
                  </a:cubicBezTo>
                  <a:lnTo>
                    <a:pt x="11122" y="3088"/>
                  </a:lnTo>
                  <a:cubicBezTo>
                    <a:pt x="11563" y="2805"/>
                    <a:pt x="11846" y="2301"/>
                    <a:pt x="11846" y="1734"/>
                  </a:cubicBezTo>
                  <a:cubicBezTo>
                    <a:pt x="11846" y="788"/>
                    <a:pt x="11059" y="1"/>
                    <a:pt x="10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2" name="Google Shape;6552;p72"/>
            <p:cNvSpPr/>
            <p:nvPr/>
          </p:nvSpPr>
          <p:spPr>
            <a:xfrm>
              <a:off x="-26215825" y="2341200"/>
              <a:ext cx="296975" cy="119750"/>
            </a:xfrm>
            <a:custGeom>
              <a:avLst/>
              <a:gdLst/>
              <a:ahLst/>
              <a:cxnLst/>
              <a:rect l="l" t="t" r="r" b="b"/>
              <a:pathLst>
                <a:path w="11879" h="4790" extrusionOk="0">
                  <a:moveTo>
                    <a:pt x="10807" y="1702"/>
                  </a:moveTo>
                  <a:cubicBezTo>
                    <a:pt x="10996" y="1702"/>
                    <a:pt x="11154" y="1859"/>
                    <a:pt x="11154" y="2048"/>
                  </a:cubicBezTo>
                  <a:cubicBezTo>
                    <a:pt x="11154" y="2237"/>
                    <a:pt x="10996" y="2395"/>
                    <a:pt x="10807" y="2395"/>
                  </a:cubicBezTo>
                  <a:lnTo>
                    <a:pt x="10461" y="2395"/>
                  </a:lnTo>
                  <a:lnTo>
                    <a:pt x="10461" y="1702"/>
                  </a:lnTo>
                  <a:close/>
                  <a:moveTo>
                    <a:pt x="2112" y="788"/>
                  </a:moveTo>
                  <a:lnTo>
                    <a:pt x="9484" y="1292"/>
                  </a:lnTo>
                  <a:cubicBezTo>
                    <a:pt x="9641" y="1355"/>
                    <a:pt x="9799" y="1450"/>
                    <a:pt x="9799" y="1670"/>
                  </a:cubicBezTo>
                  <a:lnTo>
                    <a:pt x="9799" y="2489"/>
                  </a:lnTo>
                  <a:cubicBezTo>
                    <a:pt x="9799" y="2647"/>
                    <a:pt x="9673" y="2805"/>
                    <a:pt x="9515" y="2836"/>
                  </a:cubicBezTo>
                  <a:lnTo>
                    <a:pt x="2112" y="3907"/>
                  </a:lnTo>
                  <a:lnTo>
                    <a:pt x="2112" y="788"/>
                  </a:lnTo>
                  <a:close/>
                  <a:moveTo>
                    <a:pt x="726" y="725"/>
                  </a:moveTo>
                  <a:lnTo>
                    <a:pt x="1450" y="757"/>
                  </a:lnTo>
                  <a:lnTo>
                    <a:pt x="1450" y="3970"/>
                  </a:lnTo>
                  <a:lnTo>
                    <a:pt x="726" y="4065"/>
                  </a:lnTo>
                  <a:lnTo>
                    <a:pt x="726" y="725"/>
                  </a:lnTo>
                  <a:close/>
                  <a:moveTo>
                    <a:pt x="379" y="1"/>
                  </a:moveTo>
                  <a:cubicBezTo>
                    <a:pt x="316" y="1"/>
                    <a:pt x="190" y="32"/>
                    <a:pt x="95" y="64"/>
                  </a:cubicBezTo>
                  <a:cubicBezTo>
                    <a:pt x="32" y="158"/>
                    <a:pt x="1" y="221"/>
                    <a:pt x="1" y="316"/>
                  </a:cubicBezTo>
                  <a:lnTo>
                    <a:pt x="1" y="4506"/>
                  </a:lnTo>
                  <a:cubicBezTo>
                    <a:pt x="32" y="4569"/>
                    <a:pt x="64" y="4695"/>
                    <a:pt x="127" y="4726"/>
                  </a:cubicBezTo>
                  <a:cubicBezTo>
                    <a:pt x="221" y="4758"/>
                    <a:pt x="284" y="4789"/>
                    <a:pt x="379" y="4789"/>
                  </a:cubicBezTo>
                  <a:lnTo>
                    <a:pt x="410" y="4789"/>
                  </a:lnTo>
                  <a:lnTo>
                    <a:pt x="9578" y="3498"/>
                  </a:lnTo>
                  <a:cubicBezTo>
                    <a:pt x="9862" y="3466"/>
                    <a:pt x="10145" y="3309"/>
                    <a:pt x="10303" y="3057"/>
                  </a:cubicBezTo>
                  <a:lnTo>
                    <a:pt x="10870" y="3057"/>
                  </a:lnTo>
                  <a:cubicBezTo>
                    <a:pt x="11437" y="3057"/>
                    <a:pt x="11878" y="2584"/>
                    <a:pt x="11878" y="2048"/>
                  </a:cubicBezTo>
                  <a:cubicBezTo>
                    <a:pt x="11878" y="1481"/>
                    <a:pt x="11406" y="1009"/>
                    <a:pt x="10870" y="1009"/>
                  </a:cubicBezTo>
                  <a:lnTo>
                    <a:pt x="10272" y="1009"/>
                  </a:lnTo>
                  <a:cubicBezTo>
                    <a:pt x="10114" y="788"/>
                    <a:pt x="9830" y="662"/>
                    <a:pt x="9515" y="631"/>
                  </a:cubicBezTo>
                  <a:lnTo>
                    <a:pt x="379"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53" name="Google Shape;6553;p72"/>
          <p:cNvGrpSpPr/>
          <p:nvPr/>
        </p:nvGrpSpPr>
        <p:grpSpPr>
          <a:xfrm>
            <a:off x="10097810" y="3267344"/>
            <a:ext cx="388044" cy="470907"/>
            <a:chOff x="-26179575" y="2710600"/>
            <a:chExt cx="243400" cy="295375"/>
          </a:xfrm>
        </p:grpSpPr>
        <p:sp>
          <p:nvSpPr>
            <p:cNvPr id="6554" name="Google Shape;6554;p72"/>
            <p:cNvSpPr/>
            <p:nvPr/>
          </p:nvSpPr>
          <p:spPr>
            <a:xfrm>
              <a:off x="-26179575" y="2710600"/>
              <a:ext cx="243400" cy="295375"/>
            </a:xfrm>
            <a:custGeom>
              <a:avLst/>
              <a:gdLst/>
              <a:ahLst/>
              <a:cxnLst/>
              <a:rect l="l" t="t" r="r" b="b"/>
              <a:pathLst>
                <a:path w="9736" h="11815" extrusionOk="0">
                  <a:moveTo>
                    <a:pt x="7719" y="693"/>
                  </a:moveTo>
                  <a:cubicBezTo>
                    <a:pt x="7845" y="977"/>
                    <a:pt x="7971" y="1166"/>
                    <a:pt x="8191" y="1418"/>
                  </a:cubicBezTo>
                  <a:lnTo>
                    <a:pt x="1008" y="1418"/>
                  </a:lnTo>
                  <a:cubicBezTo>
                    <a:pt x="819" y="1418"/>
                    <a:pt x="662" y="1261"/>
                    <a:pt x="662" y="1072"/>
                  </a:cubicBezTo>
                  <a:cubicBezTo>
                    <a:pt x="662" y="851"/>
                    <a:pt x="819" y="693"/>
                    <a:pt x="1008" y="693"/>
                  </a:cubicBezTo>
                  <a:close/>
                  <a:moveTo>
                    <a:pt x="8979" y="2080"/>
                  </a:moveTo>
                  <a:lnTo>
                    <a:pt x="8979" y="11153"/>
                  </a:lnTo>
                  <a:lnTo>
                    <a:pt x="2048" y="11153"/>
                  </a:lnTo>
                  <a:lnTo>
                    <a:pt x="2048" y="2080"/>
                  </a:lnTo>
                  <a:close/>
                  <a:moveTo>
                    <a:pt x="662" y="2048"/>
                  </a:moveTo>
                  <a:cubicBezTo>
                    <a:pt x="788" y="2080"/>
                    <a:pt x="882" y="2111"/>
                    <a:pt x="1008" y="2111"/>
                  </a:cubicBezTo>
                  <a:lnTo>
                    <a:pt x="1355" y="2111"/>
                  </a:lnTo>
                  <a:lnTo>
                    <a:pt x="1355" y="11185"/>
                  </a:lnTo>
                  <a:cubicBezTo>
                    <a:pt x="977" y="11153"/>
                    <a:pt x="662" y="10838"/>
                    <a:pt x="662" y="10460"/>
                  </a:cubicBezTo>
                  <a:lnTo>
                    <a:pt x="662" y="2048"/>
                  </a:lnTo>
                  <a:close/>
                  <a:moveTo>
                    <a:pt x="1008" y="0"/>
                  </a:moveTo>
                  <a:cubicBezTo>
                    <a:pt x="410" y="0"/>
                    <a:pt x="0" y="473"/>
                    <a:pt x="0" y="1009"/>
                  </a:cubicBezTo>
                  <a:lnTo>
                    <a:pt x="0" y="10428"/>
                  </a:lnTo>
                  <a:cubicBezTo>
                    <a:pt x="0" y="11185"/>
                    <a:pt x="630" y="11815"/>
                    <a:pt x="1355" y="11815"/>
                  </a:cubicBezTo>
                  <a:lnTo>
                    <a:pt x="9357" y="11815"/>
                  </a:lnTo>
                  <a:cubicBezTo>
                    <a:pt x="9578" y="11815"/>
                    <a:pt x="9735" y="11657"/>
                    <a:pt x="9735" y="11468"/>
                  </a:cubicBezTo>
                  <a:lnTo>
                    <a:pt x="9672" y="1733"/>
                  </a:lnTo>
                  <a:cubicBezTo>
                    <a:pt x="9672" y="1576"/>
                    <a:pt x="9609" y="1450"/>
                    <a:pt x="9452" y="1418"/>
                  </a:cubicBezTo>
                  <a:cubicBezTo>
                    <a:pt x="8885" y="1229"/>
                    <a:pt x="8443" y="788"/>
                    <a:pt x="8254" y="221"/>
                  </a:cubicBezTo>
                  <a:cubicBezTo>
                    <a:pt x="8223" y="63"/>
                    <a:pt x="8065" y="0"/>
                    <a:pt x="79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5" name="Google Shape;6555;p72"/>
            <p:cNvSpPr/>
            <p:nvPr/>
          </p:nvSpPr>
          <p:spPr>
            <a:xfrm>
              <a:off x="-26092950" y="2797225"/>
              <a:ext cx="120525" cy="121325"/>
            </a:xfrm>
            <a:custGeom>
              <a:avLst/>
              <a:gdLst/>
              <a:ahLst/>
              <a:cxnLst/>
              <a:rect l="l" t="t" r="r" b="b"/>
              <a:pathLst>
                <a:path w="4821" h="4853" extrusionOk="0">
                  <a:moveTo>
                    <a:pt x="2742" y="694"/>
                  </a:moveTo>
                  <a:lnTo>
                    <a:pt x="2742" y="1734"/>
                  </a:lnTo>
                  <a:cubicBezTo>
                    <a:pt x="2742" y="1923"/>
                    <a:pt x="2899" y="2080"/>
                    <a:pt x="3088" y="2080"/>
                  </a:cubicBezTo>
                  <a:lnTo>
                    <a:pt x="4128" y="2080"/>
                  </a:lnTo>
                  <a:lnTo>
                    <a:pt x="4128" y="2805"/>
                  </a:lnTo>
                  <a:lnTo>
                    <a:pt x="3088" y="2805"/>
                  </a:lnTo>
                  <a:cubicBezTo>
                    <a:pt x="2899" y="2805"/>
                    <a:pt x="2742" y="2962"/>
                    <a:pt x="2742" y="3151"/>
                  </a:cubicBezTo>
                  <a:lnTo>
                    <a:pt x="2742" y="4160"/>
                  </a:lnTo>
                  <a:lnTo>
                    <a:pt x="2048" y="4160"/>
                  </a:lnTo>
                  <a:lnTo>
                    <a:pt x="2048" y="3151"/>
                  </a:lnTo>
                  <a:cubicBezTo>
                    <a:pt x="2048" y="2962"/>
                    <a:pt x="1891" y="2805"/>
                    <a:pt x="1670" y="2805"/>
                  </a:cubicBezTo>
                  <a:lnTo>
                    <a:pt x="662" y="2805"/>
                  </a:lnTo>
                  <a:lnTo>
                    <a:pt x="662" y="2080"/>
                  </a:lnTo>
                  <a:lnTo>
                    <a:pt x="1670" y="2080"/>
                  </a:lnTo>
                  <a:cubicBezTo>
                    <a:pt x="1891" y="2080"/>
                    <a:pt x="2048" y="1923"/>
                    <a:pt x="2048" y="1734"/>
                  </a:cubicBezTo>
                  <a:lnTo>
                    <a:pt x="2048" y="694"/>
                  </a:lnTo>
                  <a:close/>
                  <a:moveTo>
                    <a:pt x="1733" y="1"/>
                  </a:moveTo>
                  <a:cubicBezTo>
                    <a:pt x="1513" y="1"/>
                    <a:pt x="1355" y="158"/>
                    <a:pt x="1355" y="347"/>
                  </a:cubicBezTo>
                  <a:lnTo>
                    <a:pt x="1355" y="1387"/>
                  </a:lnTo>
                  <a:lnTo>
                    <a:pt x="347" y="1387"/>
                  </a:lnTo>
                  <a:cubicBezTo>
                    <a:pt x="158" y="1387"/>
                    <a:pt x="1" y="1545"/>
                    <a:pt x="1" y="1734"/>
                  </a:cubicBezTo>
                  <a:lnTo>
                    <a:pt x="1" y="3120"/>
                  </a:lnTo>
                  <a:cubicBezTo>
                    <a:pt x="1" y="3309"/>
                    <a:pt x="158" y="3466"/>
                    <a:pt x="347" y="3466"/>
                  </a:cubicBezTo>
                  <a:lnTo>
                    <a:pt x="1355" y="3466"/>
                  </a:lnTo>
                  <a:lnTo>
                    <a:pt x="1355" y="4475"/>
                  </a:lnTo>
                  <a:cubicBezTo>
                    <a:pt x="1355" y="4695"/>
                    <a:pt x="1513" y="4853"/>
                    <a:pt x="1733" y="4853"/>
                  </a:cubicBezTo>
                  <a:lnTo>
                    <a:pt x="3088" y="4853"/>
                  </a:lnTo>
                  <a:cubicBezTo>
                    <a:pt x="3309" y="4853"/>
                    <a:pt x="3466" y="4695"/>
                    <a:pt x="3466" y="4475"/>
                  </a:cubicBezTo>
                  <a:lnTo>
                    <a:pt x="3466" y="3466"/>
                  </a:lnTo>
                  <a:lnTo>
                    <a:pt x="4474" y="3466"/>
                  </a:lnTo>
                  <a:cubicBezTo>
                    <a:pt x="4663" y="3466"/>
                    <a:pt x="4821" y="3309"/>
                    <a:pt x="4821" y="3120"/>
                  </a:cubicBezTo>
                  <a:lnTo>
                    <a:pt x="4821" y="1734"/>
                  </a:lnTo>
                  <a:cubicBezTo>
                    <a:pt x="4821" y="1545"/>
                    <a:pt x="4663" y="1387"/>
                    <a:pt x="4474" y="1387"/>
                  </a:cubicBezTo>
                  <a:lnTo>
                    <a:pt x="3466" y="1387"/>
                  </a:lnTo>
                  <a:lnTo>
                    <a:pt x="3466" y="347"/>
                  </a:lnTo>
                  <a:cubicBezTo>
                    <a:pt x="3466" y="158"/>
                    <a:pt x="3309"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6" name="Google Shape;6556;p72"/>
            <p:cNvSpPr/>
            <p:nvPr/>
          </p:nvSpPr>
          <p:spPr>
            <a:xfrm>
              <a:off x="-26094525" y="2954750"/>
              <a:ext cx="122100" cy="17350"/>
            </a:xfrm>
            <a:custGeom>
              <a:avLst/>
              <a:gdLst/>
              <a:ahLst/>
              <a:cxnLst/>
              <a:rect l="l" t="t" r="r" b="b"/>
              <a:pathLst>
                <a:path w="4884" h="694" extrusionOk="0">
                  <a:moveTo>
                    <a:pt x="379" y="1"/>
                  </a:moveTo>
                  <a:cubicBezTo>
                    <a:pt x="158" y="1"/>
                    <a:pt x="1" y="158"/>
                    <a:pt x="1" y="347"/>
                  </a:cubicBezTo>
                  <a:cubicBezTo>
                    <a:pt x="1" y="536"/>
                    <a:pt x="158" y="694"/>
                    <a:pt x="379" y="694"/>
                  </a:cubicBezTo>
                  <a:lnTo>
                    <a:pt x="4537" y="694"/>
                  </a:lnTo>
                  <a:cubicBezTo>
                    <a:pt x="4726" y="694"/>
                    <a:pt x="4884" y="536"/>
                    <a:pt x="4884" y="347"/>
                  </a:cubicBezTo>
                  <a:cubicBezTo>
                    <a:pt x="4884" y="158"/>
                    <a:pt x="4726"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57" name="Google Shape;6557;p72"/>
          <p:cNvGrpSpPr/>
          <p:nvPr/>
        </p:nvGrpSpPr>
        <p:grpSpPr>
          <a:xfrm>
            <a:off x="8283223" y="3855841"/>
            <a:ext cx="449583" cy="470907"/>
            <a:chOff x="-24328675" y="1971025"/>
            <a:chExt cx="282000" cy="295375"/>
          </a:xfrm>
        </p:grpSpPr>
        <p:sp>
          <p:nvSpPr>
            <p:cNvPr id="6558" name="Google Shape;6558;p72"/>
            <p:cNvSpPr/>
            <p:nvPr/>
          </p:nvSpPr>
          <p:spPr>
            <a:xfrm>
              <a:off x="-24217625" y="2092325"/>
              <a:ext cx="52025" cy="51200"/>
            </a:xfrm>
            <a:custGeom>
              <a:avLst/>
              <a:gdLst/>
              <a:ahLst/>
              <a:cxnLst/>
              <a:rect l="l" t="t" r="r" b="b"/>
              <a:pathLst>
                <a:path w="2081" h="2048" extrusionOk="0">
                  <a:moveTo>
                    <a:pt x="1009" y="693"/>
                  </a:moveTo>
                  <a:cubicBezTo>
                    <a:pt x="1230" y="693"/>
                    <a:pt x="1387" y="851"/>
                    <a:pt x="1387" y="1071"/>
                  </a:cubicBezTo>
                  <a:cubicBezTo>
                    <a:pt x="1387" y="1260"/>
                    <a:pt x="1230" y="1418"/>
                    <a:pt x="1009" y="1418"/>
                  </a:cubicBezTo>
                  <a:cubicBezTo>
                    <a:pt x="820" y="1418"/>
                    <a:pt x="663" y="1260"/>
                    <a:pt x="663" y="1071"/>
                  </a:cubicBezTo>
                  <a:cubicBezTo>
                    <a:pt x="663" y="851"/>
                    <a:pt x="820" y="693"/>
                    <a:pt x="1009" y="693"/>
                  </a:cubicBezTo>
                  <a:close/>
                  <a:moveTo>
                    <a:pt x="1009" y="0"/>
                  </a:moveTo>
                  <a:cubicBezTo>
                    <a:pt x="442" y="0"/>
                    <a:pt x="1" y="473"/>
                    <a:pt x="1" y="1008"/>
                  </a:cubicBezTo>
                  <a:cubicBezTo>
                    <a:pt x="1" y="1607"/>
                    <a:pt x="474" y="2048"/>
                    <a:pt x="1009" y="2048"/>
                  </a:cubicBezTo>
                  <a:cubicBezTo>
                    <a:pt x="1576" y="2048"/>
                    <a:pt x="2049" y="1575"/>
                    <a:pt x="2049" y="1008"/>
                  </a:cubicBezTo>
                  <a:cubicBezTo>
                    <a:pt x="2080" y="473"/>
                    <a:pt x="1608"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59" name="Google Shape;6559;p72"/>
            <p:cNvSpPr/>
            <p:nvPr/>
          </p:nvSpPr>
          <p:spPr>
            <a:xfrm>
              <a:off x="-24328675" y="1971025"/>
              <a:ext cx="282000" cy="295375"/>
            </a:xfrm>
            <a:custGeom>
              <a:avLst/>
              <a:gdLst/>
              <a:ahLst/>
              <a:cxnLst/>
              <a:rect l="l" t="t" r="r" b="b"/>
              <a:pathLst>
                <a:path w="11280" h="11815" extrusionOk="0">
                  <a:moveTo>
                    <a:pt x="2017" y="2080"/>
                  </a:moveTo>
                  <a:cubicBezTo>
                    <a:pt x="2206" y="2080"/>
                    <a:pt x="2364" y="2237"/>
                    <a:pt x="2364" y="2458"/>
                  </a:cubicBezTo>
                  <a:cubicBezTo>
                    <a:pt x="2364" y="2647"/>
                    <a:pt x="2206" y="2804"/>
                    <a:pt x="2017" y="2804"/>
                  </a:cubicBezTo>
                  <a:cubicBezTo>
                    <a:pt x="1797" y="2804"/>
                    <a:pt x="1639" y="2647"/>
                    <a:pt x="1639" y="2458"/>
                  </a:cubicBezTo>
                  <a:cubicBezTo>
                    <a:pt x="1639" y="2237"/>
                    <a:pt x="1797" y="2080"/>
                    <a:pt x="2017" y="2080"/>
                  </a:cubicBezTo>
                  <a:close/>
                  <a:moveTo>
                    <a:pt x="5451" y="662"/>
                  </a:moveTo>
                  <a:cubicBezTo>
                    <a:pt x="5861" y="662"/>
                    <a:pt x="6302" y="1198"/>
                    <a:pt x="6617" y="2080"/>
                  </a:cubicBezTo>
                  <a:cubicBezTo>
                    <a:pt x="6680" y="2237"/>
                    <a:pt x="6743" y="2458"/>
                    <a:pt x="6806" y="2647"/>
                  </a:cubicBezTo>
                  <a:cubicBezTo>
                    <a:pt x="6365" y="2804"/>
                    <a:pt x="5955" y="2962"/>
                    <a:pt x="5451" y="3151"/>
                  </a:cubicBezTo>
                  <a:cubicBezTo>
                    <a:pt x="5042" y="2962"/>
                    <a:pt x="4569" y="2773"/>
                    <a:pt x="4128" y="2647"/>
                  </a:cubicBezTo>
                  <a:cubicBezTo>
                    <a:pt x="4191" y="2458"/>
                    <a:pt x="4254" y="2237"/>
                    <a:pt x="4317" y="2080"/>
                  </a:cubicBezTo>
                  <a:cubicBezTo>
                    <a:pt x="4632" y="1229"/>
                    <a:pt x="5073" y="662"/>
                    <a:pt x="5451" y="662"/>
                  </a:cubicBezTo>
                  <a:close/>
                  <a:moveTo>
                    <a:pt x="3970" y="3308"/>
                  </a:moveTo>
                  <a:cubicBezTo>
                    <a:pt x="4191" y="3403"/>
                    <a:pt x="4411" y="3466"/>
                    <a:pt x="4632" y="3560"/>
                  </a:cubicBezTo>
                  <a:cubicBezTo>
                    <a:pt x="4506" y="3623"/>
                    <a:pt x="4380" y="3718"/>
                    <a:pt x="4254" y="3781"/>
                  </a:cubicBezTo>
                  <a:cubicBezTo>
                    <a:pt x="4128" y="3875"/>
                    <a:pt x="4002" y="3938"/>
                    <a:pt x="3844" y="4033"/>
                  </a:cubicBezTo>
                  <a:lnTo>
                    <a:pt x="3970" y="3308"/>
                  </a:lnTo>
                  <a:close/>
                  <a:moveTo>
                    <a:pt x="6963" y="3340"/>
                  </a:moveTo>
                  <a:lnTo>
                    <a:pt x="7089" y="4064"/>
                  </a:lnTo>
                  <a:cubicBezTo>
                    <a:pt x="6963" y="3970"/>
                    <a:pt x="6806" y="3907"/>
                    <a:pt x="6680" y="3812"/>
                  </a:cubicBezTo>
                  <a:cubicBezTo>
                    <a:pt x="6554" y="3718"/>
                    <a:pt x="6396" y="3655"/>
                    <a:pt x="6302" y="3592"/>
                  </a:cubicBezTo>
                  <a:cubicBezTo>
                    <a:pt x="6522" y="3497"/>
                    <a:pt x="6774" y="3403"/>
                    <a:pt x="6963" y="3340"/>
                  </a:cubicBezTo>
                  <a:close/>
                  <a:moveTo>
                    <a:pt x="10240" y="4285"/>
                  </a:moveTo>
                  <a:cubicBezTo>
                    <a:pt x="10271" y="4285"/>
                    <a:pt x="10366" y="4285"/>
                    <a:pt x="10397" y="4317"/>
                  </a:cubicBezTo>
                  <a:cubicBezTo>
                    <a:pt x="10460" y="4380"/>
                    <a:pt x="10523" y="4443"/>
                    <a:pt x="10555" y="4537"/>
                  </a:cubicBezTo>
                  <a:cubicBezTo>
                    <a:pt x="10586" y="4600"/>
                    <a:pt x="10555" y="4726"/>
                    <a:pt x="10492" y="4821"/>
                  </a:cubicBezTo>
                  <a:cubicBezTo>
                    <a:pt x="10452" y="4920"/>
                    <a:pt x="10336" y="4982"/>
                    <a:pt x="10225" y="4982"/>
                  </a:cubicBezTo>
                  <a:cubicBezTo>
                    <a:pt x="10160" y="4982"/>
                    <a:pt x="10097" y="4961"/>
                    <a:pt x="10051" y="4915"/>
                  </a:cubicBezTo>
                  <a:cubicBezTo>
                    <a:pt x="9956" y="4884"/>
                    <a:pt x="9925" y="4821"/>
                    <a:pt x="9893" y="4726"/>
                  </a:cubicBezTo>
                  <a:cubicBezTo>
                    <a:pt x="9830" y="4663"/>
                    <a:pt x="9893" y="4537"/>
                    <a:pt x="9925" y="4443"/>
                  </a:cubicBezTo>
                  <a:cubicBezTo>
                    <a:pt x="9988" y="4348"/>
                    <a:pt x="10114" y="4285"/>
                    <a:pt x="10240" y="4285"/>
                  </a:cubicBezTo>
                  <a:close/>
                  <a:moveTo>
                    <a:pt x="8922" y="2925"/>
                  </a:moveTo>
                  <a:cubicBezTo>
                    <a:pt x="9452" y="2925"/>
                    <a:pt x="9823" y="3054"/>
                    <a:pt x="9956" y="3277"/>
                  </a:cubicBezTo>
                  <a:cubicBezTo>
                    <a:pt x="9988" y="3340"/>
                    <a:pt x="10019" y="3466"/>
                    <a:pt x="10019" y="3592"/>
                  </a:cubicBezTo>
                  <a:cubicBezTo>
                    <a:pt x="9704" y="3623"/>
                    <a:pt x="9452" y="3812"/>
                    <a:pt x="9295" y="4096"/>
                  </a:cubicBezTo>
                  <a:cubicBezTo>
                    <a:pt x="9137" y="4317"/>
                    <a:pt x="9137" y="4600"/>
                    <a:pt x="9169" y="4884"/>
                  </a:cubicBezTo>
                  <a:cubicBezTo>
                    <a:pt x="9169" y="4978"/>
                    <a:pt x="9200" y="5010"/>
                    <a:pt x="9232" y="5041"/>
                  </a:cubicBezTo>
                  <a:cubicBezTo>
                    <a:pt x="9169" y="5167"/>
                    <a:pt x="9043" y="5293"/>
                    <a:pt x="8917" y="5388"/>
                  </a:cubicBezTo>
                  <a:cubicBezTo>
                    <a:pt x="8570" y="5073"/>
                    <a:pt x="8224" y="4821"/>
                    <a:pt x="7814" y="4537"/>
                  </a:cubicBezTo>
                  <a:cubicBezTo>
                    <a:pt x="7783" y="4033"/>
                    <a:pt x="7719" y="3560"/>
                    <a:pt x="7625" y="3119"/>
                  </a:cubicBezTo>
                  <a:cubicBezTo>
                    <a:pt x="7814" y="3088"/>
                    <a:pt x="8035" y="3025"/>
                    <a:pt x="8192" y="2993"/>
                  </a:cubicBezTo>
                  <a:cubicBezTo>
                    <a:pt x="8459" y="2947"/>
                    <a:pt x="8704" y="2925"/>
                    <a:pt x="8922" y="2925"/>
                  </a:cubicBezTo>
                  <a:close/>
                  <a:moveTo>
                    <a:pt x="2868" y="3088"/>
                  </a:moveTo>
                  <a:lnTo>
                    <a:pt x="3340" y="3182"/>
                  </a:lnTo>
                  <a:cubicBezTo>
                    <a:pt x="3246" y="3623"/>
                    <a:pt x="3183" y="4096"/>
                    <a:pt x="3151" y="4600"/>
                  </a:cubicBezTo>
                  <a:cubicBezTo>
                    <a:pt x="2742" y="4884"/>
                    <a:pt x="2364" y="5199"/>
                    <a:pt x="2049" y="5482"/>
                  </a:cubicBezTo>
                  <a:cubicBezTo>
                    <a:pt x="1891" y="5325"/>
                    <a:pt x="1765" y="5199"/>
                    <a:pt x="1639" y="5041"/>
                  </a:cubicBezTo>
                  <a:cubicBezTo>
                    <a:pt x="1009" y="4253"/>
                    <a:pt x="788" y="3623"/>
                    <a:pt x="977" y="3308"/>
                  </a:cubicBezTo>
                  <a:cubicBezTo>
                    <a:pt x="1009" y="3245"/>
                    <a:pt x="1103" y="3151"/>
                    <a:pt x="1198" y="3119"/>
                  </a:cubicBezTo>
                  <a:cubicBezTo>
                    <a:pt x="1419" y="3340"/>
                    <a:pt x="1671" y="3497"/>
                    <a:pt x="1986" y="3497"/>
                  </a:cubicBezTo>
                  <a:cubicBezTo>
                    <a:pt x="2364" y="3497"/>
                    <a:pt x="2679" y="3308"/>
                    <a:pt x="2868" y="3088"/>
                  </a:cubicBezTo>
                  <a:close/>
                  <a:moveTo>
                    <a:pt x="3057" y="5451"/>
                  </a:moveTo>
                  <a:lnTo>
                    <a:pt x="3057" y="5923"/>
                  </a:lnTo>
                  <a:lnTo>
                    <a:pt x="3057" y="6364"/>
                  </a:lnTo>
                  <a:cubicBezTo>
                    <a:pt x="2868" y="6207"/>
                    <a:pt x="2679" y="6049"/>
                    <a:pt x="2521" y="5923"/>
                  </a:cubicBezTo>
                  <a:cubicBezTo>
                    <a:pt x="2679" y="5766"/>
                    <a:pt x="2868" y="5577"/>
                    <a:pt x="3057" y="5451"/>
                  </a:cubicBezTo>
                  <a:close/>
                  <a:moveTo>
                    <a:pt x="7909" y="5451"/>
                  </a:moveTo>
                  <a:cubicBezTo>
                    <a:pt x="8098" y="5577"/>
                    <a:pt x="8318" y="5766"/>
                    <a:pt x="8476" y="5923"/>
                  </a:cubicBezTo>
                  <a:cubicBezTo>
                    <a:pt x="8318" y="6081"/>
                    <a:pt x="8098" y="6238"/>
                    <a:pt x="7909" y="6364"/>
                  </a:cubicBezTo>
                  <a:lnTo>
                    <a:pt x="7909" y="5923"/>
                  </a:lnTo>
                  <a:lnTo>
                    <a:pt x="7909" y="5451"/>
                  </a:lnTo>
                  <a:close/>
                  <a:moveTo>
                    <a:pt x="5483" y="3938"/>
                  </a:moveTo>
                  <a:cubicBezTo>
                    <a:pt x="5735" y="4096"/>
                    <a:pt x="6050" y="4253"/>
                    <a:pt x="6333" y="4411"/>
                  </a:cubicBezTo>
                  <a:cubicBezTo>
                    <a:pt x="6617" y="4569"/>
                    <a:pt x="6900" y="4758"/>
                    <a:pt x="7152" y="4915"/>
                  </a:cubicBezTo>
                  <a:cubicBezTo>
                    <a:pt x="7184" y="5230"/>
                    <a:pt x="7184" y="5545"/>
                    <a:pt x="7184" y="5923"/>
                  </a:cubicBezTo>
                  <a:cubicBezTo>
                    <a:pt x="7184" y="6238"/>
                    <a:pt x="7184" y="6585"/>
                    <a:pt x="7152" y="6900"/>
                  </a:cubicBezTo>
                  <a:cubicBezTo>
                    <a:pt x="6932" y="7057"/>
                    <a:pt x="6648" y="7246"/>
                    <a:pt x="6333" y="7404"/>
                  </a:cubicBezTo>
                  <a:cubicBezTo>
                    <a:pt x="6050" y="7562"/>
                    <a:pt x="5735" y="7719"/>
                    <a:pt x="5483" y="7877"/>
                  </a:cubicBezTo>
                  <a:cubicBezTo>
                    <a:pt x="5199" y="7719"/>
                    <a:pt x="4884" y="7562"/>
                    <a:pt x="4601" y="7404"/>
                  </a:cubicBezTo>
                  <a:cubicBezTo>
                    <a:pt x="4317" y="7246"/>
                    <a:pt x="4065" y="7057"/>
                    <a:pt x="3781" y="6900"/>
                  </a:cubicBezTo>
                  <a:cubicBezTo>
                    <a:pt x="3750" y="6585"/>
                    <a:pt x="3750" y="6238"/>
                    <a:pt x="3750" y="5923"/>
                  </a:cubicBezTo>
                  <a:cubicBezTo>
                    <a:pt x="3750" y="5577"/>
                    <a:pt x="3750" y="5230"/>
                    <a:pt x="3781" y="4915"/>
                  </a:cubicBezTo>
                  <a:cubicBezTo>
                    <a:pt x="4065" y="4726"/>
                    <a:pt x="4317" y="4569"/>
                    <a:pt x="4601" y="4411"/>
                  </a:cubicBezTo>
                  <a:cubicBezTo>
                    <a:pt x="4884" y="4253"/>
                    <a:pt x="5199" y="4096"/>
                    <a:pt x="5483" y="3938"/>
                  </a:cubicBezTo>
                  <a:close/>
                  <a:moveTo>
                    <a:pt x="3876" y="7751"/>
                  </a:moveTo>
                  <a:cubicBezTo>
                    <a:pt x="4002" y="7845"/>
                    <a:pt x="4159" y="7908"/>
                    <a:pt x="4285" y="8003"/>
                  </a:cubicBezTo>
                  <a:cubicBezTo>
                    <a:pt x="4411" y="8066"/>
                    <a:pt x="4506" y="8160"/>
                    <a:pt x="4664" y="8223"/>
                  </a:cubicBezTo>
                  <a:cubicBezTo>
                    <a:pt x="4443" y="8318"/>
                    <a:pt x="4191" y="8444"/>
                    <a:pt x="4002" y="8475"/>
                  </a:cubicBezTo>
                  <a:lnTo>
                    <a:pt x="3876" y="7751"/>
                  </a:lnTo>
                  <a:close/>
                  <a:moveTo>
                    <a:pt x="7089" y="7751"/>
                  </a:moveTo>
                  <a:lnTo>
                    <a:pt x="6963" y="8475"/>
                  </a:lnTo>
                  <a:cubicBezTo>
                    <a:pt x="6711" y="8381"/>
                    <a:pt x="6522" y="8318"/>
                    <a:pt x="6302" y="8223"/>
                  </a:cubicBezTo>
                  <a:cubicBezTo>
                    <a:pt x="6396" y="8160"/>
                    <a:pt x="6554" y="8066"/>
                    <a:pt x="6680" y="8003"/>
                  </a:cubicBezTo>
                  <a:cubicBezTo>
                    <a:pt x="6806" y="7908"/>
                    <a:pt x="6963" y="7845"/>
                    <a:pt x="7089" y="7751"/>
                  </a:cubicBezTo>
                  <a:close/>
                  <a:moveTo>
                    <a:pt x="1986" y="6396"/>
                  </a:moveTo>
                  <a:cubicBezTo>
                    <a:pt x="2364" y="6711"/>
                    <a:pt x="2710" y="6963"/>
                    <a:pt x="3088" y="7278"/>
                  </a:cubicBezTo>
                  <a:cubicBezTo>
                    <a:pt x="3151" y="7814"/>
                    <a:pt x="3214" y="8286"/>
                    <a:pt x="3309" y="8696"/>
                  </a:cubicBezTo>
                  <a:cubicBezTo>
                    <a:pt x="3088" y="8727"/>
                    <a:pt x="2931" y="8790"/>
                    <a:pt x="2742" y="8790"/>
                  </a:cubicBezTo>
                  <a:cubicBezTo>
                    <a:pt x="2475" y="8836"/>
                    <a:pt x="2230" y="8858"/>
                    <a:pt x="2011" y="8858"/>
                  </a:cubicBezTo>
                  <a:cubicBezTo>
                    <a:pt x="1482" y="8858"/>
                    <a:pt x="1111" y="8730"/>
                    <a:pt x="977" y="8507"/>
                  </a:cubicBezTo>
                  <a:cubicBezTo>
                    <a:pt x="788" y="8160"/>
                    <a:pt x="1009" y="7530"/>
                    <a:pt x="1608" y="6805"/>
                  </a:cubicBezTo>
                  <a:cubicBezTo>
                    <a:pt x="1734" y="6648"/>
                    <a:pt x="1828" y="6553"/>
                    <a:pt x="1986" y="6396"/>
                  </a:cubicBezTo>
                  <a:close/>
                  <a:moveTo>
                    <a:pt x="8980" y="6364"/>
                  </a:moveTo>
                  <a:cubicBezTo>
                    <a:pt x="9137" y="6553"/>
                    <a:pt x="9232" y="6648"/>
                    <a:pt x="9358" y="6805"/>
                  </a:cubicBezTo>
                  <a:cubicBezTo>
                    <a:pt x="9956" y="7530"/>
                    <a:pt x="10177" y="8160"/>
                    <a:pt x="9988" y="8507"/>
                  </a:cubicBezTo>
                  <a:cubicBezTo>
                    <a:pt x="9858" y="8745"/>
                    <a:pt x="9505" y="8864"/>
                    <a:pt x="9000" y="8864"/>
                  </a:cubicBezTo>
                  <a:cubicBezTo>
                    <a:pt x="8770" y="8864"/>
                    <a:pt x="8509" y="8839"/>
                    <a:pt x="8224" y="8790"/>
                  </a:cubicBezTo>
                  <a:cubicBezTo>
                    <a:pt x="8035" y="8727"/>
                    <a:pt x="7877" y="8696"/>
                    <a:pt x="7656" y="8664"/>
                  </a:cubicBezTo>
                  <a:cubicBezTo>
                    <a:pt x="7751" y="8223"/>
                    <a:pt x="7814" y="7751"/>
                    <a:pt x="7877" y="7246"/>
                  </a:cubicBezTo>
                  <a:cubicBezTo>
                    <a:pt x="8255" y="6963"/>
                    <a:pt x="8665" y="6648"/>
                    <a:pt x="8980" y="6364"/>
                  </a:cubicBezTo>
                  <a:close/>
                  <a:moveTo>
                    <a:pt x="4159" y="10334"/>
                  </a:moveTo>
                  <a:cubicBezTo>
                    <a:pt x="4285" y="10334"/>
                    <a:pt x="4411" y="10397"/>
                    <a:pt x="4474" y="10491"/>
                  </a:cubicBezTo>
                  <a:cubicBezTo>
                    <a:pt x="4537" y="10554"/>
                    <a:pt x="4537" y="10649"/>
                    <a:pt x="4537" y="10743"/>
                  </a:cubicBezTo>
                  <a:cubicBezTo>
                    <a:pt x="4474" y="10838"/>
                    <a:pt x="4443" y="10901"/>
                    <a:pt x="4380" y="10964"/>
                  </a:cubicBezTo>
                  <a:cubicBezTo>
                    <a:pt x="4319" y="10994"/>
                    <a:pt x="4259" y="11008"/>
                    <a:pt x="4200" y="11008"/>
                  </a:cubicBezTo>
                  <a:cubicBezTo>
                    <a:pt x="4076" y="11008"/>
                    <a:pt x="3962" y="10945"/>
                    <a:pt x="3876" y="10838"/>
                  </a:cubicBezTo>
                  <a:cubicBezTo>
                    <a:pt x="3844" y="10743"/>
                    <a:pt x="3844" y="10680"/>
                    <a:pt x="3844" y="10554"/>
                  </a:cubicBezTo>
                  <a:cubicBezTo>
                    <a:pt x="3876" y="10491"/>
                    <a:pt x="3939" y="10397"/>
                    <a:pt x="4002" y="10365"/>
                  </a:cubicBezTo>
                  <a:cubicBezTo>
                    <a:pt x="4033" y="10334"/>
                    <a:pt x="4128" y="10334"/>
                    <a:pt x="4159" y="10334"/>
                  </a:cubicBezTo>
                  <a:close/>
                  <a:moveTo>
                    <a:pt x="5420" y="8664"/>
                  </a:moveTo>
                  <a:cubicBezTo>
                    <a:pt x="5861" y="8853"/>
                    <a:pt x="6333" y="9042"/>
                    <a:pt x="6774" y="9168"/>
                  </a:cubicBezTo>
                  <a:cubicBezTo>
                    <a:pt x="6774" y="9326"/>
                    <a:pt x="6680" y="9515"/>
                    <a:pt x="6617" y="9735"/>
                  </a:cubicBezTo>
                  <a:cubicBezTo>
                    <a:pt x="6302" y="10586"/>
                    <a:pt x="5861" y="11153"/>
                    <a:pt x="5451" y="11153"/>
                  </a:cubicBezTo>
                  <a:cubicBezTo>
                    <a:pt x="5388" y="11153"/>
                    <a:pt x="5262" y="11090"/>
                    <a:pt x="5136" y="11059"/>
                  </a:cubicBezTo>
                  <a:cubicBezTo>
                    <a:pt x="5136" y="11027"/>
                    <a:pt x="5199" y="10996"/>
                    <a:pt x="5199" y="10933"/>
                  </a:cubicBezTo>
                  <a:cubicBezTo>
                    <a:pt x="5262" y="10680"/>
                    <a:pt x="5231" y="10397"/>
                    <a:pt x="5073" y="10145"/>
                  </a:cubicBezTo>
                  <a:cubicBezTo>
                    <a:pt x="4916" y="9830"/>
                    <a:pt x="4601" y="9704"/>
                    <a:pt x="4254" y="9641"/>
                  </a:cubicBezTo>
                  <a:cubicBezTo>
                    <a:pt x="4191" y="9483"/>
                    <a:pt x="4128" y="9326"/>
                    <a:pt x="4096" y="9168"/>
                  </a:cubicBezTo>
                  <a:cubicBezTo>
                    <a:pt x="4506" y="9011"/>
                    <a:pt x="4947" y="8853"/>
                    <a:pt x="5420" y="8664"/>
                  </a:cubicBezTo>
                  <a:close/>
                  <a:moveTo>
                    <a:pt x="5420" y="0"/>
                  </a:moveTo>
                  <a:cubicBezTo>
                    <a:pt x="4727" y="0"/>
                    <a:pt x="4096" y="662"/>
                    <a:pt x="3624" y="1859"/>
                  </a:cubicBezTo>
                  <a:cubicBezTo>
                    <a:pt x="3529" y="2048"/>
                    <a:pt x="3498" y="2237"/>
                    <a:pt x="3403" y="2458"/>
                  </a:cubicBezTo>
                  <a:cubicBezTo>
                    <a:pt x="3246" y="2395"/>
                    <a:pt x="3151" y="2363"/>
                    <a:pt x="2994" y="2363"/>
                  </a:cubicBezTo>
                  <a:cubicBezTo>
                    <a:pt x="2962" y="1828"/>
                    <a:pt x="2521" y="1418"/>
                    <a:pt x="1954" y="1418"/>
                  </a:cubicBezTo>
                  <a:cubicBezTo>
                    <a:pt x="1387" y="1418"/>
                    <a:pt x="946" y="1891"/>
                    <a:pt x="946" y="2426"/>
                  </a:cubicBezTo>
                  <a:cubicBezTo>
                    <a:pt x="662" y="2552"/>
                    <a:pt x="473" y="2710"/>
                    <a:pt x="347" y="2962"/>
                  </a:cubicBezTo>
                  <a:cubicBezTo>
                    <a:pt x="1" y="3592"/>
                    <a:pt x="221" y="4443"/>
                    <a:pt x="1072" y="5419"/>
                  </a:cubicBezTo>
                  <a:cubicBezTo>
                    <a:pt x="1166" y="5577"/>
                    <a:pt x="1324" y="5766"/>
                    <a:pt x="1482" y="5892"/>
                  </a:cubicBezTo>
                  <a:cubicBezTo>
                    <a:pt x="1324" y="6049"/>
                    <a:pt x="1229" y="6207"/>
                    <a:pt x="1072" y="6364"/>
                  </a:cubicBezTo>
                  <a:cubicBezTo>
                    <a:pt x="221" y="7372"/>
                    <a:pt x="1" y="8223"/>
                    <a:pt x="347" y="8853"/>
                  </a:cubicBezTo>
                  <a:cubicBezTo>
                    <a:pt x="631" y="9326"/>
                    <a:pt x="1166" y="9578"/>
                    <a:pt x="2017" y="9578"/>
                  </a:cubicBezTo>
                  <a:cubicBezTo>
                    <a:pt x="2269" y="9578"/>
                    <a:pt x="2553" y="9515"/>
                    <a:pt x="2868" y="9483"/>
                  </a:cubicBezTo>
                  <a:lnTo>
                    <a:pt x="3466" y="9357"/>
                  </a:lnTo>
                  <a:cubicBezTo>
                    <a:pt x="3498" y="9515"/>
                    <a:pt x="3529" y="9704"/>
                    <a:pt x="3624" y="9798"/>
                  </a:cubicBezTo>
                  <a:cubicBezTo>
                    <a:pt x="3403" y="9956"/>
                    <a:pt x="3246" y="10145"/>
                    <a:pt x="3183" y="10397"/>
                  </a:cubicBezTo>
                  <a:cubicBezTo>
                    <a:pt x="3120" y="10680"/>
                    <a:pt x="3151" y="10933"/>
                    <a:pt x="3309" y="11185"/>
                  </a:cubicBezTo>
                  <a:cubicBezTo>
                    <a:pt x="3498" y="11500"/>
                    <a:pt x="3844" y="11689"/>
                    <a:pt x="4222" y="11689"/>
                  </a:cubicBezTo>
                  <a:cubicBezTo>
                    <a:pt x="4380" y="11689"/>
                    <a:pt x="4569" y="11657"/>
                    <a:pt x="4727" y="11531"/>
                  </a:cubicBezTo>
                  <a:cubicBezTo>
                    <a:pt x="4947" y="11689"/>
                    <a:pt x="5199" y="11815"/>
                    <a:pt x="5483" y="11815"/>
                  </a:cubicBezTo>
                  <a:cubicBezTo>
                    <a:pt x="6176" y="11815"/>
                    <a:pt x="6806" y="11153"/>
                    <a:pt x="7278" y="9956"/>
                  </a:cubicBezTo>
                  <a:cubicBezTo>
                    <a:pt x="7373" y="9767"/>
                    <a:pt x="7404" y="9578"/>
                    <a:pt x="7467" y="9357"/>
                  </a:cubicBezTo>
                  <a:cubicBezTo>
                    <a:pt x="7688" y="9420"/>
                    <a:pt x="7909" y="9452"/>
                    <a:pt x="8098" y="9483"/>
                  </a:cubicBezTo>
                  <a:cubicBezTo>
                    <a:pt x="8413" y="9515"/>
                    <a:pt x="8696" y="9578"/>
                    <a:pt x="8980" y="9578"/>
                  </a:cubicBezTo>
                  <a:cubicBezTo>
                    <a:pt x="9767" y="9578"/>
                    <a:pt x="10366" y="9326"/>
                    <a:pt x="10618" y="8853"/>
                  </a:cubicBezTo>
                  <a:cubicBezTo>
                    <a:pt x="10996" y="8223"/>
                    <a:pt x="10744" y="7372"/>
                    <a:pt x="9925" y="6364"/>
                  </a:cubicBezTo>
                  <a:cubicBezTo>
                    <a:pt x="9799" y="6207"/>
                    <a:pt x="9641" y="6049"/>
                    <a:pt x="9484" y="5892"/>
                  </a:cubicBezTo>
                  <a:cubicBezTo>
                    <a:pt x="9610" y="5797"/>
                    <a:pt x="9673" y="5671"/>
                    <a:pt x="9799" y="5577"/>
                  </a:cubicBezTo>
                  <a:cubicBezTo>
                    <a:pt x="9956" y="5671"/>
                    <a:pt x="10114" y="5703"/>
                    <a:pt x="10240" y="5703"/>
                  </a:cubicBezTo>
                  <a:cubicBezTo>
                    <a:pt x="10586" y="5703"/>
                    <a:pt x="10933" y="5514"/>
                    <a:pt x="11154" y="5199"/>
                  </a:cubicBezTo>
                  <a:cubicBezTo>
                    <a:pt x="11248" y="4915"/>
                    <a:pt x="11280" y="4663"/>
                    <a:pt x="11217" y="4380"/>
                  </a:cubicBezTo>
                  <a:cubicBezTo>
                    <a:pt x="11122" y="4096"/>
                    <a:pt x="10965" y="3875"/>
                    <a:pt x="10744" y="3749"/>
                  </a:cubicBezTo>
                  <a:cubicBezTo>
                    <a:pt x="10775" y="3466"/>
                    <a:pt x="10712" y="3182"/>
                    <a:pt x="10586" y="2962"/>
                  </a:cubicBezTo>
                  <a:cubicBezTo>
                    <a:pt x="10325" y="2486"/>
                    <a:pt x="9740" y="2262"/>
                    <a:pt x="8927" y="2262"/>
                  </a:cubicBezTo>
                  <a:cubicBezTo>
                    <a:pt x="8663" y="2262"/>
                    <a:pt x="8375" y="2285"/>
                    <a:pt x="8066" y="2332"/>
                  </a:cubicBezTo>
                  <a:cubicBezTo>
                    <a:pt x="7877" y="2363"/>
                    <a:pt x="7656" y="2395"/>
                    <a:pt x="7436" y="2458"/>
                  </a:cubicBezTo>
                  <a:cubicBezTo>
                    <a:pt x="7341" y="2237"/>
                    <a:pt x="7310" y="2017"/>
                    <a:pt x="7247" y="1859"/>
                  </a:cubicBezTo>
                  <a:cubicBezTo>
                    <a:pt x="6806" y="630"/>
                    <a:pt x="6144" y="0"/>
                    <a:pt x="54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60" name="Google Shape;6560;p72"/>
          <p:cNvGrpSpPr/>
          <p:nvPr/>
        </p:nvGrpSpPr>
        <p:grpSpPr>
          <a:xfrm>
            <a:off x="8286371" y="4452276"/>
            <a:ext cx="443285" cy="470907"/>
            <a:chOff x="-24330250" y="2340425"/>
            <a:chExt cx="278050" cy="295375"/>
          </a:xfrm>
        </p:grpSpPr>
        <p:sp>
          <p:nvSpPr>
            <p:cNvPr id="6561" name="Google Shape;6561;p72"/>
            <p:cNvSpPr/>
            <p:nvPr/>
          </p:nvSpPr>
          <p:spPr>
            <a:xfrm>
              <a:off x="-24330250" y="2340425"/>
              <a:ext cx="278050" cy="295375"/>
            </a:xfrm>
            <a:custGeom>
              <a:avLst/>
              <a:gdLst/>
              <a:ahLst/>
              <a:cxnLst/>
              <a:rect l="l" t="t" r="r" b="b"/>
              <a:pathLst>
                <a:path w="11122" h="11815" extrusionOk="0">
                  <a:moveTo>
                    <a:pt x="5577" y="693"/>
                  </a:moveTo>
                  <a:cubicBezTo>
                    <a:pt x="6711" y="693"/>
                    <a:pt x="7656" y="1638"/>
                    <a:pt x="7656" y="2804"/>
                  </a:cubicBezTo>
                  <a:lnTo>
                    <a:pt x="7656" y="3151"/>
                  </a:lnTo>
                  <a:cubicBezTo>
                    <a:pt x="7656" y="3340"/>
                    <a:pt x="7499" y="3497"/>
                    <a:pt x="7310" y="3497"/>
                  </a:cubicBezTo>
                  <a:lnTo>
                    <a:pt x="5924" y="3497"/>
                  </a:lnTo>
                  <a:lnTo>
                    <a:pt x="5924" y="3151"/>
                  </a:lnTo>
                  <a:cubicBezTo>
                    <a:pt x="5924" y="2962"/>
                    <a:pt x="5766" y="2804"/>
                    <a:pt x="5577" y="2804"/>
                  </a:cubicBezTo>
                  <a:cubicBezTo>
                    <a:pt x="5357" y="2804"/>
                    <a:pt x="5199" y="2962"/>
                    <a:pt x="5199" y="3151"/>
                  </a:cubicBezTo>
                  <a:lnTo>
                    <a:pt x="5199" y="3497"/>
                  </a:lnTo>
                  <a:lnTo>
                    <a:pt x="3844" y="3497"/>
                  </a:lnTo>
                  <a:cubicBezTo>
                    <a:pt x="3624" y="3497"/>
                    <a:pt x="3466" y="3340"/>
                    <a:pt x="3466" y="3151"/>
                  </a:cubicBezTo>
                  <a:lnTo>
                    <a:pt x="3466" y="2804"/>
                  </a:lnTo>
                  <a:cubicBezTo>
                    <a:pt x="3466" y="1638"/>
                    <a:pt x="4411" y="693"/>
                    <a:pt x="5577" y="693"/>
                  </a:cubicBezTo>
                  <a:close/>
                  <a:moveTo>
                    <a:pt x="8318" y="2867"/>
                  </a:moveTo>
                  <a:cubicBezTo>
                    <a:pt x="8728" y="2993"/>
                    <a:pt x="9043" y="3371"/>
                    <a:pt x="9043" y="3844"/>
                  </a:cubicBezTo>
                  <a:lnTo>
                    <a:pt x="9043" y="8727"/>
                  </a:lnTo>
                  <a:cubicBezTo>
                    <a:pt x="9043" y="9326"/>
                    <a:pt x="8570" y="9767"/>
                    <a:pt x="8003" y="9767"/>
                  </a:cubicBezTo>
                  <a:lnTo>
                    <a:pt x="5924" y="9767"/>
                  </a:lnTo>
                  <a:lnTo>
                    <a:pt x="5924" y="7309"/>
                  </a:lnTo>
                  <a:cubicBezTo>
                    <a:pt x="5924" y="7120"/>
                    <a:pt x="5766" y="6963"/>
                    <a:pt x="5577" y="6963"/>
                  </a:cubicBezTo>
                  <a:cubicBezTo>
                    <a:pt x="5357" y="6963"/>
                    <a:pt x="5199" y="7120"/>
                    <a:pt x="5199" y="7309"/>
                  </a:cubicBezTo>
                  <a:lnTo>
                    <a:pt x="5199" y="9767"/>
                  </a:lnTo>
                  <a:lnTo>
                    <a:pt x="3120" y="9767"/>
                  </a:lnTo>
                  <a:cubicBezTo>
                    <a:pt x="2521" y="9767"/>
                    <a:pt x="2112" y="9294"/>
                    <a:pt x="2112" y="8727"/>
                  </a:cubicBezTo>
                  <a:lnTo>
                    <a:pt x="2112" y="3844"/>
                  </a:lnTo>
                  <a:cubicBezTo>
                    <a:pt x="2112" y="3434"/>
                    <a:pt x="2364" y="3025"/>
                    <a:pt x="2805" y="2867"/>
                  </a:cubicBezTo>
                  <a:lnTo>
                    <a:pt x="2805" y="3151"/>
                  </a:lnTo>
                  <a:cubicBezTo>
                    <a:pt x="2805" y="3749"/>
                    <a:pt x="3277" y="4159"/>
                    <a:pt x="3844" y="4159"/>
                  </a:cubicBezTo>
                  <a:lnTo>
                    <a:pt x="7310" y="4159"/>
                  </a:lnTo>
                  <a:cubicBezTo>
                    <a:pt x="7877" y="4159"/>
                    <a:pt x="8318" y="3686"/>
                    <a:pt x="8318" y="3151"/>
                  </a:cubicBezTo>
                  <a:lnTo>
                    <a:pt x="8318" y="2867"/>
                  </a:lnTo>
                  <a:close/>
                  <a:moveTo>
                    <a:pt x="7972" y="693"/>
                  </a:moveTo>
                  <a:cubicBezTo>
                    <a:pt x="9326" y="693"/>
                    <a:pt x="10429" y="1796"/>
                    <a:pt x="10429" y="3151"/>
                  </a:cubicBezTo>
                  <a:lnTo>
                    <a:pt x="10429" y="8727"/>
                  </a:lnTo>
                  <a:lnTo>
                    <a:pt x="10397" y="8727"/>
                  </a:lnTo>
                  <a:cubicBezTo>
                    <a:pt x="10397" y="10082"/>
                    <a:pt x="9295" y="11184"/>
                    <a:pt x="7972" y="11184"/>
                  </a:cubicBezTo>
                  <a:lnTo>
                    <a:pt x="3120" y="11184"/>
                  </a:lnTo>
                  <a:cubicBezTo>
                    <a:pt x="1797" y="11184"/>
                    <a:pt x="694" y="10082"/>
                    <a:pt x="694" y="8727"/>
                  </a:cubicBezTo>
                  <a:lnTo>
                    <a:pt x="694" y="3151"/>
                  </a:lnTo>
                  <a:cubicBezTo>
                    <a:pt x="694" y="1796"/>
                    <a:pt x="1797" y="693"/>
                    <a:pt x="3120" y="693"/>
                  </a:cubicBezTo>
                  <a:lnTo>
                    <a:pt x="3718" y="693"/>
                  </a:lnTo>
                  <a:cubicBezTo>
                    <a:pt x="3277" y="1071"/>
                    <a:pt x="2994" y="1575"/>
                    <a:pt x="2868" y="2111"/>
                  </a:cubicBezTo>
                  <a:cubicBezTo>
                    <a:pt x="2017" y="2237"/>
                    <a:pt x="1387" y="2993"/>
                    <a:pt x="1387" y="3844"/>
                  </a:cubicBezTo>
                  <a:lnTo>
                    <a:pt x="1387" y="8727"/>
                  </a:lnTo>
                  <a:cubicBezTo>
                    <a:pt x="1387" y="9672"/>
                    <a:pt x="2175" y="10460"/>
                    <a:pt x="3120" y="10460"/>
                  </a:cubicBezTo>
                  <a:lnTo>
                    <a:pt x="7972" y="10460"/>
                  </a:lnTo>
                  <a:cubicBezTo>
                    <a:pt x="8917" y="10460"/>
                    <a:pt x="9704" y="9672"/>
                    <a:pt x="9704" y="8727"/>
                  </a:cubicBezTo>
                  <a:lnTo>
                    <a:pt x="9704" y="3844"/>
                  </a:lnTo>
                  <a:cubicBezTo>
                    <a:pt x="9704" y="2993"/>
                    <a:pt x="9074" y="2237"/>
                    <a:pt x="8255" y="2111"/>
                  </a:cubicBezTo>
                  <a:cubicBezTo>
                    <a:pt x="8098" y="1575"/>
                    <a:pt x="7814" y="1071"/>
                    <a:pt x="7373" y="693"/>
                  </a:cubicBezTo>
                  <a:close/>
                  <a:moveTo>
                    <a:pt x="3120" y="0"/>
                  </a:moveTo>
                  <a:cubicBezTo>
                    <a:pt x="1387" y="0"/>
                    <a:pt x="1" y="1418"/>
                    <a:pt x="1" y="3119"/>
                  </a:cubicBezTo>
                  <a:lnTo>
                    <a:pt x="1" y="8695"/>
                  </a:lnTo>
                  <a:cubicBezTo>
                    <a:pt x="1" y="10428"/>
                    <a:pt x="1418" y="11814"/>
                    <a:pt x="3120" y="11814"/>
                  </a:cubicBezTo>
                  <a:lnTo>
                    <a:pt x="7972" y="11814"/>
                  </a:lnTo>
                  <a:cubicBezTo>
                    <a:pt x="9704" y="11814"/>
                    <a:pt x="11091" y="10397"/>
                    <a:pt x="11091" y="8695"/>
                  </a:cubicBezTo>
                  <a:lnTo>
                    <a:pt x="11091" y="3119"/>
                  </a:lnTo>
                  <a:cubicBezTo>
                    <a:pt x="11122" y="1418"/>
                    <a:pt x="9704" y="0"/>
                    <a:pt x="79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2" name="Google Shape;6562;p72"/>
            <p:cNvSpPr/>
            <p:nvPr/>
          </p:nvSpPr>
          <p:spPr>
            <a:xfrm>
              <a:off x="-24225500" y="2375850"/>
              <a:ext cx="68550" cy="34700"/>
            </a:xfrm>
            <a:custGeom>
              <a:avLst/>
              <a:gdLst/>
              <a:ahLst/>
              <a:cxnLst/>
              <a:rect l="l" t="t" r="r" b="b"/>
              <a:pathLst>
                <a:path w="2742" h="1388" extrusionOk="0">
                  <a:moveTo>
                    <a:pt x="1387" y="1"/>
                  </a:moveTo>
                  <a:cubicBezTo>
                    <a:pt x="789" y="1"/>
                    <a:pt x="284" y="347"/>
                    <a:pt x="64" y="914"/>
                  </a:cubicBezTo>
                  <a:cubicBezTo>
                    <a:pt x="1" y="1103"/>
                    <a:pt x="64" y="1293"/>
                    <a:pt x="284" y="1324"/>
                  </a:cubicBezTo>
                  <a:cubicBezTo>
                    <a:pt x="330" y="1347"/>
                    <a:pt x="375" y="1357"/>
                    <a:pt x="418" y="1357"/>
                  </a:cubicBezTo>
                  <a:cubicBezTo>
                    <a:pt x="555" y="1357"/>
                    <a:pt x="670" y="1255"/>
                    <a:pt x="694" y="1135"/>
                  </a:cubicBezTo>
                  <a:cubicBezTo>
                    <a:pt x="789" y="851"/>
                    <a:pt x="1072" y="662"/>
                    <a:pt x="1387" y="662"/>
                  </a:cubicBezTo>
                  <a:cubicBezTo>
                    <a:pt x="1639" y="662"/>
                    <a:pt x="1923" y="851"/>
                    <a:pt x="2049" y="1135"/>
                  </a:cubicBezTo>
                  <a:cubicBezTo>
                    <a:pt x="2080" y="1293"/>
                    <a:pt x="2238" y="1387"/>
                    <a:pt x="2364" y="1387"/>
                  </a:cubicBezTo>
                  <a:cubicBezTo>
                    <a:pt x="2395" y="1387"/>
                    <a:pt x="2427" y="1387"/>
                    <a:pt x="2490" y="1324"/>
                  </a:cubicBezTo>
                  <a:cubicBezTo>
                    <a:pt x="2679" y="1261"/>
                    <a:pt x="2742" y="1072"/>
                    <a:pt x="2679" y="914"/>
                  </a:cubicBezTo>
                  <a:cubicBezTo>
                    <a:pt x="2490" y="347"/>
                    <a:pt x="1954" y="1"/>
                    <a:pt x="1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3" name="Google Shape;6563;p72"/>
            <p:cNvSpPr/>
            <p:nvPr/>
          </p:nvSpPr>
          <p:spPr>
            <a:xfrm>
              <a:off x="-24260925" y="2462500"/>
              <a:ext cx="138650" cy="17350"/>
            </a:xfrm>
            <a:custGeom>
              <a:avLst/>
              <a:gdLst/>
              <a:ahLst/>
              <a:cxnLst/>
              <a:rect l="l" t="t" r="r" b="b"/>
              <a:pathLst>
                <a:path w="5546" h="694" extrusionOk="0">
                  <a:moveTo>
                    <a:pt x="347" y="0"/>
                  </a:moveTo>
                  <a:cubicBezTo>
                    <a:pt x="158" y="0"/>
                    <a:pt x="0" y="158"/>
                    <a:pt x="0" y="347"/>
                  </a:cubicBezTo>
                  <a:cubicBezTo>
                    <a:pt x="0" y="536"/>
                    <a:pt x="158" y="693"/>
                    <a:pt x="347" y="693"/>
                  </a:cubicBezTo>
                  <a:lnTo>
                    <a:pt x="5199" y="693"/>
                  </a:lnTo>
                  <a:cubicBezTo>
                    <a:pt x="5388" y="693"/>
                    <a:pt x="5545" y="536"/>
                    <a:pt x="5545" y="347"/>
                  </a:cubicBezTo>
                  <a:cubicBezTo>
                    <a:pt x="5545" y="158"/>
                    <a:pt x="5388" y="0"/>
                    <a:pt x="51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4" name="Google Shape;6564;p72"/>
            <p:cNvSpPr/>
            <p:nvPr/>
          </p:nvSpPr>
          <p:spPr>
            <a:xfrm>
              <a:off x="-24260150" y="2515275"/>
              <a:ext cx="43350" cy="18125"/>
            </a:xfrm>
            <a:custGeom>
              <a:avLst/>
              <a:gdLst/>
              <a:ahLst/>
              <a:cxnLst/>
              <a:rect l="l" t="t" r="r" b="b"/>
              <a:pathLst>
                <a:path w="1734" h="725" extrusionOk="0">
                  <a:moveTo>
                    <a:pt x="347" y="0"/>
                  </a:moveTo>
                  <a:cubicBezTo>
                    <a:pt x="158" y="0"/>
                    <a:pt x="1" y="158"/>
                    <a:pt x="1" y="378"/>
                  </a:cubicBezTo>
                  <a:cubicBezTo>
                    <a:pt x="1" y="567"/>
                    <a:pt x="158" y="725"/>
                    <a:pt x="347" y="725"/>
                  </a:cubicBezTo>
                  <a:lnTo>
                    <a:pt x="1387" y="725"/>
                  </a:lnTo>
                  <a:cubicBezTo>
                    <a:pt x="1576" y="725"/>
                    <a:pt x="1733" y="567"/>
                    <a:pt x="1733" y="378"/>
                  </a:cubicBezTo>
                  <a:cubicBezTo>
                    <a:pt x="1702" y="158"/>
                    <a:pt x="1544"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5" name="Google Shape;6565;p72"/>
            <p:cNvSpPr/>
            <p:nvPr/>
          </p:nvSpPr>
          <p:spPr>
            <a:xfrm>
              <a:off x="-24260925" y="2549925"/>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6" name="Google Shape;6566;p72"/>
            <p:cNvSpPr/>
            <p:nvPr/>
          </p:nvSpPr>
          <p:spPr>
            <a:xfrm>
              <a:off x="-24165625" y="2515275"/>
              <a:ext cx="43350" cy="18125"/>
            </a:xfrm>
            <a:custGeom>
              <a:avLst/>
              <a:gdLst/>
              <a:ahLst/>
              <a:cxnLst/>
              <a:rect l="l" t="t" r="r" b="b"/>
              <a:pathLst>
                <a:path w="1734" h="725" extrusionOk="0">
                  <a:moveTo>
                    <a:pt x="378" y="0"/>
                  </a:moveTo>
                  <a:cubicBezTo>
                    <a:pt x="158" y="0"/>
                    <a:pt x="0" y="158"/>
                    <a:pt x="0" y="378"/>
                  </a:cubicBezTo>
                  <a:cubicBezTo>
                    <a:pt x="0" y="567"/>
                    <a:pt x="158" y="725"/>
                    <a:pt x="378" y="725"/>
                  </a:cubicBezTo>
                  <a:lnTo>
                    <a:pt x="1387" y="725"/>
                  </a:lnTo>
                  <a:cubicBezTo>
                    <a:pt x="1576" y="725"/>
                    <a:pt x="1733" y="567"/>
                    <a:pt x="1733" y="378"/>
                  </a:cubicBezTo>
                  <a:cubicBezTo>
                    <a:pt x="1733" y="158"/>
                    <a:pt x="1576"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67" name="Google Shape;6567;p72"/>
            <p:cNvSpPr/>
            <p:nvPr/>
          </p:nvSpPr>
          <p:spPr>
            <a:xfrm>
              <a:off x="-24157750" y="25499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68" name="Google Shape;6568;p72"/>
          <p:cNvGrpSpPr/>
          <p:nvPr/>
        </p:nvGrpSpPr>
        <p:grpSpPr>
          <a:xfrm>
            <a:off x="8272560" y="5040560"/>
            <a:ext cx="470907" cy="470907"/>
            <a:chOff x="-24338900" y="2710600"/>
            <a:chExt cx="295375" cy="295375"/>
          </a:xfrm>
        </p:grpSpPr>
        <p:sp>
          <p:nvSpPr>
            <p:cNvPr id="6569" name="Google Shape;6569;p72"/>
            <p:cNvSpPr/>
            <p:nvPr/>
          </p:nvSpPr>
          <p:spPr>
            <a:xfrm>
              <a:off x="-24250700" y="2816925"/>
              <a:ext cx="123675" cy="103200"/>
            </a:xfrm>
            <a:custGeom>
              <a:avLst/>
              <a:gdLst/>
              <a:ahLst/>
              <a:cxnLst/>
              <a:rect l="l" t="t" r="r" b="b"/>
              <a:pathLst>
                <a:path w="4947" h="4128" extrusionOk="0">
                  <a:moveTo>
                    <a:pt x="3403" y="662"/>
                  </a:moveTo>
                  <a:cubicBezTo>
                    <a:pt x="3813" y="662"/>
                    <a:pt x="4128" y="977"/>
                    <a:pt x="4128" y="1387"/>
                  </a:cubicBezTo>
                  <a:cubicBezTo>
                    <a:pt x="4128" y="1922"/>
                    <a:pt x="3561" y="2363"/>
                    <a:pt x="2710" y="3025"/>
                  </a:cubicBezTo>
                  <a:cubicBezTo>
                    <a:pt x="2584" y="3119"/>
                    <a:pt x="2490" y="3182"/>
                    <a:pt x="2395" y="3309"/>
                  </a:cubicBezTo>
                  <a:cubicBezTo>
                    <a:pt x="2269" y="3214"/>
                    <a:pt x="2143" y="3151"/>
                    <a:pt x="2080" y="3025"/>
                  </a:cubicBezTo>
                  <a:cubicBezTo>
                    <a:pt x="1198" y="2363"/>
                    <a:pt x="662" y="1891"/>
                    <a:pt x="662" y="1387"/>
                  </a:cubicBezTo>
                  <a:cubicBezTo>
                    <a:pt x="662" y="946"/>
                    <a:pt x="977" y="662"/>
                    <a:pt x="1355" y="662"/>
                  </a:cubicBezTo>
                  <a:cubicBezTo>
                    <a:pt x="1860" y="662"/>
                    <a:pt x="2080" y="1229"/>
                    <a:pt x="2080" y="1261"/>
                  </a:cubicBezTo>
                  <a:cubicBezTo>
                    <a:pt x="2112" y="1418"/>
                    <a:pt x="2238" y="1481"/>
                    <a:pt x="2395" y="1481"/>
                  </a:cubicBezTo>
                  <a:cubicBezTo>
                    <a:pt x="2553" y="1481"/>
                    <a:pt x="2647" y="1355"/>
                    <a:pt x="2710" y="1261"/>
                  </a:cubicBezTo>
                  <a:cubicBezTo>
                    <a:pt x="2710" y="1229"/>
                    <a:pt x="2899" y="662"/>
                    <a:pt x="3403" y="662"/>
                  </a:cubicBezTo>
                  <a:close/>
                  <a:moveTo>
                    <a:pt x="1355" y="1"/>
                  </a:moveTo>
                  <a:cubicBezTo>
                    <a:pt x="568" y="1"/>
                    <a:pt x="1" y="631"/>
                    <a:pt x="1" y="1418"/>
                  </a:cubicBezTo>
                  <a:cubicBezTo>
                    <a:pt x="1" y="2269"/>
                    <a:pt x="694" y="2836"/>
                    <a:pt x="1671" y="3624"/>
                  </a:cubicBezTo>
                  <a:cubicBezTo>
                    <a:pt x="1828" y="3750"/>
                    <a:pt x="2049" y="3907"/>
                    <a:pt x="2238" y="4065"/>
                  </a:cubicBezTo>
                  <a:cubicBezTo>
                    <a:pt x="2301" y="4096"/>
                    <a:pt x="2395" y="4128"/>
                    <a:pt x="2458" y="4128"/>
                  </a:cubicBezTo>
                  <a:cubicBezTo>
                    <a:pt x="2553" y="4128"/>
                    <a:pt x="2616" y="4096"/>
                    <a:pt x="2710" y="4065"/>
                  </a:cubicBezTo>
                  <a:cubicBezTo>
                    <a:pt x="2899" y="3907"/>
                    <a:pt x="3057" y="3718"/>
                    <a:pt x="3246" y="3624"/>
                  </a:cubicBezTo>
                  <a:cubicBezTo>
                    <a:pt x="4254" y="2836"/>
                    <a:pt x="4947" y="2269"/>
                    <a:pt x="4947" y="1418"/>
                  </a:cubicBezTo>
                  <a:cubicBezTo>
                    <a:pt x="4821" y="599"/>
                    <a:pt x="4191" y="1"/>
                    <a:pt x="3403" y="1"/>
                  </a:cubicBezTo>
                  <a:cubicBezTo>
                    <a:pt x="3025" y="1"/>
                    <a:pt x="2616" y="158"/>
                    <a:pt x="2395" y="505"/>
                  </a:cubicBezTo>
                  <a:cubicBezTo>
                    <a:pt x="2112" y="190"/>
                    <a:pt x="1765" y="1"/>
                    <a:pt x="13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0" name="Google Shape;6570;p72"/>
            <p:cNvSpPr/>
            <p:nvPr/>
          </p:nvSpPr>
          <p:spPr>
            <a:xfrm>
              <a:off x="-24338900" y="2710600"/>
              <a:ext cx="295375" cy="295375"/>
            </a:xfrm>
            <a:custGeom>
              <a:avLst/>
              <a:gdLst/>
              <a:ahLst/>
              <a:cxnLst/>
              <a:rect l="l" t="t" r="r" b="b"/>
              <a:pathLst>
                <a:path w="11815" h="11815" extrusionOk="0">
                  <a:moveTo>
                    <a:pt x="7341" y="725"/>
                  </a:moveTo>
                  <a:cubicBezTo>
                    <a:pt x="7530" y="725"/>
                    <a:pt x="7687" y="882"/>
                    <a:pt x="7687" y="1103"/>
                  </a:cubicBezTo>
                  <a:lnTo>
                    <a:pt x="7687" y="3844"/>
                  </a:lnTo>
                  <a:cubicBezTo>
                    <a:pt x="7687" y="4033"/>
                    <a:pt x="7845" y="4222"/>
                    <a:pt x="8034" y="4222"/>
                  </a:cubicBezTo>
                  <a:lnTo>
                    <a:pt x="10806" y="4222"/>
                  </a:lnTo>
                  <a:cubicBezTo>
                    <a:pt x="10995" y="4222"/>
                    <a:pt x="11153" y="4380"/>
                    <a:pt x="11153" y="4569"/>
                  </a:cubicBezTo>
                  <a:lnTo>
                    <a:pt x="11153" y="7309"/>
                  </a:lnTo>
                  <a:cubicBezTo>
                    <a:pt x="11153" y="7530"/>
                    <a:pt x="10995" y="7688"/>
                    <a:pt x="10806" y="7688"/>
                  </a:cubicBezTo>
                  <a:lnTo>
                    <a:pt x="8034" y="7688"/>
                  </a:lnTo>
                  <a:cubicBezTo>
                    <a:pt x="7845" y="7688"/>
                    <a:pt x="7687" y="7845"/>
                    <a:pt x="7687" y="8034"/>
                  </a:cubicBezTo>
                  <a:lnTo>
                    <a:pt x="7687" y="10775"/>
                  </a:lnTo>
                  <a:cubicBezTo>
                    <a:pt x="7687" y="10996"/>
                    <a:pt x="7530" y="11153"/>
                    <a:pt x="7341" y="11153"/>
                  </a:cubicBezTo>
                  <a:lnTo>
                    <a:pt x="4568" y="11153"/>
                  </a:lnTo>
                  <a:cubicBezTo>
                    <a:pt x="4379" y="11153"/>
                    <a:pt x="4222" y="10996"/>
                    <a:pt x="4222" y="10775"/>
                  </a:cubicBezTo>
                  <a:lnTo>
                    <a:pt x="4222" y="8034"/>
                  </a:lnTo>
                  <a:cubicBezTo>
                    <a:pt x="4222" y="7845"/>
                    <a:pt x="4064" y="7688"/>
                    <a:pt x="3875" y="7688"/>
                  </a:cubicBezTo>
                  <a:lnTo>
                    <a:pt x="1103" y="7688"/>
                  </a:lnTo>
                  <a:cubicBezTo>
                    <a:pt x="914" y="7688"/>
                    <a:pt x="756" y="7530"/>
                    <a:pt x="756" y="7309"/>
                  </a:cubicBezTo>
                  <a:lnTo>
                    <a:pt x="756" y="4569"/>
                  </a:lnTo>
                  <a:cubicBezTo>
                    <a:pt x="756" y="4380"/>
                    <a:pt x="914" y="4222"/>
                    <a:pt x="1103" y="4222"/>
                  </a:cubicBezTo>
                  <a:lnTo>
                    <a:pt x="3875" y="4222"/>
                  </a:lnTo>
                  <a:cubicBezTo>
                    <a:pt x="4064" y="4222"/>
                    <a:pt x="4222" y="4033"/>
                    <a:pt x="4222" y="3844"/>
                  </a:cubicBezTo>
                  <a:lnTo>
                    <a:pt x="4222" y="1103"/>
                  </a:lnTo>
                  <a:cubicBezTo>
                    <a:pt x="4222" y="882"/>
                    <a:pt x="4379" y="725"/>
                    <a:pt x="4568" y="725"/>
                  </a:cubicBezTo>
                  <a:close/>
                  <a:moveTo>
                    <a:pt x="4537" y="0"/>
                  </a:moveTo>
                  <a:cubicBezTo>
                    <a:pt x="3938" y="0"/>
                    <a:pt x="3466" y="473"/>
                    <a:pt x="3466" y="1072"/>
                  </a:cubicBezTo>
                  <a:lnTo>
                    <a:pt x="3466" y="3466"/>
                  </a:lnTo>
                  <a:lnTo>
                    <a:pt x="1071" y="3466"/>
                  </a:lnTo>
                  <a:cubicBezTo>
                    <a:pt x="473" y="3466"/>
                    <a:pt x="0" y="3938"/>
                    <a:pt x="0" y="4537"/>
                  </a:cubicBezTo>
                  <a:lnTo>
                    <a:pt x="0" y="7278"/>
                  </a:lnTo>
                  <a:cubicBezTo>
                    <a:pt x="0" y="7877"/>
                    <a:pt x="473" y="8349"/>
                    <a:pt x="1071" y="8349"/>
                  </a:cubicBezTo>
                  <a:lnTo>
                    <a:pt x="3466" y="8349"/>
                  </a:lnTo>
                  <a:lnTo>
                    <a:pt x="3466" y="10743"/>
                  </a:lnTo>
                  <a:cubicBezTo>
                    <a:pt x="3466" y="11342"/>
                    <a:pt x="3938" y="11815"/>
                    <a:pt x="4537" y="11815"/>
                  </a:cubicBezTo>
                  <a:lnTo>
                    <a:pt x="7309" y="11815"/>
                  </a:lnTo>
                  <a:cubicBezTo>
                    <a:pt x="7876" y="11815"/>
                    <a:pt x="8349" y="11342"/>
                    <a:pt x="8349" y="10743"/>
                  </a:cubicBezTo>
                  <a:lnTo>
                    <a:pt x="8349" y="8349"/>
                  </a:lnTo>
                  <a:lnTo>
                    <a:pt x="10743" y="8349"/>
                  </a:lnTo>
                  <a:cubicBezTo>
                    <a:pt x="11342" y="8349"/>
                    <a:pt x="11815" y="7877"/>
                    <a:pt x="11815" y="7278"/>
                  </a:cubicBezTo>
                  <a:lnTo>
                    <a:pt x="11815" y="4537"/>
                  </a:lnTo>
                  <a:cubicBezTo>
                    <a:pt x="11815" y="3938"/>
                    <a:pt x="11342" y="3466"/>
                    <a:pt x="10743" y="3466"/>
                  </a:cubicBezTo>
                  <a:lnTo>
                    <a:pt x="8349" y="3466"/>
                  </a:lnTo>
                  <a:lnTo>
                    <a:pt x="8349" y="1072"/>
                  </a:lnTo>
                  <a:cubicBezTo>
                    <a:pt x="8349" y="473"/>
                    <a:pt x="7876" y="0"/>
                    <a:pt x="7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71" name="Google Shape;6571;p72"/>
          <p:cNvGrpSpPr/>
          <p:nvPr/>
        </p:nvGrpSpPr>
        <p:grpSpPr>
          <a:xfrm>
            <a:off x="10660560" y="4453073"/>
            <a:ext cx="473417" cy="469312"/>
            <a:chOff x="-22859750" y="2335900"/>
            <a:chExt cx="296950" cy="294375"/>
          </a:xfrm>
        </p:grpSpPr>
        <p:sp>
          <p:nvSpPr>
            <p:cNvPr id="6572" name="Google Shape;6572;p72"/>
            <p:cNvSpPr/>
            <p:nvPr/>
          </p:nvSpPr>
          <p:spPr>
            <a:xfrm>
              <a:off x="-22859750" y="2335900"/>
              <a:ext cx="296950" cy="294375"/>
            </a:xfrm>
            <a:custGeom>
              <a:avLst/>
              <a:gdLst/>
              <a:ahLst/>
              <a:cxnLst/>
              <a:rect l="l" t="t" r="r" b="b"/>
              <a:pathLst>
                <a:path w="11878" h="11775" extrusionOk="0">
                  <a:moveTo>
                    <a:pt x="7306" y="663"/>
                  </a:moveTo>
                  <a:cubicBezTo>
                    <a:pt x="7389" y="663"/>
                    <a:pt x="7475" y="671"/>
                    <a:pt x="7562" y="685"/>
                  </a:cubicBezTo>
                  <a:cubicBezTo>
                    <a:pt x="7814" y="780"/>
                    <a:pt x="8034" y="937"/>
                    <a:pt x="8192" y="1126"/>
                  </a:cubicBezTo>
                  <a:cubicBezTo>
                    <a:pt x="7908" y="1189"/>
                    <a:pt x="7656" y="1347"/>
                    <a:pt x="7467" y="1567"/>
                  </a:cubicBezTo>
                  <a:cubicBezTo>
                    <a:pt x="7341" y="1662"/>
                    <a:pt x="7341" y="1914"/>
                    <a:pt x="7467" y="2008"/>
                  </a:cubicBezTo>
                  <a:cubicBezTo>
                    <a:pt x="7530" y="2071"/>
                    <a:pt x="7617" y="2103"/>
                    <a:pt x="7703" y="2103"/>
                  </a:cubicBezTo>
                  <a:cubicBezTo>
                    <a:pt x="7790" y="2103"/>
                    <a:pt x="7877" y="2071"/>
                    <a:pt x="7940" y="2008"/>
                  </a:cubicBezTo>
                  <a:cubicBezTo>
                    <a:pt x="8129" y="1819"/>
                    <a:pt x="8412" y="1693"/>
                    <a:pt x="8696" y="1693"/>
                  </a:cubicBezTo>
                  <a:cubicBezTo>
                    <a:pt x="8979" y="1693"/>
                    <a:pt x="9231" y="1819"/>
                    <a:pt x="9452" y="2008"/>
                  </a:cubicBezTo>
                  <a:cubicBezTo>
                    <a:pt x="9767" y="2355"/>
                    <a:pt x="9830" y="2764"/>
                    <a:pt x="9673" y="3174"/>
                  </a:cubicBezTo>
                  <a:cubicBezTo>
                    <a:pt x="9389" y="3237"/>
                    <a:pt x="9137" y="3395"/>
                    <a:pt x="8885" y="3584"/>
                  </a:cubicBezTo>
                  <a:cubicBezTo>
                    <a:pt x="8759" y="3710"/>
                    <a:pt x="8759" y="3962"/>
                    <a:pt x="8885" y="4056"/>
                  </a:cubicBezTo>
                  <a:cubicBezTo>
                    <a:pt x="8948" y="4119"/>
                    <a:pt x="9035" y="4151"/>
                    <a:pt x="9121" y="4151"/>
                  </a:cubicBezTo>
                  <a:cubicBezTo>
                    <a:pt x="9208" y="4151"/>
                    <a:pt x="9294" y="4119"/>
                    <a:pt x="9358" y="4056"/>
                  </a:cubicBezTo>
                  <a:cubicBezTo>
                    <a:pt x="9547" y="3867"/>
                    <a:pt x="9830" y="3741"/>
                    <a:pt x="10114" y="3741"/>
                  </a:cubicBezTo>
                  <a:cubicBezTo>
                    <a:pt x="10397" y="3741"/>
                    <a:pt x="10649" y="3867"/>
                    <a:pt x="10870" y="4056"/>
                  </a:cubicBezTo>
                  <a:cubicBezTo>
                    <a:pt x="11059" y="4277"/>
                    <a:pt x="11185" y="4529"/>
                    <a:pt x="11185" y="4812"/>
                  </a:cubicBezTo>
                  <a:cubicBezTo>
                    <a:pt x="11185" y="5096"/>
                    <a:pt x="11059" y="5379"/>
                    <a:pt x="10870" y="5568"/>
                  </a:cubicBezTo>
                  <a:cubicBezTo>
                    <a:pt x="10649" y="5757"/>
                    <a:pt x="10397" y="5883"/>
                    <a:pt x="10114" y="5883"/>
                  </a:cubicBezTo>
                  <a:cubicBezTo>
                    <a:pt x="9925" y="5883"/>
                    <a:pt x="9767" y="6041"/>
                    <a:pt x="9767" y="6230"/>
                  </a:cubicBezTo>
                  <a:cubicBezTo>
                    <a:pt x="9767" y="6451"/>
                    <a:pt x="9925" y="6608"/>
                    <a:pt x="10114" y="6608"/>
                  </a:cubicBezTo>
                  <a:cubicBezTo>
                    <a:pt x="10429" y="6608"/>
                    <a:pt x="10712" y="6514"/>
                    <a:pt x="10964" y="6356"/>
                  </a:cubicBezTo>
                  <a:cubicBezTo>
                    <a:pt x="11090" y="6514"/>
                    <a:pt x="11122" y="6703"/>
                    <a:pt x="11122" y="6955"/>
                  </a:cubicBezTo>
                  <a:cubicBezTo>
                    <a:pt x="11122" y="7270"/>
                    <a:pt x="11027" y="7553"/>
                    <a:pt x="10807" y="7742"/>
                  </a:cubicBezTo>
                  <a:cubicBezTo>
                    <a:pt x="10618" y="7931"/>
                    <a:pt x="10366" y="8057"/>
                    <a:pt x="10082" y="8057"/>
                  </a:cubicBezTo>
                  <a:cubicBezTo>
                    <a:pt x="9799" y="8057"/>
                    <a:pt x="9515" y="7931"/>
                    <a:pt x="9326" y="7742"/>
                  </a:cubicBezTo>
                  <a:cubicBezTo>
                    <a:pt x="9137" y="7553"/>
                    <a:pt x="9011" y="7270"/>
                    <a:pt x="9011" y="6986"/>
                  </a:cubicBezTo>
                  <a:cubicBezTo>
                    <a:pt x="9011" y="6703"/>
                    <a:pt x="9137" y="6419"/>
                    <a:pt x="9326" y="6230"/>
                  </a:cubicBezTo>
                  <a:cubicBezTo>
                    <a:pt x="9452" y="6104"/>
                    <a:pt x="9452" y="5883"/>
                    <a:pt x="9326" y="5757"/>
                  </a:cubicBezTo>
                  <a:cubicBezTo>
                    <a:pt x="9263" y="5694"/>
                    <a:pt x="9176" y="5663"/>
                    <a:pt x="9090" y="5663"/>
                  </a:cubicBezTo>
                  <a:cubicBezTo>
                    <a:pt x="9003" y="5663"/>
                    <a:pt x="8916" y="5694"/>
                    <a:pt x="8853" y="5757"/>
                  </a:cubicBezTo>
                  <a:cubicBezTo>
                    <a:pt x="8538" y="6072"/>
                    <a:pt x="8349" y="6514"/>
                    <a:pt x="8349" y="6986"/>
                  </a:cubicBezTo>
                  <a:cubicBezTo>
                    <a:pt x="8349" y="7112"/>
                    <a:pt x="8349" y="7207"/>
                    <a:pt x="8381" y="7333"/>
                  </a:cubicBezTo>
                  <a:cubicBezTo>
                    <a:pt x="7562" y="7459"/>
                    <a:pt x="6932" y="8215"/>
                    <a:pt x="6932" y="9034"/>
                  </a:cubicBezTo>
                  <a:cubicBezTo>
                    <a:pt x="6932" y="9223"/>
                    <a:pt x="7089" y="9381"/>
                    <a:pt x="7278" y="9381"/>
                  </a:cubicBezTo>
                  <a:cubicBezTo>
                    <a:pt x="7467" y="9381"/>
                    <a:pt x="7625" y="9223"/>
                    <a:pt x="7625" y="9034"/>
                  </a:cubicBezTo>
                  <a:cubicBezTo>
                    <a:pt x="7625" y="8435"/>
                    <a:pt x="8097" y="8026"/>
                    <a:pt x="8664" y="8026"/>
                  </a:cubicBezTo>
                  <a:lnTo>
                    <a:pt x="8696" y="8026"/>
                  </a:lnTo>
                  <a:cubicBezTo>
                    <a:pt x="8727" y="8089"/>
                    <a:pt x="8822" y="8120"/>
                    <a:pt x="8853" y="8215"/>
                  </a:cubicBezTo>
                  <a:cubicBezTo>
                    <a:pt x="9074" y="8435"/>
                    <a:pt x="9326" y="8561"/>
                    <a:pt x="9641" y="8656"/>
                  </a:cubicBezTo>
                  <a:cubicBezTo>
                    <a:pt x="9673" y="8750"/>
                    <a:pt x="9704" y="8908"/>
                    <a:pt x="9704" y="9034"/>
                  </a:cubicBezTo>
                  <a:cubicBezTo>
                    <a:pt x="9704" y="9507"/>
                    <a:pt x="9452" y="9853"/>
                    <a:pt x="9011" y="10011"/>
                  </a:cubicBezTo>
                  <a:cubicBezTo>
                    <a:pt x="8979" y="9853"/>
                    <a:pt x="8853" y="9759"/>
                    <a:pt x="8664" y="9759"/>
                  </a:cubicBezTo>
                  <a:cubicBezTo>
                    <a:pt x="8444" y="9759"/>
                    <a:pt x="8286" y="9916"/>
                    <a:pt x="8286" y="10105"/>
                  </a:cubicBezTo>
                  <a:cubicBezTo>
                    <a:pt x="8286" y="10704"/>
                    <a:pt x="7814" y="11113"/>
                    <a:pt x="7278" y="11113"/>
                  </a:cubicBezTo>
                  <a:cubicBezTo>
                    <a:pt x="6711" y="11113"/>
                    <a:pt x="6239" y="10641"/>
                    <a:pt x="6239" y="10105"/>
                  </a:cubicBezTo>
                  <a:lnTo>
                    <a:pt x="6239" y="6640"/>
                  </a:lnTo>
                  <a:cubicBezTo>
                    <a:pt x="6522" y="6860"/>
                    <a:pt x="6932" y="6986"/>
                    <a:pt x="7278" y="6986"/>
                  </a:cubicBezTo>
                  <a:cubicBezTo>
                    <a:pt x="7467" y="6986"/>
                    <a:pt x="7625" y="6829"/>
                    <a:pt x="7625" y="6640"/>
                  </a:cubicBezTo>
                  <a:cubicBezTo>
                    <a:pt x="7625" y="6451"/>
                    <a:pt x="7467" y="6293"/>
                    <a:pt x="7278" y="6293"/>
                  </a:cubicBezTo>
                  <a:cubicBezTo>
                    <a:pt x="6680" y="6293"/>
                    <a:pt x="6239" y="5820"/>
                    <a:pt x="6239" y="5253"/>
                  </a:cubicBezTo>
                  <a:lnTo>
                    <a:pt x="6239" y="1788"/>
                  </a:lnTo>
                  <a:lnTo>
                    <a:pt x="6239" y="1756"/>
                  </a:lnTo>
                  <a:lnTo>
                    <a:pt x="6239" y="1725"/>
                  </a:lnTo>
                  <a:cubicBezTo>
                    <a:pt x="6239" y="1441"/>
                    <a:pt x="6365" y="1158"/>
                    <a:pt x="6554" y="969"/>
                  </a:cubicBezTo>
                  <a:cubicBezTo>
                    <a:pt x="6772" y="750"/>
                    <a:pt x="7027" y="663"/>
                    <a:pt x="7306" y="663"/>
                  </a:cubicBezTo>
                  <a:close/>
                  <a:moveTo>
                    <a:pt x="4492" y="726"/>
                  </a:moveTo>
                  <a:cubicBezTo>
                    <a:pt x="4756" y="726"/>
                    <a:pt x="5012" y="813"/>
                    <a:pt x="5230" y="1032"/>
                  </a:cubicBezTo>
                  <a:cubicBezTo>
                    <a:pt x="5419" y="1221"/>
                    <a:pt x="5545" y="1504"/>
                    <a:pt x="5545" y="1788"/>
                  </a:cubicBezTo>
                  <a:lnTo>
                    <a:pt x="5545" y="1819"/>
                  </a:lnTo>
                  <a:lnTo>
                    <a:pt x="5545" y="5285"/>
                  </a:lnTo>
                  <a:cubicBezTo>
                    <a:pt x="5545" y="5883"/>
                    <a:pt x="5073" y="6325"/>
                    <a:pt x="4506" y="6325"/>
                  </a:cubicBezTo>
                  <a:cubicBezTo>
                    <a:pt x="4317" y="6325"/>
                    <a:pt x="4159" y="6482"/>
                    <a:pt x="4159" y="6671"/>
                  </a:cubicBezTo>
                  <a:cubicBezTo>
                    <a:pt x="4159" y="6860"/>
                    <a:pt x="4317" y="7018"/>
                    <a:pt x="4506" y="7018"/>
                  </a:cubicBezTo>
                  <a:cubicBezTo>
                    <a:pt x="4915" y="7018"/>
                    <a:pt x="5262" y="6892"/>
                    <a:pt x="5545" y="6671"/>
                  </a:cubicBezTo>
                  <a:lnTo>
                    <a:pt x="5545" y="10105"/>
                  </a:lnTo>
                  <a:lnTo>
                    <a:pt x="5545" y="10137"/>
                  </a:lnTo>
                  <a:cubicBezTo>
                    <a:pt x="5545" y="10704"/>
                    <a:pt x="5073" y="11176"/>
                    <a:pt x="4506" y="11176"/>
                  </a:cubicBezTo>
                  <a:cubicBezTo>
                    <a:pt x="3939" y="11176"/>
                    <a:pt x="3498" y="10704"/>
                    <a:pt x="3498" y="10137"/>
                  </a:cubicBezTo>
                  <a:cubicBezTo>
                    <a:pt x="3498" y="9948"/>
                    <a:pt x="3340" y="9790"/>
                    <a:pt x="3151" y="9790"/>
                  </a:cubicBezTo>
                  <a:cubicBezTo>
                    <a:pt x="2994" y="9790"/>
                    <a:pt x="2836" y="9916"/>
                    <a:pt x="2773" y="10074"/>
                  </a:cubicBezTo>
                  <a:cubicBezTo>
                    <a:pt x="2395" y="9916"/>
                    <a:pt x="2080" y="9538"/>
                    <a:pt x="2080" y="9065"/>
                  </a:cubicBezTo>
                  <a:cubicBezTo>
                    <a:pt x="2080" y="8908"/>
                    <a:pt x="2111" y="8813"/>
                    <a:pt x="2143" y="8687"/>
                  </a:cubicBezTo>
                  <a:cubicBezTo>
                    <a:pt x="2426" y="8593"/>
                    <a:pt x="2710" y="8435"/>
                    <a:pt x="2930" y="8246"/>
                  </a:cubicBezTo>
                  <a:cubicBezTo>
                    <a:pt x="2994" y="8215"/>
                    <a:pt x="3057" y="8120"/>
                    <a:pt x="3088" y="8057"/>
                  </a:cubicBezTo>
                  <a:lnTo>
                    <a:pt x="3151" y="8057"/>
                  </a:lnTo>
                  <a:cubicBezTo>
                    <a:pt x="3718" y="8057"/>
                    <a:pt x="4159" y="8530"/>
                    <a:pt x="4159" y="9065"/>
                  </a:cubicBezTo>
                  <a:cubicBezTo>
                    <a:pt x="4159" y="9286"/>
                    <a:pt x="4317" y="9444"/>
                    <a:pt x="4506" y="9444"/>
                  </a:cubicBezTo>
                  <a:cubicBezTo>
                    <a:pt x="4726" y="9444"/>
                    <a:pt x="4884" y="9286"/>
                    <a:pt x="4884" y="9065"/>
                  </a:cubicBezTo>
                  <a:cubicBezTo>
                    <a:pt x="4884" y="8215"/>
                    <a:pt x="4254" y="7490"/>
                    <a:pt x="3403" y="7396"/>
                  </a:cubicBezTo>
                  <a:cubicBezTo>
                    <a:pt x="3466" y="7270"/>
                    <a:pt x="3466" y="7144"/>
                    <a:pt x="3466" y="7018"/>
                  </a:cubicBezTo>
                  <a:cubicBezTo>
                    <a:pt x="3466" y="6545"/>
                    <a:pt x="3246" y="6104"/>
                    <a:pt x="2930" y="5820"/>
                  </a:cubicBezTo>
                  <a:cubicBezTo>
                    <a:pt x="2883" y="5757"/>
                    <a:pt x="2797" y="5726"/>
                    <a:pt x="2706" y="5726"/>
                  </a:cubicBezTo>
                  <a:cubicBezTo>
                    <a:pt x="2615" y="5726"/>
                    <a:pt x="2521" y="5757"/>
                    <a:pt x="2458" y="5820"/>
                  </a:cubicBezTo>
                  <a:cubicBezTo>
                    <a:pt x="2363" y="5915"/>
                    <a:pt x="2363" y="6167"/>
                    <a:pt x="2458" y="6262"/>
                  </a:cubicBezTo>
                  <a:cubicBezTo>
                    <a:pt x="2678" y="6482"/>
                    <a:pt x="2773" y="6734"/>
                    <a:pt x="2773" y="7018"/>
                  </a:cubicBezTo>
                  <a:cubicBezTo>
                    <a:pt x="2773" y="7301"/>
                    <a:pt x="2678" y="7585"/>
                    <a:pt x="2458" y="7774"/>
                  </a:cubicBezTo>
                  <a:cubicBezTo>
                    <a:pt x="2269" y="7963"/>
                    <a:pt x="1985" y="8089"/>
                    <a:pt x="1733" y="8089"/>
                  </a:cubicBezTo>
                  <a:cubicBezTo>
                    <a:pt x="1450" y="8089"/>
                    <a:pt x="1166" y="7963"/>
                    <a:pt x="977" y="7774"/>
                  </a:cubicBezTo>
                  <a:cubicBezTo>
                    <a:pt x="788" y="7585"/>
                    <a:pt x="662" y="7301"/>
                    <a:pt x="662" y="7018"/>
                  </a:cubicBezTo>
                  <a:cubicBezTo>
                    <a:pt x="662" y="6829"/>
                    <a:pt x="725" y="6640"/>
                    <a:pt x="820" y="6419"/>
                  </a:cubicBezTo>
                  <a:cubicBezTo>
                    <a:pt x="1103" y="6608"/>
                    <a:pt x="1355" y="6671"/>
                    <a:pt x="1670" y="6671"/>
                  </a:cubicBezTo>
                  <a:cubicBezTo>
                    <a:pt x="1891" y="6671"/>
                    <a:pt x="2048" y="6514"/>
                    <a:pt x="2048" y="6325"/>
                  </a:cubicBezTo>
                  <a:cubicBezTo>
                    <a:pt x="2048" y="6104"/>
                    <a:pt x="1891" y="5946"/>
                    <a:pt x="1670" y="5946"/>
                  </a:cubicBezTo>
                  <a:cubicBezTo>
                    <a:pt x="1418" y="5946"/>
                    <a:pt x="1135" y="5852"/>
                    <a:pt x="946" y="5631"/>
                  </a:cubicBezTo>
                  <a:cubicBezTo>
                    <a:pt x="725" y="5442"/>
                    <a:pt x="631" y="5159"/>
                    <a:pt x="631" y="4907"/>
                  </a:cubicBezTo>
                  <a:cubicBezTo>
                    <a:pt x="631" y="4623"/>
                    <a:pt x="725" y="4340"/>
                    <a:pt x="946" y="4151"/>
                  </a:cubicBezTo>
                  <a:cubicBezTo>
                    <a:pt x="1135" y="3962"/>
                    <a:pt x="1418" y="3836"/>
                    <a:pt x="1670" y="3836"/>
                  </a:cubicBezTo>
                  <a:cubicBezTo>
                    <a:pt x="1954" y="3836"/>
                    <a:pt x="2237" y="3962"/>
                    <a:pt x="2426" y="4151"/>
                  </a:cubicBezTo>
                  <a:cubicBezTo>
                    <a:pt x="2489" y="4214"/>
                    <a:pt x="2576" y="4245"/>
                    <a:pt x="2663" y="4245"/>
                  </a:cubicBezTo>
                  <a:cubicBezTo>
                    <a:pt x="2749" y="4245"/>
                    <a:pt x="2836" y="4214"/>
                    <a:pt x="2899" y="4151"/>
                  </a:cubicBezTo>
                  <a:cubicBezTo>
                    <a:pt x="3025" y="4025"/>
                    <a:pt x="3025" y="3804"/>
                    <a:pt x="2899" y="3678"/>
                  </a:cubicBezTo>
                  <a:cubicBezTo>
                    <a:pt x="2678" y="3426"/>
                    <a:pt x="2426" y="3332"/>
                    <a:pt x="2111" y="3237"/>
                  </a:cubicBezTo>
                  <a:cubicBezTo>
                    <a:pt x="1954" y="2859"/>
                    <a:pt x="2048" y="2418"/>
                    <a:pt x="2363" y="2103"/>
                  </a:cubicBezTo>
                  <a:cubicBezTo>
                    <a:pt x="2552" y="1914"/>
                    <a:pt x="2836" y="1788"/>
                    <a:pt x="3088" y="1788"/>
                  </a:cubicBezTo>
                  <a:cubicBezTo>
                    <a:pt x="3372" y="1788"/>
                    <a:pt x="3655" y="1914"/>
                    <a:pt x="3844" y="2103"/>
                  </a:cubicBezTo>
                  <a:cubicBezTo>
                    <a:pt x="3907" y="2166"/>
                    <a:pt x="3994" y="2197"/>
                    <a:pt x="4080" y="2197"/>
                  </a:cubicBezTo>
                  <a:cubicBezTo>
                    <a:pt x="4167" y="2197"/>
                    <a:pt x="4254" y="2166"/>
                    <a:pt x="4317" y="2103"/>
                  </a:cubicBezTo>
                  <a:cubicBezTo>
                    <a:pt x="4443" y="1977"/>
                    <a:pt x="4443" y="1756"/>
                    <a:pt x="4317" y="1630"/>
                  </a:cubicBezTo>
                  <a:cubicBezTo>
                    <a:pt x="4128" y="1441"/>
                    <a:pt x="3876" y="1284"/>
                    <a:pt x="3624" y="1189"/>
                  </a:cubicBezTo>
                  <a:cubicBezTo>
                    <a:pt x="3781" y="969"/>
                    <a:pt x="3970" y="811"/>
                    <a:pt x="4254" y="748"/>
                  </a:cubicBezTo>
                  <a:cubicBezTo>
                    <a:pt x="4333" y="734"/>
                    <a:pt x="4413" y="726"/>
                    <a:pt x="4492" y="726"/>
                  </a:cubicBezTo>
                  <a:close/>
                  <a:moveTo>
                    <a:pt x="7254" y="0"/>
                  </a:moveTo>
                  <a:cubicBezTo>
                    <a:pt x="6817" y="0"/>
                    <a:pt x="6387" y="190"/>
                    <a:pt x="6049" y="528"/>
                  </a:cubicBezTo>
                  <a:cubicBezTo>
                    <a:pt x="6018" y="559"/>
                    <a:pt x="5923" y="654"/>
                    <a:pt x="5892" y="717"/>
                  </a:cubicBezTo>
                  <a:cubicBezTo>
                    <a:pt x="5860" y="654"/>
                    <a:pt x="5766" y="622"/>
                    <a:pt x="5734" y="528"/>
                  </a:cubicBezTo>
                  <a:cubicBezTo>
                    <a:pt x="5391" y="185"/>
                    <a:pt x="4972" y="13"/>
                    <a:pt x="4521" y="13"/>
                  </a:cubicBezTo>
                  <a:cubicBezTo>
                    <a:pt x="4392" y="13"/>
                    <a:pt x="4261" y="27"/>
                    <a:pt x="4128" y="55"/>
                  </a:cubicBezTo>
                  <a:cubicBezTo>
                    <a:pt x="3561" y="181"/>
                    <a:pt x="3151" y="559"/>
                    <a:pt x="2899" y="1126"/>
                  </a:cubicBezTo>
                  <a:cubicBezTo>
                    <a:pt x="2552" y="1158"/>
                    <a:pt x="2206" y="1347"/>
                    <a:pt x="1922" y="1599"/>
                  </a:cubicBezTo>
                  <a:cubicBezTo>
                    <a:pt x="1481" y="2040"/>
                    <a:pt x="1324" y="2607"/>
                    <a:pt x="1450" y="3206"/>
                  </a:cubicBezTo>
                  <a:cubicBezTo>
                    <a:pt x="1103" y="3237"/>
                    <a:pt x="788" y="3458"/>
                    <a:pt x="505" y="3678"/>
                  </a:cubicBezTo>
                  <a:cubicBezTo>
                    <a:pt x="190" y="3993"/>
                    <a:pt x="1" y="4434"/>
                    <a:pt x="1" y="4907"/>
                  </a:cubicBezTo>
                  <a:cubicBezTo>
                    <a:pt x="1" y="5285"/>
                    <a:pt x="127" y="5663"/>
                    <a:pt x="347" y="5915"/>
                  </a:cubicBezTo>
                  <a:cubicBezTo>
                    <a:pt x="127" y="6230"/>
                    <a:pt x="1" y="6608"/>
                    <a:pt x="1" y="6955"/>
                  </a:cubicBezTo>
                  <a:cubicBezTo>
                    <a:pt x="1" y="7427"/>
                    <a:pt x="190" y="7868"/>
                    <a:pt x="505" y="8183"/>
                  </a:cubicBezTo>
                  <a:cubicBezTo>
                    <a:pt x="788" y="8435"/>
                    <a:pt x="1103" y="8593"/>
                    <a:pt x="1450" y="8624"/>
                  </a:cubicBezTo>
                  <a:cubicBezTo>
                    <a:pt x="1418" y="8750"/>
                    <a:pt x="1418" y="8876"/>
                    <a:pt x="1418" y="9002"/>
                  </a:cubicBezTo>
                  <a:cubicBezTo>
                    <a:pt x="1418" y="9916"/>
                    <a:pt x="2080" y="10609"/>
                    <a:pt x="2962" y="10735"/>
                  </a:cubicBezTo>
                  <a:cubicBezTo>
                    <a:pt x="3214" y="11365"/>
                    <a:pt x="3813" y="11775"/>
                    <a:pt x="4569" y="11775"/>
                  </a:cubicBezTo>
                  <a:cubicBezTo>
                    <a:pt x="5104" y="11775"/>
                    <a:pt x="5640" y="11523"/>
                    <a:pt x="5955" y="11082"/>
                  </a:cubicBezTo>
                  <a:cubicBezTo>
                    <a:pt x="6270" y="11523"/>
                    <a:pt x="6774" y="11775"/>
                    <a:pt x="7310" y="11775"/>
                  </a:cubicBezTo>
                  <a:cubicBezTo>
                    <a:pt x="8034" y="11775"/>
                    <a:pt x="8664" y="11365"/>
                    <a:pt x="8948" y="10735"/>
                  </a:cubicBezTo>
                  <a:cubicBezTo>
                    <a:pt x="9799" y="10609"/>
                    <a:pt x="10460" y="9916"/>
                    <a:pt x="10460" y="9002"/>
                  </a:cubicBezTo>
                  <a:cubicBezTo>
                    <a:pt x="10460" y="8876"/>
                    <a:pt x="10460" y="8750"/>
                    <a:pt x="10429" y="8624"/>
                  </a:cubicBezTo>
                  <a:cubicBezTo>
                    <a:pt x="10775" y="8593"/>
                    <a:pt x="11090" y="8404"/>
                    <a:pt x="11374" y="8183"/>
                  </a:cubicBezTo>
                  <a:cubicBezTo>
                    <a:pt x="11689" y="7837"/>
                    <a:pt x="11878" y="7427"/>
                    <a:pt x="11878" y="6955"/>
                  </a:cubicBezTo>
                  <a:cubicBezTo>
                    <a:pt x="11878" y="6545"/>
                    <a:pt x="11783" y="6199"/>
                    <a:pt x="11531" y="5915"/>
                  </a:cubicBezTo>
                  <a:cubicBezTo>
                    <a:pt x="11689" y="5663"/>
                    <a:pt x="11815" y="5285"/>
                    <a:pt x="11815" y="4907"/>
                  </a:cubicBezTo>
                  <a:cubicBezTo>
                    <a:pt x="11815" y="4434"/>
                    <a:pt x="11594" y="3993"/>
                    <a:pt x="11279" y="3678"/>
                  </a:cubicBezTo>
                  <a:cubicBezTo>
                    <a:pt x="11027" y="3395"/>
                    <a:pt x="10712" y="3237"/>
                    <a:pt x="10334" y="3206"/>
                  </a:cubicBezTo>
                  <a:cubicBezTo>
                    <a:pt x="10460" y="2670"/>
                    <a:pt x="10303" y="2040"/>
                    <a:pt x="9862" y="1599"/>
                  </a:cubicBezTo>
                  <a:cubicBezTo>
                    <a:pt x="9610" y="1315"/>
                    <a:pt x="9231" y="1158"/>
                    <a:pt x="8885" y="1126"/>
                  </a:cubicBezTo>
                  <a:cubicBezTo>
                    <a:pt x="8664" y="559"/>
                    <a:pt x="8223" y="181"/>
                    <a:pt x="7656" y="55"/>
                  </a:cubicBezTo>
                  <a:cubicBezTo>
                    <a:pt x="7523" y="18"/>
                    <a:pt x="7388" y="0"/>
                    <a:pt x="7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3" name="Google Shape;6573;p72"/>
            <p:cNvSpPr/>
            <p:nvPr/>
          </p:nvSpPr>
          <p:spPr>
            <a:xfrm>
              <a:off x="-22685675" y="2408150"/>
              <a:ext cx="27575" cy="66175"/>
            </a:xfrm>
            <a:custGeom>
              <a:avLst/>
              <a:gdLst/>
              <a:ahLst/>
              <a:cxnLst/>
              <a:rect l="l" t="t" r="r" b="b"/>
              <a:pathLst>
                <a:path w="1103" h="2647" extrusionOk="0">
                  <a:moveTo>
                    <a:pt x="740" y="1"/>
                  </a:moveTo>
                  <a:cubicBezTo>
                    <a:pt x="654" y="1"/>
                    <a:pt x="567" y="32"/>
                    <a:pt x="504" y="95"/>
                  </a:cubicBezTo>
                  <a:cubicBezTo>
                    <a:pt x="189" y="410"/>
                    <a:pt x="0" y="820"/>
                    <a:pt x="0" y="1292"/>
                  </a:cubicBezTo>
                  <a:cubicBezTo>
                    <a:pt x="0" y="1765"/>
                    <a:pt x="189" y="2206"/>
                    <a:pt x="504" y="2521"/>
                  </a:cubicBezTo>
                  <a:cubicBezTo>
                    <a:pt x="599" y="2584"/>
                    <a:pt x="662" y="2647"/>
                    <a:pt x="756" y="2647"/>
                  </a:cubicBezTo>
                  <a:cubicBezTo>
                    <a:pt x="819" y="2647"/>
                    <a:pt x="945" y="2615"/>
                    <a:pt x="977" y="2521"/>
                  </a:cubicBezTo>
                  <a:cubicBezTo>
                    <a:pt x="1103" y="2395"/>
                    <a:pt x="1103" y="2174"/>
                    <a:pt x="977" y="2048"/>
                  </a:cubicBezTo>
                  <a:cubicBezTo>
                    <a:pt x="788" y="1859"/>
                    <a:pt x="662" y="1576"/>
                    <a:pt x="662" y="1292"/>
                  </a:cubicBezTo>
                  <a:cubicBezTo>
                    <a:pt x="662" y="1040"/>
                    <a:pt x="788" y="757"/>
                    <a:pt x="977" y="536"/>
                  </a:cubicBezTo>
                  <a:cubicBezTo>
                    <a:pt x="1103" y="442"/>
                    <a:pt x="1103" y="253"/>
                    <a:pt x="977" y="95"/>
                  </a:cubicBezTo>
                  <a:cubicBezTo>
                    <a:pt x="914" y="32"/>
                    <a:pt x="827" y="1"/>
                    <a:pt x="7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4" name="Google Shape;6574;p72"/>
            <p:cNvSpPr/>
            <p:nvPr/>
          </p:nvSpPr>
          <p:spPr>
            <a:xfrm>
              <a:off x="-22766800" y="2408950"/>
              <a:ext cx="27575" cy="66175"/>
            </a:xfrm>
            <a:custGeom>
              <a:avLst/>
              <a:gdLst/>
              <a:ahLst/>
              <a:cxnLst/>
              <a:rect l="l" t="t" r="r" b="b"/>
              <a:pathLst>
                <a:path w="1103" h="2647" extrusionOk="0">
                  <a:moveTo>
                    <a:pt x="362" y="0"/>
                  </a:moveTo>
                  <a:cubicBezTo>
                    <a:pt x="276" y="0"/>
                    <a:pt x="189" y="32"/>
                    <a:pt x="126" y="95"/>
                  </a:cubicBezTo>
                  <a:cubicBezTo>
                    <a:pt x="0" y="221"/>
                    <a:pt x="0" y="441"/>
                    <a:pt x="126" y="567"/>
                  </a:cubicBezTo>
                  <a:cubicBezTo>
                    <a:pt x="315" y="756"/>
                    <a:pt x="441" y="1040"/>
                    <a:pt x="441" y="1323"/>
                  </a:cubicBezTo>
                  <a:cubicBezTo>
                    <a:pt x="441" y="1575"/>
                    <a:pt x="315" y="1859"/>
                    <a:pt x="126" y="2048"/>
                  </a:cubicBezTo>
                  <a:cubicBezTo>
                    <a:pt x="0" y="2174"/>
                    <a:pt x="0" y="2426"/>
                    <a:pt x="126" y="2520"/>
                  </a:cubicBezTo>
                  <a:cubicBezTo>
                    <a:pt x="221" y="2615"/>
                    <a:pt x="284" y="2646"/>
                    <a:pt x="378" y="2646"/>
                  </a:cubicBezTo>
                  <a:cubicBezTo>
                    <a:pt x="441" y="2646"/>
                    <a:pt x="567" y="2615"/>
                    <a:pt x="599" y="2520"/>
                  </a:cubicBezTo>
                  <a:cubicBezTo>
                    <a:pt x="977" y="2174"/>
                    <a:pt x="1103" y="1733"/>
                    <a:pt x="1103" y="1323"/>
                  </a:cubicBezTo>
                  <a:cubicBezTo>
                    <a:pt x="1103" y="851"/>
                    <a:pt x="914" y="410"/>
                    <a:pt x="599" y="95"/>
                  </a:cubicBezTo>
                  <a:cubicBezTo>
                    <a:pt x="536" y="32"/>
                    <a:pt x="449" y="0"/>
                    <a:pt x="3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75" name="Google Shape;6575;p72"/>
          <p:cNvGrpSpPr/>
          <p:nvPr/>
        </p:nvGrpSpPr>
        <p:grpSpPr>
          <a:xfrm>
            <a:off x="7699690" y="2082604"/>
            <a:ext cx="415665" cy="470947"/>
            <a:chOff x="-27710725" y="1959200"/>
            <a:chExt cx="260725" cy="295400"/>
          </a:xfrm>
        </p:grpSpPr>
        <p:sp>
          <p:nvSpPr>
            <p:cNvPr id="6576" name="Google Shape;6576;p72"/>
            <p:cNvSpPr/>
            <p:nvPr/>
          </p:nvSpPr>
          <p:spPr>
            <a:xfrm>
              <a:off x="-27710725" y="1959200"/>
              <a:ext cx="260725" cy="295400"/>
            </a:xfrm>
            <a:custGeom>
              <a:avLst/>
              <a:gdLst/>
              <a:ahLst/>
              <a:cxnLst/>
              <a:rect l="l" t="t" r="r" b="b"/>
              <a:pathLst>
                <a:path w="10429" h="11816" extrusionOk="0">
                  <a:moveTo>
                    <a:pt x="1072" y="3561"/>
                  </a:moveTo>
                  <a:cubicBezTo>
                    <a:pt x="1261" y="3561"/>
                    <a:pt x="1418" y="3718"/>
                    <a:pt x="1418" y="3907"/>
                  </a:cubicBezTo>
                  <a:lnTo>
                    <a:pt x="1418" y="4916"/>
                  </a:lnTo>
                  <a:lnTo>
                    <a:pt x="694" y="4916"/>
                  </a:lnTo>
                  <a:lnTo>
                    <a:pt x="694" y="3907"/>
                  </a:lnTo>
                  <a:cubicBezTo>
                    <a:pt x="694" y="3718"/>
                    <a:pt x="851" y="3561"/>
                    <a:pt x="1072" y="3561"/>
                  </a:cubicBezTo>
                  <a:close/>
                  <a:moveTo>
                    <a:pt x="5230" y="3561"/>
                  </a:moveTo>
                  <a:cubicBezTo>
                    <a:pt x="5419" y="3561"/>
                    <a:pt x="5577" y="3718"/>
                    <a:pt x="5577" y="3907"/>
                  </a:cubicBezTo>
                  <a:lnTo>
                    <a:pt x="5577" y="4916"/>
                  </a:lnTo>
                  <a:lnTo>
                    <a:pt x="4884" y="4916"/>
                  </a:lnTo>
                  <a:lnTo>
                    <a:pt x="4884" y="3907"/>
                  </a:lnTo>
                  <a:cubicBezTo>
                    <a:pt x="4884" y="3718"/>
                    <a:pt x="5041" y="3561"/>
                    <a:pt x="5230" y="3561"/>
                  </a:cubicBezTo>
                  <a:close/>
                  <a:moveTo>
                    <a:pt x="8696" y="4348"/>
                  </a:moveTo>
                  <a:cubicBezTo>
                    <a:pt x="9294" y="4348"/>
                    <a:pt x="9736" y="4821"/>
                    <a:pt x="9736" y="5357"/>
                  </a:cubicBezTo>
                  <a:cubicBezTo>
                    <a:pt x="9736" y="5924"/>
                    <a:pt x="9263" y="6396"/>
                    <a:pt x="8696" y="6396"/>
                  </a:cubicBezTo>
                  <a:cubicBezTo>
                    <a:pt x="8097" y="6396"/>
                    <a:pt x="7688" y="5924"/>
                    <a:pt x="7688" y="5357"/>
                  </a:cubicBezTo>
                  <a:cubicBezTo>
                    <a:pt x="7688" y="4821"/>
                    <a:pt x="8160" y="4348"/>
                    <a:pt x="8696" y="4348"/>
                  </a:cubicBezTo>
                  <a:close/>
                  <a:moveTo>
                    <a:pt x="5482" y="5609"/>
                  </a:moveTo>
                  <a:cubicBezTo>
                    <a:pt x="5388" y="6176"/>
                    <a:pt x="5073" y="6774"/>
                    <a:pt x="4569" y="7121"/>
                  </a:cubicBezTo>
                  <a:cubicBezTo>
                    <a:pt x="4120" y="7475"/>
                    <a:pt x="3582" y="7653"/>
                    <a:pt x="3036" y="7653"/>
                  </a:cubicBezTo>
                  <a:cubicBezTo>
                    <a:pt x="2854" y="7653"/>
                    <a:pt x="2671" y="7633"/>
                    <a:pt x="2489" y="7593"/>
                  </a:cubicBezTo>
                  <a:cubicBezTo>
                    <a:pt x="1639" y="7404"/>
                    <a:pt x="946" y="6617"/>
                    <a:pt x="757" y="5640"/>
                  </a:cubicBezTo>
                  <a:lnTo>
                    <a:pt x="1418" y="5640"/>
                  </a:lnTo>
                  <a:cubicBezTo>
                    <a:pt x="1481" y="5955"/>
                    <a:pt x="1639" y="6270"/>
                    <a:pt x="1891" y="6491"/>
                  </a:cubicBezTo>
                  <a:cubicBezTo>
                    <a:pt x="2206" y="6806"/>
                    <a:pt x="2647" y="7026"/>
                    <a:pt x="3119" y="7026"/>
                  </a:cubicBezTo>
                  <a:cubicBezTo>
                    <a:pt x="3183" y="7026"/>
                    <a:pt x="3309" y="7026"/>
                    <a:pt x="3372" y="6963"/>
                  </a:cubicBezTo>
                  <a:cubicBezTo>
                    <a:pt x="4096" y="6837"/>
                    <a:pt x="4600" y="6302"/>
                    <a:pt x="4758" y="5609"/>
                  </a:cubicBezTo>
                  <a:close/>
                  <a:moveTo>
                    <a:pt x="2426" y="1"/>
                  </a:moveTo>
                  <a:cubicBezTo>
                    <a:pt x="2237" y="1"/>
                    <a:pt x="2080" y="158"/>
                    <a:pt x="2080" y="347"/>
                  </a:cubicBezTo>
                  <a:lnTo>
                    <a:pt x="2080" y="725"/>
                  </a:lnTo>
                  <a:lnTo>
                    <a:pt x="1733" y="725"/>
                  </a:lnTo>
                  <a:cubicBezTo>
                    <a:pt x="1135" y="725"/>
                    <a:pt x="694" y="1198"/>
                    <a:pt x="694" y="1734"/>
                  </a:cubicBezTo>
                  <a:lnTo>
                    <a:pt x="694" y="2836"/>
                  </a:lnTo>
                  <a:cubicBezTo>
                    <a:pt x="316" y="2994"/>
                    <a:pt x="1" y="3340"/>
                    <a:pt x="1" y="3813"/>
                  </a:cubicBezTo>
                  <a:lnTo>
                    <a:pt x="1" y="5073"/>
                  </a:lnTo>
                  <a:lnTo>
                    <a:pt x="1" y="5231"/>
                  </a:lnTo>
                  <a:cubicBezTo>
                    <a:pt x="32" y="5924"/>
                    <a:pt x="284" y="6554"/>
                    <a:pt x="662" y="7058"/>
                  </a:cubicBezTo>
                  <a:cubicBezTo>
                    <a:pt x="1103" y="7656"/>
                    <a:pt x="1702" y="8035"/>
                    <a:pt x="2395" y="8224"/>
                  </a:cubicBezTo>
                  <a:cubicBezTo>
                    <a:pt x="2521" y="8287"/>
                    <a:pt x="2678" y="8287"/>
                    <a:pt x="2804" y="8318"/>
                  </a:cubicBezTo>
                  <a:lnTo>
                    <a:pt x="2804" y="8696"/>
                  </a:lnTo>
                  <a:cubicBezTo>
                    <a:pt x="2804" y="10429"/>
                    <a:pt x="4222" y="11815"/>
                    <a:pt x="5892" y="11815"/>
                  </a:cubicBezTo>
                  <a:cubicBezTo>
                    <a:pt x="7625" y="11815"/>
                    <a:pt x="9011" y="10397"/>
                    <a:pt x="9011" y="8696"/>
                  </a:cubicBezTo>
                  <a:lnTo>
                    <a:pt x="9011" y="6932"/>
                  </a:lnTo>
                  <a:cubicBezTo>
                    <a:pt x="9830" y="6837"/>
                    <a:pt x="10429" y="6176"/>
                    <a:pt x="10429" y="5325"/>
                  </a:cubicBezTo>
                  <a:cubicBezTo>
                    <a:pt x="10429" y="4380"/>
                    <a:pt x="9641" y="3592"/>
                    <a:pt x="8696" y="3592"/>
                  </a:cubicBezTo>
                  <a:cubicBezTo>
                    <a:pt x="7751" y="3592"/>
                    <a:pt x="6963" y="4380"/>
                    <a:pt x="6963" y="5325"/>
                  </a:cubicBezTo>
                  <a:cubicBezTo>
                    <a:pt x="6963" y="6144"/>
                    <a:pt x="7562" y="6837"/>
                    <a:pt x="8349" y="7026"/>
                  </a:cubicBezTo>
                  <a:lnTo>
                    <a:pt x="8349" y="8791"/>
                  </a:lnTo>
                  <a:cubicBezTo>
                    <a:pt x="8349" y="10114"/>
                    <a:pt x="7247" y="11216"/>
                    <a:pt x="5892" y="11216"/>
                  </a:cubicBezTo>
                  <a:cubicBezTo>
                    <a:pt x="4569" y="11216"/>
                    <a:pt x="3466" y="10114"/>
                    <a:pt x="3466" y="8791"/>
                  </a:cubicBezTo>
                  <a:lnTo>
                    <a:pt x="3466" y="8350"/>
                  </a:lnTo>
                  <a:cubicBezTo>
                    <a:pt x="4065" y="8287"/>
                    <a:pt x="4600" y="8066"/>
                    <a:pt x="5073" y="7688"/>
                  </a:cubicBezTo>
                  <a:cubicBezTo>
                    <a:pt x="5829" y="7089"/>
                    <a:pt x="6270" y="6176"/>
                    <a:pt x="6270" y="5231"/>
                  </a:cubicBezTo>
                  <a:lnTo>
                    <a:pt x="6270" y="3876"/>
                  </a:lnTo>
                  <a:cubicBezTo>
                    <a:pt x="6270" y="3435"/>
                    <a:pt x="5986" y="3025"/>
                    <a:pt x="5545" y="2868"/>
                  </a:cubicBezTo>
                  <a:lnTo>
                    <a:pt x="5545" y="1765"/>
                  </a:lnTo>
                  <a:cubicBezTo>
                    <a:pt x="5545" y="1198"/>
                    <a:pt x="5073" y="757"/>
                    <a:pt x="4537" y="757"/>
                  </a:cubicBezTo>
                  <a:lnTo>
                    <a:pt x="4159" y="757"/>
                  </a:lnTo>
                  <a:lnTo>
                    <a:pt x="4159" y="410"/>
                  </a:lnTo>
                  <a:cubicBezTo>
                    <a:pt x="4159" y="190"/>
                    <a:pt x="4002" y="32"/>
                    <a:pt x="3813" y="32"/>
                  </a:cubicBezTo>
                  <a:cubicBezTo>
                    <a:pt x="3624" y="32"/>
                    <a:pt x="3466" y="190"/>
                    <a:pt x="3466" y="410"/>
                  </a:cubicBezTo>
                  <a:lnTo>
                    <a:pt x="3466" y="1765"/>
                  </a:lnTo>
                  <a:cubicBezTo>
                    <a:pt x="3466" y="1986"/>
                    <a:pt x="3624" y="2143"/>
                    <a:pt x="3813" y="2143"/>
                  </a:cubicBezTo>
                  <a:cubicBezTo>
                    <a:pt x="4002" y="2143"/>
                    <a:pt x="4159" y="1986"/>
                    <a:pt x="4159" y="1765"/>
                  </a:cubicBezTo>
                  <a:lnTo>
                    <a:pt x="4159" y="1418"/>
                  </a:lnTo>
                  <a:lnTo>
                    <a:pt x="4537" y="1418"/>
                  </a:lnTo>
                  <a:cubicBezTo>
                    <a:pt x="4726" y="1418"/>
                    <a:pt x="4884" y="1576"/>
                    <a:pt x="4884" y="1765"/>
                  </a:cubicBezTo>
                  <a:lnTo>
                    <a:pt x="4884" y="2868"/>
                  </a:lnTo>
                  <a:cubicBezTo>
                    <a:pt x="4474" y="3025"/>
                    <a:pt x="4159" y="3403"/>
                    <a:pt x="4159" y="3876"/>
                  </a:cubicBezTo>
                  <a:lnTo>
                    <a:pt x="4159" y="5168"/>
                  </a:lnTo>
                  <a:cubicBezTo>
                    <a:pt x="4159" y="5703"/>
                    <a:pt x="3813" y="6176"/>
                    <a:pt x="3309" y="6270"/>
                  </a:cubicBezTo>
                  <a:lnTo>
                    <a:pt x="3151" y="6270"/>
                  </a:lnTo>
                  <a:cubicBezTo>
                    <a:pt x="2867" y="6270"/>
                    <a:pt x="2584" y="6144"/>
                    <a:pt x="2395" y="5955"/>
                  </a:cubicBezTo>
                  <a:cubicBezTo>
                    <a:pt x="2206" y="5766"/>
                    <a:pt x="2080" y="5483"/>
                    <a:pt x="2080" y="5199"/>
                  </a:cubicBezTo>
                  <a:lnTo>
                    <a:pt x="2080" y="3813"/>
                  </a:lnTo>
                  <a:cubicBezTo>
                    <a:pt x="2080" y="3403"/>
                    <a:pt x="1796" y="2994"/>
                    <a:pt x="1387" y="2836"/>
                  </a:cubicBezTo>
                  <a:lnTo>
                    <a:pt x="1387" y="1734"/>
                  </a:lnTo>
                  <a:cubicBezTo>
                    <a:pt x="1387" y="1545"/>
                    <a:pt x="1544" y="1387"/>
                    <a:pt x="1733" y="1387"/>
                  </a:cubicBezTo>
                  <a:lnTo>
                    <a:pt x="2080" y="1387"/>
                  </a:lnTo>
                  <a:lnTo>
                    <a:pt x="2080" y="1734"/>
                  </a:lnTo>
                  <a:cubicBezTo>
                    <a:pt x="2080" y="1923"/>
                    <a:pt x="2237" y="2080"/>
                    <a:pt x="2426" y="2080"/>
                  </a:cubicBezTo>
                  <a:cubicBezTo>
                    <a:pt x="2647" y="2080"/>
                    <a:pt x="2804" y="1923"/>
                    <a:pt x="2804" y="1734"/>
                  </a:cubicBezTo>
                  <a:lnTo>
                    <a:pt x="2804" y="347"/>
                  </a:lnTo>
                  <a:cubicBezTo>
                    <a:pt x="2804" y="158"/>
                    <a:pt x="2647" y="1"/>
                    <a:pt x="24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77" name="Google Shape;6577;p72"/>
            <p:cNvSpPr/>
            <p:nvPr/>
          </p:nvSpPr>
          <p:spPr>
            <a:xfrm>
              <a:off x="-27502000" y="20844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78" name="Google Shape;6578;p72"/>
          <p:cNvGrpSpPr/>
          <p:nvPr/>
        </p:nvGrpSpPr>
        <p:grpSpPr>
          <a:xfrm>
            <a:off x="7670175" y="2760666"/>
            <a:ext cx="474693" cy="307693"/>
            <a:chOff x="-27728850" y="2382950"/>
            <a:chExt cx="297750" cy="193000"/>
          </a:xfrm>
        </p:grpSpPr>
        <p:sp>
          <p:nvSpPr>
            <p:cNvPr id="6579" name="Google Shape;6579;p72"/>
            <p:cNvSpPr/>
            <p:nvPr/>
          </p:nvSpPr>
          <p:spPr>
            <a:xfrm>
              <a:off x="-27606750" y="2453825"/>
              <a:ext cx="35450" cy="35475"/>
            </a:xfrm>
            <a:custGeom>
              <a:avLst/>
              <a:gdLst/>
              <a:ahLst/>
              <a:cxnLst/>
              <a:rect l="l" t="t" r="r" b="b"/>
              <a:pathLst>
                <a:path w="1418" h="1419" extrusionOk="0">
                  <a:moveTo>
                    <a:pt x="725" y="1"/>
                  </a:moveTo>
                  <a:cubicBezTo>
                    <a:pt x="315" y="1"/>
                    <a:pt x="0" y="316"/>
                    <a:pt x="0" y="694"/>
                  </a:cubicBezTo>
                  <a:cubicBezTo>
                    <a:pt x="0" y="1103"/>
                    <a:pt x="315" y="1419"/>
                    <a:pt x="725" y="1419"/>
                  </a:cubicBezTo>
                  <a:cubicBezTo>
                    <a:pt x="1103" y="1419"/>
                    <a:pt x="1418" y="1103"/>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0" name="Google Shape;6580;p72"/>
            <p:cNvSpPr/>
            <p:nvPr/>
          </p:nvSpPr>
          <p:spPr>
            <a:xfrm>
              <a:off x="-27728850" y="2382950"/>
              <a:ext cx="297750" cy="193000"/>
            </a:xfrm>
            <a:custGeom>
              <a:avLst/>
              <a:gdLst/>
              <a:ahLst/>
              <a:cxnLst/>
              <a:rect l="l" t="t" r="r" b="b"/>
              <a:pathLst>
                <a:path w="11910" h="7720" extrusionOk="0">
                  <a:moveTo>
                    <a:pt x="5955" y="756"/>
                  </a:moveTo>
                  <a:cubicBezTo>
                    <a:pt x="7405" y="756"/>
                    <a:pt x="8791" y="1670"/>
                    <a:pt x="9673" y="2426"/>
                  </a:cubicBezTo>
                  <a:cubicBezTo>
                    <a:pt x="10335" y="3025"/>
                    <a:pt x="10839" y="3592"/>
                    <a:pt x="11091" y="3938"/>
                  </a:cubicBezTo>
                  <a:cubicBezTo>
                    <a:pt x="10524" y="4632"/>
                    <a:pt x="8413" y="7026"/>
                    <a:pt x="5955" y="7026"/>
                  </a:cubicBezTo>
                  <a:cubicBezTo>
                    <a:pt x="4506" y="7026"/>
                    <a:pt x="3120" y="6144"/>
                    <a:pt x="2269" y="5388"/>
                  </a:cubicBezTo>
                  <a:cubicBezTo>
                    <a:pt x="1576" y="4789"/>
                    <a:pt x="1072" y="4190"/>
                    <a:pt x="852" y="3875"/>
                  </a:cubicBezTo>
                  <a:cubicBezTo>
                    <a:pt x="1419" y="3182"/>
                    <a:pt x="3529" y="788"/>
                    <a:pt x="5955" y="756"/>
                  </a:cubicBezTo>
                  <a:close/>
                  <a:moveTo>
                    <a:pt x="5955" y="0"/>
                  </a:moveTo>
                  <a:cubicBezTo>
                    <a:pt x="5199" y="0"/>
                    <a:pt x="4412" y="189"/>
                    <a:pt x="3624" y="567"/>
                  </a:cubicBezTo>
                  <a:cubicBezTo>
                    <a:pt x="2994" y="882"/>
                    <a:pt x="2364" y="1324"/>
                    <a:pt x="1797" y="1828"/>
                  </a:cubicBezTo>
                  <a:cubicBezTo>
                    <a:pt x="757" y="2741"/>
                    <a:pt x="127" y="3623"/>
                    <a:pt x="95" y="3655"/>
                  </a:cubicBezTo>
                  <a:cubicBezTo>
                    <a:pt x="1" y="3781"/>
                    <a:pt x="1" y="3938"/>
                    <a:pt x="95" y="4033"/>
                  </a:cubicBezTo>
                  <a:cubicBezTo>
                    <a:pt x="127" y="4096"/>
                    <a:pt x="757" y="4978"/>
                    <a:pt x="1797" y="5860"/>
                  </a:cubicBezTo>
                  <a:cubicBezTo>
                    <a:pt x="2427" y="6396"/>
                    <a:pt x="2994" y="6805"/>
                    <a:pt x="3624" y="7120"/>
                  </a:cubicBezTo>
                  <a:cubicBezTo>
                    <a:pt x="4412" y="7499"/>
                    <a:pt x="5199" y="7719"/>
                    <a:pt x="5955" y="7719"/>
                  </a:cubicBezTo>
                  <a:cubicBezTo>
                    <a:pt x="6711" y="7719"/>
                    <a:pt x="7499" y="7499"/>
                    <a:pt x="8287" y="7120"/>
                  </a:cubicBezTo>
                  <a:cubicBezTo>
                    <a:pt x="8917" y="6805"/>
                    <a:pt x="9547" y="6364"/>
                    <a:pt x="10145" y="5860"/>
                  </a:cubicBezTo>
                  <a:cubicBezTo>
                    <a:pt x="11154" y="4947"/>
                    <a:pt x="11784" y="4096"/>
                    <a:pt x="11815" y="4033"/>
                  </a:cubicBezTo>
                  <a:cubicBezTo>
                    <a:pt x="11910" y="3938"/>
                    <a:pt x="11910" y="3781"/>
                    <a:pt x="11815" y="3655"/>
                  </a:cubicBezTo>
                  <a:cubicBezTo>
                    <a:pt x="11784" y="3623"/>
                    <a:pt x="11154" y="2710"/>
                    <a:pt x="10145" y="1828"/>
                  </a:cubicBezTo>
                  <a:cubicBezTo>
                    <a:pt x="9515" y="1292"/>
                    <a:pt x="8917" y="882"/>
                    <a:pt x="8287" y="567"/>
                  </a:cubicBezTo>
                  <a:cubicBezTo>
                    <a:pt x="7499" y="189"/>
                    <a:pt x="6711"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1" name="Google Shape;6581;p72"/>
            <p:cNvSpPr/>
            <p:nvPr/>
          </p:nvSpPr>
          <p:spPr>
            <a:xfrm>
              <a:off x="-27640625" y="2419175"/>
              <a:ext cx="122100" cy="122100"/>
            </a:xfrm>
            <a:custGeom>
              <a:avLst/>
              <a:gdLst/>
              <a:ahLst/>
              <a:cxnLst/>
              <a:rect l="l" t="t" r="r" b="b"/>
              <a:pathLst>
                <a:path w="4884" h="4884" extrusionOk="0">
                  <a:moveTo>
                    <a:pt x="2426" y="694"/>
                  </a:moveTo>
                  <a:cubicBezTo>
                    <a:pt x="3403" y="694"/>
                    <a:pt x="4159" y="1481"/>
                    <a:pt x="4159" y="2426"/>
                  </a:cubicBezTo>
                  <a:cubicBezTo>
                    <a:pt x="4159" y="3372"/>
                    <a:pt x="3371" y="4159"/>
                    <a:pt x="2426" y="4159"/>
                  </a:cubicBezTo>
                  <a:cubicBezTo>
                    <a:pt x="1481" y="4159"/>
                    <a:pt x="694" y="3372"/>
                    <a:pt x="694" y="2426"/>
                  </a:cubicBezTo>
                  <a:cubicBezTo>
                    <a:pt x="694" y="1481"/>
                    <a:pt x="1481" y="694"/>
                    <a:pt x="2426" y="694"/>
                  </a:cubicBezTo>
                  <a:close/>
                  <a:moveTo>
                    <a:pt x="2426" y="1"/>
                  </a:moveTo>
                  <a:cubicBezTo>
                    <a:pt x="1103" y="1"/>
                    <a:pt x="0" y="1103"/>
                    <a:pt x="0" y="2426"/>
                  </a:cubicBezTo>
                  <a:cubicBezTo>
                    <a:pt x="0" y="3781"/>
                    <a:pt x="1103" y="4884"/>
                    <a:pt x="2426" y="4884"/>
                  </a:cubicBezTo>
                  <a:cubicBezTo>
                    <a:pt x="3781" y="4884"/>
                    <a:pt x="4884" y="3781"/>
                    <a:pt x="4884" y="2426"/>
                  </a:cubicBezTo>
                  <a:cubicBezTo>
                    <a:pt x="4884" y="1103"/>
                    <a:pt x="3781" y="1"/>
                    <a:pt x="24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582" name="Google Shape;6582;p72"/>
          <p:cNvSpPr/>
          <p:nvPr/>
        </p:nvSpPr>
        <p:spPr>
          <a:xfrm>
            <a:off x="7671426" y="3275769"/>
            <a:ext cx="473457" cy="453968"/>
          </a:xfrm>
          <a:custGeom>
            <a:avLst/>
            <a:gdLst/>
            <a:ahLst/>
            <a:cxnLst/>
            <a:rect l="l" t="t" r="r" b="b"/>
            <a:pathLst>
              <a:path w="11879" h="11390" extrusionOk="0">
                <a:moveTo>
                  <a:pt x="10047" y="655"/>
                </a:moveTo>
                <a:cubicBezTo>
                  <a:pt x="10369" y="655"/>
                  <a:pt x="10689" y="746"/>
                  <a:pt x="10965" y="930"/>
                </a:cubicBezTo>
                <a:lnTo>
                  <a:pt x="7499" y="4490"/>
                </a:lnTo>
                <a:cubicBezTo>
                  <a:pt x="7468" y="4427"/>
                  <a:pt x="7468" y="4396"/>
                  <a:pt x="7405" y="4364"/>
                </a:cubicBezTo>
                <a:lnTo>
                  <a:pt x="7090" y="4049"/>
                </a:lnTo>
                <a:cubicBezTo>
                  <a:pt x="7058" y="3986"/>
                  <a:pt x="7026" y="3954"/>
                  <a:pt x="6995" y="3954"/>
                </a:cubicBezTo>
                <a:lnTo>
                  <a:pt x="7216" y="3734"/>
                </a:lnTo>
                <a:cubicBezTo>
                  <a:pt x="7405" y="3545"/>
                  <a:pt x="7531" y="3261"/>
                  <a:pt x="7531" y="2978"/>
                </a:cubicBezTo>
                <a:cubicBezTo>
                  <a:pt x="7531" y="2820"/>
                  <a:pt x="7499" y="2663"/>
                  <a:pt x="7405" y="2537"/>
                </a:cubicBezTo>
                <a:lnTo>
                  <a:pt x="8791" y="1182"/>
                </a:lnTo>
                <a:cubicBezTo>
                  <a:pt x="9140" y="833"/>
                  <a:pt x="9596" y="655"/>
                  <a:pt x="10047" y="655"/>
                </a:cubicBezTo>
                <a:close/>
                <a:moveTo>
                  <a:pt x="6365" y="4427"/>
                </a:moveTo>
                <a:cubicBezTo>
                  <a:pt x="6428" y="4427"/>
                  <a:pt x="6554" y="4490"/>
                  <a:pt x="6585" y="4553"/>
                </a:cubicBezTo>
                <a:lnTo>
                  <a:pt x="6900" y="4868"/>
                </a:lnTo>
                <a:cubicBezTo>
                  <a:pt x="7058" y="4994"/>
                  <a:pt x="7058" y="5183"/>
                  <a:pt x="6932" y="5341"/>
                </a:cubicBezTo>
                <a:lnTo>
                  <a:pt x="6365" y="5971"/>
                </a:lnTo>
                <a:lnTo>
                  <a:pt x="5483" y="5120"/>
                </a:lnTo>
                <a:lnTo>
                  <a:pt x="6113" y="4522"/>
                </a:lnTo>
                <a:cubicBezTo>
                  <a:pt x="6207" y="4490"/>
                  <a:pt x="6270" y="4427"/>
                  <a:pt x="6365" y="4427"/>
                </a:cubicBezTo>
                <a:close/>
                <a:moveTo>
                  <a:pt x="4947" y="5624"/>
                </a:moveTo>
                <a:lnTo>
                  <a:pt x="5829" y="6538"/>
                </a:lnTo>
                <a:lnTo>
                  <a:pt x="5388" y="7042"/>
                </a:lnTo>
                <a:lnTo>
                  <a:pt x="5136" y="6790"/>
                </a:lnTo>
                <a:cubicBezTo>
                  <a:pt x="5073" y="6743"/>
                  <a:pt x="4987" y="6719"/>
                  <a:pt x="4900" y="6719"/>
                </a:cubicBezTo>
                <a:cubicBezTo>
                  <a:pt x="4813" y="6719"/>
                  <a:pt x="4727" y="6743"/>
                  <a:pt x="4664" y="6790"/>
                </a:cubicBezTo>
                <a:cubicBezTo>
                  <a:pt x="4538" y="6916"/>
                  <a:pt x="4538" y="7168"/>
                  <a:pt x="4664" y="7262"/>
                </a:cubicBezTo>
                <a:lnTo>
                  <a:pt x="4947" y="7546"/>
                </a:lnTo>
                <a:lnTo>
                  <a:pt x="4475" y="8050"/>
                </a:lnTo>
                <a:lnTo>
                  <a:pt x="4128" y="7704"/>
                </a:lnTo>
                <a:cubicBezTo>
                  <a:pt x="4065" y="7641"/>
                  <a:pt x="3971" y="7609"/>
                  <a:pt x="3880" y="7609"/>
                </a:cubicBezTo>
                <a:cubicBezTo>
                  <a:pt x="3789" y="7609"/>
                  <a:pt x="3703" y="7641"/>
                  <a:pt x="3655" y="7704"/>
                </a:cubicBezTo>
                <a:cubicBezTo>
                  <a:pt x="3529" y="7830"/>
                  <a:pt x="3529" y="8050"/>
                  <a:pt x="3655" y="8176"/>
                </a:cubicBezTo>
                <a:lnTo>
                  <a:pt x="4034" y="8586"/>
                </a:lnTo>
                <a:lnTo>
                  <a:pt x="3561" y="9090"/>
                </a:lnTo>
                <a:lnTo>
                  <a:pt x="3088" y="8617"/>
                </a:lnTo>
                <a:cubicBezTo>
                  <a:pt x="3025" y="8554"/>
                  <a:pt x="2939" y="8523"/>
                  <a:pt x="2852" y="8523"/>
                </a:cubicBezTo>
                <a:cubicBezTo>
                  <a:pt x="2765" y="8523"/>
                  <a:pt x="2679" y="8554"/>
                  <a:pt x="2616" y="8617"/>
                </a:cubicBezTo>
                <a:cubicBezTo>
                  <a:pt x="2490" y="8743"/>
                  <a:pt x="2490" y="8964"/>
                  <a:pt x="2616" y="9090"/>
                </a:cubicBezTo>
                <a:lnTo>
                  <a:pt x="3120" y="9594"/>
                </a:lnTo>
                <a:lnTo>
                  <a:pt x="2647" y="10098"/>
                </a:lnTo>
                <a:lnTo>
                  <a:pt x="2080" y="9531"/>
                </a:lnTo>
                <a:cubicBezTo>
                  <a:pt x="2017" y="9468"/>
                  <a:pt x="1923" y="9436"/>
                  <a:pt x="1832" y="9436"/>
                </a:cubicBezTo>
                <a:cubicBezTo>
                  <a:pt x="1742" y="9436"/>
                  <a:pt x="1655" y="9468"/>
                  <a:pt x="1608" y="9531"/>
                </a:cubicBezTo>
                <a:cubicBezTo>
                  <a:pt x="1482" y="9625"/>
                  <a:pt x="1482" y="9877"/>
                  <a:pt x="1608" y="10003"/>
                </a:cubicBezTo>
                <a:lnTo>
                  <a:pt x="2175" y="10570"/>
                </a:lnTo>
                <a:cubicBezTo>
                  <a:pt x="2017" y="10696"/>
                  <a:pt x="1860" y="10728"/>
                  <a:pt x="1702" y="10728"/>
                </a:cubicBezTo>
                <a:cubicBezTo>
                  <a:pt x="1419" y="10728"/>
                  <a:pt x="1198" y="10665"/>
                  <a:pt x="1009" y="10476"/>
                </a:cubicBezTo>
                <a:cubicBezTo>
                  <a:pt x="789" y="10255"/>
                  <a:pt x="726" y="10035"/>
                  <a:pt x="726" y="9751"/>
                </a:cubicBezTo>
                <a:cubicBezTo>
                  <a:pt x="726" y="9468"/>
                  <a:pt x="852" y="9247"/>
                  <a:pt x="1041" y="9090"/>
                </a:cubicBezTo>
                <a:lnTo>
                  <a:pt x="4947" y="5624"/>
                </a:lnTo>
                <a:close/>
                <a:moveTo>
                  <a:pt x="10035" y="1"/>
                </a:moveTo>
                <a:cubicBezTo>
                  <a:pt x="9413" y="1"/>
                  <a:pt x="8791" y="237"/>
                  <a:pt x="8318" y="709"/>
                </a:cubicBezTo>
                <a:lnTo>
                  <a:pt x="6743" y="2285"/>
                </a:lnTo>
                <a:cubicBezTo>
                  <a:pt x="6680" y="2348"/>
                  <a:pt x="6617" y="2442"/>
                  <a:pt x="6617" y="2505"/>
                </a:cubicBezTo>
                <a:cubicBezTo>
                  <a:pt x="6617" y="2600"/>
                  <a:pt x="6680" y="2694"/>
                  <a:pt x="6743" y="2757"/>
                </a:cubicBezTo>
                <a:cubicBezTo>
                  <a:pt x="6837" y="2820"/>
                  <a:pt x="6869" y="2915"/>
                  <a:pt x="6869" y="2978"/>
                </a:cubicBezTo>
                <a:cubicBezTo>
                  <a:pt x="6869" y="3041"/>
                  <a:pt x="6837" y="3167"/>
                  <a:pt x="6743" y="3198"/>
                </a:cubicBezTo>
                <a:lnTo>
                  <a:pt x="6207" y="3765"/>
                </a:lnTo>
                <a:cubicBezTo>
                  <a:pt x="5987" y="3797"/>
                  <a:pt x="5798" y="3891"/>
                  <a:pt x="5640" y="3986"/>
                </a:cubicBezTo>
                <a:lnTo>
                  <a:pt x="568" y="8523"/>
                </a:lnTo>
                <a:cubicBezTo>
                  <a:pt x="221" y="8838"/>
                  <a:pt x="1" y="9247"/>
                  <a:pt x="1" y="9720"/>
                </a:cubicBezTo>
                <a:cubicBezTo>
                  <a:pt x="1" y="10192"/>
                  <a:pt x="158" y="10633"/>
                  <a:pt x="473" y="10917"/>
                </a:cubicBezTo>
                <a:cubicBezTo>
                  <a:pt x="789" y="11264"/>
                  <a:pt x="1230" y="11390"/>
                  <a:pt x="1671" y="11390"/>
                </a:cubicBezTo>
                <a:lnTo>
                  <a:pt x="1702" y="11390"/>
                </a:lnTo>
                <a:cubicBezTo>
                  <a:pt x="2143" y="11390"/>
                  <a:pt x="2584" y="11169"/>
                  <a:pt x="2899" y="10854"/>
                </a:cubicBezTo>
                <a:lnTo>
                  <a:pt x="7405" y="5782"/>
                </a:lnTo>
                <a:cubicBezTo>
                  <a:pt x="7562" y="5624"/>
                  <a:pt x="7657" y="5404"/>
                  <a:pt x="7657" y="5215"/>
                </a:cubicBezTo>
                <a:lnTo>
                  <a:pt x="11752" y="1119"/>
                </a:lnTo>
                <a:cubicBezTo>
                  <a:pt x="11878" y="1088"/>
                  <a:pt x="11878" y="1025"/>
                  <a:pt x="11878" y="930"/>
                </a:cubicBezTo>
                <a:cubicBezTo>
                  <a:pt x="11878" y="867"/>
                  <a:pt x="11815" y="741"/>
                  <a:pt x="11752" y="709"/>
                </a:cubicBezTo>
                <a:cubicBezTo>
                  <a:pt x="11280" y="237"/>
                  <a:pt x="10657" y="1"/>
                  <a:pt x="100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3" name="Google Shape;6583;p72"/>
          <p:cNvSpPr/>
          <p:nvPr/>
        </p:nvSpPr>
        <p:spPr>
          <a:xfrm>
            <a:off x="10645890" y="2081955"/>
            <a:ext cx="472181" cy="472181"/>
          </a:xfrm>
          <a:custGeom>
            <a:avLst/>
            <a:gdLst/>
            <a:ahLst/>
            <a:cxnLst/>
            <a:rect l="l" t="t" r="r" b="b"/>
            <a:pathLst>
              <a:path w="11847" h="11847" extrusionOk="0">
                <a:moveTo>
                  <a:pt x="5546" y="662"/>
                </a:moveTo>
                <a:lnTo>
                  <a:pt x="5546" y="2741"/>
                </a:lnTo>
                <a:lnTo>
                  <a:pt x="4821" y="2741"/>
                </a:lnTo>
                <a:lnTo>
                  <a:pt x="4821" y="1040"/>
                </a:lnTo>
                <a:cubicBezTo>
                  <a:pt x="4821" y="819"/>
                  <a:pt x="4979" y="662"/>
                  <a:pt x="5199" y="662"/>
                </a:cubicBezTo>
                <a:close/>
                <a:moveTo>
                  <a:pt x="6932" y="662"/>
                </a:moveTo>
                <a:lnTo>
                  <a:pt x="6932" y="2773"/>
                </a:lnTo>
                <a:lnTo>
                  <a:pt x="6207" y="2773"/>
                </a:lnTo>
                <a:lnTo>
                  <a:pt x="6207" y="662"/>
                </a:lnTo>
                <a:close/>
                <a:moveTo>
                  <a:pt x="8350" y="662"/>
                </a:moveTo>
                <a:lnTo>
                  <a:pt x="8350" y="2773"/>
                </a:lnTo>
                <a:lnTo>
                  <a:pt x="7625" y="2773"/>
                </a:lnTo>
                <a:lnTo>
                  <a:pt x="7625" y="662"/>
                </a:lnTo>
                <a:close/>
                <a:moveTo>
                  <a:pt x="9704" y="662"/>
                </a:moveTo>
                <a:lnTo>
                  <a:pt x="9704" y="2773"/>
                </a:lnTo>
                <a:lnTo>
                  <a:pt x="9011" y="2773"/>
                </a:lnTo>
                <a:lnTo>
                  <a:pt x="9011" y="662"/>
                </a:lnTo>
                <a:close/>
                <a:moveTo>
                  <a:pt x="10744" y="662"/>
                </a:moveTo>
                <a:cubicBezTo>
                  <a:pt x="10933" y="662"/>
                  <a:pt x="11090" y="819"/>
                  <a:pt x="11090" y="1040"/>
                </a:cubicBezTo>
                <a:lnTo>
                  <a:pt x="11090" y="2773"/>
                </a:lnTo>
                <a:lnTo>
                  <a:pt x="10397" y="2773"/>
                </a:lnTo>
                <a:lnTo>
                  <a:pt x="10397" y="662"/>
                </a:lnTo>
                <a:close/>
                <a:moveTo>
                  <a:pt x="6270" y="5577"/>
                </a:moveTo>
                <a:lnTo>
                  <a:pt x="6270" y="9074"/>
                </a:lnTo>
                <a:lnTo>
                  <a:pt x="5546" y="9074"/>
                </a:lnTo>
                <a:lnTo>
                  <a:pt x="5546" y="5577"/>
                </a:lnTo>
                <a:close/>
                <a:moveTo>
                  <a:pt x="10397" y="5640"/>
                </a:moveTo>
                <a:lnTo>
                  <a:pt x="10397" y="6270"/>
                </a:lnTo>
                <a:lnTo>
                  <a:pt x="9358" y="6270"/>
                </a:lnTo>
                <a:cubicBezTo>
                  <a:pt x="9169" y="6270"/>
                  <a:pt x="9011" y="6427"/>
                  <a:pt x="9011" y="6616"/>
                </a:cubicBezTo>
                <a:cubicBezTo>
                  <a:pt x="9011" y="6805"/>
                  <a:pt x="9169" y="6963"/>
                  <a:pt x="9358" y="6963"/>
                </a:cubicBezTo>
                <a:lnTo>
                  <a:pt x="10397" y="6963"/>
                </a:lnTo>
                <a:lnTo>
                  <a:pt x="10397" y="7688"/>
                </a:lnTo>
                <a:lnTo>
                  <a:pt x="9358" y="7688"/>
                </a:lnTo>
                <a:cubicBezTo>
                  <a:pt x="9169" y="7688"/>
                  <a:pt x="9011" y="7845"/>
                  <a:pt x="9011" y="8034"/>
                </a:cubicBezTo>
                <a:cubicBezTo>
                  <a:pt x="9011" y="8223"/>
                  <a:pt x="9169" y="8381"/>
                  <a:pt x="9358" y="8381"/>
                </a:cubicBezTo>
                <a:lnTo>
                  <a:pt x="10397" y="8381"/>
                </a:lnTo>
                <a:lnTo>
                  <a:pt x="10397" y="9105"/>
                </a:lnTo>
                <a:lnTo>
                  <a:pt x="8287" y="9105"/>
                </a:lnTo>
                <a:lnTo>
                  <a:pt x="8287" y="5640"/>
                </a:lnTo>
                <a:close/>
                <a:moveTo>
                  <a:pt x="2080" y="7688"/>
                </a:moveTo>
                <a:cubicBezTo>
                  <a:pt x="2301" y="7688"/>
                  <a:pt x="2521" y="7719"/>
                  <a:pt x="2710" y="7845"/>
                </a:cubicBezTo>
                <a:cubicBezTo>
                  <a:pt x="2427" y="7971"/>
                  <a:pt x="2206" y="8129"/>
                  <a:pt x="1954" y="8318"/>
                </a:cubicBezTo>
                <a:lnTo>
                  <a:pt x="1923" y="8349"/>
                </a:lnTo>
                <a:cubicBezTo>
                  <a:pt x="1576" y="8696"/>
                  <a:pt x="1355" y="9200"/>
                  <a:pt x="1355" y="9767"/>
                </a:cubicBezTo>
                <a:cubicBezTo>
                  <a:pt x="1355" y="9956"/>
                  <a:pt x="1418" y="10113"/>
                  <a:pt x="1450" y="10302"/>
                </a:cubicBezTo>
                <a:cubicBezTo>
                  <a:pt x="977" y="10050"/>
                  <a:pt x="694" y="9578"/>
                  <a:pt x="694" y="9074"/>
                </a:cubicBezTo>
                <a:cubicBezTo>
                  <a:pt x="694" y="8318"/>
                  <a:pt x="1324" y="7688"/>
                  <a:pt x="2080" y="7688"/>
                </a:cubicBezTo>
                <a:close/>
                <a:moveTo>
                  <a:pt x="3403" y="8318"/>
                </a:moveTo>
                <a:cubicBezTo>
                  <a:pt x="4191" y="8349"/>
                  <a:pt x="4821" y="8979"/>
                  <a:pt x="4821" y="9735"/>
                </a:cubicBezTo>
                <a:cubicBezTo>
                  <a:pt x="4821" y="9987"/>
                  <a:pt x="4758" y="10239"/>
                  <a:pt x="4600" y="10491"/>
                </a:cubicBezTo>
                <a:lnTo>
                  <a:pt x="2679" y="8538"/>
                </a:lnTo>
                <a:cubicBezTo>
                  <a:pt x="2868" y="8381"/>
                  <a:pt x="3151" y="8318"/>
                  <a:pt x="3403" y="8318"/>
                </a:cubicBezTo>
                <a:close/>
                <a:moveTo>
                  <a:pt x="2238" y="9074"/>
                </a:moveTo>
                <a:lnTo>
                  <a:pt x="4128" y="10964"/>
                </a:lnTo>
                <a:cubicBezTo>
                  <a:pt x="3939" y="11059"/>
                  <a:pt x="3687" y="11122"/>
                  <a:pt x="3466" y="11122"/>
                </a:cubicBezTo>
                <a:cubicBezTo>
                  <a:pt x="3448" y="11122"/>
                  <a:pt x="3430" y="11123"/>
                  <a:pt x="3412" y="11123"/>
                </a:cubicBezTo>
                <a:cubicBezTo>
                  <a:pt x="2680" y="11123"/>
                  <a:pt x="2080" y="10504"/>
                  <a:pt x="2080" y="9735"/>
                </a:cubicBezTo>
                <a:cubicBezTo>
                  <a:pt x="2080" y="9483"/>
                  <a:pt x="2143" y="9263"/>
                  <a:pt x="2238" y="9074"/>
                </a:cubicBezTo>
                <a:close/>
                <a:moveTo>
                  <a:pt x="10334" y="3466"/>
                </a:moveTo>
                <a:lnTo>
                  <a:pt x="10334" y="4884"/>
                </a:lnTo>
                <a:lnTo>
                  <a:pt x="7940" y="4884"/>
                </a:lnTo>
                <a:cubicBezTo>
                  <a:pt x="7751" y="4884"/>
                  <a:pt x="7593" y="5041"/>
                  <a:pt x="7593" y="5230"/>
                </a:cubicBezTo>
                <a:lnTo>
                  <a:pt x="7593" y="9420"/>
                </a:lnTo>
                <a:cubicBezTo>
                  <a:pt x="7593" y="9609"/>
                  <a:pt x="7751" y="9767"/>
                  <a:pt x="7940" y="9767"/>
                </a:cubicBezTo>
                <a:lnTo>
                  <a:pt x="10397" y="9767"/>
                </a:lnTo>
                <a:lnTo>
                  <a:pt x="10397" y="10806"/>
                </a:lnTo>
                <a:cubicBezTo>
                  <a:pt x="10397" y="10996"/>
                  <a:pt x="10240" y="11153"/>
                  <a:pt x="10019" y="11153"/>
                </a:cubicBezTo>
                <a:lnTo>
                  <a:pt x="5861" y="11153"/>
                </a:lnTo>
                <a:cubicBezTo>
                  <a:pt x="5672" y="11153"/>
                  <a:pt x="5514" y="10996"/>
                  <a:pt x="5514" y="10806"/>
                </a:cubicBezTo>
                <a:lnTo>
                  <a:pt x="5514" y="9767"/>
                </a:lnTo>
                <a:lnTo>
                  <a:pt x="6522" y="9767"/>
                </a:lnTo>
                <a:cubicBezTo>
                  <a:pt x="6711" y="9767"/>
                  <a:pt x="6869" y="9609"/>
                  <a:pt x="6869" y="9420"/>
                </a:cubicBezTo>
                <a:lnTo>
                  <a:pt x="6869" y="5230"/>
                </a:lnTo>
                <a:cubicBezTo>
                  <a:pt x="6869" y="5041"/>
                  <a:pt x="6711" y="4884"/>
                  <a:pt x="6522" y="4884"/>
                </a:cubicBezTo>
                <a:lnTo>
                  <a:pt x="5514" y="4884"/>
                </a:lnTo>
                <a:lnTo>
                  <a:pt x="5514" y="3466"/>
                </a:lnTo>
                <a:close/>
                <a:moveTo>
                  <a:pt x="5199" y="0"/>
                </a:moveTo>
                <a:cubicBezTo>
                  <a:pt x="4600" y="0"/>
                  <a:pt x="4159" y="473"/>
                  <a:pt x="4159" y="1040"/>
                </a:cubicBezTo>
                <a:lnTo>
                  <a:pt x="4159" y="3119"/>
                </a:lnTo>
                <a:cubicBezTo>
                  <a:pt x="4159" y="3308"/>
                  <a:pt x="4317" y="3466"/>
                  <a:pt x="4506" y="3466"/>
                </a:cubicBezTo>
                <a:lnTo>
                  <a:pt x="4884" y="3466"/>
                </a:lnTo>
                <a:lnTo>
                  <a:pt x="4884" y="8192"/>
                </a:lnTo>
                <a:cubicBezTo>
                  <a:pt x="4569" y="7908"/>
                  <a:pt x="4128" y="7719"/>
                  <a:pt x="3655" y="7688"/>
                </a:cubicBezTo>
                <a:cubicBezTo>
                  <a:pt x="3277" y="7246"/>
                  <a:pt x="2710" y="6963"/>
                  <a:pt x="2080" y="6963"/>
                </a:cubicBezTo>
                <a:cubicBezTo>
                  <a:pt x="946" y="6963"/>
                  <a:pt x="1" y="7908"/>
                  <a:pt x="1" y="9074"/>
                </a:cubicBezTo>
                <a:cubicBezTo>
                  <a:pt x="1" y="10176"/>
                  <a:pt x="820" y="11027"/>
                  <a:pt x="1923" y="11153"/>
                </a:cubicBezTo>
                <a:cubicBezTo>
                  <a:pt x="2332" y="11594"/>
                  <a:pt x="2868" y="11846"/>
                  <a:pt x="3498" y="11846"/>
                </a:cubicBezTo>
                <a:cubicBezTo>
                  <a:pt x="4065" y="11846"/>
                  <a:pt x="4506" y="11657"/>
                  <a:pt x="4916" y="11311"/>
                </a:cubicBezTo>
                <a:cubicBezTo>
                  <a:pt x="4916" y="11311"/>
                  <a:pt x="4979" y="11279"/>
                  <a:pt x="4979" y="11216"/>
                </a:cubicBezTo>
                <a:cubicBezTo>
                  <a:pt x="5136" y="11594"/>
                  <a:pt x="5514" y="11846"/>
                  <a:pt x="5924" y="11846"/>
                </a:cubicBezTo>
                <a:lnTo>
                  <a:pt x="10114" y="11846"/>
                </a:lnTo>
                <a:cubicBezTo>
                  <a:pt x="10712" y="11846"/>
                  <a:pt x="11122" y="11374"/>
                  <a:pt x="11122" y="10838"/>
                </a:cubicBezTo>
                <a:lnTo>
                  <a:pt x="11122" y="3497"/>
                </a:lnTo>
                <a:lnTo>
                  <a:pt x="11500" y="3497"/>
                </a:lnTo>
                <a:cubicBezTo>
                  <a:pt x="11689" y="3497"/>
                  <a:pt x="11847" y="3340"/>
                  <a:pt x="11847" y="3151"/>
                </a:cubicBezTo>
                <a:lnTo>
                  <a:pt x="11847" y="1072"/>
                </a:lnTo>
                <a:cubicBezTo>
                  <a:pt x="11752" y="441"/>
                  <a:pt x="11343" y="0"/>
                  <a:pt x="10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584" name="Google Shape;6584;p72"/>
          <p:cNvGrpSpPr/>
          <p:nvPr/>
        </p:nvGrpSpPr>
        <p:grpSpPr>
          <a:xfrm>
            <a:off x="10645300" y="2691614"/>
            <a:ext cx="472181" cy="445797"/>
            <a:chOff x="-25844850" y="2357750"/>
            <a:chExt cx="296175" cy="279625"/>
          </a:xfrm>
        </p:grpSpPr>
        <p:sp>
          <p:nvSpPr>
            <p:cNvPr id="6585" name="Google Shape;6585;p72"/>
            <p:cNvSpPr/>
            <p:nvPr/>
          </p:nvSpPr>
          <p:spPr>
            <a:xfrm>
              <a:off x="-25792075" y="2428625"/>
              <a:ext cx="191425" cy="208750"/>
            </a:xfrm>
            <a:custGeom>
              <a:avLst/>
              <a:gdLst/>
              <a:ahLst/>
              <a:cxnLst/>
              <a:rect l="l" t="t" r="r" b="b"/>
              <a:pathLst>
                <a:path w="7657" h="8350" extrusionOk="0">
                  <a:moveTo>
                    <a:pt x="3781" y="2773"/>
                  </a:moveTo>
                  <a:cubicBezTo>
                    <a:pt x="3970" y="2773"/>
                    <a:pt x="4128" y="2931"/>
                    <a:pt x="4128" y="3120"/>
                  </a:cubicBezTo>
                  <a:cubicBezTo>
                    <a:pt x="4128" y="3309"/>
                    <a:pt x="3970" y="3466"/>
                    <a:pt x="3781" y="3466"/>
                  </a:cubicBezTo>
                  <a:cubicBezTo>
                    <a:pt x="3592" y="3466"/>
                    <a:pt x="3435" y="3309"/>
                    <a:pt x="3435" y="3120"/>
                  </a:cubicBezTo>
                  <a:cubicBezTo>
                    <a:pt x="3435" y="2931"/>
                    <a:pt x="3592" y="2773"/>
                    <a:pt x="3781" y="2773"/>
                  </a:cubicBezTo>
                  <a:close/>
                  <a:moveTo>
                    <a:pt x="3813" y="694"/>
                  </a:moveTo>
                  <a:cubicBezTo>
                    <a:pt x="5167" y="694"/>
                    <a:pt x="6270" y="1796"/>
                    <a:pt x="6270" y="3120"/>
                  </a:cubicBezTo>
                  <a:lnTo>
                    <a:pt x="6270" y="6239"/>
                  </a:lnTo>
                  <a:lnTo>
                    <a:pt x="4191" y="6239"/>
                  </a:lnTo>
                  <a:lnTo>
                    <a:pt x="4191" y="4096"/>
                  </a:lnTo>
                  <a:cubicBezTo>
                    <a:pt x="4569" y="3939"/>
                    <a:pt x="4884" y="3592"/>
                    <a:pt x="4884" y="3120"/>
                  </a:cubicBezTo>
                  <a:cubicBezTo>
                    <a:pt x="4884" y="2521"/>
                    <a:pt x="4411" y="2111"/>
                    <a:pt x="3876" y="2111"/>
                  </a:cubicBezTo>
                  <a:cubicBezTo>
                    <a:pt x="3277" y="2111"/>
                    <a:pt x="2836" y="2584"/>
                    <a:pt x="2836" y="3120"/>
                  </a:cubicBezTo>
                  <a:cubicBezTo>
                    <a:pt x="2836" y="3561"/>
                    <a:pt x="3120" y="3939"/>
                    <a:pt x="3561" y="4096"/>
                  </a:cubicBezTo>
                  <a:lnTo>
                    <a:pt x="3561" y="6239"/>
                  </a:lnTo>
                  <a:lnTo>
                    <a:pt x="1450" y="6239"/>
                  </a:lnTo>
                  <a:lnTo>
                    <a:pt x="1450" y="3120"/>
                  </a:lnTo>
                  <a:lnTo>
                    <a:pt x="1387" y="3120"/>
                  </a:lnTo>
                  <a:cubicBezTo>
                    <a:pt x="1387" y="1796"/>
                    <a:pt x="2489" y="694"/>
                    <a:pt x="3813" y="694"/>
                  </a:cubicBezTo>
                  <a:close/>
                  <a:moveTo>
                    <a:pt x="6585" y="6932"/>
                  </a:moveTo>
                  <a:cubicBezTo>
                    <a:pt x="6774" y="6932"/>
                    <a:pt x="6932" y="7089"/>
                    <a:pt x="6932" y="7310"/>
                  </a:cubicBezTo>
                  <a:lnTo>
                    <a:pt x="6932" y="7625"/>
                  </a:lnTo>
                  <a:lnTo>
                    <a:pt x="662" y="7625"/>
                  </a:lnTo>
                  <a:lnTo>
                    <a:pt x="662" y="7310"/>
                  </a:lnTo>
                  <a:cubicBezTo>
                    <a:pt x="662" y="7089"/>
                    <a:pt x="820" y="6932"/>
                    <a:pt x="1040" y="6932"/>
                  </a:cubicBezTo>
                  <a:close/>
                  <a:moveTo>
                    <a:pt x="3813" y="1"/>
                  </a:moveTo>
                  <a:cubicBezTo>
                    <a:pt x="2080" y="1"/>
                    <a:pt x="725" y="1418"/>
                    <a:pt x="725" y="3120"/>
                  </a:cubicBezTo>
                  <a:lnTo>
                    <a:pt x="725" y="6302"/>
                  </a:lnTo>
                  <a:cubicBezTo>
                    <a:pt x="316" y="6459"/>
                    <a:pt x="1" y="6837"/>
                    <a:pt x="1" y="7310"/>
                  </a:cubicBezTo>
                  <a:lnTo>
                    <a:pt x="1" y="8003"/>
                  </a:lnTo>
                  <a:cubicBezTo>
                    <a:pt x="1" y="8192"/>
                    <a:pt x="158" y="8349"/>
                    <a:pt x="347" y="8349"/>
                  </a:cubicBezTo>
                  <a:lnTo>
                    <a:pt x="7278" y="8349"/>
                  </a:lnTo>
                  <a:cubicBezTo>
                    <a:pt x="7499" y="8349"/>
                    <a:pt x="7656" y="8192"/>
                    <a:pt x="7656" y="8003"/>
                  </a:cubicBezTo>
                  <a:lnTo>
                    <a:pt x="7656" y="7310"/>
                  </a:lnTo>
                  <a:cubicBezTo>
                    <a:pt x="7593" y="6837"/>
                    <a:pt x="7341" y="6428"/>
                    <a:pt x="6932" y="6302"/>
                  </a:cubicBezTo>
                  <a:lnTo>
                    <a:pt x="6932" y="3120"/>
                  </a:lnTo>
                  <a:cubicBezTo>
                    <a:pt x="6932" y="1387"/>
                    <a:pt x="5514" y="1"/>
                    <a:pt x="38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6" name="Google Shape;6586;p72"/>
            <p:cNvSpPr/>
            <p:nvPr/>
          </p:nvSpPr>
          <p:spPr>
            <a:xfrm>
              <a:off x="-25602250" y="2497950"/>
              <a:ext cx="53575" cy="17350"/>
            </a:xfrm>
            <a:custGeom>
              <a:avLst/>
              <a:gdLst/>
              <a:ahLst/>
              <a:cxnLst/>
              <a:rect l="l" t="t" r="r" b="b"/>
              <a:pathLst>
                <a:path w="2143" h="694" extrusionOk="0">
                  <a:moveTo>
                    <a:pt x="378" y="0"/>
                  </a:moveTo>
                  <a:cubicBezTo>
                    <a:pt x="158" y="0"/>
                    <a:pt x="0" y="158"/>
                    <a:pt x="0" y="347"/>
                  </a:cubicBezTo>
                  <a:cubicBezTo>
                    <a:pt x="0" y="536"/>
                    <a:pt x="158" y="693"/>
                    <a:pt x="378" y="693"/>
                  </a:cubicBezTo>
                  <a:lnTo>
                    <a:pt x="1796" y="693"/>
                  </a:lnTo>
                  <a:cubicBezTo>
                    <a:pt x="1985" y="693"/>
                    <a:pt x="2143" y="536"/>
                    <a:pt x="2143" y="347"/>
                  </a:cubicBez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7" name="Google Shape;6587;p72"/>
            <p:cNvSpPr/>
            <p:nvPr/>
          </p:nvSpPr>
          <p:spPr>
            <a:xfrm>
              <a:off x="-25844850" y="2497950"/>
              <a:ext cx="52800" cy="17350"/>
            </a:xfrm>
            <a:custGeom>
              <a:avLst/>
              <a:gdLst/>
              <a:ahLst/>
              <a:cxnLst/>
              <a:rect l="l" t="t" r="r" b="b"/>
              <a:pathLst>
                <a:path w="2112" h="694" extrusionOk="0">
                  <a:moveTo>
                    <a:pt x="347" y="0"/>
                  </a:moveTo>
                  <a:cubicBezTo>
                    <a:pt x="158" y="0"/>
                    <a:pt x="1" y="158"/>
                    <a:pt x="1" y="347"/>
                  </a:cubicBezTo>
                  <a:cubicBezTo>
                    <a:pt x="1" y="536"/>
                    <a:pt x="158" y="693"/>
                    <a:pt x="347" y="693"/>
                  </a:cubicBezTo>
                  <a:lnTo>
                    <a:pt x="1765" y="693"/>
                  </a:lnTo>
                  <a:cubicBezTo>
                    <a:pt x="1954" y="693"/>
                    <a:pt x="2112" y="536"/>
                    <a:pt x="2112" y="347"/>
                  </a:cubicBezTo>
                  <a:cubicBezTo>
                    <a:pt x="2080" y="158"/>
                    <a:pt x="1923"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8" name="Google Shape;6588;p72"/>
            <p:cNvSpPr/>
            <p:nvPr/>
          </p:nvSpPr>
          <p:spPr>
            <a:xfrm>
              <a:off x="-25706225" y="2357750"/>
              <a:ext cx="17350" cy="53575"/>
            </a:xfrm>
            <a:custGeom>
              <a:avLst/>
              <a:gdLst/>
              <a:ahLst/>
              <a:cxnLst/>
              <a:rect l="l" t="t" r="r" b="b"/>
              <a:pathLst>
                <a:path w="694" h="2143" extrusionOk="0">
                  <a:moveTo>
                    <a:pt x="347" y="0"/>
                  </a:moveTo>
                  <a:cubicBezTo>
                    <a:pt x="158" y="0"/>
                    <a:pt x="1" y="158"/>
                    <a:pt x="1" y="347"/>
                  </a:cubicBezTo>
                  <a:lnTo>
                    <a:pt x="1" y="1764"/>
                  </a:lnTo>
                  <a:cubicBezTo>
                    <a:pt x="1" y="1985"/>
                    <a:pt x="158" y="2143"/>
                    <a:pt x="347" y="2143"/>
                  </a:cubicBezTo>
                  <a:cubicBezTo>
                    <a:pt x="536" y="2143"/>
                    <a:pt x="694" y="1985"/>
                    <a:pt x="694" y="1764"/>
                  </a:cubicBez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89" name="Google Shape;6589;p72"/>
            <p:cNvSpPr/>
            <p:nvPr/>
          </p:nvSpPr>
          <p:spPr>
            <a:xfrm>
              <a:off x="-25804675" y="2400275"/>
              <a:ext cx="42550" cy="41775"/>
            </a:xfrm>
            <a:custGeom>
              <a:avLst/>
              <a:gdLst/>
              <a:ahLst/>
              <a:cxnLst/>
              <a:rect l="l" t="t" r="r" b="b"/>
              <a:pathLst>
                <a:path w="1702" h="1671" extrusionOk="0">
                  <a:moveTo>
                    <a:pt x="351" y="0"/>
                  </a:moveTo>
                  <a:cubicBezTo>
                    <a:pt x="260" y="0"/>
                    <a:pt x="174" y="32"/>
                    <a:pt x="127" y="95"/>
                  </a:cubicBezTo>
                  <a:cubicBezTo>
                    <a:pt x="0" y="189"/>
                    <a:pt x="0" y="442"/>
                    <a:pt x="127" y="568"/>
                  </a:cubicBezTo>
                  <a:lnTo>
                    <a:pt x="1103" y="1544"/>
                  </a:lnTo>
                  <a:cubicBezTo>
                    <a:pt x="1166" y="1607"/>
                    <a:pt x="1261" y="1670"/>
                    <a:pt x="1324" y="1670"/>
                  </a:cubicBezTo>
                  <a:cubicBezTo>
                    <a:pt x="1418" y="1670"/>
                    <a:pt x="1544" y="1607"/>
                    <a:pt x="1576" y="1544"/>
                  </a:cubicBezTo>
                  <a:cubicBezTo>
                    <a:pt x="1702" y="1418"/>
                    <a:pt x="1702" y="1198"/>
                    <a:pt x="1576" y="1072"/>
                  </a:cubicBezTo>
                  <a:lnTo>
                    <a:pt x="599" y="95"/>
                  </a:lnTo>
                  <a:cubicBezTo>
                    <a:pt x="536" y="32"/>
                    <a:pt x="442"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0" name="Google Shape;6590;p72"/>
            <p:cNvSpPr/>
            <p:nvPr/>
          </p:nvSpPr>
          <p:spPr>
            <a:xfrm>
              <a:off x="-25632175" y="2400275"/>
              <a:ext cx="41750" cy="41775"/>
            </a:xfrm>
            <a:custGeom>
              <a:avLst/>
              <a:gdLst/>
              <a:ahLst/>
              <a:cxnLst/>
              <a:rect l="l" t="t" r="r" b="b"/>
              <a:pathLst>
                <a:path w="1670" h="1671" extrusionOk="0">
                  <a:moveTo>
                    <a:pt x="1327" y="0"/>
                  </a:moveTo>
                  <a:cubicBezTo>
                    <a:pt x="1237" y="0"/>
                    <a:pt x="1150" y="32"/>
                    <a:pt x="1103" y="95"/>
                  </a:cubicBezTo>
                  <a:lnTo>
                    <a:pt x="95" y="1072"/>
                  </a:lnTo>
                  <a:cubicBezTo>
                    <a:pt x="0" y="1198"/>
                    <a:pt x="0" y="1418"/>
                    <a:pt x="95" y="1544"/>
                  </a:cubicBezTo>
                  <a:cubicBezTo>
                    <a:pt x="158" y="1607"/>
                    <a:pt x="252" y="1670"/>
                    <a:pt x="347" y="1670"/>
                  </a:cubicBezTo>
                  <a:cubicBezTo>
                    <a:pt x="410" y="1670"/>
                    <a:pt x="536" y="1607"/>
                    <a:pt x="567" y="1544"/>
                  </a:cubicBezTo>
                  <a:lnTo>
                    <a:pt x="1575" y="568"/>
                  </a:lnTo>
                  <a:cubicBezTo>
                    <a:pt x="1670" y="442"/>
                    <a:pt x="1670" y="189"/>
                    <a:pt x="1575" y="95"/>
                  </a:cubicBezTo>
                  <a:cubicBezTo>
                    <a:pt x="1512" y="32"/>
                    <a:pt x="1418" y="0"/>
                    <a:pt x="13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591" name="Google Shape;6591;p72"/>
          <p:cNvSpPr/>
          <p:nvPr/>
        </p:nvSpPr>
        <p:spPr>
          <a:xfrm>
            <a:off x="10642761" y="3266822"/>
            <a:ext cx="478440" cy="471863"/>
          </a:xfrm>
          <a:custGeom>
            <a:avLst/>
            <a:gdLst/>
            <a:ahLst/>
            <a:cxnLst/>
            <a:rect l="l" t="t" r="r" b="b"/>
            <a:pathLst>
              <a:path w="12004" h="11839" extrusionOk="0">
                <a:moveTo>
                  <a:pt x="7435" y="685"/>
                </a:moveTo>
                <a:cubicBezTo>
                  <a:pt x="7530" y="685"/>
                  <a:pt x="7656" y="748"/>
                  <a:pt x="7687" y="811"/>
                </a:cubicBezTo>
                <a:lnTo>
                  <a:pt x="11121" y="4246"/>
                </a:lnTo>
                <a:cubicBezTo>
                  <a:pt x="11279" y="4372"/>
                  <a:pt x="11279" y="4592"/>
                  <a:pt x="11121" y="4718"/>
                </a:cubicBezTo>
                <a:cubicBezTo>
                  <a:pt x="11058" y="4781"/>
                  <a:pt x="10964" y="4813"/>
                  <a:pt x="10873" y="4813"/>
                </a:cubicBezTo>
                <a:cubicBezTo>
                  <a:pt x="10783" y="4813"/>
                  <a:pt x="10696" y="4781"/>
                  <a:pt x="10649" y="4718"/>
                </a:cubicBezTo>
                <a:lnTo>
                  <a:pt x="7215" y="1284"/>
                </a:lnTo>
                <a:cubicBezTo>
                  <a:pt x="7089" y="1158"/>
                  <a:pt x="7089" y="938"/>
                  <a:pt x="7215" y="811"/>
                </a:cubicBezTo>
                <a:cubicBezTo>
                  <a:pt x="7278" y="748"/>
                  <a:pt x="7372" y="685"/>
                  <a:pt x="7435" y="685"/>
                </a:cubicBezTo>
                <a:close/>
                <a:moveTo>
                  <a:pt x="7971" y="2985"/>
                </a:moveTo>
                <a:lnTo>
                  <a:pt x="8948" y="3962"/>
                </a:lnTo>
                <a:lnTo>
                  <a:pt x="7404" y="5506"/>
                </a:lnTo>
                <a:lnTo>
                  <a:pt x="6427" y="4529"/>
                </a:lnTo>
                <a:lnTo>
                  <a:pt x="7971" y="2985"/>
                </a:lnTo>
                <a:close/>
                <a:moveTo>
                  <a:pt x="5923" y="5033"/>
                </a:moveTo>
                <a:lnTo>
                  <a:pt x="6900" y="6010"/>
                </a:lnTo>
                <a:lnTo>
                  <a:pt x="6459" y="6451"/>
                </a:lnTo>
                <a:cubicBezTo>
                  <a:pt x="6135" y="6775"/>
                  <a:pt x="5672" y="6937"/>
                  <a:pt x="5229" y="6937"/>
                </a:cubicBezTo>
                <a:cubicBezTo>
                  <a:pt x="5155" y="6937"/>
                  <a:pt x="5082" y="6932"/>
                  <a:pt x="5010" y="6923"/>
                </a:cubicBezTo>
                <a:cubicBezTo>
                  <a:pt x="4946" y="6356"/>
                  <a:pt x="5136" y="5821"/>
                  <a:pt x="5482" y="5474"/>
                </a:cubicBezTo>
                <a:lnTo>
                  <a:pt x="5923" y="5033"/>
                </a:lnTo>
                <a:close/>
                <a:moveTo>
                  <a:pt x="6931" y="1946"/>
                </a:moveTo>
                <a:lnTo>
                  <a:pt x="7404" y="2418"/>
                </a:lnTo>
                <a:lnTo>
                  <a:pt x="4978" y="4876"/>
                </a:lnTo>
                <a:cubicBezTo>
                  <a:pt x="4379" y="5443"/>
                  <a:pt x="4127" y="6230"/>
                  <a:pt x="4285" y="7081"/>
                </a:cubicBezTo>
                <a:lnTo>
                  <a:pt x="4348" y="7175"/>
                </a:lnTo>
                <a:cubicBezTo>
                  <a:pt x="4379" y="7301"/>
                  <a:pt x="4442" y="7427"/>
                  <a:pt x="4600" y="7459"/>
                </a:cubicBezTo>
                <a:lnTo>
                  <a:pt x="4726" y="7491"/>
                </a:lnTo>
                <a:cubicBezTo>
                  <a:pt x="4883" y="7554"/>
                  <a:pt x="5041" y="7554"/>
                  <a:pt x="5199" y="7554"/>
                </a:cubicBezTo>
                <a:cubicBezTo>
                  <a:pt x="5829" y="7554"/>
                  <a:pt x="6459" y="7301"/>
                  <a:pt x="6931" y="6829"/>
                </a:cubicBezTo>
                <a:lnTo>
                  <a:pt x="9389" y="4403"/>
                </a:lnTo>
                <a:lnTo>
                  <a:pt x="9861" y="4876"/>
                </a:lnTo>
                <a:lnTo>
                  <a:pt x="7687" y="7207"/>
                </a:lnTo>
                <a:cubicBezTo>
                  <a:pt x="6964" y="7905"/>
                  <a:pt x="6050" y="8306"/>
                  <a:pt x="5066" y="8306"/>
                </a:cubicBezTo>
                <a:cubicBezTo>
                  <a:pt x="4851" y="8306"/>
                  <a:pt x="4632" y="8286"/>
                  <a:pt x="4411" y="8247"/>
                </a:cubicBezTo>
                <a:lnTo>
                  <a:pt x="4348" y="8247"/>
                </a:lnTo>
                <a:cubicBezTo>
                  <a:pt x="4222" y="8247"/>
                  <a:pt x="4096" y="8310"/>
                  <a:pt x="4033" y="8341"/>
                </a:cubicBezTo>
                <a:lnTo>
                  <a:pt x="2080" y="10263"/>
                </a:lnTo>
                <a:lnTo>
                  <a:pt x="1607" y="9790"/>
                </a:lnTo>
                <a:lnTo>
                  <a:pt x="3560" y="7869"/>
                </a:lnTo>
                <a:cubicBezTo>
                  <a:pt x="3623" y="7774"/>
                  <a:pt x="3655" y="7680"/>
                  <a:pt x="3623" y="7554"/>
                </a:cubicBezTo>
                <a:lnTo>
                  <a:pt x="3623" y="7459"/>
                </a:lnTo>
                <a:cubicBezTo>
                  <a:pt x="3466" y="6293"/>
                  <a:pt x="3875" y="5065"/>
                  <a:pt x="4694" y="4214"/>
                </a:cubicBezTo>
                <a:lnTo>
                  <a:pt x="6931" y="1946"/>
                </a:lnTo>
                <a:close/>
                <a:moveTo>
                  <a:pt x="1103" y="10357"/>
                </a:moveTo>
                <a:lnTo>
                  <a:pt x="1575" y="10830"/>
                </a:lnTo>
                <a:lnTo>
                  <a:pt x="1355" y="11051"/>
                </a:lnTo>
                <a:cubicBezTo>
                  <a:pt x="1292" y="11114"/>
                  <a:pt x="1213" y="11145"/>
                  <a:pt x="1130" y="11145"/>
                </a:cubicBezTo>
                <a:cubicBezTo>
                  <a:pt x="1048" y="11145"/>
                  <a:pt x="961" y="11114"/>
                  <a:pt x="882" y="11051"/>
                </a:cubicBezTo>
                <a:cubicBezTo>
                  <a:pt x="756" y="10925"/>
                  <a:pt x="756" y="10704"/>
                  <a:pt x="882" y="10578"/>
                </a:cubicBezTo>
                <a:lnTo>
                  <a:pt x="1103" y="10357"/>
                </a:lnTo>
                <a:close/>
                <a:moveTo>
                  <a:pt x="7479" y="0"/>
                </a:moveTo>
                <a:cubicBezTo>
                  <a:pt x="7215" y="0"/>
                  <a:pt x="6947" y="103"/>
                  <a:pt x="6742" y="307"/>
                </a:cubicBezTo>
                <a:cubicBezTo>
                  <a:pt x="6427" y="622"/>
                  <a:pt x="6364" y="1095"/>
                  <a:pt x="6553" y="1473"/>
                </a:cubicBezTo>
                <a:lnTo>
                  <a:pt x="4253" y="3773"/>
                </a:lnTo>
                <a:cubicBezTo>
                  <a:pt x="3277" y="4750"/>
                  <a:pt x="2804" y="6136"/>
                  <a:pt x="2962" y="7522"/>
                </a:cubicBezTo>
                <a:lnTo>
                  <a:pt x="410" y="10074"/>
                </a:lnTo>
                <a:cubicBezTo>
                  <a:pt x="0" y="10452"/>
                  <a:pt x="0" y="11145"/>
                  <a:pt x="410" y="11523"/>
                </a:cubicBezTo>
                <a:cubicBezTo>
                  <a:pt x="599" y="11712"/>
                  <a:pt x="882" y="11838"/>
                  <a:pt x="1134" y="11838"/>
                </a:cubicBezTo>
                <a:cubicBezTo>
                  <a:pt x="1418" y="11838"/>
                  <a:pt x="1701" y="11712"/>
                  <a:pt x="1891" y="11523"/>
                </a:cubicBezTo>
                <a:lnTo>
                  <a:pt x="4442" y="8971"/>
                </a:lnTo>
                <a:cubicBezTo>
                  <a:pt x="4618" y="8991"/>
                  <a:pt x="4793" y="9001"/>
                  <a:pt x="4968" y="9001"/>
                </a:cubicBezTo>
                <a:cubicBezTo>
                  <a:pt x="6173" y="9001"/>
                  <a:pt x="7338" y="8533"/>
                  <a:pt x="8192" y="7680"/>
                </a:cubicBezTo>
                <a:lnTo>
                  <a:pt x="10491" y="5380"/>
                </a:lnTo>
                <a:cubicBezTo>
                  <a:pt x="10649" y="5443"/>
                  <a:pt x="10743" y="5506"/>
                  <a:pt x="10901" y="5506"/>
                </a:cubicBezTo>
                <a:cubicBezTo>
                  <a:pt x="11184" y="5506"/>
                  <a:pt x="11468" y="5380"/>
                  <a:pt x="11657" y="5191"/>
                </a:cubicBezTo>
                <a:cubicBezTo>
                  <a:pt x="12004" y="4781"/>
                  <a:pt x="12004" y="4119"/>
                  <a:pt x="11626" y="3741"/>
                </a:cubicBezTo>
                <a:lnTo>
                  <a:pt x="8192" y="307"/>
                </a:lnTo>
                <a:cubicBezTo>
                  <a:pt x="8002" y="103"/>
                  <a:pt x="7743" y="0"/>
                  <a:pt x="74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592" name="Google Shape;6592;p72"/>
          <p:cNvGrpSpPr/>
          <p:nvPr/>
        </p:nvGrpSpPr>
        <p:grpSpPr>
          <a:xfrm>
            <a:off x="8950511" y="3855821"/>
            <a:ext cx="305183" cy="470947"/>
            <a:chOff x="-23917525" y="1970225"/>
            <a:chExt cx="191425" cy="295400"/>
          </a:xfrm>
        </p:grpSpPr>
        <p:sp>
          <p:nvSpPr>
            <p:cNvPr id="6593" name="Google Shape;6593;p72"/>
            <p:cNvSpPr/>
            <p:nvPr/>
          </p:nvSpPr>
          <p:spPr>
            <a:xfrm>
              <a:off x="-23917525" y="1970225"/>
              <a:ext cx="191425" cy="295400"/>
            </a:xfrm>
            <a:custGeom>
              <a:avLst/>
              <a:gdLst/>
              <a:ahLst/>
              <a:cxnLst/>
              <a:rect l="l" t="t" r="r" b="b"/>
              <a:pathLst>
                <a:path w="7657" h="11816" extrusionOk="0">
                  <a:moveTo>
                    <a:pt x="6616" y="694"/>
                  </a:moveTo>
                  <a:cubicBezTo>
                    <a:pt x="6805" y="694"/>
                    <a:pt x="6963" y="851"/>
                    <a:pt x="6963" y="1072"/>
                  </a:cubicBezTo>
                  <a:lnTo>
                    <a:pt x="6963" y="1450"/>
                  </a:lnTo>
                  <a:lnTo>
                    <a:pt x="725" y="1450"/>
                  </a:lnTo>
                  <a:lnTo>
                    <a:pt x="725" y="1072"/>
                  </a:lnTo>
                  <a:cubicBezTo>
                    <a:pt x="725" y="851"/>
                    <a:pt x="883" y="694"/>
                    <a:pt x="1072" y="694"/>
                  </a:cubicBezTo>
                  <a:close/>
                  <a:moveTo>
                    <a:pt x="6994" y="2175"/>
                  </a:moveTo>
                  <a:lnTo>
                    <a:pt x="6994" y="8413"/>
                  </a:lnTo>
                  <a:lnTo>
                    <a:pt x="725" y="8413"/>
                  </a:lnTo>
                  <a:lnTo>
                    <a:pt x="725" y="2175"/>
                  </a:lnTo>
                  <a:close/>
                  <a:moveTo>
                    <a:pt x="6931" y="9106"/>
                  </a:moveTo>
                  <a:lnTo>
                    <a:pt x="6931" y="10838"/>
                  </a:lnTo>
                  <a:cubicBezTo>
                    <a:pt x="6931" y="11028"/>
                    <a:pt x="6774" y="11185"/>
                    <a:pt x="6585" y="11185"/>
                  </a:cubicBezTo>
                  <a:lnTo>
                    <a:pt x="1040" y="11185"/>
                  </a:lnTo>
                  <a:cubicBezTo>
                    <a:pt x="819" y="11185"/>
                    <a:pt x="662" y="11028"/>
                    <a:pt x="662" y="10838"/>
                  </a:cubicBezTo>
                  <a:lnTo>
                    <a:pt x="662" y="9106"/>
                  </a:lnTo>
                  <a:close/>
                  <a:moveTo>
                    <a:pt x="1040" y="1"/>
                  </a:moveTo>
                  <a:cubicBezTo>
                    <a:pt x="441" y="1"/>
                    <a:pt x="0" y="473"/>
                    <a:pt x="0" y="1009"/>
                  </a:cubicBezTo>
                  <a:lnTo>
                    <a:pt x="0" y="10775"/>
                  </a:lnTo>
                  <a:cubicBezTo>
                    <a:pt x="0" y="11374"/>
                    <a:pt x="473" y="11815"/>
                    <a:pt x="1040" y="11815"/>
                  </a:cubicBezTo>
                  <a:lnTo>
                    <a:pt x="6585" y="11815"/>
                  </a:lnTo>
                  <a:cubicBezTo>
                    <a:pt x="7184" y="11815"/>
                    <a:pt x="7593" y="11343"/>
                    <a:pt x="7593" y="10775"/>
                  </a:cubicBezTo>
                  <a:lnTo>
                    <a:pt x="7593" y="1009"/>
                  </a:lnTo>
                  <a:cubicBezTo>
                    <a:pt x="7656" y="473"/>
                    <a:pt x="718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4" name="Google Shape;6594;p72"/>
            <p:cNvSpPr/>
            <p:nvPr/>
          </p:nvSpPr>
          <p:spPr>
            <a:xfrm>
              <a:off x="-23882075" y="2041125"/>
              <a:ext cx="121300" cy="121325"/>
            </a:xfrm>
            <a:custGeom>
              <a:avLst/>
              <a:gdLst/>
              <a:ahLst/>
              <a:cxnLst/>
              <a:rect l="l" t="t" r="r" b="b"/>
              <a:pathLst>
                <a:path w="4852" h="4853" extrusionOk="0">
                  <a:moveTo>
                    <a:pt x="2773" y="662"/>
                  </a:moveTo>
                  <a:lnTo>
                    <a:pt x="2773" y="1702"/>
                  </a:lnTo>
                  <a:cubicBezTo>
                    <a:pt x="2773" y="1891"/>
                    <a:pt x="2930" y="2048"/>
                    <a:pt x="3119" y="2048"/>
                  </a:cubicBezTo>
                  <a:lnTo>
                    <a:pt x="4127" y="2048"/>
                  </a:lnTo>
                  <a:lnTo>
                    <a:pt x="4127" y="2773"/>
                  </a:lnTo>
                  <a:lnTo>
                    <a:pt x="3119" y="2773"/>
                  </a:lnTo>
                  <a:cubicBezTo>
                    <a:pt x="2930" y="2773"/>
                    <a:pt x="2773" y="2962"/>
                    <a:pt x="2773" y="3151"/>
                  </a:cubicBezTo>
                  <a:lnTo>
                    <a:pt x="2773" y="4159"/>
                  </a:lnTo>
                  <a:lnTo>
                    <a:pt x="2048" y="4159"/>
                  </a:lnTo>
                  <a:lnTo>
                    <a:pt x="2048" y="3119"/>
                  </a:lnTo>
                  <a:cubicBezTo>
                    <a:pt x="2048" y="2899"/>
                    <a:pt x="1890" y="2741"/>
                    <a:pt x="1701" y="2741"/>
                  </a:cubicBezTo>
                  <a:lnTo>
                    <a:pt x="662" y="2741"/>
                  </a:lnTo>
                  <a:lnTo>
                    <a:pt x="662" y="2048"/>
                  </a:lnTo>
                  <a:lnTo>
                    <a:pt x="1701" y="2048"/>
                  </a:lnTo>
                  <a:cubicBezTo>
                    <a:pt x="1890" y="2048"/>
                    <a:pt x="2048" y="1891"/>
                    <a:pt x="2048" y="1702"/>
                  </a:cubicBezTo>
                  <a:lnTo>
                    <a:pt x="2048" y="662"/>
                  </a:lnTo>
                  <a:close/>
                  <a:moveTo>
                    <a:pt x="1733" y="0"/>
                  </a:moveTo>
                  <a:cubicBezTo>
                    <a:pt x="1544" y="0"/>
                    <a:pt x="1386" y="158"/>
                    <a:pt x="1386" y="347"/>
                  </a:cubicBezTo>
                  <a:lnTo>
                    <a:pt x="1386" y="1386"/>
                  </a:lnTo>
                  <a:lnTo>
                    <a:pt x="347" y="1386"/>
                  </a:lnTo>
                  <a:cubicBezTo>
                    <a:pt x="158" y="1386"/>
                    <a:pt x="0" y="1544"/>
                    <a:pt x="0" y="1733"/>
                  </a:cubicBezTo>
                  <a:lnTo>
                    <a:pt x="0" y="3119"/>
                  </a:lnTo>
                  <a:cubicBezTo>
                    <a:pt x="0" y="3308"/>
                    <a:pt x="158" y="3466"/>
                    <a:pt x="347" y="3466"/>
                  </a:cubicBezTo>
                  <a:lnTo>
                    <a:pt x="1386" y="3466"/>
                  </a:lnTo>
                  <a:lnTo>
                    <a:pt x="1386" y="4474"/>
                  </a:lnTo>
                  <a:cubicBezTo>
                    <a:pt x="1386" y="4694"/>
                    <a:pt x="1544" y="4852"/>
                    <a:pt x="1733" y="4852"/>
                  </a:cubicBezTo>
                  <a:lnTo>
                    <a:pt x="3119" y="4852"/>
                  </a:lnTo>
                  <a:cubicBezTo>
                    <a:pt x="3308" y="4852"/>
                    <a:pt x="3466" y="4694"/>
                    <a:pt x="3466" y="4474"/>
                  </a:cubicBezTo>
                  <a:lnTo>
                    <a:pt x="3466" y="3466"/>
                  </a:lnTo>
                  <a:lnTo>
                    <a:pt x="4505" y="3466"/>
                  </a:lnTo>
                  <a:cubicBezTo>
                    <a:pt x="4694" y="3466"/>
                    <a:pt x="4852" y="3308"/>
                    <a:pt x="4852" y="3119"/>
                  </a:cubicBezTo>
                  <a:lnTo>
                    <a:pt x="4852" y="1733"/>
                  </a:lnTo>
                  <a:cubicBezTo>
                    <a:pt x="4852" y="1544"/>
                    <a:pt x="4694" y="1386"/>
                    <a:pt x="4505" y="1386"/>
                  </a:cubicBezTo>
                  <a:lnTo>
                    <a:pt x="3466" y="1386"/>
                  </a:lnTo>
                  <a:lnTo>
                    <a:pt x="3466" y="347"/>
                  </a:ln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5" name="Google Shape;6595;p72"/>
            <p:cNvSpPr/>
            <p:nvPr/>
          </p:nvSpPr>
          <p:spPr>
            <a:xfrm>
              <a:off x="-23839550" y="2214400"/>
              <a:ext cx="35475" cy="17350"/>
            </a:xfrm>
            <a:custGeom>
              <a:avLst/>
              <a:gdLst/>
              <a:ahLst/>
              <a:cxnLst/>
              <a:rect l="l" t="t" r="r" b="b"/>
              <a:pathLst>
                <a:path w="1419" h="694" extrusionOk="0">
                  <a:moveTo>
                    <a:pt x="347" y="0"/>
                  </a:moveTo>
                  <a:cubicBezTo>
                    <a:pt x="158" y="0"/>
                    <a:pt x="0" y="158"/>
                    <a:pt x="0" y="347"/>
                  </a:cubicBezTo>
                  <a:cubicBezTo>
                    <a:pt x="0" y="536"/>
                    <a:pt x="158" y="693"/>
                    <a:pt x="347"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596" name="Google Shape;6596;p72"/>
          <p:cNvGrpSpPr/>
          <p:nvPr/>
        </p:nvGrpSpPr>
        <p:grpSpPr>
          <a:xfrm>
            <a:off x="8890886" y="4451659"/>
            <a:ext cx="424433" cy="472143"/>
            <a:chOff x="-23952175" y="2340425"/>
            <a:chExt cx="266225" cy="296150"/>
          </a:xfrm>
        </p:grpSpPr>
        <p:sp>
          <p:nvSpPr>
            <p:cNvPr id="6597" name="Google Shape;6597;p72"/>
            <p:cNvSpPr/>
            <p:nvPr/>
          </p:nvSpPr>
          <p:spPr>
            <a:xfrm>
              <a:off x="-23952175" y="2340425"/>
              <a:ext cx="266225" cy="296150"/>
            </a:xfrm>
            <a:custGeom>
              <a:avLst/>
              <a:gdLst/>
              <a:ahLst/>
              <a:cxnLst/>
              <a:rect l="l" t="t" r="r" b="b"/>
              <a:pathLst>
                <a:path w="10649" h="11846" extrusionOk="0">
                  <a:moveTo>
                    <a:pt x="3844" y="693"/>
                  </a:moveTo>
                  <a:cubicBezTo>
                    <a:pt x="4033" y="693"/>
                    <a:pt x="4190" y="851"/>
                    <a:pt x="4190" y="1040"/>
                  </a:cubicBezTo>
                  <a:lnTo>
                    <a:pt x="4190" y="1449"/>
                  </a:lnTo>
                  <a:lnTo>
                    <a:pt x="2804" y="1449"/>
                  </a:lnTo>
                  <a:lnTo>
                    <a:pt x="2804" y="1040"/>
                  </a:lnTo>
                  <a:lnTo>
                    <a:pt x="2773" y="1040"/>
                  </a:lnTo>
                  <a:cubicBezTo>
                    <a:pt x="2773" y="851"/>
                    <a:pt x="2930" y="693"/>
                    <a:pt x="3119" y="693"/>
                  </a:cubicBezTo>
                  <a:close/>
                  <a:moveTo>
                    <a:pt x="5230" y="2111"/>
                  </a:moveTo>
                  <a:cubicBezTo>
                    <a:pt x="5608" y="2111"/>
                    <a:pt x="5955" y="2363"/>
                    <a:pt x="6175" y="2710"/>
                  </a:cubicBezTo>
                  <a:cubicBezTo>
                    <a:pt x="5703" y="2993"/>
                    <a:pt x="5387" y="3497"/>
                    <a:pt x="5387" y="4096"/>
                  </a:cubicBezTo>
                  <a:cubicBezTo>
                    <a:pt x="5387" y="4442"/>
                    <a:pt x="5482" y="4726"/>
                    <a:pt x="5640" y="4946"/>
                  </a:cubicBezTo>
                  <a:cubicBezTo>
                    <a:pt x="5547" y="4960"/>
                    <a:pt x="5454" y="4966"/>
                    <a:pt x="5362" y="4966"/>
                  </a:cubicBezTo>
                  <a:cubicBezTo>
                    <a:pt x="4796" y="4966"/>
                    <a:pt x="4246" y="4723"/>
                    <a:pt x="3812" y="4316"/>
                  </a:cubicBezTo>
                  <a:lnTo>
                    <a:pt x="3718" y="4253"/>
                  </a:lnTo>
                  <a:cubicBezTo>
                    <a:pt x="3245" y="3812"/>
                    <a:pt x="2647" y="3529"/>
                    <a:pt x="2016" y="3466"/>
                  </a:cubicBezTo>
                  <a:cubicBezTo>
                    <a:pt x="1874" y="3433"/>
                    <a:pt x="1727" y="3419"/>
                    <a:pt x="1578" y="3419"/>
                  </a:cubicBezTo>
                  <a:cubicBezTo>
                    <a:pt x="1299" y="3419"/>
                    <a:pt x="1012" y="3467"/>
                    <a:pt x="725" y="3529"/>
                  </a:cubicBezTo>
                  <a:lnTo>
                    <a:pt x="725" y="3151"/>
                  </a:lnTo>
                  <a:cubicBezTo>
                    <a:pt x="693" y="2583"/>
                    <a:pt x="1166" y="2111"/>
                    <a:pt x="1733" y="2111"/>
                  </a:cubicBezTo>
                  <a:close/>
                  <a:moveTo>
                    <a:pt x="8979" y="3182"/>
                  </a:moveTo>
                  <a:cubicBezTo>
                    <a:pt x="9515" y="3182"/>
                    <a:pt x="9924" y="3623"/>
                    <a:pt x="9924" y="4127"/>
                  </a:cubicBezTo>
                  <a:cubicBezTo>
                    <a:pt x="9924" y="4568"/>
                    <a:pt x="9546" y="4883"/>
                    <a:pt x="9137" y="5198"/>
                  </a:cubicBezTo>
                  <a:cubicBezTo>
                    <a:pt x="9074" y="5230"/>
                    <a:pt x="8097" y="6112"/>
                    <a:pt x="7971" y="6207"/>
                  </a:cubicBezTo>
                  <a:cubicBezTo>
                    <a:pt x="7845" y="6144"/>
                    <a:pt x="6679" y="5104"/>
                    <a:pt x="6679" y="5104"/>
                  </a:cubicBezTo>
                  <a:cubicBezTo>
                    <a:pt x="6270" y="4757"/>
                    <a:pt x="5986" y="4505"/>
                    <a:pt x="5986" y="4127"/>
                  </a:cubicBezTo>
                  <a:cubicBezTo>
                    <a:pt x="5986" y="3623"/>
                    <a:pt x="6427" y="3182"/>
                    <a:pt x="6931" y="3182"/>
                  </a:cubicBezTo>
                  <a:cubicBezTo>
                    <a:pt x="7215" y="3182"/>
                    <a:pt x="7498" y="3308"/>
                    <a:pt x="7687" y="3529"/>
                  </a:cubicBezTo>
                  <a:cubicBezTo>
                    <a:pt x="7782" y="3623"/>
                    <a:pt x="7845" y="3686"/>
                    <a:pt x="7971" y="3686"/>
                  </a:cubicBezTo>
                  <a:cubicBezTo>
                    <a:pt x="8097" y="3686"/>
                    <a:pt x="8160" y="3655"/>
                    <a:pt x="8254" y="3529"/>
                  </a:cubicBezTo>
                  <a:cubicBezTo>
                    <a:pt x="8443" y="3308"/>
                    <a:pt x="8664" y="3182"/>
                    <a:pt x="8979" y="3182"/>
                  </a:cubicBezTo>
                  <a:close/>
                  <a:moveTo>
                    <a:pt x="1561" y="4127"/>
                  </a:moveTo>
                  <a:cubicBezTo>
                    <a:pt x="2142" y="4127"/>
                    <a:pt x="2710" y="4337"/>
                    <a:pt x="3151" y="4757"/>
                  </a:cubicBezTo>
                  <a:lnTo>
                    <a:pt x="3245" y="4820"/>
                  </a:lnTo>
                  <a:cubicBezTo>
                    <a:pt x="3844" y="5356"/>
                    <a:pt x="4568" y="5671"/>
                    <a:pt x="5324" y="5671"/>
                  </a:cubicBezTo>
                  <a:cubicBezTo>
                    <a:pt x="5608" y="5671"/>
                    <a:pt x="5860" y="5639"/>
                    <a:pt x="6112" y="5545"/>
                  </a:cubicBezTo>
                  <a:cubicBezTo>
                    <a:pt x="6144" y="5545"/>
                    <a:pt x="6144" y="5576"/>
                    <a:pt x="6207" y="5576"/>
                  </a:cubicBezTo>
                  <a:lnTo>
                    <a:pt x="6207" y="7278"/>
                  </a:lnTo>
                  <a:cubicBezTo>
                    <a:pt x="6207" y="7876"/>
                    <a:pt x="5734" y="8286"/>
                    <a:pt x="5167" y="8286"/>
                  </a:cubicBezTo>
                  <a:lnTo>
                    <a:pt x="1701" y="8286"/>
                  </a:lnTo>
                  <a:cubicBezTo>
                    <a:pt x="1655" y="8294"/>
                    <a:pt x="1610" y="8298"/>
                    <a:pt x="1565" y="8298"/>
                  </a:cubicBezTo>
                  <a:cubicBezTo>
                    <a:pt x="1088" y="8298"/>
                    <a:pt x="693" y="7856"/>
                    <a:pt x="693" y="7309"/>
                  </a:cubicBezTo>
                  <a:lnTo>
                    <a:pt x="693" y="4285"/>
                  </a:lnTo>
                  <a:cubicBezTo>
                    <a:pt x="977" y="4180"/>
                    <a:pt x="1271" y="4127"/>
                    <a:pt x="1561" y="4127"/>
                  </a:cubicBezTo>
                  <a:close/>
                  <a:moveTo>
                    <a:pt x="3844" y="9105"/>
                  </a:moveTo>
                  <a:lnTo>
                    <a:pt x="3844" y="9452"/>
                  </a:lnTo>
                  <a:cubicBezTo>
                    <a:pt x="3844" y="9641"/>
                    <a:pt x="3686" y="9798"/>
                    <a:pt x="3466" y="9798"/>
                  </a:cubicBezTo>
                  <a:cubicBezTo>
                    <a:pt x="3277" y="9798"/>
                    <a:pt x="3119" y="9641"/>
                    <a:pt x="3119" y="9452"/>
                  </a:cubicBezTo>
                  <a:lnTo>
                    <a:pt x="3119" y="9105"/>
                  </a:lnTo>
                  <a:close/>
                  <a:moveTo>
                    <a:pt x="6994" y="6207"/>
                  </a:moveTo>
                  <a:cubicBezTo>
                    <a:pt x="7057" y="6301"/>
                    <a:pt x="7530" y="6679"/>
                    <a:pt x="7687" y="6805"/>
                  </a:cubicBezTo>
                  <a:lnTo>
                    <a:pt x="7687" y="10082"/>
                  </a:lnTo>
                  <a:cubicBezTo>
                    <a:pt x="7656" y="10680"/>
                    <a:pt x="7183" y="11153"/>
                    <a:pt x="6585" y="11153"/>
                  </a:cubicBezTo>
                  <a:lnTo>
                    <a:pt x="4852" y="11153"/>
                  </a:lnTo>
                  <a:cubicBezTo>
                    <a:pt x="4379" y="11153"/>
                    <a:pt x="4001" y="10838"/>
                    <a:pt x="3875" y="10397"/>
                  </a:cubicBezTo>
                  <a:cubicBezTo>
                    <a:pt x="4253" y="10239"/>
                    <a:pt x="4537" y="9893"/>
                    <a:pt x="4537" y="9420"/>
                  </a:cubicBezTo>
                  <a:lnTo>
                    <a:pt x="4537" y="9042"/>
                  </a:lnTo>
                  <a:lnTo>
                    <a:pt x="5261" y="9042"/>
                  </a:lnTo>
                  <a:cubicBezTo>
                    <a:pt x="6207" y="9042"/>
                    <a:pt x="6994" y="8254"/>
                    <a:pt x="6994" y="7309"/>
                  </a:cubicBezTo>
                  <a:lnTo>
                    <a:pt x="6994" y="6207"/>
                  </a:lnTo>
                  <a:close/>
                  <a:moveTo>
                    <a:pt x="3119" y="0"/>
                  </a:moveTo>
                  <a:cubicBezTo>
                    <a:pt x="2521" y="0"/>
                    <a:pt x="2111" y="473"/>
                    <a:pt x="2111" y="1008"/>
                  </a:cubicBezTo>
                  <a:lnTo>
                    <a:pt x="2111" y="1418"/>
                  </a:lnTo>
                  <a:lnTo>
                    <a:pt x="1733" y="1418"/>
                  </a:lnTo>
                  <a:cubicBezTo>
                    <a:pt x="788" y="1418"/>
                    <a:pt x="0" y="2205"/>
                    <a:pt x="0" y="3151"/>
                  </a:cubicBezTo>
                  <a:lnTo>
                    <a:pt x="0" y="7309"/>
                  </a:lnTo>
                  <a:cubicBezTo>
                    <a:pt x="0" y="8254"/>
                    <a:pt x="788" y="9042"/>
                    <a:pt x="1733" y="9042"/>
                  </a:cubicBezTo>
                  <a:lnTo>
                    <a:pt x="2458" y="9042"/>
                  </a:lnTo>
                  <a:lnTo>
                    <a:pt x="2458" y="9420"/>
                  </a:lnTo>
                  <a:cubicBezTo>
                    <a:pt x="2458" y="9893"/>
                    <a:pt x="2773" y="10271"/>
                    <a:pt x="3182" y="10397"/>
                  </a:cubicBezTo>
                  <a:cubicBezTo>
                    <a:pt x="3340" y="11216"/>
                    <a:pt x="4033" y="11846"/>
                    <a:pt x="4852" y="11846"/>
                  </a:cubicBezTo>
                  <a:lnTo>
                    <a:pt x="6585" y="11846"/>
                  </a:lnTo>
                  <a:cubicBezTo>
                    <a:pt x="7530" y="11846"/>
                    <a:pt x="8317" y="11058"/>
                    <a:pt x="8317" y="10113"/>
                  </a:cubicBezTo>
                  <a:lnTo>
                    <a:pt x="8317" y="6837"/>
                  </a:lnTo>
                  <a:cubicBezTo>
                    <a:pt x="8443" y="6742"/>
                    <a:pt x="9546" y="5797"/>
                    <a:pt x="9578" y="5734"/>
                  </a:cubicBezTo>
                  <a:cubicBezTo>
                    <a:pt x="10050" y="5356"/>
                    <a:pt x="10617" y="4883"/>
                    <a:pt x="10617" y="4127"/>
                  </a:cubicBezTo>
                  <a:cubicBezTo>
                    <a:pt x="10649" y="3214"/>
                    <a:pt x="9893" y="2489"/>
                    <a:pt x="9011" y="2489"/>
                  </a:cubicBezTo>
                  <a:cubicBezTo>
                    <a:pt x="8601" y="2489"/>
                    <a:pt x="8254" y="2583"/>
                    <a:pt x="7971" y="2836"/>
                  </a:cubicBezTo>
                  <a:cubicBezTo>
                    <a:pt x="7687" y="2583"/>
                    <a:pt x="7341" y="2489"/>
                    <a:pt x="6963" y="2489"/>
                  </a:cubicBezTo>
                  <a:lnTo>
                    <a:pt x="6805" y="2489"/>
                  </a:lnTo>
                  <a:cubicBezTo>
                    <a:pt x="6522" y="1859"/>
                    <a:pt x="5892" y="1418"/>
                    <a:pt x="5230" y="1418"/>
                  </a:cubicBezTo>
                  <a:lnTo>
                    <a:pt x="4852" y="1418"/>
                  </a:lnTo>
                  <a:lnTo>
                    <a:pt x="4852" y="1008"/>
                  </a:lnTo>
                  <a:cubicBezTo>
                    <a:pt x="4852" y="441"/>
                    <a:pt x="4379"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598" name="Google Shape;6598;p72"/>
            <p:cNvSpPr/>
            <p:nvPr/>
          </p:nvSpPr>
          <p:spPr>
            <a:xfrm>
              <a:off x="-23918325" y="2479025"/>
              <a:ext cx="53600" cy="52375"/>
            </a:xfrm>
            <a:custGeom>
              <a:avLst/>
              <a:gdLst/>
              <a:ahLst/>
              <a:cxnLst/>
              <a:rect l="l" t="t" r="r" b="b"/>
              <a:pathLst>
                <a:path w="2144" h="2095" extrusionOk="0">
                  <a:moveTo>
                    <a:pt x="347" y="1"/>
                  </a:moveTo>
                  <a:cubicBezTo>
                    <a:pt x="158" y="1"/>
                    <a:pt x="1" y="158"/>
                    <a:pt x="1" y="347"/>
                  </a:cubicBezTo>
                  <a:lnTo>
                    <a:pt x="1" y="1072"/>
                  </a:lnTo>
                  <a:cubicBezTo>
                    <a:pt x="1" y="1671"/>
                    <a:pt x="473" y="2080"/>
                    <a:pt x="1009" y="2080"/>
                  </a:cubicBezTo>
                  <a:lnTo>
                    <a:pt x="1734" y="2080"/>
                  </a:lnTo>
                  <a:cubicBezTo>
                    <a:pt x="1767" y="2090"/>
                    <a:pt x="1800" y="2094"/>
                    <a:pt x="1831" y="2094"/>
                  </a:cubicBezTo>
                  <a:cubicBezTo>
                    <a:pt x="2007" y="2094"/>
                    <a:pt x="2143" y="1952"/>
                    <a:pt x="2143" y="1765"/>
                  </a:cubicBezTo>
                  <a:cubicBezTo>
                    <a:pt x="2143" y="1576"/>
                    <a:pt x="1954" y="1419"/>
                    <a:pt x="1765" y="1419"/>
                  </a:cubicBezTo>
                  <a:lnTo>
                    <a:pt x="1072" y="1419"/>
                  </a:lnTo>
                  <a:cubicBezTo>
                    <a:pt x="851" y="1419"/>
                    <a:pt x="694" y="1261"/>
                    <a:pt x="694" y="1072"/>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599" name="Google Shape;6599;p72"/>
          <p:cNvSpPr/>
          <p:nvPr/>
        </p:nvSpPr>
        <p:spPr>
          <a:xfrm>
            <a:off x="8855005" y="5040976"/>
            <a:ext cx="497292" cy="469989"/>
          </a:xfrm>
          <a:custGeom>
            <a:avLst/>
            <a:gdLst/>
            <a:ahLst/>
            <a:cxnLst/>
            <a:rect l="l" t="t" r="r" b="b"/>
            <a:pathLst>
              <a:path w="12477" h="11792" extrusionOk="0">
                <a:moveTo>
                  <a:pt x="10845" y="690"/>
                </a:moveTo>
                <a:cubicBezTo>
                  <a:pt x="11072" y="690"/>
                  <a:pt x="11264" y="705"/>
                  <a:pt x="11406" y="733"/>
                </a:cubicBezTo>
                <a:cubicBezTo>
                  <a:pt x="11469" y="1049"/>
                  <a:pt x="11469" y="1616"/>
                  <a:pt x="11374" y="2246"/>
                </a:cubicBezTo>
                <a:lnTo>
                  <a:pt x="9894" y="765"/>
                </a:lnTo>
                <a:cubicBezTo>
                  <a:pt x="10240" y="713"/>
                  <a:pt x="10568" y="690"/>
                  <a:pt x="10845" y="690"/>
                </a:cubicBezTo>
                <a:close/>
                <a:moveTo>
                  <a:pt x="9106" y="923"/>
                </a:moveTo>
                <a:lnTo>
                  <a:pt x="11280" y="3096"/>
                </a:lnTo>
                <a:cubicBezTo>
                  <a:pt x="11185" y="3317"/>
                  <a:pt x="11091" y="3569"/>
                  <a:pt x="10996" y="3789"/>
                </a:cubicBezTo>
                <a:lnTo>
                  <a:pt x="8350" y="1143"/>
                </a:lnTo>
                <a:cubicBezTo>
                  <a:pt x="8602" y="1049"/>
                  <a:pt x="8822" y="954"/>
                  <a:pt x="9106" y="923"/>
                </a:cubicBezTo>
                <a:close/>
                <a:moveTo>
                  <a:pt x="7720" y="1458"/>
                </a:moveTo>
                <a:lnTo>
                  <a:pt x="10618" y="4388"/>
                </a:lnTo>
                <a:cubicBezTo>
                  <a:pt x="10555" y="4451"/>
                  <a:pt x="10461" y="4577"/>
                  <a:pt x="10398" y="4672"/>
                </a:cubicBezTo>
                <a:cubicBezTo>
                  <a:pt x="10303" y="4766"/>
                  <a:pt x="10240" y="4861"/>
                  <a:pt x="10114" y="4892"/>
                </a:cubicBezTo>
                <a:lnTo>
                  <a:pt x="7216" y="1994"/>
                </a:lnTo>
                <a:cubicBezTo>
                  <a:pt x="7279" y="1899"/>
                  <a:pt x="7373" y="1773"/>
                  <a:pt x="7436" y="1710"/>
                </a:cubicBezTo>
                <a:cubicBezTo>
                  <a:pt x="7531" y="1616"/>
                  <a:pt x="7594" y="1553"/>
                  <a:pt x="7720" y="1458"/>
                </a:cubicBezTo>
                <a:close/>
                <a:moveTo>
                  <a:pt x="6901" y="2655"/>
                </a:moveTo>
                <a:lnTo>
                  <a:pt x="9515" y="5270"/>
                </a:lnTo>
                <a:cubicBezTo>
                  <a:pt x="9263" y="5365"/>
                  <a:pt x="9011" y="5459"/>
                  <a:pt x="8791" y="5522"/>
                </a:cubicBezTo>
                <a:lnTo>
                  <a:pt x="6649" y="3411"/>
                </a:lnTo>
                <a:cubicBezTo>
                  <a:pt x="6680" y="3159"/>
                  <a:pt x="6775" y="2876"/>
                  <a:pt x="6901" y="2655"/>
                </a:cubicBezTo>
                <a:close/>
                <a:moveTo>
                  <a:pt x="6491" y="4231"/>
                </a:moveTo>
                <a:lnTo>
                  <a:pt x="7877" y="5617"/>
                </a:lnTo>
                <a:cubicBezTo>
                  <a:pt x="7638" y="5643"/>
                  <a:pt x="7409" y="5653"/>
                  <a:pt x="7204" y="5653"/>
                </a:cubicBezTo>
                <a:cubicBezTo>
                  <a:pt x="6923" y="5653"/>
                  <a:pt x="6686" y="5635"/>
                  <a:pt x="6523" y="5617"/>
                </a:cubicBezTo>
                <a:cubicBezTo>
                  <a:pt x="6491" y="5333"/>
                  <a:pt x="6460" y="4829"/>
                  <a:pt x="6491" y="4231"/>
                </a:cubicBezTo>
                <a:close/>
                <a:moveTo>
                  <a:pt x="4982" y="6171"/>
                </a:moveTo>
                <a:cubicBezTo>
                  <a:pt x="5371" y="6171"/>
                  <a:pt x="5708" y="6201"/>
                  <a:pt x="5892" y="6247"/>
                </a:cubicBezTo>
                <a:cubicBezTo>
                  <a:pt x="5955" y="6499"/>
                  <a:pt x="5987" y="7034"/>
                  <a:pt x="5955" y="7602"/>
                </a:cubicBezTo>
                <a:lnTo>
                  <a:pt x="4538" y="6184"/>
                </a:lnTo>
                <a:cubicBezTo>
                  <a:pt x="4690" y="6175"/>
                  <a:pt x="4839" y="6171"/>
                  <a:pt x="4982" y="6171"/>
                </a:cubicBezTo>
                <a:close/>
                <a:moveTo>
                  <a:pt x="3719" y="6310"/>
                </a:moveTo>
                <a:lnTo>
                  <a:pt x="5829" y="8452"/>
                </a:lnTo>
                <a:cubicBezTo>
                  <a:pt x="5798" y="8673"/>
                  <a:pt x="5703" y="8956"/>
                  <a:pt x="5609" y="9177"/>
                </a:cubicBezTo>
                <a:lnTo>
                  <a:pt x="2962" y="6562"/>
                </a:lnTo>
                <a:cubicBezTo>
                  <a:pt x="3183" y="6436"/>
                  <a:pt x="3435" y="6341"/>
                  <a:pt x="3719" y="6310"/>
                </a:cubicBezTo>
                <a:close/>
                <a:moveTo>
                  <a:pt x="2332" y="6908"/>
                </a:moveTo>
                <a:lnTo>
                  <a:pt x="5231" y="9807"/>
                </a:lnTo>
                <a:cubicBezTo>
                  <a:pt x="5168" y="9901"/>
                  <a:pt x="5073" y="10027"/>
                  <a:pt x="5010" y="10090"/>
                </a:cubicBezTo>
                <a:cubicBezTo>
                  <a:pt x="4916" y="10185"/>
                  <a:pt x="4853" y="10248"/>
                  <a:pt x="4727" y="10342"/>
                </a:cubicBezTo>
                <a:lnTo>
                  <a:pt x="1797" y="7412"/>
                </a:lnTo>
                <a:cubicBezTo>
                  <a:pt x="1891" y="7349"/>
                  <a:pt x="1954" y="7223"/>
                  <a:pt x="2049" y="7129"/>
                </a:cubicBezTo>
                <a:cubicBezTo>
                  <a:pt x="2112" y="7066"/>
                  <a:pt x="2206" y="6971"/>
                  <a:pt x="2332" y="6908"/>
                </a:cubicBezTo>
                <a:close/>
                <a:moveTo>
                  <a:pt x="1450" y="8011"/>
                </a:moveTo>
                <a:lnTo>
                  <a:pt x="4097" y="10657"/>
                </a:lnTo>
                <a:cubicBezTo>
                  <a:pt x="3908" y="10752"/>
                  <a:pt x="3624" y="10847"/>
                  <a:pt x="3372" y="10910"/>
                </a:cubicBezTo>
                <a:lnTo>
                  <a:pt x="1230" y="8767"/>
                </a:lnTo>
                <a:cubicBezTo>
                  <a:pt x="1293" y="8515"/>
                  <a:pt x="1387" y="8232"/>
                  <a:pt x="1450" y="8011"/>
                </a:cubicBezTo>
                <a:close/>
                <a:moveTo>
                  <a:pt x="1072" y="9586"/>
                </a:moveTo>
                <a:lnTo>
                  <a:pt x="2553" y="11067"/>
                </a:lnTo>
                <a:cubicBezTo>
                  <a:pt x="2175" y="11124"/>
                  <a:pt x="1831" y="11135"/>
                  <a:pt x="1534" y="11135"/>
                </a:cubicBezTo>
                <a:cubicBezTo>
                  <a:pt x="1337" y="11135"/>
                  <a:pt x="1160" y="11130"/>
                  <a:pt x="1009" y="11130"/>
                </a:cubicBezTo>
                <a:cubicBezTo>
                  <a:pt x="978" y="10815"/>
                  <a:pt x="978" y="10216"/>
                  <a:pt x="1072" y="9586"/>
                </a:cubicBezTo>
                <a:close/>
                <a:moveTo>
                  <a:pt x="10872" y="1"/>
                </a:moveTo>
                <a:cubicBezTo>
                  <a:pt x="9797" y="1"/>
                  <a:pt x="8028" y="173"/>
                  <a:pt x="6964" y="1238"/>
                </a:cubicBezTo>
                <a:cubicBezTo>
                  <a:pt x="6775" y="1427"/>
                  <a:pt x="6617" y="1616"/>
                  <a:pt x="6491" y="1836"/>
                </a:cubicBezTo>
                <a:cubicBezTo>
                  <a:pt x="5735" y="3033"/>
                  <a:pt x="5735" y="4703"/>
                  <a:pt x="5829" y="5491"/>
                </a:cubicBezTo>
                <a:cubicBezTo>
                  <a:pt x="5619" y="5469"/>
                  <a:pt x="5344" y="5450"/>
                  <a:pt x="5031" y="5450"/>
                </a:cubicBezTo>
                <a:cubicBezTo>
                  <a:pt x="3989" y="5450"/>
                  <a:pt x="2521" y="5655"/>
                  <a:pt x="1576" y="6625"/>
                </a:cubicBezTo>
                <a:cubicBezTo>
                  <a:pt x="1" y="8200"/>
                  <a:pt x="348" y="11319"/>
                  <a:pt x="379" y="11445"/>
                </a:cubicBezTo>
                <a:cubicBezTo>
                  <a:pt x="442" y="11603"/>
                  <a:pt x="568" y="11697"/>
                  <a:pt x="726" y="11760"/>
                </a:cubicBezTo>
                <a:cubicBezTo>
                  <a:pt x="757" y="11760"/>
                  <a:pt x="1135" y="11792"/>
                  <a:pt x="1671" y="11792"/>
                </a:cubicBezTo>
                <a:cubicBezTo>
                  <a:pt x="2710" y="11792"/>
                  <a:pt x="4443" y="11603"/>
                  <a:pt x="5514" y="10531"/>
                </a:cubicBezTo>
                <a:cubicBezTo>
                  <a:pt x="6775" y="9271"/>
                  <a:pt x="6743" y="7192"/>
                  <a:pt x="6649" y="6278"/>
                </a:cubicBezTo>
                <a:cubicBezTo>
                  <a:pt x="6869" y="6278"/>
                  <a:pt x="7121" y="6310"/>
                  <a:pt x="7405" y="6310"/>
                </a:cubicBezTo>
                <a:cubicBezTo>
                  <a:pt x="8476" y="6310"/>
                  <a:pt x="9925" y="6121"/>
                  <a:pt x="10902" y="5144"/>
                </a:cubicBezTo>
                <a:cubicBezTo>
                  <a:pt x="12477" y="3600"/>
                  <a:pt x="12099" y="481"/>
                  <a:pt x="12099" y="355"/>
                </a:cubicBezTo>
                <a:cubicBezTo>
                  <a:pt x="12036" y="198"/>
                  <a:pt x="11941" y="103"/>
                  <a:pt x="11784" y="40"/>
                </a:cubicBezTo>
                <a:cubicBezTo>
                  <a:pt x="11743" y="40"/>
                  <a:pt x="11387" y="1"/>
                  <a:pt x="108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00" name="Google Shape;6600;p72"/>
          <p:cNvGrpSpPr/>
          <p:nvPr/>
        </p:nvGrpSpPr>
        <p:grpSpPr>
          <a:xfrm>
            <a:off x="10737782" y="5038667"/>
            <a:ext cx="318973" cy="474693"/>
            <a:chOff x="-22811700" y="2700350"/>
            <a:chExt cx="200075" cy="297750"/>
          </a:xfrm>
        </p:grpSpPr>
        <p:sp>
          <p:nvSpPr>
            <p:cNvPr id="6601" name="Google Shape;6601;p72"/>
            <p:cNvSpPr/>
            <p:nvPr/>
          </p:nvSpPr>
          <p:spPr>
            <a:xfrm>
              <a:off x="-22811700" y="2700350"/>
              <a:ext cx="86650" cy="296975"/>
            </a:xfrm>
            <a:custGeom>
              <a:avLst/>
              <a:gdLst/>
              <a:ahLst/>
              <a:cxnLst/>
              <a:rect l="l" t="t" r="r" b="b"/>
              <a:pathLst>
                <a:path w="3466" h="11879" extrusionOk="0">
                  <a:moveTo>
                    <a:pt x="1702" y="725"/>
                  </a:moveTo>
                  <a:cubicBezTo>
                    <a:pt x="2269" y="725"/>
                    <a:pt x="2710" y="1198"/>
                    <a:pt x="2710" y="1734"/>
                  </a:cubicBezTo>
                  <a:cubicBezTo>
                    <a:pt x="2710" y="2332"/>
                    <a:pt x="2237" y="2773"/>
                    <a:pt x="1702" y="2773"/>
                  </a:cubicBezTo>
                  <a:cubicBezTo>
                    <a:pt x="1684" y="2774"/>
                    <a:pt x="1666" y="2775"/>
                    <a:pt x="1648" y="2775"/>
                  </a:cubicBezTo>
                  <a:cubicBezTo>
                    <a:pt x="1105" y="2775"/>
                    <a:pt x="662" y="2313"/>
                    <a:pt x="662" y="1734"/>
                  </a:cubicBezTo>
                  <a:cubicBezTo>
                    <a:pt x="662" y="1166"/>
                    <a:pt x="1135" y="725"/>
                    <a:pt x="1702" y="725"/>
                  </a:cubicBezTo>
                  <a:close/>
                  <a:moveTo>
                    <a:pt x="1765" y="5609"/>
                  </a:moveTo>
                  <a:cubicBezTo>
                    <a:pt x="1954" y="5609"/>
                    <a:pt x="2080" y="5766"/>
                    <a:pt x="2111" y="5924"/>
                  </a:cubicBezTo>
                  <a:lnTo>
                    <a:pt x="2111" y="6302"/>
                  </a:lnTo>
                  <a:lnTo>
                    <a:pt x="1324" y="6302"/>
                  </a:lnTo>
                  <a:lnTo>
                    <a:pt x="1324" y="5955"/>
                  </a:lnTo>
                  <a:cubicBezTo>
                    <a:pt x="1324" y="5766"/>
                    <a:pt x="1481" y="5609"/>
                    <a:pt x="1702" y="5609"/>
                  </a:cubicBezTo>
                  <a:close/>
                  <a:moveTo>
                    <a:pt x="2174" y="7026"/>
                  </a:moveTo>
                  <a:lnTo>
                    <a:pt x="2332" y="9767"/>
                  </a:lnTo>
                  <a:lnTo>
                    <a:pt x="1261" y="9767"/>
                  </a:lnTo>
                  <a:lnTo>
                    <a:pt x="1324" y="7026"/>
                  </a:lnTo>
                  <a:close/>
                  <a:moveTo>
                    <a:pt x="2363" y="10523"/>
                  </a:moveTo>
                  <a:lnTo>
                    <a:pt x="2363" y="10586"/>
                  </a:lnTo>
                  <a:cubicBezTo>
                    <a:pt x="2363" y="10712"/>
                    <a:pt x="2332" y="10870"/>
                    <a:pt x="2206" y="10996"/>
                  </a:cubicBezTo>
                  <a:cubicBezTo>
                    <a:pt x="2080" y="11122"/>
                    <a:pt x="1985" y="11185"/>
                    <a:pt x="1796" y="11185"/>
                  </a:cubicBezTo>
                  <a:cubicBezTo>
                    <a:pt x="1639" y="11185"/>
                    <a:pt x="1481" y="11122"/>
                    <a:pt x="1418" y="11027"/>
                  </a:cubicBezTo>
                  <a:cubicBezTo>
                    <a:pt x="1292" y="10933"/>
                    <a:pt x="1261" y="10807"/>
                    <a:pt x="1261" y="10649"/>
                  </a:cubicBezTo>
                  <a:lnTo>
                    <a:pt x="1261" y="10523"/>
                  </a:lnTo>
                  <a:close/>
                  <a:moveTo>
                    <a:pt x="1733" y="1"/>
                  </a:moveTo>
                  <a:cubicBezTo>
                    <a:pt x="788" y="1"/>
                    <a:pt x="0" y="788"/>
                    <a:pt x="0" y="1734"/>
                  </a:cubicBezTo>
                  <a:cubicBezTo>
                    <a:pt x="0" y="2584"/>
                    <a:pt x="599" y="3277"/>
                    <a:pt x="1387" y="3435"/>
                  </a:cubicBezTo>
                  <a:lnTo>
                    <a:pt x="1387" y="4979"/>
                  </a:lnTo>
                  <a:cubicBezTo>
                    <a:pt x="977" y="5105"/>
                    <a:pt x="662" y="5483"/>
                    <a:pt x="662" y="5924"/>
                  </a:cubicBezTo>
                  <a:lnTo>
                    <a:pt x="536" y="10555"/>
                  </a:lnTo>
                  <a:cubicBezTo>
                    <a:pt x="536" y="10933"/>
                    <a:pt x="662" y="11248"/>
                    <a:pt x="914" y="11469"/>
                  </a:cubicBezTo>
                  <a:cubicBezTo>
                    <a:pt x="1135" y="11721"/>
                    <a:pt x="1450" y="11878"/>
                    <a:pt x="1796" y="11878"/>
                  </a:cubicBezTo>
                  <a:cubicBezTo>
                    <a:pt x="2174" y="11878"/>
                    <a:pt x="2489" y="11721"/>
                    <a:pt x="2710" y="11469"/>
                  </a:cubicBezTo>
                  <a:cubicBezTo>
                    <a:pt x="2962" y="11248"/>
                    <a:pt x="3056" y="10870"/>
                    <a:pt x="3056" y="10523"/>
                  </a:cubicBezTo>
                  <a:lnTo>
                    <a:pt x="2836" y="5924"/>
                  </a:lnTo>
                  <a:cubicBezTo>
                    <a:pt x="2804" y="5483"/>
                    <a:pt x="2521" y="5136"/>
                    <a:pt x="2080" y="4979"/>
                  </a:cubicBezTo>
                  <a:lnTo>
                    <a:pt x="2080" y="3466"/>
                  </a:lnTo>
                  <a:cubicBezTo>
                    <a:pt x="2836" y="3277"/>
                    <a:pt x="3466" y="2616"/>
                    <a:pt x="3466" y="1734"/>
                  </a:cubicBezTo>
                  <a:cubicBezTo>
                    <a:pt x="3466" y="788"/>
                    <a:pt x="2678"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2" name="Google Shape;6602;p72"/>
            <p:cNvSpPr/>
            <p:nvPr/>
          </p:nvSpPr>
          <p:spPr>
            <a:xfrm>
              <a:off x="-22693550" y="2701225"/>
              <a:ext cx="81925" cy="296875"/>
            </a:xfrm>
            <a:custGeom>
              <a:avLst/>
              <a:gdLst/>
              <a:ahLst/>
              <a:cxnLst/>
              <a:rect l="l" t="t" r="r" b="b"/>
              <a:pathLst>
                <a:path w="3277" h="11875" extrusionOk="0">
                  <a:moveTo>
                    <a:pt x="1229" y="5574"/>
                  </a:moveTo>
                  <a:cubicBezTo>
                    <a:pt x="1418" y="5574"/>
                    <a:pt x="1544" y="5731"/>
                    <a:pt x="1575" y="5889"/>
                  </a:cubicBezTo>
                  <a:lnTo>
                    <a:pt x="1575" y="6267"/>
                  </a:lnTo>
                  <a:lnTo>
                    <a:pt x="788" y="6267"/>
                  </a:lnTo>
                  <a:lnTo>
                    <a:pt x="788" y="5920"/>
                  </a:lnTo>
                  <a:cubicBezTo>
                    <a:pt x="788" y="5731"/>
                    <a:pt x="945" y="5574"/>
                    <a:pt x="1134" y="5574"/>
                  </a:cubicBezTo>
                  <a:close/>
                  <a:moveTo>
                    <a:pt x="1575" y="6991"/>
                  </a:moveTo>
                  <a:lnTo>
                    <a:pt x="1733" y="9732"/>
                  </a:lnTo>
                  <a:lnTo>
                    <a:pt x="662" y="9732"/>
                  </a:lnTo>
                  <a:lnTo>
                    <a:pt x="756" y="6991"/>
                  </a:lnTo>
                  <a:close/>
                  <a:moveTo>
                    <a:pt x="1764" y="10488"/>
                  </a:moveTo>
                  <a:lnTo>
                    <a:pt x="1764" y="10551"/>
                  </a:lnTo>
                  <a:cubicBezTo>
                    <a:pt x="1796" y="10677"/>
                    <a:pt x="1733" y="10835"/>
                    <a:pt x="1607" y="10961"/>
                  </a:cubicBezTo>
                  <a:cubicBezTo>
                    <a:pt x="1481" y="11087"/>
                    <a:pt x="1386" y="11150"/>
                    <a:pt x="1229" y="11150"/>
                  </a:cubicBezTo>
                  <a:cubicBezTo>
                    <a:pt x="1071" y="11150"/>
                    <a:pt x="914" y="11087"/>
                    <a:pt x="819" y="10992"/>
                  </a:cubicBezTo>
                  <a:cubicBezTo>
                    <a:pt x="693" y="10898"/>
                    <a:pt x="662" y="10772"/>
                    <a:pt x="662" y="10614"/>
                  </a:cubicBezTo>
                  <a:lnTo>
                    <a:pt x="662" y="10488"/>
                  </a:lnTo>
                  <a:close/>
                  <a:moveTo>
                    <a:pt x="2885" y="1"/>
                  </a:moveTo>
                  <a:cubicBezTo>
                    <a:pt x="2797" y="1"/>
                    <a:pt x="2713" y="40"/>
                    <a:pt x="2646" y="123"/>
                  </a:cubicBezTo>
                  <a:lnTo>
                    <a:pt x="914" y="2234"/>
                  </a:lnTo>
                  <a:cubicBezTo>
                    <a:pt x="882" y="2297"/>
                    <a:pt x="819" y="2392"/>
                    <a:pt x="819" y="2455"/>
                  </a:cubicBezTo>
                  <a:lnTo>
                    <a:pt x="819" y="4975"/>
                  </a:lnTo>
                  <a:cubicBezTo>
                    <a:pt x="441" y="5101"/>
                    <a:pt x="126" y="5479"/>
                    <a:pt x="126" y="5920"/>
                  </a:cubicBezTo>
                  <a:lnTo>
                    <a:pt x="0" y="10583"/>
                  </a:lnTo>
                  <a:cubicBezTo>
                    <a:pt x="0" y="10929"/>
                    <a:pt x="126" y="11245"/>
                    <a:pt x="347" y="11465"/>
                  </a:cubicBezTo>
                  <a:cubicBezTo>
                    <a:pt x="599" y="11717"/>
                    <a:pt x="914" y="11875"/>
                    <a:pt x="1260" y="11875"/>
                  </a:cubicBezTo>
                  <a:cubicBezTo>
                    <a:pt x="1607" y="11875"/>
                    <a:pt x="1922" y="11717"/>
                    <a:pt x="2174" y="11465"/>
                  </a:cubicBezTo>
                  <a:cubicBezTo>
                    <a:pt x="2394" y="11245"/>
                    <a:pt x="2520" y="10898"/>
                    <a:pt x="2520" y="10520"/>
                  </a:cubicBezTo>
                  <a:lnTo>
                    <a:pt x="2300" y="5920"/>
                  </a:lnTo>
                  <a:cubicBezTo>
                    <a:pt x="2237" y="5479"/>
                    <a:pt x="1985" y="5133"/>
                    <a:pt x="1544" y="4975"/>
                  </a:cubicBezTo>
                  <a:lnTo>
                    <a:pt x="1544" y="2581"/>
                  </a:lnTo>
                  <a:lnTo>
                    <a:pt x="3151" y="564"/>
                  </a:lnTo>
                  <a:cubicBezTo>
                    <a:pt x="3277" y="407"/>
                    <a:pt x="3277" y="218"/>
                    <a:pt x="3119" y="92"/>
                  </a:cubicBezTo>
                  <a:cubicBezTo>
                    <a:pt x="3045" y="32"/>
                    <a:pt x="2963" y="1"/>
                    <a:pt x="28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3" name="Google Shape;6603;p72"/>
            <p:cNvSpPr/>
            <p:nvPr/>
          </p:nvSpPr>
          <p:spPr>
            <a:xfrm>
              <a:off x="-22778625" y="27350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04" name="Google Shape;6604;p72"/>
          <p:cNvGrpSpPr/>
          <p:nvPr/>
        </p:nvGrpSpPr>
        <p:grpSpPr>
          <a:xfrm>
            <a:off x="8269050" y="2081987"/>
            <a:ext cx="473417" cy="472181"/>
            <a:chOff x="-27358650" y="1961575"/>
            <a:chExt cx="296950" cy="296175"/>
          </a:xfrm>
        </p:grpSpPr>
        <p:sp>
          <p:nvSpPr>
            <p:cNvPr id="6605" name="Google Shape;6605;p72"/>
            <p:cNvSpPr/>
            <p:nvPr/>
          </p:nvSpPr>
          <p:spPr>
            <a:xfrm>
              <a:off x="-27358650" y="1961575"/>
              <a:ext cx="296950" cy="296175"/>
            </a:xfrm>
            <a:custGeom>
              <a:avLst/>
              <a:gdLst/>
              <a:ahLst/>
              <a:cxnLst/>
              <a:rect l="l" t="t" r="r" b="b"/>
              <a:pathLst>
                <a:path w="11878" h="11847" extrusionOk="0">
                  <a:moveTo>
                    <a:pt x="7719" y="2080"/>
                  </a:moveTo>
                  <a:lnTo>
                    <a:pt x="7719" y="2836"/>
                  </a:lnTo>
                  <a:lnTo>
                    <a:pt x="4222" y="2836"/>
                  </a:lnTo>
                  <a:lnTo>
                    <a:pt x="4222" y="2080"/>
                  </a:lnTo>
                  <a:close/>
                  <a:moveTo>
                    <a:pt x="8034" y="693"/>
                  </a:moveTo>
                  <a:cubicBezTo>
                    <a:pt x="8633" y="693"/>
                    <a:pt x="9074" y="1166"/>
                    <a:pt x="9074" y="1733"/>
                  </a:cubicBezTo>
                  <a:lnTo>
                    <a:pt x="9074" y="2836"/>
                  </a:lnTo>
                  <a:lnTo>
                    <a:pt x="8349" y="2836"/>
                  </a:lnTo>
                  <a:lnTo>
                    <a:pt x="8349" y="1733"/>
                  </a:lnTo>
                  <a:cubicBezTo>
                    <a:pt x="8349" y="1513"/>
                    <a:pt x="8192" y="1355"/>
                    <a:pt x="8002" y="1355"/>
                  </a:cubicBezTo>
                  <a:lnTo>
                    <a:pt x="3781" y="1355"/>
                  </a:lnTo>
                  <a:cubicBezTo>
                    <a:pt x="3592" y="1355"/>
                    <a:pt x="3434" y="1513"/>
                    <a:pt x="3434" y="1733"/>
                  </a:cubicBezTo>
                  <a:lnTo>
                    <a:pt x="3434" y="2836"/>
                  </a:lnTo>
                  <a:lnTo>
                    <a:pt x="2741" y="2836"/>
                  </a:lnTo>
                  <a:lnTo>
                    <a:pt x="2741" y="1733"/>
                  </a:lnTo>
                  <a:lnTo>
                    <a:pt x="2804" y="1733"/>
                  </a:lnTo>
                  <a:cubicBezTo>
                    <a:pt x="2804" y="1134"/>
                    <a:pt x="3277" y="693"/>
                    <a:pt x="3844" y="693"/>
                  </a:cubicBezTo>
                  <a:close/>
                  <a:moveTo>
                    <a:pt x="10176" y="3497"/>
                  </a:moveTo>
                  <a:cubicBezTo>
                    <a:pt x="10617" y="3497"/>
                    <a:pt x="10995" y="3781"/>
                    <a:pt x="11153" y="4190"/>
                  </a:cubicBezTo>
                  <a:lnTo>
                    <a:pt x="851" y="4190"/>
                  </a:lnTo>
                  <a:cubicBezTo>
                    <a:pt x="914" y="3812"/>
                    <a:pt x="1323" y="3497"/>
                    <a:pt x="1796" y="3497"/>
                  </a:cubicBezTo>
                  <a:close/>
                  <a:moveTo>
                    <a:pt x="11153" y="4915"/>
                  </a:moveTo>
                  <a:lnTo>
                    <a:pt x="11153" y="6301"/>
                  </a:lnTo>
                  <a:lnTo>
                    <a:pt x="10460" y="6301"/>
                  </a:lnTo>
                  <a:lnTo>
                    <a:pt x="10460" y="5923"/>
                  </a:lnTo>
                  <a:cubicBezTo>
                    <a:pt x="10491" y="5734"/>
                    <a:pt x="10334" y="5577"/>
                    <a:pt x="10145" y="5577"/>
                  </a:cubicBezTo>
                  <a:lnTo>
                    <a:pt x="8759" y="5577"/>
                  </a:lnTo>
                  <a:cubicBezTo>
                    <a:pt x="8570" y="5577"/>
                    <a:pt x="8412" y="5734"/>
                    <a:pt x="8412" y="5923"/>
                  </a:cubicBezTo>
                  <a:lnTo>
                    <a:pt x="8412" y="6301"/>
                  </a:lnTo>
                  <a:lnTo>
                    <a:pt x="3529" y="6301"/>
                  </a:lnTo>
                  <a:lnTo>
                    <a:pt x="3529" y="5923"/>
                  </a:lnTo>
                  <a:cubicBezTo>
                    <a:pt x="3529" y="5734"/>
                    <a:pt x="3371" y="5577"/>
                    <a:pt x="3151" y="5577"/>
                  </a:cubicBezTo>
                  <a:lnTo>
                    <a:pt x="1796" y="5577"/>
                  </a:lnTo>
                  <a:cubicBezTo>
                    <a:pt x="1575" y="5577"/>
                    <a:pt x="1418" y="5734"/>
                    <a:pt x="1418" y="5923"/>
                  </a:cubicBezTo>
                  <a:lnTo>
                    <a:pt x="1418" y="6301"/>
                  </a:lnTo>
                  <a:lnTo>
                    <a:pt x="725" y="6301"/>
                  </a:lnTo>
                  <a:lnTo>
                    <a:pt x="725" y="4915"/>
                  </a:lnTo>
                  <a:close/>
                  <a:moveTo>
                    <a:pt x="2836" y="6301"/>
                  </a:moveTo>
                  <a:lnTo>
                    <a:pt x="2836" y="8034"/>
                  </a:lnTo>
                  <a:cubicBezTo>
                    <a:pt x="2836" y="8223"/>
                    <a:pt x="2678" y="8381"/>
                    <a:pt x="2489" y="8381"/>
                  </a:cubicBezTo>
                  <a:cubicBezTo>
                    <a:pt x="2300" y="8381"/>
                    <a:pt x="2143" y="8223"/>
                    <a:pt x="2143" y="8034"/>
                  </a:cubicBezTo>
                  <a:lnTo>
                    <a:pt x="2143" y="6301"/>
                  </a:lnTo>
                  <a:close/>
                  <a:moveTo>
                    <a:pt x="9830" y="6301"/>
                  </a:moveTo>
                  <a:lnTo>
                    <a:pt x="9830" y="8034"/>
                  </a:lnTo>
                  <a:cubicBezTo>
                    <a:pt x="9830" y="8223"/>
                    <a:pt x="9672" y="8381"/>
                    <a:pt x="9452" y="8381"/>
                  </a:cubicBezTo>
                  <a:cubicBezTo>
                    <a:pt x="9263" y="8381"/>
                    <a:pt x="9105" y="8223"/>
                    <a:pt x="9105" y="8034"/>
                  </a:cubicBezTo>
                  <a:lnTo>
                    <a:pt x="9105" y="6301"/>
                  </a:lnTo>
                  <a:close/>
                  <a:moveTo>
                    <a:pt x="11121" y="6994"/>
                  </a:moveTo>
                  <a:lnTo>
                    <a:pt x="11121" y="10113"/>
                  </a:lnTo>
                  <a:cubicBezTo>
                    <a:pt x="11184" y="10649"/>
                    <a:pt x="10712" y="11121"/>
                    <a:pt x="10145" y="11121"/>
                  </a:cubicBezTo>
                  <a:lnTo>
                    <a:pt x="1733" y="11121"/>
                  </a:lnTo>
                  <a:cubicBezTo>
                    <a:pt x="1166" y="11121"/>
                    <a:pt x="725" y="10649"/>
                    <a:pt x="725" y="10113"/>
                  </a:cubicBezTo>
                  <a:lnTo>
                    <a:pt x="725" y="6994"/>
                  </a:lnTo>
                  <a:lnTo>
                    <a:pt x="1418" y="6994"/>
                  </a:lnTo>
                  <a:lnTo>
                    <a:pt x="1418" y="8034"/>
                  </a:lnTo>
                  <a:cubicBezTo>
                    <a:pt x="1418" y="8601"/>
                    <a:pt x="1891" y="9042"/>
                    <a:pt x="2458" y="9042"/>
                  </a:cubicBezTo>
                  <a:cubicBezTo>
                    <a:pt x="2993" y="9042"/>
                    <a:pt x="3466" y="8570"/>
                    <a:pt x="3466" y="8034"/>
                  </a:cubicBezTo>
                  <a:lnTo>
                    <a:pt x="3466" y="6994"/>
                  </a:lnTo>
                  <a:lnTo>
                    <a:pt x="8349" y="6994"/>
                  </a:lnTo>
                  <a:lnTo>
                    <a:pt x="8349" y="8034"/>
                  </a:lnTo>
                  <a:cubicBezTo>
                    <a:pt x="8349" y="8601"/>
                    <a:pt x="8822" y="9042"/>
                    <a:pt x="9389" y="9042"/>
                  </a:cubicBezTo>
                  <a:cubicBezTo>
                    <a:pt x="9924" y="9042"/>
                    <a:pt x="10397" y="8570"/>
                    <a:pt x="10397" y="8034"/>
                  </a:cubicBezTo>
                  <a:lnTo>
                    <a:pt x="10397" y="6994"/>
                  </a:lnTo>
                  <a:close/>
                  <a:moveTo>
                    <a:pt x="3844" y="0"/>
                  </a:moveTo>
                  <a:cubicBezTo>
                    <a:pt x="2899" y="0"/>
                    <a:pt x="2111" y="788"/>
                    <a:pt x="2111" y="1733"/>
                  </a:cubicBezTo>
                  <a:lnTo>
                    <a:pt x="2111" y="2836"/>
                  </a:lnTo>
                  <a:lnTo>
                    <a:pt x="1733" y="2836"/>
                  </a:lnTo>
                  <a:cubicBezTo>
                    <a:pt x="788" y="2836"/>
                    <a:pt x="0" y="3623"/>
                    <a:pt x="0" y="4568"/>
                  </a:cubicBezTo>
                  <a:lnTo>
                    <a:pt x="0" y="10113"/>
                  </a:lnTo>
                  <a:cubicBezTo>
                    <a:pt x="0" y="11058"/>
                    <a:pt x="788" y="11846"/>
                    <a:pt x="1733" y="11846"/>
                  </a:cubicBezTo>
                  <a:lnTo>
                    <a:pt x="10145" y="11846"/>
                  </a:lnTo>
                  <a:cubicBezTo>
                    <a:pt x="11090" y="11846"/>
                    <a:pt x="11878" y="11058"/>
                    <a:pt x="11878" y="10113"/>
                  </a:cubicBezTo>
                  <a:lnTo>
                    <a:pt x="11878" y="4568"/>
                  </a:lnTo>
                  <a:cubicBezTo>
                    <a:pt x="11878" y="3623"/>
                    <a:pt x="11121" y="2836"/>
                    <a:pt x="10145" y="2836"/>
                  </a:cubicBezTo>
                  <a:lnTo>
                    <a:pt x="9767" y="2836"/>
                  </a:lnTo>
                  <a:lnTo>
                    <a:pt x="9767" y="1733"/>
                  </a:lnTo>
                  <a:cubicBezTo>
                    <a:pt x="9767" y="788"/>
                    <a:pt x="8979" y="0"/>
                    <a:pt x="80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6" name="Google Shape;6606;p72"/>
            <p:cNvSpPr/>
            <p:nvPr/>
          </p:nvSpPr>
          <p:spPr>
            <a:xfrm>
              <a:off x="-27246025" y="2152175"/>
              <a:ext cx="70900" cy="70900"/>
            </a:xfrm>
            <a:custGeom>
              <a:avLst/>
              <a:gdLst/>
              <a:ahLst/>
              <a:cxnLst/>
              <a:rect l="l" t="t" r="r" b="b"/>
              <a:pathLst>
                <a:path w="2836" h="2836" extrusionOk="0">
                  <a:moveTo>
                    <a:pt x="1418" y="0"/>
                  </a:moveTo>
                  <a:cubicBezTo>
                    <a:pt x="1229" y="0"/>
                    <a:pt x="1072" y="158"/>
                    <a:pt x="1072" y="347"/>
                  </a:cubicBezTo>
                  <a:lnTo>
                    <a:pt x="1072" y="1072"/>
                  </a:lnTo>
                  <a:lnTo>
                    <a:pt x="347" y="1072"/>
                  </a:lnTo>
                  <a:cubicBezTo>
                    <a:pt x="158" y="1072"/>
                    <a:pt x="0" y="1229"/>
                    <a:pt x="0" y="1418"/>
                  </a:cubicBezTo>
                  <a:cubicBezTo>
                    <a:pt x="0" y="1607"/>
                    <a:pt x="158" y="1765"/>
                    <a:pt x="347" y="1765"/>
                  </a:cubicBezTo>
                  <a:lnTo>
                    <a:pt x="1072" y="1765"/>
                  </a:lnTo>
                  <a:lnTo>
                    <a:pt x="1072" y="2489"/>
                  </a:lnTo>
                  <a:cubicBezTo>
                    <a:pt x="1072" y="2678"/>
                    <a:pt x="1229" y="2836"/>
                    <a:pt x="1418" y="2836"/>
                  </a:cubicBezTo>
                  <a:cubicBezTo>
                    <a:pt x="1607" y="2836"/>
                    <a:pt x="1765" y="2678"/>
                    <a:pt x="1765" y="2489"/>
                  </a:cubicBezTo>
                  <a:lnTo>
                    <a:pt x="1765" y="1765"/>
                  </a:lnTo>
                  <a:lnTo>
                    <a:pt x="2489" y="1765"/>
                  </a:lnTo>
                  <a:cubicBezTo>
                    <a:pt x="2678" y="1765"/>
                    <a:pt x="2836" y="1607"/>
                    <a:pt x="2836" y="1418"/>
                  </a:cubicBezTo>
                  <a:cubicBezTo>
                    <a:pt x="2836" y="1229"/>
                    <a:pt x="2678" y="1072"/>
                    <a:pt x="2489" y="1072"/>
                  </a:cubicBezTo>
                  <a:lnTo>
                    <a:pt x="1765" y="1072"/>
                  </a:lnTo>
                  <a:lnTo>
                    <a:pt x="1765" y="347"/>
                  </a:lnTo>
                  <a:cubicBezTo>
                    <a:pt x="1765" y="158"/>
                    <a:pt x="1607" y="0"/>
                    <a:pt x="14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07" name="Google Shape;6607;p72"/>
          <p:cNvSpPr/>
          <p:nvPr/>
        </p:nvSpPr>
        <p:spPr>
          <a:xfrm>
            <a:off x="8324915" y="2678981"/>
            <a:ext cx="362935" cy="470987"/>
          </a:xfrm>
          <a:custGeom>
            <a:avLst/>
            <a:gdLst/>
            <a:ahLst/>
            <a:cxnLst/>
            <a:rect l="l" t="t" r="r" b="b"/>
            <a:pathLst>
              <a:path w="9106" h="11817" extrusionOk="0">
                <a:moveTo>
                  <a:pt x="4649" y="623"/>
                </a:moveTo>
                <a:cubicBezTo>
                  <a:pt x="5216" y="623"/>
                  <a:pt x="5756" y="897"/>
                  <a:pt x="6270" y="1325"/>
                </a:cubicBezTo>
                <a:lnTo>
                  <a:pt x="5987" y="2365"/>
                </a:lnTo>
                <a:cubicBezTo>
                  <a:pt x="5546" y="2144"/>
                  <a:pt x="5042" y="2050"/>
                  <a:pt x="4569" y="2050"/>
                </a:cubicBezTo>
                <a:cubicBezTo>
                  <a:pt x="4097" y="2050"/>
                  <a:pt x="3593" y="2144"/>
                  <a:pt x="3151" y="2365"/>
                </a:cubicBezTo>
                <a:lnTo>
                  <a:pt x="2868" y="1325"/>
                </a:lnTo>
                <a:cubicBezTo>
                  <a:pt x="3340" y="916"/>
                  <a:pt x="3939" y="664"/>
                  <a:pt x="4475" y="632"/>
                </a:cubicBezTo>
                <a:cubicBezTo>
                  <a:pt x="4533" y="626"/>
                  <a:pt x="4591" y="623"/>
                  <a:pt x="4649" y="623"/>
                </a:cubicBezTo>
                <a:close/>
                <a:moveTo>
                  <a:pt x="4601" y="4791"/>
                </a:moveTo>
                <a:cubicBezTo>
                  <a:pt x="4853" y="5074"/>
                  <a:pt x="5199" y="5358"/>
                  <a:pt x="5640" y="5610"/>
                </a:cubicBezTo>
                <a:lnTo>
                  <a:pt x="5640" y="6555"/>
                </a:lnTo>
                <a:cubicBezTo>
                  <a:pt x="5640" y="7154"/>
                  <a:pt x="5168" y="7595"/>
                  <a:pt x="4601" y="7595"/>
                </a:cubicBezTo>
                <a:cubicBezTo>
                  <a:pt x="4065" y="7595"/>
                  <a:pt x="3593" y="7122"/>
                  <a:pt x="3593" y="6555"/>
                </a:cubicBezTo>
                <a:lnTo>
                  <a:pt x="3593" y="5641"/>
                </a:lnTo>
                <a:cubicBezTo>
                  <a:pt x="3939" y="5358"/>
                  <a:pt x="4254" y="5169"/>
                  <a:pt x="4475" y="4917"/>
                </a:cubicBezTo>
                <a:lnTo>
                  <a:pt x="4601" y="4791"/>
                </a:lnTo>
                <a:close/>
                <a:moveTo>
                  <a:pt x="4569" y="2806"/>
                </a:moveTo>
                <a:cubicBezTo>
                  <a:pt x="5073" y="2806"/>
                  <a:pt x="5577" y="2964"/>
                  <a:pt x="6018" y="3216"/>
                </a:cubicBezTo>
                <a:cubicBezTo>
                  <a:pt x="6491" y="3499"/>
                  <a:pt x="6901" y="3972"/>
                  <a:pt x="7121" y="4476"/>
                </a:cubicBezTo>
                <a:lnTo>
                  <a:pt x="7877" y="6902"/>
                </a:lnTo>
                <a:lnTo>
                  <a:pt x="7877" y="6933"/>
                </a:lnTo>
                <a:cubicBezTo>
                  <a:pt x="8003" y="7217"/>
                  <a:pt x="7909" y="7469"/>
                  <a:pt x="7783" y="7626"/>
                </a:cubicBezTo>
                <a:cubicBezTo>
                  <a:pt x="7562" y="8036"/>
                  <a:pt x="7090" y="8319"/>
                  <a:pt x="6617" y="8351"/>
                </a:cubicBezTo>
                <a:cubicBezTo>
                  <a:pt x="6270" y="8351"/>
                  <a:pt x="5955" y="8162"/>
                  <a:pt x="5766" y="7878"/>
                </a:cubicBezTo>
                <a:cubicBezTo>
                  <a:pt x="6081" y="7563"/>
                  <a:pt x="6302" y="7122"/>
                  <a:pt x="6302" y="6618"/>
                </a:cubicBezTo>
                <a:lnTo>
                  <a:pt x="6302" y="6114"/>
                </a:lnTo>
                <a:cubicBezTo>
                  <a:pt x="6333" y="6145"/>
                  <a:pt x="6428" y="6177"/>
                  <a:pt x="6459" y="6208"/>
                </a:cubicBezTo>
                <a:cubicBezTo>
                  <a:pt x="6554" y="6272"/>
                  <a:pt x="6585" y="6272"/>
                  <a:pt x="6648" y="6272"/>
                </a:cubicBezTo>
                <a:cubicBezTo>
                  <a:pt x="6775" y="6272"/>
                  <a:pt x="6901" y="6208"/>
                  <a:pt x="6932" y="6114"/>
                </a:cubicBezTo>
                <a:cubicBezTo>
                  <a:pt x="7058" y="5956"/>
                  <a:pt x="6995" y="5704"/>
                  <a:pt x="6869" y="5641"/>
                </a:cubicBezTo>
                <a:cubicBezTo>
                  <a:pt x="6617" y="5484"/>
                  <a:pt x="6428" y="5358"/>
                  <a:pt x="6239" y="5232"/>
                </a:cubicBezTo>
                <a:cubicBezTo>
                  <a:pt x="6176" y="5200"/>
                  <a:pt x="6144" y="5169"/>
                  <a:pt x="6113" y="5169"/>
                </a:cubicBezTo>
                <a:cubicBezTo>
                  <a:pt x="5199" y="4570"/>
                  <a:pt x="4979" y="4381"/>
                  <a:pt x="4979" y="3814"/>
                </a:cubicBezTo>
                <a:cubicBezTo>
                  <a:pt x="4979" y="3625"/>
                  <a:pt x="4821" y="3468"/>
                  <a:pt x="4601" y="3468"/>
                </a:cubicBezTo>
                <a:cubicBezTo>
                  <a:pt x="4412" y="3468"/>
                  <a:pt x="4254" y="3625"/>
                  <a:pt x="4254" y="3814"/>
                </a:cubicBezTo>
                <a:cubicBezTo>
                  <a:pt x="4254" y="4381"/>
                  <a:pt x="4034" y="4570"/>
                  <a:pt x="3120" y="5169"/>
                </a:cubicBezTo>
                <a:cubicBezTo>
                  <a:pt x="3057" y="5169"/>
                  <a:pt x="3025" y="5200"/>
                  <a:pt x="2994" y="5232"/>
                </a:cubicBezTo>
                <a:cubicBezTo>
                  <a:pt x="2805" y="5358"/>
                  <a:pt x="2584" y="5484"/>
                  <a:pt x="2364" y="5641"/>
                </a:cubicBezTo>
                <a:cubicBezTo>
                  <a:pt x="2206" y="5736"/>
                  <a:pt x="2175" y="5956"/>
                  <a:pt x="2269" y="6114"/>
                </a:cubicBezTo>
                <a:cubicBezTo>
                  <a:pt x="2343" y="6206"/>
                  <a:pt x="2448" y="6255"/>
                  <a:pt x="2548" y="6255"/>
                </a:cubicBezTo>
                <a:cubicBezTo>
                  <a:pt x="2620" y="6255"/>
                  <a:pt x="2689" y="6230"/>
                  <a:pt x="2742" y="6177"/>
                </a:cubicBezTo>
                <a:cubicBezTo>
                  <a:pt x="2805" y="6145"/>
                  <a:pt x="2868" y="6114"/>
                  <a:pt x="2899" y="6051"/>
                </a:cubicBezTo>
                <a:lnTo>
                  <a:pt x="2899" y="6587"/>
                </a:lnTo>
                <a:cubicBezTo>
                  <a:pt x="2899" y="7059"/>
                  <a:pt x="3120" y="7532"/>
                  <a:pt x="3466" y="7847"/>
                </a:cubicBezTo>
                <a:cubicBezTo>
                  <a:pt x="3277" y="8099"/>
                  <a:pt x="2962" y="8319"/>
                  <a:pt x="2616" y="8319"/>
                </a:cubicBezTo>
                <a:cubicBezTo>
                  <a:pt x="2143" y="8256"/>
                  <a:pt x="1671" y="8004"/>
                  <a:pt x="1419" y="7595"/>
                </a:cubicBezTo>
                <a:cubicBezTo>
                  <a:pt x="1230" y="7437"/>
                  <a:pt x="1135" y="7217"/>
                  <a:pt x="1261" y="6933"/>
                </a:cubicBezTo>
                <a:lnTo>
                  <a:pt x="2017" y="4476"/>
                </a:lnTo>
                <a:cubicBezTo>
                  <a:pt x="2238" y="3940"/>
                  <a:pt x="2647" y="3499"/>
                  <a:pt x="3120" y="3216"/>
                </a:cubicBezTo>
                <a:cubicBezTo>
                  <a:pt x="3529" y="2964"/>
                  <a:pt x="4065" y="2806"/>
                  <a:pt x="4569" y="2806"/>
                </a:cubicBezTo>
                <a:close/>
                <a:moveTo>
                  <a:pt x="5231" y="8225"/>
                </a:moveTo>
                <a:cubicBezTo>
                  <a:pt x="5325" y="8382"/>
                  <a:pt x="5420" y="8508"/>
                  <a:pt x="5577" y="8634"/>
                </a:cubicBezTo>
                <a:lnTo>
                  <a:pt x="4569" y="9580"/>
                </a:lnTo>
                <a:lnTo>
                  <a:pt x="3624" y="8634"/>
                </a:lnTo>
                <a:cubicBezTo>
                  <a:pt x="3750" y="8508"/>
                  <a:pt x="3845" y="8382"/>
                  <a:pt x="3971" y="8225"/>
                </a:cubicBezTo>
                <a:cubicBezTo>
                  <a:pt x="4160" y="8319"/>
                  <a:pt x="4380" y="8351"/>
                  <a:pt x="4601" y="8351"/>
                </a:cubicBezTo>
                <a:cubicBezTo>
                  <a:pt x="4853" y="8351"/>
                  <a:pt x="5042" y="8319"/>
                  <a:pt x="5231" y="8225"/>
                </a:cubicBezTo>
                <a:close/>
                <a:moveTo>
                  <a:pt x="2994" y="8949"/>
                </a:moveTo>
                <a:lnTo>
                  <a:pt x="4254" y="10210"/>
                </a:lnTo>
                <a:lnTo>
                  <a:pt x="4254" y="11092"/>
                </a:lnTo>
                <a:lnTo>
                  <a:pt x="789" y="11092"/>
                </a:lnTo>
                <a:lnTo>
                  <a:pt x="789" y="10745"/>
                </a:lnTo>
                <a:cubicBezTo>
                  <a:pt x="789" y="9800"/>
                  <a:pt x="1576" y="9012"/>
                  <a:pt x="2521" y="9012"/>
                </a:cubicBezTo>
                <a:cubicBezTo>
                  <a:pt x="2679" y="9012"/>
                  <a:pt x="2836" y="8981"/>
                  <a:pt x="2994" y="8949"/>
                </a:cubicBezTo>
                <a:close/>
                <a:moveTo>
                  <a:pt x="6176" y="8949"/>
                </a:moveTo>
                <a:cubicBezTo>
                  <a:pt x="6333" y="8981"/>
                  <a:pt x="6491" y="9012"/>
                  <a:pt x="6648" y="9012"/>
                </a:cubicBezTo>
                <a:cubicBezTo>
                  <a:pt x="7594" y="9012"/>
                  <a:pt x="8381" y="9800"/>
                  <a:pt x="8381" y="10745"/>
                </a:cubicBezTo>
                <a:lnTo>
                  <a:pt x="8381" y="11092"/>
                </a:lnTo>
                <a:lnTo>
                  <a:pt x="4916" y="11092"/>
                </a:lnTo>
                <a:lnTo>
                  <a:pt x="4916" y="10210"/>
                </a:lnTo>
                <a:lnTo>
                  <a:pt x="6176" y="8949"/>
                </a:lnTo>
                <a:close/>
                <a:moveTo>
                  <a:pt x="4553" y="0"/>
                </a:moveTo>
                <a:cubicBezTo>
                  <a:pt x="4517" y="0"/>
                  <a:pt x="4480" y="1"/>
                  <a:pt x="4443" y="2"/>
                </a:cubicBezTo>
                <a:cubicBezTo>
                  <a:pt x="3656" y="34"/>
                  <a:pt x="2836" y="380"/>
                  <a:pt x="2206" y="1010"/>
                </a:cubicBezTo>
                <a:cubicBezTo>
                  <a:pt x="2143" y="1105"/>
                  <a:pt x="2080" y="1231"/>
                  <a:pt x="2143" y="1325"/>
                </a:cubicBezTo>
                <a:lnTo>
                  <a:pt x="2490" y="2743"/>
                </a:lnTo>
                <a:cubicBezTo>
                  <a:pt x="1986" y="3121"/>
                  <a:pt x="1576" y="3625"/>
                  <a:pt x="1293" y="4224"/>
                </a:cubicBezTo>
                <a:lnTo>
                  <a:pt x="1293" y="4255"/>
                </a:lnTo>
                <a:lnTo>
                  <a:pt x="568" y="6650"/>
                </a:lnTo>
                <a:cubicBezTo>
                  <a:pt x="411" y="7091"/>
                  <a:pt x="442" y="7563"/>
                  <a:pt x="663" y="8004"/>
                </a:cubicBezTo>
                <a:cubicBezTo>
                  <a:pt x="820" y="8225"/>
                  <a:pt x="1041" y="8477"/>
                  <a:pt x="1261" y="8634"/>
                </a:cubicBezTo>
                <a:cubicBezTo>
                  <a:pt x="505" y="9012"/>
                  <a:pt x="1" y="9832"/>
                  <a:pt x="1" y="10745"/>
                </a:cubicBezTo>
                <a:lnTo>
                  <a:pt x="1" y="11470"/>
                </a:lnTo>
                <a:cubicBezTo>
                  <a:pt x="1" y="11659"/>
                  <a:pt x="158" y="11816"/>
                  <a:pt x="347" y="11816"/>
                </a:cubicBezTo>
                <a:lnTo>
                  <a:pt x="8665" y="11816"/>
                </a:lnTo>
                <a:cubicBezTo>
                  <a:pt x="8854" y="11816"/>
                  <a:pt x="9011" y="11659"/>
                  <a:pt x="9011" y="11470"/>
                </a:cubicBezTo>
                <a:lnTo>
                  <a:pt x="9011" y="10745"/>
                </a:lnTo>
                <a:cubicBezTo>
                  <a:pt x="9106" y="9832"/>
                  <a:pt x="8570" y="9012"/>
                  <a:pt x="7783" y="8634"/>
                </a:cubicBezTo>
                <a:cubicBezTo>
                  <a:pt x="8035" y="8477"/>
                  <a:pt x="8255" y="8225"/>
                  <a:pt x="8381" y="8004"/>
                </a:cubicBezTo>
                <a:cubicBezTo>
                  <a:pt x="8665" y="7563"/>
                  <a:pt x="8696" y="7091"/>
                  <a:pt x="8507" y="6650"/>
                </a:cubicBezTo>
                <a:lnTo>
                  <a:pt x="7751" y="4255"/>
                </a:lnTo>
                <a:lnTo>
                  <a:pt x="7751" y="4224"/>
                </a:lnTo>
                <a:cubicBezTo>
                  <a:pt x="7531" y="3625"/>
                  <a:pt x="7090" y="3121"/>
                  <a:pt x="6585" y="2743"/>
                </a:cubicBezTo>
                <a:lnTo>
                  <a:pt x="6932" y="1325"/>
                </a:lnTo>
                <a:cubicBezTo>
                  <a:pt x="6964" y="1231"/>
                  <a:pt x="6932" y="1105"/>
                  <a:pt x="6838" y="1010"/>
                </a:cubicBezTo>
                <a:cubicBezTo>
                  <a:pt x="6173" y="346"/>
                  <a:pt x="5393" y="0"/>
                  <a:pt x="4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8" name="Google Shape;6608;p72"/>
          <p:cNvSpPr/>
          <p:nvPr/>
        </p:nvSpPr>
        <p:spPr>
          <a:xfrm>
            <a:off x="8269674" y="3266663"/>
            <a:ext cx="473417" cy="472181"/>
          </a:xfrm>
          <a:custGeom>
            <a:avLst/>
            <a:gdLst/>
            <a:ahLst/>
            <a:cxnLst/>
            <a:rect l="l" t="t" r="r" b="b"/>
            <a:pathLst>
              <a:path w="11878" h="11847" extrusionOk="0">
                <a:moveTo>
                  <a:pt x="10523" y="694"/>
                </a:moveTo>
                <a:cubicBezTo>
                  <a:pt x="10680" y="694"/>
                  <a:pt x="10901" y="788"/>
                  <a:pt x="10995" y="883"/>
                </a:cubicBezTo>
                <a:cubicBezTo>
                  <a:pt x="11121" y="1009"/>
                  <a:pt x="11184" y="1198"/>
                  <a:pt x="11184" y="1356"/>
                </a:cubicBezTo>
                <a:cubicBezTo>
                  <a:pt x="11184" y="1576"/>
                  <a:pt x="11121" y="1734"/>
                  <a:pt x="10995" y="1828"/>
                </a:cubicBezTo>
                <a:lnTo>
                  <a:pt x="9389" y="3466"/>
                </a:lnTo>
                <a:cubicBezTo>
                  <a:pt x="9105" y="3718"/>
                  <a:pt x="8948" y="4096"/>
                  <a:pt x="8916" y="4443"/>
                </a:cubicBezTo>
                <a:lnTo>
                  <a:pt x="7467" y="2994"/>
                </a:lnTo>
                <a:cubicBezTo>
                  <a:pt x="7813" y="2931"/>
                  <a:pt x="8160" y="2773"/>
                  <a:pt x="8444" y="2521"/>
                </a:cubicBezTo>
                <a:lnTo>
                  <a:pt x="10050" y="883"/>
                </a:lnTo>
                <a:cubicBezTo>
                  <a:pt x="10176" y="788"/>
                  <a:pt x="10365" y="694"/>
                  <a:pt x="10523" y="694"/>
                </a:cubicBezTo>
                <a:close/>
                <a:moveTo>
                  <a:pt x="5766" y="2427"/>
                </a:moveTo>
                <a:cubicBezTo>
                  <a:pt x="5860" y="2427"/>
                  <a:pt x="5955" y="2458"/>
                  <a:pt x="6018" y="2553"/>
                </a:cubicBezTo>
                <a:lnTo>
                  <a:pt x="9420" y="5987"/>
                </a:lnTo>
                <a:cubicBezTo>
                  <a:pt x="9515" y="6050"/>
                  <a:pt x="9546" y="6144"/>
                  <a:pt x="9546" y="6207"/>
                </a:cubicBezTo>
                <a:cubicBezTo>
                  <a:pt x="9452" y="6239"/>
                  <a:pt x="9452" y="6333"/>
                  <a:pt x="9389" y="6396"/>
                </a:cubicBezTo>
                <a:cubicBezTo>
                  <a:pt x="9326" y="6459"/>
                  <a:pt x="9239" y="6491"/>
                  <a:pt x="9152" y="6491"/>
                </a:cubicBezTo>
                <a:cubicBezTo>
                  <a:pt x="9066" y="6491"/>
                  <a:pt x="8979" y="6459"/>
                  <a:pt x="8916" y="6396"/>
                </a:cubicBezTo>
                <a:lnTo>
                  <a:pt x="8444" y="5924"/>
                </a:lnTo>
                <a:lnTo>
                  <a:pt x="6018" y="3498"/>
                </a:lnTo>
                <a:lnTo>
                  <a:pt x="5545" y="3025"/>
                </a:lnTo>
                <a:cubicBezTo>
                  <a:pt x="5419" y="2899"/>
                  <a:pt x="5419" y="2679"/>
                  <a:pt x="5545" y="2553"/>
                </a:cubicBezTo>
                <a:cubicBezTo>
                  <a:pt x="5608" y="2458"/>
                  <a:pt x="5703" y="2427"/>
                  <a:pt x="5766" y="2427"/>
                </a:cubicBezTo>
                <a:close/>
                <a:moveTo>
                  <a:pt x="5734" y="4159"/>
                </a:moveTo>
                <a:lnTo>
                  <a:pt x="7687" y="6144"/>
                </a:lnTo>
                <a:lnTo>
                  <a:pt x="7183" y="6648"/>
                </a:lnTo>
                <a:lnTo>
                  <a:pt x="6427" y="5892"/>
                </a:lnTo>
                <a:cubicBezTo>
                  <a:pt x="6364" y="5829"/>
                  <a:pt x="6278" y="5798"/>
                  <a:pt x="6191" y="5798"/>
                </a:cubicBezTo>
                <a:cubicBezTo>
                  <a:pt x="6104" y="5798"/>
                  <a:pt x="6018" y="5829"/>
                  <a:pt x="5955" y="5892"/>
                </a:cubicBezTo>
                <a:cubicBezTo>
                  <a:pt x="5829" y="6018"/>
                  <a:pt x="5829" y="6239"/>
                  <a:pt x="5955" y="6365"/>
                </a:cubicBezTo>
                <a:lnTo>
                  <a:pt x="6711" y="7121"/>
                </a:lnTo>
                <a:lnTo>
                  <a:pt x="6238" y="7593"/>
                </a:lnTo>
                <a:lnTo>
                  <a:pt x="4253" y="5609"/>
                </a:lnTo>
                <a:lnTo>
                  <a:pt x="5734" y="4159"/>
                </a:lnTo>
                <a:close/>
                <a:moveTo>
                  <a:pt x="3718" y="6176"/>
                </a:moveTo>
                <a:lnTo>
                  <a:pt x="5703" y="8129"/>
                </a:lnTo>
                <a:lnTo>
                  <a:pt x="5230" y="8602"/>
                </a:lnTo>
                <a:lnTo>
                  <a:pt x="4474" y="7877"/>
                </a:lnTo>
                <a:cubicBezTo>
                  <a:pt x="4411" y="7814"/>
                  <a:pt x="4324" y="7782"/>
                  <a:pt x="4238" y="7782"/>
                </a:cubicBezTo>
                <a:cubicBezTo>
                  <a:pt x="4151" y="7782"/>
                  <a:pt x="4064" y="7814"/>
                  <a:pt x="4001" y="7877"/>
                </a:cubicBezTo>
                <a:cubicBezTo>
                  <a:pt x="3875" y="7972"/>
                  <a:pt x="3875" y="8224"/>
                  <a:pt x="4001" y="8350"/>
                </a:cubicBezTo>
                <a:lnTo>
                  <a:pt x="4694" y="9043"/>
                </a:lnTo>
                <a:cubicBezTo>
                  <a:pt x="4537" y="9169"/>
                  <a:pt x="4379" y="9232"/>
                  <a:pt x="4190" y="9295"/>
                </a:cubicBezTo>
                <a:cubicBezTo>
                  <a:pt x="3119" y="9547"/>
                  <a:pt x="2332" y="9988"/>
                  <a:pt x="1733" y="10586"/>
                </a:cubicBezTo>
                <a:lnTo>
                  <a:pt x="1355" y="10964"/>
                </a:lnTo>
                <a:cubicBezTo>
                  <a:pt x="1292" y="11027"/>
                  <a:pt x="1205" y="11059"/>
                  <a:pt x="1119" y="11059"/>
                </a:cubicBezTo>
                <a:cubicBezTo>
                  <a:pt x="1032" y="11059"/>
                  <a:pt x="945" y="11027"/>
                  <a:pt x="882" y="10964"/>
                </a:cubicBezTo>
                <a:cubicBezTo>
                  <a:pt x="819" y="10901"/>
                  <a:pt x="756" y="10807"/>
                  <a:pt x="756" y="10744"/>
                </a:cubicBezTo>
                <a:cubicBezTo>
                  <a:pt x="756" y="10649"/>
                  <a:pt x="788" y="10555"/>
                  <a:pt x="882" y="10492"/>
                </a:cubicBezTo>
                <a:lnTo>
                  <a:pt x="1260" y="10114"/>
                </a:lnTo>
                <a:cubicBezTo>
                  <a:pt x="1859" y="9515"/>
                  <a:pt x="2300" y="8696"/>
                  <a:pt x="2584" y="7656"/>
                </a:cubicBezTo>
                <a:cubicBezTo>
                  <a:pt x="2647" y="7404"/>
                  <a:pt x="2804" y="7121"/>
                  <a:pt x="3025" y="6869"/>
                </a:cubicBezTo>
                <a:lnTo>
                  <a:pt x="3718" y="6176"/>
                </a:lnTo>
                <a:close/>
                <a:moveTo>
                  <a:pt x="10491" y="1"/>
                </a:moveTo>
                <a:cubicBezTo>
                  <a:pt x="10145" y="1"/>
                  <a:pt x="9767" y="158"/>
                  <a:pt x="9515" y="379"/>
                </a:cubicBezTo>
                <a:lnTo>
                  <a:pt x="7876" y="1986"/>
                </a:lnTo>
                <a:cubicBezTo>
                  <a:pt x="7687" y="2190"/>
                  <a:pt x="7428" y="2293"/>
                  <a:pt x="7164" y="2293"/>
                </a:cubicBezTo>
                <a:cubicBezTo>
                  <a:pt x="6900" y="2293"/>
                  <a:pt x="6632" y="2190"/>
                  <a:pt x="6427" y="1986"/>
                </a:cubicBezTo>
                <a:cubicBezTo>
                  <a:pt x="6238" y="1797"/>
                  <a:pt x="5978" y="1702"/>
                  <a:pt x="5714" y="1702"/>
                </a:cubicBezTo>
                <a:cubicBezTo>
                  <a:pt x="5451" y="1702"/>
                  <a:pt x="5183" y="1797"/>
                  <a:pt x="4978" y="1986"/>
                </a:cubicBezTo>
                <a:cubicBezTo>
                  <a:pt x="4600" y="2395"/>
                  <a:pt x="4600" y="3057"/>
                  <a:pt x="4978" y="3435"/>
                </a:cubicBezTo>
                <a:lnTo>
                  <a:pt x="5199" y="3687"/>
                </a:lnTo>
                <a:lnTo>
                  <a:pt x="3466" y="5420"/>
                </a:lnTo>
                <a:lnTo>
                  <a:pt x="2489" y="6396"/>
                </a:lnTo>
                <a:cubicBezTo>
                  <a:pt x="2174" y="6711"/>
                  <a:pt x="1985" y="7058"/>
                  <a:pt x="1859" y="7499"/>
                </a:cubicBezTo>
                <a:cubicBezTo>
                  <a:pt x="1638" y="8413"/>
                  <a:pt x="1229" y="9106"/>
                  <a:pt x="725" y="9641"/>
                </a:cubicBezTo>
                <a:lnTo>
                  <a:pt x="315" y="10019"/>
                </a:lnTo>
                <a:cubicBezTo>
                  <a:pt x="126" y="10240"/>
                  <a:pt x="0" y="10492"/>
                  <a:pt x="0" y="10775"/>
                </a:cubicBezTo>
                <a:cubicBezTo>
                  <a:pt x="0" y="11059"/>
                  <a:pt x="126" y="11343"/>
                  <a:pt x="315" y="11532"/>
                </a:cubicBezTo>
                <a:cubicBezTo>
                  <a:pt x="536" y="11721"/>
                  <a:pt x="788" y="11847"/>
                  <a:pt x="1071" y="11847"/>
                </a:cubicBezTo>
                <a:cubicBezTo>
                  <a:pt x="1355" y="11847"/>
                  <a:pt x="1638" y="11721"/>
                  <a:pt x="1828" y="11532"/>
                </a:cubicBezTo>
                <a:lnTo>
                  <a:pt x="2237" y="11122"/>
                </a:lnTo>
                <a:cubicBezTo>
                  <a:pt x="2741" y="10618"/>
                  <a:pt x="3434" y="10240"/>
                  <a:pt x="4348" y="9988"/>
                </a:cubicBezTo>
                <a:cubicBezTo>
                  <a:pt x="4757" y="9862"/>
                  <a:pt x="5136" y="9673"/>
                  <a:pt x="5419" y="9389"/>
                </a:cubicBezTo>
                <a:lnTo>
                  <a:pt x="6396" y="8413"/>
                </a:lnTo>
                <a:lnTo>
                  <a:pt x="7372" y="7436"/>
                </a:lnTo>
                <a:lnTo>
                  <a:pt x="8129" y="6680"/>
                </a:lnTo>
                <a:lnTo>
                  <a:pt x="8349" y="6932"/>
                </a:lnTo>
                <a:cubicBezTo>
                  <a:pt x="8570" y="7121"/>
                  <a:pt x="8822" y="7247"/>
                  <a:pt x="9105" y="7247"/>
                </a:cubicBezTo>
                <a:cubicBezTo>
                  <a:pt x="9389" y="7247"/>
                  <a:pt x="9672" y="7121"/>
                  <a:pt x="9861" y="6932"/>
                </a:cubicBezTo>
                <a:cubicBezTo>
                  <a:pt x="10050" y="6711"/>
                  <a:pt x="10176" y="6459"/>
                  <a:pt x="10176" y="6176"/>
                </a:cubicBezTo>
                <a:cubicBezTo>
                  <a:pt x="10176" y="5892"/>
                  <a:pt x="10050" y="5609"/>
                  <a:pt x="9861" y="5420"/>
                </a:cubicBezTo>
                <a:cubicBezTo>
                  <a:pt x="9672" y="5231"/>
                  <a:pt x="9546" y="4947"/>
                  <a:pt x="9546" y="4664"/>
                </a:cubicBezTo>
                <a:cubicBezTo>
                  <a:pt x="9546" y="4380"/>
                  <a:pt x="9672" y="4128"/>
                  <a:pt x="9861" y="3907"/>
                </a:cubicBezTo>
                <a:lnTo>
                  <a:pt x="11468" y="2364"/>
                </a:lnTo>
                <a:cubicBezTo>
                  <a:pt x="11752" y="2080"/>
                  <a:pt x="11878" y="1734"/>
                  <a:pt x="11878" y="1356"/>
                </a:cubicBezTo>
                <a:cubicBezTo>
                  <a:pt x="11878" y="1009"/>
                  <a:pt x="11720" y="662"/>
                  <a:pt x="11468" y="379"/>
                </a:cubicBezTo>
                <a:cubicBezTo>
                  <a:pt x="11184" y="95"/>
                  <a:pt x="10838" y="1"/>
                  <a:pt x="10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09" name="Google Shape;6609;p72"/>
          <p:cNvSpPr/>
          <p:nvPr/>
        </p:nvSpPr>
        <p:spPr>
          <a:xfrm>
            <a:off x="6511305" y="3856429"/>
            <a:ext cx="429496" cy="469671"/>
          </a:xfrm>
          <a:custGeom>
            <a:avLst/>
            <a:gdLst/>
            <a:ahLst/>
            <a:cxnLst/>
            <a:rect l="l" t="t" r="r" b="b"/>
            <a:pathLst>
              <a:path w="10776" h="11784" extrusionOk="0">
                <a:moveTo>
                  <a:pt x="5388" y="662"/>
                </a:moveTo>
                <a:cubicBezTo>
                  <a:pt x="6144" y="662"/>
                  <a:pt x="6774" y="1355"/>
                  <a:pt x="6774" y="2080"/>
                </a:cubicBezTo>
                <a:cubicBezTo>
                  <a:pt x="6774" y="2206"/>
                  <a:pt x="6711" y="2332"/>
                  <a:pt x="6680" y="2489"/>
                </a:cubicBezTo>
                <a:cubicBezTo>
                  <a:pt x="6333" y="2206"/>
                  <a:pt x="5861" y="2017"/>
                  <a:pt x="5388" y="2017"/>
                </a:cubicBezTo>
                <a:cubicBezTo>
                  <a:pt x="4915" y="2017"/>
                  <a:pt x="4443" y="2174"/>
                  <a:pt x="4096" y="2489"/>
                </a:cubicBezTo>
                <a:cubicBezTo>
                  <a:pt x="4033" y="2332"/>
                  <a:pt x="4002" y="2206"/>
                  <a:pt x="4002" y="2080"/>
                </a:cubicBezTo>
                <a:cubicBezTo>
                  <a:pt x="4002" y="1355"/>
                  <a:pt x="4632" y="662"/>
                  <a:pt x="5388" y="662"/>
                </a:cubicBezTo>
                <a:close/>
                <a:moveTo>
                  <a:pt x="5388" y="2710"/>
                </a:moveTo>
                <a:cubicBezTo>
                  <a:pt x="5766" y="2710"/>
                  <a:pt x="6144" y="2867"/>
                  <a:pt x="6365" y="3151"/>
                </a:cubicBezTo>
                <a:cubicBezTo>
                  <a:pt x="6176" y="3592"/>
                  <a:pt x="5829" y="4096"/>
                  <a:pt x="5419" y="4663"/>
                </a:cubicBezTo>
                <a:cubicBezTo>
                  <a:pt x="5293" y="4506"/>
                  <a:pt x="5230" y="4380"/>
                  <a:pt x="5104" y="4253"/>
                </a:cubicBezTo>
                <a:cubicBezTo>
                  <a:pt x="4852" y="3812"/>
                  <a:pt x="4600" y="3466"/>
                  <a:pt x="4411" y="3151"/>
                </a:cubicBezTo>
                <a:cubicBezTo>
                  <a:pt x="4663" y="2867"/>
                  <a:pt x="5041" y="2710"/>
                  <a:pt x="5388" y="2710"/>
                </a:cubicBezTo>
                <a:close/>
                <a:moveTo>
                  <a:pt x="7404" y="1576"/>
                </a:moveTo>
                <a:lnTo>
                  <a:pt x="7404" y="1576"/>
                </a:lnTo>
                <a:cubicBezTo>
                  <a:pt x="7908" y="2048"/>
                  <a:pt x="8192" y="2773"/>
                  <a:pt x="8192" y="3497"/>
                </a:cubicBezTo>
                <a:cubicBezTo>
                  <a:pt x="8192" y="4222"/>
                  <a:pt x="7719" y="5230"/>
                  <a:pt x="6806" y="6490"/>
                </a:cubicBezTo>
                <a:cubicBezTo>
                  <a:pt x="6459" y="6081"/>
                  <a:pt x="6144" y="5640"/>
                  <a:pt x="5829" y="5230"/>
                </a:cubicBezTo>
                <a:cubicBezTo>
                  <a:pt x="6050" y="4915"/>
                  <a:pt x="6428" y="4443"/>
                  <a:pt x="6743" y="3938"/>
                </a:cubicBezTo>
                <a:cubicBezTo>
                  <a:pt x="7215" y="3151"/>
                  <a:pt x="7467" y="2552"/>
                  <a:pt x="7467" y="2143"/>
                </a:cubicBezTo>
                <a:cubicBezTo>
                  <a:pt x="7467" y="1922"/>
                  <a:pt x="7436" y="1733"/>
                  <a:pt x="7404" y="1576"/>
                </a:cubicBezTo>
                <a:close/>
                <a:moveTo>
                  <a:pt x="3970" y="7593"/>
                </a:moveTo>
                <a:cubicBezTo>
                  <a:pt x="4002" y="7656"/>
                  <a:pt x="4033" y="7688"/>
                  <a:pt x="4033" y="7719"/>
                </a:cubicBezTo>
                <a:lnTo>
                  <a:pt x="4947" y="8853"/>
                </a:lnTo>
                <a:lnTo>
                  <a:pt x="3151" y="11153"/>
                </a:lnTo>
                <a:lnTo>
                  <a:pt x="1135" y="11153"/>
                </a:lnTo>
                <a:cubicBezTo>
                  <a:pt x="2300" y="9641"/>
                  <a:pt x="3214" y="8538"/>
                  <a:pt x="3876" y="7719"/>
                </a:cubicBezTo>
                <a:lnTo>
                  <a:pt x="3970" y="7593"/>
                </a:lnTo>
                <a:close/>
                <a:moveTo>
                  <a:pt x="3435" y="1576"/>
                </a:moveTo>
                <a:lnTo>
                  <a:pt x="3435" y="1576"/>
                </a:lnTo>
                <a:cubicBezTo>
                  <a:pt x="3372" y="1765"/>
                  <a:pt x="3340" y="1922"/>
                  <a:pt x="3340" y="2143"/>
                </a:cubicBezTo>
                <a:cubicBezTo>
                  <a:pt x="3340" y="2710"/>
                  <a:pt x="3687" y="3466"/>
                  <a:pt x="4569" y="4663"/>
                </a:cubicBezTo>
                <a:cubicBezTo>
                  <a:pt x="4726" y="4884"/>
                  <a:pt x="5167" y="5482"/>
                  <a:pt x="5199" y="5482"/>
                </a:cubicBezTo>
                <a:cubicBezTo>
                  <a:pt x="5892" y="6396"/>
                  <a:pt x="6774" y="7498"/>
                  <a:pt x="7782" y="8759"/>
                </a:cubicBezTo>
                <a:cubicBezTo>
                  <a:pt x="8381" y="9452"/>
                  <a:pt x="9011" y="10239"/>
                  <a:pt x="9673" y="11122"/>
                </a:cubicBezTo>
                <a:lnTo>
                  <a:pt x="7656" y="11122"/>
                </a:lnTo>
                <a:lnTo>
                  <a:pt x="7656" y="11153"/>
                </a:lnTo>
                <a:lnTo>
                  <a:pt x="5672" y="8633"/>
                </a:lnTo>
                <a:lnTo>
                  <a:pt x="4600" y="7278"/>
                </a:lnTo>
                <a:cubicBezTo>
                  <a:pt x="4474" y="7120"/>
                  <a:pt x="4380" y="7026"/>
                  <a:pt x="4254" y="6868"/>
                </a:cubicBezTo>
                <a:lnTo>
                  <a:pt x="4254" y="6805"/>
                </a:lnTo>
                <a:cubicBezTo>
                  <a:pt x="3214" y="5451"/>
                  <a:pt x="2647" y="4253"/>
                  <a:pt x="2647" y="3497"/>
                </a:cubicBezTo>
                <a:cubicBezTo>
                  <a:pt x="2647" y="2773"/>
                  <a:pt x="2899" y="2048"/>
                  <a:pt x="3435" y="1576"/>
                </a:cubicBezTo>
                <a:close/>
                <a:moveTo>
                  <a:pt x="5388" y="0"/>
                </a:moveTo>
                <a:cubicBezTo>
                  <a:pt x="4474" y="0"/>
                  <a:pt x="3592" y="347"/>
                  <a:pt x="2962" y="1009"/>
                </a:cubicBezTo>
                <a:cubicBezTo>
                  <a:pt x="2269" y="1702"/>
                  <a:pt x="1922" y="2552"/>
                  <a:pt x="1922" y="3497"/>
                </a:cubicBezTo>
                <a:cubicBezTo>
                  <a:pt x="1922" y="4569"/>
                  <a:pt x="2710" y="5892"/>
                  <a:pt x="3498" y="6994"/>
                </a:cubicBezTo>
                <a:lnTo>
                  <a:pt x="3309" y="7246"/>
                </a:lnTo>
                <a:cubicBezTo>
                  <a:pt x="2553" y="8192"/>
                  <a:pt x="1544" y="9452"/>
                  <a:pt x="127" y="11216"/>
                </a:cubicBezTo>
                <a:cubicBezTo>
                  <a:pt x="32" y="11342"/>
                  <a:pt x="1" y="11468"/>
                  <a:pt x="64" y="11563"/>
                </a:cubicBezTo>
                <a:cubicBezTo>
                  <a:pt x="127" y="11689"/>
                  <a:pt x="284" y="11783"/>
                  <a:pt x="379" y="11783"/>
                </a:cubicBezTo>
                <a:lnTo>
                  <a:pt x="3277" y="11783"/>
                </a:lnTo>
                <a:cubicBezTo>
                  <a:pt x="3372" y="11783"/>
                  <a:pt x="3466" y="11720"/>
                  <a:pt x="3529" y="11657"/>
                </a:cubicBezTo>
                <a:lnTo>
                  <a:pt x="5388" y="9357"/>
                </a:lnTo>
                <a:lnTo>
                  <a:pt x="7247" y="11657"/>
                </a:lnTo>
                <a:cubicBezTo>
                  <a:pt x="7310" y="11720"/>
                  <a:pt x="7404" y="11783"/>
                  <a:pt x="7530" y="11783"/>
                </a:cubicBezTo>
                <a:lnTo>
                  <a:pt x="10397" y="11783"/>
                </a:lnTo>
                <a:cubicBezTo>
                  <a:pt x="10523" y="11783"/>
                  <a:pt x="10618" y="11689"/>
                  <a:pt x="10712" y="11563"/>
                </a:cubicBezTo>
                <a:cubicBezTo>
                  <a:pt x="10775" y="11500"/>
                  <a:pt x="10775" y="11374"/>
                  <a:pt x="10649" y="11279"/>
                </a:cubicBezTo>
                <a:cubicBezTo>
                  <a:pt x="9799" y="10208"/>
                  <a:pt x="9011" y="9231"/>
                  <a:pt x="8286" y="8349"/>
                </a:cubicBezTo>
                <a:cubicBezTo>
                  <a:pt x="7940" y="7877"/>
                  <a:pt x="7593" y="7435"/>
                  <a:pt x="7247" y="7057"/>
                </a:cubicBezTo>
                <a:cubicBezTo>
                  <a:pt x="8003" y="5986"/>
                  <a:pt x="8854" y="4600"/>
                  <a:pt x="8854" y="3497"/>
                </a:cubicBezTo>
                <a:cubicBezTo>
                  <a:pt x="8854" y="2552"/>
                  <a:pt x="8507" y="1702"/>
                  <a:pt x="7814" y="1009"/>
                </a:cubicBezTo>
                <a:cubicBezTo>
                  <a:pt x="7152" y="347"/>
                  <a:pt x="6302"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10" name="Google Shape;6610;p72"/>
          <p:cNvGrpSpPr/>
          <p:nvPr/>
        </p:nvGrpSpPr>
        <p:grpSpPr>
          <a:xfrm>
            <a:off x="6487508" y="4466087"/>
            <a:ext cx="475928" cy="443285"/>
            <a:chOff x="-25477800" y="2357750"/>
            <a:chExt cx="298525" cy="278050"/>
          </a:xfrm>
        </p:grpSpPr>
        <p:sp>
          <p:nvSpPr>
            <p:cNvPr id="6611" name="Google Shape;6611;p72"/>
            <p:cNvSpPr/>
            <p:nvPr/>
          </p:nvSpPr>
          <p:spPr>
            <a:xfrm>
              <a:off x="-25477800" y="2357750"/>
              <a:ext cx="298525" cy="278050"/>
            </a:xfrm>
            <a:custGeom>
              <a:avLst/>
              <a:gdLst/>
              <a:ahLst/>
              <a:cxnLst/>
              <a:rect l="l" t="t" r="r" b="b"/>
              <a:pathLst>
                <a:path w="11941" h="11122" extrusionOk="0">
                  <a:moveTo>
                    <a:pt x="7057" y="1229"/>
                  </a:moveTo>
                  <a:lnTo>
                    <a:pt x="7971" y="2143"/>
                  </a:lnTo>
                  <a:lnTo>
                    <a:pt x="7057" y="2143"/>
                  </a:lnTo>
                  <a:lnTo>
                    <a:pt x="7057" y="1229"/>
                  </a:lnTo>
                  <a:close/>
                  <a:moveTo>
                    <a:pt x="6333" y="756"/>
                  </a:moveTo>
                  <a:lnTo>
                    <a:pt x="6333" y="2489"/>
                  </a:lnTo>
                  <a:cubicBezTo>
                    <a:pt x="6333" y="2678"/>
                    <a:pt x="6490" y="2836"/>
                    <a:pt x="6679" y="2836"/>
                  </a:cubicBezTo>
                  <a:lnTo>
                    <a:pt x="8412" y="2836"/>
                  </a:lnTo>
                  <a:lnTo>
                    <a:pt x="8412" y="4946"/>
                  </a:lnTo>
                  <a:lnTo>
                    <a:pt x="7593" y="4946"/>
                  </a:lnTo>
                  <a:lnTo>
                    <a:pt x="7215" y="4096"/>
                  </a:lnTo>
                  <a:cubicBezTo>
                    <a:pt x="7026" y="3749"/>
                    <a:pt x="6648" y="3529"/>
                    <a:pt x="6270" y="3529"/>
                  </a:cubicBezTo>
                  <a:lnTo>
                    <a:pt x="3245" y="3529"/>
                  </a:lnTo>
                  <a:cubicBezTo>
                    <a:pt x="3119" y="3529"/>
                    <a:pt x="2993" y="3560"/>
                    <a:pt x="2867" y="3592"/>
                  </a:cubicBezTo>
                  <a:lnTo>
                    <a:pt x="2867" y="756"/>
                  </a:lnTo>
                  <a:close/>
                  <a:moveTo>
                    <a:pt x="10901" y="6994"/>
                  </a:moveTo>
                  <a:cubicBezTo>
                    <a:pt x="11027" y="6994"/>
                    <a:pt x="11090" y="7026"/>
                    <a:pt x="11184" y="7089"/>
                  </a:cubicBezTo>
                  <a:cubicBezTo>
                    <a:pt x="11247" y="7183"/>
                    <a:pt x="11247" y="7246"/>
                    <a:pt x="11247" y="7372"/>
                  </a:cubicBezTo>
                  <a:lnTo>
                    <a:pt x="10995" y="9105"/>
                  </a:lnTo>
                  <a:lnTo>
                    <a:pt x="10428" y="6994"/>
                  </a:lnTo>
                  <a:close/>
                  <a:moveTo>
                    <a:pt x="6270" y="4190"/>
                  </a:moveTo>
                  <a:cubicBezTo>
                    <a:pt x="6364" y="4190"/>
                    <a:pt x="6490" y="4253"/>
                    <a:pt x="6585" y="4379"/>
                  </a:cubicBezTo>
                  <a:lnTo>
                    <a:pt x="7089" y="5356"/>
                  </a:lnTo>
                  <a:cubicBezTo>
                    <a:pt x="7120" y="5482"/>
                    <a:pt x="7278" y="5577"/>
                    <a:pt x="7404" y="5577"/>
                  </a:cubicBezTo>
                  <a:lnTo>
                    <a:pt x="9105" y="5577"/>
                  </a:lnTo>
                  <a:cubicBezTo>
                    <a:pt x="9262" y="5577"/>
                    <a:pt x="9420" y="5671"/>
                    <a:pt x="9452" y="5829"/>
                  </a:cubicBezTo>
                  <a:lnTo>
                    <a:pt x="10586" y="10397"/>
                  </a:lnTo>
                  <a:lnTo>
                    <a:pt x="2205" y="10397"/>
                  </a:lnTo>
                  <a:lnTo>
                    <a:pt x="2205" y="10460"/>
                  </a:lnTo>
                  <a:cubicBezTo>
                    <a:pt x="2048" y="10460"/>
                    <a:pt x="1890" y="10334"/>
                    <a:pt x="1859" y="10176"/>
                  </a:cubicBezTo>
                  <a:lnTo>
                    <a:pt x="788" y="5986"/>
                  </a:lnTo>
                  <a:cubicBezTo>
                    <a:pt x="756" y="5892"/>
                    <a:pt x="788" y="5797"/>
                    <a:pt x="851" y="5734"/>
                  </a:cubicBezTo>
                  <a:cubicBezTo>
                    <a:pt x="945" y="5640"/>
                    <a:pt x="1008" y="5608"/>
                    <a:pt x="1134" y="5608"/>
                  </a:cubicBezTo>
                  <a:lnTo>
                    <a:pt x="2520" y="5608"/>
                  </a:lnTo>
                  <a:cubicBezTo>
                    <a:pt x="2709" y="5608"/>
                    <a:pt x="2867" y="5451"/>
                    <a:pt x="2867" y="5262"/>
                  </a:cubicBezTo>
                  <a:lnTo>
                    <a:pt x="2867" y="4537"/>
                  </a:lnTo>
                  <a:cubicBezTo>
                    <a:pt x="2867" y="4348"/>
                    <a:pt x="3025" y="4190"/>
                    <a:pt x="3214" y="4190"/>
                  </a:cubicBezTo>
                  <a:close/>
                  <a:moveTo>
                    <a:pt x="2489" y="0"/>
                  </a:moveTo>
                  <a:cubicBezTo>
                    <a:pt x="2268" y="0"/>
                    <a:pt x="2111" y="158"/>
                    <a:pt x="2111" y="378"/>
                  </a:cubicBezTo>
                  <a:lnTo>
                    <a:pt x="2111" y="4537"/>
                  </a:lnTo>
                  <a:lnTo>
                    <a:pt x="2111" y="4883"/>
                  </a:lnTo>
                  <a:lnTo>
                    <a:pt x="1103" y="4883"/>
                  </a:lnTo>
                  <a:cubicBezTo>
                    <a:pt x="788" y="4883"/>
                    <a:pt x="473" y="5041"/>
                    <a:pt x="284" y="5293"/>
                  </a:cubicBezTo>
                  <a:cubicBezTo>
                    <a:pt x="63" y="5514"/>
                    <a:pt x="0" y="5829"/>
                    <a:pt x="63" y="6144"/>
                  </a:cubicBezTo>
                  <a:lnTo>
                    <a:pt x="1134" y="10334"/>
                  </a:lnTo>
                  <a:cubicBezTo>
                    <a:pt x="1260" y="10806"/>
                    <a:pt x="1701" y="11121"/>
                    <a:pt x="2174" y="11121"/>
                  </a:cubicBezTo>
                  <a:lnTo>
                    <a:pt x="10995" y="11121"/>
                  </a:lnTo>
                  <a:cubicBezTo>
                    <a:pt x="11153" y="11121"/>
                    <a:pt x="11310" y="10995"/>
                    <a:pt x="11342" y="10838"/>
                  </a:cubicBezTo>
                  <a:lnTo>
                    <a:pt x="11877" y="7467"/>
                  </a:lnTo>
                  <a:cubicBezTo>
                    <a:pt x="11940" y="7152"/>
                    <a:pt x="11846" y="6868"/>
                    <a:pt x="11657" y="6616"/>
                  </a:cubicBezTo>
                  <a:cubicBezTo>
                    <a:pt x="11499" y="6427"/>
                    <a:pt x="11216" y="6301"/>
                    <a:pt x="10901" y="6301"/>
                  </a:cubicBezTo>
                  <a:lnTo>
                    <a:pt x="10239" y="6301"/>
                  </a:lnTo>
                  <a:lnTo>
                    <a:pt x="10082" y="5734"/>
                  </a:lnTo>
                  <a:cubicBezTo>
                    <a:pt x="9956" y="5262"/>
                    <a:pt x="9578" y="4946"/>
                    <a:pt x="9105" y="4883"/>
                  </a:cubicBezTo>
                  <a:lnTo>
                    <a:pt x="9105" y="2458"/>
                  </a:lnTo>
                  <a:cubicBezTo>
                    <a:pt x="9105" y="2363"/>
                    <a:pt x="9042" y="2269"/>
                    <a:pt x="8979" y="2206"/>
                  </a:cubicBezTo>
                  <a:lnTo>
                    <a:pt x="6900" y="126"/>
                  </a:lnTo>
                  <a:cubicBezTo>
                    <a:pt x="6805" y="63"/>
                    <a:pt x="6742" y="0"/>
                    <a:pt x="66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2" name="Google Shape;6612;p72"/>
            <p:cNvSpPr/>
            <p:nvPr/>
          </p:nvSpPr>
          <p:spPr>
            <a:xfrm>
              <a:off x="-25388025" y="2514850"/>
              <a:ext cx="104000" cy="88650"/>
            </a:xfrm>
            <a:custGeom>
              <a:avLst/>
              <a:gdLst/>
              <a:ahLst/>
              <a:cxnLst/>
              <a:rect l="l" t="t" r="r" b="b"/>
              <a:pathLst>
                <a:path w="4160" h="3546" extrusionOk="0">
                  <a:moveTo>
                    <a:pt x="1752" y="1"/>
                  </a:moveTo>
                  <a:cubicBezTo>
                    <a:pt x="1716" y="1"/>
                    <a:pt x="1678" y="6"/>
                    <a:pt x="1639" y="17"/>
                  </a:cubicBezTo>
                  <a:cubicBezTo>
                    <a:pt x="1450" y="80"/>
                    <a:pt x="1324" y="269"/>
                    <a:pt x="1418" y="458"/>
                  </a:cubicBezTo>
                  <a:lnTo>
                    <a:pt x="1639" y="1403"/>
                  </a:lnTo>
                  <a:lnTo>
                    <a:pt x="347" y="1403"/>
                  </a:lnTo>
                  <a:cubicBezTo>
                    <a:pt x="158" y="1403"/>
                    <a:pt x="1" y="1561"/>
                    <a:pt x="1" y="1750"/>
                  </a:cubicBezTo>
                  <a:cubicBezTo>
                    <a:pt x="1" y="1970"/>
                    <a:pt x="158" y="2128"/>
                    <a:pt x="347" y="2128"/>
                  </a:cubicBezTo>
                  <a:lnTo>
                    <a:pt x="1796" y="2128"/>
                  </a:lnTo>
                  <a:lnTo>
                    <a:pt x="2080" y="3262"/>
                  </a:lnTo>
                  <a:cubicBezTo>
                    <a:pt x="2111" y="3420"/>
                    <a:pt x="2269" y="3546"/>
                    <a:pt x="2426" y="3546"/>
                  </a:cubicBezTo>
                  <a:lnTo>
                    <a:pt x="2521" y="3546"/>
                  </a:lnTo>
                  <a:cubicBezTo>
                    <a:pt x="2710" y="3483"/>
                    <a:pt x="2836" y="3294"/>
                    <a:pt x="2742" y="3105"/>
                  </a:cubicBezTo>
                  <a:lnTo>
                    <a:pt x="2521" y="2159"/>
                  </a:lnTo>
                  <a:lnTo>
                    <a:pt x="3813" y="2159"/>
                  </a:lnTo>
                  <a:cubicBezTo>
                    <a:pt x="4002" y="2159"/>
                    <a:pt x="4159" y="2002"/>
                    <a:pt x="4159" y="1813"/>
                  </a:cubicBezTo>
                  <a:cubicBezTo>
                    <a:pt x="4159" y="1561"/>
                    <a:pt x="4002" y="1403"/>
                    <a:pt x="3813" y="1403"/>
                  </a:cubicBezTo>
                  <a:lnTo>
                    <a:pt x="2363" y="1403"/>
                  </a:lnTo>
                  <a:lnTo>
                    <a:pt x="2080" y="269"/>
                  </a:lnTo>
                  <a:cubicBezTo>
                    <a:pt x="2054" y="114"/>
                    <a:pt x="1921" y="1"/>
                    <a:pt x="17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13" name="Google Shape;6613;p72"/>
          <p:cNvSpPr/>
          <p:nvPr/>
        </p:nvSpPr>
        <p:spPr>
          <a:xfrm>
            <a:off x="6489346" y="5040418"/>
            <a:ext cx="473417" cy="471105"/>
          </a:xfrm>
          <a:custGeom>
            <a:avLst/>
            <a:gdLst/>
            <a:ahLst/>
            <a:cxnLst/>
            <a:rect l="l" t="t" r="r" b="b"/>
            <a:pathLst>
              <a:path w="11878" h="11820" extrusionOk="0">
                <a:moveTo>
                  <a:pt x="9704" y="729"/>
                </a:moveTo>
                <a:cubicBezTo>
                  <a:pt x="10019" y="729"/>
                  <a:pt x="10303" y="792"/>
                  <a:pt x="10523" y="982"/>
                </a:cubicBezTo>
                <a:cubicBezTo>
                  <a:pt x="10838" y="1234"/>
                  <a:pt x="10996" y="1612"/>
                  <a:pt x="11059" y="2021"/>
                </a:cubicBezTo>
                <a:cubicBezTo>
                  <a:pt x="11153" y="2368"/>
                  <a:pt x="11059" y="2714"/>
                  <a:pt x="10744" y="2998"/>
                </a:cubicBezTo>
                <a:lnTo>
                  <a:pt x="8255" y="5487"/>
                </a:lnTo>
                <a:lnTo>
                  <a:pt x="6270" y="3502"/>
                </a:lnTo>
                <a:lnTo>
                  <a:pt x="6743" y="3029"/>
                </a:lnTo>
                <a:lnTo>
                  <a:pt x="7499" y="3785"/>
                </a:lnTo>
                <a:cubicBezTo>
                  <a:pt x="7593" y="3880"/>
                  <a:pt x="7656" y="3911"/>
                  <a:pt x="7751" y="3911"/>
                </a:cubicBezTo>
                <a:cubicBezTo>
                  <a:pt x="7814" y="3911"/>
                  <a:pt x="7940" y="3880"/>
                  <a:pt x="7971" y="3785"/>
                </a:cubicBezTo>
                <a:cubicBezTo>
                  <a:pt x="8097" y="3659"/>
                  <a:pt x="8097" y="3439"/>
                  <a:pt x="7971" y="3313"/>
                </a:cubicBezTo>
                <a:lnTo>
                  <a:pt x="7215" y="2557"/>
                </a:lnTo>
                <a:lnTo>
                  <a:pt x="7688" y="2084"/>
                </a:lnTo>
                <a:lnTo>
                  <a:pt x="8444" y="2840"/>
                </a:lnTo>
                <a:cubicBezTo>
                  <a:pt x="8538" y="2935"/>
                  <a:pt x="8601" y="2966"/>
                  <a:pt x="8696" y="2966"/>
                </a:cubicBezTo>
                <a:cubicBezTo>
                  <a:pt x="8759" y="2966"/>
                  <a:pt x="8885" y="2935"/>
                  <a:pt x="8916" y="2840"/>
                </a:cubicBezTo>
                <a:cubicBezTo>
                  <a:pt x="9042" y="2714"/>
                  <a:pt x="9042" y="2494"/>
                  <a:pt x="8916" y="2368"/>
                </a:cubicBezTo>
                <a:lnTo>
                  <a:pt x="8160" y="1612"/>
                </a:lnTo>
                <a:lnTo>
                  <a:pt x="8601" y="1202"/>
                </a:lnTo>
                <a:cubicBezTo>
                  <a:pt x="8916" y="887"/>
                  <a:pt x="9326" y="729"/>
                  <a:pt x="9704" y="729"/>
                </a:cubicBezTo>
                <a:close/>
                <a:moveTo>
                  <a:pt x="5766" y="4132"/>
                </a:moveTo>
                <a:lnTo>
                  <a:pt x="7751" y="6117"/>
                </a:lnTo>
                <a:lnTo>
                  <a:pt x="5577" y="8196"/>
                </a:lnTo>
                <a:cubicBezTo>
                  <a:pt x="5230" y="8543"/>
                  <a:pt x="4789" y="8763"/>
                  <a:pt x="4317" y="8826"/>
                </a:cubicBezTo>
                <a:cubicBezTo>
                  <a:pt x="3687" y="8921"/>
                  <a:pt x="3088" y="9236"/>
                  <a:pt x="2678" y="9645"/>
                </a:cubicBezTo>
                <a:lnTo>
                  <a:pt x="1324" y="11000"/>
                </a:lnTo>
                <a:cubicBezTo>
                  <a:pt x="1261" y="11063"/>
                  <a:pt x="1174" y="11095"/>
                  <a:pt x="1087" y="11095"/>
                </a:cubicBezTo>
                <a:cubicBezTo>
                  <a:pt x="1001" y="11095"/>
                  <a:pt x="914" y="11063"/>
                  <a:pt x="851" y="11000"/>
                </a:cubicBezTo>
                <a:cubicBezTo>
                  <a:pt x="725" y="10874"/>
                  <a:pt x="725" y="10653"/>
                  <a:pt x="851" y="10527"/>
                </a:cubicBezTo>
                <a:lnTo>
                  <a:pt x="2206" y="9173"/>
                </a:lnTo>
                <a:cubicBezTo>
                  <a:pt x="2615" y="8763"/>
                  <a:pt x="2931" y="8165"/>
                  <a:pt x="3025" y="7535"/>
                </a:cubicBezTo>
                <a:cubicBezTo>
                  <a:pt x="3088" y="7062"/>
                  <a:pt x="3309" y="6589"/>
                  <a:pt x="3655" y="6274"/>
                </a:cubicBezTo>
                <a:lnTo>
                  <a:pt x="3876" y="6022"/>
                </a:lnTo>
                <a:lnTo>
                  <a:pt x="4632" y="6778"/>
                </a:lnTo>
                <a:cubicBezTo>
                  <a:pt x="4726" y="6873"/>
                  <a:pt x="4789" y="6904"/>
                  <a:pt x="4884" y="6904"/>
                </a:cubicBezTo>
                <a:cubicBezTo>
                  <a:pt x="4947" y="6904"/>
                  <a:pt x="5073" y="6873"/>
                  <a:pt x="5104" y="6778"/>
                </a:cubicBezTo>
                <a:cubicBezTo>
                  <a:pt x="5230" y="6652"/>
                  <a:pt x="5230" y="6432"/>
                  <a:pt x="5104" y="6306"/>
                </a:cubicBezTo>
                <a:lnTo>
                  <a:pt x="4348" y="5550"/>
                </a:lnTo>
                <a:lnTo>
                  <a:pt x="4821" y="5077"/>
                </a:lnTo>
                <a:lnTo>
                  <a:pt x="5577" y="5833"/>
                </a:lnTo>
                <a:cubicBezTo>
                  <a:pt x="5640" y="5928"/>
                  <a:pt x="5734" y="5959"/>
                  <a:pt x="5797" y="5959"/>
                </a:cubicBezTo>
                <a:cubicBezTo>
                  <a:pt x="5892" y="5959"/>
                  <a:pt x="6018" y="5928"/>
                  <a:pt x="6050" y="5833"/>
                </a:cubicBezTo>
                <a:cubicBezTo>
                  <a:pt x="6176" y="5707"/>
                  <a:pt x="6176" y="5487"/>
                  <a:pt x="6050" y="5361"/>
                </a:cubicBezTo>
                <a:lnTo>
                  <a:pt x="5293" y="4605"/>
                </a:lnTo>
                <a:lnTo>
                  <a:pt x="5766" y="4132"/>
                </a:lnTo>
                <a:close/>
                <a:moveTo>
                  <a:pt x="9769" y="1"/>
                </a:moveTo>
                <a:cubicBezTo>
                  <a:pt x="9726" y="1"/>
                  <a:pt x="9683" y="2"/>
                  <a:pt x="9641" y="5"/>
                </a:cubicBezTo>
                <a:cubicBezTo>
                  <a:pt x="9105" y="36"/>
                  <a:pt x="8601" y="288"/>
                  <a:pt x="8255" y="666"/>
                </a:cubicBezTo>
                <a:lnTo>
                  <a:pt x="3183" y="5802"/>
                </a:lnTo>
                <a:cubicBezTo>
                  <a:pt x="2741" y="6211"/>
                  <a:pt x="2426" y="6810"/>
                  <a:pt x="2363" y="7440"/>
                </a:cubicBezTo>
                <a:cubicBezTo>
                  <a:pt x="2269" y="7913"/>
                  <a:pt x="2080" y="8385"/>
                  <a:pt x="1733" y="8700"/>
                </a:cubicBezTo>
                <a:lnTo>
                  <a:pt x="379" y="10055"/>
                </a:lnTo>
                <a:cubicBezTo>
                  <a:pt x="1" y="10433"/>
                  <a:pt x="1" y="11095"/>
                  <a:pt x="379" y="11504"/>
                </a:cubicBezTo>
                <a:cubicBezTo>
                  <a:pt x="568" y="11693"/>
                  <a:pt x="851" y="11819"/>
                  <a:pt x="1135" y="11819"/>
                </a:cubicBezTo>
                <a:cubicBezTo>
                  <a:pt x="1418" y="11819"/>
                  <a:pt x="1670" y="11693"/>
                  <a:pt x="1891" y="11504"/>
                </a:cubicBezTo>
                <a:lnTo>
                  <a:pt x="3214" y="10149"/>
                </a:lnTo>
                <a:cubicBezTo>
                  <a:pt x="3561" y="9803"/>
                  <a:pt x="4002" y="9614"/>
                  <a:pt x="4474" y="9519"/>
                </a:cubicBezTo>
                <a:cubicBezTo>
                  <a:pt x="5104" y="9456"/>
                  <a:pt x="5703" y="9141"/>
                  <a:pt x="6144" y="8700"/>
                </a:cubicBezTo>
                <a:lnTo>
                  <a:pt x="11279" y="3502"/>
                </a:lnTo>
                <a:cubicBezTo>
                  <a:pt x="11657" y="3092"/>
                  <a:pt x="11878" y="2525"/>
                  <a:pt x="11846" y="1927"/>
                </a:cubicBezTo>
                <a:cubicBezTo>
                  <a:pt x="11815" y="1360"/>
                  <a:pt x="11531" y="792"/>
                  <a:pt x="11090" y="446"/>
                </a:cubicBezTo>
                <a:cubicBezTo>
                  <a:pt x="10715" y="157"/>
                  <a:pt x="10234" y="1"/>
                  <a:pt x="97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14" name="Google Shape;6614;p72"/>
          <p:cNvGrpSpPr/>
          <p:nvPr/>
        </p:nvGrpSpPr>
        <p:grpSpPr>
          <a:xfrm>
            <a:off x="9467143" y="3855841"/>
            <a:ext cx="472181" cy="470907"/>
            <a:chOff x="-23599325" y="1971025"/>
            <a:chExt cx="296175" cy="295375"/>
          </a:xfrm>
        </p:grpSpPr>
        <p:sp>
          <p:nvSpPr>
            <p:cNvPr id="6615" name="Google Shape;6615;p72"/>
            <p:cNvSpPr/>
            <p:nvPr/>
          </p:nvSpPr>
          <p:spPr>
            <a:xfrm>
              <a:off x="-23599325" y="1971025"/>
              <a:ext cx="296175" cy="295375"/>
            </a:xfrm>
            <a:custGeom>
              <a:avLst/>
              <a:gdLst/>
              <a:ahLst/>
              <a:cxnLst/>
              <a:rect l="l" t="t" r="r" b="b"/>
              <a:pathLst>
                <a:path w="11847" h="11815" extrusionOk="0">
                  <a:moveTo>
                    <a:pt x="7656" y="662"/>
                  </a:moveTo>
                  <a:lnTo>
                    <a:pt x="7656" y="4190"/>
                  </a:lnTo>
                  <a:lnTo>
                    <a:pt x="4159" y="4190"/>
                  </a:lnTo>
                  <a:lnTo>
                    <a:pt x="4159" y="662"/>
                  </a:lnTo>
                  <a:close/>
                  <a:moveTo>
                    <a:pt x="5577" y="4884"/>
                  </a:moveTo>
                  <a:lnTo>
                    <a:pt x="5577" y="5577"/>
                  </a:lnTo>
                  <a:lnTo>
                    <a:pt x="4222" y="5577"/>
                  </a:lnTo>
                  <a:lnTo>
                    <a:pt x="4222" y="4884"/>
                  </a:lnTo>
                  <a:close/>
                  <a:moveTo>
                    <a:pt x="7625" y="4884"/>
                  </a:moveTo>
                  <a:lnTo>
                    <a:pt x="7625" y="5608"/>
                  </a:lnTo>
                  <a:lnTo>
                    <a:pt x="6270" y="5608"/>
                  </a:lnTo>
                  <a:lnTo>
                    <a:pt x="6270" y="4884"/>
                  </a:lnTo>
                  <a:close/>
                  <a:moveTo>
                    <a:pt x="2111" y="5577"/>
                  </a:moveTo>
                  <a:lnTo>
                    <a:pt x="2111" y="6301"/>
                  </a:lnTo>
                  <a:lnTo>
                    <a:pt x="693" y="6301"/>
                  </a:lnTo>
                  <a:lnTo>
                    <a:pt x="693" y="5923"/>
                  </a:lnTo>
                  <a:cubicBezTo>
                    <a:pt x="693" y="5766"/>
                    <a:pt x="851" y="5577"/>
                    <a:pt x="1072" y="5577"/>
                  </a:cubicBezTo>
                  <a:close/>
                  <a:moveTo>
                    <a:pt x="10775" y="5577"/>
                  </a:moveTo>
                  <a:cubicBezTo>
                    <a:pt x="10996" y="5577"/>
                    <a:pt x="11153" y="5766"/>
                    <a:pt x="11153" y="5955"/>
                  </a:cubicBezTo>
                  <a:lnTo>
                    <a:pt x="11153" y="6301"/>
                  </a:lnTo>
                  <a:lnTo>
                    <a:pt x="9735" y="6301"/>
                  </a:lnTo>
                  <a:lnTo>
                    <a:pt x="9735" y="5577"/>
                  </a:lnTo>
                  <a:close/>
                  <a:moveTo>
                    <a:pt x="5545" y="6270"/>
                  </a:moveTo>
                  <a:lnTo>
                    <a:pt x="5545" y="6963"/>
                  </a:lnTo>
                  <a:lnTo>
                    <a:pt x="4159" y="6963"/>
                  </a:lnTo>
                  <a:lnTo>
                    <a:pt x="4159" y="6270"/>
                  </a:lnTo>
                  <a:close/>
                  <a:moveTo>
                    <a:pt x="7625" y="6270"/>
                  </a:moveTo>
                  <a:lnTo>
                    <a:pt x="7625" y="6963"/>
                  </a:lnTo>
                  <a:lnTo>
                    <a:pt x="6270" y="6963"/>
                  </a:lnTo>
                  <a:lnTo>
                    <a:pt x="6270" y="6270"/>
                  </a:lnTo>
                  <a:close/>
                  <a:moveTo>
                    <a:pt x="2111" y="6931"/>
                  </a:moveTo>
                  <a:lnTo>
                    <a:pt x="2111" y="7656"/>
                  </a:lnTo>
                  <a:lnTo>
                    <a:pt x="693" y="7656"/>
                  </a:lnTo>
                  <a:lnTo>
                    <a:pt x="693" y="6931"/>
                  </a:lnTo>
                  <a:close/>
                  <a:moveTo>
                    <a:pt x="11153" y="6963"/>
                  </a:moveTo>
                  <a:lnTo>
                    <a:pt x="11153" y="7688"/>
                  </a:lnTo>
                  <a:lnTo>
                    <a:pt x="9735" y="7688"/>
                  </a:lnTo>
                  <a:lnTo>
                    <a:pt x="9735" y="6963"/>
                  </a:lnTo>
                  <a:close/>
                  <a:moveTo>
                    <a:pt x="5545" y="7625"/>
                  </a:moveTo>
                  <a:lnTo>
                    <a:pt x="5545" y="8349"/>
                  </a:lnTo>
                  <a:lnTo>
                    <a:pt x="4159" y="8349"/>
                  </a:lnTo>
                  <a:lnTo>
                    <a:pt x="4159" y="7625"/>
                  </a:lnTo>
                  <a:close/>
                  <a:moveTo>
                    <a:pt x="7625" y="7656"/>
                  </a:moveTo>
                  <a:lnTo>
                    <a:pt x="7625" y="8349"/>
                  </a:lnTo>
                  <a:lnTo>
                    <a:pt x="6270" y="8349"/>
                  </a:lnTo>
                  <a:lnTo>
                    <a:pt x="6270" y="7656"/>
                  </a:lnTo>
                  <a:close/>
                  <a:moveTo>
                    <a:pt x="2111" y="8349"/>
                  </a:moveTo>
                  <a:lnTo>
                    <a:pt x="2111" y="9074"/>
                  </a:lnTo>
                  <a:lnTo>
                    <a:pt x="693" y="9074"/>
                  </a:lnTo>
                  <a:lnTo>
                    <a:pt x="693" y="8349"/>
                  </a:lnTo>
                  <a:close/>
                  <a:moveTo>
                    <a:pt x="11153" y="8349"/>
                  </a:moveTo>
                  <a:lnTo>
                    <a:pt x="11153" y="9074"/>
                  </a:lnTo>
                  <a:lnTo>
                    <a:pt x="9735" y="9074"/>
                  </a:lnTo>
                  <a:lnTo>
                    <a:pt x="9735" y="8349"/>
                  </a:lnTo>
                  <a:close/>
                  <a:moveTo>
                    <a:pt x="2111" y="9735"/>
                  </a:moveTo>
                  <a:lnTo>
                    <a:pt x="2111" y="11090"/>
                  </a:lnTo>
                  <a:lnTo>
                    <a:pt x="693" y="11090"/>
                  </a:lnTo>
                  <a:lnTo>
                    <a:pt x="693" y="9735"/>
                  </a:lnTo>
                  <a:close/>
                  <a:moveTo>
                    <a:pt x="8759" y="2048"/>
                  </a:moveTo>
                  <a:cubicBezTo>
                    <a:pt x="8948" y="2048"/>
                    <a:pt x="9105" y="2206"/>
                    <a:pt x="9105" y="2395"/>
                  </a:cubicBezTo>
                  <a:lnTo>
                    <a:pt x="9105" y="11090"/>
                  </a:lnTo>
                  <a:lnTo>
                    <a:pt x="7719" y="11090"/>
                  </a:lnTo>
                  <a:lnTo>
                    <a:pt x="7719" y="10082"/>
                  </a:lnTo>
                  <a:cubicBezTo>
                    <a:pt x="7719" y="9893"/>
                    <a:pt x="7562" y="9735"/>
                    <a:pt x="7373" y="9735"/>
                  </a:cubicBezTo>
                  <a:lnTo>
                    <a:pt x="4600" y="9735"/>
                  </a:lnTo>
                  <a:cubicBezTo>
                    <a:pt x="4411" y="9735"/>
                    <a:pt x="4254" y="9893"/>
                    <a:pt x="4254" y="10082"/>
                  </a:cubicBezTo>
                  <a:lnTo>
                    <a:pt x="4254" y="11090"/>
                  </a:lnTo>
                  <a:lnTo>
                    <a:pt x="2867" y="11090"/>
                  </a:lnTo>
                  <a:lnTo>
                    <a:pt x="2867" y="2395"/>
                  </a:lnTo>
                  <a:lnTo>
                    <a:pt x="2804" y="2395"/>
                  </a:lnTo>
                  <a:cubicBezTo>
                    <a:pt x="2804" y="2206"/>
                    <a:pt x="2962" y="2048"/>
                    <a:pt x="3151" y="2048"/>
                  </a:cubicBezTo>
                  <a:lnTo>
                    <a:pt x="3497" y="2048"/>
                  </a:lnTo>
                  <a:lnTo>
                    <a:pt x="3497" y="8696"/>
                  </a:lnTo>
                  <a:cubicBezTo>
                    <a:pt x="3497" y="8916"/>
                    <a:pt x="3655" y="9074"/>
                    <a:pt x="3875" y="9074"/>
                  </a:cubicBezTo>
                  <a:lnTo>
                    <a:pt x="8034" y="9074"/>
                  </a:lnTo>
                  <a:cubicBezTo>
                    <a:pt x="8223" y="9074"/>
                    <a:pt x="8381" y="8916"/>
                    <a:pt x="8381" y="8696"/>
                  </a:cubicBezTo>
                  <a:lnTo>
                    <a:pt x="8381" y="2048"/>
                  </a:lnTo>
                  <a:close/>
                  <a:moveTo>
                    <a:pt x="6963" y="10428"/>
                  </a:moveTo>
                  <a:lnTo>
                    <a:pt x="6963" y="11153"/>
                  </a:lnTo>
                  <a:lnTo>
                    <a:pt x="4884" y="11153"/>
                  </a:lnTo>
                  <a:lnTo>
                    <a:pt x="4884" y="10428"/>
                  </a:lnTo>
                  <a:close/>
                  <a:moveTo>
                    <a:pt x="11153" y="9767"/>
                  </a:moveTo>
                  <a:lnTo>
                    <a:pt x="11153" y="11153"/>
                  </a:lnTo>
                  <a:lnTo>
                    <a:pt x="9735" y="11153"/>
                  </a:lnTo>
                  <a:lnTo>
                    <a:pt x="9735" y="9767"/>
                  </a:lnTo>
                  <a:close/>
                  <a:moveTo>
                    <a:pt x="3812" y="0"/>
                  </a:moveTo>
                  <a:cubicBezTo>
                    <a:pt x="3623" y="0"/>
                    <a:pt x="3466" y="158"/>
                    <a:pt x="3466" y="347"/>
                  </a:cubicBezTo>
                  <a:lnTo>
                    <a:pt x="3466" y="1387"/>
                  </a:lnTo>
                  <a:lnTo>
                    <a:pt x="3119" y="1387"/>
                  </a:lnTo>
                  <a:cubicBezTo>
                    <a:pt x="2521" y="1387"/>
                    <a:pt x="2080" y="1859"/>
                    <a:pt x="2080" y="2395"/>
                  </a:cubicBezTo>
                  <a:lnTo>
                    <a:pt x="2080" y="4884"/>
                  </a:lnTo>
                  <a:lnTo>
                    <a:pt x="1009" y="4884"/>
                  </a:lnTo>
                  <a:cubicBezTo>
                    <a:pt x="441" y="4884"/>
                    <a:pt x="0" y="5356"/>
                    <a:pt x="0" y="5923"/>
                  </a:cubicBezTo>
                  <a:lnTo>
                    <a:pt x="0" y="11468"/>
                  </a:lnTo>
                  <a:cubicBezTo>
                    <a:pt x="0" y="11657"/>
                    <a:pt x="158" y="11815"/>
                    <a:pt x="347" y="11815"/>
                  </a:cubicBezTo>
                  <a:lnTo>
                    <a:pt x="11468" y="11815"/>
                  </a:lnTo>
                  <a:cubicBezTo>
                    <a:pt x="11657" y="11815"/>
                    <a:pt x="11815" y="11657"/>
                    <a:pt x="11815" y="11468"/>
                  </a:cubicBezTo>
                  <a:lnTo>
                    <a:pt x="11815" y="5923"/>
                  </a:lnTo>
                  <a:cubicBezTo>
                    <a:pt x="11846" y="5356"/>
                    <a:pt x="11374" y="4884"/>
                    <a:pt x="10775" y="4884"/>
                  </a:cubicBezTo>
                  <a:lnTo>
                    <a:pt x="9735" y="4884"/>
                  </a:lnTo>
                  <a:lnTo>
                    <a:pt x="9735" y="2395"/>
                  </a:lnTo>
                  <a:cubicBezTo>
                    <a:pt x="9735" y="1828"/>
                    <a:pt x="9263" y="1387"/>
                    <a:pt x="8696" y="1387"/>
                  </a:cubicBezTo>
                  <a:lnTo>
                    <a:pt x="8349" y="1387"/>
                  </a:lnTo>
                  <a:lnTo>
                    <a:pt x="8349" y="347"/>
                  </a:lnTo>
                  <a:cubicBezTo>
                    <a:pt x="8349" y="158"/>
                    <a:pt x="8192" y="0"/>
                    <a:pt x="80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6" name="Google Shape;6616;p72"/>
            <p:cNvSpPr/>
            <p:nvPr/>
          </p:nvSpPr>
          <p:spPr>
            <a:xfrm>
              <a:off x="-23477250" y="2004100"/>
              <a:ext cx="53575" cy="53575"/>
            </a:xfrm>
            <a:custGeom>
              <a:avLst/>
              <a:gdLst/>
              <a:ahLst/>
              <a:cxnLst/>
              <a:rect l="l" t="t" r="r" b="b"/>
              <a:pathLst>
                <a:path w="2143" h="2143" extrusionOk="0">
                  <a:moveTo>
                    <a:pt x="1072" y="1"/>
                  </a:moveTo>
                  <a:cubicBezTo>
                    <a:pt x="851" y="1"/>
                    <a:pt x="694" y="158"/>
                    <a:pt x="694" y="379"/>
                  </a:cubicBezTo>
                  <a:lnTo>
                    <a:pt x="694" y="725"/>
                  </a:lnTo>
                  <a:lnTo>
                    <a:pt x="347" y="725"/>
                  </a:lnTo>
                  <a:cubicBezTo>
                    <a:pt x="158" y="725"/>
                    <a:pt x="1" y="883"/>
                    <a:pt x="1" y="1072"/>
                  </a:cubicBezTo>
                  <a:cubicBezTo>
                    <a:pt x="1" y="1292"/>
                    <a:pt x="158" y="1450"/>
                    <a:pt x="347" y="1450"/>
                  </a:cubicBezTo>
                  <a:lnTo>
                    <a:pt x="694" y="1450"/>
                  </a:lnTo>
                  <a:lnTo>
                    <a:pt x="694" y="1796"/>
                  </a:lnTo>
                  <a:cubicBezTo>
                    <a:pt x="694" y="1985"/>
                    <a:pt x="851" y="2143"/>
                    <a:pt x="1072" y="2143"/>
                  </a:cubicBezTo>
                  <a:cubicBezTo>
                    <a:pt x="1261" y="2143"/>
                    <a:pt x="1418" y="1985"/>
                    <a:pt x="1418" y="1796"/>
                  </a:cubicBezTo>
                  <a:lnTo>
                    <a:pt x="1418" y="1450"/>
                  </a:lnTo>
                  <a:lnTo>
                    <a:pt x="1765" y="1450"/>
                  </a:lnTo>
                  <a:cubicBezTo>
                    <a:pt x="1985" y="1450"/>
                    <a:pt x="2143" y="1292"/>
                    <a:pt x="2143" y="1072"/>
                  </a:cubicBezTo>
                  <a:cubicBezTo>
                    <a:pt x="2143" y="883"/>
                    <a:pt x="1985" y="725"/>
                    <a:pt x="1765" y="725"/>
                  </a:cubicBezTo>
                  <a:lnTo>
                    <a:pt x="1418" y="725"/>
                  </a:lnTo>
                  <a:lnTo>
                    <a:pt x="1418" y="379"/>
                  </a:ln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17" name="Google Shape;6617;p72"/>
          <p:cNvSpPr/>
          <p:nvPr/>
        </p:nvSpPr>
        <p:spPr>
          <a:xfrm>
            <a:off x="9468319" y="4450984"/>
            <a:ext cx="470907" cy="473417"/>
          </a:xfrm>
          <a:custGeom>
            <a:avLst/>
            <a:gdLst/>
            <a:ahLst/>
            <a:cxnLst/>
            <a:rect l="l" t="t" r="r" b="b"/>
            <a:pathLst>
              <a:path w="11815" h="11878" extrusionOk="0">
                <a:moveTo>
                  <a:pt x="6301" y="725"/>
                </a:moveTo>
                <a:lnTo>
                  <a:pt x="6301" y="1670"/>
                </a:lnTo>
                <a:cubicBezTo>
                  <a:pt x="6301" y="2143"/>
                  <a:pt x="6490" y="2584"/>
                  <a:pt x="6805" y="2899"/>
                </a:cubicBezTo>
                <a:lnTo>
                  <a:pt x="7120" y="3214"/>
                </a:lnTo>
                <a:cubicBezTo>
                  <a:pt x="7026" y="3340"/>
                  <a:pt x="6868" y="3529"/>
                  <a:pt x="6742" y="3781"/>
                </a:cubicBezTo>
                <a:lnTo>
                  <a:pt x="6648" y="3781"/>
                </a:lnTo>
                <a:cubicBezTo>
                  <a:pt x="6459" y="3576"/>
                  <a:pt x="6191" y="3474"/>
                  <a:pt x="5923" y="3474"/>
                </a:cubicBezTo>
                <a:cubicBezTo>
                  <a:pt x="5656" y="3474"/>
                  <a:pt x="5388" y="3576"/>
                  <a:pt x="5199" y="3781"/>
                </a:cubicBezTo>
                <a:lnTo>
                  <a:pt x="5167" y="3813"/>
                </a:lnTo>
                <a:cubicBezTo>
                  <a:pt x="5167" y="3813"/>
                  <a:pt x="5167" y="3781"/>
                  <a:pt x="5136" y="3781"/>
                </a:cubicBezTo>
                <a:cubicBezTo>
                  <a:pt x="5010" y="3529"/>
                  <a:pt x="4884" y="3372"/>
                  <a:pt x="4758" y="3214"/>
                </a:cubicBezTo>
                <a:lnTo>
                  <a:pt x="5073" y="2899"/>
                </a:lnTo>
                <a:cubicBezTo>
                  <a:pt x="5388" y="2584"/>
                  <a:pt x="5608" y="2143"/>
                  <a:pt x="5608" y="1670"/>
                </a:cubicBezTo>
                <a:lnTo>
                  <a:pt x="5608" y="725"/>
                </a:lnTo>
                <a:close/>
                <a:moveTo>
                  <a:pt x="3970" y="3529"/>
                </a:moveTo>
                <a:cubicBezTo>
                  <a:pt x="4159" y="3529"/>
                  <a:pt x="4348" y="3687"/>
                  <a:pt x="4506" y="4002"/>
                </a:cubicBezTo>
                <a:cubicBezTo>
                  <a:pt x="4569" y="4128"/>
                  <a:pt x="4600" y="4285"/>
                  <a:pt x="4663" y="4474"/>
                </a:cubicBezTo>
                <a:cubicBezTo>
                  <a:pt x="4758" y="4852"/>
                  <a:pt x="4821" y="5293"/>
                  <a:pt x="4852" y="5829"/>
                </a:cubicBezTo>
                <a:lnTo>
                  <a:pt x="3812" y="6837"/>
                </a:lnTo>
                <a:lnTo>
                  <a:pt x="3340" y="6396"/>
                </a:lnTo>
                <a:cubicBezTo>
                  <a:pt x="3293" y="6333"/>
                  <a:pt x="3206" y="6302"/>
                  <a:pt x="3115" y="6302"/>
                </a:cubicBezTo>
                <a:cubicBezTo>
                  <a:pt x="3025" y="6302"/>
                  <a:pt x="2930" y="6333"/>
                  <a:pt x="2867" y="6396"/>
                </a:cubicBezTo>
                <a:cubicBezTo>
                  <a:pt x="2804" y="6491"/>
                  <a:pt x="2804" y="6554"/>
                  <a:pt x="2804" y="6648"/>
                </a:cubicBezTo>
                <a:cubicBezTo>
                  <a:pt x="2804" y="6711"/>
                  <a:pt x="2836" y="6837"/>
                  <a:pt x="2930" y="6869"/>
                </a:cubicBezTo>
                <a:lnTo>
                  <a:pt x="3340" y="7310"/>
                </a:lnTo>
                <a:lnTo>
                  <a:pt x="2206" y="8444"/>
                </a:lnTo>
                <a:cubicBezTo>
                  <a:pt x="2080" y="8570"/>
                  <a:pt x="2080" y="8822"/>
                  <a:pt x="2206" y="8916"/>
                </a:cubicBezTo>
                <a:cubicBezTo>
                  <a:pt x="2300" y="9011"/>
                  <a:pt x="2363" y="9042"/>
                  <a:pt x="2458" y="9042"/>
                </a:cubicBezTo>
                <a:cubicBezTo>
                  <a:pt x="2521" y="9042"/>
                  <a:pt x="2647" y="9011"/>
                  <a:pt x="2678" y="8916"/>
                </a:cubicBezTo>
                <a:lnTo>
                  <a:pt x="4852" y="6743"/>
                </a:lnTo>
                <a:lnTo>
                  <a:pt x="4852" y="6806"/>
                </a:lnTo>
                <a:cubicBezTo>
                  <a:pt x="4758" y="7971"/>
                  <a:pt x="4569" y="8979"/>
                  <a:pt x="4254" y="9358"/>
                </a:cubicBezTo>
                <a:cubicBezTo>
                  <a:pt x="3970" y="9767"/>
                  <a:pt x="3529" y="9988"/>
                  <a:pt x="3056" y="10271"/>
                </a:cubicBezTo>
                <a:cubicBezTo>
                  <a:pt x="2867" y="10397"/>
                  <a:pt x="2710" y="10492"/>
                  <a:pt x="2521" y="10618"/>
                </a:cubicBezTo>
                <a:cubicBezTo>
                  <a:pt x="2111" y="10901"/>
                  <a:pt x="1702" y="11185"/>
                  <a:pt x="1292" y="11185"/>
                </a:cubicBezTo>
                <a:cubicBezTo>
                  <a:pt x="851" y="11122"/>
                  <a:pt x="662" y="10712"/>
                  <a:pt x="693" y="9862"/>
                </a:cubicBezTo>
                <a:cubicBezTo>
                  <a:pt x="756" y="8759"/>
                  <a:pt x="1261" y="7152"/>
                  <a:pt x="1954" y="5766"/>
                </a:cubicBezTo>
                <a:cubicBezTo>
                  <a:pt x="2332" y="5104"/>
                  <a:pt x="2710" y="4506"/>
                  <a:pt x="3056" y="4128"/>
                </a:cubicBezTo>
                <a:cubicBezTo>
                  <a:pt x="3434" y="3781"/>
                  <a:pt x="3749" y="3529"/>
                  <a:pt x="3970" y="3529"/>
                </a:cubicBezTo>
                <a:close/>
                <a:moveTo>
                  <a:pt x="7845" y="3624"/>
                </a:moveTo>
                <a:cubicBezTo>
                  <a:pt x="8066" y="3624"/>
                  <a:pt x="8381" y="3813"/>
                  <a:pt x="8759" y="4191"/>
                </a:cubicBezTo>
                <a:cubicBezTo>
                  <a:pt x="9105" y="4600"/>
                  <a:pt x="9483" y="5136"/>
                  <a:pt x="9861" y="5860"/>
                </a:cubicBezTo>
                <a:cubicBezTo>
                  <a:pt x="10555" y="7247"/>
                  <a:pt x="11059" y="8853"/>
                  <a:pt x="11122" y="9956"/>
                </a:cubicBezTo>
                <a:cubicBezTo>
                  <a:pt x="11153" y="10744"/>
                  <a:pt x="10933" y="11185"/>
                  <a:pt x="10523" y="11185"/>
                </a:cubicBezTo>
                <a:cubicBezTo>
                  <a:pt x="10504" y="11186"/>
                  <a:pt x="10485" y="11187"/>
                  <a:pt x="10466" y="11187"/>
                </a:cubicBezTo>
                <a:cubicBezTo>
                  <a:pt x="10072" y="11187"/>
                  <a:pt x="9655" y="10888"/>
                  <a:pt x="9294" y="10618"/>
                </a:cubicBezTo>
                <a:cubicBezTo>
                  <a:pt x="9105" y="10492"/>
                  <a:pt x="8948" y="10397"/>
                  <a:pt x="8727" y="10271"/>
                </a:cubicBezTo>
                <a:cubicBezTo>
                  <a:pt x="8286" y="9988"/>
                  <a:pt x="7845" y="9767"/>
                  <a:pt x="7562" y="9358"/>
                </a:cubicBezTo>
                <a:cubicBezTo>
                  <a:pt x="7278" y="8979"/>
                  <a:pt x="7057" y="7971"/>
                  <a:pt x="6963" y="6869"/>
                </a:cubicBezTo>
                <a:lnTo>
                  <a:pt x="6963" y="6837"/>
                </a:lnTo>
                <a:lnTo>
                  <a:pt x="9137" y="9011"/>
                </a:lnTo>
                <a:cubicBezTo>
                  <a:pt x="9200" y="9074"/>
                  <a:pt x="9294" y="9137"/>
                  <a:pt x="9357" y="9137"/>
                </a:cubicBezTo>
                <a:cubicBezTo>
                  <a:pt x="9452" y="9137"/>
                  <a:pt x="9578" y="9074"/>
                  <a:pt x="9609" y="9011"/>
                </a:cubicBezTo>
                <a:cubicBezTo>
                  <a:pt x="9735" y="8885"/>
                  <a:pt x="9735" y="8633"/>
                  <a:pt x="9609" y="8538"/>
                </a:cubicBezTo>
                <a:lnTo>
                  <a:pt x="8475" y="7404"/>
                </a:lnTo>
                <a:lnTo>
                  <a:pt x="8885" y="6963"/>
                </a:lnTo>
                <a:cubicBezTo>
                  <a:pt x="9011" y="6837"/>
                  <a:pt x="9011" y="6617"/>
                  <a:pt x="8885" y="6491"/>
                </a:cubicBezTo>
                <a:cubicBezTo>
                  <a:pt x="8838" y="6428"/>
                  <a:pt x="8751" y="6396"/>
                  <a:pt x="8660" y="6396"/>
                </a:cubicBezTo>
                <a:cubicBezTo>
                  <a:pt x="8570" y="6396"/>
                  <a:pt x="8475" y="6428"/>
                  <a:pt x="8412" y="6491"/>
                </a:cubicBezTo>
                <a:lnTo>
                  <a:pt x="8003" y="6932"/>
                </a:lnTo>
                <a:lnTo>
                  <a:pt x="6963" y="5892"/>
                </a:lnTo>
                <a:cubicBezTo>
                  <a:pt x="6994" y="5388"/>
                  <a:pt x="7057" y="4915"/>
                  <a:pt x="7152" y="4569"/>
                </a:cubicBezTo>
                <a:cubicBezTo>
                  <a:pt x="7215" y="4411"/>
                  <a:pt x="7278" y="4222"/>
                  <a:pt x="7310" y="4096"/>
                </a:cubicBezTo>
                <a:cubicBezTo>
                  <a:pt x="7499" y="3781"/>
                  <a:pt x="7656" y="3624"/>
                  <a:pt x="7845" y="3624"/>
                </a:cubicBezTo>
                <a:close/>
                <a:moveTo>
                  <a:pt x="5230" y="1"/>
                </a:moveTo>
                <a:cubicBezTo>
                  <a:pt x="5041" y="1"/>
                  <a:pt x="4884" y="158"/>
                  <a:pt x="4884" y="347"/>
                </a:cubicBezTo>
                <a:lnTo>
                  <a:pt x="4884" y="1639"/>
                </a:lnTo>
                <a:cubicBezTo>
                  <a:pt x="4884" y="1922"/>
                  <a:pt x="4758" y="2206"/>
                  <a:pt x="4569" y="2395"/>
                </a:cubicBezTo>
                <a:lnTo>
                  <a:pt x="4096" y="2868"/>
                </a:lnTo>
                <a:lnTo>
                  <a:pt x="4002" y="2868"/>
                </a:lnTo>
                <a:cubicBezTo>
                  <a:pt x="3991" y="2867"/>
                  <a:pt x="3981" y="2867"/>
                  <a:pt x="3970" y="2867"/>
                </a:cubicBezTo>
                <a:cubicBezTo>
                  <a:pt x="2880" y="2867"/>
                  <a:pt x="1886" y="4484"/>
                  <a:pt x="1387" y="5451"/>
                </a:cubicBezTo>
                <a:cubicBezTo>
                  <a:pt x="599" y="6963"/>
                  <a:pt x="63" y="8601"/>
                  <a:pt x="32" y="9862"/>
                </a:cubicBezTo>
                <a:cubicBezTo>
                  <a:pt x="0" y="10429"/>
                  <a:pt x="63" y="10901"/>
                  <a:pt x="284" y="11216"/>
                </a:cubicBezTo>
                <a:cubicBezTo>
                  <a:pt x="473" y="11657"/>
                  <a:pt x="820" y="11878"/>
                  <a:pt x="1292" y="11878"/>
                </a:cubicBezTo>
                <a:lnTo>
                  <a:pt x="1387" y="11878"/>
                </a:lnTo>
                <a:cubicBezTo>
                  <a:pt x="1954" y="11878"/>
                  <a:pt x="2489" y="11531"/>
                  <a:pt x="2962" y="11216"/>
                </a:cubicBezTo>
                <a:cubicBezTo>
                  <a:pt x="3119" y="11090"/>
                  <a:pt x="3277" y="10964"/>
                  <a:pt x="3434" y="10901"/>
                </a:cubicBezTo>
                <a:cubicBezTo>
                  <a:pt x="3970" y="10586"/>
                  <a:pt x="4474" y="10303"/>
                  <a:pt x="4852" y="9799"/>
                </a:cubicBezTo>
                <a:cubicBezTo>
                  <a:pt x="5199" y="9263"/>
                  <a:pt x="5482" y="8223"/>
                  <a:pt x="5545" y="6963"/>
                </a:cubicBezTo>
                <a:cubicBezTo>
                  <a:pt x="5545" y="6648"/>
                  <a:pt x="5577" y="6365"/>
                  <a:pt x="5545" y="6081"/>
                </a:cubicBezTo>
                <a:lnTo>
                  <a:pt x="5545" y="5987"/>
                </a:lnTo>
                <a:cubicBezTo>
                  <a:pt x="5545" y="5451"/>
                  <a:pt x="5482" y="4978"/>
                  <a:pt x="5388" y="4569"/>
                </a:cubicBezTo>
                <a:lnTo>
                  <a:pt x="5671" y="4285"/>
                </a:lnTo>
                <a:cubicBezTo>
                  <a:pt x="5734" y="4222"/>
                  <a:pt x="5821" y="4191"/>
                  <a:pt x="5908" y="4191"/>
                </a:cubicBezTo>
                <a:cubicBezTo>
                  <a:pt x="5994" y="4191"/>
                  <a:pt x="6081" y="4222"/>
                  <a:pt x="6144" y="4285"/>
                </a:cubicBezTo>
                <a:lnTo>
                  <a:pt x="6427" y="4569"/>
                </a:lnTo>
                <a:cubicBezTo>
                  <a:pt x="6270" y="5230"/>
                  <a:pt x="6207" y="6050"/>
                  <a:pt x="6270" y="6963"/>
                </a:cubicBezTo>
                <a:cubicBezTo>
                  <a:pt x="6333" y="8223"/>
                  <a:pt x="6616" y="9295"/>
                  <a:pt x="6963" y="9799"/>
                </a:cubicBezTo>
                <a:cubicBezTo>
                  <a:pt x="7310" y="10303"/>
                  <a:pt x="7845" y="10618"/>
                  <a:pt x="8381" y="10901"/>
                </a:cubicBezTo>
                <a:cubicBezTo>
                  <a:pt x="8538" y="10964"/>
                  <a:pt x="8696" y="11090"/>
                  <a:pt x="8853" y="11216"/>
                </a:cubicBezTo>
                <a:cubicBezTo>
                  <a:pt x="9326" y="11531"/>
                  <a:pt x="9830" y="11878"/>
                  <a:pt x="10429" y="11878"/>
                </a:cubicBezTo>
                <a:lnTo>
                  <a:pt x="10523" y="11878"/>
                </a:lnTo>
                <a:cubicBezTo>
                  <a:pt x="10996" y="11846"/>
                  <a:pt x="11342" y="11594"/>
                  <a:pt x="11531" y="11216"/>
                </a:cubicBezTo>
                <a:cubicBezTo>
                  <a:pt x="11720" y="10870"/>
                  <a:pt x="11815" y="10429"/>
                  <a:pt x="11783" y="9862"/>
                </a:cubicBezTo>
                <a:cubicBezTo>
                  <a:pt x="11720" y="8664"/>
                  <a:pt x="11216" y="6963"/>
                  <a:pt x="10429" y="5451"/>
                </a:cubicBezTo>
                <a:cubicBezTo>
                  <a:pt x="9924" y="4474"/>
                  <a:pt x="8885" y="2868"/>
                  <a:pt x="7782" y="2868"/>
                </a:cubicBezTo>
                <a:lnTo>
                  <a:pt x="7751" y="2868"/>
                </a:lnTo>
                <a:lnTo>
                  <a:pt x="7278" y="2395"/>
                </a:lnTo>
                <a:cubicBezTo>
                  <a:pt x="7089" y="2206"/>
                  <a:pt x="6963" y="1922"/>
                  <a:pt x="6963" y="1639"/>
                </a:cubicBezTo>
                <a:lnTo>
                  <a:pt x="6963" y="347"/>
                </a:lnTo>
                <a:cubicBezTo>
                  <a:pt x="6963" y="158"/>
                  <a:pt x="6805" y="1"/>
                  <a:pt x="66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8" name="Google Shape;6618;p72"/>
          <p:cNvSpPr/>
          <p:nvPr/>
        </p:nvSpPr>
        <p:spPr>
          <a:xfrm>
            <a:off x="9465170" y="5054945"/>
            <a:ext cx="477204" cy="442051"/>
          </a:xfrm>
          <a:custGeom>
            <a:avLst/>
            <a:gdLst/>
            <a:ahLst/>
            <a:cxnLst/>
            <a:rect l="l" t="t" r="r" b="b"/>
            <a:pathLst>
              <a:path w="11973" h="11091" extrusionOk="0">
                <a:moveTo>
                  <a:pt x="2143" y="694"/>
                </a:moveTo>
                <a:cubicBezTo>
                  <a:pt x="2206" y="694"/>
                  <a:pt x="2332" y="726"/>
                  <a:pt x="2363" y="820"/>
                </a:cubicBezTo>
                <a:cubicBezTo>
                  <a:pt x="2489" y="915"/>
                  <a:pt x="2489" y="1167"/>
                  <a:pt x="2363" y="1293"/>
                </a:cubicBezTo>
                <a:lnTo>
                  <a:pt x="1387" y="2269"/>
                </a:lnTo>
                <a:cubicBezTo>
                  <a:pt x="1324" y="2332"/>
                  <a:pt x="1229" y="2395"/>
                  <a:pt x="1135" y="2395"/>
                </a:cubicBezTo>
                <a:cubicBezTo>
                  <a:pt x="1072" y="2395"/>
                  <a:pt x="977" y="2332"/>
                  <a:pt x="914" y="2269"/>
                </a:cubicBezTo>
                <a:cubicBezTo>
                  <a:pt x="788" y="2143"/>
                  <a:pt x="788" y="1923"/>
                  <a:pt x="914" y="1797"/>
                </a:cubicBezTo>
                <a:lnTo>
                  <a:pt x="1891" y="820"/>
                </a:lnTo>
                <a:cubicBezTo>
                  <a:pt x="1985" y="726"/>
                  <a:pt x="2048" y="694"/>
                  <a:pt x="2143" y="694"/>
                </a:cubicBezTo>
                <a:close/>
                <a:moveTo>
                  <a:pt x="2647" y="2017"/>
                </a:moveTo>
                <a:lnTo>
                  <a:pt x="5325" y="4191"/>
                </a:lnTo>
                <a:lnTo>
                  <a:pt x="3151" y="4191"/>
                </a:lnTo>
                <a:lnTo>
                  <a:pt x="2111" y="2584"/>
                </a:lnTo>
                <a:lnTo>
                  <a:pt x="2647" y="2017"/>
                </a:lnTo>
                <a:close/>
                <a:moveTo>
                  <a:pt x="10555" y="2805"/>
                </a:moveTo>
                <a:lnTo>
                  <a:pt x="10555" y="2805"/>
                </a:lnTo>
                <a:cubicBezTo>
                  <a:pt x="10523" y="3277"/>
                  <a:pt x="10334" y="3750"/>
                  <a:pt x="10050" y="4191"/>
                </a:cubicBezTo>
                <a:lnTo>
                  <a:pt x="8318" y="4191"/>
                </a:lnTo>
                <a:cubicBezTo>
                  <a:pt x="8822" y="3403"/>
                  <a:pt x="9641" y="2931"/>
                  <a:pt x="10555" y="2805"/>
                </a:cubicBezTo>
                <a:close/>
                <a:moveTo>
                  <a:pt x="10964" y="4853"/>
                </a:moveTo>
                <a:cubicBezTo>
                  <a:pt x="11153" y="4853"/>
                  <a:pt x="11311" y="5010"/>
                  <a:pt x="11311" y="5231"/>
                </a:cubicBezTo>
                <a:cubicBezTo>
                  <a:pt x="11279" y="5294"/>
                  <a:pt x="11279" y="5388"/>
                  <a:pt x="11185" y="5420"/>
                </a:cubicBezTo>
                <a:cubicBezTo>
                  <a:pt x="11122" y="5483"/>
                  <a:pt x="11027" y="5577"/>
                  <a:pt x="10933" y="5577"/>
                </a:cubicBezTo>
                <a:lnTo>
                  <a:pt x="1198" y="5577"/>
                </a:lnTo>
                <a:cubicBezTo>
                  <a:pt x="1072" y="5577"/>
                  <a:pt x="1009" y="5546"/>
                  <a:pt x="914" y="5420"/>
                </a:cubicBezTo>
                <a:cubicBezTo>
                  <a:pt x="882" y="5325"/>
                  <a:pt x="851" y="5294"/>
                  <a:pt x="851" y="5231"/>
                </a:cubicBezTo>
                <a:cubicBezTo>
                  <a:pt x="851" y="5010"/>
                  <a:pt x="1009" y="4853"/>
                  <a:pt x="1198" y="4853"/>
                </a:cubicBezTo>
                <a:close/>
                <a:moveTo>
                  <a:pt x="10555" y="6239"/>
                </a:moveTo>
                <a:cubicBezTo>
                  <a:pt x="10428" y="7058"/>
                  <a:pt x="10082" y="8098"/>
                  <a:pt x="8759" y="9043"/>
                </a:cubicBezTo>
                <a:lnTo>
                  <a:pt x="3340" y="9043"/>
                </a:lnTo>
                <a:cubicBezTo>
                  <a:pt x="2363" y="8381"/>
                  <a:pt x="1765" y="7657"/>
                  <a:pt x="1576" y="6270"/>
                </a:cubicBezTo>
                <a:lnTo>
                  <a:pt x="9137" y="6270"/>
                </a:lnTo>
                <a:cubicBezTo>
                  <a:pt x="9074" y="6711"/>
                  <a:pt x="8822" y="7216"/>
                  <a:pt x="8192" y="7751"/>
                </a:cubicBezTo>
                <a:cubicBezTo>
                  <a:pt x="8034" y="7846"/>
                  <a:pt x="8034" y="8098"/>
                  <a:pt x="8160" y="8224"/>
                </a:cubicBezTo>
                <a:cubicBezTo>
                  <a:pt x="8223" y="8287"/>
                  <a:pt x="8318" y="8318"/>
                  <a:pt x="8444" y="8318"/>
                </a:cubicBezTo>
                <a:cubicBezTo>
                  <a:pt x="8507" y="8318"/>
                  <a:pt x="8601" y="8287"/>
                  <a:pt x="8633" y="8255"/>
                </a:cubicBezTo>
                <a:cubicBezTo>
                  <a:pt x="9483" y="7531"/>
                  <a:pt x="9767" y="6838"/>
                  <a:pt x="9861" y="6239"/>
                </a:cubicBezTo>
                <a:close/>
                <a:moveTo>
                  <a:pt x="8475" y="9704"/>
                </a:moveTo>
                <a:lnTo>
                  <a:pt x="8475" y="10051"/>
                </a:lnTo>
                <a:cubicBezTo>
                  <a:pt x="8507" y="10272"/>
                  <a:pt x="8349" y="10429"/>
                  <a:pt x="8160" y="10429"/>
                </a:cubicBezTo>
                <a:lnTo>
                  <a:pt x="3938" y="10429"/>
                </a:lnTo>
                <a:cubicBezTo>
                  <a:pt x="3749" y="10429"/>
                  <a:pt x="3592" y="10272"/>
                  <a:pt x="3592" y="10051"/>
                </a:cubicBezTo>
                <a:lnTo>
                  <a:pt x="3592" y="9704"/>
                </a:lnTo>
                <a:close/>
                <a:moveTo>
                  <a:pt x="2143" y="1"/>
                </a:moveTo>
                <a:cubicBezTo>
                  <a:pt x="1859" y="1"/>
                  <a:pt x="1576" y="127"/>
                  <a:pt x="1387" y="348"/>
                </a:cubicBezTo>
                <a:lnTo>
                  <a:pt x="410" y="1324"/>
                </a:lnTo>
                <a:cubicBezTo>
                  <a:pt x="0" y="1702"/>
                  <a:pt x="0" y="2364"/>
                  <a:pt x="410" y="2773"/>
                </a:cubicBezTo>
                <a:cubicBezTo>
                  <a:pt x="599" y="2962"/>
                  <a:pt x="882" y="3088"/>
                  <a:pt x="1135" y="3088"/>
                </a:cubicBezTo>
                <a:cubicBezTo>
                  <a:pt x="1261" y="3088"/>
                  <a:pt x="1418" y="3057"/>
                  <a:pt x="1544" y="3025"/>
                </a:cubicBezTo>
                <a:lnTo>
                  <a:pt x="2332" y="4191"/>
                </a:lnTo>
                <a:lnTo>
                  <a:pt x="1198" y="4191"/>
                </a:lnTo>
                <a:cubicBezTo>
                  <a:pt x="599" y="4191"/>
                  <a:pt x="158" y="4664"/>
                  <a:pt x="158" y="5231"/>
                </a:cubicBezTo>
                <a:cubicBezTo>
                  <a:pt x="158" y="5451"/>
                  <a:pt x="252" y="5640"/>
                  <a:pt x="347" y="5861"/>
                </a:cubicBezTo>
                <a:cubicBezTo>
                  <a:pt x="473" y="6050"/>
                  <a:pt x="662" y="6176"/>
                  <a:pt x="914" y="6207"/>
                </a:cubicBezTo>
                <a:cubicBezTo>
                  <a:pt x="977" y="6995"/>
                  <a:pt x="1229" y="7625"/>
                  <a:pt x="1544" y="8161"/>
                </a:cubicBezTo>
                <a:cubicBezTo>
                  <a:pt x="1859" y="8696"/>
                  <a:pt x="2300" y="9106"/>
                  <a:pt x="2930" y="9547"/>
                </a:cubicBezTo>
                <a:lnTo>
                  <a:pt x="2930" y="10051"/>
                </a:lnTo>
                <a:cubicBezTo>
                  <a:pt x="2930" y="10650"/>
                  <a:pt x="3403" y="11091"/>
                  <a:pt x="3938" y="11091"/>
                </a:cubicBezTo>
                <a:lnTo>
                  <a:pt x="8160" y="11091"/>
                </a:lnTo>
                <a:cubicBezTo>
                  <a:pt x="8759" y="11091"/>
                  <a:pt x="9168" y="10618"/>
                  <a:pt x="9168" y="10051"/>
                </a:cubicBezTo>
                <a:lnTo>
                  <a:pt x="9168" y="9547"/>
                </a:lnTo>
                <a:cubicBezTo>
                  <a:pt x="10428" y="8696"/>
                  <a:pt x="11122" y="7594"/>
                  <a:pt x="11216" y="6207"/>
                </a:cubicBezTo>
                <a:cubicBezTo>
                  <a:pt x="11437" y="6113"/>
                  <a:pt x="11626" y="6018"/>
                  <a:pt x="11752" y="5861"/>
                </a:cubicBezTo>
                <a:cubicBezTo>
                  <a:pt x="11846" y="5640"/>
                  <a:pt x="11941" y="5451"/>
                  <a:pt x="11941" y="5231"/>
                </a:cubicBezTo>
                <a:cubicBezTo>
                  <a:pt x="11972" y="4632"/>
                  <a:pt x="11500" y="4191"/>
                  <a:pt x="10901" y="4191"/>
                </a:cubicBezTo>
                <a:lnTo>
                  <a:pt x="10838" y="4191"/>
                </a:lnTo>
                <a:cubicBezTo>
                  <a:pt x="11122" y="3656"/>
                  <a:pt x="11279" y="3057"/>
                  <a:pt x="11279" y="2458"/>
                </a:cubicBezTo>
                <a:cubicBezTo>
                  <a:pt x="11279" y="2269"/>
                  <a:pt x="11122" y="2112"/>
                  <a:pt x="10901" y="2112"/>
                </a:cubicBezTo>
                <a:cubicBezTo>
                  <a:pt x="9452" y="2112"/>
                  <a:pt x="8160" y="2931"/>
                  <a:pt x="7530" y="4191"/>
                </a:cubicBezTo>
                <a:lnTo>
                  <a:pt x="6427" y="4191"/>
                </a:lnTo>
                <a:lnTo>
                  <a:pt x="3088" y="1482"/>
                </a:lnTo>
                <a:cubicBezTo>
                  <a:pt x="3245" y="1072"/>
                  <a:pt x="3151" y="663"/>
                  <a:pt x="2867" y="348"/>
                </a:cubicBezTo>
                <a:cubicBezTo>
                  <a:pt x="2678" y="127"/>
                  <a:pt x="2395" y="1"/>
                  <a:pt x="21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19" name="Google Shape;6619;p72"/>
          <p:cNvSpPr/>
          <p:nvPr/>
        </p:nvSpPr>
        <p:spPr>
          <a:xfrm>
            <a:off x="8269266" y="5697296"/>
            <a:ext cx="474693" cy="472181"/>
          </a:xfrm>
          <a:custGeom>
            <a:avLst/>
            <a:gdLst/>
            <a:ahLst/>
            <a:cxnLst/>
            <a:rect l="l" t="t" r="r" b="b"/>
            <a:pathLst>
              <a:path w="11910" h="11847" extrusionOk="0">
                <a:moveTo>
                  <a:pt x="1104" y="693"/>
                </a:moveTo>
                <a:cubicBezTo>
                  <a:pt x="2521" y="693"/>
                  <a:pt x="3592" y="1702"/>
                  <a:pt x="3813" y="3371"/>
                </a:cubicBezTo>
                <a:lnTo>
                  <a:pt x="3939" y="4190"/>
                </a:lnTo>
                <a:lnTo>
                  <a:pt x="3781" y="4190"/>
                </a:lnTo>
                <a:cubicBezTo>
                  <a:pt x="3592" y="4190"/>
                  <a:pt x="3435" y="4190"/>
                  <a:pt x="3246" y="4222"/>
                </a:cubicBezTo>
                <a:lnTo>
                  <a:pt x="3151" y="3497"/>
                </a:lnTo>
                <a:cubicBezTo>
                  <a:pt x="2962" y="2143"/>
                  <a:pt x="2206" y="1418"/>
                  <a:pt x="1104" y="1418"/>
                </a:cubicBezTo>
                <a:cubicBezTo>
                  <a:pt x="915" y="1418"/>
                  <a:pt x="757" y="1260"/>
                  <a:pt x="757" y="1040"/>
                </a:cubicBezTo>
                <a:cubicBezTo>
                  <a:pt x="757" y="851"/>
                  <a:pt x="915" y="693"/>
                  <a:pt x="1104" y="693"/>
                </a:cubicBezTo>
                <a:close/>
                <a:moveTo>
                  <a:pt x="6617" y="3529"/>
                </a:moveTo>
                <a:cubicBezTo>
                  <a:pt x="7184" y="3529"/>
                  <a:pt x="7657" y="4001"/>
                  <a:pt x="7657" y="4568"/>
                </a:cubicBezTo>
                <a:lnTo>
                  <a:pt x="7657" y="5577"/>
                </a:lnTo>
                <a:lnTo>
                  <a:pt x="6774" y="5577"/>
                </a:lnTo>
                <a:lnTo>
                  <a:pt x="6554" y="5356"/>
                </a:lnTo>
                <a:lnTo>
                  <a:pt x="6522" y="5293"/>
                </a:lnTo>
                <a:cubicBezTo>
                  <a:pt x="6050" y="4820"/>
                  <a:pt x="5388" y="4474"/>
                  <a:pt x="4695" y="4316"/>
                </a:cubicBezTo>
                <a:lnTo>
                  <a:pt x="4569" y="3529"/>
                </a:lnTo>
                <a:close/>
                <a:moveTo>
                  <a:pt x="3466" y="4915"/>
                </a:moveTo>
                <a:lnTo>
                  <a:pt x="3466" y="5608"/>
                </a:lnTo>
                <a:cubicBezTo>
                  <a:pt x="3088" y="5671"/>
                  <a:pt x="2679" y="5860"/>
                  <a:pt x="2364" y="6081"/>
                </a:cubicBezTo>
                <a:lnTo>
                  <a:pt x="1860" y="5577"/>
                </a:lnTo>
                <a:cubicBezTo>
                  <a:pt x="2332" y="5230"/>
                  <a:pt x="2868" y="4978"/>
                  <a:pt x="3466" y="4915"/>
                </a:cubicBezTo>
                <a:close/>
                <a:moveTo>
                  <a:pt x="4191" y="4915"/>
                </a:moveTo>
                <a:cubicBezTo>
                  <a:pt x="4790" y="4978"/>
                  <a:pt x="5325" y="5230"/>
                  <a:pt x="5798" y="5577"/>
                </a:cubicBezTo>
                <a:lnTo>
                  <a:pt x="5294" y="6081"/>
                </a:lnTo>
                <a:cubicBezTo>
                  <a:pt x="4979" y="5860"/>
                  <a:pt x="4569" y="5703"/>
                  <a:pt x="4191" y="5608"/>
                </a:cubicBezTo>
                <a:lnTo>
                  <a:pt x="4191" y="4915"/>
                </a:lnTo>
                <a:close/>
                <a:moveTo>
                  <a:pt x="6270" y="6049"/>
                </a:moveTo>
                <a:cubicBezTo>
                  <a:pt x="6617" y="6522"/>
                  <a:pt x="6869" y="7057"/>
                  <a:pt x="6932" y="7656"/>
                </a:cubicBezTo>
                <a:lnTo>
                  <a:pt x="6239" y="7656"/>
                </a:lnTo>
                <a:cubicBezTo>
                  <a:pt x="6176" y="7278"/>
                  <a:pt x="5987" y="6868"/>
                  <a:pt x="5766" y="6553"/>
                </a:cubicBezTo>
                <a:lnTo>
                  <a:pt x="6270" y="6049"/>
                </a:lnTo>
                <a:close/>
                <a:moveTo>
                  <a:pt x="1387" y="6081"/>
                </a:moveTo>
                <a:lnTo>
                  <a:pt x="1891" y="6616"/>
                </a:lnTo>
                <a:cubicBezTo>
                  <a:pt x="1671" y="6931"/>
                  <a:pt x="1513" y="7309"/>
                  <a:pt x="1419" y="7719"/>
                </a:cubicBezTo>
                <a:lnTo>
                  <a:pt x="725" y="7719"/>
                </a:lnTo>
                <a:cubicBezTo>
                  <a:pt x="788" y="7057"/>
                  <a:pt x="1041" y="6522"/>
                  <a:pt x="1387" y="6081"/>
                </a:cubicBezTo>
                <a:close/>
                <a:moveTo>
                  <a:pt x="8792" y="6327"/>
                </a:moveTo>
                <a:cubicBezTo>
                  <a:pt x="9316" y="6327"/>
                  <a:pt x="9736" y="6806"/>
                  <a:pt x="9736" y="7341"/>
                </a:cubicBezTo>
                <a:lnTo>
                  <a:pt x="9736" y="7719"/>
                </a:lnTo>
                <a:lnTo>
                  <a:pt x="7657" y="7719"/>
                </a:lnTo>
                <a:cubicBezTo>
                  <a:pt x="7594" y="7183"/>
                  <a:pt x="7436" y="6774"/>
                  <a:pt x="7247" y="6333"/>
                </a:cubicBezTo>
                <a:lnTo>
                  <a:pt x="8696" y="6333"/>
                </a:lnTo>
                <a:cubicBezTo>
                  <a:pt x="8729" y="6329"/>
                  <a:pt x="8761" y="6327"/>
                  <a:pt x="8792" y="6327"/>
                </a:cubicBezTo>
                <a:close/>
                <a:moveTo>
                  <a:pt x="3813" y="6270"/>
                </a:moveTo>
                <a:cubicBezTo>
                  <a:pt x="4790" y="6270"/>
                  <a:pt x="5577" y="7057"/>
                  <a:pt x="5577" y="8034"/>
                </a:cubicBezTo>
                <a:cubicBezTo>
                  <a:pt x="5577" y="8979"/>
                  <a:pt x="4790" y="9767"/>
                  <a:pt x="3813" y="9767"/>
                </a:cubicBezTo>
                <a:cubicBezTo>
                  <a:pt x="2868" y="9767"/>
                  <a:pt x="2080" y="8979"/>
                  <a:pt x="2080" y="8034"/>
                </a:cubicBezTo>
                <a:cubicBezTo>
                  <a:pt x="2080" y="7057"/>
                  <a:pt x="2868" y="6270"/>
                  <a:pt x="3813" y="6270"/>
                </a:cubicBezTo>
                <a:close/>
                <a:moveTo>
                  <a:pt x="1419" y="8381"/>
                </a:moveTo>
                <a:cubicBezTo>
                  <a:pt x="1450" y="8759"/>
                  <a:pt x="1671" y="9168"/>
                  <a:pt x="1891" y="9483"/>
                </a:cubicBezTo>
                <a:lnTo>
                  <a:pt x="1387" y="9987"/>
                </a:lnTo>
                <a:cubicBezTo>
                  <a:pt x="1041" y="9515"/>
                  <a:pt x="788" y="8979"/>
                  <a:pt x="725" y="8381"/>
                </a:cubicBezTo>
                <a:close/>
                <a:moveTo>
                  <a:pt x="6932" y="8381"/>
                </a:moveTo>
                <a:cubicBezTo>
                  <a:pt x="6869" y="8979"/>
                  <a:pt x="6617" y="9515"/>
                  <a:pt x="6270" y="9987"/>
                </a:cubicBezTo>
                <a:lnTo>
                  <a:pt x="5766" y="9483"/>
                </a:lnTo>
                <a:cubicBezTo>
                  <a:pt x="5987" y="9168"/>
                  <a:pt x="6144" y="8759"/>
                  <a:pt x="6239" y="8381"/>
                </a:cubicBezTo>
                <a:close/>
                <a:moveTo>
                  <a:pt x="5294" y="9956"/>
                </a:moveTo>
                <a:lnTo>
                  <a:pt x="5798" y="10460"/>
                </a:lnTo>
                <a:cubicBezTo>
                  <a:pt x="5357" y="10806"/>
                  <a:pt x="4821" y="11058"/>
                  <a:pt x="4191" y="11121"/>
                </a:cubicBezTo>
                <a:lnTo>
                  <a:pt x="4191" y="10428"/>
                </a:lnTo>
                <a:cubicBezTo>
                  <a:pt x="4569" y="10397"/>
                  <a:pt x="4979" y="10176"/>
                  <a:pt x="5294" y="9956"/>
                </a:cubicBezTo>
                <a:close/>
                <a:moveTo>
                  <a:pt x="2364" y="9987"/>
                </a:moveTo>
                <a:cubicBezTo>
                  <a:pt x="2679" y="10208"/>
                  <a:pt x="3088" y="10397"/>
                  <a:pt x="3466" y="10460"/>
                </a:cubicBezTo>
                <a:lnTo>
                  <a:pt x="3466" y="11184"/>
                </a:lnTo>
                <a:cubicBezTo>
                  <a:pt x="2868" y="11090"/>
                  <a:pt x="2332" y="10838"/>
                  <a:pt x="1860" y="10491"/>
                </a:cubicBezTo>
                <a:lnTo>
                  <a:pt x="2364" y="9987"/>
                </a:lnTo>
                <a:close/>
                <a:moveTo>
                  <a:pt x="9389" y="10460"/>
                </a:moveTo>
                <a:cubicBezTo>
                  <a:pt x="9578" y="10460"/>
                  <a:pt x="9736" y="10617"/>
                  <a:pt x="9736" y="10806"/>
                </a:cubicBezTo>
                <a:cubicBezTo>
                  <a:pt x="9736" y="10995"/>
                  <a:pt x="9578" y="11184"/>
                  <a:pt x="9389" y="11184"/>
                </a:cubicBezTo>
                <a:cubicBezTo>
                  <a:pt x="9169" y="11184"/>
                  <a:pt x="9011" y="10995"/>
                  <a:pt x="9011" y="10806"/>
                </a:cubicBezTo>
                <a:cubicBezTo>
                  <a:pt x="9011" y="10617"/>
                  <a:pt x="9169" y="10460"/>
                  <a:pt x="9389" y="10460"/>
                </a:cubicBezTo>
                <a:close/>
                <a:moveTo>
                  <a:pt x="1104" y="0"/>
                </a:moveTo>
                <a:cubicBezTo>
                  <a:pt x="505" y="0"/>
                  <a:pt x="95" y="473"/>
                  <a:pt x="95" y="1008"/>
                </a:cubicBezTo>
                <a:cubicBezTo>
                  <a:pt x="95" y="1544"/>
                  <a:pt x="568" y="2048"/>
                  <a:pt x="1104" y="2048"/>
                </a:cubicBezTo>
                <a:cubicBezTo>
                  <a:pt x="2049" y="2048"/>
                  <a:pt x="2364" y="2867"/>
                  <a:pt x="2490" y="3529"/>
                </a:cubicBezTo>
                <a:lnTo>
                  <a:pt x="2616" y="4348"/>
                </a:lnTo>
                <a:cubicBezTo>
                  <a:pt x="2049" y="4537"/>
                  <a:pt x="1576" y="4852"/>
                  <a:pt x="1167" y="5262"/>
                </a:cubicBezTo>
                <a:lnTo>
                  <a:pt x="1104" y="5293"/>
                </a:lnTo>
                <a:cubicBezTo>
                  <a:pt x="442" y="5955"/>
                  <a:pt x="1" y="6900"/>
                  <a:pt x="1" y="7971"/>
                </a:cubicBezTo>
                <a:cubicBezTo>
                  <a:pt x="1" y="9011"/>
                  <a:pt x="442" y="9956"/>
                  <a:pt x="1104" y="10649"/>
                </a:cubicBezTo>
                <a:lnTo>
                  <a:pt x="1167" y="10680"/>
                </a:lnTo>
                <a:lnTo>
                  <a:pt x="1198" y="10743"/>
                </a:lnTo>
                <a:cubicBezTo>
                  <a:pt x="1860" y="11405"/>
                  <a:pt x="2805" y="11846"/>
                  <a:pt x="3876" y="11846"/>
                </a:cubicBezTo>
                <a:cubicBezTo>
                  <a:pt x="4884" y="11846"/>
                  <a:pt x="5829" y="11405"/>
                  <a:pt x="6554" y="10743"/>
                </a:cubicBezTo>
                <a:lnTo>
                  <a:pt x="6585" y="10680"/>
                </a:lnTo>
                <a:lnTo>
                  <a:pt x="6617" y="10649"/>
                </a:lnTo>
                <a:cubicBezTo>
                  <a:pt x="7216" y="10019"/>
                  <a:pt x="7625" y="9231"/>
                  <a:pt x="7688" y="8318"/>
                </a:cubicBezTo>
                <a:lnTo>
                  <a:pt x="9106" y="8318"/>
                </a:lnTo>
                <a:lnTo>
                  <a:pt x="9106" y="9798"/>
                </a:lnTo>
                <a:cubicBezTo>
                  <a:pt x="8728" y="9956"/>
                  <a:pt x="8381" y="10302"/>
                  <a:pt x="8381" y="10775"/>
                </a:cubicBezTo>
                <a:cubicBezTo>
                  <a:pt x="8381" y="11373"/>
                  <a:pt x="8854" y="11783"/>
                  <a:pt x="9421" y="11783"/>
                </a:cubicBezTo>
                <a:cubicBezTo>
                  <a:pt x="9862" y="11783"/>
                  <a:pt x="10240" y="11531"/>
                  <a:pt x="10398" y="11090"/>
                </a:cubicBezTo>
                <a:lnTo>
                  <a:pt x="11532" y="11090"/>
                </a:lnTo>
                <a:cubicBezTo>
                  <a:pt x="11752" y="11090"/>
                  <a:pt x="11910" y="10932"/>
                  <a:pt x="11910" y="10743"/>
                </a:cubicBezTo>
                <a:cubicBezTo>
                  <a:pt x="11910" y="10523"/>
                  <a:pt x="11689" y="10460"/>
                  <a:pt x="11500" y="10460"/>
                </a:cubicBezTo>
                <a:lnTo>
                  <a:pt x="10366" y="10460"/>
                </a:lnTo>
                <a:cubicBezTo>
                  <a:pt x="10240" y="10176"/>
                  <a:pt x="10019" y="9956"/>
                  <a:pt x="9736" y="9830"/>
                </a:cubicBezTo>
                <a:lnTo>
                  <a:pt x="9736" y="8381"/>
                </a:lnTo>
                <a:lnTo>
                  <a:pt x="10807" y="8381"/>
                </a:lnTo>
                <a:cubicBezTo>
                  <a:pt x="10996" y="8381"/>
                  <a:pt x="11154" y="8223"/>
                  <a:pt x="11154" y="8034"/>
                </a:cubicBezTo>
                <a:cubicBezTo>
                  <a:pt x="11154" y="7813"/>
                  <a:pt x="10996" y="7656"/>
                  <a:pt x="10807" y="7656"/>
                </a:cubicBezTo>
                <a:lnTo>
                  <a:pt x="10461" y="7656"/>
                </a:lnTo>
                <a:lnTo>
                  <a:pt x="10461" y="7309"/>
                </a:lnTo>
                <a:cubicBezTo>
                  <a:pt x="10461" y="6364"/>
                  <a:pt x="9673" y="5577"/>
                  <a:pt x="8728" y="5577"/>
                </a:cubicBezTo>
                <a:lnTo>
                  <a:pt x="8350" y="5577"/>
                </a:lnTo>
                <a:lnTo>
                  <a:pt x="8350" y="4568"/>
                </a:lnTo>
                <a:cubicBezTo>
                  <a:pt x="8350" y="3623"/>
                  <a:pt x="7562" y="2836"/>
                  <a:pt x="6617" y="2836"/>
                </a:cubicBezTo>
                <a:lnTo>
                  <a:pt x="4443" y="2836"/>
                </a:lnTo>
                <a:cubicBezTo>
                  <a:pt x="4254" y="2048"/>
                  <a:pt x="3907" y="1418"/>
                  <a:pt x="3403" y="882"/>
                </a:cubicBezTo>
                <a:cubicBezTo>
                  <a:pt x="2773" y="315"/>
                  <a:pt x="1986" y="0"/>
                  <a:pt x="110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20" name="Google Shape;6620;p72"/>
          <p:cNvGrpSpPr/>
          <p:nvPr/>
        </p:nvGrpSpPr>
        <p:grpSpPr>
          <a:xfrm>
            <a:off x="8859735" y="2082146"/>
            <a:ext cx="480951" cy="471863"/>
            <a:chOff x="-26993200" y="1961775"/>
            <a:chExt cx="301675" cy="295975"/>
          </a:xfrm>
        </p:grpSpPr>
        <p:sp>
          <p:nvSpPr>
            <p:cNvPr id="6621" name="Google Shape;6621;p72"/>
            <p:cNvSpPr/>
            <p:nvPr/>
          </p:nvSpPr>
          <p:spPr>
            <a:xfrm>
              <a:off x="-26993200" y="1961775"/>
              <a:ext cx="301675" cy="295975"/>
            </a:xfrm>
            <a:custGeom>
              <a:avLst/>
              <a:gdLst/>
              <a:ahLst/>
              <a:cxnLst/>
              <a:rect l="l" t="t" r="r" b="b"/>
              <a:pathLst>
                <a:path w="12067" h="11839" extrusionOk="0">
                  <a:moveTo>
                    <a:pt x="8601" y="685"/>
                  </a:moveTo>
                  <a:cubicBezTo>
                    <a:pt x="8664" y="685"/>
                    <a:pt x="8790" y="717"/>
                    <a:pt x="8822" y="811"/>
                  </a:cubicBezTo>
                  <a:lnTo>
                    <a:pt x="11279" y="3237"/>
                  </a:lnTo>
                  <a:cubicBezTo>
                    <a:pt x="11342" y="3332"/>
                    <a:pt x="11374" y="3395"/>
                    <a:pt x="11374" y="3489"/>
                  </a:cubicBezTo>
                  <a:cubicBezTo>
                    <a:pt x="11374" y="3552"/>
                    <a:pt x="11342" y="3647"/>
                    <a:pt x="11279" y="3710"/>
                  </a:cubicBezTo>
                  <a:cubicBezTo>
                    <a:pt x="11216" y="3773"/>
                    <a:pt x="11122" y="3804"/>
                    <a:pt x="11031" y="3804"/>
                  </a:cubicBezTo>
                  <a:cubicBezTo>
                    <a:pt x="10941" y="3804"/>
                    <a:pt x="10854" y="3773"/>
                    <a:pt x="10807" y="3710"/>
                  </a:cubicBezTo>
                  <a:lnTo>
                    <a:pt x="8349" y="1284"/>
                  </a:lnTo>
                  <a:cubicBezTo>
                    <a:pt x="8286" y="1189"/>
                    <a:pt x="8223" y="1126"/>
                    <a:pt x="8223" y="1032"/>
                  </a:cubicBezTo>
                  <a:cubicBezTo>
                    <a:pt x="8223" y="969"/>
                    <a:pt x="8286" y="843"/>
                    <a:pt x="8349" y="811"/>
                  </a:cubicBezTo>
                  <a:cubicBezTo>
                    <a:pt x="8444" y="717"/>
                    <a:pt x="8507" y="685"/>
                    <a:pt x="8601" y="685"/>
                  </a:cubicBezTo>
                  <a:close/>
                  <a:moveTo>
                    <a:pt x="7971" y="2103"/>
                  </a:moveTo>
                  <a:lnTo>
                    <a:pt x="8759" y="2891"/>
                  </a:lnTo>
                  <a:lnTo>
                    <a:pt x="9925" y="4056"/>
                  </a:lnTo>
                  <a:lnTo>
                    <a:pt x="7058" y="6955"/>
                  </a:lnTo>
                  <a:cubicBezTo>
                    <a:pt x="6617" y="6545"/>
                    <a:pt x="5986" y="6356"/>
                    <a:pt x="5325" y="6356"/>
                  </a:cubicBezTo>
                  <a:lnTo>
                    <a:pt x="5293" y="6356"/>
                  </a:lnTo>
                  <a:cubicBezTo>
                    <a:pt x="5256" y="6359"/>
                    <a:pt x="5219" y="6360"/>
                    <a:pt x="5182" y="6360"/>
                  </a:cubicBezTo>
                  <a:cubicBezTo>
                    <a:pt x="4779" y="6360"/>
                    <a:pt x="4385" y="6206"/>
                    <a:pt x="4096" y="5947"/>
                  </a:cubicBezTo>
                  <a:lnTo>
                    <a:pt x="5136" y="4939"/>
                  </a:lnTo>
                  <a:lnTo>
                    <a:pt x="5356" y="5159"/>
                  </a:lnTo>
                  <a:cubicBezTo>
                    <a:pt x="5451" y="5254"/>
                    <a:pt x="5514" y="5285"/>
                    <a:pt x="5608" y="5285"/>
                  </a:cubicBezTo>
                  <a:cubicBezTo>
                    <a:pt x="5671" y="5285"/>
                    <a:pt x="5797" y="5254"/>
                    <a:pt x="5829" y="5159"/>
                  </a:cubicBezTo>
                  <a:cubicBezTo>
                    <a:pt x="5955" y="5065"/>
                    <a:pt x="5955" y="4813"/>
                    <a:pt x="5829" y="4687"/>
                  </a:cubicBezTo>
                  <a:lnTo>
                    <a:pt x="5608" y="4466"/>
                  </a:lnTo>
                  <a:lnTo>
                    <a:pt x="6081" y="3993"/>
                  </a:lnTo>
                  <a:lnTo>
                    <a:pt x="6302" y="4214"/>
                  </a:lnTo>
                  <a:cubicBezTo>
                    <a:pt x="6396" y="4308"/>
                    <a:pt x="6459" y="4340"/>
                    <a:pt x="6554" y="4340"/>
                  </a:cubicBezTo>
                  <a:cubicBezTo>
                    <a:pt x="6617" y="4340"/>
                    <a:pt x="6743" y="4308"/>
                    <a:pt x="6774" y="4214"/>
                  </a:cubicBezTo>
                  <a:cubicBezTo>
                    <a:pt x="6900" y="4119"/>
                    <a:pt x="6900" y="3867"/>
                    <a:pt x="6774" y="3741"/>
                  </a:cubicBezTo>
                  <a:lnTo>
                    <a:pt x="6554" y="3521"/>
                  </a:lnTo>
                  <a:lnTo>
                    <a:pt x="7026" y="3048"/>
                  </a:lnTo>
                  <a:lnTo>
                    <a:pt x="7247" y="3269"/>
                  </a:lnTo>
                  <a:cubicBezTo>
                    <a:pt x="7341" y="3363"/>
                    <a:pt x="7404" y="3395"/>
                    <a:pt x="7499" y="3395"/>
                  </a:cubicBezTo>
                  <a:cubicBezTo>
                    <a:pt x="7562" y="3395"/>
                    <a:pt x="7688" y="3363"/>
                    <a:pt x="7719" y="3269"/>
                  </a:cubicBezTo>
                  <a:cubicBezTo>
                    <a:pt x="7845" y="3174"/>
                    <a:pt x="7845" y="2922"/>
                    <a:pt x="7719" y="2796"/>
                  </a:cubicBezTo>
                  <a:lnTo>
                    <a:pt x="7499" y="2576"/>
                  </a:lnTo>
                  <a:lnTo>
                    <a:pt x="7971" y="2103"/>
                  </a:lnTo>
                  <a:close/>
                  <a:moveTo>
                    <a:pt x="3592" y="6482"/>
                  </a:moveTo>
                  <a:cubicBezTo>
                    <a:pt x="4038" y="6839"/>
                    <a:pt x="4596" y="7084"/>
                    <a:pt x="5213" y="7084"/>
                  </a:cubicBezTo>
                  <a:cubicBezTo>
                    <a:pt x="5250" y="7084"/>
                    <a:pt x="5288" y="7083"/>
                    <a:pt x="5325" y="7081"/>
                  </a:cubicBezTo>
                  <a:cubicBezTo>
                    <a:pt x="5797" y="7081"/>
                    <a:pt x="6239" y="7175"/>
                    <a:pt x="6554" y="7459"/>
                  </a:cubicBezTo>
                  <a:lnTo>
                    <a:pt x="3277" y="10735"/>
                  </a:lnTo>
                  <a:cubicBezTo>
                    <a:pt x="2993" y="11003"/>
                    <a:pt x="2639" y="11137"/>
                    <a:pt x="2285" y="11137"/>
                  </a:cubicBezTo>
                  <a:cubicBezTo>
                    <a:pt x="1930" y="11137"/>
                    <a:pt x="1576" y="11003"/>
                    <a:pt x="1292" y="10735"/>
                  </a:cubicBezTo>
                  <a:cubicBezTo>
                    <a:pt x="757" y="10168"/>
                    <a:pt x="757" y="9318"/>
                    <a:pt x="1292" y="8751"/>
                  </a:cubicBezTo>
                  <a:lnTo>
                    <a:pt x="3592" y="6482"/>
                  </a:lnTo>
                  <a:close/>
                  <a:moveTo>
                    <a:pt x="8582" y="0"/>
                  </a:moveTo>
                  <a:cubicBezTo>
                    <a:pt x="8318" y="0"/>
                    <a:pt x="8050" y="103"/>
                    <a:pt x="7845" y="307"/>
                  </a:cubicBezTo>
                  <a:cubicBezTo>
                    <a:pt x="7656" y="496"/>
                    <a:pt x="7530" y="780"/>
                    <a:pt x="7530" y="1032"/>
                  </a:cubicBezTo>
                  <a:cubicBezTo>
                    <a:pt x="7530" y="1189"/>
                    <a:pt x="7562" y="1347"/>
                    <a:pt x="7656" y="1473"/>
                  </a:cubicBezTo>
                  <a:lnTo>
                    <a:pt x="6869" y="2261"/>
                  </a:lnTo>
                  <a:lnTo>
                    <a:pt x="4884" y="4245"/>
                  </a:lnTo>
                  <a:lnTo>
                    <a:pt x="820" y="8278"/>
                  </a:lnTo>
                  <a:cubicBezTo>
                    <a:pt x="1" y="9097"/>
                    <a:pt x="1" y="10420"/>
                    <a:pt x="820" y="11240"/>
                  </a:cubicBezTo>
                  <a:cubicBezTo>
                    <a:pt x="1229" y="11649"/>
                    <a:pt x="1796" y="11838"/>
                    <a:pt x="2300" y="11838"/>
                  </a:cubicBezTo>
                  <a:cubicBezTo>
                    <a:pt x="2836" y="11838"/>
                    <a:pt x="3340" y="11649"/>
                    <a:pt x="3750" y="11240"/>
                  </a:cubicBezTo>
                  <a:lnTo>
                    <a:pt x="10555" y="4434"/>
                  </a:lnTo>
                  <a:cubicBezTo>
                    <a:pt x="10712" y="4497"/>
                    <a:pt x="10838" y="4560"/>
                    <a:pt x="10996" y="4560"/>
                  </a:cubicBezTo>
                  <a:cubicBezTo>
                    <a:pt x="11279" y="4560"/>
                    <a:pt x="11531" y="4434"/>
                    <a:pt x="11752" y="4245"/>
                  </a:cubicBezTo>
                  <a:cubicBezTo>
                    <a:pt x="11941" y="4025"/>
                    <a:pt x="12067" y="3773"/>
                    <a:pt x="12067" y="3489"/>
                  </a:cubicBezTo>
                  <a:cubicBezTo>
                    <a:pt x="12067" y="3206"/>
                    <a:pt x="11941" y="2922"/>
                    <a:pt x="11752" y="2733"/>
                  </a:cubicBezTo>
                  <a:lnTo>
                    <a:pt x="9294" y="307"/>
                  </a:lnTo>
                  <a:cubicBezTo>
                    <a:pt x="9105" y="103"/>
                    <a:pt x="8846" y="0"/>
                    <a:pt x="85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2" name="Google Shape;6622;p72"/>
            <p:cNvSpPr/>
            <p:nvPr/>
          </p:nvSpPr>
          <p:spPr>
            <a:xfrm>
              <a:off x="-26900250" y="21647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3" y="568"/>
                    <a:pt x="693" y="379"/>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3" name="Google Shape;6623;p72"/>
            <p:cNvSpPr/>
            <p:nvPr/>
          </p:nvSpPr>
          <p:spPr>
            <a:xfrm>
              <a:off x="-26938075" y="2177375"/>
              <a:ext cx="18150" cy="16575"/>
            </a:xfrm>
            <a:custGeom>
              <a:avLst/>
              <a:gdLst/>
              <a:ahLst/>
              <a:cxnLst/>
              <a:rect l="l" t="t" r="r" b="b"/>
              <a:pathLst>
                <a:path w="726" h="663" extrusionOk="0">
                  <a:moveTo>
                    <a:pt x="375" y="1"/>
                  </a:moveTo>
                  <a:cubicBezTo>
                    <a:pt x="292" y="1"/>
                    <a:pt x="206" y="32"/>
                    <a:pt x="127" y="95"/>
                  </a:cubicBezTo>
                  <a:cubicBezTo>
                    <a:pt x="1" y="221"/>
                    <a:pt x="1" y="442"/>
                    <a:pt x="127" y="568"/>
                  </a:cubicBezTo>
                  <a:cubicBezTo>
                    <a:pt x="190" y="631"/>
                    <a:pt x="277" y="662"/>
                    <a:pt x="363" y="662"/>
                  </a:cubicBezTo>
                  <a:cubicBezTo>
                    <a:pt x="450" y="662"/>
                    <a:pt x="536" y="631"/>
                    <a:pt x="599" y="568"/>
                  </a:cubicBezTo>
                  <a:cubicBezTo>
                    <a:pt x="725" y="442"/>
                    <a:pt x="725" y="221"/>
                    <a:pt x="599" y="95"/>
                  </a:cubicBezTo>
                  <a:cubicBezTo>
                    <a:pt x="536" y="32"/>
                    <a:pt x="458" y="1"/>
                    <a:pt x="37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24" name="Google Shape;6624;p72"/>
          <p:cNvGrpSpPr/>
          <p:nvPr/>
        </p:nvGrpSpPr>
        <p:grpSpPr>
          <a:xfrm>
            <a:off x="8893015" y="2679059"/>
            <a:ext cx="414389" cy="470907"/>
            <a:chOff x="-26970350" y="2332550"/>
            <a:chExt cx="259925" cy="295375"/>
          </a:xfrm>
        </p:grpSpPr>
        <p:sp>
          <p:nvSpPr>
            <p:cNvPr id="6625" name="Google Shape;6625;p72"/>
            <p:cNvSpPr/>
            <p:nvPr/>
          </p:nvSpPr>
          <p:spPr>
            <a:xfrm>
              <a:off x="-26970350" y="2332550"/>
              <a:ext cx="259925" cy="295375"/>
            </a:xfrm>
            <a:custGeom>
              <a:avLst/>
              <a:gdLst/>
              <a:ahLst/>
              <a:cxnLst/>
              <a:rect l="l" t="t" r="r" b="b"/>
              <a:pathLst>
                <a:path w="10397" h="11815" extrusionOk="0">
                  <a:moveTo>
                    <a:pt x="6963" y="662"/>
                  </a:moveTo>
                  <a:cubicBezTo>
                    <a:pt x="7152" y="662"/>
                    <a:pt x="7404" y="693"/>
                    <a:pt x="7593" y="756"/>
                  </a:cubicBezTo>
                  <a:cubicBezTo>
                    <a:pt x="8538" y="977"/>
                    <a:pt x="9294" y="1733"/>
                    <a:pt x="9515" y="2646"/>
                  </a:cubicBezTo>
                  <a:cubicBezTo>
                    <a:pt x="9672" y="3466"/>
                    <a:pt x="9483" y="4285"/>
                    <a:pt x="8979" y="4946"/>
                  </a:cubicBezTo>
                  <a:cubicBezTo>
                    <a:pt x="8475" y="5639"/>
                    <a:pt x="8160" y="6522"/>
                    <a:pt x="8160" y="7467"/>
                  </a:cubicBezTo>
                  <a:lnTo>
                    <a:pt x="8160" y="10208"/>
                  </a:lnTo>
                  <a:cubicBezTo>
                    <a:pt x="8160" y="10712"/>
                    <a:pt x="7719" y="11090"/>
                    <a:pt x="7246" y="11090"/>
                  </a:cubicBezTo>
                  <a:cubicBezTo>
                    <a:pt x="6742" y="11090"/>
                    <a:pt x="6333" y="10680"/>
                    <a:pt x="6333" y="10208"/>
                  </a:cubicBezTo>
                  <a:lnTo>
                    <a:pt x="6333" y="8538"/>
                  </a:lnTo>
                  <a:cubicBezTo>
                    <a:pt x="6333" y="7908"/>
                    <a:pt x="5829" y="7404"/>
                    <a:pt x="5198" y="7404"/>
                  </a:cubicBezTo>
                  <a:cubicBezTo>
                    <a:pt x="4568" y="7404"/>
                    <a:pt x="4064" y="7908"/>
                    <a:pt x="4064" y="8538"/>
                  </a:cubicBezTo>
                  <a:lnTo>
                    <a:pt x="4064" y="10208"/>
                  </a:lnTo>
                  <a:cubicBezTo>
                    <a:pt x="4064" y="10712"/>
                    <a:pt x="3623" y="11090"/>
                    <a:pt x="3151" y="11090"/>
                  </a:cubicBezTo>
                  <a:cubicBezTo>
                    <a:pt x="2647" y="11090"/>
                    <a:pt x="2237" y="10680"/>
                    <a:pt x="2237" y="10208"/>
                  </a:cubicBezTo>
                  <a:lnTo>
                    <a:pt x="2237" y="7467"/>
                  </a:lnTo>
                  <a:cubicBezTo>
                    <a:pt x="2237" y="6522"/>
                    <a:pt x="1953" y="5639"/>
                    <a:pt x="1418" y="4946"/>
                  </a:cubicBezTo>
                  <a:cubicBezTo>
                    <a:pt x="914" y="4285"/>
                    <a:pt x="756" y="3466"/>
                    <a:pt x="945" y="2646"/>
                  </a:cubicBezTo>
                  <a:cubicBezTo>
                    <a:pt x="1166" y="1701"/>
                    <a:pt x="1922" y="945"/>
                    <a:pt x="2867" y="756"/>
                  </a:cubicBezTo>
                  <a:cubicBezTo>
                    <a:pt x="3056" y="693"/>
                    <a:pt x="3308" y="662"/>
                    <a:pt x="3497" y="662"/>
                  </a:cubicBezTo>
                  <a:cubicBezTo>
                    <a:pt x="4064" y="662"/>
                    <a:pt x="4600" y="819"/>
                    <a:pt x="5041" y="1134"/>
                  </a:cubicBezTo>
                  <a:cubicBezTo>
                    <a:pt x="5104" y="1166"/>
                    <a:pt x="5175" y="1181"/>
                    <a:pt x="5242" y="1181"/>
                  </a:cubicBezTo>
                  <a:cubicBezTo>
                    <a:pt x="5309" y="1181"/>
                    <a:pt x="5372" y="1166"/>
                    <a:pt x="5419" y="1134"/>
                  </a:cubicBezTo>
                  <a:cubicBezTo>
                    <a:pt x="5860" y="819"/>
                    <a:pt x="6427" y="662"/>
                    <a:pt x="6963" y="662"/>
                  </a:cubicBezTo>
                  <a:close/>
                  <a:moveTo>
                    <a:pt x="3466" y="0"/>
                  </a:moveTo>
                  <a:cubicBezTo>
                    <a:pt x="3182" y="0"/>
                    <a:pt x="2899" y="32"/>
                    <a:pt x="2678" y="63"/>
                  </a:cubicBezTo>
                  <a:cubicBezTo>
                    <a:pt x="1481" y="347"/>
                    <a:pt x="504" y="1292"/>
                    <a:pt x="221" y="2489"/>
                  </a:cubicBezTo>
                  <a:cubicBezTo>
                    <a:pt x="0" y="3497"/>
                    <a:pt x="189" y="4568"/>
                    <a:pt x="851" y="5387"/>
                  </a:cubicBezTo>
                  <a:cubicBezTo>
                    <a:pt x="1292" y="5954"/>
                    <a:pt x="1544" y="6679"/>
                    <a:pt x="1544" y="7467"/>
                  </a:cubicBezTo>
                  <a:lnTo>
                    <a:pt x="1544" y="10208"/>
                  </a:lnTo>
                  <a:cubicBezTo>
                    <a:pt x="1544" y="11090"/>
                    <a:pt x="2237" y="11814"/>
                    <a:pt x="3151" y="11814"/>
                  </a:cubicBezTo>
                  <a:cubicBezTo>
                    <a:pt x="4064" y="11814"/>
                    <a:pt x="4757" y="11090"/>
                    <a:pt x="4757" y="10208"/>
                  </a:cubicBezTo>
                  <a:lnTo>
                    <a:pt x="4757" y="8538"/>
                  </a:lnTo>
                  <a:cubicBezTo>
                    <a:pt x="4757" y="8317"/>
                    <a:pt x="4946" y="8065"/>
                    <a:pt x="5230" y="8065"/>
                  </a:cubicBezTo>
                  <a:cubicBezTo>
                    <a:pt x="5482" y="8065"/>
                    <a:pt x="5703" y="8254"/>
                    <a:pt x="5703" y="8538"/>
                  </a:cubicBezTo>
                  <a:lnTo>
                    <a:pt x="5703" y="10208"/>
                  </a:lnTo>
                  <a:cubicBezTo>
                    <a:pt x="5703" y="11090"/>
                    <a:pt x="6427" y="11814"/>
                    <a:pt x="7309" y="11814"/>
                  </a:cubicBezTo>
                  <a:cubicBezTo>
                    <a:pt x="8223" y="11814"/>
                    <a:pt x="8948" y="11090"/>
                    <a:pt x="8948" y="10208"/>
                  </a:cubicBezTo>
                  <a:lnTo>
                    <a:pt x="8948" y="7467"/>
                  </a:lnTo>
                  <a:cubicBezTo>
                    <a:pt x="8948" y="6679"/>
                    <a:pt x="9168" y="5954"/>
                    <a:pt x="9609" y="5387"/>
                  </a:cubicBezTo>
                  <a:cubicBezTo>
                    <a:pt x="10145" y="4568"/>
                    <a:pt x="10397" y="3497"/>
                    <a:pt x="10145" y="2489"/>
                  </a:cubicBezTo>
                  <a:cubicBezTo>
                    <a:pt x="9893" y="1292"/>
                    <a:pt x="8885" y="347"/>
                    <a:pt x="7719" y="63"/>
                  </a:cubicBezTo>
                  <a:cubicBezTo>
                    <a:pt x="7435" y="0"/>
                    <a:pt x="7152" y="0"/>
                    <a:pt x="6931" y="0"/>
                  </a:cubicBezTo>
                  <a:cubicBezTo>
                    <a:pt x="6333" y="0"/>
                    <a:pt x="5703" y="158"/>
                    <a:pt x="5198" y="473"/>
                  </a:cubicBezTo>
                  <a:cubicBezTo>
                    <a:pt x="4694" y="158"/>
                    <a:pt x="4064" y="0"/>
                    <a:pt x="34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6" name="Google Shape;6626;p72"/>
            <p:cNvSpPr/>
            <p:nvPr/>
          </p:nvSpPr>
          <p:spPr>
            <a:xfrm>
              <a:off x="-26831725" y="2365650"/>
              <a:ext cx="82700" cy="81900"/>
            </a:xfrm>
            <a:custGeom>
              <a:avLst/>
              <a:gdLst/>
              <a:ahLst/>
              <a:cxnLst/>
              <a:rect l="l" t="t" r="r" b="b"/>
              <a:pathLst>
                <a:path w="3308" h="3276" extrusionOk="0">
                  <a:moveTo>
                    <a:pt x="1335" y="0"/>
                  </a:moveTo>
                  <a:cubicBezTo>
                    <a:pt x="937" y="0"/>
                    <a:pt x="544" y="121"/>
                    <a:pt x="189" y="377"/>
                  </a:cubicBezTo>
                  <a:cubicBezTo>
                    <a:pt x="32" y="472"/>
                    <a:pt x="0" y="692"/>
                    <a:pt x="126" y="818"/>
                  </a:cubicBezTo>
                  <a:cubicBezTo>
                    <a:pt x="202" y="932"/>
                    <a:pt x="300" y="989"/>
                    <a:pt x="401" y="989"/>
                  </a:cubicBezTo>
                  <a:cubicBezTo>
                    <a:pt x="468" y="989"/>
                    <a:pt x="536" y="963"/>
                    <a:pt x="599" y="913"/>
                  </a:cubicBezTo>
                  <a:cubicBezTo>
                    <a:pt x="818" y="753"/>
                    <a:pt x="1075" y="669"/>
                    <a:pt x="1331" y="669"/>
                  </a:cubicBezTo>
                  <a:cubicBezTo>
                    <a:pt x="1479" y="669"/>
                    <a:pt x="1626" y="698"/>
                    <a:pt x="1764" y="755"/>
                  </a:cubicBezTo>
                  <a:cubicBezTo>
                    <a:pt x="2174" y="913"/>
                    <a:pt x="2457" y="1196"/>
                    <a:pt x="2520" y="1574"/>
                  </a:cubicBezTo>
                  <a:cubicBezTo>
                    <a:pt x="2646" y="1984"/>
                    <a:pt x="2520" y="2394"/>
                    <a:pt x="2300" y="2709"/>
                  </a:cubicBezTo>
                  <a:cubicBezTo>
                    <a:pt x="2174" y="2866"/>
                    <a:pt x="2205" y="3087"/>
                    <a:pt x="2331" y="3181"/>
                  </a:cubicBezTo>
                  <a:cubicBezTo>
                    <a:pt x="2394" y="3244"/>
                    <a:pt x="2489" y="3276"/>
                    <a:pt x="2520" y="3276"/>
                  </a:cubicBezTo>
                  <a:cubicBezTo>
                    <a:pt x="2646" y="3276"/>
                    <a:pt x="2709" y="3244"/>
                    <a:pt x="2804" y="3150"/>
                  </a:cubicBezTo>
                  <a:cubicBezTo>
                    <a:pt x="3182" y="2677"/>
                    <a:pt x="3308" y="2047"/>
                    <a:pt x="3151" y="1417"/>
                  </a:cubicBezTo>
                  <a:cubicBezTo>
                    <a:pt x="3119" y="818"/>
                    <a:pt x="2646" y="377"/>
                    <a:pt x="2048" y="125"/>
                  </a:cubicBezTo>
                  <a:cubicBezTo>
                    <a:pt x="1813" y="43"/>
                    <a:pt x="1573" y="0"/>
                    <a:pt x="13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27" name="Google Shape;6627;p72"/>
          <p:cNvGrpSpPr/>
          <p:nvPr/>
        </p:nvGrpSpPr>
        <p:grpSpPr>
          <a:xfrm>
            <a:off x="8865395" y="3309413"/>
            <a:ext cx="469631" cy="386769"/>
            <a:chOff x="-26986100" y="2735800"/>
            <a:chExt cx="294575" cy="242600"/>
          </a:xfrm>
        </p:grpSpPr>
        <p:sp>
          <p:nvSpPr>
            <p:cNvPr id="6628" name="Google Shape;6628;p72"/>
            <p:cNvSpPr/>
            <p:nvPr/>
          </p:nvSpPr>
          <p:spPr>
            <a:xfrm>
              <a:off x="-26986100" y="2735800"/>
              <a:ext cx="294575" cy="242600"/>
            </a:xfrm>
            <a:custGeom>
              <a:avLst/>
              <a:gdLst/>
              <a:ahLst/>
              <a:cxnLst/>
              <a:rect l="l" t="t" r="r" b="b"/>
              <a:pathLst>
                <a:path w="11783" h="9704" extrusionOk="0">
                  <a:moveTo>
                    <a:pt x="3781" y="757"/>
                  </a:moveTo>
                  <a:cubicBezTo>
                    <a:pt x="3970" y="757"/>
                    <a:pt x="4127" y="914"/>
                    <a:pt x="4127" y="1103"/>
                  </a:cubicBezTo>
                  <a:lnTo>
                    <a:pt x="4127" y="1481"/>
                  </a:lnTo>
                  <a:lnTo>
                    <a:pt x="3434" y="1481"/>
                  </a:lnTo>
                  <a:lnTo>
                    <a:pt x="3434" y="1103"/>
                  </a:lnTo>
                  <a:cubicBezTo>
                    <a:pt x="3434" y="914"/>
                    <a:pt x="3592" y="757"/>
                    <a:pt x="3781" y="757"/>
                  </a:cubicBezTo>
                  <a:close/>
                  <a:moveTo>
                    <a:pt x="9137" y="2804"/>
                  </a:moveTo>
                  <a:cubicBezTo>
                    <a:pt x="9515" y="2836"/>
                    <a:pt x="9924" y="3088"/>
                    <a:pt x="10082" y="3466"/>
                  </a:cubicBezTo>
                  <a:lnTo>
                    <a:pt x="10932" y="5608"/>
                  </a:lnTo>
                  <a:lnTo>
                    <a:pt x="9357" y="5608"/>
                  </a:lnTo>
                  <a:cubicBezTo>
                    <a:pt x="9168" y="5608"/>
                    <a:pt x="9010" y="5451"/>
                    <a:pt x="9010" y="5262"/>
                  </a:cubicBezTo>
                  <a:lnTo>
                    <a:pt x="9010" y="2804"/>
                  </a:lnTo>
                  <a:close/>
                  <a:moveTo>
                    <a:pt x="6522" y="2143"/>
                  </a:moveTo>
                  <a:cubicBezTo>
                    <a:pt x="6742" y="2143"/>
                    <a:pt x="6900" y="2300"/>
                    <a:pt x="6900" y="2489"/>
                  </a:cubicBezTo>
                  <a:lnTo>
                    <a:pt x="6900" y="6301"/>
                  </a:lnTo>
                  <a:lnTo>
                    <a:pt x="630" y="6301"/>
                  </a:lnTo>
                  <a:lnTo>
                    <a:pt x="630" y="2489"/>
                  </a:lnTo>
                  <a:cubicBezTo>
                    <a:pt x="630" y="2300"/>
                    <a:pt x="788" y="2143"/>
                    <a:pt x="977" y="2143"/>
                  </a:cubicBezTo>
                  <a:close/>
                  <a:moveTo>
                    <a:pt x="6900" y="7026"/>
                  </a:moveTo>
                  <a:lnTo>
                    <a:pt x="6900" y="8412"/>
                  </a:lnTo>
                  <a:lnTo>
                    <a:pt x="3340" y="8412"/>
                  </a:lnTo>
                  <a:cubicBezTo>
                    <a:pt x="3182" y="8003"/>
                    <a:pt x="2836" y="7688"/>
                    <a:pt x="2363" y="7688"/>
                  </a:cubicBezTo>
                  <a:cubicBezTo>
                    <a:pt x="1890" y="7688"/>
                    <a:pt x="1544" y="7971"/>
                    <a:pt x="1386" y="8412"/>
                  </a:cubicBezTo>
                  <a:lnTo>
                    <a:pt x="977" y="8412"/>
                  </a:lnTo>
                  <a:cubicBezTo>
                    <a:pt x="788" y="8412"/>
                    <a:pt x="630" y="8255"/>
                    <a:pt x="630" y="8034"/>
                  </a:cubicBezTo>
                  <a:lnTo>
                    <a:pt x="630" y="7026"/>
                  </a:lnTo>
                  <a:close/>
                  <a:moveTo>
                    <a:pt x="8349" y="2836"/>
                  </a:moveTo>
                  <a:lnTo>
                    <a:pt x="8349" y="5293"/>
                  </a:lnTo>
                  <a:cubicBezTo>
                    <a:pt x="8349" y="5892"/>
                    <a:pt x="8821" y="6301"/>
                    <a:pt x="9357" y="6301"/>
                  </a:cubicBezTo>
                  <a:lnTo>
                    <a:pt x="11090" y="6301"/>
                  </a:lnTo>
                  <a:lnTo>
                    <a:pt x="11090" y="7026"/>
                  </a:lnTo>
                  <a:lnTo>
                    <a:pt x="10743" y="7026"/>
                  </a:lnTo>
                  <a:cubicBezTo>
                    <a:pt x="10554" y="7026"/>
                    <a:pt x="10397" y="7184"/>
                    <a:pt x="10397" y="7373"/>
                  </a:cubicBezTo>
                  <a:cubicBezTo>
                    <a:pt x="10397" y="7562"/>
                    <a:pt x="10554" y="7719"/>
                    <a:pt x="10743" y="7719"/>
                  </a:cubicBezTo>
                  <a:lnTo>
                    <a:pt x="11090" y="7719"/>
                  </a:lnTo>
                  <a:lnTo>
                    <a:pt x="11090" y="8097"/>
                  </a:lnTo>
                  <a:cubicBezTo>
                    <a:pt x="11090" y="8255"/>
                    <a:pt x="10932" y="8412"/>
                    <a:pt x="10743" y="8412"/>
                  </a:cubicBezTo>
                  <a:lnTo>
                    <a:pt x="10365" y="8412"/>
                  </a:lnTo>
                  <a:cubicBezTo>
                    <a:pt x="10208" y="8003"/>
                    <a:pt x="9830" y="7688"/>
                    <a:pt x="9357" y="7688"/>
                  </a:cubicBezTo>
                  <a:cubicBezTo>
                    <a:pt x="8947" y="7688"/>
                    <a:pt x="8538" y="7971"/>
                    <a:pt x="8380" y="8412"/>
                  </a:cubicBezTo>
                  <a:lnTo>
                    <a:pt x="7593" y="8412"/>
                  </a:lnTo>
                  <a:lnTo>
                    <a:pt x="7593" y="2836"/>
                  </a:lnTo>
                  <a:close/>
                  <a:moveTo>
                    <a:pt x="2363" y="8349"/>
                  </a:moveTo>
                  <a:cubicBezTo>
                    <a:pt x="2552" y="8349"/>
                    <a:pt x="2709" y="8507"/>
                    <a:pt x="2709" y="8727"/>
                  </a:cubicBezTo>
                  <a:cubicBezTo>
                    <a:pt x="2709" y="8916"/>
                    <a:pt x="2552" y="9074"/>
                    <a:pt x="2363" y="9074"/>
                  </a:cubicBezTo>
                  <a:cubicBezTo>
                    <a:pt x="2174" y="9074"/>
                    <a:pt x="2016" y="8916"/>
                    <a:pt x="2016" y="8727"/>
                  </a:cubicBezTo>
                  <a:cubicBezTo>
                    <a:pt x="2016" y="8507"/>
                    <a:pt x="2174" y="8349"/>
                    <a:pt x="2363" y="8349"/>
                  </a:cubicBezTo>
                  <a:close/>
                  <a:moveTo>
                    <a:pt x="9326" y="8349"/>
                  </a:moveTo>
                  <a:cubicBezTo>
                    <a:pt x="9515" y="8349"/>
                    <a:pt x="9672" y="8507"/>
                    <a:pt x="9672" y="8727"/>
                  </a:cubicBezTo>
                  <a:cubicBezTo>
                    <a:pt x="9672" y="8916"/>
                    <a:pt x="9515" y="9074"/>
                    <a:pt x="9326" y="9074"/>
                  </a:cubicBezTo>
                  <a:cubicBezTo>
                    <a:pt x="9137" y="9074"/>
                    <a:pt x="8979" y="8916"/>
                    <a:pt x="8979" y="8727"/>
                  </a:cubicBezTo>
                  <a:cubicBezTo>
                    <a:pt x="8979" y="8507"/>
                    <a:pt x="9137" y="8349"/>
                    <a:pt x="9326" y="8349"/>
                  </a:cubicBezTo>
                  <a:close/>
                  <a:moveTo>
                    <a:pt x="3781" y="1"/>
                  </a:moveTo>
                  <a:cubicBezTo>
                    <a:pt x="3182" y="1"/>
                    <a:pt x="2741" y="473"/>
                    <a:pt x="2741" y="1040"/>
                  </a:cubicBezTo>
                  <a:lnTo>
                    <a:pt x="2741" y="1387"/>
                  </a:lnTo>
                  <a:lnTo>
                    <a:pt x="1008" y="1387"/>
                  </a:lnTo>
                  <a:cubicBezTo>
                    <a:pt x="441" y="1387"/>
                    <a:pt x="0" y="1859"/>
                    <a:pt x="0" y="2395"/>
                  </a:cubicBezTo>
                  <a:lnTo>
                    <a:pt x="0" y="7971"/>
                  </a:lnTo>
                  <a:cubicBezTo>
                    <a:pt x="0" y="8538"/>
                    <a:pt x="473" y="8979"/>
                    <a:pt x="1008" y="8979"/>
                  </a:cubicBezTo>
                  <a:lnTo>
                    <a:pt x="1418" y="8979"/>
                  </a:lnTo>
                  <a:cubicBezTo>
                    <a:pt x="1575" y="9389"/>
                    <a:pt x="1922" y="9704"/>
                    <a:pt x="2394" y="9704"/>
                  </a:cubicBezTo>
                  <a:cubicBezTo>
                    <a:pt x="2867" y="9704"/>
                    <a:pt x="3214" y="9420"/>
                    <a:pt x="3371" y="8979"/>
                  </a:cubicBezTo>
                  <a:lnTo>
                    <a:pt x="8380" y="8979"/>
                  </a:lnTo>
                  <a:cubicBezTo>
                    <a:pt x="8538" y="9389"/>
                    <a:pt x="8916" y="9704"/>
                    <a:pt x="9389" y="9704"/>
                  </a:cubicBezTo>
                  <a:cubicBezTo>
                    <a:pt x="9798" y="9704"/>
                    <a:pt x="10208" y="9420"/>
                    <a:pt x="10365" y="8979"/>
                  </a:cubicBezTo>
                  <a:lnTo>
                    <a:pt x="10743" y="8979"/>
                  </a:lnTo>
                  <a:cubicBezTo>
                    <a:pt x="11342" y="8979"/>
                    <a:pt x="11783" y="8507"/>
                    <a:pt x="11783" y="7971"/>
                  </a:cubicBezTo>
                  <a:lnTo>
                    <a:pt x="11783" y="6144"/>
                  </a:lnTo>
                  <a:cubicBezTo>
                    <a:pt x="11783" y="6112"/>
                    <a:pt x="11783" y="5986"/>
                    <a:pt x="11720" y="5892"/>
                  </a:cubicBezTo>
                  <a:cubicBezTo>
                    <a:pt x="11688" y="5766"/>
                    <a:pt x="11688" y="5671"/>
                    <a:pt x="11657" y="5577"/>
                  </a:cubicBezTo>
                  <a:lnTo>
                    <a:pt x="10712" y="3214"/>
                  </a:lnTo>
                  <a:cubicBezTo>
                    <a:pt x="10428" y="2521"/>
                    <a:pt x="9798" y="2080"/>
                    <a:pt x="9105" y="2080"/>
                  </a:cubicBezTo>
                  <a:lnTo>
                    <a:pt x="7530" y="2080"/>
                  </a:lnTo>
                  <a:cubicBezTo>
                    <a:pt x="7372" y="1702"/>
                    <a:pt x="6994" y="1387"/>
                    <a:pt x="6522" y="1387"/>
                  </a:cubicBezTo>
                  <a:lnTo>
                    <a:pt x="4789" y="1387"/>
                  </a:lnTo>
                  <a:lnTo>
                    <a:pt x="4789" y="1040"/>
                  </a:lnTo>
                  <a:cubicBezTo>
                    <a:pt x="4789" y="442"/>
                    <a:pt x="4316"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29" name="Google Shape;6629;p72"/>
            <p:cNvSpPr/>
            <p:nvPr/>
          </p:nvSpPr>
          <p:spPr>
            <a:xfrm>
              <a:off x="-26927050" y="2805900"/>
              <a:ext cx="70925" cy="70900"/>
            </a:xfrm>
            <a:custGeom>
              <a:avLst/>
              <a:gdLst/>
              <a:ahLst/>
              <a:cxnLst/>
              <a:rect l="l" t="t" r="r" b="b"/>
              <a:pathLst>
                <a:path w="2837" h="2836" extrusionOk="0">
                  <a:moveTo>
                    <a:pt x="1419" y="0"/>
                  </a:moveTo>
                  <a:cubicBezTo>
                    <a:pt x="1230" y="0"/>
                    <a:pt x="1072" y="158"/>
                    <a:pt x="1072" y="347"/>
                  </a:cubicBezTo>
                  <a:lnTo>
                    <a:pt x="1072" y="1072"/>
                  </a:lnTo>
                  <a:lnTo>
                    <a:pt x="347" y="1072"/>
                  </a:lnTo>
                  <a:cubicBezTo>
                    <a:pt x="158" y="1072"/>
                    <a:pt x="1" y="1229"/>
                    <a:pt x="1" y="1418"/>
                  </a:cubicBezTo>
                  <a:cubicBezTo>
                    <a:pt x="1" y="1607"/>
                    <a:pt x="158" y="1765"/>
                    <a:pt x="347" y="1765"/>
                  </a:cubicBezTo>
                  <a:lnTo>
                    <a:pt x="1072" y="1765"/>
                  </a:lnTo>
                  <a:lnTo>
                    <a:pt x="1072" y="2489"/>
                  </a:lnTo>
                  <a:cubicBezTo>
                    <a:pt x="1072" y="2678"/>
                    <a:pt x="1230" y="2836"/>
                    <a:pt x="1419" y="2836"/>
                  </a:cubicBezTo>
                  <a:cubicBezTo>
                    <a:pt x="1608" y="2836"/>
                    <a:pt x="1765" y="2678"/>
                    <a:pt x="1765" y="2489"/>
                  </a:cubicBezTo>
                  <a:lnTo>
                    <a:pt x="1765" y="1765"/>
                  </a:lnTo>
                  <a:lnTo>
                    <a:pt x="2490" y="1765"/>
                  </a:lnTo>
                  <a:cubicBezTo>
                    <a:pt x="2679" y="1765"/>
                    <a:pt x="2836" y="1607"/>
                    <a:pt x="2836" y="1418"/>
                  </a:cubicBezTo>
                  <a:cubicBezTo>
                    <a:pt x="2836" y="1229"/>
                    <a:pt x="2679" y="1072"/>
                    <a:pt x="2490" y="1072"/>
                  </a:cubicBezTo>
                  <a:lnTo>
                    <a:pt x="1765" y="1072"/>
                  </a:lnTo>
                  <a:lnTo>
                    <a:pt x="1765" y="347"/>
                  </a:lnTo>
                  <a:cubicBezTo>
                    <a:pt x="1765" y="158"/>
                    <a:pt x="1608" y="0"/>
                    <a:pt x="1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30" name="Google Shape;6630;p72"/>
          <p:cNvSpPr/>
          <p:nvPr/>
        </p:nvSpPr>
        <p:spPr>
          <a:xfrm>
            <a:off x="7078259" y="3855809"/>
            <a:ext cx="470907" cy="470907"/>
          </a:xfrm>
          <a:custGeom>
            <a:avLst/>
            <a:gdLst/>
            <a:ahLst/>
            <a:cxnLst/>
            <a:rect l="l" t="t" r="r" b="b"/>
            <a:pathLst>
              <a:path w="11815" h="11815" extrusionOk="0">
                <a:moveTo>
                  <a:pt x="6270" y="662"/>
                </a:moveTo>
                <a:lnTo>
                  <a:pt x="6270" y="2048"/>
                </a:lnTo>
                <a:cubicBezTo>
                  <a:pt x="6270" y="2678"/>
                  <a:pt x="6616" y="3245"/>
                  <a:pt x="7247" y="3497"/>
                </a:cubicBezTo>
                <a:cubicBezTo>
                  <a:pt x="7467" y="3623"/>
                  <a:pt x="7625" y="3875"/>
                  <a:pt x="7625" y="4127"/>
                </a:cubicBezTo>
                <a:cubicBezTo>
                  <a:pt x="7625" y="4537"/>
                  <a:pt x="7310" y="4852"/>
                  <a:pt x="6931" y="4852"/>
                </a:cubicBezTo>
                <a:cubicBezTo>
                  <a:pt x="6711" y="4852"/>
                  <a:pt x="6522" y="4758"/>
                  <a:pt x="6396" y="4600"/>
                </a:cubicBezTo>
                <a:cubicBezTo>
                  <a:pt x="6301" y="4443"/>
                  <a:pt x="6081" y="4380"/>
                  <a:pt x="5892" y="4380"/>
                </a:cubicBezTo>
                <a:cubicBezTo>
                  <a:pt x="5703" y="4380"/>
                  <a:pt x="5514" y="4443"/>
                  <a:pt x="5388" y="4600"/>
                </a:cubicBezTo>
                <a:cubicBezTo>
                  <a:pt x="5262" y="4758"/>
                  <a:pt x="5073" y="4852"/>
                  <a:pt x="4884" y="4852"/>
                </a:cubicBezTo>
                <a:cubicBezTo>
                  <a:pt x="4663" y="4852"/>
                  <a:pt x="4474" y="4758"/>
                  <a:pt x="4348" y="4600"/>
                </a:cubicBezTo>
                <a:cubicBezTo>
                  <a:pt x="4254" y="4443"/>
                  <a:pt x="4159" y="4285"/>
                  <a:pt x="4159" y="4096"/>
                </a:cubicBezTo>
                <a:cubicBezTo>
                  <a:pt x="4159" y="3875"/>
                  <a:pt x="4348" y="3623"/>
                  <a:pt x="4600" y="3497"/>
                </a:cubicBezTo>
                <a:cubicBezTo>
                  <a:pt x="5136" y="3277"/>
                  <a:pt x="5545" y="2647"/>
                  <a:pt x="5545" y="1922"/>
                </a:cubicBezTo>
                <a:lnTo>
                  <a:pt x="5545" y="662"/>
                </a:lnTo>
                <a:close/>
                <a:moveTo>
                  <a:pt x="6963" y="788"/>
                </a:moveTo>
                <a:cubicBezTo>
                  <a:pt x="7940" y="977"/>
                  <a:pt x="8885" y="1513"/>
                  <a:pt x="9609" y="2206"/>
                </a:cubicBezTo>
                <a:cubicBezTo>
                  <a:pt x="10586" y="3182"/>
                  <a:pt x="11153" y="4506"/>
                  <a:pt x="11153" y="5923"/>
                </a:cubicBezTo>
                <a:cubicBezTo>
                  <a:pt x="11122" y="7278"/>
                  <a:pt x="10586" y="8633"/>
                  <a:pt x="9609" y="9609"/>
                </a:cubicBezTo>
                <a:cubicBezTo>
                  <a:pt x="8853" y="10365"/>
                  <a:pt x="7940" y="10838"/>
                  <a:pt x="6963" y="11027"/>
                </a:cubicBezTo>
                <a:lnTo>
                  <a:pt x="6963" y="9735"/>
                </a:lnTo>
                <a:cubicBezTo>
                  <a:pt x="6963" y="9357"/>
                  <a:pt x="7215" y="9074"/>
                  <a:pt x="7562" y="8916"/>
                </a:cubicBezTo>
                <a:cubicBezTo>
                  <a:pt x="8034" y="8664"/>
                  <a:pt x="8349" y="8192"/>
                  <a:pt x="8349" y="7656"/>
                </a:cubicBezTo>
                <a:cubicBezTo>
                  <a:pt x="8349" y="6900"/>
                  <a:pt x="7719" y="6270"/>
                  <a:pt x="6963" y="6270"/>
                </a:cubicBezTo>
                <a:cubicBezTo>
                  <a:pt x="6585" y="6270"/>
                  <a:pt x="6175" y="6427"/>
                  <a:pt x="5955" y="6742"/>
                </a:cubicBezTo>
                <a:cubicBezTo>
                  <a:pt x="5671" y="6427"/>
                  <a:pt x="5325" y="6270"/>
                  <a:pt x="4915" y="6270"/>
                </a:cubicBezTo>
                <a:cubicBezTo>
                  <a:pt x="4537" y="6270"/>
                  <a:pt x="4159" y="6427"/>
                  <a:pt x="3907" y="6711"/>
                </a:cubicBezTo>
                <a:cubicBezTo>
                  <a:pt x="3623" y="6963"/>
                  <a:pt x="3497" y="7372"/>
                  <a:pt x="3529" y="7751"/>
                </a:cubicBezTo>
                <a:cubicBezTo>
                  <a:pt x="3592" y="8286"/>
                  <a:pt x="3907" y="8696"/>
                  <a:pt x="4380" y="8948"/>
                </a:cubicBezTo>
                <a:cubicBezTo>
                  <a:pt x="4695" y="9105"/>
                  <a:pt x="4915" y="9483"/>
                  <a:pt x="4915" y="9924"/>
                </a:cubicBezTo>
                <a:lnTo>
                  <a:pt x="4915" y="11059"/>
                </a:lnTo>
                <a:cubicBezTo>
                  <a:pt x="3939" y="10870"/>
                  <a:pt x="2993" y="10365"/>
                  <a:pt x="2269" y="9641"/>
                </a:cubicBezTo>
                <a:cubicBezTo>
                  <a:pt x="1292" y="8664"/>
                  <a:pt x="757" y="7372"/>
                  <a:pt x="757" y="5955"/>
                </a:cubicBezTo>
                <a:cubicBezTo>
                  <a:pt x="757" y="4569"/>
                  <a:pt x="1292" y="3214"/>
                  <a:pt x="2269" y="2237"/>
                </a:cubicBezTo>
                <a:cubicBezTo>
                  <a:pt x="3025" y="1481"/>
                  <a:pt x="3939" y="1040"/>
                  <a:pt x="4915" y="819"/>
                </a:cubicBezTo>
                <a:lnTo>
                  <a:pt x="4915" y="1985"/>
                </a:lnTo>
                <a:cubicBezTo>
                  <a:pt x="4915" y="2395"/>
                  <a:pt x="4695" y="2804"/>
                  <a:pt x="4380" y="2962"/>
                </a:cubicBezTo>
                <a:cubicBezTo>
                  <a:pt x="3907" y="3151"/>
                  <a:pt x="3592" y="3623"/>
                  <a:pt x="3529" y="4127"/>
                </a:cubicBezTo>
                <a:cubicBezTo>
                  <a:pt x="3497" y="4537"/>
                  <a:pt x="3655" y="4884"/>
                  <a:pt x="3907" y="5199"/>
                </a:cubicBezTo>
                <a:cubicBezTo>
                  <a:pt x="4159" y="5482"/>
                  <a:pt x="4537" y="5640"/>
                  <a:pt x="4915" y="5640"/>
                </a:cubicBezTo>
                <a:cubicBezTo>
                  <a:pt x="5325" y="5640"/>
                  <a:pt x="5703" y="5482"/>
                  <a:pt x="5955" y="5167"/>
                </a:cubicBezTo>
                <a:cubicBezTo>
                  <a:pt x="6207" y="5482"/>
                  <a:pt x="6585" y="5640"/>
                  <a:pt x="6963" y="5640"/>
                </a:cubicBezTo>
                <a:cubicBezTo>
                  <a:pt x="7719" y="5640"/>
                  <a:pt x="8349" y="5010"/>
                  <a:pt x="8349" y="4253"/>
                </a:cubicBezTo>
                <a:cubicBezTo>
                  <a:pt x="8349" y="3749"/>
                  <a:pt x="8034" y="3245"/>
                  <a:pt x="7562" y="2993"/>
                </a:cubicBezTo>
                <a:cubicBezTo>
                  <a:pt x="7152" y="2804"/>
                  <a:pt x="6963" y="2489"/>
                  <a:pt x="6963" y="2174"/>
                </a:cubicBezTo>
                <a:lnTo>
                  <a:pt x="6963" y="788"/>
                </a:lnTo>
                <a:close/>
                <a:moveTo>
                  <a:pt x="6931" y="6900"/>
                </a:moveTo>
                <a:cubicBezTo>
                  <a:pt x="7310" y="6900"/>
                  <a:pt x="7625" y="7215"/>
                  <a:pt x="7625" y="7593"/>
                </a:cubicBezTo>
                <a:cubicBezTo>
                  <a:pt x="7625" y="7877"/>
                  <a:pt x="7467" y="8129"/>
                  <a:pt x="7247" y="8223"/>
                </a:cubicBezTo>
                <a:cubicBezTo>
                  <a:pt x="6616" y="8538"/>
                  <a:pt x="6270" y="9105"/>
                  <a:pt x="6270" y="9735"/>
                </a:cubicBezTo>
                <a:lnTo>
                  <a:pt x="6270" y="11090"/>
                </a:lnTo>
                <a:lnTo>
                  <a:pt x="5545" y="11090"/>
                </a:lnTo>
                <a:lnTo>
                  <a:pt x="5545" y="9861"/>
                </a:lnTo>
                <a:cubicBezTo>
                  <a:pt x="5545" y="9137"/>
                  <a:pt x="5136" y="8507"/>
                  <a:pt x="4600" y="8223"/>
                </a:cubicBezTo>
                <a:cubicBezTo>
                  <a:pt x="4348" y="8129"/>
                  <a:pt x="4191" y="7877"/>
                  <a:pt x="4159" y="7656"/>
                </a:cubicBezTo>
                <a:cubicBezTo>
                  <a:pt x="4159" y="7435"/>
                  <a:pt x="4191" y="7246"/>
                  <a:pt x="4348" y="7120"/>
                </a:cubicBezTo>
                <a:cubicBezTo>
                  <a:pt x="4474" y="6963"/>
                  <a:pt x="4695" y="6900"/>
                  <a:pt x="4884" y="6900"/>
                </a:cubicBezTo>
                <a:cubicBezTo>
                  <a:pt x="5073" y="6900"/>
                  <a:pt x="5262" y="6963"/>
                  <a:pt x="5388" y="7120"/>
                </a:cubicBezTo>
                <a:cubicBezTo>
                  <a:pt x="5514" y="7278"/>
                  <a:pt x="5703" y="7372"/>
                  <a:pt x="5892" y="7372"/>
                </a:cubicBezTo>
                <a:cubicBezTo>
                  <a:pt x="6112" y="7372"/>
                  <a:pt x="6301" y="7278"/>
                  <a:pt x="6427" y="7120"/>
                </a:cubicBezTo>
                <a:cubicBezTo>
                  <a:pt x="6522" y="6963"/>
                  <a:pt x="6742" y="6900"/>
                  <a:pt x="6931" y="6900"/>
                </a:cubicBezTo>
                <a:close/>
                <a:moveTo>
                  <a:pt x="5892" y="0"/>
                </a:moveTo>
                <a:cubicBezTo>
                  <a:pt x="4317" y="0"/>
                  <a:pt x="2836" y="630"/>
                  <a:pt x="1733" y="1733"/>
                </a:cubicBezTo>
                <a:cubicBezTo>
                  <a:pt x="630" y="2836"/>
                  <a:pt x="0" y="4348"/>
                  <a:pt x="0" y="5923"/>
                </a:cubicBezTo>
                <a:cubicBezTo>
                  <a:pt x="0" y="7498"/>
                  <a:pt x="630" y="8979"/>
                  <a:pt x="1733" y="10082"/>
                </a:cubicBezTo>
                <a:cubicBezTo>
                  <a:pt x="2836" y="11185"/>
                  <a:pt x="4317" y="11815"/>
                  <a:pt x="5892" y="11815"/>
                </a:cubicBezTo>
                <a:cubicBezTo>
                  <a:pt x="7467" y="11815"/>
                  <a:pt x="8979" y="11185"/>
                  <a:pt x="10082" y="10082"/>
                </a:cubicBezTo>
                <a:cubicBezTo>
                  <a:pt x="11185" y="8979"/>
                  <a:pt x="11815" y="7498"/>
                  <a:pt x="11815" y="5923"/>
                </a:cubicBezTo>
                <a:cubicBezTo>
                  <a:pt x="11815" y="4348"/>
                  <a:pt x="11216" y="2836"/>
                  <a:pt x="10082" y="1733"/>
                </a:cubicBezTo>
                <a:cubicBezTo>
                  <a:pt x="8979" y="630"/>
                  <a:pt x="746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31" name="Google Shape;6631;p72"/>
          <p:cNvGrpSpPr/>
          <p:nvPr/>
        </p:nvGrpSpPr>
        <p:grpSpPr>
          <a:xfrm>
            <a:off x="7077687" y="4451659"/>
            <a:ext cx="470907" cy="472143"/>
            <a:chOff x="-25104475" y="2340425"/>
            <a:chExt cx="295375" cy="296150"/>
          </a:xfrm>
        </p:grpSpPr>
        <p:sp>
          <p:nvSpPr>
            <p:cNvPr id="6632" name="Google Shape;6632;p72"/>
            <p:cNvSpPr/>
            <p:nvPr/>
          </p:nvSpPr>
          <p:spPr>
            <a:xfrm>
              <a:off x="-25104475" y="2340425"/>
              <a:ext cx="225275" cy="296150"/>
            </a:xfrm>
            <a:custGeom>
              <a:avLst/>
              <a:gdLst/>
              <a:ahLst/>
              <a:cxnLst/>
              <a:rect l="l" t="t" r="r" b="b"/>
              <a:pathLst>
                <a:path w="9011" h="11846" extrusionOk="0">
                  <a:moveTo>
                    <a:pt x="4474" y="693"/>
                  </a:moveTo>
                  <a:cubicBezTo>
                    <a:pt x="5041" y="693"/>
                    <a:pt x="5514" y="1166"/>
                    <a:pt x="5514" y="1733"/>
                  </a:cubicBezTo>
                  <a:cubicBezTo>
                    <a:pt x="5514" y="1922"/>
                    <a:pt x="5671" y="2079"/>
                    <a:pt x="5860" y="2079"/>
                  </a:cubicBezTo>
                  <a:lnTo>
                    <a:pt x="6585" y="2079"/>
                  </a:lnTo>
                  <a:cubicBezTo>
                    <a:pt x="6774" y="2079"/>
                    <a:pt x="6931" y="2237"/>
                    <a:pt x="6931" y="2426"/>
                  </a:cubicBezTo>
                  <a:lnTo>
                    <a:pt x="6931" y="2804"/>
                  </a:lnTo>
                  <a:lnTo>
                    <a:pt x="2080" y="2804"/>
                  </a:lnTo>
                  <a:lnTo>
                    <a:pt x="2080" y="2426"/>
                  </a:lnTo>
                  <a:cubicBezTo>
                    <a:pt x="2048" y="2237"/>
                    <a:pt x="2206" y="2079"/>
                    <a:pt x="2395" y="2079"/>
                  </a:cubicBezTo>
                  <a:lnTo>
                    <a:pt x="3119" y="2079"/>
                  </a:lnTo>
                  <a:cubicBezTo>
                    <a:pt x="3308" y="2079"/>
                    <a:pt x="3466" y="1922"/>
                    <a:pt x="3466" y="1733"/>
                  </a:cubicBezTo>
                  <a:cubicBezTo>
                    <a:pt x="3466" y="1134"/>
                    <a:pt x="3939" y="693"/>
                    <a:pt x="4474" y="693"/>
                  </a:cubicBezTo>
                  <a:close/>
                  <a:moveTo>
                    <a:pt x="8003" y="2804"/>
                  </a:moveTo>
                  <a:cubicBezTo>
                    <a:pt x="8192" y="2804"/>
                    <a:pt x="8349" y="2962"/>
                    <a:pt x="8349" y="3151"/>
                  </a:cubicBezTo>
                  <a:lnTo>
                    <a:pt x="8349" y="10838"/>
                  </a:lnTo>
                  <a:lnTo>
                    <a:pt x="8286" y="10838"/>
                  </a:lnTo>
                  <a:cubicBezTo>
                    <a:pt x="8286" y="11027"/>
                    <a:pt x="8129" y="11184"/>
                    <a:pt x="7940" y="11184"/>
                  </a:cubicBezTo>
                  <a:lnTo>
                    <a:pt x="1009" y="11184"/>
                  </a:lnTo>
                  <a:cubicBezTo>
                    <a:pt x="820" y="11184"/>
                    <a:pt x="662" y="11027"/>
                    <a:pt x="662" y="10838"/>
                  </a:cubicBezTo>
                  <a:lnTo>
                    <a:pt x="662" y="3151"/>
                  </a:lnTo>
                  <a:cubicBezTo>
                    <a:pt x="662" y="2962"/>
                    <a:pt x="820" y="2804"/>
                    <a:pt x="1009" y="2804"/>
                  </a:cubicBezTo>
                  <a:lnTo>
                    <a:pt x="1355" y="2804"/>
                  </a:lnTo>
                  <a:lnTo>
                    <a:pt x="1355" y="3151"/>
                  </a:lnTo>
                  <a:cubicBezTo>
                    <a:pt x="1355" y="3340"/>
                    <a:pt x="1544" y="3497"/>
                    <a:pt x="1733" y="3497"/>
                  </a:cubicBezTo>
                  <a:lnTo>
                    <a:pt x="7278" y="3497"/>
                  </a:lnTo>
                  <a:cubicBezTo>
                    <a:pt x="7467" y="3497"/>
                    <a:pt x="7625" y="3340"/>
                    <a:pt x="7625" y="3151"/>
                  </a:cubicBezTo>
                  <a:lnTo>
                    <a:pt x="7625" y="2804"/>
                  </a:lnTo>
                  <a:close/>
                  <a:moveTo>
                    <a:pt x="4474" y="0"/>
                  </a:moveTo>
                  <a:cubicBezTo>
                    <a:pt x="3655" y="0"/>
                    <a:pt x="2930" y="599"/>
                    <a:pt x="2773" y="1386"/>
                  </a:cubicBezTo>
                  <a:lnTo>
                    <a:pt x="2395" y="1386"/>
                  </a:lnTo>
                  <a:cubicBezTo>
                    <a:pt x="1954" y="1386"/>
                    <a:pt x="1576" y="1638"/>
                    <a:pt x="1418" y="2079"/>
                  </a:cubicBezTo>
                  <a:lnTo>
                    <a:pt x="1009" y="2079"/>
                  </a:lnTo>
                  <a:cubicBezTo>
                    <a:pt x="410" y="2079"/>
                    <a:pt x="0" y="2552"/>
                    <a:pt x="0" y="3119"/>
                  </a:cubicBezTo>
                  <a:lnTo>
                    <a:pt x="0" y="10838"/>
                  </a:lnTo>
                  <a:cubicBezTo>
                    <a:pt x="0" y="11405"/>
                    <a:pt x="473" y="11846"/>
                    <a:pt x="1009" y="11846"/>
                  </a:cubicBezTo>
                  <a:lnTo>
                    <a:pt x="7940" y="11846"/>
                  </a:lnTo>
                  <a:cubicBezTo>
                    <a:pt x="8538" y="11846"/>
                    <a:pt x="8979" y="11373"/>
                    <a:pt x="8979" y="10838"/>
                  </a:cubicBezTo>
                  <a:lnTo>
                    <a:pt x="8979" y="3151"/>
                  </a:lnTo>
                  <a:cubicBezTo>
                    <a:pt x="9011" y="2552"/>
                    <a:pt x="8538" y="2079"/>
                    <a:pt x="7940" y="2079"/>
                  </a:cubicBezTo>
                  <a:lnTo>
                    <a:pt x="7562" y="2079"/>
                  </a:lnTo>
                  <a:cubicBezTo>
                    <a:pt x="7404" y="1701"/>
                    <a:pt x="7026" y="1386"/>
                    <a:pt x="6553" y="1386"/>
                  </a:cubicBezTo>
                  <a:lnTo>
                    <a:pt x="6175" y="1386"/>
                  </a:lnTo>
                  <a:cubicBezTo>
                    <a:pt x="6018" y="599"/>
                    <a:pt x="5293" y="0"/>
                    <a:pt x="4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3" name="Google Shape;6633;p72"/>
            <p:cNvSpPr/>
            <p:nvPr/>
          </p:nvSpPr>
          <p:spPr>
            <a:xfrm>
              <a:off x="-25001300" y="2375075"/>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4" name="Google Shape;6634;p72"/>
            <p:cNvSpPr/>
            <p:nvPr/>
          </p:nvSpPr>
          <p:spPr>
            <a:xfrm>
              <a:off x="-25070600" y="2444375"/>
              <a:ext cx="87450" cy="86675"/>
            </a:xfrm>
            <a:custGeom>
              <a:avLst/>
              <a:gdLst/>
              <a:ahLst/>
              <a:cxnLst/>
              <a:rect l="l" t="t" r="r" b="b"/>
              <a:pathLst>
                <a:path w="3498" h="3467" extrusionOk="0">
                  <a:moveTo>
                    <a:pt x="2773" y="725"/>
                  </a:moveTo>
                  <a:lnTo>
                    <a:pt x="2773" y="2805"/>
                  </a:lnTo>
                  <a:lnTo>
                    <a:pt x="693" y="2805"/>
                  </a:lnTo>
                  <a:lnTo>
                    <a:pt x="693" y="725"/>
                  </a:lnTo>
                  <a:close/>
                  <a:moveTo>
                    <a:pt x="378" y="1"/>
                  </a:moveTo>
                  <a:cubicBezTo>
                    <a:pt x="189" y="1"/>
                    <a:pt x="0" y="158"/>
                    <a:pt x="0" y="379"/>
                  </a:cubicBezTo>
                  <a:lnTo>
                    <a:pt x="0" y="3120"/>
                  </a:lnTo>
                  <a:cubicBezTo>
                    <a:pt x="0" y="3309"/>
                    <a:pt x="189" y="3466"/>
                    <a:pt x="378" y="3466"/>
                  </a:cubicBezTo>
                  <a:lnTo>
                    <a:pt x="3119" y="3466"/>
                  </a:lnTo>
                  <a:cubicBezTo>
                    <a:pt x="3340" y="3466"/>
                    <a:pt x="3497" y="3309"/>
                    <a:pt x="3497" y="3120"/>
                  </a:cubicBezTo>
                  <a:lnTo>
                    <a:pt x="3497" y="379"/>
                  </a:lnTo>
                  <a:cubicBezTo>
                    <a:pt x="3497" y="158"/>
                    <a:pt x="3340" y="1"/>
                    <a:pt x="31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5" name="Google Shape;6635;p72"/>
            <p:cNvSpPr/>
            <p:nvPr/>
          </p:nvSpPr>
          <p:spPr>
            <a:xfrm>
              <a:off x="-24966650" y="2479025"/>
              <a:ext cx="52025" cy="18150"/>
            </a:xfrm>
            <a:custGeom>
              <a:avLst/>
              <a:gdLst/>
              <a:ahLst/>
              <a:cxnLst/>
              <a:rect l="l" t="t" r="r" b="b"/>
              <a:pathLst>
                <a:path w="2081" h="726" extrusionOk="0">
                  <a:moveTo>
                    <a:pt x="347" y="1"/>
                  </a:moveTo>
                  <a:cubicBezTo>
                    <a:pt x="158" y="1"/>
                    <a:pt x="1" y="158"/>
                    <a:pt x="1" y="347"/>
                  </a:cubicBezTo>
                  <a:cubicBezTo>
                    <a:pt x="1" y="568"/>
                    <a:pt x="158" y="726"/>
                    <a:pt x="347" y="726"/>
                  </a:cubicBezTo>
                  <a:lnTo>
                    <a:pt x="1734" y="726"/>
                  </a:lnTo>
                  <a:cubicBezTo>
                    <a:pt x="1923" y="726"/>
                    <a:pt x="2080" y="568"/>
                    <a:pt x="2080" y="347"/>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6" name="Google Shape;6636;p72"/>
            <p:cNvSpPr/>
            <p:nvPr/>
          </p:nvSpPr>
          <p:spPr>
            <a:xfrm>
              <a:off x="-24966650" y="2444375"/>
              <a:ext cx="52025" cy="18150"/>
            </a:xfrm>
            <a:custGeom>
              <a:avLst/>
              <a:gdLst/>
              <a:ahLst/>
              <a:cxnLst/>
              <a:rect l="l" t="t" r="r" b="b"/>
              <a:pathLst>
                <a:path w="2081" h="726" extrusionOk="0">
                  <a:moveTo>
                    <a:pt x="347" y="1"/>
                  </a:moveTo>
                  <a:cubicBezTo>
                    <a:pt x="158" y="1"/>
                    <a:pt x="1" y="158"/>
                    <a:pt x="1" y="379"/>
                  </a:cubicBezTo>
                  <a:cubicBezTo>
                    <a:pt x="1" y="568"/>
                    <a:pt x="158" y="725"/>
                    <a:pt x="347" y="725"/>
                  </a:cubicBezTo>
                  <a:lnTo>
                    <a:pt x="1734" y="725"/>
                  </a:lnTo>
                  <a:cubicBezTo>
                    <a:pt x="1923" y="725"/>
                    <a:pt x="2080" y="568"/>
                    <a:pt x="2080" y="379"/>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7" name="Google Shape;6637;p72"/>
            <p:cNvSpPr/>
            <p:nvPr/>
          </p:nvSpPr>
          <p:spPr>
            <a:xfrm>
              <a:off x="-24966650" y="2513700"/>
              <a:ext cx="52025" cy="17350"/>
            </a:xfrm>
            <a:custGeom>
              <a:avLst/>
              <a:gdLst/>
              <a:ahLst/>
              <a:cxnLst/>
              <a:rect l="l" t="t" r="r" b="b"/>
              <a:pathLst>
                <a:path w="2081" h="694" extrusionOk="0">
                  <a:moveTo>
                    <a:pt x="347" y="0"/>
                  </a:moveTo>
                  <a:cubicBezTo>
                    <a:pt x="158" y="0"/>
                    <a:pt x="1" y="158"/>
                    <a:pt x="1" y="347"/>
                  </a:cubicBezTo>
                  <a:cubicBezTo>
                    <a:pt x="1" y="536"/>
                    <a:pt x="158" y="693"/>
                    <a:pt x="347" y="693"/>
                  </a:cubicBezTo>
                  <a:lnTo>
                    <a:pt x="1734" y="693"/>
                  </a:lnTo>
                  <a:cubicBezTo>
                    <a:pt x="1923" y="693"/>
                    <a:pt x="2080" y="536"/>
                    <a:pt x="2080" y="347"/>
                  </a:cubicBez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8" name="Google Shape;6638;p72"/>
            <p:cNvSpPr/>
            <p:nvPr/>
          </p:nvSpPr>
          <p:spPr>
            <a:xfrm>
              <a:off x="-25071400" y="2549125"/>
              <a:ext cx="156775" cy="17350"/>
            </a:xfrm>
            <a:custGeom>
              <a:avLst/>
              <a:gdLst/>
              <a:ahLst/>
              <a:cxnLst/>
              <a:rect l="l" t="t" r="r" b="b"/>
              <a:pathLst>
                <a:path w="6271" h="694" extrusionOk="0">
                  <a:moveTo>
                    <a:pt x="379" y="1"/>
                  </a:moveTo>
                  <a:cubicBezTo>
                    <a:pt x="158" y="1"/>
                    <a:pt x="1" y="158"/>
                    <a:pt x="1" y="347"/>
                  </a:cubicBezTo>
                  <a:cubicBezTo>
                    <a:pt x="1" y="536"/>
                    <a:pt x="158" y="694"/>
                    <a:pt x="379" y="694"/>
                  </a:cubicBezTo>
                  <a:lnTo>
                    <a:pt x="5924" y="694"/>
                  </a:lnTo>
                  <a:cubicBezTo>
                    <a:pt x="6113" y="694"/>
                    <a:pt x="6270" y="536"/>
                    <a:pt x="6270" y="347"/>
                  </a:cubicBezTo>
                  <a:cubicBezTo>
                    <a:pt x="6270" y="158"/>
                    <a:pt x="6113" y="1"/>
                    <a:pt x="59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39" name="Google Shape;6639;p72"/>
            <p:cNvSpPr/>
            <p:nvPr/>
          </p:nvSpPr>
          <p:spPr>
            <a:xfrm>
              <a:off x="-25071400" y="2583800"/>
              <a:ext cx="156775" cy="17350"/>
            </a:xfrm>
            <a:custGeom>
              <a:avLst/>
              <a:gdLst/>
              <a:ahLst/>
              <a:cxnLst/>
              <a:rect l="l" t="t" r="r" b="b"/>
              <a:pathLst>
                <a:path w="6271" h="694" extrusionOk="0">
                  <a:moveTo>
                    <a:pt x="379" y="0"/>
                  </a:moveTo>
                  <a:cubicBezTo>
                    <a:pt x="158" y="0"/>
                    <a:pt x="1" y="158"/>
                    <a:pt x="1" y="347"/>
                  </a:cubicBezTo>
                  <a:cubicBezTo>
                    <a:pt x="1" y="536"/>
                    <a:pt x="158" y="693"/>
                    <a:pt x="379" y="693"/>
                  </a:cubicBezTo>
                  <a:lnTo>
                    <a:pt x="5924" y="693"/>
                  </a:lnTo>
                  <a:cubicBezTo>
                    <a:pt x="6113" y="693"/>
                    <a:pt x="6270" y="536"/>
                    <a:pt x="6270" y="347"/>
                  </a:cubicBezTo>
                  <a:cubicBezTo>
                    <a:pt x="6270" y="158"/>
                    <a:pt x="6113" y="0"/>
                    <a:pt x="59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0" name="Google Shape;6640;p72"/>
            <p:cNvSpPr/>
            <p:nvPr/>
          </p:nvSpPr>
          <p:spPr>
            <a:xfrm>
              <a:off x="-24862675" y="2375850"/>
              <a:ext cx="53575" cy="260725"/>
            </a:xfrm>
            <a:custGeom>
              <a:avLst/>
              <a:gdLst/>
              <a:ahLst/>
              <a:cxnLst/>
              <a:rect l="l" t="t" r="r" b="b"/>
              <a:pathLst>
                <a:path w="2143" h="10429" extrusionOk="0">
                  <a:moveTo>
                    <a:pt x="1103" y="1103"/>
                  </a:moveTo>
                  <a:lnTo>
                    <a:pt x="1481" y="1797"/>
                  </a:lnTo>
                  <a:lnTo>
                    <a:pt x="1481" y="7625"/>
                  </a:lnTo>
                  <a:lnTo>
                    <a:pt x="757" y="7625"/>
                  </a:lnTo>
                  <a:lnTo>
                    <a:pt x="757" y="1797"/>
                  </a:lnTo>
                  <a:lnTo>
                    <a:pt x="1103" y="1103"/>
                  </a:lnTo>
                  <a:close/>
                  <a:moveTo>
                    <a:pt x="1481" y="8255"/>
                  </a:moveTo>
                  <a:lnTo>
                    <a:pt x="1481" y="9358"/>
                  </a:lnTo>
                  <a:cubicBezTo>
                    <a:pt x="1450" y="9578"/>
                    <a:pt x="1324" y="9736"/>
                    <a:pt x="1103" y="9736"/>
                  </a:cubicBezTo>
                  <a:cubicBezTo>
                    <a:pt x="914" y="9736"/>
                    <a:pt x="757" y="9578"/>
                    <a:pt x="757" y="9358"/>
                  </a:cubicBezTo>
                  <a:lnTo>
                    <a:pt x="757" y="8255"/>
                  </a:lnTo>
                  <a:close/>
                  <a:moveTo>
                    <a:pt x="1072" y="1"/>
                  </a:moveTo>
                  <a:cubicBezTo>
                    <a:pt x="946" y="1"/>
                    <a:pt x="820" y="64"/>
                    <a:pt x="757" y="190"/>
                  </a:cubicBezTo>
                  <a:lnTo>
                    <a:pt x="32" y="1576"/>
                  </a:lnTo>
                  <a:cubicBezTo>
                    <a:pt x="0" y="1608"/>
                    <a:pt x="0" y="1702"/>
                    <a:pt x="0" y="1734"/>
                  </a:cubicBezTo>
                  <a:lnTo>
                    <a:pt x="0" y="9421"/>
                  </a:lnTo>
                  <a:cubicBezTo>
                    <a:pt x="0" y="9988"/>
                    <a:pt x="473" y="10429"/>
                    <a:pt x="1040" y="10429"/>
                  </a:cubicBezTo>
                  <a:cubicBezTo>
                    <a:pt x="1607" y="10429"/>
                    <a:pt x="2048" y="9956"/>
                    <a:pt x="2048" y="9421"/>
                  </a:cubicBezTo>
                  <a:lnTo>
                    <a:pt x="2048" y="1734"/>
                  </a:lnTo>
                  <a:cubicBezTo>
                    <a:pt x="2143" y="1639"/>
                    <a:pt x="2143" y="1608"/>
                    <a:pt x="2111" y="1576"/>
                  </a:cubicBezTo>
                  <a:lnTo>
                    <a:pt x="1387" y="190"/>
                  </a:lnTo>
                  <a:cubicBezTo>
                    <a:pt x="1355" y="64"/>
                    <a:pt x="1198"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41" name="Google Shape;6641;p72"/>
          <p:cNvSpPr/>
          <p:nvPr/>
        </p:nvSpPr>
        <p:spPr>
          <a:xfrm>
            <a:off x="7075748" y="5100163"/>
            <a:ext cx="475928" cy="351616"/>
          </a:xfrm>
          <a:custGeom>
            <a:avLst/>
            <a:gdLst/>
            <a:ahLst/>
            <a:cxnLst/>
            <a:rect l="l" t="t" r="r" b="b"/>
            <a:pathLst>
              <a:path w="11941" h="8822" extrusionOk="0">
                <a:moveTo>
                  <a:pt x="7184" y="1229"/>
                </a:moveTo>
                <a:lnTo>
                  <a:pt x="7184" y="1922"/>
                </a:lnTo>
                <a:lnTo>
                  <a:pt x="6459" y="1922"/>
                </a:lnTo>
                <a:lnTo>
                  <a:pt x="6459" y="1229"/>
                </a:lnTo>
                <a:close/>
                <a:moveTo>
                  <a:pt x="5797" y="1261"/>
                </a:moveTo>
                <a:lnTo>
                  <a:pt x="5797" y="1954"/>
                </a:lnTo>
                <a:lnTo>
                  <a:pt x="5073" y="1954"/>
                </a:lnTo>
                <a:lnTo>
                  <a:pt x="5073" y="1607"/>
                </a:lnTo>
                <a:cubicBezTo>
                  <a:pt x="5073" y="1418"/>
                  <a:pt x="5230" y="1261"/>
                  <a:pt x="5419" y="1261"/>
                </a:cubicBezTo>
                <a:close/>
                <a:moveTo>
                  <a:pt x="8192" y="1261"/>
                </a:moveTo>
                <a:cubicBezTo>
                  <a:pt x="8381" y="1261"/>
                  <a:pt x="8538" y="1418"/>
                  <a:pt x="8538" y="1607"/>
                </a:cubicBezTo>
                <a:lnTo>
                  <a:pt x="8538" y="1954"/>
                </a:lnTo>
                <a:lnTo>
                  <a:pt x="7845" y="1954"/>
                </a:lnTo>
                <a:lnTo>
                  <a:pt x="7845" y="1261"/>
                </a:lnTo>
                <a:close/>
                <a:moveTo>
                  <a:pt x="1450" y="694"/>
                </a:moveTo>
                <a:cubicBezTo>
                  <a:pt x="1607" y="694"/>
                  <a:pt x="1796" y="788"/>
                  <a:pt x="1922" y="914"/>
                </a:cubicBezTo>
                <a:lnTo>
                  <a:pt x="3182" y="2174"/>
                </a:lnTo>
                <a:cubicBezTo>
                  <a:pt x="3497" y="2489"/>
                  <a:pt x="3938" y="2679"/>
                  <a:pt x="4411" y="2679"/>
                </a:cubicBezTo>
                <a:lnTo>
                  <a:pt x="10523" y="2679"/>
                </a:lnTo>
                <a:cubicBezTo>
                  <a:pt x="10901" y="2679"/>
                  <a:pt x="11216" y="2994"/>
                  <a:pt x="11216" y="3372"/>
                </a:cubicBezTo>
                <a:cubicBezTo>
                  <a:pt x="11216" y="3781"/>
                  <a:pt x="10901" y="4096"/>
                  <a:pt x="10523" y="4096"/>
                </a:cubicBezTo>
                <a:lnTo>
                  <a:pt x="3812" y="4096"/>
                </a:lnTo>
                <a:cubicBezTo>
                  <a:pt x="3340" y="4096"/>
                  <a:pt x="2899" y="3907"/>
                  <a:pt x="2584" y="3592"/>
                </a:cubicBezTo>
                <a:lnTo>
                  <a:pt x="977" y="1891"/>
                </a:lnTo>
                <a:cubicBezTo>
                  <a:pt x="693" y="1607"/>
                  <a:pt x="693" y="1166"/>
                  <a:pt x="977" y="914"/>
                </a:cubicBezTo>
                <a:cubicBezTo>
                  <a:pt x="1103" y="788"/>
                  <a:pt x="1292" y="694"/>
                  <a:pt x="1450" y="694"/>
                </a:cubicBezTo>
                <a:close/>
                <a:moveTo>
                  <a:pt x="8255" y="4726"/>
                </a:moveTo>
                <a:lnTo>
                  <a:pt x="6805" y="5545"/>
                </a:lnTo>
                <a:lnTo>
                  <a:pt x="5356" y="4726"/>
                </a:lnTo>
                <a:close/>
                <a:moveTo>
                  <a:pt x="6805" y="6333"/>
                </a:moveTo>
                <a:lnTo>
                  <a:pt x="8822" y="7467"/>
                </a:lnTo>
                <a:lnTo>
                  <a:pt x="4821" y="7467"/>
                </a:lnTo>
                <a:lnTo>
                  <a:pt x="6805" y="6333"/>
                </a:lnTo>
                <a:close/>
                <a:moveTo>
                  <a:pt x="3340" y="7467"/>
                </a:moveTo>
                <a:cubicBezTo>
                  <a:pt x="3529" y="7467"/>
                  <a:pt x="3686" y="7625"/>
                  <a:pt x="3686" y="7845"/>
                </a:cubicBezTo>
                <a:cubicBezTo>
                  <a:pt x="3686" y="8034"/>
                  <a:pt x="3529" y="8192"/>
                  <a:pt x="3340" y="8192"/>
                </a:cubicBezTo>
                <a:cubicBezTo>
                  <a:pt x="3151" y="8192"/>
                  <a:pt x="2993" y="8034"/>
                  <a:pt x="2993" y="7845"/>
                </a:cubicBezTo>
                <a:cubicBezTo>
                  <a:pt x="2993" y="7625"/>
                  <a:pt x="3151" y="7467"/>
                  <a:pt x="3340" y="7467"/>
                </a:cubicBezTo>
                <a:close/>
                <a:moveTo>
                  <a:pt x="10271" y="7467"/>
                </a:moveTo>
                <a:cubicBezTo>
                  <a:pt x="10460" y="7467"/>
                  <a:pt x="10618" y="7625"/>
                  <a:pt x="10618" y="7845"/>
                </a:cubicBezTo>
                <a:cubicBezTo>
                  <a:pt x="10618" y="8034"/>
                  <a:pt x="10460" y="8192"/>
                  <a:pt x="10271" y="8192"/>
                </a:cubicBezTo>
                <a:cubicBezTo>
                  <a:pt x="10082" y="8192"/>
                  <a:pt x="9924" y="8034"/>
                  <a:pt x="9924" y="7845"/>
                </a:cubicBezTo>
                <a:cubicBezTo>
                  <a:pt x="9924" y="7625"/>
                  <a:pt x="10082" y="7467"/>
                  <a:pt x="10271" y="7467"/>
                </a:cubicBezTo>
                <a:close/>
                <a:moveTo>
                  <a:pt x="1544" y="1"/>
                </a:moveTo>
                <a:cubicBezTo>
                  <a:pt x="1166" y="1"/>
                  <a:pt x="820" y="158"/>
                  <a:pt x="536" y="379"/>
                </a:cubicBezTo>
                <a:cubicBezTo>
                  <a:pt x="0" y="946"/>
                  <a:pt x="0" y="1796"/>
                  <a:pt x="536" y="2363"/>
                </a:cubicBezTo>
                <a:lnTo>
                  <a:pt x="2206" y="4002"/>
                </a:lnTo>
                <a:cubicBezTo>
                  <a:pt x="2678" y="4474"/>
                  <a:pt x="3277" y="4726"/>
                  <a:pt x="3938" y="4726"/>
                </a:cubicBezTo>
                <a:lnTo>
                  <a:pt x="4002" y="4726"/>
                </a:lnTo>
                <a:lnTo>
                  <a:pt x="6175" y="5955"/>
                </a:lnTo>
                <a:lnTo>
                  <a:pt x="4128" y="7089"/>
                </a:lnTo>
                <a:cubicBezTo>
                  <a:pt x="3938" y="6900"/>
                  <a:pt x="3686" y="6774"/>
                  <a:pt x="3371" y="6774"/>
                </a:cubicBezTo>
                <a:cubicBezTo>
                  <a:pt x="2804" y="6774"/>
                  <a:pt x="2363" y="7247"/>
                  <a:pt x="2363" y="7782"/>
                </a:cubicBezTo>
                <a:cubicBezTo>
                  <a:pt x="2363" y="8381"/>
                  <a:pt x="2836" y="8822"/>
                  <a:pt x="3371" y="8822"/>
                </a:cubicBezTo>
                <a:cubicBezTo>
                  <a:pt x="3812" y="8822"/>
                  <a:pt x="4222" y="8538"/>
                  <a:pt x="4380" y="8097"/>
                </a:cubicBezTo>
                <a:lnTo>
                  <a:pt x="9326" y="8097"/>
                </a:lnTo>
                <a:cubicBezTo>
                  <a:pt x="9483" y="8507"/>
                  <a:pt x="9830" y="8822"/>
                  <a:pt x="10302" y="8822"/>
                </a:cubicBezTo>
                <a:cubicBezTo>
                  <a:pt x="10901" y="8822"/>
                  <a:pt x="11342" y="8349"/>
                  <a:pt x="11342" y="7782"/>
                </a:cubicBezTo>
                <a:cubicBezTo>
                  <a:pt x="11342" y="7184"/>
                  <a:pt x="10870" y="6774"/>
                  <a:pt x="10302" y="6774"/>
                </a:cubicBezTo>
                <a:cubicBezTo>
                  <a:pt x="10050" y="6774"/>
                  <a:pt x="9767" y="6900"/>
                  <a:pt x="9578" y="7089"/>
                </a:cubicBezTo>
                <a:lnTo>
                  <a:pt x="7530" y="5955"/>
                </a:lnTo>
                <a:lnTo>
                  <a:pt x="9672" y="4726"/>
                </a:lnTo>
                <a:lnTo>
                  <a:pt x="10555" y="4726"/>
                </a:lnTo>
                <a:cubicBezTo>
                  <a:pt x="11311" y="4726"/>
                  <a:pt x="11941" y="4096"/>
                  <a:pt x="11941" y="3340"/>
                </a:cubicBezTo>
                <a:cubicBezTo>
                  <a:pt x="11941" y="2584"/>
                  <a:pt x="11311" y="1954"/>
                  <a:pt x="10555" y="1954"/>
                </a:cubicBezTo>
                <a:lnTo>
                  <a:pt x="9263" y="1954"/>
                </a:lnTo>
                <a:lnTo>
                  <a:pt x="9263" y="1607"/>
                </a:lnTo>
                <a:cubicBezTo>
                  <a:pt x="9263" y="1009"/>
                  <a:pt x="8790" y="599"/>
                  <a:pt x="8223" y="599"/>
                </a:cubicBezTo>
                <a:lnTo>
                  <a:pt x="5482" y="599"/>
                </a:lnTo>
                <a:cubicBezTo>
                  <a:pt x="4884" y="599"/>
                  <a:pt x="4443" y="1072"/>
                  <a:pt x="4443" y="1607"/>
                </a:cubicBezTo>
                <a:lnTo>
                  <a:pt x="4443" y="1954"/>
                </a:lnTo>
                <a:cubicBezTo>
                  <a:pt x="4222" y="1954"/>
                  <a:pt x="3970" y="1859"/>
                  <a:pt x="3781" y="1639"/>
                </a:cubicBezTo>
                <a:lnTo>
                  <a:pt x="2521" y="379"/>
                </a:lnTo>
                <a:cubicBezTo>
                  <a:pt x="2237" y="127"/>
                  <a:pt x="1891" y="1"/>
                  <a:pt x="15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42" name="Google Shape;6642;p72"/>
          <p:cNvGrpSpPr/>
          <p:nvPr/>
        </p:nvGrpSpPr>
        <p:grpSpPr>
          <a:xfrm>
            <a:off x="10064125" y="3855204"/>
            <a:ext cx="473417" cy="472181"/>
            <a:chOff x="-23229925" y="1970225"/>
            <a:chExt cx="296950" cy="296175"/>
          </a:xfrm>
        </p:grpSpPr>
        <p:sp>
          <p:nvSpPr>
            <p:cNvPr id="6643" name="Google Shape;6643;p72"/>
            <p:cNvSpPr/>
            <p:nvPr/>
          </p:nvSpPr>
          <p:spPr>
            <a:xfrm>
              <a:off x="-23229925" y="1970225"/>
              <a:ext cx="296950" cy="296175"/>
            </a:xfrm>
            <a:custGeom>
              <a:avLst/>
              <a:gdLst/>
              <a:ahLst/>
              <a:cxnLst/>
              <a:rect l="l" t="t" r="r" b="b"/>
              <a:pathLst>
                <a:path w="11878" h="11847" extrusionOk="0">
                  <a:moveTo>
                    <a:pt x="10145" y="694"/>
                  </a:moveTo>
                  <a:cubicBezTo>
                    <a:pt x="10743" y="694"/>
                    <a:pt x="11184" y="1167"/>
                    <a:pt x="11184" y="1734"/>
                  </a:cubicBezTo>
                  <a:lnTo>
                    <a:pt x="11184" y="10114"/>
                  </a:lnTo>
                  <a:cubicBezTo>
                    <a:pt x="11184" y="10712"/>
                    <a:pt x="10712" y="11122"/>
                    <a:pt x="10145" y="11122"/>
                  </a:cubicBezTo>
                  <a:lnTo>
                    <a:pt x="1764" y="11122"/>
                  </a:lnTo>
                  <a:cubicBezTo>
                    <a:pt x="1166" y="11122"/>
                    <a:pt x="725" y="10681"/>
                    <a:pt x="725" y="10114"/>
                  </a:cubicBezTo>
                  <a:lnTo>
                    <a:pt x="725" y="1734"/>
                  </a:lnTo>
                  <a:cubicBezTo>
                    <a:pt x="725" y="1135"/>
                    <a:pt x="1197" y="694"/>
                    <a:pt x="1764" y="694"/>
                  </a:cubicBezTo>
                  <a:close/>
                  <a:moveTo>
                    <a:pt x="1733" y="1"/>
                  </a:moveTo>
                  <a:cubicBezTo>
                    <a:pt x="788" y="1"/>
                    <a:pt x="0" y="788"/>
                    <a:pt x="0" y="1734"/>
                  </a:cubicBezTo>
                  <a:lnTo>
                    <a:pt x="0" y="10114"/>
                  </a:lnTo>
                  <a:cubicBezTo>
                    <a:pt x="0" y="11059"/>
                    <a:pt x="788" y="11847"/>
                    <a:pt x="1733" y="11847"/>
                  </a:cubicBezTo>
                  <a:lnTo>
                    <a:pt x="10113" y="11847"/>
                  </a:lnTo>
                  <a:cubicBezTo>
                    <a:pt x="11058" y="11847"/>
                    <a:pt x="11846" y="11059"/>
                    <a:pt x="11846" y="10114"/>
                  </a:cubicBezTo>
                  <a:lnTo>
                    <a:pt x="11846" y="1734"/>
                  </a:lnTo>
                  <a:cubicBezTo>
                    <a:pt x="11878" y="788"/>
                    <a:pt x="11090" y="1"/>
                    <a:pt x="10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4" name="Google Shape;6644;p72"/>
            <p:cNvSpPr/>
            <p:nvPr/>
          </p:nvSpPr>
          <p:spPr>
            <a:xfrm>
              <a:off x="-23196075" y="2005675"/>
              <a:ext cx="227650" cy="192200"/>
            </a:xfrm>
            <a:custGeom>
              <a:avLst/>
              <a:gdLst/>
              <a:ahLst/>
              <a:cxnLst/>
              <a:rect l="l" t="t" r="r" b="b"/>
              <a:pathLst>
                <a:path w="9106" h="7688" extrusionOk="0">
                  <a:moveTo>
                    <a:pt x="8444" y="662"/>
                  </a:moveTo>
                  <a:lnTo>
                    <a:pt x="8444" y="3435"/>
                  </a:lnTo>
                  <a:lnTo>
                    <a:pt x="6144" y="3435"/>
                  </a:lnTo>
                  <a:cubicBezTo>
                    <a:pt x="5987" y="3435"/>
                    <a:pt x="5892" y="3498"/>
                    <a:pt x="5829" y="3624"/>
                  </a:cubicBezTo>
                  <a:lnTo>
                    <a:pt x="5357" y="4852"/>
                  </a:lnTo>
                  <a:lnTo>
                    <a:pt x="4317" y="1576"/>
                  </a:lnTo>
                  <a:cubicBezTo>
                    <a:pt x="4254" y="1450"/>
                    <a:pt x="4160" y="1324"/>
                    <a:pt x="4002" y="1324"/>
                  </a:cubicBezTo>
                  <a:cubicBezTo>
                    <a:pt x="3845" y="1324"/>
                    <a:pt x="3718" y="1418"/>
                    <a:pt x="3624" y="1544"/>
                  </a:cubicBezTo>
                  <a:lnTo>
                    <a:pt x="2805" y="3435"/>
                  </a:lnTo>
                  <a:lnTo>
                    <a:pt x="757" y="3435"/>
                  </a:lnTo>
                  <a:lnTo>
                    <a:pt x="757" y="662"/>
                  </a:lnTo>
                  <a:close/>
                  <a:moveTo>
                    <a:pt x="3876" y="2678"/>
                  </a:moveTo>
                  <a:lnTo>
                    <a:pt x="4947" y="5986"/>
                  </a:lnTo>
                  <a:cubicBezTo>
                    <a:pt x="4979" y="6144"/>
                    <a:pt x="5105" y="6207"/>
                    <a:pt x="5262" y="6207"/>
                  </a:cubicBezTo>
                  <a:cubicBezTo>
                    <a:pt x="5420" y="6207"/>
                    <a:pt x="5514" y="6144"/>
                    <a:pt x="5577" y="6018"/>
                  </a:cubicBezTo>
                  <a:lnTo>
                    <a:pt x="6333" y="4159"/>
                  </a:lnTo>
                  <a:lnTo>
                    <a:pt x="8413" y="4159"/>
                  </a:lnTo>
                  <a:lnTo>
                    <a:pt x="8413" y="6995"/>
                  </a:lnTo>
                  <a:lnTo>
                    <a:pt x="757" y="6995"/>
                  </a:lnTo>
                  <a:lnTo>
                    <a:pt x="757" y="6963"/>
                  </a:lnTo>
                  <a:lnTo>
                    <a:pt x="757" y="4128"/>
                  </a:lnTo>
                  <a:lnTo>
                    <a:pt x="2994" y="4128"/>
                  </a:lnTo>
                  <a:cubicBezTo>
                    <a:pt x="3120" y="4128"/>
                    <a:pt x="3277" y="4065"/>
                    <a:pt x="3309" y="3939"/>
                  </a:cubicBezTo>
                  <a:lnTo>
                    <a:pt x="3876" y="2678"/>
                  </a:lnTo>
                  <a:close/>
                  <a:moveTo>
                    <a:pt x="379" y="1"/>
                  </a:moveTo>
                  <a:cubicBezTo>
                    <a:pt x="158" y="1"/>
                    <a:pt x="1" y="158"/>
                    <a:pt x="1" y="347"/>
                  </a:cubicBezTo>
                  <a:lnTo>
                    <a:pt x="1" y="7310"/>
                  </a:lnTo>
                  <a:cubicBezTo>
                    <a:pt x="1" y="7530"/>
                    <a:pt x="158" y="7688"/>
                    <a:pt x="379" y="7688"/>
                  </a:cubicBezTo>
                  <a:lnTo>
                    <a:pt x="8759" y="7688"/>
                  </a:lnTo>
                  <a:cubicBezTo>
                    <a:pt x="8948" y="7688"/>
                    <a:pt x="9106" y="7530"/>
                    <a:pt x="9106" y="7310"/>
                  </a:cubicBezTo>
                  <a:lnTo>
                    <a:pt x="9106" y="347"/>
                  </a:lnTo>
                  <a:cubicBezTo>
                    <a:pt x="9106" y="158"/>
                    <a:pt x="8948" y="1"/>
                    <a:pt x="87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5" name="Google Shape;6645;p72"/>
            <p:cNvSpPr/>
            <p:nvPr/>
          </p:nvSpPr>
          <p:spPr>
            <a:xfrm>
              <a:off x="-23142500" y="221440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6" name="Google Shape;6646;p72"/>
            <p:cNvSpPr/>
            <p:nvPr/>
          </p:nvSpPr>
          <p:spPr>
            <a:xfrm>
              <a:off x="-23177150" y="221440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662" y="158"/>
                    <a:pt x="504"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47" name="Google Shape;6647;p72"/>
          <p:cNvGrpSpPr/>
          <p:nvPr/>
        </p:nvGrpSpPr>
        <p:grpSpPr>
          <a:xfrm>
            <a:off x="10120621" y="4451022"/>
            <a:ext cx="360424" cy="473417"/>
            <a:chOff x="-23177950" y="2340425"/>
            <a:chExt cx="226075" cy="296950"/>
          </a:xfrm>
        </p:grpSpPr>
        <p:sp>
          <p:nvSpPr>
            <p:cNvPr id="6648" name="Google Shape;6648;p72"/>
            <p:cNvSpPr/>
            <p:nvPr/>
          </p:nvSpPr>
          <p:spPr>
            <a:xfrm>
              <a:off x="-23177950" y="2340425"/>
              <a:ext cx="226075" cy="296950"/>
            </a:xfrm>
            <a:custGeom>
              <a:avLst/>
              <a:gdLst/>
              <a:ahLst/>
              <a:cxnLst/>
              <a:rect l="l" t="t" r="r" b="b"/>
              <a:pathLst>
                <a:path w="9043" h="11878" extrusionOk="0">
                  <a:moveTo>
                    <a:pt x="1418" y="693"/>
                  </a:moveTo>
                  <a:lnTo>
                    <a:pt x="1418" y="1449"/>
                  </a:lnTo>
                  <a:cubicBezTo>
                    <a:pt x="1418" y="2048"/>
                    <a:pt x="1891" y="2457"/>
                    <a:pt x="2426" y="2457"/>
                  </a:cubicBezTo>
                  <a:lnTo>
                    <a:pt x="2804" y="2457"/>
                  </a:lnTo>
                  <a:cubicBezTo>
                    <a:pt x="2899" y="2457"/>
                    <a:pt x="2993" y="2426"/>
                    <a:pt x="3057" y="2300"/>
                  </a:cubicBezTo>
                  <a:cubicBezTo>
                    <a:pt x="3340" y="1953"/>
                    <a:pt x="3750" y="1764"/>
                    <a:pt x="4159" y="1764"/>
                  </a:cubicBezTo>
                  <a:cubicBezTo>
                    <a:pt x="6459" y="1764"/>
                    <a:pt x="8349" y="3623"/>
                    <a:pt x="8349" y="5923"/>
                  </a:cubicBezTo>
                  <a:cubicBezTo>
                    <a:pt x="8349" y="8254"/>
                    <a:pt x="6491" y="10113"/>
                    <a:pt x="4159" y="10113"/>
                  </a:cubicBezTo>
                  <a:cubicBezTo>
                    <a:pt x="3750" y="10113"/>
                    <a:pt x="3340" y="9924"/>
                    <a:pt x="3057" y="9578"/>
                  </a:cubicBezTo>
                  <a:cubicBezTo>
                    <a:pt x="2993" y="9483"/>
                    <a:pt x="2899" y="9389"/>
                    <a:pt x="2804" y="9389"/>
                  </a:cubicBezTo>
                  <a:lnTo>
                    <a:pt x="2426" y="9389"/>
                  </a:lnTo>
                  <a:cubicBezTo>
                    <a:pt x="1859" y="9389"/>
                    <a:pt x="1418" y="9861"/>
                    <a:pt x="1418" y="10428"/>
                  </a:cubicBezTo>
                  <a:lnTo>
                    <a:pt x="1418" y="11153"/>
                  </a:lnTo>
                  <a:lnTo>
                    <a:pt x="694" y="11153"/>
                  </a:lnTo>
                  <a:lnTo>
                    <a:pt x="694" y="10428"/>
                  </a:lnTo>
                  <a:cubicBezTo>
                    <a:pt x="694" y="9483"/>
                    <a:pt x="1481" y="8695"/>
                    <a:pt x="2426" y="8695"/>
                  </a:cubicBezTo>
                  <a:lnTo>
                    <a:pt x="2489" y="8695"/>
                  </a:lnTo>
                  <a:cubicBezTo>
                    <a:pt x="2647" y="8695"/>
                    <a:pt x="2804" y="8569"/>
                    <a:pt x="2836" y="8412"/>
                  </a:cubicBezTo>
                  <a:cubicBezTo>
                    <a:pt x="2962" y="7782"/>
                    <a:pt x="3529" y="7309"/>
                    <a:pt x="4222" y="7309"/>
                  </a:cubicBezTo>
                  <a:cubicBezTo>
                    <a:pt x="4947" y="7309"/>
                    <a:pt x="5577" y="6679"/>
                    <a:pt x="5577" y="5923"/>
                  </a:cubicBezTo>
                  <a:cubicBezTo>
                    <a:pt x="5577" y="5198"/>
                    <a:pt x="4947" y="4568"/>
                    <a:pt x="4222" y="4568"/>
                  </a:cubicBezTo>
                  <a:cubicBezTo>
                    <a:pt x="3529" y="4568"/>
                    <a:pt x="2993" y="4096"/>
                    <a:pt x="2836" y="3466"/>
                  </a:cubicBezTo>
                  <a:cubicBezTo>
                    <a:pt x="2804" y="3308"/>
                    <a:pt x="2678" y="3182"/>
                    <a:pt x="2489" y="3182"/>
                  </a:cubicBezTo>
                  <a:lnTo>
                    <a:pt x="2426" y="3182"/>
                  </a:lnTo>
                  <a:cubicBezTo>
                    <a:pt x="1481" y="3182"/>
                    <a:pt x="694" y="2394"/>
                    <a:pt x="694" y="1449"/>
                  </a:cubicBezTo>
                  <a:lnTo>
                    <a:pt x="694" y="693"/>
                  </a:lnTo>
                  <a:close/>
                  <a:moveTo>
                    <a:pt x="347" y="0"/>
                  </a:moveTo>
                  <a:cubicBezTo>
                    <a:pt x="158" y="0"/>
                    <a:pt x="1" y="158"/>
                    <a:pt x="1" y="347"/>
                  </a:cubicBezTo>
                  <a:lnTo>
                    <a:pt x="1" y="1449"/>
                  </a:lnTo>
                  <a:cubicBezTo>
                    <a:pt x="1" y="2710"/>
                    <a:pt x="977" y="3749"/>
                    <a:pt x="2206" y="3844"/>
                  </a:cubicBezTo>
                  <a:cubicBezTo>
                    <a:pt x="2489" y="4694"/>
                    <a:pt x="3277" y="5261"/>
                    <a:pt x="4159" y="5261"/>
                  </a:cubicBezTo>
                  <a:cubicBezTo>
                    <a:pt x="4569" y="5261"/>
                    <a:pt x="4884" y="5576"/>
                    <a:pt x="4884" y="5986"/>
                  </a:cubicBezTo>
                  <a:cubicBezTo>
                    <a:pt x="4884" y="6364"/>
                    <a:pt x="4569" y="6679"/>
                    <a:pt x="4159" y="6679"/>
                  </a:cubicBezTo>
                  <a:cubicBezTo>
                    <a:pt x="3277" y="6679"/>
                    <a:pt x="2489" y="7278"/>
                    <a:pt x="2206" y="8097"/>
                  </a:cubicBezTo>
                  <a:cubicBezTo>
                    <a:pt x="977" y="8223"/>
                    <a:pt x="1" y="9263"/>
                    <a:pt x="1" y="10523"/>
                  </a:cubicBezTo>
                  <a:lnTo>
                    <a:pt x="1" y="11531"/>
                  </a:lnTo>
                  <a:cubicBezTo>
                    <a:pt x="1" y="11720"/>
                    <a:pt x="158" y="11877"/>
                    <a:pt x="347" y="11877"/>
                  </a:cubicBezTo>
                  <a:lnTo>
                    <a:pt x="1733" y="11877"/>
                  </a:lnTo>
                  <a:cubicBezTo>
                    <a:pt x="1922" y="11877"/>
                    <a:pt x="2080" y="11720"/>
                    <a:pt x="2080" y="11531"/>
                  </a:cubicBezTo>
                  <a:lnTo>
                    <a:pt x="2080" y="10523"/>
                  </a:lnTo>
                  <a:cubicBezTo>
                    <a:pt x="2080" y="10302"/>
                    <a:pt x="2237" y="10145"/>
                    <a:pt x="2426" y="10145"/>
                  </a:cubicBezTo>
                  <a:lnTo>
                    <a:pt x="2647" y="10145"/>
                  </a:lnTo>
                  <a:cubicBezTo>
                    <a:pt x="3025" y="10586"/>
                    <a:pt x="3592" y="10869"/>
                    <a:pt x="4159" y="10869"/>
                  </a:cubicBezTo>
                  <a:cubicBezTo>
                    <a:pt x="6837" y="10869"/>
                    <a:pt x="9011" y="8695"/>
                    <a:pt x="9011" y="6018"/>
                  </a:cubicBezTo>
                  <a:cubicBezTo>
                    <a:pt x="9042" y="3277"/>
                    <a:pt x="6837" y="1103"/>
                    <a:pt x="4159" y="1103"/>
                  </a:cubicBezTo>
                  <a:cubicBezTo>
                    <a:pt x="3592" y="1103"/>
                    <a:pt x="3025" y="1323"/>
                    <a:pt x="2647" y="1796"/>
                  </a:cubicBezTo>
                  <a:lnTo>
                    <a:pt x="2426" y="1796"/>
                  </a:lnTo>
                  <a:cubicBezTo>
                    <a:pt x="2237" y="1796"/>
                    <a:pt x="2080" y="1638"/>
                    <a:pt x="2080" y="1449"/>
                  </a:cubicBez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49" name="Google Shape;6649;p72"/>
            <p:cNvSpPr/>
            <p:nvPr/>
          </p:nvSpPr>
          <p:spPr>
            <a:xfrm>
              <a:off x="-23081850" y="2425475"/>
              <a:ext cx="96100" cy="151250"/>
            </a:xfrm>
            <a:custGeom>
              <a:avLst/>
              <a:gdLst/>
              <a:ahLst/>
              <a:cxnLst/>
              <a:rect l="l" t="t" r="r" b="b"/>
              <a:pathLst>
                <a:path w="3844" h="6050" extrusionOk="0">
                  <a:moveTo>
                    <a:pt x="2568" y="1"/>
                  </a:moveTo>
                  <a:cubicBezTo>
                    <a:pt x="2481" y="1"/>
                    <a:pt x="2395" y="32"/>
                    <a:pt x="2332" y="95"/>
                  </a:cubicBezTo>
                  <a:cubicBezTo>
                    <a:pt x="2205" y="221"/>
                    <a:pt x="2205" y="442"/>
                    <a:pt x="2332" y="568"/>
                  </a:cubicBezTo>
                  <a:cubicBezTo>
                    <a:pt x="2867" y="1072"/>
                    <a:pt x="3151" y="1796"/>
                    <a:pt x="3151" y="2553"/>
                  </a:cubicBezTo>
                  <a:cubicBezTo>
                    <a:pt x="3151" y="3277"/>
                    <a:pt x="2899" y="3970"/>
                    <a:pt x="2332" y="4506"/>
                  </a:cubicBezTo>
                  <a:cubicBezTo>
                    <a:pt x="1827" y="5010"/>
                    <a:pt x="1134" y="5325"/>
                    <a:pt x="378" y="5325"/>
                  </a:cubicBezTo>
                  <a:cubicBezTo>
                    <a:pt x="189" y="5325"/>
                    <a:pt x="0" y="5482"/>
                    <a:pt x="0" y="5703"/>
                  </a:cubicBezTo>
                  <a:cubicBezTo>
                    <a:pt x="0" y="5892"/>
                    <a:pt x="189" y="6050"/>
                    <a:pt x="378" y="6050"/>
                  </a:cubicBezTo>
                  <a:cubicBezTo>
                    <a:pt x="1292" y="6050"/>
                    <a:pt x="2174" y="5703"/>
                    <a:pt x="2804" y="5010"/>
                  </a:cubicBezTo>
                  <a:cubicBezTo>
                    <a:pt x="3466" y="4348"/>
                    <a:pt x="3844" y="3498"/>
                    <a:pt x="3844" y="2584"/>
                  </a:cubicBezTo>
                  <a:cubicBezTo>
                    <a:pt x="3844" y="1670"/>
                    <a:pt x="3434" y="757"/>
                    <a:pt x="2804" y="95"/>
                  </a:cubicBezTo>
                  <a:cubicBezTo>
                    <a:pt x="2741" y="32"/>
                    <a:pt x="2654" y="1"/>
                    <a:pt x="25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50" name="Google Shape;6650;p72"/>
          <p:cNvGrpSpPr/>
          <p:nvPr/>
        </p:nvGrpSpPr>
        <p:grpSpPr>
          <a:xfrm>
            <a:off x="10064742" y="5039923"/>
            <a:ext cx="472181" cy="472181"/>
            <a:chOff x="-23229150" y="2710600"/>
            <a:chExt cx="296175" cy="296175"/>
          </a:xfrm>
        </p:grpSpPr>
        <p:sp>
          <p:nvSpPr>
            <p:cNvPr id="6651" name="Google Shape;6651;p72"/>
            <p:cNvSpPr/>
            <p:nvPr/>
          </p:nvSpPr>
          <p:spPr>
            <a:xfrm>
              <a:off x="-23177150" y="2727925"/>
              <a:ext cx="191400" cy="258375"/>
            </a:xfrm>
            <a:custGeom>
              <a:avLst/>
              <a:gdLst/>
              <a:ahLst/>
              <a:cxnLst/>
              <a:rect l="l" t="t" r="r" b="b"/>
              <a:pathLst>
                <a:path w="7656" h="10335" extrusionOk="0">
                  <a:moveTo>
                    <a:pt x="3812" y="725"/>
                  </a:moveTo>
                  <a:cubicBezTo>
                    <a:pt x="4033" y="725"/>
                    <a:pt x="4190" y="883"/>
                    <a:pt x="4190" y="1072"/>
                  </a:cubicBezTo>
                  <a:lnTo>
                    <a:pt x="4190" y="1418"/>
                  </a:lnTo>
                  <a:lnTo>
                    <a:pt x="3466" y="1418"/>
                  </a:lnTo>
                  <a:lnTo>
                    <a:pt x="3466" y="1072"/>
                  </a:lnTo>
                  <a:cubicBezTo>
                    <a:pt x="3466" y="883"/>
                    <a:pt x="3623" y="725"/>
                    <a:pt x="3812" y="725"/>
                  </a:cubicBezTo>
                  <a:close/>
                  <a:moveTo>
                    <a:pt x="6238" y="1387"/>
                  </a:moveTo>
                  <a:cubicBezTo>
                    <a:pt x="6648" y="1418"/>
                    <a:pt x="6931" y="1702"/>
                    <a:pt x="6931" y="2111"/>
                  </a:cubicBezTo>
                  <a:cubicBezTo>
                    <a:pt x="6931" y="2206"/>
                    <a:pt x="6900" y="2363"/>
                    <a:pt x="6805" y="2458"/>
                  </a:cubicBezTo>
                  <a:cubicBezTo>
                    <a:pt x="6585" y="2206"/>
                    <a:pt x="6238" y="2111"/>
                    <a:pt x="5860" y="2111"/>
                  </a:cubicBezTo>
                  <a:lnTo>
                    <a:pt x="4852" y="2111"/>
                  </a:lnTo>
                  <a:lnTo>
                    <a:pt x="4852" y="1387"/>
                  </a:lnTo>
                  <a:close/>
                  <a:moveTo>
                    <a:pt x="2804" y="1418"/>
                  </a:moveTo>
                  <a:lnTo>
                    <a:pt x="2804" y="2143"/>
                  </a:lnTo>
                  <a:lnTo>
                    <a:pt x="1796" y="2143"/>
                  </a:lnTo>
                  <a:cubicBezTo>
                    <a:pt x="1418" y="2143"/>
                    <a:pt x="1071" y="2300"/>
                    <a:pt x="851" y="2489"/>
                  </a:cubicBezTo>
                  <a:cubicBezTo>
                    <a:pt x="756" y="2363"/>
                    <a:pt x="725" y="2269"/>
                    <a:pt x="725" y="2143"/>
                  </a:cubicBezTo>
                  <a:cubicBezTo>
                    <a:pt x="725" y="1702"/>
                    <a:pt x="1040" y="1418"/>
                    <a:pt x="1418" y="1418"/>
                  </a:cubicBezTo>
                  <a:close/>
                  <a:moveTo>
                    <a:pt x="4190" y="2111"/>
                  </a:moveTo>
                  <a:lnTo>
                    <a:pt x="4190" y="2804"/>
                  </a:lnTo>
                  <a:lnTo>
                    <a:pt x="3466" y="2804"/>
                  </a:lnTo>
                  <a:lnTo>
                    <a:pt x="3466" y="2111"/>
                  </a:lnTo>
                  <a:close/>
                  <a:moveTo>
                    <a:pt x="2772" y="2773"/>
                  </a:moveTo>
                  <a:lnTo>
                    <a:pt x="2772" y="3466"/>
                  </a:lnTo>
                  <a:lnTo>
                    <a:pt x="2079" y="3466"/>
                  </a:lnTo>
                  <a:cubicBezTo>
                    <a:pt x="1733" y="3466"/>
                    <a:pt x="1386" y="3624"/>
                    <a:pt x="1134" y="3844"/>
                  </a:cubicBezTo>
                  <a:cubicBezTo>
                    <a:pt x="1071" y="3718"/>
                    <a:pt x="1040" y="3592"/>
                    <a:pt x="1040" y="3466"/>
                  </a:cubicBezTo>
                  <a:cubicBezTo>
                    <a:pt x="1040" y="3088"/>
                    <a:pt x="1355" y="2773"/>
                    <a:pt x="1733" y="2773"/>
                  </a:cubicBezTo>
                  <a:close/>
                  <a:moveTo>
                    <a:pt x="5860" y="2804"/>
                  </a:moveTo>
                  <a:cubicBezTo>
                    <a:pt x="6270" y="2804"/>
                    <a:pt x="6585" y="3119"/>
                    <a:pt x="6585" y="3529"/>
                  </a:cubicBezTo>
                  <a:cubicBezTo>
                    <a:pt x="6585" y="3624"/>
                    <a:pt x="6553" y="3781"/>
                    <a:pt x="6459" y="3876"/>
                  </a:cubicBezTo>
                  <a:cubicBezTo>
                    <a:pt x="6270" y="3624"/>
                    <a:pt x="5923" y="3466"/>
                    <a:pt x="5576" y="3466"/>
                  </a:cubicBezTo>
                  <a:lnTo>
                    <a:pt x="4852" y="3466"/>
                  </a:lnTo>
                  <a:lnTo>
                    <a:pt x="4852" y="2804"/>
                  </a:lnTo>
                  <a:close/>
                  <a:moveTo>
                    <a:pt x="4190" y="3466"/>
                  </a:moveTo>
                  <a:lnTo>
                    <a:pt x="4190" y="4191"/>
                  </a:lnTo>
                  <a:lnTo>
                    <a:pt x="3466" y="4191"/>
                  </a:lnTo>
                  <a:lnTo>
                    <a:pt x="3466" y="3466"/>
                  </a:lnTo>
                  <a:close/>
                  <a:moveTo>
                    <a:pt x="4190" y="4884"/>
                  </a:moveTo>
                  <a:lnTo>
                    <a:pt x="4190" y="5608"/>
                  </a:lnTo>
                  <a:lnTo>
                    <a:pt x="3466" y="5608"/>
                  </a:lnTo>
                  <a:lnTo>
                    <a:pt x="3466" y="4884"/>
                  </a:lnTo>
                  <a:close/>
                  <a:moveTo>
                    <a:pt x="4190" y="6270"/>
                  </a:moveTo>
                  <a:lnTo>
                    <a:pt x="4190" y="7152"/>
                  </a:lnTo>
                  <a:lnTo>
                    <a:pt x="4190" y="7310"/>
                  </a:lnTo>
                  <a:cubicBezTo>
                    <a:pt x="4190" y="7499"/>
                    <a:pt x="4033" y="7656"/>
                    <a:pt x="3812" y="7656"/>
                  </a:cubicBezTo>
                  <a:cubicBezTo>
                    <a:pt x="3623" y="7656"/>
                    <a:pt x="3466" y="7499"/>
                    <a:pt x="3466" y="7310"/>
                  </a:cubicBezTo>
                  <a:lnTo>
                    <a:pt x="3466" y="7152"/>
                  </a:lnTo>
                  <a:lnTo>
                    <a:pt x="3466" y="6270"/>
                  </a:lnTo>
                  <a:close/>
                  <a:moveTo>
                    <a:pt x="5923" y="7656"/>
                  </a:moveTo>
                  <a:cubicBezTo>
                    <a:pt x="6112" y="7656"/>
                    <a:pt x="6270" y="7814"/>
                    <a:pt x="6270" y="8003"/>
                  </a:cubicBezTo>
                  <a:cubicBezTo>
                    <a:pt x="6270" y="8192"/>
                    <a:pt x="6144" y="8286"/>
                    <a:pt x="5986" y="8318"/>
                  </a:cubicBezTo>
                  <a:cubicBezTo>
                    <a:pt x="5734" y="8412"/>
                    <a:pt x="5450" y="8475"/>
                    <a:pt x="5198" y="8633"/>
                  </a:cubicBezTo>
                  <a:cubicBezTo>
                    <a:pt x="4789" y="8885"/>
                    <a:pt x="4411" y="9200"/>
                    <a:pt x="4096" y="9578"/>
                  </a:cubicBezTo>
                  <a:cubicBezTo>
                    <a:pt x="4064" y="9609"/>
                    <a:pt x="3938" y="9735"/>
                    <a:pt x="3812" y="9735"/>
                  </a:cubicBezTo>
                  <a:cubicBezTo>
                    <a:pt x="3655" y="9735"/>
                    <a:pt x="3592" y="9672"/>
                    <a:pt x="3560" y="9578"/>
                  </a:cubicBezTo>
                  <a:cubicBezTo>
                    <a:pt x="3088" y="8948"/>
                    <a:pt x="2426" y="8507"/>
                    <a:pt x="1670" y="8349"/>
                  </a:cubicBezTo>
                  <a:cubicBezTo>
                    <a:pt x="1544" y="8318"/>
                    <a:pt x="1386" y="8192"/>
                    <a:pt x="1386" y="8003"/>
                  </a:cubicBezTo>
                  <a:cubicBezTo>
                    <a:pt x="1386" y="7814"/>
                    <a:pt x="1544" y="7656"/>
                    <a:pt x="1733" y="7656"/>
                  </a:cubicBezTo>
                  <a:lnTo>
                    <a:pt x="2835" y="7656"/>
                  </a:lnTo>
                  <a:cubicBezTo>
                    <a:pt x="2993" y="8034"/>
                    <a:pt x="3371" y="8349"/>
                    <a:pt x="3844" y="8349"/>
                  </a:cubicBezTo>
                  <a:cubicBezTo>
                    <a:pt x="4316" y="8349"/>
                    <a:pt x="4663" y="8097"/>
                    <a:pt x="4820" y="7656"/>
                  </a:cubicBezTo>
                  <a:close/>
                  <a:moveTo>
                    <a:pt x="3812" y="0"/>
                  </a:moveTo>
                  <a:cubicBezTo>
                    <a:pt x="3371" y="0"/>
                    <a:pt x="2993" y="284"/>
                    <a:pt x="2835" y="725"/>
                  </a:cubicBezTo>
                  <a:lnTo>
                    <a:pt x="1386" y="725"/>
                  </a:lnTo>
                  <a:cubicBezTo>
                    <a:pt x="630" y="725"/>
                    <a:pt x="0" y="1355"/>
                    <a:pt x="0" y="2111"/>
                  </a:cubicBezTo>
                  <a:cubicBezTo>
                    <a:pt x="0" y="2489"/>
                    <a:pt x="158" y="2804"/>
                    <a:pt x="410" y="3088"/>
                  </a:cubicBezTo>
                  <a:cubicBezTo>
                    <a:pt x="378" y="3214"/>
                    <a:pt x="315" y="3340"/>
                    <a:pt x="315" y="3466"/>
                  </a:cubicBezTo>
                  <a:cubicBezTo>
                    <a:pt x="315" y="3876"/>
                    <a:pt x="473" y="4191"/>
                    <a:pt x="725" y="4474"/>
                  </a:cubicBezTo>
                  <a:cubicBezTo>
                    <a:pt x="693" y="4569"/>
                    <a:pt x="630" y="4726"/>
                    <a:pt x="630" y="4852"/>
                  </a:cubicBezTo>
                  <a:cubicBezTo>
                    <a:pt x="630" y="5608"/>
                    <a:pt x="1260" y="6238"/>
                    <a:pt x="2016" y="6238"/>
                  </a:cubicBezTo>
                  <a:cubicBezTo>
                    <a:pt x="2205" y="6238"/>
                    <a:pt x="2363" y="6081"/>
                    <a:pt x="2363" y="5892"/>
                  </a:cubicBezTo>
                  <a:cubicBezTo>
                    <a:pt x="2363" y="5671"/>
                    <a:pt x="2205" y="5514"/>
                    <a:pt x="2016" y="5514"/>
                  </a:cubicBezTo>
                  <a:cubicBezTo>
                    <a:pt x="1638" y="5514"/>
                    <a:pt x="1323" y="5199"/>
                    <a:pt x="1323" y="4821"/>
                  </a:cubicBezTo>
                  <a:cubicBezTo>
                    <a:pt x="1323" y="4411"/>
                    <a:pt x="1638" y="4096"/>
                    <a:pt x="2016" y="4096"/>
                  </a:cubicBezTo>
                  <a:lnTo>
                    <a:pt x="2741" y="4096"/>
                  </a:lnTo>
                  <a:lnTo>
                    <a:pt x="2741" y="6869"/>
                  </a:lnTo>
                  <a:lnTo>
                    <a:pt x="1701" y="6869"/>
                  </a:lnTo>
                  <a:cubicBezTo>
                    <a:pt x="1103" y="6869"/>
                    <a:pt x="693" y="7341"/>
                    <a:pt x="693" y="7877"/>
                  </a:cubicBezTo>
                  <a:cubicBezTo>
                    <a:pt x="693" y="8349"/>
                    <a:pt x="1008" y="8759"/>
                    <a:pt x="1481" y="8916"/>
                  </a:cubicBezTo>
                  <a:cubicBezTo>
                    <a:pt x="2048" y="9074"/>
                    <a:pt x="2615" y="9420"/>
                    <a:pt x="2961" y="9893"/>
                  </a:cubicBezTo>
                  <a:cubicBezTo>
                    <a:pt x="3151" y="10177"/>
                    <a:pt x="3466" y="10334"/>
                    <a:pt x="3781" y="10334"/>
                  </a:cubicBezTo>
                  <a:cubicBezTo>
                    <a:pt x="4096" y="10334"/>
                    <a:pt x="4411" y="10177"/>
                    <a:pt x="4631" y="9924"/>
                  </a:cubicBezTo>
                  <a:cubicBezTo>
                    <a:pt x="4852" y="9609"/>
                    <a:pt x="5135" y="9389"/>
                    <a:pt x="5482" y="9168"/>
                  </a:cubicBezTo>
                  <a:cubicBezTo>
                    <a:pt x="5671" y="9074"/>
                    <a:pt x="5891" y="8979"/>
                    <a:pt x="6112" y="8948"/>
                  </a:cubicBezTo>
                  <a:cubicBezTo>
                    <a:pt x="6585" y="8822"/>
                    <a:pt x="6900" y="8444"/>
                    <a:pt x="6900" y="7971"/>
                  </a:cubicBezTo>
                  <a:cubicBezTo>
                    <a:pt x="6900" y="7373"/>
                    <a:pt x="6427" y="6932"/>
                    <a:pt x="5891" y="6932"/>
                  </a:cubicBezTo>
                  <a:lnTo>
                    <a:pt x="4852" y="6932"/>
                  </a:lnTo>
                  <a:lnTo>
                    <a:pt x="4852" y="4191"/>
                  </a:lnTo>
                  <a:lnTo>
                    <a:pt x="5576" y="4191"/>
                  </a:lnTo>
                  <a:cubicBezTo>
                    <a:pt x="5954" y="4191"/>
                    <a:pt x="6270" y="4506"/>
                    <a:pt x="6270" y="4884"/>
                  </a:cubicBezTo>
                  <a:cubicBezTo>
                    <a:pt x="6270" y="5293"/>
                    <a:pt x="5954" y="5608"/>
                    <a:pt x="5576" y="5608"/>
                  </a:cubicBezTo>
                  <a:cubicBezTo>
                    <a:pt x="5356" y="5608"/>
                    <a:pt x="5198" y="5766"/>
                    <a:pt x="5198" y="5955"/>
                  </a:cubicBezTo>
                  <a:cubicBezTo>
                    <a:pt x="5198" y="6144"/>
                    <a:pt x="5356" y="6301"/>
                    <a:pt x="5576" y="6301"/>
                  </a:cubicBezTo>
                  <a:cubicBezTo>
                    <a:pt x="6301" y="6301"/>
                    <a:pt x="6931" y="5671"/>
                    <a:pt x="6931" y="4915"/>
                  </a:cubicBezTo>
                  <a:cubicBezTo>
                    <a:pt x="6931" y="4758"/>
                    <a:pt x="6900" y="4663"/>
                    <a:pt x="6868" y="4537"/>
                  </a:cubicBezTo>
                  <a:cubicBezTo>
                    <a:pt x="7152" y="4254"/>
                    <a:pt x="7246" y="3939"/>
                    <a:pt x="7246" y="3561"/>
                  </a:cubicBezTo>
                  <a:cubicBezTo>
                    <a:pt x="7246" y="3403"/>
                    <a:pt x="7215" y="3277"/>
                    <a:pt x="7183" y="3151"/>
                  </a:cubicBezTo>
                  <a:cubicBezTo>
                    <a:pt x="7498" y="2836"/>
                    <a:pt x="7656" y="2489"/>
                    <a:pt x="7656" y="2111"/>
                  </a:cubicBezTo>
                  <a:cubicBezTo>
                    <a:pt x="7656" y="1355"/>
                    <a:pt x="7026" y="725"/>
                    <a:pt x="6270" y="725"/>
                  </a:cubicBezTo>
                  <a:lnTo>
                    <a:pt x="4820" y="725"/>
                  </a:lnTo>
                  <a:cubicBezTo>
                    <a:pt x="4663" y="316"/>
                    <a:pt x="4285" y="0"/>
                    <a:pt x="38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52" name="Google Shape;6652;p72"/>
            <p:cNvSpPr/>
            <p:nvPr/>
          </p:nvSpPr>
          <p:spPr>
            <a:xfrm>
              <a:off x="-23229150" y="2710600"/>
              <a:ext cx="296175" cy="296175"/>
            </a:xfrm>
            <a:custGeom>
              <a:avLst/>
              <a:gdLst/>
              <a:ahLst/>
              <a:cxnLst/>
              <a:rect l="l" t="t" r="r" b="b"/>
              <a:pathLst>
                <a:path w="11847" h="11847" extrusionOk="0">
                  <a:moveTo>
                    <a:pt x="10775" y="693"/>
                  </a:moveTo>
                  <a:cubicBezTo>
                    <a:pt x="10996" y="693"/>
                    <a:pt x="11153" y="851"/>
                    <a:pt x="11153" y="1072"/>
                  </a:cubicBezTo>
                  <a:lnTo>
                    <a:pt x="11153" y="10775"/>
                  </a:lnTo>
                  <a:cubicBezTo>
                    <a:pt x="11153" y="10996"/>
                    <a:pt x="10996" y="11153"/>
                    <a:pt x="10775" y="11153"/>
                  </a:cubicBezTo>
                  <a:lnTo>
                    <a:pt x="1072" y="11153"/>
                  </a:lnTo>
                  <a:cubicBezTo>
                    <a:pt x="851" y="11153"/>
                    <a:pt x="694" y="10996"/>
                    <a:pt x="694" y="10775"/>
                  </a:cubicBezTo>
                  <a:lnTo>
                    <a:pt x="694" y="1072"/>
                  </a:lnTo>
                  <a:cubicBezTo>
                    <a:pt x="694" y="851"/>
                    <a:pt x="851" y="693"/>
                    <a:pt x="1072" y="693"/>
                  </a:cubicBezTo>
                  <a:close/>
                  <a:moveTo>
                    <a:pt x="1072" y="0"/>
                  </a:moveTo>
                  <a:cubicBezTo>
                    <a:pt x="473" y="0"/>
                    <a:pt x="1" y="473"/>
                    <a:pt x="1" y="1072"/>
                  </a:cubicBezTo>
                  <a:lnTo>
                    <a:pt x="1" y="10775"/>
                  </a:lnTo>
                  <a:cubicBezTo>
                    <a:pt x="1" y="11374"/>
                    <a:pt x="473" y="11846"/>
                    <a:pt x="1072" y="11846"/>
                  </a:cubicBezTo>
                  <a:lnTo>
                    <a:pt x="10807" y="11846"/>
                  </a:lnTo>
                  <a:cubicBezTo>
                    <a:pt x="11374" y="11846"/>
                    <a:pt x="11847" y="11374"/>
                    <a:pt x="11847" y="10775"/>
                  </a:cubicBezTo>
                  <a:lnTo>
                    <a:pt x="11847" y="1072"/>
                  </a:lnTo>
                  <a:cubicBezTo>
                    <a:pt x="11847" y="473"/>
                    <a:pt x="11342" y="0"/>
                    <a:pt x="108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53" name="Google Shape;6653;p72"/>
          <p:cNvSpPr/>
          <p:nvPr/>
        </p:nvSpPr>
        <p:spPr>
          <a:xfrm>
            <a:off x="8867399" y="5697939"/>
            <a:ext cx="472181" cy="470907"/>
          </a:xfrm>
          <a:custGeom>
            <a:avLst/>
            <a:gdLst/>
            <a:ahLst/>
            <a:cxnLst/>
            <a:rect l="l" t="t" r="r" b="b"/>
            <a:pathLst>
              <a:path w="11847" h="11815" extrusionOk="0">
                <a:moveTo>
                  <a:pt x="5829" y="662"/>
                </a:moveTo>
                <a:cubicBezTo>
                  <a:pt x="6018" y="662"/>
                  <a:pt x="6176" y="820"/>
                  <a:pt x="6176" y="1009"/>
                </a:cubicBezTo>
                <a:cubicBezTo>
                  <a:pt x="6176" y="1229"/>
                  <a:pt x="6018" y="1387"/>
                  <a:pt x="5829" y="1387"/>
                </a:cubicBezTo>
                <a:cubicBezTo>
                  <a:pt x="5640" y="1387"/>
                  <a:pt x="5483" y="1229"/>
                  <a:pt x="5483" y="1009"/>
                </a:cubicBezTo>
                <a:cubicBezTo>
                  <a:pt x="5483" y="820"/>
                  <a:pt x="5640" y="662"/>
                  <a:pt x="5829" y="662"/>
                </a:cubicBezTo>
                <a:close/>
                <a:moveTo>
                  <a:pt x="3225" y="2798"/>
                </a:moveTo>
                <a:cubicBezTo>
                  <a:pt x="3766" y="2798"/>
                  <a:pt x="4911" y="3708"/>
                  <a:pt x="5483" y="4159"/>
                </a:cubicBezTo>
                <a:lnTo>
                  <a:pt x="5483" y="4884"/>
                </a:lnTo>
                <a:lnTo>
                  <a:pt x="4727" y="4884"/>
                </a:lnTo>
                <a:cubicBezTo>
                  <a:pt x="4758" y="4758"/>
                  <a:pt x="4790" y="4632"/>
                  <a:pt x="4790" y="4537"/>
                </a:cubicBezTo>
                <a:cubicBezTo>
                  <a:pt x="4790" y="4317"/>
                  <a:pt x="4632" y="4159"/>
                  <a:pt x="4443" y="4159"/>
                </a:cubicBezTo>
                <a:cubicBezTo>
                  <a:pt x="4254" y="4159"/>
                  <a:pt x="4097" y="4317"/>
                  <a:pt x="4097" y="4537"/>
                </a:cubicBezTo>
                <a:cubicBezTo>
                  <a:pt x="4097" y="4726"/>
                  <a:pt x="3939" y="4884"/>
                  <a:pt x="3750" y="4884"/>
                </a:cubicBezTo>
                <a:lnTo>
                  <a:pt x="3435" y="4884"/>
                </a:lnTo>
                <a:cubicBezTo>
                  <a:pt x="3655" y="4569"/>
                  <a:pt x="3813" y="4254"/>
                  <a:pt x="3908" y="3939"/>
                </a:cubicBezTo>
                <a:cubicBezTo>
                  <a:pt x="3971" y="3750"/>
                  <a:pt x="3844" y="3529"/>
                  <a:pt x="3655" y="3498"/>
                </a:cubicBezTo>
                <a:cubicBezTo>
                  <a:pt x="3617" y="3485"/>
                  <a:pt x="3578" y="3478"/>
                  <a:pt x="3541" y="3478"/>
                </a:cubicBezTo>
                <a:cubicBezTo>
                  <a:pt x="3395" y="3478"/>
                  <a:pt x="3265" y="3574"/>
                  <a:pt x="3214" y="3750"/>
                </a:cubicBezTo>
                <a:cubicBezTo>
                  <a:pt x="3025" y="4380"/>
                  <a:pt x="2710" y="4726"/>
                  <a:pt x="2269" y="4884"/>
                </a:cubicBezTo>
                <a:lnTo>
                  <a:pt x="1482" y="4884"/>
                </a:lnTo>
                <a:cubicBezTo>
                  <a:pt x="2049" y="4411"/>
                  <a:pt x="2364" y="3907"/>
                  <a:pt x="2584" y="3466"/>
                </a:cubicBezTo>
                <a:cubicBezTo>
                  <a:pt x="2836" y="3057"/>
                  <a:pt x="2962" y="2836"/>
                  <a:pt x="3151" y="2805"/>
                </a:cubicBezTo>
                <a:cubicBezTo>
                  <a:pt x="3174" y="2800"/>
                  <a:pt x="3199" y="2798"/>
                  <a:pt x="3225" y="2798"/>
                </a:cubicBezTo>
                <a:close/>
                <a:moveTo>
                  <a:pt x="8424" y="2770"/>
                </a:moveTo>
                <a:cubicBezTo>
                  <a:pt x="8442" y="2770"/>
                  <a:pt x="8459" y="2771"/>
                  <a:pt x="8476" y="2773"/>
                </a:cubicBezTo>
                <a:cubicBezTo>
                  <a:pt x="8665" y="2836"/>
                  <a:pt x="8791" y="3057"/>
                  <a:pt x="9011" y="3466"/>
                </a:cubicBezTo>
                <a:cubicBezTo>
                  <a:pt x="9263" y="3876"/>
                  <a:pt x="9578" y="4411"/>
                  <a:pt x="10082" y="4884"/>
                </a:cubicBezTo>
                <a:lnTo>
                  <a:pt x="9326" y="4884"/>
                </a:lnTo>
                <a:cubicBezTo>
                  <a:pt x="8885" y="4726"/>
                  <a:pt x="8570" y="4348"/>
                  <a:pt x="8381" y="3750"/>
                </a:cubicBezTo>
                <a:cubicBezTo>
                  <a:pt x="8328" y="3564"/>
                  <a:pt x="8164" y="3490"/>
                  <a:pt x="8019" y="3490"/>
                </a:cubicBezTo>
                <a:cubicBezTo>
                  <a:pt x="7992" y="3490"/>
                  <a:pt x="7965" y="3493"/>
                  <a:pt x="7940" y="3498"/>
                </a:cubicBezTo>
                <a:cubicBezTo>
                  <a:pt x="7783" y="3529"/>
                  <a:pt x="7688" y="3781"/>
                  <a:pt x="7720" y="3939"/>
                </a:cubicBezTo>
                <a:cubicBezTo>
                  <a:pt x="7783" y="4191"/>
                  <a:pt x="7940" y="4569"/>
                  <a:pt x="8192" y="4884"/>
                </a:cubicBezTo>
                <a:lnTo>
                  <a:pt x="7877" y="4884"/>
                </a:lnTo>
                <a:cubicBezTo>
                  <a:pt x="7688" y="4884"/>
                  <a:pt x="7531" y="4726"/>
                  <a:pt x="7531" y="4537"/>
                </a:cubicBezTo>
                <a:cubicBezTo>
                  <a:pt x="7531" y="4317"/>
                  <a:pt x="7373" y="4159"/>
                  <a:pt x="7153" y="4159"/>
                </a:cubicBezTo>
                <a:cubicBezTo>
                  <a:pt x="6963" y="4159"/>
                  <a:pt x="6806" y="4317"/>
                  <a:pt x="6806" y="4537"/>
                </a:cubicBezTo>
                <a:cubicBezTo>
                  <a:pt x="6806" y="4632"/>
                  <a:pt x="6837" y="4758"/>
                  <a:pt x="6900" y="4884"/>
                </a:cubicBezTo>
                <a:lnTo>
                  <a:pt x="6144" y="4884"/>
                </a:lnTo>
                <a:lnTo>
                  <a:pt x="6144" y="4159"/>
                </a:lnTo>
                <a:cubicBezTo>
                  <a:pt x="6663" y="3701"/>
                  <a:pt x="7863" y="2770"/>
                  <a:pt x="8424" y="2770"/>
                </a:cubicBezTo>
                <a:close/>
                <a:moveTo>
                  <a:pt x="7216" y="5545"/>
                </a:moveTo>
                <a:cubicBezTo>
                  <a:pt x="7405" y="5545"/>
                  <a:pt x="7562" y="5703"/>
                  <a:pt x="7562" y="5892"/>
                </a:cubicBezTo>
                <a:cubicBezTo>
                  <a:pt x="7562" y="6113"/>
                  <a:pt x="7405" y="6270"/>
                  <a:pt x="7216" y="6270"/>
                </a:cubicBezTo>
                <a:lnTo>
                  <a:pt x="6176" y="6270"/>
                </a:lnTo>
                <a:lnTo>
                  <a:pt x="6176" y="5545"/>
                </a:lnTo>
                <a:close/>
                <a:moveTo>
                  <a:pt x="5483" y="6963"/>
                </a:moveTo>
                <a:lnTo>
                  <a:pt x="5483" y="7688"/>
                </a:lnTo>
                <a:lnTo>
                  <a:pt x="4443" y="7688"/>
                </a:lnTo>
                <a:cubicBezTo>
                  <a:pt x="4254" y="7688"/>
                  <a:pt x="4097" y="7530"/>
                  <a:pt x="4097" y="7310"/>
                </a:cubicBezTo>
                <a:cubicBezTo>
                  <a:pt x="4097" y="7121"/>
                  <a:pt x="4254" y="6963"/>
                  <a:pt x="4443" y="6963"/>
                </a:cubicBezTo>
                <a:close/>
                <a:moveTo>
                  <a:pt x="6491" y="8349"/>
                </a:moveTo>
                <a:cubicBezTo>
                  <a:pt x="6680" y="8349"/>
                  <a:pt x="6837" y="8507"/>
                  <a:pt x="6837" y="8696"/>
                </a:cubicBezTo>
                <a:cubicBezTo>
                  <a:pt x="6837" y="8885"/>
                  <a:pt x="6680" y="9042"/>
                  <a:pt x="6491" y="9042"/>
                </a:cubicBezTo>
                <a:lnTo>
                  <a:pt x="6144" y="9042"/>
                </a:lnTo>
                <a:lnTo>
                  <a:pt x="6144" y="8349"/>
                </a:lnTo>
                <a:close/>
                <a:moveTo>
                  <a:pt x="5483" y="9736"/>
                </a:moveTo>
                <a:lnTo>
                  <a:pt x="5483" y="10429"/>
                </a:lnTo>
                <a:lnTo>
                  <a:pt x="5105" y="10429"/>
                </a:lnTo>
                <a:cubicBezTo>
                  <a:pt x="4916" y="10429"/>
                  <a:pt x="4758" y="10271"/>
                  <a:pt x="4758" y="10082"/>
                </a:cubicBezTo>
                <a:cubicBezTo>
                  <a:pt x="4758" y="9893"/>
                  <a:pt x="4916" y="9736"/>
                  <a:pt x="5105" y="9736"/>
                </a:cubicBezTo>
                <a:close/>
                <a:moveTo>
                  <a:pt x="5861" y="1"/>
                </a:moveTo>
                <a:cubicBezTo>
                  <a:pt x="5325" y="1"/>
                  <a:pt x="4853" y="473"/>
                  <a:pt x="4853" y="1009"/>
                </a:cubicBezTo>
                <a:cubicBezTo>
                  <a:pt x="4853" y="1450"/>
                  <a:pt x="5136" y="1828"/>
                  <a:pt x="5546" y="1985"/>
                </a:cubicBezTo>
                <a:lnTo>
                  <a:pt x="5546" y="3309"/>
                </a:lnTo>
                <a:cubicBezTo>
                  <a:pt x="4475" y="2440"/>
                  <a:pt x="3776" y="2104"/>
                  <a:pt x="3254" y="2104"/>
                </a:cubicBezTo>
                <a:cubicBezTo>
                  <a:pt x="3208" y="2104"/>
                  <a:pt x="3163" y="2106"/>
                  <a:pt x="3120" y="2111"/>
                </a:cubicBezTo>
                <a:cubicBezTo>
                  <a:pt x="2616" y="2206"/>
                  <a:pt x="2332" y="2678"/>
                  <a:pt x="2080" y="3151"/>
                </a:cubicBezTo>
                <a:cubicBezTo>
                  <a:pt x="1734" y="3750"/>
                  <a:pt x="1356" y="4474"/>
                  <a:pt x="253" y="4915"/>
                </a:cubicBezTo>
                <a:cubicBezTo>
                  <a:pt x="95" y="4978"/>
                  <a:pt x="1" y="5167"/>
                  <a:pt x="32" y="5325"/>
                </a:cubicBezTo>
                <a:cubicBezTo>
                  <a:pt x="95" y="5482"/>
                  <a:pt x="190" y="5577"/>
                  <a:pt x="410" y="5577"/>
                </a:cubicBezTo>
                <a:lnTo>
                  <a:pt x="5609" y="5577"/>
                </a:lnTo>
                <a:lnTo>
                  <a:pt x="5609" y="6302"/>
                </a:lnTo>
                <a:lnTo>
                  <a:pt x="4569" y="6302"/>
                </a:lnTo>
                <a:cubicBezTo>
                  <a:pt x="3971" y="6302"/>
                  <a:pt x="3561" y="6774"/>
                  <a:pt x="3561" y="7310"/>
                </a:cubicBezTo>
                <a:cubicBezTo>
                  <a:pt x="3561" y="7908"/>
                  <a:pt x="4034" y="8349"/>
                  <a:pt x="4569" y="8349"/>
                </a:cubicBezTo>
                <a:lnTo>
                  <a:pt x="5609" y="8349"/>
                </a:lnTo>
                <a:lnTo>
                  <a:pt x="5609" y="9042"/>
                </a:lnTo>
                <a:lnTo>
                  <a:pt x="5231" y="9042"/>
                </a:lnTo>
                <a:cubicBezTo>
                  <a:pt x="4664" y="9042"/>
                  <a:pt x="4223" y="9515"/>
                  <a:pt x="4223" y="10082"/>
                </a:cubicBezTo>
                <a:cubicBezTo>
                  <a:pt x="4223" y="10681"/>
                  <a:pt x="4695" y="11090"/>
                  <a:pt x="5231" y="11090"/>
                </a:cubicBezTo>
                <a:lnTo>
                  <a:pt x="5609" y="11090"/>
                </a:lnTo>
                <a:lnTo>
                  <a:pt x="5609" y="11468"/>
                </a:lnTo>
                <a:cubicBezTo>
                  <a:pt x="5609" y="11657"/>
                  <a:pt x="5766" y="11815"/>
                  <a:pt x="5955" y="11815"/>
                </a:cubicBezTo>
                <a:cubicBezTo>
                  <a:pt x="6144" y="11815"/>
                  <a:pt x="6302" y="11657"/>
                  <a:pt x="6302" y="11468"/>
                </a:cubicBezTo>
                <a:lnTo>
                  <a:pt x="6302" y="11090"/>
                </a:lnTo>
                <a:lnTo>
                  <a:pt x="6648" y="11090"/>
                </a:lnTo>
                <a:cubicBezTo>
                  <a:pt x="6869" y="11090"/>
                  <a:pt x="7027" y="10933"/>
                  <a:pt x="7027" y="10744"/>
                </a:cubicBezTo>
                <a:cubicBezTo>
                  <a:pt x="7027" y="10555"/>
                  <a:pt x="6869" y="10397"/>
                  <a:pt x="6648" y="10397"/>
                </a:cubicBezTo>
                <a:lnTo>
                  <a:pt x="6302" y="10397"/>
                </a:lnTo>
                <a:lnTo>
                  <a:pt x="6302" y="9673"/>
                </a:lnTo>
                <a:lnTo>
                  <a:pt x="6648" y="9673"/>
                </a:lnTo>
                <a:cubicBezTo>
                  <a:pt x="7247" y="9673"/>
                  <a:pt x="7688" y="9200"/>
                  <a:pt x="7688" y="8664"/>
                </a:cubicBezTo>
                <a:cubicBezTo>
                  <a:pt x="7688" y="8066"/>
                  <a:pt x="7216" y="7625"/>
                  <a:pt x="6648" y="7625"/>
                </a:cubicBezTo>
                <a:lnTo>
                  <a:pt x="6302" y="7625"/>
                </a:lnTo>
                <a:lnTo>
                  <a:pt x="6302" y="6932"/>
                </a:lnTo>
                <a:lnTo>
                  <a:pt x="7342" y="6932"/>
                </a:lnTo>
                <a:cubicBezTo>
                  <a:pt x="7909" y="6932"/>
                  <a:pt x="8350" y="6459"/>
                  <a:pt x="8350" y="5892"/>
                </a:cubicBezTo>
                <a:cubicBezTo>
                  <a:pt x="8350" y="5766"/>
                  <a:pt x="8318" y="5671"/>
                  <a:pt x="8287" y="5545"/>
                </a:cubicBezTo>
                <a:lnTo>
                  <a:pt x="11469" y="5545"/>
                </a:lnTo>
                <a:cubicBezTo>
                  <a:pt x="11626" y="5545"/>
                  <a:pt x="11784" y="5419"/>
                  <a:pt x="11815" y="5262"/>
                </a:cubicBezTo>
                <a:cubicBezTo>
                  <a:pt x="11847" y="5104"/>
                  <a:pt x="11658" y="4947"/>
                  <a:pt x="11500" y="4915"/>
                </a:cubicBezTo>
                <a:cubicBezTo>
                  <a:pt x="10398" y="4474"/>
                  <a:pt x="9988" y="3750"/>
                  <a:pt x="9641" y="3151"/>
                </a:cubicBezTo>
                <a:cubicBezTo>
                  <a:pt x="9389" y="2678"/>
                  <a:pt x="9137" y="2237"/>
                  <a:pt x="8633" y="2111"/>
                </a:cubicBezTo>
                <a:cubicBezTo>
                  <a:pt x="8563" y="2096"/>
                  <a:pt x="8491" y="2088"/>
                  <a:pt x="8417" y="2088"/>
                </a:cubicBezTo>
                <a:cubicBezTo>
                  <a:pt x="7893" y="2088"/>
                  <a:pt x="7252" y="2481"/>
                  <a:pt x="6176" y="3309"/>
                </a:cubicBezTo>
                <a:lnTo>
                  <a:pt x="6176" y="1985"/>
                </a:lnTo>
                <a:cubicBezTo>
                  <a:pt x="6585" y="1828"/>
                  <a:pt x="6900" y="1481"/>
                  <a:pt x="6900" y="1009"/>
                </a:cubicBezTo>
                <a:cubicBezTo>
                  <a:pt x="6900" y="410"/>
                  <a:pt x="6428" y="1"/>
                  <a:pt x="58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6657"/>
        <p:cNvGrpSpPr/>
        <p:nvPr/>
      </p:nvGrpSpPr>
      <p:grpSpPr>
        <a:xfrm>
          <a:off x="0" y="0"/>
          <a:ext cx="0" cy="0"/>
          <a:chOff x="0" y="0"/>
          <a:chExt cx="0" cy="0"/>
        </a:xfrm>
      </p:grpSpPr>
      <p:sp>
        <p:nvSpPr>
          <p:cNvPr id="6658" name="Google Shape;6658;p73"/>
          <p:cNvSpPr txBox="1">
            <a:spLocks noGrp="1"/>
          </p:cNvSpPr>
          <p:nvPr>
            <p:ph type="title" idx="4294967295"/>
          </p:nvPr>
        </p:nvSpPr>
        <p:spPr>
          <a:xfrm>
            <a:off x="1132900" y="1258367"/>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Business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6659" name="Google Shape;6659;p73"/>
          <p:cNvSpPr txBox="1">
            <a:spLocks noGrp="1"/>
          </p:cNvSpPr>
          <p:nvPr>
            <p:ph type="title" idx="4294967295"/>
          </p:nvPr>
        </p:nvSpPr>
        <p:spPr>
          <a:xfrm>
            <a:off x="6477867" y="1258367"/>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Teamwork Icons</a:t>
            </a:r>
            <a:endParaRPr>
              <a:solidFill>
                <a:srgbClr val="FFFFFF"/>
              </a:solidFill>
              <a:latin typeface="Arial"/>
              <a:ea typeface="Arial"/>
              <a:cs typeface="Arial"/>
              <a:sym typeface="Arial"/>
            </a:endParaRPr>
          </a:p>
        </p:txBody>
      </p:sp>
      <p:grpSp>
        <p:nvGrpSpPr>
          <p:cNvPr id="6660" name="Google Shape;6660;p73"/>
          <p:cNvGrpSpPr/>
          <p:nvPr/>
        </p:nvGrpSpPr>
        <p:grpSpPr>
          <a:xfrm>
            <a:off x="1139158" y="2055627"/>
            <a:ext cx="488359" cy="488320"/>
            <a:chOff x="-65131525" y="1914325"/>
            <a:chExt cx="316650" cy="316625"/>
          </a:xfrm>
        </p:grpSpPr>
        <p:sp>
          <p:nvSpPr>
            <p:cNvPr id="6661" name="Google Shape;6661;p73"/>
            <p:cNvSpPr/>
            <p:nvPr/>
          </p:nvSpPr>
          <p:spPr>
            <a:xfrm>
              <a:off x="-65024400" y="1949750"/>
              <a:ext cx="103175" cy="247350"/>
            </a:xfrm>
            <a:custGeom>
              <a:avLst/>
              <a:gdLst/>
              <a:ahLst/>
              <a:cxnLst/>
              <a:rect l="l" t="t" r="r" b="b"/>
              <a:pathLst>
                <a:path w="4127" h="9894" extrusionOk="0">
                  <a:moveTo>
                    <a:pt x="2048" y="1"/>
                  </a:moveTo>
                  <a:cubicBezTo>
                    <a:pt x="1859" y="1"/>
                    <a:pt x="1638" y="190"/>
                    <a:pt x="1638" y="379"/>
                  </a:cubicBezTo>
                  <a:lnTo>
                    <a:pt x="1638" y="851"/>
                  </a:lnTo>
                  <a:cubicBezTo>
                    <a:pt x="725" y="1040"/>
                    <a:pt x="0" y="1891"/>
                    <a:pt x="0" y="2868"/>
                  </a:cubicBezTo>
                  <a:cubicBezTo>
                    <a:pt x="0" y="3970"/>
                    <a:pt x="977" y="4632"/>
                    <a:pt x="1827" y="5262"/>
                  </a:cubicBezTo>
                  <a:cubicBezTo>
                    <a:pt x="2552" y="5829"/>
                    <a:pt x="3308" y="6333"/>
                    <a:pt x="3308" y="6995"/>
                  </a:cubicBezTo>
                  <a:cubicBezTo>
                    <a:pt x="3308" y="7656"/>
                    <a:pt x="2772" y="8255"/>
                    <a:pt x="2079" y="8255"/>
                  </a:cubicBezTo>
                  <a:cubicBezTo>
                    <a:pt x="1418" y="8255"/>
                    <a:pt x="851" y="7688"/>
                    <a:pt x="851" y="6995"/>
                  </a:cubicBezTo>
                  <a:cubicBezTo>
                    <a:pt x="851" y="6774"/>
                    <a:pt x="662" y="6617"/>
                    <a:pt x="441" y="6617"/>
                  </a:cubicBezTo>
                  <a:cubicBezTo>
                    <a:pt x="189" y="6617"/>
                    <a:pt x="32" y="6806"/>
                    <a:pt x="32" y="6995"/>
                  </a:cubicBezTo>
                  <a:cubicBezTo>
                    <a:pt x="32" y="7971"/>
                    <a:pt x="756" y="8854"/>
                    <a:pt x="1701" y="9011"/>
                  </a:cubicBezTo>
                  <a:lnTo>
                    <a:pt x="1701" y="9484"/>
                  </a:lnTo>
                  <a:cubicBezTo>
                    <a:pt x="1701" y="9704"/>
                    <a:pt x="1890" y="9893"/>
                    <a:pt x="2079" y="9893"/>
                  </a:cubicBezTo>
                  <a:cubicBezTo>
                    <a:pt x="2268" y="9893"/>
                    <a:pt x="2489" y="9704"/>
                    <a:pt x="2489" y="9484"/>
                  </a:cubicBezTo>
                  <a:lnTo>
                    <a:pt x="2489" y="9011"/>
                  </a:lnTo>
                  <a:cubicBezTo>
                    <a:pt x="3434" y="8791"/>
                    <a:pt x="4127" y="7971"/>
                    <a:pt x="4127" y="6995"/>
                  </a:cubicBezTo>
                  <a:cubicBezTo>
                    <a:pt x="4127" y="5892"/>
                    <a:pt x="3151" y="5231"/>
                    <a:pt x="2331" y="4600"/>
                  </a:cubicBezTo>
                  <a:cubicBezTo>
                    <a:pt x="1575" y="4033"/>
                    <a:pt x="819" y="3529"/>
                    <a:pt x="819" y="2868"/>
                  </a:cubicBezTo>
                  <a:cubicBezTo>
                    <a:pt x="788" y="2143"/>
                    <a:pt x="1386" y="1607"/>
                    <a:pt x="2048" y="1607"/>
                  </a:cubicBezTo>
                  <a:cubicBezTo>
                    <a:pt x="2709" y="1607"/>
                    <a:pt x="3277" y="2143"/>
                    <a:pt x="3277" y="2868"/>
                  </a:cubicBezTo>
                  <a:cubicBezTo>
                    <a:pt x="3277" y="3088"/>
                    <a:pt x="3466" y="3246"/>
                    <a:pt x="3686" y="3246"/>
                  </a:cubicBezTo>
                  <a:cubicBezTo>
                    <a:pt x="3938" y="3246"/>
                    <a:pt x="4096" y="3057"/>
                    <a:pt x="4096" y="2868"/>
                  </a:cubicBezTo>
                  <a:cubicBezTo>
                    <a:pt x="4096" y="1891"/>
                    <a:pt x="3371" y="1009"/>
                    <a:pt x="2426" y="851"/>
                  </a:cubicBezTo>
                  <a:lnTo>
                    <a:pt x="2426" y="379"/>
                  </a:lnTo>
                  <a:cubicBezTo>
                    <a:pt x="2426" y="158"/>
                    <a:pt x="2237"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2" name="Google Shape;6662;p73"/>
            <p:cNvSpPr/>
            <p:nvPr/>
          </p:nvSpPr>
          <p:spPr>
            <a:xfrm>
              <a:off x="-65131525" y="1914325"/>
              <a:ext cx="316650" cy="316625"/>
            </a:xfrm>
            <a:custGeom>
              <a:avLst/>
              <a:gdLst/>
              <a:ahLst/>
              <a:cxnLst/>
              <a:rect l="l" t="t" r="r" b="b"/>
              <a:pathLst>
                <a:path w="12666" h="12665" extrusionOk="0">
                  <a:moveTo>
                    <a:pt x="6333" y="819"/>
                  </a:moveTo>
                  <a:cubicBezTo>
                    <a:pt x="9357" y="819"/>
                    <a:pt x="11846" y="3308"/>
                    <a:pt x="11846" y="6332"/>
                  </a:cubicBezTo>
                  <a:cubicBezTo>
                    <a:pt x="11846" y="9357"/>
                    <a:pt x="9357" y="11846"/>
                    <a:pt x="6333" y="11846"/>
                  </a:cubicBezTo>
                  <a:cubicBezTo>
                    <a:pt x="3308" y="11846"/>
                    <a:pt x="819" y="9357"/>
                    <a:pt x="819" y="6332"/>
                  </a:cubicBezTo>
                  <a:cubicBezTo>
                    <a:pt x="819" y="3308"/>
                    <a:pt x="3308" y="819"/>
                    <a:pt x="6333" y="819"/>
                  </a:cubicBezTo>
                  <a:close/>
                  <a:moveTo>
                    <a:pt x="6333" y="0"/>
                  </a:moveTo>
                  <a:cubicBezTo>
                    <a:pt x="2836" y="0"/>
                    <a:pt x="0" y="2835"/>
                    <a:pt x="0" y="6332"/>
                  </a:cubicBezTo>
                  <a:cubicBezTo>
                    <a:pt x="0" y="9830"/>
                    <a:pt x="2836" y="12665"/>
                    <a:pt x="6333" y="12665"/>
                  </a:cubicBezTo>
                  <a:cubicBezTo>
                    <a:pt x="9830" y="12665"/>
                    <a:pt x="12665" y="9830"/>
                    <a:pt x="12665" y="6332"/>
                  </a:cubicBezTo>
                  <a:cubicBezTo>
                    <a:pt x="12665" y="2835"/>
                    <a:pt x="9830" y="0"/>
                    <a:pt x="6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63" name="Google Shape;6663;p73"/>
          <p:cNvGrpSpPr/>
          <p:nvPr/>
        </p:nvGrpSpPr>
        <p:grpSpPr>
          <a:xfrm>
            <a:off x="1139158" y="2696010"/>
            <a:ext cx="488359" cy="488359"/>
            <a:chOff x="-65131525" y="2281350"/>
            <a:chExt cx="316650" cy="316650"/>
          </a:xfrm>
        </p:grpSpPr>
        <p:sp>
          <p:nvSpPr>
            <p:cNvPr id="6664" name="Google Shape;6664;p73"/>
            <p:cNvSpPr/>
            <p:nvPr/>
          </p:nvSpPr>
          <p:spPr>
            <a:xfrm>
              <a:off x="-65131525" y="2322300"/>
              <a:ext cx="275675" cy="275700"/>
            </a:xfrm>
            <a:custGeom>
              <a:avLst/>
              <a:gdLst/>
              <a:ahLst/>
              <a:cxnLst/>
              <a:rect l="l" t="t" r="r" b="b"/>
              <a:pathLst>
                <a:path w="11027" h="11028" extrusionOk="0">
                  <a:moveTo>
                    <a:pt x="5073" y="820"/>
                  </a:moveTo>
                  <a:lnTo>
                    <a:pt x="5073" y="5514"/>
                  </a:lnTo>
                  <a:cubicBezTo>
                    <a:pt x="5073" y="5766"/>
                    <a:pt x="5262" y="5923"/>
                    <a:pt x="5482" y="5923"/>
                  </a:cubicBezTo>
                  <a:lnTo>
                    <a:pt x="10145" y="5923"/>
                  </a:lnTo>
                  <a:cubicBezTo>
                    <a:pt x="9956" y="8318"/>
                    <a:pt x="7940" y="10208"/>
                    <a:pt x="5482" y="10208"/>
                  </a:cubicBezTo>
                  <a:cubicBezTo>
                    <a:pt x="2867" y="10208"/>
                    <a:pt x="788" y="8129"/>
                    <a:pt x="788" y="5514"/>
                  </a:cubicBezTo>
                  <a:cubicBezTo>
                    <a:pt x="788" y="3088"/>
                    <a:pt x="2678" y="1072"/>
                    <a:pt x="5073" y="820"/>
                  </a:cubicBezTo>
                  <a:close/>
                  <a:moveTo>
                    <a:pt x="5514" y="0"/>
                  </a:moveTo>
                  <a:cubicBezTo>
                    <a:pt x="2458" y="0"/>
                    <a:pt x="0" y="2489"/>
                    <a:pt x="0" y="5514"/>
                  </a:cubicBezTo>
                  <a:cubicBezTo>
                    <a:pt x="0" y="8538"/>
                    <a:pt x="2458" y="11027"/>
                    <a:pt x="5514" y="11027"/>
                  </a:cubicBezTo>
                  <a:cubicBezTo>
                    <a:pt x="8538" y="11027"/>
                    <a:pt x="11027" y="8538"/>
                    <a:pt x="11027" y="5514"/>
                  </a:cubicBezTo>
                  <a:cubicBezTo>
                    <a:pt x="11027" y="5293"/>
                    <a:pt x="10807" y="5104"/>
                    <a:pt x="10618" y="5104"/>
                  </a:cubicBezTo>
                  <a:lnTo>
                    <a:pt x="5923" y="5104"/>
                  </a:lnTo>
                  <a:lnTo>
                    <a:pt x="5923" y="410"/>
                  </a:lnTo>
                  <a:cubicBezTo>
                    <a:pt x="5892" y="158"/>
                    <a:pt x="5734" y="0"/>
                    <a:pt x="55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5" name="Google Shape;6665;p73"/>
            <p:cNvSpPr/>
            <p:nvPr/>
          </p:nvSpPr>
          <p:spPr>
            <a:xfrm>
              <a:off x="-64963775" y="2281350"/>
              <a:ext cx="148900" cy="148875"/>
            </a:xfrm>
            <a:custGeom>
              <a:avLst/>
              <a:gdLst/>
              <a:ahLst/>
              <a:cxnLst/>
              <a:rect l="l" t="t" r="r" b="b"/>
              <a:pathLst>
                <a:path w="5956" h="5955" extrusionOk="0">
                  <a:moveTo>
                    <a:pt x="852" y="819"/>
                  </a:moveTo>
                  <a:cubicBezTo>
                    <a:pt x="3088" y="1008"/>
                    <a:pt x="4884" y="2836"/>
                    <a:pt x="5105" y="5073"/>
                  </a:cubicBezTo>
                  <a:lnTo>
                    <a:pt x="852" y="5073"/>
                  </a:lnTo>
                  <a:lnTo>
                    <a:pt x="852" y="819"/>
                  </a:lnTo>
                  <a:close/>
                  <a:moveTo>
                    <a:pt x="442" y="0"/>
                  </a:moveTo>
                  <a:cubicBezTo>
                    <a:pt x="221" y="0"/>
                    <a:pt x="1" y="189"/>
                    <a:pt x="1" y="441"/>
                  </a:cubicBezTo>
                  <a:lnTo>
                    <a:pt x="1" y="5514"/>
                  </a:lnTo>
                  <a:cubicBezTo>
                    <a:pt x="1" y="5734"/>
                    <a:pt x="221" y="5955"/>
                    <a:pt x="442" y="5955"/>
                  </a:cubicBezTo>
                  <a:lnTo>
                    <a:pt x="5514" y="5955"/>
                  </a:lnTo>
                  <a:cubicBezTo>
                    <a:pt x="5766" y="5955"/>
                    <a:pt x="5955" y="5734"/>
                    <a:pt x="5955" y="5514"/>
                  </a:cubicBezTo>
                  <a:cubicBezTo>
                    <a:pt x="5955" y="2426"/>
                    <a:pt x="3466"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66" name="Google Shape;6666;p73"/>
          <p:cNvGrpSpPr/>
          <p:nvPr/>
        </p:nvGrpSpPr>
        <p:grpSpPr>
          <a:xfrm>
            <a:off x="1143419" y="3316009"/>
            <a:ext cx="479837" cy="489553"/>
            <a:chOff x="-65129950" y="2646800"/>
            <a:chExt cx="311125" cy="317425"/>
          </a:xfrm>
        </p:grpSpPr>
        <p:sp>
          <p:nvSpPr>
            <p:cNvPr id="6667" name="Google Shape;6667;p73"/>
            <p:cNvSpPr/>
            <p:nvPr/>
          </p:nvSpPr>
          <p:spPr>
            <a:xfrm>
              <a:off x="-65129950" y="2646800"/>
              <a:ext cx="311125" cy="317425"/>
            </a:xfrm>
            <a:custGeom>
              <a:avLst/>
              <a:gdLst/>
              <a:ahLst/>
              <a:cxnLst/>
              <a:rect l="l" t="t" r="r" b="b"/>
              <a:pathLst>
                <a:path w="12445" h="12697" extrusionOk="0">
                  <a:moveTo>
                    <a:pt x="6648" y="851"/>
                  </a:moveTo>
                  <a:lnTo>
                    <a:pt x="6648" y="1954"/>
                  </a:lnTo>
                  <a:lnTo>
                    <a:pt x="5860" y="1954"/>
                  </a:lnTo>
                  <a:lnTo>
                    <a:pt x="5860" y="851"/>
                  </a:lnTo>
                  <a:close/>
                  <a:moveTo>
                    <a:pt x="1261" y="1954"/>
                  </a:moveTo>
                  <a:cubicBezTo>
                    <a:pt x="1355" y="1954"/>
                    <a:pt x="1450" y="1985"/>
                    <a:pt x="1544" y="2080"/>
                  </a:cubicBezTo>
                  <a:cubicBezTo>
                    <a:pt x="1733" y="2237"/>
                    <a:pt x="1733" y="2521"/>
                    <a:pt x="1576" y="2678"/>
                  </a:cubicBezTo>
                  <a:cubicBezTo>
                    <a:pt x="1497" y="2757"/>
                    <a:pt x="1387" y="2797"/>
                    <a:pt x="1276" y="2797"/>
                  </a:cubicBezTo>
                  <a:cubicBezTo>
                    <a:pt x="1166" y="2797"/>
                    <a:pt x="1056" y="2757"/>
                    <a:pt x="977" y="2678"/>
                  </a:cubicBezTo>
                  <a:cubicBezTo>
                    <a:pt x="819" y="2521"/>
                    <a:pt x="819" y="2237"/>
                    <a:pt x="977" y="2080"/>
                  </a:cubicBezTo>
                  <a:cubicBezTo>
                    <a:pt x="1072" y="1985"/>
                    <a:pt x="1198" y="1954"/>
                    <a:pt x="1261" y="1954"/>
                  </a:cubicBezTo>
                  <a:close/>
                  <a:moveTo>
                    <a:pt x="11216" y="1954"/>
                  </a:moveTo>
                  <a:cubicBezTo>
                    <a:pt x="11468" y="1954"/>
                    <a:pt x="11626" y="2143"/>
                    <a:pt x="11626" y="2395"/>
                  </a:cubicBezTo>
                  <a:cubicBezTo>
                    <a:pt x="11626" y="2615"/>
                    <a:pt x="11437" y="2836"/>
                    <a:pt x="11216" y="2836"/>
                  </a:cubicBezTo>
                  <a:cubicBezTo>
                    <a:pt x="11027" y="2836"/>
                    <a:pt x="10807" y="2615"/>
                    <a:pt x="10807" y="2395"/>
                  </a:cubicBezTo>
                  <a:cubicBezTo>
                    <a:pt x="10807" y="2143"/>
                    <a:pt x="10996" y="1954"/>
                    <a:pt x="11216" y="1954"/>
                  </a:cubicBezTo>
                  <a:close/>
                  <a:moveTo>
                    <a:pt x="6270" y="2773"/>
                  </a:moveTo>
                  <a:cubicBezTo>
                    <a:pt x="8759" y="2773"/>
                    <a:pt x="10807" y="4821"/>
                    <a:pt x="10807" y="7341"/>
                  </a:cubicBezTo>
                  <a:cubicBezTo>
                    <a:pt x="10807" y="9861"/>
                    <a:pt x="8759" y="11909"/>
                    <a:pt x="6270" y="11909"/>
                  </a:cubicBezTo>
                  <a:cubicBezTo>
                    <a:pt x="3781" y="11909"/>
                    <a:pt x="1733" y="9861"/>
                    <a:pt x="1733" y="7341"/>
                  </a:cubicBezTo>
                  <a:cubicBezTo>
                    <a:pt x="1733" y="4821"/>
                    <a:pt x="3781" y="2773"/>
                    <a:pt x="6270" y="2773"/>
                  </a:cubicBezTo>
                  <a:close/>
                  <a:moveTo>
                    <a:pt x="4663" y="0"/>
                  </a:moveTo>
                  <a:cubicBezTo>
                    <a:pt x="4411" y="0"/>
                    <a:pt x="4254" y="189"/>
                    <a:pt x="4254" y="410"/>
                  </a:cubicBezTo>
                  <a:cubicBezTo>
                    <a:pt x="4254" y="662"/>
                    <a:pt x="4474" y="851"/>
                    <a:pt x="4663" y="851"/>
                  </a:cubicBezTo>
                  <a:lnTo>
                    <a:pt x="5104" y="851"/>
                  </a:lnTo>
                  <a:lnTo>
                    <a:pt x="5104" y="2111"/>
                  </a:lnTo>
                  <a:cubicBezTo>
                    <a:pt x="4254" y="2300"/>
                    <a:pt x="3466" y="2710"/>
                    <a:pt x="2836" y="3245"/>
                  </a:cubicBezTo>
                  <a:lnTo>
                    <a:pt x="2489" y="2899"/>
                  </a:lnTo>
                  <a:cubicBezTo>
                    <a:pt x="2741" y="2426"/>
                    <a:pt x="2647" y="1891"/>
                    <a:pt x="2269" y="1481"/>
                  </a:cubicBezTo>
                  <a:cubicBezTo>
                    <a:pt x="2032" y="1245"/>
                    <a:pt x="1717" y="1127"/>
                    <a:pt x="1394" y="1127"/>
                  </a:cubicBezTo>
                  <a:cubicBezTo>
                    <a:pt x="1072" y="1127"/>
                    <a:pt x="741" y="1245"/>
                    <a:pt x="473" y="1481"/>
                  </a:cubicBezTo>
                  <a:cubicBezTo>
                    <a:pt x="0" y="1954"/>
                    <a:pt x="0" y="2741"/>
                    <a:pt x="473" y="3245"/>
                  </a:cubicBezTo>
                  <a:cubicBezTo>
                    <a:pt x="725" y="3498"/>
                    <a:pt x="1040" y="3624"/>
                    <a:pt x="1355" y="3624"/>
                  </a:cubicBezTo>
                  <a:cubicBezTo>
                    <a:pt x="1544" y="3624"/>
                    <a:pt x="1702" y="3561"/>
                    <a:pt x="1891" y="3498"/>
                  </a:cubicBezTo>
                  <a:lnTo>
                    <a:pt x="2269" y="3844"/>
                  </a:lnTo>
                  <a:cubicBezTo>
                    <a:pt x="1481" y="4789"/>
                    <a:pt x="946" y="6018"/>
                    <a:pt x="946" y="7341"/>
                  </a:cubicBezTo>
                  <a:cubicBezTo>
                    <a:pt x="946" y="10303"/>
                    <a:pt x="3371" y="12697"/>
                    <a:pt x="6301" y="12697"/>
                  </a:cubicBezTo>
                  <a:cubicBezTo>
                    <a:pt x="9263" y="12697"/>
                    <a:pt x="11657" y="10303"/>
                    <a:pt x="11657" y="7341"/>
                  </a:cubicBezTo>
                  <a:cubicBezTo>
                    <a:pt x="11657" y="6018"/>
                    <a:pt x="11185" y="4789"/>
                    <a:pt x="10365" y="3844"/>
                  </a:cubicBezTo>
                  <a:lnTo>
                    <a:pt x="10712" y="3498"/>
                  </a:lnTo>
                  <a:cubicBezTo>
                    <a:pt x="10838" y="3561"/>
                    <a:pt x="11027" y="3624"/>
                    <a:pt x="11216" y="3624"/>
                  </a:cubicBezTo>
                  <a:cubicBezTo>
                    <a:pt x="11909" y="3624"/>
                    <a:pt x="12445" y="3056"/>
                    <a:pt x="12445" y="2363"/>
                  </a:cubicBezTo>
                  <a:cubicBezTo>
                    <a:pt x="12445" y="1670"/>
                    <a:pt x="11909" y="1135"/>
                    <a:pt x="11216" y="1135"/>
                  </a:cubicBezTo>
                  <a:cubicBezTo>
                    <a:pt x="10555" y="1135"/>
                    <a:pt x="10019" y="1670"/>
                    <a:pt x="10019" y="2363"/>
                  </a:cubicBezTo>
                  <a:cubicBezTo>
                    <a:pt x="10019" y="2552"/>
                    <a:pt x="10050" y="2710"/>
                    <a:pt x="10113" y="2899"/>
                  </a:cubicBezTo>
                  <a:lnTo>
                    <a:pt x="9767" y="3245"/>
                  </a:lnTo>
                  <a:cubicBezTo>
                    <a:pt x="9137" y="2710"/>
                    <a:pt x="8349" y="2300"/>
                    <a:pt x="7530" y="2111"/>
                  </a:cubicBezTo>
                  <a:lnTo>
                    <a:pt x="7530" y="851"/>
                  </a:lnTo>
                  <a:lnTo>
                    <a:pt x="7971" y="851"/>
                  </a:lnTo>
                  <a:cubicBezTo>
                    <a:pt x="8192" y="851"/>
                    <a:pt x="8349" y="662"/>
                    <a:pt x="8349" y="410"/>
                  </a:cubicBezTo>
                  <a:cubicBezTo>
                    <a:pt x="8349" y="189"/>
                    <a:pt x="8160" y="0"/>
                    <a:pt x="79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68" name="Google Shape;6668;p73"/>
            <p:cNvSpPr/>
            <p:nvPr/>
          </p:nvSpPr>
          <p:spPr>
            <a:xfrm>
              <a:off x="-65066950" y="2738175"/>
              <a:ext cx="187475" cy="185100"/>
            </a:xfrm>
            <a:custGeom>
              <a:avLst/>
              <a:gdLst/>
              <a:ahLst/>
              <a:cxnLst/>
              <a:rect l="l" t="t" r="r" b="b"/>
              <a:pathLst>
                <a:path w="7499" h="7404" extrusionOk="0">
                  <a:moveTo>
                    <a:pt x="3309" y="819"/>
                  </a:moveTo>
                  <a:lnTo>
                    <a:pt x="3309" y="3686"/>
                  </a:lnTo>
                  <a:cubicBezTo>
                    <a:pt x="3309" y="3938"/>
                    <a:pt x="3498" y="4127"/>
                    <a:pt x="3718" y="4127"/>
                  </a:cubicBezTo>
                  <a:lnTo>
                    <a:pt x="6612" y="4127"/>
                  </a:lnTo>
                  <a:cubicBezTo>
                    <a:pt x="6410" y="5529"/>
                    <a:pt x="5188" y="6585"/>
                    <a:pt x="3750" y="6585"/>
                  </a:cubicBezTo>
                  <a:cubicBezTo>
                    <a:pt x="2143" y="6585"/>
                    <a:pt x="820" y="5261"/>
                    <a:pt x="820" y="3686"/>
                  </a:cubicBezTo>
                  <a:cubicBezTo>
                    <a:pt x="820" y="2237"/>
                    <a:pt x="1891" y="1008"/>
                    <a:pt x="3309" y="819"/>
                  </a:cubicBezTo>
                  <a:close/>
                  <a:moveTo>
                    <a:pt x="3750" y="0"/>
                  </a:moveTo>
                  <a:cubicBezTo>
                    <a:pt x="1702" y="0"/>
                    <a:pt x="1" y="1638"/>
                    <a:pt x="1" y="3686"/>
                  </a:cubicBezTo>
                  <a:cubicBezTo>
                    <a:pt x="1" y="5734"/>
                    <a:pt x="1671" y="7404"/>
                    <a:pt x="3750" y="7404"/>
                  </a:cubicBezTo>
                  <a:cubicBezTo>
                    <a:pt x="5798" y="7404"/>
                    <a:pt x="7499" y="5734"/>
                    <a:pt x="7499" y="3686"/>
                  </a:cubicBezTo>
                  <a:cubicBezTo>
                    <a:pt x="7499" y="3466"/>
                    <a:pt x="7278" y="3277"/>
                    <a:pt x="7058" y="3277"/>
                  </a:cubicBezTo>
                  <a:lnTo>
                    <a:pt x="4128" y="3277"/>
                  </a:lnTo>
                  <a:lnTo>
                    <a:pt x="4128" y="378"/>
                  </a:lnTo>
                  <a:cubicBezTo>
                    <a:pt x="4128" y="158"/>
                    <a:pt x="3939" y="0"/>
                    <a:pt x="37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69" name="Google Shape;6669;p73"/>
          <p:cNvGrpSpPr/>
          <p:nvPr/>
        </p:nvGrpSpPr>
        <p:grpSpPr>
          <a:xfrm>
            <a:off x="4081197" y="2053776"/>
            <a:ext cx="491983" cy="492021"/>
            <a:chOff x="-63252250" y="1930850"/>
            <a:chExt cx="319000" cy="319025"/>
          </a:xfrm>
        </p:grpSpPr>
        <p:sp>
          <p:nvSpPr>
            <p:cNvPr id="6670" name="Google Shape;6670;p73"/>
            <p:cNvSpPr/>
            <p:nvPr/>
          </p:nvSpPr>
          <p:spPr>
            <a:xfrm>
              <a:off x="-63252250" y="1930850"/>
              <a:ext cx="319000" cy="319025"/>
            </a:xfrm>
            <a:custGeom>
              <a:avLst/>
              <a:gdLst/>
              <a:ahLst/>
              <a:cxnLst/>
              <a:rect l="l" t="t" r="r" b="b"/>
              <a:pathLst>
                <a:path w="12760" h="12761" extrusionOk="0">
                  <a:moveTo>
                    <a:pt x="7026" y="914"/>
                  </a:moveTo>
                  <a:lnTo>
                    <a:pt x="7026" y="1954"/>
                  </a:lnTo>
                  <a:cubicBezTo>
                    <a:pt x="7026" y="2174"/>
                    <a:pt x="7120" y="2332"/>
                    <a:pt x="7341" y="2363"/>
                  </a:cubicBezTo>
                  <a:cubicBezTo>
                    <a:pt x="7813" y="2489"/>
                    <a:pt x="8286" y="2647"/>
                    <a:pt x="8664" y="2899"/>
                  </a:cubicBezTo>
                  <a:cubicBezTo>
                    <a:pt x="8733" y="2954"/>
                    <a:pt x="8820" y="2979"/>
                    <a:pt x="8905" y="2979"/>
                  </a:cubicBezTo>
                  <a:cubicBezTo>
                    <a:pt x="9012" y="2979"/>
                    <a:pt x="9115" y="2938"/>
                    <a:pt x="9168" y="2868"/>
                  </a:cubicBezTo>
                  <a:lnTo>
                    <a:pt x="9924" y="2111"/>
                  </a:lnTo>
                  <a:lnTo>
                    <a:pt x="10712" y="2899"/>
                  </a:lnTo>
                  <a:lnTo>
                    <a:pt x="9956" y="3655"/>
                  </a:lnTo>
                  <a:cubicBezTo>
                    <a:pt x="9861" y="3781"/>
                    <a:pt x="9798" y="4002"/>
                    <a:pt x="9924" y="4159"/>
                  </a:cubicBezTo>
                  <a:cubicBezTo>
                    <a:pt x="10208" y="4600"/>
                    <a:pt x="10397" y="5041"/>
                    <a:pt x="10460" y="5514"/>
                  </a:cubicBezTo>
                  <a:cubicBezTo>
                    <a:pt x="10523" y="5703"/>
                    <a:pt x="10680" y="5829"/>
                    <a:pt x="10869" y="5829"/>
                  </a:cubicBezTo>
                  <a:lnTo>
                    <a:pt x="11941" y="5829"/>
                  </a:lnTo>
                  <a:lnTo>
                    <a:pt x="11941" y="6932"/>
                  </a:lnTo>
                  <a:lnTo>
                    <a:pt x="10869" y="6932"/>
                  </a:lnTo>
                  <a:cubicBezTo>
                    <a:pt x="10680" y="6932"/>
                    <a:pt x="10523" y="7058"/>
                    <a:pt x="10460" y="7247"/>
                  </a:cubicBezTo>
                  <a:cubicBezTo>
                    <a:pt x="10365" y="7719"/>
                    <a:pt x="10208" y="8192"/>
                    <a:pt x="9924" y="8570"/>
                  </a:cubicBezTo>
                  <a:cubicBezTo>
                    <a:pt x="9798" y="8727"/>
                    <a:pt x="9861" y="8979"/>
                    <a:pt x="9956" y="9105"/>
                  </a:cubicBezTo>
                  <a:lnTo>
                    <a:pt x="10712" y="9830"/>
                  </a:lnTo>
                  <a:lnTo>
                    <a:pt x="9924" y="10618"/>
                  </a:lnTo>
                  <a:lnTo>
                    <a:pt x="9168" y="9893"/>
                  </a:lnTo>
                  <a:cubicBezTo>
                    <a:pt x="9111" y="9817"/>
                    <a:pt x="8996" y="9775"/>
                    <a:pt x="8879" y="9775"/>
                  </a:cubicBezTo>
                  <a:cubicBezTo>
                    <a:pt x="8803" y="9775"/>
                    <a:pt x="8726" y="9793"/>
                    <a:pt x="8664" y="9830"/>
                  </a:cubicBezTo>
                  <a:cubicBezTo>
                    <a:pt x="8223" y="10114"/>
                    <a:pt x="7813" y="10303"/>
                    <a:pt x="7341" y="10397"/>
                  </a:cubicBezTo>
                  <a:cubicBezTo>
                    <a:pt x="7120" y="10429"/>
                    <a:pt x="7026" y="10586"/>
                    <a:pt x="7026" y="10775"/>
                  </a:cubicBezTo>
                  <a:lnTo>
                    <a:pt x="7026" y="11846"/>
                  </a:lnTo>
                  <a:lnTo>
                    <a:pt x="5923" y="11846"/>
                  </a:lnTo>
                  <a:lnTo>
                    <a:pt x="5923" y="10775"/>
                  </a:lnTo>
                  <a:cubicBezTo>
                    <a:pt x="5923" y="10586"/>
                    <a:pt x="5797" y="10429"/>
                    <a:pt x="5577" y="10397"/>
                  </a:cubicBezTo>
                  <a:cubicBezTo>
                    <a:pt x="5135" y="10271"/>
                    <a:pt x="4663" y="10114"/>
                    <a:pt x="4253" y="9830"/>
                  </a:cubicBezTo>
                  <a:cubicBezTo>
                    <a:pt x="4191" y="9793"/>
                    <a:pt x="4119" y="9775"/>
                    <a:pt x="4047" y="9775"/>
                  </a:cubicBezTo>
                  <a:cubicBezTo>
                    <a:pt x="3937" y="9775"/>
                    <a:pt x="3826" y="9817"/>
                    <a:pt x="3749" y="9893"/>
                  </a:cubicBezTo>
                  <a:lnTo>
                    <a:pt x="2993" y="10618"/>
                  </a:lnTo>
                  <a:lnTo>
                    <a:pt x="2206" y="9830"/>
                  </a:lnTo>
                  <a:lnTo>
                    <a:pt x="2962" y="9105"/>
                  </a:lnTo>
                  <a:cubicBezTo>
                    <a:pt x="3088" y="8979"/>
                    <a:pt x="3119" y="8727"/>
                    <a:pt x="2993" y="8570"/>
                  </a:cubicBezTo>
                  <a:cubicBezTo>
                    <a:pt x="2710" y="8160"/>
                    <a:pt x="2521" y="7719"/>
                    <a:pt x="2458" y="7247"/>
                  </a:cubicBezTo>
                  <a:cubicBezTo>
                    <a:pt x="2395" y="7058"/>
                    <a:pt x="2237" y="6932"/>
                    <a:pt x="2048" y="6932"/>
                  </a:cubicBezTo>
                  <a:lnTo>
                    <a:pt x="977" y="6932"/>
                  </a:lnTo>
                  <a:lnTo>
                    <a:pt x="977" y="5829"/>
                  </a:lnTo>
                  <a:lnTo>
                    <a:pt x="2048" y="5829"/>
                  </a:lnTo>
                  <a:cubicBezTo>
                    <a:pt x="2237" y="5829"/>
                    <a:pt x="2395" y="5703"/>
                    <a:pt x="2458" y="5514"/>
                  </a:cubicBezTo>
                  <a:cubicBezTo>
                    <a:pt x="2552" y="5041"/>
                    <a:pt x="2710" y="4569"/>
                    <a:pt x="2993" y="4159"/>
                  </a:cubicBezTo>
                  <a:cubicBezTo>
                    <a:pt x="3119" y="4002"/>
                    <a:pt x="3088" y="3781"/>
                    <a:pt x="2962" y="3655"/>
                  </a:cubicBezTo>
                  <a:lnTo>
                    <a:pt x="2206" y="2899"/>
                  </a:lnTo>
                  <a:lnTo>
                    <a:pt x="2993" y="2111"/>
                  </a:lnTo>
                  <a:lnTo>
                    <a:pt x="3749" y="2868"/>
                  </a:lnTo>
                  <a:cubicBezTo>
                    <a:pt x="3820" y="2938"/>
                    <a:pt x="3921" y="2979"/>
                    <a:pt x="4023" y="2979"/>
                  </a:cubicBezTo>
                  <a:cubicBezTo>
                    <a:pt x="4103" y="2979"/>
                    <a:pt x="4184" y="2954"/>
                    <a:pt x="4253" y="2899"/>
                  </a:cubicBezTo>
                  <a:cubicBezTo>
                    <a:pt x="4694" y="2647"/>
                    <a:pt x="5135" y="2426"/>
                    <a:pt x="5577" y="2363"/>
                  </a:cubicBezTo>
                  <a:cubicBezTo>
                    <a:pt x="5797" y="2332"/>
                    <a:pt x="5923" y="2174"/>
                    <a:pt x="5923" y="1954"/>
                  </a:cubicBezTo>
                  <a:lnTo>
                    <a:pt x="5923" y="914"/>
                  </a:lnTo>
                  <a:close/>
                  <a:moveTo>
                    <a:pt x="5829" y="1"/>
                  </a:moveTo>
                  <a:cubicBezTo>
                    <a:pt x="5356" y="1"/>
                    <a:pt x="5009" y="347"/>
                    <a:pt x="5009" y="820"/>
                  </a:cubicBezTo>
                  <a:lnTo>
                    <a:pt x="5009" y="1576"/>
                  </a:lnTo>
                  <a:cubicBezTo>
                    <a:pt x="4631" y="1702"/>
                    <a:pt x="4285" y="1796"/>
                    <a:pt x="3970" y="2017"/>
                  </a:cubicBezTo>
                  <a:lnTo>
                    <a:pt x="3466" y="1481"/>
                  </a:lnTo>
                  <a:cubicBezTo>
                    <a:pt x="3308" y="1324"/>
                    <a:pt x="3103" y="1245"/>
                    <a:pt x="2891" y="1245"/>
                  </a:cubicBezTo>
                  <a:cubicBezTo>
                    <a:pt x="2678" y="1245"/>
                    <a:pt x="2458" y="1324"/>
                    <a:pt x="2269" y="1481"/>
                  </a:cubicBezTo>
                  <a:lnTo>
                    <a:pt x="1481" y="2269"/>
                  </a:lnTo>
                  <a:cubicBezTo>
                    <a:pt x="1166" y="2584"/>
                    <a:pt x="1166" y="3120"/>
                    <a:pt x="1481" y="3466"/>
                  </a:cubicBezTo>
                  <a:lnTo>
                    <a:pt x="2017" y="3970"/>
                  </a:lnTo>
                  <a:cubicBezTo>
                    <a:pt x="1796" y="4285"/>
                    <a:pt x="1701" y="4632"/>
                    <a:pt x="1575" y="5010"/>
                  </a:cubicBezTo>
                  <a:lnTo>
                    <a:pt x="819" y="5010"/>
                  </a:lnTo>
                  <a:cubicBezTo>
                    <a:pt x="347" y="5010"/>
                    <a:pt x="0" y="5356"/>
                    <a:pt x="0" y="5829"/>
                  </a:cubicBezTo>
                  <a:lnTo>
                    <a:pt x="0" y="6932"/>
                  </a:lnTo>
                  <a:cubicBezTo>
                    <a:pt x="0" y="7404"/>
                    <a:pt x="347" y="7751"/>
                    <a:pt x="819" y="7751"/>
                  </a:cubicBezTo>
                  <a:lnTo>
                    <a:pt x="1575" y="7751"/>
                  </a:lnTo>
                  <a:cubicBezTo>
                    <a:pt x="1701" y="8097"/>
                    <a:pt x="1796" y="8475"/>
                    <a:pt x="2017" y="8759"/>
                  </a:cubicBezTo>
                  <a:lnTo>
                    <a:pt x="1481" y="9295"/>
                  </a:lnTo>
                  <a:cubicBezTo>
                    <a:pt x="1166" y="9610"/>
                    <a:pt x="1166" y="10114"/>
                    <a:pt x="1481" y="10460"/>
                  </a:cubicBezTo>
                  <a:lnTo>
                    <a:pt x="2269" y="11248"/>
                  </a:lnTo>
                  <a:cubicBezTo>
                    <a:pt x="2426" y="11405"/>
                    <a:pt x="2639" y="11484"/>
                    <a:pt x="2855" y="11484"/>
                  </a:cubicBezTo>
                  <a:cubicBezTo>
                    <a:pt x="3072" y="11484"/>
                    <a:pt x="3292" y="11405"/>
                    <a:pt x="3466" y="11248"/>
                  </a:cubicBezTo>
                  <a:lnTo>
                    <a:pt x="3970" y="10744"/>
                  </a:lnTo>
                  <a:cubicBezTo>
                    <a:pt x="4285" y="10933"/>
                    <a:pt x="4631" y="11059"/>
                    <a:pt x="5009" y="11185"/>
                  </a:cubicBezTo>
                  <a:lnTo>
                    <a:pt x="5009" y="11909"/>
                  </a:lnTo>
                  <a:cubicBezTo>
                    <a:pt x="5009" y="12382"/>
                    <a:pt x="5356" y="12760"/>
                    <a:pt x="5829" y="12760"/>
                  </a:cubicBezTo>
                  <a:lnTo>
                    <a:pt x="6931" y="12760"/>
                  </a:lnTo>
                  <a:cubicBezTo>
                    <a:pt x="7404" y="12760"/>
                    <a:pt x="7750" y="12382"/>
                    <a:pt x="7750" y="11909"/>
                  </a:cubicBezTo>
                  <a:lnTo>
                    <a:pt x="7750" y="11185"/>
                  </a:lnTo>
                  <a:cubicBezTo>
                    <a:pt x="8097" y="11059"/>
                    <a:pt x="8475" y="10933"/>
                    <a:pt x="8790" y="10744"/>
                  </a:cubicBezTo>
                  <a:lnTo>
                    <a:pt x="9294" y="11248"/>
                  </a:lnTo>
                  <a:cubicBezTo>
                    <a:pt x="9452" y="11405"/>
                    <a:pt x="9656" y="11484"/>
                    <a:pt x="9865" y="11484"/>
                  </a:cubicBezTo>
                  <a:cubicBezTo>
                    <a:pt x="10074" y="11484"/>
                    <a:pt x="10287" y="11405"/>
                    <a:pt x="10460" y="11248"/>
                  </a:cubicBezTo>
                  <a:lnTo>
                    <a:pt x="11247" y="10460"/>
                  </a:lnTo>
                  <a:cubicBezTo>
                    <a:pt x="11563" y="10145"/>
                    <a:pt x="11563" y="9641"/>
                    <a:pt x="11247" y="9295"/>
                  </a:cubicBezTo>
                  <a:lnTo>
                    <a:pt x="10743" y="8759"/>
                  </a:lnTo>
                  <a:cubicBezTo>
                    <a:pt x="10932" y="8444"/>
                    <a:pt x="11058" y="8097"/>
                    <a:pt x="11184" y="7751"/>
                  </a:cubicBezTo>
                  <a:lnTo>
                    <a:pt x="11941" y="7751"/>
                  </a:lnTo>
                  <a:cubicBezTo>
                    <a:pt x="12413" y="7751"/>
                    <a:pt x="12760" y="7404"/>
                    <a:pt x="12760" y="6932"/>
                  </a:cubicBezTo>
                  <a:lnTo>
                    <a:pt x="12760" y="5829"/>
                  </a:lnTo>
                  <a:cubicBezTo>
                    <a:pt x="12760" y="5356"/>
                    <a:pt x="12350" y="5010"/>
                    <a:pt x="11941" y="5010"/>
                  </a:cubicBezTo>
                  <a:lnTo>
                    <a:pt x="11184" y="5010"/>
                  </a:lnTo>
                  <a:cubicBezTo>
                    <a:pt x="11058" y="4632"/>
                    <a:pt x="10932" y="4285"/>
                    <a:pt x="10743" y="3970"/>
                  </a:cubicBezTo>
                  <a:lnTo>
                    <a:pt x="11247" y="3466"/>
                  </a:lnTo>
                  <a:cubicBezTo>
                    <a:pt x="11563" y="3151"/>
                    <a:pt x="11563" y="2647"/>
                    <a:pt x="11247" y="2269"/>
                  </a:cubicBezTo>
                  <a:lnTo>
                    <a:pt x="10460" y="1481"/>
                  </a:lnTo>
                  <a:cubicBezTo>
                    <a:pt x="10302" y="1324"/>
                    <a:pt x="10098" y="1245"/>
                    <a:pt x="9889" y="1245"/>
                  </a:cubicBezTo>
                  <a:cubicBezTo>
                    <a:pt x="9680" y="1245"/>
                    <a:pt x="9467" y="1324"/>
                    <a:pt x="9294" y="1481"/>
                  </a:cubicBezTo>
                  <a:lnTo>
                    <a:pt x="8790" y="2017"/>
                  </a:lnTo>
                  <a:cubicBezTo>
                    <a:pt x="8475" y="1796"/>
                    <a:pt x="8097" y="1702"/>
                    <a:pt x="7750" y="1576"/>
                  </a:cubicBezTo>
                  <a:lnTo>
                    <a:pt x="7750" y="820"/>
                  </a:lnTo>
                  <a:cubicBezTo>
                    <a:pt x="7750" y="347"/>
                    <a:pt x="7404" y="1"/>
                    <a:pt x="69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1" name="Google Shape;6671;p73"/>
            <p:cNvSpPr/>
            <p:nvPr/>
          </p:nvSpPr>
          <p:spPr>
            <a:xfrm>
              <a:off x="-63160900" y="2021425"/>
              <a:ext cx="137850" cy="137850"/>
            </a:xfrm>
            <a:custGeom>
              <a:avLst/>
              <a:gdLst/>
              <a:ahLst/>
              <a:cxnLst/>
              <a:rect l="l" t="t" r="r" b="b"/>
              <a:pathLst>
                <a:path w="5514" h="5514" extrusionOk="0">
                  <a:moveTo>
                    <a:pt x="2773" y="820"/>
                  </a:moveTo>
                  <a:cubicBezTo>
                    <a:pt x="3813" y="820"/>
                    <a:pt x="4695" y="1702"/>
                    <a:pt x="4695" y="2742"/>
                  </a:cubicBezTo>
                  <a:cubicBezTo>
                    <a:pt x="4695" y="3813"/>
                    <a:pt x="3813" y="4695"/>
                    <a:pt x="2773" y="4695"/>
                  </a:cubicBezTo>
                  <a:cubicBezTo>
                    <a:pt x="1702" y="4695"/>
                    <a:pt x="820" y="3813"/>
                    <a:pt x="820" y="2742"/>
                  </a:cubicBezTo>
                  <a:cubicBezTo>
                    <a:pt x="820" y="1702"/>
                    <a:pt x="1702" y="820"/>
                    <a:pt x="2773" y="820"/>
                  </a:cubicBezTo>
                  <a:close/>
                  <a:moveTo>
                    <a:pt x="2773" y="1"/>
                  </a:moveTo>
                  <a:cubicBezTo>
                    <a:pt x="1229" y="1"/>
                    <a:pt x="1" y="1198"/>
                    <a:pt x="1" y="2742"/>
                  </a:cubicBezTo>
                  <a:cubicBezTo>
                    <a:pt x="1" y="4285"/>
                    <a:pt x="1229" y="5514"/>
                    <a:pt x="2773" y="5514"/>
                  </a:cubicBezTo>
                  <a:cubicBezTo>
                    <a:pt x="4285" y="5514"/>
                    <a:pt x="5514" y="4285"/>
                    <a:pt x="5514" y="2742"/>
                  </a:cubicBezTo>
                  <a:cubicBezTo>
                    <a:pt x="5514" y="1229"/>
                    <a:pt x="4254" y="1"/>
                    <a:pt x="27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672" name="Google Shape;6672;p73"/>
          <p:cNvSpPr/>
          <p:nvPr/>
        </p:nvSpPr>
        <p:spPr>
          <a:xfrm>
            <a:off x="4070525" y="2694892"/>
            <a:ext cx="496495" cy="490595"/>
          </a:xfrm>
          <a:custGeom>
            <a:avLst/>
            <a:gdLst/>
            <a:ahLst/>
            <a:cxnLst/>
            <a:rect l="l" t="t" r="r" b="b"/>
            <a:pathLst>
              <a:path w="12877" h="12724" extrusionOk="0">
                <a:moveTo>
                  <a:pt x="10492" y="1603"/>
                </a:moveTo>
                <a:lnTo>
                  <a:pt x="10429" y="1855"/>
                </a:lnTo>
                <a:cubicBezTo>
                  <a:pt x="10429" y="1981"/>
                  <a:pt x="10492" y="2138"/>
                  <a:pt x="10555" y="2201"/>
                </a:cubicBezTo>
                <a:cubicBezTo>
                  <a:pt x="10649" y="2296"/>
                  <a:pt x="10807" y="2327"/>
                  <a:pt x="10901" y="2327"/>
                </a:cubicBezTo>
                <a:lnTo>
                  <a:pt x="11153" y="2296"/>
                </a:lnTo>
                <a:lnTo>
                  <a:pt x="10492" y="2957"/>
                </a:lnTo>
                <a:lnTo>
                  <a:pt x="9736" y="3083"/>
                </a:lnTo>
                <a:lnTo>
                  <a:pt x="9799" y="2296"/>
                </a:lnTo>
                <a:lnTo>
                  <a:pt x="10492" y="1603"/>
                </a:lnTo>
                <a:close/>
                <a:moveTo>
                  <a:pt x="6270" y="6108"/>
                </a:moveTo>
                <a:cubicBezTo>
                  <a:pt x="6396" y="6108"/>
                  <a:pt x="6459" y="6139"/>
                  <a:pt x="6554" y="6234"/>
                </a:cubicBezTo>
                <a:cubicBezTo>
                  <a:pt x="6617" y="6265"/>
                  <a:pt x="6648" y="6391"/>
                  <a:pt x="6648" y="6486"/>
                </a:cubicBezTo>
                <a:cubicBezTo>
                  <a:pt x="6648" y="6738"/>
                  <a:pt x="6459" y="6927"/>
                  <a:pt x="6270" y="6927"/>
                </a:cubicBezTo>
                <a:cubicBezTo>
                  <a:pt x="6081" y="6927"/>
                  <a:pt x="5861" y="6738"/>
                  <a:pt x="5861" y="6486"/>
                </a:cubicBezTo>
                <a:cubicBezTo>
                  <a:pt x="5861" y="6265"/>
                  <a:pt x="6081" y="6108"/>
                  <a:pt x="6270" y="6108"/>
                </a:cubicBezTo>
                <a:close/>
                <a:moveTo>
                  <a:pt x="6176" y="4375"/>
                </a:moveTo>
                <a:cubicBezTo>
                  <a:pt x="6617" y="4375"/>
                  <a:pt x="7026" y="4501"/>
                  <a:pt x="7341" y="4722"/>
                </a:cubicBezTo>
                <a:lnTo>
                  <a:pt x="6743" y="5320"/>
                </a:lnTo>
                <a:cubicBezTo>
                  <a:pt x="6617" y="5289"/>
                  <a:pt x="6428" y="5226"/>
                  <a:pt x="6239" y="5226"/>
                </a:cubicBezTo>
                <a:cubicBezTo>
                  <a:pt x="5546" y="5226"/>
                  <a:pt x="5010" y="5793"/>
                  <a:pt x="5010" y="6454"/>
                </a:cubicBezTo>
                <a:cubicBezTo>
                  <a:pt x="5010" y="7116"/>
                  <a:pt x="5546" y="7715"/>
                  <a:pt x="6239" y="7715"/>
                </a:cubicBezTo>
                <a:cubicBezTo>
                  <a:pt x="6900" y="7715"/>
                  <a:pt x="7467" y="7147"/>
                  <a:pt x="7467" y="6454"/>
                </a:cubicBezTo>
                <a:cubicBezTo>
                  <a:pt x="7467" y="6265"/>
                  <a:pt x="7404" y="6108"/>
                  <a:pt x="7341" y="5887"/>
                </a:cubicBezTo>
                <a:lnTo>
                  <a:pt x="7908" y="5320"/>
                </a:lnTo>
                <a:cubicBezTo>
                  <a:pt x="8160" y="5635"/>
                  <a:pt x="8286" y="6013"/>
                  <a:pt x="8286" y="6454"/>
                </a:cubicBezTo>
                <a:cubicBezTo>
                  <a:pt x="8286" y="7588"/>
                  <a:pt x="7341" y="8534"/>
                  <a:pt x="6176" y="8534"/>
                </a:cubicBezTo>
                <a:cubicBezTo>
                  <a:pt x="5041" y="8534"/>
                  <a:pt x="4096" y="7588"/>
                  <a:pt x="4096" y="6454"/>
                </a:cubicBezTo>
                <a:cubicBezTo>
                  <a:pt x="4096" y="5320"/>
                  <a:pt x="5041" y="4375"/>
                  <a:pt x="6176" y="4375"/>
                </a:cubicBezTo>
                <a:close/>
                <a:moveTo>
                  <a:pt x="6239" y="2800"/>
                </a:moveTo>
                <a:cubicBezTo>
                  <a:pt x="7089" y="2800"/>
                  <a:pt x="7908" y="3115"/>
                  <a:pt x="8539" y="3619"/>
                </a:cubicBezTo>
                <a:lnTo>
                  <a:pt x="7971" y="4217"/>
                </a:lnTo>
                <a:cubicBezTo>
                  <a:pt x="7499" y="3839"/>
                  <a:pt x="6869" y="3619"/>
                  <a:pt x="6239" y="3619"/>
                </a:cubicBezTo>
                <a:cubicBezTo>
                  <a:pt x="4600" y="3619"/>
                  <a:pt x="3309" y="4911"/>
                  <a:pt x="3309" y="6486"/>
                </a:cubicBezTo>
                <a:cubicBezTo>
                  <a:pt x="3309" y="8124"/>
                  <a:pt x="4632" y="9416"/>
                  <a:pt x="6239" y="9416"/>
                </a:cubicBezTo>
                <a:cubicBezTo>
                  <a:pt x="7845" y="9416"/>
                  <a:pt x="9137" y="8124"/>
                  <a:pt x="9137" y="6486"/>
                </a:cubicBezTo>
                <a:cubicBezTo>
                  <a:pt x="9137" y="5856"/>
                  <a:pt x="8948" y="5226"/>
                  <a:pt x="8539" y="4753"/>
                </a:cubicBezTo>
                <a:lnTo>
                  <a:pt x="9137" y="4154"/>
                </a:lnTo>
                <a:cubicBezTo>
                  <a:pt x="9641" y="4816"/>
                  <a:pt x="9956" y="5604"/>
                  <a:pt x="9956" y="6486"/>
                </a:cubicBezTo>
                <a:cubicBezTo>
                  <a:pt x="9956" y="8534"/>
                  <a:pt x="8318" y="10235"/>
                  <a:pt x="6239" y="10235"/>
                </a:cubicBezTo>
                <a:cubicBezTo>
                  <a:pt x="4191" y="10235"/>
                  <a:pt x="2490" y="8597"/>
                  <a:pt x="2490" y="6486"/>
                </a:cubicBezTo>
                <a:cubicBezTo>
                  <a:pt x="2490" y="4438"/>
                  <a:pt x="4128" y="2800"/>
                  <a:pt x="6239" y="2800"/>
                </a:cubicBezTo>
                <a:close/>
                <a:moveTo>
                  <a:pt x="6270" y="1130"/>
                </a:moveTo>
                <a:cubicBezTo>
                  <a:pt x="7247" y="1130"/>
                  <a:pt x="8223" y="1414"/>
                  <a:pt x="9074" y="1918"/>
                </a:cubicBezTo>
                <a:cubicBezTo>
                  <a:pt x="9074" y="1949"/>
                  <a:pt x="9011" y="2012"/>
                  <a:pt x="9011" y="2044"/>
                </a:cubicBezTo>
                <a:lnTo>
                  <a:pt x="8917" y="2831"/>
                </a:lnTo>
                <a:cubicBezTo>
                  <a:pt x="8160" y="2296"/>
                  <a:pt x="7247" y="1981"/>
                  <a:pt x="6270" y="1981"/>
                </a:cubicBezTo>
                <a:cubicBezTo>
                  <a:pt x="3750" y="1981"/>
                  <a:pt x="1733" y="4028"/>
                  <a:pt x="1733" y="6486"/>
                </a:cubicBezTo>
                <a:cubicBezTo>
                  <a:pt x="1733" y="9006"/>
                  <a:pt x="3781" y="11054"/>
                  <a:pt x="6270" y="11054"/>
                </a:cubicBezTo>
                <a:cubicBezTo>
                  <a:pt x="8759" y="11054"/>
                  <a:pt x="10807" y="9006"/>
                  <a:pt x="10807" y="6486"/>
                </a:cubicBezTo>
                <a:cubicBezTo>
                  <a:pt x="10807" y="5509"/>
                  <a:pt x="10492" y="4596"/>
                  <a:pt x="9925" y="3871"/>
                </a:cubicBezTo>
                <a:lnTo>
                  <a:pt x="10712" y="3745"/>
                </a:lnTo>
                <a:cubicBezTo>
                  <a:pt x="10744" y="3745"/>
                  <a:pt x="10807" y="3745"/>
                  <a:pt x="10838" y="3713"/>
                </a:cubicBezTo>
                <a:cubicBezTo>
                  <a:pt x="11342" y="4533"/>
                  <a:pt x="11626" y="5478"/>
                  <a:pt x="11626" y="6486"/>
                </a:cubicBezTo>
                <a:cubicBezTo>
                  <a:pt x="11626" y="9447"/>
                  <a:pt x="9232" y="11873"/>
                  <a:pt x="6270" y="11873"/>
                </a:cubicBezTo>
                <a:cubicBezTo>
                  <a:pt x="3309" y="11873"/>
                  <a:pt x="914" y="9479"/>
                  <a:pt x="914" y="6486"/>
                </a:cubicBezTo>
                <a:cubicBezTo>
                  <a:pt x="914" y="3524"/>
                  <a:pt x="3309" y="1130"/>
                  <a:pt x="6270" y="1130"/>
                </a:cubicBezTo>
                <a:close/>
                <a:moveTo>
                  <a:pt x="11030" y="0"/>
                </a:moveTo>
                <a:cubicBezTo>
                  <a:pt x="10930" y="0"/>
                  <a:pt x="10829" y="37"/>
                  <a:pt x="10744" y="122"/>
                </a:cubicBezTo>
                <a:lnTo>
                  <a:pt x="9610" y="1256"/>
                </a:lnTo>
                <a:cubicBezTo>
                  <a:pt x="8602" y="594"/>
                  <a:pt x="7467" y="279"/>
                  <a:pt x="6239" y="279"/>
                </a:cubicBezTo>
                <a:cubicBezTo>
                  <a:pt x="2805" y="279"/>
                  <a:pt x="1" y="3020"/>
                  <a:pt x="1" y="6486"/>
                </a:cubicBezTo>
                <a:cubicBezTo>
                  <a:pt x="1" y="9920"/>
                  <a:pt x="2773" y="12724"/>
                  <a:pt x="6239" y="12724"/>
                </a:cubicBezTo>
                <a:cubicBezTo>
                  <a:pt x="9641" y="12724"/>
                  <a:pt x="12445" y="9951"/>
                  <a:pt x="12445" y="6486"/>
                </a:cubicBezTo>
                <a:cubicBezTo>
                  <a:pt x="12445" y="5289"/>
                  <a:pt x="12099" y="4123"/>
                  <a:pt x="11468" y="3115"/>
                </a:cubicBezTo>
                <a:lnTo>
                  <a:pt x="12603" y="1981"/>
                </a:lnTo>
                <a:cubicBezTo>
                  <a:pt x="12877" y="1706"/>
                  <a:pt x="12650" y="1255"/>
                  <a:pt x="12292" y="1255"/>
                </a:cubicBezTo>
                <a:cubicBezTo>
                  <a:pt x="12280" y="1255"/>
                  <a:pt x="12268" y="1255"/>
                  <a:pt x="12256" y="1256"/>
                </a:cubicBezTo>
                <a:lnTo>
                  <a:pt x="11342" y="1382"/>
                </a:lnTo>
                <a:lnTo>
                  <a:pt x="11468" y="468"/>
                </a:lnTo>
                <a:cubicBezTo>
                  <a:pt x="11491" y="203"/>
                  <a:pt x="11265" y="0"/>
                  <a:pt x="110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673" name="Google Shape;6673;p73"/>
          <p:cNvGrpSpPr/>
          <p:nvPr/>
        </p:nvGrpSpPr>
        <p:grpSpPr>
          <a:xfrm>
            <a:off x="4082412" y="3315391"/>
            <a:ext cx="489553" cy="490788"/>
            <a:chOff x="-63250675" y="2664125"/>
            <a:chExt cx="317425" cy="318225"/>
          </a:xfrm>
        </p:grpSpPr>
        <p:sp>
          <p:nvSpPr>
            <p:cNvPr id="6674" name="Google Shape;6674;p73"/>
            <p:cNvSpPr/>
            <p:nvPr/>
          </p:nvSpPr>
          <p:spPr>
            <a:xfrm>
              <a:off x="-63250675" y="2664125"/>
              <a:ext cx="317425" cy="318225"/>
            </a:xfrm>
            <a:custGeom>
              <a:avLst/>
              <a:gdLst/>
              <a:ahLst/>
              <a:cxnLst/>
              <a:rect l="l" t="t" r="r" b="b"/>
              <a:pathLst>
                <a:path w="12697" h="12729" extrusionOk="0">
                  <a:moveTo>
                    <a:pt x="6364" y="2521"/>
                  </a:moveTo>
                  <a:cubicBezTo>
                    <a:pt x="8475" y="2521"/>
                    <a:pt x="10208" y="4254"/>
                    <a:pt x="10208" y="6396"/>
                  </a:cubicBezTo>
                  <a:cubicBezTo>
                    <a:pt x="10208" y="8507"/>
                    <a:pt x="8475" y="10240"/>
                    <a:pt x="6364" y="10240"/>
                  </a:cubicBezTo>
                  <a:cubicBezTo>
                    <a:pt x="4222" y="10240"/>
                    <a:pt x="2489" y="8507"/>
                    <a:pt x="2489" y="6396"/>
                  </a:cubicBezTo>
                  <a:cubicBezTo>
                    <a:pt x="2489" y="4254"/>
                    <a:pt x="4222" y="2521"/>
                    <a:pt x="6364" y="2521"/>
                  </a:cubicBezTo>
                  <a:close/>
                  <a:moveTo>
                    <a:pt x="6364" y="1"/>
                  </a:moveTo>
                  <a:cubicBezTo>
                    <a:pt x="6112" y="1"/>
                    <a:pt x="5923" y="190"/>
                    <a:pt x="5923" y="442"/>
                  </a:cubicBezTo>
                  <a:lnTo>
                    <a:pt x="5923" y="1702"/>
                  </a:lnTo>
                  <a:cubicBezTo>
                    <a:pt x="4946" y="1765"/>
                    <a:pt x="4033" y="2174"/>
                    <a:pt x="3308" y="2773"/>
                  </a:cubicBezTo>
                  <a:lnTo>
                    <a:pt x="2426" y="1859"/>
                  </a:lnTo>
                  <a:cubicBezTo>
                    <a:pt x="2347" y="1781"/>
                    <a:pt x="2237" y="1741"/>
                    <a:pt x="2127" y="1741"/>
                  </a:cubicBezTo>
                  <a:cubicBezTo>
                    <a:pt x="2017" y="1741"/>
                    <a:pt x="1906" y="1781"/>
                    <a:pt x="1827" y="1859"/>
                  </a:cubicBezTo>
                  <a:cubicBezTo>
                    <a:pt x="1670" y="2017"/>
                    <a:pt x="1670" y="2300"/>
                    <a:pt x="1827" y="2458"/>
                  </a:cubicBezTo>
                  <a:lnTo>
                    <a:pt x="2741" y="3340"/>
                  </a:lnTo>
                  <a:cubicBezTo>
                    <a:pt x="2143" y="4065"/>
                    <a:pt x="1733" y="4978"/>
                    <a:pt x="1670" y="5955"/>
                  </a:cubicBezTo>
                  <a:lnTo>
                    <a:pt x="410" y="5955"/>
                  </a:lnTo>
                  <a:cubicBezTo>
                    <a:pt x="158" y="5955"/>
                    <a:pt x="0" y="6144"/>
                    <a:pt x="0" y="6333"/>
                  </a:cubicBezTo>
                  <a:cubicBezTo>
                    <a:pt x="0" y="6585"/>
                    <a:pt x="221" y="6774"/>
                    <a:pt x="410" y="6774"/>
                  </a:cubicBezTo>
                  <a:lnTo>
                    <a:pt x="1670" y="6774"/>
                  </a:lnTo>
                  <a:cubicBezTo>
                    <a:pt x="1733" y="7751"/>
                    <a:pt x="2143" y="8664"/>
                    <a:pt x="2741" y="9389"/>
                  </a:cubicBezTo>
                  <a:lnTo>
                    <a:pt x="1827" y="10271"/>
                  </a:lnTo>
                  <a:cubicBezTo>
                    <a:pt x="1670" y="10429"/>
                    <a:pt x="1670" y="10712"/>
                    <a:pt x="1827" y="10870"/>
                  </a:cubicBezTo>
                  <a:cubicBezTo>
                    <a:pt x="1890" y="10964"/>
                    <a:pt x="2017" y="10996"/>
                    <a:pt x="2111" y="10996"/>
                  </a:cubicBezTo>
                  <a:cubicBezTo>
                    <a:pt x="2174" y="10996"/>
                    <a:pt x="2300" y="10964"/>
                    <a:pt x="2363" y="10870"/>
                  </a:cubicBezTo>
                  <a:lnTo>
                    <a:pt x="3277" y="9956"/>
                  </a:lnTo>
                  <a:cubicBezTo>
                    <a:pt x="4001" y="10555"/>
                    <a:pt x="4883" y="10964"/>
                    <a:pt x="5892" y="11027"/>
                  </a:cubicBezTo>
                  <a:lnTo>
                    <a:pt x="5892" y="12287"/>
                  </a:lnTo>
                  <a:cubicBezTo>
                    <a:pt x="5892" y="12508"/>
                    <a:pt x="6081" y="12729"/>
                    <a:pt x="6301" y="12729"/>
                  </a:cubicBezTo>
                  <a:cubicBezTo>
                    <a:pt x="6553" y="12729"/>
                    <a:pt x="6711" y="12508"/>
                    <a:pt x="6711" y="12287"/>
                  </a:cubicBezTo>
                  <a:lnTo>
                    <a:pt x="6711" y="11027"/>
                  </a:lnTo>
                  <a:cubicBezTo>
                    <a:pt x="7687" y="10964"/>
                    <a:pt x="8601" y="10555"/>
                    <a:pt x="9294" y="9956"/>
                  </a:cubicBezTo>
                  <a:lnTo>
                    <a:pt x="10208" y="10870"/>
                  </a:lnTo>
                  <a:cubicBezTo>
                    <a:pt x="10302" y="10964"/>
                    <a:pt x="10397" y="10996"/>
                    <a:pt x="10491" y="10996"/>
                  </a:cubicBezTo>
                  <a:cubicBezTo>
                    <a:pt x="10617" y="10996"/>
                    <a:pt x="10680" y="10964"/>
                    <a:pt x="10775" y="10870"/>
                  </a:cubicBezTo>
                  <a:cubicBezTo>
                    <a:pt x="10932" y="10712"/>
                    <a:pt x="10932" y="10429"/>
                    <a:pt x="10775" y="10271"/>
                  </a:cubicBezTo>
                  <a:lnTo>
                    <a:pt x="9861" y="9389"/>
                  </a:lnTo>
                  <a:cubicBezTo>
                    <a:pt x="10460" y="8664"/>
                    <a:pt x="10838" y="7751"/>
                    <a:pt x="10932" y="6774"/>
                  </a:cubicBezTo>
                  <a:lnTo>
                    <a:pt x="12193" y="6774"/>
                  </a:lnTo>
                  <a:cubicBezTo>
                    <a:pt x="12413" y="6774"/>
                    <a:pt x="12602" y="6585"/>
                    <a:pt x="12602" y="6333"/>
                  </a:cubicBezTo>
                  <a:cubicBezTo>
                    <a:pt x="12697" y="6144"/>
                    <a:pt x="12508" y="5955"/>
                    <a:pt x="12256" y="5955"/>
                  </a:cubicBezTo>
                  <a:lnTo>
                    <a:pt x="10995" y="5955"/>
                  </a:lnTo>
                  <a:cubicBezTo>
                    <a:pt x="10932" y="4978"/>
                    <a:pt x="10523" y="4065"/>
                    <a:pt x="9924" y="3340"/>
                  </a:cubicBezTo>
                  <a:lnTo>
                    <a:pt x="10838" y="2458"/>
                  </a:lnTo>
                  <a:cubicBezTo>
                    <a:pt x="10995" y="2300"/>
                    <a:pt x="10995" y="2017"/>
                    <a:pt x="10838" y="1859"/>
                  </a:cubicBezTo>
                  <a:cubicBezTo>
                    <a:pt x="10759" y="1781"/>
                    <a:pt x="10649" y="1741"/>
                    <a:pt x="10539" y="1741"/>
                  </a:cubicBezTo>
                  <a:cubicBezTo>
                    <a:pt x="10428" y="1741"/>
                    <a:pt x="10318" y="1781"/>
                    <a:pt x="10239" y="1859"/>
                  </a:cubicBezTo>
                  <a:lnTo>
                    <a:pt x="9357" y="2773"/>
                  </a:lnTo>
                  <a:cubicBezTo>
                    <a:pt x="8633" y="2174"/>
                    <a:pt x="7719" y="1765"/>
                    <a:pt x="6742" y="1702"/>
                  </a:cubicBezTo>
                  <a:lnTo>
                    <a:pt x="6742" y="442"/>
                  </a:lnTo>
                  <a:cubicBezTo>
                    <a:pt x="6742" y="190"/>
                    <a:pt x="6553" y="1"/>
                    <a:pt x="6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5" name="Google Shape;6675;p73"/>
            <p:cNvSpPr/>
            <p:nvPr/>
          </p:nvSpPr>
          <p:spPr>
            <a:xfrm>
              <a:off x="-63167975" y="2747625"/>
              <a:ext cx="152025" cy="152025"/>
            </a:xfrm>
            <a:custGeom>
              <a:avLst/>
              <a:gdLst/>
              <a:ahLst/>
              <a:cxnLst/>
              <a:rect l="l" t="t" r="r" b="b"/>
              <a:pathLst>
                <a:path w="6081" h="6081" extrusionOk="0">
                  <a:moveTo>
                    <a:pt x="2615" y="819"/>
                  </a:moveTo>
                  <a:lnTo>
                    <a:pt x="2615" y="1701"/>
                  </a:lnTo>
                  <a:cubicBezTo>
                    <a:pt x="2521" y="1733"/>
                    <a:pt x="2458" y="1733"/>
                    <a:pt x="2363" y="1764"/>
                  </a:cubicBezTo>
                  <a:lnTo>
                    <a:pt x="1796" y="1197"/>
                  </a:lnTo>
                  <a:cubicBezTo>
                    <a:pt x="2017" y="1040"/>
                    <a:pt x="2300" y="914"/>
                    <a:pt x="2615" y="819"/>
                  </a:cubicBezTo>
                  <a:close/>
                  <a:moveTo>
                    <a:pt x="3434" y="882"/>
                  </a:moveTo>
                  <a:cubicBezTo>
                    <a:pt x="3749" y="914"/>
                    <a:pt x="4033" y="1040"/>
                    <a:pt x="4253" y="1229"/>
                  </a:cubicBezTo>
                  <a:lnTo>
                    <a:pt x="3686" y="1827"/>
                  </a:lnTo>
                  <a:cubicBezTo>
                    <a:pt x="3592" y="1796"/>
                    <a:pt x="3529" y="1733"/>
                    <a:pt x="3434" y="1733"/>
                  </a:cubicBezTo>
                  <a:lnTo>
                    <a:pt x="3434" y="882"/>
                  </a:lnTo>
                  <a:close/>
                  <a:moveTo>
                    <a:pt x="1197" y="1796"/>
                  </a:moveTo>
                  <a:lnTo>
                    <a:pt x="1796" y="2363"/>
                  </a:lnTo>
                  <a:cubicBezTo>
                    <a:pt x="1733" y="2457"/>
                    <a:pt x="1701" y="2520"/>
                    <a:pt x="1701" y="2615"/>
                  </a:cubicBezTo>
                  <a:lnTo>
                    <a:pt x="851" y="2615"/>
                  </a:lnTo>
                  <a:cubicBezTo>
                    <a:pt x="914" y="2300"/>
                    <a:pt x="1040" y="2016"/>
                    <a:pt x="1197" y="1796"/>
                  </a:cubicBezTo>
                  <a:close/>
                  <a:moveTo>
                    <a:pt x="4852" y="1796"/>
                  </a:moveTo>
                  <a:cubicBezTo>
                    <a:pt x="5010" y="2016"/>
                    <a:pt x="5136" y="2300"/>
                    <a:pt x="5199" y="2615"/>
                  </a:cubicBezTo>
                  <a:lnTo>
                    <a:pt x="4348" y="2615"/>
                  </a:lnTo>
                  <a:cubicBezTo>
                    <a:pt x="4316" y="2520"/>
                    <a:pt x="4316" y="2457"/>
                    <a:pt x="4253" y="2363"/>
                  </a:cubicBezTo>
                  <a:lnTo>
                    <a:pt x="4852" y="1796"/>
                  </a:lnTo>
                  <a:close/>
                  <a:moveTo>
                    <a:pt x="3056" y="2457"/>
                  </a:moveTo>
                  <a:cubicBezTo>
                    <a:pt x="3214" y="2457"/>
                    <a:pt x="3308" y="2520"/>
                    <a:pt x="3434" y="2615"/>
                  </a:cubicBezTo>
                  <a:cubicBezTo>
                    <a:pt x="3560" y="2741"/>
                    <a:pt x="3592" y="2836"/>
                    <a:pt x="3592" y="2993"/>
                  </a:cubicBezTo>
                  <a:cubicBezTo>
                    <a:pt x="3592" y="3151"/>
                    <a:pt x="3529" y="3308"/>
                    <a:pt x="3434" y="3403"/>
                  </a:cubicBezTo>
                  <a:cubicBezTo>
                    <a:pt x="3308" y="3529"/>
                    <a:pt x="3214" y="3560"/>
                    <a:pt x="3056" y="3560"/>
                  </a:cubicBezTo>
                  <a:cubicBezTo>
                    <a:pt x="2899" y="3560"/>
                    <a:pt x="2773" y="3466"/>
                    <a:pt x="2647" y="3403"/>
                  </a:cubicBezTo>
                  <a:cubicBezTo>
                    <a:pt x="2521" y="3277"/>
                    <a:pt x="2489" y="3151"/>
                    <a:pt x="2489" y="2993"/>
                  </a:cubicBezTo>
                  <a:cubicBezTo>
                    <a:pt x="2489" y="2836"/>
                    <a:pt x="2584" y="2741"/>
                    <a:pt x="2647" y="2615"/>
                  </a:cubicBezTo>
                  <a:cubicBezTo>
                    <a:pt x="2773" y="2489"/>
                    <a:pt x="2899" y="2457"/>
                    <a:pt x="3056" y="2457"/>
                  </a:cubicBezTo>
                  <a:close/>
                  <a:moveTo>
                    <a:pt x="1733" y="3434"/>
                  </a:moveTo>
                  <a:cubicBezTo>
                    <a:pt x="1796" y="3529"/>
                    <a:pt x="1796" y="3592"/>
                    <a:pt x="1828" y="3686"/>
                  </a:cubicBezTo>
                  <a:lnTo>
                    <a:pt x="1229" y="4253"/>
                  </a:lnTo>
                  <a:cubicBezTo>
                    <a:pt x="1040" y="4033"/>
                    <a:pt x="914" y="3749"/>
                    <a:pt x="882" y="3434"/>
                  </a:cubicBezTo>
                  <a:close/>
                  <a:moveTo>
                    <a:pt x="5199" y="3434"/>
                  </a:moveTo>
                  <a:cubicBezTo>
                    <a:pt x="5136" y="3749"/>
                    <a:pt x="5010" y="4033"/>
                    <a:pt x="4852" y="4253"/>
                  </a:cubicBezTo>
                  <a:lnTo>
                    <a:pt x="4253" y="3686"/>
                  </a:lnTo>
                  <a:cubicBezTo>
                    <a:pt x="4316" y="3592"/>
                    <a:pt x="4348" y="3529"/>
                    <a:pt x="4348" y="3434"/>
                  </a:cubicBezTo>
                  <a:close/>
                  <a:moveTo>
                    <a:pt x="2363" y="4253"/>
                  </a:moveTo>
                  <a:cubicBezTo>
                    <a:pt x="2458" y="4316"/>
                    <a:pt x="2521" y="4348"/>
                    <a:pt x="2615" y="4348"/>
                  </a:cubicBezTo>
                  <a:lnTo>
                    <a:pt x="2615" y="5198"/>
                  </a:lnTo>
                  <a:cubicBezTo>
                    <a:pt x="2300" y="5167"/>
                    <a:pt x="2017" y="5041"/>
                    <a:pt x="1796" y="4852"/>
                  </a:cubicBezTo>
                  <a:lnTo>
                    <a:pt x="2363" y="4253"/>
                  </a:lnTo>
                  <a:close/>
                  <a:moveTo>
                    <a:pt x="3686" y="4253"/>
                  </a:moveTo>
                  <a:lnTo>
                    <a:pt x="4253" y="4852"/>
                  </a:lnTo>
                  <a:cubicBezTo>
                    <a:pt x="4033" y="5009"/>
                    <a:pt x="3749" y="5135"/>
                    <a:pt x="3434" y="5198"/>
                  </a:cubicBezTo>
                  <a:lnTo>
                    <a:pt x="3434" y="4348"/>
                  </a:lnTo>
                  <a:cubicBezTo>
                    <a:pt x="3529" y="4316"/>
                    <a:pt x="3592" y="4316"/>
                    <a:pt x="3686" y="4253"/>
                  </a:cubicBezTo>
                  <a:close/>
                  <a:moveTo>
                    <a:pt x="3056" y="0"/>
                  </a:moveTo>
                  <a:cubicBezTo>
                    <a:pt x="1355" y="0"/>
                    <a:pt x="0" y="1386"/>
                    <a:pt x="0" y="3056"/>
                  </a:cubicBezTo>
                  <a:cubicBezTo>
                    <a:pt x="0" y="3875"/>
                    <a:pt x="315" y="4631"/>
                    <a:pt x="882" y="5167"/>
                  </a:cubicBezTo>
                  <a:cubicBezTo>
                    <a:pt x="1229" y="5608"/>
                    <a:pt x="2111" y="6081"/>
                    <a:pt x="3056" y="6081"/>
                  </a:cubicBezTo>
                  <a:cubicBezTo>
                    <a:pt x="4694" y="6081"/>
                    <a:pt x="6081" y="4726"/>
                    <a:pt x="6081" y="3056"/>
                  </a:cubicBezTo>
                  <a:cubicBezTo>
                    <a:pt x="6081" y="1355"/>
                    <a:pt x="4694" y="0"/>
                    <a:pt x="3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76" name="Google Shape;6676;p73"/>
          <p:cNvGrpSpPr/>
          <p:nvPr/>
        </p:nvGrpSpPr>
        <p:grpSpPr>
          <a:xfrm>
            <a:off x="2317961" y="3950600"/>
            <a:ext cx="484696" cy="481688"/>
            <a:chOff x="-61354075" y="1940500"/>
            <a:chExt cx="314275" cy="312325"/>
          </a:xfrm>
        </p:grpSpPr>
        <p:sp>
          <p:nvSpPr>
            <p:cNvPr id="6677" name="Google Shape;6677;p73"/>
            <p:cNvSpPr/>
            <p:nvPr/>
          </p:nvSpPr>
          <p:spPr>
            <a:xfrm>
              <a:off x="-61354075" y="1940500"/>
              <a:ext cx="314275" cy="312325"/>
            </a:xfrm>
            <a:custGeom>
              <a:avLst/>
              <a:gdLst/>
              <a:ahLst/>
              <a:cxnLst/>
              <a:rect l="l" t="t" r="r" b="b"/>
              <a:pathLst>
                <a:path w="12571" h="12493" extrusionOk="0">
                  <a:moveTo>
                    <a:pt x="6270" y="1001"/>
                  </a:moveTo>
                  <a:lnTo>
                    <a:pt x="7687" y="2419"/>
                  </a:lnTo>
                  <a:cubicBezTo>
                    <a:pt x="7750" y="2482"/>
                    <a:pt x="7876" y="2513"/>
                    <a:pt x="7971" y="2513"/>
                  </a:cubicBezTo>
                  <a:lnTo>
                    <a:pt x="9956" y="2513"/>
                  </a:lnTo>
                  <a:lnTo>
                    <a:pt x="9956" y="4529"/>
                  </a:lnTo>
                  <a:cubicBezTo>
                    <a:pt x="9956" y="4655"/>
                    <a:pt x="10019" y="4718"/>
                    <a:pt x="10082" y="4813"/>
                  </a:cubicBezTo>
                  <a:lnTo>
                    <a:pt x="11499" y="6231"/>
                  </a:lnTo>
                  <a:lnTo>
                    <a:pt x="10082" y="7648"/>
                  </a:lnTo>
                  <a:cubicBezTo>
                    <a:pt x="10019" y="7711"/>
                    <a:pt x="9956" y="7837"/>
                    <a:pt x="9956" y="7900"/>
                  </a:cubicBezTo>
                  <a:lnTo>
                    <a:pt x="9956" y="9917"/>
                  </a:lnTo>
                  <a:lnTo>
                    <a:pt x="7971" y="9917"/>
                  </a:lnTo>
                  <a:cubicBezTo>
                    <a:pt x="7845" y="9917"/>
                    <a:pt x="7750" y="9948"/>
                    <a:pt x="7687" y="10043"/>
                  </a:cubicBezTo>
                  <a:lnTo>
                    <a:pt x="6270" y="11460"/>
                  </a:lnTo>
                  <a:lnTo>
                    <a:pt x="4852" y="10043"/>
                  </a:lnTo>
                  <a:cubicBezTo>
                    <a:pt x="4757" y="9948"/>
                    <a:pt x="4631" y="9917"/>
                    <a:pt x="4568" y="9917"/>
                  </a:cubicBezTo>
                  <a:lnTo>
                    <a:pt x="2552" y="9917"/>
                  </a:lnTo>
                  <a:lnTo>
                    <a:pt x="2552" y="7900"/>
                  </a:lnTo>
                  <a:cubicBezTo>
                    <a:pt x="2552" y="7806"/>
                    <a:pt x="2521" y="7711"/>
                    <a:pt x="2426" y="7648"/>
                  </a:cubicBezTo>
                  <a:lnTo>
                    <a:pt x="1008" y="6231"/>
                  </a:lnTo>
                  <a:lnTo>
                    <a:pt x="2426" y="4813"/>
                  </a:lnTo>
                  <a:cubicBezTo>
                    <a:pt x="2521" y="4718"/>
                    <a:pt x="2552" y="4624"/>
                    <a:pt x="2552" y="4529"/>
                  </a:cubicBezTo>
                  <a:lnTo>
                    <a:pt x="2552" y="2513"/>
                  </a:lnTo>
                  <a:lnTo>
                    <a:pt x="4568" y="2513"/>
                  </a:lnTo>
                  <a:cubicBezTo>
                    <a:pt x="4694" y="2513"/>
                    <a:pt x="4757" y="2482"/>
                    <a:pt x="4852" y="2419"/>
                  </a:cubicBezTo>
                  <a:lnTo>
                    <a:pt x="6270" y="1001"/>
                  </a:lnTo>
                  <a:close/>
                  <a:moveTo>
                    <a:pt x="6285" y="1"/>
                  </a:moveTo>
                  <a:cubicBezTo>
                    <a:pt x="6175" y="1"/>
                    <a:pt x="6065" y="40"/>
                    <a:pt x="5986" y="119"/>
                  </a:cubicBezTo>
                  <a:lnTo>
                    <a:pt x="4411" y="1694"/>
                  </a:lnTo>
                  <a:lnTo>
                    <a:pt x="2174" y="1694"/>
                  </a:lnTo>
                  <a:cubicBezTo>
                    <a:pt x="1922" y="1694"/>
                    <a:pt x="1733" y="1883"/>
                    <a:pt x="1733" y="2135"/>
                  </a:cubicBezTo>
                  <a:lnTo>
                    <a:pt x="1733" y="4372"/>
                  </a:lnTo>
                  <a:lnTo>
                    <a:pt x="158" y="5947"/>
                  </a:lnTo>
                  <a:cubicBezTo>
                    <a:pt x="0" y="6105"/>
                    <a:pt x="0" y="6388"/>
                    <a:pt x="158" y="6546"/>
                  </a:cubicBezTo>
                  <a:lnTo>
                    <a:pt x="1733" y="8121"/>
                  </a:lnTo>
                  <a:lnTo>
                    <a:pt x="1733" y="10358"/>
                  </a:lnTo>
                  <a:cubicBezTo>
                    <a:pt x="1733" y="10578"/>
                    <a:pt x="1922" y="10736"/>
                    <a:pt x="2174" y="10736"/>
                  </a:cubicBezTo>
                  <a:lnTo>
                    <a:pt x="4411" y="10736"/>
                  </a:lnTo>
                  <a:lnTo>
                    <a:pt x="5986" y="12374"/>
                  </a:lnTo>
                  <a:cubicBezTo>
                    <a:pt x="6065" y="12453"/>
                    <a:pt x="6175" y="12492"/>
                    <a:pt x="6285" y="12492"/>
                  </a:cubicBezTo>
                  <a:cubicBezTo>
                    <a:pt x="6396" y="12492"/>
                    <a:pt x="6506" y="12453"/>
                    <a:pt x="6585" y="12374"/>
                  </a:cubicBezTo>
                  <a:lnTo>
                    <a:pt x="8160" y="10736"/>
                  </a:lnTo>
                  <a:lnTo>
                    <a:pt x="10397" y="10736"/>
                  </a:lnTo>
                  <a:cubicBezTo>
                    <a:pt x="10617" y="10736"/>
                    <a:pt x="10775" y="10547"/>
                    <a:pt x="10775" y="10358"/>
                  </a:cubicBezTo>
                  <a:lnTo>
                    <a:pt x="10775" y="8121"/>
                  </a:lnTo>
                  <a:lnTo>
                    <a:pt x="12413" y="6546"/>
                  </a:lnTo>
                  <a:cubicBezTo>
                    <a:pt x="12571" y="6388"/>
                    <a:pt x="12571" y="6105"/>
                    <a:pt x="12413" y="5947"/>
                  </a:cubicBezTo>
                  <a:lnTo>
                    <a:pt x="10775" y="4372"/>
                  </a:lnTo>
                  <a:lnTo>
                    <a:pt x="10775" y="2135"/>
                  </a:lnTo>
                  <a:cubicBezTo>
                    <a:pt x="10775" y="1883"/>
                    <a:pt x="10586" y="1694"/>
                    <a:pt x="10397" y="1694"/>
                  </a:cubicBezTo>
                  <a:lnTo>
                    <a:pt x="8160" y="1694"/>
                  </a:lnTo>
                  <a:lnTo>
                    <a:pt x="6585" y="119"/>
                  </a:lnTo>
                  <a:cubicBezTo>
                    <a:pt x="6506" y="40"/>
                    <a:pt x="6396" y="1"/>
                    <a:pt x="62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8" name="Google Shape;6678;p73"/>
            <p:cNvSpPr/>
            <p:nvPr/>
          </p:nvSpPr>
          <p:spPr>
            <a:xfrm>
              <a:off x="-61268225" y="2024575"/>
              <a:ext cx="60650" cy="61475"/>
            </a:xfrm>
            <a:custGeom>
              <a:avLst/>
              <a:gdLst/>
              <a:ahLst/>
              <a:cxnLst/>
              <a:rect l="l" t="t" r="r" b="b"/>
              <a:pathLst>
                <a:path w="2426" h="2459" extrusionOk="0">
                  <a:moveTo>
                    <a:pt x="1197" y="820"/>
                  </a:moveTo>
                  <a:cubicBezTo>
                    <a:pt x="1449" y="820"/>
                    <a:pt x="1607" y="1009"/>
                    <a:pt x="1607" y="1261"/>
                  </a:cubicBezTo>
                  <a:cubicBezTo>
                    <a:pt x="1607" y="1481"/>
                    <a:pt x="1418" y="1639"/>
                    <a:pt x="1197" y="1639"/>
                  </a:cubicBezTo>
                  <a:cubicBezTo>
                    <a:pt x="1008" y="1639"/>
                    <a:pt x="819" y="1450"/>
                    <a:pt x="819" y="1261"/>
                  </a:cubicBezTo>
                  <a:cubicBezTo>
                    <a:pt x="788" y="977"/>
                    <a:pt x="977" y="820"/>
                    <a:pt x="1197" y="820"/>
                  </a:cubicBezTo>
                  <a:close/>
                  <a:moveTo>
                    <a:pt x="1197" y="1"/>
                  </a:moveTo>
                  <a:cubicBezTo>
                    <a:pt x="536" y="1"/>
                    <a:pt x="0" y="536"/>
                    <a:pt x="0" y="1261"/>
                  </a:cubicBezTo>
                  <a:cubicBezTo>
                    <a:pt x="0" y="1954"/>
                    <a:pt x="504" y="2458"/>
                    <a:pt x="1197" y="2458"/>
                  </a:cubicBezTo>
                  <a:cubicBezTo>
                    <a:pt x="1890" y="2458"/>
                    <a:pt x="2426" y="1922"/>
                    <a:pt x="2426" y="1261"/>
                  </a:cubicBezTo>
                  <a:cubicBezTo>
                    <a:pt x="2426" y="568"/>
                    <a:pt x="1890" y="1"/>
                    <a:pt x="11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79" name="Google Shape;6679;p73"/>
            <p:cNvSpPr/>
            <p:nvPr/>
          </p:nvSpPr>
          <p:spPr>
            <a:xfrm>
              <a:off x="-61187100" y="2107275"/>
              <a:ext cx="61450" cy="61475"/>
            </a:xfrm>
            <a:custGeom>
              <a:avLst/>
              <a:gdLst/>
              <a:ahLst/>
              <a:cxnLst/>
              <a:rect l="l" t="t" r="r" b="b"/>
              <a:pathLst>
                <a:path w="2458" h="2459" extrusionOk="0">
                  <a:moveTo>
                    <a:pt x="1229" y="788"/>
                  </a:moveTo>
                  <a:cubicBezTo>
                    <a:pt x="1512" y="820"/>
                    <a:pt x="1670" y="977"/>
                    <a:pt x="1670" y="1198"/>
                  </a:cubicBezTo>
                  <a:cubicBezTo>
                    <a:pt x="1670" y="1450"/>
                    <a:pt x="1481" y="1639"/>
                    <a:pt x="1229" y="1639"/>
                  </a:cubicBezTo>
                  <a:cubicBezTo>
                    <a:pt x="1008" y="1639"/>
                    <a:pt x="851" y="1450"/>
                    <a:pt x="851" y="1198"/>
                  </a:cubicBezTo>
                  <a:cubicBezTo>
                    <a:pt x="851" y="977"/>
                    <a:pt x="1040" y="788"/>
                    <a:pt x="1229" y="788"/>
                  </a:cubicBezTo>
                  <a:close/>
                  <a:moveTo>
                    <a:pt x="1229" y="1"/>
                  </a:moveTo>
                  <a:cubicBezTo>
                    <a:pt x="567" y="1"/>
                    <a:pt x="0" y="536"/>
                    <a:pt x="0" y="1198"/>
                  </a:cubicBezTo>
                  <a:cubicBezTo>
                    <a:pt x="0" y="1891"/>
                    <a:pt x="567" y="2458"/>
                    <a:pt x="1229" y="2458"/>
                  </a:cubicBezTo>
                  <a:cubicBezTo>
                    <a:pt x="1922" y="2458"/>
                    <a:pt x="2458" y="1922"/>
                    <a:pt x="2458" y="1198"/>
                  </a:cubicBezTo>
                  <a:cubicBezTo>
                    <a:pt x="2458" y="536"/>
                    <a:pt x="1922"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0" name="Google Shape;6680;p73"/>
            <p:cNvSpPr/>
            <p:nvPr/>
          </p:nvSpPr>
          <p:spPr>
            <a:xfrm>
              <a:off x="-61250125" y="2044475"/>
              <a:ext cx="105575" cy="103600"/>
            </a:xfrm>
            <a:custGeom>
              <a:avLst/>
              <a:gdLst/>
              <a:ahLst/>
              <a:cxnLst/>
              <a:rect l="l" t="t" r="r" b="b"/>
              <a:pathLst>
                <a:path w="4223" h="4144" extrusionOk="0">
                  <a:moveTo>
                    <a:pt x="3766" y="0"/>
                  </a:moveTo>
                  <a:cubicBezTo>
                    <a:pt x="3655" y="0"/>
                    <a:pt x="3545" y="40"/>
                    <a:pt x="3466" y="118"/>
                  </a:cubicBezTo>
                  <a:lnTo>
                    <a:pt x="158" y="3426"/>
                  </a:lnTo>
                  <a:cubicBezTo>
                    <a:pt x="1" y="3615"/>
                    <a:pt x="1" y="3836"/>
                    <a:pt x="158" y="4025"/>
                  </a:cubicBezTo>
                  <a:cubicBezTo>
                    <a:pt x="237" y="4104"/>
                    <a:pt x="347" y="4143"/>
                    <a:pt x="458" y="4143"/>
                  </a:cubicBezTo>
                  <a:cubicBezTo>
                    <a:pt x="568" y="4143"/>
                    <a:pt x="678" y="4104"/>
                    <a:pt x="757" y="4025"/>
                  </a:cubicBezTo>
                  <a:lnTo>
                    <a:pt x="4065" y="717"/>
                  </a:lnTo>
                  <a:cubicBezTo>
                    <a:pt x="4222" y="559"/>
                    <a:pt x="4222" y="276"/>
                    <a:pt x="4065" y="118"/>
                  </a:cubicBezTo>
                  <a:cubicBezTo>
                    <a:pt x="3986" y="40"/>
                    <a:pt x="3876" y="0"/>
                    <a:pt x="37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81" name="Google Shape;6681;p73"/>
          <p:cNvGrpSpPr/>
          <p:nvPr/>
        </p:nvGrpSpPr>
        <p:grpSpPr>
          <a:xfrm>
            <a:off x="2316131" y="4548670"/>
            <a:ext cx="488359" cy="448260"/>
            <a:chOff x="-61354875" y="2322300"/>
            <a:chExt cx="316650" cy="290650"/>
          </a:xfrm>
        </p:grpSpPr>
        <p:sp>
          <p:nvSpPr>
            <p:cNvPr id="6682" name="Google Shape;6682;p73"/>
            <p:cNvSpPr/>
            <p:nvPr/>
          </p:nvSpPr>
          <p:spPr>
            <a:xfrm>
              <a:off x="-61354875" y="2322300"/>
              <a:ext cx="316650" cy="290650"/>
            </a:xfrm>
            <a:custGeom>
              <a:avLst/>
              <a:gdLst/>
              <a:ahLst/>
              <a:cxnLst/>
              <a:rect l="l" t="t" r="r" b="b"/>
              <a:pathLst>
                <a:path w="12666" h="11626" extrusionOk="0">
                  <a:moveTo>
                    <a:pt x="11405" y="788"/>
                  </a:moveTo>
                  <a:cubicBezTo>
                    <a:pt x="11657" y="788"/>
                    <a:pt x="11847" y="1009"/>
                    <a:pt x="11847" y="1229"/>
                  </a:cubicBezTo>
                  <a:lnTo>
                    <a:pt x="11847" y="10334"/>
                  </a:lnTo>
                  <a:cubicBezTo>
                    <a:pt x="11847" y="10555"/>
                    <a:pt x="11657" y="10775"/>
                    <a:pt x="11405" y="10775"/>
                  </a:cubicBezTo>
                  <a:lnTo>
                    <a:pt x="1198" y="10775"/>
                  </a:lnTo>
                  <a:cubicBezTo>
                    <a:pt x="977" y="10775"/>
                    <a:pt x="820" y="10555"/>
                    <a:pt x="820" y="10334"/>
                  </a:cubicBezTo>
                  <a:lnTo>
                    <a:pt x="820" y="1229"/>
                  </a:lnTo>
                  <a:cubicBezTo>
                    <a:pt x="820" y="1009"/>
                    <a:pt x="1009" y="788"/>
                    <a:pt x="1198" y="788"/>
                  </a:cubicBezTo>
                  <a:close/>
                  <a:moveTo>
                    <a:pt x="1198" y="0"/>
                  </a:moveTo>
                  <a:cubicBezTo>
                    <a:pt x="536" y="0"/>
                    <a:pt x="1" y="568"/>
                    <a:pt x="1" y="1261"/>
                  </a:cubicBezTo>
                  <a:lnTo>
                    <a:pt x="1" y="10366"/>
                  </a:lnTo>
                  <a:cubicBezTo>
                    <a:pt x="1" y="11027"/>
                    <a:pt x="536" y="11626"/>
                    <a:pt x="1198" y="11626"/>
                  </a:cubicBezTo>
                  <a:lnTo>
                    <a:pt x="11405" y="11626"/>
                  </a:lnTo>
                  <a:cubicBezTo>
                    <a:pt x="12067" y="11626"/>
                    <a:pt x="12666" y="11059"/>
                    <a:pt x="12666" y="10366"/>
                  </a:cubicBezTo>
                  <a:lnTo>
                    <a:pt x="12666" y="1261"/>
                  </a:lnTo>
                  <a:cubicBezTo>
                    <a:pt x="12666" y="568"/>
                    <a:pt x="12130"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3" name="Google Shape;6683;p73"/>
            <p:cNvSpPr/>
            <p:nvPr/>
          </p:nvSpPr>
          <p:spPr>
            <a:xfrm>
              <a:off x="-61313925" y="2364050"/>
              <a:ext cx="234750" cy="206375"/>
            </a:xfrm>
            <a:custGeom>
              <a:avLst/>
              <a:gdLst/>
              <a:ahLst/>
              <a:cxnLst/>
              <a:rect l="l" t="t" r="r" b="b"/>
              <a:pathLst>
                <a:path w="9390" h="8255" extrusionOk="0">
                  <a:moveTo>
                    <a:pt x="8539" y="819"/>
                  </a:moveTo>
                  <a:lnTo>
                    <a:pt x="8539" y="7435"/>
                  </a:lnTo>
                  <a:lnTo>
                    <a:pt x="820" y="7435"/>
                  </a:lnTo>
                  <a:lnTo>
                    <a:pt x="820" y="6207"/>
                  </a:lnTo>
                  <a:lnTo>
                    <a:pt x="1671" y="6207"/>
                  </a:lnTo>
                  <a:cubicBezTo>
                    <a:pt x="1891" y="6207"/>
                    <a:pt x="2080" y="6018"/>
                    <a:pt x="2080" y="5797"/>
                  </a:cubicBezTo>
                  <a:cubicBezTo>
                    <a:pt x="2080" y="5545"/>
                    <a:pt x="1891" y="5356"/>
                    <a:pt x="1671" y="5356"/>
                  </a:cubicBezTo>
                  <a:lnTo>
                    <a:pt x="820" y="5356"/>
                  </a:lnTo>
                  <a:lnTo>
                    <a:pt x="820" y="2867"/>
                  </a:lnTo>
                  <a:lnTo>
                    <a:pt x="1671" y="2867"/>
                  </a:lnTo>
                  <a:cubicBezTo>
                    <a:pt x="1891" y="2867"/>
                    <a:pt x="2080" y="2678"/>
                    <a:pt x="2080" y="2426"/>
                  </a:cubicBezTo>
                  <a:cubicBezTo>
                    <a:pt x="2080" y="2206"/>
                    <a:pt x="1891" y="2048"/>
                    <a:pt x="1671" y="2048"/>
                  </a:cubicBezTo>
                  <a:lnTo>
                    <a:pt x="820" y="2048"/>
                  </a:lnTo>
                  <a:lnTo>
                    <a:pt x="820" y="819"/>
                  </a:lnTo>
                  <a:close/>
                  <a:moveTo>
                    <a:pt x="410" y="0"/>
                  </a:moveTo>
                  <a:cubicBezTo>
                    <a:pt x="158" y="0"/>
                    <a:pt x="1" y="189"/>
                    <a:pt x="1" y="378"/>
                  </a:cubicBezTo>
                  <a:lnTo>
                    <a:pt x="1" y="7845"/>
                  </a:lnTo>
                  <a:cubicBezTo>
                    <a:pt x="1" y="8065"/>
                    <a:pt x="190" y="8255"/>
                    <a:pt x="410" y="8255"/>
                  </a:cubicBezTo>
                  <a:lnTo>
                    <a:pt x="8948" y="8255"/>
                  </a:lnTo>
                  <a:cubicBezTo>
                    <a:pt x="9169" y="8255"/>
                    <a:pt x="9326" y="8065"/>
                    <a:pt x="9326" y="7845"/>
                  </a:cubicBezTo>
                  <a:lnTo>
                    <a:pt x="9326" y="378"/>
                  </a:lnTo>
                  <a:cubicBezTo>
                    <a:pt x="9389" y="158"/>
                    <a:pt x="9169" y="0"/>
                    <a:pt x="89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4" name="Google Shape;6684;p73"/>
            <p:cNvSpPr/>
            <p:nvPr/>
          </p:nvSpPr>
          <p:spPr>
            <a:xfrm>
              <a:off x="-61234375" y="2416225"/>
              <a:ext cx="104775" cy="102225"/>
            </a:xfrm>
            <a:custGeom>
              <a:avLst/>
              <a:gdLst/>
              <a:ahLst/>
              <a:cxnLst/>
              <a:rect l="l" t="t" r="r" b="b"/>
              <a:pathLst>
                <a:path w="4191" h="4089" extrusionOk="0">
                  <a:moveTo>
                    <a:pt x="2175" y="1221"/>
                  </a:moveTo>
                  <a:cubicBezTo>
                    <a:pt x="2647" y="1221"/>
                    <a:pt x="2994" y="1568"/>
                    <a:pt x="2994" y="2040"/>
                  </a:cubicBezTo>
                  <a:cubicBezTo>
                    <a:pt x="2994" y="2513"/>
                    <a:pt x="2647" y="2859"/>
                    <a:pt x="2175" y="2859"/>
                  </a:cubicBezTo>
                  <a:cubicBezTo>
                    <a:pt x="1702" y="2859"/>
                    <a:pt x="1356" y="2513"/>
                    <a:pt x="1356" y="2040"/>
                  </a:cubicBezTo>
                  <a:cubicBezTo>
                    <a:pt x="1356" y="1568"/>
                    <a:pt x="1702" y="1221"/>
                    <a:pt x="2175" y="1221"/>
                  </a:cubicBezTo>
                  <a:close/>
                  <a:moveTo>
                    <a:pt x="458" y="0"/>
                  </a:moveTo>
                  <a:cubicBezTo>
                    <a:pt x="347" y="0"/>
                    <a:pt x="237" y="40"/>
                    <a:pt x="158" y="119"/>
                  </a:cubicBezTo>
                  <a:cubicBezTo>
                    <a:pt x="1" y="276"/>
                    <a:pt x="1" y="560"/>
                    <a:pt x="158" y="717"/>
                  </a:cubicBezTo>
                  <a:lnTo>
                    <a:pt x="694" y="1221"/>
                  </a:lnTo>
                  <a:cubicBezTo>
                    <a:pt x="536" y="1442"/>
                    <a:pt x="442" y="1757"/>
                    <a:pt x="442" y="2040"/>
                  </a:cubicBezTo>
                  <a:cubicBezTo>
                    <a:pt x="442" y="2324"/>
                    <a:pt x="536" y="2639"/>
                    <a:pt x="694" y="2859"/>
                  </a:cubicBezTo>
                  <a:lnTo>
                    <a:pt x="158" y="3395"/>
                  </a:lnTo>
                  <a:cubicBezTo>
                    <a:pt x="95" y="3553"/>
                    <a:pt x="95" y="3805"/>
                    <a:pt x="253" y="3962"/>
                  </a:cubicBezTo>
                  <a:cubicBezTo>
                    <a:pt x="316" y="4057"/>
                    <a:pt x="442" y="4088"/>
                    <a:pt x="536" y="4088"/>
                  </a:cubicBezTo>
                  <a:cubicBezTo>
                    <a:pt x="631" y="4088"/>
                    <a:pt x="726" y="4057"/>
                    <a:pt x="789" y="3962"/>
                  </a:cubicBezTo>
                  <a:lnTo>
                    <a:pt x="1324" y="3458"/>
                  </a:lnTo>
                  <a:cubicBezTo>
                    <a:pt x="1545" y="3616"/>
                    <a:pt x="1860" y="3710"/>
                    <a:pt x="2143" y="3710"/>
                  </a:cubicBezTo>
                  <a:cubicBezTo>
                    <a:pt x="2427" y="3710"/>
                    <a:pt x="2742" y="3616"/>
                    <a:pt x="2962" y="3458"/>
                  </a:cubicBezTo>
                  <a:lnTo>
                    <a:pt x="3498" y="3962"/>
                  </a:lnTo>
                  <a:cubicBezTo>
                    <a:pt x="3561" y="4057"/>
                    <a:pt x="3687" y="4088"/>
                    <a:pt x="3750" y="4088"/>
                  </a:cubicBezTo>
                  <a:cubicBezTo>
                    <a:pt x="3876" y="4088"/>
                    <a:pt x="3971" y="4057"/>
                    <a:pt x="4034" y="3962"/>
                  </a:cubicBezTo>
                  <a:cubicBezTo>
                    <a:pt x="4191" y="3805"/>
                    <a:pt x="4191" y="3553"/>
                    <a:pt x="4034" y="3395"/>
                  </a:cubicBezTo>
                  <a:lnTo>
                    <a:pt x="3529" y="2859"/>
                  </a:lnTo>
                  <a:cubicBezTo>
                    <a:pt x="3687" y="2639"/>
                    <a:pt x="3750" y="2324"/>
                    <a:pt x="3750" y="2040"/>
                  </a:cubicBezTo>
                  <a:cubicBezTo>
                    <a:pt x="3750" y="1757"/>
                    <a:pt x="3687" y="1442"/>
                    <a:pt x="3529" y="1221"/>
                  </a:cubicBezTo>
                  <a:lnTo>
                    <a:pt x="4034" y="717"/>
                  </a:lnTo>
                  <a:cubicBezTo>
                    <a:pt x="4191" y="560"/>
                    <a:pt x="4191" y="276"/>
                    <a:pt x="4034" y="119"/>
                  </a:cubicBezTo>
                  <a:cubicBezTo>
                    <a:pt x="3955" y="40"/>
                    <a:pt x="3845" y="0"/>
                    <a:pt x="3734" y="0"/>
                  </a:cubicBezTo>
                  <a:cubicBezTo>
                    <a:pt x="3624" y="0"/>
                    <a:pt x="3514" y="40"/>
                    <a:pt x="3435" y="119"/>
                  </a:cubicBezTo>
                  <a:lnTo>
                    <a:pt x="2931" y="623"/>
                  </a:lnTo>
                  <a:cubicBezTo>
                    <a:pt x="2679" y="465"/>
                    <a:pt x="2395" y="402"/>
                    <a:pt x="2112" y="402"/>
                  </a:cubicBezTo>
                  <a:cubicBezTo>
                    <a:pt x="1828" y="402"/>
                    <a:pt x="1513" y="465"/>
                    <a:pt x="1261" y="623"/>
                  </a:cubicBezTo>
                  <a:lnTo>
                    <a:pt x="757" y="119"/>
                  </a:lnTo>
                  <a:cubicBezTo>
                    <a:pt x="678" y="40"/>
                    <a:pt x="568" y="0"/>
                    <a:pt x="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85" name="Google Shape;6685;p73"/>
          <p:cNvGrpSpPr/>
          <p:nvPr/>
        </p:nvGrpSpPr>
        <p:grpSpPr>
          <a:xfrm>
            <a:off x="2316131" y="5118755"/>
            <a:ext cx="488359" cy="488359"/>
            <a:chOff x="-61354875" y="2671225"/>
            <a:chExt cx="316650" cy="316650"/>
          </a:xfrm>
        </p:grpSpPr>
        <p:sp>
          <p:nvSpPr>
            <p:cNvPr id="6686" name="Google Shape;6686;p73"/>
            <p:cNvSpPr/>
            <p:nvPr/>
          </p:nvSpPr>
          <p:spPr>
            <a:xfrm>
              <a:off x="-61354875" y="2671225"/>
              <a:ext cx="316650" cy="316650"/>
            </a:xfrm>
            <a:custGeom>
              <a:avLst/>
              <a:gdLst/>
              <a:ahLst/>
              <a:cxnLst/>
              <a:rect l="l" t="t" r="r" b="b"/>
              <a:pathLst>
                <a:path w="12666" h="12666" extrusionOk="0">
                  <a:moveTo>
                    <a:pt x="11405" y="1701"/>
                  </a:moveTo>
                  <a:cubicBezTo>
                    <a:pt x="11657" y="1701"/>
                    <a:pt x="11847" y="1890"/>
                    <a:pt x="11847" y="2111"/>
                  </a:cubicBezTo>
                  <a:lnTo>
                    <a:pt x="11847" y="3340"/>
                  </a:lnTo>
                  <a:lnTo>
                    <a:pt x="820" y="3340"/>
                  </a:lnTo>
                  <a:lnTo>
                    <a:pt x="820" y="2111"/>
                  </a:lnTo>
                  <a:cubicBezTo>
                    <a:pt x="820" y="1890"/>
                    <a:pt x="1009" y="1701"/>
                    <a:pt x="1198" y="1701"/>
                  </a:cubicBezTo>
                  <a:lnTo>
                    <a:pt x="1639" y="1701"/>
                  </a:lnTo>
                  <a:lnTo>
                    <a:pt x="1639" y="2111"/>
                  </a:lnTo>
                  <a:cubicBezTo>
                    <a:pt x="1639" y="2363"/>
                    <a:pt x="1828" y="2552"/>
                    <a:pt x="2048" y="2552"/>
                  </a:cubicBezTo>
                  <a:cubicBezTo>
                    <a:pt x="2237" y="2552"/>
                    <a:pt x="2427" y="2363"/>
                    <a:pt x="2427" y="2111"/>
                  </a:cubicBezTo>
                  <a:lnTo>
                    <a:pt x="2427" y="1701"/>
                  </a:lnTo>
                  <a:lnTo>
                    <a:pt x="5892" y="1701"/>
                  </a:lnTo>
                  <a:lnTo>
                    <a:pt x="5892" y="2111"/>
                  </a:lnTo>
                  <a:cubicBezTo>
                    <a:pt x="5892" y="2363"/>
                    <a:pt x="6081" y="2552"/>
                    <a:pt x="6333" y="2552"/>
                  </a:cubicBezTo>
                  <a:cubicBezTo>
                    <a:pt x="6585" y="2552"/>
                    <a:pt x="6743" y="2363"/>
                    <a:pt x="6743" y="2111"/>
                  </a:cubicBezTo>
                  <a:lnTo>
                    <a:pt x="6743" y="1701"/>
                  </a:lnTo>
                  <a:lnTo>
                    <a:pt x="10208" y="1701"/>
                  </a:lnTo>
                  <a:lnTo>
                    <a:pt x="10208" y="2111"/>
                  </a:lnTo>
                  <a:cubicBezTo>
                    <a:pt x="10208" y="2363"/>
                    <a:pt x="10397" y="2552"/>
                    <a:pt x="10618" y="2552"/>
                  </a:cubicBezTo>
                  <a:cubicBezTo>
                    <a:pt x="10870" y="2552"/>
                    <a:pt x="11027" y="2363"/>
                    <a:pt x="11027" y="2111"/>
                  </a:cubicBezTo>
                  <a:lnTo>
                    <a:pt x="11027" y="1701"/>
                  </a:lnTo>
                  <a:close/>
                  <a:moveTo>
                    <a:pt x="11878" y="4159"/>
                  </a:moveTo>
                  <a:lnTo>
                    <a:pt x="11878" y="6112"/>
                  </a:lnTo>
                  <a:lnTo>
                    <a:pt x="11847" y="6112"/>
                  </a:lnTo>
                  <a:cubicBezTo>
                    <a:pt x="11090" y="5072"/>
                    <a:pt x="9862" y="4442"/>
                    <a:pt x="8538" y="4442"/>
                  </a:cubicBezTo>
                  <a:cubicBezTo>
                    <a:pt x="6239" y="4442"/>
                    <a:pt x="4411" y="6301"/>
                    <a:pt x="4411" y="8569"/>
                  </a:cubicBezTo>
                  <a:cubicBezTo>
                    <a:pt x="4411" y="9168"/>
                    <a:pt x="4506" y="9735"/>
                    <a:pt x="4758" y="10239"/>
                  </a:cubicBezTo>
                  <a:lnTo>
                    <a:pt x="1261" y="10239"/>
                  </a:lnTo>
                  <a:cubicBezTo>
                    <a:pt x="1009" y="10239"/>
                    <a:pt x="851" y="10050"/>
                    <a:pt x="851" y="9830"/>
                  </a:cubicBezTo>
                  <a:lnTo>
                    <a:pt x="851" y="4159"/>
                  </a:lnTo>
                  <a:close/>
                  <a:moveTo>
                    <a:pt x="8538" y="5261"/>
                  </a:moveTo>
                  <a:cubicBezTo>
                    <a:pt x="10334" y="5261"/>
                    <a:pt x="11847" y="6774"/>
                    <a:pt x="11847" y="8569"/>
                  </a:cubicBezTo>
                  <a:cubicBezTo>
                    <a:pt x="11847" y="10397"/>
                    <a:pt x="10334" y="11877"/>
                    <a:pt x="8538" y="11877"/>
                  </a:cubicBezTo>
                  <a:cubicBezTo>
                    <a:pt x="6711" y="11877"/>
                    <a:pt x="5230" y="10397"/>
                    <a:pt x="5230" y="8569"/>
                  </a:cubicBezTo>
                  <a:cubicBezTo>
                    <a:pt x="5230" y="6774"/>
                    <a:pt x="6743" y="5261"/>
                    <a:pt x="8538" y="5261"/>
                  </a:cubicBezTo>
                  <a:close/>
                  <a:moveTo>
                    <a:pt x="2048" y="0"/>
                  </a:moveTo>
                  <a:cubicBezTo>
                    <a:pt x="1828" y="0"/>
                    <a:pt x="1639" y="189"/>
                    <a:pt x="1639" y="441"/>
                  </a:cubicBezTo>
                  <a:lnTo>
                    <a:pt x="1639" y="851"/>
                  </a:lnTo>
                  <a:lnTo>
                    <a:pt x="1198" y="851"/>
                  </a:lnTo>
                  <a:cubicBezTo>
                    <a:pt x="536" y="851"/>
                    <a:pt x="1" y="1418"/>
                    <a:pt x="1" y="2079"/>
                  </a:cubicBezTo>
                  <a:lnTo>
                    <a:pt x="1" y="9798"/>
                  </a:lnTo>
                  <a:cubicBezTo>
                    <a:pt x="1" y="10460"/>
                    <a:pt x="536" y="11027"/>
                    <a:pt x="1198" y="11027"/>
                  </a:cubicBezTo>
                  <a:lnTo>
                    <a:pt x="5230" y="11027"/>
                  </a:lnTo>
                  <a:cubicBezTo>
                    <a:pt x="5987" y="12003"/>
                    <a:pt x="7184" y="12665"/>
                    <a:pt x="8538" y="12665"/>
                  </a:cubicBezTo>
                  <a:cubicBezTo>
                    <a:pt x="10807" y="12665"/>
                    <a:pt x="12666" y="10838"/>
                    <a:pt x="12666" y="8538"/>
                  </a:cubicBezTo>
                  <a:lnTo>
                    <a:pt x="12666" y="2079"/>
                  </a:lnTo>
                  <a:cubicBezTo>
                    <a:pt x="12666" y="1418"/>
                    <a:pt x="12130" y="851"/>
                    <a:pt x="11405" y="851"/>
                  </a:cubicBezTo>
                  <a:lnTo>
                    <a:pt x="11027" y="851"/>
                  </a:lnTo>
                  <a:lnTo>
                    <a:pt x="11027" y="441"/>
                  </a:lnTo>
                  <a:cubicBezTo>
                    <a:pt x="11027" y="189"/>
                    <a:pt x="10807" y="0"/>
                    <a:pt x="10618" y="0"/>
                  </a:cubicBezTo>
                  <a:cubicBezTo>
                    <a:pt x="10397" y="0"/>
                    <a:pt x="10177" y="189"/>
                    <a:pt x="10177" y="441"/>
                  </a:cubicBezTo>
                  <a:lnTo>
                    <a:pt x="10177" y="851"/>
                  </a:lnTo>
                  <a:lnTo>
                    <a:pt x="6711" y="851"/>
                  </a:lnTo>
                  <a:lnTo>
                    <a:pt x="6711" y="441"/>
                  </a:lnTo>
                  <a:cubicBezTo>
                    <a:pt x="6711" y="189"/>
                    <a:pt x="6522" y="0"/>
                    <a:pt x="6333" y="0"/>
                  </a:cubicBezTo>
                  <a:cubicBezTo>
                    <a:pt x="6081" y="0"/>
                    <a:pt x="5892" y="189"/>
                    <a:pt x="5892" y="441"/>
                  </a:cubicBezTo>
                  <a:lnTo>
                    <a:pt x="5892" y="851"/>
                  </a:lnTo>
                  <a:lnTo>
                    <a:pt x="2427" y="851"/>
                  </a:lnTo>
                  <a:lnTo>
                    <a:pt x="2427" y="441"/>
                  </a:lnTo>
                  <a:cubicBezTo>
                    <a:pt x="2427" y="189"/>
                    <a:pt x="2237"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7" name="Google Shape;6687;p73"/>
            <p:cNvSpPr/>
            <p:nvPr/>
          </p:nvSpPr>
          <p:spPr>
            <a:xfrm>
              <a:off x="-61172925" y="2813775"/>
              <a:ext cx="62225" cy="145725"/>
            </a:xfrm>
            <a:custGeom>
              <a:avLst/>
              <a:gdLst/>
              <a:ahLst/>
              <a:cxnLst/>
              <a:rect l="l" t="t" r="r" b="b"/>
              <a:pathLst>
                <a:path w="2489" h="5829" extrusionOk="0">
                  <a:moveTo>
                    <a:pt x="1260" y="0"/>
                  </a:moveTo>
                  <a:cubicBezTo>
                    <a:pt x="1008" y="0"/>
                    <a:pt x="819" y="190"/>
                    <a:pt x="819" y="410"/>
                  </a:cubicBezTo>
                  <a:lnTo>
                    <a:pt x="819" y="662"/>
                  </a:lnTo>
                  <a:cubicBezTo>
                    <a:pt x="347" y="820"/>
                    <a:pt x="0" y="1292"/>
                    <a:pt x="0" y="1859"/>
                  </a:cubicBezTo>
                  <a:cubicBezTo>
                    <a:pt x="0" y="2521"/>
                    <a:pt x="536" y="2899"/>
                    <a:pt x="977" y="3245"/>
                  </a:cubicBezTo>
                  <a:cubicBezTo>
                    <a:pt x="1292" y="3466"/>
                    <a:pt x="1639" y="3687"/>
                    <a:pt x="1639" y="3939"/>
                  </a:cubicBezTo>
                  <a:cubicBezTo>
                    <a:pt x="1639" y="4191"/>
                    <a:pt x="1450" y="4380"/>
                    <a:pt x="1260" y="4380"/>
                  </a:cubicBezTo>
                  <a:cubicBezTo>
                    <a:pt x="1008" y="4380"/>
                    <a:pt x="819" y="4191"/>
                    <a:pt x="819" y="3939"/>
                  </a:cubicBezTo>
                  <a:cubicBezTo>
                    <a:pt x="819" y="3718"/>
                    <a:pt x="630" y="3498"/>
                    <a:pt x="441" y="3498"/>
                  </a:cubicBezTo>
                  <a:cubicBezTo>
                    <a:pt x="189" y="3498"/>
                    <a:pt x="0" y="3718"/>
                    <a:pt x="0" y="3939"/>
                  </a:cubicBezTo>
                  <a:cubicBezTo>
                    <a:pt x="0" y="4506"/>
                    <a:pt x="347" y="4915"/>
                    <a:pt x="819" y="5136"/>
                  </a:cubicBezTo>
                  <a:lnTo>
                    <a:pt x="819" y="5388"/>
                  </a:lnTo>
                  <a:cubicBezTo>
                    <a:pt x="819" y="5640"/>
                    <a:pt x="1008" y="5829"/>
                    <a:pt x="1260" y="5829"/>
                  </a:cubicBezTo>
                  <a:cubicBezTo>
                    <a:pt x="1481" y="5829"/>
                    <a:pt x="1639" y="5640"/>
                    <a:pt x="1639" y="5388"/>
                  </a:cubicBezTo>
                  <a:lnTo>
                    <a:pt x="1639" y="5136"/>
                  </a:lnTo>
                  <a:cubicBezTo>
                    <a:pt x="2111" y="4978"/>
                    <a:pt x="2489" y="4506"/>
                    <a:pt x="2489" y="3939"/>
                  </a:cubicBezTo>
                  <a:cubicBezTo>
                    <a:pt x="2489" y="3277"/>
                    <a:pt x="1922" y="2867"/>
                    <a:pt x="1481" y="2552"/>
                  </a:cubicBezTo>
                  <a:cubicBezTo>
                    <a:pt x="1166" y="2332"/>
                    <a:pt x="819" y="2080"/>
                    <a:pt x="819" y="1859"/>
                  </a:cubicBezTo>
                  <a:cubicBezTo>
                    <a:pt x="819" y="1607"/>
                    <a:pt x="1008" y="1418"/>
                    <a:pt x="1260" y="1418"/>
                  </a:cubicBezTo>
                  <a:cubicBezTo>
                    <a:pt x="1513" y="1418"/>
                    <a:pt x="1639" y="1607"/>
                    <a:pt x="1639" y="1859"/>
                  </a:cubicBezTo>
                  <a:cubicBezTo>
                    <a:pt x="1639" y="2080"/>
                    <a:pt x="1859" y="2269"/>
                    <a:pt x="2048" y="2269"/>
                  </a:cubicBezTo>
                  <a:cubicBezTo>
                    <a:pt x="2300" y="2269"/>
                    <a:pt x="2489" y="2080"/>
                    <a:pt x="2489" y="1859"/>
                  </a:cubicBezTo>
                  <a:cubicBezTo>
                    <a:pt x="2489" y="1292"/>
                    <a:pt x="2143" y="883"/>
                    <a:pt x="1639" y="662"/>
                  </a:cubicBezTo>
                  <a:lnTo>
                    <a:pt x="1639" y="410"/>
                  </a:lnTo>
                  <a:cubicBezTo>
                    <a:pt x="1639" y="158"/>
                    <a:pt x="1450" y="0"/>
                    <a:pt x="12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8" name="Google Shape;6688;p73"/>
            <p:cNvSpPr/>
            <p:nvPr/>
          </p:nvSpPr>
          <p:spPr>
            <a:xfrm>
              <a:off x="-61313925" y="2796450"/>
              <a:ext cx="40975" cy="20500"/>
            </a:xfrm>
            <a:custGeom>
              <a:avLst/>
              <a:gdLst/>
              <a:ahLst/>
              <a:cxnLst/>
              <a:rect l="l" t="t" r="r" b="b"/>
              <a:pathLst>
                <a:path w="1639" h="820" extrusionOk="0">
                  <a:moveTo>
                    <a:pt x="410" y="0"/>
                  </a:moveTo>
                  <a:cubicBezTo>
                    <a:pt x="158" y="0"/>
                    <a:pt x="1" y="189"/>
                    <a:pt x="1" y="378"/>
                  </a:cubicBezTo>
                  <a:cubicBezTo>
                    <a:pt x="1" y="630"/>
                    <a:pt x="158" y="820"/>
                    <a:pt x="410" y="820"/>
                  </a:cubicBezTo>
                  <a:lnTo>
                    <a:pt x="1230" y="820"/>
                  </a:lnTo>
                  <a:cubicBezTo>
                    <a:pt x="1482" y="820"/>
                    <a:pt x="1639" y="630"/>
                    <a:pt x="1639" y="378"/>
                  </a:cubicBezTo>
                  <a:cubicBezTo>
                    <a:pt x="1639" y="158"/>
                    <a:pt x="1419" y="0"/>
                    <a:pt x="1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89" name="Google Shape;6689;p73"/>
            <p:cNvSpPr/>
            <p:nvPr/>
          </p:nvSpPr>
          <p:spPr>
            <a:xfrm>
              <a:off x="-61313925" y="2837400"/>
              <a:ext cx="40975" cy="20500"/>
            </a:xfrm>
            <a:custGeom>
              <a:avLst/>
              <a:gdLst/>
              <a:ahLst/>
              <a:cxnLst/>
              <a:rect l="l" t="t" r="r" b="b"/>
              <a:pathLst>
                <a:path w="1639" h="820" extrusionOk="0">
                  <a:moveTo>
                    <a:pt x="410" y="1"/>
                  </a:moveTo>
                  <a:cubicBezTo>
                    <a:pt x="158" y="1"/>
                    <a:pt x="1" y="190"/>
                    <a:pt x="1" y="442"/>
                  </a:cubicBezTo>
                  <a:cubicBezTo>
                    <a:pt x="1" y="631"/>
                    <a:pt x="158" y="820"/>
                    <a:pt x="410" y="820"/>
                  </a:cubicBezTo>
                  <a:lnTo>
                    <a:pt x="1230" y="820"/>
                  </a:lnTo>
                  <a:cubicBezTo>
                    <a:pt x="1482" y="820"/>
                    <a:pt x="1639" y="631"/>
                    <a:pt x="1639" y="442"/>
                  </a:cubicBezTo>
                  <a:cubicBezTo>
                    <a:pt x="1639" y="190"/>
                    <a:pt x="1419" y="1"/>
                    <a:pt x="12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0" name="Google Shape;6690;p73"/>
            <p:cNvSpPr/>
            <p:nvPr/>
          </p:nvSpPr>
          <p:spPr>
            <a:xfrm>
              <a:off x="-61313925" y="2877575"/>
              <a:ext cx="40975" cy="22075"/>
            </a:xfrm>
            <a:custGeom>
              <a:avLst/>
              <a:gdLst/>
              <a:ahLst/>
              <a:cxnLst/>
              <a:rect l="l" t="t" r="r" b="b"/>
              <a:pathLst>
                <a:path w="1639" h="883" extrusionOk="0">
                  <a:moveTo>
                    <a:pt x="410" y="0"/>
                  </a:moveTo>
                  <a:cubicBezTo>
                    <a:pt x="158" y="0"/>
                    <a:pt x="1" y="221"/>
                    <a:pt x="1" y="441"/>
                  </a:cubicBezTo>
                  <a:cubicBezTo>
                    <a:pt x="1" y="693"/>
                    <a:pt x="158" y="883"/>
                    <a:pt x="410" y="883"/>
                  </a:cubicBezTo>
                  <a:lnTo>
                    <a:pt x="1230" y="883"/>
                  </a:lnTo>
                  <a:cubicBezTo>
                    <a:pt x="1482" y="883"/>
                    <a:pt x="1639" y="693"/>
                    <a:pt x="1639" y="441"/>
                  </a:cubicBezTo>
                  <a:cubicBezTo>
                    <a:pt x="1639" y="221"/>
                    <a:pt x="1419" y="0"/>
                    <a:pt x="12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91" name="Google Shape;6691;p73"/>
          <p:cNvGrpSpPr/>
          <p:nvPr/>
        </p:nvGrpSpPr>
        <p:grpSpPr>
          <a:xfrm>
            <a:off x="5270003" y="3945068"/>
            <a:ext cx="491983" cy="492755"/>
            <a:chOff x="-59502375" y="1904375"/>
            <a:chExt cx="319000" cy="319500"/>
          </a:xfrm>
        </p:grpSpPr>
        <p:sp>
          <p:nvSpPr>
            <p:cNvPr id="6692" name="Google Shape;6692;p73"/>
            <p:cNvSpPr/>
            <p:nvPr/>
          </p:nvSpPr>
          <p:spPr>
            <a:xfrm>
              <a:off x="-59455125" y="2097050"/>
              <a:ext cx="227650" cy="62225"/>
            </a:xfrm>
            <a:custGeom>
              <a:avLst/>
              <a:gdLst/>
              <a:ahLst/>
              <a:cxnLst/>
              <a:rect l="l" t="t" r="r" b="b"/>
              <a:pathLst>
                <a:path w="9106" h="2489" extrusionOk="0">
                  <a:moveTo>
                    <a:pt x="1670" y="819"/>
                  </a:moveTo>
                  <a:lnTo>
                    <a:pt x="1670" y="1670"/>
                  </a:lnTo>
                  <a:lnTo>
                    <a:pt x="820" y="1670"/>
                  </a:lnTo>
                  <a:lnTo>
                    <a:pt x="820" y="819"/>
                  </a:lnTo>
                  <a:close/>
                  <a:moveTo>
                    <a:pt x="3309" y="819"/>
                  </a:moveTo>
                  <a:lnTo>
                    <a:pt x="3309" y="1670"/>
                  </a:lnTo>
                  <a:lnTo>
                    <a:pt x="2489" y="1670"/>
                  </a:lnTo>
                  <a:lnTo>
                    <a:pt x="2489" y="819"/>
                  </a:lnTo>
                  <a:close/>
                  <a:moveTo>
                    <a:pt x="4978" y="819"/>
                  </a:moveTo>
                  <a:lnTo>
                    <a:pt x="4978" y="1670"/>
                  </a:lnTo>
                  <a:lnTo>
                    <a:pt x="4128" y="1670"/>
                  </a:lnTo>
                  <a:lnTo>
                    <a:pt x="4128" y="819"/>
                  </a:lnTo>
                  <a:close/>
                  <a:moveTo>
                    <a:pt x="6617" y="819"/>
                  </a:moveTo>
                  <a:lnTo>
                    <a:pt x="6617" y="1670"/>
                  </a:lnTo>
                  <a:lnTo>
                    <a:pt x="5798" y="1670"/>
                  </a:lnTo>
                  <a:lnTo>
                    <a:pt x="5798" y="819"/>
                  </a:lnTo>
                  <a:close/>
                  <a:moveTo>
                    <a:pt x="8286" y="819"/>
                  </a:moveTo>
                  <a:lnTo>
                    <a:pt x="8286" y="1670"/>
                  </a:lnTo>
                  <a:lnTo>
                    <a:pt x="7436" y="1670"/>
                  </a:lnTo>
                  <a:lnTo>
                    <a:pt x="7436" y="819"/>
                  </a:lnTo>
                  <a:close/>
                  <a:moveTo>
                    <a:pt x="410" y="0"/>
                  </a:moveTo>
                  <a:cubicBezTo>
                    <a:pt x="158" y="0"/>
                    <a:pt x="1" y="189"/>
                    <a:pt x="1" y="410"/>
                  </a:cubicBezTo>
                  <a:lnTo>
                    <a:pt x="1" y="2048"/>
                  </a:lnTo>
                  <a:cubicBezTo>
                    <a:pt x="1" y="2300"/>
                    <a:pt x="190" y="2489"/>
                    <a:pt x="410" y="2489"/>
                  </a:cubicBezTo>
                  <a:lnTo>
                    <a:pt x="8664" y="2489"/>
                  </a:lnTo>
                  <a:cubicBezTo>
                    <a:pt x="8917" y="2489"/>
                    <a:pt x="9106" y="2300"/>
                    <a:pt x="9106" y="2048"/>
                  </a:cubicBezTo>
                  <a:lnTo>
                    <a:pt x="9106" y="410"/>
                  </a:lnTo>
                  <a:cubicBezTo>
                    <a:pt x="9106" y="158"/>
                    <a:pt x="8917"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3" name="Google Shape;6693;p73"/>
            <p:cNvSpPr/>
            <p:nvPr/>
          </p:nvSpPr>
          <p:spPr>
            <a:xfrm>
              <a:off x="-59502375" y="1966300"/>
              <a:ext cx="319000" cy="257575"/>
            </a:xfrm>
            <a:custGeom>
              <a:avLst/>
              <a:gdLst/>
              <a:ahLst/>
              <a:cxnLst/>
              <a:rect l="l" t="t" r="r" b="b"/>
              <a:pathLst>
                <a:path w="12760" h="10303" extrusionOk="0">
                  <a:moveTo>
                    <a:pt x="8633" y="1639"/>
                  </a:moveTo>
                  <a:lnTo>
                    <a:pt x="8633" y="3592"/>
                  </a:lnTo>
                  <a:lnTo>
                    <a:pt x="7814" y="3592"/>
                  </a:lnTo>
                  <a:lnTo>
                    <a:pt x="7814" y="1639"/>
                  </a:lnTo>
                  <a:close/>
                  <a:moveTo>
                    <a:pt x="11941" y="819"/>
                  </a:moveTo>
                  <a:lnTo>
                    <a:pt x="11941" y="3592"/>
                  </a:lnTo>
                  <a:lnTo>
                    <a:pt x="11122" y="3592"/>
                  </a:lnTo>
                  <a:lnTo>
                    <a:pt x="11122" y="819"/>
                  </a:lnTo>
                  <a:close/>
                  <a:moveTo>
                    <a:pt x="5041" y="3119"/>
                  </a:moveTo>
                  <a:lnTo>
                    <a:pt x="5041" y="3970"/>
                  </a:lnTo>
                  <a:cubicBezTo>
                    <a:pt x="5041" y="4222"/>
                    <a:pt x="5230" y="4411"/>
                    <a:pt x="5482" y="4411"/>
                  </a:cubicBezTo>
                  <a:lnTo>
                    <a:pt x="11941" y="4411"/>
                  </a:lnTo>
                  <a:lnTo>
                    <a:pt x="11941" y="9357"/>
                  </a:lnTo>
                  <a:lnTo>
                    <a:pt x="914" y="9357"/>
                  </a:lnTo>
                  <a:lnTo>
                    <a:pt x="914" y="4222"/>
                  </a:lnTo>
                  <a:lnTo>
                    <a:pt x="2552" y="3119"/>
                  </a:lnTo>
                  <a:lnTo>
                    <a:pt x="2552" y="3970"/>
                  </a:lnTo>
                  <a:cubicBezTo>
                    <a:pt x="2552" y="4207"/>
                    <a:pt x="2767" y="4373"/>
                    <a:pt x="2980" y="4373"/>
                  </a:cubicBezTo>
                  <a:cubicBezTo>
                    <a:pt x="3050" y="4373"/>
                    <a:pt x="3120" y="4355"/>
                    <a:pt x="3182" y="4316"/>
                  </a:cubicBezTo>
                  <a:lnTo>
                    <a:pt x="5041" y="3119"/>
                  </a:lnTo>
                  <a:close/>
                  <a:moveTo>
                    <a:pt x="10712" y="0"/>
                  </a:moveTo>
                  <a:cubicBezTo>
                    <a:pt x="10491" y="0"/>
                    <a:pt x="10334" y="189"/>
                    <a:pt x="10334" y="441"/>
                  </a:cubicBezTo>
                  <a:lnTo>
                    <a:pt x="10334" y="3592"/>
                  </a:lnTo>
                  <a:lnTo>
                    <a:pt x="9483" y="3592"/>
                  </a:lnTo>
                  <a:lnTo>
                    <a:pt x="9483" y="1261"/>
                  </a:lnTo>
                  <a:cubicBezTo>
                    <a:pt x="9483" y="1008"/>
                    <a:pt x="9294" y="819"/>
                    <a:pt x="9074" y="819"/>
                  </a:cubicBezTo>
                  <a:lnTo>
                    <a:pt x="7404" y="819"/>
                  </a:lnTo>
                  <a:cubicBezTo>
                    <a:pt x="7183" y="819"/>
                    <a:pt x="6963" y="1008"/>
                    <a:pt x="6963" y="1261"/>
                  </a:cubicBezTo>
                  <a:lnTo>
                    <a:pt x="6963" y="3592"/>
                  </a:lnTo>
                  <a:lnTo>
                    <a:pt x="5860" y="3592"/>
                  </a:lnTo>
                  <a:lnTo>
                    <a:pt x="5860" y="2363"/>
                  </a:lnTo>
                  <a:cubicBezTo>
                    <a:pt x="5860" y="2206"/>
                    <a:pt x="5797" y="2080"/>
                    <a:pt x="5640" y="2017"/>
                  </a:cubicBezTo>
                  <a:cubicBezTo>
                    <a:pt x="5581" y="1973"/>
                    <a:pt x="5509" y="1949"/>
                    <a:pt x="5436" y="1949"/>
                  </a:cubicBezTo>
                  <a:cubicBezTo>
                    <a:pt x="5352" y="1949"/>
                    <a:pt x="5266" y="1981"/>
                    <a:pt x="5199" y="2048"/>
                  </a:cubicBezTo>
                  <a:lnTo>
                    <a:pt x="3340" y="3245"/>
                  </a:lnTo>
                  <a:lnTo>
                    <a:pt x="3340" y="2395"/>
                  </a:lnTo>
                  <a:cubicBezTo>
                    <a:pt x="3340" y="2237"/>
                    <a:pt x="3277" y="2111"/>
                    <a:pt x="3119" y="2048"/>
                  </a:cubicBezTo>
                  <a:cubicBezTo>
                    <a:pt x="3061" y="2004"/>
                    <a:pt x="2989" y="1981"/>
                    <a:pt x="2916" y="1981"/>
                  </a:cubicBezTo>
                  <a:cubicBezTo>
                    <a:pt x="2831" y="1981"/>
                    <a:pt x="2746" y="2012"/>
                    <a:pt x="2678" y="2080"/>
                  </a:cubicBezTo>
                  <a:lnTo>
                    <a:pt x="189" y="3718"/>
                  </a:lnTo>
                  <a:cubicBezTo>
                    <a:pt x="95" y="3812"/>
                    <a:pt x="0" y="3938"/>
                    <a:pt x="0" y="4096"/>
                  </a:cubicBezTo>
                  <a:lnTo>
                    <a:pt x="0" y="9861"/>
                  </a:lnTo>
                  <a:cubicBezTo>
                    <a:pt x="0" y="10113"/>
                    <a:pt x="189" y="10302"/>
                    <a:pt x="441" y="10302"/>
                  </a:cubicBezTo>
                  <a:lnTo>
                    <a:pt x="12287" y="10302"/>
                  </a:lnTo>
                  <a:cubicBezTo>
                    <a:pt x="12539" y="10302"/>
                    <a:pt x="12697" y="10113"/>
                    <a:pt x="12697" y="9861"/>
                  </a:cubicBezTo>
                  <a:lnTo>
                    <a:pt x="12697" y="504"/>
                  </a:lnTo>
                  <a:cubicBezTo>
                    <a:pt x="12760" y="158"/>
                    <a:pt x="12602" y="0"/>
                    <a:pt x="123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4" name="Google Shape;6694;p73"/>
            <p:cNvSpPr/>
            <p:nvPr/>
          </p:nvSpPr>
          <p:spPr>
            <a:xfrm>
              <a:off x="-59322800" y="1904375"/>
              <a:ext cx="106350" cy="41175"/>
            </a:xfrm>
            <a:custGeom>
              <a:avLst/>
              <a:gdLst/>
              <a:ahLst/>
              <a:cxnLst/>
              <a:rect l="l" t="t" r="r" b="b"/>
              <a:pathLst>
                <a:path w="4254" h="1647" extrusionOk="0">
                  <a:moveTo>
                    <a:pt x="1291" y="0"/>
                  </a:moveTo>
                  <a:cubicBezTo>
                    <a:pt x="890" y="0"/>
                    <a:pt x="485" y="181"/>
                    <a:pt x="158" y="556"/>
                  </a:cubicBezTo>
                  <a:cubicBezTo>
                    <a:pt x="0" y="713"/>
                    <a:pt x="32" y="965"/>
                    <a:pt x="189" y="1123"/>
                  </a:cubicBezTo>
                  <a:cubicBezTo>
                    <a:pt x="265" y="1198"/>
                    <a:pt x="369" y="1237"/>
                    <a:pt x="474" y="1237"/>
                  </a:cubicBezTo>
                  <a:cubicBezTo>
                    <a:pt x="589" y="1237"/>
                    <a:pt x="706" y="1190"/>
                    <a:pt x="788" y="1091"/>
                  </a:cubicBezTo>
                  <a:cubicBezTo>
                    <a:pt x="946" y="918"/>
                    <a:pt x="1119" y="831"/>
                    <a:pt x="1292" y="831"/>
                  </a:cubicBezTo>
                  <a:cubicBezTo>
                    <a:pt x="1465" y="831"/>
                    <a:pt x="1639" y="918"/>
                    <a:pt x="1796" y="1091"/>
                  </a:cubicBezTo>
                  <a:cubicBezTo>
                    <a:pt x="2115" y="1457"/>
                    <a:pt x="2530" y="1646"/>
                    <a:pt x="2948" y="1646"/>
                  </a:cubicBezTo>
                  <a:cubicBezTo>
                    <a:pt x="3357" y="1646"/>
                    <a:pt x="3769" y="1465"/>
                    <a:pt x="4096" y="1091"/>
                  </a:cubicBezTo>
                  <a:cubicBezTo>
                    <a:pt x="4254" y="902"/>
                    <a:pt x="4191" y="650"/>
                    <a:pt x="4033" y="493"/>
                  </a:cubicBezTo>
                  <a:cubicBezTo>
                    <a:pt x="3975" y="420"/>
                    <a:pt x="3885" y="381"/>
                    <a:pt x="3788" y="381"/>
                  </a:cubicBezTo>
                  <a:cubicBezTo>
                    <a:pt x="3674" y="381"/>
                    <a:pt x="3551" y="436"/>
                    <a:pt x="3466" y="556"/>
                  </a:cubicBezTo>
                  <a:cubicBezTo>
                    <a:pt x="3308" y="729"/>
                    <a:pt x="3127" y="815"/>
                    <a:pt x="2946" y="815"/>
                  </a:cubicBezTo>
                  <a:cubicBezTo>
                    <a:pt x="2765" y="815"/>
                    <a:pt x="2584" y="729"/>
                    <a:pt x="2426" y="556"/>
                  </a:cubicBezTo>
                  <a:cubicBezTo>
                    <a:pt x="2108" y="189"/>
                    <a:pt x="1701" y="0"/>
                    <a:pt x="12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95" name="Google Shape;6695;p73"/>
          <p:cNvGrpSpPr/>
          <p:nvPr/>
        </p:nvGrpSpPr>
        <p:grpSpPr>
          <a:xfrm>
            <a:off x="1731495" y="2057343"/>
            <a:ext cx="491983" cy="484888"/>
            <a:chOff x="-64774725" y="1916550"/>
            <a:chExt cx="319000" cy="314400"/>
          </a:xfrm>
        </p:grpSpPr>
        <p:sp>
          <p:nvSpPr>
            <p:cNvPr id="6696" name="Google Shape;6696;p73"/>
            <p:cNvSpPr/>
            <p:nvPr/>
          </p:nvSpPr>
          <p:spPr>
            <a:xfrm>
              <a:off x="-64774725" y="1916550"/>
              <a:ext cx="319000" cy="314400"/>
            </a:xfrm>
            <a:custGeom>
              <a:avLst/>
              <a:gdLst/>
              <a:ahLst/>
              <a:cxnLst/>
              <a:rect l="l" t="t" r="r" b="b"/>
              <a:pathLst>
                <a:path w="12760" h="12576" extrusionOk="0">
                  <a:moveTo>
                    <a:pt x="11436" y="856"/>
                  </a:moveTo>
                  <a:cubicBezTo>
                    <a:pt x="11562" y="856"/>
                    <a:pt x="11657" y="888"/>
                    <a:pt x="11783" y="951"/>
                  </a:cubicBezTo>
                  <a:cubicBezTo>
                    <a:pt x="11877" y="1077"/>
                    <a:pt x="11940" y="1203"/>
                    <a:pt x="11909" y="1329"/>
                  </a:cubicBezTo>
                  <a:cubicBezTo>
                    <a:pt x="11814" y="2431"/>
                    <a:pt x="11562" y="3440"/>
                    <a:pt x="11090" y="4416"/>
                  </a:cubicBezTo>
                  <a:lnTo>
                    <a:pt x="8317" y="1675"/>
                  </a:lnTo>
                  <a:cubicBezTo>
                    <a:pt x="9263" y="1234"/>
                    <a:pt x="10334" y="951"/>
                    <a:pt x="11436" y="856"/>
                  </a:cubicBezTo>
                  <a:close/>
                  <a:moveTo>
                    <a:pt x="3781" y="4542"/>
                  </a:moveTo>
                  <a:lnTo>
                    <a:pt x="3781" y="4542"/>
                  </a:lnTo>
                  <a:cubicBezTo>
                    <a:pt x="3529" y="4983"/>
                    <a:pt x="3245" y="5456"/>
                    <a:pt x="3056" y="5960"/>
                  </a:cubicBezTo>
                  <a:cubicBezTo>
                    <a:pt x="2878" y="5949"/>
                    <a:pt x="2699" y="5942"/>
                    <a:pt x="2522" y="5942"/>
                  </a:cubicBezTo>
                  <a:cubicBezTo>
                    <a:pt x="2167" y="5942"/>
                    <a:pt x="1817" y="5970"/>
                    <a:pt x="1481" y="6054"/>
                  </a:cubicBezTo>
                  <a:cubicBezTo>
                    <a:pt x="1544" y="5928"/>
                    <a:pt x="1670" y="5802"/>
                    <a:pt x="1733" y="5739"/>
                  </a:cubicBezTo>
                  <a:cubicBezTo>
                    <a:pt x="2331" y="5141"/>
                    <a:pt x="2993" y="4731"/>
                    <a:pt x="3781" y="4542"/>
                  </a:cubicBezTo>
                  <a:close/>
                  <a:moveTo>
                    <a:pt x="7561" y="2022"/>
                  </a:moveTo>
                  <a:lnTo>
                    <a:pt x="10680" y="5141"/>
                  </a:lnTo>
                  <a:cubicBezTo>
                    <a:pt x="9546" y="7157"/>
                    <a:pt x="7687" y="8669"/>
                    <a:pt x="5419" y="9331"/>
                  </a:cubicBezTo>
                  <a:lnTo>
                    <a:pt x="3403" y="7346"/>
                  </a:lnTo>
                  <a:cubicBezTo>
                    <a:pt x="4064" y="5109"/>
                    <a:pt x="5576" y="3219"/>
                    <a:pt x="7561" y="2022"/>
                  </a:cubicBezTo>
                  <a:close/>
                  <a:moveTo>
                    <a:pt x="2899" y="8008"/>
                  </a:moveTo>
                  <a:lnTo>
                    <a:pt x="4789" y="9898"/>
                  </a:lnTo>
                  <a:lnTo>
                    <a:pt x="4316" y="10623"/>
                  </a:lnTo>
                  <a:lnTo>
                    <a:pt x="2142" y="8449"/>
                  </a:lnTo>
                  <a:lnTo>
                    <a:pt x="2899" y="8008"/>
                  </a:lnTo>
                  <a:close/>
                  <a:moveTo>
                    <a:pt x="2363" y="9867"/>
                  </a:moveTo>
                  <a:lnTo>
                    <a:pt x="2899" y="10371"/>
                  </a:lnTo>
                  <a:cubicBezTo>
                    <a:pt x="2741" y="10497"/>
                    <a:pt x="2520" y="10654"/>
                    <a:pt x="2300" y="10780"/>
                  </a:cubicBezTo>
                  <a:cubicBezTo>
                    <a:pt x="1985" y="10969"/>
                    <a:pt x="1733" y="11095"/>
                    <a:pt x="1638" y="11127"/>
                  </a:cubicBezTo>
                  <a:cubicBezTo>
                    <a:pt x="1701" y="10969"/>
                    <a:pt x="1796" y="10780"/>
                    <a:pt x="1985" y="10465"/>
                  </a:cubicBezTo>
                  <a:cubicBezTo>
                    <a:pt x="2142" y="10213"/>
                    <a:pt x="2268" y="10024"/>
                    <a:pt x="2363" y="9867"/>
                  </a:cubicBezTo>
                  <a:close/>
                  <a:moveTo>
                    <a:pt x="8191" y="8984"/>
                  </a:moveTo>
                  <a:lnTo>
                    <a:pt x="8191" y="8984"/>
                  </a:lnTo>
                  <a:cubicBezTo>
                    <a:pt x="7971" y="9867"/>
                    <a:pt x="7467" y="10686"/>
                    <a:pt x="6711" y="11284"/>
                  </a:cubicBezTo>
                  <a:cubicBezTo>
                    <a:pt x="6837" y="10749"/>
                    <a:pt x="6837" y="10245"/>
                    <a:pt x="6774" y="9741"/>
                  </a:cubicBezTo>
                  <a:cubicBezTo>
                    <a:pt x="7309" y="9551"/>
                    <a:pt x="7782" y="9268"/>
                    <a:pt x="8191" y="8984"/>
                  </a:cubicBezTo>
                  <a:close/>
                  <a:moveTo>
                    <a:pt x="11509" y="1"/>
                  </a:moveTo>
                  <a:cubicBezTo>
                    <a:pt x="11474" y="1"/>
                    <a:pt x="11440" y="2"/>
                    <a:pt x="11405" y="6"/>
                  </a:cubicBezTo>
                  <a:cubicBezTo>
                    <a:pt x="10365" y="100"/>
                    <a:pt x="9389" y="321"/>
                    <a:pt x="8412" y="730"/>
                  </a:cubicBezTo>
                  <a:cubicBezTo>
                    <a:pt x="7498" y="1077"/>
                    <a:pt x="6616" y="1644"/>
                    <a:pt x="5797" y="2274"/>
                  </a:cubicBezTo>
                  <a:cubicBezTo>
                    <a:pt x="5324" y="2652"/>
                    <a:pt x="4852" y="3093"/>
                    <a:pt x="4474" y="3566"/>
                  </a:cubicBezTo>
                  <a:cubicBezTo>
                    <a:pt x="3245" y="3629"/>
                    <a:pt x="2048" y="4196"/>
                    <a:pt x="1166" y="5109"/>
                  </a:cubicBezTo>
                  <a:cubicBezTo>
                    <a:pt x="725" y="5519"/>
                    <a:pt x="378" y="6054"/>
                    <a:pt x="95" y="6590"/>
                  </a:cubicBezTo>
                  <a:cubicBezTo>
                    <a:pt x="0" y="6748"/>
                    <a:pt x="63" y="6937"/>
                    <a:pt x="158" y="7063"/>
                  </a:cubicBezTo>
                  <a:cubicBezTo>
                    <a:pt x="252" y="7157"/>
                    <a:pt x="378" y="7189"/>
                    <a:pt x="441" y="7189"/>
                  </a:cubicBezTo>
                  <a:cubicBezTo>
                    <a:pt x="536" y="7189"/>
                    <a:pt x="567" y="7189"/>
                    <a:pt x="630" y="7157"/>
                  </a:cubicBezTo>
                  <a:cubicBezTo>
                    <a:pt x="1198" y="6873"/>
                    <a:pt x="1842" y="6743"/>
                    <a:pt x="2471" y="6743"/>
                  </a:cubicBezTo>
                  <a:cubicBezTo>
                    <a:pt x="2540" y="6743"/>
                    <a:pt x="2609" y="6744"/>
                    <a:pt x="2678" y="6748"/>
                  </a:cubicBezTo>
                  <a:cubicBezTo>
                    <a:pt x="2647" y="6905"/>
                    <a:pt x="2615" y="7031"/>
                    <a:pt x="2584" y="7189"/>
                  </a:cubicBezTo>
                  <a:lnTo>
                    <a:pt x="1229" y="7976"/>
                  </a:lnTo>
                  <a:cubicBezTo>
                    <a:pt x="1008" y="8134"/>
                    <a:pt x="945" y="8449"/>
                    <a:pt x="1166" y="8606"/>
                  </a:cubicBezTo>
                  <a:lnTo>
                    <a:pt x="1733" y="9173"/>
                  </a:lnTo>
                  <a:cubicBezTo>
                    <a:pt x="1544" y="9425"/>
                    <a:pt x="1323" y="9772"/>
                    <a:pt x="1103" y="10119"/>
                  </a:cubicBezTo>
                  <a:cubicBezTo>
                    <a:pt x="945" y="10465"/>
                    <a:pt x="788" y="10717"/>
                    <a:pt x="725" y="10906"/>
                  </a:cubicBezTo>
                  <a:cubicBezTo>
                    <a:pt x="599" y="11316"/>
                    <a:pt x="630" y="11599"/>
                    <a:pt x="851" y="11788"/>
                  </a:cubicBezTo>
                  <a:cubicBezTo>
                    <a:pt x="981" y="11918"/>
                    <a:pt x="1144" y="11961"/>
                    <a:pt x="1320" y="11961"/>
                  </a:cubicBezTo>
                  <a:cubicBezTo>
                    <a:pt x="1443" y="11961"/>
                    <a:pt x="1572" y="11940"/>
                    <a:pt x="1701" y="11914"/>
                  </a:cubicBezTo>
                  <a:cubicBezTo>
                    <a:pt x="1953" y="11820"/>
                    <a:pt x="2174" y="11694"/>
                    <a:pt x="2489" y="11505"/>
                  </a:cubicBezTo>
                  <a:cubicBezTo>
                    <a:pt x="2836" y="11316"/>
                    <a:pt x="3151" y="11095"/>
                    <a:pt x="3434" y="10875"/>
                  </a:cubicBezTo>
                  <a:lnTo>
                    <a:pt x="4033" y="11473"/>
                  </a:lnTo>
                  <a:cubicBezTo>
                    <a:pt x="4116" y="11557"/>
                    <a:pt x="4225" y="11597"/>
                    <a:pt x="4330" y="11597"/>
                  </a:cubicBezTo>
                  <a:cubicBezTo>
                    <a:pt x="4464" y="11597"/>
                    <a:pt x="4593" y="11533"/>
                    <a:pt x="4663" y="11410"/>
                  </a:cubicBezTo>
                  <a:lnTo>
                    <a:pt x="5450" y="10056"/>
                  </a:lnTo>
                  <a:cubicBezTo>
                    <a:pt x="5608" y="10024"/>
                    <a:pt x="5734" y="9993"/>
                    <a:pt x="5892" y="9930"/>
                  </a:cubicBezTo>
                  <a:lnTo>
                    <a:pt x="5892" y="9930"/>
                  </a:lnTo>
                  <a:cubicBezTo>
                    <a:pt x="5923" y="10591"/>
                    <a:pt x="5797" y="11316"/>
                    <a:pt x="5482" y="11977"/>
                  </a:cubicBezTo>
                  <a:cubicBezTo>
                    <a:pt x="5419" y="12135"/>
                    <a:pt x="5450" y="12324"/>
                    <a:pt x="5576" y="12450"/>
                  </a:cubicBezTo>
                  <a:cubicBezTo>
                    <a:pt x="5639" y="12534"/>
                    <a:pt x="5759" y="12576"/>
                    <a:pt x="5878" y="12576"/>
                  </a:cubicBezTo>
                  <a:cubicBezTo>
                    <a:pt x="5937" y="12576"/>
                    <a:pt x="5997" y="12565"/>
                    <a:pt x="6049" y="12544"/>
                  </a:cubicBezTo>
                  <a:cubicBezTo>
                    <a:pt x="6585" y="12261"/>
                    <a:pt x="7089" y="11914"/>
                    <a:pt x="7530" y="11473"/>
                  </a:cubicBezTo>
                  <a:cubicBezTo>
                    <a:pt x="8443" y="10560"/>
                    <a:pt x="8979" y="9394"/>
                    <a:pt x="9074" y="8165"/>
                  </a:cubicBezTo>
                  <a:cubicBezTo>
                    <a:pt x="9546" y="7756"/>
                    <a:pt x="9987" y="7346"/>
                    <a:pt x="10365" y="6811"/>
                  </a:cubicBezTo>
                  <a:cubicBezTo>
                    <a:pt x="11027" y="5991"/>
                    <a:pt x="11562" y="5141"/>
                    <a:pt x="11940" y="4227"/>
                  </a:cubicBezTo>
                  <a:cubicBezTo>
                    <a:pt x="12350" y="3282"/>
                    <a:pt x="12571" y="2242"/>
                    <a:pt x="12665" y="1234"/>
                  </a:cubicBezTo>
                  <a:cubicBezTo>
                    <a:pt x="12760" y="1014"/>
                    <a:pt x="12665" y="636"/>
                    <a:pt x="12382" y="384"/>
                  </a:cubicBezTo>
                  <a:cubicBezTo>
                    <a:pt x="12126" y="128"/>
                    <a:pt x="11820" y="1"/>
                    <a:pt x="11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697" name="Google Shape;6697;p73"/>
            <p:cNvSpPr/>
            <p:nvPr/>
          </p:nvSpPr>
          <p:spPr>
            <a:xfrm>
              <a:off x="-64636900" y="2010600"/>
              <a:ext cx="89800" cy="82525"/>
            </a:xfrm>
            <a:custGeom>
              <a:avLst/>
              <a:gdLst/>
              <a:ahLst/>
              <a:cxnLst/>
              <a:rect l="l" t="t" r="r" b="b"/>
              <a:pathLst>
                <a:path w="3592" h="3301" extrusionOk="0">
                  <a:moveTo>
                    <a:pt x="1828" y="827"/>
                  </a:moveTo>
                  <a:cubicBezTo>
                    <a:pt x="2048" y="827"/>
                    <a:pt x="2269" y="906"/>
                    <a:pt x="2426" y="1064"/>
                  </a:cubicBezTo>
                  <a:cubicBezTo>
                    <a:pt x="2741" y="1410"/>
                    <a:pt x="2741" y="1914"/>
                    <a:pt x="2426" y="2229"/>
                  </a:cubicBezTo>
                  <a:cubicBezTo>
                    <a:pt x="2269" y="2387"/>
                    <a:pt x="2048" y="2466"/>
                    <a:pt x="1828" y="2466"/>
                  </a:cubicBezTo>
                  <a:cubicBezTo>
                    <a:pt x="1607" y="2466"/>
                    <a:pt x="1387" y="2387"/>
                    <a:pt x="1229" y="2229"/>
                  </a:cubicBezTo>
                  <a:cubicBezTo>
                    <a:pt x="914" y="1914"/>
                    <a:pt x="914" y="1379"/>
                    <a:pt x="1229" y="1064"/>
                  </a:cubicBezTo>
                  <a:cubicBezTo>
                    <a:pt x="1387" y="906"/>
                    <a:pt x="1607" y="827"/>
                    <a:pt x="1828" y="827"/>
                  </a:cubicBezTo>
                  <a:close/>
                  <a:moveTo>
                    <a:pt x="1820" y="0"/>
                  </a:moveTo>
                  <a:cubicBezTo>
                    <a:pt x="1402" y="0"/>
                    <a:pt x="977" y="166"/>
                    <a:pt x="631" y="497"/>
                  </a:cubicBezTo>
                  <a:cubicBezTo>
                    <a:pt x="0" y="1127"/>
                    <a:pt x="0" y="2198"/>
                    <a:pt x="631" y="2828"/>
                  </a:cubicBezTo>
                  <a:cubicBezTo>
                    <a:pt x="946" y="3143"/>
                    <a:pt x="1371" y="3301"/>
                    <a:pt x="1796" y="3301"/>
                  </a:cubicBezTo>
                  <a:cubicBezTo>
                    <a:pt x="2222" y="3301"/>
                    <a:pt x="2647" y="3143"/>
                    <a:pt x="2962" y="2828"/>
                  </a:cubicBezTo>
                  <a:cubicBezTo>
                    <a:pt x="3592" y="2198"/>
                    <a:pt x="3592" y="1127"/>
                    <a:pt x="2962" y="497"/>
                  </a:cubicBezTo>
                  <a:cubicBezTo>
                    <a:pt x="2647" y="166"/>
                    <a:pt x="2237" y="0"/>
                    <a:pt x="1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698" name="Google Shape;6698;p73"/>
          <p:cNvGrpSpPr/>
          <p:nvPr/>
        </p:nvGrpSpPr>
        <p:grpSpPr>
          <a:xfrm>
            <a:off x="1733306" y="2693582"/>
            <a:ext cx="488359" cy="493217"/>
            <a:chOff x="-64764500" y="2280550"/>
            <a:chExt cx="316650" cy="319800"/>
          </a:xfrm>
        </p:grpSpPr>
        <p:sp>
          <p:nvSpPr>
            <p:cNvPr id="6699" name="Google Shape;6699;p73"/>
            <p:cNvSpPr/>
            <p:nvPr/>
          </p:nvSpPr>
          <p:spPr>
            <a:xfrm>
              <a:off x="-64764500" y="2280550"/>
              <a:ext cx="316650" cy="319800"/>
            </a:xfrm>
            <a:custGeom>
              <a:avLst/>
              <a:gdLst/>
              <a:ahLst/>
              <a:cxnLst/>
              <a:rect l="l" t="t" r="r" b="b"/>
              <a:pathLst>
                <a:path w="12666" h="12792" extrusionOk="0">
                  <a:moveTo>
                    <a:pt x="11405" y="820"/>
                  </a:moveTo>
                  <a:cubicBezTo>
                    <a:pt x="11657" y="820"/>
                    <a:pt x="11815" y="1009"/>
                    <a:pt x="11815" y="1261"/>
                  </a:cubicBezTo>
                  <a:cubicBezTo>
                    <a:pt x="11815" y="1481"/>
                    <a:pt x="11657" y="1670"/>
                    <a:pt x="11405" y="1670"/>
                  </a:cubicBezTo>
                  <a:lnTo>
                    <a:pt x="1229" y="1670"/>
                  </a:lnTo>
                  <a:cubicBezTo>
                    <a:pt x="977" y="1670"/>
                    <a:pt x="788" y="1481"/>
                    <a:pt x="788" y="1261"/>
                  </a:cubicBezTo>
                  <a:cubicBezTo>
                    <a:pt x="788" y="1009"/>
                    <a:pt x="977" y="820"/>
                    <a:pt x="1229" y="820"/>
                  </a:cubicBezTo>
                  <a:close/>
                  <a:moveTo>
                    <a:pt x="10996" y="2521"/>
                  </a:moveTo>
                  <a:lnTo>
                    <a:pt x="10996" y="8286"/>
                  </a:lnTo>
                  <a:lnTo>
                    <a:pt x="1607" y="8286"/>
                  </a:lnTo>
                  <a:lnTo>
                    <a:pt x="1607" y="2521"/>
                  </a:lnTo>
                  <a:close/>
                  <a:moveTo>
                    <a:pt x="6302" y="11027"/>
                  </a:moveTo>
                  <a:cubicBezTo>
                    <a:pt x="6554" y="11027"/>
                    <a:pt x="6743" y="11216"/>
                    <a:pt x="6743" y="11437"/>
                  </a:cubicBezTo>
                  <a:cubicBezTo>
                    <a:pt x="6743" y="11689"/>
                    <a:pt x="6522" y="11878"/>
                    <a:pt x="6302" y="11878"/>
                  </a:cubicBezTo>
                  <a:cubicBezTo>
                    <a:pt x="6050" y="11878"/>
                    <a:pt x="5892" y="11689"/>
                    <a:pt x="5892" y="11437"/>
                  </a:cubicBezTo>
                  <a:cubicBezTo>
                    <a:pt x="5892" y="11216"/>
                    <a:pt x="6113" y="11027"/>
                    <a:pt x="6302" y="11027"/>
                  </a:cubicBezTo>
                  <a:close/>
                  <a:moveTo>
                    <a:pt x="1229" y="1"/>
                  </a:moveTo>
                  <a:cubicBezTo>
                    <a:pt x="536" y="1"/>
                    <a:pt x="1" y="536"/>
                    <a:pt x="1" y="1261"/>
                  </a:cubicBezTo>
                  <a:cubicBezTo>
                    <a:pt x="1" y="1797"/>
                    <a:pt x="347" y="2238"/>
                    <a:pt x="820" y="2427"/>
                  </a:cubicBezTo>
                  <a:lnTo>
                    <a:pt x="820" y="8286"/>
                  </a:lnTo>
                  <a:lnTo>
                    <a:pt x="442" y="8286"/>
                  </a:lnTo>
                  <a:cubicBezTo>
                    <a:pt x="190" y="8286"/>
                    <a:pt x="32" y="8507"/>
                    <a:pt x="32" y="8728"/>
                  </a:cubicBezTo>
                  <a:cubicBezTo>
                    <a:pt x="32" y="8980"/>
                    <a:pt x="221" y="9169"/>
                    <a:pt x="442" y="9169"/>
                  </a:cubicBezTo>
                  <a:lnTo>
                    <a:pt x="5955" y="9169"/>
                  </a:lnTo>
                  <a:lnTo>
                    <a:pt x="5955" y="10334"/>
                  </a:lnTo>
                  <a:cubicBezTo>
                    <a:pt x="5483" y="10492"/>
                    <a:pt x="5104" y="10964"/>
                    <a:pt x="5104" y="11531"/>
                  </a:cubicBezTo>
                  <a:cubicBezTo>
                    <a:pt x="5104" y="12193"/>
                    <a:pt x="5672" y="12792"/>
                    <a:pt x="6333" y="12792"/>
                  </a:cubicBezTo>
                  <a:cubicBezTo>
                    <a:pt x="6995" y="12792"/>
                    <a:pt x="7593" y="12225"/>
                    <a:pt x="7593" y="11531"/>
                  </a:cubicBezTo>
                  <a:cubicBezTo>
                    <a:pt x="7593" y="10964"/>
                    <a:pt x="7247" y="10555"/>
                    <a:pt x="6774" y="10334"/>
                  </a:cubicBezTo>
                  <a:lnTo>
                    <a:pt x="6774" y="9169"/>
                  </a:lnTo>
                  <a:lnTo>
                    <a:pt x="12288" y="9169"/>
                  </a:lnTo>
                  <a:cubicBezTo>
                    <a:pt x="12508" y="9169"/>
                    <a:pt x="12666" y="8980"/>
                    <a:pt x="12666" y="8728"/>
                  </a:cubicBezTo>
                  <a:cubicBezTo>
                    <a:pt x="12666" y="8507"/>
                    <a:pt x="12477" y="8286"/>
                    <a:pt x="12288" y="8286"/>
                  </a:cubicBezTo>
                  <a:lnTo>
                    <a:pt x="11847" y="8286"/>
                  </a:lnTo>
                  <a:lnTo>
                    <a:pt x="11847" y="2427"/>
                  </a:lnTo>
                  <a:cubicBezTo>
                    <a:pt x="12319" y="2238"/>
                    <a:pt x="12634" y="1797"/>
                    <a:pt x="12634" y="1261"/>
                  </a:cubicBezTo>
                  <a:cubicBezTo>
                    <a:pt x="12634" y="568"/>
                    <a:pt x="12099" y="1"/>
                    <a:pt x="11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0" name="Google Shape;6700;p73"/>
            <p:cNvSpPr/>
            <p:nvPr/>
          </p:nvSpPr>
          <p:spPr>
            <a:xfrm>
              <a:off x="-64679425" y="2364825"/>
              <a:ext cx="146500" cy="102450"/>
            </a:xfrm>
            <a:custGeom>
              <a:avLst/>
              <a:gdLst/>
              <a:ahLst/>
              <a:cxnLst/>
              <a:rect l="l" t="t" r="r" b="b"/>
              <a:pathLst>
                <a:path w="5860" h="4098" extrusionOk="0">
                  <a:moveTo>
                    <a:pt x="3749" y="1"/>
                  </a:moveTo>
                  <a:cubicBezTo>
                    <a:pt x="3529" y="1"/>
                    <a:pt x="3371" y="190"/>
                    <a:pt x="3371" y="442"/>
                  </a:cubicBezTo>
                  <a:cubicBezTo>
                    <a:pt x="3371" y="662"/>
                    <a:pt x="3560" y="820"/>
                    <a:pt x="3749" y="820"/>
                  </a:cubicBezTo>
                  <a:lnTo>
                    <a:pt x="4442" y="820"/>
                  </a:lnTo>
                  <a:lnTo>
                    <a:pt x="2930" y="2332"/>
                  </a:lnTo>
                  <a:lnTo>
                    <a:pt x="2395" y="1765"/>
                  </a:lnTo>
                  <a:cubicBezTo>
                    <a:pt x="2316" y="1686"/>
                    <a:pt x="2206" y="1647"/>
                    <a:pt x="2095" y="1647"/>
                  </a:cubicBezTo>
                  <a:cubicBezTo>
                    <a:pt x="1985" y="1647"/>
                    <a:pt x="1875" y="1686"/>
                    <a:pt x="1796" y="1765"/>
                  </a:cubicBezTo>
                  <a:lnTo>
                    <a:pt x="126" y="3435"/>
                  </a:lnTo>
                  <a:cubicBezTo>
                    <a:pt x="0" y="3592"/>
                    <a:pt x="0" y="3844"/>
                    <a:pt x="126" y="4033"/>
                  </a:cubicBezTo>
                  <a:cubicBezTo>
                    <a:pt x="195" y="4075"/>
                    <a:pt x="288" y="4098"/>
                    <a:pt x="384" y="4098"/>
                  </a:cubicBezTo>
                  <a:cubicBezTo>
                    <a:pt x="507" y="4098"/>
                    <a:pt x="636" y="4059"/>
                    <a:pt x="725" y="3970"/>
                  </a:cubicBezTo>
                  <a:lnTo>
                    <a:pt x="2111" y="2616"/>
                  </a:lnTo>
                  <a:lnTo>
                    <a:pt x="2647" y="3151"/>
                  </a:lnTo>
                  <a:cubicBezTo>
                    <a:pt x="2725" y="3230"/>
                    <a:pt x="2836" y="3269"/>
                    <a:pt x="2946" y="3269"/>
                  </a:cubicBezTo>
                  <a:cubicBezTo>
                    <a:pt x="3056" y="3269"/>
                    <a:pt x="3166" y="3230"/>
                    <a:pt x="3245" y="3151"/>
                  </a:cubicBezTo>
                  <a:lnTo>
                    <a:pt x="5009" y="1387"/>
                  </a:lnTo>
                  <a:lnTo>
                    <a:pt x="5009" y="2049"/>
                  </a:lnTo>
                  <a:cubicBezTo>
                    <a:pt x="5009" y="2269"/>
                    <a:pt x="5230" y="2490"/>
                    <a:pt x="5451" y="2490"/>
                  </a:cubicBezTo>
                  <a:cubicBezTo>
                    <a:pt x="5703" y="2490"/>
                    <a:pt x="5860" y="2269"/>
                    <a:pt x="5860" y="2049"/>
                  </a:cubicBezTo>
                  <a:lnTo>
                    <a:pt x="5860" y="410"/>
                  </a:lnTo>
                  <a:cubicBezTo>
                    <a:pt x="5860" y="158"/>
                    <a:pt x="5640" y="1"/>
                    <a:pt x="54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701" name="Google Shape;6701;p73"/>
          <p:cNvSpPr/>
          <p:nvPr/>
        </p:nvSpPr>
        <p:spPr>
          <a:xfrm>
            <a:off x="1755671" y="3316606"/>
            <a:ext cx="426399" cy="488359"/>
          </a:xfrm>
          <a:custGeom>
            <a:avLst/>
            <a:gdLst/>
            <a:ahLst/>
            <a:cxnLst/>
            <a:rect l="l" t="t" r="r" b="b"/>
            <a:pathLst>
              <a:path w="11059" h="12666" extrusionOk="0">
                <a:moveTo>
                  <a:pt x="4285" y="789"/>
                </a:moveTo>
                <a:cubicBezTo>
                  <a:pt x="4758" y="789"/>
                  <a:pt x="5136" y="1135"/>
                  <a:pt x="5136" y="1608"/>
                </a:cubicBezTo>
                <a:lnTo>
                  <a:pt x="5136" y="4128"/>
                </a:lnTo>
                <a:cubicBezTo>
                  <a:pt x="4190" y="4317"/>
                  <a:pt x="3466" y="5168"/>
                  <a:pt x="3466" y="6144"/>
                </a:cubicBezTo>
                <a:cubicBezTo>
                  <a:pt x="3466" y="6365"/>
                  <a:pt x="3655" y="6585"/>
                  <a:pt x="3907" y="6585"/>
                </a:cubicBezTo>
                <a:cubicBezTo>
                  <a:pt x="4127" y="6585"/>
                  <a:pt x="4285" y="6365"/>
                  <a:pt x="4285" y="6144"/>
                </a:cubicBezTo>
                <a:cubicBezTo>
                  <a:pt x="4285" y="5577"/>
                  <a:pt x="4663" y="5168"/>
                  <a:pt x="5136" y="4947"/>
                </a:cubicBezTo>
                <a:lnTo>
                  <a:pt x="5136" y="8192"/>
                </a:lnTo>
                <a:cubicBezTo>
                  <a:pt x="5136" y="8665"/>
                  <a:pt x="4758" y="9011"/>
                  <a:pt x="4285" y="9011"/>
                </a:cubicBezTo>
                <a:cubicBezTo>
                  <a:pt x="3938" y="9011"/>
                  <a:pt x="3592" y="8791"/>
                  <a:pt x="3497" y="8381"/>
                </a:cubicBezTo>
                <a:cubicBezTo>
                  <a:pt x="3434" y="8318"/>
                  <a:pt x="3277" y="8192"/>
                  <a:pt x="3119" y="8192"/>
                </a:cubicBezTo>
                <a:cubicBezTo>
                  <a:pt x="2962" y="8192"/>
                  <a:pt x="2899" y="8255"/>
                  <a:pt x="2647" y="8255"/>
                </a:cubicBezTo>
                <a:cubicBezTo>
                  <a:pt x="1544" y="8255"/>
                  <a:pt x="1544" y="6617"/>
                  <a:pt x="2647" y="6617"/>
                </a:cubicBezTo>
                <a:cubicBezTo>
                  <a:pt x="2867" y="6617"/>
                  <a:pt x="3025" y="6428"/>
                  <a:pt x="3025" y="6176"/>
                </a:cubicBezTo>
                <a:cubicBezTo>
                  <a:pt x="3025" y="5955"/>
                  <a:pt x="2836" y="5735"/>
                  <a:pt x="2647" y="5735"/>
                </a:cubicBezTo>
                <a:cubicBezTo>
                  <a:pt x="2080" y="5735"/>
                  <a:pt x="1607" y="6018"/>
                  <a:pt x="1292" y="6428"/>
                </a:cubicBezTo>
                <a:cubicBezTo>
                  <a:pt x="1103" y="6270"/>
                  <a:pt x="977" y="6018"/>
                  <a:pt x="977" y="5735"/>
                </a:cubicBezTo>
                <a:cubicBezTo>
                  <a:pt x="977" y="5483"/>
                  <a:pt x="1103" y="5325"/>
                  <a:pt x="1166" y="5199"/>
                </a:cubicBezTo>
                <a:cubicBezTo>
                  <a:pt x="1323" y="5042"/>
                  <a:pt x="1323" y="4790"/>
                  <a:pt x="1166" y="4632"/>
                </a:cubicBezTo>
                <a:cubicBezTo>
                  <a:pt x="662" y="4097"/>
                  <a:pt x="1103" y="3277"/>
                  <a:pt x="1828" y="3277"/>
                </a:cubicBezTo>
                <a:cubicBezTo>
                  <a:pt x="2048" y="3277"/>
                  <a:pt x="2237" y="3340"/>
                  <a:pt x="2395" y="3498"/>
                </a:cubicBezTo>
                <a:cubicBezTo>
                  <a:pt x="2473" y="3577"/>
                  <a:pt x="2584" y="3616"/>
                  <a:pt x="2694" y="3616"/>
                </a:cubicBezTo>
                <a:cubicBezTo>
                  <a:pt x="2804" y="3616"/>
                  <a:pt x="2914" y="3577"/>
                  <a:pt x="2993" y="3498"/>
                </a:cubicBezTo>
                <a:cubicBezTo>
                  <a:pt x="3151" y="3340"/>
                  <a:pt x="3151" y="3057"/>
                  <a:pt x="2993" y="2899"/>
                </a:cubicBezTo>
                <a:cubicBezTo>
                  <a:pt x="2678" y="2584"/>
                  <a:pt x="2269" y="2427"/>
                  <a:pt x="1828" y="2427"/>
                </a:cubicBezTo>
                <a:cubicBezTo>
                  <a:pt x="1828" y="1954"/>
                  <a:pt x="2174" y="1608"/>
                  <a:pt x="2647" y="1608"/>
                </a:cubicBezTo>
                <a:cubicBezTo>
                  <a:pt x="2773" y="1608"/>
                  <a:pt x="2836" y="1639"/>
                  <a:pt x="2962" y="1702"/>
                </a:cubicBezTo>
                <a:cubicBezTo>
                  <a:pt x="3000" y="1713"/>
                  <a:pt x="3040" y="1718"/>
                  <a:pt x="3079" y="1718"/>
                </a:cubicBezTo>
                <a:cubicBezTo>
                  <a:pt x="3264" y="1718"/>
                  <a:pt x="3445" y="1601"/>
                  <a:pt x="3497" y="1419"/>
                </a:cubicBezTo>
                <a:cubicBezTo>
                  <a:pt x="3592" y="1072"/>
                  <a:pt x="3938" y="789"/>
                  <a:pt x="4285" y="789"/>
                </a:cubicBezTo>
                <a:close/>
                <a:moveTo>
                  <a:pt x="6711" y="915"/>
                </a:moveTo>
                <a:cubicBezTo>
                  <a:pt x="7057" y="915"/>
                  <a:pt x="7404" y="1135"/>
                  <a:pt x="7498" y="1545"/>
                </a:cubicBezTo>
                <a:cubicBezTo>
                  <a:pt x="7547" y="1715"/>
                  <a:pt x="7708" y="1828"/>
                  <a:pt x="7880" y="1828"/>
                </a:cubicBezTo>
                <a:cubicBezTo>
                  <a:pt x="7931" y="1828"/>
                  <a:pt x="7983" y="1818"/>
                  <a:pt x="8034" y="1797"/>
                </a:cubicBezTo>
                <a:cubicBezTo>
                  <a:pt x="8160" y="1765"/>
                  <a:pt x="8223" y="1734"/>
                  <a:pt x="8349" y="1734"/>
                </a:cubicBezTo>
                <a:cubicBezTo>
                  <a:pt x="8822" y="1734"/>
                  <a:pt x="9168" y="2080"/>
                  <a:pt x="9168" y="2553"/>
                </a:cubicBezTo>
                <a:cubicBezTo>
                  <a:pt x="8759" y="2553"/>
                  <a:pt x="8318" y="2710"/>
                  <a:pt x="8003" y="3025"/>
                </a:cubicBezTo>
                <a:cubicBezTo>
                  <a:pt x="7845" y="3183"/>
                  <a:pt x="7845" y="3467"/>
                  <a:pt x="8003" y="3624"/>
                </a:cubicBezTo>
                <a:cubicBezTo>
                  <a:pt x="8081" y="3703"/>
                  <a:pt x="8192" y="3742"/>
                  <a:pt x="8302" y="3742"/>
                </a:cubicBezTo>
                <a:cubicBezTo>
                  <a:pt x="8412" y="3742"/>
                  <a:pt x="8522" y="3703"/>
                  <a:pt x="8601" y="3624"/>
                </a:cubicBezTo>
                <a:cubicBezTo>
                  <a:pt x="8759" y="3467"/>
                  <a:pt x="8948" y="3372"/>
                  <a:pt x="9168" y="3372"/>
                </a:cubicBezTo>
                <a:cubicBezTo>
                  <a:pt x="9893" y="3372"/>
                  <a:pt x="10271" y="4191"/>
                  <a:pt x="9798" y="4758"/>
                </a:cubicBezTo>
                <a:cubicBezTo>
                  <a:pt x="9735" y="4853"/>
                  <a:pt x="9735" y="5073"/>
                  <a:pt x="9830" y="5231"/>
                </a:cubicBezTo>
                <a:cubicBezTo>
                  <a:pt x="9956" y="5357"/>
                  <a:pt x="10050" y="5514"/>
                  <a:pt x="10050" y="5798"/>
                </a:cubicBezTo>
                <a:cubicBezTo>
                  <a:pt x="10050" y="6050"/>
                  <a:pt x="9924" y="6302"/>
                  <a:pt x="9735" y="6459"/>
                </a:cubicBezTo>
                <a:cubicBezTo>
                  <a:pt x="9420" y="6050"/>
                  <a:pt x="8948" y="5798"/>
                  <a:pt x="8381" y="5798"/>
                </a:cubicBezTo>
                <a:cubicBezTo>
                  <a:pt x="8160" y="5798"/>
                  <a:pt x="8003" y="5987"/>
                  <a:pt x="8003" y="6207"/>
                </a:cubicBezTo>
                <a:cubicBezTo>
                  <a:pt x="8003" y="6459"/>
                  <a:pt x="8192" y="6648"/>
                  <a:pt x="8381" y="6648"/>
                </a:cubicBezTo>
                <a:cubicBezTo>
                  <a:pt x="9483" y="6648"/>
                  <a:pt x="9483" y="8318"/>
                  <a:pt x="8381" y="8318"/>
                </a:cubicBezTo>
                <a:cubicBezTo>
                  <a:pt x="8255" y="8318"/>
                  <a:pt x="8192" y="8255"/>
                  <a:pt x="8066" y="8224"/>
                </a:cubicBezTo>
                <a:cubicBezTo>
                  <a:pt x="8021" y="8211"/>
                  <a:pt x="7976" y="8205"/>
                  <a:pt x="7931" y="8205"/>
                </a:cubicBezTo>
                <a:cubicBezTo>
                  <a:pt x="7752" y="8205"/>
                  <a:pt x="7580" y="8306"/>
                  <a:pt x="7530" y="8507"/>
                </a:cubicBezTo>
                <a:cubicBezTo>
                  <a:pt x="7435" y="8854"/>
                  <a:pt x="7089" y="9137"/>
                  <a:pt x="6742" y="9137"/>
                </a:cubicBezTo>
                <a:cubicBezTo>
                  <a:pt x="6270" y="9137"/>
                  <a:pt x="5892" y="8759"/>
                  <a:pt x="5892" y="8318"/>
                </a:cubicBezTo>
                <a:lnTo>
                  <a:pt x="5892" y="5073"/>
                </a:lnTo>
                <a:cubicBezTo>
                  <a:pt x="6364" y="5231"/>
                  <a:pt x="6742" y="5703"/>
                  <a:pt x="6742" y="6270"/>
                </a:cubicBezTo>
                <a:cubicBezTo>
                  <a:pt x="6742" y="6491"/>
                  <a:pt x="6931" y="6680"/>
                  <a:pt x="7120" y="6680"/>
                </a:cubicBezTo>
                <a:cubicBezTo>
                  <a:pt x="7341" y="6680"/>
                  <a:pt x="7530" y="6491"/>
                  <a:pt x="7530" y="6270"/>
                </a:cubicBezTo>
                <a:cubicBezTo>
                  <a:pt x="7530" y="5262"/>
                  <a:pt x="6805" y="4412"/>
                  <a:pt x="5860" y="4254"/>
                </a:cubicBezTo>
                <a:lnTo>
                  <a:pt x="5860" y="1734"/>
                </a:lnTo>
                <a:cubicBezTo>
                  <a:pt x="5860" y="1261"/>
                  <a:pt x="6207" y="915"/>
                  <a:pt x="6711" y="915"/>
                </a:cubicBezTo>
                <a:close/>
                <a:moveTo>
                  <a:pt x="5514" y="9358"/>
                </a:moveTo>
                <a:cubicBezTo>
                  <a:pt x="5829" y="9736"/>
                  <a:pt x="6270" y="9925"/>
                  <a:pt x="6774" y="9925"/>
                </a:cubicBezTo>
                <a:lnTo>
                  <a:pt x="6774" y="10209"/>
                </a:lnTo>
                <a:lnTo>
                  <a:pt x="4285" y="10209"/>
                </a:lnTo>
                <a:lnTo>
                  <a:pt x="4285" y="9925"/>
                </a:lnTo>
                <a:cubicBezTo>
                  <a:pt x="4789" y="9925"/>
                  <a:pt x="5230" y="9673"/>
                  <a:pt x="5514" y="9358"/>
                </a:cubicBezTo>
                <a:close/>
                <a:moveTo>
                  <a:pt x="6648" y="11028"/>
                </a:moveTo>
                <a:cubicBezTo>
                  <a:pt x="6522" y="11500"/>
                  <a:pt x="6049" y="11847"/>
                  <a:pt x="5514" y="11847"/>
                </a:cubicBezTo>
                <a:cubicBezTo>
                  <a:pt x="4978" y="11847"/>
                  <a:pt x="4537" y="11500"/>
                  <a:pt x="4316" y="11028"/>
                </a:cubicBezTo>
                <a:close/>
                <a:moveTo>
                  <a:pt x="4285" y="1"/>
                </a:moveTo>
                <a:cubicBezTo>
                  <a:pt x="3686" y="1"/>
                  <a:pt x="3151" y="316"/>
                  <a:pt x="2867" y="820"/>
                </a:cubicBezTo>
                <a:cubicBezTo>
                  <a:pt x="2796" y="811"/>
                  <a:pt x="2724" y="806"/>
                  <a:pt x="2654" y="806"/>
                </a:cubicBezTo>
                <a:cubicBezTo>
                  <a:pt x="1762" y="806"/>
                  <a:pt x="977" y="1526"/>
                  <a:pt x="977" y="2490"/>
                </a:cubicBezTo>
                <a:lnTo>
                  <a:pt x="977" y="2679"/>
                </a:lnTo>
                <a:cubicBezTo>
                  <a:pt x="851" y="2742"/>
                  <a:pt x="756" y="2836"/>
                  <a:pt x="630" y="2962"/>
                </a:cubicBezTo>
                <a:cubicBezTo>
                  <a:pt x="63" y="3498"/>
                  <a:pt x="0" y="4286"/>
                  <a:pt x="347" y="4947"/>
                </a:cubicBezTo>
                <a:cubicBezTo>
                  <a:pt x="189" y="5199"/>
                  <a:pt x="126" y="5514"/>
                  <a:pt x="126" y="5766"/>
                </a:cubicBezTo>
                <a:cubicBezTo>
                  <a:pt x="126" y="6365"/>
                  <a:pt x="441" y="6932"/>
                  <a:pt x="945" y="7184"/>
                </a:cubicBezTo>
                <a:cubicBezTo>
                  <a:pt x="819" y="8192"/>
                  <a:pt x="1576" y="9043"/>
                  <a:pt x="2584" y="9043"/>
                </a:cubicBezTo>
                <a:lnTo>
                  <a:pt x="2836" y="9043"/>
                </a:lnTo>
                <a:cubicBezTo>
                  <a:pt x="2993" y="9326"/>
                  <a:pt x="3182" y="9515"/>
                  <a:pt x="3434" y="9673"/>
                </a:cubicBezTo>
                <a:lnTo>
                  <a:pt x="3434" y="10587"/>
                </a:lnTo>
                <a:cubicBezTo>
                  <a:pt x="3434" y="11721"/>
                  <a:pt x="4379" y="12666"/>
                  <a:pt x="5514" y="12666"/>
                </a:cubicBezTo>
                <a:cubicBezTo>
                  <a:pt x="6648" y="12666"/>
                  <a:pt x="7593" y="11721"/>
                  <a:pt x="7593" y="10587"/>
                </a:cubicBezTo>
                <a:lnTo>
                  <a:pt x="7593" y="9673"/>
                </a:lnTo>
                <a:cubicBezTo>
                  <a:pt x="7845" y="9515"/>
                  <a:pt x="8066" y="9326"/>
                  <a:pt x="8192" y="9043"/>
                </a:cubicBezTo>
                <a:lnTo>
                  <a:pt x="8444" y="9043"/>
                </a:lnTo>
                <a:cubicBezTo>
                  <a:pt x="9420" y="9043"/>
                  <a:pt x="10208" y="8129"/>
                  <a:pt x="10082" y="7153"/>
                </a:cubicBezTo>
                <a:cubicBezTo>
                  <a:pt x="10586" y="6869"/>
                  <a:pt x="10901" y="6333"/>
                  <a:pt x="10901" y="5735"/>
                </a:cubicBezTo>
                <a:cubicBezTo>
                  <a:pt x="10901" y="5451"/>
                  <a:pt x="10838" y="5136"/>
                  <a:pt x="10680" y="4916"/>
                </a:cubicBezTo>
                <a:cubicBezTo>
                  <a:pt x="11059" y="4317"/>
                  <a:pt x="10933" y="3498"/>
                  <a:pt x="10428" y="2962"/>
                </a:cubicBezTo>
                <a:cubicBezTo>
                  <a:pt x="10302" y="2836"/>
                  <a:pt x="10208" y="2742"/>
                  <a:pt x="10082" y="2679"/>
                </a:cubicBezTo>
                <a:lnTo>
                  <a:pt x="10082" y="2490"/>
                </a:lnTo>
                <a:cubicBezTo>
                  <a:pt x="10082" y="1576"/>
                  <a:pt x="9326" y="820"/>
                  <a:pt x="8444" y="820"/>
                </a:cubicBezTo>
                <a:lnTo>
                  <a:pt x="8192" y="820"/>
                </a:lnTo>
                <a:cubicBezTo>
                  <a:pt x="7908" y="316"/>
                  <a:pt x="7372" y="1"/>
                  <a:pt x="6774" y="1"/>
                </a:cubicBezTo>
                <a:cubicBezTo>
                  <a:pt x="6270" y="1"/>
                  <a:pt x="5829" y="222"/>
                  <a:pt x="5514" y="537"/>
                </a:cubicBezTo>
                <a:cubicBezTo>
                  <a:pt x="5199" y="190"/>
                  <a:pt x="4758" y="1"/>
                  <a:pt x="42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702" name="Google Shape;6702;p73"/>
          <p:cNvGrpSpPr/>
          <p:nvPr/>
        </p:nvGrpSpPr>
        <p:grpSpPr>
          <a:xfrm>
            <a:off x="4682698" y="2106618"/>
            <a:ext cx="487125" cy="386337"/>
            <a:chOff x="-62882850" y="1999375"/>
            <a:chExt cx="315850" cy="250500"/>
          </a:xfrm>
        </p:grpSpPr>
        <p:sp>
          <p:nvSpPr>
            <p:cNvPr id="6703" name="Google Shape;6703;p73"/>
            <p:cNvSpPr/>
            <p:nvPr/>
          </p:nvSpPr>
          <p:spPr>
            <a:xfrm>
              <a:off x="-62882850" y="1999375"/>
              <a:ext cx="315850" cy="250500"/>
            </a:xfrm>
            <a:custGeom>
              <a:avLst/>
              <a:gdLst/>
              <a:ahLst/>
              <a:cxnLst/>
              <a:rect l="l" t="t" r="r" b="b"/>
              <a:pathLst>
                <a:path w="12634" h="10020" extrusionOk="0">
                  <a:moveTo>
                    <a:pt x="10586" y="851"/>
                  </a:moveTo>
                  <a:cubicBezTo>
                    <a:pt x="10838" y="851"/>
                    <a:pt x="11027" y="1040"/>
                    <a:pt x="11027" y="1261"/>
                  </a:cubicBezTo>
                  <a:lnTo>
                    <a:pt x="11027" y="7499"/>
                  </a:lnTo>
                  <a:lnTo>
                    <a:pt x="1638" y="7499"/>
                  </a:lnTo>
                  <a:lnTo>
                    <a:pt x="1638" y="1261"/>
                  </a:lnTo>
                  <a:lnTo>
                    <a:pt x="1607" y="1261"/>
                  </a:lnTo>
                  <a:cubicBezTo>
                    <a:pt x="1607" y="1040"/>
                    <a:pt x="1796" y="851"/>
                    <a:pt x="2048" y="851"/>
                  </a:cubicBezTo>
                  <a:close/>
                  <a:moveTo>
                    <a:pt x="11814" y="8318"/>
                  </a:moveTo>
                  <a:lnTo>
                    <a:pt x="11814" y="8727"/>
                  </a:lnTo>
                  <a:cubicBezTo>
                    <a:pt x="11814" y="8948"/>
                    <a:pt x="11594" y="9137"/>
                    <a:pt x="11405" y="9137"/>
                  </a:cubicBezTo>
                  <a:lnTo>
                    <a:pt x="1197" y="9137"/>
                  </a:lnTo>
                  <a:cubicBezTo>
                    <a:pt x="977" y="9137"/>
                    <a:pt x="788" y="8948"/>
                    <a:pt x="788" y="8727"/>
                  </a:cubicBezTo>
                  <a:lnTo>
                    <a:pt x="788" y="8318"/>
                  </a:lnTo>
                  <a:close/>
                  <a:moveTo>
                    <a:pt x="2048" y="1"/>
                  </a:moveTo>
                  <a:cubicBezTo>
                    <a:pt x="1355" y="1"/>
                    <a:pt x="788" y="568"/>
                    <a:pt x="788" y="1261"/>
                  </a:cubicBezTo>
                  <a:lnTo>
                    <a:pt x="788" y="7499"/>
                  </a:lnTo>
                  <a:lnTo>
                    <a:pt x="378" y="7499"/>
                  </a:lnTo>
                  <a:cubicBezTo>
                    <a:pt x="158" y="7499"/>
                    <a:pt x="0" y="7688"/>
                    <a:pt x="0" y="7940"/>
                  </a:cubicBezTo>
                  <a:lnTo>
                    <a:pt x="0" y="8759"/>
                  </a:lnTo>
                  <a:cubicBezTo>
                    <a:pt x="0" y="9420"/>
                    <a:pt x="536" y="10019"/>
                    <a:pt x="1197" y="10019"/>
                  </a:cubicBezTo>
                  <a:lnTo>
                    <a:pt x="11405" y="10019"/>
                  </a:lnTo>
                  <a:cubicBezTo>
                    <a:pt x="12066" y="10019"/>
                    <a:pt x="12634" y="9452"/>
                    <a:pt x="12634" y="8759"/>
                  </a:cubicBezTo>
                  <a:lnTo>
                    <a:pt x="12634" y="7940"/>
                  </a:lnTo>
                  <a:cubicBezTo>
                    <a:pt x="12634" y="7656"/>
                    <a:pt x="12444" y="7499"/>
                    <a:pt x="12224" y="7499"/>
                  </a:cubicBezTo>
                  <a:lnTo>
                    <a:pt x="11814" y="7499"/>
                  </a:lnTo>
                  <a:lnTo>
                    <a:pt x="11814" y="1261"/>
                  </a:lnTo>
                  <a:cubicBezTo>
                    <a:pt x="11814" y="599"/>
                    <a:pt x="11247" y="1"/>
                    <a:pt x="105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4" name="Google Shape;6704;p73"/>
            <p:cNvSpPr/>
            <p:nvPr/>
          </p:nvSpPr>
          <p:spPr>
            <a:xfrm>
              <a:off x="-62806475" y="2062375"/>
              <a:ext cx="146525" cy="103800"/>
            </a:xfrm>
            <a:custGeom>
              <a:avLst/>
              <a:gdLst/>
              <a:ahLst/>
              <a:cxnLst/>
              <a:rect l="l" t="t" r="r" b="b"/>
              <a:pathLst>
                <a:path w="5861" h="4152" extrusionOk="0">
                  <a:moveTo>
                    <a:pt x="3782" y="1"/>
                  </a:moveTo>
                  <a:cubicBezTo>
                    <a:pt x="3561" y="1"/>
                    <a:pt x="3341" y="221"/>
                    <a:pt x="3341" y="410"/>
                  </a:cubicBezTo>
                  <a:cubicBezTo>
                    <a:pt x="3341" y="631"/>
                    <a:pt x="3561" y="852"/>
                    <a:pt x="3782" y="852"/>
                  </a:cubicBezTo>
                  <a:lnTo>
                    <a:pt x="4443" y="852"/>
                  </a:lnTo>
                  <a:lnTo>
                    <a:pt x="2962" y="2332"/>
                  </a:lnTo>
                  <a:lnTo>
                    <a:pt x="2395" y="1765"/>
                  </a:lnTo>
                  <a:cubicBezTo>
                    <a:pt x="2332" y="1686"/>
                    <a:pt x="2230" y="1647"/>
                    <a:pt x="2124" y="1647"/>
                  </a:cubicBezTo>
                  <a:cubicBezTo>
                    <a:pt x="2017" y="1647"/>
                    <a:pt x="1907" y="1686"/>
                    <a:pt x="1828" y="1765"/>
                  </a:cubicBezTo>
                  <a:lnTo>
                    <a:pt x="159" y="3435"/>
                  </a:lnTo>
                  <a:cubicBezTo>
                    <a:pt x="1" y="3592"/>
                    <a:pt x="1" y="3876"/>
                    <a:pt x="159" y="4034"/>
                  </a:cubicBezTo>
                  <a:cubicBezTo>
                    <a:pt x="237" y="4112"/>
                    <a:pt x="348" y="4152"/>
                    <a:pt x="458" y="4152"/>
                  </a:cubicBezTo>
                  <a:cubicBezTo>
                    <a:pt x="568" y="4152"/>
                    <a:pt x="678" y="4112"/>
                    <a:pt x="757" y="4034"/>
                  </a:cubicBezTo>
                  <a:lnTo>
                    <a:pt x="2143" y="2647"/>
                  </a:lnTo>
                  <a:lnTo>
                    <a:pt x="2679" y="3183"/>
                  </a:lnTo>
                  <a:cubicBezTo>
                    <a:pt x="2758" y="3262"/>
                    <a:pt x="2868" y="3301"/>
                    <a:pt x="2978" y="3301"/>
                  </a:cubicBezTo>
                  <a:cubicBezTo>
                    <a:pt x="3088" y="3301"/>
                    <a:pt x="3199" y="3262"/>
                    <a:pt x="3278" y="3183"/>
                  </a:cubicBezTo>
                  <a:lnTo>
                    <a:pt x="5042" y="1419"/>
                  </a:lnTo>
                  <a:lnTo>
                    <a:pt x="5042" y="2080"/>
                  </a:lnTo>
                  <a:cubicBezTo>
                    <a:pt x="5042" y="2332"/>
                    <a:pt x="5231" y="2521"/>
                    <a:pt x="5451" y="2521"/>
                  </a:cubicBezTo>
                  <a:cubicBezTo>
                    <a:pt x="5640" y="2521"/>
                    <a:pt x="5861" y="2332"/>
                    <a:pt x="5861" y="2080"/>
                  </a:cubicBezTo>
                  <a:lnTo>
                    <a:pt x="5861" y="442"/>
                  </a:lnTo>
                  <a:cubicBezTo>
                    <a:pt x="5861" y="158"/>
                    <a:pt x="5672" y="1"/>
                    <a:pt x="54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05" name="Google Shape;6705;p73"/>
          <p:cNvGrpSpPr/>
          <p:nvPr/>
        </p:nvGrpSpPr>
        <p:grpSpPr>
          <a:xfrm>
            <a:off x="4671150" y="2695393"/>
            <a:ext cx="510220" cy="489592"/>
            <a:chOff x="-62890750" y="2296300"/>
            <a:chExt cx="330825" cy="317450"/>
          </a:xfrm>
        </p:grpSpPr>
        <p:sp>
          <p:nvSpPr>
            <p:cNvPr id="6706" name="Google Shape;6706;p73"/>
            <p:cNvSpPr/>
            <p:nvPr/>
          </p:nvSpPr>
          <p:spPr>
            <a:xfrm>
              <a:off x="-62890750" y="2296300"/>
              <a:ext cx="313500" cy="195375"/>
            </a:xfrm>
            <a:custGeom>
              <a:avLst/>
              <a:gdLst/>
              <a:ahLst/>
              <a:cxnLst/>
              <a:rect l="l" t="t" r="r" b="b"/>
              <a:pathLst>
                <a:path w="12540" h="7815" extrusionOk="0">
                  <a:moveTo>
                    <a:pt x="11437" y="2080"/>
                  </a:moveTo>
                  <a:lnTo>
                    <a:pt x="11658" y="2931"/>
                  </a:lnTo>
                  <a:lnTo>
                    <a:pt x="10776" y="2742"/>
                  </a:lnTo>
                  <a:lnTo>
                    <a:pt x="11437" y="2080"/>
                  </a:lnTo>
                  <a:close/>
                  <a:moveTo>
                    <a:pt x="6617" y="1"/>
                  </a:moveTo>
                  <a:cubicBezTo>
                    <a:pt x="4916" y="1"/>
                    <a:pt x="3340" y="662"/>
                    <a:pt x="2112" y="1828"/>
                  </a:cubicBezTo>
                  <a:cubicBezTo>
                    <a:pt x="663" y="3277"/>
                    <a:pt x="1" y="5420"/>
                    <a:pt x="379" y="7467"/>
                  </a:cubicBezTo>
                  <a:cubicBezTo>
                    <a:pt x="442" y="7656"/>
                    <a:pt x="568" y="7814"/>
                    <a:pt x="789" y="7814"/>
                  </a:cubicBezTo>
                  <a:lnTo>
                    <a:pt x="852" y="7814"/>
                  </a:lnTo>
                  <a:cubicBezTo>
                    <a:pt x="1104" y="7783"/>
                    <a:pt x="1198" y="7562"/>
                    <a:pt x="1167" y="7341"/>
                  </a:cubicBezTo>
                  <a:cubicBezTo>
                    <a:pt x="852" y="5577"/>
                    <a:pt x="1419" y="3718"/>
                    <a:pt x="2710" y="2458"/>
                  </a:cubicBezTo>
                  <a:cubicBezTo>
                    <a:pt x="3719" y="1450"/>
                    <a:pt x="5136" y="851"/>
                    <a:pt x="6617" y="851"/>
                  </a:cubicBezTo>
                  <a:cubicBezTo>
                    <a:pt x="7940" y="851"/>
                    <a:pt x="9200" y="1324"/>
                    <a:pt x="10177" y="2206"/>
                  </a:cubicBezTo>
                  <a:lnTo>
                    <a:pt x="9610" y="2773"/>
                  </a:lnTo>
                  <a:cubicBezTo>
                    <a:pt x="9484" y="2899"/>
                    <a:pt x="9452" y="3057"/>
                    <a:pt x="9484" y="3183"/>
                  </a:cubicBezTo>
                  <a:cubicBezTo>
                    <a:pt x="9515" y="3340"/>
                    <a:pt x="9641" y="3403"/>
                    <a:pt x="9799" y="3466"/>
                  </a:cubicBezTo>
                  <a:lnTo>
                    <a:pt x="12036" y="3939"/>
                  </a:lnTo>
                  <a:lnTo>
                    <a:pt x="12130" y="3939"/>
                  </a:lnTo>
                  <a:cubicBezTo>
                    <a:pt x="12225" y="3939"/>
                    <a:pt x="12319" y="3876"/>
                    <a:pt x="12382" y="3813"/>
                  </a:cubicBezTo>
                  <a:cubicBezTo>
                    <a:pt x="12508" y="3687"/>
                    <a:pt x="12540" y="3561"/>
                    <a:pt x="12508" y="3403"/>
                  </a:cubicBezTo>
                  <a:lnTo>
                    <a:pt x="12036" y="1167"/>
                  </a:lnTo>
                  <a:cubicBezTo>
                    <a:pt x="12004" y="1009"/>
                    <a:pt x="11878" y="883"/>
                    <a:pt x="11752" y="851"/>
                  </a:cubicBezTo>
                  <a:cubicBezTo>
                    <a:pt x="11715" y="844"/>
                    <a:pt x="11678" y="840"/>
                    <a:pt x="11642" y="840"/>
                  </a:cubicBezTo>
                  <a:cubicBezTo>
                    <a:pt x="11526" y="840"/>
                    <a:pt x="11422" y="881"/>
                    <a:pt x="11374" y="977"/>
                  </a:cubicBezTo>
                  <a:lnTo>
                    <a:pt x="10776" y="1576"/>
                  </a:lnTo>
                  <a:cubicBezTo>
                    <a:pt x="9641" y="536"/>
                    <a:pt x="8129" y="1"/>
                    <a:pt x="6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7" name="Google Shape;6707;p73"/>
            <p:cNvSpPr/>
            <p:nvPr/>
          </p:nvSpPr>
          <p:spPr>
            <a:xfrm>
              <a:off x="-62874975" y="2417475"/>
              <a:ext cx="315050" cy="196275"/>
            </a:xfrm>
            <a:custGeom>
              <a:avLst/>
              <a:gdLst/>
              <a:ahLst/>
              <a:cxnLst/>
              <a:rect l="l" t="t" r="r" b="b"/>
              <a:pathLst>
                <a:path w="12602" h="7851" extrusionOk="0">
                  <a:moveTo>
                    <a:pt x="977" y="4857"/>
                  </a:moveTo>
                  <a:lnTo>
                    <a:pt x="1827" y="5078"/>
                  </a:lnTo>
                  <a:lnTo>
                    <a:pt x="1166" y="5739"/>
                  </a:lnTo>
                  <a:lnTo>
                    <a:pt x="977" y="4857"/>
                  </a:lnTo>
                  <a:close/>
                  <a:moveTo>
                    <a:pt x="11779" y="1"/>
                  </a:moveTo>
                  <a:cubicBezTo>
                    <a:pt x="11759" y="1"/>
                    <a:pt x="11739" y="2"/>
                    <a:pt x="11720" y="6"/>
                  </a:cubicBezTo>
                  <a:cubicBezTo>
                    <a:pt x="11499" y="69"/>
                    <a:pt x="11373" y="289"/>
                    <a:pt x="11405" y="478"/>
                  </a:cubicBezTo>
                  <a:cubicBezTo>
                    <a:pt x="11720" y="2274"/>
                    <a:pt x="11184" y="4101"/>
                    <a:pt x="9861" y="5361"/>
                  </a:cubicBezTo>
                  <a:cubicBezTo>
                    <a:pt x="8853" y="6401"/>
                    <a:pt x="7435" y="7000"/>
                    <a:pt x="5986" y="7000"/>
                  </a:cubicBezTo>
                  <a:cubicBezTo>
                    <a:pt x="4631" y="7000"/>
                    <a:pt x="3371" y="6527"/>
                    <a:pt x="2394" y="5645"/>
                  </a:cubicBezTo>
                  <a:lnTo>
                    <a:pt x="2993" y="5046"/>
                  </a:lnTo>
                  <a:cubicBezTo>
                    <a:pt x="3088" y="4952"/>
                    <a:pt x="3151" y="4794"/>
                    <a:pt x="3088" y="4668"/>
                  </a:cubicBezTo>
                  <a:cubicBezTo>
                    <a:pt x="3056" y="4511"/>
                    <a:pt x="2962" y="4416"/>
                    <a:pt x="2772" y="4385"/>
                  </a:cubicBezTo>
                  <a:lnTo>
                    <a:pt x="536" y="3912"/>
                  </a:lnTo>
                  <a:cubicBezTo>
                    <a:pt x="506" y="3905"/>
                    <a:pt x="476" y="3901"/>
                    <a:pt x="446" y="3901"/>
                  </a:cubicBezTo>
                  <a:cubicBezTo>
                    <a:pt x="350" y="3901"/>
                    <a:pt x="254" y="3942"/>
                    <a:pt x="158" y="4038"/>
                  </a:cubicBezTo>
                  <a:cubicBezTo>
                    <a:pt x="32" y="4164"/>
                    <a:pt x="0" y="4290"/>
                    <a:pt x="32" y="4448"/>
                  </a:cubicBezTo>
                  <a:lnTo>
                    <a:pt x="504" y="6685"/>
                  </a:lnTo>
                  <a:cubicBezTo>
                    <a:pt x="536" y="6842"/>
                    <a:pt x="662" y="6937"/>
                    <a:pt x="788" y="7000"/>
                  </a:cubicBezTo>
                  <a:lnTo>
                    <a:pt x="882" y="7000"/>
                  </a:lnTo>
                  <a:cubicBezTo>
                    <a:pt x="1008" y="7000"/>
                    <a:pt x="1103" y="6968"/>
                    <a:pt x="1166" y="6874"/>
                  </a:cubicBezTo>
                  <a:lnTo>
                    <a:pt x="1764" y="6275"/>
                  </a:lnTo>
                  <a:cubicBezTo>
                    <a:pt x="2899" y="7315"/>
                    <a:pt x="4411" y="7850"/>
                    <a:pt x="5923" y="7850"/>
                  </a:cubicBezTo>
                  <a:cubicBezTo>
                    <a:pt x="7624" y="7850"/>
                    <a:pt x="9200" y="7189"/>
                    <a:pt x="10428" y="6023"/>
                  </a:cubicBezTo>
                  <a:cubicBezTo>
                    <a:pt x="11909" y="4511"/>
                    <a:pt x="12602" y="2400"/>
                    <a:pt x="12192" y="321"/>
                  </a:cubicBezTo>
                  <a:cubicBezTo>
                    <a:pt x="12164" y="123"/>
                    <a:pt x="11958" y="1"/>
                    <a:pt x="117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08" name="Google Shape;6708;p73"/>
            <p:cNvSpPr/>
            <p:nvPr/>
          </p:nvSpPr>
          <p:spPr>
            <a:xfrm>
              <a:off x="-62822225" y="2357750"/>
              <a:ext cx="193000" cy="192975"/>
            </a:xfrm>
            <a:custGeom>
              <a:avLst/>
              <a:gdLst/>
              <a:ahLst/>
              <a:cxnLst/>
              <a:rect l="l" t="t" r="r" b="b"/>
              <a:pathLst>
                <a:path w="7720" h="7719" extrusionOk="0">
                  <a:moveTo>
                    <a:pt x="2238" y="1323"/>
                  </a:moveTo>
                  <a:lnTo>
                    <a:pt x="2238" y="1323"/>
                  </a:lnTo>
                  <a:cubicBezTo>
                    <a:pt x="2143" y="1544"/>
                    <a:pt x="2049" y="1827"/>
                    <a:pt x="1986" y="2111"/>
                  </a:cubicBezTo>
                  <a:lnTo>
                    <a:pt x="1419" y="2111"/>
                  </a:lnTo>
                  <a:cubicBezTo>
                    <a:pt x="1671" y="1796"/>
                    <a:pt x="1923" y="1512"/>
                    <a:pt x="2238" y="1323"/>
                  </a:cubicBezTo>
                  <a:close/>
                  <a:moveTo>
                    <a:pt x="3466" y="1040"/>
                  </a:moveTo>
                  <a:lnTo>
                    <a:pt x="3466" y="2111"/>
                  </a:lnTo>
                  <a:lnTo>
                    <a:pt x="2836" y="2111"/>
                  </a:lnTo>
                  <a:cubicBezTo>
                    <a:pt x="2994" y="1575"/>
                    <a:pt x="3246" y="1229"/>
                    <a:pt x="3466" y="1040"/>
                  </a:cubicBezTo>
                  <a:close/>
                  <a:moveTo>
                    <a:pt x="4254" y="1040"/>
                  </a:moveTo>
                  <a:cubicBezTo>
                    <a:pt x="4538" y="1229"/>
                    <a:pt x="4727" y="1575"/>
                    <a:pt x="4884" y="2111"/>
                  </a:cubicBezTo>
                  <a:lnTo>
                    <a:pt x="4254" y="2111"/>
                  </a:lnTo>
                  <a:lnTo>
                    <a:pt x="4254" y="1040"/>
                  </a:lnTo>
                  <a:close/>
                  <a:moveTo>
                    <a:pt x="5483" y="1323"/>
                  </a:moveTo>
                  <a:lnTo>
                    <a:pt x="5483" y="1323"/>
                  </a:lnTo>
                  <a:cubicBezTo>
                    <a:pt x="5798" y="1512"/>
                    <a:pt x="6081" y="1796"/>
                    <a:pt x="6302" y="2111"/>
                  </a:cubicBezTo>
                  <a:lnTo>
                    <a:pt x="5766" y="2111"/>
                  </a:lnTo>
                  <a:cubicBezTo>
                    <a:pt x="5672" y="1827"/>
                    <a:pt x="5609" y="1544"/>
                    <a:pt x="5483" y="1323"/>
                  </a:cubicBezTo>
                  <a:close/>
                  <a:moveTo>
                    <a:pt x="1765" y="2930"/>
                  </a:moveTo>
                  <a:cubicBezTo>
                    <a:pt x="1734" y="3245"/>
                    <a:pt x="1702" y="3560"/>
                    <a:pt x="1702" y="3875"/>
                  </a:cubicBezTo>
                  <a:cubicBezTo>
                    <a:pt x="1702" y="4190"/>
                    <a:pt x="1734" y="4537"/>
                    <a:pt x="1765" y="4820"/>
                  </a:cubicBezTo>
                  <a:lnTo>
                    <a:pt x="978" y="4820"/>
                  </a:lnTo>
                  <a:cubicBezTo>
                    <a:pt x="883" y="4537"/>
                    <a:pt x="820" y="4222"/>
                    <a:pt x="820" y="3875"/>
                  </a:cubicBezTo>
                  <a:cubicBezTo>
                    <a:pt x="820" y="3497"/>
                    <a:pt x="883" y="3214"/>
                    <a:pt x="978" y="2930"/>
                  </a:cubicBezTo>
                  <a:close/>
                  <a:moveTo>
                    <a:pt x="5136" y="2930"/>
                  </a:moveTo>
                  <a:cubicBezTo>
                    <a:pt x="5168" y="3245"/>
                    <a:pt x="5199" y="3560"/>
                    <a:pt x="5199" y="3875"/>
                  </a:cubicBezTo>
                  <a:cubicBezTo>
                    <a:pt x="5199" y="4222"/>
                    <a:pt x="5168" y="4537"/>
                    <a:pt x="5136" y="4820"/>
                  </a:cubicBezTo>
                  <a:lnTo>
                    <a:pt x="4286" y="4820"/>
                  </a:lnTo>
                  <a:lnTo>
                    <a:pt x="4286" y="2930"/>
                  </a:lnTo>
                  <a:close/>
                  <a:moveTo>
                    <a:pt x="6743" y="2930"/>
                  </a:moveTo>
                  <a:cubicBezTo>
                    <a:pt x="6869" y="3245"/>
                    <a:pt x="6900" y="3560"/>
                    <a:pt x="6900" y="3875"/>
                  </a:cubicBezTo>
                  <a:cubicBezTo>
                    <a:pt x="6900" y="4222"/>
                    <a:pt x="6869" y="4537"/>
                    <a:pt x="6743" y="4820"/>
                  </a:cubicBezTo>
                  <a:lnTo>
                    <a:pt x="5955" y="4820"/>
                  </a:lnTo>
                  <a:cubicBezTo>
                    <a:pt x="5987" y="4505"/>
                    <a:pt x="6018" y="4190"/>
                    <a:pt x="6018" y="3875"/>
                  </a:cubicBezTo>
                  <a:cubicBezTo>
                    <a:pt x="6018" y="3560"/>
                    <a:pt x="5987" y="3214"/>
                    <a:pt x="5955" y="2930"/>
                  </a:cubicBezTo>
                  <a:close/>
                  <a:moveTo>
                    <a:pt x="3466" y="2930"/>
                  </a:moveTo>
                  <a:lnTo>
                    <a:pt x="3466" y="4852"/>
                  </a:lnTo>
                  <a:lnTo>
                    <a:pt x="2647" y="4852"/>
                  </a:lnTo>
                  <a:cubicBezTo>
                    <a:pt x="2553" y="4537"/>
                    <a:pt x="2553" y="4222"/>
                    <a:pt x="2553" y="3875"/>
                  </a:cubicBezTo>
                  <a:cubicBezTo>
                    <a:pt x="2553" y="3497"/>
                    <a:pt x="2616" y="3214"/>
                    <a:pt x="2647" y="2930"/>
                  </a:cubicBezTo>
                  <a:close/>
                  <a:moveTo>
                    <a:pt x="6302" y="5640"/>
                  </a:moveTo>
                  <a:cubicBezTo>
                    <a:pt x="6081" y="5955"/>
                    <a:pt x="5798" y="6238"/>
                    <a:pt x="5483" y="6427"/>
                  </a:cubicBezTo>
                  <a:cubicBezTo>
                    <a:pt x="5609" y="6207"/>
                    <a:pt x="5672" y="5923"/>
                    <a:pt x="5766" y="5640"/>
                  </a:cubicBezTo>
                  <a:close/>
                  <a:moveTo>
                    <a:pt x="1986" y="5671"/>
                  </a:moveTo>
                  <a:cubicBezTo>
                    <a:pt x="2049" y="5955"/>
                    <a:pt x="2143" y="6238"/>
                    <a:pt x="2238" y="6459"/>
                  </a:cubicBezTo>
                  <a:cubicBezTo>
                    <a:pt x="1923" y="6238"/>
                    <a:pt x="1671" y="5955"/>
                    <a:pt x="1419" y="5671"/>
                  </a:cubicBezTo>
                  <a:close/>
                  <a:moveTo>
                    <a:pt x="4916" y="5640"/>
                  </a:moveTo>
                  <a:cubicBezTo>
                    <a:pt x="4727" y="6144"/>
                    <a:pt x="4538" y="6522"/>
                    <a:pt x="4286" y="6711"/>
                  </a:cubicBezTo>
                  <a:lnTo>
                    <a:pt x="4286" y="5640"/>
                  </a:lnTo>
                  <a:close/>
                  <a:moveTo>
                    <a:pt x="3466" y="5671"/>
                  </a:moveTo>
                  <a:lnTo>
                    <a:pt x="3466" y="6742"/>
                  </a:lnTo>
                  <a:cubicBezTo>
                    <a:pt x="3246" y="6553"/>
                    <a:pt x="2994" y="6144"/>
                    <a:pt x="2836" y="5671"/>
                  </a:cubicBezTo>
                  <a:close/>
                  <a:moveTo>
                    <a:pt x="3876" y="0"/>
                  </a:moveTo>
                  <a:cubicBezTo>
                    <a:pt x="2301" y="0"/>
                    <a:pt x="915" y="945"/>
                    <a:pt x="316" y="2332"/>
                  </a:cubicBezTo>
                  <a:cubicBezTo>
                    <a:pt x="127" y="2804"/>
                    <a:pt x="1" y="3308"/>
                    <a:pt x="1" y="3875"/>
                  </a:cubicBezTo>
                  <a:cubicBezTo>
                    <a:pt x="1" y="4411"/>
                    <a:pt x="127" y="4946"/>
                    <a:pt x="316" y="5419"/>
                  </a:cubicBezTo>
                  <a:cubicBezTo>
                    <a:pt x="915" y="6774"/>
                    <a:pt x="2301" y="7719"/>
                    <a:pt x="3876" y="7719"/>
                  </a:cubicBezTo>
                  <a:cubicBezTo>
                    <a:pt x="5451" y="7719"/>
                    <a:pt x="6806" y="6774"/>
                    <a:pt x="7405" y="5419"/>
                  </a:cubicBezTo>
                  <a:cubicBezTo>
                    <a:pt x="7594" y="4946"/>
                    <a:pt x="7720" y="4411"/>
                    <a:pt x="7720" y="3875"/>
                  </a:cubicBezTo>
                  <a:cubicBezTo>
                    <a:pt x="7720" y="3308"/>
                    <a:pt x="7594" y="2804"/>
                    <a:pt x="7405" y="2332"/>
                  </a:cubicBezTo>
                  <a:cubicBezTo>
                    <a:pt x="6806" y="945"/>
                    <a:pt x="5451" y="0"/>
                    <a:pt x="387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09" name="Google Shape;6709;p73"/>
          <p:cNvGrpSpPr/>
          <p:nvPr/>
        </p:nvGrpSpPr>
        <p:grpSpPr>
          <a:xfrm>
            <a:off x="4682698" y="3316009"/>
            <a:ext cx="487125" cy="489553"/>
            <a:chOff x="-62882850" y="2664925"/>
            <a:chExt cx="315850" cy="317425"/>
          </a:xfrm>
        </p:grpSpPr>
        <p:sp>
          <p:nvSpPr>
            <p:cNvPr id="6710" name="Google Shape;6710;p73"/>
            <p:cNvSpPr/>
            <p:nvPr/>
          </p:nvSpPr>
          <p:spPr>
            <a:xfrm>
              <a:off x="-62882850" y="2664925"/>
              <a:ext cx="315850" cy="317425"/>
            </a:xfrm>
            <a:custGeom>
              <a:avLst/>
              <a:gdLst/>
              <a:ahLst/>
              <a:cxnLst/>
              <a:rect l="l" t="t" r="r" b="b"/>
              <a:pathLst>
                <a:path w="12634" h="12697" extrusionOk="0">
                  <a:moveTo>
                    <a:pt x="11405" y="851"/>
                  </a:moveTo>
                  <a:cubicBezTo>
                    <a:pt x="11657" y="851"/>
                    <a:pt x="11814" y="1040"/>
                    <a:pt x="11814" y="1260"/>
                  </a:cubicBezTo>
                  <a:lnTo>
                    <a:pt x="11814" y="7719"/>
                  </a:lnTo>
                  <a:lnTo>
                    <a:pt x="788" y="7719"/>
                  </a:lnTo>
                  <a:lnTo>
                    <a:pt x="788" y="1260"/>
                  </a:lnTo>
                  <a:cubicBezTo>
                    <a:pt x="788" y="1040"/>
                    <a:pt x="977" y="851"/>
                    <a:pt x="1197" y="851"/>
                  </a:cubicBezTo>
                  <a:close/>
                  <a:moveTo>
                    <a:pt x="11814" y="8506"/>
                  </a:moveTo>
                  <a:lnTo>
                    <a:pt x="11814" y="8947"/>
                  </a:lnTo>
                  <a:cubicBezTo>
                    <a:pt x="11814" y="9199"/>
                    <a:pt x="11594" y="9389"/>
                    <a:pt x="11405" y="9389"/>
                  </a:cubicBezTo>
                  <a:lnTo>
                    <a:pt x="1197" y="9389"/>
                  </a:lnTo>
                  <a:cubicBezTo>
                    <a:pt x="977" y="9389"/>
                    <a:pt x="788" y="9199"/>
                    <a:pt x="788" y="8947"/>
                  </a:cubicBezTo>
                  <a:lnTo>
                    <a:pt x="788" y="8506"/>
                  </a:lnTo>
                  <a:close/>
                  <a:moveTo>
                    <a:pt x="7782" y="10208"/>
                  </a:moveTo>
                  <a:lnTo>
                    <a:pt x="8349" y="11877"/>
                  </a:lnTo>
                  <a:lnTo>
                    <a:pt x="4253" y="11877"/>
                  </a:lnTo>
                  <a:lnTo>
                    <a:pt x="4789" y="10208"/>
                  </a:lnTo>
                  <a:close/>
                  <a:moveTo>
                    <a:pt x="1197" y="0"/>
                  </a:moveTo>
                  <a:cubicBezTo>
                    <a:pt x="536" y="0"/>
                    <a:pt x="0" y="567"/>
                    <a:pt x="0" y="1229"/>
                  </a:cubicBezTo>
                  <a:lnTo>
                    <a:pt x="0" y="8947"/>
                  </a:lnTo>
                  <a:cubicBezTo>
                    <a:pt x="0" y="9609"/>
                    <a:pt x="536" y="10176"/>
                    <a:pt x="1197" y="10176"/>
                  </a:cubicBezTo>
                  <a:lnTo>
                    <a:pt x="3938" y="10176"/>
                  </a:lnTo>
                  <a:lnTo>
                    <a:pt x="3371" y="11814"/>
                  </a:lnTo>
                  <a:lnTo>
                    <a:pt x="2867" y="11814"/>
                  </a:lnTo>
                  <a:cubicBezTo>
                    <a:pt x="2615" y="11814"/>
                    <a:pt x="2457" y="12003"/>
                    <a:pt x="2457" y="12255"/>
                  </a:cubicBezTo>
                  <a:cubicBezTo>
                    <a:pt x="2457" y="12476"/>
                    <a:pt x="2678" y="12697"/>
                    <a:pt x="2867" y="12697"/>
                  </a:cubicBezTo>
                  <a:lnTo>
                    <a:pt x="9767" y="12697"/>
                  </a:lnTo>
                  <a:cubicBezTo>
                    <a:pt x="9987" y="12697"/>
                    <a:pt x="10176" y="12476"/>
                    <a:pt x="10176" y="12255"/>
                  </a:cubicBezTo>
                  <a:cubicBezTo>
                    <a:pt x="10176" y="12003"/>
                    <a:pt x="9987" y="11814"/>
                    <a:pt x="9767" y="11814"/>
                  </a:cubicBezTo>
                  <a:lnTo>
                    <a:pt x="9231" y="11814"/>
                  </a:lnTo>
                  <a:lnTo>
                    <a:pt x="8695" y="10176"/>
                  </a:lnTo>
                  <a:lnTo>
                    <a:pt x="11405" y="10176"/>
                  </a:lnTo>
                  <a:cubicBezTo>
                    <a:pt x="12066" y="10176"/>
                    <a:pt x="12634" y="9609"/>
                    <a:pt x="12634" y="8947"/>
                  </a:cubicBezTo>
                  <a:lnTo>
                    <a:pt x="12634" y="1229"/>
                  </a:lnTo>
                  <a:cubicBezTo>
                    <a:pt x="12634" y="567"/>
                    <a:pt x="12066"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1" name="Google Shape;6711;p73"/>
            <p:cNvSpPr/>
            <p:nvPr/>
          </p:nvSpPr>
          <p:spPr>
            <a:xfrm>
              <a:off x="-62756050" y="2702725"/>
              <a:ext cx="62225" cy="146525"/>
            </a:xfrm>
            <a:custGeom>
              <a:avLst/>
              <a:gdLst/>
              <a:ahLst/>
              <a:cxnLst/>
              <a:rect l="l" t="t" r="r" b="b"/>
              <a:pathLst>
                <a:path w="2489" h="5861" extrusionOk="0">
                  <a:moveTo>
                    <a:pt x="1229" y="0"/>
                  </a:moveTo>
                  <a:cubicBezTo>
                    <a:pt x="977" y="0"/>
                    <a:pt x="819" y="189"/>
                    <a:pt x="819" y="441"/>
                  </a:cubicBezTo>
                  <a:lnTo>
                    <a:pt x="819" y="693"/>
                  </a:lnTo>
                  <a:cubicBezTo>
                    <a:pt x="347" y="851"/>
                    <a:pt x="0" y="1324"/>
                    <a:pt x="0" y="1891"/>
                  </a:cubicBezTo>
                  <a:cubicBezTo>
                    <a:pt x="0" y="2552"/>
                    <a:pt x="536" y="2962"/>
                    <a:pt x="977" y="3277"/>
                  </a:cubicBezTo>
                  <a:cubicBezTo>
                    <a:pt x="1292" y="3497"/>
                    <a:pt x="1639" y="3749"/>
                    <a:pt x="1639" y="3970"/>
                  </a:cubicBezTo>
                  <a:cubicBezTo>
                    <a:pt x="1639" y="4222"/>
                    <a:pt x="1450" y="4411"/>
                    <a:pt x="1229" y="4411"/>
                  </a:cubicBezTo>
                  <a:cubicBezTo>
                    <a:pt x="977" y="4411"/>
                    <a:pt x="819" y="4222"/>
                    <a:pt x="819" y="3970"/>
                  </a:cubicBezTo>
                  <a:cubicBezTo>
                    <a:pt x="819" y="3749"/>
                    <a:pt x="630" y="3529"/>
                    <a:pt x="441" y="3529"/>
                  </a:cubicBezTo>
                  <a:cubicBezTo>
                    <a:pt x="189" y="3529"/>
                    <a:pt x="0" y="3749"/>
                    <a:pt x="0" y="3970"/>
                  </a:cubicBezTo>
                  <a:cubicBezTo>
                    <a:pt x="0" y="4537"/>
                    <a:pt x="347" y="4947"/>
                    <a:pt x="819" y="5167"/>
                  </a:cubicBezTo>
                  <a:lnTo>
                    <a:pt x="819" y="5419"/>
                  </a:lnTo>
                  <a:cubicBezTo>
                    <a:pt x="819" y="5671"/>
                    <a:pt x="1008" y="5860"/>
                    <a:pt x="1229" y="5860"/>
                  </a:cubicBezTo>
                  <a:cubicBezTo>
                    <a:pt x="1450" y="5860"/>
                    <a:pt x="1639" y="5671"/>
                    <a:pt x="1639" y="5419"/>
                  </a:cubicBezTo>
                  <a:lnTo>
                    <a:pt x="1639" y="5167"/>
                  </a:lnTo>
                  <a:cubicBezTo>
                    <a:pt x="2111" y="5010"/>
                    <a:pt x="2489" y="4537"/>
                    <a:pt x="2489" y="3970"/>
                  </a:cubicBezTo>
                  <a:cubicBezTo>
                    <a:pt x="2489" y="3308"/>
                    <a:pt x="1922" y="2899"/>
                    <a:pt x="1481" y="2584"/>
                  </a:cubicBezTo>
                  <a:cubicBezTo>
                    <a:pt x="1166" y="2363"/>
                    <a:pt x="819" y="2111"/>
                    <a:pt x="819" y="1891"/>
                  </a:cubicBezTo>
                  <a:cubicBezTo>
                    <a:pt x="819" y="1639"/>
                    <a:pt x="977" y="1450"/>
                    <a:pt x="1229" y="1450"/>
                  </a:cubicBezTo>
                  <a:cubicBezTo>
                    <a:pt x="1450" y="1450"/>
                    <a:pt x="1639" y="1639"/>
                    <a:pt x="1639" y="1891"/>
                  </a:cubicBezTo>
                  <a:cubicBezTo>
                    <a:pt x="1639" y="2111"/>
                    <a:pt x="1859" y="2332"/>
                    <a:pt x="2048" y="2332"/>
                  </a:cubicBezTo>
                  <a:cubicBezTo>
                    <a:pt x="2237" y="2332"/>
                    <a:pt x="2489" y="2111"/>
                    <a:pt x="2489" y="1891"/>
                  </a:cubicBezTo>
                  <a:cubicBezTo>
                    <a:pt x="2489" y="1324"/>
                    <a:pt x="2143" y="914"/>
                    <a:pt x="1639" y="693"/>
                  </a:cubicBezTo>
                  <a:lnTo>
                    <a:pt x="1639" y="441"/>
                  </a:lnTo>
                  <a:cubicBezTo>
                    <a:pt x="1639" y="189"/>
                    <a:pt x="1450"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712" name="Google Shape;6712;p73"/>
          <p:cNvSpPr/>
          <p:nvPr/>
        </p:nvSpPr>
        <p:spPr>
          <a:xfrm>
            <a:off x="2900950" y="3948403"/>
            <a:ext cx="492021" cy="486084"/>
          </a:xfrm>
          <a:custGeom>
            <a:avLst/>
            <a:gdLst/>
            <a:ahLst/>
            <a:cxnLst/>
            <a:rect l="l" t="t" r="r" b="b"/>
            <a:pathLst>
              <a:path w="12761" h="12607" extrusionOk="0">
                <a:moveTo>
                  <a:pt x="1860" y="2084"/>
                </a:moveTo>
                <a:lnTo>
                  <a:pt x="7373" y="2997"/>
                </a:lnTo>
                <a:lnTo>
                  <a:pt x="5861" y="4509"/>
                </a:lnTo>
                <a:lnTo>
                  <a:pt x="1261" y="2682"/>
                </a:lnTo>
                <a:lnTo>
                  <a:pt x="1860" y="2084"/>
                </a:lnTo>
                <a:close/>
                <a:moveTo>
                  <a:pt x="11229" y="836"/>
                </a:moveTo>
                <a:cubicBezTo>
                  <a:pt x="11412" y="836"/>
                  <a:pt x="11578" y="881"/>
                  <a:pt x="11689" y="981"/>
                </a:cubicBezTo>
                <a:cubicBezTo>
                  <a:pt x="11847" y="1107"/>
                  <a:pt x="11878" y="1359"/>
                  <a:pt x="11847" y="1611"/>
                </a:cubicBezTo>
                <a:cubicBezTo>
                  <a:pt x="11815" y="1894"/>
                  <a:pt x="11658" y="2210"/>
                  <a:pt x="11500" y="2367"/>
                </a:cubicBezTo>
                <a:lnTo>
                  <a:pt x="7405" y="6463"/>
                </a:lnTo>
                <a:lnTo>
                  <a:pt x="5168" y="8700"/>
                </a:lnTo>
                <a:cubicBezTo>
                  <a:pt x="5073" y="8794"/>
                  <a:pt x="5010" y="8952"/>
                  <a:pt x="5042" y="9078"/>
                </a:cubicBezTo>
                <a:lnTo>
                  <a:pt x="5262" y="10306"/>
                </a:lnTo>
                <a:lnTo>
                  <a:pt x="4223" y="11377"/>
                </a:lnTo>
                <a:lnTo>
                  <a:pt x="3782" y="9204"/>
                </a:lnTo>
                <a:cubicBezTo>
                  <a:pt x="3750" y="9046"/>
                  <a:pt x="3624" y="8952"/>
                  <a:pt x="3466" y="8889"/>
                </a:cubicBezTo>
                <a:lnTo>
                  <a:pt x="1293" y="8479"/>
                </a:lnTo>
                <a:lnTo>
                  <a:pt x="2364" y="7408"/>
                </a:lnTo>
                <a:lnTo>
                  <a:pt x="3624" y="7628"/>
                </a:lnTo>
                <a:cubicBezTo>
                  <a:pt x="3659" y="7646"/>
                  <a:pt x="3697" y="7654"/>
                  <a:pt x="3734" y="7654"/>
                </a:cubicBezTo>
                <a:cubicBezTo>
                  <a:pt x="3831" y="7654"/>
                  <a:pt x="3925" y="7602"/>
                  <a:pt x="3971" y="7534"/>
                </a:cubicBezTo>
                <a:lnTo>
                  <a:pt x="6207" y="5266"/>
                </a:lnTo>
                <a:lnTo>
                  <a:pt x="10272" y="1233"/>
                </a:lnTo>
                <a:cubicBezTo>
                  <a:pt x="10496" y="988"/>
                  <a:pt x="10892" y="836"/>
                  <a:pt x="11229" y="836"/>
                </a:cubicBezTo>
                <a:close/>
                <a:moveTo>
                  <a:pt x="9641" y="5360"/>
                </a:moveTo>
                <a:lnTo>
                  <a:pt x="10587" y="10873"/>
                </a:lnTo>
                <a:lnTo>
                  <a:pt x="9988" y="11472"/>
                </a:lnTo>
                <a:lnTo>
                  <a:pt x="8161" y="6872"/>
                </a:lnTo>
                <a:lnTo>
                  <a:pt x="9641" y="5360"/>
                </a:lnTo>
                <a:close/>
                <a:moveTo>
                  <a:pt x="11241" y="1"/>
                </a:moveTo>
                <a:cubicBezTo>
                  <a:pt x="10688" y="1"/>
                  <a:pt x="10104" y="248"/>
                  <a:pt x="9736" y="634"/>
                </a:cubicBezTo>
                <a:lnTo>
                  <a:pt x="8066" y="2304"/>
                </a:lnTo>
                <a:lnTo>
                  <a:pt x="1765" y="1233"/>
                </a:lnTo>
                <a:cubicBezTo>
                  <a:pt x="1742" y="1227"/>
                  <a:pt x="1718" y="1225"/>
                  <a:pt x="1693" y="1225"/>
                </a:cubicBezTo>
                <a:cubicBezTo>
                  <a:pt x="1585" y="1225"/>
                  <a:pt x="1470" y="1276"/>
                  <a:pt x="1419" y="1327"/>
                </a:cubicBezTo>
                <a:lnTo>
                  <a:pt x="221" y="2525"/>
                </a:lnTo>
                <a:cubicBezTo>
                  <a:pt x="158" y="2588"/>
                  <a:pt x="64" y="2745"/>
                  <a:pt x="127" y="2903"/>
                </a:cubicBezTo>
                <a:cubicBezTo>
                  <a:pt x="158" y="3029"/>
                  <a:pt x="221" y="3155"/>
                  <a:pt x="348" y="3218"/>
                </a:cubicBezTo>
                <a:lnTo>
                  <a:pt x="5199" y="5171"/>
                </a:lnTo>
                <a:lnTo>
                  <a:pt x="3561" y="6809"/>
                </a:lnTo>
                <a:lnTo>
                  <a:pt x="2301" y="6589"/>
                </a:lnTo>
                <a:cubicBezTo>
                  <a:pt x="2267" y="6572"/>
                  <a:pt x="2231" y="6564"/>
                  <a:pt x="2195" y="6564"/>
                </a:cubicBezTo>
                <a:cubicBezTo>
                  <a:pt x="2095" y="6564"/>
                  <a:pt x="1992" y="6622"/>
                  <a:pt x="1923" y="6715"/>
                </a:cubicBezTo>
                <a:lnTo>
                  <a:pt x="158" y="8479"/>
                </a:lnTo>
                <a:cubicBezTo>
                  <a:pt x="32" y="8605"/>
                  <a:pt x="1" y="8731"/>
                  <a:pt x="32" y="8857"/>
                </a:cubicBezTo>
                <a:cubicBezTo>
                  <a:pt x="95" y="9015"/>
                  <a:pt x="190" y="9109"/>
                  <a:pt x="348" y="9141"/>
                </a:cubicBezTo>
                <a:lnTo>
                  <a:pt x="2994" y="9645"/>
                </a:lnTo>
                <a:lnTo>
                  <a:pt x="3498" y="12291"/>
                </a:lnTo>
                <a:cubicBezTo>
                  <a:pt x="3561" y="12449"/>
                  <a:pt x="3656" y="12575"/>
                  <a:pt x="3782" y="12606"/>
                </a:cubicBezTo>
                <a:lnTo>
                  <a:pt x="3908" y="12606"/>
                </a:lnTo>
                <a:cubicBezTo>
                  <a:pt x="4034" y="12606"/>
                  <a:pt x="4097" y="12575"/>
                  <a:pt x="4191" y="12480"/>
                </a:cubicBezTo>
                <a:lnTo>
                  <a:pt x="5955" y="10716"/>
                </a:lnTo>
                <a:cubicBezTo>
                  <a:pt x="6018" y="10653"/>
                  <a:pt x="6113" y="10464"/>
                  <a:pt x="6081" y="10369"/>
                </a:cubicBezTo>
                <a:lnTo>
                  <a:pt x="5829" y="9109"/>
                </a:lnTo>
                <a:lnTo>
                  <a:pt x="7499" y="7439"/>
                </a:lnTo>
                <a:lnTo>
                  <a:pt x="9421" y="12291"/>
                </a:lnTo>
                <a:cubicBezTo>
                  <a:pt x="9452" y="12417"/>
                  <a:pt x="9578" y="12543"/>
                  <a:pt x="9736" y="12543"/>
                </a:cubicBezTo>
                <a:lnTo>
                  <a:pt x="9799" y="12543"/>
                </a:lnTo>
                <a:cubicBezTo>
                  <a:pt x="9925" y="12543"/>
                  <a:pt x="9988" y="12480"/>
                  <a:pt x="10083" y="12417"/>
                </a:cubicBezTo>
                <a:lnTo>
                  <a:pt x="11248" y="11220"/>
                </a:lnTo>
                <a:cubicBezTo>
                  <a:pt x="11343" y="11157"/>
                  <a:pt x="11374" y="10999"/>
                  <a:pt x="11374" y="10873"/>
                </a:cubicBezTo>
                <a:lnTo>
                  <a:pt x="10303" y="4572"/>
                </a:lnTo>
                <a:lnTo>
                  <a:pt x="11973" y="2903"/>
                </a:lnTo>
                <a:cubicBezTo>
                  <a:pt x="12288" y="2588"/>
                  <a:pt x="12477" y="2178"/>
                  <a:pt x="12571" y="1705"/>
                </a:cubicBezTo>
                <a:cubicBezTo>
                  <a:pt x="12760" y="1201"/>
                  <a:pt x="12603" y="729"/>
                  <a:pt x="12288" y="414"/>
                </a:cubicBezTo>
                <a:cubicBezTo>
                  <a:pt x="12013" y="126"/>
                  <a:pt x="11635" y="1"/>
                  <a:pt x="112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713" name="Google Shape;6713;p73"/>
          <p:cNvGrpSpPr/>
          <p:nvPr/>
        </p:nvGrpSpPr>
        <p:grpSpPr>
          <a:xfrm>
            <a:off x="2910897" y="4532862"/>
            <a:ext cx="488359" cy="479876"/>
            <a:chOff x="-60988625" y="2310475"/>
            <a:chExt cx="316650" cy="311150"/>
          </a:xfrm>
        </p:grpSpPr>
        <p:sp>
          <p:nvSpPr>
            <p:cNvPr id="6714" name="Google Shape;6714;p73"/>
            <p:cNvSpPr/>
            <p:nvPr/>
          </p:nvSpPr>
          <p:spPr>
            <a:xfrm>
              <a:off x="-60988625" y="2310475"/>
              <a:ext cx="311125" cy="311150"/>
            </a:xfrm>
            <a:custGeom>
              <a:avLst/>
              <a:gdLst/>
              <a:ahLst/>
              <a:cxnLst/>
              <a:rect l="l" t="t" r="r" b="b"/>
              <a:pathLst>
                <a:path w="12445" h="12446" extrusionOk="0">
                  <a:moveTo>
                    <a:pt x="7877" y="883"/>
                  </a:moveTo>
                  <a:cubicBezTo>
                    <a:pt x="8097" y="883"/>
                    <a:pt x="8318" y="1072"/>
                    <a:pt x="8318" y="1324"/>
                  </a:cubicBezTo>
                  <a:lnTo>
                    <a:pt x="8318" y="10398"/>
                  </a:lnTo>
                  <a:cubicBezTo>
                    <a:pt x="8318" y="10870"/>
                    <a:pt x="8444" y="11311"/>
                    <a:pt x="8727" y="11626"/>
                  </a:cubicBezTo>
                  <a:lnTo>
                    <a:pt x="2111" y="11626"/>
                  </a:lnTo>
                  <a:cubicBezTo>
                    <a:pt x="1450" y="11626"/>
                    <a:pt x="851" y="11091"/>
                    <a:pt x="851" y="10398"/>
                  </a:cubicBezTo>
                  <a:lnTo>
                    <a:pt x="851" y="1324"/>
                  </a:lnTo>
                  <a:lnTo>
                    <a:pt x="820" y="1324"/>
                  </a:lnTo>
                  <a:cubicBezTo>
                    <a:pt x="820" y="1072"/>
                    <a:pt x="1009" y="883"/>
                    <a:pt x="1261" y="883"/>
                  </a:cubicBezTo>
                  <a:close/>
                  <a:moveTo>
                    <a:pt x="11500" y="10807"/>
                  </a:moveTo>
                  <a:cubicBezTo>
                    <a:pt x="11342" y="11280"/>
                    <a:pt x="10870" y="11626"/>
                    <a:pt x="10303" y="11626"/>
                  </a:cubicBezTo>
                  <a:cubicBezTo>
                    <a:pt x="9767" y="11626"/>
                    <a:pt x="9326" y="11280"/>
                    <a:pt x="9137" y="10807"/>
                  </a:cubicBezTo>
                  <a:close/>
                  <a:moveTo>
                    <a:pt x="1261" y="1"/>
                  </a:moveTo>
                  <a:cubicBezTo>
                    <a:pt x="568" y="1"/>
                    <a:pt x="32" y="568"/>
                    <a:pt x="32" y="1230"/>
                  </a:cubicBezTo>
                  <a:lnTo>
                    <a:pt x="32" y="10334"/>
                  </a:lnTo>
                  <a:cubicBezTo>
                    <a:pt x="0" y="11563"/>
                    <a:pt x="946" y="12445"/>
                    <a:pt x="2080" y="12445"/>
                  </a:cubicBezTo>
                  <a:lnTo>
                    <a:pt x="10334" y="12445"/>
                  </a:lnTo>
                  <a:cubicBezTo>
                    <a:pt x="11500" y="12445"/>
                    <a:pt x="12445" y="11500"/>
                    <a:pt x="12445" y="10366"/>
                  </a:cubicBezTo>
                  <a:cubicBezTo>
                    <a:pt x="12445" y="10145"/>
                    <a:pt x="12224" y="9925"/>
                    <a:pt x="12004" y="9925"/>
                  </a:cubicBezTo>
                  <a:lnTo>
                    <a:pt x="9074" y="9925"/>
                  </a:lnTo>
                  <a:lnTo>
                    <a:pt x="9074" y="1230"/>
                  </a:lnTo>
                  <a:cubicBezTo>
                    <a:pt x="9074" y="568"/>
                    <a:pt x="8538" y="1"/>
                    <a:pt x="78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5" name="Google Shape;6715;p73"/>
            <p:cNvSpPr/>
            <p:nvPr/>
          </p:nvSpPr>
          <p:spPr>
            <a:xfrm>
              <a:off x="-60947675" y="2353025"/>
              <a:ext cx="145725" cy="20500"/>
            </a:xfrm>
            <a:custGeom>
              <a:avLst/>
              <a:gdLst/>
              <a:ahLst/>
              <a:cxnLst/>
              <a:rect l="l" t="t" r="r" b="b"/>
              <a:pathLst>
                <a:path w="5829" h="820" extrusionOk="0">
                  <a:moveTo>
                    <a:pt x="442" y="0"/>
                  </a:moveTo>
                  <a:cubicBezTo>
                    <a:pt x="190" y="0"/>
                    <a:pt x="1" y="189"/>
                    <a:pt x="1" y="441"/>
                  </a:cubicBezTo>
                  <a:cubicBezTo>
                    <a:pt x="1" y="630"/>
                    <a:pt x="190" y="819"/>
                    <a:pt x="442" y="819"/>
                  </a:cubicBezTo>
                  <a:lnTo>
                    <a:pt x="5388" y="819"/>
                  </a:lnTo>
                  <a:cubicBezTo>
                    <a:pt x="5640" y="819"/>
                    <a:pt x="5829" y="630"/>
                    <a:pt x="5829" y="441"/>
                  </a:cubicBezTo>
                  <a:cubicBezTo>
                    <a:pt x="5829" y="189"/>
                    <a:pt x="5640"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6" name="Google Shape;6716;p73"/>
            <p:cNvSpPr/>
            <p:nvPr/>
          </p:nvSpPr>
          <p:spPr>
            <a:xfrm>
              <a:off x="-60947675" y="2415250"/>
              <a:ext cx="145725" cy="20500"/>
            </a:xfrm>
            <a:custGeom>
              <a:avLst/>
              <a:gdLst/>
              <a:ahLst/>
              <a:cxnLst/>
              <a:rect l="l" t="t" r="r" b="b"/>
              <a:pathLst>
                <a:path w="5829" h="820" extrusionOk="0">
                  <a:moveTo>
                    <a:pt x="442" y="0"/>
                  </a:moveTo>
                  <a:cubicBezTo>
                    <a:pt x="190" y="0"/>
                    <a:pt x="1" y="189"/>
                    <a:pt x="1" y="378"/>
                  </a:cubicBezTo>
                  <a:cubicBezTo>
                    <a:pt x="1" y="630"/>
                    <a:pt x="190" y="819"/>
                    <a:pt x="442" y="819"/>
                  </a:cubicBezTo>
                  <a:lnTo>
                    <a:pt x="5388" y="819"/>
                  </a:lnTo>
                  <a:cubicBezTo>
                    <a:pt x="5640" y="819"/>
                    <a:pt x="5829" y="630"/>
                    <a:pt x="5829" y="378"/>
                  </a:cubicBezTo>
                  <a:cubicBezTo>
                    <a:pt x="5829" y="158"/>
                    <a:pt x="5640" y="0"/>
                    <a:pt x="53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7" name="Google Shape;6717;p73"/>
            <p:cNvSpPr/>
            <p:nvPr/>
          </p:nvSpPr>
          <p:spPr>
            <a:xfrm>
              <a:off x="-60947675" y="2475875"/>
              <a:ext cx="145725" cy="22100"/>
            </a:xfrm>
            <a:custGeom>
              <a:avLst/>
              <a:gdLst/>
              <a:ahLst/>
              <a:cxnLst/>
              <a:rect l="l" t="t" r="r" b="b"/>
              <a:pathLst>
                <a:path w="5829" h="884" extrusionOk="0">
                  <a:moveTo>
                    <a:pt x="442" y="1"/>
                  </a:moveTo>
                  <a:cubicBezTo>
                    <a:pt x="190" y="1"/>
                    <a:pt x="1" y="221"/>
                    <a:pt x="1" y="442"/>
                  </a:cubicBezTo>
                  <a:cubicBezTo>
                    <a:pt x="1" y="694"/>
                    <a:pt x="190" y="883"/>
                    <a:pt x="442" y="883"/>
                  </a:cubicBezTo>
                  <a:lnTo>
                    <a:pt x="5388" y="883"/>
                  </a:lnTo>
                  <a:cubicBezTo>
                    <a:pt x="5640" y="883"/>
                    <a:pt x="5829" y="694"/>
                    <a:pt x="5829" y="442"/>
                  </a:cubicBezTo>
                  <a:cubicBezTo>
                    <a:pt x="5829" y="221"/>
                    <a:pt x="5640"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8" name="Google Shape;6718;p73"/>
            <p:cNvSpPr/>
            <p:nvPr/>
          </p:nvSpPr>
          <p:spPr>
            <a:xfrm>
              <a:off x="-60947675" y="2538100"/>
              <a:ext cx="145725" cy="22075"/>
            </a:xfrm>
            <a:custGeom>
              <a:avLst/>
              <a:gdLst/>
              <a:ahLst/>
              <a:cxnLst/>
              <a:rect l="l" t="t" r="r" b="b"/>
              <a:pathLst>
                <a:path w="5829" h="883" extrusionOk="0">
                  <a:moveTo>
                    <a:pt x="442" y="1"/>
                  </a:moveTo>
                  <a:cubicBezTo>
                    <a:pt x="190" y="1"/>
                    <a:pt x="1" y="190"/>
                    <a:pt x="1" y="442"/>
                  </a:cubicBezTo>
                  <a:cubicBezTo>
                    <a:pt x="1" y="662"/>
                    <a:pt x="190" y="883"/>
                    <a:pt x="442" y="883"/>
                  </a:cubicBezTo>
                  <a:lnTo>
                    <a:pt x="5388" y="883"/>
                  </a:lnTo>
                  <a:cubicBezTo>
                    <a:pt x="5640" y="883"/>
                    <a:pt x="5829" y="662"/>
                    <a:pt x="5829" y="442"/>
                  </a:cubicBezTo>
                  <a:cubicBezTo>
                    <a:pt x="5829" y="190"/>
                    <a:pt x="5640"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19" name="Google Shape;6719;p73"/>
            <p:cNvSpPr/>
            <p:nvPr/>
          </p:nvSpPr>
          <p:spPr>
            <a:xfrm>
              <a:off x="-60740525" y="2312050"/>
              <a:ext cx="68550" cy="233950"/>
            </a:xfrm>
            <a:custGeom>
              <a:avLst/>
              <a:gdLst/>
              <a:ahLst/>
              <a:cxnLst/>
              <a:rect l="l" t="t" r="r" b="b"/>
              <a:pathLst>
                <a:path w="2742" h="9358" extrusionOk="0">
                  <a:moveTo>
                    <a:pt x="1796" y="789"/>
                  </a:moveTo>
                  <a:cubicBezTo>
                    <a:pt x="1891" y="789"/>
                    <a:pt x="1922" y="852"/>
                    <a:pt x="1922" y="946"/>
                  </a:cubicBezTo>
                  <a:lnTo>
                    <a:pt x="1922" y="1639"/>
                  </a:lnTo>
                  <a:lnTo>
                    <a:pt x="820" y="1639"/>
                  </a:lnTo>
                  <a:lnTo>
                    <a:pt x="820" y="946"/>
                  </a:lnTo>
                  <a:cubicBezTo>
                    <a:pt x="820" y="852"/>
                    <a:pt x="883" y="789"/>
                    <a:pt x="977" y="789"/>
                  </a:cubicBezTo>
                  <a:close/>
                  <a:moveTo>
                    <a:pt x="1922" y="2458"/>
                  </a:moveTo>
                  <a:lnTo>
                    <a:pt x="1922" y="6617"/>
                  </a:lnTo>
                  <a:lnTo>
                    <a:pt x="820" y="6617"/>
                  </a:lnTo>
                  <a:lnTo>
                    <a:pt x="820" y="2458"/>
                  </a:lnTo>
                  <a:close/>
                  <a:moveTo>
                    <a:pt x="1639" y="7436"/>
                  </a:moveTo>
                  <a:lnTo>
                    <a:pt x="1355" y="8035"/>
                  </a:lnTo>
                  <a:lnTo>
                    <a:pt x="1040" y="7436"/>
                  </a:lnTo>
                  <a:close/>
                  <a:moveTo>
                    <a:pt x="977" y="1"/>
                  </a:moveTo>
                  <a:cubicBezTo>
                    <a:pt x="410" y="1"/>
                    <a:pt x="1" y="410"/>
                    <a:pt x="1" y="946"/>
                  </a:cubicBezTo>
                  <a:lnTo>
                    <a:pt x="1" y="6995"/>
                  </a:lnTo>
                  <a:cubicBezTo>
                    <a:pt x="1" y="7090"/>
                    <a:pt x="1" y="7121"/>
                    <a:pt x="32" y="7184"/>
                  </a:cubicBezTo>
                  <a:lnTo>
                    <a:pt x="1009" y="9137"/>
                  </a:lnTo>
                  <a:cubicBezTo>
                    <a:pt x="1103" y="9295"/>
                    <a:pt x="1198" y="9358"/>
                    <a:pt x="1355" y="9358"/>
                  </a:cubicBezTo>
                  <a:cubicBezTo>
                    <a:pt x="1513" y="9358"/>
                    <a:pt x="1670" y="9295"/>
                    <a:pt x="1733" y="9137"/>
                  </a:cubicBezTo>
                  <a:lnTo>
                    <a:pt x="2678" y="7184"/>
                  </a:lnTo>
                  <a:cubicBezTo>
                    <a:pt x="2710" y="7153"/>
                    <a:pt x="2710" y="7090"/>
                    <a:pt x="2710" y="6995"/>
                  </a:cubicBezTo>
                  <a:lnTo>
                    <a:pt x="2710" y="946"/>
                  </a:lnTo>
                  <a:cubicBezTo>
                    <a:pt x="2741" y="410"/>
                    <a:pt x="2300"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20" name="Google Shape;6720;p73"/>
          <p:cNvGrpSpPr/>
          <p:nvPr/>
        </p:nvGrpSpPr>
        <p:grpSpPr>
          <a:xfrm>
            <a:off x="2911512" y="5117080"/>
            <a:ext cx="487125" cy="491713"/>
            <a:chOff x="-60987050" y="2671400"/>
            <a:chExt cx="315850" cy="318825"/>
          </a:xfrm>
        </p:grpSpPr>
        <p:sp>
          <p:nvSpPr>
            <p:cNvPr id="6721" name="Google Shape;6721;p73"/>
            <p:cNvSpPr/>
            <p:nvPr/>
          </p:nvSpPr>
          <p:spPr>
            <a:xfrm>
              <a:off x="-60987050" y="2671400"/>
              <a:ext cx="315850" cy="318825"/>
            </a:xfrm>
            <a:custGeom>
              <a:avLst/>
              <a:gdLst/>
              <a:ahLst/>
              <a:cxnLst/>
              <a:rect l="l" t="t" r="r" b="b"/>
              <a:pathLst>
                <a:path w="12634" h="12753" extrusionOk="0">
                  <a:moveTo>
                    <a:pt x="6270" y="844"/>
                  </a:moveTo>
                  <a:lnTo>
                    <a:pt x="11783" y="3175"/>
                  </a:lnTo>
                  <a:lnTo>
                    <a:pt x="11783" y="4152"/>
                  </a:lnTo>
                  <a:lnTo>
                    <a:pt x="757" y="4152"/>
                  </a:lnTo>
                  <a:lnTo>
                    <a:pt x="757" y="3175"/>
                  </a:lnTo>
                  <a:lnTo>
                    <a:pt x="6270" y="844"/>
                  </a:lnTo>
                  <a:close/>
                  <a:moveTo>
                    <a:pt x="2552" y="5002"/>
                  </a:moveTo>
                  <a:lnTo>
                    <a:pt x="2552" y="10232"/>
                  </a:lnTo>
                  <a:lnTo>
                    <a:pt x="1733" y="10232"/>
                  </a:lnTo>
                  <a:lnTo>
                    <a:pt x="1733" y="5002"/>
                  </a:lnTo>
                  <a:close/>
                  <a:moveTo>
                    <a:pt x="5041" y="5002"/>
                  </a:moveTo>
                  <a:lnTo>
                    <a:pt x="5041" y="10232"/>
                  </a:lnTo>
                  <a:lnTo>
                    <a:pt x="3403" y="10232"/>
                  </a:lnTo>
                  <a:lnTo>
                    <a:pt x="3403" y="5002"/>
                  </a:lnTo>
                  <a:close/>
                  <a:moveTo>
                    <a:pt x="6711" y="5002"/>
                  </a:moveTo>
                  <a:lnTo>
                    <a:pt x="6711" y="10232"/>
                  </a:lnTo>
                  <a:lnTo>
                    <a:pt x="5860" y="10232"/>
                  </a:lnTo>
                  <a:lnTo>
                    <a:pt x="5860" y="5002"/>
                  </a:lnTo>
                  <a:close/>
                  <a:moveTo>
                    <a:pt x="9168" y="5002"/>
                  </a:moveTo>
                  <a:lnTo>
                    <a:pt x="9168" y="10232"/>
                  </a:lnTo>
                  <a:lnTo>
                    <a:pt x="7530" y="10232"/>
                  </a:lnTo>
                  <a:lnTo>
                    <a:pt x="7530" y="5002"/>
                  </a:lnTo>
                  <a:close/>
                  <a:moveTo>
                    <a:pt x="10838" y="5002"/>
                  </a:moveTo>
                  <a:lnTo>
                    <a:pt x="10838" y="10232"/>
                  </a:lnTo>
                  <a:lnTo>
                    <a:pt x="10019" y="10232"/>
                  </a:lnTo>
                  <a:lnTo>
                    <a:pt x="10019" y="5002"/>
                  </a:lnTo>
                  <a:close/>
                  <a:moveTo>
                    <a:pt x="11374" y="11020"/>
                  </a:moveTo>
                  <a:cubicBezTo>
                    <a:pt x="11594" y="11051"/>
                    <a:pt x="11783" y="11209"/>
                    <a:pt x="11783" y="11461"/>
                  </a:cubicBezTo>
                  <a:lnTo>
                    <a:pt x="11783" y="11870"/>
                  </a:lnTo>
                  <a:lnTo>
                    <a:pt x="757" y="11870"/>
                  </a:lnTo>
                  <a:lnTo>
                    <a:pt x="757" y="11461"/>
                  </a:lnTo>
                  <a:cubicBezTo>
                    <a:pt x="757" y="11209"/>
                    <a:pt x="946" y="11020"/>
                    <a:pt x="1198" y="11020"/>
                  </a:cubicBezTo>
                  <a:close/>
                  <a:moveTo>
                    <a:pt x="6290" y="1"/>
                  </a:moveTo>
                  <a:cubicBezTo>
                    <a:pt x="6238" y="1"/>
                    <a:pt x="6191" y="9"/>
                    <a:pt x="6144" y="25"/>
                  </a:cubicBezTo>
                  <a:lnTo>
                    <a:pt x="252" y="2514"/>
                  </a:lnTo>
                  <a:cubicBezTo>
                    <a:pt x="95" y="2577"/>
                    <a:pt x="0" y="2703"/>
                    <a:pt x="0" y="2892"/>
                  </a:cubicBezTo>
                  <a:lnTo>
                    <a:pt x="0" y="4561"/>
                  </a:lnTo>
                  <a:cubicBezTo>
                    <a:pt x="0" y="4782"/>
                    <a:pt x="189" y="5002"/>
                    <a:pt x="410" y="5002"/>
                  </a:cubicBezTo>
                  <a:lnTo>
                    <a:pt x="946" y="5002"/>
                  </a:lnTo>
                  <a:lnTo>
                    <a:pt x="946" y="10264"/>
                  </a:lnTo>
                  <a:cubicBezTo>
                    <a:pt x="410" y="10390"/>
                    <a:pt x="0" y="10894"/>
                    <a:pt x="0" y="11492"/>
                  </a:cubicBezTo>
                  <a:lnTo>
                    <a:pt x="0" y="12311"/>
                  </a:lnTo>
                  <a:cubicBezTo>
                    <a:pt x="0" y="12532"/>
                    <a:pt x="189" y="12753"/>
                    <a:pt x="410" y="12753"/>
                  </a:cubicBezTo>
                  <a:lnTo>
                    <a:pt x="12256" y="12753"/>
                  </a:lnTo>
                  <a:cubicBezTo>
                    <a:pt x="12476" y="12753"/>
                    <a:pt x="12634" y="12532"/>
                    <a:pt x="12634" y="12311"/>
                  </a:cubicBezTo>
                  <a:lnTo>
                    <a:pt x="12634" y="11492"/>
                  </a:lnTo>
                  <a:cubicBezTo>
                    <a:pt x="12634" y="10894"/>
                    <a:pt x="12256" y="10390"/>
                    <a:pt x="11689" y="10264"/>
                  </a:cubicBezTo>
                  <a:lnTo>
                    <a:pt x="11689" y="5002"/>
                  </a:lnTo>
                  <a:lnTo>
                    <a:pt x="12256" y="5002"/>
                  </a:lnTo>
                  <a:cubicBezTo>
                    <a:pt x="12476" y="5002"/>
                    <a:pt x="12634" y="4782"/>
                    <a:pt x="12634" y="4561"/>
                  </a:cubicBezTo>
                  <a:lnTo>
                    <a:pt x="12634" y="2892"/>
                  </a:lnTo>
                  <a:cubicBezTo>
                    <a:pt x="12602" y="2734"/>
                    <a:pt x="12539" y="2577"/>
                    <a:pt x="12382" y="2514"/>
                  </a:cubicBezTo>
                  <a:lnTo>
                    <a:pt x="6459" y="25"/>
                  </a:lnTo>
                  <a:cubicBezTo>
                    <a:pt x="6396" y="9"/>
                    <a:pt x="6341" y="1"/>
                    <a:pt x="62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2" name="Google Shape;6722;p73"/>
            <p:cNvSpPr/>
            <p:nvPr/>
          </p:nvSpPr>
          <p:spPr>
            <a:xfrm>
              <a:off x="-60839775" y="2731075"/>
              <a:ext cx="19725" cy="19725"/>
            </a:xfrm>
            <a:custGeom>
              <a:avLst/>
              <a:gdLst/>
              <a:ahLst/>
              <a:cxnLst/>
              <a:rect l="l" t="t" r="r" b="b"/>
              <a:pathLst>
                <a:path w="789" h="789" extrusionOk="0">
                  <a:moveTo>
                    <a:pt x="379" y="0"/>
                  </a:moveTo>
                  <a:cubicBezTo>
                    <a:pt x="158" y="0"/>
                    <a:pt x="1" y="190"/>
                    <a:pt x="1" y="379"/>
                  </a:cubicBezTo>
                  <a:cubicBezTo>
                    <a:pt x="1" y="599"/>
                    <a:pt x="158" y="788"/>
                    <a:pt x="379" y="788"/>
                  </a:cubicBezTo>
                  <a:cubicBezTo>
                    <a:pt x="599" y="788"/>
                    <a:pt x="789" y="599"/>
                    <a:pt x="789" y="379"/>
                  </a:cubicBezTo>
                  <a:cubicBezTo>
                    <a:pt x="789" y="190"/>
                    <a:pt x="599"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23" name="Google Shape;6723;p73"/>
          <p:cNvGrpSpPr/>
          <p:nvPr/>
        </p:nvGrpSpPr>
        <p:grpSpPr>
          <a:xfrm>
            <a:off x="5270001" y="4534095"/>
            <a:ext cx="491983" cy="477408"/>
            <a:chOff x="-59481900" y="2290800"/>
            <a:chExt cx="319000" cy="309550"/>
          </a:xfrm>
        </p:grpSpPr>
        <p:sp>
          <p:nvSpPr>
            <p:cNvPr id="6724" name="Google Shape;6724;p73"/>
            <p:cNvSpPr/>
            <p:nvPr/>
          </p:nvSpPr>
          <p:spPr>
            <a:xfrm>
              <a:off x="-59481900" y="2290800"/>
              <a:ext cx="319000" cy="309550"/>
            </a:xfrm>
            <a:custGeom>
              <a:avLst/>
              <a:gdLst/>
              <a:ahLst/>
              <a:cxnLst/>
              <a:rect l="l" t="t" r="r" b="b"/>
              <a:pathLst>
                <a:path w="12760" h="12382" extrusionOk="0">
                  <a:moveTo>
                    <a:pt x="6427" y="851"/>
                  </a:moveTo>
                  <a:cubicBezTo>
                    <a:pt x="6900" y="851"/>
                    <a:pt x="7247" y="1197"/>
                    <a:pt x="7247" y="1670"/>
                  </a:cubicBezTo>
                  <a:lnTo>
                    <a:pt x="7247" y="4159"/>
                  </a:lnTo>
                  <a:lnTo>
                    <a:pt x="5608" y="4159"/>
                  </a:lnTo>
                  <a:lnTo>
                    <a:pt x="5608" y="1670"/>
                  </a:lnTo>
                  <a:cubicBezTo>
                    <a:pt x="5608" y="1197"/>
                    <a:pt x="5955" y="851"/>
                    <a:pt x="6427" y="851"/>
                  </a:cubicBezTo>
                  <a:close/>
                  <a:moveTo>
                    <a:pt x="11594" y="3308"/>
                  </a:moveTo>
                  <a:cubicBezTo>
                    <a:pt x="11846" y="3308"/>
                    <a:pt x="12004" y="3529"/>
                    <a:pt x="12004" y="3749"/>
                  </a:cubicBezTo>
                  <a:lnTo>
                    <a:pt x="12004" y="11185"/>
                  </a:lnTo>
                  <a:lnTo>
                    <a:pt x="11941" y="11185"/>
                  </a:lnTo>
                  <a:cubicBezTo>
                    <a:pt x="11941" y="11437"/>
                    <a:pt x="11752" y="11594"/>
                    <a:pt x="11563" y="11594"/>
                  </a:cubicBezTo>
                  <a:lnTo>
                    <a:pt x="1355" y="11594"/>
                  </a:lnTo>
                  <a:cubicBezTo>
                    <a:pt x="1103" y="11594"/>
                    <a:pt x="914" y="11405"/>
                    <a:pt x="914" y="11185"/>
                  </a:cubicBezTo>
                  <a:lnTo>
                    <a:pt x="914" y="3749"/>
                  </a:lnTo>
                  <a:cubicBezTo>
                    <a:pt x="914" y="3529"/>
                    <a:pt x="1103" y="3308"/>
                    <a:pt x="1355" y="3308"/>
                  </a:cubicBezTo>
                  <a:lnTo>
                    <a:pt x="4821" y="3308"/>
                  </a:lnTo>
                  <a:lnTo>
                    <a:pt x="4821" y="4568"/>
                  </a:lnTo>
                  <a:cubicBezTo>
                    <a:pt x="4821" y="4821"/>
                    <a:pt x="5010" y="5010"/>
                    <a:pt x="5199" y="5010"/>
                  </a:cubicBezTo>
                  <a:lnTo>
                    <a:pt x="7688" y="5010"/>
                  </a:lnTo>
                  <a:cubicBezTo>
                    <a:pt x="7940" y="5010"/>
                    <a:pt x="8129" y="4821"/>
                    <a:pt x="8129" y="4568"/>
                  </a:cubicBezTo>
                  <a:lnTo>
                    <a:pt x="8129" y="3308"/>
                  </a:lnTo>
                  <a:close/>
                  <a:moveTo>
                    <a:pt x="6396" y="0"/>
                  </a:moveTo>
                  <a:cubicBezTo>
                    <a:pt x="5482" y="0"/>
                    <a:pt x="4726" y="756"/>
                    <a:pt x="4726" y="1670"/>
                  </a:cubicBezTo>
                  <a:lnTo>
                    <a:pt x="4726" y="2489"/>
                  </a:lnTo>
                  <a:lnTo>
                    <a:pt x="1261" y="2489"/>
                  </a:lnTo>
                  <a:cubicBezTo>
                    <a:pt x="599" y="2489"/>
                    <a:pt x="0" y="3056"/>
                    <a:pt x="0" y="3718"/>
                  </a:cubicBezTo>
                  <a:lnTo>
                    <a:pt x="0" y="11153"/>
                  </a:lnTo>
                  <a:cubicBezTo>
                    <a:pt x="0" y="11815"/>
                    <a:pt x="568" y="12382"/>
                    <a:pt x="1261" y="12382"/>
                  </a:cubicBezTo>
                  <a:lnTo>
                    <a:pt x="11468" y="12382"/>
                  </a:lnTo>
                  <a:cubicBezTo>
                    <a:pt x="12130" y="12382"/>
                    <a:pt x="12697" y="11815"/>
                    <a:pt x="12697" y="11153"/>
                  </a:cubicBezTo>
                  <a:lnTo>
                    <a:pt x="12697" y="3749"/>
                  </a:lnTo>
                  <a:cubicBezTo>
                    <a:pt x="12760" y="3025"/>
                    <a:pt x="12193" y="2489"/>
                    <a:pt x="11500" y="2489"/>
                  </a:cubicBezTo>
                  <a:lnTo>
                    <a:pt x="8034" y="2489"/>
                  </a:lnTo>
                  <a:lnTo>
                    <a:pt x="8034" y="1670"/>
                  </a:lnTo>
                  <a:cubicBezTo>
                    <a:pt x="8034" y="756"/>
                    <a:pt x="7310" y="0"/>
                    <a:pt x="63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5" name="Google Shape;6725;p73"/>
            <p:cNvSpPr/>
            <p:nvPr/>
          </p:nvSpPr>
          <p:spPr>
            <a:xfrm>
              <a:off x="-59287350" y="2456200"/>
              <a:ext cx="83500" cy="21275"/>
            </a:xfrm>
            <a:custGeom>
              <a:avLst/>
              <a:gdLst/>
              <a:ahLst/>
              <a:cxnLst/>
              <a:rect l="l" t="t" r="r" b="b"/>
              <a:pathLst>
                <a:path w="3340" h="851" extrusionOk="0">
                  <a:moveTo>
                    <a:pt x="410" y="0"/>
                  </a:moveTo>
                  <a:cubicBezTo>
                    <a:pt x="189" y="0"/>
                    <a:pt x="0" y="221"/>
                    <a:pt x="0" y="441"/>
                  </a:cubicBezTo>
                  <a:cubicBezTo>
                    <a:pt x="0" y="693"/>
                    <a:pt x="189" y="851"/>
                    <a:pt x="410" y="851"/>
                  </a:cubicBezTo>
                  <a:lnTo>
                    <a:pt x="2899" y="851"/>
                  </a:lnTo>
                  <a:cubicBezTo>
                    <a:pt x="3151" y="851"/>
                    <a:pt x="3308" y="630"/>
                    <a:pt x="3308" y="441"/>
                  </a:cubicBezTo>
                  <a:cubicBezTo>
                    <a:pt x="3340" y="221"/>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6" name="Google Shape;6726;p73"/>
            <p:cNvSpPr/>
            <p:nvPr/>
          </p:nvSpPr>
          <p:spPr>
            <a:xfrm>
              <a:off x="-59287350" y="2497950"/>
              <a:ext cx="83500" cy="21275"/>
            </a:xfrm>
            <a:custGeom>
              <a:avLst/>
              <a:gdLst/>
              <a:ahLst/>
              <a:cxnLst/>
              <a:rect l="l" t="t" r="r" b="b"/>
              <a:pathLst>
                <a:path w="3340" h="851" extrusionOk="0">
                  <a:moveTo>
                    <a:pt x="410" y="0"/>
                  </a:moveTo>
                  <a:cubicBezTo>
                    <a:pt x="189" y="0"/>
                    <a:pt x="0" y="189"/>
                    <a:pt x="0" y="441"/>
                  </a:cubicBezTo>
                  <a:cubicBezTo>
                    <a:pt x="0" y="662"/>
                    <a:pt x="189" y="851"/>
                    <a:pt x="410" y="851"/>
                  </a:cubicBezTo>
                  <a:lnTo>
                    <a:pt x="2899" y="851"/>
                  </a:lnTo>
                  <a:cubicBezTo>
                    <a:pt x="3151" y="851"/>
                    <a:pt x="3308" y="662"/>
                    <a:pt x="3308" y="441"/>
                  </a:cubicBezTo>
                  <a:cubicBezTo>
                    <a:pt x="3340" y="189"/>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7" name="Google Shape;6727;p73"/>
            <p:cNvSpPr/>
            <p:nvPr/>
          </p:nvSpPr>
          <p:spPr>
            <a:xfrm>
              <a:off x="-59287350" y="2538900"/>
              <a:ext cx="82700" cy="22075"/>
            </a:xfrm>
            <a:custGeom>
              <a:avLst/>
              <a:gdLst/>
              <a:ahLst/>
              <a:cxnLst/>
              <a:rect l="l" t="t" r="r" b="b"/>
              <a:pathLst>
                <a:path w="3308" h="883" extrusionOk="0">
                  <a:moveTo>
                    <a:pt x="410" y="0"/>
                  </a:moveTo>
                  <a:cubicBezTo>
                    <a:pt x="189" y="0"/>
                    <a:pt x="0" y="221"/>
                    <a:pt x="0" y="441"/>
                  </a:cubicBezTo>
                  <a:cubicBezTo>
                    <a:pt x="0" y="662"/>
                    <a:pt x="189" y="882"/>
                    <a:pt x="410" y="882"/>
                  </a:cubicBezTo>
                  <a:lnTo>
                    <a:pt x="2899" y="882"/>
                  </a:lnTo>
                  <a:cubicBezTo>
                    <a:pt x="3151" y="882"/>
                    <a:pt x="3308" y="662"/>
                    <a:pt x="3308" y="441"/>
                  </a:cubicBezTo>
                  <a:cubicBezTo>
                    <a:pt x="3308" y="221"/>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8" name="Google Shape;6728;p73"/>
            <p:cNvSpPr/>
            <p:nvPr/>
          </p:nvSpPr>
          <p:spPr>
            <a:xfrm>
              <a:off x="-59439375" y="2425425"/>
              <a:ext cx="125250" cy="134750"/>
            </a:xfrm>
            <a:custGeom>
              <a:avLst/>
              <a:gdLst/>
              <a:ahLst/>
              <a:cxnLst/>
              <a:rect l="l" t="t" r="r" b="b"/>
              <a:pathLst>
                <a:path w="5010" h="5390" extrusionOk="0">
                  <a:moveTo>
                    <a:pt x="2518" y="855"/>
                  </a:moveTo>
                  <a:cubicBezTo>
                    <a:pt x="2722" y="855"/>
                    <a:pt x="2928" y="925"/>
                    <a:pt x="3088" y="1074"/>
                  </a:cubicBezTo>
                  <a:cubicBezTo>
                    <a:pt x="3277" y="1294"/>
                    <a:pt x="3340" y="1609"/>
                    <a:pt x="3277" y="1924"/>
                  </a:cubicBezTo>
                  <a:cubicBezTo>
                    <a:pt x="3183" y="2176"/>
                    <a:pt x="2994" y="2428"/>
                    <a:pt x="2710" y="2460"/>
                  </a:cubicBezTo>
                  <a:cubicBezTo>
                    <a:pt x="2626" y="2485"/>
                    <a:pt x="2546" y="2497"/>
                    <a:pt x="2469" y="2497"/>
                  </a:cubicBezTo>
                  <a:cubicBezTo>
                    <a:pt x="2260" y="2497"/>
                    <a:pt x="2076" y="2409"/>
                    <a:pt x="1891" y="2271"/>
                  </a:cubicBezTo>
                  <a:cubicBezTo>
                    <a:pt x="1702" y="2019"/>
                    <a:pt x="1607" y="1704"/>
                    <a:pt x="1702" y="1452"/>
                  </a:cubicBezTo>
                  <a:cubicBezTo>
                    <a:pt x="1802" y="1070"/>
                    <a:pt x="2158" y="855"/>
                    <a:pt x="2518" y="855"/>
                  </a:cubicBezTo>
                  <a:close/>
                  <a:moveTo>
                    <a:pt x="2521" y="3342"/>
                  </a:moveTo>
                  <a:cubicBezTo>
                    <a:pt x="3309" y="3342"/>
                    <a:pt x="3939" y="3846"/>
                    <a:pt x="4159" y="4539"/>
                  </a:cubicBezTo>
                  <a:lnTo>
                    <a:pt x="914" y="4539"/>
                  </a:lnTo>
                  <a:cubicBezTo>
                    <a:pt x="1103" y="3846"/>
                    <a:pt x="1733" y="3342"/>
                    <a:pt x="2521" y="3342"/>
                  </a:cubicBezTo>
                  <a:close/>
                  <a:moveTo>
                    <a:pt x="2473" y="0"/>
                  </a:moveTo>
                  <a:cubicBezTo>
                    <a:pt x="1781" y="0"/>
                    <a:pt x="1110" y="436"/>
                    <a:pt x="914" y="1200"/>
                  </a:cubicBezTo>
                  <a:cubicBezTo>
                    <a:pt x="757" y="1798"/>
                    <a:pt x="914" y="2334"/>
                    <a:pt x="1292" y="2775"/>
                  </a:cubicBezTo>
                  <a:cubicBezTo>
                    <a:pt x="568" y="3216"/>
                    <a:pt x="1" y="4004"/>
                    <a:pt x="1" y="4949"/>
                  </a:cubicBezTo>
                  <a:cubicBezTo>
                    <a:pt x="1" y="5169"/>
                    <a:pt x="190" y="5390"/>
                    <a:pt x="410" y="5390"/>
                  </a:cubicBezTo>
                  <a:lnTo>
                    <a:pt x="4537" y="5390"/>
                  </a:lnTo>
                  <a:cubicBezTo>
                    <a:pt x="4758" y="5390"/>
                    <a:pt x="4978" y="5169"/>
                    <a:pt x="4978" y="4949"/>
                  </a:cubicBezTo>
                  <a:cubicBezTo>
                    <a:pt x="5010" y="4035"/>
                    <a:pt x="4506" y="3216"/>
                    <a:pt x="3718" y="2807"/>
                  </a:cubicBezTo>
                  <a:cubicBezTo>
                    <a:pt x="3907" y="2618"/>
                    <a:pt x="4033" y="2397"/>
                    <a:pt x="4096" y="2113"/>
                  </a:cubicBezTo>
                  <a:cubicBezTo>
                    <a:pt x="4254" y="1515"/>
                    <a:pt x="4096" y="916"/>
                    <a:pt x="3655" y="507"/>
                  </a:cubicBezTo>
                  <a:cubicBezTo>
                    <a:pt x="3322" y="161"/>
                    <a:pt x="2894" y="0"/>
                    <a:pt x="2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29" name="Google Shape;6729;p73"/>
            <p:cNvSpPr/>
            <p:nvPr/>
          </p:nvSpPr>
          <p:spPr>
            <a:xfrm>
              <a:off x="-59327525" y="2325450"/>
              <a:ext cx="13400" cy="13425"/>
            </a:xfrm>
            <a:custGeom>
              <a:avLst/>
              <a:gdLst/>
              <a:ahLst/>
              <a:cxnLst/>
              <a:rect l="l" t="t" r="r" b="b"/>
              <a:pathLst>
                <a:path w="536" h="537" extrusionOk="0">
                  <a:moveTo>
                    <a:pt x="252" y="1"/>
                  </a:moveTo>
                  <a:cubicBezTo>
                    <a:pt x="95" y="1"/>
                    <a:pt x="0" y="127"/>
                    <a:pt x="0" y="284"/>
                  </a:cubicBezTo>
                  <a:cubicBezTo>
                    <a:pt x="0" y="442"/>
                    <a:pt x="95" y="536"/>
                    <a:pt x="252" y="536"/>
                  </a:cubicBezTo>
                  <a:cubicBezTo>
                    <a:pt x="410" y="536"/>
                    <a:pt x="536" y="442"/>
                    <a:pt x="536" y="284"/>
                  </a:cubicBezTo>
                  <a:cubicBezTo>
                    <a:pt x="536" y="127"/>
                    <a:pt x="410" y="1"/>
                    <a:pt x="2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30" name="Google Shape;6730;p73"/>
          <p:cNvGrpSpPr/>
          <p:nvPr/>
        </p:nvGrpSpPr>
        <p:grpSpPr>
          <a:xfrm>
            <a:off x="2322407" y="2055125"/>
            <a:ext cx="491983" cy="489323"/>
            <a:chOff x="-64401400" y="1914475"/>
            <a:chExt cx="319000" cy="317275"/>
          </a:xfrm>
        </p:grpSpPr>
        <p:sp>
          <p:nvSpPr>
            <p:cNvPr id="6731" name="Google Shape;6731;p73"/>
            <p:cNvSpPr/>
            <p:nvPr/>
          </p:nvSpPr>
          <p:spPr>
            <a:xfrm>
              <a:off x="-64401400" y="1914475"/>
              <a:ext cx="319000" cy="317275"/>
            </a:xfrm>
            <a:custGeom>
              <a:avLst/>
              <a:gdLst/>
              <a:ahLst/>
              <a:cxnLst/>
              <a:rect l="l" t="t" r="r" b="b"/>
              <a:pathLst>
                <a:path w="12760" h="12691" extrusionOk="0">
                  <a:moveTo>
                    <a:pt x="4726" y="1317"/>
                  </a:moveTo>
                  <a:lnTo>
                    <a:pt x="4726" y="2703"/>
                  </a:lnTo>
                  <a:cubicBezTo>
                    <a:pt x="4663" y="2735"/>
                    <a:pt x="4600" y="2829"/>
                    <a:pt x="4569" y="2861"/>
                  </a:cubicBezTo>
                  <a:lnTo>
                    <a:pt x="4065" y="3554"/>
                  </a:lnTo>
                  <a:cubicBezTo>
                    <a:pt x="3970" y="3176"/>
                    <a:pt x="3907" y="2703"/>
                    <a:pt x="3907" y="2388"/>
                  </a:cubicBezTo>
                  <a:cubicBezTo>
                    <a:pt x="3876" y="1947"/>
                    <a:pt x="3970" y="1632"/>
                    <a:pt x="4222" y="1475"/>
                  </a:cubicBezTo>
                  <a:cubicBezTo>
                    <a:pt x="4348" y="1349"/>
                    <a:pt x="4537" y="1317"/>
                    <a:pt x="4726" y="1317"/>
                  </a:cubicBezTo>
                  <a:close/>
                  <a:moveTo>
                    <a:pt x="7046" y="813"/>
                  </a:moveTo>
                  <a:cubicBezTo>
                    <a:pt x="7507" y="813"/>
                    <a:pt x="7937" y="916"/>
                    <a:pt x="8286" y="1128"/>
                  </a:cubicBezTo>
                  <a:cubicBezTo>
                    <a:pt x="8759" y="1412"/>
                    <a:pt x="8979" y="1821"/>
                    <a:pt x="8948" y="2420"/>
                  </a:cubicBezTo>
                  <a:cubicBezTo>
                    <a:pt x="8948" y="2703"/>
                    <a:pt x="8853" y="3113"/>
                    <a:pt x="8790" y="3554"/>
                  </a:cubicBezTo>
                  <a:lnTo>
                    <a:pt x="8286" y="2861"/>
                  </a:lnTo>
                  <a:cubicBezTo>
                    <a:pt x="8066" y="2609"/>
                    <a:pt x="7814" y="2451"/>
                    <a:pt x="7499" y="2451"/>
                  </a:cubicBezTo>
                  <a:lnTo>
                    <a:pt x="5514" y="2451"/>
                  </a:lnTo>
                  <a:lnTo>
                    <a:pt x="5514" y="1160"/>
                  </a:lnTo>
                  <a:cubicBezTo>
                    <a:pt x="6020" y="931"/>
                    <a:pt x="6551" y="813"/>
                    <a:pt x="7046" y="813"/>
                  </a:cubicBezTo>
                  <a:close/>
                  <a:moveTo>
                    <a:pt x="7530" y="3334"/>
                  </a:moveTo>
                  <a:cubicBezTo>
                    <a:pt x="7562" y="3334"/>
                    <a:pt x="7593" y="3365"/>
                    <a:pt x="7656" y="3365"/>
                  </a:cubicBezTo>
                  <a:lnTo>
                    <a:pt x="8601" y="4657"/>
                  </a:lnTo>
                  <a:cubicBezTo>
                    <a:pt x="8444" y="5917"/>
                    <a:pt x="7688" y="7177"/>
                    <a:pt x="6427" y="7177"/>
                  </a:cubicBezTo>
                  <a:cubicBezTo>
                    <a:pt x="5167" y="7177"/>
                    <a:pt x="4411" y="5980"/>
                    <a:pt x="4254" y="4657"/>
                  </a:cubicBezTo>
                  <a:lnTo>
                    <a:pt x="5199" y="3365"/>
                  </a:lnTo>
                  <a:cubicBezTo>
                    <a:pt x="5230" y="3334"/>
                    <a:pt x="5293" y="3334"/>
                    <a:pt x="5325" y="3334"/>
                  </a:cubicBezTo>
                  <a:close/>
                  <a:moveTo>
                    <a:pt x="5199" y="7681"/>
                  </a:moveTo>
                  <a:cubicBezTo>
                    <a:pt x="5608" y="7902"/>
                    <a:pt x="5986" y="8028"/>
                    <a:pt x="6427" y="8028"/>
                  </a:cubicBezTo>
                  <a:cubicBezTo>
                    <a:pt x="6869" y="8028"/>
                    <a:pt x="7310" y="7902"/>
                    <a:pt x="7688" y="7713"/>
                  </a:cubicBezTo>
                  <a:lnTo>
                    <a:pt x="7688" y="7807"/>
                  </a:lnTo>
                  <a:cubicBezTo>
                    <a:pt x="7688" y="8028"/>
                    <a:pt x="7719" y="8185"/>
                    <a:pt x="7814" y="8343"/>
                  </a:cubicBezTo>
                  <a:lnTo>
                    <a:pt x="6427" y="9634"/>
                  </a:lnTo>
                  <a:lnTo>
                    <a:pt x="5073" y="8280"/>
                  </a:lnTo>
                  <a:cubicBezTo>
                    <a:pt x="5167" y="8122"/>
                    <a:pt x="5199" y="7965"/>
                    <a:pt x="5199" y="7776"/>
                  </a:cubicBezTo>
                  <a:lnTo>
                    <a:pt x="5199" y="7681"/>
                  </a:lnTo>
                  <a:close/>
                  <a:moveTo>
                    <a:pt x="4537" y="8878"/>
                  </a:moveTo>
                  <a:lnTo>
                    <a:pt x="5829" y="10170"/>
                  </a:lnTo>
                  <a:lnTo>
                    <a:pt x="5230" y="10769"/>
                  </a:lnTo>
                  <a:lnTo>
                    <a:pt x="4065" y="9036"/>
                  </a:lnTo>
                  <a:cubicBezTo>
                    <a:pt x="4222" y="9036"/>
                    <a:pt x="4380" y="9004"/>
                    <a:pt x="4537" y="8878"/>
                  </a:cubicBezTo>
                  <a:close/>
                  <a:moveTo>
                    <a:pt x="8318" y="8878"/>
                  </a:moveTo>
                  <a:cubicBezTo>
                    <a:pt x="8475" y="8973"/>
                    <a:pt x="8633" y="9036"/>
                    <a:pt x="8790" y="9036"/>
                  </a:cubicBezTo>
                  <a:lnTo>
                    <a:pt x="7593" y="10769"/>
                  </a:lnTo>
                  <a:lnTo>
                    <a:pt x="7026" y="10170"/>
                  </a:lnTo>
                  <a:lnTo>
                    <a:pt x="8318" y="8878"/>
                  </a:lnTo>
                  <a:close/>
                  <a:moveTo>
                    <a:pt x="10460" y="9067"/>
                  </a:moveTo>
                  <a:cubicBezTo>
                    <a:pt x="11279" y="9067"/>
                    <a:pt x="11941" y="9760"/>
                    <a:pt x="11941" y="10580"/>
                  </a:cubicBezTo>
                  <a:lnTo>
                    <a:pt x="11941" y="11840"/>
                  </a:lnTo>
                  <a:lnTo>
                    <a:pt x="7814" y="11840"/>
                  </a:lnTo>
                  <a:cubicBezTo>
                    <a:pt x="7908" y="11808"/>
                    <a:pt x="8003" y="11745"/>
                    <a:pt x="8034" y="11682"/>
                  </a:cubicBezTo>
                  <a:lnTo>
                    <a:pt x="9798" y="9067"/>
                  </a:lnTo>
                  <a:close/>
                  <a:moveTo>
                    <a:pt x="3088" y="9067"/>
                  </a:moveTo>
                  <a:lnTo>
                    <a:pt x="4852" y="11651"/>
                  </a:lnTo>
                  <a:cubicBezTo>
                    <a:pt x="4915" y="11745"/>
                    <a:pt x="5041" y="11808"/>
                    <a:pt x="5167" y="11840"/>
                  </a:cubicBezTo>
                  <a:lnTo>
                    <a:pt x="5199" y="11840"/>
                  </a:lnTo>
                  <a:cubicBezTo>
                    <a:pt x="5325" y="11840"/>
                    <a:pt x="5419" y="11808"/>
                    <a:pt x="5482" y="11714"/>
                  </a:cubicBezTo>
                  <a:lnTo>
                    <a:pt x="6427" y="10769"/>
                  </a:lnTo>
                  <a:lnTo>
                    <a:pt x="7404" y="11745"/>
                  </a:lnTo>
                  <a:cubicBezTo>
                    <a:pt x="7436" y="11777"/>
                    <a:pt x="7530" y="11840"/>
                    <a:pt x="7593" y="11871"/>
                  </a:cubicBezTo>
                  <a:lnTo>
                    <a:pt x="914" y="11871"/>
                  </a:lnTo>
                  <a:lnTo>
                    <a:pt x="914" y="11840"/>
                  </a:lnTo>
                  <a:lnTo>
                    <a:pt x="914" y="10580"/>
                  </a:lnTo>
                  <a:cubicBezTo>
                    <a:pt x="914" y="9760"/>
                    <a:pt x="1576" y="9067"/>
                    <a:pt x="2395" y="9067"/>
                  </a:cubicBezTo>
                  <a:close/>
                  <a:moveTo>
                    <a:pt x="7043" y="1"/>
                  </a:moveTo>
                  <a:cubicBezTo>
                    <a:pt x="6380" y="1"/>
                    <a:pt x="5673" y="166"/>
                    <a:pt x="5010" y="498"/>
                  </a:cubicBezTo>
                  <a:cubicBezTo>
                    <a:pt x="4898" y="477"/>
                    <a:pt x="4788" y="467"/>
                    <a:pt x="4680" y="467"/>
                  </a:cubicBezTo>
                  <a:cubicBezTo>
                    <a:pt x="4300" y="467"/>
                    <a:pt x="3942" y="592"/>
                    <a:pt x="3624" y="813"/>
                  </a:cubicBezTo>
                  <a:cubicBezTo>
                    <a:pt x="3308" y="1034"/>
                    <a:pt x="2962" y="1506"/>
                    <a:pt x="2962" y="2388"/>
                  </a:cubicBezTo>
                  <a:cubicBezTo>
                    <a:pt x="2962" y="3144"/>
                    <a:pt x="3277" y="4405"/>
                    <a:pt x="3340" y="4625"/>
                  </a:cubicBezTo>
                  <a:cubicBezTo>
                    <a:pt x="3466" y="5570"/>
                    <a:pt x="3781" y="6389"/>
                    <a:pt x="4285" y="6988"/>
                  </a:cubicBezTo>
                  <a:lnTo>
                    <a:pt x="4285" y="7744"/>
                  </a:lnTo>
                  <a:cubicBezTo>
                    <a:pt x="4285" y="8028"/>
                    <a:pt x="4065" y="8248"/>
                    <a:pt x="3781" y="8248"/>
                  </a:cubicBezTo>
                  <a:lnTo>
                    <a:pt x="2332" y="8248"/>
                  </a:lnTo>
                  <a:cubicBezTo>
                    <a:pt x="1072" y="8248"/>
                    <a:pt x="0" y="9288"/>
                    <a:pt x="0" y="10580"/>
                  </a:cubicBezTo>
                  <a:lnTo>
                    <a:pt x="0" y="12281"/>
                  </a:lnTo>
                  <a:cubicBezTo>
                    <a:pt x="0" y="12501"/>
                    <a:pt x="189" y="12690"/>
                    <a:pt x="410" y="12690"/>
                  </a:cubicBezTo>
                  <a:lnTo>
                    <a:pt x="12256" y="12690"/>
                  </a:lnTo>
                  <a:cubicBezTo>
                    <a:pt x="12508" y="12690"/>
                    <a:pt x="12697" y="12501"/>
                    <a:pt x="12697" y="12281"/>
                  </a:cubicBezTo>
                  <a:lnTo>
                    <a:pt x="12697" y="10580"/>
                  </a:lnTo>
                  <a:cubicBezTo>
                    <a:pt x="12760" y="9319"/>
                    <a:pt x="11689" y="8248"/>
                    <a:pt x="10429" y="8248"/>
                  </a:cubicBezTo>
                  <a:lnTo>
                    <a:pt x="8979" y="8248"/>
                  </a:lnTo>
                  <a:cubicBezTo>
                    <a:pt x="8696" y="8248"/>
                    <a:pt x="8475" y="8028"/>
                    <a:pt x="8475" y="7744"/>
                  </a:cubicBezTo>
                  <a:lnTo>
                    <a:pt x="8475" y="6957"/>
                  </a:lnTo>
                  <a:cubicBezTo>
                    <a:pt x="8979" y="6358"/>
                    <a:pt x="9294" y="5539"/>
                    <a:pt x="9389" y="4625"/>
                  </a:cubicBezTo>
                  <a:cubicBezTo>
                    <a:pt x="9546" y="4121"/>
                    <a:pt x="9735" y="3050"/>
                    <a:pt x="9767" y="2420"/>
                  </a:cubicBezTo>
                  <a:cubicBezTo>
                    <a:pt x="9767" y="1538"/>
                    <a:pt x="9420" y="845"/>
                    <a:pt x="8664" y="404"/>
                  </a:cubicBezTo>
                  <a:cubicBezTo>
                    <a:pt x="8202" y="135"/>
                    <a:pt x="7640" y="1"/>
                    <a:pt x="70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2" name="Google Shape;6732;p73"/>
            <p:cNvSpPr/>
            <p:nvPr/>
          </p:nvSpPr>
          <p:spPr>
            <a:xfrm>
              <a:off x="-64172200" y="2175800"/>
              <a:ext cx="48850" cy="22075"/>
            </a:xfrm>
            <a:custGeom>
              <a:avLst/>
              <a:gdLst/>
              <a:ahLst/>
              <a:cxnLst/>
              <a:rect l="l" t="t" r="r" b="b"/>
              <a:pathLst>
                <a:path w="1954" h="883" extrusionOk="0">
                  <a:moveTo>
                    <a:pt x="410" y="1"/>
                  </a:moveTo>
                  <a:cubicBezTo>
                    <a:pt x="158" y="1"/>
                    <a:pt x="0" y="190"/>
                    <a:pt x="0" y="442"/>
                  </a:cubicBezTo>
                  <a:cubicBezTo>
                    <a:pt x="0" y="662"/>
                    <a:pt x="221" y="883"/>
                    <a:pt x="410" y="883"/>
                  </a:cubicBezTo>
                  <a:lnTo>
                    <a:pt x="1513" y="883"/>
                  </a:lnTo>
                  <a:cubicBezTo>
                    <a:pt x="1765" y="883"/>
                    <a:pt x="1891" y="662"/>
                    <a:pt x="1891" y="442"/>
                  </a:cubicBezTo>
                  <a:cubicBezTo>
                    <a:pt x="1954" y="190"/>
                    <a:pt x="1733" y="1"/>
                    <a:pt x="15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3" name="Google Shape;6733;p73"/>
            <p:cNvSpPr/>
            <p:nvPr/>
          </p:nvSpPr>
          <p:spPr>
            <a:xfrm>
              <a:off x="-64212375" y="2210450"/>
              <a:ext cx="5525" cy="25"/>
            </a:xfrm>
            <a:custGeom>
              <a:avLst/>
              <a:gdLst/>
              <a:ahLst/>
              <a:cxnLst/>
              <a:rect l="l" t="t" r="r" b="b"/>
              <a:pathLst>
                <a:path w="221" h="1" extrusionOk="0">
                  <a:moveTo>
                    <a:pt x="1" y="1"/>
                  </a:moveTo>
                  <a:lnTo>
                    <a:pt x="221" y="1"/>
                  </a:lnTo>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34" name="Google Shape;6734;p73"/>
          <p:cNvGrpSpPr/>
          <p:nvPr/>
        </p:nvGrpSpPr>
        <p:grpSpPr>
          <a:xfrm>
            <a:off x="2408657" y="2696511"/>
            <a:ext cx="319480" cy="487356"/>
            <a:chOff x="-64343900" y="2282125"/>
            <a:chExt cx="207150" cy="316000"/>
          </a:xfrm>
        </p:grpSpPr>
        <p:sp>
          <p:nvSpPr>
            <p:cNvPr id="6735" name="Google Shape;6735;p73"/>
            <p:cNvSpPr/>
            <p:nvPr/>
          </p:nvSpPr>
          <p:spPr>
            <a:xfrm>
              <a:off x="-64270650" y="2310475"/>
              <a:ext cx="61450" cy="147325"/>
            </a:xfrm>
            <a:custGeom>
              <a:avLst/>
              <a:gdLst/>
              <a:ahLst/>
              <a:cxnLst/>
              <a:rect l="l" t="t" r="r" b="b"/>
              <a:pathLst>
                <a:path w="2458" h="5893" extrusionOk="0">
                  <a:moveTo>
                    <a:pt x="1229" y="1"/>
                  </a:moveTo>
                  <a:cubicBezTo>
                    <a:pt x="1008" y="1"/>
                    <a:pt x="851" y="221"/>
                    <a:pt x="851" y="442"/>
                  </a:cubicBezTo>
                  <a:lnTo>
                    <a:pt x="851" y="726"/>
                  </a:lnTo>
                  <a:cubicBezTo>
                    <a:pt x="378" y="883"/>
                    <a:pt x="0" y="1356"/>
                    <a:pt x="0" y="1891"/>
                  </a:cubicBezTo>
                  <a:cubicBezTo>
                    <a:pt x="0" y="2584"/>
                    <a:pt x="567" y="2962"/>
                    <a:pt x="1008" y="3277"/>
                  </a:cubicBezTo>
                  <a:cubicBezTo>
                    <a:pt x="1323" y="3529"/>
                    <a:pt x="1670" y="3750"/>
                    <a:pt x="1670" y="4002"/>
                  </a:cubicBezTo>
                  <a:cubicBezTo>
                    <a:pt x="1670" y="4223"/>
                    <a:pt x="1481" y="4412"/>
                    <a:pt x="1229" y="4412"/>
                  </a:cubicBezTo>
                  <a:cubicBezTo>
                    <a:pt x="1008" y="4412"/>
                    <a:pt x="851" y="4223"/>
                    <a:pt x="851" y="4002"/>
                  </a:cubicBezTo>
                  <a:cubicBezTo>
                    <a:pt x="851" y="3750"/>
                    <a:pt x="630" y="3592"/>
                    <a:pt x="441" y="3592"/>
                  </a:cubicBezTo>
                  <a:cubicBezTo>
                    <a:pt x="221" y="3592"/>
                    <a:pt x="0" y="3781"/>
                    <a:pt x="0" y="4002"/>
                  </a:cubicBezTo>
                  <a:cubicBezTo>
                    <a:pt x="0" y="4538"/>
                    <a:pt x="378" y="4979"/>
                    <a:pt x="851" y="5168"/>
                  </a:cubicBezTo>
                  <a:lnTo>
                    <a:pt x="851" y="5451"/>
                  </a:lnTo>
                  <a:cubicBezTo>
                    <a:pt x="851" y="5672"/>
                    <a:pt x="1040" y="5892"/>
                    <a:pt x="1229" y="5892"/>
                  </a:cubicBezTo>
                  <a:cubicBezTo>
                    <a:pt x="1481" y="5829"/>
                    <a:pt x="1639" y="5640"/>
                    <a:pt x="1639" y="5451"/>
                  </a:cubicBezTo>
                  <a:lnTo>
                    <a:pt x="1639" y="5168"/>
                  </a:lnTo>
                  <a:cubicBezTo>
                    <a:pt x="2111" y="5010"/>
                    <a:pt x="2458" y="4538"/>
                    <a:pt x="2458" y="4002"/>
                  </a:cubicBezTo>
                  <a:cubicBezTo>
                    <a:pt x="2458" y="3309"/>
                    <a:pt x="1891" y="2931"/>
                    <a:pt x="1481" y="2616"/>
                  </a:cubicBezTo>
                  <a:cubicBezTo>
                    <a:pt x="1166" y="2364"/>
                    <a:pt x="788" y="2143"/>
                    <a:pt x="788" y="1891"/>
                  </a:cubicBezTo>
                  <a:cubicBezTo>
                    <a:pt x="788" y="1671"/>
                    <a:pt x="1008" y="1513"/>
                    <a:pt x="1197" y="1513"/>
                  </a:cubicBezTo>
                  <a:cubicBezTo>
                    <a:pt x="1418" y="1513"/>
                    <a:pt x="1639" y="1702"/>
                    <a:pt x="1639" y="1891"/>
                  </a:cubicBezTo>
                  <a:cubicBezTo>
                    <a:pt x="1639" y="2143"/>
                    <a:pt x="1828" y="2332"/>
                    <a:pt x="2017" y="2332"/>
                  </a:cubicBezTo>
                  <a:cubicBezTo>
                    <a:pt x="2269" y="2332"/>
                    <a:pt x="2458" y="2143"/>
                    <a:pt x="2458" y="1891"/>
                  </a:cubicBezTo>
                  <a:cubicBezTo>
                    <a:pt x="2458" y="1356"/>
                    <a:pt x="2111" y="915"/>
                    <a:pt x="1639" y="726"/>
                  </a:cubicBezTo>
                  <a:lnTo>
                    <a:pt x="1639" y="442"/>
                  </a:lnTo>
                  <a:cubicBezTo>
                    <a:pt x="1639" y="221"/>
                    <a:pt x="1418"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36" name="Google Shape;6736;p73"/>
            <p:cNvSpPr/>
            <p:nvPr/>
          </p:nvSpPr>
          <p:spPr>
            <a:xfrm>
              <a:off x="-64343900" y="2282125"/>
              <a:ext cx="207150" cy="316000"/>
            </a:xfrm>
            <a:custGeom>
              <a:avLst/>
              <a:gdLst/>
              <a:ahLst/>
              <a:cxnLst/>
              <a:rect l="l" t="t" r="r" b="b"/>
              <a:pathLst>
                <a:path w="8286" h="12640" extrusionOk="0">
                  <a:moveTo>
                    <a:pt x="4159" y="788"/>
                  </a:moveTo>
                  <a:cubicBezTo>
                    <a:pt x="5986" y="788"/>
                    <a:pt x="7467" y="2301"/>
                    <a:pt x="7467" y="4096"/>
                  </a:cubicBezTo>
                  <a:cubicBezTo>
                    <a:pt x="7467" y="5924"/>
                    <a:pt x="5986" y="7404"/>
                    <a:pt x="4159" y="7404"/>
                  </a:cubicBezTo>
                  <a:cubicBezTo>
                    <a:pt x="2300" y="7404"/>
                    <a:pt x="851" y="5924"/>
                    <a:pt x="851" y="4096"/>
                  </a:cubicBezTo>
                  <a:cubicBezTo>
                    <a:pt x="851" y="2301"/>
                    <a:pt x="2363" y="788"/>
                    <a:pt x="4159" y="788"/>
                  </a:cubicBezTo>
                  <a:close/>
                  <a:moveTo>
                    <a:pt x="851" y="8917"/>
                  </a:moveTo>
                  <a:cubicBezTo>
                    <a:pt x="1513" y="8980"/>
                    <a:pt x="2206" y="9295"/>
                    <a:pt x="2773" y="9862"/>
                  </a:cubicBezTo>
                  <a:cubicBezTo>
                    <a:pt x="3340" y="10429"/>
                    <a:pt x="3655" y="11122"/>
                    <a:pt x="3718" y="11784"/>
                  </a:cubicBezTo>
                  <a:cubicBezTo>
                    <a:pt x="3056" y="11689"/>
                    <a:pt x="2395" y="11374"/>
                    <a:pt x="1796" y="10838"/>
                  </a:cubicBezTo>
                  <a:cubicBezTo>
                    <a:pt x="1261" y="10271"/>
                    <a:pt x="945" y="9578"/>
                    <a:pt x="851" y="8917"/>
                  </a:cubicBezTo>
                  <a:close/>
                  <a:moveTo>
                    <a:pt x="7467" y="8917"/>
                  </a:moveTo>
                  <a:lnTo>
                    <a:pt x="7467" y="8917"/>
                  </a:lnTo>
                  <a:cubicBezTo>
                    <a:pt x="7404" y="9578"/>
                    <a:pt x="7089" y="10240"/>
                    <a:pt x="6522" y="10838"/>
                  </a:cubicBezTo>
                  <a:cubicBezTo>
                    <a:pt x="5923" y="11374"/>
                    <a:pt x="5262" y="11689"/>
                    <a:pt x="4600" y="11784"/>
                  </a:cubicBezTo>
                  <a:cubicBezTo>
                    <a:pt x="4663" y="11122"/>
                    <a:pt x="4947" y="10429"/>
                    <a:pt x="5545" y="9862"/>
                  </a:cubicBezTo>
                  <a:cubicBezTo>
                    <a:pt x="6081" y="9295"/>
                    <a:pt x="6805" y="8980"/>
                    <a:pt x="7467" y="8917"/>
                  </a:cubicBezTo>
                  <a:close/>
                  <a:moveTo>
                    <a:pt x="4159" y="1"/>
                  </a:moveTo>
                  <a:cubicBezTo>
                    <a:pt x="1891" y="1"/>
                    <a:pt x="32" y="1860"/>
                    <a:pt x="32" y="4128"/>
                  </a:cubicBezTo>
                  <a:cubicBezTo>
                    <a:pt x="32" y="6270"/>
                    <a:pt x="1670" y="8034"/>
                    <a:pt x="3781" y="8223"/>
                  </a:cubicBezTo>
                  <a:lnTo>
                    <a:pt x="3781" y="9736"/>
                  </a:lnTo>
                  <a:cubicBezTo>
                    <a:pt x="3623" y="9578"/>
                    <a:pt x="3497" y="9421"/>
                    <a:pt x="3371" y="9295"/>
                  </a:cubicBezTo>
                  <a:cubicBezTo>
                    <a:pt x="2584" y="8507"/>
                    <a:pt x="1576" y="8066"/>
                    <a:pt x="410" y="8066"/>
                  </a:cubicBezTo>
                  <a:cubicBezTo>
                    <a:pt x="189" y="8066"/>
                    <a:pt x="32" y="8287"/>
                    <a:pt x="32" y="8476"/>
                  </a:cubicBezTo>
                  <a:cubicBezTo>
                    <a:pt x="0" y="9578"/>
                    <a:pt x="410" y="10649"/>
                    <a:pt x="1261" y="11437"/>
                  </a:cubicBezTo>
                  <a:cubicBezTo>
                    <a:pt x="2048" y="12225"/>
                    <a:pt x="3056" y="12634"/>
                    <a:pt x="4096" y="12634"/>
                  </a:cubicBezTo>
                  <a:lnTo>
                    <a:pt x="4159" y="12634"/>
                  </a:lnTo>
                  <a:cubicBezTo>
                    <a:pt x="4225" y="12638"/>
                    <a:pt x="4290" y="12640"/>
                    <a:pt x="4355" y="12640"/>
                  </a:cubicBezTo>
                  <a:cubicBezTo>
                    <a:pt x="5385" y="12640"/>
                    <a:pt x="6348" y="12178"/>
                    <a:pt x="7089" y="11437"/>
                  </a:cubicBezTo>
                  <a:cubicBezTo>
                    <a:pt x="7877" y="10649"/>
                    <a:pt x="8286" y="9610"/>
                    <a:pt x="8286" y="8476"/>
                  </a:cubicBezTo>
                  <a:cubicBezTo>
                    <a:pt x="8286" y="8223"/>
                    <a:pt x="8097" y="8066"/>
                    <a:pt x="7908" y="8066"/>
                  </a:cubicBezTo>
                  <a:cubicBezTo>
                    <a:pt x="7872" y="8065"/>
                    <a:pt x="7837" y="8064"/>
                    <a:pt x="7801" y="8064"/>
                  </a:cubicBezTo>
                  <a:cubicBezTo>
                    <a:pt x="6709" y="8064"/>
                    <a:pt x="5709" y="8532"/>
                    <a:pt x="4947" y="9295"/>
                  </a:cubicBezTo>
                  <a:cubicBezTo>
                    <a:pt x="4821" y="9452"/>
                    <a:pt x="4663" y="9578"/>
                    <a:pt x="4569" y="9736"/>
                  </a:cubicBezTo>
                  <a:lnTo>
                    <a:pt x="4569" y="8223"/>
                  </a:lnTo>
                  <a:cubicBezTo>
                    <a:pt x="6648" y="8034"/>
                    <a:pt x="8286" y="6270"/>
                    <a:pt x="8286" y="4128"/>
                  </a:cubicBezTo>
                  <a:cubicBezTo>
                    <a:pt x="8286" y="1860"/>
                    <a:pt x="6459" y="1"/>
                    <a:pt x="41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737" name="Google Shape;6737;p73"/>
          <p:cNvSpPr/>
          <p:nvPr/>
        </p:nvSpPr>
        <p:spPr>
          <a:xfrm>
            <a:off x="2315052" y="3314178"/>
            <a:ext cx="489553" cy="493217"/>
          </a:xfrm>
          <a:custGeom>
            <a:avLst/>
            <a:gdLst/>
            <a:ahLst/>
            <a:cxnLst/>
            <a:rect l="l" t="t" r="r" b="b"/>
            <a:pathLst>
              <a:path w="12697" h="12792" extrusionOk="0">
                <a:moveTo>
                  <a:pt x="7310" y="3435"/>
                </a:moveTo>
                <a:cubicBezTo>
                  <a:pt x="7404" y="3435"/>
                  <a:pt x="7467" y="3498"/>
                  <a:pt x="7436" y="3624"/>
                </a:cubicBezTo>
                <a:cubicBezTo>
                  <a:pt x="7310" y="3939"/>
                  <a:pt x="7247" y="4223"/>
                  <a:pt x="7215" y="4538"/>
                </a:cubicBezTo>
                <a:lnTo>
                  <a:pt x="5419" y="4538"/>
                </a:lnTo>
                <a:cubicBezTo>
                  <a:pt x="5388" y="4223"/>
                  <a:pt x="5293" y="3908"/>
                  <a:pt x="5199" y="3624"/>
                </a:cubicBezTo>
                <a:cubicBezTo>
                  <a:pt x="5167" y="3498"/>
                  <a:pt x="5230" y="3435"/>
                  <a:pt x="5325" y="3435"/>
                </a:cubicBezTo>
                <a:close/>
                <a:moveTo>
                  <a:pt x="7121" y="5357"/>
                </a:moveTo>
                <a:cubicBezTo>
                  <a:pt x="7089" y="6428"/>
                  <a:pt x="7310" y="7436"/>
                  <a:pt x="7845" y="8381"/>
                </a:cubicBezTo>
                <a:lnTo>
                  <a:pt x="8003" y="8665"/>
                </a:lnTo>
                <a:lnTo>
                  <a:pt x="4726" y="8665"/>
                </a:lnTo>
                <a:lnTo>
                  <a:pt x="4852" y="8381"/>
                </a:lnTo>
                <a:cubicBezTo>
                  <a:pt x="5356" y="7436"/>
                  <a:pt x="5577" y="6396"/>
                  <a:pt x="5545" y="5357"/>
                </a:cubicBezTo>
                <a:close/>
                <a:moveTo>
                  <a:pt x="8381" y="9484"/>
                </a:moveTo>
                <a:cubicBezTo>
                  <a:pt x="8633" y="9484"/>
                  <a:pt x="8790" y="9704"/>
                  <a:pt x="8790" y="9925"/>
                </a:cubicBezTo>
                <a:lnTo>
                  <a:pt x="8790" y="10335"/>
                </a:lnTo>
                <a:lnTo>
                  <a:pt x="3813" y="10335"/>
                </a:lnTo>
                <a:lnTo>
                  <a:pt x="3813" y="9925"/>
                </a:lnTo>
                <a:lnTo>
                  <a:pt x="3844" y="9925"/>
                </a:lnTo>
                <a:cubicBezTo>
                  <a:pt x="3844" y="9704"/>
                  <a:pt x="4065" y="9484"/>
                  <a:pt x="4254" y="9484"/>
                </a:cubicBezTo>
                <a:close/>
                <a:moveTo>
                  <a:pt x="9200" y="11154"/>
                </a:moveTo>
                <a:cubicBezTo>
                  <a:pt x="9452" y="11154"/>
                  <a:pt x="9609" y="11343"/>
                  <a:pt x="9609" y="11595"/>
                </a:cubicBezTo>
                <a:lnTo>
                  <a:pt x="9609" y="12004"/>
                </a:lnTo>
                <a:lnTo>
                  <a:pt x="2993" y="12004"/>
                </a:lnTo>
                <a:lnTo>
                  <a:pt x="2993" y="11595"/>
                </a:lnTo>
                <a:lnTo>
                  <a:pt x="3025" y="11595"/>
                </a:lnTo>
                <a:cubicBezTo>
                  <a:pt x="3025" y="11343"/>
                  <a:pt x="3214" y="11154"/>
                  <a:pt x="3435" y="11154"/>
                </a:cubicBezTo>
                <a:close/>
                <a:moveTo>
                  <a:pt x="6333" y="1"/>
                </a:moveTo>
                <a:cubicBezTo>
                  <a:pt x="6144" y="1"/>
                  <a:pt x="5955" y="190"/>
                  <a:pt x="5955" y="442"/>
                </a:cubicBezTo>
                <a:lnTo>
                  <a:pt x="5955" y="883"/>
                </a:lnTo>
                <a:lnTo>
                  <a:pt x="5514" y="883"/>
                </a:lnTo>
                <a:cubicBezTo>
                  <a:pt x="5262" y="883"/>
                  <a:pt x="5104" y="1072"/>
                  <a:pt x="5104" y="1261"/>
                </a:cubicBezTo>
                <a:cubicBezTo>
                  <a:pt x="5104" y="1513"/>
                  <a:pt x="5325" y="1702"/>
                  <a:pt x="5514" y="1702"/>
                </a:cubicBezTo>
                <a:lnTo>
                  <a:pt x="5955" y="1702"/>
                </a:lnTo>
                <a:lnTo>
                  <a:pt x="5955" y="2521"/>
                </a:lnTo>
                <a:lnTo>
                  <a:pt x="5356" y="2521"/>
                </a:lnTo>
                <a:cubicBezTo>
                  <a:pt x="4695" y="2521"/>
                  <a:pt x="4222" y="3183"/>
                  <a:pt x="4443" y="3813"/>
                </a:cubicBezTo>
                <a:cubicBezTo>
                  <a:pt x="4537" y="4034"/>
                  <a:pt x="4569" y="4254"/>
                  <a:pt x="4632" y="4443"/>
                </a:cubicBezTo>
                <a:lnTo>
                  <a:pt x="4285" y="4443"/>
                </a:lnTo>
                <a:cubicBezTo>
                  <a:pt x="4065" y="4443"/>
                  <a:pt x="3907" y="4664"/>
                  <a:pt x="3907" y="4884"/>
                </a:cubicBezTo>
                <a:cubicBezTo>
                  <a:pt x="3907" y="5136"/>
                  <a:pt x="4096" y="5325"/>
                  <a:pt x="4285" y="5325"/>
                </a:cubicBezTo>
                <a:lnTo>
                  <a:pt x="4726" y="5325"/>
                </a:lnTo>
                <a:cubicBezTo>
                  <a:pt x="4821" y="6901"/>
                  <a:pt x="4191" y="7846"/>
                  <a:pt x="3718" y="8791"/>
                </a:cubicBezTo>
                <a:cubicBezTo>
                  <a:pt x="3308" y="8980"/>
                  <a:pt x="3025" y="9421"/>
                  <a:pt x="3025" y="9893"/>
                </a:cubicBezTo>
                <a:lnTo>
                  <a:pt x="3025" y="10366"/>
                </a:lnTo>
                <a:cubicBezTo>
                  <a:pt x="2552" y="10524"/>
                  <a:pt x="2206" y="10996"/>
                  <a:pt x="2206" y="11532"/>
                </a:cubicBezTo>
                <a:lnTo>
                  <a:pt x="2206" y="11973"/>
                </a:lnTo>
                <a:lnTo>
                  <a:pt x="442" y="11973"/>
                </a:lnTo>
                <a:cubicBezTo>
                  <a:pt x="189" y="11973"/>
                  <a:pt x="0" y="12162"/>
                  <a:pt x="0" y="12382"/>
                </a:cubicBezTo>
                <a:cubicBezTo>
                  <a:pt x="0" y="12603"/>
                  <a:pt x="158" y="12792"/>
                  <a:pt x="379" y="12792"/>
                </a:cubicBezTo>
                <a:lnTo>
                  <a:pt x="12256" y="12792"/>
                </a:lnTo>
                <a:cubicBezTo>
                  <a:pt x="12476" y="12792"/>
                  <a:pt x="12697" y="12603"/>
                  <a:pt x="12697" y="12382"/>
                </a:cubicBezTo>
                <a:cubicBezTo>
                  <a:pt x="12697" y="12130"/>
                  <a:pt x="12476" y="11973"/>
                  <a:pt x="12256" y="11973"/>
                </a:cubicBezTo>
                <a:lnTo>
                  <a:pt x="10460" y="11973"/>
                </a:lnTo>
                <a:lnTo>
                  <a:pt x="10460" y="11532"/>
                </a:lnTo>
                <a:cubicBezTo>
                  <a:pt x="10460" y="10996"/>
                  <a:pt x="10114" y="10555"/>
                  <a:pt x="9641" y="10366"/>
                </a:cubicBezTo>
                <a:lnTo>
                  <a:pt x="9641" y="9893"/>
                </a:lnTo>
                <a:cubicBezTo>
                  <a:pt x="9641" y="9421"/>
                  <a:pt x="9357" y="8980"/>
                  <a:pt x="8979" y="8791"/>
                </a:cubicBezTo>
                <a:cubicBezTo>
                  <a:pt x="8507" y="7877"/>
                  <a:pt x="7877" y="6932"/>
                  <a:pt x="7940" y="5325"/>
                </a:cubicBezTo>
                <a:lnTo>
                  <a:pt x="8381" y="5325"/>
                </a:lnTo>
                <a:cubicBezTo>
                  <a:pt x="8633" y="5325"/>
                  <a:pt x="8790" y="5136"/>
                  <a:pt x="8790" y="4884"/>
                </a:cubicBezTo>
                <a:cubicBezTo>
                  <a:pt x="8790" y="4664"/>
                  <a:pt x="8570" y="4443"/>
                  <a:pt x="8381" y="4443"/>
                </a:cubicBezTo>
                <a:lnTo>
                  <a:pt x="8034" y="4443"/>
                </a:lnTo>
                <a:cubicBezTo>
                  <a:pt x="8066" y="4254"/>
                  <a:pt x="8160" y="4034"/>
                  <a:pt x="8223" y="3813"/>
                </a:cubicBezTo>
                <a:cubicBezTo>
                  <a:pt x="8475" y="3183"/>
                  <a:pt x="8003" y="2521"/>
                  <a:pt x="7310" y="2521"/>
                </a:cubicBezTo>
                <a:lnTo>
                  <a:pt x="6743" y="2521"/>
                </a:lnTo>
                <a:lnTo>
                  <a:pt x="6743" y="1702"/>
                </a:lnTo>
                <a:lnTo>
                  <a:pt x="7184" y="1702"/>
                </a:lnTo>
                <a:cubicBezTo>
                  <a:pt x="7404" y="1702"/>
                  <a:pt x="7562" y="1513"/>
                  <a:pt x="7562" y="1261"/>
                </a:cubicBezTo>
                <a:cubicBezTo>
                  <a:pt x="7562" y="1041"/>
                  <a:pt x="7373" y="883"/>
                  <a:pt x="7184" y="883"/>
                </a:cubicBezTo>
                <a:lnTo>
                  <a:pt x="6743" y="883"/>
                </a:lnTo>
                <a:lnTo>
                  <a:pt x="6743" y="442"/>
                </a:lnTo>
                <a:cubicBezTo>
                  <a:pt x="6743" y="190"/>
                  <a:pt x="6522"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738" name="Google Shape;6738;p73"/>
          <p:cNvGrpSpPr/>
          <p:nvPr/>
        </p:nvGrpSpPr>
        <p:grpSpPr>
          <a:xfrm>
            <a:off x="5315922" y="2055473"/>
            <a:ext cx="425164" cy="488628"/>
            <a:chOff x="-62496925" y="1931475"/>
            <a:chExt cx="275675" cy="316825"/>
          </a:xfrm>
        </p:grpSpPr>
        <p:sp>
          <p:nvSpPr>
            <p:cNvPr id="6739" name="Google Shape;6739;p73"/>
            <p:cNvSpPr/>
            <p:nvPr/>
          </p:nvSpPr>
          <p:spPr>
            <a:xfrm>
              <a:off x="-62496925" y="1931475"/>
              <a:ext cx="275675" cy="316825"/>
            </a:xfrm>
            <a:custGeom>
              <a:avLst/>
              <a:gdLst/>
              <a:ahLst/>
              <a:cxnLst/>
              <a:rect l="l" t="t" r="r" b="b"/>
              <a:pathLst>
                <a:path w="11027" h="12673" extrusionOk="0">
                  <a:moveTo>
                    <a:pt x="5514" y="1047"/>
                  </a:moveTo>
                  <a:cubicBezTo>
                    <a:pt x="6238" y="1519"/>
                    <a:pt x="7215" y="1834"/>
                    <a:pt x="8003" y="1834"/>
                  </a:cubicBezTo>
                  <a:cubicBezTo>
                    <a:pt x="8538" y="1834"/>
                    <a:pt x="9294" y="1708"/>
                    <a:pt x="10208" y="1204"/>
                  </a:cubicBezTo>
                  <a:lnTo>
                    <a:pt x="10208" y="5237"/>
                  </a:lnTo>
                  <a:cubicBezTo>
                    <a:pt x="10177" y="8198"/>
                    <a:pt x="8349" y="10845"/>
                    <a:pt x="5514" y="11821"/>
                  </a:cubicBezTo>
                  <a:cubicBezTo>
                    <a:pt x="2710" y="10845"/>
                    <a:pt x="820" y="8198"/>
                    <a:pt x="820" y="5237"/>
                  </a:cubicBezTo>
                  <a:lnTo>
                    <a:pt x="820" y="1204"/>
                  </a:lnTo>
                  <a:cubicBezTo>
                    <a:pt x="1513" y="1582"/>
                    <a:pt x="2269" y="1834"/>
                    <a:pt x="3025" y="1834"/>
                  </a:cubicBezTo>
                  <a:cubicBezTo>
                    <a:pt x="3844" y="1834"/>
                    <a:pt x="4758" y="1551"/>
                    <a:pt x="5514" y="1047"/>
                  </a:cubicBezTo>
                  <a:close/>
                  <a:moveTo>
                    <a:pt x="10654" y="1"/>
                  </a:moveTo>
                  <a:cubicBezTo>
                    <a:pt x="10567" y="1"/>
                    <a:pt x="10476" y="33"/>
                    <a:pt x="10397" y="102"/>
                  </a:cubicBezTo>
                  <a:cubicBezTo>
                    <a:pt x="9389" y="826"/>
                    <a:pt x="8538" y="952"/>
                    <a:pt x="8034" y="952"/>
                  </a:cubicBezTo>
                  <a:cubicBezTo>
                    <a:pt x="7310" y="952"/>
                    <a:pt x="6396" y="637"/>
                    <a:pt x="5766" y="165"/>
                  </a:cubicBezTo>
                  <a:cubicBezTo>
                    <a:pt x="5703" y="102"/>
                    <a:pt x="5616" y="70"/>
                    <a:pt x="5526" y="70"/>
                  </a:cubicBezTo>
                  <a:cubicBezTo>
                    <a:pt x="5435" y="70"/>
                    <a:pt x="5341" y="102"/>
                    <a:pt x="5262" y="165"/>
                  </a:cubicBezTo>
                  <a:cubicBezTo>
                    <a:pt x="4632" y="637"/>
                    <a:pt x="3781" y="952"/>
                    <a:pt x="3025" y="952"/>
                  </a:cubicBezTo>
                  <a:cubicBezTo>
                    <a:pt x="2237" y="952"/>
                    <a:pt x="1450" y="637"/>
                    <a:pt x="662" y="102"/>
                  </a:cubicBezTo>
                  <a:cubicBezTo>
                    <a:pt x="582" y="40"/>
                    <a:pt x="495" y="13"/>
                    <a:pt x="411" y="13"/>
                  </a:cubicBezTo>
                  <a:cubicBezTo>
                    <a:pt x="196" y="13"/>
                    <a:pt x="0" y="190"/>
                    <a:pt x="0" y="417"/>
                  </a:cubicBezTo>
                  <a:lnTo>
                    <a:pt x="0" y="5237"/>
                  </a:lnTo>
                  <a:cubicBezTo>
                    <a:pt x="0" y="8608"/>
                    <a:pt x="2080" y="11601"/>
                    <a:pt x="5388" y="12641"/>
                  </a:cubicBezTo>
                  <a:cubicBezTo>
                    <a:pt x="5419" y="12641"/>
                    <a:pt x="5451" y="12672"/>
                    <a:pt x="5514" y="12672"/>
                  </a:cubicBezTo>
                  <a:cubicBezTo>
                    <a:pt x="5545" y="12672"/>
                    <a:pt x="5577" y="12672"/>
                    <a:pt x="5640" y="12641"/>
                  </a:cubicBezTo>
                  <a:cubicBezTo>
                    <a:pt x="8979" y="11538"/>
                    <a:pt x="11027" y="8513"/>
                    <a:pt x="11027" y="5237"/>
                  </a:cubicBezTo>
                  <a:lnTo>
                    <a:pt x="11027" y="417"/>
                  </a:lnTo>
                  <a:cubicBezTo>
                    <a:pt x="11027" y="157"/>
                    <a:pt x="10848" y="1"/>
                    <a:pt x="106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0" name="Google Shape;6740;p73"/>
            <p:cNvSpPr/>
            <p:nvPr/>
          </p:nvSpPr>
          <p:spPr>
            <a:xfrm>
              <a:off x="-62390600" y="2016700"/>
              <a:ext cx="63025" cy="146525"/>
            </a:xfrm>
            <a:custGeom>
              <a:avLst/>
              <a:gdLst/>
              <a:ahLst/>
              <a:cxnLst/>
              <a:rect l="l" t="t" r="r" b="b"/>
              <a:pathLst>
                <a:path w="2521" h="5861" extrusionOk="0">
                  <a:moveTo>
                    <a:pt x="1261" y="1"/>
                  </a:moveTo>
                  <a:cubicBezTo>
                    <a:pt x="1009" y="1"/>
                    <a:pt x="820" y="190"/>
                    <a:pt x="820" y="410"/>
                  </a:cubicBezTo>
                  <a:lnTo>
                    <a:pt x="820" y="694"/>
                  </a:lnTo>
                  <a:cubicBezTo>
                    <a:pt x="347" y="851"/>
                    <a:pt x="1" y="1324"/>
                    <a:pt x="1" y="1891"/>
                  </a:cubicBezTo>
                  <a:cubicBezTo>
                    <a:pt x="1" y="2553"/>
                    <a:pt x="536" y="2931"/>
                    <a:pt x="977" y="3246"/>
                  </a:cubicBezTo>
                  <a:cubicBezTo>
                    <a:pt x="1292" y="3498"/>
                    <a:pt x="1639" y="3718"/>
                    <a:pt x="1639" y="3970"/>
                  </a:cubicBezTo>
                  <a:cubicBezTo>
                    <a:pt x="1639" y="4191"/>
                    <a:pt x="1450" y="4411"/>
                    <a:pt x="1261" y="4411"/>
                  </a:cubicBezTo>
                  <a:cubicBezTo>
                    <a:pt x="1040" y="4411"/>
                    <a:pt x="820" y="4191"/>
                    <a:pt x="820" y="3970"/>
                  </a:cubicBezTo>
                  <a:cubicBezTo>
                    <a:pt x="820" y="3718"/>
                    <a:pt x="631" y="3561"/>
                    <a:pt x="410" y="3561"/>
                  </a:cubicBezTo>
                  <a:cubicBezTo>
                    <a:pt x="221" y="3561"/>
                    <a:pt x="32" y="3781"/>
                    <a:pt x="32" y="3970"/>
                  </a:cubicBezTo>
                  <a:cubicBezTo>
                    <a:pt x="32" y="4506"/>
                    <a:pt x="379" y="4947"/>
                    <a:pt x="851" y="5136"/>
                  </a:cubicBezTo>
                  <a:lnTo>
                    <a:pt x="851" y="5419"/>
                  </a:lnTo>
                  <a:cubicBezTo>
                    <a:pt x="851" y="5671"/>
                    <a:pt x="1040" y="5861"/>
                    <a:pt x="1292" y="5861"/>
                  </a:cubicBezTo>
                  <a:cubicBezTo>
                    <a:pt x="1513" y="5861"/>
                    <a:pt x="1670" y="5671"/>
                    <a:pt x="1670" y="5419"/>
                  </a:cubicBezTo>
                  <a:lnTo>
                    <a:pt x="1670" y="5136"/>
                  </a:lnTo>
                  <a:cubicBezTo>
                    <a:pt x="2143" y="4978"/>
                    <a:pt x="2521" y="4506"/>
                    <a:pt x="2521" y="3970"/>
                  </a:cubicBezTo>
                  <a:cubicBezTo>
                    <a:pt x="2521" y="3309"/>
                    <a:pt x="1954" y="2899"/>
                    <a:pt x="1513" y="2584"/>
                  </a:cubicBezTo>
                  <a:cubicBezTo>
                    <a:pt x="1198" y="2363"/>
                    <a:pt x="851" y="2111"/>
                    <a:pt x="851" y="1891"/>
                  </a:cubicBezTo>
                  <a:cubicBezTo>
                    <a:pt x="851" y="1670"/>
                    <a:pt x="1040" y="1481"/>
                    <a:pt x="1261" y="1481"/>
                  </a:cubicBezTo>
                  <a:cubicBezTo>
                    <a:pt x="1481" y="1481"/>
                    <a:pt x="1639" y="1670"/>
                    <a:pt x="1639" y="1891"/>
                  </a:cubicBezTo>
                  <a:cubicBezTo>
                    <a:pt x="1639" y="2111"/>
                    <a:pt x="1828" y="2300"/>
                    <a:pt x="2080" y="2300"/>
                  </a:cubicBezTo>
                  <a:cubicBezTo>
                    <a:pt x="2300" y="2300"/>
                    <a:pt x="2458" y="2111"/>
                    <a:pt x="2458" y="1891"/>
                  </a:cubicBezTo>
                  <a:cubicBezTo>
                    <a:pt x="2458" y="1324"/>
                    <a:pt x="2111" y="883"/>
                    <a:pt x="1639" y="694"/>
                  </a:cubicBezTo>
                  <a:lnTo>
                    <a:pt x="1639" y="410"/>
                  </a:lnTo>
                  <a:cubicBezTo>
                    <a:pt x="1639" y="190"/>
                    <a:pt x="1450"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41" name="Google Shape;6741;p73"/>
          <p:cNvGrpSpPr/>
          <p:nvPr/>
        </p:nvGrpSpPr>
        <p:grpSpPr>
          <a:xfrm>
            <a:off x="5284922" y="2695239"/>
            <a:ext cx="487164" cy="489901"/>
            <a:chOff x="-62516625" y="2297875"/>
            <a:chExt cx="315875" cy="317650"/>
          </a:xfrm>
        </p:grpSpPr>
        <p:sp>
          <p:nvSpPr>
            <p:cNvPr id="6742" name="Google Shape;6742;p73"/>
            <p:cNvSpPr/>
            <p:nvPr/>
          </p:nvSpPr>
          <p:spPr>
            <a:xfrm>
              <a:off x="-62516625" y="2297875"/>
              <a:ext cx="315875" cy="317650"/>
            </a:xfrm>
            <a:custGeom>
              <a:avLst/>
              <a:gdLst/>
              <a:ahLst/>
              <a:cxnLst/>
              <a:rect l="l" t="t" r="r" b="b"/>
              <a:pathLst>
                <a:path w="12635" h="12706" extrusionOk="0">
                  <a:moveTo>
                    <a:pt x="4632" y="3309"/>
                  </a:moveTo>
                  <a:cubicBezTo>
                    <a:pt x="5388" y="3309"/>
                    <a:pt x="6018" y="3939"/>
                    <a:pt x="6018" y="4695"/>
                  </a:cubicBezTo>
                  <a:cubicBezTo>
                    <a:pt x="6018" y="4916"/>
                    <a:pt x="5924" y="5168"/>
                    <a:pt x="5829" y="5388"/>
                  </a:cubicBezTo>
                  <a:lnTo>
                    <a:pt x="5357" y="5861"/>
                  </a:lnTo>
                  <a:cubicBezTo>
                    <a:pt x="5136" y="5987"/>
                    <a:pt x="4916" y="6081"/>
                    <a:pt x="4632" y="6081"/>
                  </a:cubicBezTo>
                  <a:cubicBezTo>
                    <a:pt x="3876" y="6081"/>
                    <a:pt x="3246" y="5451"/>
                    <a:pt x="3246" y="4695"/>
                  </a:cubicBezTo>
                  <a:cubicBezTo>
                    <a:pt x="3246" y="3939"/>
                    <a:pt x="3876" y="3309"/>
                    <a:pt x="4632" y="3309"/>
                  </a:cubicBezTo>
                  <a:close/>
                  <a:moveTo>
                    <a:pt x="4632" y="820"/>
                  </a:moveTo>
                  <a:cubicBezTo>
                    <a:pt x="6617" y="820"/>
                    <a:pt x="8287" y="2364"/>
                    <a:pt x="8444" y="4285"/>
                  </a:cubicBezTo>
                  <a:lnTo>
                    <a:pt x="8444" y="4412"/>
                  </a:lnTo>
                  <a:cubicBezTo>
                    <a:pt x="7877" y="4412"/>
                    <a:pt x="7310" y="4538"/>
                    <a:pt x="6806" y="4758"/>
                  </a:cubicBezTo>
                  <a:lnTo>
                    <a:pt x="6806" y="4695"/>
                  </a:lnTo>
                  <a:cubicBezTo>
                    <a:pt x="6806" y="3466"/>
                    <a:pt x="5829" y="2490"/>
                    <a:pt x="4601" y="2490"/>
                  </a:cubicBezTo>
                  <a:cubicBezTo>
                    <a:pt x="3372" y="2490"/>
                    <a:pt x="2395" y="3466"/>
                    <a:pt x="2395" y="4695"/>
                  </a:cubicBezTo>
                  <a:cubicBezTo>
                    <a:pt x="2395" y="5924"/>
                    <a:pt x="3372" y="6900"/>
                    <a:pt x="4601" y="6900"/>
                  </a:cubicBezTo>
                  <a:lnTo>
                    <a:pt x="4664" y="6900"/>
                  </a:lnTo>
                  <a:cubicBezTo>
                    <a:pt x="4443" y="7404"/>
                    <a:pt x="4317" y="7972"/>
                    <a:pt x="4317" y="8539"/>
                  </a:cubicBezTo>
                  <a:cubicBezTo>
                    <a:pt x="4317" y="9421"/>
                    <a:pt x="4601" y="10240"/>
                    <a:pt x="5073" y="10902"/>
                  </a:cubicBezTo>
                  <a:lnTo>
                    <a:pt x="4601" y="11532"/>
                  </a:lnTo>
                  <a:lnTo>
                    <a:pt x="1513" y="7026"/>
                  </a:lnTo>
                  <a:cubicBezTo>
                    <a:pt x="1009" y="6333"/>
                    <a:pt x="725" y="5546"/>
                    <a:pt x="725" y="4695"/>
                  </a:cubicBezTo>
                  <a:cubicBezTo>
                    <a:pt x="788" y="2553"/>
                    <a:pt x="2521" y="820"/>
                    <a:pt x="4632" y="820"/>
                  </a:cubicBezTo>
                  <a:close/>
                  <a:moveTo>
                    <a:pt x="8507" y="5231"/>
                  </a:moveTo>
                  <a:cubicBezTo>
                    <a:pt x="10334" y="5231"/>
                    <a:pt x="11815" y="6743"/>
                    <a:pt x="11815" y="8539"/>
                  </a:cubicBezTo>
                  <a:cubicBezTo>
                    <a:pt x="11815" y="10366"/>
                    <a:pt x="10303" y="11847"/>
                    <a:pt x="8507" y="11847"/>
                  </a:cubicBezTo>
                  <a:cubicBezTo>
                    <a:pt x="6680" y="11847"/>
                    <a:pt x="5199" y="10366"/>
                    <a:pt x="5199" y="8539"/>
                  </a:cubicBezTo>
                  <a:cubicBezTo>
                    <a:pt x="5199" y="6743"/>
                    <a:pt x="6680" y="5231"/>
                    <a:pt x="8507" y="5231"/>
                  </a:cubicBezTo>
                  <a:close/>
                  <a:moveTo>
                    <a:pt x="4664" y="1"/>
                  </a:moveTo>
                  <a:cubicBezTo>
                    <a:pt x="2080" y="1"/>
                    <a:pt x="1" y="2080"/>
                    <a:pt x="1" y="4695"/>
                  </a:cubicBezTo>
                  <a:cubicBezTo>
                    <a:pt x="1" y="5703"/>
                    <a:pt x="316" y="6711"/>
                    <a:pt x="946" y="7499"/>
                  </a:cubicBezTo>
                  <a:lnTo>
                    <a:pt x="4317" y="12540"/>
                  </a:lnTo>
                  <a:cubicBezTo>
                    <a:pt x="4396" y="12650"/>
                    <a:pt x="4522" y="12705"/>
                    <a:pt x="4648" y="12705"/>
                  </a:cubicBezTo>
                  <a:cubicBezTo>
                    <a:pt x="4774" y="12705"/>
                    <a:pt x="4900" y="12650"/>
                    <a:pt x="4979" y="12540"/>
                  </a:cubicBezTo>
                  <a:lnTo>
                    <a:pt x="5672" y="11532"/>
                  </a:lnTo>
                  <a:cubicBezTo>
                    <a:pt x="6396" y="12256"/>
                    <a:pt x="7404" y="12697"/>
                    <a:pt x="8507" y="12697"/>
                  </a:cubicBezTo>
                  <a:cubicBezTo>
                    <a:pt x="10776" y="12697"/>
                    <a:pt x="12634" y="10838"/>
                    <a:pt x="12634" y="8539"/>
                  </a:cubicBezTo>
                  <a:cubicBezTo>
                    <a:pt x="12634" y="6554"/>
                    <a:pt x="11217" y="4884"/>
                    <a:pt x="9326" y="4506"/>
                  </a:cubicBezTo>
                  <a:lnTo>
                    <a:pt x="9326" y="4222"/>
                  </a:lnTo>
                  <a:cubicBezTo>
                    <a:pt x="9074" y="1891"/>
                    <a:pt x="7121" y="1"/>
                    <a:pt x="46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3" name="Google Shape;6743;p73"/>
            <p:cNvSpPr/>
            <p:nvPr/>
          </p:nvSpPr>
          <p:spPr>
            <a:xfrm>
              <a:off x="-62335475" y="2438075"/>
              <a:ext cx="62250" cy="145750"/>
            </a:xfrm>
            <a:custGeom>
              <a:avLst/>
              <a:gdLst/>
              <a:ahLst/>
              <a:cxnLst/>
              <a:rect l="l" t="t" r="r" b="b"/>
              <a:pathLst>
                <a:path w="2490" h="5830" extrusionOk="0">
                  <a:moveTo>
                    <a:pt x="1261" y="1"/>
                  </a:moveTo>
                  <a:cubicBezTo>
                    <a:pt x="1009" y="1"/>
                    <a:pt x="820" y="190"/>
                    <a:pt x="820" y="410"/>
                  </a:cubicBezTo>
                  <a:lnTo>
                    <a:pt x="820" y="694"/>
                  </a:lnTo>
                  <a:cubicBezTo>
                    <a:pt x="348" y="851"/>
                    <a:pt x="1" y="1324"/>
                    <a:pt x="1" y="1891"/>
                  </a:cubicBezTo>
                  <a:cubicBezTo>
                    <a:pt x="1" y="2553"/>
                    <a:pt x="537" y="2931"/>
                    <a:pt x="978" y="3246"/>
                  </a:cubicBezTo>
                  <a:cubicBezTo>
                    <a:pt x="1293" y="3498"/>
                    <a:pt x="1639" y="3718"/>
                    <a:pt x="1639" y="3970"/>
                  </a:cubicBezTo>
                  <a:cubicBezTo>
                    <a:pt x="1671" y="4191"/>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20"/>
                  </a:lnTo>
                  <a:cubicBezTo>
                    <a:pt x="820" y="5672"/>
                    <a:pt x="1009" y="5829"/>
                    <a:pt x="1261" y="5829"/>
                  </a:cubicBezTo>
                  <a:cubicBezTo>
                    <a:pt x="1482" y="5829"/>
                    <a:pt x="1639" y="5609"/>
                    <a:pt x="1639" y="5420"/>
                  </a:cubicBezTo>
                  <a:lnTo>
                    <a:pt x="1639" y="5136"/>
                  </a:lnTo>
                  <a:cubicBezTo>
                    <a:pt x="2112" y="4978"/>
                    <a:pt x="2458" y="4506"/>
                    <a:pt x="2458" y="3970"/>
                  </a:cubicBezTo>
                  <a:cubicBezTo>
                    <a:pt x="2458" y="3309"/>
                    <a:pt x="1923" y="2899"/>
                    <a:pt x="1482" y="2584"/>
                  </a:cubicBezTo>
                  <a:cubicBezTo>
                    <a:pt x="1167" y="2364"/>
                    <a:pt x="820" y="2112"/>
                    <a:pt x="820" y="1891"/>
                  </a:cubicBezTo>
                  <a:cubicBezTo>
                    <a:pt x="820" y="1639"/>
                    <a:pt x="1009" y="1450"/>
                    <a:pt x="1261" y="1450"/>
                  </a:cubicBezTo>
                  <a:cubicBezTo>
                    <a:pt x="1482" y="1450"/>
                    <a:pt x="1639" y="1639"/>
                    <a:pt x="1639" y="1891"/>
                  </a:cubicBezTo>
                  <a:cubicBezTo>
                    <a:pt x="1639" y="2112"/>
                    <a:pt x="1860" y="2301"/>
                    <a:pt x="2049" y="2301"/>
                  </a:cubicBezTo>
                  <a:cubicBezTo>
                    <a:pt x="2269" y="2301"/>
                    <a:pt x="2490" y="2112"/>
                    <a:pt x="2490" y="1891"/>
                  </a:cubicBezTo>
                  <a:cubicBezTo>
                    <a:pt x="2490" y="1324"/>
                    <a:pt x="2112" y="883"/>
                    <a:pt x="1639" y="694"/>
                  </a:cubicBezTo>
                  <a:lnTo>
                    <a:pt x="1639" y="410"/>
                  </a:lnTo>
                  <a:cubicBezTo>
                    <a:pt x="1639" y="190"/>
                    <a:pt x="1450"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44" name="Google Shape;6744;p73"/>
          <p:cNvGrpSpPr/>
          <p:nvPr/>
        </p:nvGrpSpPr>
        <p:grpSpPr>
          <a:xfrm>
            <a:off x="5283110" y="3337851"/>
            <a:ext cx="490788" cy="445869"/>
            <a:chOff x="-62518200" y="2692475"/>
            <a:chExt cx="318225" cy="289100"/>
          </a:xfrm>
        </p:grpSpPr>
        <p:sp>
          <p:nvSpPr>
            <p:cNvPr id="6745" name="Google Shape;6745;p73"/>
            <p:cNvSpPr/>
            <p:nvPr/>
          </p:nvSpPr>
          <p:spPr>
            <a:xfrm>
              <a:off x="-62518200" y="2692475"/>
              <a:ext cx="318225" cy="289100"/>
            </a:xfrm>
            <a:custGeom>
              <a:avLst/>
              <a:gdLst/>
              <a:ahLst/>
              <a:cxnLst/>
              <a:rect l="l" t="t" r="r" b="b"/>
              <a:pathLst>
                <a:path w="12729" h="11564" extrusionOk="0">
                  <a:moveTo>
                    <a:pt x="3750" y="851"/>
                  </a:moveTo>
                  <a:cubicBezTo>
                    <a:pt x="5420" y="851"/>
                    <a:pt x="6617" y="1513"/>
                    <a:pt x="6617" y="2112"/>
                  </a:cubicBezTo>
                  <a:cubicBezTo>
                    <a:pt x="6617" y="2679"/>
                    <a:pt x="5420" y="3309"/>
                    <a:pt x="3750" y="3309"/>
                  </a:cubicBezTo>
                  <a:cubicBezTo>
                    <a:pt x="2206" y="3309"/>
                    <a:pt x="851" y="2679"/>
                    <a:pt x="851" y="2112"/>
                  </a:cubicBezTo>
                  <a:cubicBezTo>
                    <a:pt x="851" y="1481"/>
                    <a:pt x="2112" y="851"/>
                    <a:pt x="3750" y="851"/>
                  </a:cubicBezTo>
                  <a:close/>
                  <a:moveTo>
                    <a:pt x="6617" y="3403"/>
                  </a:moveTo>
                  <a:lnTo>
                    <a:pt x="6617" y="3781"/>
                  </a:lnTo>
                  <a:cubicBezTo>
                    <a:pt x="5829" y="4222"/>
                    <a:pt x="5199" y="4884"/>
                    <a:pt x="4821" y="5672"/>
                  </a:cubicBezTo>
                  <a:cubicBezTo>
                    <a:pt x="4475" y="5766"/>
                    <a:pt x="4096" y="5766"/>
                    <a:pt x="3750" y="5766"/>
                  </a:cubicBezTo>
                  <a:cubicBezTo>
                    <a:pt x="2206" y="5766"/>
                    <a:pt x="851" y="5136"/>
                    <a:pt x="851" y="4506"/>
                  </a:cubicBezTo>
                  <a:lnTo>
                    <a:pt x="851" y="3403"/>
                  </a:lnTo>
                  <a:cubicBezTo>
                    <a:pt x="1639" y="3939"/>
                    <a:pt x="2742" y="4159"/>
                    <a:pt x="3750" y="4159"/>
                  </a:cubicBezTo>
                  <a:cubicBezTo>
                    <a:pt x="4727" y="4159"/>
                    <a:pt x="5829" y="3939"/>
                    <a:pt x="6617" y="3403"/>
                  </a:cubicBezTo>
                  <a:close/>
                  <a:moveTo>
                    <a:pt x="883" y="5913"/>
                  </a:moveTo>
                  <a:cubicBezTo>
                    <a:pt x="1396" y="6254"/>
                    <a:pt x="2361" y="6617"/>
                    <a:pt x="3750" y="6617"/>
                  </a:cubicBezTo>
                  <a:cubicBezTo>
                    <a:pt x="4033" y="6617"/>
                    <a:pt x="4254" y="6617"/>
                    <a:pt x="4538" y="6585"/>
                  </a:cubicBezTo>
                  <a:lnTo>
                    <a:pt x="4538" y="6585"/>
                  </a:lnTo>
                  <a:cubicBezTo>
                    <a:pt x="4475" y="6869"/>
                    <a:pt x="4475" y="7184"/>
                    <a:pt x="4475" y="7467"/>
                  </a:cubicBezTo>
                  <a:cubicBezTo>
                    <a:pt x="4475" y="7719"/>
                    <a:pt x="4506" y="7971"/>
                    <a:pt x="4538" y="8255"/>
                  </a:cubicBezTo>
                  <a:cubicBezTo>
                    <a:pt x="4317" y="8287"/>
                    <a:pt x="4033" y="8287"/>
                    <a:pt x="3781" y="8287"/>
                  </a:cubicBezTo>
                  <a:cubicBezTo>
                    <a:pt x="2269" y="8287"/>
                    <a:pt x="883" y="7656"/>
                    <a:pt x="883" y="7026"/>
                  </a:cubicBezTo>
                  <a:lnTo>
                    <a:pt x="883" y="5913"/>
                  </a:lnTo>
                  <a:close/>
                  <a:moveTo>
                    <a:pt x="851" y="8350"/>
                  </a:moveTo>
                  <a:cubicBezTo>
                    <a:pt x="1639" y="8917"/>
                    <a:pt x="2773" y="9106"/>
                    <a:pt x="3750" y="9106"/>
                  </a:cubicBezTo>
                  <a:cubicBezTo>
                    <a:pt x="4096" y="9106"/>
                    <a:pt x="4412" y="9074"/>
                    <a:pt x="4727" y="9043"/>
                  </a:cubicBezTo>
                  <a:cubicBezTo>
                    <a:pt x="4979" y="9547"/>
                    <a:pt x="5294" y="10019"/>
                    <a:pt x="5672" y="10397"/>
                  </a:cubicBezTo>
                  <a:cubicBezTo>
                    <a:pt x="5136" y="10649"/>
                    <a:pt x="4475" y="10775"/>
                    <a:pt x="3750" y="10775"/>
                  </a:cubicBezTo>
                  <a:cubicBezTo>
                    <a:pt x="2112" y="10775"/>
                    <a:pt x="851" y="10082"/>
                    <a:pt x="851" y="9547"/>
                  </a:cubicBezTo>
                  <a:lnTo>
                    <a:pt x="851" y="8350"/>
                  </a:lnTo>
                  <a:close/>
                  <a:moveTo>
                    <a:pt x="8570" y="4159"/>
                  </a:moveTo>
                  <a:cubicBezTo>
                    <a:pt x="10366" y="4159"/>
                    <a:pt x="11878" y="5640"/>
                    <a:pt x="11878" y="7467"/>
                  </a:cubicBezTo>
                  <a:cubicBezTo>
                    <a:pt x="11878" y="9263"/>
                    <a:pt x="10366" y="10775"/>
                    <a:pt x="8570" y="10775"/>
                  </a:cubicBezTo>
                  <a:cubicBezTo>
                    <a:pt x="6743" y="10775"/>
                    <a:pt x="5262" y="9263"/>
                    <a:pt x="5262" y="7467"/>
                  </a:cubicBezTo>
                  <a:cubicBezTo>
                    <a:pt x="5262" y="5609"/>
                    <a:pt x="6743" y="4159"/>
                    <a:pt x="8570" y="4159"/>
                  </a:cubicBezTo>
                  <a:close/>
                  <a:moveTo>
                    <a:pt x="3781" y="1"/>
                  </a:moveTo>
                  <a:cubicBezTo>
                    <a:pt x="1797" y="1"/>
                    <a:pt x="64" y="851"/>
                    <a:pt x="64" y="2112"/>
                  </a:cubicBezTo>
                  <a:lnTo>
                    <a:pt x="64" y="9547"/>
                  </a:lnTo>
                  <a:cubicBezTo>
                    <a:pt x="1" y="10082"/>
                    <a:pt x="442" y="10649"/>
                    <a:pt x="1230" y="11027"/>
                  </a:cubicBezTo>
                  <a:cubicBezTo>
                    <a:pt x="1891" y="11405"/>
                    <a:pt x="2805" y="11563"/>
                    <a:pt x="3750" y="11563"/>
                  </a:cubicBezTo>
                  <a:cubicBezTo>
                    <a:pt x="4790" y="11563"/>
                    <a:pt x="5735" y="11311"/>
                    <a:pt x="6428" y="10964"/>
                  </a:cubicBezTo>
                  <a:cubicBezTo>
                    <a:pt x="7058" y="11342"/>
                    <a:pt x="7814" y="11563"/>
                    <a:pt x="8602" y="11563"/>
                  </a:cubicBezTo>
                  <a:cubicBezTo>
                    <a:pt x="10870" y="11563"/>
                    <a:pt x="12729" y="9704"/>
                    <a:pt x="12729" y="7404"/>
                  </a:cubicBezTo>
                  <a:cubicBezTo>
                    <a:pt x="12729" y="5136"/>
                    <a:pt x="10870" y="3277"/>
                    <a:pt x="8602" y="3277"/>
                  </a:cubicBezTo>
                  <a:cubicBezTo>
                    <a:pt x="8192" y="3277"/>
                    <a:pt x="7846" y="3309"/>
                    <a:pt x="7499" y="3435"/>
                  </a:cubicBezTo>
                  <a:lnTo>
                    <a:pt x="7499" y="2049"/>
                  </a:lnTo>
                  <a:cubicBezTo>
                    <a:pt x="7499" y="1481"/>
                    <a:pt x="7058" y="914"/>
                    <a:pt x="6302" y="536"/>
                  </a:cubicBezTo>
                  <a:cubicBezTo>
                    <a:pt x="5640" y="158"/>
                    <a:pt x="4727"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6" name="Google Shape;6746;p73"/>
            <p:cNvSpPr/>
            <p:nvPr/>
          </p:nvSpPr>
          <p:spPr>
            <a:xfrm>
              <a:off x="-62335475" y="2804325"/>
              <a:ext cx="62250" cy="146525"/>
            </a:xfrm>
            <a:custGeom>
              <a:avLst/>
              <a:gdLst/>
              <a:ahLst/>
              <a:cxnLst/>
              <a:rect l="l" t="t" r="r" b="b"/>
              <a:pathLst>
                <a:path w="2490" h="5861" extrusionOk="0">
                  <a:moveTo>
                    <a:pt x="1261" y="0"/>
                  </a:moveTo>
                  <a:cubicBezTo>
                    <a:pt x="1009" y="0"/>
                    <a:pt x="820" y="189"/>
                    <a:pt x="820" y="410"/>
                  </a:cubicBezTo>
                  <a:lnTo>
                    <a:pt x="820" y="694"/>
                  </a:lnTo>
                  <a:cubicBezTo>
                    <a:pt x="348" y="851"/>
                    <a:pt x="1" y="1324"/>
                    <a:pt x="1" y="1891"/>
                  </a:cubicBezTo>
                  <a:cubicBezTo>
                    <a:pt x="1" y="2552"/>
                    <a:pt x="537" y="2930"/>
                    <a:pt x="978" y="3245"/>
                  </a:cubicBezTo>
                  <a:cubicBezTo>
                    <a:pt x="1293" y="3497"/>
                    <a:pt x="1639" y="3718"/>
                    <a:pt x="1639" y="3970"/>
                  </a:cubicBezTo>
                  <a:cubicBezTo>
                    <a:pt x="1671" y="4254"/>
                    <a:pt x="1482" y="4411"/>
                    <a:pt x="1261" y="4411"/>
                  </a:cubicBezTo>
                  <a:cubicBezTo>
                    <a:pt x="1009" y="4411"/>
                    <a:pt x="820" y="4191"/>
                    <a:pt x="820" y="3970"/>
                  </a:cubicBezTo>
                  <a:cubicBezTo>
                    <a:pt x="820" y="3718"/>
                    <a:pt x="631" y="3529"/>
                    <a:pt x="411" y="3529"/>
                  </a:cubicBezTo>
                  <a:cubicBezTo>
                    <a:pt x="190" y="3529"/>
                    <a:pt x="1" y="3718"/>
                    <a:pt x="1" y="3970"/>
                  </a:cubicBezTo>
                  <a:cubicBezTo>
                    <a:pt x="1" y="4506"/>
                    <a:pt x="348" y="4947"/>
                    <a:pt x="820" y="5136"/>
                  </a:cubicBezTo>
                  <a:lnTo>
                    <a:pt x="820" y="5419"/>
                  </a:lnTo>
                  <a:cubicBezTo>
                    <a:pt x="820" y="5671"/>
                    <a:pt x="1009" y="5860"/>
                    <a:pt x="1261" y="5860"/>
                  </a:cubicBezTo>
                  <a:cubicBezTo>
                    <a:pt x="1482" y="5860"/>
                    <a:pt x="1639" y="5671"/>
                    <a:pt x="1639" y="5419"/>
                  </a:cubicBezTo>
                  <a:lnTo>
                    <a:pt x="1639" y="5136"/>
                  </a:lnTo>
                  <a:cubicBezTo>
                    <a:pt x="2112" y="4978"/>
                    <a:pt x="2458" y="4506"/>
                    <a:pt x="2458" y="3970"/>
                  </a:cubicBezTo>
                  <a:cubicBezTo>
                    <a:pt x="2458" y="3308"/>
                    <a:pt x="1923" y="2899"/>
                    <a:pt x="1482" y="2584"/>
                  </a:cubicBezTo>
                  <a:cubicBezTo>
                    <a:pt x="1167" y="2363"/>
                    <a:pt x="820" y="2111"/>
                    <a:pt x="820" y="1891"/>
                  </a:cubicBezTo>
                  <a:cubicBezTo>
                    <a:pt x="820" y="1639"/>
                    <a:pt x="1009" y="1450"/>
                    <a:pt x="1261" y="1450"/>
                  </a:cubicBezTo>
                  <a:cubicBezTo>
                    <a:pt x="1482" y="1450"/>
                    <a:pt x="1639" y="1639"/>
                    <a:pt x="1639" y="1891"/>
                  </a:cubicBezTo>
                  <a:cubicBezTo>
                    <a:pt x="1639" y="2111"/>
                    <a:pt x="1860" y="2300"/>
                    <a:pt x="2049" y="2300"/>
                  </a:cubicBezTo>
                  <a:cubicBezTo>
                    <a:pt x="2269" y="2300"/>
                    <a:pt x="2490" y="2111"/>
                    <a:pt x="2490" y="1891"/>
                  </a:cubicBezTo>
                  <a:cubicBezTo>
                    <a:pt x="2490" y="1324"/>
                    <a:pt x="2112" y="883"/>
                    <a:pt x="1639" y="694"/>
                  </a:cubicBezTo>
                  <a:lnTo>
                    <a:pt x="1639" y="410"/>
                  </a:lnTo>
                  <a:cubicBezTo>
                    <a:pt x="1639" y="189"/>
                    <a:pt x="1450"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47" name="Google Shape;6747;p73"/>
          <p:cNvGrpSpPr/>
          <p:nvPr/>
        </p:nvGrpSpPr>
        <p:grpSpPr>
          <a:xfrm>
            <a:off x="3531982" y="3947883"/>
            <a:ext cx="413057" cy="487125"/>
            <a:chOff x="-60597975" y="1939525"/>
            <a:chExt cx="267825" cy="315850"/>
          </a:xfrm>
        </p:grpSpPr>
        <p:sp>
          <p:nvSpPr>
            <p:cNvPr id="6748" name="Google Shape;6748;p73"/>
            <p:cNvSpPr/>
            <p:nvPr/>
          </p:nvSpPr>
          <p:spPr>
            <a:xfrm>
              <a:off x="-60597975" y="1939525"/>
              <a:ext cx="267825" cy="315850"/>
            </a:xfrm>
            <a:custGeom>
              <a:avLst/>
              <a:gdLst/>
              <a:ahLst/>
              <a:cxnLst/>
              <a:rect l="l" t="t" r="r" b="b"/>
              <a:pathLst>
                <a:path w="10713" h="12634" extrusionOk="0">
                  <a:moveTo>
                    <a:pt x="7436" y="788"/>
                  </a:moveTo>
                  <a:lnTo>
                    <a:pt x="7436" y="1859"/>
                  </a:lnTo>
                  <a:cubicBezTo>
                    <a:pt x="7310" y="1733"/>
                    <a:pt x="7247" y="1607"/>
                    <a:pt x="6995" y="1607"/>
                  </a:cubicBezTo>
                  <a:cubicBezTo>
                    <a:pt x="6806" y="1607"/>
                    <a:pt x="6743" y="1733"/>
                    <a:pt x="6617" y="1859"/>
                  </a:cubicBezTo>
                  <a:lnTo>
                    <a:pt x="6617" y="788"/>
                  </a:lnTo>
                  <a:close/>
                  <a:moveTo>
                    <a:pt x="9515" y="788"/>
                  </a:moveTo>
                  <a:cubicBezTo>
                    <a:pt x="9767" y="788"/>
                    <a:pt x="9925" y="977"/>
                    <a:pt x="9925" y="1197"/>
                  </a:cubicBezTo>
                  <a:lnTo>
                    <a:pt x="9925" y="4222"/>
                  </a:lnTo>
                  <a:lnTo>
                    <a:pt x="2490" y="4222"/>
                  </a:lnTo>
                  <a:lnTo>
                    <a:pt x="2490" y="788"/>
                  </a:lnTo>
                  <a:lnTo>
                    <a:pt x="5798" y="788"/>
                  </a:lnTo>
                  <a:lnTo>
                    <a:pt x="5798" y="2867"/>
                  </a:lnTo>
                  <a:cubicBezTo>
                    <a:pt x="5798" y="3119"/>
                    <a:pt x="5980" y="3287"/>
                    <a:pt x="6185" y="3287"/>
                  </a:cubicBezTo>
                  <a:cubicBezTo>
                    <a:pt x="6288" y="3287"/>
                    <a:pt x="6396" y="3245"/>
                    <a:pt x="6491" y="3151"/>
                  </a:cubicBezTo>
                  <a:lnTo>
                    <a:pt x="7058" y="2615"/>
                  </a:lnTo>
                  <a:lnTo>
                    <a:pt x="7594" y="3151"/>
                  </a:lnTo>
                  <a:cubicBezTo>
                    <a:pt x="7688" y="3245"/>
                    <a:pt x="7800" y="3287"/>
                    <a:pt x="7907" y="3287"/>
                  </a:cubicBezTo>
                  <a:cubicBezTo>
                    <a:pt x="8122" y="3287"/>
                    <a:pt x="8318" y="3119"/>
                    <a:pt x="8318" y="2867"/>
                  </a:cubicBezTo>
                  <a:lnTo>
                    <a:pt x="8318" y="788"/>
                  </a:lnTo>
                  <a:close/>
                  <a:moveTo>
                    <a:pt x="9925" y="5041"/>
                  </a:moveTo>
                  <a:lnTo>
                    <a:pt x="9925" y="8349"/>
                  </a:lnTo>
                  <a:lnTo>
                    <a:pt x="2490" y="8349"/>
                  </a:lnTo>
                  <a:lnTo>
                    <a:pt x="2490" y="5041"/>
                  </a:lnTo>
                  <a:close/>
                  <a:moveTo>
                    <a:pt x="9925" y="9168"/>
                  </a:moveTo>
                  <a:lnTo>
                    <a:pt x="9925" y="11373"/>
                  </a:lnTo>
                  <a:cubicBezTo>
                    <a:pt x="9925" y="11625"/>
                    <a:pt x="9736" y="11783"/>
                    <a:pt x="9515" y="11783"/>
                  </a:cubicBezTo>
                  <a:lnTo>
                    <a:pt x="2490" y="11783"/>
                  </a:lnTo>
                  <a:lnTo>
                    <a:pt x="2490" y="9168"/>
                  </a:lnTo>
                  <a:close/>
                  <a:moveTo>
                    <a:pt x="1639" y="788"/>
                  </a:moveTo>
                  <a:lnTo>
                    <a:pt x="1639" y="11814"/>
                  </a:lnTo>
                  <a:lnTo>
                    <a:pt x="820" y="11814"/>
                  </a:lnTo>
                  <a:lnTo>
                    <a:pt x="820" y="788"/>
                  </a:lnTo>
                  <a:close/>
                  <a:moveTo>
                    <a:pt x="379" y="0"/>
                  </a:moveTo>
                  <a:cubicBezTo>
                    <a:pt x="158" y="0"/>
                    <a:pt x="1" y="189"/>
                    <a:pt x="1" y="410"/>
                  </a:cubicBezTo>
                  <a:lnTo>
                    <a:pt x="1" y="12256"/>
                  </a:lnTo>
                  <a:cubicBezTo>
                    <a:pt x="1" y="12445"/>
                    <a:pt x="190" y="12634"/>
                    <a:pt x="379" y="12634"/>
                  </a:cubicBezTo>
                  <a:lnTo>
                    <a:pt x="9484" y="12634"/>
                  </a:lnTo>
                  <a:cubicBezTo>
                    <a:pt x="10146" y="12634"/>
                    <a:pt x="10713" y="12098"/>
                    <a:pt x="10713" y="11436"/>
                  </a:cubicBezTo>
                  <a:lnTo>
                    <a:pt x="10713" y="1229"/>
                  </a:lnTo>
                  <a:cubicBezTo>
                    <a:pt x="10713" y="567"/>
                    <a:pt x="10177" y="0"/>
                    <a:pt x="948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49" name="Google Shape;6749;p73"/>
            <p:cNvSpPr/>
            <p:nvPr/>
          </p:nvSpPr>
          <p:spPr>
            <a:xfrm>
              <a:off x="-60494775" y="2097050"/>
              <a:ext cx="103175" cy="20500"/>
            </a:xfrm>
            <a:custGeom>
              <a:avLst/>
              <a:gdLst/>
              <a:ahLst/>
              <a:cxnLst/>
              <a:rect l="l" t="t" r="r" b="b"/>
              <a:pathLst>
                <a:path w="4127" h="820" extrusionOk="0">
                  <a:moveTo>
                    <a:pt x="410" y="0"/>
                  </a:moveTo>
                  <a:cubicBezTo>
                    <a:pt x="158" y="0"/>
                    <a:pt x="0" y="189"/>
                    <a:pt x="0" y="410"/>
                  </a:cubicBezTo>
                  <a:cubicBezTo>
                    <a:pt x="0" y="630"/>
                    <a:pt x="189" y="819"/>
                    <a:pt x="410" y="819"/>
                  </a:cubicBezTo>
                  <a:lnTo>
                    <a:pt x="3718" y="819"/>
                  </a:lnTo>
                  <a:cubicBezTo>
                    <a:pt x="3938" y="819"/>
                    <a:pt x="4127" y="630"/>
                    <a:pt x="4127" y="410"/>
                  </a:cubicBezTo>
                  <a:cubicBezTo>
                    <a:pt x="4127" y="158"/>
                    <a:pt x="3938" y="0"/>
                    <a:pt x="37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50" name="Google Shape;6750;p73"/>
          <p:cNvGrpSpPr/>
          <p:nvPr/>
        </p:nvGrpSpPr>
        <p:grpSpPr>
          <a:xfrm>
            <a:off x="3492519" y="4527117"/>
            <a:ext cx="491983" cy="491367"/>
            <a:chOff x="-60620800" y="2304600"/>
            <a:chExt cx="319000" cy="318600"/>
          </a:xfrm>
        </p:grpSpPr>
        <p:sp>
          <p:nvSpPr>
            <p:cNvPr id="6751" name="Google Shape;6751;p73"/>
            <p:cNvSpPr/>
            <p:nvPr/>
          </p:nvSpPr>
          <p:spPr>
            <a:xfrm>
              <a:off x="-60620800" y="2304600"/>
              <a:ext cx="319000" cy="318600"/>
            </a:xfrm>
            <a:custGeom>
              <a:avLst/>
              <a:gdLst/>
              <a:ahLst/>
              <a:cxnLst/>
              <a:rect l="l" t="t" r="r" b="b"/>
              <a:pathLst>
                <a:path w="12760" h="12744" extrusionOk="0">
                  <a:moveTo>
                    <a:pt x="10939" y="845"/>
                  </a:moveTo>
                  <a:cubicBezTo>
                    <a:pt x="10969" y="845"/>
                    <a:pt x="11001" y="853"/>
                    <a:pt x="11027" y="866"/>
                  </a:cubicBezTo>
                  <a:lnTo>
                    <a:pt x="11752" y="1276"/>
                  </a:lnTo>
                  <a:cubicBezTo>
                    <a:pt x="11783" y="1339"/>
                    <a:pt x="11815" y="1433"/>
                    <a:pt x="11783" y="1465"/>
                  </a:cubicBezTo>
                  <a:lnTo>
                    <a:pt x="11437" y="2063"/>
                  </a:lnTo>
                  <a:lnTo>
                    <a:pt x="10491" y="1496"/>
                  </a:lnTo>
                  <a:lnTo>
                    <a:pt x="10838" y="898"/>
                  </a:lnTo>
                  <a:cubicBezTo>
                    <a:pt x="10856" y="861"/>
                    <a:pt x="10897" y="845"/>
                    <a:pt x="10939" y="845"/>
                  </a:cubicBezTo>
                  <a:close/>
                  <a:moveTo>
                    <a:pt x="10050" y="2252"/>
                  </a:moveTo>
                  <a:lnTo>
                    <a:pt x="10995" y="2819"/>
                  </a:lnTo>
                  <a:lnTo>
                    <a:pt x="8916" y="6379"/>
                  </a:lnTo>
                  <a:lnTo>
                    <a:pt x="7971" y="5844"/>
                  </a:lnTo>
                  <a:lnTo>
                    <a:pt x="10050" y="2252"/>
                  </a:lnTo>
                  <a:close/>
                  <a:moveTo>
                    <a:pt x="7813" y="6663"/>
                  </a:moveTo>
                  <a:lnTo>
                    <a:pt x="8318" y="6978"/>
                  </a:lnTo>
                  <a:lnTo>
                    <a:pt x="7782" y="7324"/>
                  </a:lnTo>
                  <a:lnTo>
                    <a:pt x="7813" y="6663"/>
                  </a:lnTo>
                  <a:close/>
                  <a:moveTo>
                    <a:pt x="11342" y="5245"/>
                  </a:moveTo>
                  <a:cubicBezTo>
                    <a:pt x="11594" y="5245"/>
                    <a:pt x="11752" y="5434"/>
                    <a:pt x="11752" y="5686"/>
                  </a:cubicBezTo>
                  <a:lnTo>
                    <a:pt x="11752" y="11483"/>
                  </a:lnTo>
                  <a:cubicBezTo>
                    <a:pt x="11752" y="11704"/>
                    <a:pt x="11531" y="11893"/>
                    <a:pt x="11342" y="11893"/>
                  </a:cubicBezTo>
                  <a:lnTo>
                    <a:pt x="1197" y="11893"/>
                  </a:lnTo>
                  <a:cubicBezTo>
                    <a:pt x="945" y="11893"/>
                    <a:pt x="788" y="11704"/>
                    <a:pt x="788" y="11483"/>
                  </a:cubicBezTo>
                  <a:lnTo>
                    <a:pt x="788" y="5686"/>
                  </a:lnTo>
                  <a:cubicBezTo>
                    <a:pt x="788" y="5434"/>
                    <a:pt x="977" y="5245"/>
                    <a:pt x="1197" y="5245"/>
                  </a:cubicBezTo>
                  <a:lnTo>
                    <a:pt x="7372" y="5245"/>
                  </a:lnTo>
                  <a:lnTo>
                    <a:pt x="7057" y="5749"/>
                  </a:lnTo>
                  <a:cubicBezTo>
                    <a:pt x="7026" y="5812"/>
                    <a:pt x="7026" y="5875"/>
                    <a:pt x="7026" y="5970"/>
                  </a:cubicBezTo>
                  <a:lnTo>
                    <a:pt x="6900" y="7734"/>
                  </a:lnTo>
                  <a:lnTo>
                    <a:pt x="5545" y="7734"/>
                  </a:lnTo>
                  <a:cubicBezTo>
                    <a:pt x="5325" y="7734"/>
                    <a:pt x="5167" y="7923"/>
                    <a:pt x="5167" y="8175"/>
                  </a:cubicBezTo>
                  <a:cubicBezTo>
                    <a:pt x="5167" y="8396"/>
                    <a:pt x="5356" y="8585"/>
                    <a:pt x="5545" y="8585"/>
                  </a:cubicBezTo>
                  <a:lnTo>
                    <a:pt x="10523" y="8585"/>
                  </a:lnTo>
                  <a:cubicBezTo>
                    <a:pt x="10743" y="8585"/>
                    <a:pt x="10964" y="8396"/>
                    <a:pt x="10964" y="8175"/>
                  </a:cubicBezTo>
                  <a:cubicBezTo>
                    <a:pt x="10964" y="7923"/>
                    <a:pt x="10743" y="7734"/>
                    <a:pt x="10523" y="7734"/>
                  </a:cubicBezTo>
                  <a:lnTo>
                    <a:pt x="8633" y="7734"/>
                  </a:lnTo>
                  <a:lnTo>
                    <a:pt x="9294" y="7293"/>
                  </a:lnTo>
                  <a:cubicBezTo>
                    <a:pt x="9326" y="7261"/>
                    <a:pt x="9420" y="7230"/>
                    <a:pt x="9420" y="7135"/>
                  </a:cubicBezTo>
                  <a:lnTo>
                    <a:pt x="10523" y="5245"/>
                  </a:lnTo>
                  <a:close/>
                  <a:moveTo>
                    <a:pt x="10933" y="0"/>
                  </a:moveTo>
                  <a:cubicBezTo>
                    <a:pt x="10599" y="0"/>
                    <a:pt x="10280" y="175"/>
                    <a:pt x="10113" y="488"/>
                  </a:cubicBezTo>
                  <a:lnTo>
                    <a:pt x="9578" y="1433"/>
                  </a:lnTo>
                  <a:lnTo>
                    <a:pt x="7877" y="4395"/>
                  </a:lnTo>
                  <a:lnTo>
                    <a:pt x="1229" y="4395"/>
                  </a:lnTo>
                  <a:cubicBezTo>
                    <a:pt x="567" y="4395"/>
                    <a:pt x="0" y="4930"/>
                    <a:pt x="0" y="5592"/>
                  </a:cubicBezTo>
                  <a:lnTo>
                    <a:pt x="0" y="11483"/>
                  </a:lnTo>
                  <a:cubicBezTo>
                    <a:pt x="0" y="12145"/>
                    <a:pt x="567" y="12743"/>
                    <a:pt x="1229" y="12743"/>
                  </a:cubicBezTo>
                  <a:lnTo>
                    <a:pt x="11374" y="12743"/>
                  </a:lnTo>
                  <a:cubicBezTo>
                    <a:pt x="12067" y="12743"/>
                    <a:pt x="12602" y="12176"/>
                    <a:pt x="12602" y="11483"/>
                  </a:cubicBezTo>
                  <a:lnTo>
                    <a:pt x="12602" y="5686"/>
                  </a:lnTo>
                  <a:cubicBezTo>
                    <a:pt x="12602" y="5025"/>
                    <a:pt x="12067" y="4458"/>
                    <a:pt x="11374" y="4458"/>
                  </a:cubicBezTo>
                  <a:lnTo>
                    <a:pt x="11027" y="4458"/>
                  </a:lnTo>
                  <a:lnTo>
                    <a:pt x="12508" y="1937"/>
                  </a:lnTo>
                  <a:cubicBezTo>
                    <a:pt x="12760" y="1433"/>
                    <a:pt x="12602" y="835"/>
                    <a:pt x="12130" y="551"/>
                  </a:cubicBezTo>
                  <a:lnTo>
                    <a:pt x="11437" y="141"/>
                  </a:lnTo>
                  <a:cubicBezTo>
                    <a:pt x="11277" y="46"/>
                    <a:pt x="11103" y="0"/>
                    <a:pt x="10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2" name="Google Shape;6752;p73"/>
            <p:cNvSpPr/>
            <p:nvPr/>
          </p:nvSpPr>
          <p:spPr>
            <a:xfrm>
              <a:off x="-60491625" y="2560150"/>
              <a:ext cx="144925" cy="20525"/>
            </a:xfrm>
            <a:custGeom>
              <a:avLst/>
              <a:gdLst/>
              <a:ahLst/>
              <a:cxnLst/>
              <a:rect l="l" t="t" r="r" b="b"/>
              <a:pathLst>
                <a:path w="5797" h="821" extrusionOk="0">
                  <a:moveTo>
                    <a:pt x="378" y="1"/>
                  </a:moveTo>
                  <a:cubicBezTo>
                    <a:pt x="158" y="1"/>
                    <a:pt x="0" y="190"/>
                    <a:pt x="0" y="411"/>
                  </a:cubicBezTo>
                  <a:cubicBezTo>
                    <a:pt x="0" y="663"/>
                    <a:pt x="189" y="820"/>
                    <a:pt x="378" y="820"/>
                  </a:cubicBezTo>
                  <a:lnTo>
                    <a:pt x="5356" y="820"/>
                  </a:lnTo>
                  <a:cubicBezTo>
                    <a:pt x="5576" y="820"/>
                    <a:pt x="5797" y="631"/>
                    <a:pt x="5797" y="411"/>
                  </a:cubicBezTo>
                  <a:cubicBezTo>
                    <a:pt x="5797" y="190"/>
                    <a:pt x="5576" y="1"/>
                    <a:pt x="53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3" name="Google Shape;6753;p73"/>
            <p:cNvSpPr/>
            <p:nvPr/>
          </p:nvSpPr>
          <p:spPr>
            <a:xfrm>
              <a:off x="-60573550" y="2445950"/>
              <a:ext cx="62250" cy="146525"/>
            </a:xfrm>
            <a:custGeom>
              <a:avLst/>
              <a:gdLst/>
              <a:ahLst/>
              <a:cxnLst/>
              <a:rect l="l" t="t" r="r" b="b"/>
              <a:pathLst>
                <a:path w="2490" h="5861" extrusionOk="0">
                  <a:moveTo>
                    <a:pt x="1229" y="1"/>
                  </a:moveTo>
                  <a:cubicBezTo>
                    <a:pt x="977" y="1"/>
                    <a:pt x="820" y="190"/>
                    <a:pt x="820" y="410"/>
                  </a:cubicBezTo>
                  <a:lnTo>
                    <a:pt x="820" y="694"/>
                  </a:lnTo>
                  <a:cubicBezTo>
                    <a:pt x="347" y="851"/>
                    <a:pt x="1" y="1324"/>
                    <a:pt x="1" y="1891"/>
                  </a:cubicBezTo>
                  <a:cubicBezTo>
                    <a:pt x="1" y="2553"/>
                    <a:pt x="568" y="2931"/>
                    <a:pt x="977" y="3246"/>
                  </a:cubicBezTo>
                  <a:cubicBezTo>
                    <a:pt x="1292" y="3498"/>
                    <a:pt x="1670" y="3718"/>
                    <a:pt x="1670" y="3970"/>
                  </a:cubicBezTo>
                  <a:cubicBezTo>
                    <a:pt x="1670" y="4191"/>
                    <a:pt x="1450" y="4348"/>
                    <a:pt x="1229" y="4348"/>
                  </a:cubicBezTo>
                  <a:cubicBezTo>
                    <a:pt x="977" y="4348"/>
                    <a:pt x="820" y="4159"/>
                    <a:pt x="820" y="3970"/>
                  </a:cubicBezTo>
                  <a:cubicBezTo>
                    <a:pt x="820" y="3718"/>
                    <a:pt x="631" y="3529"/>
                    <a:pt x="442" y="3529"/>
                  </a:cubicBezTo>
                  <a:cubicBezTo>
                    <a:pt x="190" y="3529"/>
                    <a:pt x="1" y="3718"/>
                    <a:pt x="1" y="3970"/>
                  </a:cubicBezTo>
                  <a:cubicBezTo>
                    <a:pt x="1" y="4506"/>
                    <a:pt x="347" y="4947"/>
                    <a:pt x="820" y="5136"/>
                  </a:cubicBezTo>
                  <a:lnTo>
                    <a:pt x="820" y="5420"/>
                  </a:lnTo>
                  <a:cubicBezTo>
                    <a:pt x="820" y="5672"/>
                    <a:pt x="1040" y="5861"/>
                    <a:pt x="1229" y="5861"/>
                  </a:cubicBezTo>
                  <a:cubicBezTo>
                    <a:pt x="1450" y="5861"/>
                    <a:pt x="1670" y="5672"/>
                    <a:pt x="1670" y="5420"/>
                  </a:cubicBezTo>
                  <a:lnTo>
                    <a:pt x="1670" y="5136"/>
                  </a:lnTo>
                  <a:cubicBezTo>
                    <a:pt x="2143" y="4979"/>
                    <a:pt x="2489" y="4506"/>
                    <a:pt x="2489" y="3970"/>
                  </a:cubicBezTo>
                  <a:cubicBezTo>
                    <a:pt x="2489" y="3309"/>
                    <a:pt x="1922" y="2899"/>
                    <a:pt x="1513" y="2584"/>
                  </a:cubicBezTo>
                  <a:cubicBezTo>
                    <a:pt x="1198" y="2364"/>
                    <a:pt x="820" y="2112"/>
                    <a:pt x="820" y="1891"/>
                  </a:cubicBezTo>
                  <a:cubicBezTo>
                    <a:pt x="788" y="1639"/>
                    <a:pt x="977" y="1450"/>
                    <a:pt x="1229" y="1450"/>
                  </a:cubicBezTo>
                  <a:cubicBezTo>
                    <a:pt x="1450" y="1450"/>
                    <a:pt x="1670" y="1639"/>
                    <a:pt x="1670" y="1891"/>
                  </a:cubicBezTo>
                  <a:cubicBezTo>
                    <a:pt x="1670" y="2112"/>
                    <a:pt x="1859" y="2269"/>
                    <a:pt x="2048" y="2269"/>
                  </a:cubicBezTo>
                  <a:cubicBezTo>
                    <a:pt x="2300" y="2269"/>
                    <a:pt x="2489" y="2080"/>
                    <a:pt x="2489" y="1891"/>
                  </a:cubicBezTo>
                  <a:cubicBezTo>
                    <a:pt x="2489" y="1324"/>
                    <a:pt x="2143" y="883"/>
                    <a:pt x="1670" y="694"/>
                  </a:cubicBezTo>
                  <a:lnTo>
                    <a:pt x="1670" y="410"/>
                  </a:lnTo>
                  <a:cubicBezTo>
                    <a:pt x="1670" y="190"/>
                    <a:pt x="1450"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54" name="Google Shape;6754;p73"/>
          <p:cNvGrpSpPr/>
          <p:nvPr/>
        </p:nvGrpSpPr>
        <p:grpSpPr>
          <a:xfrm>
            <a:off x="3494331" y="5187984"/>
            <a:ext cx="488359" cy="349901"/>
            <a:chOff x="-60621600" y="2716100"/>
            <a:chExt cx="316650" cy="226875"/>
          </a:xfrm>
        </p:grpSpPr>
        <p:sp>
          <p:nvSpPr>
            <p:cNvPr id="6755" name="Google Shape;6755;p73"/>
            <p:cNvSpPr/>
            <p:nvPr/>
          </p:nvSpPr>
          <p:spPr>
            <a:xfrm>
              <a:off x="-60621600" y="2716100"/>
              <a:ext cx="316650" cy="226875"/>
            </a:xfrm>
            <a:custGeom>
              <a:avLst/>
              <a:gdLst/>
              <a:ahLst/>
              <a:cxnLst/>
              <a:rect l="l" t="t" r="r" b="b"/>
              <a:pathLst>
                <a:path w="12666" h="9075" extrusionOk="0">
                  <a:moveTo>
                    <a:pt x="11374" y="789"/>
                  </a:moveTo>
                  <a:cubicBezTo>
                    <a:pt x="11626" y="789"/>
                    <a:pt x="11815" y="1009"/>
                    <a:pt x="11815" y="1230"/>
                  </a:cubicBezTo>
                  <a:lnTo>
                    <a:pt x="11815" y="1671"/>
                  </a:lnTo>
                  <a:lnTo>
                    <a:pt x="788" y="1671"/>
                  </a:lnTo>
                  <a:lnTo>
                    <a:pt x="788" y="1230"/>
                  </a:lnTo>
                  <a:cubicBezTo>
                    <a:pt x="788" y="1009"/>
                    <a:pt x="977" y="789"/>
                    <a:pt x="1166" y="789"/>
                  </a:cubicBezTo>
                  <a:close/>
                  <a:moveTo>
                    <a:pt x="11815" y="2490"/>
                  </a:moveTo>
                  <a:lnTo>
                    <a:pt x="11815" y="7877"/>
                  </a:lnTo>
                  <a:cubicBezTo>
                    <a:pt x="11815" y="8129"/>
                    <a:pt x="11626" y="8318"/>
                    <a:pt x="11374" y="8318"/>
                  </a:cubicBezTo>
                  <a:lnTo>
                    <a:pt x="1166" y="8318"/>
                  </a:lnTo>
                  <a:cubicBezTo>
                    <a:pt x="946" y="8318"/>
                    <a:pt x="788" y="8129"/>
                    <a:pt x="788" y="7877"/>
                  </a:cubicBezTo>
                  <a:lnTo>
                    <a:pt x="788" y="2490"/>
                  </a:lnTo>
                  <a:close/>
                  <a:moveTo>
                    <a:pt x="1229" y="1"/>
                  </a:moveTo>
                  <a:cubicBezTo>
                    <a:pt x="536" y="1"/>
                    <a:pt x="1" y="568"/>
                    <a:pt x="1" y="1230"/>
                  </a:cubicBezTo>
                  <a:lnTo>
                    <a:pt x="1" y="7846"/>
                  </a:lnTo>
                  <a:cubicBezTo>
                    <a:pt x="1" y="8507"/>
                    <a:pt x="536" y="9074"/>
                    <a:pt x="1229" y="9074"/>
                  </a:cubicBezTo>
                  <a:lnTo>
                    <a:pt x="11406" y="9074"/>
                  </a:lnTo>
                  <a:cubicBezTo>
                    <a:pt x="12099" y="9074"/>
                    <a:pt x="12666" y="8507"/>
                    <a:pt x="12666" y="7846"/>
                  </a:cubicBezTo>
                  <a:lnTo>
                    <a:pt x="12666" y="1230"/>
                  </a:lnTo>
                  <a:cubicBezTo>
                    <a:pt x="12634" y="568"/>
                    <a:pt x="12099" y="1"/>
                    <a:pt x="114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6" name="Google Shape;6756;p73"/>
            <p:cNvSpPr/>
            <p:nvPr/>
          </p:nvSpPr>
          <p:spPr>
            <a:xfrm>
              <a:off x="-60546775" y="2798025"/>
              <a:ext cx="166225" cy="104775"/>
            </a:xfrm>
            <a:custGeom>
              <a:avLst/>
              <a:gdLst/>
              <a:ahLst/>
              <a:cxnLst/>
              <a:rect l="l" t="t" r="r" b="b"/>
              <a:pathLst>
                <a:path w="6649" h="4191" extrusionOk="0">
                  <a:moveTo>
                    <a:pt x="2080" y="883"/>
                  </a:moveTo>
                  <a:cubicBezTo>
                    <a:pt x="2332" y="883"/>
                    <a:pt x="2553" y="946"/>
                    <a:pt x="2805" y="1072"/>
                  </a:cubicBezTo>
                  <a:cubicBezTo>
                    <a:pt x="2647" y="1387"/>
                    <a:pt x="2521" y="1733"/>
                    <a:pt x="2521" y="2080"/>
                  </a:cubicBezTo>
                  <a:cubicBezTo>
                    <a:pt x="2521" y="2489"/>
                    <a:pt x="2647" y="2804"/>
                    <a:pt x="2805" y="3119"/>
                  </a:cubicBezTo>
                  <a:cubicBezTo>
                    <a:pt x="2584" y="3245"/>
                    <a:pt x="2364" y="3308"/>
                    <a:pt x="2080" y="3308"/>
                  </a:cubicBezTo>
                  <a:cubicBezTo>
                    <a:pt x="1418" y="3308"/>
                    <a:pt x="820" y="2741"/>
                    <a:pt x="820" y="2048"/>
                  </a:cubicBezTo>
                  <a:cubicBezTo>
                    <a:pt x="820" y="1418"/>
                    <a:pt x="1418" y="883"/>
                    <a:pt x="2080" y="883"/>
                  </a:cubicBezTo>
                  <a:close/>
                  <a:moveTo>
                    <a:pt x="4569" y="883"/>
                  </a:moveTo>
                  <a:cubicBezTo>
                    <a:pt x="5231" y="883"/>
                    <a:pt x="5798" y="1418"/>
                    <a:pt x="5798" y="2080"/>
                  </a:cubicBezTo>
                  <a:cubicBezTo>
                    <a:pt x="5798" y="2741"/>
                    <a:pt x="5231" y="3340"/>
                    <a:pt x="4569" y="3340"/>
                  </a:cubicBezTo>
                  <a:cubicBezTo>
                    <a:pt x="3907" y="3340"/>
                    <a:pt x="3340" y="2804"/>
                    <a:pt x="3340" y="2080"/>
                  </a:cubicBezTo>
                  <a:cubicBezTo>
                    <a:pt x="3309" y="1418"/>
                    <a:pt x="3907" y="883"/>
                    <a:pt x="4569" y="883"/>
                  </a:cubicBezTo>
                  <a:close/>
                  <a:moveTo>
                    <a:pt x="2080" y="0"/>
                  </a:moveTo>
                  <a:cubicBezTo>
                    <a:pt x="946" y="0"/>
                    <a:pt x="1" y="946"/>
                    <a:pt x="1" y="2080"/>
                  </a:cubicBezTo>
                  <a:cubicBezTo>
                    <a:pt x="1" y="3245"/>
                    <a:pt x="946" y="4191"/>
                    <a:pt x="2080" y="4191"/>
                  </a:cubicBezTo>
                  <a:cubicBezTo>
                    <a:pt x="2521" y="4191"/>
                    <a:pt x="2962" y="4033"/>
                    <a:pt x="3340" y="3749"/>
                  </a:cubicBezTo>
                  <a:cubicBezTo>
                    <a:pt x="3687" y="4033"/>
                    <a:pt x="4128" y="4191"/>
                    <a:pt x="4569" y="4191"/>
                  </a:cubicBezTo>
                  <a:cubicBezTo>
                    <a:pt x="5703" y="4191"/>
                    <a:pt x="6648" y="3245"/>
                    <a:pt x="6648" y="2080"/>
                  </a:cubicBezTo>
                  <a:cubicBezTo>
                    <a:pt x="6648" y="946"/>
                    <a:pt x="5703" y="0"/>
                    <a:pt x="4569" y="0"/>
                  </a:cubicBezTo>
                  <a:cubicBezTo>
                    <a:pt x="4096" y="0"/>
                    <a:pt x="3655" y="158"/>
                    <a:pt x="3340" y="441"/>
                  </a:cubicBezTo>
                  <a:cubicBezTo>
                    <a:pt x="2994" y="158"/>
                    <a:pt x="2553"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57" name="Google Shape;6757;p73"/>
          <p:cNvGrpSpPr/>
          <p:nvPr/>
        </p:nvGrpSpPr>
        <p:grpSpPr>
          <a:xfrm>
            <a:off x="5277287" y="5118775"/>
            <a:ext cx="477408" cy="488320"/>
            <a:chOff x="-59475600" y="2658625"/>
            <a:chExt cx="309550" cy="316625"/>
          </a:xfrm>
        </p:grpSpPr>
        <p:sp>
          <p:nvSpPr>
            <p:cNvPr id="6758" name="Google Shape;6758;p73"/>
            <p:cNvSpPr/>
            <p:nvPr/>
          </p:nvSpPr>
          <p:spPr>
            <a:xfrm>
              <a:off x="-59427550" y="2913025"/>
              <a:ext cx="19700" cy="19700"/>
            </a:xfrm>
            <a:custGeom>
              <a:avLst/>
              <a:gdLst/>
              <a:ahLst/>
              <a:cxnLst/>
              <a:rect l="l" t="t" r="r" b="b"/>
              <a:pathLst>
                <a:path w="788" h="788" extrusionOk="0">
                  <a:moveTo>
                    <a:pt x="410" y="0"/>
                  </a:moveTo>
                  <a:cubicBezTo>
                    <a:pt x="189" y="0"/>
                    <a:pt x="0" y="189"/>
                    <a:pt x="0" y="410"/>
                  </a:cubicBezTo>
                  <a:cubicBezTo>
                    <a:pt x="0" y="630"/>
                    <a:pt x="189" y="788"/>
                    <a:pt x="410" y="788"/>
                  </a:cubicBezTo>
                  <a:cubicBezTo>
                    <a:pt x="630" y="788"/>
                    <a:pt x="788" y="630"/>
                    <a:pt x="788" y="410"/>
                  </a:cubicBezTo>
                  <a:cubicBezTo>
                    <a:pt x="788" y="189"/>
                    <a:pt x="630"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59" name="Google Shape;6759;p73"/>
            <p:cNvSpPr/>
            <p:nvPr/>
          </p:nvSpPr>
          <p:spPr>
            <a:xfrm>
              <a:off x="-59428350" y="2699575"/>
              <a:ext cx="20500" cy="152825"/>
            </a:xfrm>
            <a:custGeom>
              <a:avLst/>
              <a:gdLst/>
              <a:ahLst/>
              <a:cxnLst/>
              <a:rect l="l" t="t" r="r" b="b"/>
              <a:pathLst>
                <a:path w="820" h="6113" extrusionOk="0">
                  <a:moveTo>
                    <a:pt x="442" y="0"/>
                  </a:moveTo>
                  <a:cubicBezTo>
                    <a:pt x="190" y="0"/>
                    <a:pt x="1" y="189"/>
                    <a:pt x="1" y="441"/>
                  </a:cubicBezTo>
                  <a:lnTo>
                    <a:pt x="1" y="5671"/>
                  </a:lnTo>
                  <a:cubicBezTo>
                    <a:pt x="1"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0" name="Google Shape;6760;p73"/>
            <p:cNvSpPr/>
            <p:nvPr/>
          </p:nvSpPr>
          <p:spPr>
            <a:xfrm>
              <a:off x="-59330675" y="2913025"/>
              <a:ext cx="19700" cy="19700"/>
            </a:xfrm>
            <a:custGeom>
              <a:avLst/>
              <a:gdLst/>
              <a:ahLst/>
              <a:cxnLst/>
              <a:rect l="l" t="t" r="r" b="b"/>
              <a:pathLst>
                <a:path w="788" h="788" extrusionOk="0">
                  <a:moveTo>
                    <a:pt x="378" y="0"/>
                  </a:moveTo>
                  <a:cubicBezTo>
                    <a:pt x="158" y="0"/>
                    <a:pt x="0" y="189"/>
                    <a:pt x="0" y="410"/>
                  </a:cubicBezTo>
                  <a:cubicBezTo>
                    <a:pt x="0" y="630"/>
                    <a:pt x="158" y="788"/>
                    <a:pt x="378" y="788"/>
                  </a:cubicBezTo>
                  <a:cubicBezTo>
                    <a:pt x="599" y="788"/>
                    <a:pt x="788" y="630"/>
                    <a:pt x="788" y="410"/>
                  </a:cubicBezTo>
                  <a:cubicBezTo>
                    <a:pt x="788" y="189"/>
                    <a:pt x="599"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1" name="Google Shape;6761;p73"/>
            <p:cNvSpPr/>
            <p:nvPr/>
          </p:nvSpPr>
          <p:spPr>
            <a:xfrm>
              <a:off x="-59330675" y="2699575"/>
              <a:ext cx="20500" cy="152825"/>
            </a:xfrm>
            <a:custGeom>
              <a:avLst/>
              <a:gdLst/>
              <a:ahLst/>
              <a:cxnLst/>
              <a:rect l="l" t="t" r="r" b="b"/>
              <a:pathLst>
                <a:path w="820" h="6113" extrusionOk="0">
                  <a:moveTo>
                    <a:pt x="378" y="0"/>
                  </a:moveTo>
                  <a:cubicBezTo>
                    <a:pt x="158" y="0"/>
                    <a:pt x="0" y="189"/>
                    <a:pt x="0" y="441"/>
                  </a:cubicBezTo>
                  <a:lnTo>
                    <a:pt x="0" y="5671"/>
                  </a:lnTo>
                  <a:cubicBezTo>
                    <a:pt x="0" y="5923"/>
                    <a:pt x="189" y="6112"/>
                    <a:pt x="378" y="6112"/>
                  </a:cubicBezTo>
                  <a:cubicBezTo>
                    <a:pt x="630" y="6112"/>
                    <a:pt x="820" y="5923"/>
                    <a:pt x="820" y="5671"/>
                  </a:cubicBezTo>
                  <a:lnTo>
                    <a:pt x="820" y="410"/>
                  </a:lnTo>
                  <a:cubicBezTo>
                    <a:pt x="788"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2" name="Google Shape;6762;p73"/>
            <p:cNvSpPr/>
            <p:nvPr/>
          </p:nvSpPr>
          <p:spPr>
            <a:xfrm>
              <a:off x="-59475600" y="2658625"/>
              <a:ext cx="309550" cy="316625"/>
            </a:xfrm>
            <a:custGeom>
              <a:avLst/>
              <a:gdLst/>
              <a:ahLst/>
              <a:cxnLst/>
              <a:rect l="l" t="t" r="r" b="b"/>
              <a:pathLst>
                <a:path w="12382" h="12665" extrusionOk="0">
                  <a:moveTo>
                    <a:pt x="3372" y="788"/>
                  </a:moveTo>
                  <a:cubicBezTo>
                    <a:pt x="3624" y="788"/>
                    <a:pt x="3813" y="977"/>
                    <a:pt x="3813" y="1197"/>
                  </a:cubicBezTo>
                  <a:lnTo>
                    <a:pt x="3813" y="8538"/>
                  </a:lnTo>
                  <a:lnTo>
                    <a:pt x="788" y="8538"/>
                  </a:lnTo>
                  <a:lnTo>
                    <a:pt x="788" y="1197"/>
                  </a:lnTo>
                  <a:cubicBezTo>
                    <a:pt x="788" y="977"/>
                    <a:pt x="977" y="788"/>
                    <a:pt x="1166" y="788"/>
                  </a:cubicBezTo>
                  <a:close/>
                  <a:moveTo>
                    <a:pt x="7278" y="788"/>
                  </a:moveTo>
                  <a:cubicBezTo>
                    <a:pt x="7530" y="788"/>
                    <a:pt x="7688" y="977"/>
                    <a:pt x="7688" y="1197"/>
                  </a:cubicBezTo>
                  <a:lnTo>
                    <a:pt x="7688" y="8538"/>
                  </a:lnTo>
                  <a:lnTo>
                    <a:pt x="4632" y="8538"/>
                  </a:lnTo>
                  <a:lnTo>
                    <a:pt x="4632" y="1197"/>
                  </a:lnTo>
                  <a:cubicBezTo>
                    <a:pt x="4632" y="977"/>
                    <a:pt x="4852" y="788"/>
                    <a:pt x="5073" y="788"/>
                  </a:cubicBezTo>
                  <a:close/>
                  <a:moveTo>
                    <a:pt x="11122" y="788"/>
                  </a:moveTo>
                  <a:cubicBezTo>
                    <a:pt x="11342" y="788"/>
                    <a:pt x="11500" y="977"/>
                    <a:pt x="11500" y="1197"/>
                  </a:cubicBezTo>
                  <a:lnTo>
                    <a:pt x="11500" y="8538"/>
                  </a:lnTo>
                  <a:lnTo>
                    <a:pt x="8507" y="8538"/>
                  </a:lnTo>
                  <a:lnTo>
                    <a:pt x="8507" y="1197"/>
                  </a:lnTo>
                  <a:cubicBezTo>
                    <a:pt x="8507" y="977"/>
                    <a:pt x="8696" y="788"/>
                    <a:pt x="8885" y="788"/>
                  </a:cubicBezTo>
                  <a:close/>
                  <a:moveTo>
                    <a:pt x="3813" y="9325"/>
                  </a:moveTo>
                  <a:lnTo>
                    <a:pt x="3813" y="11405"/>
                  </a:lnTo>
                  <a:cubicBezTo>
                    <a:pt x="3813" y="11657"/>
                    <a:pt x="3624" y="11846"/>
                    <a:pt x="3372" y="11846"/>
                  </a:cubicBezTo>
                  <a:lnTo>
                    <a:pt x="1166" y="11846"/>
                  </a:lnTo>
                  <a:cubicBezTo>
                    <a:pt x="946" y="11846"/>
                    <a:pt x="788" y="11657"/>
                    <a:pt x="788" y="11405"/>
                  </a:cubicBezTo>
                  <a:lnTo>
                    <a:pt x="788" y="9325"/>
                  </a:lnTo>
                  <a:close/>
                  <a:moveTo>
                    <a:pt x="7688" y="9325"/>
                  </a:moveTo>
                  <a:lnTo>
                    <a:pt x="7688" y="11405"/>
                  </a:lnTo>
                  <a:cubicBezTo>
                    <a:pt x="7688" y="11657"/>
                    <a:pt x="7467" y="11846"/>
                    <a:pt x="7278" y="11846"/>
                  </a:cubicBezTo>
                  <a:lnTo>
                    <a:pt x="5073" y="11846"/>
                  </a:lnTo>
                  <a:cubicBezTo>
                    <a:pt x="4852" y="11846"/>
                    <a:pt x="4632" y="11657"/>
                    <a:pt x="4632" y="11405"/>
                  </a:cubicBezTo>
                  <a:lnTo>
                    <a:pt x="4632" y="9325"/>
                  </a:lnTo>
                  <a:close/>
                  <a:moveTo>
                    <a:pt x="11563" y="9325"/>
                  </a:moveTo>
                  <a:lnTo>
                    <a:pt x="11563" y="11405"/>
                  </a:lnTo>
                  <a:lnTo>
                    <a:pt x="11531" y="11405"/>
                  </a:lnTo>
                  <a:cubicBezTo>
                    <a:pt x="11531" y="11657"/>
                    <a:pt x="11342" y="11846"/>
                    <a:pt x="11153" y="11846"/>
                  </a:cubicBezTo>
                  <a:lnTo>
                    <a:pt x="8948" y="11846"/>
                  </a:lnTo>
                  <a:cubicBezTo>
                    <a:pt x="8696" y="11846"/>
                    <a:pt x="8538" y="11657"/>
                    <a:pt x="8538" y="11405"/>
                  </a:cubicBezTo>
                  <a:lnTo>
                    <a:pt x="8538" y="9325"/>
                  </a:lnTo>
                  <a:close/>
                  <a:moveTo>
                    <a:pt x="1229" y="0"/>
                  </a:moveTo>
                  <a:cubicBezTo>
                    <a:pt x="536" y="0"/>
                    <a:pt x="0" y="536"/>
                    <a:pt x="0" y="1197"/>
                  </a:cubicBezTo>
                  <a:lnTo>
                    <a:pt x="0" y="11405"/>
                  </a:lnTo>
                  <a:cubicBezTo>
                    <a:pt x="0" y="12066"/>
                    <a:pt x="536" y="12665"/>
                    <a:pt x="1229" y="12665"/>
                  </a:cubicBezTo>
                  <a:lnTo>
                    <a:pt x="3435" y="12665"/>
                  </a:lnTo>
                  <a:cubicBezTo>
                    <a:pt x="3750" y="12665"/>
                    <a:pt x="4002" y="12539"/>
                    <a:pt x="4254" y="12350"/>
                  </a:cubicBezTo>
                  <a:cubicBezTo>
                    <a:pt x="4474" y="12539"/>
                    <a:pt x="4758" y="12665"/>
                    <a:pt x="5073" y="12665"/>
                  </a:cubicBezTo>
                  <a:lnTo>
                    <a:pt x="7278" y="12665"/>
                  </a:lnTo>
                  <a:cubicBezTo>
                    <a:pt x="7593" y="12665"/>
                    <a:pt x="7877" y="12539"/>
                    <a:pt x="8097" y="12350"/>
                  </a:cubicBezTo>
                  <a:cubicBezTo>
                    <a:pt x="8349" y="12539"/>
                    <a:pt x="8633" y="12665"/>
                    <a:pt x="8948" y="12665"/>
                  </a:cubicBezTo>
                  <a:lnTo>
                    <a:pt x="11153" y="12665"/>
                  </a:lnTo>
                  <a:cubicBezTo>
                    <a:pt x="11815" y="12665"/>
                    <a:pt x="12382" y="12129"/>
                    <a:pt x="12382" y="11405"/>
                  </a:cubicBezTo>
                  <a:lnTo>
                    <a:pt x="12382" y="1197"/>
                  </a:lnTo>
                  <a:cubicBezTo>
                    <a:pt x="12350" y="536"/>
                    <a:pt x="11815" y="0"/>
                    <a:pt x="11153" y="0"/>
                  </a:cubicBezTo>
                  <a:lnTo>
                    <a:pt x="8948" y="0"/>
                  </a:lnTo>
                  <a:cubicBezTo>
                    <a:pt x="8633" y="0"/>
                    <a:pt x="8349" y="95"/>
                    <a:pt x="8097" y="315"/>
                  </a:cubicBezTo>
                  <a:cubicBezTo>
                    <a:pt x="7877" y="95"/>
                    <a:pt x="7593" y="0"/>
                    <a:pt x="7278" y="0"/>
                  </a:cubicBezTo>
                  <a:lnTo>
                    <a:pt x="5073" y="0"/>
                  </a:lnTo>
                  <a:cubicBezTo>
                    <a:pt x="4758" y="0"/>
                    <a:pt x="4474" y="95"/>
                    <a:pt x="4254" y="315"/>
                  </a:cubicBezTo>
                  <a:cubicBezTo>
                    <a:pt x="4002" y="95"/>
                    <a:pt x="3750" y="0"/>
                    <a:pt x="34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3" name="Google Shape;6763;p73"/>
            <p:cNvSpPr/>
            <p:nvPr/>
          </p:nvSpPr>
          <p:spPr>
            <a:xfrm>
              <a:off x="-59234600" y="2913025"/>
              <a:ext cx="19725" cy="19700"/>
            </a:xfrm>
            <a:custGeom>
              <a:avLst/>
              <a:gdLst/>
              <a:ahLst/>
              <a:cxnLst/>
              <a:rect l="l" t="t" r="r" b="b"/>
              <a:pathLst>
                <a:path w="789" h="788" extrusionOk="0">
                  <a:moveTo>
                    <a:pt x="411" y="0"/>
                  </a:moveTo>
                  <a:cubicBezTo>
                    <a:pt x="190" y="0"/>
                    <a:pt x="1" y="189"/>
                    <a:pt x="1" y="410"/>
                  </a:cubicBezTo>
                  <a:cubicBezTo>
                    <a:pt x="1" y="630"/>
                    <a:pt x="190" y="788"/>
                    <a:pt x="411" y="788"/>
                  </a:cubicBezTo>
                  <a:cubicBezTo>
                    <a:pt x="631" y="788"/>
                    <a:pt x="789" y="630"/>
                    <a:pt x="789" y="410"/>
                  </a:cubicBezTo>
                  <a:cubicBezTo>
                    <a:pt x="789" y="189"/>
                    <a:pt x="631" y="0"/>
                    <a:pt x="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4" name="Google Shape;6764;p73"/>
            <p:cNvSpPr/>
            <p:nvPr/>
          </p:nvSpPr>
          <p:spPr>
            <a:xfrm>
              <a:off x="-59235375" y="2699575"/>
              <a:ext cx="20500" cy="152825"/>
            </a:xfrm>
            <a:custGeom>
              <a:avLst/>
              <a:gdLst/>
              <a:ahLst/>
              <a:cxnLst/>
              <a:rect l="l" t="t" r="r" b="b"/>
              <a:pathLst>
                <a:path w="820" h="6113" extrusionOk="0">
                  <a:moveTo>
                    <a:pt x="442" y="0"/>
                  </a:moveTo>
                  <a:cubicBezTo>
                    <a:pt x="190" y="0"/>
                    <a:pt x="0" y="189"/>
                    <a:pt x="0" y="441"/>
                  </a:cubicBezTo>
                  <a:lnTo>
                    <a:pt x="0" y="5671"/>
                  </a:lnTo>
                  <a:cubicBezTo>
                    <a:pt x="0" y="5923"/>
                    <a:pt x="190" y="6112"/>
                    <a:pt x="442" y="6112"/>
                  </a:cubicBezTo>
                  <a:cubicBezTo>
                    <a:pt x="662" y="6112"/>
                    <a:pt x="820" y="5923"/>
                    <a:pt x="820" y="5671"/>
                  </a:cubicBezTo>
                  <a:lnTo>
                    <a:pt x="820" y="410"/>
                  </a:lnTo>
                  <a:cubicBezTo>
                    <a:pt x="820" y="158"/>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765" name="Google Shape;6765;p73"/>
          <p:cNvSpPr/>
          <p:nvPr/>
        </p:nvSpPr>
        <p:spPr>
          <a:xfrm>
            <a:off x="2900877" y="2056224"/>
            <a:ext cx="487164" cy="487125"/>
          </a:xfrm>
          <a:custGeom>
            <a:avLst/>
            <a:gdLst/>
            <a:ahLst/>
            <a:cxnLst/>
            <a:rect l="l" t="t" r="r" b="b"/>
            <a:pathLst>
              <a:path w="12635" h="12634" extrusionOk="0">
                <a:moveTo>
                  <a:pt x="6302" y="2741"/>
                </a:moveTo>
                <a:cubicBezTo>
                  <a:pt x="6774" y="2741"/>
                  <a:pt x="7152" y="3087"/>
                  <a:pt x="7152" y="3560"/>
                </a:cubicBezTo>
                <a:cubicBezTo>
                  <a:pt x="7152" y="4033"/>
                  <a:pt x="6774" y="4411"/>
                  <a:pt x="6302" y="4411"/>
                </a:cubicBezTo>
                <a:cubicBezTo>
                  <a:pt x="5861" y="4411"/>
                  <a:pt x="5483" y="4033"/>
                  <a:pt x="5483" y="3560"/>
                </a:cubicBezTo>
                <a:cubicBezTo>
                  <a:pt x="5483" y="3087"/>
                  <a:pt x="5829" y="2741"/>
                  <a:pt x="6302" y="2741"/>
                </a:cubicBezTo>
                <a:close/>
                <a:moveTo>
                  <a:pt x="11910" y="819"/>
                </a:moveTo>
                <a:lnTo>
                  <a:pt x="11910" y="5230"/>
                </a:lnTo>
                <a:lnTo>
                  <a:pt x="8161" y="5230"/>
                </a:lnTo>
                <a:cubicBezTo>
                  <a:pt x="7972" y="5041"/>
                  <a:pt x="7751" y="4820"/>
                  <a:pt x="7530" y="4726"/>
                </a:cubicBezTo>
                <a:cubicBezTo>
                  <a:pt x="7814" y="4411"/>
                  <a:pt x="8003" y="4001"/>
                  <a:pt x="8003" y="3560"/>
                </a:cubicBezTo>
                <a:cubicBezTo>
                  <a:pt x="8003" y="2678"/>
                  <a:pt x="7247" y="1922"/>
                  <a:pt x="6333" y="1922"/>
                </a:cubicBezTo>
                <a:cubicBezTo>
                  <a:pt x="5451" y="1922"/>
                  <a:pt x="4695" y="2678"/>
                  <a:pt x="4695" y="3560"/>
                </a:cubicBezTo>
                <a:cubicBezTo>
                  <a:pt x="4695" y="4001"/>
                  <a:pt x="4853" y="4411"/>
                  <a:pt x="5168" y="4726"/>
                </a:cubicBezTo>
                <a:cubicBezTo>
                  <a:pt x="4916" y="4820"/>
                  <a:pt x="4695" y="5041"/>
                  <a:pt x="4537" y="5230"/>
                </a:cubicBezTo>
                <a:lnTo>
                  <a:pt x="883" y="5230"/>
                </a:lnTo>
                <a:lnTo>
                  <a:pt x="883" y="819"/>
                </a:lnTo>
                <a:close/>
                <a:moveTo>
                  <a:pt x="6302" y="5230"/>
                </a:moveTo>
                <a:cubicBezTo>
                  <a:pt x="7215" y="5230"/>
                  <a:pt x="7972" y="5986"/>
                  <a:pt x="7972" y="6868"/>
                </a:cubicBezTo>
                <a:lnTo>
                  <a:pt x="4664" y="6868"/>
                </a:lnTo>
                <a:cubicBezTo>
                  <a:pt x="4664" y="5986"/>
                  <a:pt x="5388" y="5230"/>
                  <a:pt x="6302" y="5230"/>
                </a:cubicBezTo>
                <a:close/>
                <a:moveTo>
                  <a:pt x="8287" y="7719"/>
                </a:moveTo>
                <a:lnTo>
                  <a:pt x="7593" y="11846"/>
                </a:lnTo>
                <a:lnTo>
                  <a:pt x="5010" y="11846"/>
                </a:lnTo>
                <a:lnTo>
                  <a:pt x="4285" y="7719"/>
                </a:lnTo>
                <a:close/>
                <a:moveTo>
                  <a:pt x="410" y="0"/>
                </a:moveTo>
                <a:cubicBezTo>
                  <a:pt x="158" y="0"/>
                  <a:pt x="1" y="189"/>
                  <a:pt x="1" y="378"/>
                </a:cubicBezTo>
                <a:lnTo>
                  <a:pt x="1" y="5608"/>
                </a:lnTo>
                <a:cubicBezTo>
                  <a:pt x="1" y="5860"/>
                  <a:pt x="190" y="6017"/>
                  <a:pt x="410" y="6017"/>
                </a:cubicBezTo>
                <a:lnTo>
                  <a:pt x="3970" y="6017"/>
                </a:lnTo>
                <a:cubicBezTo>
                  <a:pt x="3907" y="6301"/>
                  <a:pt x="3813" y="6553"/>
                  <a:pt x="3813" y="6837"/>
                </a:cubicBezTo>
                <a:lnTo>
                  <a:pt x="2994" y="6837"/>
                </a:lnTo>
                <a:cubicBezTo>
                  <a:pt x="2773" y="6837"/>
                  <a:pt x="2616" y="7026"/>
                  <a:pt x="2616" y="7246"/>
                </a:cubicBezTo>
                <a:cubicBezTo>
                  <a:pt x="2616" y="7467"/>
                  <a:pt x="2805" y="7656"/>
                  <a:pt x="2994" y="7656"/>
                </a:cubicBezTo>
                <a:lnTo>
                  <a:pt x="3466" y="7656"/>
                </a:lnTo>
                <a:lnTo>
                  <a:pt x="4254" y="12255"/>
                </a:lnTo>
                <a:cubicBezTo>
                  <a:pt x="4285" y="12476"/>
                  <a:pt x="4443" y="12633"/>
                  <a:pt x="4664" y="12633"/>
                </a:cubicBezTo>
                <a:lnTo>
                  <a:pt x="7972" y="12633"/>
                </a:lnTo>
                <a:cubicBezTo>
                  <a:pt x="8161" y="12633"/>
                  <a:pt x="8350" y="12476"/>
                  <a:pt x="8350" y="12255"/>
                </a:cubicBezTo>
                <a:lnTo>
                  <a:pt x="9137" y="7656"/>
                </a:lnTo>
                <a:lnTo>
                  <a:pt x="9610" y="7656"/>
                </a:lnTo>
                <a:cubicBezTo>
                  <a:pt x="9862" y="7656"/>
                  <a:pt x="10019" y="7467"/>
                  <a:pt x="10019" y="7215"/>
                </a:cubicBezTo>
                <a:cubicBezTo>
                  <a:pt x="10019" y="6994"/>
                  <a:pt x="9799" y="6837"/>
                  <a:pt x="9610" y="6837"/>
                </a:cubicBezTo>
                <a:lnTo>
                  <a:pt x="8791" y="6837"/>
                </a:lnTo>
                <a:cubicBezTo>
                  <a:pt x="8791" y="6553"/>
                  <a:pt x="8759" y="6269"/>
                  <a:pt x="8633" y="6017"/>
                </a:cubicBezTo>
                <a:lnTo>
                  <a:pt x="12225" y="6017"/>
                </a:lnTo>
                <a:cubicBezTo>
                  <a:pt x="12445" y="6017"/>
                  <a:pt x="12603" y="5797"/>
                  <a:pt x="12603" y="5608"/>
                </a:cubicBezTo>
                <a:lnTo>
                  <a:pt x="12603" y="378"/>
                </a:lnTo>
                <a:cubicBezTo>
                  <a:pt x="12634" y="189"/>
                  <a:pt x="12445" y="0"/>
                  <a:pt x="122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6" name="Google Shape;6766;p73"/>
          <p:cNvSpPr/>
          <p:nvPr/>
        </p:nvSpPr>
        <p:spPr>
          <a:xfrm>
            <a:off x="2937335" y="2694179"/>
            <a:ext cx="414253" cy="492021"/>
          </a:xfrm>
          <a:custGeom>
            <a:avLst/>
            <a:gdLst/>
            <a:ahLst/>
            <a:cxnLst/>
            <a:rect l="l" t="t" r="r" b="b"/>
            <a:pathLst>
              <a:path w="10744" h="12761" extrusionOk="0">
                <a:moveTo>
                  <a:pt x="5419" y="820"/>
                </a:moveTo>
                <a:cubicBezTo>
                  <a:pt x="6585" y="820"/>
                  <a:pt x="7530" y="1765"/>
                  <a:pt x="7530" y="2899"/>
                </a:cubicBezTo>
                <a:cubicBezTo>
                  <a:pt x="7530" y="3655"/>
                  <a:pt x="7121" y="4317"/>
                  <a:pt x="6490" y="4663"/>
                </a:cubicBezTo>
                <a:cubicBezTo>
                  <a:pt x="6364" y="4758"/>
                  <a:pt x="6301" y="4884"/>
                  <a:pt x="6301" y="5042"/>
                </a:cubicBezTo>
                <a:lnTo>
                  <a:pt x="6301" y="7436"/>
                </a:lnTo>
                <a:lnTo>
                  <a:pt x="4632" y="7436"/>
                </a:lnTo>
                <a:lnTo>
                  <a:pt x="4632" y="5042"/>
                </a:lnTo>
                <a:cubicBezTo>
                  <a:pt x="4632" y="4884"/>
                  <a:pt x="4569" y="4758"/>
                  <a:pt x="4443" y="4663"/>
                </a:cubicBezTo>
                <a:cubicBezTo>
                  <a:pt x="3687" y="4317"/>
                  <a:pt x="3340" y="3655"/>
                  <a:pt x="3340" y="2899"/>
                </a:cubicBezTo>
                <a:cubicBezTo>
                  <a:pt x="3340" y="1765"/>
                  <a:pt x="4285" y="820"/>
                  <a:pt x="5419" y="820"/>
                </a:cubicBezTo>
                <a:close/>
                <a:moveTo>
                  <a:pt x="8696" y="8286"/>
                </a:moveTo>
                <a:cubicBezTo>
                  <a:pt x="9357" y="8286"/>
                  <a:pt x="9924" y="8854"/>
                  <a:pt x="9924" y="9547"/>
                </a:cubicBezTo>
                <a:lnTo>
                  <a:pt x="9924" y="10271"/>
                </a:lnTo>
                <a:lnTo>
                  <a:pt x="820" y="10271"/>
                </a:lnTo>
                <a:lnTo>
                  <a:pt x="820" y="9547"/>
                </a:lnTo>
                <a:cubicBezTo>
                  <a:pt x="820" y="8885"/>
                  <a:pt x="1387" y="8286"/>
                  <a:pt x="2048" y="8286"/>
                </a:cubicBezTo>
                <a:close/>
                <a:moveTo>
                  <a:pt x="9137" y="11059"/>
                </a:moveTo>
                <a:lnTo>
                  <a:pt x="9137" y="11878"/>
                </a:lnTo>
                <a:lnTo>
                  <a:pt x="1702" y="11878"/>
                </a:lnTo>
                <a:lnTo>
                  <a:pt x="1702" y="11059"/>
                </a:lnTo>
                <a:close/>
                <a:moveTo>
                  <a:pt x="5325" y="1"/>
                </a:moveTo>
                <a:cubicBezTo>
                  <a:pt x="3718" y="1"/>
                  <a:pt x="2458" y="1292"/>
                  <a:pt x="2458" y="2899"/>
                </a:cubicBezTo>
                <a:cubicBezTo>
                  <a:pt x="2458" y="3403"/>
                  <a:pt x="2615" y="3939"/>
                  <a:pt x="2836" y="4348"/>
                </a:cubicBezTo>
                <a:cubicBezTo>
                  <a:pt x="3025" y="4726"/>
                  <a:pt x="3340" y="5010"/>
                  <a:pt x="3655" y="5262"/>
                </a:cubicBezTo>
                <a:lnTo>
                  <a:pt x="3655" y="7467"/>
                </a:lnTo>
                <a:lnTo>
                  <a:pt x="2080" y="7467"/>
                </a:lnTo>
                <a:cubicBezTo>
                  <a:pt x="946" y="7467"/>
                  <a:pt x="0" y="8413"/>
                  <a:pt x="0" y="9547"/>
                </a:cubicBezTo>
                <a:lnTo>
                  <a:pt x="0" y="10649"/>
                </a:lnTo>
                <a:cubicBezTo>
                  <a:pt x="0" y="10901"/>
                  <a:pt x="189" y="11059"/>
                  <a:pt x="441" y="11059"/>
                </a:cubicBezTo>
                <a:lnTo>
                  <a:pt x="820" y="11059"/>
                </a:lnTo>
                <a:lnTo>
                  <a:pt x="820" y="12319"/>
                </a:lnTo>
                <a:cubicBezTo>
                  <a:pt x="820" y="12540"/>
                  <a:pt x="1009" y="12760"/>
                  <a:pt x="1229" y="12760"/>
                </a:cubicBezTo>
                <a:lnTo>
                  <a:pt x="9483" y="12760"/>
                </a:lnTo>
                <a:cubicBezTo>
                  <a:pt x="9735" y="12760"/>
                  <a:pt x="9924" y="12540"/>
                  <a:pt x="9924" y="12319"/>
                </a:cubicBezTo>
                <a:lnTo>
                  <a:pt x="9924" y="11059"/>
                </a:lnTo>
                <a:lnTo>
                  <a:pt x="10303" y="11059"/>
                </a:lnTo>
                <a:cubicBezTo>
                  <a:pt x="10555" y="11059"/>
                  <a:pt x="10744" y="10870"/>
                  <a:pt x="10744" y="10649"/>
                </a:cubicBezTo>
                <a:lnTo>
                  <a:pt x="10744" y="9547"/>
                </a:lnTo>
                <a:cubicBezTo>
                  <a:pt x="10744" y="8413"/>
                  <a:pt x="9798" y="7467"/>
                  <a:pt x="8664" y="7467"/>
                </a:cubicBezTo>
                <a:lnTo>
                  <a:pt x="7026" y="7467"/>
                </a:lnTo>
                <a:lnTo>
                  <a:pt x="7026" y="5262"/>
                </a:lnTo>
                <a:cubicBezTo>
                  <a:pt x="7373" y="5042"/>
                  <a:pt x="7656" y="4726"/>
                  <a:pt x="7845" y="4348"/>
                </a:cubicBezTo>
                <a:cubicBezTo>
                  <a:pt x="8129" y="3939"/>
                  <a:pt x="8223" y="3403"/>
                  <a:pt x="8223" y="2899"/>
                </a:cubicBezTo>
                <a:cubicBezTo>
                  <a:pt x="8223" y="1292"/>
                  <a:pt x="6932" y="1"/>
                  <a:pt x="53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767" name="Google Shape;6767;p73"/>
          <p:cNvGrpSpPr/>
          <p:nvPr/>
        </p:nvGrpSpPr>
        <p:grpSpPr>
          <a:xfrm>
            <a:off x="2977448" y="3316009"/>
            <a:ext cx="351059" cy="489553"/>
            <a:chOff x="-63987100" y="2646800"/>
            <a:chExt cx="227625" cy="317425"/>
          </a:xfrm>
        </p:grpSpPr>
        <p:sp>
          <p:nvSpPr>
            <p:cNvPr id="6768" name="Google Shape;6768;p73"/>
            <p:cNvSpPr/>
            <p:nvPr/>
          </p:nvSpPr>
          <p:spPr>
            <a:xfrm>
              <a:off x="-63987100" y="2646800"/>
              <a:ext cx="227625" cy="317425"/>
            </a:xfrm>
            <a:custGeom>
              <a:avLst/>
              <a:gdLst/>
              <a:ahLst/>
              <a:cxnLst/>
              <a:rect l="l" t="t" r="r" b="b"/>
              <a:pathLst>
                <a:path w="9105" h="12697" extrusionOk="0">
                  <a:moveTo>
                    <a:pt x="7467" y="851"/>
                  </a:moveTo>
                  <a:lnTo>
                    <a:pt x="7467" y="2426"/>
                  </a:lnTo>
                  <a:cubicBezTo>
                    <a:pt x="7152" y="2300"/>
                    <a:pt x="6711" y="2237"/>
                    <a:pt x="6238" y="2237"/>
                  </a:cubicBezTo>
                  <a:cubicBezTo>
                    <a:pt x="5198" y="2237"/>
                    <a:pt x="4411" y="2678"/>
                    <a:pt x="4379" y="2710"/>
                  </a:cubicBezTo>
                  <a:cubicBezTo>
                    <a:pt x="4379" y="2710"/>
                    <a:pt x="3718" y="3056"/>
                    <a:pt x="2930" y="3056"/>
                  </a:cubicBezTo>
                  <a:cubicBezTo>
                    <a:pt x="2426" y="3056"/>
                    <a:pt x="1953" y="2899"/>
                    <a:pt x="1701" y="2773"/>
                  </a:cubicBezTo>
                  <a:lnTo>
                    <a:pt x="1701" y="851"/>
                  </a:lnTo>
                  <a:close/>
                  <a:moveTo>
                    <a:pt x="6207" y="3088"/>
                  </a:moveTo>
                  <a:cubicBezTo>
                    <a:pt x="6711" y="3088"/>
                    <a:pt x="7183" y="3245"/>
                    <a:pt x="7404" y="3371"/>
                  </a:cubicBezTo>
                  <a:cubicBezTo>
                    <a:pt x="7309" y="4789"/>
                    <a:pt x="6049" y="5986"/>
                    <a:pt x="4537" y="5986"/>
                  </a:cubicBezTo>
                  <a:cubicBezTo>
                    <a:pt x="3151" y="5986"/>
                    <a:pt x="2016" y="5041"/>
                    <a:pt x="1701" y="3718"/>
                  </a:cubicBezTo>
                  <a:lnTo>
                    <a:pt x="1701" y="3718"/>
                  </a:lnTo>
                  <a:cubicBezTo>
                    <a:pt x="2016" y="3844"/>
                    <a:pt x="2426" y="3939"/>
                    <a:pt x="2899" y="3939"/>
                  </a:cubicBezTo>
                  <a:cubicBezTo>
                    <a:pt x="3907" y="3939"/>
                    <a:pt x="4694" y="3498"/>
                    <a:pt x="4726" y="3466"/>
                  </a:cubicBezTo>
                  <a:cubicBezTo>
                    <a:pt x="4726" y="3466"/>
                    <a:pt x="5419" y="3088"/>
                    <a:pt x="6207" y="3088"/>
                  </a:cubicBezTo>
                  <a:close/>
                  <a:moveTo>
                    <a:pt x="4537" y="10240"/>
                  </a:moveTo>
                  <a:cubicBezTo>
                    <a:pt x="5135" y="10240"/>
                    <a:pt x="5639" y="10933"/>
                    <a:pt x="5765" y="11878"/>
                  </a:cubicBezTo>
                  <a:lnTo>
                    <a:pt x="3308" y="11878"/>
                  </a:lnTo>
                  <a:cubicBezTo>
                    <a:pt x="3434" y="10933"/>
                    <a:pt x="3938" y="10240"/>
                    <a:pt x="4537" y="10240"/>
                  </a:cubicBezTo>
                  <a:close/>
                  <a:moveTo>
                    <a:pt x="4505" y="6774"/>
                  </a:moveTo>
                  <a:cubicBezTo>
                    <a:pt x="6144" y="6806"/>
                    <a:pt x="7467" y="8066"/>
                    <a:pt x="7467" y="9672"/>
                  </a:cubicBezTo>
                  <a:lnTo>
                    <a:pt x="7467" y="11878"/>
                  </a:lnTo>
                  <a:lnTo>
                    <a:pt x="6585" y="11878"/>
                  </a:lnTo>
                  <a:cubicBezTo>
                    <a:pt x="6553" y="11279"/>
                    <a:pt x="6364" y="10744"/>
                    <a:pt x="6049" y="10303"/>
                  </a:cubicBezTo>
                  <a:cubicBezTo>
                    <a:pt x="5639" y="9704"/>
                    <a:pt x="5104" y="9389"/>
                    <a:pt x="4537" y="9389"/>
                  </a:cubicBezTo>
                  <a:cubicBezTo>
                    <a:pt x="3938" y="9389"/>
                    <a:pt x="3434" y="9704"/>
                    <a:pt x="3056" y="10303"/>
                  </a:cubicBezTo>
                  <a:cubicBezTo>
                    <a:pt x="2772" y="10744"/>
                    <a:pt x="2583" y="11279"/>
                    <a:pt x="2489" y="11878"/>
                  </a:cubicBezTo>
                  <a:lnTo>
                    <a:pt x="1638" y="11878"/>
                  </a:lnTo>
                  <a:lnTo>
                    <a:pt x="1638" y="9672"/>
                  </a:lnTo>
                  <a:cubicBezTo>
                    <a:pt x="1638" y="8066"/>
                    <a:pt x="2930" y="6774"/>
                    <a:pt x="4505" y="6774"/>
                  </a:cubicBezTo>
                  <a:close/>
                  <a:moveTo>
                    <a:pt x="410" y="0"/>
                  </a:moveTo>
                  <a:cubicBezTo>
                    <a:pt x="158" y="0"/>
                    <a:pt x="0" y="189"/>
                    <a:pt x="0" y="410"/>
                  </a:cubicBezTo>
                  <a:cubicBezTo>
                    <a:pt x="0" y="662"/>
                    <a:pt x="221" y="851"/>
                    <a:pt x="410" y="851"/>
                  </a:cubicBezTo>
                  <a:lnTo>
                    <a:pt x="851" y="851"/>
                  </a:lnTo>
                  <a:lnTo>
                    <a:pt x="851" y="3056"/>
                  </a:lnTo>
                  <a:cubicBezTo>
                    <a:pt x="851" y="4506"/>
                    <a:pt x="1670" y="5734"/>
                    <a:pt x="2867" y="6364"/>
                  </a:cubicBezTo>
                  <a:cubicBezTo>
                    <a:pt x="1670" y="6995"/>
                    <a:pt x="851" y="8223"/>
                    <a:pt x="851" y="9672"/>
                  </a:cubicBezTo>
                  <a:lnTo>
                    <a:pt x="851" y="11878"/>
                  </a:lnTo>
                  <a:lnTo>
                    <a:pt x="410" y="11878"/>
                  </a:lnTo>
                  <a:cubicBezTo>
                    <a:pt x="158" y="11878"/>
                    <a:pt x="0" y="12067"/>
                    <a:pt x="0" y="12287"/>
                  </a:cubicBezTo>
                  <a:cubicBezTo>
                    <a:pt x="0" y="12508"/>
                    <a:pt x="221" y="12697"/>
                    <a:pt x="410" y="12697"/>
                  </a:cubicBezTo>
                  <a:lnTo>
                    <a:pt x="8664" y="12697"/>
                  </a:lnTo>
                  <a:cubicBezTo>
                    <a:pt x="8916" y="12697"/>
                    <a:pt x="9105" y="12508"/>
                    <a:pt x="9105" y="12287"/>
                  </a:cubicBezTo>
                  <a:cubicBezTo>
                    <a:pt x="9105" y="12035"/>
                    <a:pt x="8916" y="11878"/>
                    <a:pt x="8664" y="11878"/>
                  </a:cubicBezTo>
                  <a:lnTo>
                    <a:pt x="8286" y="11878"/>
                  </a:lnTo>
                  <a:lnTo>
                    <a:pt x="8286" y="9672"/>
                  </a:lnTo>
                  <a:cubicBezTo>
                    <a:pt x="8286" y="8223"/>
                    <a:pt x="7467" y="6995"/>
                    <a:pt x="6270" y="6364"/>
                  </a:cubicBezTo>
                  <a:cubicBezTo>
                    <a:pt x="7467" y="5734"/>
                    <a:pt x="8286" y="4506"/>
                    <a:pt x="8286" y="3056"/>
                  </a:cubicBezTo>
                  <a:lnTo>
                    <a:pt x="8286" y="851"/>
                  </a:lnTo>
                  <a:lnTo>
                    <a:pt x="8664" y="851"/>
                  </a:lnTo>
                  <a:cubicBezTo>
                    <a:pt x="8916" y="851"/>
                    <a:pt x="9105" y="662"/>
                    <a:pt x="9105" y="410"/>
                  </a:cubicBezTo>
                  <a:cubicBezTo>
                    <a:pt x="9105" y="189"/>
                    <a:pt x="8916" y="0"/>
                    <a:pt x="86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69" name="Google Shape;6769;p73"/>
            <p:cNvSpPr/>
            <p:nvPr/>
          </p:nvSpPr>
          <p:spPr>
            <a:xfrm>
              <a:off x="-63883150" y="2826375"/>
              <a:ext cx="20500" cy="41775"/>
            </a:xfrm>
            <a:custGeom>
              <a:avLst/>
              <a:gdLst/>
              <a:ahLst/>
              <a:cxnLst/>
              <a:rect l="l" t="t" r="r" b="b"/>
              <a:pathLst>
                <a:path w="820" h="1671" extrusionOk="0">
                  <a:moveTo>
                    <a:pt x="379" y="1"/>
                  </a:moveTo>
                  <a:cubicBezTo>
                    <a:pt x="158" y="1"/>
                    <a:pt x="1" y="221"/>
                    <a:pt x="1" y="442"/>
                  </a:cubicBezTo>
                  <a:lnTo>
                    <a:pt x="1" y="1261"/>
                  </a:lnTo>
                  <a:cubicBezTo>
                    <a:pt x="1" y="1513"/>
                    <a:pt x="190" y="1670"/>
                    <a:pt x="379" y="1670"/>
                  </a:cubicBezTo>
                  <a:cubicBezTo>
                    <a:pt x="631" y="1670"/>
                    <a:pt x="820" y="1481"/>
                    <a:pt x="820" y="1261"/>
                  </a:cubicBezTo>
                  <a:lnTo>
                    <a:pt x="820" y="442"/>
                  </a:lnTo>
                  <a:cubicBezTo>
                    <a:pt x="820" y="221"/>
                    <a:pt x="631"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70" name="Google Shape;6770;p73"/>
          <p:cNvGrpSpPr/>
          <p:nvPr/>
        </p:nvGrpSpPr>
        <p:grpSpPr>
          <a:xfrm>
            <a:off x="1136571" y="3944837"/>
            <a:ext cx="477408" cy="493217"/>
            <a:chOff x="-62148000" y="1930075"/>
            <a:chExt cx="309550" cy="319800"/>
          </a:xfrm>
        </p:grpSpPr>
        <p:sp>
          <p:nvSpPr>
            <p:cNvPr id="6771" name="Google Shape;6771;p73"/>
            <p:cNvSpPr/>
            <p:nvPr/>
          </p:nvSpPr>
          <p:spPr>
            <a:xfrm>
              <a:off x="-62148000" y="1930075"/>
              <a:ext cx="309550" cy="319800"/>
            </a:xfrm>
            <a:custGeom>
              <a:avLst/>
              <a:gdLst/>
              <a:ahLst/>
              <a:cxnLst/>
              <a:rect l="l" t="t" r="r" b="b"/>
              <a:pathLst>
                <a:path w="12382" h="12792" extrusionOk="0">
                  <a:moveTo>
                    <a:pt x="11594" y="1670"/>
                  </a:moveTo>
                  <a:lnTo>
                    <a:pt x="11594" y="2899"/>
                  </a:lnTo>
                  <a:cubicBezTo>
                    <a:pt x="11594" y="3970"/>
                    <a:pt x="10775" y="4883"/>
                    <a:pt x="9735" y="4946"/>
                  </a:cubicBezTo>
                  <a:cubicBezTo>
                    <a:pt x="9861" y="4631"/>
                    <a:pt x="9924" y="4190"/>
                    <a:pt x="9924" y="3781"/>
                  </a:cubicBezTo>
                  <a:lnTo>
                    <a:pt x="9924" y="1670"/>
                  </a:lnTo>
                  <a:close/>
                  <a:moveTo>
                    <a:pt x="2489" y="1733"/>
                  </a:moveTo>
                  <a:lnTo>
                    <a:pt x="2489" y="3812"/>
                  </a:lnTo>
                  <a:cubicBezTo>
                    <a:pt x="2489" y="4253"/>
                    <a:pt x="2584" y="4631"/>
                    <a:pt x="2678" y="5041"/>
                  </a:cubicBezTo>
                  <a:cubicBezTo>
                    <a:pt x="1638" y="4915"/>
                    <a:pt x="851" y="4033"/>
                    <a:pt x="851" y="2993"/>
                  </a:cubicBezTo>
                  <a:lnTo>
                    <a:pt x="851" y="1733"/>
                  </a:lnTo>
                  <a:close/>
                  <a:moveTo>
                    <a:pt x="9105" y="882"/>
                  </a:moveTo>
                  <a:lnTo>
                    <a:pt x="9105" y="3812"/>
                  </a:lnTo>
                  <a:cubicBezTo>
                    <a:pt x="9105" y="5419"/>
                    <a:pt x="7813" y="6679"/>
                    <a:pt x="6207" y="6679"/>
                  </a:cubicBezTo>
                  <a:cubicBezTo>
                    <a:pt x="4600" y="6679"/>
                    <a:pt x="3308" y="5387"/>
                    <a:pt x="3308" y="3812"/>
                  </a:cubicBezTo>
                  <a:lnTo>
                    <a:pt x="3308" y="882"/>
                  </a:lnTo>
                  <a:close/>
                  <a:moveTo>
                    <a:pt x="6648" y="7467"/>
                  </a:moveTo>
                  <a:lnTo>
                    <a:pt x="6648" y="8601"/>
                  </a:lnTo>
                  <a:lnTo>
                    <a:pt x="5797" y="8601"/>
                  </a:lnTo>
                  <a:lnTo>
                    <a:pt x="5797" y="7467"/>
                  </a:lnTo>
                  <a:cubicBezTo>
                    <a:pt x="5923" y="7467"/>
                    <a:pt x="6081" y="7498"/>
                    <a:pt x="6207" y="7498"/>
                  </a:cubicBezTo>
                  <a:cubicBezTo>
                    <a:pt x="6301" y="7498"/>
                    <a:pt x="6459" y="7498"/>
                    <a:pt x="6648" y="7467"/>
                  </a:cubicBezTo>
                  <a:close/>
                  <a:moveTo>
                    <a:pt x="7057" y="9389"/>
                  </a:moveTo>
                  <a:cubicBezTo>
                    <a:pt x="7309" y="9389"/>
                    <a:pt x="7498" y="9609"/>
                    <a:pt x="7498" y="9830"/>
                  </a:cubicBezTo>
                  <a:lnTo>
                    <a:pt x="7498" y="10271"/>
                  </a:lnTo>
                  <a:lnTo>
                    <a:pt x="5009" y="10271"/>
                  </a:lnTo>
                  <a:lnTo>
                    <a:pt x="5009" y="9830"/>
                  </a:lnTo>
                  <a:lnTo>
                    <a:pt x="4978" y="9830"/>
                  </a:lnTo>
                  <a:cubicBezTo>
                    <a:pt x="4978" y="9609"/>
                    <a:pt x="5167" y="9389"/>
                    <a:pt x="5419" y="9389"/>
                  </a:cubicBezTo>
                  <a:close/>
                  <a:moveTo>
                    <a:pt x="8727" y="11090"/>
                  </a:moveTo>
                  <a:cubicBezTo>
                    <a:pt x="8948" y="11090"/>
                    <a:pt x="9105" y="11279"/>
                    <a:pt x="9105" y="11499"/>
                  </a:cubicBezTo>
                  <a:lnTo>
                    <a:pt x="9105" y="11909"/>
                  </a:lnTo>
                  <a:lnTo>
                    <a:pt x="3308" y="11909"/>
                  </a:lnTo>
                  <a:lnTo>
                    <a:pt x="3308" y="11499"/>
                  </a:lnTo>
                  <a:cubicBezTo>
                    <a:pt x="3308" y="11247"/>
                    <a:pt x="3529" y="11090"/>
                    <a:pt x="3718" y="11090"/>
                  </a:cubicBezTo>
                  <a:close/>
                  <a:moveTo>
                    <a:pt x="2899" y="0"/>
                  </a:moveTo>
                  <a:cubicBezTo>
                    <a:pt x="2647" y="0"/>
                    <a:pt x="2489" y="189"/>
                    <a:pt x="2489" y="410"/>
                  </a:cubicBezTo>
                  <a:lnTo>
                    <a:pt x="2489" y="819"/>
                  </a:lnTo>
                  <a:lnTo>
                    <a:pt x="410" y="819"/>
                  </a:lnTo>
                  <a:cubicBezTo>
                    <a:pt x="221" y="882"/>
                    <a:pt x="0" y="1040"/>
                    <a:pt x="0" y="1292"/>
                  </a:cubicBezTo>
                  <a:lnTo>
                    <a:pt x="0" y="2930"/>
                  </a:lnTo>
                  <a:cubicBezTo>
                    <a:pt x="0" y="4568"/>
                    <a:pt x="1323" y="5860"/>
                    <a:pt x="2930" y="5860"/>
                  </a:cubicBezTo>
                  <a:lnTo>
                    <a:pt x="3119" y="5860"/>
                  </a:lnTo>
                  <a:cubicBezTo>
                    <a:pt x="3560" y="6522"/>
                    <a:pt x="4222" y="7026"/>
                    <a:pt x="4978" y="7309"/>
                  </a:cubicBezTo>
                  <a:lnTo>
                    <a:pt x="4978" y="8695"/>
                  </a:lnTo>
                  <a:cubicBezTo>
                    <a:pt x="4505" y="8853"/>
                    <a:pt x="4159" y="9326"/>
                    <a:pt x="4159" y="9861"/>
                  </a:cubicBezTo>
                  <a:lnTo>
                    <a:pt x="4159" y="10302"/>
                  </a:lnTo>
                  <a:lnTo>
                    <a:pt x="3749" y="10302"/>
                  </a:lnTo>
                  <a:cubicBezTo>
                    <a:pt x="3088" y="10302"/>
                    <a:pt x="2521" y="10869"/>
                    <a:pt x="2521" y="11531"/>
                  </a:cubicBezTo>
                  <a:lnTo>
                    <a:pt x="2521" y="12350"/>
                  </a:lnTo>
                  <a:cubicBezTo>
                    <a:pt x="2521" y="12571"/>
                    <a:pt x="2741" y="12791"/>
                    <a:pt x="2930" y="12791"/>
                  </a:cubicBezTo>
                  <a:lnTo>
                    <a:pt x="9546" y="12791"/>
                  </a:lnTo>
                  <a:cubicBezTo>
                    <a:pt x="9767" y="12791"/>
                    <a:pt x="9924" y="12571"/>
                    <a:pt x="9924" y="12350"/>
                  </a:cubicBezTo>
                  <a:lnTo>
                    <a:pt x="9924" y="11499"/>
                  </a:lnTo>
                  <a:cubicBezTo>
                    <a:pt x="9924" y="10806"/>
                    <a:pt x="9389" y="10271"/>
                    <a:pt x="8727" y="10271"/>
                  </a:cubicBezTo>
                  <a:lnTo>
                    <a:pt x="8286" y="10271"/>
                  </a:lnTo>
                  <a:lnTo>
                    <a:pt x="8286" y="9830"/>
                  </a:lnTo>
                  <a:cubicBezTo>
                    <a:pt x="8286" y="9294"/>
                    <a:pt x="7939" y="8853"/>
                    <a:pt x="7467" y="8664"/>
                  </a:cubicBezTo>
                  <a:lnTo>
                    <a:pt x="7467" y="7278"/>
                  </a:lnTo>
                  <a:cubicBezTo>
                    <a:pt x="8191" y="6994"/>
                    <a:pt x="8885" y="6490"/>
                    <a:pt x="9294" y="5828"/>
                  </a:cubicBezTo>
                  <a:lnTo>
                    <a:pt x="9515" y="5828"/>
                  </a:lnTo>
                  <a:cubicBezTo>
                    <a:pt x="11121" y="5828"/>
                    <a:pt x="12382" y="4505"/>
                    <a:pt x="12382" y="2899"/>
                  </a:cubicBezTo>
                  <a:lnTo>
                    <a:pt x="12382" y="1260"/>
                  </a:lnTo>
                  <a:cubicBezTo>
                    <a:pt x="12382" y="1008"/>
                    <a:pt x="12193" y="819"/>
                    <a:pt x="11972" y="819"/>
                  </a:cubicBezTo>
                  <a:lnTo>
                    <a:pt x="9893" y="819"/>
                  </a:lnTo>
                  <a:lnTo>
                    <a:pt x="9893" y="410"/>
                  </a:lnTo>
                  <a:cubicBezTo>
                    <a:pt x="9893" y="189"/>
                    <a:pt x="9704" y="0"/>
                    <a:pt x="95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2" name="Google Shape;6772;p73"/>
            <p:cNvSpPr/>
            <p:nvPr/>
          </p:nvSpPr>
          <p:spPr>
            <a:xfrm>
              <a:off x="-62044825" y="1972200"/>
              <a:ext cx="107125" cy="97700"/>
            </a:xfrm>
            <a:custGeom>
              <a:avLst/>
              <a:gdLst/>
              <a:ahLst/>
              <a:cxnLst/>
              <a:rect l="l" t="t" r="r" b="b"/>
              <a:pathLst>
                <a:path w="4285" h="3908" extrusionOk="0">
                  <a:moveTo>
                    <a:pt x="2111" y="1308"/>
                  </a:moveTo>
                  <a:lnTo>
                    <a:pt x="2237" y="1560"/>
                  </a:lnTo>
                  <a:cubicBezTo>
                    <a:pt x="2300" y="1686"/>
                    <a:pt x="2395" y="1781"/>
                    <a:pt x="2552" y="1812"/>
                  </a:cubicBezTo>
                  <a:lnTo>
                    <a:pt x="2867" y="1844"/>
                  </a:lnTo>
                  <a:lnTo>
                    <a:pt x="2615" y="2033"/>
                  </a:lnTo>
                  <a:cubicBezTo>
                    <a:pt x="2552" y="2127"/>
                    <a:pt x="2458" y="2285"/>
                    <a:pt x="2521" y="2411"/>
                  </a:cubicBezTo>
                  <a:lnTo>
                    <a:pt x="2552" y="2726"/>
                  </a:lnTo>
                  <a:lnTo>
                    <a:pt x="2269" y="2568"/>
                  </a:lnTo>
                  <a:cubicBezTo>
                    <a:pt x="2206" y="2505"/>
                    <a:pt x="2143" y="2505"/>
                    <a:pt x="2080" y="2505"/>
                  </a:cubicBezTo>
                  <a:cubicBezTo>
                    <a:pt x="1985" y="2505"/>
                    <a:pt x="1954" y="2505"/>
                    <a:pt x="1891" y="2568"/>
                  </a:cubicBezTo>
                  <a:lnTo>
                    <a:pt x="1607" y="2726"/>
                  </a:lnTo>
                  <a:lnTo>
                    <a:pt x="1639" y="2411"/>
                  </a:lnTo>
                  <a:cubicBezTo>
                    <a:pt x="1670" y="2285"/>
                    <a:pt x="1607" y="2127"/>
                    <a:pt x="1513" y="2033"/>
                  </a:cubicBezTo>
                  <a:lnTo>
                    <a:pt x="1292" y="1844"/>
                  </a:lnTo>
                  <a:lnTo>
                    <a:pt x="1670" y="1812"/>
                  </a:lnTo>
                  <a:cubicBezTo>
                    <a:pt x="1796" y="1812"/>
                    <a:pt x="1922" y="1686"/>
                    <a:pt x="1985" y="1560"/>
                  </a:cubicBezTo>
                  <a:lnTo>
                    <a:pt x="2111" y="1308"/>
                  </a:lnTo>
                  <a:close/>
                  <a:moveTo>
                    <a:pt x="2143" y="1"/>
                  </a:moveTo>
                  <a:cubicBezTo>
                    <a:pt x="1993" y="1"/>
                    <a:pt x="1843" y="79"/>
                    <a:pt x="1765" y="237"/>
                  </a:cubicBezTo>
                  <a:lnTo>
                    <a:pt x="1355" y="1056"/>
                  </a:lnTo>
                  <a:lnTo>
                    <a:pt x="473" y="1182"/>
                  </a:lnTo>
                  <a:cubicBezTo>
                    <a:pt x="95" y="1214"/>
                    <a:pt x="0" y="1655"/>
                    <a:pt x="221" y="1875"/>
                  </a:cubicBezTo>
                  <a:lnTo>
                    <a:pt x="851" y="2505"/>
                  </a:lnTo>
                  <a:lnTo>
                    <a:pt x="693" y="3419"/>
                  </a:lnTo>
                  <a:cubicBezTo>
                    <a:pt x="668" y="3693"/>
                    <a:pt x="880" y="3908"/>
                    <a:pt x="1110" y="3908"/>
                  </a:cubicBezTo>
                  <a:cubicBezTo>
                    <a:pt x="1171" y="3908"/>
                    <a:pt x="1233" y="3893"/>
                    <a:pt x="1292" y="3860"/>
                  </a:cubicBezTo>
                  <a:lnTo>
                    <a:pt x="2111" y="3419"/>
                  </a:lnTo>
                  <a:lnTo>
                    <a:pt x="2930" y="3860"/>
                  </a:lnTo>
                  <a:cubicBezTo>
                    <a:pt x="2992" y="3891"/>
                    <a:pt x="3056" y="3905"/>
                    <a:pt x="3119" y="3905"/>
                  </a:cubicBezTo>
                  <a:cubicBezTo>
                    <a:pt x="3376" y="3905"/>
                    <a:pt x="3605" y="3672"/>
                    <a:pt x="3529" y="3419"/>
                  </a:cubicBezTo>
                  <a:lnTo>
                    <a:pt x="3371" y="2505"/>
                  </a:lnTo>
                  <a:lnTo>
                    <a:pt x="4033" y="1875"/>
                  </a:lnTo>
                  <a:cubicBezTo>
                    <a:pt x="4285" y="1655"/>
                    <a:pt x="4159" y="1214"/>
                    <a:pt x="3812" y="1182"/>
                  </a:cubicBezTo>
                  <a:lnTo>
                    <a:pt x="2899" y="1056"/>
                  </a:lnTo>
                  <a:lnTo>
                    <a:pt x="2521" y="237"/>
                  </a:lnTo>
                  <a:cubicBezTo>
                    <a:pt x="2442" y="79"/>
                    <a:pt x="2292" y="1"/>
                    <a:pt x="21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73" name="Google Shape;6773;p73"/>
          <p:cNvGrpSpPr/>
          <p:nvPr/>
        </p:nvGrpSpPr>
        <p:grpSpPr>
          <a:xfrm>
            <a:off x="1132927" y="4529218"/>
            <a:ext cx="484696" cy="487164"/>
            <a:chOff x="-62150375" y="2297875"/>
            <a:chExt cx="314275" cy="315875"/>
          </a:xfrm>
        </p:grpSpPr>
        <p:sp>
          <p:nvSpPr>
            <p:cNvPr id="6774" name="Google Shape;6774;p73"/>
            <p:cNvSpPr/>
            <p:nvPr/>
          </p:nvSpPr>
          <p:spPr>
            <a:xfrm>
              <a:off x="-61994425" y="2297875"/>
              <a:ext cx="64600" cy="69925"/>
            </a:xfrm>
            <a:custGeom>
              <a:avLst/>
              <a:gdLst/>
              <a:ahLst/>
              <a:cxnLst/>
              <a:rect l="l" t="t" r="r" b="b"/>
              <a:pathLst>
                <a:path w="2584" h="2797" extrusionOk="0">
                  <a:moveTo>
                    <a:pt x="1324" y="1"/>
                  </a:moveTo>
                  <a:cubicBezTo>
                    <a:pt x="1072" y="1"/>
                    <a:pt x="883" y="190"/>
                    <a:pt x="883" y="442"/>
                  </a:cubicBezTo>
                  <a:lnTo>
                    <a:pt x="883" y="1387"/>
                  </a:lnTo>
                  <a:lnTo>
                    <a:pt x="757" y="1261"/>
                  </a:lnTo>
                  <a:cubicBezTo>
                    <a:pt x="678" y="1182"/>
                    <a:pt x="568" y="1143"/>
                    <a:pt x="457" y="1143"/>
                  </a:cubicBezTo>
                  <a:cubicBezTo>
                    <a:pt x="347" y="1143"/>
                    <a:pt x="237" y="1182"/>
                    <a:pt x="158" y="1261"/>
                  </a:cubicBezTo>
                  <a:cubicBezTo>
                    <a:pt x="1" y="1419"/>
                    <a:pt x="1" y="1702"/>
                    <a:pt x="158" y="1860"/>
                  </a:cubicBezTo>
                  <a:lnTo>
                    <a:pt x="1009" y="2679"/>
                  </a:lnTo>
                  <a:cubicBezTo>
                    <a:pt x="1088" y="2758"/>
                    <a:pt x="1190" y="2797"/>
                    <a:pt x="1292" y="2797"/>
                  </a:cubicBezTo>
                  <a:cubicBezTo>
                    <a:pt x="1395" y="2797"/>
                    <a:pt x="1497" y="2758"/>
                    <a:pt x="1576" y="2679"/>
                  </a:cubicBezTo>
                  <a:lnTo>
                    <a:pt x="2426" y="1860"/>
                  </a:lnTo>
                  <a:cubicBezTo>
                    <a:pt x="2584" y="1702"/>
                    <a:pt x="2584" y="1419"/>
                    <a:pt x="2426" y="1261"/>
                  </a:cubicBezTo>
                  <a:cubicBezTo>
                    <a:pt x="2348" y="1182"/>
                    <a:pt x="2237" y="1143"/>
                    <a:pt x="2127" y="1143"/>
                  </a:cubicBezTo>
                  <a:cubicBezTo>
                    <a:pt x="2017" y="1143"/>
                    <a:pt x="1907" y="1182"/>
                    <a:pt x="1828" y="1261"/>
                  </a:cubicBezTo>
                  <a:lnTo>
                    <a:pt x="1702" y="1387"/>
                  </a:lnTo>
                  <a:lnTo>
                    <a:pt x="1702" y="442"/>
                  </a:lnTo>
                  <a:cubicBezTo>
                    <a:pt x="1733" y="190"/>
                    <a:pt x="1544" y="1"/>
                    <a:pt x="13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5" name="Google Shape;6775;p73"/>
            <p:cNvSpPr/>
            <p:nvPr/>
          </p:nvSpPr>
          <p:spPr>
            <a:xfrm>
              <a:off x="-62150375" y="2338050"/>
              <a:ext cx="314275" cy="275700"/>
            </a:xfrm>
            <a:custGeom>
              <a:avLst/>
              <a:gdLst/>
              <a:ahLst/>
              <a:cxnLst/>
              <a:rect l="l" t="t" r="r" b="b"/>
              <a:pathLst>
                <a:path w="12571" h="11028" extrusionOk="0">
                  <a:moveTo>
                    <a:pt x="11752" y="2805"/>
                  </a:moveTo>
                  <a:lnTo>
                    <a:pt x="11059" y="6932"/>
                  </a:lnTo>
                  <a:lnTo>
                    <a:pt x="3970" y="6932"/>
                  </a:lnTo>
                  <a:lnTo>
                    <a:pt x="3183" y="2805"/>
                  </a:lnTo>
                  <a:close/>
                  <a:moveTo>
                    <a:pt x="5199" y="9421"/>
                  </a:moveTo>
                  <a:cubicBezTo>
                    <a:pt x="5388" y="9452"/>
                    <a:pt x="5514" y="9610"/>
                    <a:pt x="5514" y="9830"/>
                  </a:cubicBezTo>
                  <a:cubicBezTo>
                    <a:pt x="5514" y="10051"/>
                    <a:pt x="5293" y="10240"/>
                    <a:pt x="5073" y="10240"/>
                  </a:cubicBezTo>
                  <a:cubicBezTo>
                    <a:pt x="4821" y="10240"/>
                    <a:pt x="4663" y="10051"/>
                    <a:pt x="4663" y="9830"/>
                  </a:cubicBezTo>
                  <a:cubicBezTo>
                    <a:pt x="4663" y="9610"/>
                    <a:pt x="4789" y="9452"/>
                    <a:pt x="4978" y="9421"/>
                  </a:cubicBezTo>
                  <a:close/>
                  <a:moveTo>
                    <a:pt x="9830" y="9421"/>
                  </a:moveTo>
                  <a:cubicBezTo>
                    <a:pt x="10019" y="9452"/>
                    <a:pt x="10145" y="9610"/>
                    <a:pt x="10145" y="9830"/>
                  </a:cubicBezTo>
                  <a:cubicBezTo>
                    <a:pt x="10145" y="10051"/>
                    <a:pt x="9956" y="10240"/>
                    <a:pt x="9704" y="10240"/>
                  </a:cubicBezTo>
                  <a:cubicBezTo>
                    <a:pt x="9484" y="10240"/>
                    <a:pt x="9326" y="10051"/>
                    <a:pt x="9326" y="9830"/>
                  </a:cubicBezTo>
                  <a:cubicBezTo>
                    <a:pt x="9358" y="9610"/>
                    <a:pt x="9484" y="9452"/>
                    <a:pt x="9673" y="9421"/>
                  </a:cubicBezTo>
                  <a:close/>
                  <a:moveTo>
                    <a:pt x="284" y="1"/>
                  </a:moveTo>
                  <a:cubicBezTo>
                    <a:pt x="190" y="64"/>
                    <a:pt x="1" y="253"/>
                    <a:pt x="1" y="473"/>
                  </a:cubicBezTo>
                  <a:cubicBezTo>
                    <a:pt x="1" y="725"/>
                    <a:pt x="190" y="883"/>
                    <a:pt x="379" y="883"/>
                  </a:cubicBezTo>
                  <a:lnTo>
                    <a:pt x="1954" y="883"/>
                  </a:lnTo>
                  <a:lnTo>
                    <a:pt x="3151" y="7058"/>
                  </a:lnTo>
                  <a:cubicBezTo>
                    <a:pt x="2710" y="7247"/>
                    <a:pt x="2427" y="7688"/>
                    <a:pt x="2427" y="8192"/>
                  </a:cubicBezTo>
                  <a:cubicBezTo>
                    <a:pt x="2427" y="8885"/>
                    <a:pt x="2994" y="9421"/>
                    <a:pt x="3655" y="9421"/>
                  </a:cubicBezTo>
                  <a:lnTo>
                    <a:pt x="3844" y="9421"/>
                  </a:lnTo>
                  <a:cubicBezTo>
                    <a:pt x="3813" y="9547"/>
                    <a:pt x="3781" y="9704"/>
                    <a:pt x="3781" y="9830"/>
                  </a:cubicBezTo>
                  <a:cubicBezTo>
                    <a:pt x="3781" y="10492"/>
                    <a:pt x="4317" y="11027"/>
                    <a:pt x="5010" y="11027"/>
                  </a:cubicBezTo>
                  <a:cubicBezTo>
                    <a:pt x="5672" y="11027"/>
                    <a:pt x="6207" y="10492"/>
                    <a:pt x="6207" y="9830"/>
                  </a:cubicBezTo>
                  <a:cubicBezTo>
                    <a:pt x="6207" y="9673"/>
                    <a:pt x="6176" y="9547"/>
                    <a:pt x="6144" y="9421"/>
                  </a:cubicBezTo>
                  <a:lnTo>
                    <a:pt x="8475" y="9421"/>
                  </a:lnTo>
                  <a:cubicBezTo>
                    <a:pt x="8412" y="9547"/>
                    <a:pt x="8381" y="9704"/>
                    <a:pt x="8381" y="9830"/>
                  </a:cubicBezTo>
                  <a:cubicBezTo>
                    <a:pt x="8381" y="10492"/>
                    <a:pt x="8948" y="11027"/>
                    <a:pt x="9610" y="11027"/>
                  </a:cubicBezTo>
                  <a:cubicBezTo>
                    <a:pt x="10271" y="11027"/>
                    <a:pt x="10870" y="10492"/>
                    <a:pt x="10870" y="9830"/>
                  </a:cubicBezTo>
                  <a:cubicBezTo>
                    <a:pt x="10870" y="9673"/>
                    <a:pt x="10838" y="9547"/>
                    <a:pt x="10775" y="9421"/>
                  </a:cubicBezTo>
                  <a:lnTo>
                    <a:pt x="11405" y="9421"/>
                  </a:lnTo>
                  <a:cubicBezTo>
                    <a:pt x="11657" y="9421"/>
                    <a:pt x="11815" y="9231"/>
                    <a:pt x="11815" y="9042"/>
                  </a:cubicBezTo>
                  <a:cubicBezTo>
                    <a:pt x="11815" y="8822"/>
                    <a:pt x="11626" y="8601"/>
                    <a:pt x="11405" y="8601"/>
                  </a:cubicBezTo>
                  <a:lnTo>
                    <a:pt x="3529" y="8601"/>
                  </a:lnTo>
                  <a:cubicBezTo>
                    <a:pt x="3309" y="8601"/>
                    <a:pt x="3151" y="8412"/>
                    <a:pt x="3151" y="8160"/>
                  </a:cubicBezTo>
                  <a:cubicBezTo>
                    <a:pt x="3151" y="7940"/>
                    <a:pt x="3340" y="7719"/>
                    <a:pt x="3529" y="7719"/>
                  </a:cubicBezTo>
                  <a:lnTo>
                    <a:pt x="11311" y="7719"/>
                  </a:lnTo>
                  <a:cubicBezTo>
                    <a:pt x="11500" y="7719"/>
                    <a:pt x="11689" y="7562"/>
                    <a:pt x="11689" y="7373"/>
                  </a:cubicBezTo>
                  <a:lnTo>
                    <a:pt x="12508" y="2426"/>
                  </a:lnTo>
                  <a:cubicBezTo>
                    <a:pt x="12571" y="2174"/>
                    <a:pt x="12351" y="1954"/>
                    <a:pt x="12130" y="1954"/>
                  </a:cubicBezTo>
                  <a:lnTo>
                    <a:pt x="2899" y="1954"/>
                  </a:lnTo>
                  <a:lnTo>
                    <a:pt x="2584" y="379"/>
                  </a:lnTo>
                  <a:cubicBezTo>
                    <a:pt x="2553" y="158"/>
                    <a:pt x="2395" y="1"/>
                    <a:pt x="22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6" name="Google Shape;6776;p73"/>
            <p:cNvSpPr/>
            <p:nvPr/>
          </p:nvSpPr>
          <p:spPr>
            <a:xfrm>
              <a:off x="-61972375" y="2430200"/>
              <a:ext cx="20500" cy="60675"/>
            </a:xfrm>
            <a:custGeom>
              <a:avLst/>
              <a:gdLst/>
              <a:ahLst/>
              <a:cxnLst/>
              <a:rect l="l" t="t" r="r" b="b"/>
              <a:pathLst>
                <a:path w="820" h="2427" extrusionOk="0">
                  <a:moveTo>
                    <a:pt x="442" y="1"/>
                  </a:moveTo>
                  <a:cubicBezTo>
                    <a:pt x="190" y="1"/>
                    <a:pt x="1" y="190"/>
                    <a:pt x="1" y="379"/>
                  </a:cubicBezTo>
                  <a:lnTo>
                    <a:pt x="1" y="2048"/>
                  </a:lnTo>
                  <a:cubicBezTo>
                    <a:pt x="32" y="2269"/>
                    <a:pt x="221" y="2427"/>
                    <a:pt x="442" y="2427"/>
                  </a:cubicBezTo>
                  <a:cubicBezTo>
                    <a:pt x="662" y="2427"/>
                    <a:pt x="820" y="2237"/>
                    <a:pt x="820" y="2048"/>
                  </a:cubicBezTo>
                  <a:lnTo>
                    <a:pt x="820" y="379"/>
                  </a:lnTo>
                  <a:cubicBezTo>
                    <a:pt x="820" y="158"/>
                    <a:pt x="631" y="1"/>
                    <a:pt x="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7" name="Google Shape;6777;p73"/>
            <p:cNvSpPr/>
            <p:nvPr/>
          </p:nvSpPr>
          <p:spPr>
            <a:xfrm>
              <a:off x="-61909350" y="2430200"/>
              <a:ext cx="19700" cy="60675"/>
            </a:xfrm>
            <a:custGeom>
              <a:avLst/>
              <a:gdLst/>
              <a:ahLst/>
              <a:cxnLst/>
              <a:rect l="l" t="t" r="r" b="b"/>
              <a:pathLst>
                <a:path w="788" h="2427" extrusionOk="0">
                  <a:moveTo>
                    <a:pt x="378" y="1"/>
                  </a:moveTo>
                  <a:cubicBezTo>
                    <a:pt x="189" y="1"/>
                    <a:pt x="0" y="190"/>
                    <a:pt x="0" y="379"/>
                  </a:cubicBezTo>
                  <a:lnTo>
                    <a:pt x="0" y="2048"/>
                  </a:lnTo>
                  <a:cubicBezTo>
                    <a:pt x="0" y="2269"/>
                    <a:pt x="189" y="2427"/>
                    <a:pt x="378" y="2427"/>
                  </a:cubicBezTo>
                  <a:cubicBezTo>
                    <a:pt x="630" y="2427"/>
                    <a:pt x="788" y="2237"/>
                    <a:pt x="788" y="2048"/>
                  </a:cubicBezTo>
                  <a:lnTo>
                    <a:pt x="788" y="379"/>
                  </a:lnTo>
                  <a:cubicBezTo>
                    <a:pt x="788" y="158"/>
                    <a:pt x="599"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78" name="Google Shape;6778;p73"/>
            <p:cNvSpPr/>
            <p:nvPr/>
          </p:nvSpPr>
          <p:spPr>
            <a:xfrm>
              <a:off x="-62033800" y="2430200"/>
              <a:ext cx="21275" cy="60675"/>
            </a:xfrm>
            <a:custGeom>
              <a:avLst/>
              <a:gdLst/>
              <a:ahLst/>
              <a:cxnLst/>
              <a:rect l="l" t="t" r="r" b="b"/>
              <a:pathLst>
                <a:path w="851" h="2427" extrusionOk="0">
                  <a:moveTo>
                    <a:pt x="410" y="1"/>
                  </a:moveTo>
                  <a:cubicBezTo>
                    <a:pt x="158" y="1"/>
                    <a:pt x="0" y="190"/>
                    <a:pt x="0" y="379"/>
                  </a:cubicBezTo>
                  <a:lnTo>
                    <a:pt x="0" y="2048"/>
                  </a:lnTo>
                  <a:cubicBezTo>
                    <a:pt x="0" y="2269"/>
                    <a:pt x="221" y="2427"/>
                    <a:pt x="410" y="2427"/>
                  </a:cubicBezTo>
                  <a:cubicBezTo>
                    <a:pt x="630" y="2427"/>
                    <a:pt x="851" y="2237"/>
                    <a:pt x="851" y="2048"/>
                  </a:cubicBezTo>
                  <a:lnTo>
                    <a:pt x="851" y="379"/>
                  </a:lnTo>
                  <a:cubicBezTo>
                    <a:pt x="851" y="158"/>
                    <a:pt x="630"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79" name="Google Shape;6779;p73"/>
          <p:cNvGrpSpPr/>
          <p:nvPr/>
        </p:nvGrpSpPr>
        <p:grpSpPr>
          <a:xfrm>
            <a:off x="1131097" y="5117542"/>
            <a:ext cx="488359" cy="490788"/>
            <a:chOff x="-62150375" y="2664925"/>
            <a:chExt cx="316650" cy="318225"/>
          </a:xfrm>
        </p:grpSpPr>
        <p:sp>
          <p:nvSpPr>
            <p:cNvPr id="6780" name="Google Shape;6780;p73"/>
            <p:cNvSpPr/>
            <p:nvPr/>
          </p:nvSpPr>
          <p:spPr>
            <a:xfrm>
              <a:off x="-62150375" y="2961850"/>
              <a:ext cx="316650" cy="21300"/>
            </a:xfrm>
            <a:custGeom>
              <a:avLst/>
              <a:gdLst/>
              <a:ahLst/>
              <a:cxnLst/>
              <a:rect l="l" t="t" r="r" b="b"/>
              <a:pathLst>
                <a:path w="12666" h="852" extrusionOk="0">
                  <a:moveTo>
                    <a:pt x="379" y="0"/>
                  </a:moveTo>
                  <a:cubicBezTo>
                    <a:pt x="158" y="0"/>
                    <a:pt x="1" y="189"/>
                    <a:pt x="1" y="410"/>
                  </a:cubicBezTo>
                  <a:cubicBezTo>
                    <a:pt x="1" y="662"/>
                    <a:pt x="190" y="851"/>
                    <a:pt x="379" y="851"/>
                  </a:cubicBezTo>
                  <a:lnTo>
                    <a:pt x="12225" y="851"/>
                  </a:lnTo>
                  <a:cubicBezTo>
                    <a:pt x="12477" y="851"/>
                    <a:pt x="12634" y="662"/>
                    <a:pt x="12634" y="410"/>
                  </a:cubicBezTo>
                  <a:cubicBezTo>
                    <a:pt x="12666" y="158"/>
                    <a:pt x="12477" y="0"/>
                    <a:pt x="122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1" name="Google Shape;6781;p73"/>
            <p:cNvSpPr/>
            <p:nvPr/>
          </p:nvSpPr>
          <p:spPr>
            <a:xfrm>
              <a:off x="-62150375" y="2838200"/>
              <a:ext cx="82725" cy="102400"/>
            </a:xfrm>
            <a:custGeom>
              <a:avLst/>
              <a:gdLst/>
              <a:ahLst/>
              <a:cxnLst/>
              <a:rect l="l" t="t" r="r" b="b"/>
              <a:pathLst>
                <a:path w="3309" h="4096" extrusionOk="0">
                  <a:moveTo>
                    <a:pt x="2363" y="756"/>
                  </a:moveTo>
                  <a:cubicBezTo>
                    <a:pt x="2427" y="756"/>
                    <a:pt x="2521" y="851"/>
                    <a:pt x="2521" y="914"/>
                  </a:cubicBezTo>
                  <a:lnTo>
                    <a:pt x="2521" y="3119"/>
                  </a:lnTo>
                  <a:cubicBezTo>
                    <a:pt x="2521" y="3214"/>
                    <a:pt x="2427" y="3245"/>
                    <a:pt x="2363" y="3245"/>
                  </a:cubicBezTo>
                  <a:lnTo>
                    <a:pt x="977" y="3245"/>
                  </a:lnTo>
                  <a:cubicBezTo>
                    <a:pt x="883" y="3245"/>
                    <a:pt x="820" y="3151"/>
                    <a:pt x="820" y="3119"/>
                  </a:cubicBezTo>
                  <a:lnTo>
                    <a:pt x="820" y="914"/>
                  </a:lnTo>
                  <a:cubicBezTo>
                    <a:pt x="820" y="851"/>
                    <a:pt x="883" y="756"/>
                    <a:pt x="977" y="756"/>
                  </a:cubicBezTo>
                  <a:close/>
                  <a:moveTo>
                    <a:pt x="946" y="0"/>
                  </a:moveTo>
                  <a:cubicBezTo>
                    <a:pt x="379" y="0"/>
                    <a:pt x="1" y="441"/>
                    <a:pt x="1" y="945"/>
                  </a:cubicBezTo>
                  <a:lnTo>
                    <a:pt x="1" y="3151"/>
                  </a:lnTo>
                  <a:cubicBezTo>
                    <a:pt x="1" y="3686"/>
                    <a:pt x="410" y="4096"/>
                    <a:pt x="946" y="4096"/>
                  </a:cubicBezTo>
                  <a:lnTo>
                    <a:pt x="2300" y="4096"/>
                  </a:lnTo>
                  <a:cubicBezTo>
                    <a:pt x="2868" y="4096"/>
                    <a:pt x="3309" y="3686"/>
                    <a:pt x="3309" y="3151"/>
                  </a:cubicBezTo>
                  <a:lnTo>
                    <a:pt x="3309" y="945"/>
                  </a:lnTo>
                  <a:cubicBezTo>
                    <a:pt x="3309" y="410"/>
                    <a:pt x="2868" y="0"/>
                    <a:pt x="23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2" name="Google Shape;6782;p73"/>
            <p:cNvSpPr/>
            <p:nvPr/>
          </p:nvSpPr>
          <p:spPr>
            <a:xfrm>
              <a:off x="-62033800" y="2664925"/>
              <a:ext cx="82725" cy="274900"/>
            </a:xfrm>
            <a:custGeom>
              <a:avLst/>
              <a:gdLst/>
              <a:ahLst/>
              <a:cxnLst/>
              <a:rect l="l" t="t" r="r" b="b"/>
              <a:pathLst>
                <a:path w="3309" h="10996" extrusionOk="0">
                  <a:moveTo>
                    <a:pt x="2332" y="788"/>
                  </a:moveTo>
                  <a:cubicBezTo>
                    <a:pt x="2426" y="851"/>
                    <a:pt x="2489" y="882"/>
                    <a:pt x="2489" y="945"/>
                  </a:cubicBezTo>
                  <a:lnTo>
                    <a:pt x="2489" y="10050"/>
                  </a:lnTo>
                  <a:cubicBezTo>
                    <a:pt x="2489" y="10145"/>
                    <a:pt x="2426" y="10176"/>
                    <a:pt x="2332" y="10176"/>
                  </a:cubicBezTo>
                  <a:lnTo>
                    <a:pt x="946" y="10176"/>
                  </a:lnTo>
                  <a:cubicBezTo>
                    <a:pt x="882" y="10176"/>
                    <a:pt x="851" y="10082"/>
                    <a:pt x="851" y="10050"/>
                  </a:cubicBezTo>
                  <a:lnTo>
                    <a:pt x="851" y="945"/>
                  </a:lnTo>
                  <a:cubicBezTo>
                    <a:pt x="851" y="882"/>
                    <a:pt x="914" y="788"/>
                    <a:pt x="946" y="788"/>
                  </a:cubicBezTo>
                  <a:close/>
                  <a:moveTo>
                    <a:pt x="946" y="0"/>
                  </a:moveTo>
                  <a:cubicBezTo>
                    <a:pt x="410" y="0"/>
                    <a:pt x="0" y="441"/>
                    <a:pt x="0" y="945"/>
                  </a:cubicBezTo>
                  <a:lnTo>
                    <a:pt x="0" y="10050"/>
                  </a:lnTo>
                  <a:cubicBezTo>
                    <a:pt x="0" y="10617"/>
                    <a:pt x="441" y="10995"/>
                    <a:pt x="946" y="10995"/>
                  </a:cubicBezTo>
                  <a:lnTo>
                    <a:pt x="2332" y="10995"/>
                  </a:lnTo>
                  <a:cubicBezTo>
                    <a:pt x="2899" y="10995"/>
                    <a:pt x="3308" y="10554"/>
                    <a:pt x="3308" y="10050"/>
                  </a:cubicBezTo>
                  <a:lnTo>
                    <a:pt x="3308" y="945"/>
                  </a:lnTo>
                  <a:cubicBezTo>
                    <a:pt x="3308" y="410"/>
                    <a:pt x="2899" y="0"/>
                    <a:pt x="23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3" name="Google Shape;6783;p73"/>
            <p:cNvSpPr/>
            <p:nvPr/>
          </p:nvSpPr>
          <p:spPr>
            <a:xfrm>
              <a:off x="-61917225" y="2754700"/>
              <a:ext cx="83500" cy="185900"/>
            </a:xfrm>
            <a:custGeom>
              <a:avLst/>
              <a:gdLst/>
              <a:ahLst/>
              <a:cxnLst/>
              <a:rect l="l" t="t" r="r" b="b"/>
              <a:pathLst>
                <a:path w="3340" h="7436" extrusionOk="0">
                  <a:moveTo>
                    <a:pt x="2394" y="788"/>
                  </a:moveTo>
                  <a:cubicBezTo>
                    <a:pt x="2489" y="788"/>
                    <a:pt x="2520" y="883"/>
                    <a:pt x="2520" y="946"/>
                  </a:cubicBezTo>
                  <a:lnTo>
                    <a:pt x="2520" y="6459"/>
                  </a:lnTo>
                  <a:cubicBezTo>
                    <a:pt x="2520" y="6554"/>
                    <a:pt x="2426" y="6585"/>
                    <a:pt x="2394" y="6585"/>
                  </a:cubicBezTo>
                  <a:lnTo>
                    <a:pt x="1008" y="6585"/>
                  </a:lnTo>
                  <a:cubicBezTo>
                    <a:pt x="945" y="6585"/>
                    <a:pt x="851" y="6491"/>
                    <a:pt x="851" y="6459"/>
                  </a:cubicBezTo>
                  <a:lnTo>
                    <a:pt x="851" y="946"/>
                  </a:lnTo>
                  <a:cubicBezTo>
                    <a:pt x="851" y="883"/>
                    <a:pt x="945" y="788"/>
                    <a:pt x="1008" y="788"/>
                  </a:cubicBezTo>
                  <a:close/>
                  <a:moveTo>
                    <a:pt x="977" y="1"/>
                  </a:moveTo>
                  <a:cubicBezTo>
                    <a:pt x="441" y="1"/>
                    <a:pt x="0" y="442"/>
                    <a:pt x="0" y="977"/>
                  </a:cubicBezTo>
                  <a:lnTo>
                    <a:pt x="0" y="6491"/>
                  </a:lnTo>
                  <a:cubicBezTo>
                    <a:pt x="0" y="7058"/>
                    <a:pt x="441" y="7436"/>
                    <a:pt x="977" y="7436"/>
                  </a:cubicBezTo>
                  <a:lnTo>
                    <a:pt x="2363" y="7436"/>
                  </a:lnTo>
                  <a:cubicBezTo>
                    <a:pt x="2899" y="7436"/>
                    <a:pt x="3308" y="7026"/>
                    <a:pt x="3308" y="6491"/>
                  </a:cubicBezTo>
                  <a:lnTo>
                    <a:pt x="3308" y="977"/>
                  </a:lnTo>
                  <a:cubicBezTo>
                    <a:pt x="3340" y="442"/>
                    <a:pt x="2899" y="1"/>
                    <a:pt x="23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84" name="Google Shape;6784;p73"/>
          <p:cNvGrpSpPr/>
          <p:nvPr/>
        </p:nvGrpSpPr>
        <p:grpSpPr>
          <a:xfrm>
            <a:off x="4087882" y="3945511"/>
            <a:ext cx="489553" cy="491868"/>
            <a:chOff x="-60254550" y="1938025"/>
            <a:chExt cx="317425" cy="318925"/>
          </a:xfrm>
        </p:grpSpPr>
        <p:sp>
          <p:nvSpPr>
            <p:cNvPr id="6785" name="Google Shape;6785;p73"/>
            <p:cNvSpPr/>
            <p:nvPr/>
          </p:nvSpPr>
          <p:spPr>
            <a:xfrm>
              <a:off x="-60254550" y="2049000"/>
              <a:ext cx="317425" cy="207950"/>
            </a:xfrm>
            <a:custGeom>
              <a:avLst/>
              <a:gdLst/>
              <a:ahLst/>
              <a:cxnLst/>
              <a:rect l="l" t="t" r="r" b="b"/>
              <a:pathLst>
                <a:path w="12697" h="8318" extrusionOk="0">
                  <a:moveTo>
                    <a:pt x="10428" y="1639"/>
                  </a:moveTo>
                  <a:cubicBezTo>
                    <a:pt x="11184" y="1639"/>
                    <a:pt x="11814" y="2269"/>
                    <a:pt x="11814" y="3025"/>
                  </a:cubicBezTo>
                  <a:cubicBezTo>
                    <a:pt x="11814" y="3781"/>
                    <a:pt x="11184" y="4411"/>
                    <a:pt x="10428" y="4411"/>
                  </a:cubicBezTo>
                  <a:lnTo>
                    <a:pt x="9767" y="4411"/>
                  </a:lnTo>
                  <a:cubicBezTo>
                    <a:pt x="9861" y="4033"/>
                    <a:pt x="9893" y="3686"/>
                    <a:pt x="9893" y="3308"/>
                  </a:cubicBezTo>
                  <a:lnTo>
                    <a:pt x="9893" y="1639"/>
                  </a:lnTo>
                  <a:close/>
                  <a:moveTo>
                    <a:pt x="9073" y="819"/>
                  </a:moveTo>
                  <a:lnTo>
                    <a:pt x="9073" y="3308"/>
                  </a:lnTo>
                  <a:cubicBezTo>
                    <a:pt x="9073" y="5577"/>
                    <a:pt x="7215" y="7435"/>
                    <a:pt x="4915" y="7435"/>
                  </a:cubicBezTo>
                  <a:cubicBezTo>
                    <a:pt x="2646" y="7435"/>
                    <a:pt x="788" y="5577"/>
                    <a:pt x="788" y="3308"/>
                  </a:cubicBezTo>
                  <a:lnTo>
                    <a:pt x="788" y="819"/>
                  </a:lnTo>
                  <a:close/>
                  <a:moveTo>
                    <a:pt x="410" y="0"/>
                  </a:moveTo>
                  <a:cubicBezTo>
                    <a:pt x="158" y="0"/>
                    <a:pt x="0" y="189"/>
                    <a:pt x="0" y="441"/>
                  </a:cubicBezTo>
                  <a:lnTo>
                    <a:pt x="0" y="3308"/>
                  </a:lnTo>
                  <a:cubicBezTo>
                    <a:pt x="0" y="5041"/>
                    <a:pt x="882" y="6522"/>
                    <a:pt x="2205" y="7435"/>
                  </a:cubicBezTo>
                  <a:lnTo>
                    <a:pt x="410" y="7435"/>
                  </a:lnTo>
                  <a:cubicBezTo>
                    <a:pt x="158" y="7435"/>
                    <a:pt x="0" y="7624"/>
                    <a:pt x="0" y="7877"/>
                  </a:cubicBezTo>
                  <a:cubicBezTo>
                    <a:pt x="0" y="8097"/>
                    <a:pt x="189" y="8318"/>
                    <a:pt x="410" y="8318"/>
                  </a:cubicBezTo>
                  <a:lnTo>
                    <a:pt x="9483" y="8318"/>
                  </a:lnTo>
                  <a:cubicBezTo>
                    <a:pt x="9735" y="8318"/>
                    <a:pt x="9893" y="8097"/>
                    <a:pt x="9893" y="7877"/>
                  </a:cubicBezTo>
                  <a:cubicBezTo>
                    <a:pt x="9893" y="7624"/>
                    <a:pt x="9704" y="7435"/>
                    <a:pt x="9483" y="7435"/>
                  </a:cubicBezTo>
                  <a:lnTo>
                    <a:pt x="7687" y="7435"/>
                  </a:lnTo>
                  <a:cubicBezTo>
                    <a:pt x="8506" y="6900"/>
                    <a:pt x="9137" y="6144"/>
                    <a:pt x="9546" y="5230"/>
                  </a:cubicBezTo>
                  <a:lnTo>
                    <a:pt x="10491" y="5230"/>
                  </a:lnTo>
                  <a:cubicBezTo>
                    <a:pt x="11688" y="5230"/>
                    <a:pt x="12697" y="4253"/>
                    <a:pt x="12697" y="3025"/>
                  </a:cubicBezTo>
                  <a:cubicBezTo>
                    <a:pt x="12697" y="1796"/>
                    <a:pt x="11657" y="819"/>
                    <a:pt x="10428" y="819"/>
                  </a:cubicBezTo>
                  <a:lnTo>
                    <a:pt x="9893" y="819"/>
                  </a:lnTo>
                  <a:lnTo>
                    <a:pt x="9893" y="441"/>
                  </a:lnTo>
                  <a:cubicBezTo>
                    <a:pt x="9893" y="189"/>
                    <a:pt x="9704" y="0"/>
                    <a:pt x="94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6" name="Google Shape;6786;p73"/>
            <p:cNvSpPr/>
            <p:nvPr/>
          </p:nvSpPr>
          <p:spPr>
            <a:xfrm>
              <a:off x="-60219125" y="1938025"/>
              <a:ext cx="51225" cy="103625"/>
            </a:xfrm>
            <a:custGeom>
              <a:avLst/>
              <a:gdLst/>
              <a:ahLst/>
              <a:cxnLst/>
              <a:rect l="l" t="t" r="r" b="b"/>
              <a:pathLst>
                <a:path w="2049" h="4145" extrusionOk="0">
                  <a:moveTo>
                    <a:pt x="1068" y="0"/>
                  </a:moveTo>
                  <a:cubicBezTo>
                    <a:pt x="947" y="0"/>
                    <a:pt x="819" y="61"/>
                    <a:pt x="725" y="155"/>
                  </a:cubicBezTo>
                  <a:cubicBezTo>
                    <a:pt x="568" y="312"/>
                    <a:pt x="568" y="564"/>
                    <a:pt x="757" y="722"/>
                  </a:cubicBezTo>
                  <a:cubicBezTo>
                    <a:pt x="1103" y="1100"/>
                    <a:pt x="1103" y="1446"/>
                    <a:pt x="757" y="1761"/>
                  </a:cubicBezTo>
                  <a:cubicBezTo>
                    <a:pt x="32" y="2392"/>
                    <a:pt x="1" y="3368"/>
                    <a:pt x="757" y="4030"/>
                  </a:cubicBezTo>
                  <a:cubicBezTo>
                    <a:pt x="832" y="4105"/>
                    <a:pt x="936" y="4144"/>
                    <a:pt x="1041" y="4144"/>
                  </a:cubicBezTo>
                  <a:cubicBezTo>
                    <a:pt x="1156" y="4144"/>
                    <a:pt x="1273" y="4097"/>
                    <a:pt x="1356" y="3998"/>
                  </a:cubicBezTo>
                  <a:cubicBezTo>
                    <a:pt x="1513" y="3841"/>
                    <a:pt x="1513" y="3557"/>
                    <a:pt x="1292" y="3400"/>
                  </a:cubicBezTo>
                  <a:cubicBezTo>
                    <a:pt x="946" y="3085"/>
                    <a:pt x="946" y="2707"/>
                    <a:pt x="1292" y="2392"/>
                  </a:cubicBezTo>
                  <a:cubicBezTo>
                    <a:pt x="2017" y="1761"/>
                    <a:pt x="2049" y="785"/>
                    <a:pt x="1292" y="92"/>
                  </a:cubicBezTo>
                  <a:cubicBezTo>
                    <a:pt x="1229" y="28"/>
                    <a:pt x="1150" y="0"/>
                    <a:pt x="10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7" name="Google Shape;6787;p73"/>
            <p:cNvSpPr/>
            <p:nvPr/>
          </p:nvSpPr>
          <p:spPr>
            <a:xfrm>
              <a:off x="-60156900" y="1938025"/>
              <a:ext cx="51225" cy="103625"/>
            </a:xfrm>
            <a:custGeom>
              <a:avLst/>
              <a:gdLst/>
              <a:ahLst/>
              <a:cxnLst/>
              <a:rect l="l" t="t" r="r" b="b"/>
              <a:pathLst>
                <a:path w="2049" h="4145" extrusionOk="0">
                  <a:moveTo>
                    <a:pt x="1057" y="0"/>
                  </a:moveTo>
                  <a:cubicBezTo>
                    <a:pt x="926" y="0"/>
                    <a:pt x="788" y="61"/>
                    <a:pt x="694" y="155"/>
                  </a:cubicBezTo>
                  <a:cubicBezTo>
                    <a:pt x="536" y="312"/>
                    <a:pt x="536" y="564"/>
                    <a:pt x="757" y="722"/>
                  </a:cubicBezTo>
                  <a:cubicBezTo>
                    <a:pt x="1103" y="1100"/>
                    <a:pt x="1103" y="1446"/>
                    <a:pt x="757" y="1761"/>
                  </a:cubicBezTo>
                  <a:cubicBezTo>
                    <a:pt x="32" y="2392"/>
                    <a:pt x="1" y="3368"/>
                    <a:pt x="757" y="4030"/>
                  </a:cubicBezTo>
                  <a:cubicBezTo>
                    <a:pt x="832" y="4105"/>
                    <a:pt x="929" y="4144"/>
                    <a:pt x="1026" y="4144"/>
                  </a:cubicBezTo>
                  <a:cubicBezTo>
                    <a:pt x="1133" y="4144"/>
                    <a:pt x="1242" y="4097"/>
                    <a:pt x="1324" y="3998"/>
                  </a:cubicBezTo>
                  <a:cubicBezTo>
                    <a:pt x="1859" y="3463"/>
                    <a:pt x="473" y="3179"/>
                    <a:pt x="1292" y="2392"/>
                  </a:cubicBezTo>
                  <a:cubicBezTo>
                    <a:pt x="2017" y="1761"/>
                    <a:pt x="2049" y="785"/>
                    <a:pt x="1292" y="92"/>
                  </a:cubicBezTo>
                  <a:cubicBezTo>
                    <a:pt x="1229" y="28"/>
                    <a:pt x="1145" y="0"/>
                    <a:pt x="10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88" name="Google Shape;6788;p73"/>
            <p:cNvSpPr/>
            <p:nvPr/>
          </p:nvSpPr>
          <p:spPr>
            <a:xfrm>
              <a:off x="-60094675" y="1938025"/>
              <a:ext cx="51225" cy="103625"/>
            </a:xfrm>
            <a:custGeom>
              <a:avLst/>
              <a:gdLst/>
              <a:ahLst/>
              <a:cxnLst/>
              <a:rect l="l" t="t" r="r" b="b"/>
              <a:pathLst>
                <a:path w="2049" h="4145" extrusionOk="0">
                  <a:moveTo>
                    <a:pt x="1056" y="0"/>
                  </a:moveTo>
                  <a:cubicBezTo>
                    <a:pt x="926" y="0"/>
                    <a:pt x="788" y="61"/>
                    <a:pt x="694" y="155"/>
                  </a:cubicBezTo>
                  <a:cubicBezTo>
                    <a:pt x="536" y="312"/>
                    <a:pt x="536" y="564"/>
                    <a:pt x="725" y="722"/>
                  </a:cubicBezTo>
                  <a:cubicBezTo>
                    <a:pt x="1103" y="1100"/>
                    <a:pt x="1103" y="1446"/>
                    <a:pt x="725" y="1761"/>
                  </a:cubicBezTo>
                  <a:cubicBezTo>
                    <a:pt x="32" y="2392"/>
                    <a:pt x="1" y="3368"/>
                    <a:pt x="725" y="4030"/>
                  </a:cubicBezTo>
                  <a:cubicBezTo>
                    <a:pt x="800" y="4105"/>
                    <a:pt x="904" y="4144"/>
                    <a:pt x="1009" y="4144"/>
                  </a:cubicBezTo>
                  <a:cubicBezTo>
                    <a:pt x="1125" y="4144"/>
                    <a:pt x="1241" y="4097"/>
                    <a:pt x="1324" y="3998"/>
                  </a:cubicBezTo>
                  <a:cubicBezTo>
                    <a:pt x="1481" y="3841"/>
                    <a:pt x="1481" y="3557"/>
                    <a:pt x="1292" y="3400"/>
                  </a:cubicBezTo>
                  <a:cubicBezTo>
                    <a:pt x="946" y="3085"/>
                    <a:pt x="946" y="2707"/>
                    <a:pt x="1292" y="2392"/>
                  </a:cubicBezTo>
                  <a:cubicBezTo>
                    <a:pt x="1985" y="1761"/>
                    <a:pt x="2048" y="785"/>
                    <a:pt x="1292" y="92"/>
                  </a:cubicBezTo>
                  <a:cubicBezTo>
                    <a:pt x="1229" y="28"/>
                    <a:pt x="1145"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789" name="Google Shape;6789;p73"/>
          <p:cNvGrpSpPr/>
          <p:nvPr/>
        </p:nvGrpSpPr>
        <p:grpSpPr>
          <a:xfrm>
            <a:off x="4053665" y="4528519"/>
            <a:ext cx="488864" cy="488560"/>
            <a:chOff x="6479471" y="2079003"/>
            <a:chExt cx="348923" cy="348706"/>
          </a:xfrm>
        </p:grpSpPr>
        <p:sp>
          <p:nvSpPr>
            <p:cNvPr id="6790" name="Google Shape;6790;p73"/>
            <p:cNvSpPr/>
            <p:nvPr/>
          </p:nvSpPr>
          <p:spPr>
            <a:xfrm>
              <a:off x="6479471" y="2200291"/>
              <a:ext cx="38170" cy="22566"/>
            </a:xfrm>
            <a:custGeom>
              <a:avLst/>
              <a:gdLst/>
              <a:ahLst/>
              <a:cxnLst/>
              <a:rect l="l" t="t" r="r" b="b"/>
              <a:pathLst>
                <a:path w="1387" h="820" extrusionOk="0">
                  <a:moveTo>
                    <a:pt x="379" y="0"/>
                  </a:moveTo>
                  <a:cubicBezTo>
                    <a:pt x="158" y="0"/>
                    <a:pt x="1" y="189"/>
                    <a:pt x="1" y="378"/>
                  </a:cubicBezTo>
                  <a:cubicBezTo>
                    <a:pt x="1" y="630"/>
                    <a:pt x="190" y="819"/>
                    <a:pt x="379" y="819"/>
                  </a:cubicBezTo>
                  <a:lnTo>
                    <a:pt x="946" y="819"/>
                  </a:lnTo>
                  <a:cubicBezTo>
                    <a:pt x="1166" y="819"/>
                    <a:pt x="1387" y="630"/>
                    <a:pt x="1387" y="378"/>
                  </a:cubicBezTo>
                  <a:cubicBezTo>
                    <a:pt x="1387" y="189"/>
                    <a:pt x="1166" y="0"/>
                    <a:pt x="9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791" name="Google Shape;6791;p73"/>
            <p:cNvGrpSpPr/>
            <p:nvPr/>
          </p:nvGrpSpPr>
          <p:grpSpPr>
            <a:xfrm>
              <a:off x="6520582" y="2079003"/>
              <a:ext cx="307811" cy="348706"/>
              <a:chOff x="-60218325" y="2304850"/>
              <a:chExt cx="279625" cy="316775"/>
            </a:xfrm>
          </p:grpSpPr>
          <p:sp>
            <p:nvSpPr>
              <p:cNvPr id="6792" name="Google Shape;6792;p73"/>
              <p:cNvSpPr/>
              <p:nvPr/>
            </p:nvSpPr>
            <p:spPr>
              <a:xfrm>
                <a:off x="-60218325" y="2304850"/>
                <a:ext cx="235525" cy="316775"/>
              </a:xfrm>
              <a:custGeom>
                <a:avLst/>
                <a:gdLst/>
                <a:ahLst/>
                <a:cxnLst/>
                <a:rect l="l" t="t" r="r" b="b"/>
                <a:pathLst>
                  <a:path w="9421" h="12671" extrusionOk="0">
                    <a:moveTo>
                      <a:pt x="4884" y="825"/>
                    </a:moveTo>
                    <a:cubicBezTo>
                      <a:pt x="6994" y="825"/>
                      <a:pt x="8633" y="2463"/>
                      <a:pt x="8633" y="4542"/>
                    </a:cubicBezTo>
                    <a:cubicBezTo>
                      <a:pt x="8570" y="6023"/>
                      <a:pt x="7688" y="7378"/>
                      <a:pt x="6364" y="7945"/>
                    </a:cubicBezTo>
                    <a:cubicBezTo>
                      <a:pt x="6207" y="8039"/>
                      <a:pt x="6112" y="8165"/>
                      <a:pt x="6112" y="8354"/>
                    </a:cubicBezTo>
                    <a:lnTo>
                      <a:pt x="6112" y="8543"/>
                    </a:lnTo>
                    <a:lnTo>
                      <a:pt x="3623" y="8543"/>
                    </a:lnTo>
                    <a:lnTo>
                      <a:pt x="3623" y="8354"/>
                    </a:lnTo>
                    <a:cubicBezTo>
                      <a:pt x="3623" y="8197"/>
                      <a:pt x="3560" y="8039"/>
                      <a:pt x="3403" y="7945"/>
                    </a:cubicBezTo>
                    <a:cubicBezTo>
                      <a:pt x="1828" y="7251"/>
                      <a:pt x="914" y="5582"/>
                      <a:pt x="1229" y="3880"/>
                    </a:cubicBezTo>
                    <a:cubicBezTo>
                      <a:pt x="1481" y="2431"/>
                      <a:pt x="2647" y="1203"/>
                      <a:pt x="4096" y="888"/>
                    </a:cubicBezTo>
                    <a:cubicBezTo>
                      <a:pt x="4379" y="856"/>
                      <a:pt x="4663" y="825"/>
                      <a:pt x="4884" y="825"/>
                    </a:cubicBezTo>
                    <a:close/>
                    <a:moveTo>
                      <a:pt x="6081" y="9362"/>
                    </a:moveTo>
                    <a:lnTo>
                      <a:pt x="6081" y="10213"/>
                    </a:lnTo>
                    <a:lnTo>
                      <a:pt x="3592" y="10213"/>
                    </a:lnTo>
                    <a:lnTo>
                      <a:pt x="3592" y="9362"/>
                    </a:lnTo>
                    <a:close/>
                    <a:moveTo>
                      <a:pt x="5986" y="11032"/>
                    </a:moveTo>
                    <a:cubicBezTo>
                      <a:pt x="5829" y="11505"/>
                      <a:pt x="5419" y="11851"/>
                      <a:pt x="4852" y="11851"/>
                    </a:cubicBezTo>
                    <a:cubicBezTo>
                      <a:pt x="4316" y="11851"/>
                      <a:pt x="3875" y="11505"/>
                      <a:pt x="3686" y="11032"/>
                    </a:cubicBezTo>
                    <a:close/>
                    <a:moveTo>
                      <a:pt x="4842" y="0"/>
                    </a:moveTo>
                    <a:cubicBezTo>
                      <a:pt x="4526" y="0"/>
                      <a:pt x="4202" y="32"/>
                      <a:pt x="3875" y="100"/>
                    </a:cubicBezTo>
                    <a:cubicBezTo>
                      <a:pt x="2111" y="509"/>
                      <a:pt x="693" y="1959"/>
                      <a:pt x="378" y="3723"/>
                    </a:cubicBezTo>
                    <a:cubicBezTo>
                      <a:pt x="0" y="5834"/>
                      <a:pt x="1071" y="7724"/>
                      <a:pt x="2773" y="8575"/>
                    </a:cubicBezTo>
                    <a:lnTo>
                      <a:pt x="2773" y="10591"/>
                    </a:lnTo>
                    <a:cubicBezTo>
                      <a:pt x="2773" y="11725"/>
                      <a:pt x="3718" y="12670"/>
                      <a:pt x="4852" y="12670"/>
                    </a:cubicBezTo>
                    <a:cubicBezTo>
                      <a:pt x="5986" y="12670"/>
                      <a:pt x="6963" y="11725"/>
                      <a:pt x="6963" y="10591"/>
                    </a:cubicBezTo>
                    <a:lnTo>
                      <a:pt x="6963" y="8575"/>
                    </a:lnTo>
                    <a:cubicBezTo>
                      <a:pt x="8444" y="7787"/>
                      <a:pt x="9420" y="6243"/>
                      <a:pt x="9420" y="4511"/>
                    </a:cubicBezTo>
                    <a:cubicBezTo>
                      <a:pt x="9392" y="1995"/>
                      <a:pt x="7331" y="0"/>
                      <a:pt x="48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3" name="Google Shape;6793;p73"/>
              <p:cNvSpPr/>
              <p:nvPr/>
            </p:nvSpPr>
            <p:spPr>
              <a:xfrm>
                <a:off x="-60127750" y="2347500"/>
                <a:ext cx="62250" cy="145750"/>
              </a:xfrm>
              <a:custGeom>
                <a:avLst/>
                <a:gdLst/>
                <a:ahLst/>
                <a:cxnLst/>
                <a:rect l="l" t="t" r="r" b="b"/>
                <a:pathLst>
                  <a:path w="2490" h="5830" extrusionOk="0">
                    <a:moveTo>
                      <a:pt x="1229" y="1"/>
                    </a:moveTo>
                    <a:cubicBezTo>
                      <a:pt x="1009" y="1"/>
                      <a:pt x="851" y="190"/>
                      <a:pt x="851" y="379"/>
                    </a:cubicBezTo>
                    <a:lnTo>
                      <a:pt x="851" y="662"/>
                    </a:lnTo>
                    <a:cubicBezTo>
                      <a:pt x="378" y="820"/>
                      <a:pt x="0" y="1292"/>
                      <a:pt x="0" y="1828"/>
                    </a:cubicBezTo>
                    <a:cubicBezTo>
                      <a:pt x="0" y="2521"/>
                      <a:pt x="567" y="2899"/>
                      <a:pt x="1009" y="3214"/>
                    </a:cubicBezTo>
                    <a:cubicBezTo>
                      <a:pt x="1324" y="3466"/>
                      <a:pt x="1670" y="3687"/>
                      <a:pt x="1670" y="3939"/>
                    </a:cubicBezTo>
                    <a:cubicBezTo>
                      <a:pt x="1670" y="4159"/>
                      <a:pt x="1481" y="4348"/>
                      <a:pt x="1229" y="4348"/>
                    </a:cubicBezTo>
                    <a:cubicBezTo>
                      <a:pt x="1009" y="4348"/>
                      <a:pt x="851" y="4159"/>
                      <a:pt x="851" y="3939"/>
                    </a:cubicBezTo>
                    <a:cubicBezTo>
                      <a:pt x="851" y="3687"/>
                      <a:pt x="630" y="3498"/>
                      <a:pt x="441" y="3498"/>
                    </a:cubicBezTo>
                    <a:cubicBezTo>
                      <a:pt x="221" y="3498"/>
                      <a:pt x="0" y="3687"/>
                      <a:pt x="0" y="3939"/>
                    </a:cubicBezTo>
                    <a:cubicBezTo>
                      <a:pt x="0" y="4474"/>
                      <a:pt x="378" y="4915"/>
                      <a:pt x="851" y="5104"/>
                    </a:cubicBezTo>
                    <a:lnTo>
                      <a:pt x="851" y="5388"/>
                    </a:lnTo>
                    <a:cubicBezTo>
                      <a:pt x="851" y="5608"/>
                      <a:pt x="1040" y="5829"/>
                      <a:pt x="1229" y="5829"/>
                    </a:cubicBezTo>
                    <a:cubicBezTo>
                      <a:pt x="1481" y="5829"/>
                      <a:pt x="1670" y="5608"/>
                      <a:pt x="1670" y="5388"/>
                    </a:cubicBezTo>
                    <a:lnTo>
                      <a:pt x="1670" y="5104"/>
                    </a:lnTo>
                    <a:cubicBezTo>
                      <a:pt x="2143" y="4947"/>
                      <a:pt x="2489" y="4474"/>
                      <a:pt x="2489" y="3939"/>
                    </a:cubicBezTo>
                    <a:cubicBezTo>
                      <a:pt x="2489" y="3246"/>
                      <a:pt x="1954" y="2868"/>
                      <a:pt x="1513" y="2553"/>
                    </a:cubicBezTo>
                    <a:cubicBezTo>
                      <a:pt x="1198" y="2300"/>
                      <a:pt x="851" y="2080"/>
                      <a:pt x="851" y="1828"/>
                    </a:cubicBezTo>
                    <a:cubicBezTo>
                      <a:pt x="788" y="1607"/>
                      <a:pt x="1009" y="1418"/>
                      <a:pt x="1229" y="1418"/>
                    </a:cubicBezTo>
                    <a:cubicBezTo>
                      <a:pt x="1481" y="1418"/>
                      <a:pt x="1670" y="1607"/>
                      <a:pt x="1670" y="1828"/>
                    </a:cubicBezTo>
                    <a:cubicBezTo>
                      <a:pt x="1670" y="2080"/>
                      <a:pt x="1859" y="2269"/>
                      <a:pt x="2048" y="2269"/>
                    </a:cubicBezTo>
                    <a:cubicBezTo>
                      <a:pt x="2300" y="2269"/>
                      <a:pt x="2489" y="2080"/>
                      <a:pt x="2489" y="1828"/>
                    </a:cubicBezTo>
                    <a:cubicBezTo>
                      <a:pt x="2489" y="1292"/>
                      <a:pt x="2143" y="851"/>
                      <a:pt x="1670" y="662"/>
                    </a:cubicBezTo>
                    <a:lnTo>
                      <a:pt x="1670" y="379"/>
                    </a:lnTo>
                    <a:cubicBezTo>
                      <a:pt x="1670" y="158"/>
                      <a:pt x="1481"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4" name="Google Shape;6794;p73"/>
              <p:cNvSpPr/>
              <p:nvPr/>
            </p:nvSpPr>
            <p:spPr>
              <a:xfrm>
                <a:off x="-60212825" y="2510750"/>
                <a:ext cx="32325" cy="30325"/>
              </a:xfrm>
              <a:custGeom>
                <a:avLst/>
                <a:gdLst/>
                <a:ahLst/>
                <a:cxnLst/>
                <a:rect l="l" t="t" r="r" b="b"/>
                <a:pathLst>
                  <a:path w="1293" h="1213" extrusionOk="0">
                    <a:moveTo>
                      <a:pt x="836" y="0"/>
                    </a:moveTo>
                    <a:cubicBezTo>
                      <a:pt x="725" y="0"/>
                      <a:pt x="615" y="39"/>
                      <a:pt x="536" y="118"/>
                    </a:cubicBezTo>
                    <a:lnTo>
                      <a:pt x="158" y="496"/>
                    </a:lnTo>
                    <a:cubicBezTo>
                      <a:pt x="1" y="654"/>
                      <a:pt x="1" y="906"/>
                      <a:pt x="158" y="1095"/>
                    </a:cubicBezTo>
                    <a:cubicBezTo>
                      <a:pt x="237" y="1174"/>
                      <a:pt x="340" y="1213"/>
                      <a:pt x="442" y="1213"/>
                    </a:cubicBezTo>
                    <a:cubicBezTo>
                      <a:pt x="544" y="1213"/>
                      <a:pt x="647" y="1174"/>
                      <a:pt x="725" y="1095"/>
                    </a:cubicBezTo>
                    <a:lnTo>
                      <a:pt x="1135" y="717"/>
                    </a:lnTo>
                    <a:cubicBezTo>
                      <a:pt x="1293" y="559"/>
                      <a:pt x="1293" y="276"/>
                      <a:pt x="1135" y="118"/>
                    </a:cubicBezTo>
                    <a:cubicBezTo>
                      <a:pt x="1056" y="39"/>
                      <a:pt x="946" y="0"/>
                      <a:pt x="8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5" name="Google Shape;6795;p73"/>
              <p:cNvSpPr/>
              <p:nvPr/>
            </p:nvSpPr>
            <p:spPr>
              <a:xfrm>
                <a:off x="-60012750" y="2310675"/>
                <a:ext cx="32300" cy="30350"/>
              </a:xfrm>
              <a:custGeom>
                <a:avLst/>
                <a:gdLst/>
                <a:ahLst/>
                <a:cxnLst/>
                <a:rect l="l" t="t" r="r" b="b"/>
                <a:pathLst>
                  <a:path w="1292" h="1214" extrusionOk="0">
                    <a:moveTo>
                      <a:pt x="835" y="1"/>
                    </a:moveTo>
                    <a:cubicBezTo>
                      <a:pt x="725" y="1"/>
                      <a:pt x="614" y="40"/>
                      <a:pt x="536" y="119"/>
                    </a:cubicBezTo>
                    <a:lnTo>
                      <a:pt x="126" y="528"/>
                    </a:lnTo>
                    <a:cubicBezTo>
                      <a:pt x="0" y="686"/>
                      <a:pt x="0" y="938"/>
                      <a:pt x="126" y="1096"/>
                    </a:cubicBezTo>
                    <a:cubicBezTo>
                      <a:pt x="205" y="1174"/>
                      <a:pt x="315" y="1214"/>
                      <a:pt x="425" y="1214"/>
                    </a:cubicBezTo>
                    <a:cubicBezTo>
                      <a:pt x="536" y="1214"/>
                      <a:pt x="646" y="1174"/>
                      <a:pt x="725" y="1096"/>
                    </a:cubicBezTo>
                    <a:lnTo>
                      <a:pt x="1134" y="718"/>
                    </a:lnTo>
                    <a:cubicBezTo>
                      <a:pt x="1292" y="560"/>
                      <a:pt x="1292" y="276"/>
                      <a:pt x="1134" y="119"/>
                    </a:cubicBezTo>
                    <a:cubicBezTo>
                      <a:pt x="1056" y="40"/>
                      <a:pt x="945" y="1"/>
                      <a:pt x="8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6" name="Google Shape;6796;p73"/>
              <p:cNvSpPr/>
              <p:nvPr/>
            </p:nvSpPr>
            <p:spPr>
              <a:xfrm>
                <a:off x="-60012750" y="2510750"/>
                <a:ext cx="32300" cy="30325"/>
              </a:xfrm>
              <a:custGeom>
                <a:avLst/>
                <a:gdLst/>
                <a:ahLst/>
                <a:cxnLst/>
                <a:rect l="l" t="t" r="r" b="b"/>
                <a:pathLst>
                  <a:path w="1292" h="1213" extrusionOk="0">
                    <a:moveTo>
                      <a:pt x="425" y="0"/>
                    </a:moveTo>
                    <a:cubicBezTo>
                      <a:pt x="315" y="0"/>
                      <a:pt x="205" y="39"/>
                      <a:pt x="126" y="118"/>
                    </a:cubicBezTo>
                    <a:cubicBezTo>
                      <a:pt x="0" y="276"/>
                      <a:pt x="0" y="559"/>
                      <a:pt x="126" y="717"/>
                    </a:cubicBezTo>
                    <a:lnTo>
                      <a:pt x="536" y="1095"/>
                    </a:lnTo>
                    <a:cubicBezTo>
                      <a:pt x="614" y="1174"/>
                      <a:pt x="725" y="1213"/>
                      <a:pt x="835" y="1213"/>
                    </a:cubicBezTo>
                    <a:cubicBezTo>
                      <a:pt x="945" y="1213"/>
                      <a:pt x="1056" y="1174"/>
                      <a:pt x="1134" y="1095"/>
                    </a:cubicBezTo>
                    <a:cubicBezTo>
                      <a:pt x="1292" y="937"/>
                      <a:pt x="1292" y="654"/>
                      <a:pt x="1134" y="496"/>
                    </a:cubicBezTo>
                    <a:lnTo>
                      <a:pt x="725" y="118"/>
                    </a:lnTo>
                    <a:cubicBezTo>
                      <a:pt x="646" y="39"/>
                      <a:pt x="536" y="0"/>
                      <a:pt x="4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7" name="Google Shape;6797;p73"/>
              <p:cNvSpPr/>
              <p:nvPr/>
            </p:nvSpPr>
            <p:spPr>
              <a:xfrm>
                <a:off x="-60212825" y="2310675"/>
                <a:ext cx="32325" cy="30350"/>
              </a:xfrm>
              <a:custGeom>
                <a:avLst/>
                <a:gdLst/>
                <a:ahLst/>
                <a:cxnLst/>
                <a:rect l="l" t="t" r="r" b="b"/>
                <a:pathLst>
                  <a:path w="1293" h="1214" extrusionOk="0">
                    <a:moveTo>
                      <a:pt x="442" y="1"/>
                    </a:moveTo>
                    <a:cubicBezTo>
                      <a:pt x="340" y="1"/>
                      <a:pt x="237" y="40"/>
                      <a:pt x="158" y="119"/>
                    </a:cubicBezTo>
                    <a:cubicBezTo>
                      <a:pt x="1" y="276"/>
                      <a:pt x="1" y="560"/>
                      <a:pt x="158" y="718"/>
                    </a:cubicBezTo>
                    <a:lnTo>
                      <a:pt x="536" y="1096"/>
                    </a:lnTo>
                    <a:cubicBezTo>
                      <a:pt x="615" y="1174"/>
                      <a:pt x="725" y="1214"/>
                      <a:pt x="836" y="1214"/>
                    </a:cubicBezTo>
                    <a:cubicBezTo>
                      <a:pt x="946" y="1214"/>
                      <a:pt x="1056" y="1174"/>
                      <a:pt x="1135" y="1096"/>
                    </a:cubicBezTo>
                    <a:cubicBezTo>
                      <a:pt x="1293" y="938"/>
                      <a:pt x="1293" y="686"/>
                      <a:pt x="1135" y="528"/>
                    </a:cubicBezTo>
                    <a:lnTo>
                      <a:pt x="725" y="119"/>
                    </a:lnTo>
                    <a:cubicBezTo>
                      <a:pt x="647" y="40"/>
                      <a:pt x="544" y="1"/>
                      <a:pt x="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798" name="Google Shape;6798;p73"/>
              <p:cNvSpPr/>
              <p:nvPr/>
            </p:nvSpPr>
            <p:spPr>
              <a:xfrm>
                <a:off x="-59974175" y="2415250"/>
                <a:ext cx="35475" cy="20500"/>
              </a:xfrm>
              <a:custGeom>
                <a:avLst/>
                <a:gdLst/>
                <a:ahLst/>
                <a:cxnLst/>
                <a:rect l="l" t="t" r="r" b="b"/>
                <a:pathLst>
                  <a:path w="1419" h="820" extrusionOk="0">
                    <a:moveTo>
                      <a:pt x="442" y="0"/>
                    </a:moveTo>
                    <a:cubicBezTo>
                      <a:pt x="221" y="0"/>
                      <a:pt x="1" y="189"/>
                      <a:pt x="1" y="378"/>
                    </a:cubicBezTo>
                    <a:cubicBezTo>
                      <a:pt x="1" y="630"/>
                      <a:pt x="221" y="819"/>
                      <a:pt x="442" y="819"/>
                    </a:cubicBezTo>
                    <a:lnTo>
                      <a:pt x="1009" y="819"/>
                    </a:lnTo>
                    <a:cubicBezTo>
                      <a:pt x="1230" y="819"/>
                      <a:pt x="1387" y="630"/>
                      <a:pt x="1387" y="378"/>
                    </a:cubicBezTo>
                    <a:cubicBezTo>
                      <a:pt x="1419" y="189"/>
                      <a:pt x="1230"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6799" name="Google Shape;6799;p73"/>
          <p:cNvGrpSpPr/>
          <p:nvPr/>
        </p:nvGrpSpPr>
        <p:grpSpPr>
          <a:xfrm>
            <a:off x="4125532" y="5116943"/>
            <a:ext cx="414253" cy="491983"/>
            <a:chOff x="-60232500" y="2671225"/>
            <a:chExt cx="268600" cy="319000"/>
          </a:xfrm>
        </p:grpSpPr>
        <p:sp>
          <p:nvSpPr>
            <p:cNvPr id="6800" name="Google Shape;6800;p73"/>
            <p:cNvSpPr/>
            <p:nvPr/>
          </p:nvSpPr>
          <p:spPr>
            <a:xfrm>
              <a:off x="-60222275" y="2843700"/>
              <a:ext cx="63025" cy="146525"/>
            </a:xfrm>
            <a:custGeom>
              <a:avLst/>
              <a:gdLst/>
              <a:ahLst/>
              <a:cxnLst/>
              <a:rect l="l" t="t" r="r" b="b"/>
              <a:pathLst>
                <a:path w="2521" h="5861" extrusionOk="0">
                  <a:moveTo>
                    <a:pt x="1261" y="1"/>
                  </a:moveTo>
                  <a:cubicBezTo>
                    <a:pt x="1040" y="1"/>
                    <a:pt x="851" y="190"/>
                    <a:pt x="851" y="410"/>
                  </a:cubicBezTo>
                  <a:lnTo>
                    <a:pt x="851" y="694"/>
                  </a:lnTo>
                  <a:cubicBezTo>
                    <a:pt x="379" y="851"/>
                    <a:pt x="1" y="1324"/>
                    <a:pt x="1" y="1891"/>
                  </a:cubicBezTo>
                  <a:cubicBezTo>
                    <a:pt x="1" y="2553"/>
                    <a:pt x="568" y="2931"/>
                    <a:pt x="1009" y="3246"/>
                  </a:cubicBezTo>
                  <a:cubicBezTo>
                    <a:pt x="1324" y="3498"/>
                    <a:pt x="1671" y="3718"/>
                    <a:pt x="1671" y="3970"/>
                  </a:cubicBezTo>
                  <a:cubicBezTo>
                    <a:pt x="1671" y="4191"/>
                    <a:pt x="1482" y="4348"/>
                    <a:pt x="1261" y="4348"/>
                  </a:cubicBezTo>
                  <a:cubicBezTo>
                    <a:pt x="1072" y="4348"/>
                    <a:pt x="851" y="4159"/>
                    <a:pt x="851" y="3970"/>
                  </a:cubicBezTo>
                  <a:cubicBezTo>
                    <a:pt x="851" y="3718"/>
                    <a:pt x="631" y="3529"/>
                    <a:pt x="442" y="3529"/>
                  </a:cubicBezTo>
                  <a:cubicBezTo>
                    <a:pt x="253" y="3529"/>
                    <a:pt x="64" y="3718"/>
                    <a:pt x="64" y="3970"/>
                  </a:cubicBezTo>
                  <a:cubicBezTo>
                    <a:pt x="64" y="4506"/>
                    <a:pt x="410" y="4947"/>
                    <a:pt x="883" y="5136"/>
                  </a:cubicBezTo>
                  <a:lnTo>
                    <a:pt x="883" y="5419"/>
                  </a:lnTo>
                  <a:cubicBezTo>
                    <a:pt x="883" y="5672"/>
                    <a:pt x="1072" y="5861"/>
                    <a:pt x="1324" y="5861"/>
                  </a:cubicBezTo>
                  <a:cubicBezTo>
                    <a:pt x="1545" y="5861"/>
                    <a:pt x="1702" y="5672"/>
                    <a:pt x="1702" y="5419"/>
                  </a:cubicBezTo>
                  <a:lnTo>
                    <a:pt x="1702" y="5136"/>
                  </a:lnTo>
                  <a:cubicBezTo>
                    <a:pt x="2175" y="4978"/>
                    <a:pt x="2521" y="4506"/>
                    <a:pt x="2521" y="3970"/>
                  </a:cubicBezTo>
                  <a:cubicBezTo>
                    <a:pt x="2521" y="3309"/>
                    <a:pt x="1986" y="2899"/>
                    <a:pt x="1545" y="2584"/>
                  </a:cubicBezTo>
                  <a:cubicBezTo>
                    <a:pt x="1229" y="2364"/>
                    <a:pt x="883" y="2111"/>
                    <a:pt x="883" y="1891"/>
                  </a:cubicBezTo>
                  <a:cubicBezTo>
                    <a:pt x="883" y="1639"/>
                    <a:pt x="1072" y="1450"/>
                    <a:pt x="1261" y="1450"/>
                  </a:cubicBezTo>
                  <a:cubicBezTo>
                    <a:pt x="1513" y="1450"/>
                    <a:pt x="1671" y="1639"/>
                    <a:pt x="1671" y="1891"/>
                  </a:cubicBezTo>
                  <a:cubicBezTo>
                    <a:pt x="1671" y="2111"/>
                    <a:pt x="1860" y="2269"/>
                    <a:pt x="2112" y="2269"/>
                  </a:cubicBezTo>
                  <a:cubicBezTo>
                    <a:pt x="2332" y="2269"/>
                    <a:pt x="2490" y="2080"/>
                    <a:pt x="2490" y="1891"/>
                  </a:cubicBezTo>
                  <a:cubicBezTo>
                    <a:pt x="2490" y="1324"/>
                    <a:pt x="2143" y="883"/>
                    <a:pt x="1671" y="694"/>
                  </a:cubicBezTo>
                  <a:lnTo>
                    <a:pt x="1671" y="410"/>
                  </a:lnTo>
                  <a:cubicBezTo>
                    <a:pt x="1671" y="190"/>
                    <a:pt x="1482"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1" name="Google Shape;6801;p73"/>
            <p:cNvSpPr/>
            <p:nvPr/>
          </p:nvSpPr>
          <p:spPr>
            <a:xfrm>
              <a:off x="-60232500" y="2671225"/>
              <a:ext cx="268600" cy="318225"/>
            </a:xfrm>
            <a:custGeom>
              <a:avLst/>
              <a:gdLst/>
              <a:ahLst/>
              <a:cxnLst/>
              <a:rect l="l" t="t" r="r" b="b"/>
              <a:pathLst>
                <a:path w="10744" h="12729" extrusionOk="0">
                  <a:moveTo>
                    <a:pt x="5419" y="1701"/>
                  </a:moveTo>
                  <a:cubicBezTo>
                    <a:pt x="7561" y="1701"/>
                    <a:pt x="9357" y="3151"/>
                    <a:pt x="9830" y="5167"/>
                  </a:cubicBezTo>
                  <a:cubicBezTo>
                    <a:pt x="9641" y="5041"/>
                    <a:pt x="9389" y="5009"/>
                    <a:pt x="9137" y="5009"/>
                  </a:cubicBezTo>
                  <a:cubicBezTo>
                    <a:pt x="8601" y="5009"/>
                    <a:pt x="8191" y="5230"/>
                    <a:pt x="7908" y="5545"/>
                  </a:cubicBezTo>
                  <a:cubicBezTo>
                    <a:pt x="7593" y="5198"/>
                    <a:pt x="7152" y="5009"/>
                    <a:pt x="6679" y="5009"/>
                  </a:cubicBezTo>
                  <a:cubicBezTo>
                    <a:pt x="6175" y="5009"/>
                    <a:pt x="5734" y="5230"/>
                    <a:pt x="5419" y="5545"/>
                  </a:cubicBezTo>
                  <a:cubicBezTo>
                    <a:pt x="5104" y="5198"/>
                    <a:pt x="4663" y="5009"/>
                    <a:pt x="4190" y="5009"/>
                  </a:cubicBezTo>
                  <a:cubicBezTo>
                    <a:pt x="3686" y="5009"/>
                    <a:pt x="3245" y="5230"/>
                    <a:pt x="2993" y="5545"/>
                  </a:cubicBezTo>
                  <a:cubicBezTo>
                    <a:pt x="2678" y="5198"/>
                    <a:pt x="2237" y="5009"/>
                    <a:pt x="1764" y="5009"/>
                  </a:cubicBezTo>
                  <a:cubicBezTo>
                    <a:pt x="1512" y="5009"/>
                    <a:pt x="1292" y="5041"/>
                    <a:pt x="1040" y="5167"/>
                  </a:cubicBezTo>
                  <a:cubicBezTo>
                    <a:pt x="1481" y="3151"/>
                    <a:pt x="3308" y="1701"/>
                    <a:pt x="5419" y="1701"/>
                  </a:cubicBezTo>
                  <a:close/>
                  <a:moveTo>
                    <a:pt x="5356" y="0"/>
                  </a:moveTo>
                  <a:cubicBezTo>
                    <a:pt x="5104" y="0"/>
                    <a:pt x="4946" y="189"/>
                    <a:pt x="4946" y="441"/>
                  </a:cubicBezTo>
                  <a:lnTo>
                    <a:pt x="4946" y="851"/>
                  </a:lnTo>
                  <a:cubicBezTo>
                    <a:pt x="2206" y="1071"/>
                    <a:pt x="0" y="3371"/>
                    <a:pt x="0" y="6207"/>
                  </a:cubicBezTo>
                  <a:lnTo>
                    <a:pt x="0" y="6648"/>
                  </a:lnTo>
                  <a:lnTo>
                    <a:pt x="32" y="6648"/>
                  </a:lnTo>
                  <a:cubicBezTo>
                    <a:pt x="32" y="6900"/>
                    <a:pt x="221" y="7089"/>
                    <a:pt x="473" y="7089"/>
                  </a:cubicBezTo>
                  <a:cubicBezTo>
                    <a:pt x="693" y="7089"/>
                    <a:pt x="851" y="6900"/>
                    <a:pt x="851" y="6648"/>
                  </a:cubicBezTo>
                  <a:cubicBezTo>
                    <a:pt x="851" y="6175"/>
                    <a:pt x="1197" y="5829"/>
                    <a:pt x="1701" y="5829"/>
                  </a:cubicBezTo>
                  <a:cubicBezTo>
                    <a:pt x="2143" y="5829"/>
                    <a:pt x="2521" y="6175"/>
                    <a:pt x="2521" y="6648"/>
                  </a:cubicBezTo>
                  <a:cubicBezTo>
                    <a:pt x="2521" y="6900"/>
                    <a:pt x="2710" y="7089"/>
                    <a:pt x="2899" y="7089"/>
                  </a:cubicBezTo>
                  <a:cubicBezTo>
                    <a:pt x="3119" y="7089"/>
                    <a:pt x="3308" y="6900"/>
                    <a:pt x="3308" y="6648"/>
                  </a:cubicBezTo>
                  <a:cubicBezTo>
                    <a:pt x="3308" y="6175"/>
                    <a:pt x="3655" y="5829"/>
                    <a:pt x="4127" y="5829"/>
                  </a:cubicBezTo>
                  <a:cubicBezTo>
                    <a:pt x="4600" y="5829"/>
                    <a:pt x="4946" y="6175"/>
                    <a:pt x="4946" y="6648"/>
                  </a:cubicBezTo>
                  <a:lnTo>
                    <a:pt x="4946" y="11499"/>
                  </a:lnTo>
                  <a:cubicBezTo>
                    <a:pt x="4946" y="12161"/>
                    <a:pt x="5514" y="12728"/>
                    <a:pt x="6175" y="12728"/>
                  </a:cubicBezTo>
                  <a:cubicBezTo>
                    <a:pt x="6837" y="12728"/>
                    <a:pt x="7404" y="12161"/>
                    <a:pt x="7404" y="11499"/>
                  </a:cubicBezTo>
                  <a:lnTo>
                    <a:pt x="7404" y="10680"/>
                  </a:lnTo>
                  <a:cubicBezTo>
                    <a:pt x="7404" y="10428"/>
                    <a:pt x="7215" y="10239"/>
                    <a:pt x="6994" y="10239"/>
                  </a:cubicBezTo>
                  <a:cubicBezTo>
                    <a:pt x="6805" y="10239"/>
                    <a:pt x="6616" y="10428"/>
                    <a:pt x="6616" y="10680"/>
                  </a:cubicBezTo>
                  <a:lnTo>
                    <a:pt x="6616" y="11499"/>
                  </a:lnTo>
                  <a:cubicBezTo>
                    <a:pt x="6616" y="11720"/>
                    <a:pt x="6427" y="11940"/>
                    <a:pt x="6175" y="11940"/>
                  </a:cubicBezTo>
                  <a:cubicBezTo>
                    <a:pt x="5955" y="11940"/>
                    <a:pt x="5797" y="11720"/>
                    <a:pt x="5797" y="11499"/>
                  </a:cubicBezTo>
                  <a:lnTo>
                    <a:pt x="5797" y="6648"/>
                  </a:lnTo>
                  <a:cubicBezTo>
                    <a:pt x="5797" y="6175"/>
                    <a:pt x="6144" y="5829"/>
                    <a:pt x="6616" y="5829"/>
                  </a:cubicBezTo>
                  <a:cubicBezTo>
                    <a:pt x="7089" y="5829"/>
                    <a:pt x="7435" y="6175"/>
                    <a:pt x="7435" y="6648"/>
                  </a:cubicBezTo>
                  <a:cubicBezTo>
                    <a:pt x="7435" y="6900"/>
                    <a:pt x="7624" y="7089"/>
                    <a:pt x="7876" y="7089"/>
                  </a:cubicBezTo>
                  <a:cubicBezTo>
                    <a:pt x="8097" y="7089"/>
                    <a:pt x="8255" y="6900"/>
                    <a:pt x="8255" y="6648"/>
                  </a:cubicBezTo>
                  <a:cubicBezTo>
                    <a:pt x="8255" y="6175"/>
                    <a:pt x="8633" y="5829"/>
                    <a:pt x="9105" y="5829"/>
                  </a:cubicBezTo>
                  <a:cubicBezTo>
                    <a:pt x="9578" y="5829"/>
                    <a:pt x="9924" y="6175"/>
                    <a:pt x="9924" y="6648"/>
                  </a:cubicBezTo>
                  <a:cubicBezTo>
                    <a:pt x="9924" y="6900"/>
                    <a:pt x="10113" y="7089"/>
                    <a:pt x="10302" y="7089"/>
                  </a:cubicBezTo>
                  <a:cubicBezTo>
                    <a:pt x="10554" y="7089"/>
                    <a:pt x="10743" y="6900"/>
                    <a:pt x="10743" y="6648"/>
                  </a:cubicBezTo>
                  <a:lnTo>
                    <a:pt x="10743" y="6207"/>
                  </a:lnTo>
                  <a:cubicBezTo>
                    <a:pt x="10743" y="3371"/>
                    <a:pt x="8538" y="1071"/>
                    <a:pt x="5797" y="851"/>
                  </a:cubicBezTo>
                  <a:lnTo>
                    <a:pt x="5797" y="441"/>
                  </a:lnTo>
                  <a:cubicBezTo>
                    <a:pt x="5797" y="189"/>
                    <a:pt x="5577" y="0"/>
                    <a:pt x="53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02" name="Google Shape;6802;p73"/>
          <p:cNvGrpSpPr/>
          <p:nvPr/>
        </p:nvGrpSpPr>
        <p:grpSpPr>
          <a:xfrm>
            <a:off x="2906191" y="5715122"/>
            <a:ext cx="487164" cy="491983"/>
            <a:chOff x="-59100700" y="1911950"/>
            <a:chExt cx="315875" cy="319000"/>
          </a:xfrm>
        </p:grpSpPr>
        <p:sp>
          <p:nvSpPr>
            <p:cNvPr id="6803" name="Google Shape;6803;p73"/>
            <p:cNvSpPr/>
            <p:nvPr/>
          </p:nvSpPr>
          <p:spPr>
            <a:xfrm>
              <a:off x="-59015625" y="19938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4" name="Google Shape;6804;p73"/>
            <p:cNvSpPr/>
            <p:nvPr/>
          </p:nvSpPr>
          <p:spPr>
            <a:xfrm>
              <a:off x="-58954200" y="19938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5" name="Google Shape;6805;p73"/>
            <p:cNvSpPr/>
            <p:nvPr/>
          </p:nvSpPr>
          <p:spPr>
            <a:xfrm>
              <a:off x="-58891975" y="19938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6" name="Google Shape;6806;p73"/>
            <p:cNvSpPr/>
            <p:nvPr/>
          </p:nvSpPr>
          <p:spPr>
            <a:xfrm>
              <a:off x="-59015625" y="2034825"/>
              <a:ext cx="20500" cy="21275"/>
            </a:xfrm>
            <a:custGeom>
              <a:avLst/>
              <a:gdLst/>
              <a:ahLst/>
              <a:cxnLst/>
              <a:rect l="l" t="t" r="r" b="b"/>
              <a:pathLst>
                <a:path w="820" h="851" extrusionOk="0">
                  <a:moveTo>
                    <a:pt x="189" y="0"/>
                  </a:moveTo>
                  <a:cubicBezTo>
                    <a:pt x="63" y="0"/>
                    <a:pt x="0" y="95"/>
                    <a:pt x="0" y="221"/>
                  </a:cubicBezTo>
                  <a:lnTo>
                    <a:pt x="0" y="630"/>
                  </a:lnTo>
                  <a:cubicBezTo>
                    <a:pt x="0" y="756"/>
                    <a:pt x="95" y="851"/>
                    <a:pt x="189" y="851"/>
                  </a:cubicBezTo>
                  <a:lnTo>
                    <a:pt x="630" y="851"/>
                  </a:lnTo>
                  <a:cubicBezTo>
                    <a:pt x="725" y="851"/>
                    <a:pt x="820" y="756"/>
                    <a:pt x="820" y="630"/>
                  </a:cubicBezTo>
                  <a:lnTo>
                    <a:pt x="820" y="221"/>
                  </a:lnTo>
                  <a:cubicBezTo>
                    <a:pt x="820" y="95"/>
                    <a:pt x="725" y="0"/>
                    <a:pt x="6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7" name="Google Shape;6807;p73"/>
            <p:cNvSpPr/>
            <p:nvPr/>
          </p:nvSpPr>
          <p:spPr>
            <a:xfrm>
              <a:off x="-58954200" y="2034825"/>
              <a:ext cx="21300" cy="21275"/>
            </a:xfrm>
            <a:custGeom>
              <a:avLst/>
              <a:gdLst/>
              <a:ahLst/>
              <a:cxnLst/>
              <a:rect l="l" t="t" r="r" b="b"/>
              <a:pathLst>
                <a:path w="852" h="851" extrusionOk="0">
                  <a:moveTo>
                    <a:pt x="221" y="0"/>
                  </a:moveTo>
                  <a:cubicBezTo>
                    <a:pt x="95" y="0"/>
                    <a:pt x="1" y="95"/>
                    <a:pt x="1" y="221"/>
                  </a:cubicBezTo>
                  <a:lnTo>
                    <a:pt x="1" y="630"/>
                  </a:lnTo>
                  <a:cubicBezTo>
                    <a:pt x="1" y="756"/>
                    <a:pt x="127" y="851"/>
                    <a:pt x="221"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8" name="Google Shape;6808;p73"/>
            <p:cNvSpPr/>
            <p:nvPr/>
          </p:nvSpPr>
          <p:spPr>
            <a:xfrm>
              <a:off x="-58891975" y="2034825"/>
              <a:ext cx="21300" cy="21275"/>
            </a:xfrm>
            <a:custGeom>
              <a:avLst/>
              <a:gdLst/>
              <a:ahLst/>
              <a:cxnLst/>
              <a:rect l="l" t="t" r="r" b="b"/>
              <a:pathLst>
                <a:path w="852" h="851" extrusionOk="0">
                  <a:moveTo>
                    <a:pt x="190" y="0"/>
                  </a:moveTo>
                  <a:cubicBezTo>
                    <a:pt x="95" y="0"/>
                    <a:pt x="1" y="95"/>
                    <a:pt x="1" y="221"/>
                  </a:cubicBezTo>
                  <a:lnTo>
                    <a:pt x="1" y="630"/>
                  </a:lnTo>
                  <a:cubicBezTo>
                    <a:pt x="1" y="756"/>
                    <a:pt x="127" y="851"/>
                    <a:pt x="190" y="851"/>
                  </a:cubicBezTo>
                  <a:lnTo>
                    <a:pt x="631" y="851"/>
                  </a:lnTo>
                  <a:cubicBezTo>
                    <a:pt x="757" y="851"/>
                    <a:pt x="851" y="756"/>
                    <a:pt x="851" y="630"/>
                  </a:cubicBezTo>
                  <a:lnTo>
                    <a:pt x="851" y="221"/>
                  </a:lnTo>
                  <a:cubicBezTo>
                    <a:pt x="851" y="95"/>
                    <a:pt x="757" y="0"/>
                    <a:pt x="63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09" name="Google Shape;6809;p73"/>
            <p:cNvSpPr/>
            <p:nvPr/>
          </p:nvSpPr>
          <p:spPr>
            <a:xfrm>
              <a:off x="-59015625" y="2076550"/>
              <a:ext cx="20500" cy="20525"/>
            </a:xfrm>
            <a:custGeom>
              <a:avLst/>
              <a:gdLst/>
              <a:ahLst/>
              <a:cxnLst/>
              <a:rect l="l" t="t" r="r" b="b"/>
              <a:pathLst>
                <a:path w="820" h="821" extrusionOk="0">
                  <a:moveTo>
                    <a:pt x="189" y="1"/>
                  </a:moveTo>
                  <a:cubicBezTo>
                    <a:pt x="63" y="1"/>
                    <a:pt x="0" y="64"/>
                    <a:pt x="0" y="190"/>
                  </a:cubicBezTo>
                  <a:lnTo>
                    <a:pt x="0" y="631"/>
                  </a:lnTo>
                  <a:cubicBezTo>
                    <a:pt x="0" y="757"/>
                    <a:pt x="95" y="820"/>
                    <a:pt x="189" y="820"/>
                  </a:cubicBezTo>
                  <a:lnTo>
                    <a:pt x="630" y="820"/>
                  </a:lnTo>
                  <a:cubicBezTo>
                    <a:pt x="725" y="820"/>
                    <a:pt x="820" y="757"/>
                    <a:pt x="820" y="631"/>
                  </a:cubicBezTo>
                  <a:lnTo>
                    <a:pt x="820" y="190"/>
                  </a:lnTo>
                  <a:cubicBezTo>
                    <a:pt x="820" y="64"/>
                    <a:pt x="725" y="1"/>
                    <a:pt x="6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0" name="Google Shape;6810;p73"/>
            <p:cNvSpPr/>
            <p:nvPr/>
          </p:nvSpPr>
          <p:spPr>
            <a:xfrm>
              <a:off x="-58954200" y="2076550"/>
              <a:ext cx="21300" cy="20525"/>
            </a:xfrm>
            <a:custGeom>
              <a:avLst/>
              <a:gdLst/>
              <a:ahLst/>
              <a:cxnLst/>
              <a:rect l="l" t="t" r="r" b="b"/>
              <a:pathLst>
                <a:path w="852" h="821" extrusionOk="0">
                  <a:moveTo>
                    <a:pt x="221" y="1"/>
                  </a:moveTo>
                  <a:cubicBezTo>
                    <a:pt x="95" y="1"/>
                    <a:pt x="1" y="64"/>
                    <a:pt x="1" y="190"/>
                  </a:cubicBezTo>
                  <a:lnTo>
                    <a:pt x="1" y="631"/>
                  </a:lnTo>
                  <a:cubicBezTo>
                    <a:pt x="1" y="757"/>
                    <a:pt x="127" y="820"/>
                    <a:pt x="221"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1" name="Google Shape;6811;p73"/>
            <p:cNvSpPr/>
            <p:nvPr/>
          </p:nvSpPr>
          <p:spPr>
            <a:xfrm>
              <a:off x="-58891975" y="2076550"/>
              <a:ext cx="21300" cy="20525"/>
            </a:xfrm>
            <a:custGeom>
              <a:avLst/>
              <a:gdLst/>
              <a:ahLst/>
              <a:cxnLst/>
              <a:rect l="l" t="t" r="r" b="b"/>
              <a:pathLst>
                <a:path w="852" h="821" extrusionOk="0">
                  <a:moveTo>
                    <a:pt x="190" y="1"/>
                  </a:moveTo>
                  <a:cubicBezTo>
                    <a:pt x="95" y="1"/>
                    <a:pt x="1" y="64"/>
                    <a:pt x="1" y="190"/>
                  </a:cubicBezTo>
                  <a:lnTo>
                    <a:pt x="1" y="631"/>
                  </a:lnTo>
                  <a:cubicBezTo>
                    <a:pt x="1" y="757"/>
                    <a:pt x="127" y="820"/>
                    <a:pt x="190" y="820"/>
                  </a:cubicBezTo>
                  <a:lnTo>
                    <a:pt x="631" y="820"/>
                  </a:lnTo>
                  <a:cubicBezTo>
                    <a:pt x="757" y="820"/>
                    <a:pt x="851" y="757"/>
                    <a:pt x="851" y="631"/>
                  </a:cubicBezTo>
                  <a:lnTo>
                    <a:pt x="851" y="190"/>
                  </a:lnTo>
                  <a:cubicBezTo>
                    <a:pt x="851" y="64"/>
                    <a:pt x="757" y="1"/>
                    <a:pt x="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2" name="Google Shape;6812;p73"/>
            <p:cNvSpPr/>
            <p:nvPr/>
          </p:nvSpPr>
          <p:spPr>
            <a:xfrm>
              <a:off x="-59100700" y="1911950"/>
              <a:ext cx="315875" cy="319000"/>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13" name="Google Shape;6813;p73"/>
          <p:cNvGrpSpPr/>
          <p:nvPr/>
        </p:nvGrpSpPr>
        <p:grpSpPr>
          <a:xfrm>
            <a:off x="3495747" y="2055761"/>
            <a:ext cx="506557" cy="488051"/>
            <a:chOff x="-63665750" y="1914325"/>
            <a:chExt cx="328450" cy="316450"/>
          </a:xfrm>
        </p:grpSpPr>
        <p:sp>
          <p:nvSpPr>
            <p:cNvPr id="6814" name="Google Shape;6814;p73"/>
            <p:cNvSpPr/>
            <p:nvPr/>
          </p:nvSpPr>
          <p:spPr>
            <a:xfrm>
              <a:off x="-63665750" y="1914325"/>
              <a:ext cx="328450" cy="316450"/>
            </a:xfrm>
            <a:custGeom>
              <a:avLst/>
              <a:gdLst/>
              <a:ahLst/>
              <a:cxnLst/>
              <a:rect l="l" t="t" r="r" b="b"/>
              <a:pathLst>
                <a:path w="13138" h="12658" extrusionOk="0">
                  <a:moveTo>
                    <a:pt x="8144" y="835"/>
                  </a:moveTo>
                  <a:cubicBezTo>
                    <a:pt x="9097" y="835"/>
                    <a:pt x="10050" y="1197"/>
                    <a:pt x="10775" y="1922"/>
                  </a:cubicBezTo>
                  <a:cubicBezTo>
                    <a:pt x="12256" y="3371"/>
                    <a:pt x="12256" y="5734"/>
                    <a:pt x="10775" y="7183"/>
                  </a:cubicBezTo>
                  <a:cubicBezTo>
                    <a:pt x="10050" y="7908"/>
                    <a:pt x="9097" y="8270"/>
                    <a:pt x="8144" y="8270"/>
                  </a:cubicBezTo>
                  <a:cubicBezTo>
                    <a:pt x="7191" y="8270"/>
                    <a:pt x="6238" y="7908"/>
                    <a:pt x="5513" y="7183"/>
                  </a:cubicBezTo>
                  <a:cubicBezTo>
                    <a:pt x="4064" y="5734"/>
                    <a:pt x="4064" y="3371"/>
                    <a:pt x="5513" y="1922"/>
                  </a:cubicBezTo>
                  <a:cubicBezTo>
                    <a:pt x="6238" y="1197"/>
                    <a:pt x="7191" y="835"/>
                    <a:pt x="8144" y="835"/>
                  </a:cubicBezTo>
                  <a:close/>
                  <a:moveTo>
                    <a:pt x="3466" y="8632"/>
                  </a:moveTo>
                  <a:lnTo>
                    <a:pt x="4064" y="9231"/>
                  </a:lnTo>
                  <a:lnTo>
                    <a:pt x="1607" y="11688"/>
                  </a:lnTo>
                  <a:lnTo>
                    <a:pt x="1008" y="11090"/>
                  </a:lnTo>
                  <a:lnTo>
                    <a:pt x="3466" y="8632"/>
                  </a:lnTo>
                  <a:close/>
                  <a:moveTo>
                    <a:pt x="8172" y="0"/>
                  </a:moveTo>
                  <a:cubicBezTo>
                    <a:pt x="7010" y="0"/>
                    <a:pt x="5844" y="441"/>
                    <a:pt x="4946" y="1323"/>
                  </a:cubicBezTo>
                  <a:cubicBezTo>
                    <a:pt x="3277" y="3024"/>
                    <a:pt x="3182" y="5671"/>
                    <a:pt x="4694" y="7467"/>
                  </a:cubicBezTo>
                  <a:lnTo>
                    <a:pt x="4096" y="8065"/>
                  </a:lnTo>
                  <a:lnTo>
                    <a:pt x="3214" y="7183"/>
                  </a:lnTo>
                  <a:cubicBezTo>
                    <a:pt x="3151" y="7104"/>
                    <a:pt x="3048" y="7065"/>
                    <a:pt x="2942" y="7065"/>
                  </a:cubicBezTo>
                  <a:cubicBezTo>
                    <a:pt x="2836" y="7065"/>
                    <a:pt x="2725" y="7104"/>
                    <a:pt x="2646" y="7183"/>
                  </a:cubicBezTo>
                  <a:cubicBezTo>
                    <a:pt x="2489" y="7341"/>
                    <a:pt x="2489" y="7624"/>
                    <a:pt x="2646" y="7782"/>
                  </a:cubicBezTo>
                  <a:lnTo>
                    <a:pt x="2899" y="8065"/>
                  </a:lnTo>
                  <a:lnTo>
                    <a:pt x="158" y="10806"/>
                  </a:lnTo>
                  <a:cubicBezTo>
                    <a:pt x="0" y="10964"/>
                    <a:pt x="0" y="11247"/>
                    <a:pt x="158" y="11405"/>
                  </a:cubicBezTo>
                  <a:lnTo>
                    <a:pt x="1292" y="12539"/>
                  </a:lnTo>
                  <a:cubicBezTo>
                    <a:pt x="1371" y="12618"/>
                    <a:pt x="1481" y="12657"/>
                    <a:pt x="1591" y="12657"/>
                  </a:cubicBezTo>
                  <a:cubicBezTo>
                    <a:pt x="1701" y="12657"/>
                    <a:pt x="1812" y="12618"/>
                    <a:pt x="1890" y="12539"/>
                  </a:cubicBezTo>
                  <a:lnTo>
                    <a:pt x="4631" y="9798"/>
                  </a:lnTo>
                  <a:lnTo>
                    <a:pt x="4915" y="10050"/>
                  </a:lnTo>
                  <a:cubicBezTo>
                    <a:pt x="4994" y="10129"/>
                    <a:pt x="5104" y="10168"/>
                    <a:pt x="5214" y="10168"/>
                  </a:cubicBezTo>
                  <a:cubicBezTo>
                    <a:pt x="5324" y="10168"/>
                    <a:pt x="5435" y="10129"/>
                    <a:pt x="5513" y="10050"/>
                  </a:cubicBezTo>
                  <a:cubicBezTo>
                    <a:pt x="5671" y="9893"/>
                    <a:pt x="5671" y="9640"/>
                    <a:pt x="5513" y="9483"/>
                  </a:cubicBezTo>
                  <a:lnTo>
                    <a:pt x="4631" y="8601"/>
                  </a:lnTo>
                  <a:lnTo>
                    <a:pt x="5230" y="8034"/>
                  </a:lnTo>
                  <a:cubicBezTo>
                    <a:pt x="6059" y="8730"/>
                    <a:pt x="7090" y="9078"/>
                    <a:pt x="8127" y="9078"/>
                  </a:cubicBezTo>
                  <a:cubicBezTo>
                    <a:pt x="9296" y="9078"/>
                    <a:pt x="10472" y="8635"/>
                    <a:pt x="11373" y="7750"/>
                  </a:cubicBezTo>
                  <a:cubicBezTo>
                    <a:pt x="13138" y="5986"/>
                    <a:pt x="13138" y="3087"/>
                    <a:pt x="11373" y="1323"/>
                  </a:cubicBezTo>
                  <a:cubicBezTo>
                    <a:pt x="10491" y="441"/>
                    <a:pt x="9333" y="0"/>
                    <a:pt x="81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5" name="Google Shape;6815;p73"/>
            <p:cNvSpPr/>
            <p:nvPr/>
          </p:nvSpPr>
          <p:spPr>
            <a:xfrm>
              <a:off x="-63524775" y="1955275"/>
              <a:ext cx="123675" cy="134700"/>
            </a:xfrm>
            <a:custGeom>
              <a:avLst/>
              <a:gdLst/>
              <a:ahLst/>
              <a:cxnLst/>
              <a:rect l="l" t="t" r="r" b="b"/>
              <a:pathLst>
                <a:path w="4947" h="5388" extrusionOk="0">
                  <a:moveTo>
                    <a:pt x="2458" y="882"/>
                  </a:moveTo>
                  <a:cubicBezTo>
                    <a:pt x="2930" y="882"/>
                    <a:pt x="3308" y="1229"/>
                    <a:pt x="3308" y="1702"/>
                  </a:cubicBezTo>
                  <a:cubicBezTo>
                    <a:pt x="3308" y="2174"/>
                    <a:pt x="2962" y="2521"/>
                    <a:pt x="2458" y="2521"/>
                  </a:cubicBezTo>
                  <a:cubicBezTo>
                    <a:pt x="1985" y="2521"/>
                    <a:pt x="1639" y="2174"/>
                    <a:pt x="1639" y="1702"/>
                  </a:cubicBezTo>
                  <a:cubicBezTo>
                    <a:pt x="1639" y="1229"/>
                    <a:pt x="2048" y="882"/>
                    <a:pt x="2458" y="882"/>
                  </a:cubicBezTo>
                  <a:close/>
                  <a:moveTo>
                    <a:pt x="2458" y="3340"/>
                  </a:moveTo>
                  <a:cubicBezTo>
                    <a:pt x="3245" y="3340"/>
                    <a:pt x="3876" y="3875"/>
                    <a:pt x="4096" y="4600"/>
                  </a:cubicBezTo>
                  <a:lnTo>
                    <a:pt x="883" y="4600"/>
                  </a:lnTo>
                  <a:cubicBezTo>
                    <a:pt x="1040" y="3875"/>
                    <a:pt x="1733" y="3340"/>
                    <a:pt x="2458" y="3340"/>
                  </a:cubicBezTo>
                  <a:close/>
                  <a:moveTo>
                    <a:pt x="2458" y="0"/>
                  </a:moveTo>
                  <a:cubicBezTo>
                    <a:pt x="1576" y="0"/>
                    <a:pt x="820" y="756"/>
                    <a:pt x="820" y="1670"/>
                  </a:cubicBezTo>
                  <a:cubicBezTo>
                    <a:pt x="820" y="2080"/>
                    <a:pt x="977" y="2489"/>
                    <a:pt x="1292" y="2804"/>
                  </a:cubicBezTo>
                  <a:cubicBezTo>
                    <a:pt x="536" y="3245"/>
                    <a:pt x="0" y="4033"/>
                    <a:pt x="0" y="4978"/>
                  </a:cubicBezTo>
                  <a:cubicBezTo>
                    <a:pt x="0" y="5230"/>
                    <a:pt x="189" y="5388"/>
                    <a:pt x="410" y="5388"/>
                  </a:cubicBezTo>
                  <a:lnTo>
                    <a:pt x="4569" y="5388"/>
                  </a:lnTo>
                  <a:cubicBezTo>
                    <a:pt x="4789" y="5388"/>
                    <a:pt x="4947" y="5199"/>
                    <a:pt x="4947" y="4978"/>
                  </a:cubicBezTo>
                  <a:cubicBezTo>
                    <a:pt x="4947" y="4033"/>
                    <a:pt x="4443" y="3245"/>
                    <a:pt x="3655" y="2804"/>
                  </a:cubicBezTo>
                  <a:cubicBezTo>
                    <a:pt x="3939" y="2489"/>
                    <a:pt x="4128" y="2080"/>
                    <a:pt x="4128" y="1670"/>
                  </a:cubicBezTo>
                  <a:cubicBezTo>
                    <a:pt x="4128" y="756"/>
                    <a:pt x="3371"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16" name="Google Shape;6816;p73"/>
          <p:cNvGrpSpPr/>
          <p:nvPr/>
        </p:nvGrpSpPr>
        <p:grpSpPr>
          <a:xfrm>
            <a:off x="3502420" y="2694487"/>
            <a:ext cx="493217" cy="491405"/>
            <a:chOff x="-63666550" y="2278975"/>
            <a:chExt cx="319800" cy="318625"/>
          </a:xfrm>
        </p:grpSpPr>
        <p:sp>
          <p:nvSpPr>
            <p:cNvPr id="6817" name="Google Shape;6817;p73"/>
            <p:cNvSpPr/>
            <p:nvPr/>
          </p:nvSpPr>
          <p:spPr>
            <a:xfrm>
              <a:off x="-63481450" y="2309700"/>
              <a:ext cx="62225" cy="146525"/>
            </a:xfrm>
            <a:custGeom>
              <a:avLst/>
              <a:gdLst/>
              <a:ahLst/>
              <a:cxnLst/>
              <a:rect l="l" t="t" r="r" b="b"/>
              <a:pathLst>
                <a:path w="2489" h="5861" extrusionOk="0">
                  <a:moveTo>
                    <a:pt x="1229" y="0"/>
                  </a:moveTo>
                  <a:cubicBezTo>
                    <a:pt x="977" y="0"/>
                    <a:pt x="819" y="189"/>
                    <a:pt x="819" y="441"/>
                  </a:cubicBezTo>
                  <a:lnTo>
                    <a:pt x="819" y="694"/>
                  </a:lnTo>
                  <a:cubicBezTo>
                    <a:pt x="347" y="883"/>
                    <a:pt x="0" y="1324"/>
                    <a:pt x="0" y="1891"/>
                  </a:cubicBezTo>
                  <a:cubicBezTo>
                    <a:pt x="0" y="2552"/>
                    <a:pt x="536" y="2962"/>
                    <a:pt x="977" y="3277"/>
                  </a:cubicBezTo>
                  <a:cubicBezTo>
                    <a:pt x="1292" y="3497"/>
                    <a:pt x="1638" y="3749"/>
                    <a:pt x="1638" y="3970"/>
                  </a:cubicBezTo>
                  <a:cubicBezTo>
                    <a:pt x="1607" y="4254"/>
                    <a:pt x="1418" y="4411"/>
                    <a:pt x="1197" y="4411"/>
                  </a:cubicBezTo>
                  <a:cubicBezTo>
                    <a:pt x="977" y="4411"/>
                    <a:pt x="819" y="4222"/>
                    <a:pt x="819" y="3970"/>
                  </a:cubicBezTo>
                  <a:cubicBezTo>
                    <a:pt x="819" y="3749"/>
                    <a:pt x="630" y="3560"/>
                    <a:pt x="410" y="3560"/>
                  </a:cubicBezTo>
                  <a:cubicBezTo>
                    <a:pt x="189" y="3560"/>
                    <a:pt x="0" y="3749"/>
                    <a:pt x="0" y="3970"/>
                  </a:cubicBezTo>
                  <a:cubicBezTo>
                    <a:pt x="0" y="4537"/>
                    <a:pt x="347" y="4978"/>
                    <a:pt x="819" y="5167"/>
                  </a:cubicBezTo>
                  <a:lnTo>
                    <a:pt x="819" y="5419"/>
                  </a:lnTo>
                  <a:cubicBezTo>
                    <a:pt x="819" y="5671"/>
                    <a:pt x="1008" y="5860"/>
                    <a:pt x="1197" y="5860"/>
                  </a:cubicBezTo>
                  <a:cubicBezTo>
                    <a:pt x="1449" y="5860"/>
                    <a:pt x="1638" y="5671"/>
                    <a:pt x="1638" y="5419"/>
                  </a:cubicBezTo>
                  <a:lnTo>
                    <a:pt x="1638" y="5167"/>
                  </a:lnTo>
                  <a:cubicBezTo>
                    <a:pt x="2111" y="5010"/>
                    <a:pt x="2489" y="4537"/>
                    <a:pt x="2489" y="3970"/>
                  </a:cubicBezTo>
                  <a:cubicBezTo>
                    <a:pt x="2489" y="3308"/>
                    <a:pt x="1922" y="2930"/>
                    <a:pt x="1481" y="2615"/>
                  </a:cubicBezTo>
                  <a:cubicBezTo>
                    <a:pt x="1166" y="2363"/>
                    <a:pt x="819" y="2143"/>
                    <a:pt x="819" y="1891"/>
                  </a:cubicBezTo>
                  <a:cubicBezTo>
                    <a:pt x="819" y="1670"/>
                    <a:pt x="1008" y="1450"/>
                    <a:pt x="1229" y="1450"/>
                  </a:cubicBezTo>
                  <a:cubicBezTo>
                    <a:pt x="1449" y="1450"/>
                    <a:pt x="1638" y="1670"/>
                    <a:pt x="1638" y="1891"/>
                  </a:cubicBezTo>
                  <a:cubicBezTo>
                    <a:pt x="1638" y="2111"/>
                    <a:pt x="1859" y="2332"/>
                    <a:pt x="2048" y="2332"/>
                  </a:cubicBezTo>
                  <a:cubicBezTo>
                    <a:pt x="2269" y="2332"/>
                    <a:pt x="2489" y="2111"/>
                    <a:pt x="2489" y="1891"/>
                  </a:cubicBezTo>
                  <a:cubicBezTo>
                    <a:pt x="2489" y="1324"/>
                    <a:pt x="2111" y="914"/>
                    <a:pt x="1638" y="694"/>
                  </a:cubicBezTo>
                  <a:lnTo>
                    <a:pt x="1638" y="441"/>
                  </a:lnTo>
                  <a:cubicBezTo>
                    <a:pt x="1638" y="189"/>
                    <a:pt x="1449" y="0"/>
                    <a:pt x="12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18" name="Google Shape;6818;p73"/>
            <p:cNvSpPr/>
            <p:nvPr/>
          </p:nvSpPr>
          <p:spPr>
            <a:xfrm>
              <a:off x="-63666550" y="2278975"/>
              <a:ext cx="319800" cy="318625"/>
            </a:xfrm>
            <a:custGeom>
              <a:avLst/>
              <a:gdLst/>
              <a:ahLst/>
              <a:cxnLst/>
              <a:rect l="l" t="t" r="r" b="b"/>
              <a:pathLst>
                <a:path w="12792" h="12745" extrusionOk="0">
                  <a:moveTo>
                    <a:pt x="8601" y="914"/>
                  </a:moveTo>
                  <a:cubicBezTo>
                    <a:pt x="10429" y="914"/>
                    <a:pt x="11909" y="2427"/>
                    <a:pt x="11909" y="4222"/>
                  </a:cubicBezTo>
                  <a:cubicBezTo>
                    <a:pt x="11909" y="6050"/>
                    <a:pt x="10429" y="7530"/>
                    <a:pt x="8601" y="7530"/>
                  </a:cubicBezTo>
                  <a:cubicBezTo>
                    <a:pt x="7971" y="7530"/>
                    <a:pt x="7404" y="7373"/>
                    <a:pt x="6869" y="7026"/>
                  </a:cubicBezTo>
                  <a:lnTo>
                    <a:pt x="7089" y="6270"/>
                  </a:lnTo>
                  <a:cubicBezTo>
                    <a:pt x="7144" y="5997"/>
                    <a:pt x="6938" y="5748"/>
                    <a:pt x="6677" y="5748"/>
                  </a:cubicBezTo>
                  <a:cubicBezTo>
                    <a:pt x="6637" y="5748"/>
                    <a:pt x="6596" y="5754"/>
                    <a:pt x="6554" y="5766"/>
                  </a:cubicBezTo>
                  <a:lnTo>
                    <a:pt x="5829" y="5955"/>
                  </a:lnTo>
                  <a:cubicBezTo>
                    <a:pt x="5514" y="5451"/>
                    <a:pt x="5293" y="4852"/>
                    <a:pt x="5293" y="4222"/>
                  </a:cubicBezTo>
                  <a:cubicBezTo>
                    <a:pt x="5293" y="2364"/>
                    <a:pt x="6774" y="914"/>
                    <a:pt x="8601" y="914"/>
                  </a:cubicBezTo>
                  <a:close/>
                  <a:moveTo>
                    <a:pt x="6050" y="6711"/>
                  </a:moveTo>
                  <a:lnTo>
                    <a:pt x="5041" y="10303"/>
                  </a:lnTo>
                  <a:lnTo>
                    <a:pt x="4789" y="9421"/>
                  </a:lnTo>
                  <a:cubicBezTo>
                    <a:pt x="4749" y="9221"/>
                    <a:pt x="4571" y="9098"/>
                    <a:pt x="4389" y="9098"/>
                  </a:cubicBezTo>
                  <a:cubicBezTo>
                    <a:pt x="4284" y="9098"/>
                    <a:pt x="4177" y="9139"/>
                    <a:pt x="4096" y="9232"/>
                  </a:cubicBezTo>
                  <a:lnTo>
                    <a:pt x="1418" y="11910"/>
                  </a:lnTo>
                  <a:lnTo>
                    <a:pt x="820" y="11311"/>
                  </a:lnTo>
                  <a:lnTo>
                    <a:pt x="3529" y="8665"/>
                  </a:lnTo>
                  <a:cubicBezTo>
                    <a:pt x="3781" y="8444"/>
                    <a:pt x="3655" y="8034"/>
                    <a:pt x="3340" y="7971"/>
                  </a:cubicBezTo>
                  <a:lnTo>
                    <a:pt x="2458" y="7719"/>
                  </a:lnTo>
                  <a:lnTo>
                    <a:pt x="6050" y="6711"/>
                  </a:lnTo>
                  <a:close/>
                  <a:moveTo>
                    <a:pt x="8664" y="1"/>
                  </a:moveTo>
                  <a:cubicBezTo>
                    <a:pt x="6365" y="1"/>
                    <a:pt x="4506" y="1860"/>
                    <a:pt x="4506" y="4159"/>
                  </a:cubicBezTo>
                  <a:cubicBezTo>
                    <a:pt x="4506" y="4852"/>
                    <a:pt x="4663" y="5514"/>
                    <a:pt x="5041" y="6113"/>
                  </a:cubicBezTo>
                  <a:lnTo>
                    <a:pt x="820" y="7341"/>
                  </a:lnTo>
                  <a:cubicBezTo>
                    <a:pt x="631" y="7373"/>
                    <a:pt x="505" y="7562"/>
                    <a:pt x="505" y="7719"/>
                  </a:cubicBezTo>
                  <a:cubicBezTo>
                    <a:pt x="505" y="7940"/>
                    <a:pt x="631" y="8097"/>
                    <a:pt x="820" y="8129"/>
                  </a:cubicBezTo>
                  <a:lnTo>
                    <a:pt x="2458" y="8570"/>
                  </a:lnTo>
                  <a:lnTo>
                    <a:pt x="316" y="10712"/>
                  </a:lnTo>
                  <a:cubicBezTo>
                    <a:pt x="1" y="11027"/>
                    <a:pt x="1" y="11563"/>
                    <a:pt x="316" y="11910"/>
                  </a:cubicBezTo>
                  <a:lnTo>
                    <a:pt x="883" y="12508"/>
                  </a:lnTo>
                  <a:cubicBezTo>
                    <a:pt x="1040" y="12666"/>
                    <a:pt x="1253" y="12744"/>
                    <a:pt x="1469" y="12744"/>
                  </a:cubicBezTo>
                  <a:cubicBezTo>
                    <a:pt x="1686" y="12744"/>
                    <a:pt x="1907" y="12666"/>
                    <a:pt x="2080" y="12508"/>
                  </a:cubicBezTo>
                  <a:lnTo>
                    <a:pt x="4254" y="10334"/>
                  </a:lnTo>
                  <a:lnTo>
                    <a:pt x="4663" y="11973"/>
                  </a:lnTo>
                  <a:cubicBezTo>
                    <a:pt x="4727" y="12181"/>
                    <a:pt x="4906" y="12292"/>
                    <a:pt x="5078" y="12292"/>
                  </a:cubicBezTo>
                  <a:cubicBezTo>
                    <a:pt x="5244" y="12292"/>
                    <a:pt x="5405" y="12189"/>
                    <a:pt x="5451" y="11973"/>
                  </a:cubicBezTo>
                  <a:lnTo>
                    <a:pt x="6680" y="7782"/>
                  </a:lnTo>
                  <a:cubicBezTo>
                    <a:pt x="7278" y="8097"/>
                    <a:pt x="7940" y="8286"/>
                    <a:pt x="8664" y="8286"/>
                  </a:cubicBezTo>
                  <a:cubicBezTo>
                    <a:pt x="10933" y="8286"/>
                    <a:pt x="12792" y="6428"/>
                    <a:pt x="12792" y="4159"/>
                  </a:cubicBezTo>
                  <a:cubicBezTo>
                    <a:pt x="12792" y="1860"/>
                    <a:pt x="10933" y="1"/>
                    <a:pt x="86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19" name="Google Shape;6819;p73"/>
          <p:cNvGrpSpPr/>
          <p:nvPr/>
        </p:nvGrpSpPr>
        <p:grpSpPr>
          <a:xfrm>
            <a:off x="3498775" y="3315854"/>
            <a:ext cx="500504" cy="489863"/>
            <a:chOff x="-63669700" y="2646600"/>
            <a:chExt cx="324525" cy="317625"/>
          </a:xfrm>
        </p:grpSpPr>
        <p:sp>
          <p:nvSpPr>
            <p:cNvPr id="6820" name="Google Shape;6820;p73"/>
            <p:cNvSpPr/>
            <p:nvPr/>
          </p:nvSpPr>
          <p:spPr>
            <a:xfrm>
              <a:off x="-63669700" y="2646600"/>
              <a:ext cx="324525" cy="317550"/>
            </a:xfrm>
            <a:custGeom>
              <a:avLst/>
              <a:gdLst/>
              <a:ahLst/>
              <a:cxnLst/>
              <a:rect l="l" t="t" r="r" b="b"/>
              <a:pathLst>
                <a:path w="12981" h="12702" extrusionOk="0">
                  <a:moveTo>
                    <a:pt x="6947" y="867"/>
                  </a:moveTo>
                  <a:cubicBezTo>
                    <a:pt x="7058" y="867"/>
                    <a:pt x="7168" y="906"/>
                    <a:pt x="7247" y="985"/>
                  </a:cubicBezTo>
                  <a:cubicBezTo>
                    <a:pt x="7404" y="1143"/>
                    <a:pt x="7404" y="1426"/>
                    <a:pt x="7247" y="1584"/>
                  </a:cubicBezTo>
                  <a:lnTo>
                    <a:pt x="5199" y="3632"/>
                  </a:lnTo>
                  <a:cubicBezTo>
                    <a:pt x="5120" y="3710"/>
                    <a:pt x="5010" y="3750"/>
                    <a:pt x="4900" y="3750"/>
                  </a:cubicBezTo>
                  <a:cubicBezTo>
                    <a:pt x="4789" y="3750"/>
                    <a:pt x="4679" y="3710"/>
                    <a:pt x="4600" y="3632"/>
                  </a:cubicBezTo>
                  <a:cubicBezTo>
                    <a:pt x="4443" y="3474"/>
                    <a:pt x="4443" y="3190"/>
                    <a:pt x="4600" y="3033"/>
                  </a:cubicBezTo>
                  <a:lnTo>
                    <a:pt x="6648" y="985"/>
                  </a:lnTo>
                  <a:cubicBezTo>
                    <a:pt x="6727" y="906"/>
                    <a:pt x="6837" y="867"/>
                    <a:pt x="6947" y="867"/>
                  </a:cubicBezTo>
                  <a:close/>
                  <a:moveTo>
                    <a:pt x="7530" y="2434"/>
                  </a:moveTo>
                  <a:lnTo>
                    <a:pt x="10429" y="5364"/>
                  </a:lnTo>
                  <a:lnTo>
                    <a:pt x="8979" y="6814"/>
                  </a:lnTo>
                  <a:lnTo>
                    <a:pt x="6050" y="3884"/>
                  </a:lnTo>
                  <a:lnTo>
                    <a:pt x="7530" y="2434"/>
                  </a:lnTo>
                  <a:close/>
                  <a:moveTo>
                    <a:pt x="6648" y="5679"/>
                  </a:moveTo>
                  <a:lnTo>
                    <a:pt x="7247" y="6246"/>
                  </a:lnTo>
                  <a:lnTo>
                    <a:pt x="5482" y="8042"/>
                  </a:lnTo>
                  <a:lnTo>
                    <a:pt x="4884" y="7444"/>
                  </a:lnTo>
                  <a:lnTo>
                    <a:pt x="6648" y="5679"/>
                  </a:lnTo>
                  <a:close/>
                  <a:moveTo>
                    <a:pt x="11642" y="5561"/>
                  </a:moveTo>
                  <a:cubicBezTo>
                    <a:pt x="11752" y="5561"/>
                    <a:pt x="11862" y="5601"/>
                    <a:pt x="11941" y="5679"/>
                  </a:cubicBezTo>
                  <a:cubicBezTo>
                    <a:pt x="12098" y="5837"/>
                    <a:pt x="12098" y="6089"/>
                    <a:pt x="11941" y="6246"/>
                  </a:cubicBezTo>
                  <a:lnTo>
                    <a:pt x="9893" y="8294"/>
                  </a:lnTo>
                  <a:cubicBezTo>
                    <a:pt x="9814" y="8373"/>
                    <a:pt x="9704" y="8412"/>
                    <a:pt x="9594" y="8412"/>
                  </a:cubicBezTo>
                  <a:cubicBezTo>
                    <a:pt x="9484" y="8412"/>
                    <a:pt x="9373" y="8373"/>
                    <a:pt x="9295" y="8294"/>
                  </a:cubicBezTo>
                  <a:cubicBezTo>
                    <a:pt x="9137" y="8137"/>
                    <a:pt x="9137" y="7885"/>
                    <a:pt x="9295" y="7727"/>
                  </a:cubicBezTo>
                  <a:lnTo>
                    <a:pt x="11342" y="5679"/>
                  </a:lnTo>
                  <a:cubicBezTo>
                    <a:pt x="11421" y="5601"/>
                    <a:pt x="11531" y="5561"/>
                    <a:pt x="11642" y="5561"/>
                  </a:cubicBezTo>
                  <a:close/>
                  <a:moveTo>
                    <a:pt x="4065" y="7664"/>
                  </a:moveTo>
                  <a:lnTo>
                    <a:pt x="5230" y="8861"/>
                  </a:lnTo>
                  <a:lnTo>
                    <a:pt x="2426" y="11665"/>
                  </a:lnTo>
                  <a:cubicBezTo>
                    <a:pt x="2269" y="11823"/>
                    <a:pt x="2064" y="11902"/>
                    <a:pt x="1855" y="11902"/>
                  </a:cubicBezTo>
                  <a:cubicBezTo>
                    <a:pt x="1647" y="11902"/>
                    <a:pt x="1434" y="11823"/>
                    <a:pt x="1261" y="11665"/>
                  </a:cubicBezTo>
                  <a:cubicBezTo>
                    <a:pt x="914" y="11350"/>
                    <a:pt x="914" y="10783"/>
                    <a:pt x="1261" y="10468"/>
                  </a:cubicBezTo>
                  <a:lnTo>
                    <a:pt x="4065" y="7664"/>
                  </a:lnTo>
                  <a:close/>
                  <a:moveTo>
                    <a:pt x="6971" y="1"/>
                  </a:moveTo>
                  <a:cubicBezTo>
                    <a:pt x="6648" y="1"/>
                    <a:pt x="6317" y="119"/>
                    <a:pt x="6050" y="355"/>
                  </a:cubicBezTo>
                  <a:lnTo>
                    <a:pt x="4002" y="2403"/>
                  </a:lnTo>
                  <a:cubicBezTo>
                    <a:pt x="3529" y="2875"/>
                    <a:pt x="3529" y="3663"/>
                    <a:pt x="4002" y="4167"/>
                  </a:cubicBezTo>
                  <a:cubicBezTo>
                    <a:pt x="4258" y="4424"/>
                    <a:pt x="4564" y="4544"/>
                    <a:pt x="4874" y="4544"/>
                  </a:cubicBezTo>
                  <a:cubicBezTo>
                    <a:pt x="5058" y="4544"/>
                    <a:pt x="5243" y="4501"/>
                    <a:pt x="5419" y="4419"/>
                  </a:cubicBezTo>
                  <a:lnTo>
                    <a:pt x="6081" y="5018"/>
                  </a:lnTo>
                  <a:lnTo>
                    <a:pt x="4285" y="6814"/>
                  </a:lnTo>
                  <a:cubicBezTo>
                    <a:pt x="4206" y="6735"/>
                    <a:pt x="4096" y="6695"/>
                    <a:pt x="3990" y="6695"/>
                  </a:cubicBezTo>
                  <a:cubicBezTo>
                    <a:pt x="3884" y="6695"/>
                    <a:pt x="3781" y="6735"/>
                    <a:pt x="3718" y="6814"/>
                  </a:cubicBezTo>
                  <a:lnTo>
                    <a:pt x="631" y="9869"/>
                  </a:lnTo>
                  <a:cubicBezTo>
                    <a:pt x="1" y="10500"/>
                    <a:pt x="1" y="11571"/>
                    <a:pt x="631" y="12201"/>
                  </a:cubicBezTo>
                  <a:cubicBezTo>
                    <a:pt x="965" y="12536"/>
                    <a:pt x="1405" y="12701"/>
                    <a:pt x="1840" y="12701"/>
                  </a:cubicBezTo>
                  <a:cubicBezTo>
                    <a:pt x="2264" y="12701"/>
                    <a:pt x="2682" y="12544"/>
                    <a:pt x="2994" y="12232"/>
                  </a:cubicBezTo>
                  <a:lnTo>
                    <a:pt x="6050" y="9176"/>
                  </a:lnTo>
                  <a:cubicBezTo>
                    <a:pt x="6207" y="9019"/>
                    <a:pt x="6207" y="8735"/>
                    <a:pt x="6050" y="8578"/>
                  </a:cubicBezTo>
                  <a:lnTo>
                    <a:pt x="7845" y="6814"/>
                  </a:lnTo>
                  <a:lnTo>
                    <a:pt x="8475" y="7444"/>
                  </a:lnTo>
                  <a:cubicBezTo>
                    <a:pt x="8255" y="7853"/>
                    <a:pt x="8318" y="8452"/>
                    <a:pt x="8696" y="8861"/>
                  </a:cubicBezTo>
                  <a:cubicBezTo>
                    <a:pt x="8932" y="9098"/>
                    <a:pt x="9247" y="9216"/>
                    <a:pt x="9566" y="9216"/>
                  </a:cubicBezTo>
                  <a:cubicBezTo>
                    <a:pt x="9885" y="9216"/>
                    <a:pt x="10208" y="9098"/>
                    <a:pt x="10460" y="8861"/>
                  </a:cubicBezTo>
                  <a:lnTo>
                    <a:pt x="12508" y="6814"/>
                  </a:lnTo>
                  <a:cubicBezTo>
                    <a:pt x="12981" y="6341"/>
                    <a:pt x="12981" y="5553"/>
                    <a:pt x="12508" y="5018"/>
                  </a:cubicBezTo>
                  <a:cubicBezTo>
                    <a:pt x="12274" y="4784"/>
                    <a:pt x="11979" y="4670"/>
                    <a:pt x="11669" y="4670"/>
                  </a:cubicBezTo>
                  <a:cubicBezTo>
                    <a:pt x="11479" y="4670"/>
                    <a:pt x="11282" y="4713"/>
                    <a:pt x="11090" y="4797"/>
                  </a:cubicBezTo>
                  <a:lnTo>
                    <a:pt x="8066" y="1773"/>
                  </a:lnTo>
                  <a:cubicBezTo>
                    <a:pt x="8255" y="1332"/>
                    <a:pt x="8223" y="733"/>
                    <a:pt x="7845" y="355"/>
                  </a:cubicBezTo>
                  <a:cubicBezTo>
                    <a:pt x="7609" y="119"/>
                    <a:pt x="7294" y="1"/>
                    <a:pt x="69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1" name="Google Shape;6821;p73"/>
            <p:cNvSpPr/>
            <p:nvPr/>
          </p:nvSpPr>
          <p:spPr>
            <a:xfrm>
              <a:off x="-63532650" y="2901200"/>
              <a:ext cx="185900" cy="63025"/>
            </a:xfrm>
            <a:custGeom>
              <a:avLst/>
              <a:gdLst/>
              <a:ahLst/>
              <a:cxnLst/>
              <a:rect l="l" t="t" r="r" b="b"/>
              <a:pathLst>
                <a:path w="7436" h="2521" extrusionOk="0">
                  <a:moveTo>
                    <a:pt x="5356" y="851"/>
                  </a:moveTo>
                  <a:cubicBezTo>
                    <a:pt x="5577" y="851"/>
                    <a:pt x="5734" y="1040"/>
                    <a:pt x="5734" y="1261"/>
                  </a:cubicBezTo>
                  <a:lnTo>
                    <a:pt x="5734" y="1702"/>
                  </a:lnTo>
                  <a:lnTo>
                    <a:pt x="1607" y="1702"/>
                  </a:lnTo>
                  <a:lnTo>
                    <a:pt x="1607" y="1261"/>
                  </a:lnTo>
                  <a:cubicBezTo>
                    <a:pt x="1607" y="1040"/>
                    <a:pt x="1796" y="851"/>
                    <a:pt x="2048" y="851"/>
                  </a:cubicBezTo>
                  <a:close/>
                  <a:moveTo>
                    <a:pt x="2048" y="1"/>
                  </a:moveTo>
                  <a:cubicBezTo>
                    <a:pt x="1355" y="1"/>
                    <a:pt x="788" y="568"/>
                    <a:pt x="788" y="1261"/>
                  </a:cubicBezTo>
                  <a:lnTo>
                    <a:pt x="788" y="1702"/>
                  </a:lnTo>
                  <a:lnTo>
                    <a:pt x="378" y="1702"/>
                  </a:lnTo>
                  <a:cubicBezTo>
                    <a:pt x="158" y="1702"/>
                    <a:pt x="0" y="1891"/>
                    <a:pt x="0" y="2111"/>
                  </a:cubicBezTo>
                  <a:cubicBezTo>
                    <a:pt x="0" y="2332"/>
                    <a:pt x="189" y="2521"/>
                    <a:pt x="378" y="2521"/>
                  </a:cubicBezTo>
                  <a:lnTo>
                    <a:pt x="6995" y="2521"/>
                  </a:lnTo>
                  <a:cubicBezTo>
                    <a:pt x="7247" y="2521"/>
                    <a:pt x="7436" y="2332"/>
                    <a:pt x="7436" y="2111"/>
                  </a:cubicBezTo>
                  <a:cubicBezTo>
                    <a:pt x="7404" y="1891"/>
                    <a:pt x="7184" y="1702"/>
                    <a:pt x="6963" y="1702"/>
                  </a:cubicBezTo>
                  <a:lnTo>
                    <a:pt x="6553" y="1702"/>
                  </a:lnTo>
                  <a:lnTo>
                    <a:pt x="6553" y="1261"/>
                  </a:lnTo>
                  <a:cubicBezTo>
                    <a:pt x="6553" y="599"/>
                    <a:pt x="6018" y="1"/>
                    <a:pt x="53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22" name="Google Shape;6822;p73"/>
          <p:cNvGrpSpPr/>
          <p:nvPr/>
        </p:nvGrpSpPr>
        <p:grpSpPr>
          <a:xfrm>
            <a:off x="1715149" y="3946957"/>
            <a:ext cx="488359" cy="488976"/>
            <a:chOff x="-61784125" y="1931250"/>
            <a:chExt cx="316650" cy="317050"/>
          </a:xfrm>
        </p:grpSpPr>
        <p:sp>
          <p:nvSpPr>
            <p:cNvPr id="6823" name="Google Shape;6823;p73"/>
            <p:cNvSpPr/>
            <p:nvPr/>
          </p:nvSpPr>
          <p:spPr>
            <a:xfrm>
              <a:off x="-61688025" y="1931250"/>
              <a:ext cx="124450" cy="134300"/>
            </a:xfrm>
            <a:custGeom>
              <a:avLst/>
              <a:gdLst/>
              <a:ahLst/>
              <a:cxnLst/>
              <a:rect l="l" t="t" r="r" b="b"/>
              <a:pathLst>
                <a:path w="4978" h="5372" extrusionOk="0">
                  <a:moveTo>
                    <a:pt x="2497" y="845"/>
                  </a:moveTo>
                  <a:cubicBezTo>
                    <a:pt x="2709" y="845"/>
                    <a:pt x="2922" y="922"/>
                    <a:pt x="3088" y="1087"/>
                  </a:cubicBezTo>
                  <a:cubicBezTo>
                    <a:pt x="3277" y="1276"/>
                    <a:pt x="3340" y="1591"/>
                    <a:pt x="3277" y="1906"/>
                  </a:cubicBezTo>
                  <a:cubicBezTo>
                    <a:pt x="3182" y="2190"/>
                    <a:pt x="2993" y="2410"/>
                    <a:pt x="2709" y="2442"/>
                  </a:cubicBezTo>
                  <a:cubicBezTo>
                    <a:pt x="2625" y="2467"/>
                    <a:pt x="2545" y="2479"/>
                    <a:pt x="2469" y="2479"/>
                  </a:cubicBezTo>
                  <a:cubicBezTo>
                    <a:pt x="2259" y="2479"/>
                    <a:pt x="2075" y="2391"/>
                    <a:pt x="1890" y="2253"/>
                  </a:cubicBezTo>
                  <a:cubicBezTo>
                    <a:pt x="1701" y="2032"/>
                    <a:pt x="1607" y="1717"/>
                    <a:pt x="1701" y="1434"/>
                  </a:cubicBezTo>
                  <a:cubicBezTo>
                    <a:pt x="1800" y="1059"/>
                    <a:pt x="2145" y="845"/>
                    <a:pt x="2497" y="845"/>
                  </a:cubicBezTo>
                  <a:close/>
                  <a:moveTo>
                    <a:pt x="2520" y="3324"/>
                  </a:moveTo>
                  <a:cubicBezTo>
                    <a:pt x="3277" y="3324"/>
                    <a:pt x="3907" y="3828"/>
                    <a:pt x="4096" y="4553"/>
                  </a:cubicBezTo>
                  <a:lnTo>
                    <a:pt x="914" y="4553"/>
                  </a:lnTo>
                  <a:cubicBezTo>
                    <a:pt x="1103" y="3828"/>
                    <a:pt x="1733" y="3324"/>
                    <a:pt x="2520" y="3324"/>
                  </a:cubicBezTo>
                  <a:close/>
                  <a:moveTo>
                    <a:pt x="2510" y="1"/>
                  </a:moveTo>
                  <a:cubicBezTo>
                    <a:pt x="1805" y="1"/>
                    <a:pt x="1113" y="455"/>
                    <a:pt x="914" y="1213"/>
                  </a:cubicBezTo>
                  <a:cubicBezTo>
                    <a:pt x="756" y="1780"/>
                    <a:pt x="914" y="2347"/>
                    <a:pt x="1292" y="2789"/>
                  </a:cubicBezTo>
                  <a:cubicBezTo>
                    <a:pt x="567" y="3198"/>
                    <a:pt x="0" y="3986"/>
                    <a:pt x="0" y="4931"/>
                  </a:cubicBezTo>
                  <a:cubicBezTo>
                    <a:pt x="0" y="5183"/>
                    <a:pt x="189" y="5372"/>
                    <a:pt x="441" y="5372"/>
                  </a:cubicBezTo>
                  <a:lnTo>
                    <a:pt x="4568" y="5372"/>
                  </a:lnTo>
                  <a:cubicBezTo>
                    <a:pt x="4820" y="5372"/>
                    <a:pt x="4978" y="5183"/>
                    <a:pt x="4978" y="4931"/>
                  </a:cubicBezTo>
                  <a:cubicBezTo>
                    <a:pt x="4978" y="3986"/>
                    <a:pt x="4442" y="3198"/>
                    <a:pt x="3718" y="2789"/>
                  </a:cubicBezTo>
                  <a:cubicBezTo>
                    <a:pt x="3907" y="2568"/>
                    <a:pt x="4033" y="2347"/>
                    <a:pt x="4096" y="2064"/>
                  </a:cubicBezTo>
                  <a:cubicBezTo>
                    <a:pt x="4253" y="1528"/>
                    <a:pt x="4096" y="930"/>
                    <a:pt x="3655" y="489"/>
                  </a:cubicBezTo>
                  <a:cubicBezTo>
                    <a:pt x="3331" y="153"/>
                    <a:pt x="2918" y="1"/>
                    <a:pt x="25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4" name="Google Shape;6824;p73"/>
            <p:cNvSpPr/>
            <p:nvPr/>
          </p:nvSpPr>
          <p:spPr>
            <a:xfrm>
              <a:off x="-61784125" y="2113325"/>
              <a:ext cx="124450" cy="134975"/>
            </a:xfrm>
            <a:custGeom>
              <a:avLst/>
              <a:gdLst/>
              <a:ahLst/>
              <a:cxnLst/>
              <a:rect l="l" t="t" r="r" b="b"/>
              <a:pathLst>
                <a:path w="4978" h="5399"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7" y="2491"/>
                  </a:cubicBezTo>
                  <a:cubicBezTo>
                    <a:pt x="2261" y="2491"/>
                    <a:pt x="2058" y="2415"/>
                    <a:pt x="1891" y="2248"/>
                  </a:cubicBezTo>
                  <a:cubicBezTo>
                    <a:pt x="1670" y="2059"/>
                    <a:pt x="1607" y="1743"/>
                    <a:pt x="1670" y="1428"/>
                  </a:cubicBezTo>
                  <a:cubicBezTo>
                    <a:pt x="1770" y="1068"/>
                    <a:pt x="2124" y="848"/>
                    <a:pt x="2482" y="848"/>
                  </a:cubicBezTo>
                  <a:close/>
                  <a:moveTo>
                    <a:pt x="2458" y="3319"/>
                  </a:moveTo>
                  <a:cubicBezTo>
                    <a:pt x="3245" y="3319"/>
                    <a:pt x="3907" y="3854"/>
                    <a:pt x="4096" y="4547"/>
                  </a:cubicBezTo>
                  <a:lnTo>
                    <a:pt x="883" y="4547"/>
                  </a:lnTo>
                  <a:cubicBezTo>
                    <a:pt x="1040" y="3886"/>
                    <a:pt x="1733" y="3319"/>
                    <a:pt x="2458" y="3319"/>
                  </a:cubicBezTo>
                  <a:close/>
                  <a:moveTo>
                    <a:pt x="2509" y="1"/>
                  </a:moveTo>
                  <a:cubicBezTo>
                    <a:pt x="1812" y="1"/>
                    <a:pt x="1143" y="437"/>
                    <a:pt x="946" y="1208"/>
                  </a:cubicBezTo>
                  <a:cubicBezTo>
                    <a:pt x="788" y="1806"/>
                    <a:pt x="946" y="2342"/>
                    <a:pt x="1324" y="2783"/>
                  </a:cubicBezTo>
                  <a:cubicBezTo>
                    <a:pt x="568" y="3224"/>
                    <a:pt x="32" y="4012"/>
                    <a:pt x="32" y="4957"/>
                  </a:cubicBezTo>
                  <a:cubicBezTo>
                    <a:pt x="0" y="5209"/>
                    <a:pt x="189" y="5398"/>
                    <a:pt x="410" y="5398"/>
                  </a:cubicBezTo>
                  <a:lnTo>
                    <a:pt x="4569" y="5398"/>
                  </a:lnTo>
                  <a:cubicBezTo>
                    <a:pt x="4789" y="5398"/>
                    <a:pt x="4978" y="5209"/>
                    <a:pt x="4978" y="4988"/>
                  </a:cubicBezTo>
                  <a:cubicBezTo>
                    <a:pt x="4978" y="4043"/>
                    <a:pt x="4474" y="3256"/>
                    <a:pt x="3718" y="2815"/>
                  </a:cubicBezTo>
                  <a:cubicBezTo>
                    <a:pt x="3939" y="2626"/>
                    <a:pt x="4033" y="2374"/>
                    <a:pt x="4128" y="2090"/>
                  </a:cubicBezTo>
                  <a:cubicBezTo>
                    <a:pt x="4285" y="1523"/>
                    <a:pt x="4128" y="924"/>
                    <a:pt x="3687" y="483"/>
                  </a:cubicBezTo>
                  <a:cubicBezTo>
                    <a:pt x="3346" y="155"/>
                    <a:pt x="2923" y="1"/>
                    <a:pt x="25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5" name="Google Shape;6825;p73"/>
            <p:cNvSpPr/>
            <p:nvPr/>
          </p:nvSpPr>
          <p:spPr>
            <a:xfrm>
              <a:off x="-61591150" y="2113325"/>
              <a:ext cx="123675" cy="134175"/>
            </a:xfrm>
            <a:custGeom>
              <a:avLst/>
              <a:gdLst/>
              <a:ahLst/>
              <a:cxnLst/>
              <a:rect l="l" t="t" r="r" b="b"/>
              <a:pathLst>
                <a:path w="4947" h="5367" extrusionOk="0">
                  <a:moveTo>
                    <a:pt x="2482" y="848"/>
                  </a:moveTo>
                  <a:cubicBezTo>
                    <a:pt x="2688" y="848"/>
                    <a:pt x="2895" y="921"/>
                    <a:pt x="3056" y="1082"/>
                  </a:cubicBezTo>
                  <a:cubicBezTo>
                    <a:pt x="3245" y="1271"/>
                    <a:pt x="3340" y="1586"/>
                    <a:pt x="3245" y="1901"/>
                  </a:cubicBezTo>
                  <a:cubicBezTo>
                    <a:pt x="3182" y="2185"/>
                    <a:pt x="2993" y="2437"/>
                    <a:pt x="2710" y="2468"/>
                  </a:cubicBezTo>
                  <a:cubicBezTo>
                    <a:pt x="2633" y="2483"/>
                    <a:pt x="2559" y="2491"/>
                    <a:pt x="2486" y="2491"/>
                  </a:cubicBezTo>
                  <a:cubicBezTo>
                    <a:pt x="2261" y="2491"/>
                    <a:pt x="2057" y="2415"/>
                    <a:pt x="1890" y="2248"/>
                  </a:cubicBezTo>
                  <a:cubicBezTo>
                    <a:pt x="1670" y="2059"/>
                    <a:pt x="1607" y="1743"/>
                    <a:pt x="1670" y="1428"/>
                  </a:cubicBezTo>
                  <a:cubicBezTo>
                    <a:pt x="1770" y="1068"/>
                    <a:pt x="2124" y="848"/>
                    <a:pt x="2482" y="848"/>
                  </a:cubicBezTo>
                  <a:close/>
                  <a:moveTo>
                    <a:pt x="2521" y="3382"/>
                  </a:moveTo>
                  <a:cubicBezTo>
                    <a:pt x="3308" y="3382"/>
                    <a:pt x="3938" y="3886"/>
                    <a:pt x="4127" y="4579"/>
                  </a:cubicBezTo>
                  <a:lnTo>
                    <a:pt x="882" y="4579"/>
                  </a:lnTo>
                  <a:cubicBezTo>
                    <a:pt x="1103" y="3886"/>
                    <a:pt x="1733" y="3382"/>
                    <a:pt x="2521" y="3382"/>
                  </a:cubicBezTo>
                  <a:close/>
                  <a:moveTo>
                    <a:pt x="2467" y="1"/>
                  </a:moveTo>
                  <a:cubicBezTo>
                    <a:pt x="1761" y="1"/>
                    <a:pt x="1080" y="437"/>
                    <a:pt x="882" y="1208"/>
                  </a:cubicBezTo>
                  <a:cubicBezTo>
                    <a:pt x="725" y="1806"/>
                    <a:pt x="882" y="2342"/>
                    <a:pt x="1292" y="2783"/>
                  </a:cubicBezTo>
                  <a:cubicBezTo>
                    <a:pt x="536" y="3224"/>
                    <a:pt x="0" y="4012"/>
                    <a:pt x="0" y="4957"/>
                  </a:cubicBezTo>
                  <a:cubicBezTo>
                    <a:pt x="0" y="5178"/>
                    <a:pt x="189" y="5367"/>
                    <a:pt x="378" y="5367"/>
                  </a:cubicBezTo>
                  <a:lnTo>
                    <a:pt x="4505" y="5367"/>
                  </a:lnTo>
                  <a:cubicBezTo>
                    <a:pt x="4757" y="5367"/>
                    <a:pt x="4946" y="5178"/>
                    <a:pt x="4946" y="4957"/>
                  </a:cubicBezTo>
                  <a:cubicBezTo>
                    <a:pt x="4946" y="4075"/>
                    <a:pt x="4442" y="3256"/>
                    <a:pt x="3686" y="2815"/>
                  </a:cubicBezTo>
                  <a:cubicBezTo>
                    <a:pt x="3875" y="2626"/>
                    <a:pt x="4001" y="2374"/>
                    <a:pt x="4096" y="2090"/>
                  </a:cubicBezTo>
                  <a:cubicBezTo>
                    <a:pt x="4253" y="1523"/>
                    <a:pt x="4096" y="924"/>
                    <a:pt x="3655" y="483"/>
                  </a:cubicBezTo>
                  <a:cubicBezTo>
                    <a:pt x="3314" y="155"/>
                    <a:pt x="2887" y="1"/>
                    <a:pt x="24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6" name="Google Shape;6826;p73"/>
            <p:cNvSpPr/>
            <p:nvPr/>
          </p:nvSpPr>
          <p:spPr>
            <a:xfrm>
              <a:off x="-61677800" y="2072225"/>
              <a:ext cx="106350" cy="62450"/>
            </a:xfrm>
            <a:custGeom>
              <a:avLst/>
              <a:gdLst/>
              <a:ahLst/>
              <a:cxnLst/>
              <a:rect l="l" t="t" r="r" b="b"/>
              <a:pathLst>
                <a:path w="4254" h="2498" extrusionOk="0">
                  <a:moveTo>
                    <a:pt x="2096" y="1"/>
                  </a:moveTo>
                  <a:cubicBezTo>
                    <a:pt x="1985" y="1"/>
                    <a:pt x="1875" y="48"/>
                    <a:pt x="1796" y="142"/>
                  </a:cubicBezTo>
                  <a:lnTo>
                    <a:pt x="158" y="1781"/>
                  </a:lnTo>
                  <a:cubicBezTo>
                    <a:pt x="1" y="1938"/>
                    <a:pt x="1" y="2222"/>
                    <a:pt x="158" y="2379"/>
                  </a:cubicBezTo>
                  <a:cubicBezTo>
                    <a:pt x="237" y="2458"/>
                    <a:pt x="339" y="2497"/>
                    <a:pt x="442" y="2497"/>
                  </a:cubicBezTo>
                  <a:cubicBezTo>
                    <a:pt x="544" y="2497"/>
                    <a:pt x="646" y="2458"/>
                    <a:pt x="725" y="2379"/>
                  </a:cubicBezTo>
                  <a:lnTo>
                    <a:pt x="2111" y="993"/>
                  </a:lnTo>
                  <a:lnTo>
                    <a:pt x="3498" y="2379"/>
                  </a:lnTo>
                  <a:cubicBezTo>
                    <a:pt x="3576" y="2458"/>
                    <a:pt x="3687" y="2497"/>
                    <a:pt x="3797" y="2497"/>
                  </a:cubicBezTo>
                  <a:cubicBezTo>
                    <a:pt x="3907" y="2497"/>
                    <a:pt x="4017" y="2458"/>
                    <a:pt x="4096" y="2379"/>
                  </a:cubicBezTo>
                  <a:cubicBezTo>
                    <a:pt x="4254" y="2222"/>
                    <a:pt x="4254" y="1938"/>
                    <a:pt x="4096" y="1781"/>
                  </a:cubicBezTo>
                  <a:lnTo>
                    <a:pt x="2395" y="142"/>
                  </a:lnTo>
                  <a:cubicBezTo>
                    <a:pt x="2316" y="48"/>
                    <a:pt x="2206" y="1"/>
                    <a:pt x="2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27" name="Google Shape;6827;p73"/>
          <p:cNvGrpSpPr/>
          <p:nvPr/>
        </p:nvGrpSpPr>
        <p:grpSpPr>
          <a:xfrm>
            <a:off x="1715147" y="4528621"/>
            <a:ext cx="488359" cy="488359"/>
            <a:chOff x="-61783350" y="2297100"/>
            <a:chExt cx="316650" cy="316650"/>
          </a:xfrm>
        </p:grpSpPr>
        <p:sp>
          <p:nvSpPr>
            <p:cNvPr id="6828" name="Google Shape;6828;p73"/>
            <p:cNvSpPr/>
            <p:nvPr/>
          </p:nvSpPr>
          <p:spPr>
            <a:xfrm>
              <a:off x="-61783350" y="2297100"/>
              <a:ext cx="316650" cy="316650"/>
            </a:xfrm>
            <a:custGeom>
              <a:avLst/>
              <a:gdLst/>
              <a:ahLst/>
              <a:cxnLst/>
              <a:rect l="l" t="t" r="r" b="b"/>
              <a:pathLst>
                <a:path w="12666" h="12666" extrusionOk="0">
                  <a:moveTo>
                    <a:pt x="379" y="0"/>
                  </a:moveTo>
                  <a:cubicBezTo>
                    <a:pt x="158" y="0"/>
                    <a:pt x="1" y="189"/>
                    <a:pt x="1" y="441"/>
                  </a:cubicBezTo>
                  <a:lnTo>
                    <a:pt x="1" y="12287"/>
                  </a:lnTo>
                  <a:cubicBezTo>
                    <a:pt x="1" y="12508"/>
                    <a:pt x="190" y="12665"/>
                    <a:pt x="379" y="12665"/>
                  </a:cubicBezTo>
                  <a:lnTo>
                    <a:pt x="12256" y="12665"/>
                  </a:lnTo>
                  <a:cubicBezTo>
                    <a:pt x="12477" y="12665"/>
                    <a:pt x="12666" y="12476"/>
                    <a:pt x="12666" y="12287"/>
                  </a:cubicBezTo>
                  <a:cubicBezTo>
                    <a:pt x="12634" y="12098"/>
                    <a:pt x="12477" y="11878"/>
                    <a:pt x="12256" y="11878"/>
                  </a:cubicBezTo>
                  <a:lnTo>
                    <a:pt x="820" y="11878"/>
                  </a:lnTo>
                  <a:lnTo>
                    <a:pt x="820" y="441"/>
                  </a:lnTo>
                  <a:cubicBezTo>
                    <a:pt x="820" y="189"/>
                    <a:pt x="631"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29" name="Google Shape;6829;p73"/>
            <p:cNvSpPr/>
            <p:nvPr/>
          </p:nvSpPr>
          <p:spPr>
            <a:xfrm>
              <a:off x="-61742375" y="2387675"/>
              <a:ext cx="275675" cy="151250"/>
            </a:xfrm>
            <a:custGeom>
              <a:avLst/>
              <a:gdLst/>
              <a:ahLst/>
              <a:cxnLst/>
              <a:rect l="l" t="t" r="r" b="b"/>
              <a:pathLst>
                <a:path w="11027" h="6050" extrusionOk="0">
                  <a:moveTo>
                    <a:pt x="9767" y="788"/>
                  </a:moveTo>
                  <a:cubicBezTo>
                    <a:pt x="10019" y="788"/>
                    <a:pt x="10208" y="977"/>
                    <a:pt x="10208" y="1229"/>
                  </a:cubicBezTo>
                  <a:cubicBezTo>
                    <a:pt x="10176" y="1450"/>
                    <a:pt x="10019" y="1639"/>
                    <a:pt x="9767" y="1639"/>
                  </a:cubicBezTo>
                  <a:cubicBezTo>
                    <a:pt x="9546" y="1639"/>
                    <a:pt x="9389" y="1450"/>
                    <a:pt x="9389" y="1229"/>
                  </a:cubicBezTo>
                  <a:cubicBezTo>
                    <a:pt x="9389" y="977"/>
                    <a:pt x="9578" y="788"/>
                    <a:pt x="9767" y="788"/>
                  </a:cubicBezTo>
                  <a:close/>
                  <a:moveTo>
                    <a:pt x="4001" y="1607"/>
                  </a:moveTo>
                  <a:cubicBezTo>
                    <a:pt x="4222" y="1607"/>
                    <a:pt x="4379" y="1796"/>
                    <a:pt x="4379" y="2048"/>
                  </a:cubicBezTo>
                  <a:cubicBezTo>
                    <a:pt x="4379" y="2269"/>
                    <a:pt x="4222" y="2489"/>
                    <a:pt x="4001" y="2489"/>
                  </a:cubicBezTo>
                  <a:cubicBezTo>
                    <a:pt x="3749" y="2489"/>
                    <a:pt x="3560" y="2269"/>
                    <a:pt x="3560" y="2048"/>
                  </a:cubicBezTo>
                  <a:cubicBezTo>
                    <a:pt x="3560" y="1796"/>
                    <a:pt x="3749" y="1607"/>
                    <a:pt x="4001" y="1607"/>
                  </a:cubicBezTo>
                  <a:close/>
                  <a:moveTo>
                    <a:pt x="6459" y="4128"/>
                  </a:moveTo>
                  <a:cubicBezTo>
                    <a:pt x="6679" y="4128"/>
                    <a:pt x="6900" y="4317"/>
                    <a:pt x="6900" y="4569"/>
                  </a:cubicBezTo>
                  <a:cubicBezTo>
                    <a:pt x="6868" y="4758"/>
                    <a:pt x="6711" y="4947"/>
                    <a:pt x="6459" y="4947"/>
                  </a:cubicBezTo>
                  <a:cubicBezTo>
                    <a:pt x="6238" y="4947"/>
                    <a:pt x="6081" y="4758"/>
                    <a:pt x="6081" y="4569"/>
                  </a:cubicBezTo>
                  <a:cubicBezTo>
                    <a:pt x="6081" y="4317"/>
                    <a:pt x="6270" y="4128"/>
                    <a:pt x="6459" y="4128"/>
                  </a:cubicBezTo>
                  <a:close/>
                  <a:moveTo>
                    <a:pt x="1229" y="4380"/>
                  </a:moveTo>
                  <a:cubicBezTo>
                    <a:pt x="1481" y="4380"/>
                    <a:pt x="1638" y="4569"/>
                    <a:pt x="1638" y="4789"/>
                  </a:cubicBezTo>
                  <a:cubicBezTo>
                    <a:pt x="1638" y="5041"/>
                    <a:pt x="1481" y="5230"/>
                    <a:pt x="1229" y="5230"/>
                  </a:cubicBezTo>
                  <a:cubicBezTo>
                    <a:pt x="1008" y="5230"/>
                    <a:pt x="788" y="5041"/>
                    <a:pt x="788" y="4789"/>
                  </a:cubicBezTo>
                  <a:cubicBezTo>
                    <a:pt x="788" y="4569"/>
                    <a:pt x="1008" y="4380"/>
                    <a:pt x="1229" y="4380"/>
                  </a:cubicBezTo>
                  <a:close/>
                  <a:moveTo>
                    <a:pt x="9767" y="0"/>
                  </a:moveTo>
                  <a:cubicBezTo>
                    <a:pt x="9105" y="0"/>
                    <a:pt x="8570" y="536"/>
                    <a:pt x="8570" y="1229"/>
                  </a:cubicBezTo>
                  <a:cubicBezTo>
                    <a:pt x="8570" y="1418"/>
                    <a:pt x="8601" y="1576"/>
                    <a:pt x="8664" y="1765"/>
                  </a:cubicBezTo>
                  <a:lnTo>
                    <a:pt x="7026" y="3434"/>
                  </a:lnTo>
                  <a:cubicBezTo>
                    <a:pt x="6868" y="3340"/>
                    <a:pt x="6679" y="3308"/>
                    <a:pt x="6459" y="3308"/>
                  </a:cubicBezTo>
                  <a:cubicBezTo>
                    <a:pt x="6270" y="3308"/>
                    <a:pt x="6112" y="3340"/>
                    <a:pt x="5923" y="3434"/>
                  </a:cubicBezTo>
                  <a:lnTo>
                    <a:pt x="5104" y="2584"/>
                  </a:lnTo>
                  <a:cubicBezTo>
                    <a:pt x="5167" y="2426"/>
                    <a:pt x="5199" y="2237"/>
                    <a:pt x="5199" y="2048"/>
                  </a:cubicBezTo>
                  <a:cubicBezTo>
                    <a:pt x="5199" y="1387"/>
                    <a:pt x="4663" y="788"/>
                    <a:pt x="4001" y="788"/>
                  </a:cubicBezTo>
                  <a:cubicBezTo>
                    <a:pt x="3308" y="788"/>
                    <a:pt x="2773" y="1324"/>
                    <a:pt x="2773" y="2048"/>
                  </a:cubicBezTo>
                  <a:cubicBezTo>
                    <a:pt x="2773" y="2237"/>
                    <a:pt x="2804" y="2395"/>
                    <a:pt x="2899" y="2584"/>
                  </a:cubicBezTo>
                  <a:lnTo>
                    <a:pt x="1796" y="3686"/>
                  </a:lnTo>
                  <a:cubicBezTo>
                    <a:pt x="1638" y="3623"/>
                    <a:pt x="1418" y="3592"/>
                    <a:pt x="1229" y="3592"/>
                  </a:cubicBezTo>
                  <a:cubicBezTo>
                    <a:pt x="567" y="3592"/>
                    <a:pt x="0" y="4128"/>
                    <a:pt x="0" y="4852"/>
                  </a:cubicBezTo>
                  <a:cubicBezTo>
                    <a:pt x="0" y="5514"/>
                    <a:pt x="567" y="6049"/>
                    <a:pt x="1229" y="6049"/>
                  </a:cubicBezTo>
                  <a:cubicBezTo>
                    <a:pt x="1890" y="6049"/>
                    <a:pt x="2458" y="5514"/>
                    <a:pt x="2458" y="4852"/>
                  </a:cubicBezTo>
                  <a:cubicBezTo>
                    <a:pt x="2458" y="4632"/>
                    <a:pt x="2426" y="4474"/>
                    <a:pt x="2332" y="4285"/>
                  </a:cubicBezTo>
                  <a:lnTo>
                    <a:pt x="3434" y="3182"/>
                  </a:lnTo>
                  <a:cubicBezTo>
                    <a:pt x="3592" y="3245"/>
                    <a:pt x="3781" y="3308"/>
                    <a:pt x="4001" y="3308"/>
                  </a:cubicBezTo>
                  <a:cubicBezTo>
                    <a:pt x="4190" y="3308"/>
                    <a:pt x="4348" y="3277"/>
                    <a:pt x="4537" y="3182"/>
                  </a:cubicBezTo>
                  <a:lnTo>
                    <a:pt x="5356" y="4001"/>
                  </a:lnTo>
                  <a:cubicBezTo>
                    <a:pt x="5293" y="4159"/>
                    <a:pt x="5262" y="4348"/>
                    <a:pt x="5262" y="4569"/>
                  </a:cubicBezTo>
                  <a:cubicBezTo>
                    <a:pt x="5262" y="5230"/>
                    <a:pt x="5797" y="5766"/>
                    <a:pt x="6459" y="5766"/>
                  </a:cubicBezTo>
                  <a:cubicBezTo>
                    <a:pt x="7152" y="5766"/>
                    <a:pt x="7687" y="5230"/>
                    <a:pt x="7687" y="4569"/>
                  </a:cubicBezTo>
                  <a:cubicBezTo>
                    <a:pt x="7687" y="4348"/>
                    <a:pt x="7656" y="4191"/>
                    <a:pt x="7561" y="4001"/>
                  </a:cubicBezTo>
                  <a:lnTo>
                    <a:pt x="9231" y="2363"/>
                  </a:lnTo>
                  <a:cubicBezTo>
                    <a:pt x="9389" y="2426"/>
                    <a:pt x="9578" y="2489"/>
                    <a:pt x="9767" y="2489"/>
                  </a:cubicBezTo>
                  <a:cubicBezTo>
                    <a:pt x="10460" y="2489"/>
                    <a:pt x="11027" y="1922"/>
                    <a:pt x="11027" y="1229"/>
                  </a:cubicBezTo>
                  <a:cubicBezTo>
                    <a:pt x="10995" y="536"/>
                    <a:pt x="10460" y="0"/>
                    <a:pt x="97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30" name="Google Shape;6830;p73"/>
          <p:cNvGrpSpPr/>
          <p:nvPr/>
        </p:nvGrpSpPr>
        <p:grpSpPr>
          <a:xfrm>
            <a:off x="1715147" y="5116731"/>
            <a:ext cx="488359" cy="492407"/>
            <a:chOff x="-61782550" y="2664925"/>
            <a:chExt cx="316650" cy="319275"/>
          </a:xfrm>
        </p:grpSpPr>
        <p:sp>
          <p:nvSpPr>
            <p:cNvPr id="6831" name="Google Shape;6831;p73"/>
            <p:cNvSpPr/>
            <p:nvPr/>
          </p:nvSpPr>
          <p:spPr>
            <a:xfrm>
              <a:off x="-61782550" y="2664925"/>
              <a:ext cx="316650" cy="319275"/>
            </a:xfrm>
            <a:custGeom>
              <a:avLst/>
              <a:gdLst/>
              <a:ahLst/>
              <a:cxnLst/>
              <a:rect l="l" t="t" r="r" b="b"/>
              <a:pathLst>
                <a:path w="12666" h="12771" extrusionOk="0">
                  <a:moveTo>
                    <a:pt x="10208" y="851"/>
                  </a:moveTo>
                  <a:cubicBezTo>
                    <a:pt x="10366" y="1670"/>
                    <a:pt x="10996" y="2300"/>
                    <a:pt x="11815" y="2457"/>
                  </a:cubicBezTo>
                  <a:lnTo>
                    <a:pt x="11815" y="6679"/>
                  </a:lnTo>
                  <a:lnTo>
                    <a:pt x="11783" y="6679"/>
                  </a:lnTo>
                  <a:cubicBezTo>
                    <a:pt x="10964" y="6837"/>
                    <a:pt x="10334" y="7467"/>
                    <a:pt x="10177" y="8286"/>
                  </a:cubicBezTo>
                  <a:lnTo>
                    <a:pt x="9011" y="8286"/>
                  </a:lnTo>
                  <a:cubicBezTo>
                    <a:pt x="9105" y="8002"/>
                    <a:pt x="9168" y="7719"/>
                    <a:pt x="9168" y="7467"/>
                  </a:cubicBezTo>
                  <a:cubicBezTo>
                    <a:pt x="9168" y="6081"/>
                    <a:pt x="8066" y="4978"/>
                    <a:pt x="6711" y="4978"/>
                  </a:cubicBezTo>
                  <a:cubicBezTo>
                    <a:pt x="5325" y="4978"/>
                    <a:pt x="4222" y="6081"/>
                    <a:pt x="4222" y="7467"/>
                  </a:cubicBezTo>
                  <a:cubicBezTo>
                    <a:pt x="4222" y="7719"/>
                    <a:pt x="4254" y="8002"/>
                    <a:pt x="4380" y="8286"/>
                  </a:cubicBezTo>
                  <a:lnTo>
                    <a:pt x="2395" y="8286"/>
                  </a:lnTo>
                  <a:cubicBezTo>
                    <a:pt x="2237" y="7467"/>
                    <a:pt x="1607" y="6837"/>
                    <a:pt x="788" y="6679"/>
                  </a:cubicBezTo>
                  <a:lnTo>
                    <a:pt x="788" y="2457"/>
                  </a:lnTo>
                  <a:cubicBezTo>
                    <a:pt x="1607" y="2300"/>
                    <a:pt x="2237" y="1670"/>
                    <a:pt x="2395" y="851"/>
                  </a:cubicBezTo>
                  <a:close/>
                  <a:moveTo>
                    <a:pt x="6711" y="5797"/>
                  </a:moveTo>
                  <a:cubicBezTo>
                    <a:pt x="7593" y="5797"/>
                    <a:pt x="8349" y="6553"/>
                    <a:pt x="8349" y="7467"/>
                  </a:cubicBezTo>
                  <a:cubicBezTo>
                    <a:pt x="8349" y="8349"/>
                    <a:pt x="7593" y="9105"/>
                    <a:pt x="6711" y="9105"/>
                  </a:cubicBezTo>
                  <a:cubicBezTo>
                    <a:pt x="5797" y="9105"/>
                    <a:pt x="5041" y="8349"/>
                    <a:pt x="5041" y="7467"/>
                  </a:cubicBezTo>
                  <a:cubicBezTo>
                    <a:pt x="5041" y="6553"/>
                    <a:pt x="5797" y="5797"/>
                    <a:pt x="6711" y="5797"/>
                  </a:cubicBezTo>
                  <a:close/>
                  <a:moveTo>
                    <a:pt x="7530" y="9767"/>
                  </a:moveTo>
                  <a:lnTo>
                    <a:pt x="7530" y="11468"/>
                  </a:lnTo>
                  <a:lnTo>
                    <a:pt x="6932" y="11090"/>
                  </a:lnTo>
                  <a:cubicBezTo>
                    <a:pt x="6853" y="11043"/>
                    <a:pt x="6774" y="11019"/>
                    <a:pt x="6695" y="11019"/>
                  </a:cubicBezTo>
                  <a:cubicBezTo>
                    <a:pt x="6616" y="11019"/>
                    <a:pt x="6538" y="11043"/>
                    <a:pt x="6459" y="11090"/>
                  </a:cubicBezTo>
                  <a:lnTo>
                    <a:pt x="5860" y="11468"/>
                  </a:lnTo>
                  <a:lnTo>
                    <a:pt x="5860" y="9767"/>
                  </a:lnTo>
                  <a:cubicBezTo>
                    <a:pt x="6144" y="9861"/>
                    <a:pt x="6427" y="9924"/>
                    <a:pt x="6711" y="9924"/>
                  </a:cubicBezTo>
                  <a:cubicBezTo>
                    <a:pt x="6995" y="9924"/>
                    <a:pt x="7247" y="9893"/>
                    <a:pt x="7530" y="9767"/>
                  </a:cubicBezTo>
                  <a:close/>
                  <a:moveTo>
                    <a:pt x="2048" y="0"/>
                  </a:moveTo>
                  <a:cubicBezTo>
                    <a:pt x="1828" y="0"/>
                    <a:pt x="1670" y="221"/>
                    <a:pt x="1670" y="441"/>
                  </a:cubicBezTo>
                  <a:cubicBezTo>
                    <a:pt x="1670" y="1103"/>
                    <a:pt x="1103" y="1670"/>
                    <a:pt x="410" y="1670"/>
                  </a:cubicBezTo>
                  <a:cubicBezTo>
                    <a:pt x="158" y="1670"/>
                    <a:pt x="0" y="1859"/>
                    <a:pt x="0" y="2111"/>
                  </a:cubicBezTo>
                  <a:lnTo>
                    <a:pt x="0" y="7057"/>
                  </a:lnTo>
                  <a:cubicBezTo>
                    <a:pt x="0" y="7278"/>
                    <a:pt x="189" y="7498"/>
                    <a:pt x="410" y="7498"/>
                  </a:cubicBezTo>
                  <a:cubicBezTo>
                    <a:pt x="1072" y="7498"/>
                    <a:pt x="1670" y="8034"/>
                    <a:pt x="1670" y="8758"/>
                  </a:cubicBezTo>
                  <a:cubicBezTo>
                    <a:pt x="1670" y="8979"/>
                    <a:pt x="1859" y="9136"/>
                    <a:pt x="2048" y="9136"/>
                  </a:cubicBezTo>
                  <a:lnTo>
                    <a:pt x="4884" y="9136"/>
                  </a:lnTo>
                  <a:lnTo>
                    <a:pt x="5073" y="9326"/>
                  </a:lnTo>
                  <a:lnTo>
                    <a:pt x="5073" y="12318"/>
                  </a:lnTo>
                  <a:cubicBezTo>
                    <a:pt x="5073" y="12562"/>
                    <a:pt x="5298" y="12749"/>
                    <a:pt x="5517" y="12749"/>
                  </a:cubicBezTo>
                  <a:cubicBezTo>
                    <a:pt x="5581" y="12749"/>
                    <a:pt x="5645" y="12732"/>
                    <a:pt x="5703" y="12697"/>
                  </a:cubicBezTo>
                  <a:lnTo>
                    <a:pt x="6743" y="12003"/>
                  </a:lnTo>
                  <a:lnTo>
                    <a:pt x="7782" y="12697"/>
                  </a:lnTo>
                  <a:cubicBezTo>
                    <a:pt x="7850" y="12747"/>
                    <a:pt x="7926" y="12771"/>
                    <a:pt x="8002" y="12771"/>
                  </a:cubicBezTo>
                  <a:cubicBezTo>
                    <a:pt x="8210" y="12771"/>
                    <a:pt x="8412" y="12595"/>
                    <a:pt x="8412" y="12318"/>
                  </a:cubicBezTo>
                  <a:lnTo>
                    <a:pt x="8412" y="9262"/>
                  </a:lnTo>
                  <a:lnTo>
                    <a:pt x="8601" y="9073"/>
                  </a:lnTo>
                  <a:lnTo>
                    <a:pt x="10618" y="9073"/>
                  </a:lnTo>
                  <a:cubicBezTo>
                    <a:pt x="10838" y="9073"/>
                    <a:pt x="10996" y="8884"/>
                    <a:pt x="10996" y="8664"/>
                  </a:cubicBezTo>
                  <a:cubicBezTo>
                    <a:pt x="10996" y="8002"/>
                    <a:pt x="11563" y="7404"/>
                    <a:pt x="12224" y="7404"/>
                  </a:cubicBezTo>
                  <a:cubicBezTo>
                    <a:pt x="12445" y="7404"/>
                    <a:pt x="12665" y="7215"/>
                    <a:pt x="12665" y="6994"/>
                  </a:cubicBezTo>
                  <a:lnTo>
                    <a:pt x="12665" y="2016"/>
                  </a:lnTo>
                  <a:cubicBezTo>
                    <a:pt x="12602" y="1827"/>
                    <a:pt x="12445" y="1670"/>
                    <a:pt x="12224" y="1670"/>
                  </a:cubicBezTo>
                  <a:cubicBezTo>
                    <a:pt x="11531" y="1670"/>
                    <a:pt x="10996" y="1103"/>
                    <a:pt x="10996" y="441"/>
                  </a:cubicBezTo>
                  <a:cubicBezTo>
                    <a:pt x="10996" y="221"/>
                    <a:pt x="10807"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2" name="Google Shape;6832;p73"/>
            <p:cNvSpPr/>
            <p:nvPr/>
          </p:nvSpPr>
          <p:spPr>
            <a:xfrm>
              <a:off x="-61701425" y="2705875"/>
              <a:ext cx="151250" cy="21275"/>
            </a:xfrm>
            <a:custGeom>
              <a:avLst/>
              <a:gdLst/>
              <a:ahLst/>
              <a:cxnLst/>
              <a:rect l="l" t="t" r="r" b="b"/>
              <a:pathLst>
                <a:path w="6050" h="851" extrusionOk="0">
                  <a:moveTo>
                    <a:pt x="410" y="0"/>
                  </a:moveTo>
                  <a:cubicBezTo>
                    <a:pt x="189" y="0"/>
                    <a:pt x="0" y="189"/>
                    <a:pt x="0" y="410"/>
                  </a:cubicBezTo>
                  <a:cubicBezTo>
                    <a:pt x="0" y="662"/>
                    <a:pt x="189" y="851"/>
                    <a:pt x="410" y="851"/>
                  </a:cubicBezTo>
                  <a:lnTo>
                    <a:pt x="5671" y="851"/>
                  </a:lnTo>
                  <a:cubicBezTo>
                    <a:pt x="5892" y="851"/>
                    <a:pt x="6049" y="662"/>
                    <a:pt x="6049" y="410"/>
                  </a:cubicBezTo>
                  <a:cubicBezTo>
                    <a:pt x="6049" y="189"/>
                    <a:pt x="5860" y="0"/>
                    <a:pt x="56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3" name="Google Shape;6833;p73"/>
            <p:cNvSpPr/>
            <p:nvPr/>
          </p:nvSpPr>
          <p:spPr>
            <a:xfrm>
              <a:off x="-61742375" y="2747625"/>
              <a:ext cx="233925" cy="22075"/>
            </a:xfrm>
            <a:custGeom>
              <a:avLst/>
              <a:gdLst/>
              <a:ahLst/>
              <a:cxnLst/>
              <a:rect l="l" t="t" r="r" b="b"/>
              <a:pathLst>
                <a:path w="9357" h="883" extrusionOk="0">
                  <a:moveTo>
                    <a:pt x="410" y="0"/>
                  </a:moveTo>
                  <a:cubicBezTo>
                    <a:pt x="158" y="0"/>
                    <a:pt x="0" y="221"/>
                    <a:pt x="0" y="441"/>
                  </a:cubicBezTo>
                  <a:cubicBezTo>
                    <a:pt x="0" y="693"/>
                    <a:pt x="221" y="882"/>
                    <a:pt x="410" y="882"/>
                  </a:cubicBezTo>
                  <a:lnTo>
                    <a:pt x="8948" y="882"/>
                  </a:lnTo>
                  <a:cubicBezTo>
                    <a:pt x="9200" y="882"/>
                    <a:pt x="9357" y="693"/>
                    <a:pt x="9357" y="441"/>
                  </a:cubicBezTo>
                  <a:cubicBezTo>
                    <a:pt x="9357" y="221"/>
                    <a:pt x="9137" y="0"/>
                    <a:pt x="89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34" name="Google Shape;6834;p73"/>
          <p:cNvGrpSpPr/>
          <p:nvPr/>
        </p:nvGrpSpPr>
        <p:grpSpPr>
          <a:xfrm>
            <a:off x="4677517" y="3958582"/>
            <a:ext cx="489553" cy="465725"/>
            <a:chOff x="-59889100" y="1945025"/>
            <a:chExt cx="317425" cy="301975"/>
          </a:xfrm>
        </p:grpSpPr>
        <p:sp>
          <p:nvSpPr>
            <p:cNvPr id="6835" name="Google Shape;6835;p73"/>
            <p:cNvSpPr/>
            <p:nvPr/>
          </p:nvSpPr>
          <p:spPr>
            <a:xfrm>
              <a:off x="-59845000" y="2074200"/>
              <a:ext cx="63025" cy="61450"/>
            </a:xfrm>
            <a:custGeom>
              <a:avLst/>
              <a:gdLst/>
              <a:ahLst/>
              <a:cxnLst/>
              <a:rect l="l" t="t" r="r" b="b"/>
              <a:pathLst>
                <a:path w="2521" h="2458" extrusionOk="0">
                  <a:moveTo>
                    <a:pt x="1702" y="788"/>
                  </a:moveTo>
                  <a:lnTo>
                    <a:pt x="1702" y="1639"/>
                  </a:lnTo>
                  <a:lnTo>
                    <a:pt x="883" y="1639"/>
                  </a:lnTo>
                  <a:lnTo>
                    <a:pt x="883" y="788"/>
                  </a:lnTo>
                  <a:close/>
                  <a:moveTo>
                    <a:pt x="442" y="0"/>
                  </a:moveTo>
                  <a:cubicBezTo>
                    <a:pt x="190" y="0"/>
                    <a:pt x="1" y="190"/>
                    <a:pt x="1" y="410"/>
                  </a:cubicBezTo>
                  <a:lnTo>
                    <a:pt x="1" y="2048"/>
                  </a:lnTo>
                  <a:cubicBezTo>
                    <a:pt x="1" y="2300"/>
                    <a:pt x="190" y="2458"/>
                    <a:pt x="442" y="2458"/>
                  </a:cubicBezTo>
                  <a:lnTo>
                    <a:pt x="2080" y="2458"/>
                  </a:lnTo>
                  <a:cubicBezTo>
                    <a:pt x="2332" y="2458"/>
                    <a:pt x="2521" y="2237"/>
                    <a:pt x="2521" y="2048"/>
                  </a:cubicBezTo>
                  <a:lnTo>
                    <a:pt x="2521" y="410"/>
                  </a:lnTo>
                  <a:cubicBezTo>
                    <a:pt x="2521" y="158"/>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6" name="Google Shape;6836;p73"/>
            <p:cNvSpPr/>
            <p:nvPr/>
          </p:nvSpPr>
          <p:spPr>
            <a:xfrm>
              <a:off x="-59761500" y="1990700"/>
              <a:ext cx="61450" cy="144950"/>
            </a:xfrm>
            <a:custGeom>
              <a:avLst/>
              <a:gdLst/>
              <a:ahLst/>
              <a:cxnLst/>
              <a:rect l="l" t="t" r="r" b="b"/>
              <a:pathLst>
                <a:path w="2458" h="5798" extrusionOk="0">
                  <a:moveTo>
                    <a:pt x="1670" y="820"/>
                  </a:moveTo>
                  <a:lnTo>
                    <a:pt x="1670" y="4979"/>
                  </a:lnTo>
                  <a:lnTo>
                    <a:pt x="851" y="4979"/>
                  </a:lnTo>
                  <a:lnTo>
                    <a:pt x="851" y="820"/>
                  </a:lnTo>
                  <a:close/>
                  <a:moveTo>
                    <a:pt x="410" y="1"/>
                  </a:moveTo>
                  <a:cubicBezTo>
                    <a:pt x="158" y="1"/>
                    <a:pt x="0" y="190"/>
                    <a:pt x="0" y="411"/>
                  </a:cubicBezTo>
                  <a:lnTo>
                    <a:pt x="0" y="5357"/>
                  </a:lnTo>
                  <a:cubicBezTo>
                    <a:pt x="0" y="5577"/>
                    <a:pt x="158" y="5798"/>
                    <a:pt x="410" y="5798"/>
                  </a:cubicBezTo>
                  <a:lnTo>
                    <a:pt x="2048" y="5798"/>
                  </a:lnTo>
                  <a:cubicBezTo>
                    <a:pt x="2300" y="5798"/>
                    <a:pt x="2458" y="5577"/>
                    <a:pt x="2458" y="5388"/>
                  </a:cubicBezTo>
                  <a:lnTo>
                    <a:pt x="2458" y="411"/>
                  </a:lnTo>
                  <a:cubicBezTo>
                    <a:pt x="2458" y="158"/>
                    <a:pt x="2269"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7" name="Google Shape;6837;p73"/>
            <p:cNvSpPr/>
            <p:nvPr/>
          </p:nvSpPr>
          <p:spPr>
            <a:xfrm>
              <a:off x="-59678800" y="2053725"/>
              <a:ext cx="61450" cy="81925"/>
            </a:xfrm>
            <a:custGeom>
              <a:avLst/>
              <a:gdLst/>
              <a:ahLst/>
              <a:cxnLst/>
              <a:rect l="l" t="t" r="r" b="b"/>
              <a:pathLst>
                <a:path w="2458" h="3277" extrusionOk="0">
                  <a:moveTo>
                    <a:pt x="1670" y="788"/>
                  </a:moveTo>
                  <a:lnTo>
                    <a:pt x="1670" y="2458"/>
                  </a:lnTo>
                  <a:lnTo>
                    <a:pt x="851" y="2458"/>
                  </a:lnTo>
                  <a:lnTo>
                    <a:pt x="851" y="788"/>
                  </a:lnTo>
                  <a:close/>
                  <a:moveTo>
                    <a:pt x="410" y="0"/>
                  </a:moveTo>
                  <a:cubicBezTo>
                    <a:pt x="158" y="0"/>
                    <a:pt x="0" y="189"/>
                    <a:pt x="0" y="410"/>
                  </a:cubicBezTo>
                  <a:lnTo>
                    <a:pt x="0" y="2867"/>
                  </a:lnTo>
                  <a:cubicBezTo>
                    <a:pt x="0" y="3056"/>
                    <a:pt x="158" y="3277"/>
                    <a:pt x="410" y="3277"/>
                  </a:cubicBezTo>
                  <a:lnTo>
                    <a:pt x="2048" y="3277"/>
                  </a:lnTo>
                  <a:cubicBezTo>
                    <a:pt x="2300" y="3277"/>
                    <a:pt x="2458" y="3056"/>
                    <a:pt x="2458" y="2867"/>
                  </a:cubicBezTo>
                  <a:lnTo>
                    <a:pt x="2458" y="410"/>
                  </a:lnTo>
                  <a:cubicBezTo>
                    <a:pt x="2458" y="158"/>
                    <a:pt x="2269"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38" name="Google Shape;6838;p73"/>
            <p:cNvSpPr/>
            <p:nvPr/>
          </p:nvSpPr>
          <p:spPr>
            <a:xfrm>
              <a:off x="-59889100" y="1945025"/>
              <a:ext cx="317425" cy="301975"/>
            </a:xfrm>
            <a:custGeom>
              <a:avLst/>
              <a:gdLst/>
              <a:ahLst/>
              <a:cxnLst/>
              <a:rect l="l" t="t" r="r" b="b"/>
              <a:pathLst>
                <a:path w="12697" h="12079" extrusionOk="0">
                  <a:moveTo>
                    <a:pt x="6333" y="851"/>
                  </a:moveTo>
                  <a:cubicBezTo>
                    <a:pt x="9357" y="851"/>
                    <a:pt x="11846" y="2931"/>
                    <a:pt x="11846" y="5546"/>
                  </a:cubicBezTo>
                  <a:cubicBezTo>
                    <a:pt x="11846" y="8129"/>
                    <a:pt x="9357" y="10208"/>
                    <a:pt x="6333" y="10208"/>
                  </a:cubicBezTo>
                  <a:cubicBezTo>
                    <a:pt x="5482" y="10208"/>
                    <a:pt x="4600" y="10019"/>
                    <a:pt x="3812" y="9704"/>
                  </a:cubicBezTo>
                  <a:cubicBezTo>
                    <a:pt x="3757" y="9682"/>
                    <a:pt x="3697" y="9671"/>
                    <a:pt x="3637" y="9671"/>
                  </a:cubicBezTo>
                  <a:cubicBezTo>
                    <a:pt x="3529" y="9671"/>
                    <a:pt x="3421" y="9706"/>
                    <a:pt x="3340" y="9767"/>
                  </a:cubicBezTo>
                  <a:lnTo>
                    <a:pt x="2489" y="10649"/>
                  </a:lnTo>
                  <a:lnTo>
                    <a:pt x="2489" y="9074"/>
                  </a:lnTo>
                  <a:cubicBezTo>
                    <a:pt x="2489" y="8948"/>
                    <a:pt x="2426" y="8822"/>
                    <a:pt x="2363" y="8759"/>
                  </a:cubicBezTo>
                  <a:cubicBezTo>
                    <a:pt x="1387" y="7877"/>
                    <a:pt x="819" y="6743"/>
                    <a:pt x="819" y="5514"/>
                  </a:cubicBezTo>
                  <a:cubicBezTo>
                    <a:pt x="819" y="2962"/>
                    <a:pt x="3308" y="851"/>
                    <a:pt x="6333" y="851"/>
                  </a:cubicBezTo>
                  <a:close/>
                  <a:moveTo>
                    <a:pt x="6333" y="1"/>
                  </a:moveTo>
                  <a:cubicBezTo>
                    <a:pt x="2836" y="1"/>
                    <a:pt x="0" y="2490"/>
                    <a:pt x="0" y="5514"/>
                  </a:cubicBezTo>
                  <a:cubicBezTo>
                    <a:pt x="0" y="6963"/>
                    <a:pt x="599" y="8255"/>
                    <a:pt x="1639" y="9263"/>
                  </a:cubicBezTo>
                  <a:lnTo>
                    <a:pt x="1639" y="11689"/>
                  </a:lnTo>
                  <a:cubicBezTo>
                    <a:pt x="1639" y="11918"/>
                    <a:pt x="1832" y="12079"/>
                    <a:pt x="2045" y="12079"/>
                  </a:cubicBezTo>
                  <a:cubicBezTo>
                    <a:pt x="2153" y="12079"/>
                    <a:pt x="2267" y="12037"/>
                    <a:pt x="2363" y="11941"/>
                  </a:cubicBezTo>
                  <a:lnTo>
                    <a:pt x="3749" y="10555"/>
                  </a:lnTo>
                  <a:cubicBezTo>
                    <a:pt x="4569" y="10901"/>
                    <a:pt x="5419" y="11027"/>
                    <a:pt x="6333" y="11027"/>
                  </a:cubicBezTo>
                  <a:cubicBezTo>
                    <a:pt x="9830" y="11027"/>
                    <a:pt x="12697" y="8570"/>
                    <a:pt x="12697" y="5514"/>
                  </a:cubicBezTo>
                  <a:cubicBezTo>
                    <a:pt x="12697" y="2490"/>
                    <a:pt x="9861"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39" name="Google Shape;6839;p73"/>
          <p:cNvSpPr/>
          <p:nvPr/>
        </p:nvSpPr>
        <p:spPr>
          <a:xfrm>
            <a:off x="4668930" y="4581461"/>
            <a:ext cx="490788" cy="382675"/>
          </a:xfrm>
          <a:custGeom>
            <a:avLst/>
            <a:gdLst/>
            <a:ahLst/>
            <a:cxnLst/>
            <a:rect l="l" t="t" r="r" b="b"/>
            <a:pathLst>
              <a:path w="12729" h="9925" extrusionOk="0">
                <a:moveTo>
                  <a:pt x="925" y="3644"/>
                </a:moveTo>
                <a:cubicBezTo>
                  <a:pt x="944" y="3644"/>
                  <a:pt x="963" y="3648"/>
                  <a:pt x="978" y="3655"/>
                </a:cubicBezTo>
                <a:lnTo>
                  <a:pt x="1608" y="3970"/>
                </a:lnTo>
                <a:lnTo>
                  <a:pt x="1608" y="5923"/>
                </a:lnTo>
                <a:lnTo>
                  <a:pt x="978" y="6239"/>
                </a:lnTo>
                <a:cubicBezTo>
                  <a:pt x="963" y="6253"/>
                  <a:pt x="945" y="6259"/>
                  <a:pt x="926" y="6259"/>
                </a:cubicBezTo>
                <a:cubicBezTo>
                  <a:pt x="863" y="6259"/>
                  <a:pt x="788" y="6192"/>
                  <a:pt x="788" y="6144"/>
                </a:cubicBezTo>
                <a:lnTo>
                  <a:pt x="788" y="3781"/>
                </a:lnTo>
                <a:cubicBezTo>
                  <a:pt x="788" y="3685"/>
                  <a:pt x="862" y="3644"/>
                  <a:pt x="925" y="3644"/>
                </a:cubicBezTo>
                <a:close/>
                <a:moveTo>
                  <a:pt x="10177" y="1796"/>
                </a:moveTo>
                <a:lnTo>
                  <a:pt x="10177" y="8129"/>
                </a:lnTo>
                <a:lnTo>
                  <a:pt x="2458" y="5892"/>
                </a:lnTo>
                <a:lnTo>
                  <a:pt x="2458" y="4033"/>
                </a:lnTo>
                <a:lnTo>
                  <a:pt x="10177" y="1796"/>
                </a:lnTo>
                <a:close/>
                <a:moveTo>
                  <a:pt x="4128" y="7247"/>
                </a:moveTo>
                <a:lnTo>
                  <a:pt x="6963" y="8066"/>
                </a:lnTo>
                <a:cubicBezTo>
                  <a:pt x="6648" y="8507"/>
                  <a:pt x="6176" y="8822"/>
                  <a:pt x="5640" y="8822"/>
                </a:cubicBezTo>
                <a:cubicBezTo>
                  <a:pt x="4758" y="8822"/>
                  <a:pt x="4097" y="8097"/>
                  <a:pt x="4128" y="7247"/>
                </a:cubicBezTo>
                <a:close/>
                <a:moveTo>
                  <a:pt x="11374" y="820"/>
                </a:moveTo>
                <a:cubicBezTo>
                  <a:pt x="11626" y="820"/>
                  <a:pt x="11815" y="1009"/>
                  <a:pt x="11815" y="1261"/>
                </a:cubicBezTo>
                <a:lnTo>
                  <a:pt x="11815" y="8696"/>
                </a:lnTo>
                <a:cubicBezTo>
                  <a:pt x="11815" y="8916"/>
                  <a:pt x="11626" y="9137"/>
                  <a:pt x="11374" y="9137"/>
                </a:cubicBezTo>
                <a:cubicBezTo>
                  <a:pt x="11154" y="9137"/>
                  <a:pt x="10996" y="8916"/>
                  <a:pt x="10996" y="8696"/>
                </a:cubicBezTo>
                <a:lnTo>
                  <a:pt x="10996" y="1261"/>
                </a:lnTo>
                <a:cubicBezTo>
                  <a:pt x="10996" y="1009"/>
                  <a:pt x="11185" y="820"/>
                  <a:pt x="11374" y="820"/>
                </a:cubicBezTo>
                <a:close/>
                <a:moveTo>
                  <a:pt x="11437" y="1"/>
                </a:moveTo>
                <a:cubicBezTo>
                  <a:pt x="10839" y="1"/>
                  <a:pt x="10366" y="379"/>
                  <a:pt x="10240" y="883"/>
                </a:cubicBezTo>
                <a:lnTo>
                  <a:pt x="2080" y="3246"/>
                </a:lnTo>
                <a:lnTo>
                  <a:pt x="1387" y="2899"/>
                </a:lnTo>
                <a:cubicBezTo>
                  <a:pt x="1251" y="2831"/>
                  <a:pt x="1109" y="2800"/>
                  <a:pt x="970" y="2800"/>
                </a:cubicBezTo>
                <a:cubicBezTo>
                  <a:pt x="466" y="2800"/>
                  <a:pt x="1" y="3213"/>
                  <a:pt x="1" y="3781"/>
                </a:cubicBezTo>
                <a:lnTo>
                  <a:pt x="1" y="6144"/>
                </a:lnTo>
                <a:cubicBezTo>
                  <a:pt x="1" y="6687"/>
                  <a:pt x="465" y="7094"/>
                  <a:pt x="983" y="7094"/>
                </a:cubicBezTo>
                <a:cubicBezTo>
                  <a:pt x="1127" y="7094"/>
                  <a:pt x="1275" y="7063"/>
                  <a:pt x="1419" y="6995"/>
                </a:cubicBezTo>
                <a:lnTo>
                  <a:pt x="2143" y="6648"/>
                </a:lnTo>
                <a:lnTo>
                  <a:pt x="3340" y="6995"/>
                </a:lnTo>
                <a:cubicBezTo>
                  <a:pt x="3151" y="8412"/>
                  <a:pt x="4254" y="9641"/>
                  <a:pt x="5672" y="9641"/>
                </a:cubicBezTo>
                <a:cubicBezTo>
                  <a:pt x="6585" y="9641"/>
                  <a:pt x="7405" y="9074"/>
                  <a:pt x="7814" y="8286"/>
                </a:cubicBezTo>
                <a:lnTo>
                  <a:pt x="10271" y="9011"/>
                </a:lnTo>
                <a:cubicBezTo>
                  <a:pt x="10429" y="9515"/>
                  <a:pt x="10902" y="9925"/>
                  <a:pt x="11469" y="9925"/>
                </a:cubicBezTo>
                <a:cubicBezTo>
                  <a:pt x="12130" y="9925"/>
                  <a:pt x="12729" y="9358"/>
                  <a:pt x="12729" y="8664"/>
                </a:cubicBezTo>
                <a:lnTo>
                  <a:pt x="12729" y="1198"/>
                </a:lnTo>
                <a:cubicBezTo>
                  <a:pt x="12634" y="536"/>
                  <a:pt x="12099" y="1"/>
                  <a:pt x="114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40" name="Google Shape;6840;p73"/>
          <p:cNvGrpSpPr/>
          <p:nvPr/>
        </p:nvGrpSpPr>
        <p:grpSpPr>
          <a:xfrm>
            <a:off x="4676302" y="5119295"/>
            <a:ext cx="491983" cy="487279"/>
            <a:chOff x="-59889100" y="2671925"/>
            <a:chExt cx="319000" cy="315950"/>
          </a:xfrm>
        </p:grpSpPr>
        <p:sp>
          <p:nvSpPr>
            <p:cNvPr id="6841" name="Google Shape;6841;p73"/>
            <p:cNvSpPr/>
            <p:nvPr/>
          </p:nvSpPr>
          <p:spPr>
            <a:xfrm>
              <a:off x="-59889100" y="2672000"/>
              <a:ext cx="149675" cy="256025"/>
            </a:xfrm>
            <a:custGeom>
              <a:avLst/>
              <a:gdLst/>
              <a:ahLst/>
              <a:cxnLst/>
              <a:rect l="l" t="t" r="r" b="b"/>
              <a:pathLst>
                <a:path w="5987" h="10241" extrusionOk="0">
                  <a:moveTo>
                    <a:pt x="5073" y="946"/>
                  </a:moveTo>
                  <a:lnTo>
                    <a:pt x="5073" y="2647"/>
                  </a:lnTo>
                  <a:lnTo>
                    <a:pt x="5104" y="2647"/>
                  </a:lnTo>
                  <a:cubicBezTo>
                    <a:pt x="3623" y="3151"/>
                    <a:pt x="2489" y="4569"/>
                    <a:pt x="2489" y="6302"/>
                  </a:cubicBezTo>
                  <a:cubicBezTo>
                    <a:pt x="2489" y="6900"/>
                    <a:pt x="2647" y="7499"/>
                    <a:pt x="2867" y="8034"/>
                  </a:cubicBezTo>
                  <a:lnTo>
                    <a:pt x="1639" y="9263"/>
                  </a:lnTo>
                  <a:cubicBezTo>
                    <a:pt x="1103" y="8381"/>
                    <a:pt x="788" y="7373"/>
                    <a:pt x="788" y="6302"/>
                  </a:cubicBezTo>
                  <a:cubicBezTo>
                    <a:pt x="788" y="3750"/>
                    <a:pt x="2584" y="1513"/>
                    <a:pt x="5073" y="946"/>
                  </a:cubicBezTo>
                  <a:close/>
                  <a:moveTo>
                    <a:pt x="5482" y="1"/>
                  </a:moveTo>
                  <a:cubicBezTo>
                    <a:pt x="2395" y="442"/>
                    <a:pt x="0" y="3088"/>
                    <a:pt x="0" y="6270"/>
                  </a:cubicBezTo>
                  <a:cubicBezTo>
                    <a:pt x="0" y="7688"/>
                    <a:pt x="441" y="8979"/>
                    <a:pt x="1292" y="10082"/>
                  </a:cubicBezTo>
                  <a:cubicBezTo>
                    <a:pt x="1377" y="10184"/>
                    <a:pt x="1500" y="10241"/>
                    <a:pt x="1624" y="10241"/>
                  </a:cubicBezTo>
                  <a:cubicBezTo>
                    <a:pt x="1729" y="10241"/>
                    <a:pt x="1835" y="10200"/>
                    <a:pt x="1922" y="10114"/>
                  </a:cubicBezTo>
                  <a:lnTo>
                    <a:pt x="3718" y="8349"/>
                  </a:lnTo>
                  <a:cubicBezTo>
                    <a:pt x="3812" y="8223"/>
                    <a:pt x="3844" y="8003"/>
                    <a:pt x="3781" y="7845"/>
                  </a:cubicBezTo>
                  <a:cubicBezTo>
                    <a:pt x="3497" y="7373"/>
                    <a:pt x="3340" y="6806"/>
                    <a:pt x="3340" y="6270"/>
                  </a:cubicBezTo>
                  <a:cubicBezTo>
                    <a:pt x="3340" y="4884"/>
                    <a:pt x="4285" y="3655"/>
                    <a:pt x="5671" y="3309"/>
                  </a:cubicBezTo>
                  <a:cubicBezTo>
                    <a:pt x="5860" y="3277"/>
                    <a:pt x="5986" y="3120"/>
                    <a:pt x="5986" y="2899"/>
                  </a:cubicBezTo>
                  <a:lnTo>
                    <a:pt x="5986" y="379"/>
                  </a:lnTo>
                  <a:cubicBezTo>
                    <a:pt x="5955" y="190"/>
                    <a:pt x="5703" y="1"/>
                    <a:pt x="54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2" name="Google Shape;6842;p73"/>
            <p:cNvSpPr/>
            <p:nvPr/>
          </p:nvSpPr>
          <p:spPr>
            <a:xfrm>
              <a:off x="-59830825" y="2892525"/>
              <a:ext cx="201650" cy="95350"/>
            </a:xfrm>
            <a:custGeom>
              <a:avLst/>
              <a:gdLst/>
              <a:ahLst/>
              <a:cxnLst/>
              <a:rect l="l" t="t" r="r" b="b"/>
              <a:pathLst>
                <a:path w="8066" h="3814" extrusionOk="0">
                  <a:moveTo>
                    <a:pt x="5735" y="946"/>
                  </a:moveTo>
                  <a:lnTo>
                    <a:pt x="6963" y="2175"/>
                  </a:lnTo>
                  <a:cubicBezTo>
                    <a:pt x="6113" y="2710"/>
                    <a:pt x="5073" y="2994"/>
                    <a:pt x="4065" y="2994"/>
                  </a:cubicBezTo>
                  <a:cubicBezTo>
                    <a:pt x="3025" y="2994"/>
                    <a:pt x="2017" y="2710"/>
                    <a:pt x="1135" y="2175"/>
                  </a:cubicBezTo>
                  <a:lnTo>
                    <a:pt x="2364" y="946"/>
                  </a:lnTo>
                  <a:cubicBezTo>
                    <a:pt x="2868" y="1198"/>
                    <a:pt x="3466" y="1356"/>
                    <a:pt x="4065" y="1356"/>
                  </a:cubicBezTo>
                  <a:cubicBezTo>
                    <a:pt x="4600" y="1356"/>
                    <a:pt x="5199" y="1198"/>
                    <a:pt x="5735" y="946"/>
                  </a:cubicBezTo>
                  <a:close/>
                  <a:moveTo>
                    <a:pt x="5758" y="1"/>
                  </a:moveTo>
                  <a:cubicBezTo>
                    <a:pt x="5693" y="1"/>
                    <a:pt x="5630" y="11"/>
                    <a:pt x="5577" y="32"/>
                  </a:cubicBezTo>
                  <a:cubicBezTo>
                    <a:pt x="5105" y="316"/>
                    <a:pt x="4569" y="474"/>
                    <a:pt x="4002" y="474"/>
                  </a:cubicBezTo>
                  <a:cubicBezTo>
                    <a:pt x="3956" y="476"/>
                    <a:pt x="3911" y="478"/>
                    <a:pt x="3865" y="478"/>
                  </a:cubicBezTo>
                  <a:cubicBezTo>
                    <a:pt x="3376" y="478"/>
                    <a:pt x="2890" y="326"/>
                    <a:pt x="2458" y="95"/>
                  </a:cubicBezTo>
                  <a:cubicBezTo>
                    <a:pt x="2389" y="54"/>
                    <a:pt x="2315" y="31"/>
                    <a:pt x="2239" y="31"/>
                  </a:cubicBezTo>
                  <a:cubicBezTo>
                    <a:pt x="2142" y="31"/>
                    <a:pt x="2043" y="70"/>
                    <a:pt x="1954" y="158"/>
                  </a:cubicBezTo>
                  <a:lnTo>
                    <a:pt x="190" y="1923"/>
                  </a:lnTo>
                  <a:cubicBezTo>
                    <a:pt x="1" y="2143"/>
                    <a:pt x="32" y="2395"/>
                    <a:pt x="221" y="2553"/>
                  </a:cubicBezTo>
                  <a:cubicBezTo>
                    <a:pt x="1324" y="3403"/>
                    <a:pt x="2616" y="3813"/>
                    <a:pt x="4002" y="3813"/>
                  </a:cubicBezTo>
                  <a:cubicBezTo>
                    <a:pt x="5388" y="3813"/>
                    <a:pt x="6711" y="3403"/>
                    <a:pt x="7814" y="2521"/>
                  </a:cubicBezTo>
                  <a:cubicBezTo>
                    <a:pt x="8035" y="2364"/>
                    <a:pt x="8066" y="2080"/>
                    <a:pt x="7877" y="1891"/>
                  </a:cubicBezTo>
                  <a:lnTo>
                    <a:pt x="6113" y="127"/>
                  </a:lnTo>
                  <a:cubicBezTo>
                    <a:pt x="6029" y="43"/>
                    <a:pt x="5889" y="1"/>
                    <a:pt x="57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3" name="Google Shape;6843;p73"/>
            <p:cNvSpPr/>
            <p:nvPr/>
          </p:nvSpPr>
          <p:spPr>
            <a:xfrm>
              <a:off x="-59719775" y="2671925"/>
              <a:ext cx="149675" cy="256425"/>
            </a:xfrm>
            <a:custGeom>
              <a:avLst/>
              <a:gdLst/>
              <a:ahLst/>
              <a:cxnLst/>
              <a:rect l="l" t="t" r="r" b="b"/>
              <a:pathLst>
                <a:path w="5987" h="10257" extrusionOk="0">
                  <a:moveTo>
                    <a:pt x="820" y="917"/>
                  </a:moveTo>
                  <a:cubicBezTo>
                    <a:pt x="3309" y="1453"/>
                    <a:pt x="5105" y="3690"/>
                    <a:pt x="5105" y="6273"/>
                  </a:cubicBezTo>
                  <a:cubicBezTo>
                    <a:pt x="5073" y="7344"/>
                    <a:pt x="4790" y="8352"/>
                    <a:pt x="4254" y="9235"/>
                  </a:cubicBezTo>
                  <a:lnTo>
                    <a:pt x="3025" y="8006"/>
                  </a:lnTo>
                  <a:cubicBezTo>
                    <a:pt x="3309" y="7502"/>
                    <a:pt x="3435" y="6903"/>
                    <a:pt x="3435" y="6305"/>
                  </a:cubicBezTo>
                  <a:cubicBezTo>
                    <a:pt x="3435" y="4572"/>
                    <a:pt x="2332" y="3154"/>
                    <a:pt x="820" y="2650"/>
                  </a:cubicBezTo>
                  <a:lnTo>
                    <a:pt x="820" y="917"/>
                  </a:lnTo>
                  <a:close/>
                  <a:moveTo>
                    <a:pt x="419" y="0"/>
                  </a:moveTo>
                  <a:cubicBezTo>
                    <a:pt x="190" y="0"/>
                    <a:pt x="1" y="180"/>
                    <a:pt x="1" y="413"/>
                  </a:cubicBezTo>
                  <a:lnTo>
                    <a:pt x="1" y="2934"/>
                  </a:lnTo>
                  <a:cubicBezTo>
                    <a:pt x="1" y="3123"/>
                    <a:pt x="127" y="3280"/>
                    <a:pt x="316" y="3312"/>
                  </a:cubicBezTo>
                  <a:cubicBezTo>
                    <a:pt x="1639" y="3658"/>
                    <a:pt x="2647" y="4855"/>
                    <a:pt x="2647" y="6273"/>
                  </a:cubicBezTo>
                  <a:cubicBezTo>
                    <a:pt x="2647" y="6809"/>
                    <a:pt x="2490" y="7376"/>
                    <a:pt x="2206" y="7848"/>
                  </a:cubicBezTo>
                  <a:cubicBezTo>
                    <a:pt x="2080" y="8006"/>
                    <a:pt x="2112" y="8195"/>
                    <a:pt x="2269" y="8352"/>
                  </a:cubicBezTo>
                  <a:lnTo>
                    <a:pt x="4065" y="10117"/>
                  </a:lnTo>
                  <a:cubicBezTo>
                    <a:pt x="4149" y="10214"/>
                    <a:pt x="4251" y="10257"/>
                    <a:pt x="4353" y="10257"/>
                  </a:cubicBezTo>
                  <a:cubicBezTo>
                    <a:pt x="4481" y="10257"/>
                    <a:pt x="4608" y="10190"/>
                    <a:pt x="4695" y="10085"/>
                  </a:cubicBezTo>
                  <a:cubicBezTo>
                    <a:pt x="5514" y="8982"/>
                    <a:pt x="5987" y="7659"/>
                    <a:pt x="5987" y="6273"/>
                  </a:cubicBezTo>
                  <a:cubicBezTo>
                    <a:pt x="5892" y="3123"/>
                    <a:pt x="3529" y="445"/>
                    <a:pt x="474" y="4"/>
                  </a:cubicBezTo>
                  <a:cubicBezTo>
                    <a:pt x="455" y="1"/>
                    <a:pt x="437" y="0"/>
                    <a:pt x="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4" name="Google Shape;6844;p73"/>
            <p:cNvSpPr/>
            <p:nvPr/>
          </p:nvSpPr>
          <p:spPr>
            <a:xfrm>
              <a:off x="-59762300" y="2757075"/>
              <a:ext cx="63025" cy="145725"/>
            </a:xfrm>
            <a:custGeom>
              <a:avLst/>
              <a:gdLst/>
              <a:ahLst/>
              <a:cxnLst/>
              <a:rect l="l" t="t" r="r" b="b"/>
              <a:pathLst>
                <a:path w="2521" h="5829" extrusionOk="0">
                  <a:moveTo>
                    <a:pt x="1261" y="0"/>
                  </a:moveTo>
                  <a:cubicBezTo>
                    <a:pt x="1040" y="0"/>
                    <a:pt x="820" y="189"/>
                    <a:pt x="820" y="378"/>
                  </a:cubicBezTo>
                  <a:lnTo>
                    <a:pt x="820" y="662"/>
                  </a:lnTo>
                  <a:cubicBezTo>
                    <a:pt x="347" y="819"/>
                    <a:pt x="1" y="1292"/>
                    <a:pt x="1" y="1827"/>
                  </a:cubicBezTo>
                  <a:cubicBezTo>
                    <a:pt x="1" y="2521"/>
                    <a:pt x="568" y="2899"/>
                    <a:pt x="977" y="3214"/>
                  </a:cubicBezTo>
                  <a:cubicBezTo>
                    <a:pt x="1292" y="3466"/>
                    <a:pt x="1670" y="3686"/>
                    <a:pt x="1670" y="3938"/>
                  </a:cubicBezTo>
                  <a:cubicBezTo>
                    <a:pt x="1670" y="4159"/>
                    <a:pt x="1450" y="4348"/>
                    <a:pt x="1261" y="4348"/>
                  </a:cubicBezTo>
                  <a:cubicBezTo>
                    <a:pt x="1072" y="4348"/>
                    <a:pt x="820" y="4159"/>
                    <a:pt x="820" y="3938"/>
                  </a:cubicBezTo>
                  <a:cubicBezTo>
                    <a:pt x="820" y="3686"/>
                    <a:pt x="631" y="3497"/>
                    <a:pt x="442" y="3497"/>
                  </a:cubicBezTo>
                  <a:cubicBezTo>
                    <a:pt x="253" y="3497"/>
                    <a:pt x="32" y="3686"/>
                    <a:pt x="32" y="3938"/>
                  </a:cubicBezTo>
                  <a:cubicBezTo>
                    <a:pt x="32" y="4474"/>
                    <a:pt x="410" y="4915"/>
                    <a:pt x="883" y="5104"/>
                  </a:cubicBezTo>
                  <a:lnTo>
                    <a:pt x="883" y="5387"/>
                  </a:lnTo>
                  <a:cubicBezTo>
                    <a:pt x="883" y="5608"/>
                    <a:pt x="1072" y="5829"/>
                    <a:pt x="1292" y="5829"/>
                  </a:cubicBezTo>
                  <a:cubicBezTo>
                    <a:pt x="1544" y="5829"/>
                    <a:pt x="1702" y="5608"/>
                    <a:pt x="1702" y="5387"/>
                  </a:cubicBezTo>
                  <a:lnTo>
                    <a:pt x="1702" y="5104"/>
                  </a:lnTo>
                  <a:cubicBezTo>
                    <a:pt x="2175" y="4946"/>
                    <a:pt x="2521" y="4474"/>
                    <a:pt x="2521" y="3938"/>
                  </a:cubicBezTo>
                  <a:cubicBezTo>
                    <a:pt x="2521" y="3245"/>
                    <a:pt x="1985" y="2867"/>
                    <a:pt x="1544" y="2552"/>
                  </a:cubicBezTo>
                  <a:cubicBezTo>
                    <a:pt x="1229" y="2300"/>
                    <a:pt x="883" y="2079"/>
                    <a:pt x="883" y="1827"/>
                  </a:cubicBezTo>
                  <a:cubicBezTo>
                    <a:pt x="883" y="1607"/>
                    <a:pt x="1072" y="1418"/>
                    <a:pt x="1292" y="1418"/>
                  </a:cubicBezTo>
                  <a:cubicBezTo>
                    <a:pt x="1544" y="1418"/>
                    <a:pt x="1702" y="1607"/>
                    <a:pt x="1702" y="1827"/>
                  </a:cubicBezTo>
                  <a:cubicBezTo>
                    <a:pt x="1702" y="2079"/>
                    <a:pt x="1891" y="2268"/>
                    <a:pt x="2143" y="2268"/>
                  </a:cubicBezTo>
                  <a:cubicBezTo>
                    <a:pt x="2364" y="2268"/>
                    <a:pt x="2521" y="2079"/>
                    <a:pt x="2521" y="1827"/>
                  </a:cubicBezTo>
                  <a:cubicBezTo>
                    <a:pt x="2521" y="1292"/>
                    <a:pt x="2175" y="851"/>
                    <a:pt x="1702" y="662"/>
                  </a:cubicBezTo>
                  <a:lnTo>
                    <a:pt x="1702" y="378"/>
                  </a:lnTo>
                  <a:cubicBezTo>
                    <a:pt x="1702" y="189"/>
                    <a:pt x="1513"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45" name="Google Shape;6845;p73"/>
          <p:cNvGrpSpPr/>
          <p:nvPr/>
        </p:nvGrpSpPr>
        <p:grpSpPr>
          <a:xfrm>
            <a:off x="3493606" y="5709302"/>
            <a:ext cx="489553" cy="488359"/>
            <a:chOff x="-59092025" y="2296300"/>
            <a:chExt cx="317425" cy="316650"/>
          </a:xfrm>
        </p:grpSpPr>
        <p:sp>
          <p:nvSpPr>
            <p:cNvPr id="6846" name="Google Shape;6846;p73"/>
            <p:cNvSpPr/>
            <p:nvPr/>
          </p:nvSpPr>
          <p:spPr>
            <a:xfrm>
              <a:off x="-58994350" y="2382950"/>
              <a:ext cx="122875" cy="133925"/>
            </a:xfrm>
            <a:custGeom>
              <a:avLst/>
              <a:gdLst/>
              <a:ahLst/>
              <a:cxnLst/>
              <a:rect l="l" t="t" r="r" b="b"/>
              <a:pathLst>
                <a:path w="4915" h="5357" extrusionOk="0">
                  <a:moveTo>
                    <a:pt x="2457" y="819"/>
                  </a:moveTo>
                  <a:cubicBezTo>
                    <a:pt x="2930" y="819"/>
                    <a:pt x="3277" y="1166"/>
                    <a:pt x="3277" y="1639"/>
                  </a:cubicBezTo>
                  <a:cubicBezTo>
                    <a:pt x="3277" y="2111"/>
                    <a:pt x="2930" y="2458"/>
                    <a:pt x="2457" y="2458"/>
                  </a:cubicBezTo>
                  <a:cubicBezTo>
                    <a:pt x="1985" y="2458"/>
                    <a:pt x="1607" y="2111"/>
                    <a:pt x="1607" y="1639"/>
                  </a:cubicBezTo>
                  <a:cubicBezTo>
                    <a:pt x="1607" y="1166"/>
                    <a:pt x="2016" y="819"/>
                    <a:pt x="2457" y="819"/>
                  </a:cubicBezTo>
                  <a:close/>
                  <a:moveTo>
                    <a:pt x="2489" y="3245"/>
                  </a:moveTo>
                  <a:cubicBezTo>
                    <a:pt x="3277" y="3245"/>
                    <a:pt x="3907" y="3781"/>
                    <a:pt x="4096" y="4506"/>
                  </a:cubicBezTo>
                  <a:lnTo>
                    <a:pt x="882" y="4506"/>
                  </a:lnTo>
                  <a:cubicBezTo>
                    <a:pt x="1071" y="3812"/>
                    <a:pt x="1701" y="3245"/>
                    <a:pt x="2489" y="3245"/>
                  </a:cubicBezTo>
                  <a:close/>
                  <a:moveTo>
                    <a:pt x="2489" y="0"/>
                  </a:moveTo>
                  <a:cubicBezTo>
                    <a:pt x="1575" y="0"/>
                    <a:pt x="819" y="725"/>
                    <a:pt x="819" y="1639"/>
                  </a:cubicBezTo>
                  <a:cubicBezTo>
                    <a:pt x="819" y="2080"/>
                    <a:pt x="977" y="2458"/>
                    <a:pt x="1292" y="2773"/>
                  </a:cubicBezTo>
                  <a:cubicBezTo>
                    <a:pt x="567" y="3214"/>
                    <a:pt x="0" y="4001"/>
                    <a:pt x="0" y="4947"/>
                  </a:cubicBezTo>
                  <a:cubicBezTo>
                    <a:pt x="0" y="5199"/>
                    <a:pt x="189" y="5356"/>
                    <a:pt x="410" y="5356"/>
                  </a:cubicBezTo>
                  <a:lnTo>
                    <a:pt x="4537" y="5356"/>
                  </a:lnTo>
                  <a:cubicBezTo>
                    <a:pt x="4757" y="5356"/>
                    <a:pt x="4915" y="5136"/>
                    <a:pt x="4915" y="4947"/>
                  </a:cubicBezTo>
                  <a:cubicBezTo>
                    <a:pt x="4915" y="4001"/>
                    <a:pt x="4411" y="3182"/>
                    <a:pt x="3655" y="2773"/>
                  </a:cubicBezTo>
                  <a:cubicBezTo>
                    <a:pt x="3938" y="2458"/>
                    <a:pt x="4127" y="2080"/>
                    <a:pt x="4127" y="1639"/>
                  </a:cubicBezTo>
                  <a:cubicBezTo>
                    <a:pt x="4127" y="725"/>
                    <a:pt x="3403" y="0"/>
                    <a:pt x="24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47" name="Google Shape;6847;p73"/>
            <p:cNvSpPr/>
            <p:nvPr/>
          </p:nvSpPr>
          <p:spPr>
            <a:xfrm>
              <a:off x="-59092025" y="2296300"/>
              <a:ext cx="317425" cy="316650"/>
            </a:xfrm>
            <a:custGeom>
              <a:avLst/>
              <a:gdLst/>
              <a:ahLst/>
              <a:cxnLst/>
              <a:rect l="l" t="t" r="r" b="b"/>
              <a:pathLst>
                <a:path w="12697" h="12666" extrusionOk="0">
                  <a:moveTo>
                    <a:pt x="1261" y="820"/>
                  </a:moveTo>
                  <a:cubicBezTo>
                    <a:pt x="1513" y="820"/>
                    <a:pt x="1702" y="1009"/>
                    <a:pt x="1702" y="1198"/>
                  </a:cubicBezTo>
                  <a:cubicBezTo>
                    <a:pt x="1670" y="1450"/>
                    <a:pt x="1513" y="1639"/>
                    <a:pt x="1261" y="1639"/>
                  </a:cubicBezTo>
                  <a:cubicBezTo>
                    <a:pt x="1040" y="1639"/>
                    <a:pt x="883" y="1450"/>
                    <a:pt x="883" y="1198"/>
                  </a:cubicBezTo>
                  <a:cubicBezTo>
                    <a:pt x="883" y="977"/>
                    <a:pt x="1072" y="820"/>
                    <a:pt x="1261" y="820"/>
                  </a:cubicBezTo>
                  <a:close/>
                  <a:moveTo>
                    <a:pt x="11468" y="820"/>
                  </a:moveTo>
                  <a:cubicBezTo>
                    <a:pt x="11720" y="820"/>
                    <a:pt x="11878" y="1009"/>
                    <a:pt x="11878" y="1198"/>
                  </a:cubicBezTo>
                  <a:cubicBezTo>
                    <a:pt x="11878" y="1450"/>
                    <a:pt x="11657" y="1639"/>
                    <a:pt x="11468" y="1639"/>
                  </a:cubicBezTo>
                  <a:cubicBezTo>
                    <a:pt x="11248" y="1639"/>
                    <a:pt x="11027" y="1450"/>
                    <a:pt x="11027" y="1198"/>
                  </a:cubicBezTo>
                  <a:cubicBezTo>
                    <a:pt x="11027" y="1009"/>
                    <a:pt x="11248" y="820"/>
                    <a:pt x="11468" y="820"/>
                  </a:cubicBezTo>
                  <a:close/>
                  <a:moveTo>
                    <a:pt x="6396" y="2616"/>
                  </a:moveTo>
                  <a:cubicBezTo>
                    <a:pt x="7341" y="2616"/>
                    <a:pt x="8286" y="2994"/>
                    <a:pt x="9042" y="3718"/>
                  </a:cubicBezTo>
                  <a:cubicBezTo>
                    <a:pt x="10492" y="5136"/>
                    <a:pt x="10492" y="7499"/>
                    <a:pt x="9042" y="8917"/>
                  </a:cubicBezTo>
                  <a:cubicBezTo>
                    <a:pt x="8318" y="9641"/>
                    <a:pt x="7373" y="10019"/>
                    <a:pt x="6396" y="10019"/>
                  </a:cubicBezTo>
                  <a:cubicBezTo>
                    <a:pt x="4348" y="10019"/>
                    <a:pt x="2647" y="8381"/>
                    <a:pt x="2647" y="6333"/>
                  </a:cubicBezTo>
                  <a:cubicBezTo>
                    <a:pt x="2647" y="4222"/>
                    <a:pt x="4348" y="2616"/>
                    <a:pt x="6396" y="2616"/>
                  </a:cubicBezTo>
                  <a:close/>
                  <a:moveTo>
                    <a:pt x="1261" y="10965"/>
                  </a:moveTo>
                  <a:cubicBezTo>
                    <a:pt x="1513" y="10965"/>
                    <a:pt x="1702" y="11185"/>
                    <a:pt x="1702" y="11406"/>
                  </a:cubicBezTo>
                  <a:cubicBezTo>
                    <a:pt x="1670" y="11658"/>
                    <a:pt x="1513" y="11847"/>
                    <a:pt x="1261" y="11847"/>
                  </a:cubicBezTo>
                  <a:cubicBezTo>
                    <a:pt x="1040" y="11847"/>
                    <a:pt x="883" y="11658"/>
                    <a:pt x="883" y="11406"/>
                  </a:cubicBezTo>
                  <a:cubicBezTo>
                    <a:pt x="883" y="11185"/>
                    <a:pt x="1072" y="10965"/>
                    <a:pt x="1261" y="10965"/>
                  </a:cubicBezTo>
                  <a:close/>
                  <a:moveTo>
                    <a:pt x="11468" y="11028"/>
                  </a:moveTo>
                  <a:cubicBezTo>
                    <a:pt x="11720" y="11028"/>
                    <a:pt x="11878" y="11217"/>
                    <a:pt x="11878" y="11437"/>
                  </a:cubicBezTo>
                  <a:cubicBezTo>
                    <a:pt x="11878" y="11689"/>
                    <a:pt x="11657" y="11878"/>
                    <a:pt x="11468" y="11878"/>
                  </a:cubicBezTo>
                  <a:cubicBezTo>
                    <a:pt x="11248" y="11878"/>
                    <a:pt x="11027" y="11689"/>
                    <a:pt x="11027" y="11437"/>
                  </a:cubicBezTo>
                  <a:cubicBezTo>
                    <a:pt x="11027" y="11217"/>
                    <a:pt x="11248" y="11028"/>
                    <a:pt x="11468" y="11028"/>
                  </a:cubicBezTo>
                  <a:close/>
                  <a:moveTo>
                    <a:pt x="1229" y="1"/>
                  </a:moveTo>
                  <a:cubicBezTo>
                    <a:pt x="567" y="1"/>
                    <a:pt x="0" y="536"/>
                    <a:pt x="0" y="1198"/>
                  </a:cubicBezTo>
                  <a:cubicBezTo>
                    <a:pt x="0" y="1891"/>
                    <a:pt x="567" y="2458"/>
                    <a:pt x="1229" y="2458"/>
                  </a:cubicBezTo>
                  <a:cubicBezTo>
                    <a:pt x="1418" y="2458"/>
                    <a:pt x="1576" y="2427"/>
                    <a:pt x="1796" y="2364"/>
                  </a:cubicBezTo>
                  <a:lnTo>
                    <a:pt x="2836" y="3403"/>
                  </a:lnTo>
                  <a:cubicBezTo>
                    <a:pt x="2174" y="4222"/>
                    <a:pt x="1828" y="5231"/>
                    <a:pt x="1828" y="6302"/>
                  </a:cubicBezTo>
                  <a:cubicBezTo>
                    <a:pt x="1828" y="7341"/>
                    <a:pt x="2174" y="8381"/>
                    <a:pt x="2899" y="9200"/>
                  </a:cubicBezTo>
                  <a:lnTo>
                    <a:pt x="1796" y="10303"/>
                  </a:lnTo>
                  <a:cubicBezTo>
                    <a:pt x="1639" y="10240"/>
                    <a:pt x="1418" y="10177"/>
                    <a:pt x="1229" y="10177"/>
                  </a:cubicBezTo>
                  <a:cubicBezTo>
                    <a:pt x="567" y="10177"/>
                    <a:pt x="0" y="10744"/>
                    <a:pt x="0" y="11437"/>
                  </a:cubicBezTo>
                  <a:cubicBezTo>
                    <a:pt x="0" y="12130"/>
                    <a:pt x="567" y="12666"/>
                    <a:pt x="1229" y="12666"/>
                  </a:cubicBezTo>
                  <a:cubicBezTo>
                    <a:pt x="1891" y="12666"/>
                    <a:pt x="2489" y="12130"/>
                    <a:pt x="2489" y="11437"/>
                  </a:cubicBezTo>
                  <a:cubicBezTo>
                    <a:pt x="2489" y="11248"/>
                    <a:pt x="2458" y="11091"/>
                    <a:pt x="2363" y="10901"/>
                  </a:cubicBezTo>
                  <a:lnTo>
                    <a:pt x="3466" y="9799"/>
                  </a:lnTo>
                  <a:cubicBezTo>
                    <a:pt x="4317" y="10460"/>
                    <a:pt x="5325" y="10838"/>
                    <a:pt x="6396" y="10838"/>
                  </a:cubicBezTo>
                  <a:cubicBezTo>
                    <a:pt x="7467" y="10838"/>
                    <a:pt x="8475" y="10492"/>
                    <a:pt x="9263" y="9830"/>
                  </a:cubicBezTo>
                  <a:lnTo>
                    <a:pt x="10334" y="10901"/>
                  </a:lnTo>
                  <a:cubicBezTo>
                    <a:pt x="10240" y="11059"/>
                    <a:pt x="10208" y="11248"/>
                    <a:pt x="10208" y="11437"/>
                  </a:cubicBezTo>
                  <a:cubicBezTo>
                    <a:pt x="10208" y="12099"/>
                    <a:pt x="10775" y="12666"/>
                    <a:pt x="11468" y="12666"/>
                  </a:cubicBezTo>
                  <a:cubicBezTo>
                    <a:pt x="12130" y="12666"/>
                    <a:pt x="12697" y="12099"/>
                    <a:pt x="12697" y="11437"/>
                  </a:cubicBezTo>
                  <a:cubicBezTo>
                    <a:pt x="12697" y="10775"/>
                    <a:pt x="12130" y="10177"/>
                    <a:pt x="11468" y="10177"/>
                  </a:cubicBezTo>
                  <a:cubicBezTo>
                    <a:pt x="11279" y="10177"/>
                    <a:pt x="11122" y="10208"/>
                    <a:pt x="10933" y="10303"/>
                  </a:cubicBezTo>
                  <a:lnTo>
                    <a:pt x="9861" y="9232"/>
                  </a:lnTo>
                  <a:cubicBezTo>
                    <a:pt x="11279" y="7562"/>
                    <a:pt x="11279" y="5073"/>
                    <a:pt x="9861" y="3403"/>
                  </a:cubicBezTo>
                  <a:lnTo>
                    <a:pt x="10933" y="2364"/>
                  </a:lnTo>
                  <a:cubicBezTo>
                    <a:pt x="11122" y="2427"/>
                    <a:pt x="11279" y="2458"/>
                    <a:pt x="11468" y="2458"/>
                  </a:cubicBezTo>
                  <a:cubicBezTo>
                    <a:pt x="12130" y="2458"/>
                    <a:pt x="12697" y="1923"/>
                    <a:pt x="12697" y="1198"/>
                  </a:cubicBezTo>
                  <a:cubicBezTo>
                    <a:pt x="12697" y="536"/>
                    <a:pt x="12130" y="1"/>
                    <a:pt x="11468" y="1"/>
                  </a:cubicBezTo>
                  <a:cubicBezTo>
                    <a:pt x="10807" y="1"/>
                    <a:pt x="10208" y="536"/>
                    <a:pt x="10208" y="1198"/>
                  </a:cubicBezTo>
                  <a:cubicBezTo>
                    <a:pt x="10208" y="1419"/>
                    <a:pt x="10240" y="1576"/>
                    <a:pt x="10334" y="1765"/>
                  </a:cubicBezTo>
                  <a:lnTo>
                    <a:pt x="9263" y="2836"/>
                  </a:lnTo>
                  <a:cubicBezTo>
                    <a:pt x="8412" y="2127"/>
                    <a:pt x="7373" y="1773"/>
                    <a:pt x="6337" y="1773"/>
                  </a:cubicBezTo>
                  <a:cubicBezTo>
                    <a:pt x="5301" y="1773"/>
                    <a:pt x="4269" y="2127"/>
                    <a:pt x="3434" y="2836"/>
                  </a:cubicBezTo>
                  <a:lnTo>
                    <a:pt x="2363" y="1765"/>
                  </a:lnTo>
                  <a:cubicBezTo>
                    <a:pt x="2458" y="1608"/>
                    <a:pt x="2489" y="1419"/>
                    <a:pt x="2489" y="1198"/>
                  </a:cubicBezTo>
                  <a:cubicBezTo>
                    <a:pt x="2489" y="536"/>
                    <a:pt x="1954"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48" name="Google Shape;6848;p73"/>
          <p:cNvGrpSpPr/>
          <p:nvPr/>
        </p:nvGrpSpPr>
        <p:grpSpPr>
          <a:xfrm>
            <a:off x="6487481" y="2043861"/>
            <a:ext cx="470899" cy="463465"/>
            <a:chOff x="683125" y="1955275"/>
            <a:chExt cx="299325" cy="294600"/>
          </a:xfrm>
        </p:grpSpPr>
        <p:sp>
          <p:nvSpPr>
            <p:cNvPr id="6849" name="Google Shape;6849;p73"/>
            <p:cNvSpPr/>
            <p:nvPr/>
          </p:nvSpPr>
          <p:spPr>
            <a:xfrm>
              <a:off x="876875" y="1989925"/>
              <a:ext cx="52800" cy="63825"/>
            </a:xfrm>
            <a:custGeom>
              <a:avLst/>
              <a:gdLst/>
              <a:ahLst/>
              <a:cxnLst/>
              <a:rect l="l" t="t" r="r" b="b"/>
              <a:pathLst>
                <a:path w="2112" h="2553" extrusionOk="0">
                  <a:moveTo>
                    <a:pt x="1072" y="0"/>
                  </a:moveTo>
                  <a:cubicBezTo>
                    <a:pt x="473" y="0"/>
                    <a:pt x="64" y="473"/>
                    <a:pt x="64" y="1009"/>
                  </a:cubicBezTo>
                  <a:cubicBezTo>
                    <a:pt x="1" y="1229"/>
                    <a:pt x="158" y="1324"/>
                    <a:pt x="379" y="1324"/>
                  </a:cubicBezTo>
                  <a:cubicBezTo>
                    <a:pt x="568" y="1324"/>
                    <a:pt x="725" y="1166"/>
                    <a:pt x="725" y="977"/>
                  </a:cubicBezTo>
                  <a:cubicBezTo>
                    <a:pt x="725" y="788"/>
                    <a:pt x="883" y="631"/>
                    <a:pt x="1072" y="631"/>
                  </a:cubicBezTo>
                  <a:cubicBezTo>
                    <a:pt x="1261" y="631"/>
                    <a:pt x="1418" y="788"/>
                    <a:pt x="1418" y="977"/>
                  </a:cubicBezTo>
                  <a:cubicBezTo>
                    <a:pt x="1418" y="1103"/>
                    <a:pt x="1355" y="1198"/>
                    <a:pt x="1229" y="1292"/>
                  </a:cubicBezTo>
                  <a:cubicBezTo>
                    <a:pt x="914" y="1450"/>
                    <a:pt x="725" y="1796"/>
                    <a:pt x="725" y="2206"/>
                  </a:cubicBezTo>
                  <a:cubicBezTo>
                    <a:pt x="725" y="2395"/>
                    <a:pt x="883" y="2552"/>
                    <a:pt x="1072" y="2552"/>
                  </a:cubicBezTo>
                  <a:cubicBezTo>
                    <a:pt x="1261" y="2552"/>
                    <a:pt x="1418" y="2395"/>
                    <a:pt x="1418" y="2206"/>
                  </a:cubicBezTo>
                  <a:cubicBezTo>
                    <a:pt x="1418" y="2080"/>
                    <a:pt x="1481" y="1954"/>
                    <a:pt x="1544" y="1922"/>
                  </a:cubicBezTo>
                  <a:cubicBezTo>
                    <a:pt x="1891" y="1733"/>
                    <a:pt x="2111" y="1355"/>
                    <a:pt x="2111" y="1009"/>
                  </a:cubicBezTo>
                  <a:cubicBezTo>
                    <a:pt x="2111" y="410"/>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0" name="Google Shape;6850;p73"/>
            <p:cNvSpPr/>
            <p:nvPr/>
          </p:nvSpPr>
          <p:spPr>
            <a:xfrm>
              <a:off x="683125" y="2058450"/>
              <a:ext cx="159900" cy="191425"/>
            </a:xfrm>
            <a:custGeom>
              <a:avLst/>
              <a:gdLst/>
              <a:ahLst/>
              <a:cxnLst/>
              <a:rect l="l" t="t" r="r" b="b"/>
              <a:pathLst>
                <a:path w="6396" h="7657" extrusionOk="0">
                  <a:moveTo>
                    <a:pt x="3245" y="693"/>
                  </a:moveTo>
                  <a:cubicBezTo>
                    <a:pt x="3812" y="693"/>
                    <a:pt x="4285" y="1166"/>
                    <a:pt x="4285" y="1702"/>
                  </a:cubicBezTo>
                  <a:cubicBezTo>
                    <a:pt x="4285" y="2269"/>
                    <a:pt x="3812" y="2710"/>
                    <a:pt x="3245" y="2710"/>
                  </a:cubicBezTo>
                  <a:cubicBezTo>
                    <a:pt x="2647" y="2710"/>
                    <a:pt x="2174" y="2269"/>
                    <a:pt x="2174" y="1702"/>
                  </a:cubicBezTo>
                  <a:cubicBezTo>
                    <a:pt x="2174" y="1166"/>
                    <a:pt x="2678" y="693"/>
                    <a:pt x="3245" y="693"/>
                  </a:cubicBezTo>
                  <a:close/>
                  <a:moveTo>
                    <a:pt x="3245" y="3434"/>
                  </a:moveTo>
                  <a:cubicBezTo>
                    <a:pt x="4569" y="3434"/>
                    <a:pt x="5671" y="4537"/>
                    <a:pt x="5671" y="5892"/>
                  </a:cubicBezTo>
                  <a:lnTo>
                    <a:pt x="5671" y="6994"/>
                  </a:lnTo>
                  <a:lnTo>
                    <a:pt x="788" y="6994"/>
                  </a:lnTo>
                  <a:lnTo>
                    <a:pt x="788" y="5892"/>
                  </a:lnTo>
                  <a:cubicBezTo>
                    <a:pt x="788" y="4537"/>
                    <a:pt x="1891" y="3434"/>
                    <a:pt x="3245" y="3434"/>
                  </a:cubicBezTo>
                  <a:close/>
                  <a:moveTo>
                    <a:pt x="3182" y="0"/>
                  </a:moveTo>
                  <a:cubicBezTo>
                    <a:pt x="2237" y="0"/>
                    <a:pt x="1418" y="788"/>
                    <a:pt x="1418" y="1733"/>
                  </a:cubicBezTo>
                  <a:cubicBezTo>
                    <a:pt x="1418" y="2206"/>
                    <a:pt x="1607" y="2678"/>
                    <a:pt x="1985" y="2993"/>
                  </a:cubicBezTo>
                  <a:cubicBezTo>
                    <a:pt x="819" y="3466"/>
                    <a:pt x="0" y="4569"/>
                    <a:pt x="0" y="5892"/>
                  </a:cubicBezTo>
                  <a:lnTo>
                    <a:pt x="0" y="7309"/>
                  </a:lnTo>
                  <a:cubicBezTo>
                    <a:pt x="126" y="7499"/>
                    <a:pt x="284" y="7656"/>
                    <a:pt x="441" y="7656"/>
                  </a:cubicBezTo>
                  <a:lnTo>
                    <a:pt x="6018" y="7656"/>
                  </a:lnTo>
                  <a:cubicBezTo>
                    <a:pt x="6238" y="7656"/>
                    <a:pt x="6396" y="7499"/>
                    <a:pt x="6396" y="7309"/>
                  </a:cubicBezTo>
                  <a:lnTo>
                    <a:pt x="6396" y="5892"/>
                  </a:lnTo>
                  <a:cubicBezTo>
                    <a:pt x="6396" y="4569"/>
                    <a:pt x="5545" y="3466"/>
                    <a:pt x="4411" y="2993"/>
                  </a:cubicBezTo>
                  <a:cubicBezTo>
                    <a:pt x="4758" y="2647"/>
                    <a:pt x="4978" y="2206"/>
                    <a:pt x="4978" y="1733"/>
                  </a:cubicBezTo>
                  <a:cubicBezTo>
                    <a:pt x="4978" y="788"/>
                    <a:pt x="4190"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1" name="Google Shape;6851;p73"/>
            <p:cNvSpPr/>
            <p:nvPr/>
          </p:nvSpPr>
          <p:spPr>
            <a:xfrm>
              <a:off x="824900" y="1955275"/>
              <a:ext cx="157550" cy="155975"/>
            </a:xfrm>
            <a:custGeom>
              <a:avLst/>
              <a:gdLst/>
              <a:ahLst/>
              <a:cxnLst/>
              <a:rect l="l" t="t" r="r" b="b"/>
              <a:pathLst>
                <a:path w="6302" h="6239" extrusionOk="0">
                  <a:moveTo>
                    <a:pt x="3151" y="662"/>
                  </a:moveTo>
                  <a:cubicBezTo>
                    <a:pt x="4505" y="662"/>
                    <a:pt x="5608" y="1765"/>
                    <a:pt x="5608" y="3119"/>
                  </a:cubicBezTo>
                  <a:cubicBezTo>
                    <a:pt x="5608" y="4442"/>
                    <a:pt x="4505" y="5545"/>
                    <a:pt x="3151" y="5545"/>
                  </a:cubicBezTo>
                  <a:cubicBezTo>
                    <a:pt x="2710" y="5545"/>
                    <a:pt x="2332" y="5451"/>
                    <a:pt x="1954" y="5230"/>
                  </a:cubicBezTo>
                  <a:cubicBezTo>
                    <a:pt x="1890" y="5199"/>
                    <a:pt x="1796" y="5199"/>
                    <a:pt x="1733" y="5199"/>
                  </a:cubicBezTo>
                  <a:lnTo>
                    <a:pt x="945" y="5388"/>
                  </a:lnTo>
                  <a:lnTo>
                    <a:pt x="1166" y="4694"/>
                  </a:lnTo>
                  <a:cubicBezTo>
                    <a:pt x="1229" y="4568"/>
                    <a:pt x="1166" y="4505"/>
                    <a:pt x="1134" y="4411"/>
                  </a:cubicBezTo>
                  <a:cubicBezTo>
                    <a:pt x="914" y="4033"/>
                    <a:pt x="756" y="3592"/>
                    <a:pt x="756" y="3119"/>
                  </a:cubicBezTo>
                  <a:cubicBezTo>
                    <a:pt x="725" y="1733"/>
                    <a:pt x="1827" y="662"/>
                    <a:pt x="3151" y="662"/>
                  </a:cubicBezTo>
                  <a:close/>
                  <a:moveTo>
                    <a:pt x="3182" y="0"/>
                  </a:moveTo>
                  <a:cubicBezTo>
                    <a:pt x="1449" y="0"/>
                    <a:pt x="95" y="1418"/>
                    <a:pt x="95" y="3119"/>
                  </a:cubicBezTo>
                  <a:cubicBezTo>
                    <a:pt x="95" y="3655"/>
                    <a:pt x="189" y="4190"/>
                    <a:pt x="473" y="4663"/>
                  </a:cubicBezTo>
                  <a:lnTo>
                    <a:pt x="32" y="5766"/>
                  </a:lnTo>
                  <a:cubicBezTo>
                    <a:pt x="0" y="5860"/>
                    <a:pt x="32" y="5986"/>
                    <a:pt x="126" y="6112"/>
                  </a:cubicBezTo>
                  <a:cubicBezTo>
                    <a:pt x="189" y="6175"/>
                    <a:pt x="315" y="6238"/>
                    <a:pt x="473" y="6238"/>
                  </a:cubicBezTo>
                  <a:lnTo>
                    <a:pt x="1764" y="5923"/>
                  </a:lnTo>
                  <a:cubicBezTo>
                    <a:pt x="2206" y="6144"/>
                    <a:pt x="2678" y="6238"/>
                    <a:pt x="3182" y="6238"/>
                  </a:cubicBezTo>
                  <a:cubicBezTo>
                    <a:pt x="4915" y="6238"/>
                    <a:pt x="6301" y="4820"/>
                    <a:pt x="6301" y="3119"/>
                  </a:cubicBezTo>
                  <a:cubicBezTo>
                    <a:pt x="6301" y="1386"/>
                    <a:pt x="4883"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2" name="Google Shape;6852;p73"/>
            <p:cNvSpPr/>
            <p:nvPr/>
          </p:nvSpPr>
          <p:spPr>
            <a:xfrm>
              <a:off x="895000" y="205845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53" name="Google Shape;6853;p73"/>
          <p:cNvGrpSpPr/>
          <p:nvPr/>
        </p:nvGrpSpPr>
        <p:grpSpPr>
          <a:xfrm>
            <a:off x="6488722" y="2644604"/>
            <a:ext cx="468420" cy="465981"/>
            <a:chOff x="685475" y="2318350"/>
            <a:chExt cx="297750" cy="296200"/>
          </a:xfrm>
        </p:grpSpPr>
        <p:sp>
          <p:nvSpPr>
            <p:cNvPr id="6854" name="Google Shape;6854;p73"/>
            <p:cNvSpPr/>
            <p:nvPr/>
          </p:nvSpPr>
          <p:spPr>
            <a:xfrm>
              <a:off x="685475" y="2371925"/>
              <a:ext cx="142600" cy="241975"/>
            </a:xfrm>
            <a:custGeom>
              <a:avLst/>
              <a:gdLst/>
              <a:ahLst/>
              <a:cxnLst/>
              <a:rect l="l" t="t" r="r" b="b"/>
              <a:pathLst>
                <a:path w="5704" h="9679" extrusionOk="0">
                  <a:moveTo>
                    <a:pt x="2080" y="662"/>
                  </a:moveTo>
                  <a:cubicBezTo>
                    <a:pt x="2458" y="662"/>
                    <a:pt x="2773" y="977"/>
                    <a:pt x="2773" y="1387"/>
                  </a:cubicBezTo>
                  <a:cubicBezTo>
                    <a:pt x="2773" y="1765"/>
                    <a:pt x="2458" y="2080"/>
                    <a:pt x="2080" y="2080"/>
                  </a:cubicBezTo>
                  <a:cubicBezTo>
                    <a:pt x="1671" y="2080"/>
                    <a:pt x="1356" y="1765"/>
                    <a:pt x="1356" y="1387"/>
                  </a:cubicBezTo>
                  <a:cubicBezTo>
                    <a:pt x="1356" y="977"/>
                    <a:pt x="1734" y="662"/>
                    <a:pt x="2080" y="662"/>
                  </a:cubicBezTo>
                  <a:close/>
                  <a:moveTo>
                    <a:pt x="2962" y="6900"/>
                  </a:moveTo>
                  <a:lnTo>
                    <a:pt x="3120" y="7593"/>
                  </a:lnTo>
                  <a:lnTo>
                    <a:pt x="1135" y="7593"/>
                  </a:lnTo>
                  <a:lnTo>
                    <a:pt x="1293" y="6900"/>
                  </a:lnTo>
                  <a:close/>
                  <a:moveTo>
                    <a:pt x="1742" y="2767"/>
                  </a:moveTo>
                  <a:cubicBezTo>
                    <a:pt x="1866" y="2767"/>
                    <a:pt x="1991" y="2831"/>
                    <a:pt x="2049" y="2962"/>
                  </a:cubicBezTo>
                  <a:lnTo>
                    <a:pt x="2553" y="3938"/>
                  </a:lnTo>
                  <a:cubicBezTo>
                    <a:pt x="2584" y="4064"/>
                    <a:pt x="2742" y="4127"/>
                    <a:pt x="2868" y="4127"/>
                  </a:cubicBezTo>
                  <a:lnTo>
                    <a:pt x="3813" y="4127"/>
                  </a:lnTo>
                  <a:cubicBezTo>
                    <a:pt x="4002" y="4127"/>
                    <a:pt x="4159" y="4285"/>
                    <a:pt x="4159" y="4474"/>
                  </a:cubicBezTo>
                  <a:cubicBezTo>
                    <a:pt x="4159" y="4695"/>
                    <a:pt x="4002" y="4852"/>
                    <a:pt x="3813" y="4852"/>
                  </a:cubicBezTo>
                  <a:lnTo>
                    <a:pt x="2427" y="4852"/>
                  </a:lnTo>
                  <a:cubicBezTo>
                    <a:pt x="2301" y="4852"/>
                    <a:pt x="2175" y="4758"/>
                    <a:pt x="2112" y="4631"/>
                  </a:cubicBezTo>
                  <a:cubicBezTo>
                    <a:pt x="2042" y="4515"/>
                    <a:pt x="1919" y="4450"/>
                    <a:pt x="1784" y="4450"/>
                  </a:cubicBezTo>
                  <a:cubicBezTo>
                    <a:pt x="1737" y="4450"/>
                    <a:pt x="1688" y="4458"/>
                    <a:pt x="1639" y="4474"/>
                  </a:cubicBezTo>
                  <a:cubicBezTo>
                    <a:pt x="1482" y="4568"/>
                    <a:pt x="1387" y="4758"/>
                    <a:pt x="1482" y="4947"/>
                  </a:cubicBezTo>
                  <a:cubicBezTo>
                    <a:pt x="1671" y="5325"/>
                    <a:pt x="2017" y="5545"/>
                    <a:pt x="2427" y="5545"/>
                  </a:cubicBezTo>
                  <a:lnTo>
                    <a:pt x="3813" y="5545"/>
                  </a:lnTo>
                  <a:cubicBezTo>
                    <a:pt x="3970" y="5545"/>
                    <a:pt x="4128" y="5671"/>
                    <a:pt x="4159" y="5829"/>
                  </a:cubicBezTo>
                  <a:lnTo>
                    <a:pt x="4853" y="8570"/>
                  </a:lnTo>
                  <a:cubicBezTo>
                    <a:pt x="4916" y="8790"/>
                    <a:pt x="4790" y="8979"/>
                    <a:pt x="4632" y="9011"/>
                  </a:cubicBezTo>
                  <a:cubicBezTo>
                    <a:pt x="4608" y="9015"/>
                    <a:pt x="4584" y="9017"/>
                    <a:pt x="4560" y="9017"/>
                  </a:cubicBezTo>
                  <a:cubicBezTo>
                    <a:pt x="4403" y="9017"/>
                    <a:pt x="4273" y="8927"/>
                    <a:pt x="4191" y="8790"/>
                  </a:cubicBezTo>
                  <a:lnTo>
                    <a:pt x="3655" y="6522"/>
                  </a:lnTo>
                  <a:cubicBezTo>
                    <a:pt x="3592" y="6364"/>
                    <a:pt x="3498" y="6270"/>
                    <a:pt x="3277" y="6270"/>
                  </a:cubicBezTo>
                  <a:lnTo>
                    <a:pt x="1040" y="6270"/>
                  </a:lnTo>
                  <a:cubicBezTo>
                    <a:pt x="914" y="6270"/>
                    <a:pt x="851" y="6207"/>
                    <a:pt x="757" y="6144"/>
                  </a:cubicBezTo>
                  <a:cubicBezTo>
                    <a:pt x="694" y="5986"/>
                    <a:pt x="694" y="5892"/>
                    <a:pt x="694" y="5797"/>
                  </a:cubicBezTo>
                  <a:lnTo>
                    <a:pt x="1419" y="3025"/>
                  </a:lnTo>
                  <a:cubicBezTo>
                    <a:pt x="1453" y="2855"/>
                    <a:pt x="1597" y="2767"/>
                    <a:pt x="1742" y="2767"/>
                  </a:cubicBezTo>
                  <a:close/>
                  <a:moveTo>
                    <a:pt x="2143" y="0"/>
                  </a:moveTo>
                  <a:cubicBezTo>
                    <a:pt x="1419" y="0"/>
                    <a:pt x="788" y="630"/>
                    <a:pt x="788" y="1387"/>
                  </a:cubicBezTo>
                  <a:cubicBezTo>
                    <a:pt x="788" y="1733"/>
                    <a:pt x="946" y="2080"/>
                    <a:pt x="1135" y="2332"/>
                  </a:cubicBezTo>
                  <a:cubicBezTo>
                    <a:pt x="977" y="2426"/>
                    <a:pt x="851" y="2647"/>
                    <a:pt x="788" y="2867"/>
                  </a:cubicBezTo>
                  <a:lnTo>
                    <a:pt x="64" y="5640"/>
                  </a:lnTo>
                  <a:cubicBezTo>
                    <a:pt x="1" y="5955"/>
                    <a:pt x="64" y="6270"/>
                    <a:pt x="253" y="6522"/>
                  </a:cubicBezTo>
                  <a:cubicBezTo>
                    <a:pt x="347" y="6648"/>
                    <a:pt x="473" y="6774"/>
                    <a:pt x="631" y="6805"/>
                  </a:cubicBezTo>
                  <a:lnTo>
                    <a:pt x="32" y="9263"/>
                  </a:lnTo>
                  <a:cubicBezTo>
                    <a:pt x="1" y="9452"/>
                    <a:pt x="95" y="9609"/>
                    <a:pt x="253" y="9672"/>
                  </a:cubicBezTo>
                  <a:cubicBezTo>
                    <a:pt x="281" y="9676"/>
                    <a:pt x="309" y="9678"/>
                    <a:pt x="335" y="9678"/>
                  </a:cubicBezTo>
                  <a:cubicBezTo>
                    <a:pt x="513" y="9678"/>
                    <a:pt x="639" y="9589"/>
                    <a:pt x="694" y="9452"/>
                  </a:cubicBezTo>
                  <a:lnTo>
                    <a:pt x="977" y="8318"/>
                  </a:lnTo>
                  <a:lnTo>
                    <a:pt x="3372" y="8318"/>
                  </a:lnTo>
                  <a:lnTo>
                    <a:pt x="3529" y="8885"/>
                  </a:lnTo>
                  <a:cubicBezTo>
                    <a:pt x="3661" y="9359"/>
                    <a:pt x="4079" y="9679"/>
                    <a:pt x="4526" y="9679"/>
                  </a:cubicBezTo>
                  <a:cubicBezTo>
                    <a:pt x="4613" y="9679"/>
                    <a:pt x="4702" y="9667"/>
                    <a:pt x="4790" y="9641"/>
                  </a:cubicBezTo>
                  <a:cubicBezTo>
                    <a:pt x="5357" y="9483"/>
                    <a:pt x="5703" y="8916"/>
                    <a:pt x="5546" y="8381"/>
                  </a:cubicBezTo>
                  <a:lnTo>
                    <a:pt x="4821" y="5640"/>
                  </a:lnTo>
                  <a:cubicBezTo>
                    <a:pt x="4790" y="5482"/>
                    <a:pt x="4727" y="5325"/>
                    <a:pt x="4601" y="5199"/>
                  </a:cubicBezTo>
                  <a:cubicBezTo>
                    <a:pt x="4758" y="5010"/>
                    <a:pt x="4884" y="4758"/>
                    <a:pt x="4884" y="4474"/>
                  </a:cubicBezTo>
                  <a:cubicBezTo>
                    <a:pt x="4884" y="3907"/>
                    <a:pt x="4412" y="3466"/>
                    <a:pt x="3844" y="3466"/>
                  </a:cubicBezTo>
                  <a:lnTo>
                    <a:pt x="3088" y="3466"/>
                  </a:lnTo>
                  <a:lnTo>
                    <a:pt x="2710" y="2647"/>
                  </a:lnTo>
                  <a:cubicBezTo>
                    <a:pt x="3183" y="2395"/>
                    <a:pt x="3529" y="1922"/>
                    <a:pt x="3529" y="1387"/>
                  </a:cubicBezTo>
                  <a:cubicBezTo>
                    <a:pt x="3529" y="630"/>
                    <a:pt x="2899"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5" name="Google Shape;6855;p73"/>
            <p:cNvSpPr/>
            <p:nvPr/>
          </p:nvSpPr>
          <p:spPr>
            <a:xfrm>
              <a:off x="839850" y="2371925"/>
              <a:ext cx="143375" cy="242625"/>
            </a:xfrm>
            <a:custGeom>
              <a:avLst/>
              <a:gdLst/>
              <a:ahLst/>
              <a:cxnLst/>
              <a:rect l="l" t="t" r="r" b="b"/>
              <a:pathLst>
                <a:path w="5735" h="9705" extrusionOk="0">
                  <a:moveTo>
                    <a:pt x="3624" y="662"/>
                  </a:moveTo>
                  <a:cubicBezTo>
                    <a:pt x="4002" y="662"/>
                    <a:pt x="4317" y="977"/>
                    <a:pt x="4317" y="1355"/>
                  </a:cubicBezTo>
                  <a:cubicBezTo>
                    <a:pt x="4317" y="1765"/>
                    <a:pt x="4002" y="2080"/>
                    <a:pt x="3624" y="2080"/>
                  </a:cubicBezTo>
                  <a:cubicBezTo>
                    <a:pt x="3214" y="2080"/>
                    <a:pt x="2899" y="1765"/>
                    <a:pt x="2899" y="1355"/>
                  </a:cubicBezTo>
                  <a:cubicBezTo>
                    <a:pt x="2899" y="977"/>
                    <a:pt x="3214" y="662"/>
                    <a:pt x="3624" y="662"/>
                  </a:cubicBezTo>
                  <a:close/>
                  <a:moveTo>
                    <a:pt x="4317" y="6900"/>
                  </a:moveTo>
                  <a:lnTo>
                    <a:pt x="4474" y="7593"/>
                  </a:lnTo>
                  <a:lnTo>
                    <a:pt x="2490" y="7593"/>
                  </a:lnTo>
                  <a:lnTo>
                    <a:pt x="2647" y="6900"/>
                  </a:lnTo>
                  <a:close/>
                  <a:moveTo>
                    <a:pt x="3962" y="2731"/>
                  </a:moveTo>
                  <a:cubicBezTo>
                    <a:pt x="4108" y="2731"/>
                    <a:pt x="4250" y="2818"/>
                    <a:pt x="4285" y="2993"/>
                  </a:cubicBezTo>
                  <a:lnTo>
                    <a:pt x="4979" y="5734"/>
                  </a:lnTo>
                  <a:cubicBezTo>
                    <a:pt x="5010" y="6018"/>
                    <a:pt x="4853" y="6207"/>
                    <a:pt x="4632" y="6207"/>
                  </a:cubicBezTo>
                  <a:lnTo>
                    <a:pt x="2395" y="6207"/>
                  </a:lnTo>
                  <a:cubicBezTo>
                    <a:pt x="2238" y="6207"/>
                    <a:pt x="2080" y="6333"/>
                    <a:pt x="2049" y="6490"/>
                  </a:cubicBezTo>
                  <a:lnTo>
                    <a:pt x="1482" y="8727"/>
                  </a:lnTo>
                  <a:cubicBezTo>
                    <a:pt x="1456" y="8883"/>
                    <a:pt x="1323" y="8996"/>
                    <a:pt x="1154" y="8996"/>
                  </a:cubicBezTo>
                  <a:cubicBezTo>
                    <a:pt x="1118" y="8996"/>
                    <a:pt x="1080" y="8990"/>
                    <a:pt x="1040" y="8979"/>
                  </a:cubicBezTo>
                  <a:cubicBezTo>
                    <a:pt x="851" y="8916"/>
                    <a:pt x="725" y="8727"/>
                    <a:pt x="820" y="8538"/>
                  </a:cubicBezTo>
                  <a:lnTo>
                    <a:pt x="1513" y="5766"/>
                  </a:lnTo>
                  <a:cubicBezTo>
                    <a:pt x="1576" y="5608"/>
                    <a:pt x="1671" y="5514"/>
                    <a:pt x="1891" y="5514"/>
                  </a:cubicBezTo>
                  <a:lnTo>
                    <a:pt x="3246" y="5514"/>
                  </a:lnTo>
                  <a:cubicBezTo>
                    <a:pt x="3655" y="5514"/>
                    <a:pt x="4002" y="5262"/>
                    <a:pt x="4222" y="4915"/>
                  </a:cubicBezTo>
                  <a:cubicBezTo>
                    <a:pt x="4285" y="4758"/>
                    <a:pt x="4222" y="4537"/>
                    <a:pt x="4033" y="4442"/>
                  </a:cubicBezTo>
                  <a:cubicBezTo>
                    <a:pt x="3993" y="4426"/>
                    <a:pt x="3948" y="4418"/>
                    <a:pt x="3902" y="4418"/>
                  </a:cubicBezTo>
                  <a:cubicBezTo>
                    <a:pt x="3770" y="4418"/>
                    <a:pt x="3631" y="4483"/>
                    <a:pt x="3561" y="4600"/>
                  </a:cubicBezTo>
                  <a:cubicBezTo>
                    <a:pt x="3529" y="4726"/>
                    <a:pt x="3372" y="4789"/>
                    <a:pt x="3246" y="4789"/>
                  </a:cubicBezTo>
                  <a:lnTo>
                    <a:pt x="1891" y="4789"/>
                  </a:lnTo>
                  <a:cubicBezTo>
                    <a:pt x="1671" y="4789"/>
                    <a:pt x="1513" y="4631"/>
                    <a:pt x="1513" y="4442"/>
                  </a:cubicBezTo>
                  <a:cubicBezTo>
                    <a:pt x="1513" y="4253"/>
                    <a:pt x="1671" y="4096"/>
                    <a:pt x="1891" y="4096"/>
                  </a:cubicBezTo>
                  <a:lnTo>
                    <a:pt x="2836" y="4096"/>
                  </a:lnTo>
                  <a:cubicBezTo>
                    <a:pt x="2931" y="4096"/>
                    <a:pt x="3057" y="4001"/>
                    <a:pt x="3151" y="3907"/>
                  </a:cubicBezTo>
                  <a:cubicBezTo>
                    <a:pt x="3151" y="3844"/>
                    <a:pt x="3655" y="2899"/>
                    <a:pt x="3655" y="2899"/>
                  </a:cubicBezTo>
                  <a:cubicBezTo>
                    <a:pt x="3725" y="2787"/>
                    <a:pt x="3845" y="2731"/>
                    <a:pt x="3962" y="2731"/>
                  </a:cubicBezTo>
                  <a:close/>
                  <a:moveTo>
                    <a:pt x="3529" y="0"/>
                  </a:moveTo>
                  <a:cubicBezTo>
                    <a:pt x="2805" y="0"/>
                    <a:pt x="2175" y="630"/>
                    <a:pt x="2175" y="1355"/>
                  </a:cubicBezTo>
                  <a:cubicBezTo>
                    <a:pt x="2175" y="1922"/>
                    <a:pt x="2490" y="2395"/>
                    <a:pt x="2994" y="2615"/>
                  </a:cubicBezTo>
                  <a:lnTo>
                    <a:pt x="2584" y="3466"/>
                  </a:lnTo>
                  <a:lnTo>
                    <a:pt x="1860" y="3466"/>
                  </a:lnTo>
                  <a:cubicBezTo>
                    <a:pt x="1261" y="3466"/>
                    <a:pt x="820" y="3938"/>
                    <a:pt x="820" y="4474"/>
                  </a:cubicBezTo>
                  <a:cubicBezTo>
                    <a:pt x="820" y="4758"/>
                    <a:pt x="946" y="4978"/>
                    <a:pt x="1103" y="5199"/>
                  </a:cubicBezTo>
                  <a:cubicBezTo>
                    <a:pt x="977" y="5325"/>
                    <a:pt x="914" y="5451"/>
                    <a:pt x="851" y="5608"/>
                  </a:cubicBezTo>
                  <a:lnTo>
                    <a:pt x="158" y="8381"/>
                  </a:lnTo>
                  <a:cubicBezTo>
                    <a:pt x="1" y="8916"/>
                    <a:pt x="347" y="9483"/>
                    <a:pt x="914" y="9641"/>
                  </a:cubicBezTo>
                  <a:cubicBezTo>
                    <a:pt x="1002" y="9667"/>
                    <a:pt x="1091" y="9679"/>
                    <a:pt x="1178" y="9679"/>
                  </a:cubicBezTo>
                  <a:cubicBezTo>
                    <a:pt x="1624" y="9679"/>
                    <a:pt x="2038" y="9359"/>
                    <a:pt x="2143" y="8885"/>
                  </a:cubicBezTo>
                  <a:lnTo>
                    <a:pt x="2332" y="8286"/>
                  </a:lnTo>
                  <a:lnTo>
                    <a:pt x="4695" y="8286"/>
                  </a:lnTo>
                  <a:lnTo>
                    <a:pt x="4947" y="9452"/>
                  </a:lnTo>
                  <a:cubicBezTo>
                    <a:pt x="4995" y="9597"/>
                    <a:pt x="5118" y="9704"/>
                    <a:pt x="5257" y="9704"/>
                  </a:cubicBezTo>
                  <a:cubicBezTo>
                    <a:pt x="5300" y="9704"/>
                    <a:pt x="5344" y="9694"/>
                    <a:pt x="5388" y="9672"/>
                  </a:cubicBezTo>
                  <a:cubicBezTo>
                    <a:pt x="5577" y="9641"/>
                    <a:pt x="5703" y="9452"/>
                    <a:pt x="5609" y="9231"/>
                  </a:cubicBezTo>
                  <a:lnTo>
                    <a:pt x="5042" y="6805"/>
                  </a:lnTo>
                  <a:cubicBezTo>
                    <a:pt x="5514" y="6616"/>
                    <a:pt x="5735" y="6144"/>
                    <a:pt x="5640" y="5640"/>
                  </a:cubicBezTo>
                  <a:lnTo>
                    <a:pt x="4916" y="2867"/>
                  </a:lnTo>
                  <a:cubicBezTo>
                    <a:pt x="4884" y="2647"/>
                    <a:pt x="4758" y="2489"/>
                    <a:pt x="4569" y="2332"/>
                  </a:cubicBezTo>
                  <a:cubicBezTo>
                    <a:pt x="4790" y="2080"/>
                    <a:pt x="4916" y="1733"/>
                    <a:pt x="4916" y="1355"/>
                  </a:cubicBezTo>
                  <a:cubicBezTo>
                    <a:pt x="4916" y="630"/>
                    <a:pt x="4285" y="0"/>
                    <a:pt x="35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56" name="Google Shape;6856;p73"/>
            <p:cNvSpPr/>
            <p:nvPr/>
          </p:nvSpPr>
          <p:spPr>
            <a:xfrm>
              <a:off x="772900" y="2318350"/>
              <a:ext cx="122125" cy="105075"/>
            </a:xfrm>
            <a:custGeom>
              <a:avLst/>
              <a:gdLst/>
              <a:ahLst/>
              <a:cxnLst/>
              <a:rect l="l" t="t" r="r" b="b"/>
              <a:pathLst>
                <a:path w="4885" h="4203" extrusionOk="0">
                  <a:moveTo>
                    <a:pt x="3844" y="631"/>
                  </a:moveTo>
                  <a:cubicBezTo>
                    <a:pt x="4034" y="631"/>
                    <a:pt x="4223" y="789"/>
                    <a:pt x="4223" y="978"/>
                  </a:cubicBezTo>
                  <a:lnTo>
                    <a:pt x="4223" y="1734"/>
                  </a:lnTo>
                  <a:cubicBezTo>
                    <a:pt x="4223" y="1923"/>
                    <a:pt x="4034" y="2112"/>
                    <a:pt x="3844" y="2112"/>
                  </a:cubicBezTo>
                  <a:cubicBezTo>
                    <a:pt x="3655" y="2143"/>
                    <a:pt x="3498" y="2301"/>
                    <a:pt x="3498" y="2458"/>
                  </a:cubicBezTo>
                  <a:lnTo>
                    <a:pt x="3498" y="2994"/>
                  </a:lnTo>
                  <a:lnTo>
                    <a:pt x="2679" y="2206"/>
                  </a:lnTo>
                  <a:cubicBezTo>
                    <a:pt x="2584" y="2143"/>
                    <a:pt x="2521" y="2112"/>
                    <a:pt x="2427" y="2112"/>
                  </a:cubicBezTo>
                  <a:lnTo>
                    <a:pt x="1009" y="2112"/>
                  </a:lnTo>
                  <a:cubicBezTo>
                    <a:pt x="820" y="2112"/>
                    <a:pt x="662" y="1923"/>
                    <a:pt x="662" y="1734"/>
                  </a:cubicBezTo>
                  <a:lnTo>
                    <a:pt x="662" y="978"/>
                  </a:lnTo>
                  <a:cubicBezTo>
                    <a:pt x="662" y="789"/>
                    <a:pt x="820" y="631"/>
                    <a:pt x="1009" y="631"/>
                  </a:cubicBezTo>
                  <a:close/>
                  <a:moveTo>
                    <a:pt x="1009" y="1"/>
                  </a:moveTo>
                  <a:cubicBezTo>
                    <a:pt x="442" y="1"/>
                    <a:pt x="1" y="474"/>
                    <a:pt x="1" y="1041"/>
                  </a:cubicBezTo>
                  <a:lnTo>
                    <a:pt x="1" y="1765"/>
                  </a:lnTo>
                  <a:cubicBezTo>
                    <a:pt x="1" y="2364"/>
                    <a:pt x="473" y="2805"/>
                    <a:pt x="1009" y="2805"/>
                  </a:cubicBezTo>
                  <a:lnTo>
                    <a:pt x="2269" y="2805"/>
                  </a:lnTo>
                  <a:lnTo>
                    <a:pt x="3592" y="4097"/>
                  </a:lnTo>
                  <a:cubicBezTo>
                    <a:pt x="3663" y="4167"/>
                    <a:pt x="3770" y="4203"/>
                    <a:pt x="3872" y="4203"/>
                  </a:cubicBezTo>
                  <a:cubicBezTo>
                    <a:pt x="3906" y="4203"/>
                    <a:pt x="3939" y="4199"/>
                    <a:pt x="3970" y="4191"/>
                  </a:cubicBezTo>
                  <a:cubicBezTo>
                    <a:pt x="4097" y="4160"/>
                    <a:pt x="4160" y="4002"/>
                    <a:pt x="4160" y="3876"/>
                  </a:cubicBezTo>
                  <a:lnTo>
                    <a:pt x="4160" y="2773"/>
                  </a:lnTo>
                  <a:cubicBezTo>
                    <a:pt x="4569" y="2616"/>
                    <a:pt x="4884" y="2238"/>
                    <a:pt x="4884" y="1765"/>
                  </a:cubicBezTo>
                  <a:lnTo>
                    <a:pt x="4884" y="1041"/>
                  </a:lnTo>
                  <a:cubicBezTo>
                    <a:pt x="4884" y="442"/>
                    <a:pt x="4412" y="1"/>
                    <a:pt x="38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57" name="Google Shape;6857;p73"/>
          <p:cNvSpPr/>
          <p:nvPr/>
        </p:nvSpPr>
        <p:spPr>
          <a:xfrm>
            <a:off x="6490566" y="3233673"/>
            <a:ext cx="464684" cy="465903"/>
          </a:xfrm>
          <a:custGeom>
            <a:avLst/>
            <a:gdLst/>
            <a:ahLst/>
            <a:cxnLst/>
            <a:rect l="l" t="t" r="r" b="b"/>
            <a:pathLst>
              <a:path w="11815" h="11846" extrusionOk="0">
                <a:moveTo>
                  <a:pt x="5829" y="693"/>
                </a:moveTo>
                <a:cubicBezTo>
                  <a:pt x="6238" y="693"/>
                  <a:pt x="6553" y="1008"/>
                  <a:pt x="6553" y="1418"/>
                </a:cubicBezTo>
                <a:cubicBezTo>
                  <a:pt x="6553" y="1796"/>
                  <a:pt x="6238" y="2111"/>
                  <a:pt x="5829" y="2111"/>
                </a:cubicBezTo>
                <a:cubicBezTo>
                  <a:pt x="5451" y="2111"/>
                  <a:pt x="5136" y="1796"/>
                  <a:pt x="5136" y="1418"/>
                </a:cubicBezTo>
                <a:cubicBezTo>
                  <a:pt x="5136" y="1008"/>
                  <a:pt x="5482" y="693"/>
                  <a:pt x="5829" y="693"/>
                </a:cubicBezTo>
                <a:close/>
                <a:moveTo>
                  <a:pt x="5829" y="2773"/>
                </a:moveTo>
                <a:cubicBezTo>
                  <a:pt x="6774" y="2773"/>
                  <a:pt x="7562" y="3560"/>
                  <a:pt x="7562" y="4568"/>
                </a:cubicBezTo>
                <a:lnTo>
                  <a:pt x="7562" y="4915"/>
                </a:lnTo>
                <a:lnTo>
                  <a:pt x="4096" y="4915"/>
                </a:lnTo>
                <a:lnTo>
                  <a:pt x="4096" y="4568"/>
                </a:lnTo>
                <a:cubicBezTo>
                  <a:pt x="4096" y="3560"/>
                  <a:pt x="4884" y="2773"/>
                  <a:pt x="5829" y="2773"/>
                </a:cubicBezTo>
                <a:close/>
                <a:moveTo>
                  <a:pt x="2363" y="6963"/>
                </a:moveTo>
                <a:cubicBezTo>
                  <a:pt x="2773" y="6963"/>
                  <a:pt x="3088" y="7278"/>
                  <a:pt x="3088" y="7656"/>
                </a:cubicBezTo>
                <a:cubicBezTo>
                  <a:pt x="3088" y="8065"/>
                  <a:pt x="2773" y="8380"/>
                  <a:pt x="2363" y="8380"/>
                </a:cubicBezTo>
                <a:cubicBezTo>
                  <a:pt x="1985" y="8380"/>
                  <a:pt x="1670" y="8065"/>
                  <a:pt x="1670" y="7656"/>
                </a:cubicBezTo>
                <a:cubicBezTo>
                  <a:pt x="1670" y="7278"/>
                  <a:pt x="1985" y="6963"/>
                  <a:pt x="2363" y="6963"/>
                </a:cubicBezTo>
                <a:close/>
                <a:moveTo>
                  <a:pt x="9357" y="6963"/>
                </a:moveTo>
                <a:cubicBezTo>
                  <a:pt x="9735" y="6963"/>
                  <a:pt x="10050" y="7278"/>
                  <a:pt x="10050" y="7656"/>
                </a:cubicBezTo>
                <a:cubicBezTo>
                  <a:pt x="10050" y="8065"/>
                  <a:pt x="9735" y="8380"/>
                  <a:pt x="9357" y="8380"/>
                </a:cubicBezTo>
                <a:cubicBezTo>
                  <a:pt x="8948" y="8380"/>
                  <a:pt x="8633" y="8065"/>
                  <a:pt x="8633" y="7656"/>
                </a:cubicBezTo>
                <a:cubicBezTo>
                  <a:pt x="8633" y="7278"/>
                  <a:pt x="8948" y="6963"/>
                  <a:pt x="9357" y="6963"/>
                </a:cubicBezTo>
                <a:close/>
                <a:moveTo>
                  <a:pt x="2363" y="9042"/>
                </a:moveTo>
                <a:cubicBezTo>
                  <a:pt x="3308" y="9042"/>
                  <a:pt x="4096" y="9830"/>
                  <a:pt x="4096" y="10806"/>
                </a:cubicBezTo>
                <a:lnTo>
                  <a:pt x="4096" y="11184"/>
                </a:lnTo>
                <a:lnTo>
                  <a:pt x="630" y="11184"/>
                </a:lnTo>
                <a:lnTo>
                  <a:pt x="630" y="10806"/>
                </a:lnTo>
                <a:cubicBezTo>
                  <a:pt x="630" y="9830"/>
                  <a:pt x="1418" y="9042"/>
                  <a:pt x="2363" y="9042"/>
                </a:cubicBezTo>
                <a:close/>
                <a:moveTo>
                  <a:pt x="9357" y="9042"/>
                </a:moveTo>
                <a:cubicBezTo>
                  <a:pt x="10302" y="9042"/>
                  <a:pt x="11090" y="9830"/>
                  <a:pt x="11090" y="10806"/>
                </a:cubicBezTo>
                <a:lnTo>
                  <a:pt x="11090" y="11184"/>
                </a:lnTo>
                <a:lnTo>
                  <a:pt x="7625" y="11184"/>
                </a:lnTo>
                <a:lnTo>
                  <a:pt x="7625" y="10806"/>
                </a:lnTo>
                <a:cubicBezTo>
                  <a:pt x="7625" y="9830"/>
                  <a:pt x="8412" y="9042"/>
                  <a:pt x="9357" y="9042"/>
                </a:cubicBezTo>
                <a:close/>
                <a:moveTo>
                  <a:pt x="5892" y="0"/>
                </a:moveTo>
                <a:cubicBezTo>
                  <a:pt x="5136" y="0"/>
                  <a:pt x="4506" y="630"/>
                  <a:pt x="4506" y="1355"/>
                </a:cubicBezTo>
                <a:cubicBezTo>
                  <a:pt x="4506" y="1733"/>
                  <a:pt x="4632" y="2016"/>
                  <a:pt x="4852" y="2300"/>
                </a:cubicBezTo>
                <a:cubicBezTo>
                  <a:pt x="4033" y="2710"/>
                  <a:pt x="3466" y="3529"/>
                  <a:pt x="3466" y="4505"/>
                </a:cubicBezTo>
                <a:lnTo>
                  <a:pt x="3466" y="5230"/>
                </a:lnTo>
                <a:cubicBezTo>
                  <a:pt x="3466" y="5419"/>
                  <a:pt x="3623" y="5577"/>
                  <a:pt x="3844" y="5577"/>
                </a:cubicBezTo>
                <a:lnTo>
                  <a:pt x="5577" y="5577"/>
                </a:lnTo>
                <a:lnTo>
                  <a:pt x="5577" y="7152"/>
                </a:lnTo>
                <a:lnTo>
                  <a:pt x="3875" y="8822"/>
                </a:lnTo>
                <a:cubicBezTo>
                  <a:pt x="3749" y="8696"/>
                  <a:pt x="3592" y="8601"/>
                  <a:pt x="3434" y="8569"/>
                </a:cubicBezTo>
                <a:cubicBezTo>
                  <a:pt x="3686" y="8349"/>
                  <a:pt x="3781" y="8034"/>
                  <a:pt x="3781" y="7624"/>
                </a:cubicBezTo>
                <a:cubicBezTo>
                  <a:pt x="3781" y="6868"/>
                  <a:pt x="3151" y="6238"/>
                  <a:pt x="2426" y="6238"/>
                </a:cubicBezTo>
                <a:cubicBezTo>
                  <a:pt x="1670" y="6238"/>
                  <a:pt x="1040" y="6868"/>
                  <a:pt x="1040" y="7624"/>
                </a:cubicBezTo>
                <a:cubicBezTo>
                  <a:pt x="1040" y="7971"/>
                  <a:pt x="1166" y="8286"/>
                  <a:pt x="1387" y="8569"/>
                </a:cubicBezTo>
                <a:cubicBezTo>
                  <a:pt x="567" y="8979"/>
                  <a:pt x="0" y="9798"/>
                  <a:pt x="0" y="10775"/>
                </a:cubicBezTo>
                <a:lnTo>
                  <a:pt x="0" y="11499"/>
                </a:lnTo>
                <a:cubicBezTo>
                  <a:pt x="0" y="11688"/>
                  <a:pt x="158" y="11846"/>
                  <a:pt x="378" y="11846"/>
                </a:cubicBezTo>
                <a:lnTo>
                  <a:pt x="4474" y="11846"/>
                </a:lnTo>
                <a:cubicBezTo>
                  <a:pt x="4663" y="11846"/>
                  <a:pt x="4821" y="11688"/>
                  <a:pt x="4821" y="11499"/>
                </a:cubicBezTo>
                <a:lnTo>
                  <a:pt x="4821" y="10775"/>
                </a:lnTo>
                <a:cubicBezTo>
                  <a:pt x="4821" y="10239"/>
                  <a:pt x="4632" y="9704"/>
                  <a:pt x="4348" y="9326"/>
                </a:cubicBezTo>
                <a:lnTo>
                  <a:pt x="5860" y="7782"/>
                </a:lnTo>
                <a:lnTo>
                  <a:pt x="7404" y="9326"/>
                </a:lnTo>
                <a:cubicBezTo>
                  <a:pt x="7089" y="9704"/>
                  <a:pt x="6931" y="10239"/>
                  <a:pt x="6931" y="10775"/>
                </a:cubicBezTo>
                <a:lnTo>
                  <a:pt x="6931" y="11499"/>
                </a:lnTo>
                <a:cubicBezTo>
                  <a:pt x="6931" y="11688"/>
                  <a:pt x="7089" y="11846"/>
                  <a:pt x="7309" y="11846"/>
                </a:cubicBezTo>
                <a:lnTo>
                  <a:pt x="11468" y="11846"/>
                </a:lnTo>
                <a:cubicBezTo>
                  <a:pt x="11657" y="11846"/>
                  <a:pt x="11815" y="11688"/>
                  <a:pt x="11815" y="11499"/>
                </a:cubicBezTo>
                <a:lnTo>
                  <a:pt x="11815" y="10775"/>
                </a:lnTo>
                <a:cubicBezTo>
                  <a:pt x="11783" y="9830"/>
                  <a:pt x="11185" y="8979"/>
                  <a:pt x="10365" y="8569"/>
                </a:cubicBezTo>
                <a:cubicBezTo>
                  <a:pt x="10586" y="8349"/>
                  <a:pt x="10712" y="8034"/>
                  <a:pt x="10712" y="7624"/>
                </a:cubicBezTo>
                <a:cubicBezTo>
                  <a:pt x="10712" y="6868"/>
                  <a:pt x="10082" y="6238"/>
                  <a:pt x="9357" y="6238"/>
                </a:cubicBezTo>
                <a:cubicBezTo>
                  <a:pt x="8601" y="6238"/>
                  <a:pt x="7971" y="6868"/>
                  <a:pt x="7971" y="7624"/>
                </a:cubicBezTo>
                <a:cubicBezTo>
                  <a:pt x="7971" y="7971"/>
                  <a:pt x="8097" y="8286"/>
                  <a:pt x="8318" y="8569"/>
                </a:cubicBezTo>
                <a:cubicBezTo>
                  <a:pt x="8160" y="8664"/>
                  <a:pt x="8034" y="8727"/>
                  <a:pt x="7877" y="8822"/>
                </a:cubicBezTo>
                <a:lnTo>
                  <a:pt x="6207" y="7152"/>
                </a:lnTo>
                <a:lnTo>
                  <a:pt x="6207" y="5577"/>
                </a:lnTo>
                <a:lnTo>
                  <a:pt x="7940" y="5577"/>
                </a:lnTo>
                <a:cubicBezTo>
                  <a:pt x="8129" y="5577"/>
                  <a:pt x="8286" y="5419"/>
                  <a:pt x="8286" y="5230"/>
                </a:cubicBezTo>
                <a:lnTo>
                  <a:pt x="8286" y="4505"/>
                </a:lnTo>
                <a:cubicBezTo>
                  <a:pt x="8286" y="3529"/>
                  <a:pt x="7688" y="2710"/>
                  <a:pt x="6900" y="2300"/>
                </a:cubicBezTo>
                <a:cubicBezTo>
                  <a:pt x="7152" y="2080"/>
                  <a:pt x="7246" y="1764"/>
                  <a:pt x="7246" y="1355"/>
                </a:cubicBezTo>
                <a:cubicBezTo>
                  <a:pt x="7246" y="630"/>
                  <a:pt x="6616"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58" name="Google Shape;6858;p73"/>
          <p:cNvGrpSpPr/>
          <p:nvPr/>
        </p:nvGrpSpPr>
        <p:grpSpPr>
          <a:xfrm>
            <a:off x="9459600" y="2043546"/>
            <a:ext cx="412689" cy="464095"/>
            <a:chOff x="2523000" y="1954875"/>
            <a:chExt cx="262325" cy="295000"/>
          </a:xfrm>
        </p:grpSpPr>
        <p:sp>
          <p:nvSpPr>
            <p:cNvPr id="6859" name="Google Shape;6859;p73"/>
            <p:cNvSpPr/>
            <p:nvPr/>
          </p:nvSpPr>
          <p:spPr>
            <a:xfrm>
              <a:off x="2523000" y="1954875"/>
              <a:ext cx="262325" cy="295000"/>
            </a:xfrm>
            <a:custGeom>
              <a:avLst/>
              <a:gdLst/>
              <a:ahLst/>
              <a:cxnLst/>
              <a:rect l="l" t="t" r="r" b="b"/>
              <a:pathLst>
                <a:path w="10493" h="11800" extrusionOk="0">
                  <a:moveTo>
                    <a:pt x="5294" y="709"/>
                  </a:moveTo>
                  <a:cubicBezTo>
                    <a:pt x="6350" y="1316"/>
                    <a:pt x="7422" y="1602"/>
                    <a:pt x="8487" y="1602"/>
                  </a:cubicBezTo>
                  <a:cubicBezTo>
                    <a:pt x="8915" y="1602"/>
                    <a:pt x="9343" y="1556"/>
                    <a:pt x="9767" y="1465"/>
                  </a:cubicBezTo>
                  <a:lnTo>
                    <a:pt x="9767" y="5026"/>
                  </a:lnTo>
                  <a:cubicBezTo>
                    <a:pt x="9767" y="7798"/>
                    <a:pt x="7940" y="10287"/>
                    <a:pt x="5294" y="11137"/>
                  </a:cubicBezTo>
                  <a:cubicBezTo>
                    <a:pt x="2647" y="10350"/>
                    <a:pt x="789" y="7798"/>
                    <a:pt x="789" y="5026"/>
                  </a:cubicBezTo>
                  <a:lnTo>
                    <a:pt x="789" y="1465"/>
                  </a:lnTo>
                  <a:cubicBezTo>
                    <a:pt x="1222" y="1556"/>
                    <a:pt x="1654" y="1602"/>
                    <a:pt x="2084" y="1602"/>
                  </a:cubicBezTo>
                  <a:cubicBezTo>
                    <a:pt x="3153" y="1602"/>
                    <a:pt x="4215" y="1316"/>
                    <a:pt x="5294" y="709"/>
                  </a:cubicBezTo>
                  <a:close/>
                  <a:moveTo>
                    <a:pt x="5266" y="0"/>
                  </a:moveTo>
                  <a:cubicBezTo>
                    <a:pt x="5207" y="0"/>
                    <a:pt x="5152" y="16"/>
                    <a:pt x="5105" y="48"/>
                  </a:cubicBezTo>
                  <a:cubicBezTo>
                    <a:pt x="4065" y="646"/>
                    <a:pt x="3057" y="930"/>
                    <a:pt x="2017" y="930"/>
                  </a:cubicBezTo>
                  <a:cubicBezTo>
                    <a:pt x="1513" y="930"/>
                    <a:pt x="1009" y="835"/>
                    <a:pt x="473" y="678"/>
                  </a:cubicBezTo>
                  <a:cubicBezTo>
                    <a:pt x="440" y="669"/>
                    <a:pt x="408" y="665"/>
                    <a:pt x="378" y="665"/>
                  </a:cubicBezTo>
                  <a:cubicBezTo>
                    <a:pt x="297" y="665"/>
                    <a:pt x="228" y="695"/>
                    <a:pt x="158" y="741"/>
                  </a:cubicBezTo>
                  <a:cubicBezTo>
                    <a:pt x="95" y="804"/>
                    <a:pt x="1" y="898"/>
                    <a:pt x="1" y="993"/>
                  </a:cubicBezTo>
                  <a:lnTo>
                    <a:pt x="1" y="4994"/>
                  </a:lnTo>
                  <a:cubicBezTo>
                    <a:pt x="127" y="8176"/>
                    <a:pt x="2206" y="10917"/>
                    <a:pt x="5199" y="11799"/>
                  </a:cubicBezTo>
                  <a:lnTo>
                    <a:pt x="5357" y="11799"/>
                  </a:lnTo>
                  <a:cubicBezTo>
                    <a:pt x="8350" y="10917"/>
                    <a:pt x="10492" y="8176"/>
                    <a:pt x="10492" y="5026"/>
                  </a:cubicBezTo>
                  <a:lnTo>
                    <a:pt x="10492" y="1056"/>
                  </a:lnTo>
                  <a:cubicBezTo>
                    <a:pt x="10492" y="930"/>
                    <a:pt x="10429" y="835"/>
                    <a:pt x="10335" y="772"/>
                  </a:cubicBezTo>
                  <a:cubicBezTo>
                    <a:pt x="10282" y="720"/>
                    <a:pt x="10230" y="697"/>
                    <a:pt x="10173" y="697"/>
                  </a:cubicBezTo>
                  <a:cubicBezTo>
                    <a:pt x="10126" y="697"/>
                    <a:pt x="10076" y="713"/>
                    <a:pt x="10019" y="741"/>
                  </a:cubicBezTo>
                  <a:cubicBezTo>
                    <a:pt x="9509" y="876"/>
                    <a:pt x="9006" y="946"/>
                    <a:pt x="8504" y="946"/>
                  </a:cubicBezTo>
                  <a:cubicBezTo>
                    <a:pt x="7490" y="946"/>
                    <a:pt x="6485" y="659"/>
                    <a:pt x="5451" y="48"/>
                  </a:cubicBezTo>
                  <a:cubicBezTo>
                    <a:pt x="5388" y="16"/>
                    <a:pt x="5325" y="0"/>
                    <a:pt x="52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0" name="Google Shape;6860;p73"/>
            <p:cNvSpPr/>
            <p:nvPr/>
          </p:nvSpPr>
          <p:spPr>
            <a:xfrm>
              <a:off x="2595475" y="2024575"/>
              <a:ext cx="122100" cy="138650"/>
            </a:xfrm>
            <a:custGeom>
              <a:avLst/>
              <a:gdLst/>
              <a:ahLst/>
              <a:cxnLst/>
              <a:rect l="l" t="t" r="r" b="b"/>
              <a:pathLst>
                <a:path w="4884" h="5546" extrusionOk="0">
                  <a:moveTo>
                    <a:pt x="2426" y="694"/>
                  </a:moveTo>
                  <a:cubicBezTo>
                    <a:pt x="2836" y="694"/>
                    <a:pt x="3151" y="1009"/>
                    <a:pt x="3151" y="1418"/>
                  </a:cubicBezTo>
                  <a:cubicBezTo>
                    <a:pt x="3151" y="1796"/>
                    <a:pt x="2836" y="2111"/>
                    <a:pt x="2426" y="2111"/>
                  </a:cubicBezTo>
                  <a:cubicBezTo>
                    <a:pt x="2048" y="2111"/>
                    <a:pt x="1733" y="1796"/>
                    <a:pt x="1733" y="1418"/>
                  </a:cubicBezTo>
                  <a:cubicBezTo>
                    <a:pt x="1733" y="1009"/>
                    <a:pt x="2048" y="694"/>
                    <a:pt x="2426" y="694"/>
                  </a:cubicBezTo>
                  <a:close/>
                  <a:moveTo>
                    <a:pt x="2426" y="2742"/>
                  </a:moveTo>
                  <a:cubicBezTo>
                    <a:pt x="3371" y="2742"/>
                    <a:pt x="4159" y="3529"/>
                    <a:pt x="4159" y="4474"/>
                  </a:cubicBezTo>
                  <a:lnTo>
                    <a:pt x="4159" y="4821"/>
                  </a:lnTo>
                  <a:lnTo>
                    <a:pt x="693" y="4821"/>
                  </a:lnTo>
                  <a:lnTo>
                    <a:pt x="693" y="4474"/>
                  </a:lnTo>
                  <a:cubicBezTo>
                    <a:pt x="693" y="3529"/>
                    <a:pt x="1481" y="2742"/>
                    <a:pt x="2426" y="2742"/>
                  </a:cubicBezTo>
                  <a:close/>
                  <a:moveTo>
                    <a:pt x="2458" y="1"/>
                  </a:moveTo>
                  <a:cubicBezTo>
                    <a:pt x="1733" y="1"/>
                    <a:pt x="1103" y="599"/>
                    <a:pt x="1103" y="1355"/>
                  </a:cubicBezTo>
                  <a:cubicBezTo>
                    <a:pt x="1103" y="1733"/>
                    <a:pt x="1198" y="2048"/>
                    <a:pt x="1450" y="2269"/>
                  </a:cubicBezTo>
                  <a:cubicBezTo>
                    <a:pt x="630" y="2647"/>
                    <a:pt x="63" y="3498"/>
                    <a:pt x="63" y="4474"/>
                  </a:cubicBezTo>
                  <a:lnTo>
                    <a:pt x="63" y="5199"/>
                  </a:lnTo>
                  <a:cubicBezTo>
                    <a:pt x="0" y="5388"/>
                    <a:pt x="158" y="5546"/>
                    <a:pt x="347" y="5546"/>
                  </a:cubicBezTo>
                  <a:lnTo>
                    <a:pt x="4506" y="5546"/>
                  </a:lnTo>
                  <a:cubicBezTo>
                    <a:pt x="4726" y="5546"/>
                    <a:pt x="4884" y="5388"/>
                    <a:pt x="4884" y="5199"/>
                  </a:cubicBezTo>
                  <a:lnTo>
                    <a:pt x="4884" y="4474"/>
                  </a:lnTo>
                  <a:cubicBezTo>
                    <a:pt x="4884" y="3498"/>
                    <a:pt x="4317" y="2647"/>
                    <a:pt x="3497" y="2269"/>
                  </a:cubicBezTo>
                  <a:cubicBezTo>
                    <a:pt x="3718" y="2048"/>
                    <a:pt x="3844" y="1702"/>
                    <a:pt x="3844" y="1355"/>
                  </a:cubicBezTo>
                  <a:cubicBezTo>
                    <a:pt x="3844" y="599"/>
                    <a:pt x="3214" y="1"/>
                    <a:pt x="2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61" name="Google Shape;6861;p73"/>
          <p:cNvGrpSpPr/>
          <p:nvPr/>
        </p:nvGrpSpPr>
        <p:grpSpPr>
          <a:xfrm>
            <a:off x="9431734" y="2645233"/>
            <a:ext cx="468420" cy="464723"/>
            <a:chOff x="2508825" y="2318350"/>
            <a:chExt cx="297750" cy="295400"/>
          </a:xfrm>
        </p:grpSpPr>
        <p:sp>
          <p:nvSpPr>
            <p:cNvPr id="6862" name="Google Shape;6862;p73"/>
            <p:cNvSpPr/>
            <p:nvPr/>
          </p:nvSpPr>
          <p:spPr>
            <a:xfrm>
              <a:off x="2508825" y="2318350"/>
              <a:ext cx="297750" cy="295400"/>
            </a:xfrm>
            <a:custGeom>
              <a:avLst/>
              <a:gdLst/>
              <a:ahLst/>
              <a:cxnLst/>
              <a:rect l="l" t="t" r="r" b="b"/>
              <a:pathLst>
                <a:path w="11910" h="11816" extrusionOk="0">
                  <a:moveTo>
                    <a:pt x="5892" y="694"/>
                  </a:moveTo>
                  <a:cubicBezTo>
                    <a:pt x="7625" y="694"/>
                    <a:pt x="9043" y="2112"/>
                    <a:pt x="9043" y="3845"/>
                  </a:cubicBezTo>
                  <a:cubicBezTo>
                    <a:pt x="9043" y="5483"/>
                    <a:pt x="7751" y="6838"/>
                    <a:pt x="6081" y="6932"/>
                  </a:cubicBezTo>
                  <a:cubicBezTo>
                    <a:pt x="6018" y="6932"/>
                    <a:pt x="5987" y="6901"/>
                    <a:pt x="5924" y="6869"/>
                  </a:cubicBezTo>
                  <a:lnTo>
                    <a:pt x="5766" y="6711"/>
                  </a:lnTo>
                  <a:cubicBezTo>
                    <a:pt x="5297" y="6298"/>
                    <a:pt x="4683" y="6101"/>
                    <a:pt x="4072" y="6101"/>
                  </a:cubicBezTo>
                  <a:cubicBezTo>
                    <a:pt x="3985" y="6101"/>
                    <a:pt x="3899" y="6105"/>
                    <a:pt x="3813" y="6113"/>
                  </a:cubicBezTo>
                  <a:cubicBezTo>
                    <a:pt x="3151" y="5577"/>
                    <a:pt x="2773" y="4727"/>
                    <a:pt x="2773" y="3845"/>
                  </a:cubicBezTo>
                  <a:cubicBezTo>
                    <a:pt x="2773" y="2112"/>
                    <a:pt x="4191" y="694"/>
                    <a:pt x="5892" y="694"/>
                  </a:cubicBezTo>
                  <a:close/>
                  <a:moveTo>
                    <a:pt x="4171" y="6822"/>
                  </a:moveTo>
                  <a:cubicBezTo>
                    <a:pt x="4577" y="6822"/>
                    <a:pt x="4979" y="6964"/>
                    <a:pt x="5294" y="7247"/>
                  </a:cubicBezTo>
                  <a:cubicBezTo>
                    <a:pt x="5420" y="7373"/>
                    <a:pt x="5735" y="7657"/>
                    <a:pt x="5892" y="7657"/>
                  </a:cubicBezTo>
                  <a:lnTo>
                    <a:pt x="7972" y="7657"/>
                  </a:lnTo>
                  <a:cubicBezTo>
                    <a:pt x="8192" y="7657"/>
                    <a:pt x="8350" y="7814"/>
                    <a:pt x="8350" y="8003"/>
                  </a:cubicBezTo>
                  <a:cubicBezTo>
                    <a:pt x="8350" y="8192"/>
                    <a:pt x="8192" y="8350"/>
                    <a:pt x="7972" y="8350"/>
                  </a:cubicBezTo>
                  <a:lnTo>
                    <a:pt x="5514" y="8350"/>
                  </a:lnTo>
                  <a:cubicBezTo>
                    <a:pt x="5294" y="8350"/>
                    <a:pt x="5136" y="8507"/>
                    <a:pt x="5136" y="8728"/>
                  </a:cubicBezTo>
                  <a:cubicBezTo>
                    <a:pt x="5136" y="8917"/>
                    <a:pt x="5294" y="9074"/>
                    <a:pt x="5514" y="9074"/>
                  </a:cubicBezTo>
                  <a:lnTo>
                    <a:pt x="8224" y="9074"/>
                  </a:lnTo>
                  <a:cubicBezTo>
                    <a:pt x="8507" y="9074"/>
                    <a:pt x="8759" y="8948"/>
                    <a:pt x="8980" y="8759"/>
                  </a:cubicBezTo>
                  <a:lnTo>
                    <a:pt x="10492" y="7090"/>
                  </a:lnTo>
                  <a:cubicBezTo>
                    <a:pt x="10568" y="7033"/>
                    <a:pt x="10666" y="6987"/>
                    <a:pt x="10766" y="6987"/>
                  </a:cubicBezTo>
                  <a:cubicBezTo>
                    <a:pt x="10833" y="6987"/>
                    <a:pt x="10902" y="7008"/>
                    <a:pt x="10965" y="7058"/>
                  </a:cubicBezTo>
                  <a:cubicBezTo>
                    <a:pt x="11122" y="7184"/>
                    <a:pt x="11185" y="7373"/>
                    <a:pt x="11059" y="7531"/>
                  </a:cubicBezTo>
                  <a:lnTo>
                    <a:pt x="9389" y="9767"/>
                  </a:lnTo>
                  <a:cubicBezTo>
                    <a:pt x="9074" y="10209"/>
                    <a:pt x="8570" y="10492"/>
                    <a:pt x="8035" y="10492"/>
                  </a:cubicBezTo>
                  <a:lnTo>
                    <a:pt x="2773" y="10492"/>
                  </a:lnTo>
                  <a:lnTo>
                    <a:pt x="2773" y="7468"/>
                  </a:lnTo>
                  <a:lnTo>
                    <a:pt x="3025" y="7247"/>
                  </a:lnTo>
                  <a:cubicBezTo>
                    <a:pt x="3356" y="6964"/>
                    <a:pt x="3766" y="6822"/>
                    <a:pt x="4171" y="6822"/>
                  </a:cubicBezTo>
                  <a:close/>
                  <a:moveTo>
                    <a:pt x="1734" y="6932"/>
                  </a:moveTo>
                  <a:cubicBezTo>
                    <a:pt x="1923" y="6932"/>
                    <a:pt x="2080" y="7090"/>
                    <a:pt x="2080" y="7310"/>
                  </a:cubicBezTo>
                  <a:lnTo>
                    <a:pt x="2080" y="10807"/>
                  </a:lnTo>
                  <a:cubicBezTo>
                    <a:pt x="2080" y="10996"/>
                    <a:pt x="1923" y="11154"/>
                    <a:pt x="1734" y="11154"/>
                  </a:cubicBezTo>
                  <a:lnTo>
                    <a:pt x="662" y="11154"/>
                  </a:lnTo>
                  <a:lnTo>
                    <a:pt x="662" y="6932"/>
                  </a:lnTo>
                  <a:close/>
                  <a:moveTo>
                    <a:pt x="5924" y="1"/>
                  </a:moveTo>
                  <a:cubicBezTo>
                    <a:pt x="3844" y="1"/>
                    <a:pt x="2112" y="1734"/>
                    <a:pt x="2112" y="3845"/>
                  </a:cubicBezTo>
                  <a:cubicBezTo>
                    <a:pt x="2112" y="4790"/>
                    <a:pt x="2458" y="5672"/>
                    <a:pt x="3088" y="6396"/>
                  </a:cubicBezTo>
                  <a:cubicBezTo>
                    <a:pt x="2931" y="6459"/>
                    <a:pt x="2773" y="6585"/>
                    <a:pt x="2616" y="6711"/>
                  </a:cubicBezTo>
                  <a:cubicBezTo>
                    <a:pt x="2427" y="6428"/>
                    <a:pt x="2112" y="6270"/>
                    <a:pt x="1765" y="6270"/>
                  </a:cubicBezTo>
                  <a:lnTo>
                    <a:pt x="347" y="6270"/>
                  </a:lnTo>
                  <a:cubicBezTo>
                    <a:pt x="158" y="6270"/>
                    <a:pt x="1" y="6428"/>
                    <a:pt x="1" y="6585"/>
                  </a:cubicBezTo>
                  <a:lnTo>
                    <a:pt x="1" y="11469"/>
                  </a:lnTo>
                  <a:cubicBezTo>
                    <a:pt x="1" y="11658"/>
                    <a:pt x="158" y="11815"/>
                    <a:pt x="347" y="11815"/>
                  </a:cubicBezTo>
                  <a:lnTo>
                    <a:pt x="1765" y="11815"/>
                  </a:lnTo>
                  <a:cubicBezTo>
                    <a:pt x="2238" y="11815"/>
                    <a:pt x="2584" y="11563"/>
                    <a:pt x="2742" y="11122"/>
                  </a:cubicBezTo>
                  <a:lnTo>
                    <a:pt x="8035" y="11122"/>
                  </a:lnTo>
                  <a:cubicBezTo>
                    <a:pt x="8759" y="11122"/>
                    <a:pt x="9515" y="10776"/>
                    <a:pt x="9956" y="10146"/>
                  </a:cubicBezTo>
                  <a:lnTo>
                    <a:pt x="11595" y="7877"/>
                  </a:lnTo>
                  <a:cubicBezTo>
                    <a:pt x="11910" y="7468"/>
                    <a:pt x="11878" y="6838"/>
                    <a:pt x="11437" y="6459"/>
                  </a:cubicBezTo>
                  <a:cubicBezTo>
                    <a:pt x="11249" y="6301"/>
                    <a:pt x="11015" y="6221"/>
                    <a:pt x="10780" y="6221"/>
                  </a:cubicBezTo>
                  <a:cubicBezTo>
                    <a:pt x="10503" y="6221"/>
                    <a:pt x="10224" y="6332"/>
                    <a:pt x="10019" y="6554"/>
                  </a:cubicBezTo>
                  <a:lnTo>
                    <a:pt x="9011" y="7657"/>
                  </a:lnTo>
                  <a:cubicBezTo>
                    <a:pt x="8885" y="7247"/>
                    <a:pt x="8539" y="6932"/>
                    <a:pt x="8098" y="6932"/>
                  </a:cubicBezTo>
                  <a:cubicBezTo>
                    <a:pt x="8287" y="6838"/>
                    <a:pt x="8444" y="6680"/>
                    <a:pt x="8602" y="6522"/>
                  </a:cubicBezTo>
                  <a:cubicBezTo>
                    <a:pt x="9358" y="5798"/>
                    <a:pt x="9767" y="4821"/>
                    <a:pt x="9767" y="3845"/>
                  </a:cubicBezTo>
                  <a:cubicBezTo>
                    <a:pt x="9767" y="1734"/>
                    <a:pt x="8035" y="1"/>
                    <a:pt x="59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3" name="Google Shape;6863;p73"/>
            <p:cNvSpPr/>
            <p:nvPr/>
          </p:nvSpPr>
          <p:spPr>
            <a:xfrm>
              <a:off x="2629350" y="2353025"/>
              <a:ext cx="54350" cy="121300"/>
            </a:xfrm>
            <a:custGeom>
              <a:avLst/>
              <a:gdLst/>
              <a:ahLst/>
              <a:cxnLst/>
              <a:rect l="l" t="t" r="r" b="b"/>
              <a:pathLst>
                <a:path w="2174" h="4852" extrusionOk="0">
                  <a:moveTo>
                    <a:pt x="1071" y="0"/>
                  </a:moveTo>
                  <a:cubicBezTo>
                    <a:pt x="882" y="0"/>
                    <a:pt x="725" y="158"/>
                    <a:pt x="725" y="347"/>
                  </a:cubicBezTo>
                  <a:lnTo>
                    <a:pt x="725" y="756"/>
                  </a:lnTo>
                  <a:cubicBezTo>
                    <a:pt x="315" y="914"/>
                    <a:pt x="63" y="1292"/>
                    <a:pt x="63" y="1733"/>
                  </a:cubicBezTo>
                  <a:cubicBezTo>
                    <a:pt x="0" y="2332"/>
                    <a:pt x="473" y="2804"/>
                    <a:pt x="1071" y="2804"/>
                  </a:cubicBezTo>
                  <a:cubicBezTo>
                    <a:pt x="1260" y="2804"/>
                    <a:pt x="1418" y="2962"/>
                    <a:pt x="1418" y="3151"/>
                  </a:cubicBezTo>
                  <a:cubicBezTo>
                    <a:pt x="1418" y="3308"/>
                    <a:pt x="1355" y="3434"/>
                    <a:pt x="1229" y="3466"/>
                  </a:cubicBezTo>
                  <a:cubicBezTo>
                    <a:pt x="1185" y="3492"/>
                    <a:pt x="1140" y="3503"/>
                    <a:pt x="1093" y="3503"/>
                  </a:cubicBezTo>
                  <a:cubicBezTo>
                    <a:pt x="970" y="3503"/>
                    <a:pt x="839" y="3422"/>
                    <a:pt x="725" y="3308"/>
                  </a:cubicBezTo>
                  <a:cubicBezTo>
                    <a:pt x="662" y="3245"/>
                    <a:pt x="575" y="3214"/>
                    <a:pt x="488" y="3214"/>
                  </a:cubicBezTo>
                  <a:cubicBezTo>
                    <a:pt x="402" y="3214"/>
                    <a:pt x="315" y="3245"/>
                    <a:pt x="252" y="3308"/>
                  </a:cubicBezTo>
                  <a:cubicBezTo>
                    <a:pt x="126" y="3434"/>
                    <a:pt x="126" y="3655"/>
                    <a:pt x="252" y="3781"/>
                  </a:cubicBezTo>
                  <a:cubicBezTo>
                    <a:pt x="410" y="3938"/>
                    <a:pt x="567" y="4064"/>
                    <a:pt x="756" y="4096"/>
                  </a:cubicBezTo>
                  <a:lnTo>
                    <a:pt x="756" y="4505"/>
                  </a:lnTo>
                  <a:cubicBezTo>
                    <a:pt x="756" y="4694"/>
                    <a:pt x="914" y="4852"/>
                    <a:pt x="1103" y="4852"/>
                  </a:cubicBezTo>
                  <a:cubicBezTo>
                    <a:pt x="1323" y="4852"/>
                    <a:pt x="1481" y="4694"/>
                    <a:pt x="1481" y="4505"/>
                  </a:cubicBezTo>
                  <a:lnTo>
                    <a:pt x="1481" y="4096"/>
                  </a:lnTo>
                  <a:cubicBezTo>
                    <a:pt x="1481" y="4096"/>
                    <a:pt x="1512" y="4096"/>
                    <a:pt x="1512" y="4064"/>
                  </a:cubicBezTo>
                  <a:cubicBezTo>
                    <a:pt x="1890" y="3907"/>
                    <a:pt x="2142" y="3497"/>
                    <a:pt x="2142" y="3119"/>
                  </a:cubicBezTo>
                  <a:cubicBezTo>
                    <a:pt x="2142" y="2521"/>
                    <a:pt x="1670" y="2079"/>
                    <a:pt x="1103" y="2079"/>
                  </a:cubicBezTo>
                  <a:cubicBezTo>
                    <a:pt x="914" y="2079"/>
                    <a:pt x="756" y="1922"/>
                    <a:pt x="756" y="1733"/>
                  </a:cubicBezTo>
                  <a:cubicBezTo>
                    <a:pt x="756" y="1575"/>
                    <a:pt x="851" y="1449"/>
                    <a:pt x="1008" y="1418"/>
                  </a:cubicBezTo>
                  <a:cubicBezTo>
                    <a:pt x="1047" y="1405"/>
                    <a:pt x="1085" y="1399"/>
                    <a:pt x="1124" y="1399"/>
                  </a:cubicBezTo>
                  <a:cubicBezTo>
                    <a:pt x="1273" y="1399"/>
                    <a:pt x="1418" y="1494"/>
                    <a:pt x="1544" y="1670"/>
                  </a:cubicBezTo>
                  <a:cubicBezTo>
                    <a:pt x="1610" y="1753"/>
                    <a:pt x="1703" y="1792"/>
                    <a:pt x="1795" y="1792"/>
                  </a:cubicBezTo>
                  <a:cubicBezTo>
                    <a:pt x="1876" y="1792"/>
                    <a:pt x="1957" y="1761"/>
                    <a:pt x="2016" y="1701"/>
                  </a:cubicBezTo>
                  <a:cubicBezTo>
                    <a:pt x="2174" y="1575"/>
                    <a:pt x="2174" y="1323"/>
                    <a:pt x="2048" y="1229"/>
                  </a:cubicBezTo>
                  <a:cubicBezTo>
                    <a:pt x="1859" y="977"/>
                    <a:pt x="1670" y="819"/>
                    <a:pt x="1418" y="756"/>
                  </a:cubicBezTo>
                  <a:lnTo>
                    <a:pt x="1418" y="347"/>
                  </a:ln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64" name="Google Shape;6864;p73"/>
          <p:cNvSpPr/>
          <p:nvPr/>
        </p:nvSpPr>
        <p:spPr>
          <a:xfrm>
            <a:off x="9432885" y="3233673"/>
            <a:ext cx="465943" cy="465903"/>
          </a:xfrm>
          <a:custGeom>
            <a:avLst/>
            <a:gdLst/>
            <a:ahLst/>
            <a:cxnLst/>
            <a:rect l="l" t="t" r="r" b="b"/>
            <a:pathLst>
              <a:path w="11847" h="11846" extrusionOk="0">
                <a:moveTo>
                  <a:pt x="10744" y="3718"/>
                </a:moveTo>
                <a:lnTo>
                  <a:pt x="10428" y="4348"/>
                </a:lnTo>
                <a:cubicBezTo>
                  <a:pt x="10397" y="4442"/>
                  <a:pt x="10397" y="4568"/>
                  <a:pt x="10428" y="4663"/>
                </a:cubicBezTo>
                <a:lnTo>
                  <a:pt x="10744" y="5293"/>
                </a:lnTo>
                <a:lnTo>
                  <a:pt x="9483" y="4915"/>
                </a:lnTo>
                <a:lnTo>
                  <a:pt x="9105" y="4505"/>
                </a:lnTo>
                <a:lnTo>
                  <a:pt x="9483" y="4127"/>
                </a:lnTo>
                <a:lnTo>
                  <a:pt x="10744" y="3718"/>
                </a:lnTo>
                <a:close/>
                <a:moveTo>
                  <a:pt x="4443" y="3497"/>
                </a:moveTo>
                <a:cubicBezTo>
                  <a:pt x="4884" y="3497"/>
                  <a:pt x="5262" y="3781"/>
                  <a:pt x="5419" y="4190"/>
                </a:cubicBezTo>
                <a:lnTo>
                  <a:pt x="4443" y="4190"/>
                </a:lnTo>
                <a:cubicBezTo>
                  <a:pt x="4253" y="4190"/>
                  <a:pt x="4096" y="4348"/>
                  <a:pt x="4096" y="4568"/>
                </a:cubicBezTo>
                <a:cubicBezTo>
                  <a:pt x="4096" y="4663"/>
                  <a:pt x="4253" y="4820"/>
                  <a:pt x="4443" y="4820"/>
                </a:cubicBezTo>
                <a:lnTo>
                  <a:pt x="5419" y="4820"/>
                </a:lnTo>
                <a:cubicBezTo>
                  <a:pt x="5262" y="5230"/>
                  <a:pt x="4915" y="5545"/>
                  <a:pt x="4443" y="5545"/>
                </a:cubicBezTo>
                <a:cubicBezTo>
                  <a:pt x="3844" y="5545"/>
                  <a:pt x="3434" y="5072"/>
                  <a:pt x="3434" y="4505"/>
                </a:cubicBezTo>
                <a:cubicBezTo>
                  <a:pt x="3434" y="3970"/>
                  <a:pt x="3907" y="3497"/>
                  <a:pt x="4443" y="3497"/>
                </a:cubicBezTo>
                <a:close/>
                <a:moveTo>
                  <a:pt x="4443" y="2080"/>
                </a:moveTo>
                <a:cubicBezTo>
                  <a:pt x="5671" y="2080"/>
                  <a:pt x="6679" y="2993"/>
                  <a:pt x="6837" y="4159"/>
                </a:cubicBezTo>
                <a:lnTo>
                  <a:pt x="6144" y="4159"/>
                </a:lnTo>
                <a:cubicBezTo>
                  <a:pt x="5986" y="3371"/>
                  <a:pt x="5262" y="2773"/>
                  <a:pt x="4443" y="2773"/>
                </a:cubicBezTo>
                <a:cubicBezTo>
                  <a:pt x="3497" y="2773"/>
                  <a:pt x="2710" y="3560"/>
                  <a:pt x="2710" y="4505"/>
                </a:cubicBezTo>
                <a:cubicBezTo>
                  <a:pt x="2710" y="5451"/>
                  <a:pt x="3497" y="6238"/>
                  <a:pt x="4443" y="6238"/>
                </a:cubicBezTo>
                <a:cubicBezTo>
                  <a:pt x="5262" y="6238"/>
                  <a:pt x="5986" y="5671"/>
                  <a:pt x="6144" y="4883"/>
                </a:cubicBezTo>
                <a:lnTo>
                  <a:pt x="6837" y="4883"/>
                </a:lnTo>
                <a:cubicBezTo>
                  <a:pt x="6679" y="6049"/>
                  <a:pt x="5671" y="6963"/>
                  <a:pt x="4443" y="6963"/>
                </a:cubicBezTo>
                <a:cubicBezTo>
                  <a:pt x="3119" y="6963"/>
                  <a:pt x="2017" y="5860"/>
                  <a:pt x="2017" y="4505"/>
                </a:cubicBezTo>
                <a:cubicBezTo>
                  <a:pt x="2017" y="3182"/>
                  <a:pt x="3119" y="2080"/>
                  <a:pt x="4443" y="2080"/>
                </a:cubicBezTo>
                <a:close/>
                <a:moveTo>
                  <a:pt x="4474" y="662"/>
                </a:moveTo>
                <a:cubicBezTo>
                  <a:pt x="6459" y="662"/>
                  <a:pt x="8097" y="2206"/>
                  <a:pt x="8255" y="4127"/>
                </a:cubicBezTo>
                <a:lnTo>
                  <a:pt x="7562" y="4127"/>
                </a:lnTo>
                <a:cubicBezTo>
                  <a:pt x="7372" y="2584"/>
                  <a:pt x="6049" y="1355"/>
                  <a:pt x="4443" y="1355"/>
                </a:cubicBezTo>
                <a:cubicBezTo>
                  <a:pt x="2710" y="1355"/>
                  <a:pt x="1324" y="2773"/>
                  <a:pt x="1324" y="4474"/>
                </a:cubicBezTo>
                <a:cubicBezTo>
                  <a:pt x="1324" y="6175"/>
                  <a:pt x="2741" y="7593"/>
                  <a:pt x="4443" y="7593"/>
                </a:cubicBezTo>
                <a:cubicBezTo>
                  <a:pt x="6049" y="7593"/>
                  <a:pt x="7372" y="6364"/>
                  <a:pt x="7562" y="4820"/>
                </a:cubicBezTo>
                <a:lnTo>
                  <a:pt x="8255" y="4820"/>
                </a:lnTo>
                <a:cubicBezTo>
                  <a:pt x="8097" y="6774"/>
                  <a:pt x="6459" y="8286"/>
                  <a:pt x="4474" y="8286"/>
                </a:cubicBezTo>
                <a:cubicBezTo>
                  <a:pt x="2395" y="8286"/>
                  <a:pt x="662" y="6616"/>
                  <a:pt x="662" y="4474"/>
                </a:cubicBezTo>
                <a:cubicBezTo>
                  <a:pt x="662" y="2363"/>
                  <a:pt x="2363" y="662"/>
                  <a:pt x="4474" y="662"/>
                </a:cubicBezTo>
                <a:close/>
                <a:moveTo>
                  <a:pt x="5734" y="8822"/>
                </a:moveTo>
                <a:lnTo>
                  <a:pt x="6049" y="9767"/>
                </a:lnTo>
                <a:lnTo>
                  <a:pt x="2836" y="9767"/>
                </a:lnTo>
                <a:lnTo>
                  <a:pt x="3151" y="8822"/>
                </a:lnTo>
                <a:cubicBezTo>
                  <a:pt x="3529" y="8916"/>
                  <a:pt x="4001" y="9011"/>
                  <a:pt x="4443" y="9011"/>
                </a:cubicBezTo>
                <a:cubicBezTo>
                  <a:pt x="4884" y="9011"/>
                  <a:pt x="5356" y="8916"/>
                  <a:pt x="5734" y="8822"/>
                </a:cubicBezTo>
                <a:close/>
                <a:moveTo>
                  <a:pt x="6522" y="10428"/>
                </a:moveTo>
                <a:cubicBezTo>
                  <a:pt x="6963" y="10428"/>
                  <a:pt x="7372" y="10680"/>
                  <a:pt x="7530" y="11121"/>
                </a:cubicBezTo>
                <a:lnTo>
                  <a:pt x="1418" y="11121"/>
                </a:lnTo>
                <a:cubicBezTo>
                  <a:pt x="1576" y="10743"/>
                  <a:pt x="1922" y="10428"/>
                  <a:pt x="2395" y="10428"/>
                </a:cubicBezTo>
                <a:close/>
                <a:moveTo>
                  <a:pt x="4474" y="0"/>
                </a:moveTo>
                <a:cubicBezTo>
                  <a:pt x="1985" y="0"/>
                  <a:pt x="0" y="1985"/>
                  <a:pt x="0" y="4474"/>
                </a:cubicBezTo>
                <a:cubicBezTo>
                  <a:pt x="0" y="6238"/>
                  <a:pt x="1040" y="7813"/>
                  <a:pt x="2552" y="8538"/>
                </a:cubicBezTo>
                <a:lnTo>
                  <a:pt x="2143" y="9767"/>
                </a:lnTo>
                <a:cubicBezTo>
                  <a:pt x="1324" y="9861"/>
                  <a:pt x="693" y="10586"/>
                  <a:pt x="693" y="11499"/>
                </a:cubicBezTo>
                <a:cubicBezTo>
                  <a:pt x="693" y="11688"/>
                  <a:pt x="851" y="11846"/>
                  <a:pt x="1040" y="11846"/>
                </a:cubicBezTo>
                <a:lnTo>
                  <a:pt x="7971" y="11846"/>
                </a:lnTo>
                <a:cubicBezTo>
                  <a:pt x="8192" y="11846"/>
                  <a:pt x="8349" y="11688"/>
                  <a:pt x="8349" y="11499"/>
                </a:cubicBezTo>
                <a:cubicBezTo>
                  <a:pt x="8349" y="10617"/>
                  <a:pt x="7719" y="9924"/>
                  <a:pt x="6900" y="9767"/>
                </a:cubicBezTo>
                <a:lnTo>
                  <a:pt x="6490" y="8538"/>
                </a:lnTo>
                <a:cubicBezTo>
                  <a:pt x="7782" y="7908"/>
                  <a:pt x="8727" y="6679"/>
                  <a:pt x="8979" y="5230"/>
                </a:cubicBezTo>
                <a:lnTo>
                  <a:pt x="9137" y="5388"/>
                </a:lnTo>
                <a:cubicBezTo>
                  <a:pt x="9168" y="5419"/>
                  <a:pt x="9200" y="5451"/>
                  <a:pt x="9263" y="5451"/>
                </a:cubicBezTo>
                <a:lnTo>
                  <a:pt x="11374" y="6175"/>
                </a:lnTo>
                <a:cubicBezTo>
                  <a:pt x="11403" y="6183"/>
                  <a:pt x="11435" y="6186"/>
                  <a:pt x="11466" y="6186"/>
                </a:cubicBezTo>
                <a:cubicBezTo>
                  <a:pt x="11569" y="6186"/>
                  <a:pt x="11672" y="6145"/>
                  <a:pt x="11720" y="6049"/>
                </a:cubicBezTo>
                <a:cubicBezTo>
                  <a:pt x="11815" y="5923"/>
                  <a:pt x="11846" y="5766"/>
                  <a:pt x="11783" y="5671"/>
                </a:cubicBezTo>
                <a:lnTo>
                  <a:pt x="11153" y="4442"/>
                </a:lnTo>
                <a:lnTo>
                  <a:pt x="11783" y="3214"/>
                </a:lnTo>
                <a:cubicBezTo>
                  <a:pt x="11815" y="3151"/>
                  <a:pt x="11783" y="2993"/>
                  <a:pt x="11689" y="2899"/>
                </a:cubicBezTo>
                <a:cubicBezTo>
                  <a:pt x="11641" y="2802"/>
                  <a:pt x="11519" y="2761"/>
                  <a:pt x="11422" y="2761"/>
                </a:cubicBezTo>
                <a:cubicBezTo>
                  <a:pt x="11392" y="2761"/>
                  <a:pt x="11364" y="2765"/>
                  <a:pt x="11342" y="2773"/>
                </a:cubicBezTo>
                <a:lnTo>
                  <a:pt x="9200" y="3497"/>
                </a:lnTo>
                <a:cubicBezTo>
                  <a:pt x="9168" y="3497"/>
                  <a:pt x="9105" y="3529"/>
                  <a:pt x="9105" y="3560"/>
                </a:cubicBezTo>
                <a:lnTo>
                  <a:pt x="8916" y="3718"/>
                </a:lnTo>
                <a:cubicBezTo>
                  <a:pt x="8570" y="1607"/>
                  <a:pt x="6742" y="0"/>
                  <a:pt x="44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65" name="Google Shape;6865;p73"/>
          <p:cNvGrpSpPr/>
          <p:nvPr/>
        </p:nvGrpSpPr>
        <p:grpSpPr>
          <a:xfrm>
            <a:off x="7663165" y="3863971"/>
            <a:ext cx="463465" cy="464684"/>
            <a:chOff x="4321150" y="1946600"/>
            <a:chExt cx="294600" cy="295375"/>
          </a:xfrm>
        </p:grpSpPr>
        <p:sp>
          <p:nvSpPr>
            <p:cNvPr id="6866" name="Google Shape;6866;p73"/>
            <p:cNvSpPr/>
            <p:nvPr/>
          </p:nvSpPr>
          <p:spPr>
            <a:xfrm>
              <a:off x="4321150" y="1946600"/>
              <a:ext cx="294600" cy="295375"/>
            </a:xfrm>
            <a:custGeom>
              <a:avLst/>
              <a:gdLst/>
              <a:ahLst/>
              <a:cxnLst/>
              <a:rect l="l" t="t" r="r" b="b"/>
              <a:pathLst>
                <a:path w="11784" h="11815" extrusionOk="0">
                  <a:moveTo>
                    <a:pt x="9043" y="662"/>
                  </a:moveTo>
                  <a:lnTo>
                    <a:pt x="9043" y="2080"/>
                  </a:lnTo>
                  <a:lnTo>
                    <a:pt x="2742" y="2080"/>
                  </a:lnTo>
                  <a:lnTo>
                    <a:pt x="2742" y="662"/>
                  </a:lnTo>
                  <a:close/>
                  <a:moveTo>
                    <a:pt x="10775" y="2742"/>
                  </a:moveTo>
                  <a:cubicBezTo>
                    <a:pt x="10996" y="2742"/>
                    <a:pt x="11153" y="2899"/>
                    <a:pt x="11153" y="3120"/>
                  </a:cubicBezTo>
                  <a:lnTo>
                    <a:pt x="11153" y="6554"/>
                  </a:lnTo>
                  <a:cubicBezTo>
                    <a:pt x="11153" y="6774"/>
                    <a:pt x="10996" y="6932"/>
                    <a:pt x="10775" y="6932"/>
                  </a:cubicBezTo>
                  <a:lnTo>
                    <a:pt x="9767" y="6932"/>
                  </a:lnTo>
                  <a:lnTo>
                    <a:pt x="9767" y="4474"/>
                  </a:lnTo>
                  <a:cubicBezTo>
                    <a:pt x="9767" y="4285"/>
                    <a:pt x="9610" y="4128"/>
                    <a:pt x="9421" y="4128"/>
                  </a:cubicBezTo>
                  <a:lnTo>
                    <a:pt x="2427" y="4128"/>
                  </a:lnTo>
                  <a:cubicBezTo>
                    <a:pt x="2238" y="4128"/>
                    <a:pt x="2080" y="4285"/>
                    <a:pt x="2080" y="4474"/>
                  </a:cubicBezTo>
                  <a:lnTo>
                    <a:pt x="2080" y="6932"/>
                  </a:lnTo>
                  <a:lnTo>
                    <a:pt x="1009" y="6932"/>
                  </a:lnTo>
                  <a:cubicBezTo>
                    <a:pt x="820" y="6932"/>
                    <a:pt x="662" y="6774"/>
                    <a:pt x="662" y="6554"/>
                  </a:cubicBezTo>
                  <a:lnTo>
                    <a:pt x="662" y="3120"/>
                  </a:lnTo>
                  <a:cubicBezTo>
                    <a:pt x="662" y="2899"/>
                    <a:pt x="820" y="2742"/>
                    <a:pt x="1009" y="2742"/>
                  </a:cubicBezTo>
                  <a:close/>
                  <a:moveTo>
                    <a:pt x="9011" y="4821"/>
                  </a:moveTo>
                  <a:lnTo>
                    <a:pt x="9011" y="11090"/>
                  </a:lnTo>
                  <a:lnTo>
                    <a:pt x="2710" y="11090"/>
                  </a:lnTo>
                  <a:lnTo>
                    <a:pt x="2710" y="4821"/>
                  </a:lnTo>
                  <a:close/>
                  <a:moveTo>
                    <a:pt x="2395" y="1"/>
                  </a:moveTo>
                  <a:cubicBezTo>
                    <a:pt x="2206" y="1"/>
                    <a:pt x="2049" y="158"/>
                    <a:pt x="2049" y="347"/>
                  </a:cubicBezTo>
                  <a:lnTo>
                    <a:pt x="2049" y="2112"/>
                  </a:lnTo>
                  <a:lnTo>
                    <a:pt x="1009" y="2112"/>
                  </a:lnTo>
                  <a:cubicBezTo>
                    <a:pt x="442" y="2112"/>
                    <a:pt x="1" y="2584"/>
                    <a:pt x="1" y="3151"/>
                  </a:cubicBezTo>
                  <a:lnTo>
                    <a:pt x="1" y="6617"/>
                  </a:lnTo>
                  <a:cubicBezTo>
                    <a:pt x="1" y="7215"/>
                    <a:pt x="473" y="7625"/>
                    <a:pt x="1009" y="7625"/>
                  </a:cubicBezTo>
                  <a:lnTo>
                    <a:pt x="2049" y="7625"/>
                  </a:lnTo>
                  <a:lnTo>
                    <a:pt x="2049" y="11468"/>
                  </a:lnTo>
                  <a:cubicBezTo>
                    <a:pt x="2049" y="11657"/>
                    <a:pt x="2206" y="11815"/>
                    <a:pt x="2395" y="11815"/>
                  </a:cubicBezTo>
                  <a:lnTo>
                    <a:pt x="9358" y="11815"/>
                  </a:lnTo>
                  <a:cubicBezTo>
                    <a:pt x="9578" y="11815"/>
                    <a:pt x="9736" y="11657"/>
                    <a:pt x="9736" y="11468"/>
                  </a:cubicBezTo>
                  <a:lnTo>
                    <a:pt x="9736" y="7625"/>
                  </a:lnTo>
                  <a:lnTo>
                    <a:pt x="10744" y="7625"/>
                  </a:lnTo>
                  <a:cubicBezTo>
                    <a:pt x="11343" y="7625"/>
                    <a:pt x="11784" y="7152"/>
                    <a:pt x="11784" y="6617"/>
                  </a:cubicBezTo>
                  <a:lnTo>
                    <a:pt x="11784" y="3151"/>
                  </a:lnTo>
                  <a:cubicBezTo>
                    <a:pt x="11784" y="2553"/>
                    <a:pt x="11311" y="2112"/>
                    <a:pt x="10744" y="2112"/>
                  </a:cubicBezTo>
                  <a:lnTo>
                    <a:pt x="9736" y="2112"/>
                  </a:lnTo>
                  <a:lnTo>
                    <a:pt x="9736" y="347"/>
                  </a:lnTo>
                  <a:cubicBezTo>
                    <a:pt x="9736" y="158"/>
                    <a:pt x="9578" y="1"/>
                    <a:pt x="93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7" name="Google Shape;6867;p73"/>
            <p:cNvSpPr/>
            <p:nvPr/>
          </p:nvSpPr>
          <p:spPr>
            <a:xfrm>
              <a:off x="4564525" y="2031675"/>
              <a:ext cx="17350" cy="18125"/>
            </a:xfrm>
            <a:custGeom>
              <a:avLst/>
              <a:gdLst/>
              <a:ahLst/>
              <a:cxnLst/>
              <a:rect l="l" t="t" r="r" b="b"/>
              <a:pathLst>
                <a:path w="694" h="725" extrusionOk="0">
                  <a:moveTo>
                    <a:pt x="347" y="0"/>
                  </a:moveTo>
                  <a:cubicBezTo>
                    <a:pt x="158" y="0"/>
                    <a:pt x="1" y="189"/>
                    <a:pt x="1" y="378"/>
                  </a:cubicBezTo>
                  <a:cubicBezTo>
                    <a:pt x="1" y="599"/>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68" name="Google Shape;6868;p73"/>
            <p:cNvSpPr/>
            <p:nvPr/>
          </p:nvSpPr>
          <p:spPr>
            <a:xfrm>
              <a:off x="4414100" y="2084450"/>
              <a:ext cx="106350" cy="122100"/>
            </a:xfrm>
            <a:custGeom>
              <a:avLst/>
              <a:gdLst/>
              <a:ahLst/>
              <a:cxnLst/>
              <a:rect l="l" t="t" r="r" b="b"/>
              <a:pathLst>
                <a:path w="4254" h="4884" extrusionOk="0">
                  <a:moveTo>
                    <a:pt x="2174" y="693"/>
                  </a:moveTo>
                  <a:cubicBezTo>
                    <a:pt x="2584" y="693"/>
                    <a:pt x="2899" y="1008"/>
                    <a:pt x="2899" y="1418"/>
                  </a:cubicBezTo>
                  <a:cubicBezTo>
                    <a:pt x="2899" y="1796"/>
                    <a:pt x="2584" y="2111"/>
                    <a:pt x="2174" y="2111"/>
                  </a:cubicBezTo>
                  <a:cubicBezTo>
                    <a:pt x="1796" y="2111"/>
                    <a:pt x="1481" y="1796"/>
                    <a:pt x="1481" y="1418"/>
                  </a:cubicBezTo>
                  <a:cubicBezTo>
                    <a:pt x="1481" y="1008"/>
                    <a:pt x="1796" y="693"/>
                    <a:pt x="2174" y="693"/>
                  </a:cubicBezTo>
                  <a:close/>
                  <a:moveTo>
                    <a:pt x="2174" y="2804"/>
                  </a:moveTo>
                  <a:cubicBezTo>
                    <a:pt x="2930" y="2804"/>
                    <a:pt x="3592" y="3403"/>
                    <a:pt x="3592" y="4190"/>
                  </a:cubicBezTo>
                  <a:lnTo>
                    <a:pt x="756" y="4190"/>
                  </a:lnTo>
                  <a:cubicBezTo>
                    <a:pt x="756" y="3403"/>
                    <a:pt x="1387" y="2804"/>
                    <a:pt x="2174" y="2804"/>
                  </a:cubicBezTo>
                  <a:close/>
                  <a:moveTo>
                    <a:pt x="2143" y="0"/>
                  </a:moveTo>
                  <a:cubicBezTo>
                    <a:pt x="1387" y="0"/>
                    <a:pt x="725" y="630"/>
                    <a:pt x="725" y="1386"/>
                  </a:cubicBezTo>
                  <a:cubicBezTo>
                    <a:pt x="725" y="1733"/>
                    <a:pt x="882" y="2079"/>
                    <a:pt x="1103" y="2331"/>
                  </a:cubicBezTo>
                  <a:cubicBezTo>
                    <a:pt x="473" y="2678"/>
                    <a:pt x="0" y="3340"/>
                    <a:pt x="0" y="4159"/>
                  </a:cubicBezTo>
                  <a:lnTo>
                    <a:pt x="0" y="4537"/>
                  </a:lnTo>
                  <a:cubicBezTo>
                    <a:pt x="63" y="4726"/>
                    <a:pt x="221" y="4883"/>
                    <a:pt x="410" y="4883"/>
                  </a:cubicBezTo>
                  <a:lnTo>
                    <a:pt x="3907" y="4883"/>
                  </a:lnTo>
                  <a:cubicBezTo>
                    <a:pt x="4127" y="4883"/>
                    <a:pt x="4253" y="4726"/>
                    <a:pt x="4253" y="4537"/>
                  </a:cubicBezTo>
                  <a:lnTo>
                    <a:pt x="4253" y="4159"/>
                  </a:lnTo>
                  <a:cubicBezTo>
                    <a:pt x="4253" y="3371"/>
                    <a:pt x="3844" y="2709"/>
                    <a:pt x="3151" y="2331"/>
                  </a:cubicBezTo>
                  <a:cubicBezTo>
                    <a:pt x="3403" y="2048"/>
                    <a:pt x="3560" y="1733"/>
                    <a:pt x="3560" y="1386"/>
                  </a:cubicBezTo>
                  <a:cubicBezTo>
                    <a:pt x="3560" y="599"/>
                    <a:pt x="2930"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69" name="Google Shape;6869;p73"/>
          <p:cNvSpPr/>
          <p:nvPr/>
        </p:nvSpPr>
        <p:spPr>
          <a:xfrm>
            <a:off x="7658667" y="4530747"/>
            <a:ext cx="472156" cy="434989"/>
          </a:xfrm>
          <a:custGeom>
            <a:avLst/>
            <a:gdLst/>
            <a:ahLst/>
            <a:cxnLst/>
            <a:rect l="l" t="t" r="r" b="b"/>
            <a:pathLst>
              <a:path w="12005" h="11060" extrusionOk="0">
                <a:moveTo>
                  <a:pt x="2049" y="2049"/>
                </a:moveTo>
                <a:cubicBezTo>
                  <a:pt x="2238" y="2049"/>
                  <a:pt x="2395" y="2206"/>
                  <a:pt x="2395" y="2395"/>
                </a:cubicBezTo>
                <a:cubicBezTo>
                  <a:pt x="2395" y="2584"/>
                  <a:pt x="2238" y="2742"/>
                  <a:pt x="2049" y="2742"/>
                </a:cubicBezTo>
                <a:cubicBezTo>
                  <a:pt x="1860" y="2742"/>
                  <a:pt x="1702" y="2584"/>
                  <a:pt x="1702" y="2395"/>
                </a:cubicBezTo>
                <a:cubicBezTo>
                  <a:pt x="1734" y="2206"/>
                  <a:pt x="1860" y="2049"/>
                  <a:pt x="2049" y="2049"/>
                </a:cubicBezTo>
                <a:close/>
                <a:moveTo>
                  <a:pt x="9736" y="2049"/>
                </a:moveTo>
                <a:cubicBezTo>
                  <a:pt x="9925" y="2049"/>
                  <a:pt x="10082" y="2206"/>
                  <a:pt x="10082" y="2395"/>
                </a:cubicBezTo>
                <a:cubicBezTo>
                  <a:pt x="10082" y="2584"/>
                  <a:pt x="9925" y="2742"/>
                  <a:pt x="9736" y="2742"/>
                </a:cubicBezTo>
                <a:cubicBezTo>
                  <a:pt x="9515" y="2742"/>
                  <a:pt x="9358" y="2584"/>
                  <a:pt x="9358" y="2395"/>
                </a:cubicBezTo>
                <a:cubicBezTo>
                  <a:pt x="9358" y="2206"/>
                  <a:pt x="9515" y="2049"/>
                  <a:pt x="9736" y="2049"/>
                </a:cubicBezTo>
                <a:close/>
                <a:moveTo>
                  <a:pt x="2049" y="3719"/>
                </a:moveTo>
                <a:lnTo>
                  <a:pt x="3151" y="5514"/>
                </a:lnTo>
                <a:lnTo>
                  <a:pt x="946" y="5514"/>
                </a:lnTo>
                <a:lnTo>
                  <a:pt x="2049" y="3719"/>
                </a:lnTo>
                <a:close/>
                <a:moveTo>
                  <a:pt x="9736" y="3719"/>
                </a:moveTo>
                <a:lnTo>
                  <a:pt x="10838" y="5514"/>
                </a:lnTo>
                <a:lnTo>
                  <a:pt x="8633" y="5514"/>
                </a:lnTo>
                <a:lnTo>
                  <a:pt x="9736" y="3719"/>
                </a:lnTo>
                <a:close/>
                <a:moveTo>
                  <a:pt x="3435" y="6207"/>
                </a:moveTo>
                <a:cubicBezTo>
                  <a:pt x="3466" y="6964"/>
                  <a:pt x="2836" y="7594"/>
                  <a:pt x="2049" y="7594"/>
                </a:cubicBezTo>
                <a:cubicBezTo>
                  <a:pt x="1292" y="7594"/>
                  <a:pt x="662" y="6964"/>
                  <a:pt x="662" y="6207"/>
                </a:cubicBezTo>
                <a:close/>
                <a:moveTo>
                  <a:pt x="11090" y="6207"/>
                </a:moveTo>
                <a:cubicBezTo>
                  <a:pt x="11090" y="6964"/>
                  <a:pt x="10460" y="7594"/>
                  <a:pt x="9736" y="7594"/>
                </a:cubicBezTo>
                <a:cubicBezTo>
                  <a:pt x="8980" y="7594"/>
                  <a:pt x="8350" y="6964"/>
                  <a:pt x="8350" y="6207"/>
                </a:cubicBezTo>
                <a:close/>
                <a:moveTo>
                  <a:pt x="5892" y="663"/>
                </a:moveTo>
                <a:cubicBezTo>
                  <a:pt x="6113" y="663"/>
                  <a:pt x="6270" y="820"/>
                  <a:pt x="6270" y="1009"/>
                </a:cubicBezTo>
                <a:lnTo>
                  <a:pt x="6270" y="8980"/>
                </a:lnTo>
                <a:lnTo>
                  <a:pt x="5546" y="8980"/>
                </a:lnTo>
                <a:lnTo>
                  <a:pt x="5546" y="1009"/>
                </a:lnTo>
                <a:cubicBezTo>
                  <a:pt x="5546" y="820"/>
                  <a:pt x="5703" y="663"/>
                  <a:pt x="5892" y="663"/>
                </a:cubicBezTo>
                <a:close/>
                <a:moveTo>
                  <a:pt x="8003" y="9673"/>
                </a:moveTo>
                <a:cubicBezTo>
                  <a:pt x="8192" y="9673"/>
                  <a:pt x="8350" y="9830"/>
                  <a:pt x="8350" y="10020"/>
                </a:cubicBezTo>
                <a:lnTo>
                  <a:pt x="8350" y="10398"/>
                </a:lnTo>
                <a:lnTo>
                  <a:pt x="3466" y="10398"/>
                </a:lnTo>
                <a:lnTo>
                  <a:pt x="3466" y="10020"/>
                </a:lnTo>
                <a:cubicBezTo>
                  <a:pt x="3466" y="9830"/>
                  <a:pt x="3624" y="9673"/>
                  <a:pt x="3813" y="9673"/>
                </a:cubicBezTo>
                <a:close/>
                <a:moveTo>
                  <a:pt x="5955" y="1"/>
                </a:moveTo>
                <a:cubicBezTo>
                  <a:pt x="5357" y="1"/>
                  <a:pt x="4916" y="474"/>
                  <a:pt x="4916" y="1009"/>
                </a:cubicBezTo>
                <a:lnTo>
                  <a:pt x="4916" y="1167"/>
                </a:lnTo>
                <a:cubicBezTo>
                  <a:pt x="3970" y="1671"/>
                  <a:pt x="3655" y="1891"/>
                  <a:pt x="3057" y="1954"/>
                </a:cubicBezTo>
                <a:cubicBezTo>
                  <a:pt x="2899" y="1608"/>
                  <a:pt x="2553" y="1324"/>
                  <a:pt x="2112" y="1324"/>
                </a:cubicBezTo>
                <a:cubicBezTo>
                  <a:pt x="1734" y="1324"/>
                  <a:pt x="1387" y="1576"/>
                  <a:pt x="1166" y="1923"/>
                </a:cubicBezTo>
                <a:cubicBezTo>
                  <a:pt x="946" y="1891"/>
                  <a:pt x="694" y="1797"/>
                  <a:pt x="505" y="1734"/>
                </a:cubicBezTo>
                <a:cubicBezTo>
                  <a:pt x="454" y="1708"/>
                  <a:pt x="404" y="1697"/>
                  <a:pt x="355" y="1697"/>
                </a:cubicBezTo>
                <a:cubicBezTo>
                  <a:pt x="224" y="1697"/>
                  <a:pt x="110" y="1784"/>
                  <a:pt x="64" y="1923"/>
                </a:cubicBezTo>
                <a:cubicBezTo>
                  <a:pt x="1" y="2112"/>
                  <a:pt x="64" y="2301"/>
                  <a:pt x="284" y="2364"/>
                </a:cubicBezTo>
                <a:cubicBezTo>
                  <a:pt x="536" y="2458"/>
                  <a:pt x="820" y="2553"/>
                  <a:pt x="1135" y="2616"/>
                </a:cubicBezTo>
                <a:cubicBezTo>
                  <a:pt x="1229" y="2899"/>
                  <a:pt x="1387" y="3151"/>
                  <a:pt x="1607" y="3277"/>
                </a:cubicBezTo>
                <a:lnTo>
                  <a:pt x="127" y="5703"/>
                </a:lnTo>
                <a:cubicBezTo>
                  <a:pt x="64" y="5735"/>
                  <a:pt x="64" y="5829"/>
                  <a:pt x="64" y="5892"/>
                </a:cubicBezTo>
                <a:lnTo>
                  <a:pt x="64" y="6239"/>
                </a:lnTo>
                <a:cubicBezTo>
                  <a:pt x="64" y="7405"/>
                  <a:pt x="1009" y="8350"/>
                  <a:pt x="2175" y="8350"/>
                </a:cubicBezTo>
                <a:cubicBezTo>
                  <a:pt x="3309" y="8350"/>
                  <a:pt x="4254" y="7405"/>
                  <a:pt x="4254" y="6239"/>
                </a:cubicBezTo>
                <a:lnTo>
                  <a:pt x="4254" y="5892"/>
                </a:lnTo>
                <a:cubicBezTo>
                  <a:pt x="4254" y="5829"/>
                  <a:pt x="4254" y="5766"/>
                  <a:pt x="4222" y="5703"/>
                </a:cubicBezTo>
                <a:lnTo>
                  <a:pt x="2710" y="3277"/>
                </a:lnTo>
                <a:cubicBezTo>
                  <a:pt x="2962" y="3183"/>
                  <a:pt x="3120" y="2931"/>
                  <a:pt x="3183" y="2647"/>
                </a:cubicBezTo>
                <a:cubicBezTo>
                  <a:pt x="3844" y="2553"/>
                  <a:pt x="4222" y="2332"/>
                  <a:pt x="4947" y="1954"/>
                </a:cubicBezTo>
                <a:lnTo>
                  <a:pt x="4947" y="8980"/>
                </a:lnTo>
                <a:lnTo>
                  <a:pt x="3939" y="8980"/>
                </a:lnTo>
                <a:cubicBezTo>
                  <a:pt x="3340" y="8980"/>
                  <a:pt x="2899" y="9421"/>
                  <a:pt x="2899" y="9988"/>
                </a:cubicBezTo>
                <a:lnTo>
                  <a:pt x="2899" y="10713"/>
                </a:lnTo>
                <a:cubicBezTo>
                  <a:pt x="2899" y="10902"/>
                  <a:pt x="3057" y="11059"/>
                  <a:pt x="3246" y="11059"/>
                </a:cubicBezTo>
                <a:lnTo>
                  <a:pt x="8822" y="11059"/>
                </a:lnTo>
                <a:cubicBezTo>
                  <a:pt x="9011" y="11059"/>
                  <a:pt x="9169" y="10902"/>
                  <a:pt x="9169" y="10713"/>
                </a:cubicBezTo>
                <a:lnTo>
                  <a:pt x="9169" y="9988"/>
                </a:lnTo>
                <a:cubicBezTo>
                  <a:pt x="9169" y="9389"/>
                  <a:pt x="8696" y="8980"/>
                  <a:pt x="8129" y="8980"/>
                </a:cubicBezTo>
                <a:lnTo>
                  <a:pt x="7089" y="8980"/>
                </a:lnTo>
                <a:lnTo>
                  <a:pt x="7089" y="1954"/>
                </a:lnTo>
                <a:cubicBezTo>
                  <a:pt x="7814" y="2332"/>
                  <a:pt x="8224" y="2553"/>
                  <a:pt x="8885" y="2647"/>
                </a:cubicBezTo>
                <a:cubicBezTo>
                  <a:pt x="8980" y="2931"/>
                  <a:pt x="9137" y="3120"/>
                  <a:pt x="9358" y="3277"/>
                </a:cubicBezTo>
                <a:lnTo>
                  <a:pt x="7877" y="5703"/>
                </a:lnTo>
                <a:cubicBezTo>
                  <a:pt x="7814" y="5735"/>
                  <a:pt x="7814" y="5829"/>
                  <a:pt x="7814" y="5892"/>
                </a:cubicBezTo>
                <a:lnTo>
                  <a:pt x="7814" y="6239"/>
                </a:lnTo>
                <a:cubicBezTo>
                  <a:pt x="7814" y="7405"/>
                  <a:pt x="8759" y="8350"/>
                  <a:pt x="9925" y="8350"/>
                </a:cubicBezTo>
                <a:cubicBezTo>
                  <a:pt x="11059" y="8350"/>
                  <a:pt x="12004" y="7405"/>
                  <a:pt x="12004" y="6239"/>
                </a:cubicBezTo>
                <a:lnTo>
                  <a:pt x="12004" y="5892"/>
                </a:lnTo>
                <a:cubicBezTo>
                  <a:pt x="12004" y="5829"/>
                  <a:pt x="12004" y="5766"/>
                  <a:pt x="11973" y="5703"/>
                </a:cubicBezTo>
                <a:lnTo>
                  <a:pt x="10460" y="3277"/>
                </a:lnTo>
                <a:cubicBezTo>
                  <a:pt x="10523" y="3151"/>
                  <a:pt x="10681" y="2899"/>
                  <a:pt x="10744" y="2616"/>
                </a:cubicBezTo>
                <a:cubicBezTo>
                  <a:pt x="11027" y="2553"/>
                  <a:pt x="11343" y="2458"/>
                  <a:pt x="11626" y="2364"/>
                </a:cubicBezTo>
                <a:cubicBezTo>
                  <a:pt x="11815" y="2269"/>
                  <a:pt x="11878" y="2080"/>
                  <a:pt x="11815" y="1923"/>
                </a:cubicBezTo>
                <a:cubicBezTo>
                  <a:pt x="11746" y="1784"/>
                  <a:pt x="11626" y="1697"/>
                  <a:pt x="11505" y="1697"/>
                </a:cubicBezTo>
                <a:cubicBezTo>
                  <a:pt x="11461" y="1697"/>
                  <a:pt x="11416" y="1708"/>
                  <a:pt x="11374" y="1734"/>
                </a:cubicBezTo>
                <a:cubicBezTo>
                  <a:pt x="11122" y="1797"/>
                  <a:pt x="10933" y="1891"/>
                  <a:pt x="10712" y="1923"/>
                </a:cubicBezTo>
                <a:cubicBezTo>
                  <a:pt x="10555" y="1576"/>
                  <a:pt x="10208" y="1324"/>
                  <a:pt x="9767" y="1324"/>
                </a:cubicBezTo>
                <a:cubicBezTo>
                  <a:pt x="9326" y="1324"/>
                  <a:pt x="8980" y="1576"/>
                  <a:pt x="8822" y="1954"/>
                </a:cubicBezTo>
                <a:cubicBezTo>
                  <a:pt x="8224" y="1828"/>
                  <a:pt x="7908" y="1639"/>
                  <a:pt x="6963" y="1167"/>
                </a:cubicBezTo>
                <a:lnTo>
                  <a:pt x="6963" y="1009"/>
                </a:lnTo>
                <a:cubicBezTo>
                  <a:pt x="6963" y="411"/>
                  <a:pt x="6491" y="1"/>
                  <a:pt x="595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0" name="Google Shape;6870;p73"/>
          <p:cNvSpPr/>
          <p:nvPr/>
        </p:nvSpPr>
        <p:spPr>
          <a:xfrm>
            <a:off x="7659296" y="5114967"/>
            <a:ext cx="470899" cy="464684"/>
          </a:xfrm>
          <a:custGeom>
            <a:avLst/>
            <a:gdLst/>
            <a:ahLst/>
            <a:cxnLst/>
            <a:rect l="l" t="t" r="r" b="b"/>
            <a:pathLst>
              <a:path w="11973" h="11815" extrusionOk="0">
                <a:moveTo>
                  <a:pt x="5986" y="631"/>
                </a:moveTo>
                <a:cubicBezTo>
                  <a:pt x="6396" y="631"/>
                  <a:pt x="6711" y="946"/>
                  <a:pt x="6711" y="1324"/>
                </a:cubicBezTo>
                <a:cubicBezTo>
                  <a:pt x="6711" y="1733"/>
                  <a:pt x="6396" y="2048"/>
                  <a:pt x="5986" y="2048"/>
                </a:cubicBezTo>
                <a:cubicBezTo>
                  <a:pt x="5608" y="2048"/>
                  <a:pt x="5293" y="1733"/>
                  <a:pt x="5293" y="1324"/>
                </a:cubicBezTo>
                <a:cubicBezTo>
                  <a:pt x="5293" y="946"/>
                  <a:pt x="5608" y="631"/>
                  <a:pt x="5986" y="631"/>
                </a:cubicBezTo>
                <a:close/>
                <a:moveTo>
                  <a:pt x="5986" y="2710"/>
                </a:moveTo>
                <a:cubicBezTo>
                  <a:pt x="6931" y="2710"/>
                  <a:pt x="7719" y="3498"/>
                  <a:pt x="7719" y="4443"/>
                </a:cubicBezTo>
                <a:lnTo>
                  <a:pt x="7719" y="4789"/>
                </a:lnTo>
                <a:lnTo>
                  <a:pt x="4253" y="4789"/>
                </a:lnTo>
                <a:lnTo>
                  <a:pt x="4253" y="4443"/>
                </a:lnTo>
                <a:cubicBezTo>
                  <a:pt x="4253" y="3498"/>
                  <a:pt x="5041" y="2710"/>
                  <a:pt x="5986" y="2710"/>
                </a:cubicBezTo>
                <a:close/>
                <a:moveTo>
                  <a:pt x="3245" y="6900"/>
                </a:moveTo>
                <a:cubicBezTo>
                  <a:pt x="3623" y="6900"/>
                  <a:pt x="3938" y="7215"/>
                  <a:pt x="3938" y="7593"/>
                </a:cubicBezTo>
                <a:cubicBezTo>
                  <a:pt x="3938" y="8003"/>
                  <a:pt x="3623" y="8318"/>
                  <a:pt x="3245" y="8318"/>
                </a:cubicBezTo>
                <a:cubicBezTo>
                  <a:pt x="2836" y="8255"/>
                  <a:pt x="2521" y="7940"/>
                  <a:pt x="2521" y="7593"/>
                </a:cubicBezTo>
                <a:cubicBezTo>
                  <a:pt x="2521" y="7215"/>
                  <a:pt x="2836" y="6900"/>
                  <a:pt x="3245" y="6900"/>
                </a:cubicBezTo>
                <a:close/>
                <a:moveTo>
                  <a:pt x="8759" y="6900"/>
                </a:moveTo>
                <a:cubicBezTo>
                  <a:pt x="9137" y="6900"/>
                  <a:pt x="9452" y="7215"/>
                  <a:pt x="9452" y="7593"/>
                </a:cubicBezTo>
                <a:cubicBezTo>
                  <a:pt x="9452" y="8003"/>
                  <a:pt x="9137" y="8318"/>
                  <a:pt x="8759" y="8318"/>
                </a:cubicBezTo>
                <a:cubicBezTo>
                  <a:pt x="8349" y="8318"/>
                  <a:pt x="8034" y="7940"/>
                  <a:pt x="8034" y="7593"/>
                </a:cubicBezTo>
                <a:cubicBezTo>
                  <a:pt x="8034" y="7215"/>
                  <a:pt x="8349" y="6900"/>
                  <a:pt x="8759" y="6900"/>
                </a:cubicBezTo>
                <a:close/>
                <a:moveTo>
                  <a:pt x="10365" y="5545"/>
                </a:moveTo>
                <a:cubicBezTo>
                  <a:pt x="10523" y="5545"/>
                  <a:pt x="10680" y="5672"/>
                  <a:pt x="10712" y="5829"/>
                </a:cubicBezTo>
                <a:lnTo>
                  <a:pt x="11216" y="8570"/>
                </a:lnTo>
                <a:cubicBezTo>
                  <a:pt x="11247" y="8790"/>
                  <a:pt x="11027" y="8980"/>
                  <a:pt x="10838" y="8980"/>
                </a:cubicBezTo>
                <a:lnTo>
                  <a:pt x="10460" y="8980"/>
                </a:lnTo>
                <a:cubicBezTo>
                  <a:pt x="10239" y="8790"/>
                  <a:pt x="10019" y="8633"/>
                  <a:pt x="9767" y="8507"/>
                </a:cubicBezTo>
                <a:cubicBezTo>
                  <a:pt x="10019" y="8255"/>
                  <a:pt x="10145" y="7940"/>
                  <a:pt x="10145" y="7562"/>
                </a:cubicBezTo>
                <a:cubicBezTo>
                  <a:pt x="10145" y="6806"/>
                  <a:pt x="9515" y="6176"/>
                  <a:pt x="8759" y="6176"/>
                </a:cubicBezTo>
                <a:cubicBezTo>
                  <a:pt x="8002" y="6176"/>
                  <a:pt x="7372" y="6806"/>
                  <a:pt x="7372" y="7562"/>
                </a:cubicBezTo>
                <a:cubicBezTo>
                  <a:pt x="7372" y="7908"/>
                  <a:pt x="7498" y="8223"/>
                  <a:pt x="7719" y="8507"/>
                </a:cubicBezTo>
                <a:cubicBezTo>
                  <a:pt x="7498" y="8633"/>
                  <a:pt x="7246" y="8790"/>
                  <a:pt x="7057" y="8980"/>
                </a:cubicBezTo>
                <a:lnTo>
                  <a:pt x="4883" y="8980"/>
                </a:lnTo>
                <a:cubicBezTo>
                  <a:pt x="4694" y="8790"/>
                  <a:pt x="4442" y="8633"/>
                  <a:pt x="4222" y="8507"/>
                </a:cubicBezTo>
                <a:cubicBezTo>
                  <a:pt x="4474" y="8255"/>
                  <a:pt x="4568" y="7940"/>
                  <a:pt x="4568" y="7562"/>
                </a:cubicBezTo>
                <a:cubicBezTo>
                  <a:pt x="4568" y="6806"/>
                  <a:pt x="3938" y="6176"/>
                  <a:pt x="3214" y="6176"/>
                </a:cubicBezTo>
                <a:cubicBezTo>
                  <a:pt x="2458" y="6176"/>
                  <a:pt x="1828" y="6806"/>
                  <a:pt x="1828" y="7562"/>
                </a:cubicBezTo>
                <a:cubicBezTo>
                  <a:pt x="1828" y="7908"/>
                  <a:pt x="1954" y="8223"/>
                  <a:pt x="2174" y="8507"/>
                </a:cubicBezTo>
                <a:cubicBezTo>
                  <a:pt x="1922" y="8633"/>
                  <a:pt x="1701" y="8790"/>
                  <a:pt x="1512" y="8980"/>
                </a:cubicBezTo>
                <a:lnTo>
                  <a:pt x="1103" y="8980"/>
                </a:lnTo>
                <a:cubicBezTo>
                  <a:pt x="882" y="8980"/>
                  <a:pt x="725" y="8790"/>
                  <a:pt x="756" y="8570"/>
                </a:cubicBezTo>
                <a:lnTo>
                  <a:pt x="1260" y="5829"/>
                </a:lnTo>
                <a:cubicBezTo>
                  <a:pt x="1323" y="5672"/>
                  <a:pt x="1418" y="5545"/>
                  <a:pt x="1638" y="5545"/>
                </a:cubicBezTo>
                <a:close/>
                <a:moveTo>
                  <a:pt x="3214" y="8948"/>
                </a:moveTo>
                <a:cubicBezTo>
                  <a:pt x="4127" y="8948"/>
                  <a:pt x="4915" y="9736"/>
                  <a:pt x="4915" y="10712"/>
                </a:cubicBezTo>
                <a:lnTo>
                  <a:pt x="4915" y="11059"/>
                </a:lnTo>
                <a:lnTo>
                  <a:pt x="1481" y="11059"/>
                </a:lnTo>
                <a:lnTo>
                  <a:pt x="1481" y="10712"/>
                </a:lnTo>
                <a:cubicBezTo>
                  <a:pt x="1481" y="9736"/>
                  <a:pt x="2269" y="8948"/>
                  <a:pt x="3214" y="8948"/>
                </a:cubicBezTo>
                <a:close/>
                <a:moveTo>
                  <a:pt x="8759" y="8948"/>
                </a:moveTo>
                <a:cubicBezTo>
                  <a:pt x="9704" y="8948"/>
                  <a:pt x="10491" y="9736"/>
                  <a:pt x="10491" y="10712"/>
                </a:cubicBezTo>
                <a:lnTo>
                  <a:pt x="10491" y="11059"/>
                </a:lnTo>
                <a:lnTo>
                  <a:pt x="7026" y="11059"/>
                </a:lnTo>
                <a:lnTo>
                  <a:pt x="7026" y="10712"/>
                </a:lnTo>
                <a:cubicBezTo>
                  <a:pt x="7026" y="9736"/>
                  <a:pt x="7813" y="8948"/>
                  <a:pt x="8759" y="8948"/>
                </a:cubicBezTo>
                <a:close/>
                <a:moveTo>
                  <a:pt x="5986" y="1"/>
                </a:moveTo>
                <a:cubicBezTo>
                  <a:pt x="5262" y="1"/>
                  <a:pt x="4631" y="631"/>
                  <a:pt x="4631" y="1387"/>
                </a:cubicBezTo>
                <a:cubicBezTo>
                  <a:pt x="4631" y="1733"/>
                  <a:pt x="4726" y="2048"/>
                  <a:pt x="4978" y="2269"/>
                </a:cubicBezTo>
                <a:cubicBezTo>
                  <a:pt x="4127" y="2679"/>
                  <a:pt x="3592" y="3498"/>
                  <a:pt x="3592" y="4474"/>
                </a:cubicBezTo>
                <a:lnTo>
                  <a:pt x="3592" y="4852"/>
                </a:lnTo>
                <a:lnTo>
                  <a:pt x="1670" y="4852"/>
                </a:lnTo>
                <a:cubicBezTo>
                  <a:pt x="1166" y="4852"/>
                  <a:pt x="725" y="5199"/>
                  <a:pt x="630" y="5703"/>
                </a:cubicBezTo>
                <a:lnTo>
                  <a:pt x="126" y="8475"/>
                </a:lnTo>
                <a:cubicBezTo>
                  <a:pt x="0" y="9043"/>
                  <a:pt x="473" y="9610"/>
                  <a:pt x="1071" y="9673"/>
                </a:cubicBezTo>
                <a:cubicBezTo>
                  <a:pt x="914" y="9988"/>
                  <a:pt x="819" y="10366"/>
                  <a:pt x="819" y="10744"/>
                </a:cubicBezTo>
                <a:lnTo>
                  <a:pt x="819" y="11468"/>
                </a:lnTo>
                <a:cubicBezTo>
                  <a:pt x="819" y="11657"/>
                  <a:pt x="977" y="11815"/>
                  <a:pt x="1197" y="11815"/>
                </a:cubicBezTo>
                <a:lnTo>
                  <a:pt x="5356" y="11815"/>
                </a:lnTo>
                <a:cubicBezTo>
                  <a:pt x="5545" y="11815"/>
                  <a:pt x="5703" y="11657"/>
                  <a:pt x="5703" y="11468"/>
                </a:cubicBezTo>
                <a:lnTo>
                  <a:pt x="5703" y="10744"/>
                </a:lnTo>
                <a:cubicBezTo>
                  <a:pt x="5703" y="10366"/>
                  <a:pt x="5640" y="9988"/>
                  <a:pt x="5482" y="9673"/>
                </a:cubicBezTo>
                <a:lnTo>
                  <a:pt x="6648" y="9673"/>
                </a:lnTo>
                <a:cubicBezTo>
                  <a:pt x="6490" y="9988"/>
                  <a:pt x="6427" y="10366"/>
                  <a:pt x="6427" y="10744"/>
                </a:cubicBezTo>
                <a:lnTo>
                  <a:pt x="6427" y="11468"/>
                </a:lnTo>
                <a:cubicBezTo>
                  <a:pt x="6427" y="11657"/>
                  <a:pt x="6585" y="11815"/>
                  <a:pt x="6774" y="11815"/>
                </a:cubicBezTo>
                <a:lnTo>
                  <a:pt x="10838" y="11815"/>
                </a:lnTo>
                <a:cubicBezTo>
                  <a:pt x="11027" y="11815"/>
                  <a:pt x="11184" y="11657"/>
                  <a:pt x="11184" y="11468"/>
                </a:cubicBezTo>
                <a:lnTo>
                  <a:pt x="11184" y="10744"/>
                </a:lnTo>
                <a:cubicBezTo>
                  <a:pt x="11184" y="10366"/>
                  <a:pt x="11121" y="9988"/>
                  <a:pt x="10964" y="9673"/>
                </a:cubicBezTo>
                <a:cubicBezTo>
                  <a:pt x="11563" y="9610"/>
                  <a:pt x="11972" y="9043"/>
                  <a:pt x="11878" y="8475"/>
                </a:cubicBezTo>
                <a:lnTo>
                  <a:pt x="11342" y="5703"/>
                </a:lnTo>
                <a:cubicBezTo>
                  <a:pt x="11279" y="5199"/>
                  <a:pt x="10838" y="4852"/>
                  <a:pt x="10334" y="4852"/>
                </a:cubicBezTo>
                <a:lnTo>
                  <a:pt x="8412" y="4852"/>
                </a:lnTo>
                <a:lnTo>
                  <a:pt x="8412" y="4474"/>
                </a:lnTo>
                <a:cubicBezTo>
                  <a:pt x="8412" y="3498"/>
                  <a:pt x="7845" y="2679"/>
                  <a:pt x="7026" y="2269"/>
                </a:cubicBezTo>
                <a:cubicBezTo>
                  <a:pt x="7246" y="2048"/>
                  <a:pt x="7372" y="1733"/>
                  <a:pt x="7372" y="1387"/>
                </a:cubicBezTo>
                <a:cubicBezTo>
                  <a:pt x="7372" y="631"/>
                  <a:pt x="6742" y="1"/>
                  <a:pt x="5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1" name="Google Shape;6871;p73"/>
          <p:cNvSpPr/>
          <p:nvPr/>
        </p:nvSpPr>
        <p:spPr>
          <a:xfrm>
            <a:off x="10693461" y="3865161"/>
            <a:ext cx="298672" cy="462207"/>
          </a:xfrm>
          <a:custGeom>
            <a:avLst/>
            <a:gdLst/>
            <a:ahLst/>
            <a:cxnLst/>
            <a:rect l="l" t="t" r="r" b="b"/>
            <a:pathLst>
              <a:path w="7594" h="11752" extrusionOk="0">
                <a:moveTo>
                  <a:pt x="6585" y="662"/>
                </a:moveTo>
                <a:cubicBezTo>
                  <a:pt x="6774" y="662"/>
                  <a:pt x="6932" y="819"/>
                  <a:pt x="6932" y="1008"/>
                </a:cubicBezTo>
                <a:cubicBezTo>
                  <a:pt x="6932" y="1197"/>
                  <a:pt x="6774" y="1355"/>
                  <a:pt x="6585" y="1355"/>
                </a:cubicBezTo>
                <a:lnTo>
                  <a:pt x="1040" y="1355"/>
                </a:lnTo>
                <a:cubicBezTo>
                  <a:pt x="820" y="1355"/>
                  <a:pt x="662" y="1197"/>
                  <a:pt x="662" y="1008"/>
                </a:cubicBezTo>
                <a:cubicBezTo>
                  <a:pt x="662" y="819"/>
                  <a:pt x="820" y="662"/>
                  <a:pt x="1040" y="662"/>
                </a:cubicBezTo>
                <a:close/>
                <a:moveTo>
                  <a:pt x="6175" y="2048"/>
                </a:moveTo>
                <a:lnTo>
                  <a:pt x="6175" y="2867"/>
                </a:lnTo>
                <a:cubicBezTo>
                  <a:pt x="5435" y="3277"/>
                  <a:pt x="4600" y="3481"/>
                  <a:pt x="3765" y="3481"/>
                </a:cubicBezTo>
                <a:cubicBezTo>
                  <a:pt x="2930" y="3481"/>
                  <a:pt x="2096" y="3277"/>
                  <a:pt x="1355" y="2867"/>
                </a:cubicBezTo>
                <a:lnTo>
                  <a:pt x="1355" y="2048"/>
                </a:lnTo>
                <a:close/>
                <a:moveTo>
                  <a:pt x="1418" y="3686"/>
                </a:moveTo>
                <a:lnTo>
                  <a:pt x="1418" y="3686"/>
                </a:lnTo>
                <a:cubicBezTo>
                  <a:pt x="2174" y="4001"/>
                  <a:pt x="2962" y="4190"/>
                  <a:pt x="3781" y="4190"/>
                </a:cubicBezTo>
                <a:cubicBezTo>
                  <a:pt x="4600" y="4190"/>
                  <a:pt x="5388" y="4033"/>
                  <a:pt x="6144" y="3686"/>
                </a:cubicBezTo>
                <a:lnTo>
                  <a:pt x="6144" y="3686"/>
                </a:lnTo>
                <a:cubicBezTo>
                  <a:pt x="5860" y="4757"/>
                  <a:pt x="4915" y="5545"/>
                  <a:pt x="3781" y="5545"/>
                </a:cubicBezTo>
                <a:cubicBezTo>
                  <a:pt x="2647" y="5545"/>
                  <a:pt x="1702" y="4757"/>
                  <a:pt x="1418" y="3686"/>
                </a:cubicBezTo>
                <a:close/>
                <a:moveTo>
                  <a:pt x="3435" y="6238"/>
                </a:moveTo>
                <a:lnTo>
                  <a:pt x="3435" y="7813"/>
                </a:lnTo>
                <a:lnTo>
                  <a:pt x="1544" y="9704"/>
                </a:lnTo>
                <a:lnTo>
                  <a:pt x="1355" y="9704"/>
                </a:lnTo>
                <a:lnTo>
                  <a:pt x="1355" y="8695"/>
                </a:lnTo>
                <a:cubicBezTo>
                  <a:pt x="1355" y="7467"/>
                  <a:pt x="2237" y="6427"/>
                  <a:pt x="3435" y="6238"/>
                </a:cubicBezTo>
                <a:close/>
                <a:moveTo>
                  <a:pt x="3781" y="8443"/>
                </a:moveTo>
                <a:lnTo>
                  <a:pt x="5041" y="9704"/>
                </a:lnTo>
                <a:lnTo>
                  <a:pt x="2552" y="9704"/>
                </a:lnTo>
                <a:lnTo>
                  <a:pt x="3781" y="8443"/>
                </a:lnTo>
                <a:close/>
                <a:moveTo>
                  <a:pt x="4128" y="6238"/>
                </a:moveTo>
                <a:cubicBezTo>
                  <a:pt x="5325" y="6396"/>
                  <a:pt x="6207" y="7435"/>
                  <a:pt x="6207" y="8695"/>
                </a:cubicBezTo>
                <a:lnTo>
                  <a:pt x="6207" y="9704"/>
                </a:lnTo>
                <a:lnTo>
                  <a:pt x="6018" y="9704"/>
                </a:lnTo>
                <a:lnTo>
                  <a:pt x="4128" y="7813"/>
                </a:lnTo>
                <a:lnTo>
                  <a:pt x="4128" y="6238"/>
                </a:lnTo>
                <a:close/>
                <a:moveTo>
                  <a:pt x="6553" y="10397"/>
                </a:moveTo>
                <a:cubicBezTo>
                  <a:pt x="6743" y="10428"/>
                  <a:pt x="6900" y="10586"/>
                  <a:pt x="6900" y="10743"/>
                </a:cubicBezTo>
                <a:cubicBezTo>
                  <a:pt x="6900" y="10932"/>
                  <a:pt x="6743" y="11090"/>
                  <a:pt x="6553" y="11090"/>
                </a:cubicBezTo>
                <a:lnTo>
                  <a:pt x="977" y="11090"/>
                </a:lnTo>
                <a:cubicBezTo>
                  <a:pt x="788" y="11090"/>
                  <a:pt x="631" y="10932"/>
                  <a:pt x="631" y="10743"/>
                </a:cubicBezTo>
                <a:cubicBezTo>
                  <a:pt x="631" y="10554"/>
                  <a:pt x="788" y="10397"/>
                  <a:pt x="977" y="10397"/>
                </a:cubicBezTo>
                <a:close/>
                <a:moveTo>
                  <a:pt x="1009" y="0"/>
                </a:moveTo>
                <a:cubicBezTo>
                  <a:pt x="442" y="0"/>
                  <a:pt x="0" y="473"/>
                  <a:pt x="0" y="1008"/>
                </a:cubicBezTo>
                <a:cubicBezTo>
                  <a:pt x="0" y="1449"/>
                  <a:pt x="284" y="1827"/>
                  <a:pt x="694" y="1985"/>
                </a:cubicBezTo>
                <a:lnTo>
                  <a:pt x="694" y="3088"/>
                </a:lnTo>
                <a:cubicBezTo>
                  <a:pt x="694" y="4316"/>
                  <a:pt x="1387" y="5356"/>
                  <a:pt x="2395" y="5860"/>
                </a:cubicBezTo>
                <a:cubicBezTo>
                  <a:pt x="1387" y="6364"/>
                  <a:pt x="694" y="7435"/>
                  <a:pt x="694" y="8664"/>
                </a:cubicBezTo>
                <a:lnTo>
                  <a:pt x="694" y="9767"/>
                </a:lnTo>
                <a:cubicBezTo>
                  <a:pt x="316" y="9924"/>
                  <a:pt x="0" y="10271"/>
                  <a:pt x="0" y="10743"/>
                </a:cubicBezTo>
                <a:cubicBezTo>
                  <a:pt x="0" y="11342"/>
                  <a:pt x="473" y="11751"/>
                  <a:pt x="1009" y="11751"/>
                </a:cubicBezTo>
                <a:lnTo>
                  <a:pt x="6585" y="11751"/>
                </a:lnTo>
                <a:cubicBezTo>
                  <a:pt x="7152" y="11751"/>
                  <a:pt x="7593" y="11279"/>
                  <a:pt x="7593" y="10743"/>
                </a:cubicBezTo>
                <a:cubicBezTo>
                  <a:pt x="7593" y="10302"/>
                  <a:pt x="7310" y="9924"/>
                  <a:pt x="6900" y="9767"/>
                </a:cubicBezTo>
                <a:lnTo>
                  <a:pt x="6900" y="8664"/>
                </a:lnTo>
                <a:cubicBezTo>
                  <a:pt x="6900" y="7435"/>
                  <a:pt x="6207" y="6364"/>
                  <a:pt x="5199" y="5860"/>
                </a:cubicBezTo>
                <a:cubicBezTo>
                  <a:pt x="6207" y="5387"/>
                  <a:pt x="6900" y="4316"/>
                  <a:pt x="6900" y="3088"/>
                </a:cubicBezTo>
                <a:lnTo>
                  <a:pt x="6900" y="1985"/>
                </a:lnTo>
                <a:cubicBezTo>
                  <a:pt x="7278" y="1827"/>
                  <a:pt x="7593" y="1481"/>
                  <a:pt x="7593" y="1008"/>
                </a:cubicBezTo>
                <a:cubicBezTo>
                  <a:pt x="7593" y="410"/>
                  <a:pt x="7121" y="0"/>
                  <a:pt x="65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2" name="Google Shape;6872;p73"/>
          <p:cNvSpPr/>
          <p:nvPr/>
        </p:nvSpPr>
        <p:spPr>
          <a:xfrm>
            <a:off x="7080487" y="2042573"/>
            <a:ext cx="468381" cy="465943"/>
          </a:xfrm>
          <a:custGeom>
            <a:avLst/>
            <a:gdLst/>
            <a:ahLst/>
            <a:cxnLst/>
            <a:rect l="l" t="t" r="r" b="b"/>
            <a:pathLst>
              <a:path w="11909" h="11847" extrusionOk="0">
                <a:moveTo>
                  <a:pt x="3560" y="2647"/>
                </a:moveTo>
                <a:lnTo>
                  <a:pt x="3560" y="3561"/>
                </a:lnTo>
                <a:lnTo>
                  <a:pt x="2615" y="3561"/>
                </a:lnTo>
                <a:lnTo>
                  <a:pt x="3560" y="2647"/>
                </a:lnTo>
                <a:close/>
                <a:moveTo>
                  <a:pt x="6616" y="4222"/>
                </a:moveTo>
                <a:cubicBezTo>
                  <a:pt x="7971" y="4285"/>
                  <a:pt x="9074" y="5325"/>
                  <a:pt x="9074" y="6680"/>
                </a:cubicBezTo>
                <a:cubicBezTo>
                  <a:pt x="9074" y="8003"/>
                  <a:pt x="7971" y="9106"/>
                  <a:pt x="6616" y="9106"/>
                </a:cubicBezTo>
                <a:cubicBezTo>
                  <a:pt x="5293" y="9106"/>
                  <a:pt x="4190" y="8003"/>
                  <a:pt x="4190" y="6680"/>
                </a:cubicBezTo>
                <a:cubicBezTo>
                  <a:pt x="4190" y="5325"/>
                  <a:pt x="5293" y="4222"/>
                  <a:pt x="6616" y="4222"/>
                </a:cubicBezTo>
                <a:close/>
                <a:moveTo>
                  <a:pt x="7687" y="757"/>
                </a:moveTo>
                <a:lnTo>
                  <a:pt x="7687" y="1513"/>
                </a:lnTo>
                <a:lnTo>
                  <a:pt x="3875" y="1513"/>
                </a:lnTo>
                <a:cubicBezTo>
                  <a:pt x="3781" y="1513"/>
                  <a:pt x="3655" y="1544"/>
                  <a:pt x="3623" y="1639"/>
                </a:cubicBezTo>
                <a:lnTo>
                  <a:pt x="1512" y="3718"/>
                </a:lnTo>
                <a:cubicBezTo>
                  <a:pt x="1418" y="3813"/>
                  <a:pt x="1386" y="3876"/>
                  <a:pt x="1386" y="3939"/>
                </a:cubicBezTo>
                <a:lnTo>
                  <a:pt x="1386" y="9862"/>
                </a:lnTo>
                <a:lnTo>
                  <a:pt x="662" y="9862"/>
                </a:lnTo>
                <a:lnTo>
                  <a:pt x="662" y="757"/>
                </a:lnTo>
                <a:close/>
                <a:moveTo>
                  <a:pt x="8380" y="2175"/>
                </a:moveTo>
                <a:lnTo>
                  <a:pt x="8380" y="4128"/>
                </a:lnTo>
                <a:cubicBezTo>
                  <a:pt x="7876" y="3813"/>
                  <a:pt x="7278" y="3592"/>
                  <a:pt x="6648" y="3592"/>
                </a:cubicBezTo>
                <a:cubicBezTo>
                  <a:pt x="4915" y="3592"/>
                  <a:pt x="3560" y="5010"/>
                  <a:pt x="3560" y="6711"/>
                </a:cubicBezTo>
                <a:cubicBezTo>
                  <a:pt x="3560" y="8444"/>
                  <a:pt x="4946" y="9830"/>
                  <a:pt x="6648" y="9830"/>
                </a:cubicBezTo>
                <a:cubicBezTo>
                  <a:pt x="7120" y="9830"/>
                  <a:pt x="7593" y="9704"/>
                  <a:pt x="8002" y="9515"/>
                </a:cubicBezTo>
                <a:lnTo>
                  <a:pt x="8380" y="9893"/>
                </a:lnTo>
                <a:lnTo>
                  <a:pt x="8380" y="10492"/>
                </a:lnTo>
                <a:lnTo>
                  <a:pt x="2079" y="10492"/>
                </a:lnTo>
                <a:lnTo>
                  <a:pt x="2079" y="4285"/>
                </a:lnTo>
                <a:lnTo>
                  <a:pt x="3875" y="4285"/>
                </a:lnTo>
                <a:cubicBezTo>
                  <a:pt x="4064" y="4285"/>
                  <a:pt x="4222" y="4128"/>
                  <a:pt x="4222" y="3907"/>
                </a:cubicBezTo>
                <a:lnTo>
                  <a:pt x="4222" y="2175"/>
                </a:lnTo>
                <a:close/>
                <a:moveTo>
                  <a:pt x="9074" y="8633"/>
                </a:moveTo>
                <a:lnTo>
                  <a:pt x="11027" y="10618"/>
                </a:lnTo>
                <a:cubicBezTo>
                  <a:pt x="11153" y="10744"/>
                  <a:pt x="11153" y="10964"/>
                  <a:pt x="11027" y="11090"/>
                </a:cubicBezTo>
                <a:cubicBezTo>
                  <a:pt x="10964" y="11153"/>
                  <a:pt x="10877" y="11185"/>
                  <a:pt x="10791" y="11185"/>
                </a:cubicBezTo>
                <a:cubicBezTo>
                  <a:pt x="10704" y="11185"/>
                  <a:pt x="10617" y="11153"/>
                  <a:pt x="10554" y="11090"/>
                </a:cubicBezTo>
                <a:lnTo>
                  <a:pt x="8601" y="9106"/>
                </a:lnTo>
                <a:cubicBezTo>
                  <a:pt x="8790" y="9011"/>
                  <a:pt x="8948" y="8791"/>
                  <a:pt x="9074" y="8633"/>
                </a:cubicBezTo>
                <a:close/>
                <a:moveTo>
                  <a:pt x="347" y="1"/>
                </a:moveTo>
                <a:cubicBezTo>
                  <a:pt x="158" y="1"/>
                  <a:pt x="0" y="190"/>
                  <a:pt x="0" y="379"/>
                </a:cubicBezTo>
                <a:lnTo>
                  <a:pt x="0" y="10145"/>
                </a:lnTo>
                <a:cubicBezTo>
                  <a:pt x="0" y="10334"/>
                  <a:pt x="158" y="10492"/>
                  <a:pt x="347" y="10492"/>
                </a:cubicBezTo>
                <a:lnTo>
                  <a:pt x="1386" y="10492"/>
                </a:lnTo>
                <a:lnTo>
                  <a:pt x="1386" y="10838"/>
                </a:lnTo>
                <a:cubicBezTo>
                  <a:pt x="1386" y="11059"/>
                  <a:pt x="1544" y="11216"/>
                  <a:pt x="1733" y="11216"/>
                </a:cubicBezTo>
                <a:lnTo>
                  <a:pt x="8695" y="11216"/>
                </a:lnTo>
                <a:cubicBezTo>
                  <a:pt x="8916" y="11216"/>
                  <a:pt x="9074" y="11059"/>
                  <a:pt x="9074" y="10838"/>
                </a:cubicBezTo>
                <a:lnTo>
                  <a:pt x="9074" y="10586"/>
                </a:lnTo>
                <a:lnTo>
                  <a:pt x="10050" y="11563"/>
                </a:lnTo>
                <a:cubicBezTo>
                  <a:pt x="10239" y="11752"/>
                  <a:pt x="10507" y="11847"/>
                  <a:pt x="10775" y="11847"/>
                </a:cubicBezTo>
                <a:cubicBezTo>
                  <a:pt x="11043" y="11847"/>
                  <a:pt x="11310" y="11752"/>
                  <a:pt x="11499" y="11563"/>
                </a:cubicBezTo>
                <a:cubicBezTo>
                  <a:pt x="11909" y="11153"/>
                  <a:pt x="11909" y="10492"/>
                  <a:pt x="11499" y="10114"/>
                </a:cubicBezTo>
                <a:lnTo>
                  <a:pt x="9420" y="8003"/>
                </a:lnTo>
                <a:cubicBezTo>
                  <a:pt x="9609" y="7625"/>
                  <a:pt x="9735" y="7152"/>
                  <a:pt x="9735" y="6680"/>
                </a:cubicBezTo>
                <a:cubicBezTo>
                  <a:pt x="9735" y="5924"/>
                  <a:pt x="9452" y="5262"/>
                  <a:pt x="9011" y="4695"/>
                </a:cubicBezTo>
                <a:lnTo>
                  <a:pt x="9011" y="1828"/>
                </a:lnTo>
                <a:cubicBezTo>
                  <a:pt x="9011" y="1639"/>
                  <a:pt x="8853" y="1481"/>
                  <a:pt x="8664" y="1481"/>
                </a:cubicBezTo>
                <a:lnTo>
                  <a:pt x="8317" y="1481"/>
                </a:lnTo>
                <a:lnTo>
                  <a:pt x="8317" y="379"/>
                </a:lnTo>
                <a:cubicBezTo>
                  <a:pt x="8317" y="190"/>
                  <a:pt x="8160" y="1"/>
                  <a:pt x="79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73" name="Google Shape;6873;p73"/>
          <p:cNvGrpSpPr/>
          <p:nvPr/>
        </p:nvGrpSpPr>
        <p:grpSpPr>
          <a:xfrm>
            <a:off x="7079895" y="2645233"/>
            <a:ext cx="469640" cy="464723"/>
            <a:chOff x="1049375" y="2318350"/>
            <a:chExt cx="298525" cy="295400"/>
          </a:xfrm>
        </p:grpSpPr>
        <p:sp>
          <p:nvSpPr>
            <p:cNvPr id="6874" name="Google Shape;6874;p73"/>
            <p:cNvSpPr/>
            <p:nvPr/>
          </p:nvSpPr>
          <p:spPr>
            <a:xfrm>
              <a:off x="1101350" y="2492325"/>
              <a:ext cx="70125" cy="50525"/>
            </a:xfrm>
            <a:custGeom>
              <a:avLst/>
              <a:gdLst/>
              <a:ahLst/>
              <a:cxnLst/>
              <a:rect l="l" t="t" r="r" b="b"/>
              <a:pathLst>
                <a:path w="2805" h="2021" extrusionOk="0">
                  <a:moveTo>
                    <a:pt x="2473" y="0"/>
                  </a:moveTo>
                  <a:cubicBezTo>
                    <a:pt x="2377" y="0"/>
                    <a:pt x="2273" y="32"/>
                    <a:pt x="2206" y="99"/>
                  </a:cubicBezTo>
                  <a:lnTo>
                    <a:pt x="1072" y="1233"/>
                  </a:lnTo>
                  <a:lnTo>
                    <a:pt x="599" y="761"/>
                  </a:lnTo>
                  <a:cubicBezTo>
                    <a:pt x="536" y="713"/>
                    <a:pt x="449" y="690"/>
                    <a:pt x="363" y="690"/>
                  </a:cubicBezTo>
                  <a:cubicBezTo>
                    <a:pt x="276" y="690"/>
                    <a:pt x="189" y="713"/>
                    <a:pt x="126" y="761"/>
                  </a:cubicBezTo>
                  <a:cubicBezTo>
                    <a:pt x="0" y="887"/>
                    <a:pt x="0" y="1139"/>
                    <a:pt x="126" y="1233"/>
                  </a:cubicBezTo>
                  <a:lnTo>
                    <a:pt x="820" y="1958"/>
                  </a:lnTo>
                  <a:cubicBezTo>
                    <a:pt x="914" y="2021"/>
                    <a:pt x="977" y="2021"/>
                    <a:pt x="1072" y="2021"/>
                  </a:cubicBezTo>
                  <a:cubicBezTo>
                    <a:pt x="1135" y="2021"/>
                    <a:pt x="1261" y="1989"/>
                    <a:pt x="1292" y="1926"/>
                  </a:cubicBezTo>
                  <a:lnTo>
                    <a:pt x="2678" y="540"/>
                  </a:lnTo>
                  <a:cubicBezTo>
                    <a:pt x="2804" y="414"/>
                    <a:pt x="2804" y="162"/>
                    <a:pt x="2678" y="68"/>
                  </a:cubicBezTo>
                  <a:cubicBezTo>
                    <a:pt x="2634" y="24"/>
                    <a:pt x="2557" y="0"/>
                    <a:pt x="24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5" name="Google Shape;6875;p73"/>
            <p:cNvSpPr/>
            <p:nvPr/>
          </p:nvSpPr>
          <p:spPr>
            <a:xfrm>
              <a:off x="1101350" y="2440525"/>
              <a:ext cx="70125" cy="51150"/>
            </a:xfrm>
            <a:custGeom>
              <a:avLst/>
              <a:gdLst/>
              <a:ahLst/>
              <a:cxnLst/>
              <a:rect l="l" t="t" r="r" b="b"/>
              <a:pathLst>
                <a:path w="2805" h="2046" extrusionOk="0">
                  <a:moveTo>
                    <a:pt x="2469" y="1"/>
                  </a:moveTo>
                  <a:cubicBezTo>
                    <a:pt x="2374" y="1"/>
                    <a:pt x="2272" y="40"/>
                    <a:pt x="2206" y="123"/>
                  </a:cubicBezTo>
                  <a:lnTo>
                    <a:pt x="1072" y="1257"/>
                  </a:lnTo>
                  <a:lnTo>
                    <a:pt x="599" y="785"/>
                  </a:lnTo>
                  <a:cubicBezTo>
                    <a:pt x="536" y="738"/>
                    <a:pt x="449" y="714"/>
                    <a:pt x="363" y="714"/>
                  </a:cubicBezTo>
                  <a:cubicBezTo>
                    <a:pt x="276" y="714"/>
                    <a:pt x="189" y="738"/>
                    <a:pt x="126" y="785"/>
                  </a:cubicBezTo>
                  <a:cubicBezTo>
                    <a:pt x="0" y="911"/>
                    <a:pt x="0" y="1163"/>
                    <a:pt x="126" y="1257"/>
                  </a:cubicBezTo>
                  <a:lnTo>
                    <a:pt x="820" y="1982"/>
                  </a:lnTo>
                  <a:cubicBezTo>
                    <a:pt x="914" y="2045"/>
                    <a:pt x="977" y="2045"/>
                    <a:pt x="1072" y="2045"/>
                  </a:cubicBezTo>
                  <a:cubicBezTo>
                    <a:pt x="1135" y="2045"/>
                    <a:pt x="1261" y="2014"/>
                    <a:pt x="1292" y="1951"/>
                  </a:cubicBezTo>
                  <a:lnTo>
                    <a:pt x="2678" y="564"/>
                  </a:lnTo>
                  <a:cubicBezTo>
                    <a:pt x="2804" y="438"/>
                    <a:pt x="2804" y="186"/>
                    <a:pt x="2678" y="92"/>
                  </a:cubicBezTo>
                  <a:cubicBezTo>
                    <a:pt x="2634" y="32"/>
                    <a:pt x="2554" y="1"/>
                    <a:pt x="2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6" name="Google Shape;6876;p73"/>
            <p:cNvSpPr/>
            <p:nvPr/>
          </p:nvSpPr>
          <p:spPr>
            <a:xfrm>
              <a:off x="1101350" y="2388550"/>
              <a:ext cx="70125" cy="51125"/>
            </a:xfrm>
            <a:custGeom>
              <a:avLst/>
              <a:gdLst/>
              <a:ahLst/>
              <a:cxnLst/>
              <a:rect l="l" t="t" r="r" b="b"/>
              <a:pathLst>
                <a:path w="2805" h="2045" extrusionOk="0">
                  <a:moveTo>
                    <a:pt x="2469" y="1"/>
                  </a:moveTo>
                  <a:cubicBezTo>
                    <a:pt x="2374" y="1"/>
                    <a:pt x="2272" y="40"/>
                    <a:pt x="2206" y="123"/>
                  </a:cubicBezTo>
                  <a:lnTo>
                    <a:pt x="1072" y="1257"/>
                  </a:lnTo>
                  <a:lnTo>
                    <a:pt x="599" y="785"/>
                  </a:lnTo>
                  <a:cubicBezTo>
                    <a:pt x="536" y="722"/>
                    <a:pt x="449" y="690"/>
                    <a:pt x="363" y="690"/>
                  </a:cubicBezTo>
                  <a:cubicBezTo>
                    <a:pt x="276" y="690"/>
                    <a:pt x="189" y="722"/>
                    <a:pt x="126" y="785"/>
                  </a:cubicBezTo>
                  <a:cubicBezTo>
                    <a:pt x="0" y="911"/>
                    <a:pt x="0" y="1131"/>
                    <a:pt x="126" y="1257"/>
                  </a:cubicBezTo>
                  <a:lnTo>
                    <a:pt x="820" y="1982"/>
                  </a:lnTo>
                  <a:cubicBezTo>
                    <a:pt x="914" y="2045"/>
                    <a:pt x="977" y="2045"/>
                    <a:pt x="1072" y="2045"/>
                  </a:cubicBezTo>
                  <a:cubicBezTo>
                    <a:pt x="1135" y="2045"/>
                    <a:pt x="1261" y="2013"/>
                    <a:pt x="1292" y="1919"/>
                  </a:cubicBezTo>
                  <a:lnTo>
                    <a:pt x="2678" y="532"/>
                  </a:lnTo>
                  <a:cubicBezTo>
                    <a:pt x="2804" y="438"/>
                    <a:pt x="2804" y="186"/>
                    <a:pt x="2678" y="91"/>
                  </a:cubicBezTo>
                  <a:cubicBezTo>
                    <a:pt x="2634" y="32"/>
                    <a:pt x="2554" y="1"/>
                    <a:pt x="24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77" name="Google Shape;6877;p73"/>
            <p:cNvSpPr/>
            <p:nvPr/>
          </p:nvSpPr>
          <p:spPr>
            <a:xfrm>
              <a:off x="1049375" y="2318350"/>
              <a:ext cx="298525" cy="295400"/>
            </a:xfrm>
            <a:custGeom>
              <a:avLst/>
              <a:gdLst/>
              <a:ahLst/>
              <a:cxnLst/>
              <a:rect l="l" t="t" r="r" b="b"/>
              <a:pathLst>
                <a:path w="11941" h="11816" extrusionOk="0">
                  <a:moveTo>
                    <a:pt x="6963" y="1198"/>
                  </a:moveTo>
                  <a:lnTo>
                    <a:pt x="7876" y="2143"/>
                  </a:lnTo>
                  <a:lnTo>
                    <a:pt x="6963" y="2143"/>
                  </a:lnTo>
                  <a:lnTo>
                    <a:pt x="6963" y="1198"/>
                  </a:lnTo>
                  <a:close/>
                  <a:moveTo>
                    <a:pt x="10286" y="3498"/>
                  </a:moveTo>
                  <a:cubicBezTo>
                    <a:pt x="10373" y="3498"/>
                    <a:pt x="10460" y="3530"/>
                    <a:pt x="10523" y="3593"/>
                  </a:cubicBezTo>
                  <a:lnTo>
                    <a:pt x="10995" y="4065"/>
                  </a:lnTo>
                  <a:cubicBezTo>
                    <a:pt x="11184" y="4223"/>
                    <a:pt x="11184" y="4475"/>
                    <a:pt x="11027" y="4569"/>
                  </a:cubicBezTo>
                  <a:lnTo>
                    <a:pt x="10806" y="4821"/>
                  </a:lnTo>
                  <a:lnTo>
                    <a:pt x="9798" y="3845"/>
                  </a:lnTo>
                  <a:lnTo>
                    <a:pt x="10050" y="3593"/>
                  </a:lnTo>
                  <a:cubicBezTo>
                    <a:pt x="10113" y="3530"/>
                    <a:pt x="10200" y="3498"/>
                    <a:pt x="10286" y="3498"/>
                  </a:cubicBezTo>
                  <a:close/>
                  <a:moveTo>
                    <a:pt x="9294" y="4349"/>
                  </a:moveTo>
                  <a:lnTo>
                    <a:pt x="10271" y="5325"/>
                  </a:lnTo>
                  <a:lnTo>
                    <a:pt x="7845" y="7783"/>
                  </a:lnTo>
                  <a:lnTo>
                    <a:pt x="6868" y="6774"/>
                  </a:lnTo>
                  <a:lnTo>
                    <a:pt x="9294" y="4349"/>
                  </a:lnTo>
                  <a:close/>
                  <a:moveTo>
                    <a:pt x="6585" y="7499"/>
                  </a:moveTo>
                  <a:lnTo>
                    <a:pt x="7183" y="8098"/>
                  </a:lnTo>
                  <a:lnTo>
                    <a:pt x="6427" y="8255"/>
                  </a:lnTo>
                  <a:lnTo>
                    <a:pt x="6585" y="7499"/>
                  </a:lnTo>
                  <a:close/>
                  <a:moveTo>
                    <a:pt x="6994" y="10398"/>
                  </a:moveTo>
                  <a:lnTo>
                    <a:pt x="6994" y="10776"/>
                  </a:lnTo>
                  <a:cubicBezTo>
                    <a:pt x="6994" y="10870"/>
                    <a:pt x="7057" y="10996"/>
                    <a:pt x="7089" y="11122"/>
                  </a:cubicBezTo>
                  <a:lnTo>
                    <a:pt x="1071" y="11122"/>
                  </a:lnTo>
                  <a:cubicBezTo>
                    <a:pt x="882" y="11122"/>
                    <a:pt x="693" y="10965"/>
                    <a:pt x="693" y="10776"/>
                  </a:cubicBezTo>
                  <a:lnTo>
                    <a:pt x="693" y="10398"/>
                  </a:lnTo>
                  <a:close/>
                  <a:moveTo>
                    <a:pt x="6270" y="663"/>
                  </a:moveTo>
                  <a:lnTo>
                    <a:pt x="6270" y="2458"/>
                  </a:lnTo>
                  <a:cubicBezTo>
                    <a:pt x="6270" y="2647"/>
                    <a:pt x="6427" y="2805"/>
                    <a:pt x="6616" y="2805"/>
                  </a:cubicBezTo>
                  <a:lnTo>
                    <a:pt x="8349" y="2805"/>
                  </a:lnTo>
                  <a:lnTo>
                    <a:pt x="8349" y="4286"/>
                  </a:lnTo>
                  <a:lnTo>
                    <a:pt x="6112" y="6554"/>
                  </a:lnTo>
                  <a:cubicBezTo>
                    <a:pt x="6081" y="6585"/>
                    <a:pt x="6018" y="6680"/>
                    <a:pt x="6018" y="6711"/>
                  </a:cubicBezTo>
                  <a:lnTo>
                    <a:pt x="5608" y="8633"/>
                  </a:lnTo>
                  <a:cubicBezTo>
                    <a:pt x="5545" y="8759"/>
                    <a:pt x="5608" y="8885"/>
                    <a:pt x="5671" y="8948"/>
                  </a:cubicBezTo>
                  <a:cubicBezTo>
                    <a:pt x="5742" y="9019"/>
                    <a:pt x="5813" y="9055"/>
                    <a:pt x="5897" y="9055"/>
                  </a:cubicBezTo>
                  <a:cubicBezTo>
                    <a:pt x="5925" y="9055"/>
                    <a:pt x="5955" y="9051"/>
                    <a:pt x="5986" y="9043"/>
                  </a:cubicBezTo>
                  <a:lnTo>
                    <a:pt x="7908" y="8602"/>
                  </a:lnTo>
                  <a:cubicBezTo>
                    <a:pt x="8002" y="8602"/>
                    <a:pt x="8034" y="8570"/>
                    <a:pt x="8065" y="8507"/>
                  </a:cubicBezTo>
                  <a:lnTo>
                    <a:pt x="8349" y="8255"/>
                  </a:lnTo>
                  <a:lnTo>
                    <a:pt x="8349" y="10807"/>
                  </a:lnTo>
                  <a:lnTo>
                    <a:pt x="8380" y="10807"/>
                  </a:lnTo>
                  <a:cubicBezTo>
                    <a:pt x="8380" y="10996"/>
                    <a:pt x="8223" y="11154"/>
                    <a:pt x="8034" y="11154"/>
                  </a:cubicBezTo>
                  <a:cubicBezTo>
                    <a:pt x="7845" y="11154"/>
                    <a:pt x="7687" y="10996"/>
                    <a:pt x="7687" y="10807"/>
                  </a:cubicBezTo>
                  <a:lnTo>
                    <a:pt x="7687" y="10083"/>
                  </a:lnTo>
                  <a:cubicBezTo>
                    <a:pt x="7687" y="9893"/>
                    <a:pt x="7530" y="9736"/>
                    <a:pt x="7309" y="9736"/>
                  </a:cubicBezTo>
                  <a:lnTo>
                    <a:pt x="1386" y="9736"/>
                  </a:lnTo>
                  <a:lnTo>
                    <a:pt x="1386" y="663"/>
                  </a:lnTo>
                  <a:close/>
                  <a:moveTo>
                    <a:pt x="1071" y="1"/>
                  </a:moveTo>
                  <a:cubicBezTo>
                    <a:pt x="882" y="1"/>
                    <a:pt x="693" y="158"/>
                    <a:pt x="693" y="379"/>
                  </a:cubicBezTo>
                  <a:lnTo>
                    <a:pt x="693" y="9736"/>
                  </a:lnTo>
                  <a:lnTo>
                    <a:pt x="347" y="9736"/>
                  </a:lnTo>
                  <a:cubicBezTo>
                    <a:pt x="158" y="9736"/>
                    <a:pt x="0" y="9893"/>
                    <a:pt x="0" y="10083"/>
                  </a:cubicBezTo>
                  <a:lnTo>
                    <a:pt x="0" y="10807"/>
                  </a:lnTo>
                  <a:cubicBezTo>
                    <a:pt x="0" y="11406"/>
                    <a:pt x="473" y="11815"/>
                    <a:pt x="1008" y="11815"/>
                  </a:cubicBezTo>
                  <a:lnTo>
                    <a:pt x="8002" y="11815"/>
                  </a:lnTo>
                  <a:cubicBezTo>
                    <a:pt x="8569" y="11815"/>
                    <a:pt x="9011" y="11343"/>
                    <a:pt x="9011" y="10807"/>
                  </a:cubicBezTo>
                  <a:lnTo>
                    <a:pt x="9011" y="7562"/>
                  </a:lnTo>
                  <a:lnTo>
                    <a:pt x="11499" y="5105"/>
                  </a:lnTo>
                  <a:cubicBezTo>
                    <a:pt x="11940" y="4664"/>
                    <a:pt x="11940" y="4034"/>
                    <a:pt x="11531" y="3593"/>
                  </a:cubicBezTo>
                  <a:lnTo>
                    <a:pt x="11058" y="3120"/>
                  </a:lnTo>
                  <a:cubicBezTo>
                    <a:pt x="10869" y="2931"/>
                    <a:pt x="10609" y="2836"/>
                    <a:pt x="10346" y="2836"/>
                  </a:cubicBezTo>
                  <a:cubicBezTo>
                    <a:pt x="10082" y="2836"/>
                    <a:pt x="9814" y="2931"/>
                    <a:pt x="9609" y="3120"/>
                  </a:cubicBezTo>
                  <a:lnTo>
                    <a:pt x="9105" y="3624"/>
                  </a:lnTo>
                  <a:lnTo>
                    <a:pt x="9105" y="2490"/>
                  </a:lnTo>
                  <a:cubicBezTo>
                    <a:pt x="9105" y="2427"/>
                    <a:pt x="9074" y="2332"/>
                    <a:pt x="8979" y="2269"/>
                  </a:cubicBezTo>
                  <a:lnTo>
                    <a:pt x="6900" y="127"/>
                  </a:lnTo>
                  <a:cubicBezTo>
                    <a:pt x="6805" y="64"/>
                    <a:pt x="6742" y="1"/>
                    <a:pt x="66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78" name="Google Shape;6878;p73"/>
          <p:cNvGrpSpPr/>
          <p:nvPr/>
        </p:nvGrpSpPr>
        <p:grpSpPr>
          <a:xfrm>
            <a:off x="7080524" y="3232502"/>
            <a:ext cx="468381" cy="468381"/>
            <a:chOff x="1049375" y="2680675"/>
            <a:chExt cx="297725" cy="297725"/>
          </a:xfrm>
        </p:grpSpPr>
        <p:sp>
          <p:nvSpPr>
            <p:cNvPr id="6879" name="Google Shape;6879;p73"/>
            <p:cNvSpPr/>
            <p:nvPr/>
          </p:nvSpPr>
          <p:spPr>
            <a:xfrm>
              <a:off x="1113175" y="2752350"/>
              <a:ext cx="161475" cy="155975"/>
            </a:xfrm>
            <a:custGeom>
              <a:avLst/>
              <a:gdLst/>
              <a:ahLst/>
              <a:cxnLst/>
              <a:rect l="l" t="t" r="r" b="b"/>
              <a:pathLst>
                <a:path w="6459" h="6239" extrusionOk="0">
                  <a:moveTo>
                    <a:pt x="3403" y="2079"/>
                  </a:moveTo>
                  <a:cubicBezTo>
                    <a:pt x="3781" y="2079"/>
                    <a:pt x="4096" y="2394"/>
                    <a:pt x="4096" y="2773"/>
                  </a:cubicBezTo>
                  <a:cubicBezTo>
                    <a:pt x="4096" y="3182"/>
                    <a:pt x="3781" y="3497"/>
                    <a:pt x="3403" y="3497"/>
                  </a:cubicBezTo>
                  <a:cubicBezTo>
                    <a:pt x="2993" y="3434"/>
                    <a:pt x="2678" y="3119"/>
                    <a:pt x="2678" y="2773"/>
                  </a:cubicBezTo>
                  <a:cubicBezTo>
                    <a:pt x="2678" y="2394"/>
                    <a:pt x="2993" y="2079"/>
                    <a:pt x="3403" y="2079"/>
                  </a:cubicBezTo>
                  <a:close/>
                  <a:moveTo>
                    <a:pt x="3371" y="693"/>
                  </a:moveTo>
                  <a:cubicBezTo>
                    <a:pt x="4694" y="693"/>
                    <a:pt x="5765" y="1796"/>
                    <a:pt x="5765" y="3119"/>
                  </a:cubicBezTo>
                  <a:cubicBezTo>
                    <a:pt x="5765" y="3686"/>
                    <a:pt x="5545" y="4222"/>
                    <a:pt x="5198" y="4663"/>
                  </a:cubicBezTo>
                  <a:cubicBezTo>
                    <a:pt x="5072" y="4442"/>
                    <a:pt x="4915" y="4190"/>
                    <a:pt x="4694" y="4001"/>
                  </a:cubicBezTo>
                  <a:cubicBezTo>
                    <a:pt x="4568" y="3907"/>
                    <a:pt x="4442" y="3812"/>
                    <a:pt x="4348" y="3749"/>
                  </a:cubicBezTo>
                  <a:cubicBezTo>
                    <a:pt x="4568" y="3529"/>
                    <a:pt x="4726" y="3182"/>
                    <a:pt x="4726" y="2804"/>
                  </a:cubicBezTo>
                  <a:cubicBezTo>
                    <a:pt x="4726" y="2079"/>
                    <a:pt x="4096" y="1449"/>
                    <a:pt x="3340" y="1449"/>
                  </a:cubicBezTo>
                  <a:cubicBezTo>
                    <a:pt x="2615" y="1449"/>
                    <a:pt x="1985" y="2079"/>
                    <a:pt x="1985" y="2804"/>
                  </a:cubicBezTo>
                  <a:cubicBezTo>
                    <a:pt x="1985" y="3182"/>
                    <a:pt x="2142" y="3529"/>
                    <a:pt x="2363" y="3749"/>
                  </a:cubicBezTo>
                  <a:lnTo>
                    <a:pt x="2016" y="4001"/>
                  </a:lnTo>
                  <a:cubicBezTo>
                    <a:pt x="1827" y="4190"/>
                    <a:pt x="1607" y="4442"/>
                    <a:pt x="1512" y="4663"/>
                  </a:cubicBezTo>
                  <a:cubicBezTo>
                    <a:pt x="1040" y="4064"/>
                    <a:pt x="882" y="3434"/>
                    <a:pt x="945" y="2773"/>
                  </a:cubicBezTo>
                  <a:cubicBezTo>
                    <a:pt x="1103" y="1670"/>
                    <a:pt x="2111" y="693"/>
                    <a:pt x="3371" y="693"/>
                  </a:cubicBezTo>
                  <a:close/>
                  <a:moveTo>
                    <a:pt x="3371" y="4159"/>
                  </a:moveTo>
                  <a:cubicBezTo>
                    <a:pt x="4001" y="4159"/>
                    <a:pt x="4505" y="4600"/>
                    <a:pt x="4694" y="5135"/>
                  </a:cubicBezTo>
                  <a:cubicBezTo>
                    <a:pt x="4316" y="5387"/>
                    <a:pt x="3875" y="5545"/>
                    <a:pt x="3371" y="5545"/>
                  </a:cubicBezTo>
                  <a:cubicBezTo>
                    <a:pt x="2898" y="5545"/>
                    <a:pt x="2426" y="5387"/>
                    <a:pt x="2016" y="5135"/>
                  </a:cubicBezTo>
                  <a:cubicBezTo>
                    <a:pt x="2174" y="4537"/>
                    <a:pt x="2741" y="4159"/>
                    <a:pt x="3371" y="4159"/>
                  </a:cubicBezTo>
                  <a:close/>
                  <a:moveTo>
                    <a:pt x="3308" y="0"/>
                  </a:moveTo>
                  <a:cubicBezTo>
                    <a:pt x="1701" y="0"/>
                    <a:pt x="441" y="1229"/>
                    <a:pt x="252" y="2710"/>
                  </a:cubicBezTo>
                  <a:cubicBezTo>
                    <a:pt x="0" y="4600"/>
                    <a:pt x="1512" y="6238"/>
                    <a:pt x="3371" y="6238"/>
                  </a:cubicBezTo>
                  <a:cubicBezTo>
                    <a:pt x="5104" y="6238"/>
                    <a:pt x="6459" y="4820"/>
                    <a:pt x="6459" y="3119"/>
                  </a:cubicBezTo>
                  <a:cubicBezTo>
                    <a:pt x="6459" y="1386"/>
                    <a:pt x="5041"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0" name="Google Shape;6880;p73"/>
            <p:cNvSpPr/>
            <p:nvPr/>
          </p:nvSpPr>
          <p:spPr>
            <a:xfrm>
              <a:off x="1049375" y="2680675"/>
              <a:ext cx="297725" cy="297725"/>
            </a:xfrm>
            <a:custGeom>
              <a:avLst/>
              <a:gdLst/>
              <a:ahLst/>
              <a:cxnLst/>
              <a:rect l="l" t="t" r="r" b="b"/>
              <a:pathLst>
                <a:path w="11909" h="11909" extrusionOk="0">
                  <a:moveTo>
                    <a:pt x="6270" y="1512"/>
                  </a:moveTo>
                  <a:cubicBezTo>
                    <a:pt x="8475" y="1670"/>
                    <a:pt x="10239" y="3434"/>
                    <a:pt x="10397" y="5640"/>
                  </a:cubicBezTo>
                  <a:lnTo>
                    <a:pt x="10082" y="5640"/>
                  </a:lnTo>
                  <a:cubicBezTo>
                    <a:pt x="9893" y="5640"/>
                    <a:pt x="9735" y="5797"/>
                    <a:pt x="9735" y="5986"/>
                  </a:cubicBezTo>
                  <a:cubicBezTo>
                    <a:pt x="9735" y="6207"/>
                    <a:pt x="9893" y="6364"/>
                    <a:pt x="10082" y="6364"/>
                  </a:cubicBezTo>
                  <a:lnTo>
                    <a:pt x="10397" y="6364"/>
                  </a:lnTo>
                  <a:cubicBezTo>
                    <a:pt x="10239" y="8569"/>
                    <a:pt x="8475" y="10334"/>
                    <a:pt x="6270" y="10491"/>
                  </a:cubicBezTo>
                  <a:lnTo>
                    <a:pt x="6270" y="10176"/>
                  </a:lnTo>
                  <a:cubicBezTo>
                    <a:pt x="6270" y="9987"/>
                    <a:pt x="6112" y="9830"/>
                    <a:pt x="5923" y="9830"/>
                  </a:cubicBezTo>
                  <a:cubicBezTo>
                    <a:pt x="5703" y="9830"/>
                    <a:pt x="5545" y="9987"/>
                    <a:pt x="5545" y="10176"/>
                  </a:cubicBezTo>
                  <a:lnTo>
                    <a:pt x="5545" y="10491"/>
                  </a:lnTo>
                  <a:cubicBezTo>
                    <a:pt x="3340" y="10334"/>
                    <a:pt x="1575" y="8569"/>
                    <a:pt x="1418" y="6364"/>
                  </a:cubicBezTo>
                  <a:lnTo>
                    <a:pt x="1733" y="6364"/>
                  </a:lnTo>
                  <a:cubicBezTo>
                    <a:pt x="1922" y="6364"/>
                    <a:pt x="2079" y="6207"/>
                    <a:pt x="2079" y="5986"/>
                  </a:cubicBezTo>
                  <a:cubicBezTo>
                    <a:pt x="2142" y="5797"/>
                    <a:pt x="1985" y="5640"/>
                    <a:pt x="1764" y="5640"/>
                  </a:cubicBezTo>
                  <a:lnTo>
                    <a:pt x="1418" y="5640"/>
                  </a:lnTo>
                  <a:cubicBezTo>
                    <a:pt x="1575" y="3434"/>
                    <a:pt x="3340" y="1670"/>
                    <a:pt x="5545" y="1512"/>
                  </a:cubicBezTo>
                  <a:lnTo>
                    <a:pt x="5545" y="1827"/>
                  </a:lnTo>
                  <a:cubicBezTo>
                    <a:pt x="5545" y="2016"/>
                    <a:pt x="5703" y="2174"/>
                    <a:pt x="5923" y="2174"/>
                  </a:cubicBezTo>
                  <a:cubicBezTo>
                    <a:pt x="6112" y="2174"/>
                    <a:pt x="6270" y="2016"/>
                    <a:pt x="6270" y="1827"/>
                  </a:cubicBezTo>
                  <a:lnTo>
                    <a:pt x="6270" y="1512"/>
                  </a:lnTo>
                  <a:close/>
                  <a:moveTo>
                    <a:pt x="5955" y="0"/>
                  </a:moveTo>
                  <a:cubicBezTo>
                    <a:pt x="5766" y="0"/>
                    <a:pt x="5608" y="158"/>
                    <a:pt x="5608" y="347"/>
                  </a:cubicBezTo>
                  <a:lnTo>
                    <a:pt x="5608" y="756"/>
                  </a:lnTo>
                  <a:cubicBezTo>
                    <a:pt x="2993" y="914"/>
                    <a:pt x="914" y="2993"/>
                    <a:pt x="756" y="5608"/>
                  </a:cubicBezTo>
                  <a:lnTo>
                    <a:pt x="347" y="5608"/>
                  </a:lnTo>
                  <a:cubicBezTo>
                    <a:pt x="158" y="5608"/>
                    <a:pt x="0" y="5766"/>
                    <a:pt x="0" y="5955"/>
                  </a:cubicBezTo>
                  <a:cubicBezTo>
                    <a:pt x="0" y="6144"/>
                    <a:pt x="158" y="6301"/>
                    <a:pt x="347" y="6301"/>
                  </a:cubicBezTo>
                  <a:lnTo>
                    <a:pt x="756" y="6301"/>
                  </a:lnTo>
                  <a:cubicBezTo>
                    <a:pt x="914" y="8916"/>
                    <a:pt x="2993" y="10995"/>
                    <a:pt x="5608" y="11153"/>
                  </a:cubicBezTo>
                  <a:lnTo>
                    <a:pt x="5608" y="11562"/>
                  </a:lnTo>
                  <a:cubicBezTo>
                    <a:pt x="5608" y="11751"/>
                    <a:pt x="5766" y="11909"/>
                    <a:pt x="5955" y="11909"/>
                  </a:cubicBezTo>
                  <a:cubicBezTo>
                    <a:pt x="6144" y="11909"/>
                    <a:pt x="6301" y="11751"/>
                    <a:pt x="6301" y="11562"/>
                  </a:cubicBezTo>
                  <a:lnTo>
                    <a:pt x="6301" y="11153"/>
                  </a:lnTo>
                  <a:cubicBezTo>
                    <a:pt x="8916" y="10995"/>
                    <a:pt x="10995" y="8916"/>
                    <a:pt x="11153" y="6301"/>
                  </a:cubicBezTo>
                  <a:lnTo>
                    <a:pt x="11531" y="6301"/>
                  </a:lnTo>
                  <a:cubicBezTo>
                    <a:pt x="11751" y="6301"/>
                    <a:pt x="11909" y="6144"/>
                    <a:pt x="11909" y="5955"/>
                  </a:cubicBezTo>
                  <a:cubicBezTo>
                    <a:pt x="11909" y="5766"/>
                    <a:pt x="11751" y="5608"/>
                    <a:pt x="11531" y="5608"/>
                  </a:cubicBezTo>
                  <a:lnTo>
                    <a:pt x="11153" y="5608"/>
                  </a:lnTo>
                  <a:cubicBezTo>
                    <a:pt x="10995" y="2993"/>
                    <a:pt x="8916" y="914"/>
                    <a:pt x="6301" y="756"/>
                  </a:cubicBezTo>
                  <a:lnTo>
                    <a:pt x="6301" y="347"/>
                  </a:lnTo>
                  <a:cubicBezTo>
                    <a:pt x="6301" y="158"/>
                    <a:pt x="614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81" name="Google Shape;6881;p73"/>
          <p:cNvGrpSpPr/>
          <p:nvPr/>
        </p:nvGrpSpPr>
        <p:grpSpPr>
          <a:xfrm>
            <a:off x="10031794" y="2043231"/>
            <a:ext cx="464684" cy="464723"/>
            <a:chOff x="2872725" y="1954475"/>
            <a:chExt cx="295375" cy="295400"/>
          </a:xfrm>
        </p:grpSpPr>
        <p:sp>
          <p:nvSpPr>
            <p:cNvPr id="6882" name="Google Shape;6882;p73"/>
            <p:cNvSpPr/>
            <p:nvPr/>
          </p:nvSpPr>
          <p:spPr>
            <a:xfrm>
              <a:off x="2959350" y="1954475"/>
              <a:ext cx="122100" cy="139450"/>
            </a:xfrm>
            <a:custGeom>
              <a:avLst/>
              <a:gdLst/>
              <a:ahLst/>
              <a:cxnLst/>
              <a:rect l="l" t="t" r="r" b="b"/>
              <a:pathLst>
                <a:path w="4884" h="5578" extrusionOk="0">
                  <a:moveTo>
                    <a:pt x="2395" y="694"/>
                  </a:moveTo>
                  <a:cubicBezTo>
                    <a:pt x="2805" y="694"/>
                    <a:pt x="3120" y="1009"/>
                    <a:pt x="3120" y="1418"/>
                  </a:cubicBezTo>
                  <a:cubicBezTo>
                    <a:pt x="3120" y="1797"/>
                    <a:pt x="2805" y="2112"/>
                    <a:pt x="2395" y="2112"/>
                  </a:cubicBezTo>
                  <a:cubicBezTo>
                    <a:pt x="2017" y="2112"/>
                    <a:pt x="1702" y="1797"/>
                    <a:pt x="1702" y="1418"/>
                  </a:cubicBezTo>
                  <a:cubicBezTo>
                    <a:pt x="1733" y="1009"/>
                    <a:pt x="2048" y="694"/>
                    <a:pt x="2395" y="694"/>
                  </a:cubicBezTo>
                  <a:close/>
                  <a:moveTo>
                    <a:pt x="2395" y="2742"/>
                  </a:moveTo>
                  <a:cubicBezTo>
                    <a:pt x="3340" y="2742"/>
                    <a:pt x="4128" y="3529"/>
                    <a:pt x="4128" y="4537"/>
                  </a:cubicBezTo>
                  <a:lnTo>
                    <a:pt x="4128" y="4884"/>
                  </a:lnTo>
                  <a:lnTo>
                    <a:pt x="662" y="4884"/>
                  </a:lnTo>
                  <a:lnTo>
                    <a:pt x="662" y="4537"/>
                  </a:lnTo>
                  <a:cubicBezTo>
                    <a:pt x="662" y="3529"/>
                    <a:pt x="1450" y="2742"/>
                    <a:pt x="2395" y="2742"/>
                  </a:cubicBezTo>
                  <a:close/>
                  <a:moveTo>
                    <a:pt x="2490" y="1"/>
                  </a:moveTo>
                  <a:cubicBezTo>
                    <a:pt x="1733" y="1"/>
                    <a:pt x="1103" y="631"/>
                    <a:pt x="1103" y="1387"/>
                  </a:cubicBezTo>
                  <a:cubicBezTo>
                    <a:pt x="1103" y="1734"/>
                    <a:pt x="1229" y="2049"/>
                    <a:pt x="1450" y="2332"/>
                  </a:cubicBezTo>
                  <a:cubicBezTo>
                    <a:pt x="568" y="2710"/>
                    <a:pt x="1" y="3529"/>
                    <a:pt x="1" y="4537"/>
                  </a:cubicBezTo>
                  <a:lnTo>
                    <a:pt x="1" y="5231"/>
                  </a:lnTo>
                  <a:cubicBezTo>
                    <a:pt x="1" y="5420"/>
                    <a:pt x="158" y="5577"/>
                    <a:pt x="347" y="5577"/>
                  </a:cubicBezTo>
                  <a:lnTo>
                    <a:pt x="4537" y="5577"/>
                  </a:lnTo>
                  <a:cubicBezTo>
                    <a:pt x="4726" y="5577"/>
                    <a:pt x="4884" y="5420"/>
                    <a:pt x="4884" y="5231"/>
                  </a:cubicBezTo>
                  <a:lnTo>
                    <a:pt x="4884" y="4537"/>
                  </a:lnTo>
                  <a:cubicBezTo>
                    <a:pt x="4884" y="3529"/>
                    <a:pt x="4317" y="2710"/>
                    <a:pt x="3498" y="2332"/>
                  </a:cubicBezTo>
                  <a:cubicBezTo>
                    <a:pt x="3750" y="2080"/>
                    <a:pt x="3844" y="1765"/>
                    <a:pt x="3844" y="1387"/>
                  </a:cubicBezTo>
                  <a:cubicBezTo>
                    <a:pt x="3844" y="631"/>
                    <a:pt x="3214" y="1"/>
                    <a:pt x="24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3" name="Google Shape;6883;p73"/>
            <p:cNvSpPr/>
            <p:nvPr/>
          </p:nvSpPr>
          <p:spPr>
            <a:xfrm>
              <a:off x="2906575" y="2146650"/>
              <a:ext cx="191425" cy="69350"/>
            </a:xfrm>
            <a:custGeom>
              <a:avLst/>
              <a:gdLst/>
              <a:ahLst/>
              <a:cxnLst/>
              <a:rect l="l" t="t" r="r" b="b"/>
              <a:pathLst>
                <a:path w="7657" h="2774" extrusionOk="0">
                  <a:moveTo>
                    <a:pt x="1419" y="694"/>
                  </a:moveTo>
                  <a:lnTo>
                    <a:pt x="1419" y="2080"/>
                  </a:lnTo>
                  <a:lnTo>
                    <a:pt x="694" y="2080"/>
                  </a:lnTo>
                  <a:lnTo>
                    <a:pt x="694" y="694"/>
                  </a:lnTo>
                  <a:close/>
                  <a:moveTo>
                    <a:pt x="2773" y="694"/>
                  </a:moveTo>
                  <a:lnTo>
                    <a:pt x="2773" y="2080"/>
                  </a:lnTo>
                  <a:lnTo>
                    <a:pt x="2080" y="2080"/>
                  </a:lnTo>
                  <a:lnTo>
                    <a:pt x="2080" y="694"/>
                  </a:lnTo>
                  <a:close/>
                  <a:moveTo>
                    <a:pt x="4159" y="694"/>
                  </a:moveTo>
                  <a:lnTo>
                    <a:pt x="4159" y="2080"/>
                  </a:lnTo>
                  <a:lnTo>
                    <a:pt x="3466" y="2080"/>
                  </a:lnTo>
                  <a:lnTo>
                    <a:pt x="3466" y="694"/>
                  </a:lnTo>
                  <a:close/>
                  <a:moveTo>
                    <a:pt x="6995" y="694"/>
                  </a:moveTo>
                  <a:lnTo>
                    <a:pt x="6995" y="2080"/>
                  </a:lnTo>
                  <a:lnTo>
                    <a:pt x="4884" y="2080"/>
                  </a:lnTo>
                  <a:lnTo>
                    <a:pt x="4884" y="694"/>
                  </a:lnTo>
                  <a:close/>
                  <a:moveTo>
                    <a:pt x="347" y="1"/>
                  </a:moveTo>
                  <a:cubicBezTo>
                    <a:pt x="158" y="1"/>
                    <a:pt x="1" y="158"/>
                    <a:pt x="1" y="347"/>
                  </a:cubicBezTo>
                  <a:lnTo>
                    <a:pt x="1" y="2427"/>
                  </a:lnTo>
                  <a:cubicBezTo>
                    <a:pt x="1" y="2616"/>
                    <a:pt x="158" y="2773"/>
                    <a:pt x="347" y="2773"/>
                  </a:cubicBezTo>
                  <a:lnTo>
                    <a:pt x="7310" y="2773"/>
                  </a:lnTo>
                  <a:cubicBezTo>
                    <a:pt x="7499" y="2773"/>
                    <a:pt x="7657" y="2616"/>
                    <a:pt x="7657" y="2427"/>
                  </a:cubicBezTo>
                  <a:lnTo>
                    <a:pt x="7657" y="347"/>
                  </a:lnTo>
                  <a:cubicBezTo>
                    <a:pt x="7657" y="127"/>
                    <a:pt x="7499" y="1"/>
                    <a:pt x="7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4" name="Google Shape;6884;p73"/>
            <p:cNvSpPr/>
            <p:nvPr/>
          </p:nvSpPr>
          <p:spPr>
            <a:xfrm>
              <a:off x="2872725" y="2112000"/>
              <a:ext cx="295375" cy="137875"/>
            </a:xfrm>
            <a:custGeom>
              <a:avLst/>
              <a:gdLst/>
              <a:ahLst/>
              <a:cxnLst/>
              <a:rect l="l" t="t" r="r" b="b"/>
              <a:pathLst>
                <a:path w="11815" h="5515" extrusionOk="0">
                  <a:moveTo>
                    <a:pt x="11121" y="2080"/>
                  </a:moveTo>
                  <a:lnTo>
                    <a:pt x="11121" y="3466"/>
                  </a:lnTo>
                  <a:lnTo>
                    <a:pt x="10397" y="3466"/>
                  </a:lnTo>
                  <a:lnTo>
                    <a:pt x="10397" y="2080"/>
                  </a:lnTo>
                  <a:close/>
                  <a:moveTo>
                    <a:pt x="9389" y="662"/>
                  </a:moveTo>
                  <a:cubicBezTo>
                    <a:pt x="9578" y="662"/>
                    <a:pt x="9735" y="820"/>
                    <a:pt x="9735" y="1009"/>
                  </a:cubicBezTo>
                  <a:lnTo>
                    <a:pt x="9735" y="4474"/>
                  </a:lnTo>
                  <a:cubicBezTo>
                    <a:pt x="9735" y="4663"/>
                    <a:pt x="9578" y="4852"/>
                    <a:pt x="9389" y="4852"/>
                  </a:cubicBezTo>
                  <a:lnTo>
                    <a:pt x="1040" y="4852"/>
                  </a:lnTo>
                  <a:cubicBezTo>
                    <a:pt x="819" y="4852"/>
                    <a:pt x="662" y="4663"/>
                    <a:pt x="662" y="4474"/>
                  </a:cubicBezTo>
                  <a:lnTo>
                    <a:pt x="662" y="1009"/>
                  </a:lnTo>
                  <a:cubicBezTo>
                    <a:pt x="662" y="820"/>
                    <a:pt x="819" y="662"/>
                    <a:pt x="1040" y="662"/>
                  </a:cubicBezTo>
                  <a:close/>
                  <a:moveTo>
                    <a:pt x="1040" y="1"/>
                  </a:moveTo>
                  <a:cubicBezTo>
                    <a:pt x="441" y="1"/>
                    <a:pt x="0" y="473"/>
                    <a:pt x="0" y="1009"/>
                  </a:cubicBezTo>
                  <a:lnTo>
                    <a:pt x="0" y="4474"/>
                  </a:lnTo>
                  <a:cubicBezTo>
                    <a:pt x="0" y="5073"/>
                    <a:pt x="473" y="5514"/>
                    <a:pt x="1040" y="5514"/>
                  </a:cubicBezTo>
                  <a:lnTo>
                    <a:pt x="9357" y="5514"/>
                  </a:lnTo>
                  <a:cubicBezTo>
                    <a:pt x="9956" y="5514"/>
                    <a:pt x="10397" y="5041"/>
                    <a:pt x="10397" y="4474"/>
                  </a:cubicBezTo>
                  <a:lnTo>
                    <a:pt x="10397" y="4128"/>
                  </a:lnTo>
                  <a:lnTo>
                    <a:pt x="11436" y="4128"/>
                  </a:lnTo>
                  <a:cubicBezTo>
                    <a:pt x="11625" y="4128"/>
                    <a:pt x="11783" y="3970"/>
                    <a:pt x="11783" y="3781"/>
                  </a:cubicBezTo>
                  <a:lnTo>
                    <a:pt x="11783" y="1702"/>
                  </a:lnTo>
                  <a:cubicBezTo>
                    <a:pt x="11814" y="1513"/>
                    <a:pt x="11657" y="1387"/>
                    <a:pt x="11468" y="1387"/>
                  </a:cubicBezTo>
                  <a:lnTo>
                    <a:pt x="10397" y="1387"/>
                  </a:lnTo>
                  <a:lnTo>
                    <a:pt x="10397" y="1009"/>
                  </a:lnTo>
                  <a:cubicBezTo>
                    <a:pt x="10397" y="442"/>
                    <a:pt x="9924" y="1"/>
                    <a:pt x="93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885" name="Google Shape;6885;p73"/>
          <p:cNvGrpSpPr/>
          <p:nvPr/>
        </p:nvGrpSpPr>
        <p:grpSpPr>
          <a:xfrm>
            <a:off x="10060289" y="2643996"/>
            <a:ext cx="407695" cy="467201"/>
            <a:chOff x="2890050" y="2318350"/>
            <a:chExt cx="259150" cy="296975"/>
          </a:xfrm>
        </p:grpSpPr>
        <p:sp>
          <p:nvSpPr>
            <p:cNvPr id="6886" name="Google Shape;6886;p73"/>
            <p:cNvSpPr/>
            <p:nvPr/>
          </p:nvSpPr>
          <p:spPr>
            <a:xfrm>
              <a:off x="2936525" y="2353025"/>
              <a:ext cx="160700" cy="155975"/>
            </a:xfrm>
            <a:custGeom>
              <a:avLst/>
              <a:gdLst/>
              <a:ahLst/>
              <a:cxnLst/>
              <a:rect l="l" t="t" r="r" b="b"/>
              <a:pathLst>
                <a:path w="6428" h="6239" extrusionOk="0">
                  <a:moveTo>
                    <a:pt x="3371" y="2048"/>
                  </a:moveTo>
                  <a:cubicBezTo>
                    <a:pt x="3749" y="2048"/>
                    <a:pt x="4064" y="2363"/>
                    <a:pt x="4064" y="2773"/>
                  </a:cubicBezTo>
                  <a:cubicBezTo>
                    <a:pt x="4064" y="3151"/>
                    <a:pt x="3749" y="3466"/>
                    <a:pt x="3371" y="3466"/>
                  </a:cubicBezTo>
                  <a:cubicBezTo>
                    <a:pt x="2961" y="3466"/>
                    <a:pt x="2646" y="3151"/>
                    <a:pt x="2646" y="2773"/>
                  </a:cubicBezTo>
                  <a:cubicBezTo>
                    <a:pt x="2646" y="2363"/>
                    <a:pt x="2961" y="2048"/>
                    <a:pt x="3371" y="2048"/>
                  </a:cubicBezTo>
                  <a:close/>
                  <a:moveTo>
                    <a:pt x="3308" y="662"/>
                  </a:moveTo>
                  <a:cubicBezTo>
                    <a:pt x="4663" y="662"/>
                    <a:pt x="5734" y="1764"/>
                    <a:pt x="5734" y="3119"/>
                  </a:cubicBezTo>
                  <a:cubicBezTo>
                    <a:pt x="5734" y="3655"/>
                    <a:pt x="5513" y="4159"/>
                    <a:pt x="5167" y="4663"/>
                  </a:cubicBezTo>
                  <a:cubicBezTo>
                    <a:pt x="4978" y="4253"/>
                    <a:pt x="4694" y="3938"/>
                    <a:pt x="4316" y="3686"/>
                  </a:cubicBezTo>
                  <a:cubicBezTo>
                    <a:pt x="4537" y="3466"/>
                    <a:pt x="4694" y="3119"/>
                    <a:pt x="4694" y="2741"/>
                  </a:cubicBezTo>
                  <a:cubicBezTo>
                    <a:pt x="4694" y="2016"/>
                    <a:pt x="4064" y="1386"/>
                    <a:pt x="3308" y="1386"/>
                  </a:cubicBezTo>
                  <a:cubicBezTo>
                    <a:pt x="2583" y="1386"/>
                    <a:pt x="1953" y="2016"/>
                    <a:pt x="1953" y="2741"/>
                  </a:cubicBezTo>
                  <a:cubicBezTo>
                    <a:pt x="1953" y="3119"/>
                    <a:pt x="2111" y="3466"/>
                    <a:pt x="2331" y="3686"/>
                  </a:cubicBezTo>
                  <a:cubicBezTo>
                    <a:pt x="1953" y="3907"/>
                    <a:pt x="1670" y="4253"/>
                    <a:pt x="1481" y="4663"/>
                  </a:cubicBezTo>
                  <a:cubicBezTo>
                    <a:pt x="1008" y="4096"/>
                    <a:pt x="851" y="3434"/>
                    <a:pt x="914" y="2773"/>
                  </a:cubicBezTo>
                  <a:cubicBezTo>
                    <a:pt x="1071" y="1670"/>
                    <a:pt x="2048" y="662"/>
                    <a:pt x="3308" y="662"/>
                  </a:cubicBezTo>
                  <a:close/>
                  <a:moveTo>
                    <a:pt x="3308" y="4190"/>
                  </a:moveTo>
                  <a:cubicBezTo>
                    <a:pt x="3938" y="4190"/>
                    <a:pt x="4442" y="4600"/>
                    <a:pt x="4663" y="5167"/>
                  </a:cubicBezTo>
                  <a:cubicBezTo>
                    <a:pt x="4253" y="5387"/>
                    <a:pt x="3844" y="5545"/>
                    <a:pt x="3308" y="5545"/>
                  </a:cubicBezTo>
                  <a:cubicBezTo>
                    <a:pt x="2835" y="5545"/>
                    <a:pt x="2363" y="5387"/>
                    <a:pt x="1985" y="5167"/>
                  </a:cubicBezTo>
                  <a:cubicBezTo>
                    <a:pt x="2142" y="4568"/>
                    <a:pt x="2678" y="4190"/>
                    <a:pt x="3308" y="4190"/>
                  </a:cubicBezTo>
                  <a:close/>
                  <a:moveTo>
                    <a:pt x="3308" y="0"/>
                  </a:moveTo>
                  <a:cubicBezTo>
                    <a:pt x="1701" y="0"/>
                    <a:pt x="410" y="1229"/>
                    <a:pt x="252" y="2678"/>
                  </a:cubicBezTo>
                  <a:cubicBezTo>
                    <a:pt x="0" y="4600"/>
                    <a:pt x="1481" y="6238"/>
                    <a:pt x="3308" y="6238"/>
                  </a:cubicBezTo>
                  <a:cubicBezTo>
                    <a:pt x="5041" y="6238"/>
                    <a:pt x="6427" y="4820"/>
                    <a:pt x="6427" y="3119"/>
                  </a:cubicBezTo>
                  <a:cubicBezTo>
                    <a:pt x="6427" y="1386"/>
                    <a:pt x="5009"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87" name="Google Shape;6887;p73"/>
            <p:cNvSpPr/>
            <p:nvPr/>
          </p:nvSpPr>
          <p:spPr>
            <a:xfrm>
              <a:off x="2890050" y="2318350"/>
              <a:ext cx="259150" cy="296975"/>
            </a:xfrm>
            <a:custGeom>
              <a:avLst/>
              <a:gdLst/>
              <a:ahLst/>
              <a:cxnLst/>
              <a:rect l="l" t="t" r="r" b="b"/>
              <a:pathLst>
                <a:path w="10366" h="11879" extrusionOk="0">
                  <a:moveTo>
                    <a:pt x="5167" y="694"/>
                  </a:moveTo>
                  <a:cubicBezTo>
                    <a:pt x="7309" y="694"/>
                    <a:pt x="9011" y="2427"/>
                    <a:pt x="9011" y="4506"/>
                  </a:cubicBezTo>
                  <a:cubicBezTo>
                    <a:pt x="9011" y="5640"/>
                    <a:pt x="8475" y="6711"/>
                    <a:pt x="7656" y="7405"/>
                  </a:cubicBezTo>
                  <a:lnTo>
                    <a:pt x="5167" y="9547"/>
                  </a:lnTo>
                  <a:lnTo>
                    <a:pt x="2710" y="7405"/>
                  </a:lnTo>
                  <a:cubicBezTo>
                    <a:pt x="1796" y="6585"/>
                    <a:pt x="1229" y="5420"/>
                    <a:pt x="1386" y="4034"/>
                  </a:cubicBezTo>
                  <a:cubicBezTo>
                    <a:pt x="1575" y="2206"/>
                    <a:pt x="3151" y="694"/>
                    <a:pt x="5167" y="694"/>
                  </a:cubicBezTo>
                  <a:close/>
                  <a:moveTo>
                    <a:pt x="8475" y="8980"/>
                  </a:moveTo>
                  <a:lnTo>
                    <a:pt x="9546" y="11122"/>
                  </a:lnTo>
                  <a:lnTo>
                    <a:pt x="977" y="11122"/>
                  </a:lnTo>
                  <a:lnTo>
                    <a:pt x="2017" y="8980"/>
                  </a:lnTo>
                  <a:lnTo>
                    <a:pt x="3529" y="8980"/>
                  </a:lnTo>
                  <a:lnTo>
                    <a:pt x="4978" y="10240"/>
                  </a:lnTo>
                  <a:cubicBezTo>
                    <a:pt x="5073" y="10272"/>
                    <a:pt x="5136" y="10335"/>
                    <a:pt x="5230" y="10335"/>
                  </a:cubicBezTo>
                  <a:cubicBezTo>
                    <a:pt x="5293" y="10335"/>
                    <a:pt x="5388" y="10272"/>
                    <a:pt x="5451" y="10240"/>
                  </a:cubicBezTo>
                  <a:lnTo>
                    <a:pt x="6900" y="8980"/>
                  </a:lnTo>
                  <a:close/>
                  <a:moveTo>
                    <a:pt x="5107" y="1"/>
                  </a:moveTo>
                  <a:cubicBezTo>
                    <a:pt x="2772" y="1"/>
                    <a:pt x="912" y="1815"/>
                    <a:pt x="662" y="3939"/>
                  </a:cubicBezTo>
                  <a:cubicBezTo>
                    <a:pt x="441" y="5483"/>
                    <a:pt x="1040" y="6932"/>
                    <a:pt x="2174" y="7940"/>
                  </a:cubicBezTo>
                  <a:lnTo>
                    <a:pt x="2615" y="8318"/>
                  </a:lnTo>
                  <a:lnTo>
                    <a:pt x="1638" y="8318"/>
                  </a:lnTo>
                  <a:cubicBezTo>
                    <a:pt x="1575" y="8318"/>
                    <a:pt x="1481" y="8413"/>
                    <a:pt x="1449" y="8507"/>
                  </a:cubicBezTo>
                  <a:lnTo>
                    <a:pt x="63" y="11343"/>
                  </a:lnTo>
                  <a:cubicBezTo>
                    <a:pt x="0" y="11469"/>
                    <a:pt x="0" y="11595"/>
                    <a:pt x="63" y="11721"/>
                  </a:cubicBezTo>
                  <a:cubicBezTo>
                    <a:pt x="126" y="11815"/>
                    <a:pt x="221" y="11878"/>
                    <a:pt x="347" y="11878"/>
                  </a:cubicBezTo>
                  <a:lnTo>
                    <a:pt x="10019" y="11878"/>
                  </a:lnTo>
                  <a:cubicBezTo>
                    <a:pt x="10145" y="11878"/>
                    <a:pt x="10271" y="11784"/>
                    <a:pt x="10302" y="11721"/>
                  </a:cubicBezTo>
                  <a:cubicBezTo>
                    <a:pt x="10365" y="11595"/>
                    <a:pt x="10365" y="11469"/>
                    <a:pt x="10302" y="11343"/>
                  </a:cubicBezTo>
                  <a:lnTo>
                    <a:pt x="8916" y="8507"/>
                  </a:lnTo>
                  <a:cubicBezTo>
                    <a:pt x="8885" y="8413"/>
                    <a:pt x="8727" y="8318"/>
                    <a:pt x="8601" y="8318"/>
                  </a:cubicBezTo>
                  <a:lnTo>
                    <a:pt x="7624" y="8318"/>
                  </a:lnTo>
                  <a:lnTo>
                    <a:pt x="8065" y="7940"/>
                  </a:lnTo>
                  <a:cubicBezTo>
                    <a:pt x="9042" y="7090"/>
                    <a:pt x="9641" y="5829"/>
                    <a:pt x="9641" y="4506"/>
                  </a:cubicBezTo>
                  <a:cubicBezTo>
                    <a:pt x="9641" y="2049"/>
                    <a:pt x="7656" y="1"/>
                    <a:pt x="5167" y="1"/>
                  </a:cubicBezTo>
                  <a:cubicBezTo>
                    <a:pt x="5147" y="1"/>
                    <a:pt x="5127" y="1"/>
                    <a:pt x="51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88" name="Google Shape;6888;p73"/>
          <p:cNvSpPr/>
          <p:nvPr/>
        </p:nvSpPr>
        <p:spPr>
          <a:xfrm>
            <a:off x="10113458" y="3233044"/>
            <a:ext cx="301149" cy="467161"/>
          </a:xfrm>
          <a:custGeom>
            <a:avLst/>
            <a:gdLst/>
            <a:ahLst/>
            <a:cxnLst/>
            <a:rect l="l" t="t" r="r" b="b"/>
            <a:pathLst>
              <a:path w="7657" h="11878" extrusionOk="0">
                <a:moveTo>
                  <a:pt x="3813" y="1387"/>
                </a:moveTo>
                <a:cubicBezTo>
                  <a:pt x="4254" y="1387"/>
                  <a:pt x="4664" y="1670"/>
                  <a:pt x="4821" y="2112"/>
                </a:cubicBezTo>
                <a:lnTo>
                  <a:pt x="2836" y="2112"/>
                </a:lnTo>
                <a:cubicBezTo>
                  <a:pt x="2994" y="1702"/>
                  <a:pt x="3372" y="1387"/>
                  <a:pt x="3813" y="1387"/>
                </a:cubicBezTo>
                <a:close/>
                <a:moveTo>
                  <a:pt x="4947" y="2805"/>
                </a:moveTo>
                <a:cubicBezTo>
                  <a:pt x="5199" y="2805"/>
                  <a:pt x="5357" y="3057"/>
                  <a:pt x="5294" y="3277"/>
                </a:cubicBezTo>
                <a:lnTo>
                  <a:pt x="4947" y="4222"/>
                </a:lnTo>
                <a:lnTo>
                  <a:pt x="2679" y="4222"/>
                </a:lnTo>
                <a:lnTo>
                  <a:pt x="2364" y="3277"/>
                </a:lnTo>
                <a:cubicBezTo>
                  <a:pt x="2332" y="3025"/>
                  <a:pt x="2490" y="2805"/>
                  <a:pt x="2710" y="2805"/>
                </a:cubicBezTo>
                <a:close/>
                <a:moveTo>
                  <a:pt x="4916" y="4852"/>
                </a:moveTo>
                <a:lnTo>
                  <a:pt x="5514" y="8381"/>
                </a:lnTo>
                <a:lnTo>
                  <a:pt x="2175" y="8381"/>
                </a:lnTo>
                <a:lnTo>
                  <a:pt x="2773" y="4852"/>
                </a:lnTo>
                <a:close/>
                <a:moveTo>
                  <a:pt x="5955" y="9074"/>
                </a:moveTo>
                <a:cubicBezTo>
                  <a:pt x="6144" y="9074"/>
                  <a:pt x="6302" y="9232"/>
                  <a:pt x="6302" y="9421"/>
                </a:cubicBezTo>
                <a:lnTo>
                  <a:pt x="6302" y="9799"/>
                </a:lnTo>
                <a:lnTo>
                  <a:pt x="1450" y="9799"/>
                </a:lnTo>
                <a:lnTo>
                  <a:pt x="1450" y="9421"/>
                </a:lnTo>
                <a:cubicBezTo>
                  <a:pt x="1419" y="9232"/>
                  <a:pt x="1576" y="9074"/>
                  <a:pt x="1765" y="9074"/>
                </a:cubicBezTo>
                <a:close/>
                <a:moveTo>
                  <a:pt x="6648" y="10460"/>
                </a:moveTo>
                <a:cubicBezTo>
                  <a:pt x="6806" y="10460"/>
                  <a:pt x="6964" y="10618"/>
                  <a:pt x="6964" y="10807"/>
                </a:cubicBezTo>
                <a:lnTo>
                  <a:pt x="6964" y="11153"/>
                </a:lnTo>
                <a:lnTo>
                  <a:pt x="757" y="11153"/>
                </a:lnTo>
                <a:lnTo>
                  <a:pt x="757" y="10807"/>
                </a:lnTo>
                <a:cubicBezTo>
                  <a:pt x="757" y="10618"/>
                  <a:pt x="915" y="10460"/>
                  <a:pt x="1104" y="10460"/>
                </a:cubicBezTo>
                <a:close/>
                <a:moveTo>
                  <a:pt x="3782" y="1"/>
                </a:moveTo>
                <a:cubicBezTo>
                  <a:pt x="3592" y="1"/>
                  <a:pt x="3435" y="158"/>
                  <a:pt x="3435" y="379"/>
                </a:cubicBezTo>
                <a:lnTo>
                  <a:pt x="3435" y="757"/>
                </a:lnTo>
                <a:cubicBezTo>
                  <a:pt x="2679" y="914"/>
                  <a:pt x="2143" y="1544"/>
                  <a:pt x="2049" y="2301"/>
                </a:cubicBezTo>
                <a:cubicBezTo>
                  <a:pt x="1702" y="2521"/>
                  <a:pt x="1545" y="3025"/>
                  <a:pt x="1671" y="3466"/>
                </a:cubicBezTo>
                <a:lnTo>
                  <a:pt x="1891" y="4191"/>
                </a:lnTo>
                <a:lnTo>
                  <a:pt x="1702" y="4191"/>
                </a:lnTo>
                <a:cubicBezTo>
                  <a:pt x="1513" y="4191"/>
                  <a:pt x="1356" y="4348"/>
                  <a:pt x="1356" y="4537"/>
                </a:cubicBezTo>
                <a:cubicBezTo>
                  <a:pt x="1356" y="4758"/>
                  <a:pt x="1513" y="4915"/>
                  <a:pt x="1702" y="4915"/>
                </a:cubicBezTo>
                <a:lnTo>
                  <a:pt x="1986" y="4915"/>
                </a:lnTo>
                <a:lnTo>
                  <a:pt x="1387" y="8444"/>
                </a:lnTo>
                <a:cubicBezTo>
                  <a:pt x="1009" y="8570"/>
                  <a:pt x="726" y="8948"/>
                  <a:pt x="726" y="9421"/>
                </a:cubicBezTo>
                <a:lnTo>
                  <a:pt x="726" y="9830"/>
                </a:lnTo>
                <a:cubicBezTo>
                  <a:pt x="316" y="9988"/>
                  <a:pt x="1" y="10334"/>
                  <a:pt x="1" y="10807"/>
                </a:cubicBezTo>
                <a:lnTo>
                  <a:pt x="1" y="11531"/>
                </a:lnTo>
                <a:cubicBezTo>
                  <a:pt x="1" y="11720"/>
                  <a:pt x="158" y="11878"/>
                  <a:pt x="347" y="11878"/>
                </a:cubicBezTo>
                <a:lnTo>
                  <a:pt x="7279" y="11878"/>
                </a:lnTo>
                <a:cubicBezTo>
                  <a:pt x="7499" y="11878"/>
                  <a:pt x="7657" y="11720"/>
                  <a:pt x="7657" y="11531"/>
                </a:cubicBezTo>
                <a:lnTo>
                  <a:pt x="7657" y="10807"/>
                </a:lnTo>
                <a:cubicBezTo>
                  <a:pt x="7657" y="10366"/>
                  <a:pt x="7373" y="9988"/>
                  <a:pt x="6932" y="9830"/>
                </a:cubicBezTo>
                <a:lnTo>
                  <a:pt x="6932" y="9421"/>
                </a:lnTo>
                <a:cubicBezTo>
                  <a:pt x="6932" y="8948"/>
                  <a:pt x="6617" y="8570"/>
                  <a:pt x="6176" y="8444"/>
                </a:cubicBezTo>
                <a:lnTo>
                  <a:pt x="5609" y="4915"/>
                </a:lnTo>
                <a:lnTo>
                  <a:pt x="5861" y="4915"/>
                </a:lnTo>
                <a:cubicBezTo>
                  <a:pt x="6081" y="4915"/>
                  <a:pt x="6207" y="4758"/>
                  <a:pt x="6207" y="4537"/>
                </a:cubicBezTo>
                <a:cubicBezTo>
                  <a:pt x="6207" y="4348"/>
                  <a:pt x="6081" y="4191"/>
                  <a:pt x="5861" y="4191"/>
                </a:cubicBezTo>
                <a:lnTo>
                  <a:pt x="5672" y="4191"/>
                </a:lnTo>
                <a:lnTo>
                  <a:pt x="5924" y="3466"/>
                </a:lnTo>
                <a:cubicBezTo>
                  <a:pt x="6081" y="3025"/>
                  <a:pt x="5861" y="2584"/>
                  <a:pt x="5514" y="2301"/>
                </a:cubicBezTo>
                <a:cubicBezTo>
                  <a:pt x="5451" y="1513"/>
                  <a:pt x="4884" y="914"/>
                  <a:pt x="4128" y="757"/>
                </a:cubicBezTo>
                <a:lnTo>
                  <a:pt x="4128" y="379"/>
                </a:lnTo>
                <a:cubicBezTo>
                  <a:pt x="4128" y="158"/>
                  <a:pt x="3971" y="1"/>
                  <a:pt x="37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89" name="Google Shape;6889;p73"/>
          <p:cNvGrpSpPr/>
          <p:nvPr/>
        </p:nvGrpSpPr>
        <p:grpSpPr>
          <a:xfrm>
            <a:off x="8250310" y="3864601"/>
            <a:ext cx="463425" cy="463425"/>
            <a:chOff x="4685050" y="1945825"/>
            <a:chExt cx="294575" cy="294575"/>
          </a:xfrm>
        </p:grpSpPr>
        <p:sp>
          <p:nvSpPr>
            <p:cNvPr id="6890" name="Google Shape;6890;p73"/>
            <p:cNvSpPr/>
            <p:nvPr/>
          </p:nvSpPr>
          <p:spPr>
            <a:xfrm>
              <a:off x="4720475" y="2086025"/>
              <a:ext cx="104775" cy="121300"/>
            </a:xfrm>
            <a:custGeom>
              <a:avLst/>
              <a:gdLst/>
              <a:ahLst/>
              <a:cxnLst/>
              <a:rect l="l" t="t" r="r" b="b"/>
              <a:pathLst>
                <a:path w="4191" h="4852" extrusionOk="0">
                  <a:moveTo>
                    <a:pt x="2017" y="693"/>
                  </a:moveTo>
                  <a:cubicBezTo>
                    <a:pt x="2427" y="693"/>
                    <a:pt x="2742" y="1008"/>
                    <a:pt x="2742" y="1386"/>
                  </a:cubicBezTo>
                  <a:cubicBezTo>
                    <a:pt x="2742" y="1796"/>
                    <a:pt x="2427" y="2111"/>
                    <a:pt x="2017" y="2111"/>
                  </a:cubicBezTo>
                  <a:cubicBezTo>
                    <a:pt x="1639" y="2111"/>
                    <a:pt x="1324" y="1796"/>
                    <a:pt x="1324" y="1386"/>
                  </a:cubicBezTo>
                  <a:cubicBezTo>
                    <a:pt x="1324" y="1008"/>
                    <a:pt x="1639" y="693"/>
                    <a:pt x="2017" y="693"/>
                  </a:cubicBezTo>
                  <a:close/>
                  <a:moveTo>
                    <a:pt x="2017" y="2772"/>
                  </a:moveTo>
                  <a:cubicBezTo>
                    <a:pt x="2773" y="2772"/>
                    <a:pt x="3403" y="3403"/>
                    <a:pt x="3403" y="4127"/>
                  </a:cubicBezTo>
                  <a:lnTo>
                    <a:pt x="631" y="4127"/>
                  </a:lnTo>
                  <a:cubicBezTo>
                    <a:pt x="631" y="3403"/>
                    <a:pt x="1261" y="2772"/>
                    <a:pt x="2017" y="2772"/>
                  </a:cubicBezTo>
                  <a:close/>
                  <a:moveTo>
                    <a:pt x="2049" y="0"/>
                  </a:moveTo>
                  <a:cubicBezTo>
                    <a:pt x="1324" y="0"/>
                    <a:pt x="694" y="630"/>
                    <a:pt x="694" y="1386"/>
                  </a:cubicBezTo>
                  <a:cubicBezTo>
                    <a:pt x="694" y="1733"/>
                    <a:pt x="851" y="2111"/>
                    <a:pt x="1072" y="2331"/>
                  </a:cubicBezTo>
                  <a:cubicBezTo>
                    <a:pt x="442" y="2678"/>
                    <a:pt x="1" y="3340"/>
                    <a:pt x="1" y="4127"/>
                  </a:cubicBezTo>
                  <a:lnTo>
                    <a:pt x="1" y="4505"/>
                  </a:lnTo>
                  <a:cubicBezTo>
                    <a:pt x="1" y="4694"/>
                    <a:pt x="158" y="4852"/>
                    <a:pt x="379" y="4852"/>
                  </a:cubicBezTo>
                  <a:lnTo>
                    <a:pt x="3844" y="4852"/>
                  </a:lnTo>
                  <a:cubicBezTo>
                    <a:pt x="4033" y="4852"/>
                    <a:pt x="4191" y="4694"/>
                    <a:pt x="4191" y="4505"/>
                  </a:cubicBezTo>
                  <a:lnTo>
                    <a:pt x="4191" y="4127"/>
                  </a:lnTo>
                  <a:cubicBezTo>
                    <a:pt x="4096" y="3340"/>
                    <a:pt x="3687" y="2678"/>
                    <a:pt x="3057" y="2331"/>
                  </a:cubicBezTo>
                  <a:cubicBezTo>
                    <a:pt x="3277" y="2111"/>
                    <a:pt x="3435" y="1733"/>
                    <a:pt x="3435" y="1386"/>
                  </a:cubicBezTo>
                  <a:cubicBezTo>
                    <a:pt x="3435" y="630"/>
                    <a:pt x="2805" y="0"/>
                    <a:pt x="20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1" name="Google Shape;6891;p73"/>
            <p:cNvSpPr/>
            <p:nvPr/>
          </p:nvSpPr>
          <p:spPr>
            <a:xfrm>
              <a:off x="4685050" y="1945825"/>
              <a:ext cx="294575" cy="294575"/>
            </a:xfrm>
            <a:custGeom>
              <a:avLst/>
              <a:gdLst/>
              <a:ahLst/>
              <a:cxnLst/>
              <a:rect l="l" t="t" r="r" b="b"/>
              <a:pathLst>
                <a:path w="11783" h="11783" extrusionOk="0">
                  <a:moveTo>
                    <a:pt x="6900" y="693"/>
                  </a:moveTo>
                  <a:lnTo>
                    <a:pt x="6900" y="1418"/>
                  </a:lnTo>
                  <a:lnTo>
                    <a:pt x="4820" y="1418"/>
                  </a:lnTo>
                  <a:lnTo>
                    <a:pt x="4820" y="693"/>
                  </a:lnTo>
                  <a:close/>
                  <a:moveTo>
                    <a:pt x="7215" y="2111"/>
                  </a:moveTo>
                  <a:cubicBezTo>
                    <a:pt x="7404" y="2111"/>
                    <a:pt x="7561" y="2269"/>
                    <a:pt x="7561" y="2458"/>
                  </a:cubicBezTo>
                  <a:cubicBezTo>
                    <a:pt x="7561" y="2678"/>
                    <a:pt x="7404" y="2836"/>
                    <a:pt x="7215" y="2836"/>
                  </a:cubicBezTo>
                  <a:lnTo>
                    <a:pt x="4474" y="2836"/>
                  </a:lnTo>
                  <a:cubicBezTo>
                    <a:pt x="4253" y="2836"/>
                    <a:pt x="4096" y="2678"/>
                    <a:pt x="4096" y="2458"/>
                  </a:cubicBezTo>
                  <a:cubicBezTo>
                    <a:pt x="4096" y="2269"/>
                    <a:pt x="4316" y="2111"/>
                    <a:pt x="4474" y="2111"/>
                  </a:cubicBezTo>
                  <a:close/>
                  <a:moveTo>
                    <a:pt x="6900" y="3497"/>
                  </a:moveTo>
                  <a:lnTo>
                    <a:pt x="6900" y="4568"/>
                  </a:lnTo>
                  <a:cubicBezTo>
                    <a:pt x="6900" y="4757"/>
                    <a:pt x="6742" y="4915"/>
                    <a:pt x="6553" y="4915"/>
                  </a:cubicBezTo>
                  <a:lnTo>
                    <a:pt x="5167" y="4915"/>
                  </a:lnTo>
                  <a:cubicBezTo>
                    <a:pt x="4978" y="4915"/>
                    <a:pt x="4820" y="4757"/>
                    <a:pt x="4820" y="4568"/>
                  </a:cubicBezTo>
                  <a:lnTo>
                    <a:pt x="4820" y="3497"/>
                  </a:lnTo>
                  <a:close/>
                  <a:moveTo>
                    <a:pt x="10775" y="4883"/>
                  </a:moveTo>
                  <a:cubicBezTo>
                    <a:pt x="10964" y="4883"/>
                    <a:pt x="11121" y="5041"/>
                    <a:pt x="11121" y="5230"/>
                  </a:cubicBezTo>
                  <a:lnTo>
                    <a:pt x="11121" y="10775"/>
                  </a:lnTo>
                  <a:cubicBezTo>
                    <a:pt x="11121" y="10964"/>
                    <a:pt x="10964" y="11121"/>
                    <a:pt x="10775" y="11121"/>
                  </a:cubicBezTo>
                  <a:lnTo>
                    <a:pt x="1008" y="11121"/>
                  </a:lnTo>
                  <a:cubicBezTo>
                    <a:pt x="788" y="11121"/>
                    <a:pt x="630" y="10964"/>
                    <a:pt x="630" y="10775"/>
                  </a:cubicBezTo>
                  <a:lnTo>
                    <a:pt x="630" y="5230"/>
                  </a:lnTo>
                  <a:cubicBezTo>
                    <a:pt x="630" y="5041"/>
                    <a:pt x="788" y="4883"/>
                    <a:pt x="1008" y="4883"/>
                  </a:cubicBezTo>
                  <a:lnTo>
                    <a:pt x="4190" y="4883"/>
                  </a:lnTo>
                  <a:cubicBezTo>
                    <a:pt x="4348" y="5261"/>
                    <a:pt x="4694" y="5577"/>
                    <a:pt x="5167" y="5577"/>
                  </a:cubicBezTo>
                  <a:lnTo>
                    <a:pt x="6553" y="5577"/>
                  </a:lnTo>
                  <a:cubicBezTo>
                    <a:pt x="6994" y="5577"/>
                    <a:pt x="7372" y="5293"/>
                    <a:pt x="7530" y="4883"/>
                  </a:cubicBezTo>
                  <a:close/>
                  <a:moveTo>
                    <a:pt x="4505" y="0"/>
                  </a:moveTo>
                  <a:cubicBezTo>
                    <a:pt x="4316" y="0"/>
                    <a:pt x="4159" y="158"/>
                    <a:pt x="4159" y="347"/>
                  </a:cubicBezTo>
                  <a:lnTo>
                    <a:pt x="4159" y="1449"/>
                  </a:lnTo>
                  <a:cubicBezTo>
                    <a:pt x="3749" y="1607"/>
                    <a:pt x="3434" y="1953"/>
                    <a:pt x="3434" y="2426"/>
                  </a:cubicBezTo>
                  <a:cubicBezTo>
                    <a:pt x="3434" y="2867"/>
                    <a:pt x="3718" y="3245"/>
                    <a:pt x="4159" y="3403"/>
                  </a:cubicBezTo>
                  <a:lnTo>
                    <a:pt x="4159" y="4190"/>
                  </a:lnTo>
                  <a:lnTo>
                    <a:pt x="1040" y="4190"/>
                  </a:lnTo>
                  <a:cubicBezTo>
                    <a:pt x="441" y="4190"/>
                    <a:pt x="0" y="4663"/>
                    <a:pt x="0" y="5230"/>
                  </a:cubicBezTo>
                  <a:lnTo>
                    <a:pt x="0" y="10775"/>
                  </a:lnTo>
                  <a:cubicBezTo>
                    <a:pt x="0" y="11373"/>
                    <a:pt x="473" y="11783"/>
                    <a:pt x="1040" y="11783"/>
                  </a:cubicBezTo>
                  <a:lnTo>
                    <a:pt x="10775" y="11783"/>
                  </a:lnTo>
                  <a:cubicBezTo>
                    <a:pt x="11342" y="11783"/>
                    <a:pt x="11783" y="11310"/>
                    <a:pt x="11783" y="10775"/>
                  </a:cubicBezTo>
                  <a:lnTo>
                    <a:pt x="11783" y="5230"/>
                  </a:lnTo>
                  <a:cubicBezTo>
                    <a:pt x="11783" y="4663"/>
                    <a:pt x="11342" y="4190"/>
                    <a:pt x="10775" y="4190"/>
                  </a:cubicBezTo>
                  <a:lnTo>
                    <a:pt x="7624" y="4190"/>
                  </a:lnTo>
                  <a:lnTo>
                    <a:pt x="7624" y="3403"/>
                  </a:lnTo>
                  <a:cubicBezTo>
                    <a:pt x="8002" y="3245"/>
                    <a:pt x="8317" y="2899"/>
                    <a:pt x="8317" y="2426"/>
                  </a:cubicBezTo>
                  <a:cubicBezTo>
                    <a:pt x="8317" y="1985"/>
                    <a:pt x="8034" y="1607"/>
                    <a:pt x="7624" y="1449"/>
                  </a:cubicBezTo>
                  <a:lnTo>
                    <a:pt x="7624" y="347"/>
                  </a:lnTo>
                  <a:cubicBezTo>
                    <a:pt x="7624" y="158"/>
                    <a:pt x="7467" y="0"/>
                    <a:pt x="72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2" name="Google Shape;6892;p73"/>
            <p:cNvSpPr/>
            <p:nvPr/>
          </p:nvSpPr>
          <p:spPr>
            <a:xfrm>
              <a:off x="4840200" y="2103350"/>
              <a:ext cx="104775" cy="17350"/>
            </a:xfrm>
            <a:custGeom>
              <a:avLst/>
              <a:gdLst/>
              <a:ahLst/>
              <a:cxnLst/>
              <a:rect l="l" t="t" r="r" b="b"/>
              <a:pathLst>
                <a:path w="4191" h="694" extrusionOk="0">
                  <a:moveTo>
                    <a:pt x="347" y="0"/>
                  </a:moveTo>
                  <a:cubicBezTo>
                    <a:pt x="158" y="0"/>
                    <a:pt x="0" y="158"/>
                    <a:pt x="0" y="347"/>
                  </a:cubicBezTo>
                  <a:cubicBezTo>
                    <a:pt x="0" y="536"/>
                    <a:pt x="158" y="693"/>
                    <a:pt x="347" y="693"/>
                  </a:cubicBezTo>
                  <a:lnTo>
                    <a:pt x="3844" y="693"/>
                  </a:lnTo>
                  <a:cubicBezTo>
                    <a:pt x="4033" y="693"/>
                    <a:pt x="4191" y="536"/>
                    <a:pt x="4191" y="347"/>
                  </a:cubicBezTo>
                  <a:cubicBezTo>
                    <a:pt x="4191" y="158"/>
                    <a:pt x="4033"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3" name="Google Shape;6893;p73"/>
            <p:cNvSpPr/>
            <p:nvPr/>
          </p:nvSpPr>
          <p:spPr>
            <a:xfrm>
              <a:off x="4840200" y="2137200"/>
              <a:ext cx="104775" cy="18150"/>
            </a:xfrm>
            <a:custGeom>
              <a:avLst/>
              <a:gdLst/>
              <a:ahLst/>
              <a:cxnLst/>
              <a:rect l="l" t="t" r="r" b="b"/>
              <a:pathLst>
                <a:path w="4191" h="726" extrusionOk="0">
                  <a:moveTo>
                    <a:pt x="347" y="1"/>
                  </a:moveTo>
                  <a:cubicBezTo>
                    <a:pt x="158" y="1"/>
                    <a:pt x="0" y="158"/>
                    <a:pt x="0" y="379"/>
                  </a:cubicBezTo>
                  <a:cubicBezTo>
                    <a:pt x="0" y="568"/>
                    <a:pt x="158" y="725"/>
                    <a:pt x="347" y="725"/>
                  </a:cubicBezTo>
                  <a:lnTo>
                    <a:pt x="3844" y="725"/>
                  </a:lnTo>
                  <a:cubicBezTo>
                    <a:pt x="4033" y="725"/>
                    <a:pt x="4191" y="568"/>
                    <a:pt x="4191" y="379"/>
                  </a:cubicBezTo>
                  <a:cubicBezTo>
                    <a:pt x="4191" y="158"/>
                    <a:pt x="4033" y="1"/>
                    <a:pt x="38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4" name="Google Shape;6894;p73"/>
            <p:cNvSpPr/>
            <p:nvPr/>
          </p:nvSpPr>
          <p:spPr>
            <a:xfrm>
              <a:off x="4840200" y="2171875"/>
              <a:ext cx="104775" cy="18125"/>
            </a:xfrm>
            <a:custGeom>
              <a:avLst/>
              <a:gdLst/>
              <a:ahLst/>
              <a:cxnLst/>
              <a:rect l="l" t="t" r="r" b="b"/>
              <a:pathLst>
                <a:path w="4191" h="725" extrusionOk="0">
                  <a:moveTo>
                    <a:pt x="347" y="0"/>
                  </a:moveTo>
                  <a:cubicBezTo>
                    <a:pt x="158" y="0"/>
                    <a:pt x="0" y="158"/>
                    <a:pt x="0" y="347"/>
                  </a:cubicBezTo>
                  <a:cubicBezTo>
                    <a:pt x="0" y="567"/>
                    <a:pt x="158" y="725"/>
                    <a:pt x="347" y="725"/>
                  </a:cubicBezTo>
                  <a:lnTo>
                    <a:pt x="3844" y="725"/>
                  </a:lnTo>
                  <a:cubicBezTo>
                    <a:pt x="4033" y="725"/>
                    <a:pt x="4191" y="567"/>
                    <a:pt x="4191" y="347"/>
                  </a:cubicBezTo>
                  <a:cubicBezTo>
                    <a:pt x="4191" y="158"/>
                    <a:pt x="4033"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895" name="Google Shape;6895;p73"/>
          <p:cNvSpPr/>
          <p:nvPr/>
        </p:nvSpPr>
        <p:spPr>
          <a:xfrm>
            <a:off x="8249517" y="4516510"/>
            <a:ext cx="464684" cy="463465"/>
          </a:xfrm>
          <a:custGeom>
            <a:avLst/>
            <a:gdLst/>
            <a:ahLst/>
            <a:cxnLst/>
            <a:rect l="l" t="t" r="r" b="b"/>
            <a:pathLst>
              <a:path w="11815" h="11784" extrusionOk="0">
                <a:moveTo>
                  <a:pt x="5923" y="2080"/>
                </a:moveTo>
                <a:cubicBezTo>
                  <a:pt x="6459" y="2080"/>
                  <a:pt x="6932" y="2552"/>
                  <a:pt x="6932" y="3119"/>
                </a:cubicBezTo>
                <a:lnTo>
                  <a:pt x="6932" y="3466"/>
                </a:lnTo>
                <a:lnTo>
                  <a:pt x="4884" y="3466"/>
                </a:lnTo>
                <a:lnTo>
                  <a:pt x="4884" y="3119"/>
                </a:lnTo>
                <a:cubicBezTo>
                  <a:pt x="4884" y="2521"/>
                  <a:pt x="5356" y="2080"/>
                  <a:pt x="5923" y="2080"/>
                </a:cubicBezTo>
                <a:close/>
                <a:moveTo>
                  <a:pt x="5923" y="662"/>
                </a:moveTo>
                <a:cubicBezTo>
                  <a:pt x="7247" y="662"/>
                  <a:pt x="8349" y="1765"/>
                  <a:pt x="8349" y="3119"/>
                </a:cubicBezTo>
                <a:lnTo>
                  <a:pt x="8349" y="3466"/>
                </a:lnTo>
                <a:lnTo>
                  <a:pt x="7656" y="3466"/>
                </a:lnTo>
                <a:lnTo>
                  <a:pt x="7656" y="3119"/>
                </a:lnTo>
                <a:cubicBezTo>
                  <a:pt x="7656" y="2174"/>
                  <a:pt x="6869" y="1387"/>
                  <a:pt x="5923" y="1387"/>
                </a:cubicBezTo>
                <a:cubicBezTo>
                  <a:pt x="4978" y="1387"/>
                  <a:pt x="4191" y="2174"/>
                  <a:pt x="4191" y="3119"/>
                </a:cubicBezTo>
                <a:lnTo>
                  <a:pt x="4191" y="3466"/>
                </a:lnTo>
                <a:lnTo>
                  <a:pt x="3466" y="3466"/>
                </a:lnTo>
                <a:lnTo>
                  <a:pt x="3466" y="3119"/>
                </a:lnTo>
                <a:cubicBezTo>
                  <a:pt x="3466" y="1765"/>
                  <a:pt x="4569" y="662"/>
                  <a:pt x="5923" y="662"/>
                </a:cubicBezTo>
                <a:close/>
                <a:moveTo>
                  <a:pt x="1387" y="4191"/>
                </a:moveTo>
                <a:lnTo>
                  <a:pt x="1387" y="6742"/>
                </a:lnTo>
                <a:cubicBezTo>
                  <a:pt x="946" y="6490"/>
                  <a:pt x="662" y="6018"/>
                  <a:pt x="662" y="5545"/>
                </a:cubicBezTo>
                <a:lnTo>
                  <a:pt x="662" y="4537"/>
                </a:lnTo>
                <a:cubicBezTo>
                  <a:pt x="662" y="4348"/>
                  <a:pt x="820" y="4191"/>
                  <a:pt x="1040" y="4191"/>
                </a:cubicBezTo>
                <a:close/>
                <a:moveTo>
                  <a:pt x="10775" y="4128"/>
                </a:moveTo>
                <a:cubicBezTo>
                  <a:pt x="10996" y="4128"/>
                  <a:pt x="11153" y="4285"/>
                  <a:pt x="11153" y="4506"/>
                </a:cubicBezTo>
                <a:lnTo>
                  <a:pt x="11153" y="5545"/>
                </a:lnTo>
                <a:cubicBezTo>
                  <a:pt x="11153" y="6081"/>
                  <a:pt x="10870" y="6490"/>
                  <a:pt x="10429" y="6742"/>
                </a:cubicBezTo>
                <a:lnTo>
                  <a:pt x="10429" y="4128"/>
                </a:lnTo>
                <a:close/>
                <a:moveTo>
                  <a:pt x="8349" y="4191"/>
                </a:moveTo>
                <a:lnTo>
                  <a:pt x="8349" y="6931"/>
                </a:lnTo>
                <a:lnTo>
                  <a:pt x="3498" y="6931"/>
                </a:lnTo>
                <a:lnTo>
                  <a:pt x="3498" y="4191"/>
                </a:lnTo>
                <a:close/>
                <a:moveTo>
                  <a:pt x="6270" y="7593"/>
                </a:moveTo>
                <a:lnTo>
                  <a:pt x="6270" y="7971"/>
                </a:lnTo>
                <a:cubicBezTo>
                  <a:pt x="6270" y="8160"/>
                  <a:pt x="6112" y="8318"/>
                  <a:pt x="5923" y="8318"/>
                </a:cubicBezTo>
                <a:cubicBezTo>
                  <a:pt x="5703" y="8318"/>
                  <a:pt x="5545" y="8160"/>
                  <a:pt x="5545" y="7971"/>
                </a:cubicBezTo>
                <a:lnTo>
                  <a:pt x="5545" y="7593"/>
                </a:lnTo>
                <a:close/>
                <a:moveTo>
                  <a:pt x="662" y="7089"/>
                </a:moveTo>
                <a:cubicBezTo>
                  <a:pt x="883" y="7278"/>
                  <a:pt x="1103" y="7404"/>
                  <a:pt x="1387" y="7467"/>
                </a:cubicBezTo>
                <a:lnTo>
                  <a:pt x="1387" y="11153"/>
                </a:lnTo>
                <a:lnTo>
                  <a:pt x="1040" y="11153"/>
                </a:lnTo>
                <a:cubicBezTo>
                  <a:pt x="820" y="11153"/>
                  <a:pt x="662" y="10996"/>
                  <a:pt x="662" y="10807"/>
                </a:cubicBezTo>
                <a:lnTo>
                  <a:pt x="662" y="7089"/>
                </a:lnTo>
                <a:close/>
                <a:moveTo>
                  <a:pt x="2804" y="4191"/>
                </a:moveTo>
                <a:lnTo>
                  <a:pt x="2804" y="11153"/>
                </a:lnTo>
                <a:lnTo>
                  <a:pt x="2080" y="11153"/>
                </a:lnTo>
                <a:lnTo>
                  <a:pt x="2080" y="4191"/>
                </a:lnTo>
                <a:close/>
                <a:moveTo>
                  <a:pt x="8318" y="7656"/>
                </a:moveTo>
                <a:lnTo>
                  <a:pt x="8318" y="11153"/>
                </a:lnTo>
                <a:lnTo>
                  <a:pt x="3498" y="11153"/>
                </a:lnTo>
                <a:lnTo>
                  <a:pt x="3498" y="7656"/>
                </a:lnTo>
                <a:lnTo>
                  <a:pt x="4884" y="7656"/>
                </a:lnTo>
                <a:lnTo>
                  <a:pt x="4884" y="8003"/>
                </a:lnTo>
                <a:cubicBezTo>
                  <a:pt x="4884" y="8601"/>
                  <a:pt x="5356" y="9011"/>
                  <a:pt x="5923" y="9011"/>
                </a:cubicBezTo>
                <a:cubicBezTo>
                  <a:pt x="6459" y="9011"/>
                  <a:pt x="6932" y="8538"/>
                  <a:pt x="6932" y="8003"/>
                </a:cubicBezTo>
                <a:lnTo>
                  <a:pt x="6932" y="7656"/>
                </a:lnTo>
                <a:close/>
                <a:moveTo>
                  <a:pt x="9767" y="4191"/>
                </a:moveTo>
                <a:lnTo>
                  <a:pt x="9767" y="11153"/>
                </a:lnTo>
                <a:lnTo>
                  <a:pt x="9074" y="11153"/>
                </a:lnTo>
                <a:lnTo>
                  <a:pt x="9074" y="4191"/>
                </a:lnTo>
                <a:close/>
                <a:moveTo>
                  <a:pt x="11153" y="7120"/>
                </a:moveTo>
                <a:lnTo>
                  <a:pt x="11153" y="10807"/>
                </a:lnTo>
                <a:cubicBezTo>
                  <a:pt x="11153" y="10996"/>
                  <a:pt x="10996" y="11153"/>
                  <a:pt x="10807" y="11153"/>
                </a:cubicBezTo>
                <a:lnTo>
                  <a:pt x="10429" y="11153"/>
                </a:lnTo>
                <a:lnTo>
                  <a:pt x="10429" y="7530"/>
                </a:lnTo>
                <a:cubicBezTo>
                  <a:pt x="10712" y="7436"/>
                  <a:pt x="10964" y="7278"/>
                  <a:pt x="11153" y="7120"/>
                </a:cubicBezTo>
                <a:close/>
                <a:moveTo>
                  <a:pt x="5923" y="0"/>
                </a:moveTo>
                <a:cubicBezTo>
                  <a:pt x="4191" y="0"/>
                  <a:pt x="2804" y="1418"/>
                  <a:pt x="2804" y="3119"/>
                </a:cubicBezTo>
                <a:lnTo>
                  <a:pt x="2804" y="3466"/>
                </a:lnTo>
                <a:lnTo>
                  <a:pt x="1040" y="3466"/>
                </a:lnTo>
                <a:cubicBezTo>
                  <a:pt x="442" y="3466"/>
                  <a:pt x="1" y="3939"/>
                  <a:pt x="1" y="4474"/>
                </a:cubicBezTo>
                <a:lnTo>
                  <a:pt x="1" y="5514"/>
                </a:lnTo>
                <a:lnTo>
                  <a:pt x="1" y="10744"/>
                </a:lnTo>
                <a:cubicBezTo>
                  <a:pt x="1" y="11342"/>
                  <a:pt x="473" y="11783"/>
                  <a:pt x="1040" y="11783"/>
                </a:cubicBezTo>
                <a:lnTo>
                  <a:pt x="10807" y="11783"/>
                </a:lnTo>
                <a:cubicBezTo>
                  <a:pt x="11374" y="11783"/>
                  <a:pt x="11815" y="11311"/>
                  <a:pt x="11815" y="10744"/>
                </a:cubicBezTo>
                <a:lnTo>
                  <a:pt x="11815" y="5514"/>
                </a:lnTo>
                <a:lnTo>
                  <a:pt x="11815" y="4474"/>
                </a:lnTo>
                <a:cubicBezTo>
                  <a:pt x="11815" y="3939"/>
                  <a:pt x="11374" y="3466"/>
                  <a:pt x="10807" y="3466"/>
                </a:cubicBezTo>
                <a:lnTo>
                  <a:pt x="9011" y="3466"/>
                </a:lnTo>
                <a:lnTo>
                  <a:pt x="9011" y="3119"/>
                </a:lnTo>
                <a:cubicBezTo>
                  <a:pt x="9011" y="1387"/>
                  <a:pt x="7593" y="0"/>
                  <a:pt x="592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6" name="Google Shape;6896;p73"/>
          <p:cNvSpPr/>
          <p:nvPr/>
        </p:nvSpPr>
        <p:spPr>
          <a:xfrm>
            <a:off x="8277400" y="5113729"/>
            <a:ext cx="408915" cy="467161"/>
          </a:xfrm>
          <a:custGeom>
            <a:avLst/>
            <a:gdLst/>
            <a:ahLst/>
            <a:cxnLst/>
            <a:rect l="l" t="t" r="r" b="b"/>
            <a:pathLst>
              <a:path w="10397" h="11878" extrusionOk="0">
                <a:moveTo>
                  <a:pt x="5135" y="725"/>
                </a:moveTo>
                <a:cubicBezTo>
                  <a:pt x="6868" y="725"/>
                  <a:pt x="8254" y="2142"/>
                  <a:pt x="8254" y="3844"/>
                </a:cubicBezTo>
                <a:lnTo>
                  <a:pt x="8254" y="5923"/>
                </a:lnTo>
                <a:cubicBezTo>
                  <a:pt x="8254" y="6112"/>
                  <a:pt x="8097" y="6270"/>
                  <a:pt x="7908" y="6270"/>
                </a:cubicBezTo>
                <a:lnTo>
                  <a:pt x="7498" y="6270"/>
                </a:lnTo>
                <a:cubicBezTo>
                  <a:pt x="7561" y="6144"/>
                  <a:pt x="7561" y="6049"/>
                  <a:pt x="7561" y="5923"/>
                </a:cubicBezTo>
                <a:lnTo>
                  <a:pt x="7561" y="3844"/>
                </a:lnTo>
                <a:cubicBezTo>
                  <a:pt x="7561" y="3623"/>
                  <a:pt x="7404" y="3466"/>
                  <a:pt x="7183" y="3466"/>
                </a:cubicBezTo>
                <a:lnTo>
                  <a:pt x="6490" y="3466"/>
                </a:lnTo>
                <a:cubicBezTo>
                  <a:pt x="5892" y="3466"/>
                  <a:pt x="5450" y="2993"/>
                  <a:pt x="5450" y="2458"/>
                </a:cubicBezTo>
                <a:lnTo>
                  <a:pt x="5450" y="1733"/>
                </a:lnTo>
                <a:cubicBezTo>
                  <a:pt x="5450" y="1544"/>
                  <a:pt x="5293" y="1386"/>
                  <a:pt x="5104" y="1386"/>
                </a:cubicBezTo>
                <a:cubicBezTo>
                  <a:pt x="4915" y="1386"/>
                  <a:pt x="4757" y="1544"/>
                  <a:pt x="4757" y="1733"/>
                </a:cubicBezTo>
                <a:lnTo>
                  <a:pt x="4757" y="2458"/>
                </a:lnTo>
                <a:cubicBezTo>
                  <a:pt x="4757" y="3056"/>
                  <a:pt x="4285" y="3466"/>
                  <a:pt x="3718" y="3466"/>
                </a:cubicBezTo>
                <a:lnTo>
                  <a:pt x="3088" y="3466"/>
                </a:lnTo>
                <a:cubicBezTo>
                  <a:pt x="2899" y="3466"/>
                  <a:pt x="2741" y="3623"/>
                  <a:pt x="2741" y="3844"/>
                </a:cubicBezTo>
                <a:lnTo>
                  <a:pt x="2741" y="5923"/>
                </a:lnTo>
                <a:cubicBezTo>
                  <a:pt x="2741" y="6049"/>
                  <a:pt x="2741" y="6144"/>
                  <a:pt x="2773" y="6270"/>
                </a:cubicBezTo>
                <a:lnTo>
                  <a:pt x="2395" y="6270"/>
                </a:lnTo>
                <a:cubicBezTo>
                  <a:pt x="2205" y="6270"/>
                  <a:pt x="2048" y="6112"/>
                  <a:pt x="2048" y="5923"/>
                </a:cubicBezTo>
                <a:lnTo>
                  <a:pt x="2048" y="3844"/>
                </a:lnTo>
                <a:cubicBezTo>
                  <a:pt x="2048" y="2111"/>
                  <a:pt x="3466" y="725"/>
                  <a:pt x="5135" y="725"/>
                </a:cubicBezTo>
                <a:close/>
                <a:moveTo>
                  <a:pt x="5230" y="3466"/>
                </a:moveTo>
                <a:cubicBezTo>
                  <a:pt x="5545" y="3907"/>
                  <a:pt x="6049" y="4190"/>
                  <a:pt x="6585" y="4190"/>
                </a:cubicBezTo>
                <a:lnTo>
                  <a:pt x="6963" y="4190"/>
                </a:lnTo>
                <a:lnTo>
                  <a:pt x="6963" y="5955"/>
                </a:lnTo>
                <a:lnTo>
                  <a:pt x="6931" y="5955"/>
                </a:lnTo>
                <a:cubicBezTo>
                  <a:pt x="6931" y="6553"/>
                  <a:pt x="6459" y="6994"/>
                  <a:pt x="5892" y="6994"/>
                </a:cubicBezTo>
                <a:lnTo>
                  <a:pt x="4505" y="6994"/>
                </a:lnTo>
                <a:cubicBezTo>
                  <a:pt x="3938" y="6994"/>
                  <a:pt x="3497" y="6522"/>
                  <a:pt x="3497" y="5955"/>
                </a:cubicBezTo>
                <a:lnTo>
                  <a:pt x="3497" y="4190"/>
                </a:lnTo>
                <a:lnTo>
                  <a:pt x="3844" y="4190"/>
                </a:lnTo>
                <a:cubicBezTo>
                  <a:pt x="4379" y="4190"/>
                  <a:pt x="4915" y="3907"/>
                  <a:pt x="5230" y="3466"/>
                </a:cubicBezTo>
                <a:close/>
                <a:moveTo>
                  <a:pt x="6301" y="7624"/>
                </a:moveTo>
                <a:cubicBezTo>
                  <a:pt x="6396" y="8034"/>
                  <a:pt x="6805" y="8349"/>
                  <a:pt x="7278" y="8349"/>
                </a:cubicBezTo>
                <a:lnTo>
                  <a:pt x="7624" y="8349"/>
                </a:lnTo>
                <a:lnTo>
                  <a:pt x="7624" y="9200"/>
                </a:lnTo>
                <a:cubicBezTo>
                  <a:pt x="6852" y="9546"/>
                  <a:pt x="6025" y="9719"/>
                  <a:pt x="5198" y="9719"/>
                </a:cubicBezTo>
                <a:cubicBezTo>
                  <a:pt x="4371" y="9719"/>
                  <a:pt x="3544" y="9546"/>
                  <a:pt x="2773" y="9200"/>
                </a:cubicBezTo>
                <a:lnTo>
                  <a:pt x="2773" y="8349"/>
                </a:lnTo>
                <a:lnTo>
                  <a:pt x="3119" y="8349"/>
                </a:lnTo>
                <a:cubicBezTo>
                  <a:pt x="3560" y="8349"/>
                  <a:pt x="3970" y="8034"/>
                  <a:pt x="4127" y="7624"/>
                </a:cubicBezTo>
                <a:cubicBezTo>
                  <a:pt x="4253" y="7656"/>
                  <a:pt x="4411" y="7656"/>
                  <a:pt x="4505" y="7656"/>
                </a:cubicBezTo>
                <a:lnTo>
                  <a:pt x="5892" y="7656"/>
                </a:lnTo>
                <a:cubicBezTo>
                  <a:pt x="6018" y="7656"/>
                  <a:pt x="6175" y="7656"/>
                  <a:pt x="6301" y="7624"/>
                </a:cubicBezTo>
                <a:close/>
                <a:moveTo>
                  <a:pt x="2079" y="8349"/>
                </a:moveTo>
                <a:lnTo>
                  <a:pt x="2079" y="11153"/>
                </a:lnTo>
                <a:lnTo>
                  <a:pt x="693" y="11153"/>
                </a:lnTo>
                <a:lnTo>
                  <a:pt x="693" y="9389"/>
                </a:lnTo>
                <a:cubicBezTo>
                  <a:pt x="693" y="8790"/>
                  <a:pt x="1166" y="8349"/>
                  <a:pt x="1733" y="8349"/>
                </a:cubicBezTo>
                <a:close/>
                <a:moveTo>
                  <a:pt x="7656" y="9924"/>
                </a:moveTo>
                <a:lnTo>
                  <a:pt x="7656" y="11153"/>
                </a:lnTo>
                <a:lnTo>
                  <a:pt x="2773" y="11153"/>
                </a:lnTo>
                <a:lnTo>
                  <a:pt x="2773" y="9924"/>
                </a:lnTo>
                <a:cubicBezTo>
                  <a:pt x="3560" y="10239"/>
                  <a:pt x="4411" y="10397"/>
                  <a:pt x="5230" y="10397"/>
                </a:cubicBezTo>
                <a:cubicBezTo>
                  <a:pt x="6049" y="10397"/>
                  <a:pt x="6868" y="10239"/>
                  <a:pt x="7656" y="9924"/>
                </a:cubicBezTo>
                <a:close/>
                <a:moveTo>
                  <a:pt x="8664" y="8349"/>
                </a:moveTo>
                <a:cubicBezTo>
                  <a:pt x="9231" y="8349"/>
                  <a:pt x="9672" y="8821"/>
                  <a:pt x="9672" y="9389"/>
                </a:cubicBezTo>
                <a:lnTo>
                  <a:pt x="9672" y="11153"/>
                </a:lnTo>
                <a:lnTo>
                  <a:pt x="8286" y="11153"/>
                </a:lnTo>
                <a:lnTo>
                  <a:pt x="8286" y="8349"/>
                </a:lnTo>
                <a:close/>
                <a:moveTo>
                  <a:pt x="5198" y="0"/>
                </a:moveTo>
                <a:cubicBezTo>
                  <a:pt x="3088" y="0"/>
                  <a:pt x="1355" y="1701"/>
                  <a:pt x="1355" y="3844"/>
                </a:cubicBezTo>
                <a:lnTo>
                  <a:pt x="1355" y="5923"/>
                </a:lnTo>
                <a:cubicBezTo>
                  <a:pt x="1355" y="6522"/>
                  <a:pt x="1827" y="6931"/>
                  <a:pt x="2395" y="6931"/>
                </a:cubicBezTo>
                <a:lnTo>
                  <a:pt x="3088" y="6931"/>
                </a:lnTo>
                <a:cubicBezTo>
                  <a:pt x="3182" y="7057"/>
                  <a:pt x="3308" y="7183"/>
                  <a:pt x="3466" y="7309"/>
                </a:cubicBezTo>
                <a:cubicBezTo>
                  <a:pt x="3466" y="7530"/>
                  <a:pt x="3308" y="7687"/>
                  <a:pt x="3088" y="7687"/>
                </a:cubicBezTo>
                <a:lnTo>
                  <a:pt x="1733" y="7687"/>
                </a:lnTo>
                <a:cubicBezTo>
                  <a:pt x="788" y="7687"/>
                  <a:pt x="0" y="8475"/>
                  <a:pt x="0" y="9420"/>
                </a:cubicBezTo>
                <a:lnTo>
                  <a:pt x="0" y="11499"/>
                </a:lnTo>
                <a:cubicBezTo>
                  <a:pt x="0" y="11720"/>
                  <a:pt x="158" y="11877"/>
                  <a:pt x="347" y="11877"/>
                </a:cubicBezTo>
                <a:lnTo>
                  <a:pt x="10019" y="11877"/>
                </a:lnTo>
                <a:cubicBezTo>
                  <a:pt x="10239" y="11877"/>
                  <a:pt x="10397" y="11720"/>
                  <a:pt x="10397" y="11499"/>
                </a:cubicBezTo>
                <a:lnTo>
                  <a:pt x="10397" y="9420"/>
                </a:lnTo>
                <a:cubicBezTo>
                  <a:pt x="10397" y="8475"/>
                  <a:pt x="9609" y="7687"/>
                  <a:pt x="8664" y="7687"/>
                </a:cubicBezTo>
                <a:lnTo>
                  <a:pt x="7278" y="7687"/>
                </a:lnTo>
                <a:cubicBezTo>
                  <a:pt x="7089" y="7687"/>
                  <a:pt x="6931" y="7530"/>
                  <a:pt x="6931" y="7341"/>
                </a:cubicBezTo>
                <a:cubicBezTo>
                  <a:pt x="7026" y="7246"/>
                  <a:pt x="7152" y="7152"/>
                  <a:pt x="7278" y="6994"/>
                </a:cubicBezTo>
                <a:lnTo>
                  <a:pt x="7971" y="6994"/>
                </a:lnTo>
                <a:cubicBezTo>
                  <a:pt x="8569" y="6994"/>
                  <a:pt x="9011" y="6522"/>
                  <a:pt x="9011" y="5955"/>
                </a:cubicBezTo>
                <a:lnTo>
                  <a:pt x="9011" y="3844"/>
                </a:lnTo>
                <a:cubicBezTo>
                  <a:pt x="9011" y="1733"/>
                  <a:pt x="7309" y="0"/>
                  <a:pt x="51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897" name="Google Shape;6897;p73"/>
          <p:cNvGrpSpPr/>
          <p:nvPr/>
        </p:nvGrpSpPr>
        <p:grpSpPr>
          <a:xfrm>
            <a:off x="10610673" y="4516568"/>
            <a:ext cx="464684" cy="463465"/>
            <a:chOff x="6131900" y="2301825"/>
            <a:chExt cx="295375" cy="294600"/>
          </a:xfrm>
        </p:grpSpPr>
        <p:sp>
          <p:nvSpPr>
            <p:cNvPr id="6898" name="Google Shape;6898;p73"/>
            <p:cNvSpPr/>
            <p:nvPr/>
          </p:nvSpPr>
          <p:spPr>
            <a:xfrm>
              <a:off x="6131900" y="2301825"/>
              <a:ext cx="295375" cy="294600"/>
            </a:xfrm>
            <a:custGeom>
              <a:avLst/>
              <a:gdLst/>
              <a:ahLst/>
              <a:cxnLst/>
              <a:rect l="l" t="t" r="r" b="b"/>
              <a:pathLst>
                <a:path w="11815" h="11784" extrusionOk="0">
                  <a:moveTo>
                    <a:pt x="3813" y="630"/>
                  </a:moveTo>
                  <a:cubicBezTo>
                    <a:pt x="4002" y="630"/>
                    <a:pt x="4159" y="788"/>
                    <a:pt x="4159" y="977"/>
                  </a:cubicBezTo>
                  <a:lnTo>
                    <a:pt x="4159" y="1355"/>
                  </a:lnTo>
                  <a:lnTo>
                    <a:pt x="1387" y="1355"/>
                  </a:lnTo>
                  <a:lnTo>
                    <a:pt x="1387" y="977"/>
                  </a:lnTo>
                  <a:lnTo>
                    <a:pt x="1355" y="977"/>
                  </a:lnTo>
                  <a:cubicBezTo>
                    <a:pt x="1355" y="788"/>
                    <a:pt x="1513" y="630"/>
                    <a:pt x="1733" y="630"/>
                  </a:cubicBezTo>
                  <a:close/>
                  <a:moveTo>
                    <a:pt x="10114" y="1355"/>
                  </a:moveTo>
                  <a:cubicBezTo>
                    <a:pt x="10303" y="1355"/>
                    <a:pt x="10460" y="1513"/>
                    <a:pt x="10460" y="1702"/>
                  </a:cubicBezTo>
                  <a:lnTo>
                    <a:pt x="10460" y="3434"/>
                  </a:lnTo>
                  <a:lnTo>
                    <a:pt x="7688" y="3434"/>
                  </a:lnTo>
                  <a:cubicBezTo>
                    <a:pt x="7656" y="3277"/>
                    <a:pt x="7656" y="1859"/>
                    <a:pt x="7656" y="1702"/>
                  </a:cubicBezTo>
                  <a:cubicBezTo>
                    <a:pt x="7656" y="1513"/>
                    <a:pt x="7814" y="1355"/>
                    <a:pt x="8034" y="1355"/>
                  </a:cubicBezTo>
                  <a:close/>
                  <a:moveTo>
                    <a:pt x="4128" y="2048"/>
                  </a:moveTo>
                  <a:lnTo>
                    <a:pt x="4128" y="4821"/>
                  </a:lnTo>
                  <a:lnTo>
                    <a:pt x="1355" y="4821"/>
                  </a:lnTo>
                  <a:lnTo>
                    <a:pt x="1355" y="2048"/>
                  </a:lnTo>
                  <a:close/>
                  <a:moveTo>
                    <a:pt x="6617" y="2048"/>
                  </a:moveTo>
                  <a:cubicBezTo>
                    <a:pt x="6806" y="2048"/>
                    <a:pt x="6963" y="2206"/>
                    <a:pt x="6963" y="2395"/>
                  </a:cubicBezTo>
                  <a:lnTo>
                    <a:pt x="6963" y="4852"/>
                  </a:lnTo>
                  <a:lnTo>
                    <a:pt x="4821" y="4852"/>
                  </a:lnTo>
                  <a:lnTo>
                    <a:pt x="4821" y="2395"/>
                  </a:lnTo>
                  <a:cubicBezTo>
                    <a:pt x="4821" y="2206"/>
                    <a:pt x="4978" y="2048"/>
                    <a:pt x="5167" y="2048"/>
                  </a:cubicBezTo>
                  <a:close/>
                  <a:moveTo>
                    <a:pt x="10429" y="4127"/>
                  </a:moveTo>
                  <a:lnTo>
                    <a:pt x="10429" y="4852"/>
                  </a:lnTo>
                  <a:lnTo>
                    <a:pt x="7656" y="4852"/>
                  </a:lnTo>
                  <a:lnTo>
                    <a:pt x="7656" y="4127"/>
                  </a:lnTo>
                  <a:close/>
                  <a:moveTo>
                    <a:pt x="10775" y="5514"/>
                  </a:moveTo>
                  <a:cubicBezTo>
                    <a:pt x="10964" y="5514"/>
                    <a:pt x="11122" y="5671"/>
                    <a:pt x="11122" y="5860"/>
                  </a:cubicBezTo>
                  <a:lnTo>
                    <a:pt x="11122" y="10744"/>
                  </a:lnTo>
                  <a:cubicBezTo>
                    <a:pt x="11122" y="10964"/>
                    <a:pt x="10964" y="11122"/>
                    <a:pt x="10775" y="11122"/>
                  </a:cubicBezTo>
                  <a:lnTo>
                    <a:pt x="1009" y="11122"/>
                  </a:lnTo>
                  <a:cubicBezTo>
                    <a:pt x="820" y="11122"/>
                    <a:pt x="662" y="10964"/>
                    <a:pt x="662" y="10744"/>
                  </a:cubicBezTo>
                  <a:lnTo>
                    <a:pt x="662" y="5860"/>
                  </a:lnTo>
                  <a:cubicBezTo>
                    <a:pt x="662" y="5671"/>
                    <a:pt x="820" y="5514"/>
                    <a:pt x="1009" y="5514"/>
                  </a:cubicBezTo>
                  <a:close/>
                  <a:moveTo>
                    <a:pt x="1733" y="0"/>
                  </a:moveTo>
                  <a:cubicBezTo>
                    <a:pt x="1135" y="0"/>
                    <a:pt x="694" y="473"/>
                    <a:pt x="694" y="1040"/>
                  </a:cubicBezTo>
                  <a:lnTo>
                    <a:pt x="694" y="4884"/>
                  </a:lnTo>
                  <a:cubicBezTo>
                    <a:pt x="316" y="5041"/>
                    <a:pt x="1" y="5388"/>
                    <a:pt x="1" y="5860"/>
                  </a:cubicBezTo>
                  <a:lnTo>
                    <a:pt x="1" y="10744"/>
                  </a:lnTo>
                  <a:cubicBezTo>
                    <a:pt x="1" y="11342"/>
                    <a:pt x="473" y="11783"/>
                    <a:pt x="1009" y="11783"/>
                  </a:cubicBezTo>
                  <a:lnTo>
                    <a:pt x="10775" y="11783"/>
                  </a:lnTo>
                  <a:cubicBezTo>
                    <a:pt x="11374" y="11783"/>
                    <a:pt x="11815" y="11311"/>
                    <a:pt x="11815" y="10744"/>
                  </a:cubicBezTo>
                  <a:lnTo>
                    <a:pt x="11815" y="5860"/>
                  </a:lnTo>
                  <a:cubicBezTo>
                    <a:pt x="11815" y="5388"/>
                    <a:pt x="11531" y="5010"/>
                    <a:pt x="11122" y="4884"/>
                  </a:cubicBezTo>
                  <a:lnTo>
                    <a:pt x="11122" y="1702"/>
                  </a:lnTo>
                  <a:cubicBezTo>
                    <a:pt x="11122" y="1103"/>
                    <a:pt x="10649" y="662"/>
                    <a:pt x="10114" y="662"/>
                  </a:cubicBezTo>
                  <a:lnTo>
                    <a:pt x="8034" y="662"/>
                  </a:lnTo>
                  <a:cubicBezTo>
                    <a:pt x="7530" y="662"/>
                    <a:pt x="7152" y="977"/>
                    <a:pt x="7026" y="1418"/>
                  </a:cubicBezTo>
                  <a:cubicBezTo>
                    <a:pt x="6932" y="1387"/>
                    <a:pt x="6806" y="1355"/>
                    <a:pt x="6648" y="1355"/>
                  </a:cubicBezTo>
                  <a:lnTo>
                    <a:pt x="5230" y="1355"/>
                  </a:lnTo>
                  <a:cubicBezTo>
                    <a:pt x="5104" y="1355"/>
                    <a:pt x="4978" y="1387"/>
                    <a:pt x="4884" y="1418"/>
                  </a:cubicBezTo>
                  <a:lnTo>
                    <a:pt x="4884" y="1040"/>
                  </a:lnTo>
                  <a:cubicBezTo>
                    <a:pt x="4884" y="441"/>
                    <a:pt x="4380"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899" name="Google Shape;6899;p73"/>
            <p:cNvSpPr/>
            <p:nvPr/>
          </p:nvSpPr>
          <p:spPr>
            <a:xfrm>
              <a:off x="6218550" y="2456200"/>
              <a:ext cx="122100" cy="51225"/>
            </a:xfrm>
            <a:custGeom>
              <a:avLst/>
              <a:gdLst/>
              <a:ahLst/>
              <a:cxnLst/>
              <a:rect l="l" t="t" r="r" b="b"/>
              <a:pathLst>
                <a:path w="4884" h="2049" extrusionOk="0">
                  <a:moveTo>
                    <a:pt x="3844" y="725"/>
                  </a:moveTo>
                  <a:cubicBezTo>
                    <a:pt x="4033" y="725"/>
                    <a:pt x="4190" y="882"/>
                    <a:pt x="4190" y="1071"/>
                  </a:cubicBezTo>
                  <a:cubicBezTo>
                    <a:pt x="4190" y="1260"/>
                    <a:pt x="4033" y="1418"/>
                    <a:pt x="3844" y="1418"/>
                  </a:cubicBezTo>
                  <a:lnTo>
                    <a:pt x="1008" y="1418"/>
                  </a:lnTo>
                  <a:cubicBezTo>
                    <a:pt x="819" y="1418"/>
                    <a:pt x="662" y="1260"/>
                    <a:pt x="662" y="1071"/>
                  </a:cubicBezTo>
                  <a:cubicBezTo>
                    <a:pt x="662" y="882"/>
                    <a:pt x="819" y="725"/>
                    <a:pt x="1008" y="725"/>
                  </a:cubicBezTo>
                  <a:close/>
                  <a:moveTo>
                    <a:pt x="1008" y="0"/>
                  </a:moveTo>
                  <a:cubicBezTo>
                    <a:pt x="410" y="0"/>
                    <a:pt x="0" y="473"/>
                    <a:pt x="0" y="1040"/>
                  </a:cubicBezTo>
                  <a:cubicBezTo>
                    <a:pt x="0" y="1639"/>
                    <a:pt x="473" y="2048"/>
                    <a:pt x="1008" y="2048"/>
                  </a:cubicBezTo>
                  <a:lnTo>
                    <a:pt x="3844" y="2048"/>
                  </a:lnTo>
                  <a:cubicBezTo>
                    <a:pt x="4442" y="2048"/>
                    <a:pt x="4883" y="1576"/>
                    <a:pt x="4883" y="1040"/>
                  </a:cubicBezTo>
                  <a:cubicBezTo>
                    <a:pt x="4852" y="473"/>
                    <a:pt x="4411"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0" name="Google Shape;6900;p73"/>
            <p:cNvSpPr/>
            <p:nvPr/>
          </p:nvSpPr>
          <p:spPr>
            <a:xfrm>
              <a:off x="6340625" y="2353025"/>
              <a:ext cx="35475" cy="18125"/>
            </a:xfrm>
            <a:custGeom>
              <a:avLst/>
              <a:gdLst/>
              <a:ahLst/>
              <a:cxnLst/>
              <a:rect l="l" t="t" r="r" b="b"/>
              <a:pathLst>
                <a:path w="1419" h="725" extrusionOk="0">
                  <a:moveTo>
                    <a:pt x="347" y="0"/>
                  </a:moveTo>
                  <a:cubicBezTo>
                    <a:pt x="158" y="0"/>
                    <a:pt x="0" y="158"/>
                    <a:pt x="0" y="347"/>
                  </a:cubicBezTo>
                  <a:cubicBezTo>
                    <a:pt x="0" y="567"/>
                    <a:pt x="158" y="725"/>
                    <a:pt x="347" y="725"/>
                  </a:cubicBezTo>
                  <a:lnTo>
                    <a:pt x="1040" y="725"/>
                  </a:lnTo>
                  <a:cubicBezTo>
                    <a:pt x="1261" y="725"/>
                    <a:pt x="1418" y="567"/>
                    <a:pt x="1418" y="347"/>
                  </a:cubicBezTo>
                  <a:cubicBezTo>
                    <a:pt x="1355" y="158"/>
                    <a:pt x="1198"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1" name="Google Shape;6901;p73"/>
            <p:cNvSpPr/>
            <p:nvPr/>
          </p:nvSpPr>
          <p:spPr>
            <a:xfrm>
              <a:off x="6183100" y="2369550"/>
              <a:ext cx="35475" cy="18150"/>
            </a:xfrm>
            <a:custGeom>
              <a:avLst/>
              <a:gdLst/>
              <a:ahLst/>
              <a:cxnLst/>
              <a:rect l="l" t="t" r="r" b="b"/>
              <a:pathLst>
                <a:path w="1419" h="726" extrusionOk="0">
                  <a:moveTo>
                    <a:pt x="347" y="1"/>
                  </a:moveTo>
                  <a:cubicBezTo>
                    <a:pt x="158" y="1"/>
                    <a:pt x="0" y="158"/>
                    <a:pt x="0" y="379"/>
                  </a:cubicBezTo>
                  <a:cubicBezTo>
                    <a:pt x="0" y="568"/>
                    <a:pt x="158" y="725"/>
                    <a:pt x="347" y="725"/>
                  </a:cubicBezTo>
                  <a:lnTo>
                    <a:pt x="1040" y="725"/>
                  </a:lnTo>
                  <a:cubicBezTo>
                    <a:pt x="1261" y="725"/>
                    <a:pt x="1418" y="568"/>
                    <a:pt x="1418" y="379"/>
                  </a:cubicBezTo>
                  <a:cubicBezTo>
                    <a:pt x="1418" y="158"/>
                    <a:pt x="1261"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02" name="Google Shape;6902;p73"/>
          <p:cNvGrpSpPr/>
          <p:nvPr/>
        </p:nvGrpSpPr>
        <p:grpSpPr>
          <a:xfrm>
            <a:off x="7671997" y="2042622"/>
            <a:ext cx="468420" cy="465943"/>
            <a:chOff x="1412450" y="1954475"/>
            <a:chExt cx="297750" cy="296175"/>
          </a:xfrm>
        </p:grpSpPr>
        <p:sp>
          <p:nvSpPr>
            <p:cNvPr id="6903" name="Google Shape;6903;p73"/>
            <p:cNvSpPr/>
            <p:nvPr/>
          </p:nvSpPr>
          <p:spPr>
            <a:xfrm>
              <a:off x="1483350" y="2023800"/>
              <a:ext cx="155975" cy="155975"/>
            </a:xfrm>
            <a:custGeom>
              <a:avLst/>
              <a:gdLst/>
              <a:ahLst/>
              <a:cxnLst/>
              <a:rect l="l" t="t" r="r" b="b"/>
              <a:pathLst>
                <a:path w="6239" h="6239" extrusionOk="0">
                  <a:moveTo>
                    <a:pt x="3119" y="2079"/>
                  </a:moveTo>
                  <a:cubicBezTo>
                    <a:pt x="3529" y="2079"/>
                    <a:pt x="3844" y="2395"/>
                    <a:pt x="3844" y="2773"/>
                  </a:cubicBezTo>
                  <a:cubicBezTo>
                    <a:pt x="3844" y="3182"/>
                    <a:pt x="3529" y="3497"/>
                    <a:pt x="3119" y="3497"/>
                  </a:cubicBezTo>
                  <a:cubicBezTo>
                    <a:pt x="2741" y="3497"/>
                    <a:pt x="2426" y="3182"/>
                    <a:pt x="2426" y="2773"/>
                  </a:cubicBezTo>
                  <a:cubicBezTo>
                    <a:pt x="2426" y="2395"/>
                    <a:pt x="2741" y="2079"/>
                    <a:pt x="3119" y="2079"/>
                  </a:cubicBezTo>
                  <a:close/>
                  <a:moveTo>
                    <a:pt x="3119" y="725"/>
                  </a:moveTo>
                  <a:cubicBezTo>
                    <a:pt x="4474" y="725"/>
                    <a:pt x="5577" y="1827"/>
                    <a:pt x="5577" y="3182"/>
                  </a:cubicBezTo>
                  <a:cubicBezTo>
                    <a:pt x="5577" y="3686"/>
                    <a:pt x="5388" y="4159"/>
                    <a:pt x="5136" y="4537"/>
                  </a:cubicBezTo>
                  <a:cubicBezTo>
                    <a:pt x="4884" y="4190"/>
                    <a:pt x="4537" y="3907"/>
                    <a:pt x="4191" y="3718"/>
                  </a:cubicBezTo>
                  <a:cubicBezTo>
                    <a:pt x="4411" y="3497"/>
                    <a:pt x="4537" y="3182"/>
                    <a:pt x="4537" y="2804"/>
                  </a:cubicBezTo>
                  <a:cubicBezTo>
                    <a:pt x="4537" y="2079"/>
                    <a:pt x="3907" y="1449"/>
                    <a:pt x="3151" y="1449"/>
                  </a:cubicBezTo>
                  <a:cubicBezTo>
                    <a:pt x="2426" y="1449"/>
                    <a:pt x="1796" y="2079"/>
                    <a:pt x="1796" y="2804"/>
                  </a:cubicBezTo>
                  <a:cubicBezTo>
                    <a:pt x="1796" y="3182"/>
                    <a:pt x="1891" y="3497"/>
                    <a:pt x="2143" y="3718"/>
                  </a:cubicBezTo>
                  <a:cubicBezTo>
                    <a:pt x="1733" y="3907"/>
                    <a:pt x="1418" y="4190"/>
                    <a:pt x="1198" y="4537"/>
                  </a:cubicBezTo>
                  <a:cubicBezTo>
                    <a:pt x="914" y="4159"/>
                    <a:pt x="756" y="3686"/>
                    <a:pt x="756" y="3182"/>
                  </a:cubicBezTo>
                  <a:cubicBezTo>
                    <a:pt x="662" y="1796"/>
                    <a:pt x="1796" y="725"/>
                    <a:pt x="3119" y="725"/>
                  </a:cubicBezTo>
                  <a:close/>
                  <a:moveTo>
                    <a:pt x="3119" y="4190"/>
                  </a:moveTo>
                  <a:cubicBezTo>
                    <a:pt x="3749" y="4190"/>
                    <a:pt x="4317" y="4505"/>
                    <a:pt x="4632" y="5041"/>
                  </a:cubicBezTo>
                  <a:cubicBezTo>
                    <a:pt x="4222" y="5387"/>
                    <a:pt x="3686" y="5577"/>
                    <a:pt x="3119" y="5577"/>
                  </a:cubicBezTo>
                  <a:cubicBezTo>
                    <a:pt x="2584" y="5577"/>
                    <a:pt x="2017" y="5387"/>
                    <a:pt x="1639" y="5041"/>
                  </a:cubicBezTo>
                  <a:cubicBezTo>
                    <a:pt x="1954" y="4505"/>
                    <a:pt x="2489" y="4190"/>
                    <a:pt x="3119" y="4190"/>
                  </a:cubicBezTo>
                  <a:close/>
                  <a:moveTo>
                    <a:pt x="3119" y="0"/>
                  </a:moveTo>
                  <a:cubicBezTo>
                    <a:pt x="1387" y="0"/>
                    <a:pt x="0" y="1418"/>
                    <a:pt x="0" y="3119"/>
                  </a:cubicBezTo>
                  <a:cubicBezTo>
                    <a:pt x="0" y="4852"/>
                    <a:pt x="1387" y="6238"/>
                    <a:pt x="3119" y="6238"/>
                  </a:cubicBezTo>
                  <a:cubicBezTo>
                    <a:pt x="4852" y="6238"/>
                    <a:pt x="6238" y="4820"/>
                    <a:pt x="6238" y="3119"/>
                  </a:cubicBezTo>
                  <a:cubicBezTo>
                    <a:pt x="6238" y="1386"/>
                    <a:pt x="4821"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4" name="Google Shape;6904;p73"/>
            <p:cNvSpPr/>
            <p:nvPr/>
          </p:nvSpPr>
          <p:spPr>
            <a:xfrm>
              <a:off x="1412450" y="1954475"/>
              <a:ext cx="297750" cy="296175"/>
            </a:xfrm>
            <a:custGeom>
              <a:avLst/>
              <a:gdLst/>
              <a:ahLst/>
              <a:cxnLst/>
              <a:rect l="l" t="t" r="r" b="b"/>
              <a:pathLst>
                <a:path w="11910" h="11847" extrusionOk="0">
                  <a:moveTo>
                    <a:pt x="6365" y="662"/>
                  </a:moveTo>
                  <a:lnTo>
                    <a:pt x="6522" y="1513"/>
                  </a:lnTo>
                  <a:cubicBezTo>
                    <a:pt x="6554" y="1702"/>
                    <a:pt x="6617" y="1765"/>
                    <a:pt x="6774" y="1797"/>
                  </a:cubicBezTo>
                  <a:cubicBezTo>
                    <a:pt x="7342" y="1923"/>
                    <a:pt x="7814" y="2112"/>
                    <a:pt x="8287" y="2427"/>
                  </a:cubicBezTo>
                  <a:cubicBezTo>
                    <a:pt x="8350" y="2474"/>
                    <a:pt x="8421" y="2498"/>
                    <a:pt x="8488" y="2498"/>
                  </a:cubicBezTo>
                  <a:cubicBezTo>
                    <a:pt x="8554" y="2498"/>
                    <a:pt x="8618" y="2474"/>
                    <a:pt x="8665" y="2427"/>
                  </a:cubicBezTo>
                  <a:lnTo>
                    <a:pt x="9389" y="1923"/>
                  </a:lnTo>
                  <a:lnTo>
                    <a:pt x="9925" y="2490"/>
                  </a:lnTo>
                  <a:lnTo>
                    <a:pt x="9421" y="3183"/>
                  </a:lnTo>
                  <a:cubicBezTo>
                    <a:pt x="9358" y="3309"/>
                    <a:pt x="9358" y="3466"/>
                    <a:pt x="9421" y="3592"/>
                  </a:cubicBezTo>
                  <a:cubicBezTo>
                    <a:pt x="9736" y="4065"/>
                    <a:pt x="9925" y="4537"/>
                    <a:pt x="10051" y="5073"/>
                  </a:cubicBezTo>
                  <a:cubicBezTo>
                    <a:pt x="10082" y="5231"/>
                    <a:pt x="10209" y="5294"/>
                    <a:pt x="10335" y="5357"/>
                  </a:cubicBezTo>
                  <a:lnTo>
                    <a:pt x="11185" y="5514"/>
                  </a:lnTo>
                  <a:lnTo>
                    <a:pt x="11185" y="6302"/>
                  </a:lnTo>
                  <a:lnTo>
                    <a:pt x="10335" y="6459"/>
                  </a:lnTo>
                  <a:cubicBezTo>
                    <a:pt x="10177" y="6491"/>
                    <a:pt x="10082" y="6585"/>
                    <a:pt x="10051" y="6743"/>
                  </a:cubicBezTo>
                  <a:cubicBezTo>
                    <a:pt x="9925" y="7278"/>
                    <a:pt x="9736" y="7751"/>
                    <a:pt x="9421" y="8224"/>
                  </a:cubicBezTo>
                  <a:cubicBezTo>
                    <a:pt x="9358" y="8350"/>
                    <a:pt x="9358" y="8507"/>
                    <a:pt x="9421" y="8633"/>
                  </a:cubicBezTo>
                  <a:lnTo>
                    <a:pt x="9925" y="9326"/>
                  </a:lnTo>
                  <a:lnTo>
                    <a:pt x="9389" y="9893"/>
                  </a:lnTo>
                  <a:lnTo>
                    <a:pt x="8665" y="9358"/>
                  </a:lnTo>
                  <a:cubicBezTo>
                    <a:pt x="8618" y="9326"/>
                    <a:pt x="8554" y="9310"/>
                    <a:pt x="8488" y="9310"/>
                  </a:cubicBezTo>
                  <a:cubicBezTo>
                    <a:pt x="8421" y="9310"/>
                    <a:pt x="8350" y="9326"/>
                    <a:pt x="8287" y="9358"/>
                  </a:cubicBezTo>
                  <a:cubicBezTo>
                    <a:pt x="7814" y="9673"/>
                    <a:pt x="7342" y="9893"/>
                    <a:pt x="6774" y="9988"/>
                  </a:cubicBezTo>
                  <a:cubicBezTo>
                    <a:pt x="6617" y="10051"/>
                    <a:pt x="6554" y="10145"/>
                    <a:pt x="6522" y="10271"/>
                  </a:cubicBezTo>
                  <a:lnTo>
                    <a:pt x="6365" y="11153"/>
                  </a:lnTo>
                  <a:lnTo>
                    <a:pt x="5577" y="11153"/>
                  </a:lnTo>
                  <a:lnTo>
                    <a:pt x="5420" y="10271"/>
                  </a:lnTo>
                  <a:cubicBezTo>
                    <a:pt x="5357" y="10114"/>
                    <a:pt x="5294" y="10051"/>
                    <a:pt x="5136" y="9988"/>
                  </a:cubicBezTo>
                  <a:cubicBezTo>
                    <a:pt x="4569" y="9893"/>
                    <a:pt x="4097" y="9673"/>
                    <a:pt x="3624" y="9358"/>
                  </a:cubicBezTo>
                  <a:cubicBezTo>
                    <a:pt x="3561" y="9326"/>
                    <a:pt x="3498" y="9310"/>
                    <a:pt x="3435" y="9310"/>
                  </a:cubicBezTo>
                  <a:cubicBezTo>
                    <a:pt x="3372" y="9310"/>
                    <a:pt x="3309" y="9326"/>
                    <a:pt x="3246" y="9358"/>
                  </a:cubicBezTo>
                  <a:lnTo>
                    <a:pt x="2521" y="9893"/>
                  </a:lnTo>
                  <a:lnTo>
                    <a:pt x="1986" y="9326"/>
                  </a:lnTo>
                  <a:lnTo>
                    <a:pt x="2490" y="8633"/>
                  </a:lnTo>
                  <a:cubicBezTo>
                    <a:pt x="2584" y="8507"/>
                    <a:pt x="2584" y="8350"/>
                    <a:pt x="2490" y="8224"/>
                  </a:cubicBezTo>
                  <a:cubicBezTo>
                    <a:pt x="2175" y="7751"/>
                    <a:pt x="1986" y="7278"/>
                    <a:pt x="1860" y="6743"/>
                  </a:cubicBezTo>
                  <a:cubicBezTo>
                    <a:pt x="1828" y="6585"/>
                    <a:pt x="1702" y="6491"/>
                    <a:pt x="1576" y="6459"/>
                  </a:cubicBezTo>
                  <a:lnTo>
                    <a:pt x="726" y="6302"/>
                  </a:lnTo>
                  <a:lnTo>
                    <a:pt x="726" y="5514"/>
                  </a:lnTo>
                  <a:lnTo>
                    <a:pt x="1576" y="5357"/>
                  </a:lnTo>
                  <a:cubicBezTo>
                    <a:pt x="1734" y="5325"/>
                    <a:pt x="1828" y="5231"/>
                    <a:pt x="1860" y="5073"/>
                  </a:cubicBezTo>
                  <a:cubicBezTo>
                    <a:pt x="1986" y="4506"/>
                    <a:pt x="2175" y="4065"/>
                    <a:pt x="2490" y="3592"/>
                  </a:cubicBezTo>
                  <a:cubicBezTo>
                    <a:pt x="2584" y="3466"/>
                    <a:pt x="2584" y="3309"/>
                    <a:pt x="2490" y="3183"/>
                  </a:cubicBezTo>
                  <a:lnTo>
                    <a:pt x="1986" y="2490"/>
                  </a:lnTo>
                  <a:lnTo>
                    <a:pt x="2521" y="1923"/>
                  </a:lnTo>
                  <a:lnTo>
                    <a:pt x="3246" y="2427"/>
                  </a:lnTo>
                  <a:cubicBezTo>
                    <a:pt x="3309" y="2474"/>
                    <a:pt x="3372" y="2498"/>
                    <a:pt x="3435" y="2498"/>
                  </a:cubicBezTo>
                  <a:cubicBezTo>
                    <a:pt x="3498" y="2498"/>
                    <a:pt x="3561" y="2474"/>
                    <a:pt x="3624" y="2427"/>
                  </a:cubicBezTo>
                  <a:cubicBezTo>
                    <a:pt x="4097" y="2112"/>
                    <a:pt x="4569" y="1923"/>
                    <a:pt x="5136" y="1797"/>
                  </a:cubicBezTo>
                  <a:cubicBezTo>
                    <a:pt x="5294" y="1765"/>
                    <a:pt x="5357" y="1639"/>
                    <a:pt x="5420" y="1513"/>
                  </a:cubicBezTo>
                  <a:lnTo>
                    <a:pt x="5577" y="662"/>
                  </a:lnTo>
                  <a:close/>
                  <a:moveTo>
                    <a:pt x="5262" y="1"/>
                  </a:moveTo>
                  <a:cubicBezTo>
                    <a:pt x="5073" y="1"/>
                    <a:pt x="4916" y="127"/>
                    <a:pt x="4884" y="284"/>
                  </a:cubicBezTo>
                  <a:lnTo>
                    <a:pt x="4727" y="1166"/>
                  </a:lnTo>
                  <a:cubicBezTo>
                    <a:pt x="4254" y="1292"/>
                    <a:pt x="3813" y="1481"/>
                    <a:pt x="3435" y="1734"/>
                  </a:cubicBezTo>
                  <a:lnTo>
                    <a:pt x="2679" y="1229"/>
                  </a:lnTo>
                  <a:cubicBezTo>
                    <a:pt x="2610" y="1174"/>
                    <a:pt x="2541" y="1149"/>
                    <a:pt x="2474" y="1149"/>
                  </a:cubicBezTo>
                  <a:cubicBezTo>
                    <a:pt x="2389" y="1149"/>
                    <a:pt x="2309" y="1190"/>
                    <a:pt x="2238" y="1261"/>
                  </a:cubicBezTo>
                  <a:lnTo>
                    <a:pt x="1261" y="2238"/>
                  </a:lnTo>
                  <a:cubicBezTo>
                    <a:pt x="1135" y="2364"/>
                    <a:pt x="1135" y="2553"/>
                    <a:pt x="1230" y="2679"/>
                  </a:cubicBezTo>
                  <a:lnTo>
                    <a:pt x="1734" y="3435"/>
                  </a:lnTo>
                  <a:cubicBezTo>
                    <a:pt x="1513" y="3813"/>
                    <a:pt x="1324" y="4254"/>
                    <a:pt x="1198" y="4726"/>
                  </a:cubicBezTo>
                  <a:lnTo>
                    <a:pt x="284" y="4884"/>
                  </a:lnTo>
                  <a:cubicBezTo>
                    <a:pt x="127" y="4915"/>
                    <a:pt x="1" y="5042"/>
                    <a:pt x="1" y="5231"/>
                  </a:cubicBezTo>
                  <a:lnTo>
                    <a:pt x="1" y="6617"/>
                  </a:lnTo>
                  <a:cubicBezTo>
                    <a:pt x="64" y="6774"/>
                    <a:pt x="158" y="6932"/>
                    <a:pt x="316" y="6963"/>
                  </a:cubicBezTo>
                  <a:lnTo>
                    <a:pt x="1230" y="7121"/>
                  </a:lnTo>
                  <a:cubicBezTo>
                    <a:pt x="1356" y="7593"/>
                    <a:pt x="1545" y="8034"/>
                    <a:pt x="1797" y="8413"/>
                  </a:cubicBezTo>
                  <a:lnTo>
                    <a:pt x="1261" y="9169"/>
                  </a:lnTo>
                  <a:cubicBezTo>
                    <a:pt x="1167" y="9295"/>
                    <a:pt x="1198" y="9484"/>
                    <a:pt x="1324" y="9610"/>
                  </a:cubicBezTo>
                  <a:lnTo>
                    <a:pt x="2301" y="10586"/>
                  </a:lnTo>
                  <a:cubicBezTo>
                    <a:pt x="2368" y="10654"/>
                    <a:pt x="2454" y="10685"/>
                    <a:pt x="2533" y="10685"/>
                  </a:cubicBezTo>
                  <a:cubicBezTo>
                    <a:pt x="2602" y="10685"/>
                    <a:pt x="2666" y="10662"/>
                    <a:pt x="2710" y="10618"/>
                  </a:cubicBezTo>
                  <a:lnTo>
                    <a:pt x="3466" y="10114"/>
                  </a:lnTo>
                  <a:cubicBezTo>
                    <a:pt x="3876" y="10366"/>
                    <a:pt x="4286" y="10555"/>
                    <a:pt x="4790" y="10681"/>
                  </a:cubicBezTo>
                  <a:lnTo>
                    <a:pt x="4947" y="11563"/>
                  </a:lnTo>
                  <a:cubicBezTo>
                    <a:pt x="4979" y="11721"/>
                    <a:pt x="5105" y="11847"/>
                    <a:pt x="5294" y="11847"/>
                  </a:cubicBezTo>
                  <a:lnTo>
                    <a:pt x="6680" y="11847"/>
                  </a:lnTo>
                  <a:cubicBezTo>
                    <a:pt x="6837" y="11847"/>
                    <a:pt x="6995" y="11721"/>
                    <a:pt x="7027" y="11563"/>
                  </a:cubicBezTo>
                  <a:lnTo>
                    <a:pt x="7184" y="10681"/>
                  </a:lnTo>
                  <a:cubicBezTo>
                    <a:pt x="7657" y="10555"/>
                    <a:pt x="8098" y="10366"/>
                    <a:pt x="8476" y="10114"/>
                  </a:cubicBezTo>
                  <a:lnTo>
                    <a:pt x="9232" y="10618"/>
                  </a:lnTo>
                  <a:cubicBezTo>
                    <a:pt x="9301" y="10673"/>
                    <a:pt x="9370" y="10698"/>
                    <a:pt x="9436" y="10698"/>
                  </a:cubicBezTo>
                  <a:cubicBezTo>
                    <a:pt x="9521" y="10698"/>
                    <a:pt x="9602" y="10657"/>
                    <a:pt x="9673" y="10586"/>
                  </a:cubicBezTo>
                  <a:lnTo>
                    <a:pt x="10650" y="9610"/>
                  </a:lnTo>
                  <a:cubicBezTo>
                    <a:pt x="10776" y="9484"/>
                    <a:pt x="10776" y="9295"/>
                    <a:pt x="10681" y="9169"/>
                  </a:cubicBezTo>
                  <a:lnTo>
                    <a:pt x="10177" y="8413"/>
                  </a:lnTo>
                  <a:cubicBezTo>
                    <a:pt x="10398" y="8034"/>
                    <a:pt x="10618" y="7593"/>
                    <a:pt x="10713" y="7121"/>
                  </a:cubicBezTo>
                  <a:lnTo>
                    <a:pt x="11626" y="6963"/>
                  </a:lnTo>
                  <a:cubicBezTo>
                    <a:pt x="11784" y="6932"/>
                    <a:pt x="11910" y="6806"/>
                    <a:pt x="11910" y="6617"/>
                  </a:cubicBezTo>
                  <a:lnTo>
                    <a:pt x="11910" y="5231"/>
                  </a:lnTo>
                  <a:cubicBezTo>
                    <a:pt x="11910" y="5073"/>
                    <a:pt x="11784" y="4915"/>
                    <a:pt x="11626" y="4884"/>
                  </a:cubicBezTo>
                  <a:lnTo>
                    <a:pt x="10713" y="4726"/>
                  </a:lnTo>
                  <a:cubicBezTo>
                    <a:pt x="10618" y="4254"/>
                    <a:pt x="10398" y="3813"/>
                    <a:pt x="10177" y="3403"/>
                  </a:cubicBezTo>
                  <a:lnTo>
                    <a:pt x="10681" y="2679"/>
                  </a:lnTo>
                  <a:cubicBezTo>
                    <a:pt x="10807" y="2553"/>
                    <a:pt x="10776" y="2364"/>
                    <a:pt x="10650" y="2238"/>
                  </a:cubicBezTo>
                  <a:lnTo>
                    <a:pt x="9673" y="1261"/>
                  </a:lnTo>
                  <a:cubicBezTo>
                    <a:pt x="9605" y="1193"/>
                    <a:pt x="9520" y="1162"/>
                    <a:pt x="9435" y="1162"/>
                  </a:cubicBezTo>
                  <a:cubicBezTo>
                    <a:pt x="9362" y="1162"/>
                    <a:pt x="9290" y="1186"/>
                    <a:pt x="9232" y="1229"/>
                  </a:cubicBezTo>
                  <a:lnTo>
                    <a:pt x="8476" y="1734"/>
                  </a:lnTo>
                  <a:cubicBezTo>
                    <a:pt x="8098" y="1481"/>
                    <a:pt x="7657" y="1292"/>
                    <a:pt x="7184" y="1166"/>
                  </a:cubicBezTo>
                  <a:lnTo>
                    <a:pt x="6995" y="284"/>
                  </a:lnTo>
                  <a:cubicBezTo>
                    <a:pt x="6932" y="127"/>
                    <a:pt x="6837" y="1"/>
                    <a:pt x="6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05" name="Google Shape;6905;p73"/>
          <p:cNvSpPr/>
          <p:nvPr/>
        </p:nvSpPr>
        <p:spPr>
          <a:xfrm>
            <a:off x="7673795" y="2647043"/>
            <a:ext cx="464723" cy="460987"/>
          </a:xfrm>
          <a:custGeom>
            <a:avLst/>
            <a:gdLst/>
            <a:ahLst/>
            <a:cxnLst/>
            <a:rect l="l" t="t" r="r" b="b"/>
            <a:pathLst>
              <a:path w="11816" h="11721" extrusionOk="0">
                <a:moveTo>
                  <a:pt x="2395" y="631"/>
                </a:moveTo>
                <a:cubicBezTo>
                  <a:pt x="2584" y="631"/>
                  <a:pt x="2742" y="789"/>
                  <a:pt x="2742" y="978"/>
                </a:cubicBezTo>
                <a:cubicBezTo>
                  <a:pt x="2742" y="1167"/>
                  <a:pt x="2584" y="1324"/>
                  <a:pt x="2395" y="1324"/>
                </a:cubicBezTo>
                <a:lnTo>
                  <a:pt x="1009" y="1324"/>
                </a:lnTo>
                <a:cubicBezTo>
                  <a:pt x="820" y="1324"/>
                  <a:pt x="663" y="1167"/>
                  <a:pt x="663" y="978"/>
                </a:cubicBezTo>
                <a:cubicBezTo>
                  <a:pt x="663" y="789"/>
                  <a:pt x="820" y="631"/>
                  <a:pt x="1009" y="631"/>
                </a:cubicBezTo>
                <a:close/>
                <a:moveTo>
                  <a:pt x="6554" y="631"/>
                </a:moveTo>
                <a:cubicBezTo>
                  <a:pt x="6774" y="631"/>
                  <a:pt x="6932" y="789"/>
                  <a:pt x="6932" y="978"/>
                </a:cubicBezTo>
                <a:cubicBezTo>
                  <a:pt x="6932" y="1167"/>
                  <a:pt x="6774" y="1324"/>
                  <a:pt x="6554" y="1324"/>
                </a:cubicBezTo>
                <a:lnTo>
                  <a:pt x="5199" y="1324"/>
                </a:lnTo>
                <a:cubicBezTo>
                  <a:pt x="4979" y="1324"/>
                  <a:pt x="4821" y="1167"/>
                  <a:pt x="4821" y="978"/>
                </a:cubicBezTo>
                <a:cubicBezTo>
                  <a:pt x="4821" y="789"/>
                  <a:pt x="4979" y="631"/>
                  <a:pt x="5199" y="631"/>
                </a:cubicBezTo>
                <a:close/>
                <a:moveTo>
                  <a:pt x="10776" y="631"/>
                </a:moveTo>
                <a:cubicBezTo>
                  <a:pt x="10965" y="631"/>
                  <a:pt x="11122" y="789"/>
                  <a:pt x="11122" y="978"/>
                </a:cubicBezTo>
                <a:cubicBezTo>
                  <a:pt x="11122" y="1167"/>
                  <a:pt x="10965" y="1324"/>
                  <a:pt x="10776" y="1324"/>
                </a:cubicBezTo>
                <a:lnTo>
                  <a:pt x="9389" y="1324"/>
                </a:lnTo>
                <a:cubicBezTo>
                  <a:pt x="9200" y="1324"/>
                  <a:pt x="9043" y="1167"/>
                  <a:pt x="9043" y="978"/>
                </a:cubicBezTo>
                <a:cubicBezTo>
                  <a:pt x="9043" y="789"/>
                  <a:pt x="9200" y="631"/>
                  <a:pt x="9389" y="631"/>
                </a:cubicBezTo>
                <a:close/>
                <a:moveTo>
                  <a:pt x="7279" y="4790"/>
                </a:moveTo>
                <a:cubicBezTo>
                  <a:pt x="7468" y="4790"/>
                  <a:pt x="7625" y="4947"/>
                  <a:pt x="7625" y="5136"/>
                </a:cubicBezTo>
                <a:lnTo>
                  <a:pt x="7625" y="6554"/>
                </a:lnTo>
                <a:cubicBezTo>
                  <a:pt x="7625" y="6775"/>
                  <a:pt x="7468" y="6932"/>
                  <a:pt x="7279" y="6932"/>
                </a:cubicBezTo>
                <a:lnTo>
                  <a:pt x="4506" y="6932"/>
                </a:lnTo>
                <a:cubicBezTo>
                  <a:pt x="4317" y="6932"/>
                  <a:pt x="4160" y="6775"/>
                  <a:pt x="4160" y="6554"/>
                </a:cubicBezTo>
                <a:lnTo>
                  <a:pt x="4160" y="5136"/>
                </a:lnTo>
                <a:cubicBezTo>
                  <a:pt x="4160" y="4947"/>
                  <a:pt x="4317" y="4790"/>
                  <a:pt x="4506" y="4790"/>
                </a:cubicBezTo>
                <a:close/>
                <a:moveTo>
                  <a:pt x="2395" y="10398"/>
                </a:moveTo>
                <a:cubicBezTo>
                  <a:pt x="2584" y="10398"/>
                  <a:pt x="2742" y="10555"/>
                  <a:pt x="2742" y="10744"/>
                </a:cubicBezTo>
                <a:cubicBezTo>
                  <a:pt x="2742" y="10933"/>
                  <a:pt x="2584" y="11091"/>
                  <a:pt x="2395" y="11091"/>
                </a:cubicBezTo>
                <a:lnTo>
                  <a:pt x="1009" y="11091"/>
                </a:lnTo>
                <a:cubicBezTo>
                  <a:pt x="820" y="11091"/>
                  <a:pt x="663" y="10933"/>
                  <a:pt x="663" y="10744"/>
                </a:cubicBezTo>
                <a:cubicBezTo>
                  <a:pt x="663" y="10555"/>
                  <a:pt x="820" y="10398"/>
                  <a:pt x="1009" y="10398"/>
                </a:cubicBezTo>
                <a:close/>
                <a:moveTo>
                  <a:pt x="6585" y="10398"/>
                </a:moveTo>
                <a:cubicBezTo>
                  <a:pt x="6806" y="10398"/>
                  <a:pt x="6964" y="10555"/>
                  <a:pt x="6964" y="10744"/>
                </a:cubicBezTo>
                <a:cubicBezTo>
                  <a:pt x="6964" y="10933"/>
                  <a:pt x="6806" y="11091"/>
                  <a:pt x="6585" y="11091"/>
                </a:cubicBezTo>
                <a:lnTo>
                  <a:pt x="5231" y="11091"/>
                </a:lnTo>
                <a:cubicBezTo>
                  <a:pt x="5010" y="11091"/>
                  <a:pt x="4853" y="10933"/>
                  <a:pt x="4853" y="10744"/>
                </a:cubicBezTo>
                <a:cubicBezTo>
                  <a:pt x="4853" y="10555"/>
                  <a:pt x="5010" y="10398"/>
                  <a:pt x="5231" y="10398"/>
                </a:cubicBezTo>
                <a:close/>
                <a:moveTo>
                  <a:pt x="10776" y="10398"/>
                </a:moveTo>
                <a:cubicBezTo>
                  <a:pt x="10965" y="10398"/>
                  <a:pt x="11122" y="10555"/>
                  <a:pt x="11122" y="10744"/>
                </a:cubicBezTo>
                <a:cubicBezTo>
                  <a:pt x="11122" y="10933"/>
                  <a:pt x="10965" y="11091"/>
                  <a:pt x="10776" y="11091"/>
                </a:cubicBezTo>
                <a:lnTo>
                  <a:pt x="9389" y="11091"/>
                </a:lnTo>
                <a:cubicBezTo>
                  <a:pt x="9200" y="11091"/>
                  <a:pt x="9043" y="10933"/>
                  <a:pt x="9043" y="10744"/>
                </a:cubicBezTo>
                <a:cubicBezTo>
                  <a:pt x="9043" y="10555"/>
                  <a:pt x="9200" y="10398"/>
                  <a:pt x="9389" y="10398"/>
                </a:cubicBezTo>
                <a:close/>
                <a:moveTo>
                  <a:pt x="1009" y="1"/>
                </a:moveTo>
                <a:cubicBezTo>
                  <a:pt x="410" y="1"/>
                  <a:pt x="1" y="474"/>
                  <a:pt x="1" y="1009"/>
                </a:cubicBezTo>
                <a:cubicBezTo>
                  <a:pt x="1" y="1608"/>
                  <a:pt x="473" y="2049"/>
                  <a:pt x="1009" y="2049"/>
                </a:cubicBezTo>
                <a:lnTo>
                  <a:pt x="1356" y="2049"/>
                </a:lnTo>
                <a:lnTo>
                  <a:pt x="1356" y="2395"/>
                </a:lnTo>
                <a:cubicBezTo>
                  <a:pt x="1356" y="2994"/>
                  <a:pt x="1828" y="3403"/>
                  <a:pt x="2395" y="3403"/>
                </a:cubicBezTo>
                <a:lnTo>
                  <a:pt x="5546" y="3403"/>
                </a:lnTo>
                <a:lnTo>
                  <a:pt x="5546" y="4128"/>
                </a:lnTo>
                <a:lnTo>
                  <a:pt x="4506" y="4128"/>
                </a:lnTo>
                <a:cubicBezTo>
                  <a:pt x="3939" y="4128"/>
                  <a:pt x="3466" y="4601"/>
                  <a:pt x="3466" y="5136"/>
                </a:cubicBezTo>
                <a:lnTo>
                  <a:pt x="3466" y="6554"/>
                </a:lnTo>
                <a:cubicBezTo>
                  <a:pt x="3466" y="7153"/>
                  <a:pt x="3939" y="7594"/>
                  <a:pt x="4506" y="7594"/>
                </a:cubicBezTo>
                <a:lnTo>
                  <a:pt x="5546" y="7594"/>
                </a:lnTo>
                <a:lnTo>
                  <a:pt x="5546" y="8287"/>
                </a:lnTo>
                <a:lnTo>
                  <a:pt x="2395" y="8287"/>
                </a:lnTo>
                <a:cubicBezTo>
                  <a:pt x="1797" y="8287"/>
                  <a:pt x="1356" y="8759"/>
                  <a:pt x="1356" y="9326"/>
                </a:cubicBezTo>
                <a:lnTo>
                  <a:pt x="1356" y="9673"/>
                </a:lnTo>
                <a:lnTo>
                  <a:pt x="1009" y="9673"/>
                </a:lnTo>
                <a:cubicBezTo>
                  <a:pt x="410" y="9673"/>
                  <a:pt x="1" y="10146"/>
                  <a:pt x="1" y="10713"/>
                </a:cubicBezTo>
                <a:cubicBezTo>
                  <a:pt x="1" y="11280"/>
                  <a:pt x="473" y="11721"/>
                  <a:pt x="1009" y="11721"/>
                </a:cubicBezTo>
                <a:lnTo>
                  <a:pt x="2395" y="11721"/>
                </a:lnTo>
                <a:cubicBezTo>
                  <a:pt x="2994" y="11721"/>
                  <a:pt x="3403" y="11248"/>
                  <a:pt x="3403" y="10713"/>
                </a:cubicBezTo>
                <a:cubicBezTo>
                  <a:pt x="3403" y="10114"/>
                  <a:pt x="2931" y="9673"/>
                  <a:pt x="2395" y="9673"/>
                </a:cubicBezTo>
                <a:lnTo>
                  <a:pt x="2049" y="9673"/>
                </a:lnTo>
                <a:lnTo>
                  <a:pt x="2049" y="9326"/>
                </a:lnTo>
                <a:cubicBezTo>
                  <a:pt x="2049" y="9137"/>
                  <a:pt x="2206" y="8980"/>
                  <a:pt x="2395" y="8980"/>
                </a:cubicBezTo>
                <a:lnTo>
                  <a:pt x="5546" y="8980"/>
                </a:lnTo>
                <a:lnTo>
                  <a:pt x="5546" y="9673"/>
                </a:lnTo>
                <a:lnTo>
                  <a:pt x="5199" y="9673"/>
                </a:lnTo>
                <a:cubicBezTo>
                  <a:pt x="4601" y="9673"/>
                  <a:pt x="4160" y="10146"/>
                  <a:pt x="4160" y="10713"/>
                </a:cubicBezTo>
                <a:cubicBezTo>
                  <a:pt x="4160" y="11280"/>
                  <a:pt x="4632" y="11721"/>
                  <a:pt x="5199" y="11721"/>
                </a:cubicBezTo>
                <a:lnTo>
                  <a:pt x="6554" y="11721"/>
                </a:lnTo>
                <a:cubicBezTo>
                  <a:pt x="7153" y="11721"/>
                  <a:pt x="7594" y="11248"/>
                  <a:pt x="7594" y="10713"/>
                </a:cubicBezTo>
                <a:cubicBezTo>
                  <a:pt x="7594" y="10114"/>
                  <a:pt x="7121" y="9673"/>
                  <a:pt x="6554" y="9673"/>
                </a:cubicBezTo>
                <a:lnTo>
                  <a:pt x="6207" y="9673"/>
                </a:lnTo>
                <a:lnTo>
                  <a:pt x="6207" y="8980"/>
                </a:lnTo>
                <a:lnTo>
                  <a:pt x="9358" y="8980"/>
                </a:lnTo>
                <a:cubicBezTo>
                  <a:pt x="9547" y="8980"/>
                  <a:pt x="9704" y="9137"/>
                  <a:pt x="9704" y="9326"/>
                </a:cubicBezTo>
                <a:lnTo>
                  <a:pt x="9704" y="9673"/>
                </a:lnTo>
                <a:lnTo>
                  <a:pt x="9358" y="9673"/>
                </a:lnTo>
                <a:cubicBezTo>
                  <a:pt x="8759" y="9673"/>
                  <a:pt x="8350" y="10146"/>
                  <a:pt x="8350" y="10713"/>
                </a:cubicBezTo>
                <a:cubicBezTo>
                  <a:pt x="8350" y="11280"/>
                  <a:pt x="8791" y="11721"/>
                  <a:pt x="9358" y="11721"/>
                </a:cubicBezTo>
                <a:lnTo>
                  <a:pt x="10744" y="11721"/>
                </a:lnTo>
                <a:cubicBezTo>
                  <a:pt x="11311" y="11721"/>
                  <a:pt x="11752" y="11248"/>
                  <a:pt x="11752" y="10713"/>
                </a:cubicBezTo>
                <a:cubicBezTo>
                  <a:pt x="11752" y="10114"/>
                  <a:pt x="11280" y="9673"/>
                  <a:pt x="10744" y="9673"/>
                </a:cubicBezTo>
                <a:lnTo>
                  <a:pt x="10366" y="9673"/>
                </a:lnTo>
                <a:lnTo>
                  <a:pt x="10366" y="9326"/>
                </a:lnTo>
                <a:cubicBezTo>
                  <a:pt x="10366" y="8728"/>
                  <a:pt x="9925" y="8287"/>
                  <a:pt x="9358" y="8287"/>
                </a:cubicBezTo>
                <a:lnTo>
                  <a:pt x="6207" y="8287"/>
                </a:lnTo>
                <a:lnTo>
                  <a:pt x="6207" y="7594"/>
                </a:lnTo>
                <a:lnTo>
                  <a:pt x="7216" y="7594"/>
                </a:lnTo>
                <a:cubicBezTo>
                  <a:pt x="7814" y="7594"/>
                  <a:pt x="8287" y="7121"/>
                  <a:pt x="8287" y="6554"/>
                </a:cubicBezTo>
                <a:lnTo>
                  <a:pt x="8287" y="5136"/>
                </a:lnTo>
                <a:cubicBezTo>
                  <a:pt x="8287" y="4569"/>
                  <a:pt x="7814" y="4128"/>
                  <a:pt x="7216" y="4128"/>
                </a:cubicBezTo>
                <a:lnTo>
                  <a:pt x="6207" y="4128"/>
                </a:lnTo>
                <a:lnTo>
                  <a:pt x="6207" y="3403"/>
                </a:lnTo>
                <a:lnTo>
                  <a:pt x="9389" y="3403"/>
                </a:lnTo>
                <a:cubicBezTo>
                  <a:pt x="9988" y="3403"/>
                  <a:pt x="10429" y="2931"/>
                  <a:pt x="10429" y="2395"/>
                </a:cubicBezTo>
                <a:lnTo>
                  <a:pt x="10429" y="2049"/>
                </a:lnTo>
                <a:lnTo>
                  <a:pt x="10776" y="2049"/>
                </a:lnTo>
                <a:cubicBezTo>
                  <a:pt x="11374" y="2049"/>
                  <a:pt x="11815" y="1576"/>
                  <a:pt x="11815" y="1009"/>
                </a:cubicBezTo>
                <a:cubicBezTo>
                  <a:pt x="11815" y="411"/>
                  <a:pt x="11343" y="1"/>
                  <a:pt x="10776" y="1"/>
                </a:cubicBezTo>
                <a:lnTo>
                  <a:pt x="9389" y="1"/>
                </a:lnTo>
                <a:cubicBezTo>
                  <a:pt x="8822" y="1"/>
                  <a:pt x="8381" y="474"/>
                  <a:pt x="8381" y="1009"/>
                </a:cubicBezTo>
                <a:cubicBezTo>
                  <a:pt x="8381" y="1608"/>
                  <a:pt x="8854" y="2049"/>
                  <a:pt x="9389" y="2049"/>
                </a:cubicBezTo>
                <a:lnTo>
                  <a:pt x="9767" y="2049"/>
                </a:lnTo>
                <a:lnTo>
                  <a:pt x="9767" y="2395"/>
                </a:lnTo>
                <a:cubicBezTo>
                  <a:pt x="9767" y="2584"/>
                  <a:pt x="9610" y="2742"/>
                  <a:pt x="9389" y="2742"/>
                </a:cubicBezTo>
                <a:lnTo>
                  <a:pt x="6239" y="2742"/>
                </a:lnTo>
                <a:lnTo>
                  <a:pt x="6239" y="2049"/>
                </a:lnTo>
                <a:lnTo>
                  <a:pt x="6617" y="2049"/>
                </a:lnTo>
                <a:cubicBezTo>
                  <a:pt x="7184" y="2049"/>
                  <a:pt x="7625" y="1576"/>
                  <a:pt x="7625" y="1009"/>
                </a:cubicBezTo>
                <a:cubicBezTo>
                  <a:pt x="7625" y="411"/>
                  <a:pt x="7153" y="1"/>
                  <a:pt x="6617" y="1"/>
                </a:cubicBezTo>
                <a:lnTo>
                  <a:pt x="5231" y="1"/>
                </a:lnTo>
                <a:cubicBezTo>
                  <a:pt x="4632" y="1"/>
                  <a:pt x="4191" y="474"/>
                  <a:pt x="4191" y="1009"/>
                </a:cubicBezTo>
                <a:cubicBezTo>
                  <a:pt x="4191" y="1608"/>
                  <a:pt x="4664" y="2049"/>
                  <a:pt x="5231" y="2049"/>
                </a:cubicBezTo>
                <a:lnTo>
                  <a:pt x="5577" y="2049"/>
                </a:lnTo>
                <a:lnTo>
                  <a:pt x="5577" y="2742"/>
                </a:lnTo>
                <a:lnTo>
                  <a:pt x="2427" y="2742"/>
                </a:lnTo>
                <a:cubicBezTo>
                  <a:pt x="2238" y="2742"/>
                  <a:pt x="2080" y="2584"/>
                  <a:pt x="2080" y="2395"/>
                </a:cubicBezTo>
                <a:lnTo>
                  <a:pt x="2080" y="2049"/>
                </a:lnTo>
                <a:lnTo>
                  <a:pt x="2427" y="2049"/>
                </a:lnTo>
                <a:cubicBezTo>
                  <a:pt x="3025" y="2049"/>
                  <a:pt x="3466" y="1576"/>
                  <a:pt x="3466" y="1009"/>
                </a:cubicBezTo>
                <a:cubicBezTo>
                  <a:pt x="3466" y="411"/>
                  <a:pt x="2994" y="1"/>
                  <a:pt x="2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06" name="Google Shape;6906;p73"/>
          <p:cNvGrpSpPr/>
          <p:nvPr/>
        </p:nvGrpSpPr>
        <p:grpSpPr>
          <a:xfrm>
            <a:off x="7671997" y="3232659"/>
            <a:ext cx="468420" cy="468067"/>
            <a:chOff x="1413250" y="2680675"/>
            <a:chExt cx="297750" cy="297525"/>
          </a:xfrm>
        </p:grpSpPr>
        <p:sp>
          <p:nvSpPr>
            <p:cNvPr id="6907" name="Google Shape;6907;p73"/>
            <p:cNvSpPr/>
            <p:nvPr/>
          </p:nvSpPr>
          <p:spPr>
            <a:xfrm>
              <a:off x="1413250" y="2680675"/>
              <a:ext cx="297750" cy="297525"/>
            </a:xfrm>
            <a:custGeom>
              <a:avLst/>
              <a:gdLst/>
              <a:ahLst/>
              <a:cxnLst/>
              <a:rect l="l" t="t" r="r" b="b"/>
              <a:pathLst>
                <a:path w="11910" h="11901" extrusionOk="0">
                  <a:moveTo>
                    <a:pt x="10460" y="1418"/>
                  </a:moveTo>
                  <a:lnTo>
                    <a:pt x="10460" y="7719"/>
                  </a:lnTo>
                  <a:lnTo>
                    <a:pt x="1387" y="7719"/>
                  </a:lnTo>
                  <a:lnTo>
                    <a:pt x="1387" y="1418"/>
                  </a:lnTo>
                  <a:close/>
                  <a:moveTo>
                    <a:pt x="5577" y="8380"/>
                  </a:moveTo>
                  <a:lnTo>
                    <a:pt x="5577" y="9105"/>
                  </a:lnTo>
                  <a:lnTo>
                    <a:pt x="5167" y="9105"/>
                  </a:lnTo>
                  <a:lnTo>
                    <a:pt x="5451" y="8380"/>
                  </a:lnTo>
                  <a:close/>
                  <a:moveTo>
                    <a:pt x="6396" y="8380"/>
                  </a:moveTo>
                  <a:lnTo>
                    <a:pt x="6679" y="9105"/>
                  </a:lnTo>
                  <a:lnTo>
                    <a:pt x="6270" y="9105"/>
                  </a:lnTo>
                  <a:lnTo>
                    <a:pt x="6270" y="8380"/>
                  </a:lnTo>
                  <a:close/>
                  <a:moveTo>
                    <a:pt x="5955" y="0"/>
                  </a:moveTo>
                  <a:cubicBezTo>
                    <a:pt x="5766" y="0"/>
                    <a:pt x="5608" y="158"/>
                    <a:pt x="5608" y="347"/>
                  </a:cubicBezTo>
                  <a:lnTo>
                    <a:pt x="5608" y="725"/>
                  </a:lnTo>
                  <a:lnTo>
                    <a:pt x="378" y="725"/>
                  </a:lnTo>
                  <a:cubicBezTo>
                    <a:pt x="158" y="725"/>
                    <a:pt x="0" y="882"/>
                    <a:pt x="0" y="1071"/>
                  </a:cubicBezTo>
                  <a:cubicBezTo>
                    <a:pt x="0" y="1260"/>
                    <a:pt x="158" y="1418"/>
                    <a:pt x="378" y="1418"/>
                  </a:cubicBezTo>
                  <a:lnTo>
                    <a:pt x="725" y="1418"/>
                  </a:lnTo>
                  <a:lnTo>
                    <a:pt x="725" y="7719"/>
                  </a:lnTo>
                  <a:lnTo>
                    <a:pt x="378" y="7719"/>
                  </a:lnTo>
                  <a:cubicBezTo>
                    <a:pt x="189" y="7719"/>
                    <a:pt x="32" y="7876"/>
                    <a:pt x="32" y="8097"/>
                  </a:cubicBezTo>
                  <a:cubicBezTo>
                    <a:pt x="32" y="8286"/>
                    <a:pt x="189" y="8443"/>
                    <a:pt x="378" y="8443"/>
                  </a:cubicBezTo>
                  <a:lnTo>
                    <a:pt x="4758" y="8443"/>
                  </a:lnTo>
                  <a:lnTo>
                    <a:pt x="3560" y="11436"/>
                  </a:lnTo>
                  <a:cubicBezTo>
                    <a:pt x="3497" y="11625"/>
                    <a:pt x="3560" y="11814"/>
                    <a:pt x="3749" y="11877"/>
                  </a:cubicBezTo>
                  <a:cubicBezTo>
                    <a:pt x="3803" y="11893"/>
                    <a:pt x="3855" y="11901"/>
                    <a:pt x="3903" y="11901"/>
                  </a:cubicBezTo>
                  <a:cubicBezTo>
                    <a:pt x="4052" y="11901"/>
                    <a:pt x="4167" y="11824"/>
                    <a:pt x="4191" y="11657"/>
                  </a:cubicBezTo>
                  <a:lnTo>
                    <a:pt x="4947" y="9830"/>
                  </a:lnTo>
                  <a:lnTo>
                    <a:pt x="5608" y="9830"/>
                  </a:lnTo>
                  <a:lnTo>
                    <a:pt x="5608" y="10838"/>
                  </a:lnTo>
                  <a:cubicBezTo>
                    <a:pt x="5608" y="11027"/>
                    <a:pt x="5766" y="11184"/>
                    <a:pt x="5955" y="11184"/>
                  </a:cubicBezTo>
                  <a:cubicBezTo>
                    <a:pt x="6175" y="11184"/>
                    <a:pt x="6333" y="11027"/>
                    <a:pt x="6333" y="10838"/>
                  </a:cubicBezTo>
                  <a:lnTo>
                    <a:pt x="6333" y="9830"/>
                  </a:lnTo>
                  <a:lnTo>
                    <a:pt x="6995" y="9830"/>
                  </a:lnTo>
                  <a:lnTo>
                    <a:pt x="7751" y="11657"/>
                  </a:lnTo>
                  <a:cubicBezTo>
                    <a:pt x="7798" y="11824"/>
                    <a:pt x="7918" y="11901"/>
                    <a:pt x="8042" y="11901"/>
                  </a:cubicBezTo>
                  <a:cubicBezTo>
                    <a:pt x="8082" y="11901"/>
                    <a:pt x="8122" y="11893"/>
                    <a:pt x="8160" y="11877"/>
                  </a:cubicBezTo>
                  <a:cubicBezTo>
                    <a:pt x="8381" y="11783"/>
                    <a:pt x="8444" y="11594"/>
                    <a:pt x="8381" y="11436"/>
                  </a:cubicBezTo>
                  <a:lnTo>
                    <a:pt x="7184" y="8443"/>
                  </a:lnTo>
                  <a:lnTo>
                    <a:pt x="11563" y="8443"/>
                  </a:lnTo>
                  <a:cubicBezTo>
                    <a:pt x="11752" y="8443"/>
                    <a:pt x="11909" y="8286"/>
                    <a:pt x="11909" y="8097"/>
                  </a:cubicBezTo>
                  <a:cubicBezTo>
                    <a:pt x="11909" y="7876"/>
                    <a:pt x="11752" y="7719"/>
                    <a:pt x="11563" y="7719"/>
                  </a:cubicBezTo>
                  <a:lnTo>
                    <a:pt x="11185" y="7719"/>
                  </a:lnTo>
                  <a:lnTo>
                    <a:pt x="11185" y="1418"/>
                  </a:lnTo>
                  <a:lnTo>
                    <a:pt x="11563" y="1418"/>
                  </a:lnTo>
                  <a:cubicBezTo>
                    <a:pt x="11752" y="1418"/>
                    <a:pt x="11909" y="1260"/>
                    <a:pt x="11909" y="1071"/>
                  </a:cubicBezTo>
                  <a:cubicBezTo>
                    <a:pt x="11909" y="882"/>
                    <a:pt x="11752" y="725"/>
                    <a:pt x="11563" y="725"/>
                  </a:cubicBezTo>
                  <a:lnTo>
                    <a:pt x="6301" y="725"/>
                  </a:lnTo>
                  <a:lnTo>
                    <a:pt x="6301" y="347"/>
                  </a:lnTo>
                  <a:cubicBezTo>
                    <a:pt x="6301" y="158"/>
                    <a:pt x="614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8" name="Google Shape;6908;p73"/>
            <p:cNvSpPr/>
            <p:nvPr/>
          </p:nvSpPr>
          <p:spPr>
            <a:xfrm>
              <a:off x="1465225" y="2805100"/>
              <a:ext cx="52800" cy="52025"/>
            </a:xfrm>
            <a:custGeom>
              <a:avLst/>
              <a:gdLst/>
              <a:ahLst/>
              <a:cxnLst/>
              <a:rect l="l" t="t" r="r" b="b"/>
              <a:pathLst>
                <a:path w="2112" h="2081" extrusionOk="0">
                  <a:moveTo>
                    <a:pt x="1387" y="663"/>
                  </a:moveTo>
                  <a:lnTo>
                    <a:pt x="1387" y="1387"/>
                  </a:lnTo>
                  <a:lnTo>
                    <a:pt x="694" y="1387"/>
                  </a:lnTo>
                  <a:lnTo>
                    <a:pt x="694" y="663"/>
                  </a:lnTo>
                  <a:close/>
                  <a:moveTo>
                    <a:pt x="347" y="1"/>
                  </a:moveTo>
                  <a:cubicBezTo>
                    <a:pt x="158" y="1"/>
                    <a:pt x="1" y="158"/>
                    <a:pt x="1" y="347"/>
                  </a:cubicBezTo>
                  <a:lnTo>
                    <a:pt x="1" y="1734"/>
                  </a:lnTo>
                  <a:cubicBezTo>
                    <a:pt x="1" y="1923"/>
                    <a:pt x="158" y="2080"/>
                    <a:pt x="347" y="2080"/>
                  </a:cubicBezTo>
                  <a:lnTo>
                    <a:pt x="1765" y="2080"/>
                  </a:lnTo>
                  <a:cubicBezTo>
                    <a:pt x="1954" y="2080"/>
                    <a:pt x="2112" y="1923"/>
                    <a:pt x="2112" y="1734"/>
                  </a:cubicBezTo>
                  <a:lnTo>
                    <a:pt x="2112" y="347"/>
                  </a:lnTo>
                  <a:cubicBezTo>
                    <a:pt x="2112" y="158"/>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09" name="Google Shape;6909;p73"/>
            <p:cNvSpPr/>
            <p:nvPr/>
          </p:nvSpPr>
          <p:spPr>
            <a:xfrm>
              <a:off x="1535325" y="2769675"/>
              <a:ext cx="52800" cy="87450"/>
            </a:xfrm>
            <a:custGeom>
              <a:avLst/>
              <a:gdLst/>
              <a:ahLst/>
              <a:cxnLst/>
              <a:rect l="l" t="t" r="r" b="b"/>
              <a:pathLst>
                <a:path w="2112" h="3498" extrusionOk="0">
                  <a:moveTo>
                    <a:pt x="1387" y="662"/>
                  </a:moveTo>
                  <a:lnTo>
                    <a:pt x="1387" y="2741"/>
                  </a:lnTo>
                  <a:lnTo>
                    <a:pt x="694" y="2741"/>
                  </a:lnTo>
                  <a:lnTo>
                    <a:pt x="694" y="662"/>
                  </a:lnTo>
                  <a:close/>
                  <a:moveTo>
                    <a:pt x="379" y="0"/>
                  </a:moveTo>
                  <a:cubicBezTo>
                    <a:pt x="158" y="0"/>
                    <a:pt x="1" y="158"/>
                    <a:pt x="1" y="347"/>
                  </a:cubicBezTo>
                  <a:lnTo>
                    <a:pt x="1" y="3151"/>
                  </a:lnTo>
                  <a:cubicBezTo>
                    <a:pt x="1" y="3340"/>
                    <a:pt x="158" y="3497"/>
                    <a:pt x="379" y="3497"/>
                  </a:cubicBezTo>
                  <a:lnTo>
                    <a:pt x="1733" y="3497"/>
                  </a:lnTo>
                  <a:lnTo>
                    <a:pt x="1733" y="3466"/>
                  </a:lnTo>
                  <a:cubicBezTo>
                    <a:pt x="1954" y="3466"/>
                    <a:pt x="2112" y="3308"/>
                    <a:pt x="2112" y="3119"/>
                  </a:cubicBezTo>
                  <a:lnTo>
                    <a:pt x="2112" y="347"/>
                  </a:lnTo>
                  <a:cubicBezTo>
                    <a:pt x="2112" y="158"/>
                    <a:pt x="1954"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0" name="Google Shape;6910;p73"/>
            <p:cNvSpPr/>
            <p:nvPr/>
          </p:nvSpPr>
          <p:spPr>
            <a:xfrm>
              <a:off x="1604650" y="2733425"/>
              <a:ext cx="52775" cy="122900"/>
            </a:xfrm>
            <a:custGeom>
              <a:avLst/>
              <a:gdLst/>
              <a:ahLst/>
              <a:cxnLst/>
              <a:rect l="l" t="t" r="r" b="b"/>
              <a:pathLst>
                <a:path w="2111" h="4916" extrusionOk="0">
                  <a:moveTo>
                    <a:pt x="1418" y="726"/>
                  </a:moveTo>
                  <a:lnTo>
                    <a:pt x="1418" y="4254"/>
                  </a:lnTo>
                  <a:lnTo>
                    <a:pt x="725" y="4254"/>
                  </a:lnTo>
                  <a:lnTo>
                    <a:pt x="725" y="726"/>
                  </a:lnTo>
                  <a:close/>
                  <a:moveTo>
                    <a:pt x="347" y="1"/>
                  </a:moveTo>
                  <a:cubicBezTo>
                    <a:pt x="158" y="1"/>
                    <a:pt x="0" y="159"/>
                    <a:pt x="0" y="348"/>
                  </a:cubicBezTo>
                  <a:lnTo>
                    <a:pt x="0" y="4569"/>
                  </a:lnTo>
                  <a:cubicBezTo>
                    <a:pt x="0" y="4758"/>
                    <a:pt x="158" y="4916"/>
                    <a:pt x="347" y="4916"/>
                  </a:cubicBezTo>
                  <a:lnTo>
                    <a:pt x="1764" y="4916"/>
                  </a:lnTo>
                  <a:cubicBezTo>
                    <a:pt x="1953" y="4916"/>
                    <a:pt x="2111" y="4758"/>
                    <a:pt x="2111" y="4569"/>
                  </a:cubicBezTo>
                  <a:lnTo>
                    <a:pt x="2111" y="348"/>
                  </a:lnTo>
                  <a:cubicBezTo>
                    <a:pt x="2111" y="159"/>
                    <a:pt x="1953" y="1"/>
                    <a:pt x="17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11" name="Google Shape;6911;p73"/>
          <p:cNvSpPr/>
          <p:nvPr/>
        </p:nvSpPr>
        <p:spPr>
          <a:xfrm>
            <a:off x="10683144" y="2042593"/>
            <a:ext cx="360617" cy="465903"/>
          </a:xfrm>
          <a:custGeom>
            <a:avLst/>
            <a:gdLst/>
            <a:ahLst/>
            <a:cxnLst/>
            <a:rect l="l" t="t" r="r" b="b"/>
            <a:pathLst>
              <a:path w="9169" h="11846" extrusionOk="0">
                <a:moveTo>
                  <a:pt x="4695" y="2079"/>
                </a:moveTo>
                <a:cubicBezTo>
                  <a:pt x="5073" y="2079"/>
                  <a:pt x="5388" y="2394"/>
                  <a:pt x="5388" y="2772"/>
                </a:cubicBezTo>
                <a:cubicBezTo>
                  <a:pt x="5388" y="3181"/>
                  <a:pt x="5073" y="3496"/>
                  <a:pt x="4695" y="3496"/>
                </a:cubicBezTo>
                <a:cubicBezTo>
                  <a:pt x="4285" y="3496"/>
                  <a:pt x="3970" y="3181"/>
                  <a:pt x="3970" y="2772"/>
                </a:cubicBezTo>
                <a:cubicBezTo>
                  <a:pt x="3970" y="2394"/>
                  <a:pt x="4285" y="2079"/>
                  <a:pt x="4695" y="2079"/>
                </a:cubicBezTo>
                <a:close/>
                <a:moveTo>
                  <a:pt x="4695" y="4189"/>
                </a:moveTo>
                <a:cubicBezTo>
                  <a:pt x="5640" y="4189"/>
                  <a:pt x="6428" y="4977"/>
                  <a:pt x="6428" y="5922"/>
                </a:cubicBezTo>
                <a:lnTo>
                  <a:pt x="6428" y="6300"/>
                </a:lnTo>
                <a:lnTo>
                  <a:pt x="2962" y="6300"/>
                </a:lnTo>
                <a:lnTo>
                  <a:pt x="2962" y="5922"/>
                </a:lnTo>
                <a:cubicBezTo>
                  <a:pt x="2962" y="4945"/>
                  <a:pt x="3750" y="4189"/>
                  <a:pt x="4695" y="4189"/>
                </a:cubicBezTo>
                <a:close/>
                <a:moveTo>
                  <a:pt x="4730" y="664"/>
                </a:moveTo>
                <a:cubicBezTo>
                  <a:pt x="6870" y="664"/>
                  <a:pt x="8538" y="2418"/>
                  <a:pt x="8538" y="4473"/>
                </a:cubicBezTo>
                <a:cubicBezTo>
                  <a:pt x="8538" y="5544"/>
                  <a:pt x="8097" y="6552"/>
                  <a:pt x="7310" y="7277"/>
                </a:cubicBezTo>
                <a:cubicBezTo>
                  <a:pt x="7215" y="7403"/>
                  <a:pt x="7121" y="7466"/>
                  <a:pt x="6995" y="7497"/>
                </a:cubicBezTo>
                <a:cubicBezTo>
                  <a:pt x="6774" y="7718"/>
                  <a:pt x="6522" y="7907"/>
                  <a:pt x="6459" y="8285"/>
                </a:cubicBezTo>
                <a:lnTo>
                  <a:pt x="5041" y="8285"/>
                </a:lnTo>
                <a:lnTo>
                  <a:pt x="5041" y="6993"/>
                </a:lnTo>
                <a:lnTo>
                  <a:pt x="6774" y="6993"/>
                </a:lnTo>
                <a:cubicBezTo>
                  <a:pt x="6963" y="6993"/>
                  <a:pt x="7121" y="6836"/>
                  <a:pt x="7121" y="6647"/>
                </a:cubicBezTo>
                <a:lnTo>
                  <a:pt x="7121" y="5922"/>
                </a:lnTo>
                <a:cubicBezTo>
                  <a:pt x="7121" y="4945"/>
                  <a:pt x="6585" y="4126"/>
                  <a:pt x="5734" y="3717"/>
                </a:cubicBezTo>
                <a:cubicBezTo>
                  <a:pt x="5987" y="3496"/>
                  <a:pt x="6113" y="3181"/>
                  <a:pt x="6113" y="2835"/>
                </a:cubicBezTo>
                <a:cubicBezTo>
                  <a:pt x="6113" y="2079"/>
                  <a:pt x="5482" y="1448"/>
                  <a:pt x="4726" y="1448"/>
                </a:cubicBezTo>
                <a:cubicBezTo>
                  <a:pt x="3970" y="1448"/>
                  <a:pt x="3340" y="2079"/>
                  <a:pt x="3340" y="2835"/>
                </a:cubicBezTo>
                <a:cubicBezTo>
                  <a:pt x="3340" y="3181"/>
                  <a:pt x="3466" y="3496"/>
                  <a:pt x="3687" y="3717"/>
                </a:cubicBezTo>
                <a:cubicBezTo>
                  <a:pt x="2868" y="4126"/>
                  <a:pt x="2332" y="4945"/>
                  <a:pt x="2332" y="5922"/>
                </a:cubicBezTo>
                <a:lnTo>
                  <a:pt x="2332" y="6647"/>
                </a:lnTo>
                <a:cubicBezTo>
                  <a:pt x="2332" y="6836"/>
                  <a:pt x="2489" y="6993"/>
                  <a:pt x="2679" y="6993"/>
                </a:cubicBezTo>
                <a:lnTo>
                  <a:pt x="4411" y="6993"/>
                </a:lnTo>
                <a:lnTo>
                  <a:pt x="4411" y="8411"/>
                </a:lnTo>
                <a:lnTo>
                  <a:pt x="2931" y="8411"/>
                </a:lnTo>
                <a:lnTo>
                  <a:pt x="2931" y="8380"/>
                </a:lnTo>
                <a:cubicBezTo>
                  <a:pt x="2836" y="7938"/>
                  <a:pt x="2615" y="7749"/>
                  <a:pt x="2363" y="7560"/>
                </a:cubicBezTo>
                <a:cubicBezTo>
                  <a:pt x="2300" y="7466"/>
                  <a:pt x="2174" y="7403"/>
                  <a:pt x="2048" y="7277"/>
                </a:cubicBezTo>
                <a:cubicBezTo>
                  <a:pt x="1135" y="6395"/>
                  <a:pt x="757" y="5135"/>
                  <a:pt x="946" y="3874"/>
                </a:cubicBezTo>
                <a:cubicBezTo>
                  <a:pt x="1198" y="2236"/>
                  <a:pt x="2615" y="881"/>
                  <a:pt x="4254" y="692"/>
                </a:cubicBezTo>
                <a:cubicBezTo>
                  <a:pt x="4415" y="673"/>
                  <a:pt x="4574" y="664"/>
                  <a:pt x="4730" y="664"/>
                </a:cubicBezTo>
                <a:close/>
                <a:moveTo>
                  <a:pt x="6428" y="9073"/>
                </a:moveTo>
                <a:lnTo>
                  <a:pt x="6428" y="9419"/>
                </a:lnTo>
                <a:cubicBezTo>
                  <a:pt x="6428" y="9640"/>
                  <a:pt x="6270" y="9797"/>
                  <a:pt x="6081" y="9797"/>
                </a:cubicBezTo>
                <a:lnTo>
                  <a:pt x="3309" y="9797"/>
                </a:lnTo>
                <a:cubicBezTo>
                  <a:pt x="3120" y="9797"/>
                  <a:pt x="2962" y="9640"/>
                  <a:pt x="2962" y="9419"/>
                </a:cubicBezTo>
                <a:lnTo>
                  <a:pt x="2962" y="9073"/>
                </a:lnTo>
                <a:close/>
                <a:moveTo>
                  <a:pt x="5703" y="10459"/>
                </a:moveTo>
                <a:lnTo>
                  <a:pt x="5703" y="10805"/>
                </a:lnTo>
                <a:cubicBezTo>
                  <a:pt x="5703" y="10994"/>
                  <a:pt x="5545" y="11183"/>
                  <a:pt x="5356" y="11183"/>
                </a:cubicBezTo>
                <a:lnTo>
                  <a:pt x="3970" y="11183"/>
                </a:lnTo>
                <a:cubicBezTo>
                  <a:pt x="3781" y="11183"/>
                  <a:pt x="3624" y="10994"/>
                  <a:pt x="3624" y="10805"/>
                </a:cubicBezTo>
                <a:lnTo>
                  <a:pt x="3624" y="10459"/>
                </a:lnTo>
                <a:close/>
                <a:moveTo>
                  <a:pt x="4662" y="0"/>
                </a:moveTo>
                <a:cubicBezTo>
                  <a:pt x="4486" y="0"/>
                  <a:pt x="4308" y="10"/>
                  <a:pt x="4128" y="31"/>
                </a:cubicBezTo>
                <a:cubicBezTo>
                  <a:pt x="2174" y="251"/>
                  <a:pt x="568" y="1827"/>
                  <a:pt x="253" y="3780"/>
                </a:cubicBezTo>
                <a:cubicBezTo>
                  <a:pt x="1" y="5229"/>
                  <a:pt x="505" y="6710"/>
                  <a:pt x="1576" y="7749"/>
                </a:cubicBezTo>
                <a:cubicBezTo>
                  <a:pt x="1733" y="7875"/>
                  <a:pt x="1859" y="7970"/>
                  <a:pt x="1922" y="8064"/>
                </a:cubicBezTo>
                <a:cubicBezTo>
                  <a:pt x="2206" y="8285"/>
                  <a:pt x="2237" y="8348"/>
                  <a:pt x="2237" y="8695"/>
                </a:cubicBezTo>
                <a:lnTo>
                  <a:pt x="2237" y="9388"/>
                </a:lnTo>
                <a:cubicBezTo>
                  <a:pt x="2237" y="9829"/>
                  <a:pt x="2521" y="10238"/>
                  <a:pt x="2962" y="10396"/>
                </a:cubicBezTo>
                <a:lnTo>
                  <a:pt x="2962" y="10774"/>
                </a:lnTo>
                <a:cubicBezTo>
                  <a:pt x="2962" y="11404"/>
                  <a:pt x="3435" y="11845"/>
                  <a:pt x="3970" y="11845"/>
                </a:cubicBezTo>
                <a:lnTo>
                  <a:pt x="5356" y="11845"/>
                </a:lnTo>
                <a:cubicBezTo>
                  <a:pt x="5955" y="11845"/>
                  <a:pt x="6396" y="11372"/>
                  <a:pt x="6396" y="10805"/>
                </a:cubicBezTo>
                <a:lnTo>
                  <a:pt x="6396" y="10427"/>
                </a:lnTo>
                <a:cubicBezTo>
                  <a:pt x="6774" y="10270"/>
                  <a:pt x="7089" y="9923"/>
                  <a:pt x="7089" y="9451"/>
                </a:cubicBezTo>
                <a:lnTo>
                  <a:pt x="7089" y="8726"/>
                </a:lnTo>
                <a:cubicBezTo>
                  <a:pt x="7089" y="8380"/>
                  <a:pt x="7121" y="8348"/>
                  <a:pt x="7404" y="8096"/>
                </a:cubicBezTo>
                <a:cubicBezTo>
                  <a:pt x="7499" y="8033"/>
                  <a:pt x="7593" y="7938"/>
                  <a:pt x="7751" y="7812"/>
                </a:cubicBezTo>
                <a:cubicBezTo>
                  <a:pt x="8664" y="6962"/>
                  <a:pt x="9169" y="5765"/>
                  <a:pt x="9169" y="4504"/>
                </a:cubicBezTo>
                <a:cubicBezTo>
                  <a:pt x="9169" y="2060"/>
                  <a:pt x="7186" y="0"/>
                  <a:pt x="46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2" name="Google Shape;6912;p73"/>
          <p:cNvSpPr/>
          <p:nvPr/>
        </p:nvSpPr>
        <p:spPr>
          <a:xfrm>
            <a:off x="10619331" y="2645509"/>
            <a:ext cx="488243" cy="464055"/>
          </a:xfrm>
          <a:custGeom>
            <a:avLst/>
            <a:gdLst/>
            <a:ahLst/>
            <a:cxnLst/>
            <a:rect l="l" t="t" r="r" b="b"/>
            <a:pathLst>
              <a:path w="12414" h="11799" extrusionOk="0">
                <a:moveTo>
                  <a:pt x="8979" y="2127"/>
                </a:moveTo>
                <a:cubicBezTo>
                  <a:pt x="9247" y="2127"/>
                  <a:pt x="9515" y="2229"/>
                  <a:pt x="9704" y="2434"/>
                </a:cubicBezTo>
                <a:cubicBezTo>
                  <a:pt x="10113" y="2812"/>
                  <a:pt x="10113" y="3473"/>
                  <a:pt x="9704" y="3883"/>
                </a:cubicBezTo>
                <a:lnTo>
                  <a:pt x="8885" y="4702"/>
                </a:lnTo>
                <a:cubicBezTo>
                  <a:pt x="8790" y="4765"/>
                  <a:pt x="8696" y="4860"/>
                  <a:pt x="8601" y="4891"/>
                </a:cubicBezTo>
                <a:cubicBezTo>
                  <a:pt x="8790" y="4513"/>
                  <a:pt x="8727" y="4041"/>
                  <a:pt x="8412" y="3726"/>
                </a:cubicBezTo>
                <a:cubicBezTo>
                  <a:pt x="8206" y="3520"/>
                  <a:pt x="7933" y="3408"/>
                  <a:pt x="7654" y="3408"/>
                </a:cubicBezTo>
                <a:cubicBezTo>
                  <a:pt x="7507" y="3408"/>
                  <a:pt x="7357" y="3439"/>
                  <a:pt x="7215" y="3505"/>
                </a:cubicBezTo>
                <a:cubicBezTo>
                  <a:pt x="7278" y="3410"/>
                  <a:pt x="7341" y="3316"/>
                  <a:pt x="7436" y="3253"/>
                </a:cubicBezTo>
                <a:lnTo>
                  <a:pt x="8255" y="2434"/>
                </a:lnTo>
                <a:cubicBezTo>
                  <a:pt x="8444" y="2229"/>
                  <a:pt x="8711" y="2127"/>
                  <a:pt x="8979" y="2127"/>
                </a:cubicBezTo>
                <a:close/>
                <a:moveTo>
                  <a:pt x="9027" y="685"/>
                </a:moveTo>
                <a:cubicBezTo>
                  <a:pt x="9649" y="685"/>
                  <a:pt x="10271" y="922"/>
                  <a:pt x="10744" y="1394"/>
                </a:cubicBezTo>
                <a:cubicBezTo>
                  <a:pt x="11689" y="2339"/>
                  <a:pt x="11689" y="3883"/>
                  <a:pt x="10744" y="4828"/>
                </a:cubicBezTo>
                <a:lnTo>
                  <a:pt x="9893" y="5647"/>
                </a:lnTo>
                <a:cubicBezTo>
                  <a:pt x="9431" y="6109"/>
                  <a:pt x="8816" y="6356"/>
                  <a:pt x="8187" y="6356"/>
                </a:cubicBezTo>
                <a:cubicBezTo>
                  <a:pt x="7914" y="6356"/>
                  <a:pt x="7639" y="6310"/>
                  <a:pt x="7373" y="6214"/>
                </a:cubicBezTo>
                <a:lnTo>
                  <a:pt x="7940" y="5647"/>
                </a:lnTo>
                <a:cubicBezTo>
                  <a:pt x="8008" y="5655"/>
                  <a:pt x="8077" y="5659"/>
                  <a:pt x="8146" y="5659"/>
                </a:cubicBezTo>
                <a:cubicBezTo>
                  <a:pt x="8617" y="5659"/>
                  <a:pt x="9087" y="5477"/>
                  <a:pt x="9389" y="5175"/>
                </a:cubicBezTo>
                <a:lnTo>
                  <a:pt x="10208" y="4356"/>
                </a:lnTo>
                <a:cubicBezTo>
                  <a:pt x="10901" y="3694"/>
                  <a:pt x="10901" y="2591"/>
                  <a:pt x="10208" y="1898"/>
                </a:cubicBezTo>
                <a:cubicBezTo>
                  <a:pt x="9877" y="1567"/>
                  <a:pt x="9436" y="1402"/>
                  <a:pt x="8995" y="1402"/>
                </a:cubicBezTo>
                <a:cubicBezTo>
                  <a:pt x="8554" y="1402"/>
                  <a:pt x="8113" y="1567"/>
                  <a:pt x="7782" y="1898"/>
                </a:cubicBezTo>
                <a:lnTo>
                  <a:pt x="6931" y="2749"/>
                </a:lnTo>
                <a:cubicBezTo>
                  <a:pt x="6553" y="3127"/>
                  <a:pt x="6396" y="3694"/>
                  <a:pt x="6490" y="4198"/>
                </a:cubicBezTo>
                <a:lnTo>
                  <a:pt x="5923" y="4734"/>
                </a:lnTo>
                <a:cubicBezTo>
                  <a:pt x="5608" y="3883"/>
                  <a:pt x="5797" y="2906"/>
                  <a:pt x="6490" y="2213"/>
                </a:cubicBezTo>
                <a:lnTo>
                  <a:pt x="7309" y="1394"/>
                </a:lnTo>
                <a:cubicBezTo>
                  <a:pt x="7782" y="922"/>
                  <a:pt x="8404" y="685"/>
                  <a:pt x="9027" y="685"/>
                </a:cubicBezTo>
                <a:close/>
                <a:moveTo>
                  <a:pt x="7703" y="4104"/>
                </a:moveTo>
                <a:cubicBezTo>
                  <a:pt x="7790" y="4104"/>
                  <a:pt x="7877" y="4135"/>
                  <a:pt x="7940" y="4198"/>
                </a:cubicBezTo>
                <a:cubicBezTo>
                  <a:pt x="8066" y="4324"/>
                  <a:pt x="8066" y="4545"/>
                  <a:pt x="7940" y="4671"/>
                </a:cubicBezTo>
                <a:lnTo>
                  <a:pt x="4978" y="7632"/>
                </a:lnTo>
                <a:cubicBezTo>
                  <a:pt x="4915" y="7679"/>
                  <a:pt x="4828" y="7703"/>
                  <a:pt x="4742" y="7703"/>
                </a:cubicBezTo>
                <a:cubicBezTo>
                  <a:pt x="4655" y="7703"/>
                  <a:pt x="4569" y="7679"/>
                  <a:pt x="4506" y="7632"/>
                </a:cubicBezTo>
                <a:cubicBezTo>
                  <a:pt x="4380" y="7506"/>
                  <a:pt x="4380" y="7254"/>
                  <a:pt x="4506" y="7160"/>
                </a:cubicBezTo>
                <a:lnTo>
                  <a:pt x="7467" y="4198"/>
                </a:lnTo>
                <a:cubicBezTo>
                  <a:pt x="7530" y="4135"/>
                  <a:pt x="7617" y="4104"/>
                  <a:pt x="7703" y="4104"/>
                </a:cubicBezTo>
                <a:close/>
                <a:moveTo>
                  <a:pt x="3781" y="6939"/>
                </a:moveTo>
                <a:lnTo>
                  <a:pt x="3781" y="6939"/>
                </a:lnTo>
                <a:cubicBezTo>
                  <a:pt x="3592" y="7349"/>
                  <a:pt x="3686" y="7821"/>
                  <a:pt x="4001" y="8136"/>
                </a:cubicBezTo>
                <a:cubicBezTo>
                  <a:pt x="4198" y="8333"/>
                  <a:pt x="4457" y="8432"/>
                  <a:pt x="4715" y="8432"/>
                </a:cubicBezTo>
                <a:cubicBezTo>
                  <a:pt x="4870" y="8432"/>
                  <a:pt x="5025" y="8396"/>
                  <a:pt x="5167" y="8325"/>
                </a:cubicBezTo>
                <a:lnTo>
                  <a:pt x="5167" y="8325"/>
                </a:lnTo>
                <a:cubicBezTo>
                  <a:pt x="5136" y="8451"/>
                  <a:pt x="5041" y="8514"/>
                  <a:pt x="4978" y="8609"/>
                </a:cubicBezTo>
                <a:lnTo>
                  <a:pt x="4159" y="9428"/>
                </a:lnTo>
                <a:cubicBezTo>
                  <a:pt x="3954" y="9633"/>
                  <a:pt x="3686" y="9735"/>
                  <a:pt x="3419" y="9735"/>
                </a:cubicBezTo>
                <a:cubicBezTo>
                  <a:pt x="3151" y="9735"/>
                  <a:pt x="2883" y="9633"/>
                  <a:pt x="2678" y="9428"/>
                </a:cubicBezTo>
                <a:cubicBezTo>
                  <a:pt x="2300" y="9050"/>
                  <a:pt x="2300" y="8357"/>
                  <a:pt x="2678" y="7979"/>
                </a:cubicBezTo>
                <a:lnTo>
                  <a:pt x="3529" y="7160"/>
                </a:lnTo>
                <a:cubicBezTo>
                  <a:pt x="3592" y="7065"/>
                  <a:pt x="3718" y="7002"/>
                  <a:pt x="3781" y="6939"/>
                </a:cubicBezTo>
                <a:close/>
                <a:moveTo>
                  <a:pt x="4212" y="5467"/>
                </a:moveTo>
                <a:cubicBezTo>
                  <a:pt x="4492" y="5467"/>
                  <a:pt x="4773" y="5516"/>
                  <a:pt x="5041" y="5616"/>
                </a:cubicBezTo>
                <a:lnTo>
                  <a:pt x="4506" y="6151"/>
                </a:lnTo>
                <a:cubicBezTo>
                  <a:pt x="4437" y="6143"/>
                  <a:pt x="4368" y="6139"/>
                  <a:pt x="4299" y="6139"/>
                </a:cubicBezTo>
                <a:cubicBezTo>
                  <a:pt x="3828" y="6139"/>
                  <a:pt x="3358" y="6322"/>
                  <a:pt x="3056" y="6624"/>
                </a:cubicBezTo>
                <a:lnTo>
                  <a:pt x="2206" y="7475"/>
                </a:lnTo>
                <a:cubicBezTo>
                  <a:pt x="1544" y="8136"/>
                  <a:pt x="1544" y="9239"/>
                  <a:pt x="2206" y="9900"/>
                </a:cubicBezTo>
                <a:cubicBezTo>
                  <a:pt x="2552" y="10231"/>
                  <a:pt x="3001" y="10397"/>
                  <a:pt x="3446" y="10397"/>
                </a:cubicBezTo>
                <a:cubicBezTo>
                  <a:pt x="3891" y="10397"/>
                  <a:pt x="4332" y="10231"/>
                  <a:pt x="4663" y="9900"/>
                </a:cubicBezTo>
                <a:lnTo>
                  <a:pt x="5482" y="9081"/>
                </a:lnTo>
                <a:cubicBezTo>
                  <a:pt x="5892" y="8672"/>
                  <a:pt x="6049" y="8136"/>
                  <a:pt x="5955" y="7632"/>
                </a:cubicBezTo>
                <a:lnTo>
                  <a:pt x="6522" y="7065"/>
                </a:lnTo>
                <a:lnTo>
                  <a:pt x="6522" y="7065"/>
                </a:lnTo>
                <a:cubicBezTo>
                  <a:pt x="6837" y="7947"/>
                  <a:pt x="6648" y="8924"/>
                  <a:pt x="5955" y="9585"/>
                </a:cubicBezTo>
                <a:lnTo>
                  <a:pt x="5136" y="10405"/>
                </a:lnTo>
                <a:cubicBezTo>
                  <a:pt x="4663" y="10877"/>
                  <a:pt x="4041" y="11113"/>
                  <a:pt x="3419" y="11113"/>
                </a:cubicBezTo>
                <a:cubicBezTo>
                  <a:pt x="2796" y="11113"/>
                  <a:pt x="2174" y="10877"/>
                  <a:pt x="1702" y="10405"/>
                </a:cubicBezTo>
                <a:cubicBezTo>
                  <a:pt x="756" y="9459"/>
                  <a:pt x="756" y="7916"/>
                  <a:pt x="1702" y="7002"/>
                </a:cubicBezTo>
                <a:lnTo>
                  <a:pt x="2552" y="6151"/>
                </a:lnTo>
                <a:cubicBezTo>
                  <a:pt x="3005" y="5699"/>
                  <a:pt x="3605" y="5467"/>
                  <a:pt x="4212" y="5467"/>
                </a:cubicBezTo>
                <a:close/>
                <a:moveTo>
                  <a:pt x="8999" y="0"/>
                </a:moveTo>
                <a:cubicBezTo>
                  <a:pt x="8200" y="0"/>
                  <a:pt x="7404" y="307"/>
                  <a:pt x="6805" y="922"/>
                </a:cubicBezTo>
                <a:lnTo>
                  <a:pt x="5955" y="1741"/>
                </a:lnTo>
                <a:cubicBezTo>
                  <a:pt x="5136" y="2560"/>
                  <a:pt x="4852" y="3789"/>
                  <a:pt x="5230" y="4891"/>
                </a:cubicBezTo>
                <a:cubicBezTo>
                  <a:pt x="4920" y="4794"/>
                  <a:pt x="4601" y="4746"/>
                  <a:pt x="4283" y="4746"/>
                </a:cubicBezTo>
                <a:cubicBezTo>
                  <a:pt x="3469" y="4746"/>
                  <a:pt x="2669" y="5058"/>
                  <a:pt x="2080" y="5647"/>
                </a:cubicBezTo>
                <a:lnTo>
                  <a:pt x="1229" y="6466"/>
                </a:lnTo>
                <a:cubicBezTo>
                  <a:pt x="0" y="7695"/>
                  <a:pt x="0" y="9680"/>
                  <a:pt x="1229" y="10877"/>
                </a:cubicBezTo>
                <a:cubicBezTo>
                  <a:pt x="1843" y="11491"/>
                  <a:pt x="2647" y="11799"/>
                  <a:pt x="3446" y="11799"/>
                </a:cubicBezTo>
                <a:cubicBezTo>
                  <a:pt x="4246" y="11799"/>
                  <a:pt x="5041" y="11491"/>
                  <a:pt x="5640" y="10877"/>
                </a:cubicBezTo>
                <a:lnTo>
                  <a:pt x="6490" y="10058"/>
                </a:lnTo>
                <a:cubicBezTo>
                  <a:pt x="7309" y="9239"/>
                  <a:pt x="7593" y="8010"/>
                  <a:pt x="7215" y="6908"/>
                </a:cubicBezTo>
                <a:lnTo>
                  <a:pt x="7215" y="6908"/>
                </a:lnTo>
                <a:cubicBezTo>
                  <a:pt x="7525" y="7005"/>
                  <a:pt x="7844" y="7053"/>
                  <a:pt x="8162" y="7053"/>
                </a:cubicBezTo>
                <a:cubicBezTo>
                  <a:pt x="8976" y="7053"/>
                  <a:pt x="9776" y="6740"/>
                  <a:pt x="10365" y="6151"/>
                </a:cubicBezTo>
                <a:lnTo>
                  <a:pt x="11216" y="5332"/>
                </a:lnTo>
                <a:cubicBezTo>
                  <a:pt x="12413" y="4104"/>
                  <a:pt x="12413" y="2150"/>
                  <a:pt x="11216" y="922"/>
                </a:cubicBezTo>
                <a:cubicBezTo>
                  <a:pt x="10602" y="307"/>
                  <a:pt x="9798" y="0"/>
                  <a:pt x="89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3" name="Google Shape;6913;p73"/>
          <p:cNvSpPr/>
          <p:nvPr/>
        </p:nvSpPr>
        <p:spPr>
          <a:xfrm>
            <a:off x="10629242" y="3233673"/>
            <a:ext cx="468420" cy="465903"/>
          </a:xfrm>
          <a:custGeom>
            <a:avLst/>
            <a:gdLst/>
            <a:ahLst/>
            <a:cxnLst/>
            <a:rect l="l" t="t" r="r" b="b"/>
            <a:pathLst>
              <a:path w="11910" h="11846" extrusionOk="0">
                <a:moveTo>
                  <a:pt x="5924" y="2080"/>
                </a:moveTo>
                <a:cubicBezTo>
                  <a:pt x="6302" y="2080"/>
                  <a:pt x="6617" y="2395"/>
                  <a:pt x="6617" y="2773"/>
                </a:cubicBezTo>
                <a:cubicBezTo>
                  <a:pt x="6617" y="3182"/>
                  <a:pt x="6302" y="3497"/>
                  <a:pt x="5924" y="3497"/>
                </a:cubicBezTo>
                <a:cubicBezTo>
                  <a:pt x="5514" y="3497"/>
                  <a:pt x="5199" y="3182"/>
                  <a:pt x="5199" y="2773"/>
                </a:cubicBezTo>
                <a:cubicBezTo>
                  <a:pt x="5199" y="2395"/>
                  <a:pt x="5514" y="2080"/>
                  <a:pt x="5924" y="2080"/>
                </a:cubicBezTo>
                <a:close/>
                <a:moveTo>
                  <a:pt x="5924" y="662"/>
                </a:moveTo>
                <a:cubicBezTo>
                  <a:pt x="7247" y="662"/>
                  <a:pt x="8318" y="1764"/>
                  <a:pt x="8318" y="3088"/>
                </a:cubicBezTo>
                <a:cubicBezTo>
                  <a:pt x="8318" y="3655"/>
                  <a:pt x="8129" y="4190"/>
                  <a:pt x="7783" y="4631"/>
                </a:cubicBezTo>
                <a:cubicBezTo>
                  <a:pt x="7562" y="4222"/>
                  <a:pt x="7310" y="3907"/>
                  <a:pt x="6900" y="3686"/>
                </a:cubicBezTo>
                <a:cubicBezTo>
                  <a:pt x="7153" y="3434"/>
                  <a:pt x="7310" y="3088"/>
                  <a:pt x="7310" y="2741"/>
                </a:cubicBezTo>
                <a:cubicBezTo>
                  <a:pt x="7310" y="1985"/>
                  <a:pt x="6680" y="1355"/>
                  <a:pt x="5924" y="1355"/>
                </a:cubicBezTo>
                <a:cubicBezTo>
                  <a:pt x="5168" y="1355"/>
                  <a:pt x="4538" y="1985"/>
                  <a:pt x="4538" y="2741"/>
                </a:cubicBezTo>
                <a:cubicBezTo>
                  <a:pt x="4538" y="3088"/>
                  <a:pt x="4695" y="3434"/>
                  <a:pt x="4947" y="3686"/>
                </a:cubicBezTo>
                <a:cubicBezTo>
                  <a:pt x="4538" y="3938"/>
                  <a:pt x="4223" y="4285"/>
                  <a:pt x="4034" y="4631"/>
                </a:cubicBezTo>
                <a:cubicBezTo>
                  <a:pt x="3592" y="4096"/>
                  <a:pt x="3403" y="3403"/>
                  <a:pt x="3498" y="2741"/>
                </a:cubicBezTo>
                <a:cubicBezTo>
                  <a:pt x="3655" y="1638"/>
                  <a:pt x="4664" y="662"/>
                  <a:pt x="5924" y="662"/>
                </a:cubicBezTo>
                <a:close/>
                <a:moveTo>
                  <a:pt x="5924" y="4159"/>
                </a:moveTo>
                <a:cubicBezTo>
                  <a:pt x="6554" y="4159"/>
                  <a:pt x="7058" y="4600"/>
                  <a:pt x="7247" y="5135"/>
                </a:cubicBezTo>
                <a:cubicBezTo>
                  <a:pt x="6869" y="5388"/>
                  <a:pt x="6428" y="5545"/>
                  <a:pt x="5924" y="5545"/>
                </a:cubicBezTo>
                <a:cubicBezTo>
                  <a:pt x="5451" y="5545"/>
                  <a:pt x="4979" y="5388"/>
                  <a:pt x="4569" y="5135"/>
                </a:cubicBezTo>
                <a:cubicBezTo>
                  <a:pt x="4727" y="4568"/>
                  <a:pt x="5294" y="4159"/>
                  <a:pt x="5924" y="4159"/>
                </a:cubicBezTo>
                <a:close/>
                <a:moveTo>
                  <a:pt x="1734" y="9042"/>
                </a:moveTo>
                <a:cubicBezTo>
                  <a:pt x="2301" y="9042"/>
                  <a:pt x="2773" y="9483"/>
                  <a:pt x="2773" y="10082"/>
                </a:cubicBezTo>
                <a:cubicBezTo>
                  <a:pt x="2773" y="10649"/>
                  <a:pt x="2301" y="11121"/>
                  <a:pt x="1734" y="11121"/>
                </a:cubicBezTo>
                <a:cubicBezTo>
                  <a:pt x="1198" y="11121"/>
                  <a:pt x="726" y="10649"/>
                  <a:pt x="726" y="10082"/>
                </a:cubicBezTo>
                <a:cubicBezTo>
                  <a:pt x="726" y="9483"/>
                  <a:pt x="1198" y="9042"/>
                  <a:pt x="1734" y="9042"/>
                </a:cubicBezTo>
                <a:close/>
                <a:moveTo>
                  <a:pt x="5924" y="9042"/>
                </a:moveTo>
                <a:cubicBezTo>
                  <a:pt x="6522" y="9042"/>
                  <a:pt x="6932" y="9515"/>
                  <a:pt x="6932" y="10082"/>
                </a:cubicBezTo>
                <a:cubicBezTo>
                  <a:pt x="6932" y="10649"/>
                  <a:pt x="6459" y="11121"/>
                  <a:pt x="5924" y="11121"/>
                </a:cubicBezTo>
                <a:cubicBezTo>
                  <a:pt x="5357" y="11121"/>
                  <a:pt x="4884" y="10649"/>
                  <a:pt x="4884" y="10082"/>
                </a:cubicBezTo>
                <a:cubicBezTo>
                  <a:pt x="4884" y="9483"/>
                  <a:pt x="5325" y="9042"/>
                  <a:pt x="5924" y="9042"/>
                </a:cubicBezTo>
                <a:close/>
                <a:moveTo>
                  <a:pt x="10145" y="9042"/>
                </a:moveTo>
                <a:cubicBezTo>
                  <a:pt x="10681" y="9042"/>
                  <a:pt x="11154" y="9483"/>
                  <a:pt x="11154" y="10082"/>
                </a:cubicBezTo>
                <a:cubicBezTo>
                  <a:pt x="11154" y="10649"/>
                  <a:pt x="10681" y="11121"/>
                  <a:pt x="10145" y="11121"/>
                </a:cubicBezTo>
                <a:cubicBezTo>
                  <a:pt x="9578" y="11121"/>
                  <a:pt x="9106" y="10649"/>
                  <a:pt x="9106" y="10082"/>
                </a:cubicBezTo>
                <a:cubicBezTo>
                  <a:pt x="9106" y="9483"/>
                  <a:pt x="9578" y="9042"/>
                  <a:pt x="10145" y="9042"/>
                </a:cubicBezTo>
                <a:close/>
                <a:moveTo>
                  <a:pt x="5955" y="0"/>
                </a:moveTo>
                <a:cubicBezTo>
                  <a:pt x="4349" y="0"/>
                  <a:pt x="3088" y="1197"/>
                  <a:pt x="2868" y="2678"/>
                </a:cubicBezTo>
                <a:cubicBezTo>
                  <a:pt x="2647" y="4442"/>
                  <a:pt x="3908" y="6018"/>
                  <a:pt x="5640" y="6207"/>
                </a:cubicBezTo>
                <a:lnTo>
                  <a:pt x="5640" y="6963"/>
                </a:lnTo>
                <a:lnTo>
                  <a:pt x="2427" y="6963"/>
                </a:lnTo>
                <a:cubicBezTo>
                  <a:pt x="1828" y="6963"/>
                  <a:pt x="1387" y="7435"/>
                  <a:pt x="1387" y="7971"/>
                </a:cubicBezTo>
                <a:lnTo>
                  <a:pt x="1387" y="8380"/>
                </a:lnTo>
                <a:cubicBezTo>
                  <a:pt x="599" y="8538"/>
                  <a:pt x="1" y="9231"/>
                  <a:pt x="1" y="10082"/>
                </a:cubicBezTo>
                <a:cubicBezTo>
                  <a:pt x="1" y="11027"/>
                  <a:pt x="789" y="11846"/>
                  <a:pt x="1734" y="11846"/>
                </a:cubicBezTo>
                <a:cubicBezTo>
                  <a:pt x="2679" y="11846"/>
                  <a:pt x="3466" y="11058"/>
                  <a:pt x="3466" y="10082"/>
                </a:cubicBezTo>
                <a:cubicBezTo>
                  <a:pt x="3466" y="9231"/>
                  <a:pt x="2868" y="8538"/>
                  <a:pt x="2080" y="8380"/>
                </a:cubicBezTo>
                <a:lnTo>
                  <a:pt x="2080" y="7971"/>
                </a:lnTo>
                <a:cubicBezTo>
                  <a:pt x="2080" y="7782"/>
                  <a:pt x="2238" y="7624"/>
                  <a:pt x="2458" y="7624"/>
                </a:cubicBezTo>
                <a:lnTo>
                  <a:pt x="5609" y="7624"/>
                </a:lnTo>
                <a:lnTo>
                  <a:pt x="5609" y="8349"/>
                </a:lnTo>
                <a:cubicBezTo>
                  <a:pt x="4821" y="8506"/>
                  <a:pt x="4223" y="9200"/>
                  <a:pt x="4223" y="10019"/>
                </a:cubicBezTo>
                <a:cubicBezTo>
                  <a:pt x="4223" y="10964"/>
                  <a:pt x="5010" y="11814"/>
                  <a:pt x="5955" y="11814"/>
                </a:cubicBezTo>
                <a:cubicBezTo>
                  <a:pt x="6900" y="11814"/>
                  <a:pt x="7688" y="11027"/>
                  <a:pt x="7688" y="10019"/>
                </a:cubicBezTo>
                <a:cubicBezTo>
                  <a:pt x="7688" y="9200"/>
                  <a:pt x="7090" y="8506"/>
                  <a:pt x="6302" y="8349"/>
                </a:cubicBezTo>
                <a:lnTo>
                  <a:pt x="6302" y="7624"/>
                </a:lnTo>
                <a:lnTo>
                  <a:pt x="9452" y="7624"/>
                </a:lnTo>
                <a:cubicBezTo>
                  <a:pt x="9641" y="7624"/>
                  <a:pt x="9799" y="7782"/>
                  <a:pt x="9799" y="7971"/>
                </a:cubicBezTo>
                <a:lnTo>
                  <a:pt x="9799" y="8380"/>
                </a:lnTo>
                <a:cubicBezTo>
                  <a:pt x="9011" y="8538"/>
                  <a:pt x="8444" y="9231"/>
                  <a:pt x="8444" y="10082"/>
                </a:cubicBezTo>
                <a:cubicBezTo>
                  <a:pt x="8444" y="11027"/>
                  <a:pt x="9232" y="11846"/>
                  <a:pt x="10177" y="11846"/>
                </a:cubicBezTo>
                <a:cubicBezTo>
                  <a:pt x="11122" y="11846"/>
                  <a:pt x="11910" y="11058"/>
                  <a:pt x="11910" y="10082"/>
                </a:cubicBezTo>
                <a:cubicBezTo>
                  <a:pt x="11910" y="9231"/>
                  <a:pt x="11311" y="8538"/>
                  <a:pt x="10524" y="8380"/>
                </a:cubicBezTo>
                <a:lnTo>
                  <a:pt x="10524" y="7971"/>
                </a:lnTo>
                <a:cubicBezTo>
                  <a:pt x="10524" y="7404"/>
                  <a:pt x="10051" y="6963"/>
                  <a:pt x="9484" y="6963"/>
                </a:cubicBezTo>
                <a:lnTo>
                  <a:pt x="6333" y="6963"/>
                </a:lnTo>
                <a:lnTo>
                  <a:pt x="6333" y="6207"/>
                </a:lnTo>
                <a:cubicBezTo>
                  <a:pt x="7909" y="6049"/>
                  <a:pt x="9106" y="4726"/>
                  <a:pt x="9106" y="3088"/>
                </a:cubicBezTo>
                <a:cubicBezTo>
                  <a:pt x="9106" y="1355"/>
                  <a:pt x="7688"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14" name="Google Shape;6914;p73"/>
          <p:cNvGrpSpPr/>
          <p:nvPr/>
        </p:nvGrpSpPr>
        <p:grpSpPr>
          <a:xfrm>
            <a:off x="8840544" y="3864149"/>
            <a:ext cx="467161" cy="464329"/>
            <a:chOff x="5045775" y="1946400"/>
            <a:chExt cx="296950" cy="295150"/>
          </a:xfrm>
        </p:grpSpPr>
        <p:sp>
          <p:nvSpPr>
            <p:cNvPr id="6915" name="Google Shape;6915;p73"/>
            <p:cNvSpPr/>
            <p:nvPr/>
          </p:nvSpPr>
          <p:spPr>
            <a:xfrm>
              <a:off x="5113500" y="1998600"/>
              <a:ext cx="160700" cy="155950"/>
            </a:xfrm>
            <a:custGeom>
              <a:avLst/>
              <a:gdLst/>
              <a:ahLst/>
              <a:cxnLst/>
              <a:rect l="l" t="t" r="r" b="b"/>
              <a:pathLst>
                <a:path w="6428" h="6238" extrusionOk="0">
                  <a:moveTo>
                    <a:pt x="3309" y="2079"/>
                  </a:moveTo>
                  <a:cubicBezTo>
                    <a:pt x="3718" y="2079"/>
                    <a:pt x="4033" y="2394"/>
                    <a:pt x="4033" y="2804"/>
                  </a:cubicBezTo>
                  <a:cubicBezTo>
                    <a:pt x="4033" y="3182"/>
                    <a:pt x="3718" y="3497"/>
                    <a:pt x="3309" y="3497"/>
                  </a:cubicBezTo>
                  <a:cubicBezTo>
                    <a:pt x="2931" y="3497"/>
                    <a:pt x="2616" y="3150"/>
                    <a:pt x="2616" y="2804"/>
                  </a:cubicBezTo>
                  <a:cubicBezTo>
                    <a:pt x="2616" y="2394"/>
                    <a:pt x="2931" y="2079"/>
                    <a:pt x="3309" y="2079"/>
                  </a:cubicBezTo>
                  <a:close/>
                  <a:moveTo>
                    <a:pt x="3403" y="662"/>
                  </a:moveTo>
                  <a:cubicBezTo>
                    <a:pt x="4726" y="662"/>
                    <a:pt x="5798" y="1764"/>
                    <a:pt x="5798" y="3119"/>
                  </a:cubicBezTo>
                  <a:cubicBezTo>
                    <a:pt x="5703" y="3655"/>
                    <a:pt x="5546" y="4222"/>
                    <a:pt x="5199" y="4663"/>
                  </a:cubicBezTo>
                  <a:cubicBezTo>
                    <a:pt x="5010" y="4253"/>
                    <a:pt x="4726" y="3938"/>
                    <a:pt x="4348" y="3686"/>
                  </a:cubicBezTo>
                  <a:cubicBezTo>
                    <a:pt x="4569" y="3466"/>
                    <a:pt x="4726" y="3119"/>
                    <a:pt x="4726" y="2741"/>
                  </a:cubicBezTo>
                  <a:cubicBezTo>
                    <a:pt x="4726" y="2016"/>
                    <a:pt x="4096" y="1386"/>
                    <a:pt x="3340" y="1386"/>
                  </a:cubicBezTo>
                  <a:cubicBezTo>
                    <a:pt x="2616" y="1386"/>
                    <a:pt x="1986" y="2016"/>
                    <a:pt x="1986" y="2741"/>
                  </a:cubicBezTo>
                  <a:cubicBezTo>
                    <a:pt x="1986" y="3119"/>
                    <a:pt x="2143" y="3466"/>
                    <a:pt x="2364" y="3686"/>
                  </a:cubicBezTo>
                  <a:cubicBezTo>
                    <a:pt x="1986" y="3907"/>
                    <a:pt x="1702" y="4253"/>
                    <a:pt x="1513" y="4663"/>
                  </a:cubicBezTo>
                  <a:cubicBezTo>
                    <a:pt x="1072" y="4096"/>
                    <a:pt x="883" y="3434"/>
                    <a:pt x="977" y="2772"/>
                  </a:cubicBezTo>
                  <a:cubicBezTo>
                    <a:pt x="1135" y="1670"/>
                    <a:pt x="2143" y="662"/>
                    <a:pt x="3403" y="662"/>
                  </a:cubicBezTo>
                  <a:close/>
                  <a:moveTo>
                    <a:pt x="3309" y="4190"/>
                  </a:moveTo>
                  <a:cubicBezTo>
                    <a:pt x="3939" y="4190"/>
                    <a:pt x="4443" y="4600"/>
                    <a:pt x="4663" y="5167"/>
                  </a:cubicBezTo>
                  <a:cubicBezTo>
                    <a:pt x="4254" y="5450"/>
                    <a:pt x="3781" y="5545"/>
                    <a:pt x="3309" y="5545"/>
                  </a:cubicBezTo>
                  <a:cubicBezTo>
                    <a:pt x="2836" y="5545"/>
                    <a:pt x="2364" y="5387"/>
                    <a:pt x="1986" y="5167"/>
                  </a:cubicBezTo>
                  <a:cubicBezTo>
                    <a:pt x="2143" y="4568"/>
                    <a:pt x="2679" y="4190"/>
                    <a:pt x="3309" y="4190"/>
                  </a:cubicBezTo>
                  <a:close/>
                  <a:moveTo>
                    <a:pt x="3309" y="0"/>
                  </a:moveTo>
                  <a:cubicBezTo>
                    <a:pt x="1733" y="0"/>
                    <a:pt x="410" y="1229"/>
                    <a:pt x="253" y="2678"/>
                  </a:cubicBezTo>
                  <a:cubicBezTo>
                    <a:pt x="1" y="4600"/>
                    <a:pt x="1450" y="6238"/>
                    <a:pt x="3309" y="6238"/>
                  </a:cubicBezTo>
                  <a:cubicBezTo>
                    <a:pt x="5042" y="6238"/>
                    <a:pt x="6428" y="4820"/>
                    <a:pt x="6428" y="3119"/>
                  </a:cubicBezTo>
                  <a:cubicBezTo>
                    <a:pt x="6428" y="1418"/>
                    <a:pt x="5042" y="0"/>
                    <a:pt x="3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6" name="Google Shape;6916;p73"/>
            <p:cNvSpPr/>
            <p:nvPr/>
          </p:nvSpPr>
          <p:spPr>
            <a:xfrm>
              <a:off x="5045775" y="1946400"/>
              <a:ext cx="296950" cy="295150"/>
            </a:xfrm>
            <a:custGeom>
              <a:avLst/>
              <a:gdLst/>
              <a:ahLst/>
              <a:cxnLst/>
              <a:rect l="l" t="t" r="r" b="b"/>
              <a:pathLst>
                <a:path w="11878" h="11806" extrusionOk="0">
                  <a:moveTo>
                    <a:pt x="6018" y="765"/>
                  </a:moveTo>
                  <a:lnTo>
                    <a:pt x="6868" y="1426"/>
                  </a:lnTo>
                  <a:cubicBezTo>
                    <a:pt x="6963" y="1458"/>
                    <a:pt x="7026" y="1489"/>
                    <a:pt x="7152" y="1489"/>
                  </a:cubicBezTo>
                  <a:lnTo>
                    <a:pt x="8223" y="1332"/>
                  </a:lnTo>
                  <a:lnTo>
                    <a:pt x="8664" y="2372"/>
                  </a:lnTo>
                  <a:cubicBezTo>
                    <a:pt x="8696" y="2435"/>
                    <a:pt x="8790" y="2529"/>
                    <a:pt x="8853" y="2561"/>
                  </a:cubicBezTo>
                  <a:lnTo>
                    <a:pt x="9893" y="2970"/>
                  </a:lnTo>
                  <a:lnTo>
                    <a:pt x="9735" y="4073"/>
                  </a:lnTo>
                  <a:cubicBezTo>
                    <a:pt x="9735" y="4136"/>
                    <a:pt x="9735" y="4262"/>
                    <a:pt x="9798" y="4325"/>
                  </a:cubicBezTo>
                  <a:lnTo>
                    <a:pt x="10460" y="5207"/>
                  </a:lnTo>
                  <a:lnTo>
                    <a:pt x="9798" y="6058"/>
                  </a:lnTo>
                  <a:cubicBezTo>
                    <a:pt x="9767" y="6152"/>
                    <a:pt x="9735" y="6215"/>
                    <a:pt x="9735" y="6341"/>
                  </a:cubicBezTo>
                  <a:lnTo>
                    <a:pt x="9893" y="7444"/>
                  </a:lnTo>
                  <a:lnTo>
                    <a:pt x="8853" y="7853"/>
                  </a:lnTo>
                  <a:cubicBezTo>
                    <a:pt x="8790" y="7885"/>
                    <a:pt x="8696" y="7948"/>
                    <a:pt x="8664" y="8042"/>
                  </a:cubicBezTo>
                  <a:lnTo>
                    <a:pt x="8255" y="9051"/>
                  </a:lnTo>
                  <a:lnTo>
                    <a:pt x="7120" y="8893"/>
                  </a:lnTo>
                  <a:cubicBezTo>
                    <a:pt x="7057" y="8893"/>
                    <a:pt x="6931" y="8893"/>
                    <a:pt x="6837" y="8988"/>
                  </a:cubicBezTo>
                  <a:lnTo>
                    <a:pt x="5986" y="9649"/>
                  </a:lnTo>
                  <a:lnTo>
                    <a:pt x="5104" y="8988"/>
                  </a:lnTo>
                  <a:cubicBezTo>
                    <a:pt x="5041" y="8925"/>
                    <a:pt x="5010" y="8893"/>
                    <a:pt x="4915" y="8893"/>
                  </a:cubicBezTo>
                  <a:lnTo>
                    <a:pt x="4884" y="8893"/>
                  </a:lnTo>
                  <a:lnTo>
                    <a:pt x="3781" y="9051"/>
                  </a:lnTo>
                  <a:lnTo>
                    <a:pt x="3371" y="8042"/>
                  </a:lnTo>
                  <a:cubicBezTo>
                    <a:pt x="3340" y="7948"/>
                    <a:pt x="3277" y="7885"/>
                    <a:pt x="3182" y="7853"/>
                  </a:cubicBezTo>
                  <a:lnTo>
                    <a:pt x="2143" y="7444"/>
                  </a:lnTo>
                  <a:lnTo>
                    <a:pt x="2300" y="6341"/>
                  </a:lnTo>
                  <a:cubicBezTo>
                    <a:pt x="2300" y="6278"/>
                    <a:pt x="2300" y="6152"/>
                    <a:pt x="2237" y="6058"/>
                  </a:cubicBezTo>
                  <a:lnTo>
                    <a:pt x="1576" y="5207"/>
                  </a:lnTo>
                  <a:lnTo>
                    <a:pt x="2237" y="4325"/>
                  </a:lnTo>
                  <a:cubicBezTo>
                    <a:pt x="2269" y="4262"/>
                    <a:pt x="2300" y="4167"/>
                    <a:pt x="2300" y="4073"/>
                  </a:cubicBezTo>
                  <a:lnTo>
                    <a:pt x="2143" y="2970"/>
                  </a:lnTo>
                  <a:lnTo>
                    <a:pt x="3182" y="2561"/>
                  </a:lnTo>
                  <a:cubicBezTo>
                    <a:pt x="3277" y="2529"/>
                    <a:pt x="3340" y="2435"/>
                    <a:pt x="3371" y="2372"/>
                  </a:cubicBezTo>
                  <a:lnTo>
                    <a:pt x="3812" y="1332"/>
                  </a:lnTo>
                  <a:lnTo>
                    <a:pt x="4884" y="1489"/>
                  </a:lnTo>
                  <a:cubicBezTo>
                    <a:pt x="4947" y="1489"/>
                    <a:pt x="5073" y="1489"/>
                    <a:pt x="5167" y="1426"/>
                  </a:cubicBezTo>
                  <a:lnTo>
                    <a:pt x="6018" y="765"/>
                  </a:lnTo>
                  <a:close/>
                  <a:moveTo>
                    <a:pt x="2174" y="8168"/>
                  </a:moveTo>
                  <a:lnTo>
                    <a:pt x="2804" y="8420"/>
                  </a:lnTo>
                  <a:lnTo>
                    <a:pt x="3277" y="9586"/>
                  </a:lnTo>
                  <a:cubicBezTo>
                    <a:pt x="3308" y="9681"/>
                    <a:pt x="3434" y="9775"/>
                    <a:pt x="3529" y="9775"/>
                  </a:cubicBezTo>
                  <a:lnTo>
                    <a:pt x="2647" y="10720"/>
                  </a:lnTo>
                  <a:lnTo>
                    <a:pt x="2426" y="9649"/>
                  </a:lnTo>
                  <a:cubicBezTo>
                    <a:pt x="2395" y="9523"/>
                    <a:pt x="2332" y="9429"/>
                    <a:pt x="2174" y="9366"/>
                  </a:cubicBezTo>
                  <a:lnTo>
                    <a:pt x="1134" y="9177"/>
                  </a:lnTo>
                  <a:lnTo>
                    <a:pt x="2174" y="8168"/>
                  </a:lnTo>
                  <a:close/>
                  <a:moveTo>
                    <a:pt x="9861" y="8105"/>
                  </a:moveTo>
                  <a:lnTo>
                    <a:pt x="10901" y="9145"/>
                  </a:lnTo>
                  <a:lnTo>
                    <a:pt x="9893" y="9366"/>
                  </a:lnTo>
                  <a:cubicBezTo>
                    <a:pt x="9767" y="9429"/>
                    <a:pt x="9641" y="9492"/>
                    <a:pt x="9609" y="9649"/>
                  </a:cubicBezTo>
                  <a:lnTo>
                    <a:pt x="9389" y="10720"/>
                  </a:lnTo>
                  <a:lnTo>
                    <a:pt x="8507" y="9712"/>
                  </a:lnTo>
                  <a:cubicBezTo>
                    <a:pt x="8601" y="9712"/>
                    <a:pt x="8727" y="9649"/>
                    <a:pt x="8759" y="9523"/>
                  </a:cubicBezTo>
                  <a:lnTo>
                    <a:pt x="9231" y="8389"/>
                  </a:lnTo>
                  <a:lnTo>
                    <a:pt x="9861" y="8105"/>
                  </a:lnTo>
                  <a:close/>
                  <a:moveTo>
                    <a:pt x="6002" y="1"/>
                  </a:moveTo>
                  <a:cubicBezTo>
                    <a:pt x="5923" y="1"/>
                    <a:pt x="5844" y="24"/>
                    <a:pt x="5797" y="72"/>
                  </a:cubicBezTo>
                  <a:lnTo>
                    <a:pt x="4852" y="828"/>
                  </a:lnTo>
                  <a:lnTo>
                    <a:pt x="3623" y="670"/>
                  </a:lnTo>
                  <a:cubicBezTo>
                    <a:pt x="3607" y="667"/>
                    <a:pt x="3590" y="665"/>
                    <a:pt x="3573" y="665"/>
                  </a:cubicBezTo>
                  <a:cubicBezTo>
                    <a:pt x="3434" y="665"/>
                    <a:pt x="3305" y="775"/>
                    <a:pt x="3277" y="859"/>
                  </a:cubicBezTo>
                  <a:lnTo>
                    <a:pt x="2804" y="2025"/>
                  </a:lnTo>
                  <a:lnTo>
                    <a:pt x="1639" y="2498"/>
                  </a:lnTo>
                  <a:cubicBezTo>
                    <a:pt x="1481" y="2561"/>
                    <a:pt x="1418" y="2687"/>
                    <a:pt x="1450" y="2844"/>
                  </a:cubicBezTo>
                  <a:lnTo>
                    <a:pt x="1607" y="4073"/>
                  </a:lnTo>
                  <a:lnTo>
                    <a:pt x="851" y="5018"/>
                  </a:lnTo>
                  <a:cubicBezTo>
                    <a:pt x="788" y="5112"/>
                    <a:pt x="788" y="5333"/>
                    <a:pt x="851" y="5428"/>
                  </a:cubicBezTo>
                  <a:lnTo>
                    <a:pt x="1607" y="6373"/>
                  </a:lnTo>
                  <a:lnTo>
                    <a:pt x="1450" y="7601"/>
                  </a:lnTo>
                  <a:cubicBezTo>
                    <a:pt x="1450" y="7696"/>
                    <a:pt x="1450" y="7759"/>
                    <a:pt x="1481" y="7853"/>
                  </a:cubicBezTo>
                  <a:lnTo>
                    <a:pt x="189" y="9145"/>
                  </a:lnTo>
                  <a:cubicBezTo>
                    <a:pt x="0" y="9334"/>
                    <a:pt x="126" y="9649"/>
                    <a:pt x="347" y="9744"/>
                  </a:cubicBezTo>
                  <a:lnTo>
                    <a:pt x="1765" y="10059"/>
                  </a:lnTo>
                  <a:lnTo>
                    <a:pt x="2080" y="11539"/>
                  </a:lnTo>
                  <a:cubicBezTo>
                    <a:pt x="2099" y="11714"/>
                    <a:pt x="2250" y="11805"/>
                    <a:pt x="2407" y="11805"/>
                  </a:cubicBezTo>
                  <a:cubicBezTo>
                    <a:pt x="2505" y="11805"/>
                    <a:pt x="2606" y="11770"/>
                    <a:pt x="2678" y="11697"/>
                  </a:cubicBezTo>
                  <a:cubicBezTo>
                    <a:pt x="4410" y="9858"/>
                    <a:pt x="4587" y="9665"/>
                    <a:pt x="4601" y="9649"/>
                  </a:cubicBezTo>
                  <a:lnTo>
                    <a:pt x="4601" y="9649"/>
                  </a:lnTo>
                  <a:lnTo>
                    <a:pt x="4789" y="9618"/>
                  </a:lnTo>
                  <a:lnTo>
                    <a:pt x="5734" y="10374"/>
                  </a:lnTo>
                  <a:cubicBezTo>
                    <a:pt x="5829" y="10405"/>
                    <a:pt x="5860" y="10437"/>
                    <a:pt x="5955" y="10437"/>
                  </a:cubicBezTo>
                  <a:cubicBezTo>
                    <a:pt x="6018" y="10437"/>
                    <a:pt x="6112" y="10405"/>
                    <a:pt x="6144" y="10374"/>
                  </a:cubicBezTo>
                  <a:lnTo>
                    <a:pt x="7089" y="9618"/>
                  </a:lnTo>
                  <a:lnTo>
                    <a:pt x="7278" y="9649"/>
                  </a:lnTo>
                  <a:lnTo>
                    <a:pt x="9200" y="11697"/>
                  </a:lnTo>
                  <a:cubicBezTo>
                    <a:pt x="9284" y="11770"/>
                    <a:pt x="9388" y="11805"/>
                    <a:pt x="9485" y="11805"/>
                  </a:cubicBezTo>
                  <a:cubicBezTo>
                    <a:pt x="9640" y="11805"/>
                    <a:pt x="9779" y="11714"/>
                    <a:pt x="9798" y="11539"/>
                  </a:cubicBezTo>
                  <a:lnTo>
                    <a:pt x="10113" y="10059"/>
                  </a:lnTo>
                  <a:lnTo>
                    <a:pt x="11531" y="9744"/>
                  </a:lnTo>
                  <a:cubicBezTo>
                    <a:pt x="11815" y="9681"/>
                    <a:pt x="11878" y="9334"/>
                    <a:pt x="11689" y="9145"/>
                  </a:cubicBezTo>
                  <a:lnTo>
                    <a:pt x="10523" y="7853"/>
                  </a:lnTo>
                  <a:cubicBezTo>
                    <a:pt x="10554" y="7759"/>
                    <a:pt x="10586" y="7696"/>
                    <a:pt x="10554" y="7601"/>
                  </a:cubicBezTo>
                  <a:lnTo>
                    <a:pt x="10397" y="6373"/>
                  </a:lnTo>
                  <a:lnTo>
                    <a:pt x="11153" y="5428"/>
                  </a:lnTo>
                  <a:cubicBezTo>
                    <a:pt x="11216" y="5333"/>
                    <a:pt x="11216" y="5112"/>
                    <a:pt x="11153" y="5018"/>
                  </a:cubicBezTo>
                  <a:lnTo>
                    <a:pt x="10397" y="4073"/>
                  </a:lnTo>
                  <a:lnTo>
                    <a:pt x="10554" y="2844"/>
                  </a:lnTo>
                  <a:cubicBezTo>
                    <a:pt x="10586" y="2687"/>
                    <a:pt x="10460" y="2529"/>
                    <a:pt x="10365" y="2498"/>
                  </a:cubicBezTo>
                  <a:lnTo>
                    <a:pt x="9200" y="2025"/>
                  </a:lnTo>
                  <a:lnTo>
                    <a:pt x="8727" y="859"/>
                  </a:lnTo>
                  <a:cubicBezTo>
                    <a:pt x="8675" y="728"/>
                    <a:pt x="8578" y="662"/>
                    <a:pt x="8457" y="662"/>
                  </a:cubicBezTo>
                  <a:cubicBezTo>
                    <a:pt x="8432" y="662"/>
                    <a:pt x="8407" y="665"/>
                    <a:pt x="8381" y="670"/>
                  </a:cubicBezTo>
                  <a:lnTo>
                    <a:pt x="7152" y="828"/>
                  </a:lnTo>
                  <a:lnTo>
                    <a:pt x="6207" y="72"/>
                  </a:lnTo>
                  <a:cubicBezTo>
                    <a:pt x="6160" y="24"/>
                    <a:pt x="6081" y="1"/>
                    <a:pt x="60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17" name="Google Shape;6917;p73"/>
          <p:cNvGrpSpPr/>
          <p:nvPr/>
        </p:nvGrpSpPr>
        <p:grpSpPr>
          <a:xfrm>
            <a:off x="8838675" y="4542585"/>
            <a:ext cx="470899" cy="411431"/>
            <a:chOff x="5046550" y="2327025"/>
            <a:chExt cx="299325" cy="261525"/>
          </a:xfrm>
        </p:grpSpPr>
        <p:sp>
          <p:nvSpPr>
            <p:cNvPr id="6918" name="Google Shape;6918;p73"/>
            <p:cNvSpPr/>
            <p:nvPr/>
          </p:nvSpPr>
          <p:spPr>
            <a:xfrm>
              <a:off x="5046550" y="2448325"/>
              <a:ext cx="297750" cy="140225"/>
            </a:xfrm>
            <a:custGeom>
              <a:avLst/>
              <a:gdLst/>
              <a:ahLst/>
              <a:cxnLst/>
              <a:rect l="l" t="t" r="r" b="b"/>
              <a:pathLst>
                <a:path w="11910" h="5609" extrusionOk="0">
                  <a:moveTo>
                    <a:pt x="4569" y="1386"/>
                  </a:moveTo>
                  <a:cubicBezTo>
                    <a:pt x="4538" y="1575"/>
                    <a:pt x="4506" y="1828"/>
                    <a:pt x="4443" y="2111"/>
                  </a:cubicBezTo>
                  <a:lnTo>
                    <a:pt x="757" y="2111"/>
                  </a:lnTo>
                  <a:lnTo>
                    <a:pt x="757" y="1386"/>
                  </a:lnTo>
                  <a:close/>
                  <a:moveTo>
                    <a:pt x="11185" y="1386"/>
                  </a:moveTo>
                  <a:lnTo>
                    <a:pt x="11185" y="2111"/>
                  </a:lnTo>
                  <a:lnTo>
                    <a:pt x="7530" y="2111"/>
                  </a:lnTo>
                  <a:cubicBezTo>
                    <a:pt x="7467" y="1828"/>
                    <a:pt x="7436" y="1575"/>
                    <a:pt x="7373" y="1386"/>
                  </a:cubicBezTo>
                  <a:close/>
                  <a:moveTo>
                    <a:pt x="5955" y="725"/>
                  </a:moveTo>
                  <a:cubicBezTo>
                    <a:pt x="6270" y="725"/>
                    <a:pt x="6396" y="788"/>
                    <a:pt x="6491" y="1071"/>
                  </a:cubicBezTo>
                  <a:cubicBezTo>
                    <a:pt x="6743" y="1639"/>
                    <a:pt x="6900" y="2804"/>
                    <a:pt x="7247" y="4852"/>
                  </a:cubicBezTo>
                  <a:lnTo>
                    <a:pt x="4664" y="4852"/>
                  </a:lnTo>
                  <a:cubicBezTo>
                    <a:pt x="5010" y="2804"/>
                    <a:pt x="5168" y="1639"/>
                    <a:pt x="5388" y="1071"/>
                  </a:cubicBezTo>
                  <a:cubicBezTo>
                    <a:pt x="5514" y="788"/>
                    <a:pt x="5640" y="725"/>
                    <a:pt x="5955" y="725"/>
                  </a:cubicBezTo>
                  <a:close/>
                  <a:moveTo>
                    <a:pt x="5955" y="0"/>
                  </a:moveTo>
                  <a:cubicBezTo>
                    <a:pt x="5357" y="0"/>
                    <a:pt x="5010" y="221"/>
                    <a:pt x="4758" y="725"/>
                  </a:cubicBezTo>
                  <a:lnTo>
                    <a:pt x="347" y="725"/>
                  </a:lnTo>
                  <a:cubicBezTo>
                    <a:pt x="158" y="725"/>
                    <a:pt x="1" y="882"/>
                    <a:pt x="1" y="1071"/>
                  </a:cubicBezTo>
                  <a:lnTo>
                    <a:pt x="1" y="2458"/>
                  </a:lnTo>
                  <a:cubicBezTo>
                    <a:pt x="1" y="2647"/>
                    <a:pt x="158" y="2804"/>
                    <a:pt x="347" y="2804"/>
                  </a:cubicBezTo>
                  <a:lnTo>
                    <a:pt x="4254" y="2804"/>
                  </a:lnTo>
                  <a:cubicBezTo>
                    <a:pt x="4191" y="3371"/>
                    <a:pt x="4065" y="4064"/>
                    <a:pt x="3907" y="4884"/>
                  </a:cubicBezTo>
                  <a:lnTo>
                    <a:pt x="3498" y="4884"/>
                  </a:lnTo>
                  <a:cubicBezTo>
                    <a:pt x="3309" y="4884"/>
                    <a:pt x="3151" y="5041"/>
                    <a:pt x="3151" y="5262"/>
                  </a:cubicBezTo>
                  <a:cubicBezTo>
                    <a:pt x="3151" y="5451"/>
                    <a:pt x="3309" y="5608"/>
                    <a:pt x="3498" y="5608"/>
                  </a:cubicBezTo>
                  <a:lnTo>
                    <a:pt x="8350" y="5608"/>
                  </a:lnTo>
                  <a:cubicBezTo>
                    <a:pt x="8539" y="5608"/>
                    <a:pt x="8696" y="5451"/>
                    <a:pt x="8696" y="5262"/>
                  </a:cubicBezTo>
                  <a:cubicBezTo>
                    <a:pt x="8696" y="5041"/>
                    <a:pt x="8539" y="4884"/>
                    <a:pt x="8350" y="4884"/>
                  </a:cubicBezTo>
                  <a:lnTo>
                    <a:pt x="7972" y="4884"/>
                  </a:lnTo>
                  <a:cubicBezTo>
                    <a:pt x="7814" y="4064"/>
                    <a:pt x="7688" y="3403"/>
                    <a:pt x="7593" y="2804"/>
                  </a:cubicBezTo>
                  <a:lnTo>
                    <a:pt x="11500" y="2804"/>
                  </a:lnTo>
                  <a:cubicBezTo>
                    <a:pt x="11689" y="2804"/>
                    <a:pt x="11847" y="2647"/>
                    <a:pt x="11847" y="2458"/>
                  </a:cubicBezTo>
                  <a:lnTo>
                    <a:pt x="11847" y="1071"/>
                  </a:lnTo>
                  <a:cubicBezTo>
                    <a:pt x="11910" y="882"/>
                    <a:pt x="11752" y="725"/>
                    <a:pt x="11532" y="725"/>
                  </a:cubicBezTo>
                  <a:lnTo>
                    <a:pt x="7121" y="725"/>
                  </a:lnTo>
                  <a:cubicBezTo>
                    <a:pt x="6900" y="252"/>
                    <a:pt x="6554" y="0"/>
                    <a:pt x="59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19" name="Google Shape;6919;p73"/>
            <p:cNvSpPr/>
            <p:nvPr/>
          </p:nvSpPr>
          <p:spPr>
            <a:xfrm>
              <a:off x="5241900" y="2327025"/>
              <a:ext cx="103975" cy="121325"/>
            </a:xfrm>
            <a:custGeom>
              <a:avLst/>
              <a:gdLst/>
              <a:ahLst/>
              <a:cxnLst/>
              <a:rect l="l" t="t" r="r" b="b"/>
              <a:pathLst>
                <a:path w="4159" h="4853" extrusionOk="0">
                  <a:moveTo>
                    <a:pt x="1985" y="725"/>
                  </a:moveTo>
                  <a:cubicBezTo>
                    <a:pt x="2394" y="725"/>
                    <a:pt x="2709" y="1040"/>
                    <a:pt x="2709" y="1450"/>
                  </a:cubicBezTo>
                  <a:cubicBezTo>
                    <a:pt x="2709" y="1828"/>
                    <a:pt x="2394" y="2143"/>
                    <a:pt x="1985" y="2143"/>
                  </a:cubicBezTo>
                  <a:cubicBezTo>
                    <a:pt x="1607" y="2143"/>
                    <a:pt x="1292" y="1828"/>
                    <a:pt x="1292" y="1450"/>
                  </a:cubicBezTo>
                  <a:cubicBezTo>
                    <a:pt x="1292" y="1040"/>
                    <a:pt x="1638" y="725"/>
                    <a:pt x="1985" y="725"/>
                  </a:cubicBezTo>
                  <a:close/>
                  <a:moveTo>
                    <a:pt x="1985" y="2804"/>
                  </a:moveTo>
                  <a:cubicBezTo>
                    <a:pt x="2741" y="2804"/>
                    <a:pt x="3371" y="3435"/>
                    <a:pt x="3371" y="4191"/>
                  </a:cubicBezTo>
                  <a:lnTo>
                    <a:pt x="630" y="4191"/>
                  </a:lnTo>
                  <a:cubicBezTo>
                    <a:pt x="630" y="3435"/>
                    <a:pt x="1260" y="2804"/>
                    <a:pt x="1985" y="2804"/>
                  </a:cubicBezTo>
                  <a:close/>
                  <a:moveTo>
                    <a:pt x="2048" y="1"/>
                  </a:moveTo>
                  <a:cubicBezTo>
                    <a:pt x="1292" y="1"/>
                    <a:pt x="662" y="631"/>
                    <a:pt x="662" y="1387"/>
                  </a:cubicBezTo>
                  <a:cubicBezTo>
                    <a:pt x="662" y="1765"/>
                    <a:pt x="819" y="2111"/>
                    <a:pt x="1040" y="2332"/>
                  </a:cubicBezTo>
                  <a:cubicBezTo>
                    <a:pt x="410" y="2710"/>
                    <a:pt x="0" y="3372"/>
                    <a:pt x="0" y="4159"/>
                  </a:cubicBezTo>
                  <a:lnTo>
                    <a:pt x="0" y="4506"/>
                  </a:lnTo>
                  <a:cubicBezTo>
                    <a:pt x="0" y="4695"/>
                    <a:pt x="158" y="4852"/>
                    <a:pt x="347" y="4852"/>
                  </a:cubicBezTo>
                  <a:lnTo>
                    <a:pt x="3812" y="4852"/>
                  </a:lnTo>
                  <a:cubicBezTo>
                    <a:pt x="4001" y="4852"/>
                    <a:pt x="4159" y="4695"/>
                    <a:pt x="4159" y="4506"/>
                  </a:cubicBezTo>
                  <a:lnTo>
                    <a:pt x="4159" y="4159"/>
                  </a:lnTo>
                  <a:cubicBezTo>
                    <a:pt x="4096" y="3403"/>
                    <a:pt x="3655" y="2710"/>
                    <a:pt x="3025" y="2332"/>
                  </a:cubicBezTo>
                  <a:cubicBezTo>
                    <a:pt x="3245" y="2111"/>
                    <a:pt x="3403" y="1765"/>
                    <a:pt x="3403" y="1387"/>
                  </a:cubicBezTo>
                  <a:cubicBezTo>
                    <a:pt x="3403" y="631"/>
                    <a:pt x="2772"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0" name="Google Shape;6920;p73"/>
            <p:cNvSpPr/>
            <p:nvPr/>
          </p:nvSpPr>
          <p:spPr>
            <a:xfrm>
              <a:off x="5048925" y="2328600"/>
              <a:ext cx="103975" cy="121325"/>
            </a:xfrm>
            <a:custGeom>
              <a:avLst/>
              <a:gdLst/>
              <a:ahLst/>
              <a:cxnLst/>
              <a:rect l="l" t="t" r="r" b="b"/>
              <a:pathLst>
                <a:path w="4159" h="4853" extrusionOk="0">
                  <a:moveTo>
                    <a:pt x="2048" y="662"/>
                  </a:moveTo>
                  <a:cubicBezTo>
                    <a:pt x="2426" y="662"/>
                    <a:pt x="2741" y="977"/>
                    <a:pt x="2741" y="1387"/>
                  </a:cubicBezTo>
                  <a:cubicBezTo>
                    <a:pt x="2741" y="1765"/>
                    <a:pt x="2426" y="2080"/>
                    <a:pt x="2048" y="2080"/>
                  </a:cubicBezTo>
                  <a:cubicBezTo>
                    <a:pt x="1639" y="2080"/>
                    <a:pt x="1324" y="1765"/>
                    <a:pt x="1324" y="1387"/>
                  </a:cubicBezTo>
                  <a:cubicBezTo>
                    <a:pt x="1324" y="977"/>
                    <a:pt x="1670" y="662"/>
                    <a:pt x="2048" y="662"/>
                  </a:cubicBezTo>
                  <a:close/>
                  <a:moveTo>
                    <a:pt x="2048" y="2710"/>
                  </a:moveTo>
                  <a:cubicBezTo>
                    <a:pt x="2773" y="2710"/>
                    <a:pt x="3403" y="3340"/>
                    <a:pt x="3403" y="4096"/>
                  </a:cubicBezTo>
                  <a:lnTo>
                    <a:pt x="662" y="4096"/>
                  </a:lnTo>
                  <a:cubicBezTo>
                    <a:pt x="662" y="3340"/>
                    <a:pt x="1292" y="2710"/>
                    <a:pt x="2048" y="2710"/>
                  </a:cubicBezTo>
                  <a:close/>
                  <a:moveTo>
                    <a:pt x="2111" y="1"/>
                  </a:moveTo>
                  <a:cubicBezTo>
                    <a:pt x="1355" y="1"/>
                    <a:pt x="725" y="631"/>
                    <a:pt x="725" y="1387"/>
                  </a:cubicBezTo>
                  <a:cubicBezTo>
                    <a:pt x="725" y="1733"/>
                    <a:pt x="882" y="2080"/>
                    <a:pt x="1134" y="2332"/>
                  </a:cubicBezTo>
                  <a:cubicBezTo>
                    <a:pt x="410" y="2647"/>
                    <a:pt x="0" y="3340"/>
                    <a:pt x="0" y="4128"/>
                  </a:cubicBezTo>
                  <a:lnTo>
                    <a:pt x="0" y="4474"/>
                  </a:lnTo>
                  <a:cubicBezTo>
                    <a:pt x="0" y="4695"/>
                    <a:pt x="158" y="4852"/>
                    <a:pt x="347" y="4852"/>
                  </a:cubicBezTo>
                  <a:lnTo>
                    <a:pt x="3812" y="4852"/>
                  </a:lnTo>
                  <a:cubicBezTo>
                    <a:pt x="4001" y="4852"/>
                    <a:pt x="4159" y="4695"/>
                    <a:pt x="4159" y="4474"/>
                  </a:cubicBezTo>
                  <a:lnTo>
                    <a:pt x="4159" y="4128"/>
                  </a:lnTo>
                  <a:cubicBezTo>
                    <a:pt x="4159" y="3340"/>
                    <a:pt x="3718" y="2678"/>
                    <a:pt x="3088" y="2332"/>
                  </a:cubicBezTo>
                  <a:cubicBezTo>
                    <a:pt x="3340" y="2080"/>
                    <a:pt x="3497" y="1733"/>
                    <a:pt x="3497" y="1387"/>
                  </a:cubicBezTo>
                  <a:cubicBezTo>
                    <a:pt x="3497" y="631"/>
                    <a:pt x="2867"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21" name="Google Shape;6921;p73"/>
          <p:cNvSpPr/>
          <p:nvPr/>
        </p:nvSpPr>
        <p:spPr>
          <a:xfrm>
            <a:off x="8943822" y="5113729"/>
            <a:ext cx="260247" cy="467161"/>
          </a:xfrm>
          <a:custGeom>
            <a:avLst/>
            <a:gdLst/>
            <a:ahLst/>
            <a:cxnLst/>
            <a:rect l="l" t="t" r="r" b="b"/>
            <a:pathLst>
              <a:path w="6617" h="11878" extrusionOk="0">
                <a:moveTo>
                  <a:pt x="2962" y="725"/>
                </a:moveTo>
                <a:lnTo>
                  <a:pt x="2489" y="2111"/>
                </a:lnTo>
                <a:lnTo>
                  <a:pt x="1575" y="2111"/>
                </a:lnTo>
                <a:lnTo>
                  <a:pt x="1103" y="725"/>
                </a:lnTo>
                <a:close/>
                <a:moveTo>
                  <a:pt x="3277" y="3529"/>
                </a:moveTo>
                <a:lnTo>
                  <a:pt x="5892" y="6144"/>
                </a:lnTo>
                <a:lnTo>
                  <a:pt x="5892" y="6616"/>
                </a:lnTo>
                <a:lnTo>
                  <a:pt x="5419" y="6616"/>
                </a:lnTo>
                <a:lnTo>
                  <a:pt x="3434" y="4663"/>
                </a:lnTo>
                <a:lnTo>
                  <a:pt x="3277" y="3529"/>
                </a:lnTo>
                <a:close/>
                <a:moveTo>
                  <a:pt x="2458" y="2804"/>
                </a:moveTo>
                <a:lnTo>
                  <a:pt x="3434" y="9357"/>
                </a:lnTo>
                <a:lnTo>
                  <a:pt x="2048" y="10964"/>
                </a:lnTo>
                <a:lnTo>
                  <a:pt x="693" y="9357"/>
                </a:lnTo>
                <a:lnTo>
                  <a:pt x="1670" y="2804"/>
                </a:lnTo>
                <a:close/>
                <a:moveTo>
                  <a:pt x="693" y="0"/>
                </a:moveTo>
                <a:cubicBezTo>
                  <a:pt x="567" y="0"/>
                  <a:pt x="473" y="32"/>
                  <a:pt x="410" y="158"/>
                </a:cubicBezTo>
                <a:cubicBezTo>
                  <a:pt x="315" y="252"/>
                  <a:pt x="315" y="378"/>
                  <a:pt x="378" y="473"/>
                </a:cubicBezTo>
                <a:lnTo>
                  <a:pt x="1040" y="2489"/>
                </a:lnTo>
                <a:lnTo>
                  <a:pt x="0" y="9389"/>
                </a:lnTo>
                <a:cubicBezTo>
                  <a:pt x="0" y="9452"/>
                  <a:pt x="0" y="9578"/>
                  <a:pt x="95" y="9672"/>
                </a:cubicBezTo>
                <a:lnTo>
                  <a:pt x="1828" y="11751"/>
                </a:lnTo>
                <a:cubicBezTo>
                  <a:pt x="1891" y="11814"/>
                  <a:pt x="1985" y="11877"/>
                  <a:pt x="2080" y="11877"/>
                </a:cubicBezTo>
                <a:cubicBezTo>
                  <a:pt x="2206" y="11877"/>
                  <a:pt x="2300" y="11814"/>
                  <a:pt x="2363" y="11751"/>
                </a:cubicBezTo>
                <a:lnTo>
                  <a:pt x="4096" y="9672"/>
                </a:lnTo>
                <a:cubicBezTo>
                  <a:pt x="4190" y="9578"/>
                  <a:pt x="4190" y="9483"/>
                  <a:pt x="4190" y="9389"/>
                </a:cubicBezTo>
                <a:lnTo>
                  <a:pt x="3623" y="5797"/>
                </a:lnTo>
                <a:lnTo>
                  <a:pt x="5041" y="7183"/>
                </a:lnTo>
                <a:cubicBezTo>
                  <a:pt x="5136" y="7246"/>
                  <a:pt x="5199" y="7309"/>
                  <a:pt x="5293" y="7309"/>
                </a:cubicBezTo>
                <a:lnTo>
                  <a:pt x="6270" y="7309"/>
                </a:lnTo>
                <a:cubicBezTo>
                  <a:pt x="6459" y="7309"/>
                  <a:pt x="6616" y="7152"/>
                  <a:pt x="6616" y="6931"/>
                </a:cubicBezTo>
                <a:lnTo>
                  <a:pt x="6616" y="5955"/>
                </a:lnTo>
                <a:cubicBezTo>
                  <a:pt x="6616" y="5892"/>
                  <a:pt x="6585" y="5766"/>
                  <a:pt x="6490" y="5734"/>
                </a:cubicBezTo>
                <a:lnTo>
                  <a:pt x="3119" y="2426"/>
                </a:lnTo>
                <a:lnTo>
                  <a:pt x="3749" y="473"/>
                </a:lnTo>
                <a:cubicBezTo>
                  <a:pt x="3781" y="378"/>
                  <a:pt x="3749" y="252"/>
                  <a:pt x="3718" y="158"/>
                </a:cubicBezTo>
                <a:cubicBezTo>
                  <a:pt x="3623" y="95"/>
                  <a:pt x="3560" y="0"/>
                  <a:pt x="34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22" name="Google Shape;6922;p73"/>
          <p:cNvGrpSpPr/>
          <p:nvPr/>
        </p:nvGrpSpPr>
        <p:grpSpPr>
          <a:xfrm>
            <a:off x="10608806" y="5115035"/>
            <a:ext cx="468420" cy="464684"/>
            <a:chOff x="6167350" y="2672800"/>
            <a:chExt cx="297750" cy="295375"/>
          </a:xfrm>
        </p:grpSpPr>
        <p:sp>
          <p:nvSpPr>
            <p:cNvPr id="6923" name="Google Shape;6923;p73"/>
            <p:cNvSpPr/>
            <p:nvPr/>
          </p:nvSpPr>
          <p:spPr>
            <a:xfrm>
              <a:off x="6167350" y="2672800"/>
              <a:ext cx="226850" cy="295375"/>
            </a:xfrm>
            <a:custGeom>
              <a:avLst/>
              <a:gdLst/>
              <a:ahLst/>
              <a:cxnLst/>
              <a:rect l="l" t="t" r="r" b="b"/>
              <a:pathLst>
                <a:path w="9074" h="11815" extrusionOk="0">
                  <a:moveTo>
                    <a:pt x="4537" y="725"/>
                  </a:moveTo>
                  <a:cubicBezTo>
                    <a:pt x="4758" y="725"/>
                    <a:pt x="4915" y="882"/>
                    <a:pt x="4915" y="1071"/>
                  </a:cubicBezTo>
                  <a:cubicBezTo>
                    <a:pt x="4915" y="1260"/>
                    <a:pt x="5073" y="1418"/>
                    <a:pt x="5262" y="1418"/>
                  </a:cubicBezTo>
                  <a:lnTo>
                    <a:pt x="5955" y="1418"/>
                  </a:lnTo>
                  <a:cubicBezTo>
                    <a:pt x="6175" y="1418"/>
                    <a:pt x="6333" y="1575"/>
                    <a:pt x="6333" y="1796"/>
                  </a:cubicBezTo>
                  <a:cubicBezTo>
                    <a:pt x="6333" y="1985"/>
                    <a:pt x="6175" y="2142"/>
                    <a:pt x="5955" y="2142"/>
                  </a:cubicBezTo>
                  <a:lnTo>
                    <a:pt x="3119" y="2142"/>
                  </a:lnTo>
                  <a:cubicBezTo>
                    <a:pt x="2930" y="2142"/>
                    <a:pt x="2773" y="1985"/>
                    <a:pt x="2773" y="1796"/>
                  </a:cubicBezTo>
                  <a:cubicBezTo>
                    <a:pt x="2773" y="1575"/>
                    <a:pt x="2930" y="1418"/>
                    <a:pt x="3151" y="1418"/>
                  </a:cubicBezTo>
                  <a:lnTo>
                    <a:pt x="3844" y="1418"/>
                  </a:lnTo>
                  <a:cubicBezTo>
                    <a:pt x="4033" y="1418"/>
                    <a:pt x="4191" y="1260"/>
                    <a:pt x="4191" y="1071"/>
                  </a:cubicBezTo>
                  <a:cubicBezTo>
                    <a:pt x="4191" y="882"/>
                    <a:pt x="4348" y="725"/>
                    <a:pt x="4537" y="725"/>
                  </a:cubicBezTo>
                  <a:close/>
                  <a:moveTo>
                    <a:pt x="8066" y="2111"/>
                  </a:moveTo>
                  <a:cubicBezTo>
                    <a:pt x="8255" y="2111"/>
                    <a:pt x="8412" y="2268"/>
                    <a:pt x="8412" y="2458"/>
                  </a:cubicBezTo>
                  <a:lnTo>
                    <a:pt x="8412" y="10806"/>
                  </a:lnTo>
                  <a:lnTo>
                    <a:pt x="8381" y="10806"/>
                  </a:lnTo>
                  <a:cubicBezTo>
                    <a:pt x="8381" y="10995"/>
                    <a:pt x="8223" y="11153"/>
                    <a:pt x="8034" y="11153"/>
                  </a:cubicBezTo>
                  <a:lnTo>
                    <a:pt x="1040" y="11153"/>
                  </a:lnTo>
                  <a:cubicBezTo>
                    <a:pt x="851" y="11153"/>
                    <a:pt x="693" y="10995"/>
                    <a:pt x="693" y="10806"/>
                  </a:cubicBezTo>
                  <a:lnTo>
                    <a:pt x="693" y="2458"/>
                  </a:lnTo>
                  <a:cubicBezTo>
                    <a:pt x="693" y="2268"/>
                    <a:pt x="851" y="2111"/>
                    <a:pt x="1040" y="2111"/>
                  </a:cubicBezTo>
                  <a:lnTo>
                    <a:pt x="2143" y="2111"/>
                  </a:lnTo>
                  <a:cubicBezTo>
                    <a:pt x="2300" y="2489"/>
                    <a:pt x="2647" y="2804"/>
                    <a:pt x="3119" y="2804"/>
                  </a:cubicBezTo>
                  <a:lnTo>
                    <a:pt x="5986" y="2804"/>
                  </a:lnTo>
                  <a:cubicBezTo>
                    <a:pt x="6396" y="2804"/>
                    <a:pt x="6805" y="2521"/>
                    <a:pt x="6963" y="2111"/>
                  </a:cubicBezTo>
                  <a:close/>
                  <a:moveTo>
                    <a:pt x="4506" y="0"/>
                  </a:moveTo>
                  <a:cubicBezTo>
                    <a:pt x="4096" y="0"/>
                    <a:pt x="3686" y="284"/>
                    <a:pt x="3529" y="725"/>
                  </a:cubicBezTo>
                  <a:lnTo>
                    <a:pt x="3088" y="725"/>
                  </a:lnTo>
                  <a:cubicBezTo>
                    <a:pt x="2678" y="725"/>
                    <a:pt x="2269" y="1008"/>
                    <a:pt x="2111" y="1418"/>
                  </a:cubicBezTo>
                  <a:lnTo>
                    <a:pt x="1009" y="1418"/>
                  </a:lnTo>
                  <a:cubicBezTo>
                    <a:pt x="410" y="1418"/>
                    <a:pt x="0" y="1890"/>
                    <a:pt x="0" y="2458"/>
                  </a:cubicBezTo>
                  <a:lnTo>
                    <a:pt x="0" y="10806"/>
                  </a:lnTo>
                  <a:cubicBezTo>
                    <a:pt x="0" y="11405"/>
                    <a:pt x="473" y="11814"/>
                    <a:pt x="1009" y="11814"/>
                  </a:cubicBezTo>
                  <a:lnTo>
                    <a:pt x="7971" y="11814"/>
                  </a:lnTo>
                  <a:cubicBezTo>
                    <a:pt x="8570" y="11814"/>
                    <a:pt x="9011" y="11342"/>
                    <a:pt x="9011" y="10806"/>
                  </a:cubicBezTo>
                  <a:lnTo>
                    <a:pt x="9011" y="2458"/>
                  </a:lnTo>
                  <a:cubicBezTo>
                    <a:pt x="9074" y="1859"/>
                    <a:pt x="8601" y="1418"/>
                    <a:pt x="8034" y="1418"/>
                  </a:cubicBezTo>
                  <a:lnTo>
                    <a:pt x="6931" y="1418"/>
                  </a:lnTo>
                  <a:cubicBezTo>
                    <a:pt x="6774" y="1040"/>
                    <a:pt x="6396" y="725"/>
                    <a:pt x="5923" y="725"/>
                  </a:cubicBezTo>
                  <a:lnTo>
                    <a:pt x="5545" y="725"/>
                  </a:lnTo>
                  <a:cubicBezTo>
                    <a:pt x="5514" y="567"/>
                    <a:pt x="5388" y="441"/>
                    <a:pt x="5262" y="315"/>
                  </a:cubicBezTo>
                  <a:cubicBezTo>
                    <a:pt x="5073" y="126"/>
                    <a:pt x="4789"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4" name="Google Shape;6924;p73"/>
            <p:cNvSpPr/>
            <p:nvPr/>
          </p:nvSpPr>
          <p:spPr>
            <a:xfrm>
              <a:off x="6201225" y="2762575"/>
              <a:ext cx="52775" cy="49650"/>
            </a:xfrm>
            <a:custGeom>
              <a:avLst/>
              <a:gdLst/>
              <a:ahLst/>
              <a:cxnLst/>
              <a:rect l="l" t="t" r="r" b="b"/>
              <a:pathLst>
                <a:path w="2111" h="1986" extrusionOk="0">
                  <a:moveTo>
                    <a:pt x="406" y="1"/>
                  </a:moveTo>
                  <a:cubicBezTo>
                    <a:pt x="315" y="1"/>
                    <a:pt x="221" y="32"/>
                    <a:pt x="158" y="95"/>
                  </a:cubicBezTo>
                  <a:cubicBezTo>
                    <a:pt x="63" y="190"/>
                    <a:pt x="63" y="442"/>
                    <a:pt x="158" y="568"/>
                  </a:cubicBezTo>
                  <a:lnTo>
                    <a:pt x="599" y="977"/>
                  </a:lnTo>
                  <a:lnTo>
                    <a:pt x="158" y="1418"/>
                  </a:lnTo>
                  <a:cubicBezTo>
                    <a:pt x="0" y="1544"/>
                    <a:pt x="0" y="1733"/>
                    <a:pt x="158" y="1891"/>
                  </a:cubicBezTo>
                  <a:cubicBezTo>
                    <a:pt x="221" y="1954"/>
                    <a:pt x="315" y="1985"/>
                    <a:pt x="406" y="1985"/>
                  </a:cubicBezTo>
                  <a:cubicBezTo>
                    <a:pt x="496" y="1985"/>
                    <a:pt x="583" y="1954"/>
                    <a:pt x="630" y="1891"/>
                  </a:cubicBezTo>
                  <a:lnTo>
                    <a:pt x="1071" y="1450"/>
                  </a:lnTo>
                  <a:lnTo>
                    <a:pt x="1512" y="1891"/>
                  </a:lnTo>
                  <a:cubicBezTo>
                    <a:pt x="1575" y="1954"/>
                    <a:pt x="1662" y="1985"/>
                    <a:pt x="1749" y="1985"/>
                  </a:cubicBezTo>
                  <a:cubicBezTo>
                    <a:pt x="1835" y="1985"/>
                    <a:pt x="1922" y="1954"/>
                    <a:pt x="1985" y="1891"/>
                  </a:cubicBezTo>
                  <a:cubicBezTo>
                    <a:pt x="2111" y="1765"/>
                    <a:pt x="2111" y="1544"/>
                    <a:pt x="1985" y="1418"/>
                  </a:cubicBezTo>
                  <a:lnTo>
                    <a:pt x="1544" y="977"/>
                  </a:lnTo>
                  <a:lnTo>
                    <a:pt x="1985" y="568"/>
                  </a:lnTo>
                  <a:cubicBezTo>
                    <a:pt x="2111" y="442"/>
                    <a:pt x="2111" y="190"/>
                    <a:pt x="1985" y="95"/>
                  </a:cubicBezTo>
                  <a:cubicBezTo>
                    <a:pt x="1922" y="32"/>
                    <a:pt x="1835" y="1"/>
                    <a:pt x="1749" y="1"/>
                  </a:cubicBezTo>
                  <a:cubicBezTo>
                    <a:pt x="1662" y="1"/>
                    <a:pt x="1575" y="32"/>
                    <a:pt x="1512" y="95"/>
                  </a:cubicBezTo>
                  <a:lnTo>
                    <a:pt x="1071" y="505"/>
                  </a:lnTo>
                  <a:lnTo>
                    <a:pt x="630" y="95"/>
                  </a:lnTo>
                  <a:cubicBezTo>
                    <a:pt x="583" y="32"/>
                    <a:pt x="496" y="1"/>
                    <a:pt x="4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5" name="Google Shape;6925;p73"/>
            <p:cNvSpPr/>
            <p:nvPr/>
          </p:nvSpPr>
          <p:spPr>
            <a:xfrm>
              <a:off x="6308325" y="2882300"/>
              <a:ext cx="51225" cy="49650"/>
            </a:xfrm>
            <a:custGeom>
              <a:avLst/>
              <a:gdLst/>
              <a:ahLst/>
              <a:cxnLst/>
              <a:rect l="l" t="t" r="r" b="b"/>
              <a:pathLst>
                <a:path w="2049" h="1986" extrusionOk="0">
                  <a:moveTo>
                    <a:pt x="363" y="0"/>
                  </a:moveTo>
                  <a:cubicBezTo>
                    <a:pt x="276" y="0"/>
                    <a:pt x="190" y="32"/>
                    <a:pt x="127" y="95"/>
                  </a:cubicBezTo>
                  <a:cubicBezTo>
                    <a:pt x="1" y="221"/>
                    <a:pt x="1" y="441"/>
                    <a:pt x="127" y="567"/>
                  </a:cubicBezTo>
                  <a:lnTo>
                    <a:pt x="568" y="1009"/>
                  </a:lnTo>
                  <a:lnTo>
                    <a:pt x="127" y="1450"/>
                  </a:lnTo>
                  <a:cubicBezTo>
                    <a:pt x="1" y="1544"/>
                    <a:pt x="1" y="1796"/>
                    <a:pt x="127" y="1891"/>
                  </a:cubicBezTo>
                  <a:cubicBezTo>
                    <a:pt x="190" y="1954"/>
                    <a:pt x="276" y="1985"/>
                    <a:pt x="363" y="1985"/>
                  </a:cubicBezTo>
                  <a:cubicBezTo>
                    <a:pt x="450" y="1985"/>
                    <a:pt x="536" y="1954"/>
                    <a:pt x="599" y="1891"/>
                  </a:cubicBezTo>
                  <a:lnTo>
                    <a:pt x="1040" y="1481"/>
                  </a:lnTo>
                  <a:lnTo>
                    <a:pt x="1481" y="1891"/>
                  </a:lnTo>
                  <a:cubicBezTo>
                    <a:pt x="1529" y="1954"/>
                    <a:pt x="1615" y="1985"/>
                    <a:pt x="1706" y="1985"/>
                  </a:cubicBezTo>
                  <a:cubicBezTo>
                    <a:pt x="1797" y="1985"/>
                    <a:pt x="1891" y="1954"/>
                    <a:pt x="1954" y="1891"/>
                  </a:cubicBezTo>
                  <a:cubicBezTo>
                    <a:pt x="2049" y="1796"/>
                    <a:pt x="2049" y="1544"/>
                    <a:pt x="1954" y="1450"/>
                  </a:cubicBezTo>
                  <a:lnTo>
                    <a:pt x="1513" y="1009"/>
                  </a:lnTo>
                  <a:lnTo>
                    <a:pt x="1954" y="567"/>
                  </a:lnTo>
                  <a:cubicBezTo>
                    <a:pt x="2049" y="441"/>
                    <a:pt x="2049" y="252"/>
                    <a:pt x="1954" y="95"/>
                  </a:cubicBezTo>
                  <a:cubicBezTo>
                    <a:pt x="1891" y="32"/>
                    <a:pt x="1804" y="0"/>
                    <a:pt x="1718" y="0"/>
                  </a:cubicBezTo>
                  <a:cubicBezTo>
                    <a:pt x="1631" y="0"/>
                    <a:pt x="1544" y="32"/>
                    <a:pt x="1481" y="95"/>
                  </a:cubicBezTo>
                  <a:lnTo>
                    <a:pt x="1040" y="536"/>
                  </a:lnTo>
                  <a:lnTo>
                    <a:pt x="599" y="95"/>
                  </a:lnTo>
                  <a:cubicBezTo>
                    <a:pt x="536" y="32"/>
                    <a:pt x="450" y="0"/>
                    <a:pt x="3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6" name="Google Shape;6926;p73"/>
            <p:cNvSpPr/>
            <p:nvPr/>
          </p:nvSpPr>
          <p:spPr>
            <a:xfrm>
              <a:off x="6200425" y="2759425"/>
              <a:ext cx="156775" cy="174875"/>
            </a:xfrm>
            <a:custGeom>
              <a:avLst/>
              <a:gdLst/>
              <a:ahLst/>
              <a:cxnLst/>
              <a:rect l="l" t="t" r="r" b="b"/>
              <a:pathLst>
                <a:path w="6271" h="6995" extrusionOk="0">
                  <a:moveTo>
                    <a:pt x="1103" y="5609"/>
                  </a:moveTo>
                  <a:cubicBezTo>
                    <a:pt x="1292" y="5609"/>
                    <a:pt x="1450" y="5766"/>
                    <a:pt x="1450" y="5955"/>
                  </a:cubicBezTo>
                  <a:cubicBezTo>
                    <a:pt x="1450" y="6144"/>
                    <a:pt x="1292" y="6302"/>
                    <a:pt x="1103" y="6302"/>
                  </a:cubicBezTo>
                  <a:cubicBezTo>
                    <a:pt x="914" y="6302"/>
                    <a:pt x="757" y="6144"/>
                    <a:pt x="757" y="5955"/>
                  </a:cubicBezTo>
                  <a:cubicBezTo>
                    <a:pt x="757" y="5766"/>
                    <a:pt x="914" y="5609"/>
                    <a:pt x="1103" y="5609"/>
                  </a:cubicBezTo>
                  <a:close/>
                  <a:moveTo>
                    <a:pt x="5325" y="1"/>
                  </a:moveTo>
                  <a:cubicBezTo>
                    <a:pt x="5230" y="1"/>
                    <a:pt x="5136" y="64"/>
                    <a:pt x="5073" y="127"/>
                  </a:cubicBezTo>
                  <a:lnTo>
                    <a:pt x="4380" y="851"/>
                  </a:lnTo>
                  <a:cubicBezTo>
                    <a:pt x="4254" y="946"/>
                    <a:pt x="4254" y="1198"/>
                    <a:pt x="4380" y="1324"/>
                  </a:cubicBezTo>
                  <a:cubicBezTo>
                    <a:pt x="4443" y="1371"/>
                    <a:pt x="4529" y="1395"/>
                    <a:pt x="4616" y="1395"/>
                  </a:cubicBezTo>
                  <a:cubicBezTo>
                    <a:pt x="4703" y="1395"/>
                    <a:pt x="4789" y="1371"/>
                    <a:pt x="4852" y="1324"/>
                  </a:cubicBezTo>
                  <a:lnTo>
                    <a:pt x="4978" y="1198"/>
                  </a:lnTo>
                  <a:lnTo>
                    <a:pt x="4978" y="2458"/>
                  </a:lnTo>
                  <a:cubicBezTo>
                    <a:pt x="4978" y="2647"/>
                    <a:pt x="4821" y="2805"/>
                    <a:pt x="4600" y="2805"/>
                  </a:cubicBezTo>
                  <a:lnTo>
                    <a:pt x="1765" y="2805"/>
                  </a:lnTo>
                  <a:cubicBezTo>
                    <a:pt x="1513" y="2805"/>
                    <a:pt x="1229" y="2931"/>
                    <a:pt x="1040" y="3120"/>
                  </a:cubicBezTo>
                  <a:cubicBezTo>
                    <a:pt x="820" y="3309"/>
                    <a:pt x="725" y="3592"/>
                    <a:pt x="725" y="3876"/>
                  </a:cubicBezTo>
                  <a:lnTo>
                    <a:pt x="725" y="4978"/>
                  </a:lnTo>
                  <a:cubicBezTo>
                    <a:pt x="316" y="5136"/>
                    <a:pt x="1" y="5482"/>
                    <a:pt x="1" y="5955"/>
                  </a:cubicBezTo>
                  <a:cubicBezTo>
                    <a:pt x="1" y="6554"/>
                    <a:pt x="473" y="6995"/>
                    <a:pt x="1040" y="6995"/>
                  </a:cubicBezTo>
                  <a:cubicBezTo>
                    <a:pt x="1607" y="6995"/>
                    <a:pt x="2048" y="6522"/>
                    <a:pt x="2048" y="5955"/>
                  </a:cubicBezTo>
                  <a:cubicBezTo>
                    <a:pt x="2048" y="5514"/>
                    <a:pt x="1765" y="5136"/>
                    <a:pt x="1355" y="4978"/>
                  </a:cubicBezTo>
                  <a:lnTo>
                    <a:pt x="1355" y="3876"/>
                  </a:lnTo>
                  <a:cubicBezTo>
                    <a:pt x="1355" y="3687"/>
                    <a:pt x="1513" y="3529"/>
                    <a:pt x="1702" y="3529"/>
                  </a:cubicBezTo>
                  <a:lnTo>
                    <a:pt x="4537" y="3529"/>
                  </a:lnTo>
                  <a:cubicBezTo>
                    <a:pt x="5136" y="3529"/>
                    <a:pt x="5545" y="3057"/>
                    <a:pt x="5545" y="2490"/>
                  </a:cubicBezTo>
                  <a:lnTo>
                    <a:pt x="5545" y="1229"/>
                  </a:lnTo>
                  <a:lnTo>
                    <a:pt x="5671" y="1355"/>
                  </a:lnTo>
                  <a:cubicBezTo>
                    <a:pt x="5734" y="1418"/>
                    <a:pt x="5821" y="1450"/>
                    <a:pt x="5908" y="1450"/>
                  </a:cubicBezTo>
                  <a:cubicBezTo>
                    <a:pt x="5994" y="1450"/>
                    <a:pt x="6081" y="1418"/>
                    <a:pt x="6144" y="1355"/>
                  </a:cubicBezTo>
                  <a:cubicBezTo>
                    <a:pt x="6270" y="1229"/>
                    <a:pt x="6270" y="1009"/>
                    <a:pt x="6144" y="883"/>
                  </a:cubicBezTo>
                  <a:lnTo>
                    <a:pt x="5545" y="127"/>
                  </a:lnTo>
                  <a:cubicBezTo>
                    <a:pt x="5482" y="64"/>
                    <a:pt x="5388" y="1"/>
                    <a:pt x="53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27" name="Google Shape;6927;p73"/>
            <p:cNvSpPr/>
            <p:nvPr/>
          </p:nvSpPr>
          <p:spPr>
            <a:xfrm>
              <a:off x="6412300" y="2742900"/>
              <a:ext cx="52800" cy="208725"/>
            </a:xfrm>
            <a:custGeom>
              <a:avLst/>
              <a:gdLst/>
              <a:ahLst/>
              <a:cxnLst/>
              <a:rect l="l" t="t" r="r" b="b"/>
              <a:pathLst>
                <a:path w="2112" h="8349" extrusionOk="0">
                  <a:moveTo>
                    <a:pt x="1009" y="662"/>
                  </a:moveTo>
                  <a:cubicBezTo>
                    <a:pt x="1229" y="662"/>
                    <a:pt x="1387" y="819"/>
                    <a:pt x="1387" y="1040"/>
                  </a:cubicBezTo>
                  <a:lnTo>
                    <a:pt x="1387" y="1386"/>
                  </a:lnTo>
                  <a:lnTo>
                    <a:pt x="662" y="1386"/>
                  </a:lnTo>
                  <a:lnTo>
                    <a:pt x="662" y="1040"/>
                  </a:lnTo>
                  <a:cubicBezTo>
                    <a:pt x="662" y="819"/>
                    <a:pt x="820" y="662"/>
                    <a:pt x="1009" y="662"/>
                  </a:cubicBezTo>
                  <a:close/>
                  <a:moveTo>
                    <a:pt x="1387" y="2048"/>
                  </a:moveTo>
                  <a:lnTo>
                    <a:pt x="1387" y="6017"/>
                  </a:lnTo>
                  <a:cubicBezTo>
                    <a:pt x="1261" y="5986"/>
                    <a:pt x="1142" y="5970"/>
                    <a:pt x="1024" y="5970"/>
                  </a:cubicBezTo>
                  <a:cubicBezTo>
                    <a:pt x="906" y="5970"/>
                    <a:pt x="788" y="5986"/>
                    <a:pt x="662" y="6017"/>
                  </a:cubicBezTo>
                  <a:lnTo>
                    <a:pt x="662" y="2048"/>
                  </a:lnTo>
                  <a:close/>
                  <a:moveTo>
                    <a:pt x="1009" y="6711"/>
                  </a:moveTo>
                  <a:cubicBezTo>
                    <a:pt x="1103" y="6711"/>
                    <a:pt x="1166" y="6711"/>
                    <a:pt x="1261" y="6742"/>
                  </a:cubicBezTo>
                  <a:lnTo>
                    <a:pt x="1009" y="7246"/>
                  </a:lnTo>
                  <a:lnTo>
                    <a:pt x="788" y="6742"/>
                  </a:lnTo>
                  <a:cubicBezTo>
                    <a:pt x="851" y="6711"/>
                    <a:pt x="946" y="6711"/>
                    <a:pt x="1009" y="6711"/>
                  </a:cubicBezTo>
                  <a:close/>
                  <a:moveTo>
                    <a:pt x="1009" y="0"/>
                  </a:moveTo>
                  <a:cubicBezTo>
                    <a:pt x="441" y="0"/>
                    <a:pt x="0" y="473"/>
                    <a:pt x="0" y="1040"/>
                  </a:cubicBezTo>
                  <a:lnTo>
                    <a:pt x="0" y="6616"/>
                  </a:lnTo>
                  <a:cubicBezTo>
                    <a:pt x="0" y="6648"/>
                    <a:pt x="0" y="6742"/>
                    <a:pt x="32" y="6774"/>
                  </a:cubicBezTo>
                  <a:lnTo>
                    <a:pt x="757" y="8160"/>
                  </a:lnTo>
                  <a:cubicBezTo>
                    <a:pt x="788" y="8286"/>
                    <a:pt x="946" y="8349"/>
                    <a:pt x="1040" y="8349"/>
                  </a:cubicBezTo>
                  <a:cubicBezTo>
                    <a:pt x="1166" y="8349"/>
                    <a:pt x="1292" y="8286"/>
                    <a:pt x="1355" y="8160"/>
                  </a:cubicBezTo>
                  <a:lnTo>
                    <a:pt x="2080" y="6774"/>
                  </a:lnTo>
                  <a:cubicBezTo>
                    <a:pt x="2111" y="6742"/>
                    <a:pt x="2111" y="6648"/>
                    <a:pt x="2111" y="6616"/>
                  </a:cubicBezTo>
                  <a:lnTo>
                    <a:pt x="2111" y="1040"/>
                  </a:lnTo>
                  <a:cubicBezTo>
                    <a:pt x="2048" y="473"/>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28" name="Google Shape;6928;p73"/>
          <p:cNvGrpSpPr/>
          <p:nvPr/>
        </p:nvGrpSpPr>
        <p:grpSpPr>
          <a:xfrm>
            <a:off x="8263469" y="2042013"/>
            <a:ext cx="463465" cy="467161"/>
            <a:chOff x="1777925" y="1953700"/>
            <a:chExt cx="294600" cy="296950"/>
          </a:xfrm>
        </p:grpSpPr>
        <p:sp>
          <p:nvSpPr>
            <p:cNvPr id="6929" name="Google Shape;6929;p73"/>
            <p:cNvSpPr/>
            <p:nvPr/>
          </p:nvSpPr>
          <p:spPr>
            <a:xfrm>
              <a:off x="1794450" y="2052125"/>
              <a:ext cx="278075" cy="198525"/>
            </a:xfrm>
            <a:custGeom>
              <a:avLst/>
              <a:gdLst/>
              <a:ahLst/>
              <a:cxnLst/>
              <a:rect l="l" t="t" r="r" b="b"/>
              <a:pathLst>
                <a:path w="11123" h="7941" extrusionOk="0">
                  <a:moveTo>
                    <a:pt x="10545" y="1"/>
                  </a:moveTo>
                  <a:cubicBezTo>
                    <a:pt x="10499" y="1"/>
                    <a:pt x="10449" y="11"/>
                    <a:pt x="10397" y="33"/>
                  </a:cubicBezTo>
                  <a:cubicBezTo>
                    <a:pt x="10208" y="64"/>
                    <a:pt x="10145" y="253"/>
                    <a:pt x="10177" y="474"/>
                  </a:cubicBezTo>
                  <a:cubicBezTo>
                    <a:pt x="10334" y="1009"/>
                    <a:pt x="10460" y="1514"/>
                    <a:pt x="10460" y="1986"/>
                  </a:cubicBezTo>
                  <a:cubicBezTo>
                    <a:pt x="10460" y="4885"/>
                    <a:pt x="8129" y="7247"/>
                    <a:pt x="5199" y="7247"/>
                  </a:cubicBezTo>
                  <a:cubicBezTo>
                    <a:pt x="3561" y="7247"/>
                    <a:pt x="2017" y="6460"/>
                    <a:pt x="1040" y="5137"/>
                  </a:cubicBezTo>
                  <a:lnTo>
                    <a:pt x="1734" y="5137"/>
                  </a:lnTo>
                  <a:cubicBezTo>
                    <a:pt x="1954" y="5137"/>
                    <a:pt x="2112" y="4979"/>
                    <a:pt x="2112" y="4790"/>
                  </a:cubicBezTo>
                  <a:cubicBezTo>
                    <a:pt x="2112" y="4601"/>
                    <a:pt x="1954" y="4444"/>
                    <a:pt x="1734" y="4444"/>
                  </a:cubicBezTo>
                  <a:lnTo>
                    <a:pt x="379" y="4444"/>
                  </a:lnTo>
                  <a:cubicBezTo>
                    <a:pt x="158" y="4444"/>
                    <a:pt x="1" y="4601"/>
                    <a:pt x="1" y="4790"/>
                  </a:cubicBezTo>
                  <a:lnTo>
                    <a:pt x="1" y="6176"/>
                  </a:lnTo>
                  <a:cubicBezTo>
                    <a:pt x="1" y="6365"/>
                    <a:pt x="158" y="6523"/>
                    <a:pt x="379" y="6523"/>
                  </a:cubicBezTo>
                  <a:cubicBezTo>
                    <a:pt x="568" y="6523"/>
                    <a:pt x="725" y="6365"/>
                    <a:pt x="725" y="6176"/>
                  </a:cubicBezTo>
                  <a:lnTo>
                    <a:pt x="725" y="5830"/>
                  </a:lnTo>
                  <a:cubicBezTo>
                    <a:pt x="1860" y="7184"/>
                    <a:pt x="3529" y="7941"/>
                    <a:pt x="5199" y="7941"/>
                  </a:cubicBezTo>
                  <a:cubicBezTo>
                    <a:pt x="8476" y="7941"/>
                    <a:pt x="11122" y="5294"/>
                    <a:pt x="11122" y="2049"/>
                  </a:cubicBezTo>
                  <a:cubicBezTo>
                    <a:pt x="11122" y="1482"/>
                    <a:pt x="11028" y="883"/>
                    <a:pt x="10839" y="253"/>
                  </a:cubicBezTo>
                  <a:cubicBezTo>
                    <a:pt x="10814" y="109"/>
                    <a:pt x="10698" y="1"/>
                    <a:pt x="1054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0" name="Google Shape;6930;p73"/>
            <p:cNvSpPr/>
            <p:nvPr/>
          </p:nvSpPr>
          <p:spPr>
            <a:xfrm>
              <a:off x="1777925" y="1953700"/>
              <a:ext cx="278050" cy="198675"/>
            </a:xfrm>
            <a:custGeom>
              <a:avLst/>
              <a:gdLst/>
              <a:ahLst/>
              <a:cxnLst/>
              <a:rect l="l" t="t" r="r" b="b"/>
              <a:pathLst>
                <a:path w="11122" h="7947" extrusionOk="0">
                  <a:moveTo>
                    <a:pt x="5892" y="0"/>
                  </a:moveTo>
                  <a:cubicBezTo>
                    <a:pt x="2647" y="0"/>
                    <a:pt x="0" y="2615"/>
                    <a:pt x="0" y="5892"/>
                  </a:cubicBezTo>
                  <a:cubicBezTo>
                    <a:pt x="0" y="6459"/>
                    <a:pt x="63" y="7026"/>
                    <a:pt x="284" y="7656"/>
                  </a:cubicBezTo>
                  <a:cubicBezTo>
                    <a:pt x="310" y="7869"/>
                    <a:pt x="450" y="7947"/>
                    <a:pt x="606" y="7947"/>
                  </a:cubicBezTo>
                  <a:cubicBezTo>
                    <a:pt x="635" y="7947"/>
                    <a:pt x="664" y="7944"/>
                    <a:pt x="693" y="7939"/>
                  </a:cubicBezTo>
                  <a:cubicBezTo>
                    <a:pt x="914" y="7908"/>
                    <a:pt x="977" y="7719"/>
                    <a:pt x="945" y="7498"/>
                  </a:cubicBezTo>
                  <a:cubicBezTo>
                    <a:pt x="788" y="6963"/>
                    <a:pt x="662" y="6459"/>
                    <a:pt x="662" y="5923"/>
                  </a:cubicBezTo>
                  <a:cubicBezTo>
                    <a:pt x="662" y="3056"/>
                    <a:pt x="2993" y="693"/>
                    <a:pt x="5923" y="693"/>
                  </a:cubicBezTo>
                  <a:cubicBezTo>
                    <a:pt x="7561" y="693"/>
                    <a:pt x="9105" y="1481"/>
                    <a:pt x="10082" y="2773"/>
                  </a:cubicBezTo>
                  <a:lnTo>
                    <a:pt x="9389" y="2773"/>
                  </a:lnTo>
                  <a:cubicBezTo>
                    <a:pt x="9168" y="2773"/>
                    <a:pt x="9011" y="2930"/>
                    <a:pt x="9011" y="3151"/>
                  </a:cubicBezTo>
                  <a:cubicBezTo>
                    <a:pt x="9011" y="3340"/>
                    <a:pt x="9168" y="3497"/>
                    <a:pt x="9389" y="3497"/>
                  </a:cubicBezTo>
                  <a:lnTo>
                    <a:pt x="10743" y="3497"/>
                  </a:lnTo>
                  <a:cubicBezTo>
                    <a:pt x="10964" y="3497"/>
                    <a:pt x="11121" y="3340"/>
                    <a:pt x="11121" y="3151"/>
                  </a:cubicBezTo>
                  <a:lnTo>
                    <a:pt x="11121" y="1765"/>
                  </a:lnTo>
                  <a:cubicBezTo>
                    <a:pt x="11121" y="1575"/>
                    <a:pt x="10964" y="1418"/>
                    <a:pt x="10743" y="1418"/>
                  </a:cubicBezTo>
                  <a:cubicBezTo>
                    <a:pt x="10554" y="1418"/>
                    <a:pt x="10397" y="1575"/>
                    <a:pt x="10397" y="1765"/>
                  </a:cubicBezTo>
                  <a:lnTo>
                    <a:pt x="10397" y="2111"/>
                  </a:lnTo>
                  <a:cubicBezTo>
                    <a:pt x="9263" y="725"/>
                    <a:pt x="7593"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1" name="Google Shape;6931;p73"/>
            <p:cNvSpPr/>
            <p:nvPr/>
          </p:nvSpPr>
          <p:spPr>
            <a:xfrm>
              <a:off x="1829125" y="2006475"/>
              <a:ext cx="191400" cy="191400"/>
            </a:xfrm>
            <a:custGeom>
              <a:avLst/>
              <a:gdLst/>
              <a:ahLst/>
              <a:cxnLst/>
              <a:rect l="l" t="t" r="r" b="b"/>
              <a:pathLst>
                <a:path w="7656" h="7656" extrusionOk="0">
                  <a:moveTo>
                    <a:pt x="4190" y="693"/>
                  </a:moveTo>
                  <a:cubicBezTo>
                    <a:pt x="4757" y="788"/>
                    <a:pt x="5324" y="1008"/>
                    <a:pt x="5797" y="1386"/>
                  </a:cubicBezTo>
                  <a:lnTo>
                    <a:pt x="5545" y="1607"/>
                  </a:lnTo>
                  <a:cubicBezTo>
                    <a:pt x="5450" y="1733"/>
                    <a:pt x="5450" y="1953"/>
                    <a:pt x="5545" y="2079"/>
                  </a:cubicBezTo>
                  <a:cubicBezTo>
                    <a:pt x="5608" y="2142"/>
                    <a:pt x="5702" y="2174"/>
                    <a:pt x="5793" y="2174"/>
                  </a:cubicBezTo>
                  <a:cubicBezTo>
                    <a:pt x="5884" y="2174"/>
                    <a:pt x="5970" y="2142"/>
                    <a:pt x="6017" y="2079"/>
                  </a:cubicBezTo>
                  <a:lnTo>
                    <a:pt x="6270" y="1859"/>
                  </a:lnTo>
                  <a:cubicBezTo>
                    <a:pt x="6616" y="2268"/>
                    <a:pt x="6868" y="2835"/>
                    <a:pt x="6931" y="3466"/>
                  </a:cubicBezTo>
                  <a:lnTo>
                    <a:pt x="6616" y="3466"/>
                  </a:lnTo>
                  <a:cubicBezTo>
                    <a:pt x="6427" y="3466"/>
                    <a:pt x="6270" y="3623"/>
                    <a:pt x="6270" y="3812"/>
                  </a:cubicBezTo>
                  <a:cubicBezTo>
                    <a:pt x="6270" y="4001"/>
                    <a:pt x="6427" y="4159"/>
                    <a:pt x="6616" y="4159"/>
                  </a:cubicBezTo>
                  <a:lnTo>
                    <a:pt x="6931" y="4159"/>
                  </a:lnTo>
                  <a:cubicBezTo>
                    <a:pt x="6868" y="4757"/>
                    <a:pt x="6616" y="5324"/>
                    <a:pt x="6270" y="5797"/>
                  </a:cubicBezTo>
                  <a:lnTo>
                    <a:pt x="6017" y="5545"/>
                  </a:lnTo>
                  <a:cubicBezTo>
                    <a:pt x="5970" y="5482"/>
                    <a:pt x="5884" y="5450"/>
                    <a:pt x="5793" y="5450"/>
                  </a:cubicBezTo>
                  <a:cubicBezTo>
                    <a:pt x="5702" y="5450"/>
                    <a:pt x="5608" y="5482"/>
                    <a:pt x="5545" y="5545"/>
                  </a:cubicBezTo>
                  <a:cubicBezTo>
                    <a:pt x="5450" y="5671"/>
                    <a:pt x="5450" y="5923"/>
                    <a:pt x="5545" y="6017"/>
                  </a:cubicBezTo>
                  <a:lnTo>
                    <a:pt x="5797" y="6270"/>
                  </a:lnTo>
                  <a:cubicBezTo>
                    <a:pt x="5356" y="6616"/>
                    <a:pt x="4820" y="6837"/>
                    <a:pt x="4190" y="6931"/>
                  </a:cubicBezTo>
                  <a:lnTo>
                    <a:pt x="4190" y="6616"/>
                  </a:lnTo>
                  <a:cubicBezTo>
                    <a:pt x="4190" y="6427"/>
                    <a:pt x="4033" y="6270"/>
                    <a:pt x="3812" y="6270"/>
                  </a:cubicBezTo>
                  <a:cubicBezTo>
                    <a:pt x="3623" y="6270"/>
                    <a:pt x="3466" y="6427"/>
                    <a:pt x="3466" y="6616"/>
                  </a:cubicBezTo>
                  <a:lnTo>
                    <a:pt x="3466" y="6931"/>
                  </a:lnTo>
                  <a:cubicBezTo>
                    <a:pt x="2867" y="6837"/>
                    <a:pt x="2331" y="6616"/>
                    <a:pt x="1859" y="6270"/>
                  </a:cubicBezTo>
                  <a:lnTo>
                    <a:pt x="2079" y="6017"/>
                  </a:lnTo>
                  <a:cubicBezTo>
                    <a:pt x="2205" y="5891"/>
                    <a:pt x="2205" y="5671"/>
                    <a:pt x="2079" y="5545"/>
                  </a:cubicBezTo>
                  <a:cubicBezTo>
                    <a:pt x="2032" y="5482"/>
                    <a:pt x="1945" y="5450"/>
                    <a:pt x="1855" y="5450"/>
                  </a:cubicBezTo>
                  <a:cubicBezTo>
                    <a:pt x="1764" y="5450"/>
                    <a:pt x="1670" y="5482"/>
                    <a:pt x="1607" y="5545"/>
                  </a:cubicBezTo>
                  <a:lnTo>
                    <a:pt x="1386" y="5797"/>
                  </a:lnTo>
                  <a:cubicBezTo>
                    <a:pt x="1040" y="5356"/>
                    <a:pt x="788" y="4789"/>
                    <a:pt x="725" y="4159"/>
                  </a:cubicBezTo>
                  <a:lnTo>
                    <a:pt x="1040" y="4159"/>
                  </a:lnTo>
                  <a:cubicBezTo>
                    <a:pt x="1229" y="4159"/>
                    <a:pt x="1386" y="4001"/>
                    <a:pt x="1386" y="3812"/>
                  </a:cubicBezTo>
                  <a:cubicBezTo>
                    <a:pt x="1386" y="3623"/>
                    <a:pt x="1229" y="3466"/>
                    <a:pt x="1040" y="3466"/>
                  </a:cubicBezTo>
                  <a:lnTo>
                    <a:pt x="725" y="3466"/>
                  </a:lnTo>
                  <a:cubicBezTo>
                    <a:pt x="788" y="2867"/>
                    <a:pt x="1040" y="2331"/>
                    <a:pt x="1386" y="1859"/>
                  </a:cubicBezTo>
                  <a:lnTo>
                    <a:pt x="1607" y="2079"/>
                  </a:lnTo>
                  <a:cubicBezTo>
                    <a:pt x="1701" y="2174"/>
                    <a:pt x="1764" y="2205"/>
                    <a:pt x="1859" y="2205"/>
                  </a:cubicBezTo>
                  <a:cubicBezTo>
                    <a:pt x="1922" y="2205"/>
                    <a:pt x="2048" y="2174"/>
                    <a:pt x="2079" y="2079"/>
                  </a:cubicBezTo>
                  <a:cubicBezTo>
                    <a:pt x="2205" y="1953"/>
                    <a:pt x="2205" y="1733"/>
                    <a:pt x="2079" y="1607"/>
                  </a:cubicBezTo>
                  <a:lnTo>
                    <a:pt x="1859" y="1386"/>
                  </a:lnTo>
                  <a:cubicBezTo>
                    <a:pt x="2300" y="1008"/>
                    <a:pt x="2835" y="788"/>
                    <a:pt x="3466" y="693"/>
                  </a:cubicBezTo>
                  <a:lnTo>
                    <a:pt x="3466" y="1008"/>
                  </a:lnTo>
                  <a:cubicBezTo>
                    <a:pt x="3466" y="1229"/>
                    <a:pt x="3623" y="1386"/>
                    <a:pt x="3812" y="1386"/>
                  </a:cubicBezTo>
                  <a:cubicBezTo>
                    <a:pt x="4033" y="1386"/>
                    <a:pt x="4190" y="1229"/>
                    <a:pt x="4190" y="1008"/>
                  </a:cubicBezTo>
                  <a:lnTo>
                    <a:pt x="4190" y="693"/>
                  </a:lnTo>
                  <a:close/>
                  <a:moveTo>
                    <a:pt x="3812" y="0"/>
                  </a:moveTo>
                  <a:cubicBezTo>
                    <a:pt x="1733" y="0"/>
                    <a:pt x="0" y="1701"/>
                    <a:pt x="0" y="3812"/>
                  </a:cubicBezTo>
                  <a:cubicBezTo>
                    <a:pt x="0" y="5923"/>
                    <a:pt x="1701" y="7656"/>
                    <a:pt x="3812" y="7656"/>
                  </a:cubicBezTo>
                  <a:cubicBezTo>
                    <a:pt x="5923" y="7656"/>
                    <a:pt x="7656" y="5954"/>
                    <a:pt x="7656" y="3812"/>
                  </a:cubicBezTo>
                  <a:cubicBezTo>
                    <a:pt x="7656" y="1733"/>
                    <a:pt x="5954" y="0"/>
                    <a:pt x="38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2" name="Google Shape;6932;p73"/>
            <p:cNvSpPr/>
            <p:nvPr/>
          </p:nvSpPr>
          <p:spPr>
            <a:xfrm>
              <a:off x="1915750" y="2058450"/>
              <a:ext cx="35475" cy="52800"/>
            </a:xfrm>
            <a:custGeom>
              <a:avLst/>
              <a:gdLst/>
              <a:ahLst/>
              <a:cxnLst/>
              <a:rect l="l" t="t" r="r" b="b"/>
              <a:pathLst>
                <a:path w="1419" h="2112" extrusionOk="0">
                  <a:moveTo>
                    <a:pt x="347" y="0"/>
                  </a:moveTo>
                  <a:cubicBezTo>
                    <a:pt x="158" y="0"/>
                    <a:pt x="1" y="158"/>
                    <a:pt x="1" y="378"/>
                  </a:cubicBezTo>
                  <a:lnTo>
                    <a:pt x="1" y="1733"/>
                  </a:lnTo>
                  <a:cubicBezTo>
                    <a:pt x="1" y="1954"/>
                    <a:pt x="158" y="2111"/>
                    <a:pt x="347" y="2111"/>
                  </a:cubicBezTo>
                  <a:lnTo>
                    <a:pt x="1072" y="2111"/>
                  </a:lnTo>
                  <a:cubicBezTo>
                    <a:pt x="1261" y="2111"/>
                    <a:pt x="1418" y="1954"/>
                    <a:pt x="1418" y="1733"/>
                  </a:cubicBezTo>
                  <a:cubicBezTo>
                    <a:pt x="1418" y="1544"/>
                    <a:pt x="1261" y="1387"/>
                    <a:pt x="1072" y="1387"/>
                  </a:cubicBezTo>
                  <a:lnTo>
                    <a:pt x="725" y="1387"/>
                  </a:lnTo>
                  <a:lnTo>
                    <a:pt x="725" y="378"/>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33" name="Google Shape;6933;p73"/>
          <p:cNvGrpSpPr/>
          <p:nvPr/>
        </p:nvGrpSpPr>
        <p:grpSpPr>
          <a:xfrm>
            <a:off x="8284549" y="2645864"/>
            <a:ext cx="421303" cy="463465"/>
            <a:chOff x="1790525" y="2319150"/>
            <a:chExt cx="267800" cy="294600"/>
          </a:xfrm>
        </p:grpSpPr>
        <p:sp>
          <p:nvSpPr>
            <p:cNvPr id="6934" name="Google Shape;6934;p73"/>
            <p:cNvSpPr/>
            <p:nvPr/>
          </p:nvSpPr>
          <p:spPr>
            <a:xfrm>
              <a:off x="1881100" y="2423125"/>
              <a:ext cx="88225" cy="155175"/>
            </a:xfrm>
            <a:custGeom>
              <a:avLst/>
              <a:gdLst/>
              <a:ahLst/>
              <a:cxnLst/>
              <a:rect l="l" t="t" r="r" b="b"/>
              <a:pathLst>
                <a:path w="3529" h="6207" extrusionOk="0">
                  <a:moveTo>
                    <a:pt x="1418" y="1323"/>
                  </a:moveTo>
                  <a:lnTo>
                    <a:pt x="1418" y="2741"/>
                  </a:lnTo>
                  <a:lnTo>
                    <a:pt x="1072" y="2741"/>
                  </a:lnTo>
                  <a:cubicBezTo>
                    <a:pt x="882" y="2741"/>
                    <a:pt x="725" y="2583"/>
                    <a:pt x="725" y="2394"/>
                  </a:cubicBezTo>
                  <a:lnTo>
                    <a:pt x="725" y="1701"/>
                  </a:lnTo>
                  <a:cubicBezTo>
                    <a:pt x="725" y="1481"/>
                    <a:pt x="882" y="1323"/>
                    <a:pt x="1072" y="1323"/>
                  </a:cubicBezTo>
                  <a:close/>
                  <a:moveTo>
                    <a:pt x="2458" y="3466"/>
                  </a:moveTo>
                  <a:cubicBezTo>
                    <a:pt x="2647" y="3466"/>
                    <a:pt x="2804" y="3623"/>
                    <a:pt x="2804" y="3812"/>
                  </a:cubicBezTo>
                  <a:lnTo>
                    <a:pt x="2804" y="4537"/>
                  </a:lnTo>
                  <a:cubicBezTo>
                    <a:pt x="2804" y="4726"/>
                    <a:pt x="2647" y="4883"/>
                    <a:pt x="2458" y="4883"/>
                  </a:cubicBezTo>
                  <a:lnTo>
                    <a:pt x="2111" y="4883"/>
                  </a:lnTo>
                  <a:lnTo>
                    <a:pt x="2111" y="3466"/>
                  </a:lnTo>
                  <a:close/>
                  <a:moveTo>
                    <a:pt x="1796" y="0"/>
                  </a:moveTo>
                  <a:cubicBezTo>
                    <a:pt x="1576" y="0"/>
                    <a:pt x="1418" y="158"/>
                    <a:pt x="1418" y="347"/>
                  </a:cubicBezTo>
                  <a:lnTo>
                    <a:pt x="1418" y="693"/>
                  </a:lnTo>
                  <a:lnTo>
                    <a:pt x="1072" y="693"/>
                  </a:lnTo>
                  <a:cubicBezTo>
                    <a:pt x="473" y="693"/>
                    <a:pt x="63" y="1166"/>
                    <a:pt x="63" y="1733"/>
                  </a:cubicBezTo>
                  <a:lnTo>
                    <a:pt x="63" y="2426"/>
                  </a:lnTo>
                  <a:cubicBezTo>
                    <a:pt x="63" y="3025"/>
                    <a:pt x="536" y="3466"/>
                    <a:pt x="1072" y="3466"/>
                  </a:cubicBezTo>
                  <a:lnTo>
                    <a:pt x="1418" y="3466"/>
                  </a:lnTo>
                  <a:lnTo>
                    <a:pt x="1418" y="4852"/>
                  </a:lnTo>
                  <a:lnTo>
                    <a:pt x="1072" y="4852"/>
                  </a:lnTo>
                  <a:cubicBezTo>
                    <a:pt x="882" y="4852"/>
                    <a:pt x="725" y="4694"/>
                    <a:pt x="725" y="4474"/>
                  </a:cubicBezTo>
                  <a:cubicBezTo>
                    <a:pt x="725" y="4285"/>
                    <a:pt x="567" y="4127"/>
                    <a:pt x="378" y="4127"/>
                  </a:cubicBezTo>
                  <a:cubicBezTo>
                    <a:pt x="158" y="4127"/>
                    <a:pt x="0" y="4285"/>
                    <a:pt x="0" y="4474"/>
                  </a:cubicBezTo>
                  <a:cubicBezTo>
                    <a:pt x="0" y="5072"/>
                    <a:pt x="473" y="5513"/>
                    <a:pt x="1040" y="5513"/>
                  </a:cubicBezTo>
                  <a:lnTo>
                    <a:pt x="1387" y="5513"/>
                  </a:lnTo>
                  <a:lnTo>
                    <a:pt x="1387" y="5860"/>
                  </a:lnTo>
                  <a:cubicBezTo>
                    <a:pt x="1387" y="6049"/>
                    <a:pt x="1544" y="6207"/>
                    <a:pt x="1733" y="6207"/>
                  </a:cubicBezTo>
                  <a:cubicBezTo>
                    <a:pt x="1954" y="6207"/>
                    <a:pt x="2111" y="6049"/>
                    <a:pt x="2111" y="5860"/>
                  </a:cubicBezTo>
                  <a:lnTo>
                    <a:pt x="2111" y="5545"/>
                  </a:lnTo>
                  <a:lnTo>
                    <a:pt x="2458" y="5545"/>
                  </a:lnTo>
                  <a:cubicBezTo>
                    <a:pt x="3056" y="5545"/>
                    <a:pt x="3466" y="5072"/>
                    <a:pt x="3466" y="4537"/>
                  </a:cubicBezTo>
                  <a:lnTo>
                    <a:pt x="3466" y="3812"/>
                  </a:lnTo>
                  <a:cubicBezTo>
                    <a:pt x="3466" y="3214"/>
                    <a:pt x="2993" y="2804"/>
                    <a:pt x="2458" y="2804"/>
                  </a:cubicBezTo>
                  <a:lnTo>
                    <a:pt x="2111" y="2804"/>
                  </a:lnTo>
                  <a:lnTo>
                    <a:pt x="2111" y="1386"/>
                  </a:lnTo>
                  <a:lnTo>
                    <a:pt x="2458" y="1386"/>
                  </a:lnTo>
                  <a:cubicBezTo>
                    <a:pt x="2647" y="1386"/>
                    <a:pt x="2804" y="1544"/>
                    <a:pt x="2804" y="1733"/>
                  </a:cubicBezTo>
                  <a:cubicBezTo>
                    <a:pt x="2804" y="1922"/>
                    <a:pt x="2962" y="2079"/>
                    <a:pt x="3151" y="2079"/>
                  </a:cubicBezTo>
                  <a:cubicBezTo>
                    <a:pt x="3371" y="2079"/>
                    <a:pt x="3529" y="1922"/>
                    <a:pt x="3529" y="1733"/>
                  </a:cubicBezTo>
                  <a:cubicBezTo>
                    <a:pt x="3529" y="1134"/>
                    <a:pt x="3056" y="693"/>
                    <a:pt x="2489" y="693"/>
                  </a:cubicBezTo>
                  <a:lnTo>
                    <a:pt x="2143" y="693"/>
                  </a:lnTo>
                  <a:lnTo>
                    <a:pt x="2143" y="347"/>
                  </a:ln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5" name="Google Shape;6935;p73"/>
            <p:cNvSpPr/>
            <p:nvPr/>
          </p:nvSpPr>
          <p:spPr>
            <a:xfrm>
              <a:off x="1790525" y="2319150"/>
              <a:ext cx="267800" cy="294600"/>
            </a:xfrm>
            <a:custGeom>
              <a:avLst/>
              <a:gdLst/>
              <a:ahLst/>
              <a:cxnLst/>
              <a:rect l="l" t="t" r="r" b="b"/>
              <a:pathLst>
                <a:path w="10712" h="11784" extrusionOk="0">
                  <a:moveTo>
                    <a:pt x="6427" y="662"/>
                  </a:moveTo>
                  <a:cubicBezTo>
                    <a:pt x="6837" y="662"/>
                    <a:pt x="7152" y="977"/>
                    <a:pt x="7152" y="1355"/>
                  </a:cubicBezTo>
                  <a:cubicBezTo>
                    <a:pt x="7152" y="1765"/>
                    <a:pt x="6837" y="2080"/>
                    <a:pt x="6427" y="2080"/>
                  </a:cubicBezTo>
                  <a:lnTo>
                    <a:pt x="6427" y="1702"/>
                  </a:lnTo>
                  <a:cubicBezTo>
                    <a:pt x="6427" y="1513"/>
                    <a:pt x="6270" y="1355"/>
                    <a:pt x="6081" y="1355"/>
                  </a:cubicBezTo>
                  <a:lnTo>
                    <a:pt x="4695" y="1355"/>
                  </a:lnTo>
                  <a:cubicBezTo>
                    <a:pt x="4505" y="1355"/>
                    <a:pt x="4348" y="1513"/>
                    <a:pt x="4348" y="1702"/>
                  </a:cubicBezTo>
                  <a:lnTo>
                    <a:pt x="4348" y="2080"/>
                  </a:lnTo>
                  <a:cubicBezTo>
                    <a:pt x="3938" y="2017"/>
                    <a:pt x="3623" y="1765"/>
                    <a:pt x="3623" y="1355"/>
                  </a:cubicBezTo>
                  <a:cubicBezTo>
                    <a:pt x="3623" y="977"/>
                    <a:pt x="3938" y="662"/>
                    <a:pt x="4348" y="662"/>
                  </a:cubicBezTo>
                  <a:close/>
                  <a:moveTo>
                    <a:pt x="5734" y="2017"/>
                  </a:moveTo>
                  <a:lnTo>
                    <a:pt x="5734" y="2741"/>
                  </a:lnTo>
                  <a:lnTo>
                    <a:pt x="5010" y="2741"/>
                  </a:lnTo>
                  <a:lnTo>
                    <a:pt x="5010" y="2017"/>
                  </a:lnTo>
                  <a:close/>
                  <a:moveTo>
                    <a:pt x="1418" y="1985"/>
                  </a:moveTo>
                  <a:lnTo>
                    <a:pt x="1859" y="2489"/>
                  </a:lnTo>
                  <a:lnTo>
                    <a:pt x="1355" y="2930"/>
                  </a:lnTo>
                  <a:lnTo>
                    <a:pt x="914" y="2426"/>
                  </a:lnTo>
                  <a:lnTo>
                    <a:pt x="1418" y="1985"/>
                  </a:lnTo>
                  <a:close/>
                  <a:moveTo>
                    <a:pt x="9357" y="1985"/>
                  </a:moveTo>
                  <a:lnTo>
                    <a:pt x="9861" y="2426"/>
                  </a:lnTo>
                  <a:lnTo>
                    <a:pt x="9420" y="2930"/>
                  </a:lnTo>
                  <a:lnTo>
                    <a:pt x="8916" y="2489"/>
                  </a:lnTo>
                  <a:lnTo>
                    <a:pt x="9357" y="1985"/>
                  </a:lnTo>
                  <a:close/>
                  <a:moveTo>
                    <a:pt x="5356" y="3434"/>
                  </a:moveTo>
                  <a:cubicBezTo>
                    <a:pt x="7467" y="3434"/>
                    <a:pt x="9200" y="5167"/>
                    <a:pt x="9200" y="7278"/>
                  </a:cubicBezTo>
                  <a:cubicBezTo>
                    <a:pt x="9200" y="9389"/>
                    <a:pt x="7498" y="11090"/>
                    <a:pt x="5356" y="11090"/>
                  </a:cubicBezTo>
                  <a:cubicBezTo>
                    <a:pt x="3277" y="11090"/>
                    <a:pt x="1544" y="9357"/>
                    <a:pt x="1544" y="7278"/>
                  </a:cubicBezTo>
                  <a:cubicBezTo>
                    <a:pt x="1576" y="5136"/>
                    <a:pt x="3277" y="3434"/>
                    <a:pt x="5356" y="3434"/>
                  </a:cubicBezTo>
                  <a:close/>
                  <a:moveTo>
                    <a:pt x="4316" y="0"/>
                  </a:moveTo>
                  <a:cubicBezTo>
                    <a:pt x="3560" y="0"/>
                    <a:pt x="2930" y="631"/>
                    <a:pt x="2930" y="1387"/>
                  </a:cubicBezTo>
                  <a:cubicBezTo>
                    <a:pt x="2930" y="2143"/>
                    <a:pt x="3560" y="2773"/>
                    <a:pt x="4316" y="2773"/>
                  </a:cubicBezTo>
                  <a:lnTo>
                    <a:pt x="4316" y="2899"/>
                  </a:lnTo>
                  <a:cubicBezTo>
                    <a:pt x="3749" y="3025"/>
                    <a:pt x="3214" y="3277"/>
                    <a:pt x="2741" y="3592"/>
                  </a:cubicBezTo>
                  <a:lnTo>
                    <a:pt x="2269" y="3056"/>
                  </a:lnTo>
                  <a:lnTo>
                    <a:pt x="2521" y="2804"/>
                  </a:lnTo>
                  <a:cubicBezTo>
                    <a:pt x="2741" y="2678"/>
                    <a:pt x="2741" y="2458"/>
                    <a:pt x="2615" y="2332"/>
                  </a:cubicBezTo>
                  <a:lnTo>
                    <a:pt x="1702" y="1292"/>
                  </a:lnTo>
                  <a:cubicBezTo>
                    <a:pt x="1631" y="1203"/>
                    <a:pt x="1530" y="1165"/>
                    <a:pt x="1432" y="1165"/>
                  </a:cubicBezTo>
                  <a:cubicBezTo>
                    <a:pt x="1357" y="1165"/>
                    <a:pt x="1284" y="1188"/>
                    <a:pt x="1229" y="1229"/>
                  </a:cubicBezTo>
                  <a:lnTo>
                    <a:pt x="158" y="2143"/>
                  </a:lnTo>
                  <a:cubicBezTo>
                    <a:pt x="0" y="2269"/>
                    <a:pt x="0" y="2489"/>
                    <a:pt x="126" y="2615"/>
                  </a:cubicBezTo>
                  <a:lnTo>
                    <a:pt x="1040" y="3687"/>
                  </a:lnTo>
                  <a:cubicBezTo>
                    <a:pt x="1106" y="3770"/>
                    <a:pt x="1199" y="3809"/>
                    <a:pt x="1291" y="3809"/>
                  </a:cubicBezTo>
                  <a:cubicBezTo>
                    <a:pt x="1372" y="3809"/>
                    <a:pt x="1453" y="3778"/>
                    <a:pt x="1513" y="3718"/>
                  </a:cubicBezTo>
                  <a:lnTo>
                    <a:pt x="1796" y="3498"/>
                  </a:lnTo>
                  <a:lnTo>
                    <a:pt x="2269" y="4033"/>
                  </a:lnTo>
                  <a:cubicBezTo>
                    <a:pt x="1387" y="4852"/>
                    <a:pt x="882" y="6018"/>
                    <a:pt x="882" y="7278"/>
                  </a:cubicBezTo>
                  <a:cubicBezTo>
                    <a:pt x="882" y="9735"/>
                    <a:pt x="2899" y="11783"/>
                    <a:pt x="5356" y="11783"/>
                  </a:cubicBezTo>
                  <a:cubicBezTo>
                    <a:pt x="7845" y="11783"/>
                    <a:pt x="9861" y="9735"/>
                    <a:pt x="9861" y="7278"/>
                  </a:cubicBezTo>
                  <a:cubicBezTo>
                    <a:pt x="9861" y="6081"/>
                    <a:pt x="9389" y="4915"/>
                    <a:pt x="8475" y="4033"/>
                  </a:cubicBezTo>
                  <a:lnTo>
                    <a:pt x="8948" y="3498"/>
                  </a:lnTo>
                  <a:lnTo>
                    <a:pt x="9231" y="3718"/>
                  </a:lnTo>
                  <a:cubicBezTo>
                    <a:pt x="9306" y="3778"/>
                    <a:pt x="9387" y="3809"/>
                    <a:pt x="9465" y="3809"/>
                  </a:cubicBezTo>
                  <a:cubicBezTo>
                    <a:pt x="9553" y="3809"/>
                    <a:pt x="9637" y="3770"/>
                    <a:pt x="9704" y="3687"/>
                  </a:cubicBezTo>
                  <a:lnTo>
                    <a:pt x="10617" y="2615"/>
                  </a:lnTo>
                  <a:cubicBezTo>
                    <a:pt x="10712" y="2458"/>
                    <a:pt x="10712" y="2269"/>
                    <a:pt x="10554" y="2143"/>
                  </a:cubicBezTo>
                  <a:lnTo>
                    <a:pt x="9515" y="1229"/>
                  </a:lnTo>
                  <a:cubicBezTo>
                    <a:pt x="9446" y="1188"/>
                    <a:pt x="9365" y="1165"/>
                    <a:pt x="9288" y="1165"/>
                  </a:cubicBezTo>
                  <a:cubicBezTo>
                    <a:pt x="9189" y="1165"/>
                    <a:pt x="9095" y="1203"/>
                    <a:pt x="9042" y="1292"/>
                  </a:cubicBezTo>
                  <a:lnTo>
                    <a:pt x="8129" y="2332"/>
                  </a:lnTo>
                  <a:cubicBezTo>
                    <a:pt x="8003" y="2489"/>
                    <a:pt x="8003" y="2710"/>
                    <a:pt x="8160" y="2804"/>
                  </a:cubicBezTo>
                  <a:lnTo>
                    <a:pt x="8444" y="3056"/>
                  </a:lnTo>
                  <a:lnTo>
                    <a:pt x="7971" y="3592"/>
                  </a:lnTo>
                  <a:cubicBezTo>
                    <a:pt x="7498" y="3245"/>
                    <a:pt x="6931" y="3025"/>
                    <a:pt x="6396" y="2899"/>
                  </a:cubicBezTo>
                  <a:lnTo>
                    <a:pt x="6396" y="2773"/>
                  </a:lnTo>
                  <a:cubicBezTo>
                    <a:pt x="7152" y="2773"/>
                    <a:pt x="7782" y="2143"/>
                    <a:pt x="7782" y="1387"/>
                  </a:cubicBezTo>
                  <a:cubicBezTo>
                    <a:pt x="7782" y="631"/>
                    <a:pt x="7152" y="0"/>
                    <a:pt x="63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36" name="Google Shape;6936;p73"/>
          <p:cNvSpPr/>
          <p:nvPr/>
        </p:nvSpPr>
        <p:spPr>
          <a:xfrm>
            <a:off x="8261538" y="3233044"/>
            <a:ext cx="467201" cy="467161"/>
          </a:xfrm>
          <a:custGeom>
            <a:avLst/>
            <a:gdLst/>
            <a:ahLst/>
            <a:cxnLst/>
            <a:rect l="l" t="t" r="r" b="b"/>
            <a:pathLst>
              <a:path w="11879" h="11878" extrusionOk="0">
                <a:moveTo>
                  <a:pt x="5892" y="693"/>
                </a:moveTo>
                <a:cubicBezTo>
                  <a:pt x="6302" y="693"/>
                  <a:pt x="6617" y="1008"/>
                  <a:pt x="6617" y="1418"/>
                </a:cubicBezTo>
                <a:cubicBezTo>
                  <a:pt x="6617" y="1796"/>
                  <a:pt x="6302" y="2111"/>
                  <a:pt x="5892" y="2111"/>
                </a:cubicBezTo>
                <a:cubicBezTo>
                  <a:pt x="5514" y="2111"/>
                  <a:pt x="5199" y="1796"/>
                  <a:pt x="5199" y="1418"/>
                </a:cubicBezTo>
                <a:cubicBezTo>
                  <a:pt x="5231" y="1008"/>
                  <a:pt x="5546" y="693"/>
                  <a:pt x="5892" y="693"/>
                </a:cubicBezTo>
                <a:close/>
                <a:moveTo>
                  <a:pt x="5892" y="2741"/>
                </a:moveTo>
                <a:cubicBezTo>
                  <a:pt x="6837" y="2741"/>
                  <a:pt x="7625" y="3529"/>
                  <a:pt x="7625" y="4505"/>
                </a:cubicBezTo>
                <a:lnTo>
                  <a:pt x="7625" y="5545"/>
                </a:lnTo>
                <a:lnTo>
                  <a:pt x="4159" y="5545"/>
                </a:lnTo>
                <a:lnTo>
                  <a:pt x="4159" y="4505"/>
                </a:lnTo>
                <a:cubicBezTo>
                  <a:pt x="4159" y="3529"/>
                  <a:pt x="4947" y="2741"/>
                  <a:pt x="5892" y="2741"/>
                </a:cubicBezTo>
                <a:close/>
                <a:moveTo>
                  <a:pt x="8381" y="5104"/>
                </a:moveTo>
                <a:cubicBezTo>
                  <a:pt x="9326" y="5356"/>
                  <a:pt x="9767" y="5703"/>
                  <a:pt x="9767" y="5892"/>
                </a:cubicBezTo>
                <a:cubicBezTo>
                  <a:pt x="9767" y="6238"/>
                  <a:pt x="8381" y="6931"/>
                  <a:pt x="5955" y="6931"/>
                </a:cubicBezTo>
                <a:cubicBezTo>
                  <a:pt x="5898" y="6932"/>
                  <a:pt x="5842" y="6932"/>
                  <a:pt x="5787" y="6932"/>
                </a:cubicBezTo>
                <a:cubicBezTo>
                  <a:pt x="3434" y="6932"/>
                  <a:pt x="2112" y="6292"/>
                  <a:pt x="2112" y="5892"/>
                </a:cubicBezTo>
                <a:cubicBezTo>
                  <a:pt x="2112" y="5703"/>
                  <a:pt x="2553" y="5388"/>
                  <a:pt x="3498" y="5104"/>
                </a:cubicBezTo>
                <a:lnTo>
                  <a:pt x="3498" y="5892"/>
                </a:lnTo>
                <a:cubicBezTo>
                  <a:pt x="3498" y="6081"/>
                  <a:pt x="3655" y="6238"/>
                  <a:pt x="3844" y="6238"/>
                </a:cubicBezTo>
                <a:lnTo>
                  <a:pt x="8034" y="6238"/>
                </a:lnTo>
                <a:cubicBezTo>
                  <a:pt x="8223" y="6238"/>
                  <a:pt x="8381" y="6081"/>
                  <a:pt x="8381" y="5892"/>
                </a:cubicBezTo>
                <a:lnTo>
                  <a:pt x="8381" y="5104"/>
                </a:lnTo>
                <a:close/>
                <a:moveTo>
                  <a:pt x="1765" y="10428"/>
                </a:moveTo>
                <a:cubicBezTo>
                  <a:pt x="2427" y="10428"/>
                  <a:pt x="2805" y="10680"/>
                  <a:pt x="2805" y="10775"/>
                </a:cubicBezTo>
                <a:cubicBezTo>
                  <a:pt x="2805" y="10869"/>
                  <a:pt x="2427" y="11121"/>
                  <a:pt x="1765" y="11121"/>
                </a:cubicBezTo>
                <a:cubicBezTo>
                  <a:pt x="1072" y="11121"/>
                  <a:pt x="694" y="10869"/>
                  <a:pt x="694" y="10775"/>
                </a:cubicBezTo>
                <a:cubicBezTo>
                  <a:pt x="694" y="10712"/>
                  <a:pt x="1072" y="10428"/>
                  <a:pt x="1765" y="10428"/>
                </a:cubicBezTo>
                <a:close/>
                <a:moveTo>
                  <a:pt x="5955" y="10428"/>
                </a:moveTo>
                <a:cubicBezTo>
                  <a:pt x="6617" y="10428"/>
                  <a:pt x="6963" y="10712"/>
                  <a:pt x="6963" y="10775"/>
                </a:cubicBezTo>
                <a:cubicBezTo>
                  <a:pt x="6963" y="10869"/>
                  <a:pt x="6617" y="11121"/>
                  <a:pt x="5955" y="11121"/>
                </a:cubicBezTo>
                <a:cubicBezTo>
                  <a:pt x="5262" y="11121"/>
                  <a:pt x="4915" y="10869"/>
                  <a:pt x="4915" y="10775"/>
                </a:cubicBezTo>
                <a:cubicBezTo>
                  <a:pt x="4915" y="10712"/>
                  <a:pt x="5262" y="10428"/>
                  <a:pt x="5955" y="10428"/>
                </a:cubicBezTo>
                <a:close/>
                <a:moveTo>
                  <a:pt x="10082" y="10428"/>
                </a:moveTo>
                <a:cubicBezTo>
                  <a:pt x="10775" y="10428"/>
                  <a:pt x="11153" y="10680"/>
                  <a:pt x="11153" y="10775"/>
                </a:cubicBezTo>
                <a:cubicBezTo>
                  <a:pt x="11153" y="10869"/>
                  <a:pt x="10775" y="11121"/>
                  <a:pt x="10082" y="11121"/>
                </a:cubicBezTo>
                <a:cubicBezTo>
                  <a:pt x="9421" y="11121"/>
                  <a:pt x="9043" y="10869"/>
                  <a:pt x="9043" y="10775"/>
                </a:cubicBezTo>
                <a:cubicBezTo>
                  <a:pt x="9043" y="10712"/>
                  <a:pt x="9421" y="10428"/>
                  <a:pt x="10082" y="10428"/>
                </a:cubicBezTo>
                <a:close/>
                <a:moveTo>
                  <a:pt x="5987" y="0"/>
                </a:moveTo>
                <a:cubicBezTo>
                  <a:pt x="5231" y="0"/>
                  <a:pt x="4600" y="630"/>
                  <a:pt x="4600" y="1355"/>
                </a:cubicBezTo>
                <a:cubicBezTo>
                  <a:pt x="4600" y="1733"/>
                  <a:pt x="4726" y="2016"/>
                  <a:pt x="4947" y="2300"/>
                </a:cubicBezTo>
                <a:cubicBezTo>
                  <a:pt x="4159" y="2710"/>
                  <a:pt x="3624" y="3497"/>
                  <a:pt x="3561" y="4442"/>
                </a:cubicBezTo>
                <a:cubicBezTo>
                  <a:pt x="2742" y="4631"/>
                  <a:pt x="1481" y="5072"/>
                  <a:pt x="1481" y="5923"/>
                </a:cubicBezTo>
                <a:cubicBezTo>
                  <a:pt x="1481" y="6679"/>
                  <a:pt x="2427" y="7120"/>
                  <a:pt x="3151" y="7309"/>
                </a:cubicBezTo>
                <a:lnTo>
                  <a:pt x="1954" y="9798"/>
                </a:lnTo>
                <a:lnTo>
                  <a:pt x="1828" y="9798"/>
                </a:lnTo>
                <a:cubicBezTo>
                  <a:pt x="851" y="9798"/>
                  <a:pt x="64" y="10239"/>
                  <a:pt x="64" y="10806"/>
                </a:cubicBezTo>
                <a:cubicBezTo>
                  <a:pt x="1" y="11373"/>
                  <a:pt x="725" y="11846"/>
                  <a:pt x="1765" y="11846"/>
                </a:cubicBezTo>
                <a:cubicBezTo>
                  <a:pt x="2679" y="11846"/>
                  <a:pt x="3498" y="11436"/>
                  <a:pt x="3498" y="10806"/>
                </a:cubicBezTo>
                <a:cubicBezTo>
                  <a:pt x="3498" y="10334"/>
                  <a:pt x="3057" y="10019"/>
                  <a:pt x="2584" y="9924"/>
                </a:cubicBezTo>
                <a:lnTo>
                  <a:pt x="3781" y="7498"/>
                </a:lnTo>
                <a:cubicBezTo>
                  <a:pt x="4317" y="7624"/>
                  <a:pt x="4947" y="7656"/>
                  <a:pt x="5577" y="7719"/>
                </a:cubicBezTo>
                <a:lnTo>
                  <a:pt x="5577" y="9830"/>
                </a:lnTo>
                <a:cubicBezTo>
                  <a:pt x="4947" y="9924"/>
                  <a:pt x="4222" y="10239"/>
                  <a:pt x="4222" y="10869"/>
                </a:cubicBezTo>
                <a:cubicBezTo>
                  <a:pt x="4222" y="11499"/>
                  <a:pt x="5041" y="11877"/>
                  <a:pt x="5955" y="11877"/>
                </a:cubicBezTo>
                <a:cubicBezTo>
                  <a:pt x="6837" y="11877"/>
                  <a:pt x="7688" y="11499"/>
                  <a:pt x="7688" y="10869"/>
                </a:cubicBezTo>
                <a:cubicBezTo>
                  <a:pt x="7688" y="10239"/>
                  <a:pt x="6932" y="9924"/>
                  <a:pt x="6302" y="9830"/>
                </a:cubicBezTo>
                <a:lnTo>
                  <a:pt x="6302" y="7719"/>
                </a:lnTo>
                <a:cubicBezTo>
                  <a:pt x="6932" y="7719"/>
                  <a:pt x="7562" y="7624"/>
                  <a:pt x="8097" y="7498"/>
                </a:cubicBezTo>
                <a:lnTo>
                  <a:pt x="9295" y="9924"/>
                </a:lnTo>
                <a:cubicBezTo>
                  <a:pt x="8822" y="10082"/>
                  <a:pt x="8381" y="10334"/>
                  <a:pt x="8381" y="10806"/>
                </a:cubicBezTo>
                <a:cubicBezTo>
                  <a:pt x="8381" y="11436"/>
                  <a:pt x="9200" y="11846"/>
                  <a:pt x="10114" y="11846"/>
                </a:cubicBezTo>
                <a:cubicBezTo>
                  <a:pt x="11090" y="11846"/>
                  <a:pt x="11878" y="11405"/>
                  <a:pt x="11878" y="10806"/>
                </a:cubicBezTo>
                <a:cubicBezTo>
                  <a:pt x="11878" y="10239"/>
                  <a:pt x="11153" y="9798"/>
                  <a:pt x="10114" y="9798"/>
                </a:cubicBezTo>
                <a:lnTo>
                  <a:pt x="9988" y="9798"/>
                </a:lnTo>
                <a:lnTo>
                  <a:pt x="8822" y="7309"/>
                </a:lnTo>
                <a:cubicBezTo>
                  <a:pt x="9515" y="7120"/>
                  <a:pt x="10460" y="6679"/>
                  <a:pt x="10460" y="5923"/>
                </a:cubicBezTo>
                <a:cubicBezTo>
                  <a:pt x="10460" y="5072"/>
                  <a:pt x="9200" y="4631"/>
                  <a:pt x="8381" y="4442"/>
                </a:cubicBezTo>
                <a:cubicBezTo>
                  <a:pt x="8350" y="3497"/>
                  <a:pt x="7782" y="2710"/>
                  <a:pt x="6995" y="2300"/>
                </a:cubicBezTo>
                <a:cubicBezTo>
                  <a:pt x="7247" y="2080"/>
                  <a:pt x="7341" y="1764"/>
                  <a:pt x="7341" y="1355"/>
                </a:cubicBezTo>
                <a:cubicBezTo>
                  <a:pt x="7341" y="630"/>
                  <a:pt x="6711" y="0"/>
                  <a:pt x="5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37" name="Google Shape;6937;p73"/>
          <p:cNvGrpSpPr/>
          <p:nvPr/>
        </p:nvGrpSpPr>
        <p:grpSpPr>
          <a:xfrm>
            <a:off x="6488515" y="3863951"/>
            <a:ext cx="465943" cy="464723"/>
            <a:chOff x="3599700" y="1954475"/>
            <a:chExt cx="296175" cy="295400"/>
          </a:xfrm>
        </p:grpSpPr>
        <p:sp>
          <p:nvSpPr>
            <p:cNvPr id="6938" name="Google Shape;6938;p73"/>
            <p:cNvSpPr/>
            <p:nvPr/>
          </p:nvSpPr>
          <p:spPr>
            <a:xfrm>
              <a:off x="3599700" y="1954475"/>
              <a:ext cx="296175" cy="295400"/>
            </a:xfrm>
            <a:custGeom>
              <a:avLst/>
              <a:gdLst/>
              <a:ahLst/>
              <a:cxnLst/>
              <a:rect l="l" t="t" r="r" b="b"/>
              <a:pathLst>
                <a:path w="11847" h="11816" extrusionOk="0">
                  <a:moveTo>
                    <a:pt x="3151" y="694"/>
                  </a:moveTo>
                  <a:cubicBezTo>
                    <a:pt x="3718" y="694"/>
                    <a:pt x="4159" y="1166"/>
                    <a:pt x="4159" y="1734"/>
                  </a:cubicBezTo>
                  <a:cubicBezTo>
                    <a:pt x="4159" y="2301"/>
                    <a:pt x="3686" y="2742"/>
                    <a:pt x="3151" y="2742"/>
                  </a:cubicBezTo>
                  <a:cubicBezTo>
                    <a:pt x="2584" y="2742"/>
                    <a:pt x="2111" y="2269"/>
                    <a:pt x="2111" y="1734"/>
                  </a:cubicBezTo>
                  <a:cubicBezTo>
                    <a:pt x="2080" y="1166"/>
                    <a:pt x="2552" y="694"/>
                    <a:pt x="3151" y="694"/>
                  </a:cubicBezTo>
                  <a:close/>
                  <a:moveTo>
                    <a:pt x="8727" y="694"/>
                  </a:moveTo>
                  <a:cubicBezTo>
                    <a:pt x="9326" y="694"/>
                    <a:pt x="9767" y="1166"/>
                    <a:pt x="9767" y="1734"/>
                  </a:cubicBezTo>
                  <a:cubicBezTo>
                    <a:pt x="9767" y="2301"/>
                    <a:pt x="9294" y="2742"/>
                    <a:pt x="8727" y="2742"/>
                  </a:cubicBezTo>
                  <a:cubicBezTo>
                    <a:pt x="8128" y="2742"/>
                    <a:pt x="7719" y="2269"/>
                    <a:pt x="7719" y="1734"/>
                  </a:cubicBezTo>
                  <a:cubicBezTo>
                    <a:pt x="7656" y="1166"/>
                    <a:pt x="8128" y="694"/>
                    <a:pt x="8727" y="694"/>
                  </a:cubicBezTo>
                  <a:close/>
                  <a:moveTo>
                    <a:pt x="5923" y="4852"/>
                  </a:moveTo>
                  <a:cubicBezTo>
                    <a:pt x="6522" y="4852"/>
                    <a:pt x="6994" y="5325"/>
                    <a:pt x="6994" y="5861"/>
                  </a:cubicBezTo>
                  <a:cubicBezTo>
                    <a:pt x="6994" y="6396"/>
                    <a:pt x="6522" y="6869"/>
                    <a:pt x="5923" y="6869"/>
                  </a:cubicBezTo>
                  <a:cubicBezTo>
                    <a:pt x="5356" y="6869"/>
                    <a:pt x="4883" y="6428"/>
                    <a:pt x="4883" y="5861"/>
                  </a:cubicBezTo>
                  <a:cubicBezTo>
                    <a:pt x="4883" y="5294"/>
                    <a:pt x="5356" y="4852"/>
                    <a:pt x="5923" y="4852"/>
                  </a:cubicBezTo>
                  <a:close/>
                  <a:moveTo>
                    <a:pt x="3151" y="3466"/>
                  </a:moveTo>
                  <a:cubicBezTo>
                    <a:pt x="3875" y="3466"/>
                    <a:pt x="4600" y="3813"/>
                    <a:pt x="5072" y="4380"/>
                  </a:cubicBezTo>
                  <a:cubicBezTo>
                    <a:pt x="4537" y="4695"/>
                    <a:pt x="4159" y="5231"/>
                    <a:pt x="4159" y="5861"/>
                  </a:cubicBezTo>
                  <a:cubicBezTo>
                    <a:pt x="4159" y="6239"/>
                    <a:pt x="4285" y="6617"/>
                    <a:pt x="4505" y="6900"/>
                  </a:cubicBezTo>
                  <a:lnTo>
                    <a:pt x="693" y="6900"/>
                  </a:lnTo>
                  <a:lnTo>
                    <a:pt x="693" y="5892"/>
                  </a:lnTo>
                  <a:cubicBezTo>
                    <a:pt x="693" y="4569"/>
                    <a:pt x="1796" y="3466"/>
                    <a:pt x="3151" y="3466"/>
                  </a:cubicBezTo>
                  <a:close/>
                  <a:moveTo>
                    <a:pt x="8696" y="3498"/>
                  </a:moveTo>
                  <a:cubicBezTo>
                    <a:pt x="10019" y="3498"/>
                    <a:pt x="11121" y="4600"/>
                    <a:pt x="11121" y="5955"/>
                  </a:cubicBezTo>
                  <a:lnTo>
                    <a:pt x="11121" y="6932"/>
                  </a:lnTo>
                  <a:lnTo>
                    <a:pt x="7309" y="6932"/>
                  </a:lnTo>
                  <a:cubicBezTo>
                    <a:pt x="7561" y="6617"/>
                    <a:pt x="7656" y="6270"/>
                    <a:pt x="7656" y="5892"/>
                  </a:cubicBezTo>
                  <a:cubicBezTo>
                    <a:pt x="7656" y="5262"/>
                    <a:pt x="7309" y="4726"/>
                    <a:pt x="6774" y="4411"/>
                  </a:cubicBezTo>
                  <a:cubicBezTo>
                    <a:pt x="7215" y="3813"/>
                    <a:pt x="7939" y="3498"/>
                    <a:pt x="8696" y="3498"/>
                  </a:cubicBezTo>
                  <a:close/>
                  <a:moveTo>
                    <a:pt x="5923" y="7625"/>
                  </a:moveTo>
                  <a:cubicBezTo>
                    <a:pt x="6207" y="7625"/>
                    <a:pt x="6490" y="7656"/>
                    <a:pt x="6711" y="7751"/>
                  </a:cubicBezTo>
                  <a:lnTo>
                    <a:pt x="5923" y="8791"/>
                  </a:lnTo>
                  <a:lnTo>
                    <a:pt x="5135" y="7751"/>
                  </a:lnTo>
                  <a:cubicBezTo>
                    <a:pt x="5388" y="7688"/>
                    <a:pt x="5671" y="7625"/>
                    <a:pt x="5923" y="7625"/>
                  </a:cubicBezTo>
                  <a:close/>
                  <a:moveTo>
                    <a:pt x="4505" y="8066"/>
                  </a:moveTo>
                  <a:lnTo>
                    <a:pt x="5577" y="9484"/>
                  </a:lnTo>
                  <a:lnTo>
                    <a:pt x="5577" y="11153"/>
                  </a:lnTo>
                  <a:lnTo>
                    <a:pt x="3497" y="11153"/>
                  </a:lnTo>
                  <a:lnTo>
                    <a:pt x="3497" y="10019"/>
                  </a:lnTo>
                  <a:cubicBezTo>
                    <a:pt x="3497" y="9200"/>
                    <a:pt x="3875" y="8507"/>
                    <a:pt x="4505" y="8066"/>
                  </a:cubicBezTo>
                  <a:close/>
                  <a:moveTo>
                    <a:pt x="7341" y="8066"/>
                  </a:moveTo>
                  <a:cubicBezTo>
                    <a:pt x="7939" y="8507"/>
                    <a:pt x="8381" y="9263"/>
                    <a:pt x="8381" y="10051"/>
                  </a:cubicBezTo>
                  <a:lnTo>
                    <a:pt x="8381" y="11153"/>
                  </a:lnTo>
                  <a:lnTo>
                    <a:pt x="6301" y="11153"/>
                  </a:lnTo>
                  <a:lnTo>
                    <a:pt x="6301" y="9484"/>
                  </a:lnTo>
                  <a:lnTo>
                    <a:pt x="7341" y="8066"/>
                  </a:lnTo>
                  <a:close/>
                  <a:moveTo>
                    <a:pt x="3088" y="1"/>
                  </a:moveTo>
                  <a:cubicBezTo>
                    <a:pt x="2143" y="1"/>
                    <a:pt x="1355" y="788"/>
                    <a:pt x="1355" y="1734"/>
                  </a:cubicBezTo>
                  <a:cubicBezTo>
                    <a:pt x="1355" y="2238"/>
                    <a:pt x="1575" y="2679"/>
                    <a:pt x="1922" y="2994"/>
                  </a:cubicBezTo>
                  <a:cubicBezTo>
                    <a:pt x="788" y="3466"/>
                    <a:pt x="0" y="4569"/>
                    <a:pt x="0" y="5861"/>
                  </a:cubicBezTo>
                  <a:lnTo>
                    <a:pt x="0" y="7247"/>
                  </a:lnTo>
                  <a:cubicBezTo>
                    <a:pt x="0" y="7436"/>
                    <a:pt x="158" y="7593"/>
                    <a:pt x="347" y="7593"/>
                  </a:cubicBezTo>
                  <a:lnTo>
                    <a:pt x="3938" y="7593"/>
                  </a:lnTo>
                  <a:cubicBezTo>
                    <a:pt x="3214" y="8192"/>
                    <a:pt x="2741" y="9043"/>
                    <a:pt x="2741" y="10019"/>
                  </a:cubicBezTo>
                  <a:lnTo>
                    <a:pt x="2741" y="11437"/>
                  </a:lnTo>
                  <a:cubicBezTo>
                    <a:pt x="2741" y="11658"/>
                    <a:pt x="2899" y="11815"/>
                    <a:pt x="3088" y="11815"/>
                  </a:cubicBezTo>
                  <a:lnTo>
                    <a:pt x="8696" y="11815"/>
                  </a:lnTo>
                  <a:cubicBezTo>
                    <a:pt x="8885" y="11815"/>
                    <a:pt x="9042" y="11658"/>
                    <a:pt x="9042" y="11437"/>
                  </a:cubicBezTo>
                  <a:lnTo>
                    <a:pt x="9042" y="10019"/>
                  </a:lnTo>
                  <a:cubicBezTo>
                    <a:pt x="9042" y="9043"/>
                    <a:pt x="8570" y="8192"/>
                    <a:pt x="7876" y="7593"/>
                  </a:cubicBezTo>
                  <a:lnTo>
                    <a:pt x="11436" y="7593"/>
                  </a:lnTo>
                  <a:cubicBezTo>
                    <a:pt x="11657" y="7593"/>
                    <a:pt x="11815" y="7436"/>
                    <a:pt x="11815" y="7247"/>
                  </a:cubicBezTo>
                  <a:lnTo>
                    <a:pt x="11815" y="5861"/>
                  </a:lnTo>
                  <a:cubicBezTo>
                    <a:pt x="11846" y="4600"/>
                    <a:pt x="11027" y="3466"/>
                    <a:pt x="9861" y="2994"/>
                  </a:cubicBezTo>
                  <a:cubicBezTo>
                    <a:pt x="10239" y="2679"/>
                    <a:pt x="10428" y="2206"/>
                    <a:pt x="10428" y="1734"/>
                  </a:cubicBezTo>
                  <a:cubicBezTo>
                    <a:pt x="10428" y="788"/>
                    <a:pt x="9641" y="1"/>
                    <a:pt x="8696" y="1"/>
                  </a:cubicBezTo>
                  <a:cubicBezTo>
                    <a:pt x="7750" y="1"/>
                    <a:pt x="6963" y="788"/>
                    <a:pt x="6963" y="1734"/>
                  </a:cubicBezTo>
                  <a:cubicBezTo>
                    <a:pt x="6963" y="2238"/>
                    <a:pt x="7152" y="2679"/>
                    <a:pt x="7498" y="2994"/>
                  </a:cubicBezTo>
                  <a:cubicBezTo>
                    <a:pt x="6931" y="3214"/>
                    <a:pt x="6396" y="3624"/>
                    <a:pt x="6049" y="4159"/>
                  </a:cubicBezTo>
                  <a:lnTo>
                    <a:pt x="5734" y="4159"/>
                  </a:lnTo>
                  <a:cubicBezTo>
                    <a:pt x="5388" y="3655"/>
                    <a:pt x="4883" y="3214"/>
                    <a:pt x="4285" y="2994"/>
                  </a:cubicBezTo>
                  <a:cubicBezTo>
                    <a:pt x="4631" y="2679"/>
                    <a:pt x="4820" y="2238"/>
                    <a:pt x="4820" y="1734"/>
                  </a:cubicBezTo>
                  <a:cubicBezTo>
                    <a:pt x="4820" y="788"/>
                    <a:pt x="4033"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39" name="Google Shape;6939;p73"/>
            <p:cNvSpPr/>
            <p:nvPr/>
          </p:nvSpPr>
          <p:spPr>
            <a:xfrm>
              <a:off x="3825750" y="2075775"/>
              <a:ext cx="35450" cy="17350"/>
            </a:xfrm>
            <a:custGeom>
              <a:avLst/>
              <a:gdLst/>
              <a:ahLst/>
              <a:cxnLst/>
              <a:rect l="l" t="t" r="r" b="b"/>
              <a:pathLst>
                <a:path w="1418" h="694" extrusionOk="0">
                  <a:moveTo>
                    <a:pt x="347" y="0"/>
                  </a:moveTo>
                  <a:cubicBezTo>
                    <a:pt x="158" y="0"/>
                    <a:pt x="0" y="158"/>
                    <a:pt x="0" y="347"/>
                  </a:cubicBezTo>
                  <a:cubicBezTo>
                    <a:pt x="0" y="536"/>
                    <a:pt x="158" y="694"/>
                    <a:pt x="347"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0" name="Google Shape;6940;p73"/>
            <p:cNvSpPr/>
            <p:nvPr/>
          </p:nvSpPr>
          <p:spPr>
            <a:xfrm>
              <a:off x="3633550" y="2075775"/>
              <a:ext cx="35475" cy="17350"/>
            </a:xfrm>
            <a:custGeom>
              <a:avLst/>
              <a:gdLst/>
              <a:ahLst/>
              <a:cxnLst/>
              <a:rect l="l" t="t" r="r" b="b"/>
              <a:pathLst>
                <a:path w="1419" h="694" extrusionOk="0">
                  <a:moveTo>
                    <a:pt x="379" y="0"/>
                  </a:moveTo>
                  <a:cubicBezTo>
                    <a:pt x="158" y="0"/>
                    <a:pt x="1" y="158"/>
                    <a:pt x="1" y="347"/>
                  </a:cubicBezTo>
                  <a:cubicBezTo>
                    <a:pt x="1" y="536"/>
                    <a:pt x="158" y="694"/>
                    <a:pt x="379" y="694"/>
                  </a:cubicBezTo>
                  <a:lnTo>
                    <a:pt x="1072" y="694"/>
                  </a:lnTo>
                  <a:cubicBezTo>
                    <a:pt x="1261" y="694"/>
                    <a:pt x="1419" y="536"/>
                    <a:pt x="1419" y="347"/>
                  </a:cubicBez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41" name="Google Shape;6941;p73"/>
          <p:cNvGrpSpPr/>
          <p:nvPr/>
        </p:nvGrpSpPr>
        <p:grpSpPr>
          <a:xfrm>
            <a:off x="6489756" y="4516569"/>
            <a:ext cx="463465" cy="463465"/>
            <a:chOff x="3601275" y="2319150"/>
            <a:chExt cx="294600" cy="294600"/>
          </a:xfrm>
        </p:grpSpPr>
        <p:sp>
          <p:nvSpPr>
            <p:cNvPr id="6942" name="Google Shape;6942;p73"/>
            <p:cNvSpPr/>
            <p:nvPr/>
          </p:nvSpPr>
          <p:spPr>
            <a:xfrm>
              <a:off x="3601275" y="2319150"/>
              <a:ext cx="294600" cy="294600"/>
            </a:xfrm>
            <a:custGeom>
              <a:avLst/>
              <a:gdLst/>
              <a:ahLst/>
              <a:cxnLst/>
              <a:rect l="l" t="t" r="r" b="b"/>
              <a:pathLst>
                <a:path w="11784" h="11784" extrusionOk="0">
                  <a:moveTo>
                    <a:pt x="8223" y="694"/>
                  </a:moveTo>
                  <a:cubicBezTo>
                    <a:pt x="8696" y="725"/>
                    <a:pt x="9168" y="914"/>
                    <a:pt x="9546" y="1198"/>
                  </a:cubicBezTo>
                  <a:lnTo>
                    <a:pt x="7057" y="3687"/>
                  </a:lnTo>
                  <a:cubicBezTo>
                    <a:pt x="6774" y="3498"/>
                    <a:pt x="6459" y="3340"/>
                    <a:pt x="6144" y="3245"/>
                  </a:cubicBezTo>
                  <a:lnTo>
                    <a:pt x="8223" y="694"/>
                  </a:lnTo>
                  <a:close/>
                  <a:moveTo>
                    <a:pt x="10523" y="1198"/>
                  </a:moveTo>
                  <a:cubicBezTo>
                    <a:pt x="10838" y="1576"/>
                    <a:pt x="11027" y="2111"/>
                    <a:pt x="11027" y="2615"/>
                  </a:cubicBezTo>
                  <a:lnTo>
                    <a:pt x="8286" y="4852"/>
                  </a:lnTo>
                  <a:lnTo>
                    <a:pt x="7561" y="4159"/>
                  </a:lnTo>
                  <a:lnTo>
                    <a:pt x="10523" y="1198"/>
                  </a:lnTo>
                  <a:close/>
                  <a:moveTo>
                    <a:pt x="5592" y="3923"/>
                  </a:moveTo>
                  <a:cubicBezTo>
                    <a:pt x="6033" y="3923"/>
                    <a:pt x="6474" y="4096"/>
                    <a:pt x="6805" y="4443"/>
                  </a:cubicBezTo>
                  <a:cubicBezTo>
                    <a:pt x="7498" y="5104"/>
                    <a:pt x="7498" y="6207"/>
                    <a:pt x="6805" y="6869"/>
                  </a:cubicBezTo>
                  <a:cubicBezTo>
                    <a:pt x="6474" y="7199"/>
                    <a:pt x="6033" y="7365"/>
                    <a:pt x="5592" y="7365"/>
                  </a:cubicBezTo>
                  <a:cubicBezTo>
                    <a:pt x="5151" y="7365"/>
                    <a:pt x="4710" y="7199"/>
                    <a:pt x="4379" y="6869"/>
                  </a:cubicBezTo>
                  <a:cubicBezTo>
                    <a:pt x="3718" y="6207"/>
                    <a:pt x="3718" y="5104"/>
                    <a:pt x="4379" y="4443"/>
                  </a:cubicBezTo>
                  <a:cubicBezTo>
                    <a:pt x="4710" y="4096"/>
                    <a:pt x="5151" y="3923"/>
                    <a:pt x="5592" y="3923"/>
                  </a:cubicBezTo>
                  <a:close/>
                  <a:moveTo>
                    <a:pt x="8034" y="5577"/>
                  </a:moveTo>
                  <a:lnTo>
                    <a:pt x="8191" y="5734"/>
                  </a:lnTo>
                  <a:cubicBezTo>
                    <a:pt x="8696" y="6270"/>
                    <a:pt x="9326" y="6742"/>
                    <a:pt x="10019" y="7058"/>
                  </a:cubicBezTo>
                  <a:lnTo>
                    <a:pt x="9420" y="7278"/>
                  </a:lnTo>
                  <a:cubicBezTo>
                    <a:pt x="9263" y="7310"/>
                    <a:pt x="9168" y="7467"/>
                    <a:pt x="9168" y="7593"/>
                  </a:cubicBezTo>
                  <a:lnTo>
                    <a:pt x="9168" y="8066"/>
                  </a:lnTo>
                  <a:cubicBezTo>
                    <a:pt x="8601" y="7814"/>
                    <a:pt x="8034" y="7467"/>
                    <a:pt x="7561" y="7058"/>
                  </a:cubicBezTo>
                  <a:cubicBezTo>
                    <a:pt x="7876" y="6648"/>
                    <a:pt x="8034" y="6175"/>
                    <a:pt x="8034" y="5608"/>
                  </a:cubicBezTo>
                  <a:lnTo>
                    <a:pt x="8034" y="5577"/>
                  </a:lnTo>
                  <a:close/>
                  <a:moveTo>
                    <a:pt x="3245" y="6081"/>
                  </a:moveTo>
                  <a:cubicBezTo>
                    <a:pt x="3308" y="6427"/>
                    <a:pt x="3466" y="6806"/>
                    <a:pt x="3655" y="7058"/>
                  </a:cubicBezTo>
                  <a:lnTo>
                    <a:pt x="1197" y="9546"/>
                  </a:lnTo>
                  <a:cubicBezTo>
                    <a:pt x="882" y="9200"/>
                    <a:pt x="662" y="8696"/>
                    <a:pt x="630" y="8160"/>
                  </a:cubicBezTo>
                  <a:lnTo>
                    <a:pt x="3245" y="6081"/>
                  </a:lnTo>
                  <a:close/>
                  <a:moveTo>
                    <a:pt x="7057" y="7593"/>
                  </a:moveTo>
                  <a:cubicBezTo>
                    <a:pt x="7435" y="8066"/>
                    <a:pt x="7813" y="8601"/>
                    <a:pt x="8034" y="9200"/>
                  </a:cubicBezTo>
                  <a:lnTo>
                    <a:pt x="7561" y="9200"/>
                  </a:lnTo>
                  <a:cubicBezTo>
                    <a:pt x="7404" y="9200"/>
                    <a:pt x="7278" y="9263"/>
                    <a:pt x="7246" y="9420"/>
                  </a:cubicBezTo>
                  <a:lnTo>
                    <a:pt x="7057" y="10019"/>
                  </a:lnTo>
                  <a:cubicBezTo>
                    <a:pt x="6742" y="9357"/>
                    <a:pt x="6270" y="8727"/>
                    <a:pt x="5766" y="8223"/>
                  </a:cubicBezTo>
                  <a:lnTo>
                    <a:pt x="5608" y="8066"/>
                  </a:lnTo>
                  <a:lnTo>
                    <a:pt x="5640" y="8066"/>
                  </a:lnTo>
                  <a:cubicBezTo>
                    <a:pt x="6144" y="8066"/>
                    <a:pt x="6648" y="7877"/>
                    <a:pt x="7057" y="7593"/>
                  </a:cubicBezTo>
                  <a:close/>
                  <a:moveTo>
                    <a:pt x="4096" y="7625"/>
                  </a:moveTo>
                  <a:lnTo>
                    <a:pt x="4820" y="8318"/>
                  </a:lnTo>
                  <a:lnTo>
                    <a:pt x="2552" y="11090"/>
                  </a:lnTo>
                  <a:cubicBezTo>
                    <a:pt x="2048" y="11059"/>
                    <a:pt x="1575" y="10901"/>
                    <a:pt x="1134" y="10586"/>
                  </a:cubicBezTo>
                  <a:lnTo>
                    <a:pt x="4096" y="7625"/>
                  </a:lnTo>
                  <a:close/>
                  <a:moveTo>
                    <a:pt x="8160" y="0"/>
                  </a:moveTo>
                  <a:cubicBezTo>
                    <a:pt x="8034" y="0"/>
                    <a:pt x="7971" y="63"/>
                    <a:pt x="7876" y="126"/>
                  </a:cubicBezTo>
                  <a:lnTo>
                    <a:pt x="5356" y="3245"/>
                  </a:lnTo>
                  <a:cubicBezTo>
                    <a:pt x="4852" y="3308"/>
                    <a:pt x="4348" y="3529"/>
                    <a:pt x="3938" y="3970"/>
                  </a:cubicBezTo>
                  <a:cubicBezTo>
                    <a:pt x="3592" y="4317"/>
                    <a:pt x="3340" y="4758"/>
                    <a:pt x="3277" y="5262"/>
                  </a:cubicBezTo>
                  <a:lnTo>
                    <a:pt x="126" y="7782"/>
                  </a:lnTo>
                  <a:cubicBezTo>
                    <a:pt x="32" y="7845"/>
                    <a:pt x="0" y="7940"/>
                    <a:pt x="0" y="8066"/>
                  </a:cubicBezTo>
                  <a:cubicBezTo>
                    <a:pt x="0" y="8790"/>
                    <a:pt x="284" y="9546"/>
                    <a:pt x="756" y="10114"/>
                  </a:cubicBezTo>
                  <a:lnTo>
                    <a:pt x="473" y="10366"/>
                  </a:lnTo>
                  <a:cubicBezTo>
                    <a:pt x="410" y="10460"/>
                    <a:pt x="347" y="10523"/>
                    <a:pt x="347" y="10618"/>
                  </a:cubicBezTo>
                  <a:cubicBezTo>
                    <a:pt x="347" y="10681"/>
                    <a:pt x="410" y="10807"/>
                    <a:pt x="473" y="10838"/>
                  </a:cubicBezTo>
                  <a:cubicBezTo>
                    <a:pt x="1103" y="11468"/>
                    <a:pt x="1922" y="11783"/>
                    <a:pt x="2804" y="11783"/>
                  </a:cubicBezTo>
                  <a:cubicBezTo>
                    <a:pt x="2930" y="11783"/>
                    <a:pt x="2993" y="11752"/>
                    <a:pt x="3088" y="11657"/>
                  </a:cubicBezTo>
                  <a:lnTo>
                    <a:pt x="5388" y="8790"/>
                  </a:lnTo>
                  <a:cubicBezTo>
                    <a:pt x="6018" y="9452"/>
                    <a:pt x="6553" y="10303"/>
                    <a:pt x="6805" y="11153"/>
                  </a:cubicBezTo>
                  <a:cubicBezTo>
                    <a:pt x="6868" y="11311"/>
                    <a:pt x="7026" y="11405"/>
                    <a:pt x="7120" y="11405"/>
                  </a:cubicBezTo>
                  <a:cubicBezTo>
                    <a:pt x="7278" y="11405"/>
                    <a:pt x="7404" y="11311"/>
                    <a:pt x="7435" y="11153"/>
                  </a:cubicBezTo>
                  <a:lnTo>
                    <a:pt x="7845" y="9924"/>
                  </a:lnTo>
                  <a:lnTo>
                    <a:pt x="8601" y="9924"/>
                  </a:lnTo>
                  <a:cubicBezTo>
                    <a:pt x="8696" y="9924"/>
                    <a:pt x="8790" y="9893"/>
                    <a:pt x="8853" y="9767"/>
                  </a:cubicBezTo>
                  <a:cubicBezTo>
                    <a:pt x="8948" y="9704"/>
                    <a:pt x="8948" y="9578"/>
                    <a:pt x="8916" y="9452"/>
                  </a:cubicBezTo>
                  <a:cubicBezTo>
                    <a:pt x="8790" y="9137"/>
                    <a:pt x="8664" y="8822"/>
                    <a:pt x="8507" y="8507"/>
                  </a:cubicBezTo>
                  <a:lnTo>
                    <a:pt x="8507" y="8507"/>
                  </a:lnTo>
                  <a:cubicBezTo>
                    <a:pt x="8822" y="8664"/>
                    <a:pt x="9137" y="8790"/>
                    <a:pt x="9452" y="8916"/>
                  </a:cubicBezTo>
                  <a:cubicBezTo>
                    <a:pt x="9489" y="8926"/>
                    <a:pt x="9526" y="8929"/>
                    <a:pt x="9561" y="8929"/>
                  </a:cubicBezTo>
                  <a:cubicBezTo>
                    <a:pt x="9646" y="8929"/>
                    <a:pt x="9722" y="8907"/>
                    <a:pt x="9767" y="8885"/>
                  </a:cubicBezTo>
                  <a:cubicBezTo>
                    <a:pt x="9861" y="8790"/>
                    <a:pt x="9924" y="8727"/>
                    <a:pt x="9924" y="8601"/>
                  </a:cubicBezTo>
                  <a:lnTo>
                    <a:pt x="9924" y="7845"/>
                  </a:lnTo>
                  <a:lnTo>
                    <a:pt x="11153" y="7467"/>
                  </a:lnTo>
                  <a:cubicBezTo>
                    <a:pt x="11310" y="7404"/>
                    <a:pt x="11373" y="7247"/>
                    <a:pt x="11373" y="7152"/>
                  </a:cubicBezTo>
                  <a:cubicBezTo>
                    <a:pt x="11373" y="6995"/>
                    <a:pt x="11310" y="6869"/>
                    <a:pt x="11153" y="6837"/>
                  </a:cubicBezTo>
                  <a:cubicBezTo>
                    <a:pt x="10271" y="6553"/>
                    <a:pt x="9452" y="6049"/>
                    <a:pt x="8790" y="5419"/>
                  </a:cubicBezTo>
                  <a:lnTo>
                    <a:pt x="11657" y="3088"/>
                  </a:lnTo>
                  <a:cubicBezTo>
                    <a:pt x="11689" y="2962"/>
                    <a:pt x="11783" y="2867"/>
                    <a:pt x="11783" y="2773"/>
                  </a:cubicBezTo>
                  <a:cubicBezTo>
                    <a:pt x="11783" y="1922"/>
                    <a:pt x="11436" y="1072"/>
                    <a:pt x="10838" y="442"/>
                  </a:cubicBezTo>
                  <a:cubicBezTo>
                    <a:pt x="10775" y="379"/>
                    <a:pt x="10688" y="347"/>
                    <a:pt x="10602" y="347"/>
                  </a:cubicBezTo>
                  <a:cubicBezTo>
                    <a:pt x="10515" y="347"/>
                    <a:pt x="10428" y="379"/>
                    <a:pt x="10365" y="442"/>
                  </a:cubicBezTo>
                  <a:lnTo>
                    <a:pt x="10082" y="725"/>
                  </a:lnTo>
                  <a:cubicBezTo>
                    <a:pt x="9546" y="284"/>
                    <a:pt x="8853" y="0"/>
                    <a:pt x="816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3" name="Google Shape;6943;p73"/>
            <p:cNvSpPr/>
            <p:nvPr/>
          </p:nvSpPr>
          <p:spPr>
            <a:xfrm>
              <a:off x="3713900" y="2434350"/>
              <a:ext cx="55950" cy="52200"/>
            </a:xfrm>
            <a:custGeom>
              <a:avLst/>
              <a:gdLst/>
              <a:ahLst/>
              <a:cxnLst/>
              <a:rect l="l" t="t" r="r" b="b"/>
              <a:pathLst>
                <a:path w="2238" h="2088" extrusionOk="0">
                  <a:moveTo>
                    <a:pt x="1087" y="685"/>
                  </a:moveTo>
                  <a:cubicBezTo>
                    <a:pt x="1174" y="685"/>
                    <a:pt x="1261" y="717"/>
                    <a:pt x="1324" y="780"/>
                  </a:cubicBezTo>
                  <a:cubicBezTo>
                    <a:pt x="1450" y="874"/>
                    <a:pt x="1450" y="1126"/>
                    <a:pt x="1324" y="1252"/>
                  </a:cubicBezTo>
                  <a:cubicBezTo>
                    <a:pt x="1261" y="1300"/>
                    <a:pt x="1174" y="1323"/>
                    <a:pt x="1087" y="1323"/>
                  </a:cubicBezTo>
                  <a:cubicBezTo>
                    <a:pt x="1001" y="1323"/>
                    <a:pt x="914" y="1300"/>
                    <a:pt x="851" y="1252"/>
                  </a:cubicBezTo>
                  <a:cubicBezTo>
                    <a:pt x="725" y="1126"/>
                    <a:pt x="725" y="937"/>
                    <a:pt x="851" y="780"/>
                  </a:cubicBezTo>
                  <a:cubicBezTo>
                    <a:pt x="914" y="717"/>
                    <a:pt x="1001" y="685"/>
                    <a:pt x="1087" y="685"/>
                  </a:cubicBezTo>
                  <a:close/>
                  <a:moveTo>
                    <a:pt x="1115" y="0"/>
                  </a:moveTo>
                  <a:cubicBezTo>
                    <a:pt x="851" y="0"/>
                    <a:pt x="583" y="102"/>
                    <a:pt x="378" y="307"/>
                  </a:cubicBezTo>
                  <a:cubicBezTo>
                    <a:pt x="0" y="685"/>
                    <a:pt x="0" y="1347"/>
                    <a:pt x="378" y="1756"/>
                  </a:cubicBezTo>
                  <a:cubicBezTo>
                    <a:pt x="583" y="1977"/>
                    <a:pt x="851" y="2087"/>
                    <a:pt x="1115" y="2087"/>
                  </a:cubicBezTo>
                  <a:cubicBezTo>
                    <a:pt x="1379" y="2087"/>
                    <a:pt x="1639" y="1977"/>
                    <a:pt x="1828" y="1756"/>
                  </a:cubicBezTo>
                  <a:cubicBezTo>
                    <a:pt x="2237" y="1347"/>
                    <a:pt x="2237" y="685"/>
                    <a:pt x="1828" y="307"/>
                  </a:cubicBezTo>
                  <a:cubicBezTo>
                    <a:pt x="1639" y="102"/>
                    <a:pt x="1379" y="0"/>
                    <a:pt x="11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44" name="Google Shape;6944;p73"/>
          <p:cNvSpPr/>
          <p:nvPr/>
        </p:nvSpPr>
        <p:spPr>
          <a:xfrm>
            <a:off x="6488999" y="5114967"/>
            <a:ext cx="464723" cy="464684"/>
          </a:xfrm>
          <a:custGeom>
            <a:avLst/>
            <a:gdLst/>
            <a:ahLst/>
            <a:cxnLst/>
            <a:rect l="l" t="t" r="r" b="b"/>
            <a:pathLst>
              <a:path w="11816" h="11815" extrusionOk="0">
                <a:moveTo>
                  <a:pt x="6207" y="693"/>
                </a:moveTo>
                <a:cubicBezTo>
                  <a:pt x="7877" y="819"/>
                  <a:pt x="9326" y="1670"/>
                  <a:pt x="10208" y="2993"/>
                </a:cubicBezTo>
                <a:lnTo>
                  <a:pt x="6207" y="5293"/>
                </a:lnTo>
                <a:lnTo>
                  <a:pt x="6207" y="693"/>
                </a:lnTo>
                <a:close/>
                <a:moveTo>
                  <a:pt x="10555" y="3623"/>
                </a:moveTo>
                <a:cubicBezTo>
                  <a:pt x="10901" y="4316"/>
                  <a:pt x="11090" y="5104"/>
                  <a:pt x="11090" y="5923"/>
                </a:cubicBezTo>
                <a:cubicBezTo>
                  <a:pt x="11090" y="7026"/>
                  <a:pt x="10744" y="8097"/>
                  <a:pt x="10114" y="8979"/>
                </a:cubicBezTo>
                <a:lnTo>
                  <a:pt x="6491" y="5986"/>
                </a:lnTo>
                <a:lnTo>
                  <a:pt x="10555" y="3623"/>
                </a:lnTo>
                <a:close/>
                <a:moveTo>
                  <a:pt x="5546" y="693"/>
                </a:moveTo>
                <a:lnTo>
                  <a:pt x="5546" y="5892"/>
                </a:lnTo>
                <a:cubicBezTo>
                  <a:pt x="5546" y="6018"/>
                  <a:pt x="5577" y="6081"/>
                  <a:pt x="5672" y="6175"/>
                </a:cubicBezTo>
                <a:lnTo>
                  <a:pt x="9673" y="9483"/>
                </a:lnTo>
                <a:cubicBezTo>
                  <a:pt x="8728" y="10491"/>
                  <a:pt x="7373" y="11121"/>
                  <a:pt x="5892" y="11121"/>
                </a:cubicBezTo>
                <a:cubicBezTo>
                  <a:pt x="3025" y="11121"/>
                  <a:pt x="662" y="8822"/>
                  <a:pt x="662" y="5892"/>
                </a:cubicBezTo>
                <a:cubicBezTo>
                  <a:pt x="662" y="3151"/>
                  <a:pt x="2836" y="851"/>
                  <a:pt x="5546" y="693"/>
                </a:cubicBezTo>
                <a:close/>
                <a:moveTo>
                  <a:pt x="5892" y="0"/>
                </a:moveTo>
                <a:cubicBezTo>
                  <a:pt x="2647" y="0"/>
                  <a:pt x="1" y="2615"/>
                  <a:pt x="1" y="5892"/>
                </a:cubicBezTo>
                <a:cubicBezTo>
                  <a:pt x="1" y="9168"/>
                  <a:pt x="2647" y="11814"/>
                  <a:pt x="5892" y="11814"/>
                </a:cubicBezTo>
                <a:cubicBezTo>
                  <a:pt x="9169" y="11814"/>
                  <a:pt x="11815" y="9168"/>
                  <a:pt x="11815" y="5892"/>
                </a:cubicBezTo>
                <a:cubicBezTo>
                  <a:pt x="11815" y="2678"/>
                  <a:pt x="9137"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45" name="Google Shape;6945;p73"/>
          <p:cNvGrpSpPr/>
          <p:nvPr/>
        </p:nvGrpSpPr>
        <p:grpSpPr>
          <a:xfrm>
            <a:off x="9449359" y="3863362"/>
            <a:ext cx="437428" cy="465903"/>
            <a:chOff x="5421475" y="1945825"/>
            <a:chExt cx="278050" cy="296150"/>
          </a:xfrm>
        </p:grpSpPr>
        <p:sp>
          <p:nvSpPr>
            <p:cNvPr id="6946" name="Google Shape;6946;p73"/>
            <p:cNvSpPr/>
            <p:nvPr/>
          </p:nvSpPr>
          <p:spPr>
            <a:xfrm>
              <a:off x="5472650" y="1999375"/>
              <a:ext cx="172525" cy="242600"/>
            </a:xfrm>
            <a:custGeom>
              <a:avLst/>
              <a:gdLst/>
              <a:ahLst/>
              <a:cxnLst/>
              <a:rect l="l" t="t" r="r" b="b"/>
              <a:pathLst>
                <a:path w="6901" h="9704" extrusionOk="0">
                  <a:moveTo>
                    <a:pt x="1765" y="1355"/>
                  </a:moveTo>
                  <a:cubicBezTo>
                    <a:pt x="1986" y="1355"/>
                    <a:pt x="2143" y="1513"/>
                    <a:pt x="2143" y="1702"/>
                  </a:cubicBezTo>
                  <a:lnTo>
                    <a:pt x="2143" y="2048"/>
                  </a:lnTo>
                  <a:lnTo>
                    <a:pt x="1765" y="2048"/>
                  </a:lnTo>
                  <a:cubicBezTo>
                    <a:pt x="1671" y="2048"/>
                    <a:pt x="1545" y="2048"/>
                    <a:pt x="1419" y="2111"/>
                  </a:cubicBezTo>
                  <a:lnTo>
                    <a:pt x="1419" y="1702"/>
                  </a:lnTo>
                  <a:cubicBezTo>
                    <a:pt x="1419" y="1513"/>
                    <a:pt x="1576" y="1355"/>
                    <a:pt x="1765" y="1355"/>
                  </a:cubicBezTo>
                  <a:close/>
                  <a:moveTo>
                    <a:pt x="3151" y="631"/>
                  </a:moveTo>
                  <a:cubicBezTo>
                    <a:pt x="3341" y="631"/>
                    <a:pt x="3498" y="788"/>
                    <a:pt x="3498" y="1009"/>
                  </a:cubicBezTo>
                  <a:lnTo>
                    <a:pt x="3498" y="2111"/>
                  </a:lnTo>
                  <a:cubicBezTo>
                    <a:pt x="3404" y="2048"/>
                    <a:pt x="3277" y="2017"/>
                    <a:pt x="3151" y="2017"/>
                  </a:cubicBezTo>
                  <a:lnTo>
                    <a:pt x="2805" y="2017"/>
                  </a:lnTo>
                  <a:lnTo>
                    <a:pt x="2805" y="1009"/>
                  </a:lnTo>
                  <a:cubicBezTo>
                    <a:pt x="2805" y="788"/>
                    <a:pt x="2962" y="631"/>
                    <a:pt x="3151" y="631"/>
                  </a:cubicBezTo>
                  <a:close/>
                  <a:moveTo>
                    <a:pt x="4538" y="1355"/>
                  </a:moveTo>
                  <a:cubicBezTo>
                    <a:pt x="4727" y="1355"/>
                    <a:pt x="4884" y="1513"/>
                    <a:pt x="4884" y="1702"/>
                  </a:cubicBezTo>
                  <a:lnTo>
                    <a:pt x="4884" y="3088"/>
                  </a:lnTo>
                  <a:cubicBezTo>
                    <a:pt x="4884" y="3277"/>
                    <a:pt x="4727" y="3435"/>
                    <a:pt x="4538" y="3435"/>
                  </a:cubicBezTo>
                  <a:cubicBezTo>
                    <a:pt x="4349" y="3435"/>
                    <a:pt x="4191" y="3277"/>
                    <a:pt x="4191" y="3088"/>
                  </a:cubicBezTo>
                  <a:lnTo>
                    <a:pt x="4191" y="1702"/>
                  </a:lnTo>
                  <a:cubicBezTo>
                    <a:pt x="4191" y="1513"/>
                    <a:pt x="4349" y="1355"/>
                    <a:pt x="4538" y="1355"/>
                  </a:cubicBezTo>
                  <a:close/>
                  <a:moveTo>
                    <a:pt x="5924" y="2017"/>
                  </a:moveTo>
                  <a:cubicBezTo>
                    <a:pt x="6113" y="2017"/>
                    <a:pt x="6270" y="2174"/>
                    <a:pt x="6270" y="2363"/>
                  </a:cubicBezTo>
                  <a:lnTo>
                    <a:pt x="6270" y="3088"/>
                  </a:lnTo>
                  <a:cubicBezTo>
                    <a:pt x="6270" y="3277"/>
                    <a:pt x="6113" y="3435"/>
                    <a:pt x="5924" y="3435"/>
                  </a:cubicBezTo>
                  <a:cubicBezTo>
                    <a:pt x="5703" y="3435"/>
                    <a:pt x="5546" y="3277"/>
                    <a:pt x="5546" y="3088"/>
                  </a:cubicBezTo>
                  <a:lnTo>
                    <a:pt x="5546" y="2363"/>
                  </a:lnTo>
                  <a:cubicBezTo>
                    <a:pt x="5546" y="2174"/>
                    <a:pt x="5703" y="2017"/>
                    <a:pt x="5924" y="2017"/>
                  </a:cubicBezTo>
                  <a:close/>
                  <a:moveTo>
                    <a:pt x="3120" y="2741"/>
                  </a:moveTo>
                  <a:cubicBezTo>
                    <a:pt x="3309" y="2741"/>
                    <a:pt x="3467" y="2899"/>
                    <a:pt x="3467" y="3088"/>
                  </a:cubicBezTo>
                  <a:cubicBezTo>
                    <a:pt x="3467" y="3277"/>
                    <a:pt x="3309" y="3435"/>
                    <a:pt x="3120" y="3435"/>
                  </a:cubicBezTo>
                  <a:lnTo>
                    <a:pt x="1734" y="3435"/>
                  </a:lnTo>
                  <a:cubicBezTo>
                    <a:pt x="1545" y="3435"/>
                    <a:pt x="1387" y="3592"/>
                    <a:pt x="1387" y="3781"/>
                  </a:cubicBezTo>
                  <a:cubicBezTo>
                    <a:pt x="1387" y="4002"/>
                    <a:pt x="1545" y="4159"/>
                    <a:pt x="1734" y="4159"/>
                  </a:cubicBezTo>
                  <a:cubicBezTo>
                    <a:pt x="2679" y="4159"/>
                    <a:pt x="3467" y="4947"/>
                    <a:pt x="3467" y="5892"/>
                  </a:cubicBezTo>
                  <a:cubicBezTo>
                    <a:pt x="3467" y="6081"/>
                    <a:pt x="3624" y="6238"/>
                    <a:pt x="3845" y="6238"/>
                  </a:cubicBezTo>
                  <a:cubicBezTo>
                    <a:pt x="4034" y="6238"/>
                    <a:pt x="4191" y="6081"/>
                    <a:pt x="4191" y="5892"/>
                  </a:cubicBezTo>
                  <a:cubicBezTo>
                    <a:pt x="4191" y="5167"/>
                    <a:pt x="3876" y="4537"/>
                    <a:pt x="3435" y="4096"/>
                  </a:cubicBezTo>
                  <a:cubicBezTo>
                    <a:pt x="3593" y="4065"/>
                    <a:pt x="3750" y="4002"/>
                    <a:pt x="3876" y="3876"/>
                  </a:cubicBezTo>
                  <a:cubicBezTo>
                    <a:pt x="4065" y="4033"/>
                    <a:pt x="4317" y="4159"/>
                    <a:pt x="4569" y="4159"/>
                  </a:cubicBezTo>
                  <a:cubicBezTo>
                    <a:pt x="4853" y="4159"/>
                    <a:pt x="5073" y="4033"/>
                    <a:pt x="5294" y="3876"/>
                  </a:cubicBezTo>
                  <a:cubicBezTo>
                    <a:pt x="5483" y="4033"/>
                    <a:pt x="5703" y="4159"/>
                    <a:pt x="5987" y="4159"/>
                  </a:cubicBezTo>
                  <a:cubicBezTo>
                    <a:pt x="6113" y="4159"/>
                    <a:pt x="6239" y="4096"/>
                    <a:pt x="6333" y="4065"/>
                  </a:cubicBezTo>
                  <a:lnTo>
                    <a:pt x="6333" y="5167"/>
                  </a:lnTo>
                  <a:cubicBezTo>
                    <a:pt x="6333" y="5923"/>
                    <a:pt x="5861" y="6554"/>
                    <a:pt x="5199" y="6774"/>
                  </a:cubicBezTo>
                  <a:cubicBezTo>
                    <a:pt x="5042" y="6837"/>
                    <a:pt x="4979" y="6995"/>
                    <a:pt x="4979" y="7089"/>
                  </a:cubicBezTo>
                  <a:lnTo>
                    <a:pt x="4979" y="7562"/>
                  </a:lnTo>
                  <a:lnTo>
                    <a:pt x="2206" y="7562"/>
                  </a:lnTo>
                  <a:lnTo>
                    <a:pt x="2206" y="7089"/>
                  </a:lnTo>
                  <a:cubicBezTo>
                    <a:pt x="2206" y="6932"/>
                    <a:pt x="2143" y="6837"/>
                    <a:pt x="1986" y="6774"/>
                  </a:cubicBezTo>
                  <a:cubicBezTo>
                    <a:pt x="1261" y="6554"/>
                    <a:pt x="820" y="5892"/>
                    <a:pt x="820" y="5167"/>
                  </a:cubicBezTo>
                  <a:lnTo>
                    <a:pt x="820" y="3750"/>
                  </a:lnTo>
                  <a:lnTo>
                    <a:pt x="726" y="3750"/>
                  </a:lnTo>
                  <a:cubicBezTo>
                    <a:pt x="726" y="3151"/>
                    <a:pt x="1198" y="2741"/>
                    <a:pt x="1734" y="2741"/>
                  </a:cubicBezTo>
                  <a:close/>
                  <a:moveTo>
                    <a:pt x="5199" y="8286"/>
                  </a:moveTo>
                  <a:cubicBezTo>
                    <a:pt x="5388" y="8286"/>
                    <a:pt x="5546" y="8444"/>
                    <a:pt x="5546" y="8633"/>
                  </a:cubicBezTo>
                  <a:lnTo>
                    <a:pt x="5546" y="8979"/>
                  </a:lnTo>
                  <a:lnTo>
                    <a:pt x="1387" y="8979"/>
                  </a:lnTo>
                  <a:lnTo>
                    <a:pt x="1387" y="8633"/>
                  </a:lnTo>
                  <a:cubicBezTo>
                    <a:pt x="1387" y="8444"/>
                    <a:pt x="1545" y="8286"/>
                    <a:pt x="1734" y="8286"/>
                  </a:cubicBezTo>
                  <a:close/>
                  <a:moveTo>
                    <a:pt x="3120" y="1"/>
                  </a:moveTo>
                  <a:cubicBezTo>
                    <a:pt x="2647" y="1"/>
                    <a:pt x="2269" y="316"/>
                    <a:pt x="2143" y="757"/>
                  </a:cubicBezTo>
                  <a:cubicBezTo>
                    <a:pt x="2017" y="725"/>
                    <a:pt x="1891" y="694"/>
                    <a:pt x="1734" y="694"/>
                  </a:cubicBezTo>
                  <a:cubicBezTo>
                    <a:pt x="1167" y="694"/>
                    <a:pt x="726" y="1166"/>
                    <a:pt x="726" y="1702"/>
                  </a:cubicBezTo>
                  <a:lnTo>
                    <a:pt x="726" y="2426"/>
                  </a:lnTo>
                  <a:cubicBezTo>
                    <a:pt x="285" y="2678"/>
                    <a:pt x="1" y="3214"/>
                    <a:pt x="1" y="3750"/>
                  </a:cubicBezTo>
                  <a:lnTo>
                    <a:pt x="1" y="5136"/>
                  </a:lnTo>
                  <a:cubicBezTo>
                    <a:pt x="1" y="6081"/>
                    <a:pt x="568" y="6932"/>
                    <a:pt x="1387" y="7341"/>
                  </a:cubicBezTo>
                  <a:lnTo>
                    <a:pt x="1387" y="7656"/>
                  </a:lnTo>
                  <a:cubicBezTo>
                    <a:pt x="1009" y="7814"/>
                    <a:pt x="694" y="8160"/>
                    <a:pt x="694" y="8633"/>
                  </a:cubicBezTo>
                  <a:lnTo>
                    <a:pt x="694" y="9357"/>
                  </a:lnTo>
                  <a:cubicBezTo>
                    <a:pt x="694" y="9546"/>
                    <a:pt x="852" y="9704"/>
                    <a:pt x="1041" y="9704"/>
                  </a:cubicBezTo>
                  <a:lnTo>
                    <a:pt x="5892" y="9704"/>
                  </a:lnTo>
                  <a:cubicBezTo>
                    <a:pt x="6081" y="9704"/>
                    <a:pt x="6239" y="9546"/>
                    <a:pt x="6239" y="9357"/>
                  </a:cubicBezTo>
                  <a:lnTo>
                    <a:pt x="6239" y="8633"/>
                  </a:lnTo>
                  <a:cubicBezTo>
                    <a:pt x="6239" y="8192"/>
                    <a:pt x="5955" y="7814"/>
                    <a:pt x="5514" y="7656"/>
                  </a:cubicBezTo>
                  <a:lnTo>
                    <a:pt x="5514" y="7341"/>
                  </a:lnTo>
                  <a:cubicBezTo>
                    <a:pt x="6365" y="6932"/>
                    <a:pt x="6901" y="6081"/>
                    <a:pt x="6901" y="5136"/>
                  </a:cubicBezTo>
                  <a:lnTo>
                    <a:pt x="6901" y="2363"/>
                  </a:lnTo>
                  <a:cubicBezTo>
                    <a:pt x="6901" y="1796"/>
                    <a:pt x="6428" y="1355"/>
                    <a:pt x="5892" y="1355"/>
                  </a:cubicBezTo>
                  <a:cubicBezTo>
                    <a:pt x="5766" y="1355"/>
                    <a:pt x="5609" y="1387"/>
                    <a:pt x="5483" y="1418"/>
                  </a:cubicBezTo>
                  <a:cubicBezTo>
                    <a:pt x="5357" y="1009"/>
                    <a:pt x="4979" y="694"/>
                    <a:pt x="4506" y="694"/>
                  </a:cubicBezTo>
                  <a:cubicBezTo>
                    <a:pt x="4380" y="694"/>
                    <a:pt x="4223" y="725"/>
                    <a:pt x="4097" y="757"/>
                  </a:cubicBezTo>
                  <a:cubicBezTo>
                    <a:pt x="4002" y="316"/>
                    <a:pt x="3593"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7" name="Google Shape;6947;p73"/>
            <p:cNvSpPr/>
            <p:nvPr/>
          </p:nvSpPr>
          <p:spPr>
            <a:xfrm>
              <a:off x="5559300" y="1945825"/>
              <a:ext cx="18150" cy="44125"/>
            </a:xfrm>
            <a:custGeom>
              <a:avLst/>
              <a:gdLst/>
              <a:ahLst/>
              <a:cxnLst/>
              <a:rect l="l" t="t" r="r" b="b"/>
              <a:pathLst>
                <a:path w="726" h="1765" extrusionOk="0">
                  <a:moveTo>
                    <a:pt x="379" y="0"/>
                  </a:moveTo>
                  <a:cubicBezTo>
                    <a:pt x="158" y="0"/>
                    <a:pt x="1" y="158"/>
                    <a:pt x="1" y="347"/>
                  </a:cubicBezTo>
                  <a:lnTo>
                    <a:pt x="1" y="1418"/>
                  </a:lnTo>
                  <a:cubicBezTo>
                    <a:pt x="1" y="1607"/>
                    <a:pt x="158" y="1764"/>
                    <a:pt x="379" y="1764"/>
                  </a:cubicBezTo>
                  <a:cubicBezTo>
                    <a:pt x="568" y="1764"/>
                    <a:pt x="725" y="1607"/>
                    <a:pt x="725" y="1418"/>
                  </a:cubicBezTo>
                  <a:lnTo>
                    <a:pt x="725" y="347"/>
                  </a:ln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8" name="Google Shape;6948;p73"/>
            <p:cNvSpPr/>
            <p:nvPr/>
          </p:nvSpPr>
          <p:spPr>
            <a:xfrm>
              <a:off x="5611275" y="1963925"/>
              <a:ext cx="35475" cy="34500"/>
            </a:xfrm>
            <a:custGeom>
              <a:avLst/>
              <a:gdLst/>
              <a:ahLst/>
              <a:cxnLst/>
              <a:rect l="l" t="t" r="r" b="b"/>
              <a:pathLst>
                <a:path w="1419" h="1380" extrusionOk="0">
                  <a:moveTo>
                    <a:pt x="1076" y="1"/>
                  </a:moveTo>
                  <a:cubicBezTo>
                    <a:pt x="985" y="1"/>
                    <a:pt x="899" y="32"/>
                    <a:pt x="851" y="95"/>
                  </a:cubicBezTo>
                  <a:lnTo>
                    <a:pt x="127" y="788"/>
                  </a:lnTo>
                  <a:cubicBezTo>
                    <a:pt x="1" y="914"/>
                    <a:pt x="1" y="1166"/>
                    <a:pt x="127" y="1261"/>
                  </a:cubicBezTo>
                  <a:cubicBezTo>
                    <a:pt x="190" y="1340"/>
                    <a:pt x="284" y="1379"/>
                    <a:pt x="375" y="1379"/>
                  </a:cubicBezTo>
                  <a:cubicBezTo>
                    <a:pt x="466" y="1379"/>
                    <a:pt x="552" y="1340"/>
                    <a:pt x="599" y="1261"/>
                  </a:cubicBezTo>
                  <a:lnTo>
                    <a:pt x="1324" y="568"/>
                  </a:lnTo>
                  <a:cubicBezTo>
                    <a:pt x="1419" y="442"/>
                    <a:pt x="1419" y="221"/>
                    <a:pt x="1324" y="95"/>
                  </a:cubicBezTo>
                  <a:cubicBezTo>
                    <a:pt x="1261" y="32"/>
                    <a:pt x="1167" y="1"/>
                    <a:pt x="10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49" name="Google Shape;6949;p73"/>
            <p:cNvSpPr/>
            <p:nvPr/>
          </p:nvSpPr>
          <p:spPr>
            <a:xfrm>
              <a:off x="5664050" y="2067900"/>
              <a:ext cx="35475" cy="17350"/>
            </a:xfrm>
            <a:custGeom>
              <a:avLst/>
              <a:gdLst/>
              <a:ahLst/>
              <a:cxnLst/>
              <a:rect l="l" t="t" r="r" b="b"/>
              <a:pathLst>
                <a:path w="1419" h="694" extrusionOk="0">
                  <a:moveTo>
                    <a:pt x="347" y="0"/>
                  </a:moveTo>
                  <a:cubicBezTo>
                    <a:pt x="158" y="0"/>
                    <a:pt x="1" y="158"/>
                    <a:pt x="1" y="347"/>
                  </a:cubicBezTo>
                  <a:cubicBezTo>
                    <a:pt x="1" y="536"/>
                    <a:pt x="158" y="694"/>
                    <a:pt x="347" y="694"/>
                  </a:cubicBezTo>
                  <a:lnTo>
                    <a:pt x="1040" y="694"/>
                  </a:lnTo>
                  <a:cubicBezTo>
                    <a:pt x="1261" y="694"/>
                    <a:pt x="1418" y="536"/>
                    <a:pt x="1418" y="347"/>
                  </a:cubicBezTo>
                  <a:cubicBezTo>
                    <a:pt x="1418" y="158"/>
                    <a:pt x="1261"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0" name="Google Shape;6950;p73"/>
            <p:cNvSpPr/>
            <p:nvPr/>
          </p:nvSpPr>
          <p:spPr>
            <a:xfrm>
              <a:off x="5421475" y="2067900"/>
              <a:ext cx="35450" cy="17350"/>
            </a:xfrm>
            <a:custGeom>
              <a:avLst/>
              <a:gdLst/>
              <a:ahLst/>
              <a:cxnLst/>
              <a:rect l="l" t="t" r="r" b="b"/>
              <a:pathLst>
                <a:path w="1418" h="694" extrusionOk="0">
                  <a:moveTo>
                    <a:pt x="378" y="0"/>
                  </a:moveTo>
                  <a:cubicBezTo>
                    <a:pt x="158" y="0"/>
                    <a:pt x="0" y="158"/>
                    <a:pt x="0" y="347"/>
                  </a:cubicBezTo>
                  <a:cubicBezTo>
                    <a:pt x="0" y="536"/>
                    <a:pt x="158" y="694"/>
                    <a:pt x="378" y="694"/>
                  </a:cubicBezTo>
                  <a:lnTo>
                    <a:pt x="1071" y="694"/>
                  </a:lnTo>
                  <a:cubicBezTo>
                    <a:pt x="1260" y="694"/>
                    <a:pt x="1418" y="536"/>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1" name="Google Shape;6951;p73"/>
            <p:cNvSpPr/>
            <p:nvPr/>
          </p:nvSpPr>
          <p:spPr>
            <a:xfrm>
              <a:off x="5490000" y="1963925"/>
              <a:ext cx="35450" cy="33900"/>
            </a:xfrm>
            <a:custGeom>
              <a:avLst/>
              <a:gdLst/>
              <a:ahLst/>
              <a:cxnLst/>
              <a:rect l="l" t="t" r="r" b="b"/>
              <a:pathLst>
                <a:path w="1418" h="1356" extrusionOk="0">
                  <a:moveTo>
                    <a:pt x="343" y="1"/>
                  </a:moveTo>
                  <a:cubicBezTo>
                    <a:pt x="252" y="1"/>
                    <a:pt x="158" y="32"/>
                    <a:pt x="95" y="95"/>
                  </a:cubicBezTo>
                  <a:cubicBezTo>
                    <a:pt x="0" y="221"/>
                    <a:pt x="0" y="442"/>
                    <a:pt x="95" y="568"/>
                  </a:cubicBezTo>
                  <a:lnTo>
                    <a:pt x="819" y="1261"/>
                  </a:lnTo>
                  <a:cubicBezTo>
                    <a:pt x="866" y="1324"/>
                    <a:pt x="953" y="1356"/>
                    <a:pt x="1044" y="1356"/>
                  </a:cubicBezTo>
                  <a:cubicBezTo>
                    <a:pt x="1134" y="1356"/>
                    <a:pt x="1229" y="1324"/>
                    <a:pt x="1292" y="1261"/>
                  </a:cubicBezTo>
                  <a:cubicBezTo>
                    <a:pt x="1418" y="1166"/>
                    <a:pt x="1418" y="914"/>
                    <a:pt x="1292" y="788"/>
                  </a:cubicBezTo>
                  <a:lnTo>
                    <a:pt x="567" y="95"/>
                  </a:lnTo>
                  <a:cubicBezTo>
                    <a:pt x="520" y="32"/>
                    <a:pt x="433"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2" name="Google Shape;6952;p73"/>
            <p:cNvSpPr/>
            <p:nvPr/>
          </p:nvSpPr>
          <p:spPr>
            <a:xfrm>
              <a:off x="5437225" y="1997650"/>
              <a:ext cx="37825" cy="26325"/>
            </a:xfrm>
            <a:custGeom>
              <a:avLst/>
              <a:gdLst/>
              <a:ahLst/>
              <a:cxnLst/>
              <a:rect l="l" t="t" r="r" b="b"/>
              <a:pathLst>
                <a:path w="1513" h="1053" extrusionOk="0">
                  <a:moveTo>
                    <a:pt x="422" y="0"/>
                  </a:moveTo>
                  <a:cubicBezTo>
                    <a:pt x="285" y="0"/>
                    <a:pt x="140" y="81"/>
                    <a:pt x="95" y="196"/>
                  </a:cubicBezTo>
                  <a:cubicBezTo>
                    <a:pt x="0" y="353"/>
                    <a:pt x="95" y="574"/>
                    <a:pt x="252" y="668"/>
                  </a:cubicBezTo>
                  <a:lnTo>
                    <a:pt x="945" y="1015"/>
                  </a:lnTo>
                  <a:cubicBezTo>
                    <a:pt x="989" y="1041"/>
                    <a:pt x="1039" y="1052"/>
                    <a:pt x="1091" y="1052"/>
                  </a:cubicBezTo>
                  <a:cubicBezTo>
                    <a:pt x="1227" y="1052"/>
                    <a:pt x="1372" y="971"/>
                    <a:pt x="1418" y="857"/>
                  </a:cubicBezTo>
                  <a:cubicBezTo>
                    <a:pt x="1512" y="700"/>
                    <a:pt x="1418" y="479"/>
                    <a:pt x="1260" y="385"/>
                  </a:cubicBezTo>
                  <a:lnTo>
                    <a:pt x="567" y="38"/>
                  </a:lnTo>
                  <a:cubicBezTo>
                    <a:pt x="524" y="12"/>
                    <a:pt x="473" y="0"/>
                    <a:pt x="4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3" name="Google Shape;6953;p73"/>
            <p:cNvSpPr/>
            <p:nvPr/>
          </p:nvSpPr>
          <p:spPr>
            <a:xfrm>
              <a:off x="5645150" y="1998300"/>
              <a:ext cx="37825" cy="26900"/>
            </a:xfrm>
            <a:custGeom>
              <a:avLst/>
              <a:gdLst/>
              <a:ahLst/>
              <a:cxnLst/>
              <a:rect l="l" t="t" r="r" b="b"/>
              <a:pathLst>
                <a:path w="1513" h="1076" extrusionOk="0">
                  <a:moveTo>
                    <a:pt x="1098" y="0"/>
                  </a:moveTo>
                  <a:cubicBezTo>
                    <a:pt x="1046" y="0"/>
                    <a:pt x="994" y="14"/>
                    <a:pt x="946" y="44"/>
                  </a:cubicBezTo>
                  <a:lnTo>
                    <a:pt x="253" y="422"/>
                  </a:lnTo>
                  <a:cubicBezTo>
                    <a:pt x="95" y="485"/>
                    <a:pt x="1" y="674"/>
                    <a:pt x="95" y="894"/>
                  </a:cubicBezTo>
                  <a:cubicBezTo>
                    <a:pt x="142" y="1011"/>
                    <a:pt x="258" y="1076"/>
                    <a:pt x="405" y="1076"/>
                  </a:cubicBezTo>
                  <a:cubicBezTo>
                    <a:pt x="456" y="1076"/>
                    <a:pt x="511" y="1068"/>
                    <a:pt x="568" y="1052"/>
                  </a:cubicBezTo>
                  <a:lnTo>
                    <a:pt x="1261" y="674"/>
                  </a:lnTo>
                  <a:cubicBezTo>
                    <a:pt x="1418" y="611"/>
                    <a:pt x="1513" y="422"/>
                    <a:pt x="1418" y="201"/>
                  </a:cubicBezTo>
                  <a:cubicBezTo>
                    <a:pt x="1331" y="71"/>
                    <a:pt x="1214" y="0"/>
                    <a:pt x="10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6954" name="Google Shape;6954;p73"/>
          <p:cNvSpPr/>
          <p:nvPr/>
        </p:nvSpPr>
        <p:spPr>
          <a:xfrm>
            <a:off x="9432435" y="4514031"/>
            <a:ext cx="470899" cy="468420"/>
          </a:xfrm>
          <a:custGeom>
            <a:avLst/>
            <a:gdLst/>
            <a:ahLst/>
            <a:cxnLst/>
            <a:rect l="l" t="t" r="r" b="b"/>
            <a:pathLst>
              <a:path w="11973" h="11910" extrusionOk="0">
                <a:moveTo>
                  <a:pt x="11027" y="662"/>
                </a:moveTo>
                <a:lnTo>
                  <a:pt x="11027" y="1387"/>
                </a:lnTo>
                <a:lnTo>
                  <a:pt x="8601" y="1387"/>
                </a:lnTo>
                <a:cubicBezTo>
                  <a:pt x="8412" y="1387"/>
                  <a:pt x="8255" y="1229"/>
                  <a:pt x="8255" y="1040"/>
                </a:cubicBezTo>
                <a:cubicBezTo>
                  <a:pt x="8255" y="820"/>
                  <a:pt x="8412" y="662"/>
                  <a:pt x="8601" y="662"/>
                </a:cubicBezTo>
                <a:close/>
                <a:moveTo>
                  <a:pt x="10366" y="2048"/>
                </a:moveTo>
                <a:lnTo>
                  <a:pt x="10366" y="2773"/>
                </a:lnTo>
                <a:lnTo>
                  <a:pt x="7940" y="2773"/>
                </a:lnTo>
                <a:cubicBezTo>
                  <a:pt x="7926" y="2775"/>
                  <a:pt x="7912" y="2776"/>
                  <a:pt x="7899" y="2776"/>
                </a:cubicBezTo>
                <a:cubicBezTo>
                  <a:pt x="7728" y="2776"/>
                  <a:pt x="7593" y="2599"/>
                  <a:pt x="7593" y="2395"/>
                </a:cubicBezTo>
                <a:cubicBezTo>
                  <a:pt x="7593" y="2206"/>
                  <a:pt x="7751" y="2048"/>
                  <a:pt x="7940" y="2048"/>
                </a:cubicBezTo>
                <a:close/>
                <a:moveTo>
                  <a:pt x="11027" y="3466"/>
                </a:moveTo>
                <a:lnTo>
                  <a:pt x="11027" y="4191"/>
                </a:lnTo>
                <a:lnTo>
                  <a:pt x="8601" y="4191"/>
                </a:lnTo>
                <a:cubicBezTo>
                  <a:pt x="8412" y="4191"/>
                  <a:pt x="8255" y="4033"/>
                  <a:pt x="8255" y="3812"/>
                </a:cubicBezTo>
                <a:cubicBezTo>
                  <a:pt x="8255" y="3623"/>
                  <a:pt x="8412" y="3466"/>
                  <a:pt x="8601" y="3466"/>
                </a:cubicBezTo>
                <a:close/>
                <a:moveTo>
                  <a:pt x="1292" y="4884"/>
                </a:moveTo>
                <a:lnTo>
                  <a:pt x="1292" y="5608"/>
                </a:lnTo>
                <a:lnTo>
                  <a:pt x="568" y="5608"/>
                </a:lnTo>
                <a:lnTo>
                  <a:pt x="568" y="4884"/>
                </a:lnTo>
                <a:close/>
                <a:moveTo>
                  <a:pt x="11027" y="4884"/>
                </a:moveTo>
                <a:lnTo>
                  <a:pt x="11027" y="5608"/>
                </a:lnTo>
                <a:lnTo>
                  <a:pt x="6207" y="5608"/>
                </a:lnTo>
                <a:lnTo>
                  <a:pt x="6207" y="4884"/>
                </a:lnTo>
                <a:close/>
                <a:moveTo>
                  <a:pt x="3718" y="2080"/>
                </a:moveTo>
                <a:cubicBezTo>
                  <a:pt x="4663" y="2080"/>
                  <a:pt x="5482" y="2867"/>
                  <a:pt x="5482" y="3844"/>
                </a:cubicBezTo>
                <a:lnTo>
                  <a:pt x="5482" y="5955"/>
                </a:lnTo>
                <a:cubicBezTo>
                  <a:pt x="5482" y="6144"/>
                  <a:pt x="5325" y="6301"/>
                  <a:pt x="5136" y="6301"/>
                </a:cubicBezTo>
                <a:lnTo>
                  <a:pt x="2300" y="6301"/>
                </a:lnTo>
                <a:cubicBezTo>
                  <a:pt x="2111" y="6301"/>
                  <a:pt x="1954" y="6144"/>
                  <a:pt x="1954" y="5955"/>
                </a:cubicBezTo>
                <a:lnTo>
                  <a:pt x="1954" y="3844"/>
                </a:lnTo>
                <a:cubicBezTo>
                  <a:pt x="1954" y="2899"/>
                  <a:pt x="2742" y="2080"/>
                  <a:pt x="3718" y="2080"/>
                </a:cubicBezTo>
                <a:close/>
                <a:moveTo>
                  <a:pt x="11027" y="6301"/>
                </a:moveTo>
                <a:lnTo>
                  <a:pt x="11027" y="7688"/>
                </a:lnTo>
                <a:lnTo>
                  <a:pt x="7593" y="7688"/>
                </a:lnTo>
                <a:lnTo>
                  <a:pt x="7593" y="6301"/>
                </a:lnTo>
                <a:lnTo>
                  <a:pt x="8948" y="6301"/>
                </a:lnTo>
                <a:lnTo>
                  <a:pt x="8948" y="6648"/>
                </a:lnTo>
                <a:cubicBezTo>
                  <a:pt x="8948" y="6868"/>
                  <a:pt x="9106" y="7026"/>
                  <a:pt x="9326" y="7026"/>
                </a:cubicBezTo>
                <a:cubicBezTo>
                  <a:pt x="9515" y="7026"/>
                  <a:pt x="9673" y="6868"/>
                  <a:pt x="9673" y="6648"/>
                </a:cubicBezTo>
                <a:lnTo>
                  <a:pt x="9673" y="6301"/>
                </a:lnTo>
                <a:close/>
                <a:moveTo>
                  <a:pt x="4443" y="8349"/>
                </a:moveTo>
                <a:cubicBezTo>
                  <a:pt x="4852" y="8349"/>
                  <a:pt x="5293" y="8633"/>
                  <a:pt x="5419" y="9074"/>
                </a:cubicBezTo>
                <a:lnTo>
                  <a:pt x="2080" y="9074"/>
                </a:lnTo>
                <a:cubicBezTo>
                  <a:pt x="2237" y="8664"/>
                  <a:pt x="2616" y="8349"/>
                  <a:pt x="3057" y="8349"/>
                </a:cubicBezTo>
                <a:close/>
                <a:moveTo>
                  <a:pt x="11027" y="8349"/>
                </a:moveTo>
                <a:lnTo>
                  <a:pt x="11027" y="9735"/>
                </a:lnTo>
                <a:lnTo>
                  <a:pt x="7593" y="9735"/>
                </a:lnTo>
                <a:lnTo>
                  <a:pt x="7593" y="8349"/>
                </a:lnTo>
                <a:lnTo>
                  <a:pt x="8948" y="8349"/>
                </a:lnTo>
                <a:lnTo>
                  <a:pt x="8948" y="8696"/>
                </a:lnTo>
                <a:cubicBezTo>
                  <a:pt x="8948" y="8916"/>
                  <a:pt x="9106" y="9074"/>
                  <a:pt x="9326" y="9074"/>
                </a:cubicBezTo>
                <a:cubicBezTo>
                  <a:pt x="9515" y="9074"/>
                  <a:pt x="9673" y="8916"/>
                  <a:pt x="9673" y="8696"/>
                </a:cubicBezTo>
                <a:lnTo>
                  <a:pt x="9673" y="8349"/>
                </a:lnTo>
                <a:close/>
                <a:moveTo>
                  <a:pt x="8633" y="0"/>
                </a:moveTo>
                <a:cubicBezTo>
                  <a:pt x="8066" y="0"/>
                  <a:pt x="7625" y="473"/>
                  <a:pt x="7625" y="1040"/>
                </a:cubicBezTo>
                <a:cubicBezTo>
                  <a:pt x="7625" y="1135"/>
                  <a:pt x="7656" y="1292"/>
                  <a:pt x="7688" y="1418"/>
                </a:cubicBezTo>
                <a:cubicBezTo>
                  <a:pt x="7278" y="1544"/>
                  <a:pt x="6963" y="1922"/>
                  <a:pt x="6963" y="2395"/>
                </a:cubicBezTo>
                <a:cubicBezTo>
                  <a:pt x="6963" y="2678"/>
                  <a:pt x="7058" y="2962"/>
                  <a:pt x="7278" y="3151"/>
                </a:cubicBezTo>
                <a:cubicBezTo>
                  <a:pt x="7373" y="3308"/>
                  <a:pt x="7530" y="3403"/>
                  <a:pt x="7751" y="3434"/>
                </a:cubicBezTo>
                <a:cubicBezTo>
                  <a:pt x="7688" y="3560"/>
                  <a:pt x="7656" y="3655"/>
                  <a:pt x="7656" y="3812"/>
                </a:cubicBezTo>
                <a:cubicBezTo>
                  <a:pt x="7656" y="3939"/>
                  <a:pt x="7688" y="4065"/>
                  <a:pt x="7751" y="4191"/>
                </a:cubicBezTo>
                <a:lnTo>
                  <a:pt x="6270" y="4191"/>
                </a:lnTo>
                <a:lnTo>
                  <a:pt x="6270" y="3812"/>
                </a:lnTo>
                <a:cubicBezTo>
                  <a:pt x="6270" y="2489"/>
                  <a:pt x="5167" y="1387"/>
                  <a:pt x="3844" y="1387"/>
                </a:cubicBezTo>
                <a:cubicBezTo>
                  <a:pt x="2490" y="1387"/>
                  <a:pt x="1387" y="2489"/>
                  <a:pt x="1387" y="3812"/>
                </a:cubicBezTo>
                <a:lnTo>
                  <a:pt x="1387" y="4191"/>
                </a:lnTo>
                <a:lnTo>
                  <a:pt x="379" y="4191"/>
                </a:lnTo>
                <a:cubicBezTo>
                  <a:pt x="158" y="4191"/>
                  <a:pt x="1" y="4348"/>
                  <a:pt x="1" y="4537"/>
                </a:cubicBezTo>
                <a:lnTo>
                  <a:pt x="1" y="11500"/>
                </a:lnTo>
                <a:cubicBezTo>
                  <a:pt x="1" y="11689"/>
                  <a:pt x="158" y="11846"/>
                  <a:pt x="379" y="11846"/>
                </a:cubicBezTo>
                <a:cubicBezTo>
                  <a:pt x="568" y="11846"/>
                  <a:pt x="725" y="11689"/>
                  <a:pt x="725" y="11500"/>
                </a:cubicBezTo>
                <a:lnTo>
                  <a:pt x="725" y="6301"/>
                </a:lnTo>
                <a:lnTo>
                  <a:pt x="1481" y="6301"/>
                </a:lnTo>
                <a:cubicBezTo>
                  <a:pt x="1639" y="6711"/>
                  <a:pt x="1985" y="7026"/>
                  <a:pt x="2458" y="7026"/>
                </a:cubicBezTo>
                <a:lnTo>
                  <a:pt x="3529" y="7026"/>
                </a:lnTo>
                <a:lnTo>
                  <a:pt x="3529" y="7719"/>
                </a:lnTo>
                <a:lnTo>
                  <a:pt x="3151" y="7719"/>
                </a:lnTo>
                <a:cubicBezTo>
                  <a:pt x="2237" y="7719"/>
                  <a:pt x="1387" y="8507"/>
                  <a:pt x="1387" y="9452"/>
                </a:cubicBezTo>
                <a:cubicBezTo>
                  <a:pt x="1387" y="9641"/>
                  <a:pt x="1544" y="9798"/>
                  <a:pt x="1733" y="9798"/>
                </a:cubicBezTo>
                <a:lnTo>
                  <a:pt x="3529" y="9798"/>
                </a:lnTo>
                <a:lnTo>
                  <a:pt x="3529" y="10523"/>
                </a:lnTo>
                <a:lnTo>
                  <a:pt x="2458" y="10523"/>
                </a:lnTo>
                <a:cubicBezTo>
                  <a:pt x="1859" y="10523"/>
                  <a:pt x="1418" y="10996"/>
                  <a:pt x="1418" y="11531"/>
                </a:cubicBezTo>
                <a:cubicBezTo>
                  <a:pt x="1418" y="11752"/>
                  <a:pt x="1576" y="11909"/>
                  <a:pt x="1796" y="11909"/>
                </a:cubicBezTo>
                <a:cubicBezTo>
                  <a:pt x="1985" y="11909"/>
                  <a:pt x="2143" y="11752"/>
                  <a:pt x="2143" y="11531"/>
                </a:cubicBezTo>
                <a:cubicBezTo>
                  <a:pt x="2143" y="11342"/>
                  <a:pt x="2300" y="11185"/>
                  <a:pt x="2490" y="11185"/>
                </a:cubicBezTo>
                <a:lnTo>
                  <a:pt x="3561" y="11185"/>
                </a:lnTo>
                <a:lnTo>
                  <a:pt x="3561" y="11531"/>
                </a:lnTo>
                <a:cubicBezTo>
                  <a:pt x="3561" y="11752"/>
                  <a:pt x="3718" y="11909"/>
                  <a:pt x="3907" y="11909"/>
                </a:cubicBezTo>
                <a:cubicBezTo>
                  <a:pt x="4096" y="11909"/>
                  <a:pt x="4254" y="11752"/>
                  <a:pt x="4254" y="11531"/>
                </a:cubicBezTo>
                <a:lnTo>
                  <a:pt x="4254" y="11185"/>
                </a:lnTo>
                <a:lnTo>
                  <a:pt x="5325" y="11185"/>
                </a:lnTo>
                <a:cubicBezTo>
                  <a:pt x="5514" y="11185"/>
                  <a:pt x="5672" y="11342"/>
                  <a:pt x="5672" y="11531"/>
                </a:cubicBezTo>
                <a:cubicBezTo>
                  <a:pt x="5672" y="11752"/>
                  <a:pt x="5829" y="11909"/>
                  <a:pt x="6050" y="11909"/>
                </a:cubicBezTo>
                <a:cubicBezTo>
                  <a:pt x="6239" y="11909"/>
                  <a:pt x="6396" y="11752"/>
                  <a:pt x="6396" y="11531"/>
                </a:cubicBezTo>
                <a:cubicBezTo>
                  <a:pt x="6396" y="10964"/>
                  <a:pt x="5924" y="10523"/>
                  <a:pt x="5356" y="10523"/>
                </a:cubicBezTo>
                <a:lnTo>
                  <a:pt x="4317" y="10523"/>
                </a:lnTo>
                <a:lnTo>
                  <a:pt x="4317" y="9798"/>
                </a:lnTo>
                <a:lnTo>
                  <a:pt x="6081" y="9798"/>
                </a:lnTo>
                <a:cubicBezTo>
                  <a:pt x="6270" y="9798"/>
                  <a:pt x="6428" y="9641"/>
                  <a:pt x="6428" y="9452"/>
                </a:cubicBezTo>
                <a:cubicBezTo>
                  <a:pt x="6428" y="8507"/>
                  <a:pt x="5640" y="7719"/>
                  <a:pt x="4663" y="7719"/>
                </a:cubicBezTo>
                <a:lnTo>
                  <a:pt x="4317" y="7719"/>
                </a:lnTo>
                <a:lnTo>
                  <a:pt x="4317" y="7026"/>
                </a:lnTo>
                <a:lnTo>
                  <a:pt x="5356" y="7026"/>
                </a:lnTo>
                <a:cubicBezTo>
                  <a:pt x="5798" y="7026"/>
                  <a:pt x="6207" y="6742"/>
                  <a:pt x="6365" y="6301"/>
                </a:cubicBezTo>
                <a:lnTo>
                  <a:pt x="7089" y="6301"/>
                </a:lnTo>
                <a:lnTo>
                  <a:pt x="7089" y="11500"/>
                </a:lnTo>
                <a:cubicBezTo>
                  <a:pt x="7089" y="11689"/>
                  <a:pt x="7247" y="11846"/>
                  <a:pt x="7467" y="11846"/>
                </a:cubicBezTo>
                <a:cubicBezTo>
                  <a:pt x="7656" y="11846"/>
                  <a:pt x="7814" y="11689"/>
                  <a:pt x="7814" y="11500"/>
                </a:cubicBezTo>
                <a:lnTo>
                  <a:pt x="7814" y="10492"/>
                </a:lnTo>
                <a:lnTo>
                  <a:pt x="11279" y="10492"/>
                </a:lnTo>
                <a:lnTo>
                  <a:pt x="11279" y="11500"/>
                </a:lnTo>
                <a:cubicBezTo>
                  <a:pt x="11279" y="11689"/>
                  <a:pt x="11437" y="11846"/>
                  <a:pt x="11626" y="11846"/>
                </a:cubicBezTo>
                <a:cubicBezTo>
                  <a:pt x="11815" y="11846"/>
                  <a:pt x="11972" y="11689"/>
                  <a:pt x="11972" y="11500"/>
                </a:cubicBezTo>
                <a:lnTo>
                  <a:pt x="11972" y="3151"/>
                </a:lnTo>
                <a:cubicBezTo>
                  <a:pt x="11972" y="2962"/>
                  <a:pt x="11815" y="2804"/>
                  <a:pt x="11626" y="2804"/>
                </a:cubicBezTo>
                <a:lnTo>
                  <a:pt x="11279" y="2804"/>
                </a:lnTo>
                <a:lnTo>
                  <a:pt x="11279" y="2080"/>
                </a:lnTo>
                <a:lnTo>
                  <a:pt x="11626" y="2080"/>
                </a:lnTo>
                <a:cubicBezTo>
                  <a:pt x="11815" y="2080"/>
                  <a:pt x="11972" y="1922"/>
                  <a:pt x="11972" y="1733"/>
                </a:cubicBezTo>
                <a:lnTo>
                  <a:pt x="11972" y="347"/>
                </a:lnTo>
                <a:cubicBezTo>
                  <a:pt x="11752" y="158"/>
                  <a:pt x="11594" y="0"/>
                  <a:pt x="114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6955" name="Google Shape;6955;p73"/>
          <p:cNvGrpSpPr/>
          <p:nvPr/>
        </p:nvGrpSpPr>
        <p:grpSpPr>
          <a:xfrm>
            <a:off x="9434493" y="5197431"/>
            <a:ext cx="467161" cy="299891"/>
            <a:chOff x="5411225" y="2726350"/>
            <a:chExt cx="296950" cy="190625"/>
          </a:xfrm>
        </p:grpSpPr>
        <p:sp>
          <p:nvSpPr>
            <p:cNvPr id="6956" name="Google Shape;6956;p73"/>
            <p:cNvSpPr/>
            <p:nvPr/>
          </p:nvSpPr>
          <p:spPr>
            <a:xfrm>
              <a:off x="5534100" y="2794875"/>
              <a:ext cx="52000" cy="51225"/>
            </a:xfrm>
            <a:custGeom>
              <a:avLst/>
              <a:gdLst/>
              <a:ahLst/>
              <a:cxnLst/>
              <a:rect l="l" t="t" r="r" b="b"/>
              <a:pathLst>
                <a:path w="2080" h="2049" extrusionOk="0">
                  <a:moveTo>
                    <a:pt x="1009" y="662"/>
                  </a:moveTo>
                  <a:cubicBezTo>
                    <a:pt x="1229" y="662"/>
                    <a:pt x="1387" y="851"/>
                    <a:pt x="1387" y="1040"/>
                  </a:cubicBezTo>
                  <a:cubicBezTo>
                    <a:pt x="1387" y="1229"/>
                    <a:pt x="1229" y="1387"/>
                    <a:pt x="1009" y="1387"/>
                  </a:cubicBezTo>
                  <a:cubicBezTo>
                    <a:pt x="819" y="1387"/>
                    <a:pt x="662" y="1229"/>
                    <a:pt x="662" y="1040"/>
                  </a:cubicBezTo>
                  <a:cubicBezTo>
                    <a:pt x="662" y="851"/>
                    <a:pt x="819" y="662"/>
                    <a:pt x="1009" y="662"/>
                  </a:cubicBezTo>
                  <a:close/>
                  <a:moveTo>
                    <a:pt x="1009" y="0"/>
                  </a:moveTo>
                  <a:cubicBezTo>
                    <a:pt x="441" y="0"/>
                    <a:pt x="0" y="473"/>
                    <a:pt x="0" y="1040"/>
                  </a:cubicBezTo>
                  <a:cubicBezTo>
                    <a:pt x="0" y="1639"/>
                    <a:pt x="473" y="2048"/>
                    <a:pt x="1009" y="2048"/>
                  </a:cubicBezTo>
                  <a:cubicBezTo>
                    <a:pt x="1607" y="2048"/>
                    <a:pt x="2048" y="1576"/>
                    <a:pt x="2048" y="1040"/>
                  </a:cubicBezTo>
                  <a:cubicBezTo>
                    <a:pt x="2080" y="473"/>
                    <a:pt x="1607"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57" name="Google Shape;6957;p73"/>
            <p:cNvSpPr/>
            <p:nvPr/>
          </p:nvSpPr>
          <p:spPr>
            <a:xfrm>
              <a:off x="5411225" y="2726350"/>
              <a:ext cx="296950" cy="190625"/>
            </a:xfrm>
            <a:custGeom>
              <a:avLst/>
              <a:gdLst/>
              <a:ahLst/>
              <a:cxnLst/>
              <a:rect l="l" t="t" r="r" b="b"/>
              <a:pathLst>
                <a:path w="11878" h="7625" extrusionOk="0">
                  <a:moveTo>
                    <a:pt x="5924" y="662"/>
                  </a:moveTo>
                  <a:cubicBezTo>
                    <a:pt x="7404" y="662"/>
                    <a:pt x="8759" y="1576"/>
                    <a:pt x="9641" y="2332"/>
                  </a:cubicBezTo>
                  <a:cubicBezTo>
                    <a:pt x="9736" y="2395"/>
                    <a:pt x="9830" y="2489"/>
                    <a:pt x="9925" y="2584"/>
                  </a:cubicBezTo>
                  <a:cubicBezTo>
                    <a:pt x="8696" y="2080"/>
                    <a:pt x="7278" y="1733"/>
                    <a:pt x="5924" y="1733"/>
                  </a:cubicBezTo>
                  <a:cubicBezTo>
                    <a:pt x="4569" y="1733"/>
                    <a:pt x="3183" y="2080"/>
                    <a:pt x="1954" y="2584"/>
                  </a:cubicBezTo>
                  <a:cubicBezTo>
                    <a:pt x="2048" y="2521"/>
                    <a:pt x="2111" y="2458"/>
                    <a:pt x="2206" y="2395"/>
                  </a:cubicBezTo>
                  <a:cubicBezTo>
                    <a:pt x="3151" y="1544"/>
                    <a:pt x="4474" y="662"/>
                    <a:pt x="5924" y="662"/>
                  </a:cubicBezTo>
                  <a:close/>
                  <a:moveTo>
                    <a:pt x="5924" y="2426"/>
                  </a:moveTo>
                  <a:cubicBezTo>
                    <a:pt x="6333" y="2426"/>
                    <a:pt x="6711" y="2489"/>
                    <a:pt x="7089" y="2521"/>
                  </a:cubicBezTo>
                  <a:cubicBezTo>
                    <a:pt x="7467" y="2836"/>
                    <a:pt x="7656" y="3308"/>
                    <a:pt x="7656" y="3813"/>
                  </a:cubicBezTo>
                  <a:cubicBezTo>
                    <a:pt x="7656" y="4758"/>
                    <a:pt x="6869" y="5545"/>
                    <a:pt x="5924" y="5545"/>
                  </a:cubicBezTo>
                  <a:cubicBezTo>
                    <a:pt x="4978" y="5545"/>
                    <a:pt x="4191" y="4758"/>
                    <a:pt x="4191" y="3813"/>
                  </a:cubicBezTo>
                  <a:cubicBezTo>
                    <a:pt x="4191" y="3308"/>
                    <a:pt x="4411" y="2836"/>
                    <a:pt x="4789" y="2521"/>
                  </a:cubicBezTo>
                  <a:cubicBezTo>
                    <a:pt x="5136" y="2489"/>
                    <a:pt x="5545" y="2426"/>
                    <a:pt x="5924" y="2426"/>
                  </a:cubicBezTo>
                  <a:close/>
                  <a:moveTo>
                    <a:pt x="3781" y="2710"/>
                  </a:moveTo>
                  <a:lnTo>
                    <a:pt x="3781" y="2710"/>
                  </a:lnTo>
                  <a:cubicBezTo>
                    <a:pt x="3624" y="3056"/>
                    <a:pt x="3498" y="3434"/>
                    <a:pt x="3498" y="3813"/>
                  </a:cubicBezTo>
                  <a:cubicBezTo>
                    <a:pt x="3498" y="5167"/>
                    <a:pt x="4600" y="6270"/>
                    <a:pt x="5924" y="6270"/>
                  </a:cubicBezTo>
                  <a:cubicBezTo>
                    <a:pt x="7278" y="6270"/>
                    <a:pt x="8381" y="5167"/>
                    <a:pt x="8381" y="3813"/>
                  </a:cubicBezTo>
                  <a:cubicBezTo>
                    <a:pt x="8381" y="3434"/>
                    <a:pt x="8286" y="3056"/>
                    <a:pt x="8097" y="2710"/>
                  </a:cubicBezTo>
                  <a:lnTo>
                    <a:pt x="8097" y="2710"/>
                  </a:lnTo>
                  <a:cubicBezTo>
                    <a:pt x="9137" y="2993"/>
                    <a:pt x="10145" y="3434"/>
                    <a:pt x="11027" y="3907"/>
                  </a:cubicBezTo>
                  <a:cubicBezTo>
                    <a:pt x="10744" y="4222"/>
                    <a:pt x="10240" y="4789"/>
                    <a:pt x="9547" y="5356"/>
                  </a:cubicBezTo>
                  <a:cubicBezTo>
                    <a:pt x="8601" y="6144"/>
                    <a:pt x="7310" y="6932"/>
                    <a:pt x="5924" y="6932"/>
                  </a:cubicBezTo>
                  <a:cubicBezTo>
                    <a:pt x="4474" y="6932"/>
                    <a:pt x="3088" y="6018"/>
                    <a:pt x="2237" y="5262"/>
                  </a:cubicBezTo>
                  <a:cubicBezTo>
                    <a:pt x="1607" y="4726"/>
                    <a:pt x="1135" y="4222"/>
                    <a:pt x="851" y="3907"/>
                  </a:cubicBezTo>
                  <a:cubicBezTo>
                    <a:pt x="1733" y="3371"/>
                    <a:pt x="2710" y="2962"/>
                    <a:pt x="3781" y="2710"/>
                  </a:cubicBezTo>
                  <a:close/>
                  <a:moveTo>
                    <a:pt x="5924" y="0"/>
                  </a:moveTo>
                  <a:cubicBezTo>
                    <a:pt x="4411" y="0"/>
                    <a:pt x="2931" y="820"/>
                    <a:pt x="1765" y="1796"/>
                  </a:cubicBezTo>
                  <a:cubicBezTo>
                    <a:pt x="725" y="2678"/>
                    <a:pt x="95" y="3592"/>
                    <a:pt x="64" y="3624"/>
                  </a:cubicBezTo>
                  <a:cubicBezTo>
                    <a:pt x="1" y="3750"/>
                    <a:pt x="1" y="3907"/>
                    <a:pt x="64" y="4002"/>
                  </a:cubicBezTo>
                  <a:cubicBezTo>
                    <a:pt x="95" y="4065"/>
                    <a:pt x="725" y="4915"/>
                    <a:pt x="1765" y="5829"/>
                  </a:cubicBezTo>
                  <a:cubicBezTo>
                    <a:pt x="2931" y="6805"/>
                    <a:pt x="4348" y="7625"/>
                    <a:pt x="5924" y="7625"/>
                  </a:cubicBezTo>
                  <a:cubicBezTo>
                    <a:pt x="7436" y="7625"/>
                    <a:pt x="8759" y="6900"/>
                    <a:pt x="9925" y="5955"/>
                  </a:cubicBezTo>
                  <a:cubicBezTo>
                    <a:pt x="10712" y="5325"/>
                    <a:pt x="11374" y="4600"/>
                    <a:pt x="11815" y="4002"/>
                  </a:cubicBezTo>
                  <a:cubicBezTo>
                    <a:pt x="11878" y="3907"/>
                    <a:pt x="11878" y="3750"/>
                    <a:pt x="11815" y="3624"/>
                  </a:cubicBezTo>
                  <a:cubicBezTo>
                    <a:pt x="11752" y="3592"/>
                    <a:pt x="11122" y="2710"/>
                    <a:pt x="10114" y="1796"/>
                  </a:cubicBezTo>
                  <a:cubicBezTo>
                    <a:pt x="8916" y="820"/>
                    <a:pt x="7499" y="0"/>
                    <a:pt x="59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58" name="Google Shape;6958;p73"/>
          <p:cNvGrpSpPr/>
          <p:nvPr/>
        </p:nvGrpSpPr>
        <p:grpSpPr>
          <a:xfrm>
            <a:off x="8247872" y="5716461"/>
            <a:ext cx="468381" cy="435187"/>
            <a:chOff x="6524150" y="1938725"/>
            <a:chExt cx="297725" cy="276625"/>
          </a:xfrm>
        </p:grpSpPr>
        <p:sp>
          <p:nvSpPr>
            <p:cNvPr id="6959" name="Google Shape;6959;p73"/>
            <p:cNvSpPr/>
            <p:nvPr/>
          </p:nvSpPr>
          <p:spPr>
            <a:xfrm>
              <a:off x="6524150" y="2025375"/>
              <a:ext cx="297725" cy="189975"/>
            </a:xfrm>
            <a:custGeom>
              <a:avLst/>
              <a:gdLst/>
              <a:ahLst/>
              <a:cxnLst/>
              <a:rect l="l" t="t" r="r" b="b"/>
              <a:pathLst>
                <a:path w="11909" h="7599" extrusionOk="0">
                  <a:moveTo>
                    <a:pt x="9767" y="2079"/>
                  </a:moveTo>
                  <a:lnTo>
                    <a:pt x="9767" y="5198"/>
                  </a:lnTo>
                  <a:cubicBezTo>
                    <a:pt x="9735" y="5041"/>
                    <a:pt x="9672" y="4915"/>
                    <a:pt x="9546" y="4789"/>
                  </a:cubicBezTo>
                  <a:lnTo>
                    <a:pt x="7813" y="3056"/>
                  </a:lnTo>
                  <a:cubicBezTo>
                    <a:pt x="7624" y="2867"/>
                    <a:pt x="7341" y="2741"/>
                    <a:pt x="7057" y="2741"/>
                  </a:cubicBezTo>
                  <a:lnTo>
                    <a:pt x="6018" y="2741"/>
                  </a:lnTo>
                  <a:cubicBezTo>
                    <a:pt x="5923" y="2741"/>
                    <a:pt x="5797" y="2836"/>
                    <a:pt x="5734" y="2930"/>
                  </a:cubicBezTo>
                  <a:lnTo>
                    <a:pt x="5482" y="3403"/>
                  </a:lnTo>
                  <a:cubicBezTo>
                    <a:pt x="5293" y="3812"/>
                    <a:pt x="4883" y="4001"/>
                    <a:pt x="4505" y="4001"/>
                  </a:cubicBezTo>
                  <a:lnTo>
                    <a:pt x="5356" y="2269"/>
                  </a:lnTo>
                  <a:cubicBezTo>
                    <a:pt x="5419" y="2143"/>
                    <a:pt x="5576" y="2079"/>
                    <a:pt x="5671" y="2079"/>
                  </a:cubicBezTo>
                  <a:close/>
                  <a:moveTo>
                    <a:pt x="1418" y="2079"/>
                  </a:moveTo>
                  <a:lnTo>
                    <a:pt x="1418" y="5545"/>
                  </a:lnTo>
                  <a:lnTo>
                    <a:pt x="725" y="5545"/>
                  </a:lnTo>
                  <a:lnTo>
                    <a:pt x="725" y="2079"/>
                  </a:lnTo>
                  <a:close/>
                  <a:moveTo>
                    <a:pt x="11153" y="2079"/>
                  </a:moveTo>
                  <a:lnTo>
                    <a:pt x="11153" y="5545"/>
                  </a:lnTo>
                  <a:lnTo>
                    <a:pt x="10460" y="5545"/>
                  </a:lnTo>
                  <a:lnTo>
                    <a:pt x="10460" y="2079"/>
                  </a:lnTo>
                  <a:close/>
                  <a:moveTo>
                    <a:pt x="6931" y="630"/>
                  </a:moveTo>
                  <a:cubicBezTo>
                    <a:pt x="6774" y="1008"/>
                    <a:pt x="6427" y="1323"/>
                    <a:pt x="5955" y="1323"/>
                  </a:cubicBezTo>
                  <a:lnTo>
                    <a:pt x="5671" y="1323"/>
                  </a:lnTo>
                  <a:cubicBezTo>
                    <a:pt x="5293" y="1323"/>
                    <a:pt x="4946" y="1575"/>
                    <a:pt x="4726" y="1922"/>
                  </a:cubicBezTo>
                  <a:lnTo>
                    <a:pt x="3655" y="4064"/>
                  </a:lnTo>
                  <a:cubicBezTo>
                    <a:pt x="3623" y="4127"/>
                    <a:pt x="3623" y="4253"/>
                    <a:pt x="3655" y="4316"/>
                  </a:cubicBezTo>
                  <a:cubicBezTo>
                    <a:pt x="3718" y="4411"/>
                    <a:pt x="3781" y="4474"/>
                    <a:pt x="3875" y="4537"/>
                  </a:cubicBezTo>
                  <a:cubicBezTo>
                    <a:pt x="4088" y="4627"/>
                    <a:pt x="4310" y="4670"/>
                    <a:pt x="4532" y="4670"/>
                  </a:cubicBezTo>
                  <a:cubicBezTo>
                    <a:pt x="5165" y="4670"/>
                    <a:pt x="5785" y="4316"/>
                    <a:pt x="6112" y="3686"/>
                  </a:cubicBezTo>
                  <a:lnTo>
                    <a:pt x="6238" y="3434"/>
                  </a:lnTo>
                  <a:lnTo>
                    <a:pt x="7026" y="3434"/>
                  </a:lnTo>
                  <a:cubicBezTo>
                    <a:pt x="7089" y="3434"/>
                    <a:pt x="7215" y="3466"/>
                    <a:pt x="7246" y="3529"/>
                  </a:cubicBezTo>
                  <a:lnTo>
                    <a:pt x="8979" y="5261"/>
                  </a:lnTo>
                  <a:cubicBezTo>
                    <a:pt x="9137" y="5419"/>
                    <a:pt x="9137" y="5545"/>
                    <a:pt x="9105" y="5640"/>
                  </a:cubicBezTo>
                  <a:cubicBezTo>
                    <a:pt x="9105" y="5671"/>
                    <a:pt x="9042" y="5829"/>
                    <a:pt x="8885" y="5860"/>
                  </a:cubicBezTo>
                  <a:lnTo>
                    <a:pt x="5576" y="6805"/>
                  </a:lnTo>
                  <a:cubicBezTo>
                    <a:pt x="5543" y="6814"/>
                    <a:pt x="5507" y="6818"/>
                    <a:pt x="5470" y="6818"/>
                  </a:cubicBezTo>
                  <a:cubicBezTo>
                    <a:pt x="5371" y="6818"/>
                    <a:pt x="5268" y="6788"/>
                    <a:pt x="5198" y="6742"/>
                  </a:cubicBezTo>
                  <a:lnTo>
                    <a:pt x="4096" y="5640"/>
                  </a:lnTo>
                  <a:cubicBezTo>
                    <a:pt x="4033" y="5545"/>
                    <a:pt x="3938" y="5514"/>
                    <a:pt x="3875" y="5514"/>
                  </a:cubicBezTo>
                  <a:lnTo>
                    <a:pt x="2111" y="5514"/>
                  </a:lnTo>
                  <a:lnTo>
                    <a:pt x="2111" y="2048"/>
                  </a:lnTo>
                  <a:lnTo>
                    <a:pt x="2741" y="2048"/>
                  </a:lnTo>
                  <a:cubicBezTo>
                    <a:pt x="3119" y="2048"/>
                    <a:pt x="3466" y="1796"/>
                    <a:pt x="3686" y="1449"/>
                  </a:cubicBezTo>
                  <a:lnTo>
                    <a:pt x="4001" y="819"/>
                  </a:lnTo>
                  <a:cubicBezTo>
                    <a:pt x="4064" y="693"/>
                    <a:pt x="4190" y="630"/>
                    <a:pt x="4316" y="630"/>
                  </a:cubicBezTo>
                  <a:close/>
                  <a:moveTo>
                    <a:pt x="4316" y="0"/>
                  </a:moveTo>
                  <a:cubicBezTo>
                    <a:pt x="3907" y="0"/>
                    <a:pt x="3560" y="221"/>
                    <a:pt x="3371" y="599"/>
                  </a:cubicBezTo>
                  <a:lnTo>
                    <a:pt x="3056" y="1229"/>
                  </a:lnTo>
                  <a:cubicBezTo>
                    <a:pt x="2962" y="1323"/>
                    <a:pt x="2836" y="1418"/>
                    <a:pt x="2741" y="1418"/>
                  </a:cubicBezTo>
                  <a:lnTo>
                    <a:pt x="378" y="1418"/>
                  </a:lnTo>
                  <a:cubicBezTo>
                    <a:pt x="158" y="1418"/>
                    <a:pt x="0" y="1575"/>
                    <a:pt x="0" y="1764"/>
                  </a:cubicBezTo>
                  <a:lnTo>
                    <a:pt x="0" y="5955"/>
                  </a:lnTo>
                  <a:cubicBezTo>
                    <a:pt x="0" y="6144"/>
                    <a:pt x="158" y="6301"/>
                    <a:pt x="378" y="6301"/>
                  </a:cubicBezTo>
                  <a:lnTo>
                    <a:pt x="3718" y="6301"/>
                  </a:lnTo>
                  <a:lnTo>
                    <a:pt x="4694" y="7278"/>
                  </a:lnTo>
                  <a:cubicBezTo>
                    <a:pt x="4894" y="7477"/>
                    <a:pt x="5139" y="7598"/>
                    <a:pt x="5410" y="7598"/>
                  </a:cubicBezTo>
                  <a:cubicBezTo>
                    <a:pt x="5525" y="7598"/>
                    <a:pt x="5644" y="7577"/>
                    <a:pt x="5766" y="7530"/>
                  </a:cubicBezTo>
                  <a:lnTo>
                    <a:pt x="9074" y="6553"/>
                  </a:lnTo>
                  <a:cubicBezTo>
                    <a:pt x="9263" y="6522"/>
                    <a:pt x="9420" y="6396"/>
                    <a:pt x="9578" y="6238"/>
                  </a:cubicBezTo>
                  <a:lnTo>
                    <a:pt x="11562" y="6238"/>
                  </a:lnTo>
                  <a:cubicBezTo>
                    <a:pt x="11751" y="6238"/>
                    <a:pt x="11909" y="6081"/>
                    <a:pt x="11909" y="5892"/>
                  </a:cubicBezTo>
                  <a:lnTo>
                    <a:pt x="11909" y="1733"/>
                  </a:lnTo>
                  <a:cubicBezTo>
                    <a:pt x="11877" y="1544"/>
                    <a:pt x="11720" y="1386"/>
                    <a:pt x="11499" y="1386"/>
                  </a:cubicBezTo>
                  <a:lnTo>
                    <a:pt x="7341" y="1386"/>
                  </a:lnTo>
                  <a:cubicBezTo>
                    <a:pt x="7561" y="1103"/>
                    <a:pt x="7687" y="693"/>
                    <a:pt x="7687" y="347"/>
                  </a:cubicBezTo>
                  <a:cubicBezTo>
                    <a:pt x="7687" y="158"/>
                    <a:pt x="7530" y="0"/>
                    <a:pt x="73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0" name="Google Shape;6960;p73"/>
            <p:cNvSpPr/>
            <p:nvPr/>
          </p:nvSpPr>
          <p:spPr>
            <a:xfrm>
              <a:off x="6664325" y="1938725"/>
              <a:ext cx="17375" cy="43350"/>
            </a:xfrm>
            <a:custGeom>
              <a:avLst/>
              <a:gdLst/>
              <a:ahLst/>
              <a:cxnLst/>
              <a:rect l="l" t="t" r="r" b="b"/>
              <a:pathLst>
                <a:path w="695" h="1734" extrusionOk="0">
                  <a:moveTo>
                    <a:pt x="348" y="1"/>
                  </a:moveTo>
                  <a:cubicBezTo>
                    <a:pt x="159" y="1"/>
                    <a:pt x="1" y="158"/>
                    <a:pt x="1" y="347"/>
                  </a:cubicBezTo>
                  <a:lnTo>
                    <a:pt x="1" y="1355"/>
                  </a:lnTo>
                  <a:cubicBezTo>
                    <a:pt x="1" y="1576"/>
                    <a:pt x="159" y="1733"/>
                    <a:pt x="348" y="1733"/>
                  </a:cubicBezTo>
                  <a:cubicBezTo>
                    <a:pt x="537" y="1733"/>
                    <a:pt x="694" y="1576"/>
                    <a:pt x="694" y="1355"/>
                  </a:cubicBezTo>
                  <a:lnTo>
                    <a:pt x="694" y="347"/>
                  </a:lnTo>
                  <a:cubicBezTo>
                    <a:pt x="694" y="158"/>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1" name="Google Shape;6961;p73"/>
            <p:cNvSpPr/>
            <p:nvPr/>
          </p:nvSpPr>
          <p:spPr>
            <a:xfrm>
              <a:off x="6594250" y="1972800"/>
              <a:ext cx="35450" cy="35275"/>
            </a:xfrm>
            <a:custGeom>
              <a:avLst/>
              <a:gdLst/>
              <a:ahLst/>
              <a:cxnLst/>
              <a:rect l="l" t="t" r="r" b="b"/>
              <a:pathLst>
                <a:path w="1418" h="1411" extrusionOk="0">
                  <a:moveTo>
                    <a:pt x="374" y="0"/>
                  </a:moveTo>
                  <a:cubicBezTo>
                    <a:pt x="291" y="0"/>
                    <a:pt x="205" y="40"/>
                    <a:pt x="126" y="118"/>
                  </a:cubicBezTo>
                  <a:cubicBezTo>
                    <a:pt x="0" y="244"/>
                    <a:pt x="0" y="496"/>
                    <a:pt x="126" y="591"/>
                  </a:cubicBezTo>
                  <a:lnTo>
                    <a:pt x="819" y="1316"/>
                  </a:lnTo>
                  <a:cubicBezTo>
                    <a:pt x="882" y="1379"/>
                    <a:pt x="969" y="1410"/>
                    <a:pt x="1055" y="1410"/>
                  </a:cubicBezTo>
                  <a:cubicBezTo>
                    <a:pt x="1142" y="1410"/>
                    <a:pt x="1229" y="1379"/>
                    <a:pt x="1292" y="1316"/>
                  </a:cubicBezTo>
                  <a:cubicBezTo>
                    <a:pt x="1418" y="1190"/>
                    <a:pt x="1418" y="969"/>
                    <a:pt x="1292" y="843"/>
                  </a:cubicBezTo>
                  <a:lnTo>
                    <a:pt x="599" y="118"/>
                  </a:lnTo>
                  <a:cubicBezTo>
                    <a:pt x="536" y="40"/>
                    <a:pt x="457" y="0"/>
                    <a:pt x="3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2" name="Google Shape;6962;p73"/>
            <p:cNvSpPr/>
            <p:nvPr/>
          </p:nvSpPr>
          <p:spPr>
            <a:xfrm>
              <a:off x="6715525" y="1972800"/>
              <a:ext cx="35475" cy="35275"/>
            </a:xfrm>
            <a:custGeom>
              <a:avLst/>
              <a:gdLst/>
              <a:ahLst/>
              <a:cxnLst/>
              <a:rect l="l" t="t" r="r" b="b"/>
              <a:pathLst>
                <a:path w="1419" h="1411" extrusionOk="0">
                  <a:moveTo>
                    <a:pt x="1056" y="0"/>
                  </a:moveTo>
                  <a:cubicBezTo>
                    <a:pt x="970" y="0"/>
                    <a:pt x="883" y="40"/>
                    <a:pt x="820" y="118"/>
                  </a:cubicBezTo>
                  <a:lnTo>
                    <a:pt x="127" y="843"/>
                  </a:lnTo>
                  <a:cubicBezTo>
                    <a:pt x="1" y="969"/>
                    <a:pt x="1" y="1190"/>
                    <a:pt x="127" y="1316"/>
                  </a:cubicBezTo>
                  <a:cubicBezTo>
                    <a:pt x="174" y="1379"/>
                    <a:pt x="261" y="1410"/>
                    <a:pt x="351" y="1410"/>
                  </a:cubicBezTo>
                  <a:cubicBezTo>
                    <a:pt x="442" y="1410"/>
                    <a:pt x="536" y="1379"/>
                    <a:pt x="599" y="1316"/>
                  </a:cubicBezTo>
                  <a:lnTo>
                    <a:pt x="1293" y="591"/>
                  </a:lnTo>
                  <a:cubicBezTo>
                    <a:pt x="1419" y="496"/>
                    <a:pt x="1419" y="244"/>
                    <a:pt x="1293" y="118"/>
                  </a:cubicBezTo>
                  <a:cubicBezTo>
                    <a:pt x="1230" y="40"/>
                    <a:pt x="1143"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63" name="Google Shape;6963;p73"/>
          <p:cNvGrpSpPr/>
          <p:nvPr/>
        </p:nvGrpSpPr>
        <p:grpSpPr>
          <a:xfrm>
            <a:off x="8850049" y="2042622"/>
            <a:ext cx="467201" cy="465943"/>
            <a:chOff x="2141000" y="1954475"/>
            <a:chExt cx="296975" cy="296175"/>
          </a:xfrm>
        </p:grpSpPr>
        <p:sp>
          <p:nvSpPr>
            <p:cNvPr id="6964" name="Google Shape;6964;p73"/>
            <p:cNvSpPr/>
            <p:nvPr/>
          </p:nvSpPr>
          <p:spPr>
            <a:xfrm>
              <a:off x="2280425" y="1989925"/>
              <a:ext cx="104775" cy="68550"/>
            </a:xfrm>
            <a:custGeom>
              <a:avLst/>
              <a:gdLst/>
              <a:ahLst/>
              <a:cxnLst/>
              <a:rect l="l" t="t" r="r" b="b"/>
              <a:pathLst>
                <a:path w="4191" h="2742" extrusionOk="0">
                  <a:moveTo>
                    <a:pt x="347" y="0"/>
                  </a:moveTo>
                  <a:cubicBezTo>
                    <a:pt x="158" y="0"/>
                    <a:pt x="0" y="158"/>
                    <a:pt x="0" y="347"/>
                  </a:cubicBezTo>
                  <a:cubicBezTo>
                    <a:pt x="0" y="505"/>
                    <a:pt x="158" y="662"/>
                    <a:pt x="315" y="662"/>
                  </a:cubicBezTo>
                  <a:lnTo>
                    <a:pt x="2426" y="662"/>
                  </a:lnTo>
                  <a:cubicBezTo>
                    <a:pt x="2615" y="662"/>
                    <a:pt x="2773" y="820"/>
                    <a:pt x="2773" y="1009"/>
                  </a:cubicBezTo>
                  <a:lnTo>
                    <a:pt x="2773" y="1576"/>
                  </a:lnTo>
                  <a:lnTo>
                    <a:pt x="2678" y="1450"/>
                  </a:lnTo>
                  <a:cubicBezTo>
                    <a:pt x="2615" y="1387"/>
                    <a:pt x="2521" y="1355"/>
                    <a:pt x="2430" y="1355"/>
                  </a:cubicBezTo>
                  <a:cubicBezTo>
                    <a:pt x="2340" y="1355"/>
                    <a:pt x="2253" y="1387"/>
                    <a:pt x="2206" y="1450"/>
                  </a:cubicBezTo>
                  <a:cubicBezTo>
                    <a:pt x="2080" y="1576"/>
                    <a:pt x="2080" y="1796"/>
                    <a:pt x="2206" y="1922"/>
                  </a:cubicBezTo>
                  <a:lnTo>
                    <a:pt x="2899" y="2647"/>
                  </a:lnTo>
                  <a:cubicBezTo>
                    <a:pt x="2993" y="2710"/>
                    <a:pt x="3056" y="2741"/>
                    <a:pt x="3151" y="2741"/>
                  </a:cubicBezTo>
                  <a:cubicBezTo>
                    <a:pt x="3214" y="2741"/>
                    <a:pt x="3340" y="2710"/>
                    <a:pt x="3371" y="2647"/>
                  </a:cubicBezTo>
                  <a:lnTo>
                    <a:pt x="4096" y="1922"/>
                  </a:lnTo>
                  <a:cubicBezTo>
                    <a:pt x="4191" y="1796"/>
                    <a:pt x="4191" y="1576"/>
                    <a:pt x="4096" y="1450"/>
                  </a:cubicBezTo>
                  <a:cubicBezTo>
                    <a:pt x="4033" y="1387"/>
                    <a:pt x="3938" y="1355"/>
                    <a:pt x="3848" y="1355"/>
                  </a:cubicBezTo>
                  <a:cubicBezTo>
                    <a:pt x="3757" y="1355"/>
                    <a:pt x="3671" y="1387"/>
                    <a:pt x="3623" y="1450"/>
                  </a:cubicBezTo>
                  <a:lnTo>
                    <a:pt x="3497" y="1576"/>
                  </a:lnTo>
                  <a:lnTo>
                    <a:pt x="3497" y="1009"/>
                  </a:lnTo>
                  <a:cubicBezTo>
                    <a:pt x="3497" y="442"/>
                    <a:pt x="3025"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5" name="Google Shape;6965;p73"/>
            <p:cNvSpPr/>
            <p:nvPr/>
          </p:nvSpPr>
          <p:spPr>
            <a:xfrm>
              <a:off x="2174875" y="2145875"/>
              <a:ext cx="105575" cy="69325"/>
            </a:xfrm>
            <a:custGeom>
              <a:avLst/>
              <a:gdLst/>
              <a:ahLst/>
              <a:cxnLst/>
              <a:rect l="l" t="t" r="r" b="b"/>
              <a:pathLst>
                <a:path w="4223" h="2773" extrusionOk="0">
                  <a:moveTo>
                    <a:pt x="1056" y="0"/>
                  </a:moveTo>
                  <a:cubicBezTo>
                    <a:pt x="969" y="0"/>
                    <a:pt x="883" y="32"/>
                    <a:pt x="820" y="95"/>
                  </a:cubicBezTo>
                  <a:lnTo>
                    <a:pt x="95" y="820"/>
                  </a:lnTo>
                  <a:cubicBezTo>
                    <a:pt x="1" y="914"/>
                    <a:pt x="1" y="1166"/>
                    <a:pt x="95" y="1292"/>
                  </a:cubicBezTo>
                  <a:cubicBezTo>
                    <a:pt x="158" y="1339"/>
                    <a:pt x="253" y="1363"/>
                    <a:pt x="343" y="1363"/>
                  </a:cubicBezTo>
                  <a:cubicBezTo>
                    <a:pt x="434" y="1363"/>
                    <a:pt x="521" y="1339"/>
                    <a:pt x="568" y="1292"/>
                  </a:cubicBezTo>
                  <a:lnTo>
                    <a:pt x="694" y="1166"/>
                  </a:lnTo>
                  <a:lnTo>
                    <a:pt x="694" y="1702"/>
                  </a:lnTo>
                  <a:cubicBezTo>
                    <a:pt x="757" y="2300"/>
                    <a:pt x="1229" y="2773"/>
                    <a:pt x="1765" y="2773"/>
                  </a:cubicBezTo>
                  <a:lnTo>
                    <a:pt x="3844" y="2773"/>
                  </a:lnTo>
                  <a:cubicBezTo>
                    <a:pt x="4065" y="2773"/>
                    <a:pt x="4222" y="2615"/>
                    <a:pt x="4222" y="2426"/>
                  </a:cubicBezTo>
                  <a:cubicBezTo>
                    <a:pt x="4222" y="2237"/>
                    <a:pt x="4065" y="2080"/>
                    <a:pt x="3844" y="2080"/>
                  </a:cubicBezTo>
                  <a:lnTo>
                    <a:pt x="1765" y="2080"/>
                  </a:lnTo>
                  <a:cubicBezTo>
                    <a:pt x="1576" y="2080"/>
                    <a:pt x="1418" y="1922"/>
                    <a:pt x="1418" y="1702"/>
                  </a:cubicBezTo>
                  <a:lnTo>
                    <a:pt x="1418" y="1166"/>
                  </a:lnTo>
                  <a:lnTo>
                    <a:pt x="1544" y="1292"/>
                  </a:lnTo>
                  <a:cubicBezTo>
                    <a:pt x="1592" y="1339"/>
                    <a:pt x="1678" y="1363"/>
                    <a:pt x="1769" y="1363"/>
                  </a:cubicBezTo>
                  <a:cubicBezTo>
                    <a:pt x="1859" y="1363"/>
                    <a:pt x="1954" y="1339"/>
                    <a:pt x="2017" y="1292"/>
                  </a:cubicBezTo>
                  <a:cubicBezTo>
                    <a:pt x="2112" y="1166"/>
                    <a:pt x="2112" y="914"/>
                    <a:pt x="2017" y="820"/>
                  </a:cubicBezTo>
                  <a:lnTo>
                    <a:pt x="1292" y="95"/>
                  </a:lnTo>
                  <a:cubicBezTo>
                    <a:pt x="1229" y="32"/>
                    <a:pt x="1143" y="0"/>
                    <a:pt x="1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6" name="Google Shape;6966;p73"/>
            <p:cNvSpPr/>
            <p:nvPr/>
          </p:nvSpPr>
          <p:spPr>
            <a:xfrm>
              <a:off x="2141000" y="1954475"/>
              <a:ext cx="139450" cy="174100"/>
            </a:xfrm>
            <a:custGeom>
              <a:avLst/>
              <a:gdLst/>
              <a:ahLst/>
              <a:cxnLst/>
              <a:rect l="l" t="t" r="r" b="b"/>
              <a:pathLst>
                <a:path w="5578" h="6964" extrusionOk="0">
                  <a:moveTo>
                    <a:pt x="2773" y="694"/>
                  </a:moveTo>
                  <a:cubicBezTo>
                    <a:pt x="3372" y="694"/>
                    <a:pt x="3782" y="1166"/>
                    <a:pt x="3782" y="1734"/>
                  </a:cubicBezTo>
                  <a:cubicBezTo>
                    <a:pt x="3782" y="2301"/>
                    <a:pt x="3309" y="2742"/>
                    <a:pt x="2773" y="2742"/>
                  </a:cubicBezTo>
                  <a:cubicBezTo>
                    <a:pt x="2175" y="2742"/>
                    <a:pt x="1734" y="2269"/>
                    <a:pt x="1734" y="1734"/>
                  </a:cubicBezTo>
                  <a:cubicBezTo>
                    <a:pt x="1734" y="1166"/>
                    <a:pt x="2206" y="694"/>
                    <a:pt x="2773" y="694"/>
                  </a:cubicBezTo>
                  <a:close/>
                  <a:moveTo>
                    <a:pt x="2773" y="3466"/>
                  </a:moveTo>
                  <a:cubicBezTo>
                    <a:pt x="3908" y="3466"/>
                    <a:pt x="4853" y="4411"/>
                    <a:pt x="4853" y="5546"/>
                  </a:cubicBezTo>
                  <a:lnTo>
                    <a:pt x="4853" y="6270"/>
                  </a:lnTo>
                  <a:lnTo>
                    <a:pt x="694" y="6270"/>
                  </a:lnTo>
                  <a:lnTo>
                    <a:pt x="694" y="5546"/>
                  </a:lnTo>
                  <a:cubicBezTo>
                    <a:pt x="694" y="4411"/>
                    <a:pt x="1639" y="3466"/>
                    <a:pt x="2773" y="3466"/>
                  </a:cubicBezTo>
                  <a:close/>
                  <a:moveTo>
                    <a:pt x="2805" y="1"/>
                  </a:moveTo>
                  <a:cubicBezTo>
                    <a:pt x="1860" y="1"/>
                    <a:pt x="1072" y="788"/>
                    <a:pt x="1072" y="1734"/>
                  </a:cubicBezTo>
                  <a:cubicBezTo>
                    <a:pt x="1072" y="2238"/>
                    <a:pt x="1324" y="2710"/>
                    <a:pt x="1671" y="3025"/>
                  </a:cubicBezTo>
                  <a:cubicBezTo>
                    <a:pt x="726" y="3466"/>
                    <a:pt x="64" y="4443"/>
                    <a:pt x="64" y="5577"/>
                  </a:cubicBezTo>
                  <a:lnTo>
                    <a:pt x="64" y="6617"/>
                  </a:lnTo>
                  <a:cubicBezTo>
                    <a:pt x="1" y="6806"/>
                    <a:pt x="159" y="6963"/>
                    <a:pt x="379" y="6963"/>
                  </a:cubicBezTo>
                  <a:lnTo>
                    <a:pt x="5199" y="6963"/>
                  </a:lnTo>
                  <a:cubicBezTo>
                    <a:pt x="5420" y="6963"/>
                    <a:pt x="5577" y="6806"/>
                    <a:pt x="5577" y="6617"/>
                  </a:cubicBezTo>
                  <a:lnTo>
                    <a:pt x="5577" y="5577"/>
                  </a:lnTo>
                  <a:cubicBezTo>
                    <a:pt x="5577" y="4443"/>
                    <a:pt x="4884" y="3498"/>
                    <a:pt x="3939" y="3025"/>
                  </a:cubicBezTo>
                  <a:cubicBezTo>
                    <a:pt x="4317" y="2710"/>
                    <a:pt x="4538" y="2238"/>
                    <a:pt x="4538" y="1734"/>
                  </a:cubicBezTo>
                  <a:cubicBezTo>
                    <a:pt x="4538" y="788"/>
                    <a:pt x="3750" y="1"/>
                    <a:pt x="28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67" name="Google Shape;6967;p73"/>
            <p:cNvSpPr/>
            <p:nvPr/>
          </p:nvSpPr>
          <p:spPr>
            <a:xfrm>
              <a:off x="2298525" y="2076550"/>
              <a:ext cx="139450" cy="174100"/>
            </a:xfrm>
            <a:custGeom>
              <a:avLst/>
              <a:gdLst/>
              <a:ahLst/>
              <a:cxnLst/>
              <a:rect l="l" t="t" r="r" b="b"/>
              <a:pathLst>
                <a:path w="5578" h="6964" extrusionOk="0">
                  <a:moveTo>
                    <a:pt x="2773" y="663"/>
                  </a:moveTo>
                  <a:cubicBezTo>
                    <a:pt x="3372" y="663"/>
                    <a:pt x="3782" y="1135"/>
                    <a:pt x="3782" y="1702"/>
                  </a:cubicBezTo>
                  <a:cubicBezTo>
                    <a:pt x="3782" y="2238"/>
                    <a:pt x="3309" y="2710"/>
                    <a:pt x="2773" y="2710"/>
                  </a:cubicBezTo>
                  <a:cubicBezTo>
                    <a:pt x="2175" y="2710"/>
                    <a:pt x="1734" y="2238"/>
                    <a:pt x="1734" y="1702"/>
                  </a:cubicBezTo>
                  <a:cubicBezTo>
                    <a:pt x="1734" y="1135"/>
                    <a:pt x="2175" y="663"/>
                    <a:pt x="2773" y="663"/>
                  </a:cubicBezTo>
                  <a:close/>
                  <a:moveTo>
                    <a:pt x="2773" y="3467"/>
                  </a:moveTo>
                  <a:cubicBezTo>
                    <a:pt x="3908" y="3467"/>
                    <a:pt x="4853" y="4412"/>
                    <a:pt x="4853" y="5546"/>
                  </a:cubicBezTo>
                  <a:lnTo>
                    <a:pt x="4853" y="6270"/>
                  </a:lnTo>
                  <a:lnTo>
                    <a:pt x="694" y="6270"/>
                  </a:lnTo>
                  <a:lnTo>
                    <a:pt x="694" y="5546"/>
                  </a:lnTo>
                  <a:cubicBezTo>
                    <a:pt x="694" y="4412"/>
                    <a:pt x="1639" y="3467"/>
                    <a:pt x="2773" y="3467"/>
                  </a:cubicBezTo>
                  <a:close/>
                  <a:moveTo>
                    <a:pt x="2773" y="1"/>
                  </a:moveTo>
                  <a:cubicBezTo>
                    <a:pt x="1828" y="1"/>
                    <a:pt x="1041" y="789"/>
                    <a:pt x="1041" y="1734"/>
                  </a:cubicBezTo>
                  <a:cubicBezTo>
                    <a:pt x="1041" y="2238"/>
                    <a:pt x="1261" y="2710"/>
                    <a:pt x="1608" y="3025"/>
                  </a:cubicBezTo>
                  <a:cubicBezTo>
                    <a:pt x="663" y="3467"/>
                    <a:pt x="1" y="4443"/>
                    <a:pt x="1" y="5546"/>
                  </a:cubicBezTo>
                  <a:lnTo>
                    <a:pt x="1" y="6617"/>
                  </a:lnTo>
                  <a:cubicBezTo>
                    <a:pt x="1" y="6806"/>
                    <a:pt x="159" y="6964"/>
                    <a:pt x="379" y="6964"/>
                  </a:cubicBezTo>
                  <a:lnTo>
                    <a:pt x="5199" y="6964"/>
                  </a:lnTo>
                  <a:cubicBezTo>
                    <a:pt x="5420" y="6964"/>
                    <a:pt x="5577" y="6806"/>
                    <a:pt x="5577" y="6617"/>
                  </a:cubicBezTo>
                  <a:lnTo>
                    <a:pt x="5577" y="5546"/>
                  </a:lnTo>
                  <a:cubicBezTo>
                    <a:pt x="5514" y="4412"/>
                    <a:pt x="4853" y="3467"/>
                    <a:pt x="3908" y="3025"/>
                  </a:cubicBezTo>
                  <a:cubicBezTo>
                    <a:pt x="4254" y="2710"/>
                    <a:pt x="4506" y="2238"/>
                    <a:pt x="4506" y="1734"/>
                  </a:cubicBezTo>
                  <a:cubicBezTo>
                    <a:pt x="4506" y="789"/>
                    <a:pt x="3719" y="1"/>
                    <a:pt x="27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68" name="Google Shape;6968;p73"/>
          <p:cNvGrpSpPr/>
          <p:nvPr/>
        </p:nvGrpSpPr>
        <p:grpSpPr>
          <a:xfrm>
            <a:off x="8841396" y="2645076"/>
            <a:ext cx="484507" cy="465037"/>
            <a:chOff x="2140225" y="2318650"/>
            <a:chExt cx="307975" cy="295600"/>
          </a:xfrm>
        </p:grpSpPr>
        <p:sp>
          <p:nvSpPr>
            <p:cNvPr id="6969" name="Google Shape;6969;p73"/>
            <p:cNvSpPr/>
            <p:nvPr/>
          </p:nvSpPr>
          <p:spPr>
            <a:xfrm>
              <a:off x="2281200" y="2353025"/>
              <a:ext cx="104000" cy="121300"/>
            </a:xfrm>
            <a:custGeom>
              <a:avLst/>
              <a:gdLst/>
              <a:ahLst/>
              <a:cxnLst/>
              <a:rect l="l" t="t" r="r" b="b"/>
              <a:pathLst>
                <a:path w="4160" h="4852" extrusionOk="0">
                  <a:moveTo>
                    <a:pt x="2080" y="662"/>
                  </a:moveTo>
                  <a:cubicBezTo>
                    <a:pt x="2490" y="662"/>
                    <a:pt x="2805" y="977"/>
                    <a:pt x="2805" y="1386"/>
                  </a:cubicBezTo>
                  <a:cubicBezTo>
                    <a:pt x="2805" y="1764"/>
                    <a:pt x="2490" y="2079"/>
                    <a:pt x="2080" y="2079"/>
                  </a:cubicBezTo>
                  <a:cubicBezTo>
                    <a:pt x="1702" y="2079"/>
                    <a:pt x="1387" y="1764"/>
                    <a:pt x="1387" y="1386"/>
                  </a:cubicBezTo>
                  <a:cubicBezTo>
                    <a:pt x="1387" y="977"/>
                    <a:pt x="1702" y="662"/>
                    <a:pt x="2080" y="662"/>
                  </a:cubicBezTo>
                  <a:close/>
                  <a:moveTo>
                    <a:pt x="2080" y="2773"/>
                  </a:moveTo>
                  <a:cubicBezTo>
                    <a:pt x="2836" y="2773"/>
                    <a:pt x="3466" y="3403"/>
                    <a:pt x="3466" y="4127"/>
                  </a:cubicBezTo>
                  <a:lnTo>
                    <a:pt x="662" y="4127"/>
                  </a:lnTo>
                  <a:cubicBezTo>
                    <a:pt x="662" y="3403"/>
                    <a:pt x="1293" y="2773"/>
                    <a:pt x="2080" y="2773"/>
                  </a:cubicBezTo>
                  <a:close/>
                  <a:moveTo>
                    <a:pt x="2112" y="0"/>
                  </a:moveTo>
                  <a:cubicBezTo>
                    <a:pt x="1387" y="0"/>
                    <a:pt x="757" y="630"/>
                    <a:pt x="757" y="1386"/>
                  </a:cubicBezTo>
                  <a:cubicBezTo>
                    <a:pt x="757" y="1733"/>
                    <a:pt x="915" y="2079"/>
                    <a:pt x="1135" y="2332"/>
                  </a:cubicBezTo>
                  <a:cubicBezTo>
                    <a:pt x="505" y="2678"/>
                    <a:pt x="64" y="3340"/>
                    <a:pt x="64" y="4127"/>
                  </a:cubicBezTo>
                  <a:lnTo>
                    <a:pt x="64" y="4505"/>
                  </a:lnTo>
                  <a:cubicBezTo>
                    <a:pt x="1" y="4694"/>
                    <a:pt x="158" y="4852"/>
                    <a:pt x="347" y="4852"/>
                  </a:cubicBezTo>
                  <a:lnTo>
                    <a:pt x="3813" y="4852"/>
                  </a:lnTo>
                  <a:cubicBezTo>
                    <a:pt x="4002" y="4852"/>
                    <a:pt x="4160" y="4694"/>
                    <a:pt x="4160" y="4505"/>
                  </a:cubicBezTo>
                  <a:lnTo>
                    <a:pt x="4160" y="4127"/>
                  </a:lnTo>
                  <a:cubicBezTo>
                    <a:pt x="4160" y="3340"/>
                    <a:pt x="3750" y="2678"/>
                    <a:pt x="3120" y="2332"/>
                  </a:cubicBezTo>
                  <a:cubicBezTo>
                    <a:pt x="3340" y="2079"/>
                    <a:pt x="3498" y="1733"/>
                    <a:pt x="3498" y="1386"/>
                  </a:cubicBezTo>
                  <a:cubicBezTo>
                    <a:pt x="3498" y="630"/>
                    <a:pt x="2868" y="0"/>
                    <a:pt x="2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0" name="Google Shape;6970;p73"/>
            <p:cNvSpPr/>
            <p:nvPr/>
          </p:nvSpPr>
          <p:spPr>
            <a:xfrm>
              <a:off x="2140225" y="2318650"/>
              <a:ext cx="307975" cy="295600"/>
            </a:xfrm>
            <a:custGeom>
              <a:avLst/>
              <a:gdLst/>
              <a:ahLst/>
              <a:cxnLst/>
              <a:rect l="l" t="t" r="r" b="b"/>
              <a:pathLst>
                <a:path w="12319" h="11824" extrusionOk="0">
                  <a:moveTo>
                    <a:pt x="7712" y="682"/>
                  </a:moveTo>
                  <a:cubicBezTo>
                    <a:pt x="8607" y="682"/>
                    <a:pt x="9499" y="1029"/>
                    <a:pt x="10177" y="1690"/>
                  </a:cubicBezTo>
                  <a:cubicBezTo>
                    <a:pt x="11468" y="2982"/>
                    <a:pt x="11531" y="5187"/>
                    <a:pt x="10177" y="6573"/>
                  </a:cubicBezTo>
                  <a:cubicBezTo>
                    <a:pt x="9500" y="7266"/>
                    <a:pt x="8627" y="7590"/>
                    <a:pt x="7754" y="7590"/>
                  </a:cubicBezTo>
                  <a:cubicBezTo>
                    <a:pt x="6839" y="7590"/>
                    <a:pt x="5923" y="7234"/>
                    <a:pt x="5230" y="6573"/>
                  </a:cubicBezTo>
                  <a:cubicBezTo>
                    <a:pt x="3939" y="5282"/>
                    <a:pt x="3876" y="3045"/>
                    <a:pt x="5325" y="1659"/>
                  </a:cubicBezTo>
                  <a:cubicBezTo>
                    <a:pt x="6001" y="997"/>
                    <a:pt x="6858" y="682"/>
                    <a:pt x="7712" y="682"/>
                  </a:cubicBezTo>
                  <a:close/>
                  <a:moveTo>
                    <a:pt x="4128" y="6258"/>
                  </a:moveTo>
                  <a:cubicBezTo>
                    <a:pt x="4285" y="6573"/>
                    <a:pt x="4537" y="6857"/>
                    <a:pt x="4758" y="7078"/>
                  </a:cubicBezTo>
                  <a:cubicBezTo>
                    <a:pt x="5010" y="7330"/>
                    <a:pt x="5293" y="7550"/>
                    <a:pt x="5577" y="7708"/>
                  </a:cubicBezTo>
                  <a:lnTo>
                    <a:pt x="5136" y="8180"/>
                  </a:lnTo>
                  <a:cubicBezTo>
                    <a:pt x="5073" y="8243"/>
                    <a:pt x="4978" y="8275"/>
                    <a:pt x="4888" y="8275"/>
                  </a:cubicBezTo>
                  <a:cubicBezTo>
                    <a:pt x="4797" y="8275"/>
                    <a:pt x="4710" y="8243"/>
                    <a:pt x="4663" y="8180"/>
                  </a:cubicBezTo>
                  <a:lnTo>
                    <a:pt x="3655" y="7204"/>
                  </a:lnTo>
                  <a:cubicBezTo>
                    <a:pt x="3498" y="7078"/>
                    <a:pt x="3498" y="6857"/>
                    <a:pt x="3655" y="6731"/>
                  </a:cubicBezTo>
                  <a:lnTo>
                    <a:pt x="4128" y="6258"/>
                  </a:lnTo>
                  <a:close/>
                  <a:moveTo>
                    <a:pt x="3403" y="7960"/>
                  </a:moveTo>
                  <a:lnTo>
                    <a:pt x="3876" y="8432"/>
                  </a:lnTo>
                  <a:lnTo>
                    <a:pt x="3309" y="8968"/>
                  </a:lnTo>
                  <a:lnTo>
                    <a:pt x="2836" y="8495"/>
                  </a:lnTo>
                  <a:lnTo>
                    <a:pt x="3403" y="7960"/>
                  </a:lnTo>
                  <a:close/>
                  <a:moveTo>
                    <a:pt x="2363" y="8968"/>
                  </a:moveTo>
                  <a:lnTo>
                    <a:pt x="2836" y="9440"/>
                  </a:lnTo>
                  <a:lnTo>
                    <a:pt x="1292" y="10984"/>
                  </a:lnTo>
                  <a:cubicBezTo>
                    <a:pt x="1245" y="11047"/>
                    <a:pt x="1158" y="11079"/>
                    <a:pt x="1068" y="11079"/>
                  </a:cubicBezTo>
                  <a:cubicBezTo>
                    <a:pt x="977" y="11079"/>
                    <a:pt x="883" y="11047"/>
                    <a:pt x="820" y="10984"/>
                  </a:cubicBezTo>
                  <a:cubicBezTo>
                    <a:pt x="725" y="10858"/>
                    <a:pt x="725" y="10669"/>
                    <a:pt x="820" y="10512"/>
                  </a:cubicBezTo>
                  <a:lnTo>
                    <a:pt x="2363" y="8968"/>
                  </a:lnTo>
                  <a:close/>
                  <a:moveTo>
                    <a:pt x="7731" y="1"/>
                  </a:moveTo>
                  <a:cubicBezTo>
                    <a:pt x="6669" y="1"/>
                    <a:pt x="5604" y="403"/>
                    <a:pt x="4789" y="1218"/>
                  </a:cubicBezTo>
                  <a:cubicBezTo>
                    <a:pt x="3592" y="2446"/>
                    <a:pt x="3309" y="4179"/>
                    <a:pt x="3844" y="5628"/>
                  </a:cubicBezTo>
                  <a:lnTo>
                    <a:pt x="3182" y="6290"/>
                  </a:lnTo>
                  <a:cubicBezTo>
                    <a:pt x="2867" y="6605"/>
                    <a:pt x="2804" y="7078"/>
                    <a:pt x="2993" y="7487"/>
                  </a:cubicBezTo>
                  <a:lnTo>
                    <a:pt x="410" y="10071"/>
                  </a:lnTo>
                  <a:cubicBezTo>
                    <a:pt x="0" y="10480"/>
                    <a:pt x="0" y="11142"/>
                    <a:pt x="410" y="11520"/>
                  </a:cubicBezTo>
                  <a:cubicBezTo>
                    <a:pt x="580" y="11721"/>
                    <a:pt x="826" y="11823"/>
                    <a:pt x="1081" y="11823"/>
                  </a:cubicBezTo>
                  <a:cubicBezTo>
                    <a:pt x="1345" y="11823"/>
                    <a:pt x="1619" y="11713"/>
                    <a:pt x="1828" y="11488"/>
                  </a:cubicBezTo>
                  <a:lnTo>
                    <a:pt x="4411" y="8905"/>
                  </a:lnTo>
                  <a:cubicBezTo>
                    <a:pt x="4565" y="8976"/>
                    <a:pt x="4727" y="9011"/>
                    <a:pt x="4887" y="9011"/>
                  </a:cubicBezTo>
                  <a:cubicBezTo>
                    <a:pt x="5153" y="9011"/>
                    <a:pt x="5411" y="8913"/>
                    <a:pt x="5608" y="8716"/>
                  </a:cubicBezTo>
                  <a:lnTo>
                    <a:pt x="6270" y="8023"/>
                  </a:lnTo>
                  <a:cubicBezTo>
                    <a:pt x="6736" y="8205"/>
                    <a:pt x="7231" y="8296"/>
                    <a:pt x="7729" y="8296"/>
                  </a:cubicBezTo>
                  <a:cubicBezTo>
                    <a:pt x="8781" y="8296"/>
                    <a:pt x="9847" y="7890"/>
                    <a:pt x="10681" y="7078"/>
                  </a:cubicBezTo>
                  <a:cubicBezTo>
                    <a:pt x="12319" y="5439"/>
                    <a:pt x="12287" y="2793"/>
                    <a:pt x="10681" y="1218"/>
                  </a:cubicBezTo>
                  <a:cubicBezTo>
                    <a:pt x="9873" y="410"/>
                    <a:pt x="8804" y="1"/>
                    <a:pt x="77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71" name="Google Shape;6971;p73"/>
          <p:cNvGrpSpPr/>
          <p:nvPr/>
        </p:nvGrpSpPr>
        <p:grpSpPr>
          <a:xfrm>
            <a:off x="8848810" y="3233741"/>
            <a:ext cx="469679" cy="465903"/>
            <a:chOff x="2139425" y="2682250"/>
            <a:chExt cx="298550" cy="296150"/>
          </a:xfrm>
        </p:grpSpPr>
        <p:sp>
          <p:nvSpPr>
            <p:cNvPr id="6972" name="Google Shape;6972;p73"/>
            <p:cNvSpPr/>
            <p:nvPr/>
          </p:nvSpPr>
          <p:spPr>
            <a:xfrm>
              <a:off x="2139425" y="2787000"/>
              <a:ext cx="159125" cy="191400"/>
            </a:xfrm>
            <a:custGeom>
              <a:avLst/>
              <a:gdLst/>
              <a:ahLst/>
              <a:cxnLst/>
              <a:rect l="l" t="t" r="r" b="b"/>
              <a:pathLst>
                <a:path w="6365" h="7656" extrusionOk="0">
                  <a:moveTo>
                    <a:pt x="3214" y="630"/>
                  </a:moveTo>
                  <a:cubicBezTo>
                    <a:pt x="3813" y="630"/>
                    <a:pt x="4286" y="1103"/>
                    <a:pt x="4286" y="1670"/>
                  </a:cubicBezTo>
                  <a:cubicBezTo>
                    <a:pt x="4286" y="2206"/>
                    <a:pt x="3813" y="2678"/>
                    <a:pt x="3214" y="2678"/>
                  </a:cubicBezTo>
                  <a:cubicBezTo>
                    <a:pt x="2647" y="2678"/>
                    <a:pt x="2175" y="2206"/>
                    <a:pt x="2175" y="1670"/>
                  </a:cubicBezTo>
                  <a:cubicBezTo>
                    <a:pt x="2175" y="1166"/>
                    <a:pt x="2647" y="630"/>
                    <a:pt x="3214" y="630"/>
                  </a:cubicBezTo>
                  <a:close/>
                  <a:moveTo>
                    <a:pt x="3183" y="3403"/>
                  </a:moveTo>
                  <a:cubicBezTo>
                    <a:pt x="4538" y="3403"/>
                    <a:pt x="5609" y="4506"/>
                    <a:pt x="5609" y="5829"/>
                  </a:cubicBezTo>
                  <a:lnTo>
                    <a:pt x="5609" y="6931"/>
                  </a:lnTo>
                  <a:lnTo>
                    <a:pt x="757" y="6931"/>
                  </a:lnTo>
                  <a:lnTo>
                    <a:pt x="757" y="5829"/>
                  </a:lnTo>
                  <a:cubicBezTo>
                    <a:pt x="757" y="4506"/>
                    <a:pt x="1860" y="3403"/>
                    <a:pt x="3183" y="3403"/>
                  </a:cubicBezTo>
                  <a:close/>
                  <a:moveTo>
                    <a:pt x="3183" y="0"/>
                  </a:moveTo>
                  <a:cubicBezTo>
                    <a:pt x="2238" y="0"/>
                    <a:pt x="1419" y="788"/>
                    <a:pt x="1419" y="1733"/>
                  </a:cubicBezTo>
                  <a:cubicBezTo>
                    <a:pt x="1419" y="2206"/>
                    <a:pt x="1608" y="2678"/>
                    <a:pt x="1954" y="2993"/>
                  </a:cubicBezTo>
                  <a:cubicBezTo>
                    <a:pt x="820" y="3466"/>
                    <a:pt x="1" y="4569"/>
                    <a:pt x="1" y="5892"/>
                  </a:cubicBezTo>
                  <a:lnTo>
                    <a:pt x="1" y="7309"/>
                  </a:lnTo>
                  <a:cubicBezTo>
                    <a:pt x="64" y="7498"/>
                    <a:pt x="222" y="7656"/>
                    <a:pt x="442" y="7656"/>
                  </a:cubicBezTo>
                  <a:lnTo>
                    <a:pt x="6018" y="7656"/>
                  </a:lnTo>
                  <a:cubicBezTo>
                    <a:pt x="6207" y="7656"/>
                    <a:pt x="6365" y="7498"/>
                    <a:pt x="6365" y="7309"/>
                  </a:cubicBezTo>
                  <a:lnTo>
                    <a:pt x="6365" y="5892"/>
                  </a:lnTo>
                  <a:cubicBezTo>
                    <a:pt x="6365" y="4569"/>
                    <a:pt x="5546" y="3466"/>
                    <a:pt x="4412" y="2993"/>
                  </a:cubicBezTo>
                  <a:cubicBezTo>
                    <a:pt x="4758" y="2647"/>
                    <a:pt x="4947" y="2206"/>
                    <a:pt x="4947" y="1733"/>
                  </a:cubicBezTo>
                  <a:cubicBezTo>
                    <a:pt x="4947" y="788"/>
                    <a:pt x="4160"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3" name="Google Shape;6973;p73"/>
            <p:cNvSpPr/>
            <p:nvPr/>
          </p:nvSpPr>
          <p:spPr>
            <a:xfrm>
              <a:off x="2280425" y="2682250"/>
              <a:ext cx="157550" cy="155975"/>
            </a:xfrm>
            <a:custGeom>
              <a:avLst/>
              <a:gdLst/>
              <a:ahLst/>
              <a:cxnLst/>
              <a:rect l="l" t="t" r="r" b="b"/>
              <a:pathLst>
                <a:path w="6302" h="6239" extrusionOk="0">
                  <a:moveTo>
                    <a:pt x="3182" y="662"/>
                  </a:moveTo>
                  <a:cubicBezTo>
                    <a:pt x="4506" y="662"/>
                    <a:pt x="5608" y="1764"/>
                    <a:pt x="5608" y="3088"/>
                  </a:cubicBezTo>
                  <a:cubicBezTo>
                    <a:pt x="5577" y="4442"/>
                    <a:pt x="4474" y="5545"/>
                    <a:pt x="3151" y="5545"/>
                  </a:cubicBezTo>
                  <a:cubicBezTo>
                    <a:pt x="2710" y="5545"/>
                    <a:pt x="2300" y="5419"/>
                    <a:pt x="1954" y="5230"/>
                  </a:cubicBezTo>
                  <a:cubicBezTo>
                    <a:pt x="1891" y="5198"/>
                    <a:pt x="1796" y="5198"/>
                    <a:pt x="1733" y="5198"/>
                  </a:cubicBezTo>
                  <a:lnTo>
                    <a:pt x="946" y="5388"/>
                  </a:lnTo>
                  <a:lnTo>
                    <a:pt x="1166" y="4663"/>
                  </a:lnTo>
                  <a:cubicBezTo>
                    <a:pt x="1198" y="4568"/>
                    <a:pt x="1166" y="4474"/>
                    <a:pt x="1135" y="4411"/>
                  </a:cubicBezTo>
                  <a:cubicBezTo>
                    <a:pt x="883" y="4001"/>
                    <a:pt x="725" y="3560"/>
                    <a:pt x="725" y="3088"/>
                  </a:cubicBezTo>
                  <a:cubicBezTo>
                    <a:pt x="725" y="1764"/>
                    <a:pt x="1828" y="662"/>
                    <a:pt x="3182" y="662"/>
                  </a:cubicBezTo>
                  <a:close/>
                  <a:moveTo>
                    <a:pt x="3151" y="0"/>
                  </a:moveTo>
                  <a:cubicBezTo>
                    <a:pt x="1418" y="0"/>
                    <a:pt x="32" y="1418"/>
                    <a:pt x="32" y="3088"/>
                  </a:cubicBezTo>
                  <a:cubicBezTo>
                    <a:pt x="32" y="3655"/>
                    <a:pt x="158" y="4159"/>
                    <a:pt x="410" y="4631"/>
                  </a:cubicBezTo>
                  <a:lnTo>
                    <a:pt x="32" y="5766"/>
                  </a:lnTo>
                  <a:cubicBezTo>
                    <a:pt x="0" y="5892"/>
                    <a:pt x="32" y="6018"/>
                    <a:pt x="95" y="6144"/>
                  </a:cubicBezTo>
                  <a:cubicBezTo>
                    <a:pt x="189" y="6207"/>
                    <a:pt x="315" y="6238"/>
                    <a:pt x="473" y="6238"/>
                  </a:cubicBezTo>
                  <a:lnTo>
                    <a:pt x="1765" y="5923"/>
                  </a:lnTo>
                  <a:cubicBezTo>
                    <a:pt x="2206" y="6175"/>
                    <a:pt x="2678" y="6238"/>
                    <a:pt x="3182" y="6238"/>
                  </a:cubicBezTo>
                  <a:cubicBezTo>
                    <a:pt x="4915" y="6238"/>
                    <a:pt x="6301" y="4820"/>
                    <a:pt x="6301" y="3151"/>
                  </a:cubicBezTo>
                  <a:cubicBezTo>
                    <a:pt x="6238" y="1418"/>
                    <a:pt x="4884"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4" name="Google Shape;6974;p73"/>
            <p:cNvSpPr/>
            <p:nvPr/>
          </p:nvSpPr>
          <p:spPr>
            <a:xfrm>
              <a:off x="2349725" y="2725550"/>
              <a:ext cx="18150" cy="17375"/>
            </a:xfrm>
            <a:custGeom>
              <a:avLst/>
              <a:gdLst/>
              <a:ahLst/>
              <a:cxnLst/>
              <a:rect l="l" t="t" r="r" b="b"/>
              <a:pathLst>
                <a:path w="726" h="695" extrusionOk="0">
                  <a:moveTo>
                    <a:pt x="379" y="1"/>
                  </a:moveTo>
                  <a:cubicBezTo>
                    <a:pt x="158" y="1"/>
                    <a:pt x="1" y="158"/>
                    <a:pt x="1" y="348"/>
                  </a:cubicBezTo>
                  <a:cubicBezTo>
                    <a:pt x="1" y="537"/>
                    <a:pt x="158" y="694"/>
                    <a:pt x="379" y="694"/>
                  </a:cubicBezTo>
                  <a:cubicBezTo>
                    <a:pt x="568" y="694"/>
                    <a:pt x="725" y="537"/>
                    <a:pt x="725" y="348"/>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5" name="Google Shape;6975;p73"/>
            <p:cNvSpPr/>
            <p:nvPr/>
          </p:nvSpPr>
          <p:spPr>
            <a:xfrm>
              <a:off x="2349725" y="2751550"/>
              <a:ext cx="18150" cy="52800"/>
            </a:xfrm>
            <a:custGeom>
              <a:avLst/>
              <a:gdLst/>
              <a:ahLst/>
              <a:cxnLst/>
              <a:rect l="l" t="t" r="r" b="b"/>
              <a:pathLst>
                <a:path w="726" h="2112" extrusionOk="0">
                  <a:moveTo>
                    <a:pt x="379" y="1"/>
                  </a:moveTo>
                  <a:cubicBezTo>
                    <a:pt x="158" y="1"/>
                    <a:pt x="1" y="158"/>
                    <a:pt x="1" y="379"/>
                  </a:cubicBezTo>
                  <a:lnTo>
                    <a:pt x="1" y="1733"/>
                  </a:lnTo>
                  <a:cubicBezTo>
                    <a:pt x="1" y="1954"/>
                    <a:pt x="158" y="2111"/>
                    <a:pt x="379" y="2111"/>
                  </a:cubicBezTo>
                  <a:cubicBezTo>
                    <a:pt x="568" y="2111"/>
                    <a:pt x="725" y="1954"/>
                    <a:pt x="725" y="1733"/>
                  </a:cubicBezTo>
                  <a:lnTo>
                    <a:pt x="725" y="379"/>
                  </a:ln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76" name="Google Shape;6976;p73"/>
          <p:cNvGrpSpPr/>
          <p:nvPr/>
        </p:nvGrpSpPr>
        <p:grpSpPr>
          <a:xfrm>
            <a:off x="7068293" y="3919721"/>
            <a:ext cx="467201" cy="353184"/>
            <a:chOff x="3962775" y="1990700"/>
            <a:chExt cx="296975" cy="224500"/>
          </a:xfrm>
        </p:grpSpPr>
        <p:sp>
          <p:nvSpPr>
            <p:cNvPr id="6977" name="Google Shape;6977;p73"/>
            <p:cNvSpPr/>
            <p:nvPr/>
          </p:nvSpPr>
          <p:spPr>
            <a:xfrm>
              <a:off x="4216400" y="2093100"/>
              <a:ext cx="43350" cy="18150"/>
            </a:xfrm>
            <a:custGeom>
              <a:avLst/>
              <a:gdLst/>
              <a:ahLst/>
              <a:cxnLst/>
              <a:rect l="l" t="t" r="r" b="b"/>
              <a:pathLst>
                <a:path w="1734" h="726" extrusionOk="0">
                  <a:moveTo>
                    <a:pt x="379" y="1"/>
                  </a:moveTo>
                  <a:cubicBezTo>
                    <a:pt x="158" y="1"/>
                    <a:pt x="1" y="158"/>
                    <a:pt x="1" y="347"/>
                  </a:cubicBezTo>
                  <a:cubicBezTo>
                    <a:pt x="1" y="568"/>
                    <a:pt x="158" y="725"/>
                    <a:pt x="379" y="725"/>
                  </a:cubicBezTo>
                  <a:lnTo>
                    <a:pt x="1387" y="725"/>
                  </a:lnTo>
                  <a:cubicBezTo>
                    <a:pt x="1576" y="725"/>
                    <a:pt x="1733" y="568"/>
                    <a:pt x="1733" y="347"/>
                  </a:cubicBezTo>
                  <a:cubicBezTo>
                    <a:pt x="1702" y="158"/>
                    <a:pt x="1544" y="1"/>
                    <a:pt x="1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8" name="Google Shape;6978;p73"/>
            <p:cNvSpPr/>
            <p:nvPr/>
          </p:nvSpPr>
          <p:spPr>
            <a:xfrm>
              <a:off x="4206950" y="2129325"/>
              <a:ext cx="35475" cy="33900"/>
            </a:xfrm>
            <a:custGeom>
              <a:avLst/>
              <a:gdLst/>
              <a:ahLst/>
              <a:cxnLst/>
              <a:rect l="l" t="t" r="r" b="b"/>
              <a:pathLst>
                <a:path w="1419" h="1356" extrusionOk="0">
                  <a:moveTo>
                    <a:pt x="351" y="1"/>
                  </a:moveTo>
                  <a:cubicBezTo>
                    <a:pt x="260" y="1"/>
                    <a:pt x="174" y="32"/>
                    <a:pt x="127" y="95"/>
                  </a:cubicBezTo>
                  <a:cubicBezTo>
                    <a:pt x="1" y="221"/>
                    <a:pt x="1" y="410"/>
                    <a:pt x="127" y="568"/>
                  </a:cubicBezTo>
                  <a:lnTo>
                    <a:pt x="820" y="1261"/>
                  </a:lnTo>
                  <a:cubicBezTo>
                    <a:pt x="883" y="1324"/>
                    <a:pt x="969" y="1356"/>
                    <a:pt x="1056" y="1356"/>
                  </a:cubicBezTo>
                  <a:cubicBezTo>
                    <a:pt x="1143" y="1356"/>
                    <a:pt x="1229" y="1324"/>
                    <a:pt x="1292" y="1261"/>
                  </a:cubicBezTo>
                  <a:cubicBezTo>
                    <a:pt x="1418" y="1166"/>
                    <a:pt x="1418" y="914"/>
                    <a:pt x="1292" y="788"/>
                  </a:cubicBezTo>
                  <a:lnTo>
                    <a:pt x="599" y="95"/>
                  </a:lnTo>
                  <a:cubicBezTo>
                    <a:pt x="536" y="32"/>
                    <a:pt x="442" y="1"/>
                    <a:pt x="3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79" name="Google Shape;6979;p73"/>
            <p:cNvSpPr/>
            <p:nvPr/>
          </p:nvSpPr>
          <p:spPr>
            <a:xfrm>
              <a:off x="4207750" y="2041900"/>
              <a:ext cx="35450" cy="34500"/>
            </a:xfrm>
            <a:custGeom>
              <a:avLst/>
              <a:gdLst/>
              <a:ahLst/>
              <a:cxnLst/>
              <a:rect l="l" t="t" r="r" b="b"/>
              <a:pathLst>
                <a:path w="1418" h="1380" extrusionOk="0">
                  <a:moveTo>
                    <a:pt x="1067" y="1"/>
                  </a:moveTo>
                  <a:cubicBezTo>
                    <a:pt x="977" y="1"/>
                    <a:pt x="882" y="32"/>
                    <a:pt x="819" y="95"/>
                  </a:cubicBezTo>
                  <a:lnTo>
                    <a:pt x="126" y="788"/>
                  </a:lnTo>
                  <a:cubicBezTo>
                    <a:pt x="0" y="914"/>
                    <a:pt x="0" y="1135"/>
                    <a:pt x="126" y="1261"/>
                  </a:cubicBezTo>
                  <a:cubicBezTo>
                    <a:pt x="189" y="1340"/>
                    <a:pt x="268" y="1379"/>
                    <a:pt x="351" y="1379"/>
                  </a:cubicBezTo>
                  <a:cubicBezTo>
                    <a:pt x="433" y="1379"/>
                    <a:pt x="520" y="1340"/>
                    <a:pt x="599" y="1261"/>
                  </a:cubicBezTo>
                  <a:lnTo>
                    <a:pt x="1292" y="568"/>
                  </a:lnTo>
                  <a:cubicBezTo>
                    <a:pt x="1418" y="442"/>
                    <a:pt x="1418" y="190"/>
                    <a:pt x="1292" y="95"/>
                  </a:cubicBezTo>
                  <a:cubicBezTo>
                    <a:pt x="1244" y="32"/>
                    <a:pt x="1158" y="1"/>
                    <a:pt x="10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0" name="Google Shape;6980;p73"/>
            <p:cNvSpPr/>
            <p:nvPr/>
          </p:nvSpPr>
          <p:spPr>
            <a:xfrm>
              <a:off x="3962775" y="1990700"/>
              <a:ext cx="226075" cy="224500"/>
            </a:xfrm>
            <a:custGeom>
              <a:avLst/>
              <a:gdLst/>
              <a:ahLst/>
              <a:cxnLst/>
              <a:rect l="l" t="t" r="r" b="b"/>
              <a:pathLst>
                <a:path w="9043" h="8980" extrusionOk="0">
                  <a:moveTo>
                    <a:pt x="1419" y="3403"/>
                  </a:moveTo>
                  <a:lnTo>
                    <a:pt x="1419" y="4790"/>
                  </a:lnTo>
                  <a:cubicBezTo>
                    <a:pt x="1009" y="4790"/>
                    <a:pt x="694" y="4506"/>
                    <a:pt x="694" y="4097"/>
                  </a:cubicBezTo>
                  <a:cubicBezTo>
                    <a:pt x="694" y="3719"/>
                    <a:pt x="1009" y="3403"/>
                    <a:pt x="1419" y="3403"/>
                  </a:cubicBezTo>
                  <a:close/>
                  <a:moveTo>
                    <a:pt x="4191" y="2710"/>
                  </a:moveTo>
                  <a:lnTo>
                    <a:pt x="4191" y="5483"/>
                  </a:lnTo>
                  <a:lnTo>
                    <a:pt x="2490" y="5483"/>
                  </a:lnTo>
                  <a:cubicBezTo>
                    <a:pt x="2269" y="5483"/>
                    <a:pt x="2112" y="5325"/>
                    <a:pt x="2112" y="5105"/>
                  </a:cubicBezTo>
                  <a:lnTo>
                    <a:pt x="2112" y="3088"/>
                  </a:lnTo>
                  <a:cubicBezTo>
                    <a:pt x="2112" y="2868"/>
                    <a:pt x="2269" y="2710"/>
                    <a:pt x="2490" y="2710"/>
                  </a:cubicBezTo>
                  <a:close/>
                  <a:moveTo>
                    <a:pt x="6995" y="1828"/>
                  </a:moveTo>
                  <a:lnTo>
                    <a:pt x="6995" y="6428"/>
                  </a:lnTo>
                  <a:cubicBezTo>
                    <a:pt x="6428" y="5924"/>
                    <a:pt x="5672" y="5609"/>
                    <a:pt x="4884" y="5514"/>
                  </a:cubicBezTo>
                  <a:lnTo>
                    <a:pt x="4884" y="2710"/>
                  </a:lnTo>
                  <a:cubicBezTo>
                    <a:pt x="5672" y="2647"/>
                    <a:pt x="6428" y="2332"/>
                    <a:pt x="6995" y="1828"/>
                  </a:cubicBezTo>
                  <a:close/>
                  <a:moveTo>
                    <a:pt x="8066" y="631"/>
                  </a:moveTo>
                  <a:cubicBezTo>
                    <a:pt x="8255" y="631"/>
                    <a:pt x="8413" y="789"/>
                    <a:pt x="8413" y="978"/>
                  </a:cubicBezTo>
                  <a:lnTo>
                    <a:pt x="8413" y="7216"/>
                  </a:lnTo>
                  <a:cubicBezTo>
                    <a:pt x="8413" y="7405"/>
                    <a:pt x="8255" y="7562"/>
                    <a:pt x="8066" y="7562"/>
                  </a:cubicBezTo>
                  <a:cubicBezTo>
                    <a:pt x="7877" y="7562"/>
                    <a:pt x="7720" y="7405"/>
                    <a:pt x="7720" y="7216"/>
                  </a:cubicBezTo>
                  <a:lnTo>
                    <a:pt x="7720" y="978"/>
                  </a:lnTo>
                  <a:cubicBezTo>
                    <a:pt x="7720" y="789"/>
                    <a:pt x="7877" y="631"/>
                    <a:pt x="8066" y="631"/>
                  </a:cubicBezTo>
                  <a:close/>
                  <a:moveTo>
                    <a:pt x="3498" y="6176"/>
                  </a:moveTo>
                  <a:lnTo>
                    <a:pt x="3498" y="7909"/>
                  </a:lnTo>
                  <a:cubicBezTo>
                    <a:pt x="3498" y="8129"/>
                    <a:pt x="3340" y="8287"/>
                    <a:pt x="3151" y="8287"/>
                  </a:cubicBezTo>
                  <a:cubicBezTo>
                    <a:pt x="2962" y="8287"/>
                    <a:pt x="2805" y="8129"/>
                    <a:pt x="2805" y="7909"/>
                  </a:cubicBezTo>
                  <a:lnTo>
                    <a:pt x="2805" y="6176"/>
                  </a:lnTo>
                  <a:close/>
                  <a:moveTo>
                    <a:pt x="8035" y="1"/>
                  </a:moveTo>
                  <a:cubicBezTo>
                    <a:pt x="7531" y="1"/>
                    <a:pt x="7090" y="411"/>
                    <a:pt x="6995" y="883"/>
                  </a:cubicBezTo>
                  <a:lnTo>
                    <a:pt x="6680" y="1198"/>
                  </a:lnTo>
                  <a:cubicBezTo>
                    <a:pt x="6144" y="1734"/>
                    <a:pt x="5325" y="2049"/>
                    <a:pt x="4538" y="2049"/>
                  </a:cubicBezTo>
                  <a:lnTo>
                    <a:pt x="2427" y="2049"/>
                  </a:lnTo>
                  <a:cubicBezTo>
                    <a:pt x="2017" y="2049"/>
                    <a:pt x="1608" y="2332"/>
                    <a:pt x="1450" y="2773"/>
                  </a:cubicBezTo>
                  <a:lnTo>
                    <a:pt x="1387" y="2773"/>
                  </a:lnTo>
                  <a:cubicBezTo>
                    <a:pt x="631" y="2773"/>
                    <a:pt x="1" y="3403"/>
                    <a:pt x="1" y="4128"/>
                  </a:cubicBezTo>
                  <a:cubicBezTo>
                    <a:pt x="1" y="4884"/>
                    <a:pt x="631" y="5514"/>
                    <a:pt x="1387" y="5514"/>
                  </a:cubicBezTo>
                  <a:lnTo>
                    <a:pt x="1450" y="5514"/>
                  </a:lnTo>
                  <a:cubicBezTo>
                    <a:pt x="1576" y="5798"/>
                    <a:pt x="1797" y="6018"/>
                    <a:pt x="2080" y="6144"/>
                  </a:cubicBezTo>
                  <a:lnTo>
                    <a:pt x="2080" y="7940"/>
                  </a:lnTo>
                  <a:cubicBezTo>
                    <a:pt x="2112" y="8507"/>
                    <a:pt x="2584" y="8980"/>
                    <a:pt x="3151" y="8980"/>
                  </a:cubicBezTo>
                  <a:cubicBezTo>
                    <a:pt x="3750" y="8980"/>
                    <a:pt x="4160" y="8507"/>
                    <a:pt x="4160" y="7972"/>
                  </a:cubicBezTo>
                  <a:lnTo>
                    <a:pt x="4160" y="6239"/>
                  </a:lnTo>
                  <a:lnTo>
                    <a:pt x="4538" y="6239"/>
                  </a:lnTo>
                  <a:cubicBezTo>
                    <a:pt x="5325" y="6239"/>
                    <a:pt x="6144" y="6554"/>
                    <a:pt x="6680" y="7090"/>
                  </a:cubicBezTo>
                  <a:lnTo>
                    <a:pt x="6995" y="7405"/>
                  </a:lnTo>
                  <a:cubicBezTo>
                    <a:pt x="7090" y="7909"/>
                    <a:pt x="7531" y="8287"/>
                    <a:pt x="8035" y="8287"/>
                  </a:cubicBezTo>
                  <a:cubicBezTo>
                    <a:pt x="8633" y="8287"/>
                    <a:pt x="9043" y="7814"/>
                    <a:pt x="9043" y="7247"/>
                  </a:cubicBezTo>
                  <a:lnTo>
                    <a:pt x="9043" y="1041"/>
                  </a:lnTo>
                  <a:cubicBezTo>
                    <a:pt x="9043" y="442"/>
                    <a:pt x="8570" y="1"/>
                    <a:pt x="80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81" name="Google Shape;6981;p73"/>
          <p:cNvGrpSpPr/>
          <p:nvPr/>
        </p:nvGrpSpPr>
        <p:grpSpPr>
          <a:xfrm>
            <a:off x="7068922" y="4515330"/>
            <a:ext cx="465943" cy="465943"/>
            <a:chOff x="3963575" y="2317575"/>
            <a:chExt cx="296175" cy="296175"/>
          </a:xfrm>
        </p:grpSpPr>
        <p:sp>
          <p:nvSpPr>
            <p:cNvPr id="6982" name="Google Shape;6982;p73"/>
            <p:cNvSpPr/>
            <p:nvPr/>
          </p:nvSpPr>
          <p:spPr>
            <a:xfrm>
              <a:off x="3963575" y="2317575"/>
              <a:ext cx="296175" cy="296175"/>
            </a:xfrm>
            <a:custGeom>
              <a:avLst/>
              <a:gdLst/>
              <a:ahLst/>
              <a:cxnLst/>
              <a:rect l="l" t="t" r="r" b="b"/>
              <a:pathLst>
                <a:path w="11847" h="11847" extrusionOk="0">
                  <a:moveTo>
                    <a:pt x="9483" y="1418"/>
                  </a:moveTo>
                  <a:cubicBezTo>
                    <a:pt x="9672" y="1418"/>
                    <a:pt x="9830" y="1576"/>
                    <a:pt x="9830" y="1765"/>
                  </a:cubicBezTo>
                  <a:lnTo>
                    <a:pt x="9830" y="2836"/>
                  </a:lnTo>
                  <a:lnTo>
                    <a:pt x="788" y="2836"/>
                  </a:lnTo>
                  <a:lnTo>
                    <a:pt x="788" y="1765"/>
                  </a:lnTo>
                  <a:lnTo>
                    <a:pt x="725" y="1765"/>
                  </a:lnTo>
                  <a:cubicBezTo>
                    <a:pt x="725" y="1576"/>
                    <a:pt x="883" y="1418"/>
                    <a:pt x="1072" y="1418"/>
                  </a:cubicBezTo>
                  <a:lnTo>
                    <a:pt x="1418" y="1418"/>
                  </a:lnTo>
                  <a:lnTo>
                    <a:pt x="1418" y="1765"/>
                  </a:lnTo>
                  <a:cubicBezTo>
                    <a:pt x="1418" y="1954"/>
                    <a:pt x="1576" y="2143"/>
                    <a:pt x="1765" y="2143"/>
                  </a:cubicBezTo>
                  <a:cubicBezTo>
                    <a:pt x="1954" y="2143"/>
                    <a:pt x="2111" y="1954"/>
                    <a:pt x="2111" y="1765"/>
                  </a:cubicBezTo>
                  <a:lnTo>
                    <a:pt x="2111" y="1418"/>
                  </a:lnTo>
                  <a:lnTo>
                    <a:pt x="3498" y="1418"/>
                  </a:lnTo>
                  <a:lnTo>
                    <a:pt x="3498" y="1765"/>
                  </a:lnTo>
                  <a:cubicBezTo>
                    <a:pt x="3498" y="1954"/>
                    <a:pt x="3655" y="2143"/>
                    <a:pt x="3844" y="2143"/>
                  </a:cubicBezTo>
                  <a:cubicBezTo>
                    <a:pt x="4065" y="2143"/>
                    <a:pt x="4222" y="1954"/>
                    <a:pt x="4222" y="1765"/>
                  </a:cubicBezTo>
                  <a:lnTo>
                    <a:pt x="4222" y="1418"/>
                  </a:lnTo>
                  <a:lnTo>
                    <a:pt x="6333" y="1418"/>
                  </a:lnTo>
                  <a:lnTo>
                    <a:pt x="6333" y="1765"/>
                  </a:lnTo>
                  <a:cubicBezTo>
                    <a:pt x="6333" y="1954"/>
                    <a:pt x="6490" y="2143"/>
                    <a:pt x="6680" y="2143"/>
                  </a:cubicBezTo>
                  <a:cubicBezTo>
                    <a:pt x="6900" y="2143"/>
                    <a:pt x="7058" y="1954"/>
                    <a:pt x="7058" y="1765"/>
                  </a:cubicBezTo>
                  <a:lnTo>
                    <a:pt x="7058" y="1418"/>
                  </a:lnTo>
                  <a:lnTo>
                    <a:pt x="8412" y="1418"/>
                  </a:lnTo>
                  <a:lnTo>
                    <a:pt x="8412" y="1765"/>
                  </a:lnTo>
                  <a:cubicBezTo>
                    <a:pt x="8412" y="1954"/>
                    <a:pt x="8570" y="2143"/>
                    <a:pt x="8790" y="2143"/>
                  </a:cubicBezTo>
                  <a:cubicBezTo>
                    <a:pt x="8979" y="2143"/>
                    <a:pt x="9137" y="1954"/>
                    <a:pt x="9137" y="1765"/>
                  </a:cubicBezTo>
                  <a:lnTo>
                    <a:pt x="9137" y="1418"/>
                  </a:lnTo>
                  <a:close/>
                  <a:moveTo>
                    <a:pt x="9767" y="3497"/>
                  </a:moveTo>
                  <a:lnTo>
                    <a:pt x="9767" y="7026"/>
                  </a:lnTo>
                  <a:cubicBezTo>
                    <a:pt x="9641" y="7026"/>
                    <a:pt x="9546" y="6963"/>
                    <a:pt x="9420" y="6963"/>
                  </a:cubicBezTo>
                  <a:cubicBezTo>
                    <a:pt x="8066" y="6963"/>
                    <a:pt x="6963" y="8066"/>
                    <a:pt x="6963" y="9420"/>
                  </a:cubicBezTo>
                  <a:cubicBezTo>
                    <a:pt x="6963" y="9546"/>
                    <a:pt x="6963" y="9641"/>
                    <a:pt x="7026" y="9767"/>
                  </a:cubicBezTo>
                  <a:lnTo>
                    <a:pt x="1040" y="9767"/>
                  </a:lnTo>
                  <a:cubicBezTo>
                    <a:pt x="820" y="9767"/>
                    <a:pt x="662" y="9609"/>
                    <a:pt x="662" y="9420"/>
                  </a:cubicBezTo>
                  <a:lnTo>
                    <a:pt x="662" y="3497"/>
                  </a:lnTo>
                  <a:close/>
                  <a:moveTo>
                    <a:pt x="9420" y="7688"/>
                  </a:moveTo>
                  <a:cubicBezTo>
                    <a:pt x="10366" y="7688"/>
                    <a:pt x="11153" y="8475"/>
                    <a:pt x="11153" y="9420"/>
                  </a:cubicBezTo>
                  <a:cubicBezTo>
                    <a:pt x="11153" y="10397"/>
                    <a:pt x="10366" y="11185"/>
                    <a:pt x="9420" y="11185"/>
                  </a:cubicBezTo>
                  <a:cubicBezTo>
                    <a:pt x="8475" y="11185"/>
                    <a:pt x="7688" y="10397"/>
                    <a:pt x="7688" y="9420"/>
                  </a:cubicBezTo>
                  <a:cubicBezTo>
                    <a:pt x="7688" y="8475"/>
                    <a:pt x="8475" y="7688"/>
                    <a:pt x="9420" y="7688"/>
                  </a:cubicBezTo>
                  <a:close/>
                  <a:moveTo>
                    <a:pt x="1733" y="0"/>
                  </a:moveTo>
                  <a:cubicBezTo>
                    <a:pt x="1544" y="0"/>
                    <a:pt x="1387" y="158"/>
                    <a:pt x="1387" y="347"/>
                  </a:cubicBezTo>
                  <a:lnTo>
                    <a:pt x="1387" y="725"/>
                  </a:lnTo>
                  <a:lnTo>
                    <a:pt x="1040" y="725"/>
                  </a:lnTo>
                  <a:cubicBezTo>
                    <a:pt x="442" y="725"/>
                    <a:pt x="0" y="1166"/>
                    <a:pt x="0" y="1733"/>
                  </a:cubicBezTo>
                  <a:lnTo>
                    <a:pt x="0" y="9389"/>
                  </a:lnTo>
                  <a:cubicBezTo>
                    <a:pt x="0" y="9956"/>
                    <a:pt x="473" y="10429"/>
                    <a:pt x="1040" y="10429"/>
                  </a:cubicBezTo>
                  <a:lnTo>
                    <a:pt x="7215" y="10429"/>
                  </a:lnTo>
                  <a:cubicBezTo>
                    <a:pt x="7593" y="11279"/>
                    <a:pt x="8444" y="11846"/>
                    <a:pt x="9420" y="11846"/>
                  </a:cubicBezTo>
                  <a:cubicBezTo>
                    <a:pt x="10744" y="11846"/>
                    <a:pt x="11846" y="10744"/>
                    <a:pt x="11846" y="9420"/>
                  </a:cubicBezTo>
                  <a:cubicBezTo>
                    <a:pt x="11846" y="8444"/>
                    <a:pt x="11311" y="7593"/>
                    <a:pt x="10492" y="7215"/>
                  </a:cubicBezTo>
                  <a:lnTo>
                    <a:pt x="10492" y="1733"/>
                  </a:lnTo>
                  <a:cubicBezTo>
                    <a:pt x="10492" y="1135"/>
                    <a:pt x="10019" y="725"/>
                    <a:pt x="9452" y="725"/>
                  </a:cubicBezTo>
                  <a:lnTo>
                    <a:pt x="9105" y="725"/>
                  </a:lnTo>
                  <a:lnTo>
                    <a:pt x="9105" y="347"/>
                  </a:lnTo>
                  <a:cubicBezTo>
                    <a:pt x="9105" y="158"/>
                    <a:pt x="8948" y="0"/>
                    <a:pt x="8759" y="0"/>
                  </a:cubicBezTo>
                  <a:cubicBezTo>
                    <a:pt x="8538" y="0"/>
                    <a:pt x="8381" y="158"/>
                    <a:pt x="8381" y="347"/>
                  </a:cubicBezTo>
                  <a:lnTo>
                    <a:pt x="8381" y="725"/>
                  </a:lnTo>
                  <a:lnTo>
                    <a:pt x="7026" y="725"/>
                  </a:lnTo>
                  <a:lnTo>
                    <a:pt x="7026" y="347"/>
                  </a:lnTo>
                  <a:cubicBezTo>
                    <a:pt x="7026" y="158"/>
                    <a:pt x="6869" y="0"/>
                    <a:pt x="6648" y="0"/>
                  </a:cubicBezTo>
                  <a:cubicBezTo>
                    <a:pt x="6459" y="0"/>
                    <a:pt x="6301" y="158"/>
                    <a:pt x="6301" y="347"/>
                  </a:cubicBezTo>
                  <a:lnTo>
                    <a:pt x="6301" y="725"/>
                  </a:lnTo>
                  <a:lnTo>
                    <a:pt x="4191" y="725"/>
                  </a:lnTo>
                  <a:lnTo>
                    <a:pt x="4191" y="347"/>
                  </a:lnTo>
                  <a:cubicBezTo>
                    <a:pt x="4191" y="158"/>
                    <a:pt x="4033" y="0"/>
                    <a:pt x="3813" y="0"/>
                  </a:cubicBezTo>
                  <a:cubicBezTo>
                    <a:pt x="3624" y="0"/>
                    <a:pt x="3466" y="158"/>
                    <a:pt x="3466" y="347"/>
                  </a:cubicBezTo>
                  <a:lnTo>
                    <a:pt x="3466" y="725"/>
                  </a:lnTo>
                  <a:lnTo>
                    <a:pt x="2080" y="725"/>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3" name="Google Shape;6983;p73"/>
            <p:cNvSpPr/>
            <p:nvPr/>
          </p:nvSpPr>
          <p:spPr>
            <a:xfrm>
              <a:off x="4190400" y="2526300"/>
              <a:ext cx="34700" cy="35450"/>
            </a:xfrm>
            <a:custGeom>
              <a:avLst/>
              <a:gdLst/>
              <a:ahLst/>
              <a:cxnLst/>
              <a:rect l="l" t="t" r="r" b="b"/>
              <a:pathLst>
                <a:path w="1388" h="1418" extrusionOk="0">
                  <a:moveTo>
                    <a:pt x="347" y="0"/>
                  </a:moveTo>
                  <a:cubicBezTo>
                    <a:pt x="158" y="0"/>
                    <a:pt x="1" y="158"/>
                    <a:pt x="1" y="347"/>
                  </a:cubicBezTo>
                  <a:lnTo>
                    <a:pt x="1" y="1071"/>
                  </a:lnTo>
                  <a:cubicBezTo>
                    <a:pt x="1" y="1260"/>
                    <a:pt x="127" y="1418"/>
                    <a:pt x="347" y="1418"/>
                  </a:cubicBezTo>
                  <a:lnTo>
                    <a:pt x="1041" y="1418"/>
                  </a:lnTo>
                  <a:cubicBezTo>
                    <a:pt x="1261" y="1418"/>
                    <a:pt x="1387" y="1260"/>
                    <a:pt x="1387" y="1071"/>
                  </a:cubicBezTo>
                  <a:cubicBezTo>
                    <a:pt x="1387" y="882"/>
                    <a:pt x="1261" y="725"/>
                    <a:pt x="1041" y="725"/>
                  </a:cubicBezTo>
                  <a:lnTo>
                    <a:pt x="694" y="725"/>
                  </a:ln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4" name="Google Shape;6984;p73"/>
            <p:cNvSpPr/>
            <p:nvPr/>
          </p:nvSpPr>
          <p:spPr>
            <a:xfrm>
              <a:off x="39982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5" name="Google Shape;6985;p73"/>
            <p:cNvSpPr/>
            <p:nvPr/>
          </p:nvSpPr>
          <p:spPr>
            <a:xfrm>
              <a:off x="4050225" y="24215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6" name="Google Shape;6986;p73"/>
            <p:cNvSpPr/>
            <p:nvPr/>
          </p:nvSpPr>
          <p:spPr>
            <a:xfrm>
              <a:off x="4102200" y="24215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7" name="Google Shape;6987;p73"/>
            <p:cNvSpPr/>
            <p:nvPr/>
          </p:nvSpPr>
          <p:spPr>
            <a:xfrm>
              <a:off x="4155750"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8" name="Google Shape;6988;p73"/>
            <p:cNvSpPr/>
            <p:nvPr/>
          </p:nvSpPr>
          <p:spPr>
            <a:xfrm>
              <a:off x="3998225"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89" name="Google Shape;6989;p73"/>
            <p:cNvSpPr/>
            <p:nvPr/>
          </p:nvSpPr>
          <p:spPr>
            <a:xfrm>
              <a:off x="4050225" y="2456975"/>
              <a:ext cx="35450" cy="18150"/>
            </a:xfrm>
            <a:custGeom>
              <a:avLst/>
              <a:gdLst/>
              <a:ahLst/>
              <a:cxnLst/>
              <a:rect l="l" t="t" r="r" b="b"/>
              <a:pathLst>
                <a:path w="1418" h="726" extrusionOk="0">
                  <a:moveTo>
                    <a:pt x="347" y="1"/>
                  </a:moveTo>
                  <a:cubicBezTo>
                    <a:pt x="158" y="1"/>
                    <a:pt x="0" y="158"/>
                    <a:pt x="0" y="379"/>
                  </a:cubicBezTo>
                  <a:cubicBezTo>
                    <a:pt x="0" y="568"/>
                    <a:pt x="158" y="725"/>
                    <a:pt x="347" y="725"/>
                  </a:cubicBezTo>
                  <a:lnTo>
                    <a:pt x="1071" y="725"/>
                  </a:lnTo>
                  <a:cubicBezTo>
                    <a:pt x="1260" y="725"/>
                    <a:pt x="1418" y="568"/>
                    <a:pt x="1418" y="379"/>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0" name="Google Shape;6990;p73"/>
            <p:cNvSpPr/>
            <p:nvPr/>
          </p:nvSpPr>
          <p:spPr>
            <a:xfrm>
              <a:off x="4102200" y="2456975"/>
              <a:ext cx="35475" cy="18150"/>
            </a:xfrm>
            <a:custGeom>
              <a:avLst/>
              <a:gdLst/>
              <a:ahLst/>
              <a:cxnLst/>
              <a:rect l="l" t="t" r="r" b="b"/>
              <a:pathLst>
                <a:path w="1419" h="726" extrusionOk="0">
                  <a:moveTo>
                    <a:pt x="378" y="1"/>
                  </a:moveTo>
                  <a:cubicBezTo>
                    <a:pt x="158" y="1"/>
                    <a:pt x="0" y="158"/>
                    <a:pt x="0" y="379"/>
                  </a:cubicBezTo>
                  <a:cubicBezTo>
                    <a:pt x="0" y="568"/>
                    <a:pt x="158" y="725"/>
                    <a:pt x="378"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1" name="Google Shape;6991;p73"/>
            <p:cNvSpPr/>
            <p:nvPr/>
          </p:nvSpPr>
          <p:spPr>
            <a:xfrm>
              <a:off x="4155750" y="2456975"/>
              <a:ext cx="35475" cy="18150"/>
            </a:xfrm>
            <a:custGeom>
              <a:avLst/>
              <a:gdLst/>
              <a:ahLst/>
              <a:cxnLst/>
              <a:rect l="l" t="t" r="r" b="b"/>
              <a:pathLst>
                <a:path w="1419" h="726" extrusionOk="0">
                  <a:moveTo>
                    <a:pt x="347" y="1"/>
                  </a:moveTo>
                  <a:cubicBezTo>
                    <a:pt x="158" y="1"/>
                    <a:pt x="1" y="158"/>
                    <a:pt x="1" y="379"/>
                  </a:cubicBezTo>
                  <a:cubicBezTo>
                    <a:pt x="1" y="568"/>
                    <a:pt x="158" y="725"/>
                    <a:pt x="347" y="725"/>
                  </a:cubicBezTo>
                  <a:lnTo>
                    <a:pt x="1072" y="725"/>
                  </a:lnTo>
                  <a:cubicBezTo>
                    <a:pt x="1261" y="725"/>
                    <a:pt x="1418" y="568"/>
                    <a:pt x="1418" y="379"/>
                  </a:cubicBezTo>
                  <a:cubicBezTo>
                    <a:pt x="1418" y="158"/>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2" name="Google Shape;6992;p73"/>
            <p:cNvSpPr/>
            <p:nvPr/>
          </p:nvSpPr>
          <p:spPr>
            <a:xfrm>
              <a:off x="3998225" y="24916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3" name="Google Shape;6993;p73"/>
            <p:cNvSpPr/>
            <p:nvPr/>
          </p:nvSpPr>
          <p:spPr>
            <a:xfrm>
              <a:off x="4050225" y="2491650"/>
              <a:ext cx="35450" cy="18125"/>
            </a:xfrm>
            <a:custGeom>
              <a:avLst/>
              <a:gdLst/>
              <a:ahLst/>
              <a:cxnLst/>
              <a:rect l="l" t="t" r="r" b="b"/>
              <a:pathLst>
                <a:path w="1418" h="725" extrusionOk="0">
                  <a:moveTo>
                    <a:pt x="347" y="0"/>
                  </a:moveTo>
                  <a:cubicBezTo>
                    <a:pt x="158" y="0"/>
                    <a:pt x="0" y="158"/>
                    <a:pt x="0" y="378"/>
                  </a:cubicBezTo>
                  <a:cubicBezTo>
                    <a:pt x="0" y="567"/>
                    <a:pt x="158" y="725"/>
                    <a:pt x="347" y="725"/>
                  </a:cubicBezTo>
                  <a:lnTo>
                    <a:pt x="1071" y="725"/>
                  </a:lnTo>
                  <a:cubicBezTo>
                    <a:pt x="1260" y="725"/>
                    <a:pt x="1418" y="567"/>
                    <a:pt x="1418" y="378"/>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4" name="Google Shape;6994;p73"/>
            <p:cNvSpPr/>
            <p:nvPr/>
          </p:nvSpPr>
          <p:spPr>
            <a:xfrm>
              <a:off x="4102200" y="2491650"/>
              <a:ext cx="35475" cy="18125"/>
            </a:xfrm>
            <a:custGeom>
              <a:avLst/>
              <a:gdLst/>
              <a:ahLst/>
              <a:cxnLst/>
              <a:rect l="l" t="t" r="r" b="b"/>
              <a:pathLst>
                <a:path w="1419" h="725" extrusionOk="0">
                  <a:moveTo>
                    <a:pt x="378" y="0"/>
                  </a:moveTo>
                  <a:cubicBezTo>
                    <a:pt x="158" y="0"/>
                    <a:pt x="0" y="158"/>
                    <a:pt x="0" y="378"/>
                  </a:cubicBezTo>
                  <a:cubicBezTo>
                    <a:pt x="0" y="567"/>
                    <a:pt x="158" y="725"/>
                    <a:pt x="378"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5" name="Google Shape;6995;p73"/>
            <p:cNvSpPr/>
            <p:nvPr/>
          </p:nvSpPr>
          <p:spPr>
            <a:xfrm>
              <a:off x="3998225" y="2526300"/>
              <a:ext cx="35475" cy="18125"/>
            </a:xfrm>
            <a:custGeom>
              <a:avLst/>
              <a:gdLst/>
              <a:ahLst/>
              <a:cxnLst/>
              <a:rect l="l" t="t" r="r" b="b"/>
              <a:pathLst>
                <a:path w="1419" h="725" extrusionOk="0">
                  <a:moveTo>
                    <a:pt x="347" y="0"/>
                  </a:moveTo>
                  <a:cubicBezTo>
                    <a:pt x="158" y="0"/>
                    <a:pt x="1" y="158"/>
                    <a:pt x="1" y="347"/>
                  </a:cubicBezTo>
                  <a:cubicBezTo>
                    <a:pt x="1" y="567"/>
                    <a:pt x="158" y="725"/>
                    <a:pt x="347"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6" name="Google Shape;6996;p73"/>
            <p:cNvSpPr/>
            <p:nvPr/>
          </p:nvSpPr>
          <p:spPr>
            <a:xfrm>
              <a:off x="4050225" y="2526300"/>
              <a:ext cx="35450" cy="18125"/>
            </a:xfrm>
            <a:custGeom>
              <a:avLst/>
              <a:gdLst/>
              <a:ahLst/>
              <a:cxnLst/>
              <a:rect l="l" t="t" r="r" b="b"/>
              <a:pathLst>
                <a:path w="1418" h="725" extrusionOk="0">
                  <a:moveTo>
                    <a:pt x="347" y="0"/>
                  </a:moveTo>
                  <a:cubicBezTo>
                    <a:pt x="158" y="0"/>
                    <a:pt x="0" y="158"/>
                    <a:pt x="0" y="347"/>
                  </a:cubicBezTo>
                  <a:cubicBezTo>
                    <a:pt x="0" y="567"/>
                    <a:pt x="158" y="725"/>
                    <a:pt x="347" y="725"/>
                  </a:cubicBezTo>
                  <a:lnTo>
                    <a:pt x="1071" y="725"/>
                  </a:lnTo>
                  <a:cubicBezTo>
                    <a:pt x="1260" y="725"/>
                    <a:pt x="1418" y="567"/>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6997" name="Google Shape;6997;p73"/>
            <p:cNvSpPr/>
            <p:nvPr/>
          </p:nvSpPr>
          <p:spPr>
            <a:xfrm>
              <a:off x="4102200" y="2526300"/>
              <a:ext cx="35475" cy="18125"/>
            </a:xfrm>
            <a:custGeom>
              <a:avLst/>
              <a:gdLst/>
              <a:ahLst/>
              <a:cxnLst/>
              <a:rect l="l" t="t" r="r" b="b"/>
              <a:pathLst>
                <a:path w="1419" h="725" extrusionOk="0">
                  <a:moveTo>
                    <a:pt x="378" y="0"/>
                  </a:moveTo>
                  <a:cubicBezTo>
                    <a:pt x="158" y="0"/>
                    <a:pt x="0" y="158"/>
                    <a:pt x="0" y="347"/>
                  </a:cubicBezTo>
                  <a:cubicBezTo>
                    <a:pt x="0" y="567"/>
                    <a:pt x="158" y="725"/>
                    <a:pt x="378" y="725"/>
                  </a:cubicBezTo>
                  <a:lnTo>
                    <a:pt x="1072" y="725"/>
                  </a:lnTo>
                  <a:cubicBezTo>
                    <a:pt x="1261" y="725"/>
                    <a:pt x="1418" y="567"/>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6998" name="Google Shape;6998;p73"/>
          <p:cNvGrpSpPr/>
          <p:nvPr/>
        </p:nvGrpSpPr>
        <p:grpSpPr>
          <a:xfrm>
            <a:off x="7068922" y="5115035"/>
            <a:ext cx="465943" cy="464684"/>
            <a:chOff x="3962775" y="2683025"/>
            <a:chExt cx="296175" cy="295375"/>
          </a:xfrm>
        </p:grpSpPr>
        <p:sp>
          <p:nvSpPr>
            <p:cNvPr id="6999" name="Google Shape;6999;p73"/>
            <p:cNvSpPr/>
            <p:nvPr/>
          </p:nvSpPr>
          <p:spPr>
            <a:xfrm>
              <a:off x="3962775" y="2838200"/>
              <a:ext cx="296175" cy="140200"/>
            </a:xfrm>
            <a:custGeom>
              <a:avLst/>
              <a:gdLst/>
              <a:ahLst/>
              <a:cxnLst/>
              <a:rect l="l" t="t" r="r" b="b"/>
              <a:pathLst>
                <a:path w="11847" h="5608" extrusionOk="0">
                  <a:moveTo>
                    <a:pt x="3530" y="3466"/>
                  </a:moveTo>
                  <a:lnTo>
                    <a:pt x="3530" y="4883"/>
                  </a:lnTo>
                  <a:lnTo>
                    <a:pt x="757" y="4883"/>
                  </a:lnTo>
                  <a:lnTo>
                    <a:pt x="757" y="3466"/>
                  </a:lnTo>
                  <a:close/>
                  <a:moveTo>
                    <a:pt x="7688" y="725"/>
                  </a:moveTo>
                  <a:lnTo>
                    <a:pt x="7688" y="4883"/>
                  </a:lnTo>
                  <a:lnTo>
                    <a:pt x="4223" y="4883"/>
                  </a:lnTo>
                  <a:lnTo>
                    <a:pt x="4223" y="725"/>
                  </a:lnTo>
                  <a:close/>
                  <a:moveTo>
                    <a:pt x="11185" y="2111"/>
                  </a:moveTo>
                  <a:lnTo>
                    <a:pt x="11185" y="4883"/>
                  </a:lnTo>
                  <a:lnTo>
                    <a:pt x="8381" y="4883"/>
                  </a:lnTo>
                  <a:lnTo>
                    <a:pt x="8381" y="2111"/>
                  </a:lnTo>
                  <a:close/>
                  <a:moveTo>
                    <a:pt x="3845" y="0"/>
                  </a:moveTo>
                  <a:cubicBezTo>
                    <a:pt x="3656" y="0"/>
                    <a:pt x="3498" y="158"/>
                    <a:pt x="3498" y="378"/>
                  </a:cubicBezTo>
                  <a:lnTo>
                    <a:pt x="3498" y="2804"/>
                  </a:lnTo>
                  <a:lnTo>
                    <a:pt x="348" y="2804"/>
                  </a:lnTo>
                  <a:cubicBezTo>
                    <a:pt x="158" y="2804"/>
                    <a:pt x="1" y="2962"/>
                    <a:pt x="1" y="3151"/>
                  </a:cubicBezTo>
                  <a:lnTo>
                    <a:pt x="1" y="5261"/>
                  </a:lnTo>
                  <a:cubicBezTo>
                    <a:pt x="1" y="5450"/>
                    <a:pt x="158" y="5608"/>
                    <a:pt x="348" y="5608"/>
                  </a:cubicBezTo>
                  <a:lnTo>
                    <a:pt x="11500" y="5608"/>
                  </a:lnTo>
                  <a:cubicBezTo>
                    <a:pt x="11689" y="5608"/>
                    <a:pt x="11847" y="5450"/>
                    <a:pt x="11847" y="5261"/>
                  </a:cubicBezTo>
                  <a:lnTo>
                    <a:pt x="11847" y="1733"/>
                  </a:lnTo>
                  <a:cubicBezTo>
                    <a:pt x="11847" y="1544"/>
                    <a:pt x="11689" y="1386"/>
                    <a:pt x="11532" y="1386"/>
                  </a:cubicBezTo>
                  <a:lnTo>
                    <a:pt x="8381" y="1386"/>
                  </a:lnTo>
                  <a:lnTo>
                    <a:pt x="8381" y="378"/>
                  </a:lnTo>
                  <a:cubicBezTo>
                    <a:pt x="8381" y="158"/>
                    <a:pt x="8224" y="0"/>
                    <a:pt x="80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0" name="Google Shape;7000;p73"/>
            <p:cNvSpPr/>
            <p:nvPr/>
          </p:nvSpPr>
          <p:spPr>
            <a:xfrm>
              <a:off x="4051000" y="2683025"/>
              <a:ext cx="122100" cy="138650"/>
            </a:xfrm>
            <a:custGeom>
              <a:avLst/>
              <a:gdLst/>
              <a:ahLst/>
              <a:cxnLst/>
              <a:rect l="l" t="t" r="r" b="b"/>
              <a:pathLst>
                <a:path w="4884" h="5546" extrusionOk="0">
                  <a:moveTo>
                    <a:pt x="2426" y="662"/>
                  </a:moveTo>
                  <a:cubicBezTo>
                    <a:pt x="2804" y="662"/>
                    <a:pt x="3120" y="977"/>
                    <a:pt x="3120" y="1387"/>
                  </a:cubicBezTo>
                  <a:cubicBezTo>
                    <a:pt x="3120" y="1765"/>
                    <a:pt x="2804" y="2080"/>
                    <a:pt x="2426" y="2080"/>
                  </a:cubicBezTo>
                  <a:cubicBezTo>
                    <a:pt x="2017" y="2080"/>
                    <a:pt x="1702" y="1765"/>
                    <a:pt x="1702" y="1387"/>
                  </a:cubicBezTo>
                  <a:cubicBezTo>
                    <a:pt x="1702" y="977"/>
                    <a:pt x="2017" y="662"/>
                    <a:pt x="2426" y="662"/>
                  </a:cubicBezTo>
                  <a:close/>
                  <a:moveTo>
                    <a:pt x="2426" y="2742"/>
                  </a:moveTo>
                  <a:cubicBezTo>
                    <a:pt x="3340" y="2742"/>
                    <a:pt x="4128" y="3529"/>
                    <a:pt x="4128" y="4474"/>
                  </a:cubicBezTo>
                  <a:lnTo>
                    <a:pt x="4128" y="4852"/>
                  </a:lnTo>
                  <a:lnTo>
                    <a:pt x="694" y="4852"/>
                  </a:lnTo>
                  <a:lnTo>
                    <a:pt x="694" y="4474"/>
                  </a:lnTo>
                  <a:cubicBezTo>
                    <a:pt x="694" y="3498"/>
                    <a:pt x="1481" y="2742"/>
                    <a:pt x="2426" y="2742"/>
                  </a:cubicBezTo>
                  <a:close/>
                  <a:moveTo>
                    <a:pt x="2489" y="1"/>
                  </a:moveTo>
                  <a:cubicBezTo>
                    <a:pt x="1733" y="1"/>
                    <a:pt x="1103" y="631"/>
                    <a:pt x="1103" y="1387"/>
                  </a:cubicBezTo>
                  <a:cubicBezTo>
                    <a:pt x="1103" y="1733"/>
                    <a:pt x="1229" y="2049"/>
                    <a:pt x="1450" y="2269"/>
                  </a:cubicBezTo>
                  <a:cubicBezTo>
                    <a:pt x="568" y="2679"/>
                    <a:pt x="1" y="3498"/>
                    <a:pt x="1" y="4474"/>
                  </a:cubicBezTo>
                  <a:lnTo>
                    <a:pt x="1" y="5199"/>
                  </a:lnTo>
                  <a:cubicBezTo>
                    <a:pt x="1" y="5388"/>
                    <a:pt x="158" y="5546"/>
                    <a:pt x="379" y="5546"/>
                  </a:cubicBezTo>
                  <a:lnTo>
                    <a:pt x="4537" y="5546"/>
                  </a:lnTo>
                  <a:cubicBezTo>
                    <a:pt x="4726" y="5546"/>
                    <a:pt x="4884" y="5388"/>
                    <a:pt x="4884" y="5199"/>
                  </a:cubicBezTo>
                  <a:lnTo>
                    <a:pt x="4884" y="4474"/>
                  </a:lnTo>
                  <a:cubicBezTo>
                    <a:pt x="4884" y="3498"/>
                    <a:pt x="4348" y="2679"/>
                    <a:pt x="3529" y="2269"/>
                  </a:cubicBezTo>
                  <a:cubicBezTo>
                    <a:pt x="3750" y="2049"/>
                    <a:pt x="3876" y="1733"/>
                    <a:pt x="3876" y="1387"/>
                  </a:cubicBezTo>
                  <a:cubicBezTo>
                    <a:pt x="3876" y="631"/>
                    <a:pt x="3246" y="1"/>
                    <a:pt x="24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1" name="Google Shape;7001;p73"/>
            <p:cNvSpPr/>
            <p:nvPr/>
          </p:nvSpPr>
          <p:spPr>
            <a:xfrm>
              <a:off x="4084875" y="2873200"/>
              <a:ext cx="52800" cy="69775"/>
            </a:xfrm>
            <a:custGeom>
              <a:avLst/>
              <a:gdLst/>
              <a:ahLst/>
              <a:cxnLst/>
              <a:rect l="l" t="t" r="r" b="b"/>
              <a:pathLst>
                <a:path w="2112" h="2791" extrusionOk="0">
                  <a:moveTo>
                    <a:pt x="1095" y="0"/>
                  </a:moveTo>
                  <a:cubicBezTo>
                    <a:pt x="1001" y="0"/>
                    <a:pt x="903" y="28"/>
                    <a:pt x="819" y="112"/>
                  </a:cubicBezTo>
                  <a:lnTo>
                    <a:pt x="126" y="805"/>
                  </a:lnTo>
                  <a:cubicBezTo>
                    <a:pt x="0" y="931"/>
                    <a:pt x="0" y="1184"/>
                    <a:pt x="126" y="1278"/>
                  </a:cubicBezTo>
                  <a:cubicBezTo>
                    <a:pt x="205" y="1341"/>
                    <a:pt x="292" y="1373"/>
                    <a:pt x="378" y="1373"/>
                  </a:cubicBezTo>
                  <a:cubicBezTo>
                    <a:pt x="465" y="1373"/>
                    <a:pt x="552" y="1341"/>
                    <a:pt x="630" y="1278"/>
                  </a:cubicBezTo>
                  <a:lnTo>
                    <a:pt x="756" y="1184"/>
                  </a:lnTo>
                  <a:lnTo>
                    <a:pt x="756" y="2066"/>
                  </a:lnTo>
                  <a:lnTo>
                    <a:pt x="378" y="2066"/>
                  </a:lnTo>
                  <a:cubicBezTo>
                    <a:pt x="189" y="2066"/>
                    <a:pt x="32" y="2223"/>
                    <a:pt x="32" y="2444"/>
                  </a:cubicBezTo>
                  <a:cubicBezTo>
                    <a:pt x="32" y="2633"/>
                    <a:pt x="189" y="2790"/>
                    <a:pt x="378" y="2790"/>
                  </a:cubicBezTo>
                  <a:lnTo>
                    <a:pt x="1765" y="2790"/>
                  </a:lnTo>
                  <a:cubicBezTo>
                    <a:pt x="1954" y="2790"/>
                    <a:pt x="2111" y="2633"/>
                    <a:pt x="2111" y="2444"/>
                  </a:cubicBezTo>
                  <a:cubicBezTo>
                    <a:pt x="2111" y="2223"/>
                    <a:pt x="1954" y="2066"/>
                    <a:pt x="1765" y="2066"/>
                  </a:cubicBezTo>
                  <a:lnTo>
                    <a:pt x="1418" y="2066"/>
                  </a:lnTo>
                  <a:lnTo>
                    <a:pt x="1418" y="333"/>
                  </a:lnTo>
                  <a:cubicBezTo>
                    <a:pt x="1418" y="175"/>
                    <a:pt x="1323" y="81"/>
                    <a:pt x="1229" y="18"/>
                  </a:cubicBezTo>
                  <a:cubicBezTo>
                    <a:pt x="1187" y="7"/>
                    <a:pt x="1141" y="0"/>
                    <a:pt x="10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02" name="Google Shape;7002;p73"/>
          <p:cNvSpPr/>
          <p:nvPr/>
        </p:nvSpPr>
        <p:spPr>
          <a:xfrm>
            <a:off x="10017701" y="3863922"/>
            <a:ext cx="472156" cy="464684"/>
          </a:xfrm>
          <a:custGeom>
            <a:avLst/>
            <a:gdLst/>
            <a:ahLst/>
            <a:cxnLst/>
            <a:rect l="l" t="t" r="r" b="b"/>
            <a:pathLst>
              <a:path w="12005" h="11815" extrusionOk="0">
                <a:moveTo>
                  <a:pt x="6003" y="693"/>
                </a:moveTo>
                <a:cubicBezTo>
                  <a:pt x="6089" y="693"/>
                  <a:pt x="6176" y="725"/>
                  <a:pt x="6239" y="788"/>
                </a:cubicBezTo>
                <a:lnTo>
                  <a:pt x="8444" y="2993"/>
                </a:lnTo>
                <a:lnTo>
                  <a:pt x="7972" y="3466"/>
                </a:lnTo>
                <a:lnTo>
                  <a:pt x="7751" y="3214"/>
                </a:lnTo>
                <a:cubicBezTo>
                  <a:pt x="7562" y="3025"/>
                  <a:pt x="7279" y="2899"/>
                  <a:pt x="6995" y="2899"/>
                </a:cubicBezTo>
                <a:cubicBezTo>
                  <a:pt x="6711" y="2899"/>
                  <a:pt x="6459" y="3025"/>
                  <a:pt x="6239" y="3214"/>
                </a:cubicBezTo>
                <a:cubicBezTo>
                  <a:pt x="5861" y="3623"/>
                  <a:pt x="5861" y="4285"/>
                  <a:pt x="6239" y="4663"/>
                </a:cubicBezTo>
                <a:lnTo>
                  <a:pt x="6491" y="4915"/>
                </a:lnTo>
                <a:lnTo>
                  <a:pt x="6018" y="5388"/>
                </a:lnTo>
                <a:lnTo>
                  <a:pt x="5262" y="4631"/>
                </a:lnTo>
                <a:cubicBezTo>
                  <a:pt x="5199" y="4568"/>
                  <a:pt x="5113" y="4537"/>
                  <a:pt x="5026" y="4537"/>
                </a:cubicBezTo>
                <a:cubicBezTo>
                  <a:pt x="4939" y="4537"/>
                  <a:pt x="4853" y="4568"/>
                  <a:pt x="4790" y="4631"/>
                </a:cubicBezTo>
                <a:lnTo>
                  <a:pt x="4317" y="5104"/>
                </a:lnTo>
                <a:cubicBezTo>
                  <a:pt x="4254" y="5167"/>
                  <a:pt x="4167" y="5198"/>
                  <a:pt x="4081" y="5198"/>
                </a:cubicBezTo>
                <a:cubicBezTo>
                  <a:pt x="3994" y="5198"/>
                  <a:pt x="3907" y="5167"/>
                  <a:pt x="3844" y="5104"/>
                </a:cubicBezTo>
                <a:cubicBezTo>
                  <a:pt x="3718" y="4978"/>
                  <a:pt x="3718" y="4757"/>
                  <a:pt x="3844" y="4631"/>
                </a:cubicBezTo>
                <a:lnTo>
                  <a:pt x="4317" y="4159"/>
                </a:lnTo>
                <a:cubicBezTo>
                  <a:pt x="4443" y="4033"/>
                  <a:pt x="4443" y="3812"/>
                  <a:pt x="4317" y="3686"/>
                </a:cubicBezTo>
                <a:lnTo>
                  <a:pt x="3624" y="2993"/>
                </a:lnTo>
                <a:lnTo>
                  <a:pt x="5766" y="788"/>
                </a:lnTo>
                <a:cubicBezTo>
                  <a:pt x="5829" y="725"/>
                  <a:pt x="5916" y="693"/>
                  <a:pt x="6003" y="693"/>
                </a:cubicBezTo>
                <a:close/>
                <a:moveTo>
                  <a:pt x="3088" y="3466"/>
                </a:moveTo>
                <a:lnTo>
                  <a:pt x="3561" y="3938"/>
                </a:lnTo>
                <a:lnTo>
                  <a:pt x="3340" y="4159"/>
                </a:lnTo>
                <a:cubicBezTo>
                  <a:pt x="2931" y="4568"/>
                  <a:pt x="2931" y="5230"/>
                  <a:pt x="3340" y="5608"/>
                </a:cubicBezTo>
                <a:cubicBezTo>
                  <a:pt x="3529" y="5813"/>
                  <a:pt x="3797" y="5915"/>
                  <a:pt x="4065" y="5915"/>
                </a:cubicBezTo>
                <a:cubicBezTo>
                  <a:pt x="4333" y="5915"/>
                  <a:pt x="4601" y="5813"/>
                  <a:pt x="4790" y="5608"/>
                </a:cubicBezTo>
                <a:lnTo>
                  <a:pt x="5042" y="5388"/>
                </a:lnTo>
                <a:lnTo>
                  <a:pt x="5514" y="5860"/>
                </a:lnTo>
                <a:lnTo>
                  <a:pt x="4758" y="6616"/>
                </a:lnTo>
                <a:cubicBezTo>
                  <a:pt x="4632" y="6711"/>
                  <a:pt x="4632" y="6963"/>
                  <a:pt x="4758" y="7089"/>
                </a:cubicBezTo>
                <a:lnTo>
                  <a:pt x="5231" y="7561"/>
                </a:lnTo>
                <a:cubicBezTo>
                  <a:pt x="5357" y="7656"/>
                  <a:pt x="5357" y="7908"/>
                  <a:pt x="5231" y="8002"/>
                </a:cubicBezTo>
                <a:cubicBezTo>
                  <a:pt x="5168" y="8065"/>
                  <a:pt x="5081" y="8097"/>
                  <a:pt x="4994" y="8097"/>
                </a:cubicBezTo>
                <a:cubicBezTo>
                  <a:pt x="4908" y="8097"/>
                  <a:pt x="4821" y="8065"/>
                  <a:pt x="4758" y="8002"/>
                </a:cubicBezTo>
                <a:lnTo>
                  <a:pt x="4286" y="7561"/>
                </a:lnTo>
                <a:cubicBezTo>
                  <a:pt x="4223" y="7498"/>
                  <a:pt x="4136" y="7467"/>
                  <a:pt x="4049" y="7467"/>
                </a:cubicBezTo>
                <a:cubicBezTo>
                  <a:pt x="3963" y="7467"/>
                  <a:pt x="3876" y="7498"/>
                  <a:pt x="3813" y="7561"/>
                </a:cubicBezTo>
                <a:lnTo>
                  <a:pt x="3088" y="8254"/>
                </a:lnTo>
                <a:lnTo>
                  <a:pt x="883" y="6049"/>
                </a:lnTo>
                <a:cubicBezTo>
                  <a:pt x="789" y="6018"/>
                  <a:pt x="789" y="5829"/>
                  <a:pt x="883" y="5671"/>
                </a:cubicBezTo>
                <a:lnTo>
                  <a:pt x="3088" y="3466"/>
                </a:lnTo>
                <a:close/>
                <a:moveTo>
                  <a:pt x="8917" y="3529"/>
                </a:moveTo>
                <a:lnTo>
                  <a:pt x="11122" y="5671"/>
                </a:lnTo>
                <a:cubicBezTo>
                  <a:pt x="11248" y="5766"/>
                  <a:pt x="11248" y="6018"/>
                  <a:pt x="11122" y="6144"/>
                </a:cubicBezTo>
                <a:lnTo>
                  <a:pt x="8917" y="8349"/>
                </a:lnTo>
                <a:lnTo>
                  <a:pt x="8444" y="7876"/>
                </a:lnTo>
                <a:lnTo>
                  <a:pt x="8696" y="7624"/>
                </a:lnTo>
                <a:cubicBezTo>
                  <a:pt x="9074" y="7246"/>
                  <a:pt x="9074" y="6553"/>
                  <a:pt x="8696" y="6175"/>
                </a:cubicBezTo>
                <a:cubicBezTo>
                  <a:pt x="8491" y="5970"/>
                  <a:pt x="8224" y="5868"/>
                  <a:pt x="7956" y="5868"/>
                </a:cubicBezTo>
                <a:cubicBezTo>
                  <a:pt x="7688" y="5868"/>
                  <a:pt x="7420" y="5970"/>
                  <a:pt x="7216" y="6175"/>
                </a:cubicBezTo>
                <a:lnTo>
                  <a:pt x="6995" y="6396"/>
                </a:lnTo>
                <a:lnTo>
                  <a:pt x="6522" y="5923"/>
                </a:lnTo>
                <a:lnTo>
                  <a:pt x="7279" y="5198"/>
                </a:lnTo>
                <a:cubicBezTo>
                  <a:pt x="7373" y="5072"/>
                  <a:pt x="7373" y="4820"/>
                  <a:pt x="7279" y="4726"/>
                </a:cubicBezTo>
                <a:lnTo>
                  <a:pt x="6806" y="4222"/>
                </a:lnTo>
                <a:cubicBezTo>
                  <a:pt x="6680" y="4127"/>
                  <a:pt x="6680" y="3875"/>
                  <a:pt x="6806" y="3749"/>
                </a:cubicBezTo>
                <a:cubicBezTo>
                  <a:pt x="6869" y="3686"/>
                  <a:pt x="6963" y="3655"/>
                  <a:pt x="7026" y="3655"/>
                </a:cubicBezTo>
                <a:cubicBezTo>
                  <a:pt x="7121" y="3655"/>
                  <a:pt x="7216" y="3686"/>
                  <a:pt x="7279" y="3749"/>
                </a:cubicBezTo>
                <a:lnTo>
                  <a:pt x="7751" y="4222"/>
                </a:lnTo>
                <a:cubicBezTo>
                  <a:pt x="7798" y="4285"/>
                  <a:pt x="7885" y="4316"/>
                  <a:pt x="7976" y="4316"/>
                </a:cubicBezTo>
                <a:cubicBezTo>
                  <a:pt x="8066" y="4316"/>
                  <a:pt x="8161" y="4285"/>
                  <a:pt x="8224" y="4222"/>
                </a:cubicBezTo>
                <a:lnTo>
                  <a:pt x="8917" y="3529"/>
                </a:lnTo>
                <a:close/>
                <a:moveTo>
                  <a:pt x="5987" y="6396"/>
                </a:moveTo>
                <a:lnTo>
                  <a:pt x="6711" y="7152"/>
                </a:lnTo>
                <a:cubicBezTo>
                  <a:pt x="6774" y="7215"/>
                  <a:pt x="6869" y="7246"/>
                  <a:pt x="6960" y="7246"/>
                </a:cubicBezTo>
                <a:cubicBezTo>
                  <a:pt x="7050" y="7246"/>
                  <a:pt x="7137" y="7215"/>
                  <a:pt x="7184" y="7152"/>
                </a:cubicBezTo>
                <a:lnTo>
                  <a:pt x="7657" y="6679"/>
                </a:lnTo>
                <a:cubicBezTo>
                  <a:pt x="7720" y="6616"/>
                  <a:pt x="7814" y="6585"/>
                  <a:pt x="7905" y="6585"/>
                </a:cubicBezTo>
                <a:cubicBezTo>
                  <a:pt x="7995" y="6585"/>
                  <a:pt x="8082" y="6616"/>
                  <a:pt x="8129" y="6679"/>
                </a:cubicBezTo>
                <a:cubicBezTo>
                  <a:pt x="8255" y="6805"/>
                  <a:pt x="8255" y="7026"/>
                  <a:pt x="8129" y="7152"/>
                </a:cubicBezTo>
                <a:lnTo>
                  <a:pt x="7657" y="7624"/>
                </a:lnTo>
                <a:cubicBezTo>
                  <a:pt x="7562" y="7750"/>
                  <a:pt x="7562" y="7971"/>
                  <a:pt x="7657" y="8097"/>
                </a:cubicBezTo>
                <a:lnTo>
                  <a:pt x="8381" y="8822"/>
                </a:lnTo>
                <a:lnTo>
                  <a:pt x="6239" y="11027"/>
                </a:lnTo>
                <a:cubicBezTo>
                  <a:pt x="6192" y="11074"/>
                  <a:pt x="6105" y="11098"/>
                  <a:pt x="6014" y="11098"/>
                </a:cubicBezTo>
                <a:cubicBezTo>
                  <a:pt x="5924" y="11098"/>
                  <a:pt x="5829" y="11074"/>
                  <a:pt x="5766" y="11027"/>
                </a:cubicBezTo>
                <a:lnTo>
                  <a:pt x="3561" y="8822"/>
                </a:lnTo>
                <a:lnTo>
                  <a:pt x="4034" y="8349"/>
                </a:lnTo>
                <a:lnTo>
                  <a:pt x="4286" y="8570"/>
                </a:lnTo>
                <a:cubicBezTo>
                  <a:pt x="4475" y="8774"/>
                  <a:pt x="4742" y="8877"/>
                  <a:pt x="5010" y="8877"/>
                </a:cubicBezTo>
                <a:cubicBezTo>
                  <a:pt x="5278" y="8877"/>
                  <a:pt x="5546" y="8774"/>
                  <a:pt x="5735" y="8570"/>
                </a:cubicBezTo>
                <a:cubicBezTo>
                  <a:pt x="6144" y="8191"/>
                  <a:pt x="6144" y="7498"/>
                  <a:pt x="5735" y="7120"/>
                </a:cubicBezTo>
                <a:lnTo>
                  <a:pt x="5514" y="6868"/>
                </a:lnTo>
                <a:lnTo>
                  <a:pt x="5987" y="6396"/>
                </a:lnTo>
                <a:close/>
                <a:moveTo>
                  <a:pt x="5999" y="0"/>
                </a:moveTo>
                <a:cubicBezTo>
                  <a:pt x="5735" y="0"/>
                  <a:pt x="5467" y="95"/>
                  <a:pt x="5262" y="284"/>
                </a:cubicBezTo>
                <a:lnTo>
                  <a:pt x="379" y="5167"/>
                </a:lnTo>
                <a:cubicBezTo>
                  <a:pt x="1" y="5577"/>
                  <a:pt x="1" y="6238"/>
                  <a:pt x="379" y="6648"/>
                </a:cubicBezTo>
                <a:lnTo>
                  <a:pt x="5262" y="11531"/>
                </a:lnTo>
                <a:cubicBezTo>
                  <a:pt x="5467" y="11720"/>
                  <a:pt x="5735" y="11814"/>
                  <a:pt x="5999" y="11814"/>
                </a:cubicBezTo>
                <a:cubicBezTo>
                  <a:pt x="6262" y="11814"/>
                  <a:pt x="6522" y="11720"/>
                  <a:pt x="6711" y="11531"/>
                </a:cubicBezTo>
                <a:lnTo>
                  <a:pt x="11595" y="6648"/>
                </a:lnTo>
                <a:cubicBezTo>
                  <a:pt x="12004" y="6238"/>
                  <a:pt x="12004" y="5577"/>
                  <a:pt x="11595" y="5167"/>
                </a:cubicBezTo>
                <a:lnTo>
                  <a:pt x="6711" y="284"/>
                </a:lnTo>
                <a:cubicBezTo>
                  <a:pt x="6522" y="95"/>
                  <a:pt x="6262" y="0"/>
                  <a:pt x="59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03" name="Google Shape;7003;p73"/>
          <p:cNvGrpSpPr/>
          <p:nvPr/>
        </p:nvGrpSpPr>
        <p:grpSpPr>
          <a:xfrm>
            <a:off x="10021638" y="4515958"/>
            <a:ext cx="464684" cy="464684"/>
            <a:chOff x="5775900" y="2308125"/>
            <a:chExt cx="295375" cy="295375"/>
          </a:xfrm>
        </p:grpSpPr>
        <p:sp>
          <p:nvSpPr>
            <p:cNvPr id="7004" name="Google Shape;7004;p73"/>
            <p:cNvSpPr/>
            <p:nvPr/>
          </p:nvSpPr>
          <p:spPr>
            <a:xfrm>
              <a:off x="5984625" y="2482975"/>
              <a:ext cx="18125" cy="18150"/>
            </a:xfrm>
            <a:custGeom>
              <a:avLst/>
              <a:gdLst/>
              <a:ahLst/>
              <a:cxnLst/>
              <a:rect l="l" t="t" r="r" b="b"/>
              <a:pathLst>
                <a:path w="725" h="726" extrusionOk="0">
                  <a:moveTo>
                    <a:pt x="378" y="0"/>
                  </a:moveTo>
                  <a:cubicBezTo>
                    <a:pt x="158" y="0"/>
                    <a:pt x="0" y="158"/>
                    <a:pt x="0" y="347"/>
                  </a:cubicBezTo>
                  <a:cubicBezTo>
                    <a:pt x="0" y="568"/>
                    <a:pt x="158" y="725"/>
                    <a:pt x="378" y="725"/>
                  </a:cubicBezTo>
                  <a:cubicBezTo>
                    <a:pt x="567" y="725"/>
                    <a:pt x="725" y="568"/>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5" name="Google Shape;7005;p73"/>
            <p:cNvSpPr/>
            <p:nvPr/>
          </p:nvSpPr>
          <p:spPr>
            <a:xfrm>
              <a:off x="5775900" y="2308125"/>
              <a:ext cx="295375" cy="295375"/>
            </a:xfrm>
            <a:custGeom>
              <a:avLst/>
              <a:gdLst/>
              <a:ahLst/>
              <a:cxnLst/>
              <a:rect l="l" t="t" r="r" b="b"/>
              <a:pathLst>
                <a:path w="11815" h="11815" extrusionOk="0">
                  <a:moveTo>
                    <a:pt x="7845" y="725"/>
                  </a:moveTo>
                  <a:cubicBezTo>
                    <a:pt x="7719" y="914"/>
                    <a:pt x="7656" y="1166"/>
                    <a:pt x="7656" y="1450"/>
                  </a:cubicBezTo>
                  <a:cubicBezTo>
                    <a:pt x="7656" y="1670"/>
                    <a:pt x="7719" y="1922"/>
                    <a:pt x="7845" y="2143"/>
                  </a:cubicBezTo>
                  <a:lnTo>
                    <a:pt x="1387" y="2143"/>
                  </a:lnTo>
                  <a:cubicBezTo>
                    <a:pt x="1009" y="2143"/>
                    <a:pt x="694" y="1828"/>
                    <a:pt x="694" y="1450"/>
                  </a:cubicBezTo>
                  <a:cubicBezTo>
                    <a:pt x="694" y="1040"/>
                    <a:pt x="1009" y="725"/>
                    <a:pt x="1387" y="725"/>
                  </a:cubicBezTo>
                  <a:close/>
                  <a:moveTo>
                    <a:pt x="6112" y="6994"/>
                  </a:moveTo>
                  <a:cubicBezTo>
                    <a:pt x="5955" y="7183"/>
                    <a:pt x="5829" y="7436"/>
                    <a:pt x="5766" y="7719"/>
                  </a:cubicBezTo>
                  <a:lnTo>
                    <a:pt x="3466" y="7719"/>
                  </a:lnTo>
                  <a:lnTo>
                    <a:pt x="3466" y="6994"/>
                  </a:lnTo>
                  <a:close/>
                  <a:moveTo>
                    <a:pt x="694" y="2678"/>
                  </a:moveTo>
                  <a:cubicBezTo>
                    <a:pt x="883" y="2773"/>
                    <a:pt x="1103" y="2867"/>
                    <a:pt x="1387" y="2867"/>
                  </a:cubicBezTo>
                  <a:lnTo>
                    <a:pt x="1387" y="10460"/>
                  </a:lnTo>
                  <a:cubicBezTo>
                    <a:pt x="1009" y="10460"/>
                    <a:pt x="694" y="10145"/>
                    <a:pt x="694" y="9767"/>
                  </a:cubicBezTo>
                  <a:lnTo>
                    <a:pt x="694" y="2678"/>
                  </a:lnTo>
                  <a:close/>
                  <a:moveTo>
                    <a:pt x="8381" y="2836"/>
                  </a:moveTo>
                  <a:lnTo>
                    <a:pt x="8381" y="5608"/>
                  </a:lnTo>
                  <a:cubicBezTo>
                    <a:pt x="7814" y="5703"/>
                    <a:pt x="7247" y="5923"/>
                    <a:pt x="6774" y="6301"/>
                  </a:cubicBezTo>
                  <a:lnTo>
                    <a:pt x="3151" y="6301"/>
                  </a:lnTo>
                  <a:cubicBezTo>
                    <a:pt x="2962" y="6301"/>
                    <a:pt x="2804" y="6459"/>
                    <a:pt x="2804" y="6648"/>
                  </a:cubicBezTo>
                  <a:lnTo>
                    <a:pt x="2804" y="8034"/>
                  </a:lnTo>
                  <a:cubicBezTo>
                    <a:pt x="2804" y="8223"/>
                    <a:pt x="2962" y="8381"/>
                    <a:pt x="3151" y="8381"/>
                  </a:cubicBezTo>
                  <a:lnTo>
                    <a:pt x="5640" y="8381"/>
                  </a:lnTo>
                  <a:lnTo>
                    <a:pt x="5640" y="8727"/>
                  </a:lnTo>
                  <a:cubicBezTo>
                    <a:pt x="5640" y="9357"/>
                    <a:pt x="5829" y="9956"/>
                    <a:pt x="6144" y="10492"/>
                  </a:cubicBezTo>
                  <a:lnTo>
                    <a:pt x="2080" y="10492"/>
                  </a:lnTo>
                  <a:lnTo>
                    <a:pt x="2080" y="10460"/>
                  </a:lnTo>
                  <a:lnTo>
                    <a:pt x="2080" y="2836"/>
                  </a:lnTo>
                  <a:close/>
                  <a:moveTo>
                    <a:pt x="8727" y="6301"/>
                  </a:moveTo>
                  <a:cubicBezTo>
                    <a:pt x="10050" y="6301"/>
                    <a:pt x="11153" y="7404"/>
                    <a:pt x="11153" y="8727"/>
                  </a:cubicBezTo>
                  <a:cubicBezTo>
                    <a:pt x="11153" y="10082"/>
                    <a:pt x="10050" y="11216"/>
                    <a:pt x="8727" y="11216"/>
                  </a:cubicBezTo>
                  <a:cubicBezTo>
                    <a:pt x="7373" y="11216"/>
                    <a:pt x="6270" y="10113"/>
                    <a:pt x="6270" y="8727"/>
                  </a:cubicBezTo>
                  <a:cubicBezTo>
                    <a:pt x="6270" y="7373"/>
                    <a:pt x="7373" y="6301"/>
                    <a:pt x="8727" y="6301"/>
                  </a:cubicBezTo>
                  <a:close/>
                  <a:moveTo>
                    <a:pt x="1387" y="0"/>
                  </a:moveTo>
                  <a:cubicBezTo>
                    <a:pt x="630" y="0"/>
                    <a:pt x="0" y="630"/>
                    <a:pt x="0" y="1355"/>
                  </a:cubicBezTo>
                  <a:lnTo>
                    <a:pt x="0" y="9704"/>
                  </a:lnTo>
                  <a:cubicBezTo>
                    <a:pt x="0" y="10460"/>
                    <a:pt x="630" y="11090"/>
                    <a:pt x="1387" y="11090"/>
                  </a:cubicBezTo>
                  <a:lnTo>
                    <a:pt x="6742" y="11090"/>
                  </a:lnTo>
                  <a:cubicBezTo>
                    <a:pt x="7310" y="11563"/>
                    <a:pt x="8003" y="11815"/>
                    <a:pt x="8727" y="11815"/>
                  </a:cubicBezTo>
                  <a:cubicBezTo>
                    <a:pt x="10460" y="11815"/>
                    <a:pt x="11815" y="10334"/>
                    <a:pt x="11815" y="8664"/>
                  </a:cubicBezTo>
                  <a:cubicBezTo>
                    <a:pt x="11815" y="7120"/>
                    <a:pt x="10618" y="5829"/>
                    <a:pt x="9074" y="5608"/>
                  </a:cubicBezTo>
                  <a:lnTo>
                    <a:pt x="9074" y="2458"/>
                  </a:lnTo>
                  <a:cubicBezTo>
                    <a:pt x="9074" y="2269"/>
                    <a:pt x="9042" y="2143"/>
                    <a:pt x="8822" y="2080"/>
                  </a:cubicBezTo>
                  <a:cubicBezTo>
                    <a:pt x="8538" y="1985"/>
                    <a:pt x="8349" y="1733"/>
                    <a:pt x="8349" y="1418"/>
                  </a:cubicBezTo>
                  <a:cubicBezTo>
                    <a:pt x="8349" y="1135"/>
                    <a:pt x="8538" y="851"/>
                    <a:pt x="8822" y="725"/>
                  </a:cubicBezTo>
                  <a:cubicBezTo>
                    <a:pt x="8979" y="694"/>
                    <a:pt x="9074" y="536"/>
                    <a:pt x="9074" y="410"/>
                  </a:cubicBezTo>
                  <a:lnTo>
                    <a:pt x="9074" y="347"/>
                  </a:lnTo>
                  <a:cubicBezTo>
                    <a:pt x="9074" y="158"/>
                    <a:pt x="8916" y="0"/>
                    <a:pt x="87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6" name="Google Shape;7006;p73"/>
            <p:cNvSpPr/>
            <p:nvPr/>
          </p:nvSpPr>
          <p:spPr>
            <a:xfrm>
              <a:off x="5984625" y="2508975"/>
              <a:ext cx="18125" cy="61450"/>
            </a:xfrm>
            <a:custGeom>
              <a:avLst/>
              <a:gdLst/>
              <a:ahLst/>
              <a:cxnLst/>
              <a:rect l="l" t="t" r="r" b="b"/>
              <a:pathLst>
                <a:path w="725" h="2458" extrusionOk="0">
                  <a:moveTo>
                    <a:pt x="378" y="0"/>
                  </a:moveTo>
                  <a:cubicBezTo>
                    <a:pt x="158" y="0"/>
                    <a:pt x="0" y="158"/>
                    <a:pt x="0" y="347"/>
                  </a:cubicBezTo>
                  <a:lnTo>
                    <a:pt x="0" y="2111"/>
                  </a:lnTo>
                  <a:cubicBezTo>
                    <a:pt x="0" y="2300"/>
                    <a:pt x="158" y="2458"/>
                    <a:pt x="378" y="2458"/>
                  </a:cubicBezTo>
                  <a:cubicBezTo>
                    <a:pt x="567" y="2458"/>
                    <a:pt x="725" y="2300"/>
                    <a:pt x="725" y="2111"/>
                  </a:cubicBezTo>
                  <a:lnTo>
                    <a:pt x="725" y="347"/>
                  </a:ln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7" name="Google Shape;7007;p73"/>
            <p:cNvSpPr/>
            <p:nvPr/>
          </p:nvSpPr>
          <p:spPr>
            <a:xfrm>
              <a:off x="5845200" y="2395550"/>
              <a:ext cx="122900" cy="17350"/>
            </a:xfrm>
            <a:custGeom>
              <a:avLst/>
              <a:gdLst/>
              <a:ahLst/>
              <a:cxnLst/>
              <a:rect l="l" t="t" r="r" b="b"/>
              <a:pathLst>
                <a:path w="4916" h="694" extrusionOk="0">
                  <a:moveTo>
                    <a:pt x="347" y="0"/>
                  </a:moveTo>
                  <a:cubicBezTo>
                    <a:pt x="158" y="0"/>
                    <a:pt x="1" y="158"/>
                    <a:pt x="1" y="347"/>
                  </a:cubicBezTo>
                  <a:cubicBezTo>
                    <a:pt x="1" y="599"/>
                    <a:pt x="158" y="694"/>
                    <a:pt x="347" y="694"/>
                  </a:cubicBezTo>
                  <a:lnTo>
                    <a:pt x="4569" y="694"/>
                  </a:lnTo>
                  <a:cubicBezTo>
                    <a:pt x="4758" y="694"/>
                    <a:pt x="4916" y="536"/>
                    <a:pt x="4916" y="347"/>
                  </a:cubicBezTo>
                  <a:cubicBezTo>
                    <a:pt x="4916" y="158"/>
                    <a:pt x="4758" y="0"/>
                    <a:pt x="45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08" name="Google Shape;7008;p73"/>
            <p:cNvSpPr/>
            <p:nvPr/>
          </p:nvSpPr>
          <p:spPr>
            <a:xfrm>
              <a:off x="5845200" y="2431000"/>
              <a:ext cx="122900" cy="17350"/>
            </a:xfrm>
            <a:custGeom>
              <a:avLst/>
              <a:gdLst/>
              <a:ahLst/>
              <a:cxnLst/>
              <a:rect l="l" t="t" r="r" b="b"/>
              <a:pathLst>
                <a:path w="4916" h="694" extrusionOk="0">
                  <a:moveTo>
                    <a:pt x="347" y="0"/>
                  </a:moveTo>
                  <a:cubicBezTo>
                    <a:pt x="158" y="0"/>
                    <a:pt x="1" y="158"/>
                    <a:pt x="1" y="347"/>
                  </a:cubicBezTo>
                  <a:cubicBezTo>
                    <a:pt x="1" y="536"/>
                    <a:pt x="158" y="693"/>
                    <a:pt x="347" y="693"/>
                  </a:cubicBezTo>
                  <a:lnTo>
                    <a:pt x="4569" y="693"/>
                  </a:lnTo>
                  <a:cubicBezTo>
                    <a:pt x="4758" y="693"/>
                    <a:pt x="4916" y="536"/>
                    <a:pt x="4916" y="347"/>
                  </a:cubicBezTo>
                  <a:cubicBezTo>
                    <a:pt x="4916" y="158"/>
                    <a:pt x="4758" y="0"/>
                    <a:pt x="45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09" name="Google Shape;7009;p73"/>
          <p:cNvGrpSpPr/>
          <p:nvPr/>
        </p:nvGrpSpPr>
        <p:grpSpPr>
          <a:xfrm>
            <a:off x="10049523" y="5114406"/>
            <a:ext cx="408915" cy="465943"/>
            <a:chOff x="5794025" y="2673575"/>
            <a:chExt cx="259925" cy="296175"/>
          </a:xfrm>
        </p:grpSpPr>
        <p:sp>
          <p:nvSpPr>
            <p:cNvPr id="7010" name="Google Shape;7010;p73"/>
            <p:cNvSpPr/>
            <p:nvPr/>
          </p:nvSpPr>
          <p:spPr>
            <a:xfrm>
              <a:off x="5794025" y="2673575"/>
              <a:ext cx="259925" cy="296175"/>
            </a:xfrm>
            <a:custGeom>
              <a:avLst/>
              <a:gdLst/>
              <a:ahLst/>
              <a:cxnLst/>
              <a:rect l="l" t="t" r="r" b="b"/>
              <a:pathLst>
                <a:path w="10397" h="11847" extrusionOk="0">
                  <a:moveTo>
                    <a:pt x="5860" y="694"/>
                  </a:moveTo>
                  <a:cubicBezTo>
                    <a:pt x="7089" y="694"/>
                    <a:pt x="8097" y="1639"/>
                    <a:pt x="8254" y="2805"/>
                  </a:cubicBezTo>
                  <a:cubicBezTo>
                    <a:pt x="8160" y="2773"/>
                    <a:pt x="8065" y="2773"/>
                    <a:pt x="7939" y="2773"/>
                  </a:cubicBezTo>
                  <a:lnTo>
                    <a:pt x="7561" y="2773"/>
                  </a:lnTo>
                  <a:cubicBezTo>
                    <a:pt x="7404" y="1985"/>
                    <a:pt x="6679" y="1387"/>
                    <a:pt x="5860" y="1387"/>
                  </a:cubicBezTo>
                  <a:lnTo>
                    <a:pt x="4474" y="1387"/>
                  </a:lnTo>
                  <a:cubicBezTo>
                    <a:pt x="3655" y="1387"/>
                    <a:pt x="2930" y="1985"/>
                    <a:pt x="2804" y="2773"/>
                  </a:cubicBezTo>
                  <a:lnTo>
                    <a:pt x="2394" y="2773"/>
                  </a:lnTo>
                  <a:cubicBezTo>
                    <a:pt x="2268" y="2773"/>
                    <a:pt x="2142" y="2773"/>
                    <a:pt x="2079" y="2805"/>
                  </a:cubicBezTo>
                  <a:cubicBezTo>
                    <a:pt x="2237" y="1639"/>
                    <a:pt x="3277" y="694"/>
                    <a:pt x="4474" y="694"/>
                  </a:cubicBezTo>
                  <a:close/>
                  <a:moveTo>
                    <a:pt x="6206" y="2143"/>
                  </a:moveTo>
                  <a:cubicBezTo>
                    <a:pt x="6616" y="2300"/>
                    <a:pt x="6931" y="2647"/>
                    <a:pt x="6931" y="3120"/>
                  </a:cubicBezTo>
                  <a:lnTo>
                    <a:pt x="6931" y="3403"/>
                  </a:lnTo>
                  <a:cubicBezTo>
                    <a:pt x="6522" y="3246"/>
                    <a:pt x="6206" y="2899"/>
                    <a:pt x="6206" y="2427"/>
                  </a:cubicBezTo>
                  <a:lnTo>
                    <a:pt x="6206" y="2143"/>
                  </a:lnTo>
                  <a:close/>
                  <a:moveTo>
                    <a:pt x="5513" y="2080"/>
                  </a:moveTo>
                  <a:lnTo>
                    <a:pt x="5513" y="2427"/>
                  </a:lnTo>
                  <a:cubicBezTo>
                    <a:pt x="5513" y="3025"/>
                    <a:pt x="5041" y="3435"/>
                    <a:pt x="4474" y="3435"/>
                  </a:cubicBezTo>
                  <a:lnTo>
                    <a:pt x="3466" y="3435"/>
                  </a:lnTo>
                  <a:lnTo>
                    <a:pt x="3466" y="3088"/>
                  </a:lnTo>
                  <a:cubicBezTo>
                    <a:pt x="3466" y="2490"/>
                    <a:pt x="3938" y="2080"/>
                    <a:pt x="4474" y="2080"/>
                  </a:cubicBezTo>
                  <a:close/>
                  <a:moveTo>
                    <a:pt x="2741" y="3435"/>
                  </a:moveTo>
                  <a:lnTo>
                    <a:pt x="2741" y="5451"/>
                  </a:lnTo>
                  <a:cubicBezTo>
                    <a:pt x="2363" y="5293"/>
                    <a:pt x="2048" y="4947"/>
                    <a:pt x="2048" y="4474"/>
                  </a:cubicBezTo>
                  <a:lnTo>
                    <a:pt x="2048" y="3813"/>
                  </a:lnTo>
                  <a:cubicBezTo>
                    <a:pt x="2048" y="3592"/>
                    <a:pt x="2205" y="3435"/>
                    <a:pt x="2394" y="3435"/>
                  </a:cubicBezTo>
                  <a:close/>
                  <a:moveTo>
                    <a:pt x="7939" y="3498"/>
                  </a:moveTo>
                  <a:cubicBezTo>
                    <a:pt x="8160" y="3498"/>
                    <a:pt x="8317" y="3655"/>
                    <a:pt x="8317" y="3844"/>
                  </a:cubicBezTo>
                  <a:lnTo>
                    <a:pt x="8317" y="4506"/>
                  </a:lnTo>
                  <a:cubicBezTo>
                    <a:pt x="8317" y="4947"/>
                    <a:pt x="8034" y="5325"/>
                    <a:pt x="7593" y="5482"/>
                  </a:cubicBezTo>
                  <a:lnTo>
                    <a:pt x="7593" y="3498"/>
                  </a:lnTo>
                  <a:close/>
                  <a:moveTo>
                    <a:pt x="5891" y="3435"/>
                  </a:moveTo>
                  <a:cubicBezTo>
                    <a:pt x="6143" y="3750"/>
                    <a:pt x="6522" y="4033"/>
                    <a:pt x="6931" y="4128"/>
                  </a:cubicBezTo>
                  <a:lnTo>
                    <a:pt x="6931" y="5892"/>
                  </a:lnTo>
                  <a:cubicBezTo>
                    <a:pt x="6931" y="6491"/>
                    <a:pt x="6459" y="6900"/>
                    <a:pt x="5891" y="6900"/>
                  </a:cubicBezTo>
                  <a:lnTo>
                    <a:pt x="4505" y="6900"/>
                  </a:lnTo>
                  <a:cubicBezTo>
                    <a:pt x="3938" y="6900"/>
                    <a:pt x="3497" y="6428"/>
                    <a:pt x="3497" y="5892"/>
                  </a:cubicBezTo>
                  <a:lnTo>
                    <a:pt x="3497" y="4159"/>
                  </a:lnTo>
                  <a:lnTo>
                    <a:pt x="4505" y="4159"/>
                  </a:lnTo>
                  <a:cubicBezTo>
                    <a:pt x="5072" y="4159"/>
                    <a:pt x="5576" y="3876"/>
                    <a:pt x="5891" y="3435"/>
                  </a:cubicBezTo>
                  <a:close/>
                  <a:moveTo>
                    <a:pt x="6238" y="7593"/>
                  </a:moveTo>
                  <a:cubicBezTo>
                    <a:pt x="6333" y="7782"/>
                    <a:pt x="6459" y="7971"/>
                    <a:pt x="6616" y="8097"/>
                  </a:cubicBezTo>
                  <a:lnTo>
                    <a:pt x="5198" y="9547"/>
                  </a:lnTo>
                  <a:lnTo>
                    <a:pt x="3718" y="8097"/>
                  </a:lnTo>
                  <a:cubicBezTo>
                    <a:pt x="3875" y="7971"/>
                    <a:pt x="4033" y="7782"/>
                    <a:pt x="4096" y="7593"/>
                  </a:cubicBezTo>
                  <a:cubicBezTo>
                    <a:pt x="4190" y="7625"/>
                    <a:pt x="4379" y="7625"/>
                    <a:pt x="4474" y="7625"/>
                  </a:cubicBezTo>
                  <a:lnTo>
                    <a:pt x="5860" y="7625"/>
                  </a:lnTo>
                  <a:cubicBezTo>
                    <a:pt x="5986" y="7625"/>
                    <a:pt x="6143" y="7625"/>
                    <a:pt x="6238" y="7593"/>
                  </a:cubicBezTo>
                  <a:close/>
                  <a:moveTo>
                    <a:pt x="2961" y="8318"/>
                  </a:moveTo>
                  <a:lnTo>
                    <a:pt x="4852" y="10177"/>
                  </a:lnTo>
                  <a:lnTo>
                    <a:pt x="4852" y="11122"/>
                  </a:lnTo>
                  <a:lnTo>
                    <a:pt x="662" y="11122"/>
                  </a:lnTo>
                  <a:lnTo>
                    <a:pt x="662" y="9358"/>
                  </a:lnTo>
                  <a:cubicBezTo>
                    <a:pt x="662" y="8759"/>
                    <a:pt x="1134" y="8318"/>
                    <a:pt x="1701" y="8318"/>
                  </a:cubicBezTo>
                  <a:close/>
                  <a:moveTo>
                    <a:pt x="8664" y="8318"/>
                  </a:moveTo>
                  <a:cubicBezTo>
                    <a:pt x="9262" y="8318"/>
                    <a:pt x="9672" y="8790"/>
                    <a:pt x="9672" y="9358"/>
                  </a:cubicBezTo>
                  <a:lnTo>
                    <a:pt x="9672" y="11122"/>
                  </a:lnTo>
                  <a:lnTo>
                    <a:pt x="5513" y="11122"/>
                  </a:lnTo>
                  <a:lnTo>
                    <a:pt x="5513" y="10177"/>
                  </a:lnTo>
                  <a:lnTo>
                    <a:pt x="7404" y="8318"/>
                  </a:lnTo>
                  <a:close/>
                  <a:moveTo>
                    <a:pt x="4537" y="1"/>
                  </a:moveTo>
                  <a:cubicBezTo>
                    <a:pt x="2804" y="1"/>
                    <a:pt x="1418" y="1418"/>
                    <a:pt x="1418" y="3120"/>
                  </a:cubicBezTo>
                  <a:lnTo>
                    <a:pt x="1418" y="4506"/>
                  </a:lnTo>
                  <a:cubicBezTo>
                    <a:pt x="1418" y="5356"/>
                    <a:pt x="2048" y="6050"/>
                    <a:pt x="2835" y="6207"/>
                  </a:cubicBezTo>
                  <a:cubicBezTo>
                    <a:pt x="2898" y="6648"/>
                    <a:pt x="3151" y="7026"/>
                    <a:pt x="3497" y="7278"/>
                  </a:cubicBezTo>
                  <a:cubicBezTo>
                    <a:pt x="3466" y="7467"/>
                    <a:pt x="3308" y="7625"/>
                    <a:pt x="3119" y="7625"/>
                  </a:cubicBezTo>
                  <a:lnTo>
                    <a:pt x="1733" y="7625"/>
                  </a:lnTo>
                  <a:cubicBezTo>
                    <a:pt x="788" y="7625"/>
                    <a:pt x="0" y="8412"/>
                    <a:pt x="0" y="9358"/>
                  </a:cubicBezTo>
                  <a:lnTo>
                    <a:pt x="0" y="11468"/>
                  </a:lnTo>
                  <a:cubicBezTo>
                    <a:pt x="0" y="11689"/>
                    <a:pt x="158" y="11846"/>
                    <a:pt x="347" y="11846"/>
                  </a:cubicBezTo>
                  <a:lnTo>
                    <a:pt x="10050" y="11846"/>
                  </a:lnTo>
                  <a:cubicBezTo>
                    <a:pt x="10239" y="11846"/>
                    <a:pt x="10397" y="11689"/>
                    <a:pt x="10397" y="11468"/>
                  </a:cubicBezTo>
                  <a:lnTo>
                    <a:pt x="10397" y="9358"/>
                  </a:lnTo>
                  <a:cubicBezTo>
                    <a:pt x="10397" y="8412"/>
                    <a:pt x="9609" y="7625"/>
                    <a:pt x="8664" y="7625"/>
                  </a:cubicBezTo>
                  <a:lnTo>
                    <a:pt x="7278" y="7625"/>
                  </a:lnTo>
                  <a:cubicBezTo>
                    <a:pt x="7089" y="7625"/>
                    <a:pt x="6931" y="7467"/>
                    <a:pt x="6931" y="7278"/>
                  </a:cubicBezTo>
                  <a:cubicBezTo>
                    <a:pt x="7278" y="7026"/>
                    <a:pt x="7530" y="6648"/>
                    <a:pt x="7593" y="6207"/>
                  </a:cubicBezTo>
                  <a:cubicBezTo>
                    <a:pt x="8380" y="6050"/>
                    <a:pt x="9010" y="5325"/>
                    <a:pt x="9010" y="4506"/>
                  </a:cubicBezTo>
                  <a:lnTo>
                    <a:pt x="9010" y="3120"/>
                  </a:lnTo>
                  <a:cubicBezTo>
                    <a:pt x="9010" y="1387"/>
                    <a:pt x="7593" y="1"/>
                    <a:pt x="58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11" name="Google Shape;7011;p73"/>
            <p:cNvSpPr/>
            <p:nvPr/>
          </p:nvSpPr>
          <p:spPr>
            <a:xfrm>
              <a:off x="5967300" y="2915375"/>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40" y="694"/>
                  </a:lnTo>
                  <a:cubicBezTo>
                    <a:pt x="1260" y="694"/>
                    <a:pt x="1418" y="536"/>
                    <a:pt x="1418" y="347"/>
                  </a:cubicBezTo>
                  <a:cubicBezTo>
                    <a:pt x="1418" y="158"/>
                    <a:pt x="1260"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12" name="Google Shape;7012;p73"/>
          <p:cNvSpPr/>
          <p:nvPr/>
        </p:nvSpPr>
        <p:spPr>
          <a:xfrm>
            <a:off x="8850637" y="5742425"/>
            <a:ext cx="465943" cy="464684"/>
          </a:xfrm>
          <a:custGeom>
            <a:avLst/>
            <a:gdLst/>
            <a:ahLst/>
            <a:cxnLst/>
            <a:rect l="l" t="t" r="r" b="b"/>
            <a:pathLst>
              <a:path w="11847" h="11815" extrusionOk="0">
                <a:moveTo>
                  <a:pt x="5892" y="693"/>
                </a:moveTo>
                <a:cubicBezTo>
                  <a:pt x="6491" y="693"/>
                  <a:pt x="6932" y="1134"/>
                  <a:pt x="6932" y="1701"/>
                </a:cubicBezTo>
                <a:cubicBezTo>
                  <a:pt x="6932" y="2269"/>
                  <a:pt x="6459" y="2710"/>
                  <a:pt x="5892" y="2710"/>
                </a:cubicBezTo>
                <a:cubicBezTo>
                  <a:pt x="5325" y="2710"/>
                  <a:pt x="4884" y="2269"/>
                  <a:pt x="4884" y="1701"/>
                </a:cubicBezTo>
                <a:cubicBezTo>
                  <a:pt x="4884" y="1134"/>
                  <a:pt x="5325" y="693"/>
                  <a:pt x="5892" y="693"/>
                </a:cubicBezTo>
                <a:close/>
                <a:moveTo>
                  <a:pt x="5892" y="3466"/>
                </a:moveTo>
                <a:cubicBezTo>
                  <a:pt x="6176" y="3466"/>
                  <a:pt x="6428" y="3497"/>
                  <a:pt x="6680" y="3592"/>
                </a:cubicBezTo>
                <a:lnTo>
                  <a:pt x="5892" y="4631"/>
                </a:lnTo>
                <a:lnTo>
                  <a:pt x="5104" y="3592"/>
                </a:lnTo>
                <a:cubicBezTo>
                  <a:pt x="5357" y="3529"/>
                  <a:pt x="5609" y="3466"/>
                  <a:pt x="5892" y="3466"/>
                </a:cubicBezTo>
                <a:close/>
                <a:moveTo>
                  <a:pt x="4222" y="2048"/>
                </a:moveTo>
                <a:cubicBezTo>
                  <a:pt x="4285" y="2426"/>
                  <a:pt x="4474" y="2710"/>
                  <a:pt x="4726" y="2962"/>
                </a:cubicBezTo>
                <a:cubicBezTo>
                  <a:pt x="4632" y="2993"/>
                  <a:pt x="4537" y="3056"/>
                  <a:pt x="4443" y="3088"/>
                </a:cubicBezTo>
                <a:cubicBezTo>
                  <a:pt x="4443" y="3088"/>
                  <a:pt x="4411" y="3088"/>
                  <a:pt x="4411" y="3119"/>
                </a:cubicBezTo>
                <a:cubicBezTo>
                  <a:pt x="3403" y="3623"/>
                  <a:pt x="2773" y="4694"/>
                  <a:pt x="2773" y="5829"/>
                </a:cubicBezTo>
                <a:lnTo>
                  <a:pt x="2773" y="6207"/>
                </a:lnTo>
                <a:lnTo>
                  <a:pt x="2143" y="6207"/>
                </a:lnTo>
                <a:lnTo>
                  <a:pt x="2647" y="2300"/>
                </a:lnTo>
                <a:cubicBezTo>
                  <a:pt x="2679" y="2174"/>
                  <a:pt x="2836" y="2048"/>
                  <a:pt x="2962" y="2048"/>
                </a:cubicBezTo>
                <a:close/>
                <a:moveTo>
                  <a:pt x="4474" y="3907"/>
                </a:moveTo>
                <a:lnTo>
                  <a:pt x="5546" y="5325"/>
                </a:lnTo>
                <a:lnTo>
                  <a:pt x="5546" y="6238"/>
                </a:lnTo>
                <a:lnTo>
                  <a:pt x="3466" y="6238"/>
                </a:lnTo>
                <a:lnTo>
                  <a:pt x="3466" y="5892"/>
                </a:lnTo>
                <a:cubicBezTo>
                  <a:pt x="3466" y="5041"/>
                  <a:pt x="3844" y="4348"/>
                  <a:pt x="4474" y="3907"/>
                </a:cubicBezTo>
                <a:close/>
                <a:moveTo>
                  <a:pt x="7278" y="3907"/>
                </a:moveTo>
                <a:cubicBezTo>
                  <a:pt x="7908" y="4348"/>
                  <a:pt x="8318" y="5104"/>
                  <a:pt x="8318" y="5892"/>
                </a:cubicBezTo>
                <a:lnTo>
                  <a:pt x="8318" y="6238"/>
                </a:lnTo>
                <a:lnTo>
                  <a:pt x="6207" y="6238"/>
                </a:lnTo>
                <a:lnTo>
                  <a:pt x="6207" y="5325"/>
                </a:lnTo>
                <a:lnTo>
                  <a:pt x="7278" y="3907"/>
                </a:lnTo>
                <a:close/>
                <a:moveTo>
                  <a:pt x="8854" y="2048"/>
                </a:moveTo>
                <a:cubicBezTo>
                  <a:pt x="9011" y="2048"/>
                  <a:pt x="9137" y="2143"/>
                  <a:pt x="9169" y="2300"/>
                </a:cubicBezTo>
                <a:lnTo>
                  <a:pt x="9673" y="6238"/>
                </a:lnTo>
                <a:lnTo>
                  <a:pt x="9043" y="6238"/>
                </a:lnTo>
                <a:lnTo>
                  <a:pt x="9043" y="5860"/>
                </a:lnTo>
                <a:cubicBezTo>
                  <a:pt x="9043" y="4694"/>
                  <a:pt x="8381" y="3655"/>
                  <a:pt x="7436" y="3151"/>
                </a:cubicBezTo>
                <a:cubicBezTo>
                  <a:pt x="7436" y="3151"/>
                  <a:pt x="7404" y="3151"/>
                  <a:pt x="7404" y="3119"/>
                </a:cubicBezTo>
                <a:cubicBezTo>
                  <a:pt x="7310" y="3088"/>
                  <a:pt x="7184" y="3056"/>
                  <a:pt x="7121" y="2993"/>
                </a:cubicBezTo>
                <a:cubicBezTo>
                  <a:pt x="7310" y="2773"/>
                  <a:pt x="7530" y="2458"/>
                  <a:pt x="7593" y="2048"/>
                </a:cubicBezTo>
                <a:close/>
                <a:moveTo>
                  <a:pt x="10744" y="6900"/>
                </a:moveTo>
                <a:cubicBezTo>
                  <a:pt x="10933" y="6900"/>
                  <a:pt x="11090" y="7057"/>
                  <a:pt x="11090" y="7246"/>
                </a:cubicBezTo>
                <a:cubicBezTo>
                  <a:pt x="11090" y="7435"/>
                  <a:pt x="10933" y="7624"/>
                  <a:pt x="10744" y="7624"/>
                </a:cubicBezTo>
                <a:lnTo>
                  <a:pt x="1009" y="7624"/>
                </a:lnTo>
                <a:cubicBezTo>
                  <a:pt x="820" y="7624"/>
                  <a:pt x="662" y="7435"/>
                  <a:pt x="662" y="7246"/>
                </a:cubicBezTo>
                <a:cubicBezTo>
                  <a:pt x="662" y="7057"/>
                  <a:pt x="820" y="6900"/>
                  <a:pt x="1009" y="6900"/>
                </a:cubicBezTo>
                <a:close/>
                <a:moveTo>
                  <a:pt x="10397" y="8317"/>
                </a:moveTo>
                <a:lnTo>
                  <a:pt x="10397" y="11121"/>
                </a:lnTo>
                <a:lnTo>
                  <a:pt x="1387" y="11121"/>
                </a:lnTo>
                <a:lnTo>
                  <a:pt x="1387" y="8317"/>
                </a:lnTo>
                <a:close/>
                <a:moveTo>
                  <a:pt x="5892" y="0"/>
                </a:moveTo>
                <a:cubicBezTo>
                  <a:pt x="5073" y="0"/>
                  <a:pt x="4380" y="599"/>
                  <a:pt x="4222" y="1386"/>
                </a:cubicBezTo>
                <a:lnTo>
                  <a:pt x="2962" y="1386"/>
                </a:lnTo>
                <a:cubicBezTo>
                  <a:pt x="2458" y="1386"/>
                  <a:pt x="2080" y="1701"/>
                  <a:pt x="1954" y="2143"/>
                </a:cubicBezTo>
                <a:lnTo>
                  <a:pt x="1954" y="2174"/>
                </a:lnTo>
                <a:lnTo>
                  <a:pt x="1450" y="6238"/>
                </a:lnTo>
                <a:lnTo>
                  <a:pt x="1072" y="6238"/>
                </a:lnTo>
                <a:cubicBezTo>
                  <a:pt x="473" y="6238"/>
                  <a:pt x="1" y="6711"/>
                  <a:pt x="1" y="7246"/>
                </a:cubicBezTo>
                <a:cubicBezTo>
                  <a:pt x="1" y="7719"/>
                  <a:pt x="316" y="8065"/>
                  <a:pt x="694" y="8254"/>
                </a:cubicBezTo>
                <a:lnTo>
                  <a:pt x="694" y="11468"/>
                </a:lnTo>
                <a:cubicBezTo>
                  <a:pt x="694" y="11657"/>
                  <a:pt x="851" y="11815"/>
                  <a:pt x="1040" y="11815"/>
                </a:cubicBezTo>
                <a:lnTo>
                  <a:pt x="10775" y="11815"/>
                </a:lnTo>
                <a:cubicBezTo>
                  <a:pt x="10996" y="11815"/>
                  <a:pt x="11153" y="11657"/>
                  <a:pt x="11153" y="11468"/>
                </a:cubicBezTo>
                <a:lnTo>
                  <a:pt x="11153" y="8254"/>
                </a:lnTo>
                <a:cubicBezTo>
                  <a:pt x="11531" y="8065"/>
                  <a:pt x="11847" y="7719"/>
                  <a:pt x="11847" y="7246"/>
                </a:cubicBezTo>
                <a:cubicBezTo>
                  <a:pt x="11815" y="6711"/>
                  <a:pt x="11342" y="6238"/>
                  <a:pt x="10744" y="6238"/>
                </a:cubicBezTo>
                <a:lnTo>
                  <a:pt x="10366" y="6238"/>
                </a:lnTo>
                <a:lnTo>
                  <a:pt x="9830" y="2174"/>
                </a:lnTo>
                <a:lnTo>
                  <a:pt x="9830" y="2143"/>
                </a:lnTo>
                <a:cubicBezTo>
                  <a:pt x="9736" y="1701"/>
                  <a:pt x="9295" y="1386"/>
                  <a:pt x="8854" y="1386"/>
                </a:cubicBezTo>
                <a:lnTo>
                  <a:pt x="7593" y="1386"/>
                </a:lnTo>
                <a:cubicBezTo>
                  <a:pt x="7436" y="599"/>
                  <a:pt x="6711"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D65617-D2C4-4C14-995E-5BE3DB4E5533}"/>
              </a:ext>
            </a:extLst>
          </p:cNvPr>
          <p:cNvGraphicFramePr>
            <a:graphicFrameLocks noChangeAspect="1"/>
          </p:cNvGraphicFramePr>
          <p:nvPr>
            <p:custDataLst>
              <p:tags r:id="rId2"/>
            </p:custDataLst>
            <p:extLst>
              <p:ext uri="{D42A27DB-BD31-4B8C-83A1-F6EECF244321}">
                <p14:modId xmlns:p14="http://schemas.microsoft.com/office/powerpoint/2010/main" val="96943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63"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D58165-6381-4B79-9D18-6BA1589065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Arial Black" panose="020B0A04020102020204" pitchFamily="34" charset="0"/>
              <a:ea typeface="+mj-ea"/>
              <a:cs typeface="+mj-cs"/>
              <a:sym typeface="Arial Black" panose="020B0A04020102020204" pitchFamily="34" charset="0"/>
            </a:endParaRPr>
          </a:p>
        </p:txBody>
      </p:sp>
      <p:sp>
        <p:nvSpPr>
          <p:cNvPr id="147" name="Freeform: Shape 146">
            <a:extLst>
              <a:ext uri="{FF2B5EF4-FFF2-40B4-BE49-F238E27FC236}">
                <a16:creationId xmlns:a16="http://schemas.microsoft.com/office/drawing/2014/main" id="{C8BD1BBF-6ABC-433A-A896-6B006D1E5875}"/>
              </a:ext>
            </a:extLst>
          </p:cNvPr>
          <p:cNvSpPr/>
          <p:nvPr/>
        </p:nvSpPr>
        <p:spPr>
          <a:xfrm>
            <a:off x="2" y="2929994"/>
            <a:ext cx="12191998" cy="3928006"/>
          </a:xfrm>
          <a:custGeom>
            <a:avLst/>
            <a:gdLst>
              <a:gd name="connsiteX0" fmla="*/ 0 w 12191998"/>
              <a:gd name="connsiteY0" fmla="*/ 0 h 3342475"/>
              <a:gd name="connsiteX1" fmla="*/ 19049 w 12191998"/>
              <a:gd name="connsiteY1" fmla="*/ 8725 h 3342475"/>
              <a:gd name="connsiteX2" fmla="*/ 2686049 w 12191998"/>
              <a:gd name="connsiteY2" fmla="*/ 1780375 h 3342475"/>
              <a:gd name="connsiteX3" fmla="*/ 8248649 w 12191998"/>
              <a:gd name="connsiteY3" fmla="*/ 2599525 h 3342475"/>
              <a:gd name="connsiteX4" fmla="*/ 11881246 w 12191998"/>
              <a:gd name="connsiteY4" fmla="*/ 1631547 h 3342475"/>
              <a:gd name="connsiteX5" fmla="*/ 12191998 w 12191998"/>
              <a:gd name="connsiteY5" fmla="*/ 1526096 h 3342475"/>
              <a:gd name="connsiteX6" fmla="*/ 12191998 w 12191998"/>
              <a:gd name="connsiteY6" fmla="*/ 3342475 h 3342475"/>
              <a:gd name="connsiteX7" fmla="*/ 0 w 12191998"/>
              <a:gd name="connsiteY7" fmla="*/ 3342475 h 3342475"/>
              <a:gd name="connsiteX0" fmla="*/ 0 w 12191998"/>
              <a:gd name="connsiteY0" fmla="*/ 0 h 3342475"/>
              <a:gd name="connsiteX1" fmla="*/ 19049 w 12191998"/>
              <a:gd name="connsiteY1" fmla="*/ 8725 h 3342475"/>
              <a:gd name="connsiteX2" fmla="*/ 8248649 w 12191998"/>
              <a:gd name="connsiteY2" fmla="*/ 2599525 h 3342475"/>
              <a:gd name="connsiteX3" fmla="*/ 11881246 w 12191998"/>
              <a:gd name="connsiteY3" fmla="*/ 1631547 h 3342475"/>
              <a:gd name="connsiteX4" fmla="*/ 12191998 w 12191998"/>
              <a:gd name="connsiteY4" fmla="*/ 1526096 h 3342475"/>
              <a:gd name="connsiteX5" fmla="*/ 12191998 w 12191998"/>
              <a:gd name="connsiteY5" fmla="*/ 3342475 h 3342475"/>
              <a:gd name="connsiteX6" fmla="*/ 0 w 12191998"/>
              <a:gd name="connsiteY6" fmla="*/ 3342475 h 3342475"/>
              <a:gd name="connsiteX7" fmla="*/ 0 w 12191998"/>
              <a:gd name="connsiteY7" fmla="*/ 0 h 334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8" h="3342475">
                <a:moveTo>
                  <a:pt x="0" y="0"/>
                </a:moveTo>
                <a:lnTo>
                  <a:pt x="19049" y="8725"/>
                </a:lnTo>
                <a:cubicBezTo>
                  <a:pt x="1393824" y="441979"/>
                  <a:pt x="6271616" y="2329055"/>
                  <a:pt x="8248649" y="2599525"/>
                </a:cubicBezTo>
                <a:cubicBezTo>
                  <a:pt x="10225682" y="2869995"/>
                  <a:pt x="10638630" y="2055013"/>
                  <a:pt x="11881246" y="1631547"/>
                </a:cubicBezTo>
                <a:lnTo>
                  <a:pt x="12191998" y="1526096"/>
                </a:lnTo>
                <a:lnTo>
                  <a:pt x="12191998" y="3342475"/>
                </a:lnTo>
                <a:lnTo>
                  <a:pt x="0" y="3342475"/>
                </a:lnTo>
                <a:lnTo>
                  <a:pt x="0" y="0"/>
                </a:lnTo>
                <a:close/>
              </a:path>
            </a:pathLst>
          </a:custGeom>
          <a:gradFill>
            <a:gsLst>
              <a:gs pos="100000">
                <a:srgbClr val="006496"/>
              </a:gs>
              <a:gs pos="49000">
                <a:srgbClr val="0077B5"/>
              </a:gs>
            </a:gsLst>
            <a:lin ang="5400000" scaled="1"/>
          </a:gradFill>
          <a:ln>
            <a:noFill/>
          </a:ln>
          <a:effectLst>
            <a:innerShdw blurRad="63500" dist="50800" dir="189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7" name="Group 6">
            <a:extLst>
              <a:ext uri="{FF2B5EF4-FFF2-40B4-BE49-F238E27FC236}">
                <a16:creationId xmlns:a16="http://schemas.microsoft.com/office/drawing/2014/main" id="{52E038D9-5569-465C-A795-76AA9BF1898D}"/>
              </a:ext>
            </a:extLst>
          </p:cNvPr>
          <p:cNvGrpSpPr>
            <a:grpSpLocks noChangeAspect="1"/>
          </p:cNvGrpSpPr>
          <p:nvPr/>
        </p:nvGrpSpPr>
        <p:grpSpPr bwMode="auto">
          <a:xfrm>
            <a:off x="619125" y="2247974"/>
            <a:ext cx="5038725" cy="4147553"/>
            <a:chOff x="2202" y="1420"/>
            <a:chExt cx="3285" cy="2704"/>
          </a:xfrm>
        </p:grpSpPr>
        <p:sp>
          <p:nvSpPr>
            <p:cNvPr id="10" name="Freeform 8">
              <a:extLst>
                <a:ext uri="{FF2B5EF4-FFF2-40B4-BE49-F238E27FC236}">
                  <a16:creationId xmlns:a16="http://schemas.microsoft.com/office/drawing/2014/main" id="{AC8B6BC1-EE90-443A-9A23-FECEFBF5A309}"/>
                </a:ext>
              </a:extLst>
            </p:cNvPr>
            <p:cNvSpPr>
              <a:spLocks/>
            </p:cNvSpPr>
            <p:nvPr/>
          </p:nvSpPr>
          <p:spPr bwMode="auto">
            <a:xfrm>
              <a:off x="3557" y="3416"/>
              <a:ext cx="528" cy="305"/>
            </a:xfrm>
            <a:custGeom>
              <a:avLst/>
              <a:gdLst>
                <a:gd name="T0" fmla="*/ 243 w 296"/>
                <a:gd name="T1" fmla="*/ 31 h 171"/>
                <a:gd name="T2" fmla="*/ 243 w 296"/>
                <a:gd name="T3" fmla="*/ 141 h 171"/>
                <a:gd name="T4" fmla="*/ 53 w 296"/>
                <a:gd name="T5" fmla="*/ 141 h 171"/>
                <a:gd name="T6" fmla="*/ 53 w 296"/>
                <a:gd name="T7" fmla="*/ 31 h 171"/>
                <a:gd name="T8" fmla="*/ 243 w 296"/>
                <a:gd name="T9" fmla="*/ 31 h 171"/>
              </a:gdLst>
              <a:ahLst/>
              <a:cxnLst>
                <a:cxn ang="0">
                  <a:pos x="T0" y="T1"/>
                </a:cxn>
                <a:cxn ang="0">
                  <a:pos x="T2" y="T3"/>
                </a:cxn>
                <a:cxn ang="0">
                  <a:pos x="T4" y="T5"/>
                </a:cxn>
                <a:cxn ang="0">
                  <a:pos x="T6" y="T7"/>
                </a:cxn>
                <a:cxn ang="0">
                  <a:pos x="T8" y="T9"/>
                </a:cxn>
              </a:cxnLst>
              <a:rect l="0" t="0" r="r" b="b"/>
              <a:pathLst>
                <a:path w="296" h="171">
                  <a:moveTo>
                    <a:pt x="243" y="31"/>
                  </a:moveTo>
                  <a:cubicBezTo>
                    <a:pt x="296" y="61"/>
                    <a:pt x="296" y="110"/>
                    <a:pt x="243" y="141"/>
                  </a:cubicBezTo>
                  <a:cubicBezTo>
                    <a:pt x="191" y="171"/>
                    <a:pt x="105" y="171"/>
                    <a:pt x="53" y="141"/>
                  </a:cubicBezTo>
                  <a:cubicBezTo>
                    <a:pt x="0" y="110"/>
                    <a:pt x="0" y="61"/>
                    <a:pt x="53" y="31"/>
                  </a:cubicBezTo>
                  <a:cubicBezTo>
                    <a:pt x="105" y="0"/>
                    <a:pt x="191" y="0"/>
                    <a:pt x="243" y="31"/>
                  </a:cubicBezTo>
                  <a:close/>
                </a:path>
              </a:pathLst>
            </a:custGeom>
            <a:solidFill>
              <a:schemeClr val="tx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58308B10-EAF4-42F2-91FD-7AA3840E9AD8}"/>
                </a:ext>
              </a:extLst>
            </p:cNvPr>
            <p:cNvSpPr>
              <a:spLocks/>
            </p:cNvSpPr>
            <p:nvPr/>
          </p:nvSpPr>
          <p:spPr bwMode="auto">
            <a:xfrm>
              <a:off x="4299" y="3619"/>
              <a:ext cx="835" cy="480"/>
            </a:xfrm>
            <a:custGeom>
              <a:avLst/>
              <a:gdLst>
                <a:gd name="T0" fmla="*/ 385 w 468"/>
                <a:gd name="T1" fmla="*/ 47 h 269"/>
                <a:gd name="T2" fmla="*/ 385 w 468"/>
                <a:gd name="T3" fmla="*/ 221 h 269"/>
                <a:gd name="T4" fmla="*/ 84 w 468"/>
                <a:gd name="T5" fmla="*/ 221 h 269"/>
                <a:gd name="T6" fmla="*/ 84 w 468"/>
                <a:gd name="T7" fmla="*/ 47 h 269"/>
                <a:gd name="T8" fmla="*/ 385 w 468"/>
                <a:gd name="T9" fmla="*/ 47 h 269"/>
              </a:gdLst>
              <a:ahLst/>
              <a:cxnLst>
                <a:cxn ang="0">
                  <a:pos x="T0" y="T1"/>
                </a:cxn>
                <a:cxn ang="0">
                  <a:pos x="T2" y="T3"/>
                </a:cxn>
                <a:cxn ang="0">
                  <a:pos x="T4" y="T5"/>
                </a:cxn>
                <a:cxn ang="0">
                  <a:pos x="T6" y="T7"/>
                </a:cxn>
                <a:cxn ang="0">
                  <a:pos x="T8" y="T9"/>
                </a:cxn>
              </a:cxnLst>
              <a:rect l="0" t="0" r="r" b="b"/>
              <a:pathLst>
                <a:path w="468" h="269">
                  <a:moveTo>
                    <a:pt x="385" y="47"/>
                  </a:moveTo>
                  <a:cubicBezTo>
                    <a:pt x="468" y="95"/>
                    <a:pt x="468" y="173"/>
                    <a:pt x="385" y="221"/>
                  </a:cubicBezTo>
                  <a:cubicBezTo>
                    <a:pt x="301" y="269"/>
                    <a:pt x="167" y="269"/>
                    <a:pt x="84" y="221"/>
                  </a:cubicBezTo>
                  <a:cubicBezTo>
                    <a:pt x="0" y="173"/>
                    <a:pt x="0" y="95"/>
                    <a:pt x="84" y="47"/>
                  </a:cubicBezTo>
                  <a:cubicBezTo>
                    <a:pt x="167" y="0"/>
                    <a:pt x="301" y="0"/>
                    <a:pt x="385" y="47"/>
                  </a:cubicBezTo>
                  <a:close/>
                </a:path>
              </a:pathLst>
            </a:custGeom>
            <a:solidFill>
              <a:schemeClr val="tx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ED841251-968F-463D-A736-A128AFB66D59}"/>
                </a:ext>
              </a:extLst>
            </p:cNvPr>
            <p:cNvSpPr>
              <a:spLocks/>
            </p:cNvSpPr>
            <p:nvPr/>
          </p:nvSpPr>
          <p:spPr bwMode="auto">
            <a:xfrm>
              <a:off x="2437" y="3643"/>
              <a:ext cx="833" cy="481"/>
            </a:xfrm>
            <a:custGeom>
              <a:avLst/>
              <a:gdLst>
                <a:gd name="T0" fmla="*/ 384 w 467"/>
                <a:gd name="T1" fmla="*/ 48 h 270"/>
                <a:gd name="T2" fmla="*/ 384 w 467"/>
                <a:gd name="T3" fmla="*/ 222 h 270"/>
                <a:gd name="T4" fmla="*/ 83 w 467"/>
                <a:gd name="T5" fmla="*/ 222 h 270"/>
                <a:gd name="T6" fmla="*/ 83 w 467"/>
                <a:gd name="T7" fmla="*/ 48 h 270"/>
                <a:gd name="T8" fmla="*/ 384 w 467"/>
                <a:gd name="T9" fmla="*/ 48 h 270"/>
              </a:gdLst>
              <a:ahLst/>
              <a:cxnLst>
                <a:cxn ang="0">
                  <a:pos x="T0" y="T1"/>
                </a:cxn>
                <a:cxn ang="0">
                  <a:pos x="T2" y="T3"/>
                </a:cxn>
                <a:cxn ang="0">
                  <a:pos x="T4" y="T5"/>
                </a:cxn>
                <a:cxn ang="0">
                  <a:pos x="T6" y="T7"/>
                </a:cxn>
                <a:cxn ang="0">
                  <a:pos x="T8" y="T9"/>
                </a:cxn>
              </a:cxnLst>
              <a:rect l="0" t="0" r="r" b="b"/>
              <a:pathLst>
                <a:path w="467" h="270">
                  <a:moveTo>
                    <a:pt x="384" y="48"/>
                  </a:moveTo>
                  <a:cubicBezTo>
                    <a:pt x="467" y="96"/>
                    <a:pt x="467" y="174"/>
                    <a:pt x="384" y="222"/>
                  </a:cubicBezTo>
                  <a:cubicBezTo>
                    <a:pt x="301" y="270"/>
                    <a:pt x="166" y="270"/>
                    <a:pt x="83" y="222"/>
                  </a:cubicBezTo>
                  <a:cubicBezTo>
                    <a:pt x="0" y="174"/>
                    <a:pt x="0" y="96"/>
                    <a:pt x="83" y="48"/>
                  </a:cubicBezTo>
                  <a:cubicBezTo>
                    <a:pt x="166" y="0"/>
                    <a:pt x="301" y="0"/>
                    <a:pt x="384" y="48"/>
                  </a:cubicBezTo>
                  <a:close/>
                </a:path>
              </a:pathLst>
            </a:custGeom>
            <a:solidFill>
              <a:schemeClr val="tx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FD6D63FA-09F7-4BCC-97B8-74D703D447A9}"/>
                </a:ext>
              </a:extLst>
            </p:cNvPr>
            <p:cNvSpPr>
              <a:spLocks/>
            </p:cNvSpPr>
            <p:nvPr/>
          </p:nvSpPr>
          <p:spPr bwMode="auto">
            <a:xfrm>
              <a:off x="5196" y="3227"/>
              <a:ext cx="259" cy="476"/>
            </a:xfrm>
            <a:custGeom>
              <a:avLst/>
              <a:gdLst>
                <a:gd name="T0" fmla="*/ 49 w 145"/>
                <a:gd name="T1" fmla="*/ 267 h 267"/>
                <a:gd name="T2" fmla="*/ 9 w 145"/>
                <a:gd name="T3" fmla="*/ 251 h 267"/>
                <a:gd name="T4" fmla="*/ 0 w 145"/>
                <a:gd name="T5" fmla="*/ 146 h 267"/>
                <a:gd name="T6" fmla="*/ 93 w 145"/>
                <a:gd name="T7" fmla="*/ 13 h 267"/>
                <a:gd name="T8" fmla="*/ 67 w 145"/>
                <a:gd name="T9" fmla="*/ 157 h 267"/>
                <a:gd name="T10" fmla="*/ 49 w 145"/>
                <a:gd name="T11" fmla="*/ 267 h 267"/>
              </a:gdLst>
              <a:ahLst/>
              <a:cxnLst>
                <a:cxn ang="0">
                  <a:pos x="T0" y="T1"/>
                </a:cxn>
                <a:cxn ang="0">
                  <a:pos x="T2" y="T3"/>
                </a:cxn>
                <a:cxn ang="0">
                  <a:pos x="T4" y="T5"/>
                </a:cxn>
                <a:cxn ang="0">
                  <a:pos x="T6" y="T7"/>
                </a:cxn>
                <a:cxn ang="0">
                  <a:pos x="T8" y="T9"/>
                </a:cxn>
                <a:cxn ang="0">
                  <a:pos x="T10" y="T11"/>
                </a:cxn>
              </a:cxnLst>
              <a:rect l="0" t="0" r="r" b="b"/>
              <a:pathLst>
                <a:path w="145" h="267">
                  <a:moveTo>
                    <a:pt x="49" y="267"/>
                  </a:moveTo>
                  <a:cubicBezTo>
                    <a:pt x="9" y="251"/>
                    <a:pt x="9" y="251"/>
                    <a:pt x="9" y="251"/>
                  </a:cubicBezTo>
                  <a:cubicBezTo>
                    <a:pt x="9" y="251"/>
                    <a:pt x="0" y="193"/>
                    <a:pt x="0" y="146"/>
                  </a:cubicBezTo>
                  <a:cubicBezTo>
                    <a:pt x="0" y="80"/>
                    <a:pt x="41" y="0"/>
                    <a:pt x="93" y="13"/>
                  </a:cubicBezTo>
                  <a:cubicBezTo>
                    <a:pt x="145" y="27"/>
                    <a:pt x="78" y="100"/>
                    <a:pt x="67" y="157"/>
                  </a:cubicBezTo>
                  <a:cubicBezTo>
                    <a:pt x="57" y="214"/>
                    <a:pt x="49" y="267"/>
                    <a:pt x="49" y="26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E0BDFA8E-3B8F-4EC9-AB60-AA21A4696CDB}"/>
                </a:ext>
              </a:extLst>
            </p:cNvPr>
            <p:cNvSpPr>
              <a:spLocks/>
            </p:cNvSpPr>
            <p:nvPr/>
          </p:nvSpPr>
          <p:spPr bwMode="auto">
            <a:xfrm>
              <a:off x="5196" y="3248"/>
              <a:ext cx="200" cy="455"/>
            </a:xfrm>
            <a:custGeom>
              <a:avLst/>
              <a:gdLst>
                <a:gd name="T0" fmla="*/ 81 w 112"/>
                <a:gd name="T1" fmla="*/ 0 h 255"/>
                <a:gd name="T2" fmla="*/ 18 w 112"/>
                <a:gd name="T3" fmla="*/ 54 h 255"/>
                <a:gd name="T4" fmla="*/ 0 w 112"/>
                <a:gd name="T5" fmla="*/ 134 h 255"/>
                <a:gd name="T6" fmla="*/ 9 w 112"/>
                <a:gd name="T7" fmla="*/ 239 h 255"/>
                <a:gd name="T8" fmla="*/ 49 w 112"/>
                <a:gd name="T9" fmla="*/ 255 h 255"/>
                <a:gd name="T10" fmla="*/ 45 w 112"/>
                <a:gd name="T11" fmla="*/ 213 h 255"/>
                <a:gd name="T12" fmla="*/ 51 w 112"/>
                <a:gd name="T13" fmla="*/ 158 h 255"/>
                <a:gd name="T14" fmla="*/ 82 w 112"/>
                <a:gd name="T15" fmla="*/ 103 h 255"/>
                <a:gd name="T16" fmla="*/ 112 w 112"/>
                <a:gd name="T17" fmla="*/ 24 h 255"/>
                <a:gd name="T18" fmla="*/ 93 w 112"/>
                <a:gd name="T19" fmla="*/ 1 h 255"/>
                <a:gd name="T20" fmla="*/ 81 w 112"/>
                <a:gd name="T2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255">
                  <a:moveTo>
                    <a:pt x="81" y="0"/>
                  </a:moveTo>
                  <a:cubicBezTo>
                    <a:pt x="55" y="0"/>
                    <a:pt x="33" y="23"/>
                    <a:pt x="18" y="54"/>
                  </a:cubicBezTo>
                  <a:cubicBezTo>
                    <a:pt x="7" y="78"/>
                    <a:pt x="0" y="107"/>
                    <a:pt x="0" y="134"/>
                  </a:cubicBezTo>
                  <a:cubicBezTo>
                    <a:pt x="0" y="181"/>
                    <a:pt x="9" y="239"/>
                    <a:pt x="9" y="239"/>
                  </a:cubicBezTo>
                  <a:cubicBezTo>
                    <a:pt x="49" y="255"/>
                    <a:pt x="49" y="255"/>
                    <a:pt x="49" y="255"/>
                  </a:cubicBezTo>
                  <a:cubicBezTo>
                    <a:pt x="48" y="253"/>
                    <a:pt x="45" y="236"/>
                    <a:pt x="45" y="213"/>
                  </a:cubicBezTo>
                  <a:cubicBezTo>
                    <a:pt x="45" y="197"/>
                    <a:pt x="46" y="178"/>
                    <a:pt x="51" y="158"/>
                  </a:cubicBezTo>
                  <a:cubicBezTo>
                    <a:pt x="57" y="135"/>
                    <a:pt x="69" y="117"/>
                    <a:pt x="82" y="103"/>
                  </a:cubicBezTo>
                  <a:cubicBezTo>
                    <a:pt x="95" y="74"/>
                    <a:pt x="112" y="44"/>
                    <a:pt x="112" y="24"/>
                  </a:cubicBezTo>
                  <a:cubicBezTo>
                    <a:pt x="112" y="13"/>
                    <a:pt x="107" y="5"/>
                    <a:pt x="93" y="1"/>
                  </a:cubicBezTo>
                  <a:cubicBezTo>
                    <a:pt x="89" y="0"/>
                    <a:pt x="85" y="0"/>
                    <a:pt x="81"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58AB8BB1-BD48-4F85-A8B2-6F306DEC5D6F}"/>
                </a:ext>
              </a:extLst>
            </p:cNvPr>
            <p:cNvSpPr>
              <a:spLocks/>
            </p:cNvSpPr>
            <p:nvPr/>
          </p:nvSpPr>
          <p:spPr bwMode="auto">
            <a:xfrm>
              <a:off x="5211" y="3286"/>
              <a:ext cx="124" cy="408"/>
            </a:xfrm>
            <a:custGeom>
              <a:avLst/>
              <a:gdLst>
                <a:gd name="T0" fmla="*/ 22 w 70"/>
                <a:gd name="T1" fmla="*/ 229 h 229"/>
                <a:gd name="T2" fmla="*/ 22 w 70"/>
                <a:gd name="T3" fmla="*/ 229 h 229"/>
                <a:gd name="T4" fmla="*/ 23 w 70"/>
                <a:gd name="T5" fmla="*/ 227 h 229"/>
                <a:gd name="T6" fmla="*/ 69 w 70"/>
                <a:gd name="T7" fmla="*/ 3 h 229"/>
                <a:gd name="T8" fmla="*/ 69 w 70"/>
                <a:gd name="T9" fmla="*/ 0 h 229"/>
                <a:gd name="T10" fmla="*/ 67 w 70"/>
                <a:gd name="T11" fmla="*/ 0 h 229"/>
                <a:gd name="T12" fmla="*/ 20 w 70"/>
                <a:gd name="T13" fmla="*/ 228 h 229"/>
                <a:gd name="T14" fmla="*/ 22 w 70"/>
                <a:gd name="T15" fmla="*/ 229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29">
                  <a:moveTo>
                    <a:pt x="22" y="229"/>
                  </a:moveTo>
                  <a:cubicBezTo>
                    <a:pt x="22" y="229"/>
                    <a:pt x="22" y="229"/>
                    <a:pt x="22" y="229"/>
                  </a:cubicBezTo>
                  <a:cubicBezTo>
                    <a:pt x="23" y="229"/>
                    <a:pt x="23" y="228"/>
                    <a:pt x="23" y="227"/>
                  </a:cubicBezTo>
                  <a:cubicBezTo>
                    <a:pt x="4" y="83"/>
                    <a:pt x="69" y="3"/>
                    <a:pt x="69" y="3"/>
                  </a:cubicBezTo>
                  <a:cubicBezTo>
                    <a:pt x="70" y="2"/>
                    <a:pt x="70" y="1"/>
                    <a:pt x="69" y="0"/>
                  </a:cubicBezTo>
                  <a:cubicBezTo>
                    <a:pt x="68" y="0"/>
                    <a:pt x="67" y="0"/>
                    <a:pt x="67" y="0"/>
                  </a:cubicBezTo>
                  <a:cubicBezTo>
                    <a:pt x="66" y="1"/>
                    <a:pt x="0" y="82"/>
                    <a:pt x="20" y="228"/>
                  </a:cubicBezTo>
                  <a:cubicBezTo>
                    <a:pt x="20" y="229"/>
                    <a:pt x="21" y="229"/>
                    <a:pt x="22" y="2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7C5BC841-0143-4DD0-B52B-93E8B821E4C7}"/>
                </a:ext>
              </a:extLst>
            </p:cNvPr>
            <p:cNvSpPr>
              <a:spLocks/>
            </p:cNvSpPr>
            <p:nvPr/>
          </p:nvSpPr>
          <p:spPr bwMode="auto">
            <a:xfrm>
              <a:off x="5264" y="3380"/>
              <a:ext cx="223" cy="341"/>
            </a:xfrm>
            <a:custGeom>
              <a:avLst/>
              <a:gdLst>
                <a:gd name="T0" fmla="*/ 32 w 125"/>
                <a:gd name="T1" fmla="*/ 191 h 191"/>
                <a:gd name="T2" fmla="*/ 11 w 125"/>
                <a:gd name="T3" fmla="*/ 181 h 191"/>
                <a:gd name="T4" fmla="*/ 13 w 125"/>
                <a:gd name="T5" fmla="*/ 84 h 191"/>
                <a:gd name="T6" fmla="*/ 94 w 125"/>
                <a:gd name="T7" fmla="*/ 5 h 191"/>
                <a:gd name="T8" fmla="*/ 117 w 125"/>
                <a:gd name="T9" fmla="*/ 55 h 191"/>
                <a:gd name="T10" fmla="*/ 32 w 125"/>
                <a:gd name="T11" fmla="*/ 191 h 191"/>
              </a:gdLst>
              <a:ahLst/>
              <a:cxnLst>
                <a:cxn ang="0">
                  <a:pos x="T0" y="T1"/>
                </a:cxn>
                <a:cxn ang="0">
                  <a:pos x="T2" y="T3"/>
                </a:cxn>
                <a:cxn ang="0">
                  <a:pos x="T4" y="T5"/>
                </a:cxn>
                <a:cxn ang="0">
                  <a:pos x="T6" y="T7"/>
                </a:cxn>
                <a:cxn ang="0">
                  <a:pos x="T8" y="T9"/>
                </a:cxn>
                <a:cxn ang="0">
                  <a:pos x="T10" y="T11"/>
                </a:cxn>
              </a:cxnLst>
              <a:rect l="0" t="0" r="r" b="b"/>
              <a:pathLst>
                <a:path w="125" h="191">
                  <a:moveTo>
                    <a:pt x="32" y="191"/>
                  </a:moveTo>
                  <a:cubicBezTo>
                    <a:pt x="11" y="181"/>
                    <a:pt x="11" y="181"/>
                    <a:pt x="11" y="181"/>
                  </a:cubicBezTo>
                  <a:cubicBezTo>
                    <a:pt x="11" y="181"/>
                    <a:pt x="0" y="136"/>
                    <a:pt x="13" y="84"/>
                  </a:cubicBezTo>
                  <a:cubicBezTo>
                    <a:pt x="27" y="32"/>
                    <a:pt x="72" y="0"/>
                    <a:pt x="94" y="5"/>
                  </a:cubicBezTo>
                  <a:cubicBezTo>
                    <a:pt x="122" y="12"/>
                    <a:pt x="125" y="37"/>
                    <a:pt x="117" y="55"/>
                  </a:cubicBezTo>
                  <a:cubicBezTo>
                    <a:pt x="107" y="76"/>
                    <a:pt x="41" y="133"/>
                    <a:pt x="32" y="19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4FE4F42B-8825-4214-A753-276CFF2E3538}"/>
                </a:ext>
              </a:extLst>
            </p:cNvPr>
            <p:cNvSpPr>
              <a:spLocks/>
            </p:cNvSpPr>
            <p:nvPr/>
          </p:nvSpPr>
          <p:spPr bwMode="auto">
            <a:xfrm>
              <a:off x="5277" y="3389"/>
              <a:ext cx="203" cy="332"/>
            </a:xfrm>
            <a:custGeom>
              <a:avLst/>
              <a:gdLst>
                <a:gd name="T0" fmla="*/ 82 w 114"/>
                <a:gd name="T1" fmla="*/ 0 h 186"/>
                <a:gd name="T2" fmla="*/ 37 w 114"/>
                <a:gd name="T3" fmla="*/ 24 h 186"/>
                <a:gd name="T4" fmla="*/ 6 w 114"/>
                <a:gd name="T5" fmla="*/ 79 h 186"/>
                <a:gd name="T6" fmla="*/ 0 w 114"/>
                <a:gd name="T7" fmla="*/ 134 h 186"/>
                <a:gd name="T8" fmla="*/ 4 w 114"/>
                <a:gd name="T9" fmla="*/ 176 h 186"/>
                <a:gd name="T10" fmla="*/ 25 w 114"/>
                <a:gd name="T11" fmla="*/ 186 h 186"/>
                <a:gd name="T12" fmla="*/ 110 w 114"/>
                <a:gd name="T13" fmla="*/ 50 h 186"/>
                <a:gd name="T14" fmla="*/ 114 w 114"/>
                <a:gd name="T15" fmla="*/ 32 h 186"/>
                <a:gd name="T16" fmla="*/ 87 w 114"/>
                <a:gd name="T17" fmla="*/ 0 h 186"/>
                <a:gd name="T18" fmla="*/ 82 w 114"/>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86">
                  <a:moveTo>
                    <a:pt x="82" y="0"/>
                  </a:moveTo>
                  <a:cubicBezTo>
                    <a:pt x="69" y="0"/>
                    <a:pt x="52" y="8"/>
                    <a:pt x="37" y="24"/>
                  </a:cubicBezTo>
                  <a:cubicBezTo>
                    <a:pt x="24" y="38"/>
                    <a:pt x="12" y="56"/>
                    <a:pt x="6" y="79"/>
                  </a:cubicBezTo>
                  <a:cubicBezTo>
                    <a:pt x="1" y="99"/>
                    <a:pt x="0" y="118"/>
                    <a:pt x="0" y="134"/>
                  </a:cubicBezTo>
                  <a:cubicBezTo>
                    <a:pt x="0" y="159"/>
                    <a:pt x="4" y="176"/>
                    <a:pt x="4" y="176"/>
                  </a:cubicBezTo>
                  <a:cubicBezTo>
                    <a:pt x="25" y="186"/>
                    <a:pt x="25" y="186"/>
                    <a:pt x="25" y="186"/>
                  </a:cubicBezTo>
                  <a:cubicBezTo>
                    <a:pt x="34" y="128"/>
                    <a:pt x="100" y="71"/>
                    <a:pt x="110" y="50"/>
                  </a:cubicBezTo>
                  <a:cubicBezTo>
                    <a:pt x="112" y="44"/>
                    <a:pt x="114" y="38"/>
                    <a:pt x="114" y="32"/>
                  </a:cubicBezTo>
                  <a:cubicBezTo>
                    <a:pt x="114" y="18"/>
                    <a:pt x="106" y="5"/>
                    <a:pt x="87" y="0"/>
                  </a:cubicBezTo>
                  <a:cubicBezTo>
                    <a:pt x="86" y="0"/>
                    <a:pt x="84" y="0"/>
                    <a:pt x="82" y="0"/>
                  </a:cubicBezTo>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927B7F3B-15F0-4553-AA81-7124CB590204}"/>
                </a:ext>
              </a:extLst>
            </p:cNvPr>
            <p:cNvSpPr>
              <a:spLocks/>
            </p:cNvSpPr>
            <p:nvPr/>
          </p:nvSpPr>
          <p:spPr bwMode="auto">
            <a:xfrm>
              <a:off x="5280" y="3416"/>
              <a:ext cx="152" cy="298"/>
            </a:xfrm>
            <a:custGeom>
              <a:avLst/>
              <a:gdLst>
                <a:gd name="T0" fmla="*/ 12 w 85"/>
                <a:gd name="T1" fmla="*/ 167 h 167"/>
                <a:gd name="T2" fmla="*/ 12 w 85"/>
                <a:gd name="T3" fmla="*/ 167 h 167"/>
                <a:gd name="T4" fmla="*/ 13 w 85"/>
                <a:gd name="T5" fmla="*/ 165 h 167"/>
                <a:gd name="T6" fmla="*/ 84 w 85"/>
                <a:gd name="T7" fmla="*/ 3 h 167"/>
                <a:gd name="T8" fmla="*/ 85 w 85"/>
                <a:gd name="T9" fmla="*/ 1 h 167"/>
                <a:gd name="T10" fmla="*/ 82 w 85"/>
                <a:gd name="T11" fmla="*/ 1 h 167"/>
                <a:gd name="T12" fmla="*/ 10 w 85"/>
                <a:gd name="T13" fmla="*/ 166 h 167"/>
                <a:gd name="T14" fmla="*/ 12 w 85"/>
                <a:gd name="T15" fmla="*/ 167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167">
                  <a:moveTo>
                    <a:pt x="12" y="167"/>
                  </a:moveTo>
                  <a:cubicBezTo>
                    <a:pt x="12" y="167"/>
                    <a:pt x="12" y="167"/>
                    <a:pt x="12" y="167"/>
                  </a:cubicBezTo>
                  <a:cubicBezTo>
                    <a:pt x="13" y="167"/>
                    <a:pt x="13" y="166"/>
                    <a:pt x="13" y="165"/>
                  </a:cubicBezTo>
                  <a:cubicBezTo>
                    <a:pt x="4" y="74"/>
                    <a:pt x="84" y="4"/>
                    <a:pt x="84" y="3"/>
                  </a:cubicBezTo>
                  <a:cubicBezTo>
                    <a:pt x="85" y="3"/>
                    <a:pt x="85" y="2"/>
                    <a:pt x="85" y="1"/>
                  </a:cubicBezTo>
                  <a:cubicBezTo>
                    <a:pt x="84" y="0"/>
                    <a:pt x="83" y="0"/>
                    <a:pt x="82" y="1"/>
                  </a:cubicBezTo>
                  <a:cubicBezTo>
                    <a:pt x="81" y="1"/>
                    <a:pt x="0" y="73"/>
                    <a:pt x="10" y="166"/>
                  </a:cubicBezTo>
                  <a:cubicBezTo>
                    <a:pt x="10" y="167"/>
                    <a:pt x="11" y="167"/>
                    <a:pt x="12"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C8E84223-1E29-4943-A809-59410F194122}"/>
                </a:ext>
              </a:extLst>
            </p:cNvPr>
            <p:cNvSpPr>
              <a:spLocks/>
            </p:cNvSpPr>
            <p:nvPr/>
          </p:nvSpPr>
          <p:spPr bwMode="auto">
            <a:xfrm>
              <a:off x="2273" y="3157"/>
              <a:ext cx="237" cy="480"/>
            </a:xfrm>
            <a:custGeom>
              <a:avLst/>
              <a:gdLst>
                <a:gd name="T0" fmla="*/ 92 w 133"/>
                <a:gd name="T1" fmla="*/ 269 h 269"/>
                <a:gd name="T2" fmla="*/ 120 w 133"/>
                <a:gd name="T3" fmla="*/ 254 h 269"/>
                <a:gd name="T4" fmla="*/ 123 w 133"/>
                <a:gd name="T5" fmla="*/ 118 h 269"/>
                <a:gd name="T6" fmla="*/ 27 w 133"/>
                <a:gd name="T7" fmla="*/ 8 h 269"/>
                <a:gd name="T8" fmla="*/ 40 w 133"/>
                <a:gd name="T9" fmla="*/ 94 h 269"/>
                <a:gd name="T10" fmla="*/ 92 w 133"/>
                <a:gd name="T11" fmla="*/ 269 h 269"/>
              </a:gdLst>
              <a:ahLst/>
              <a:cxnLst>
                <a:cxn ang="0">
                  <a:pos x="T0" y="T1"/>
                </a:cxn>
                <a:cxn ang="0">
                  <a:pos x="T2" y="T3"/>
                </a:cxn>
                <a:cxn ang="0">
                  <a:pos x="T4" y="T5"/>
                </a:cxn>
                <a:cxn ang="0">
                  <a:pos x="T6" y="T7"/>
                </a:cxn>
                <a:cxn ang="0">
                  <a:pos x="T8" y="T9"/>
                </a:cxn>
                <a:cxn ang="0">
                  <a:pos x="T10" y="T11"/>
                </a:cxn>
              </a:cxnLst>
              <a:rect l="0" t="0" r="r" b="b"/>
              <a:pathLst>
                <a:path w="133" h="269">
                  <a:moveTo>
                    <a:pt x="92" y="269"/>
                  </a:moveTo>
                  <a:cubicBezTo>
                    <a:pt x="120" y="254"/>
                    <a:pt x="120" y="254"/>
                    <a:pt x="120" y="254"/>
                  </a:cubicBezTo>
                  <a:cubicBezTo>
                    <a:pt x="120" y="254"/>
                    <a:pt x="133" y="181"/>
                    <a:pt x="123" y="118"/>
                  </a:cubicBezTo>
                  <a:cubicBezTo>
                    <a:pt x="109" y="30"/>
                    <a:pt x="49" y="0"/>
                    <a:pt x="27" y="8"/>
                  </a:cubicBezTo>
                  <a:cubicBezTo>
                    <a:pt x="6" y="17"/>
                    <a:pt x="0" y="43"/>
                    <a:pt x="40" y="94"/>
                  </a:cubicBezTo>
                  <a:cubicBezTo>
                    <a:pt x="63" y="124"/>
                    <a:pt x="93" y="188"/>
                    <a:pt x="92" y="269"/>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a:extLst>
                <a:ext uri="{FF2B5EF4-FFF2-40B4-BE49-F238E27FC236}">
                  <a16:creationId xmlns:a16="http://schemas.microsoft.com/office/drawing/2014/main" id="{A7C15B36-16C7-4066-9519-B0339F2233B8}"/>
                </a:ext>
              </a:extLst>
            </p:cNvPr>
            <p:cNvSpPr>
              <a:spLocks/>
            </p:cNvSpPr>
            <p:nvPr/>
          </p:nvSpPr>
          <p:spPr bwMode="auto">
            <a:xfrm>
              <a:off x="2291" y="3170"/>
              <a:ext cx="209" cy="467"/>
            </a:xfrm>
            <a:custGeom>
              <a:avLst/>
              <a:gdLst>
                <a:gd name="T0" fmla="*/ 26 w 117"/>
                <a:gd name="T1" fmla="*/ 0 h 262"/>
                <a:gd name="T2" fmla="*/ 17 w 117"/>
                <a:gd name="T3" fmla="*/ 1 h 262"/>
                <a:gd name="T4" fmla="*/ 1 w 117"/>
                <a:gd name="T5" fmla="*/ 26 h 262"/>
                <a:gd name="T6" fmla="*/ 30 w 117"/>
                <a:gd name="T7" fmla="*/ 87 h 262"/>
                <a:gd name="T8" fmla="*/ 82 w 117"/>
                <a:gd name="T9" fmla="*/ 259 h 262"/>
                <a:gd name="T10" fmla="*/ 82 w 117"/>
                <a:gd name="T11" fmla="*/ 262 h 262"/>
                <a:gd name="T12" fmla="*/ 110 w 117"/>
                <a:gd name="T13" fmla="*/ 247 h 262"/>
                <a:gd name="T14" fmla="*/ 117 w 117"/>
                <a:gd name="T15" fmla="*/ 163 h 262"/>
                <a:gd name="T16" fmla="*/ 113 w 117"/>
                <a:gd name="T17" fmla="*/ 111 h 262"/>
                <a:gd name="T18" fmla="*/ 101 w 117"/>
                <a:gd name="T19" fmla="*/ 68 h 262"/>
                <a:gd name="T20" fmla="*/ 26 w 117"/>
                <a:gd name="T2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262">
                  <a:moveTo>
                    <a:pt x="26" y="0"/>
                  </a:moveTo>
                  <a:cubicBezTo>
                    <a:pt x="22" y="0"/>
                    <a:pt x="20" y="0"/>
                    <a:pt x="17" y="1"/>
                  </a:cubicBezTo>
                  <a:cubicBezTo>
                    <a:pt x="7" y="5"/>
                    <a:pt x="1" y="13"/>
                    <a:pt x="1" y="26"/>
                  </a:cubicBezTo>
                  <a:cubicBezTo>
                    <a:pt x="0" y="40"/>
                    <a:pt x="9" y="60"/>
                    <a:pt x="30" y="87"/>
                  </a:cubicBezTo>
                  <a:cubicBezTo>
                    <a:pt x="53" y="117"/>
                    <a:pt x="82" y="179"/>
                    <a:pt x="82" y="259"/>
                  </a:cubicBezTo>
                  <a:cubicBezTo>
                    <a:pt x="82" y="260"/>
                    <a:pt x="82" y="261"/>
                    <a:pt x="82" y="262"/>
                  </a:cubicBezTo>
                  <a:cubicBezTo>
                    <a:pt x="110" y="247"/>
                    <a:pt x="110" y="247"/>
                    <a:pt x="110" y="247"/>
                  </a:cubicBezTo>
                  <a:cubicBezTo>
                    <a:pt x="110" y="247"/>
                    <a:pt x="117" y="208"/>
                    <a:pt x="117" y="163"/>
                  </a:cubicBezTo>
                  <a:cubicBezTo>
                    <a:pt x="117" y="146"/>
                    <a:pt x="116" y="128"/>
                    <a:pt x="113" y="111"/>
                  </a:cubicBezTo>
                  <a:cubicBezTo>
                    <a:pt x="110" y="95"/>
                    <a:pt x="106" y="81"/>
                    <a:pt x="101" y="68"/>
                  </a:cubicBezTo>
                  <a:cubicBezTo>
                    <a:pt x="81" y="21"/>
                    <a:pt x="46" y="0"/>
                    <a:pt x="26"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a:extLst>
                <a:ext uri="{FF2B5EF4-FFF2-40B4-BE49-F238E27FC236}">
                  <a16:creationId xmlns:a16="http://schemas.microsoft.com/office/drawing/2014/main" id="{D3A601C2-E51C-4C11-83D7-319B70DD67DE}"/>
                </a:ext>
              </a:extLst>
            </p:cNvPr>
            <p:cNvSpPr>
              <a:spLocks/>
            </p:cNvSpPr>
            <p:nvPr/>
          </p:nvSpPr>
          <p:spPr bwMode="auto">
            <a:xfrm>
              <a:off x="2345" y="3191"/>
              <a:ext cx="135" cy="384"/>
            </a:xfrm>
            <a:custGeom>
              <a:avLst/>
              <a:gdLst>
                <a:gd name="T0" fmla="*/ 62 w 76"/>
                <a:gd name="T1" fmla="*/ 215 h 215"/>
                <a:gd name="T2" fmla="*/ 62 w 76"/>
                <a:gd name="T3" fmla="*/ 215 h 215"/>
                <a:gd name="T4" fmla="*/ 60 w 76"/>
                <a:gd name="T5" fmla="*/ 213 h 215"/>
                <a:gd name="T6" fmla="*/ 1 w 76"/>
                <a:gd name="T7" fmla="*/ 4 h 215"/>
                <a:gd name="T8" fmla="*/ 1 w 76"/>
                <a:gd name="T9" fmla="*/ 1 h 215"/>
                <a:gd name="T10" fmla="*/ 4 w 76"/>
                <a:gd name="T11" fmla="*/ 1 h 215"/>
                <a:gd name="T12" fmla="*/ 64 w 76"/>
                <a:gd name="T13" fmla="*/ 214 h 215"/>
                <a:gd name="T14" fmla="*/ 62 w 76"/>
                <a:gd name="T15" fmla="*/ 215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15">
                  <a:moveTo>
                    <a:pt x="62" y="215"/>
                  </a:moveTo>
                  <a:cubicBezTo>
                    <a:pt x="62" y="215"/>
                    <a:pt x="62" y="215"/>
                    <a:pt x="62" y="215"/>
                  </a:cubicBezTo>
                  <a:cubicBezTo>
                    <a:pt x="61" y="215"/>
                    <a:pt x="60" y="214"/>
                    <a:pt x="60" y="213"/>
                  </a:cubicBezTo>
                  <a:cubicBezTo>
                    <a:pt x="71" y="131"/>
                    <a:pt x="38" y="40"/>
                    <a:pt x="1" y="4"/>
                  </a:cubicBezTo>
                  <a:cubicBezTo>
                    <a:pt x="0" y="3"/>
                    <a:pt x="0" y="2"/>
                    <a:pt x="1" y="1"/>
                  </a:cubicBezTo>
                  <a:cubicBezTo>
                    <a:pt x="2" y="0"/>
                    <a:pt x="3" y="0"/>
                    <a:pt x="4" y="1"/>
                  </a:cubicBezTo>
                  <a:cubicBezTo>
                    <a:pt x="42" y="38"/>
                    <a:pt x="76" y="130"/>
                    <a:pt x="64" y="214"/>
                  </a:cubicBezTo>
                  <a:cubicBezTo>
                    <a:pt x="64" y="215"/>
                    <a:pt x="63" y="215"/>
                    <a:pt x="62" y="2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EEF699BB-DF74-4003-A2B5-9BAAB7A4EEAD}"/>
                </a:ext>
              </a:extLst>
            </p:cNvPr>
            <p:cNvSpPr>
              <a:spLocks/>
            </p:cNvSpPr>
            <p:nvPr/>
          </p:nvSpPr>
          <p:spPr bwMode="auto">
            <a:xfrm>
              <a:off x="2202" y="3304"/>
              <a:ext cx="273" cy="417"/>
            </a:xfrm>
            <a:custGeom>
              <a:avLst/>
              <a:gdLst>
                <a:gd name="T0" fmla="*/ 56 w 153"/>
                <a:gd name="T1" fmla="*/ 231 h 234"/>
                <a:gd name="T2" fmla="*/ 39 w 153"/>
                <a:gd name="T3" fmla="*/ 226 h 234"/>
                <a:gd name="T4" fmla="*/ 25 w 153"/>
                <a:gd name="T5" fmla="*/ 210 h 234"/>
                <a:gd name="T6" fmla="*/ 21 w 153"/>
                <a:gd name="T7" fmla="*/ 187 h 234"/>
                <a:gd name="T8" fmla="*/ 24 w 153"/>
                <a:gd name="T9" fmla="*/ 174 h 234"/>
                <a:gd name="T10" fmla="*/ 28 w 153"/>
                <a:gd name="T11" fmla="*/ 162 h 234"/>
                <a:gd name="T12" fmla="*/ 30 w 153"/>
                <a:gd name="T13" fmla="*/ 150 h 234"/>
                <a:gd name="T14" fmla="*/ 15 w 153"/>
                <a:gd name="T15" fmla="*/ 131 h 234"/>
                <a:gd name="T16" fmla="*/ 0 w 153"/>
                <a:gd name="T17" fmla="*/ 108 h 234"/>
                <a:gd name="T18" fmla="*/ 8 w 153"/>
                <a:gd name="T19" fmla="*/ 88 h 234"/>
                <a:gd name="T20" fmla="*/ 23 w 153"/>
                <a:gd name="T21" fmla="*/ 70 h 234"/>
                <a:gd name="T22" fmla="*/ 28 w 153"/>
                <a:gd name="T23" fmla="*/ 54 h 234"/>
                <a:gd name="T24" fmla="*/ 25 w 153"/>
                <a:gd name="T25" fmla="*/ 45 h 234"/>
                <a:gd name="T26" fmla="*/ 14 w 153"/>
                <a:gd name="T27" fmla="*/ 25 h 234"/>
                <a:gd name="T28" fmla="*/ 18 w 153"/>
                <a:gd name="T29" fmla="*/ 5 h 234"/>
                <a:gd name="T30" fmla="*/ 35 w 153"/>
                <a:gd name="T31" fmla="*/ 1 h 234"/>
                <a:gd name="T32" fmla="*/ 51 w 153"/>
                <a:gd name="T33" fmla="*/ 6 h 234"/>
                <a:gd name="T34" fmla="*/ 92 w 153"/>
                <a:gd name="T35" fmla="*/ 40 h 234"/>
                <a:gd name="T36" fmla="*/ 112 w 153"/>
                <a:gd name="T37" fmla="*/ 45 h 234"/>
                <a:gd name="T38" fmla="*/ 129 w 153"/>
                <a:gd name="T39" fmla="*/ 57 h 234"/>
                <a:gd name="T40" fmla="*/ 128 w 153"/>
                <a:gd name="T41" fmla="*/ 97 h 234"/>
                <a:gd name="T42" fmla="*/ 149 w 153"/>
                <a:gd name="T43" fmla="*/ 124 h 234"/>
                <a:gd name="T44" fmla="*/ 152 w 153"/>
                <a:gd name="T45" fmla="*/ 139 h 234"/>
                <a:gd name="T46" fmla="*/ 146 w 153"/>
                <a:gd name="T47" fmla="*/ 164 h 234"/>
                <a:gd name="T48" fmla="*/ 132 w 153"/>
                <a:gd name="T49" fmla="*/ 187 h 234"/>
                <a:gd name="T50" fmla="*/ 56 w 153"/>
                <a:gd name="T51" fmla="*/ 23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234">
                  <a:moveTo>
                    <a:pt x="56" y="231"/>
                  </a:moveTo>
                  <a:cubicBezTo>
                    <a:pt x="51" y="234"/>
                    <a:pt x="42" y="229"/>
                    <a:pt x="39" y="226"/>
                  </a:cubicBezTo>
                  <a:cubicBezTo>
                    <a:pt x="33" y="222"/>
                    <a:pt x="28" y="217"/>
                    <a:pt x="25" y="210"/>
                  </a:cubicBezTo>
                  <a:cubicBezTo>
                    <a:pt x="21" y="203"/>
                    <a:pt x="20" y="195"/>
                    <a:pt x="21" y="187"/>
                  </a:cubicBezTo>
                  <a:cubicBezTo>
                    <a:pt x="22" y="183"/>
                    <a:pt x="23" y="179"/>
                    <a:pt x="24" y="174"/>
                  </a:cubicBezTo>
                  <a:cubicBezTo>
                    <a:pt x="26" y="170"/>
                    <a:pt x="27" y="166"/>
                    <a:pt x="28" y="162"/>
                  </a:cubicBezTo>
                  <a:cubicBezTo>
                    <a:pt x="29" y="158"/>
                    <a:pt x="30" y="154"/>
                    <a:pt x="30" y="150"/>
                  </a:cubicBezTo>
                  <a:cubicBezTo>
                    <a:pt x="29" y="142"/>
                    <a:pt x="21" y="136"/>
                    <a:pt x="15" y="131"/>
                  </a:cubicBezTo>
                  <a:cubicBezTo>
                    <a:pt x="7" y="126"/>
                    <a:pt x="0" y="118"/>
                    <a:pt x="0" y="108"/>
                  </a:cubicBezTo>
                  <a:cubicBezTo>
                    <a:pt x="0" y="101"/>
                    <a:pt x="4" y="94"/>
                    <a:pt x="8" y="88"/>
                  </a:cubicBezTo>
                  <a:cubicBezTo>
                    <a:pt x="13" y="82"/>
                    <a:pt x="19" y="76"/>
                    <a:pt x="23" y="70"/>
                  </a:cubicBezTo>
                  <a:cubicBezTo>
                    <a:pt x="26" y="65"/>
                    <a:pt x="29" y="60"/>
                    <a:pt x="28" y="54"/>
                  </a:cubicBezTo>
                  <a:cubicBezTo>
                    <a:pt x="28" y="51"/>
                    <a:pt x="26" y="48"/>
                    <a:pt x="25" y="45"/>
                  </a:cubicBezTo>
                  <a:cubicBezTo>
                    <a:pt x="21" y="38"/>
                    <a:pt x="17" y="32"/>
                    <a:pt x="14" y="25"/>
                  </a:cubicBezTo>
                  <a:cubicBezTo>
                    <a:pt x="12" y="19"/>
                    <a:pt x="12" y="10"/>
                    <a:pt x="18" y="5"/>
                  </a:cubicBezTo>
                  <a:cubicBezTo>
                    <a:pt x="22" y="1"/>
                    <a:pt x="29" y="0"/>
                    <a:pt x="35" y="1"/>
                  </a:cubicBezTo>
                  <a:cubicBezTo>
                    <a:pt x="40" y="1"/>
                    <a:pt x="46" y="4"/>
                    <a:pt x="51" y="6"/>
                  </a:cubicBezTo>
                  <a:cubicBezTo>
                    <a:pt x="66" y="15"/>
                    <a:pt x="75" y="34"/>
                    <a:pt x="92" y="40"/>
                  </a:cubicBezTo>
                  <a:cubicBezTo>
                    <a:pt x="99" y="43"/>
                    <a:pt x="106" y="44"/>
                    <a:pt x="112" y="45"/>
                  </a:cubicBezTo>
                  <a:cubicBezTo>
                    <a:pt x="119" y="47"/>
                    <a:pt x="126" y="51"/>
                    <a:pt x="129" y="57"/>
                  </a:cubicBezTo>
                  <a:cubicBezTo>
                    <a:pt x="135" y="69"/>
                    <a:pt x="124" y="84"/>
                    <a:pt x="128" y="97"/>
                  </a:cubicBezTo>
                  <a:cubicBezTo>
                    <a:pt x="132" y="109"/>
                    <a:pt x="143" y="113"/>
                    <a:pt x="149" y="124"/>
                  </a:cubicBezTo>
                  <a:cubicBezTo>
                    <a:pt x="152" y="128"/>
                    <a:pt x="153" y="133"/>
                    <a:pt x="152" y="139"/>
                  </a:cubicBezTo>
                  <a:cubicBezTo>
                    <a:pt x="152" y="148"/>
                    <a:pt x="150" y="154"/>
                    <a:pt x="146" y="164"/>
                  </a:cubicBezTo>
                  <a:cubicBezTo>
                    <a:pt x="142" y="173"/>
                    <a:pt x="132" y="187"/>
                    <a:pt x="132" y="187"/>
                  </a:cubicBezTo>
                  <a:cubicBezTo>
                    <a:pt x="132" y="188"/>
                    <a:pt x="56" y="231"/>
                    <a:pt x="56" y="231"/>
                  </a:cubicBezTo>
                  <a:close/>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a:extLst>
                <a:ext uri="{FF2B5EF4-FFF2-40B4-BE49-F238E27FC236}">
                  <a16:creationId xmlns:a16="http://schemas.microsoft.com/office/drawing/2014/main" id="{23D9DFDE-756F-456E-87F0-1C76DBF1EA28}"/>
                </a:ext>
              </a:extLst>
            </p:cNvPr>
            <p:cNvSpPr>
              <a:spLocks/>
            </p:cNvSpPr>
            <p:nvPr/>
          </p:nvSpPr>
          <p:spPr bwMode="auto">
            <a:xfrm>
              <a:off x="2268" y="3327"/>
              <a:ext cx="123" cy="348"/>
            </a:xfrm>
            <a:custGeom>
              <a:avLst/>
              <a:gdLst>
                <a:gd name="T0" fmla="*/ 63 w 69"/>
                <a:gd name="T1" fmla="*/ 195 h 195"/>
                <a:gd name="T2" fmla="*/ 63 w 69"/>
                <a:gd name="T3" fmla="*/ 195 h 195"/>
                <a:gd name="T4" fmla="*/ 61 w 69"/>
                <a:gd name="T5" fmla="*/ 193 h 195"/>
                <a:gd name="T6" fmla="*/ 1 w 69"/>
                <a:gd name="T7" fmla="*/ 3 h 195"/>
                <a:gd name="T8" fmla="*/ 1 w 69"/>
                <a:gd name="T9" fmla="*/ 1 h 195"/>
                <a:gd name="T10" fmla="*/ 4 w 69"/>
                <a:gd name="T11" fmla="*/ 0 h 195"/>
                <a:gd name="T12" fmla="*/ 65 w 69"/>
                <a:gd name="T13" fmla="*/ 193 h 195"/>
                <a:gd name="T14" fmla="*/ 63 w 69"/>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95">
                  <a:moveTo>
                    <a:pt x="63" y="195"/>
                  </a:moveTo>
                  <a:cubicBezTo>
                    <a:pt x="63" y="195"/>
                    <a:pt x="63" y="195"/>
                    <a:pt x="63" y="195"/>
                  </a:cubicBezTo>
                  <a:cubicBezTo>
                    <a:pt x="62" y="195"/>
                    <a:pt x="61" y="194"/>
                    <a:pt x="61" y="193"/>
                  </a:cubicBezTo>
                  <a:cubicBezTo>
                    <a:pt x="65" y="115"/>
                    <a:pt x="28" y="28"/>
                    <a:pt x="1" y="3"/>
                  </a:cubicBezTo>
                  <a:cubicBezTo>
                    <a:pt x="0" y="3"/>
                    <a:pt x="0" y="1"/>
                    <a:pt x="1" y="1"/>
                  </a:cubicBezTo>
                  <a:cubicBezTo>
                    <a:pt x="2" y="0"/>
                    <a:pt x="3" y="0"/>
                    <a:pt x="4" y="0"/>
                  </a:cubicBezTo>
                  <a:cubicBezTo>
                    <a:pt x="31" y="26"/>
                    <a:pt x="69" y="114"/>
                    <a:pt x="65" y="193"/>
                  </a:cubicBezTo>
                  <a:cubicBezTo>
                    <a:pt x="65" y="194"/>
                    <a:pt x="64" y="195"/>
                    <a:pt x="63"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DB34C945-57F9-4791-B422-9BC0BE48C12B}"/>
                </a:ext>
              </a:extLst>
            </p:cNvPr>
            <p:cNvSpPr>
              <a:spLocks/>
            </p:cNvSpPr>
            <p:nvPr/>
          </p:nvSpPr>
          <p:spPr bwMode="auto">
            <a:xfrm>
              <a:off x="2254" y="3486"/>
              <a:ext cx="110" cy="23"/>
            </a:xfrm>
            <a:custGeom>
              <a:avLst/>
              <a:gdLst>
                <a:gd name="T0" fmla="*/ 60 w 62"/>
                <a:gd name="T1" fmla="*/ 13 h 13"/>
                <a:gd name="T2" fmla="*/ 59 w 62"/>
                <a:gd name="T3" fmla="*/ 13 h 13"/>
                <a:gd name="T4" fmla="*/ 2 w 62"/>
                <a:gd name="T5" fmla="*/ 4 h 13"/>
                <a:gd name="T6" fmla="*/ 0 w 62"/>
                <a:gd name="T7" fmla="*/ 2 h 13"/>
                <a:gd name="T8" fmla="*/ 3 w 62"/>
                <a:gd name="T9" fmla="*/ 0 h 13"/>
                <a:gd name="T10" fmla="*/ 60 w 62"/>
                <a:gd name="T11" fmla="*/ 10 h 13"/>
                <a:gd name="T12" fmla="*/ 61 w 62"/>
                <a:gd name="T13" fmla="*/ 12 h 13"/>
                <a:gd name="T14" fmla="*/ 60 w 6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3">
                  <a:moveTo>
                    <a:pt x="60" y="13"/>
                  </a:moveTo>
                  <a:cubicBezTo>
                    <a:pt x="59" y="13"/>
                    <a:pt x="59" y="13"/>
                    <a:pt x="59" y="13"/>
                  </a:cubicBezTo>
                  <a:cubicBezTo>
                    <a:pt x="34" y="6"/>
                    <a:pt x="3" y="4"/>
                    <a:pt x="2" y="4"/>
                  </a:cubicBezTo>
                  <a:cubicBezTo>
                    <a:pt x="1" y="4"/>
                    <a:pt x="0" y="3"/>
                    <a:pt x="0" y="2"/>
                  </a:cubicBezTo>
                  <a:cubicBezTo>
                    <a:pt x="1" y="1"/>
                    <a:pt x="1" y="0"/>
                    <a:pt x="3" y="0"/>
                  </a:cubicBezTo>
                  <a:cubicBezTo>
                    <a:pt x="3" y="0"/>
                    <a:pt x="35" y="2"/>
                    <a:pt x="60" y="10"/>
                  </a:cubicBezTo>
                  <a:cubicBezTo>
                    <a:pt x="61" y="10"/>
                    <a:pt x="62" y="11"/>
                    <a:pt x="61" y="12"/>
                  </a:cubicBezTo>
                  <a:cubicBezTo>
                    <a:pt x="61" y="13"/>
                    <a:pt x="60" y="13"/>
                    <a:pt x="6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a:extLst>
                <a:ext uri="{FF2B5EF4-FFF2-40B4-BE49-F238E27FC236}">
                  <a16:creationId xmlns:a16="http://schemas.microsoft.com/office/drawing/2014/main" id="{4C7B4002-C426-47DF-9714-02587C83EAEA}"/>
                </a:ext>
              </a:extLst>
            </p:cNvPr>
            <p:cNvSpPr>
              <a:spLocks/>
            </p:cNvSpPr>
            <p:nvPr/>
          </p:nvSpPr>
          <p:spPr bwMode="auto">
            <a:xfrm>
              <a:off x="4820" y="3694"/>
              <a:ext cx="84" cy="141"/>
            </a:xfrm>
            <a:custGeom>
              <a:avLst/>
              <a:gdLst>
                <a:gd name="T0" fmla="*/ 84 w 84"/>
                <a:gd name="T1" fmla="*/ 141 h 141"/>
                <a:gd name="T2" fmla="*/ 18 w 84"/>
                <a:gd name="T3" fmla="*/ 134 h 141"/>
                <a:gd name="T4" fmla="*/ 0 w 84"/>
                <a:gd name="T5" fmla="*/ 0 h 141"/>
                <a:gd name="T6" fmla="*/ 82 w 84"/>
                <a:gd name="T7" fmla="*/ 24 h 141"/>
                <a:gd name="T8" fmla="*/ 84 w 84"/>
                <a:gd name="T9" fmla="*/ 141 h 141"/>
              </a:gdLst>
              <a:ahLst/>
              <a:cxnLst>
                <a:cxn ang="0">
                  <a:pos x="T0" y="T1"/>
                </a:cxn>
                <a:cxn ang="0">
                  <a:pos x="T2" y="T3"/>
                </a:cxn>
                <a:cxn ang="0">
                  <a:pos x="T4" y="T5"/>
                </a:cxn>
                <a:cxn ang="0">
                  <a:pos x="T6" y="T7"/>
                </a:cxn>
                <a:cxn ang="0">
                  <a:pos x="T8" y="T9"/>
                </a:cxn>
              </a:cxnLst>
              <a:rect l="0" t="0" r="r" b="b"/>
              <a:pathLst>
                <a:path w="84" h="141">
                  <a:moveTo>
                    <a:pt x="84" y="141"/>
                  </a:moveTo>
                  <a:lnTo>
                    <a:pt x="18" y="134"/>
                  </a:lnTo>
                  <a:lnTo>
                    <a:pt x="0" y="0"/>
                  </a:lnTo>
                  <a:lnTo>
                    <a:pt x="82" y="24"/>
                  </a:lnTo>
                  <a:lnTo>
                    <a:pt x="84" y="141"/>
                  </a:ln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a:extLst>
                <a:ext uri="{FF2B5EF4-FFF2-40B4-BE49-F238E27FC236}">
                  <a16:creationId xmlns:a16="http://schemas.microsoft.com/office/drawing/2014/main" id="{9CA4870E-4EC4-44CB-B56A-C90702592388}"/>
                </a:ext>
              </a:extLst>
            </p:cNvPr>
            <p:cNvSpPr>
              <a:spLocks/>
            </p:cNvSpPr>
            <p:nvPr/>
          </p:nvSpPr>
          <p:spPr bwMode="auto">
            <a:xfrm>
              <a:off x="4758" y="3846"/>
              <a:ext cx="164" cy="136"/>
            </a:xfrm>
            <a:custGeom>
              <a:avLst/>
              <a:gdLst>
                <a:gd name="T0" fmla="*/ 1 w 92"/>
                <a:gd name="T1" fmla="*/ 55 h 76"/>
                <a:gd name="T2" fmla="*/ 1 w 92"/>
                <a:gd name="T3" fmla="*/ 64 h 76"/>
                <a:gd name="T4" fmla="*/ 30 w 92"/>
                <a:gd name="T5" fmla="*/ 76 h 76"/>
                <a:gd name="T6" fmla="*/ 63 w 92"/>
                <a:gd name="T7" fmla="*/ 70 h 76"/>
                <a:gd name="T8" fmla="*/ 76 w 92"/>
                <a:gd name="T9" fmla="*/ 51 h 76"/>
                <a:gd name="T10" fmla="*/ 79 w 92"/>
                <a:gd name="T11" fmla="*/ 31 h 76"/>
                <a:gd name="T12" fmla="*/ 89 w 92"/>
                <a:gd name="T13" fmla="*/ 16 h 76"/>
                <a:gd name="T14" fmla="*/ 89 w 92"/>
                <a:gd name="T15" fmla="*/ 0 h 76"/>
                <a:gd name="T16" fmla="*/ 1 w 92"/>
                <a:gd name="T17"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6">
                  <a:moveTo>
                    <a:pt x="1" y="55"/>
                  </a:moveTo>
                  <a:cubicBezTo>
                    <a:pt x="0" y="56"/>
                    <a:pt x="0" y="63"/>
                    <a:pt x="1" y="64"/>
                  </a:cubicBezTo>
                  <a:cubicBezTo>
                    <a:pt x="5" y="69"/>
                    <a:pt x="16" y="75"/>
                    <a:pt x="30" y="76"/>
                  </a:cubicBezTo>
                  <a:cubicBezTo>
                    <a:pt x="43" y="76"/>
                    <a:pt x="55" y="75"/>
                    <a:pt x="63" y="70"/>
                  </a:cubicBezTo>
                  <a:cubicBezTo>
                    <a:pt x="71" y="65"/>
                    <a:pt x="75" y="59"/>
                    <a:pt x="76" y="51"/>
                  </a:cubicBezTo>
                  <a:cubicBezTo>
                    <a:pt x="76" y="44"/>
                    <a:pt x="75" y="36"/>
                    <a:pt x="79" y="31"/>
                  </a:cubicBezTo>
                  <a:cubicBezTo>
                    <a:pt x="82" y="25"/>
                    <a:pt x="88" y="19"/>
                    <a:pt x="89" y="16"/>
                  </a:cubicBezTo>
                  <a:cubicBezTo>
                    <a:pt x="92" y="10"/>
                    <a:pt x="89" y="0"/>
                    <a:pt x="89" y="0"/>
                  </a:cubicBezTo>
                  <a:lnTo>
                    <a:pt x="1" y="5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a:extLst>
                <a:ext uri="{FF2B5EF4-FFF2-40B4-BE49-F238E27FC236}">
                  <a16:creationId xmlns:a16="http://schemas.microsoft.com/office/drawing/2014/main" id="{1DB38813-99CE-469B-8E69-82C62F87D242}"/>
                </a:ext>
              </a:extLst>
            </p:cNvPr>
            <p:cNvSpPr>
              <a:spLocks/>
            </p:cNvSpPr>
            <p:nvPr/>
          </p:nvSpPr>
          <p:spPr bwMode="auto">
            <a:xfrm>
              <a:off x="4758" y="3798"/>
              <a:ext cx="162" cy="171"/>
            </a:xfrm>
            <a:custGeom>
              <a:avLst/>
              <a:gdLst>
                <a:gd name="T0" fmla="*/ 37 w 91"/>
                <a:gd name="T1" fmla="*/ 15 h 96"/>
                <a:gd name="T2" fmla="*/ 36 w 91"/>
                <a:gd name="T3" fmla="*/ 24 h 96"/>
                <a:gd name="T4" fmla="*/ 28 w 91"/>
                <a:gd name="T5" fmla="*/ 41 h 96"/>
                <a:gd name="T6" fmla="*/ 22 w 91"/>
                <a:gd name="T7" fmla="*/ 49 h 96"/>
                <a:gd name="T8" fmla="*/ 9 w 91"/>
                <a:gd name="T9" fmla="*/ 62 h 96"/>
                <a:gd name="T10" fmla="*/ 0 w 91"/>
                <a:gd name="T11" fmla="*/ 79 h 96"/>
                <a:gd name="T12" fmla="*/ 25 w 91"/>
                <a:gd name="T13" fmla="*/ 94 h 96"/>
                <a:gd name="T14" fmla="*/ 54 w 91"/>
                <a:gd name="T15" fmla="*/ 93 h 96"/>
                <a:gd name="T16" fmla="*/ 73 w 91"/>
                <a:gd name="T17" fmla="*/ 72 h 96"/>
                <a:gd name="T18" fmla="*/ 74 w 91"/>
                <a:gd name="T19" fmla="*/ 63 h 96"/>
                <a:gd name="T20" fmla="*/ 82 w 91"/>
                <a:gd name="T21" fmla="*/ 45 h 96"/>
                <a:gd name="T22" fmla="*/ 88 w 91"/>
                <a:gd name="T23" fmla="*/ 35 h 96"/>
                <a:gd name="T24" fmla="*/ 87 w 91"/>
                <a:gd name="T25" fmla="*/ 14 h 96"/>
                <a:gd name="T26" fmla="*/ 82 w 91"/>
                <a:gd name="T27" fmla="*/ 3 h 96"/>
                <a:gd name="T28" fmla="*/ 80 w 91"/>
                <a:gd name="T29" fmla="*/ 8 h 96"/>
                <a:gd name="T30" fmla="*/ 74 w 91"/>
                <a:gd name="T31" fmla="*/ 16 h 96"/>
                <a:gd name="T32" fmla="*/ 76 w 91"/>
                <a:gd name="T33" fmla="*/ 9 h 96"/>
                <a:gd name="T34" fmla="*/ 76 w 91"/>
                <a:gd name="T35" fmla="*/ 6 h 96"/>
                <a:gd name="T36" fmla="*/ 73 w 91"/>
                <a:gd name="T37" fmla="*/ 4 h 96"/>
                <a:gd name="T38" fmla="*/ 60 w 91"/>
                <a:gd name="T39" fmla="*/ 1 h 96"/>
                <a:gd name="T40" fmla="*/ 42 w 91"/>
                <a:gd name="T41" fmla="*/ 1 h 96"/>
                <a:gd name="T42" fmla="*/ 39 w 91"/>
                <a:gd name="T43" fmla="*/ 3 h 96"/>
                <a:gd name="T44" fmla="*/ 38 w 91"/>
                <a:gd name="T45" fmla="*/ 7 h 96"/>
                <a:gd name="T46" fmla="*/ 37 w 91"/>
                <a:gd name="T47" fmla="*/ 1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6">
                  <a:moveTo>
                    <a:pt x="37" y="15"/>
                  </a:moveTo>
                  <a:cubicBezTo>
                    <a:pt x="37" y="18"/>
                    <a:pt x="37" y="21"/>
                    <a:pt x="36" y="24"/>
                  </a:cubicBezTo>
                  <a:cubicBezTo>
                    <a:pt x="34" y="30"/>
                    <a:pt x="31" y="35"/>
                    <a:pt x="28" y="41"/>
                  </a:cubicBezTo>
                  <a:cubicBezTo>
                    <a:pt x="26" y="44"/>
                    <a:pt x="24" y="46"/>
                    <a:pt x="22" y="49"/>
                  </a:cubicBezTo>
                  <a:cubicBezTo>
                    <a:pt x="18" y="54"/>
                    <a:pt x="13" y="58"/>
                    <a:pt x="9" y="62"/>
                  </a:cubicBezTo>
                  <a:cubicBezTo>
                    <a:pt x="4" y="67"/>
                    <a:pt x="1" y="72"/>
                    <a:pt x="0" y="79"/>
                  </a:cubicBezTo>
                  <a:cubicBezTo>
                    <a:pt x="0" y="89"/>
                    <a:pt x="17" y="93"/>
                    <a:pt x="25" y="94"/>
                  </a:cubicBezTo>
                  <a:cubicBezTo>
                    <a:pt x="35" y="96"/>
                    <a:pt x="45" y="96"/>
                    <a:pt x="54" y="93"/>
                  </a:cubicBezTo>
                  <a:cubicBezTo>
                    <a:pt x="64" y="90"/>
                    <a:pt x="72" y="82"/>
                    <a:pt x="73" y="72"/>
                  </a:cubicBezTo>
                  <a:cubicBezTo>
                    <a:pt x="74" y="69"/>
                    <a:pt x="74" y="66"/>
                    <a:pt x="74" y="63"/>
                  </a:cubicBezTo>
                  <a:cubicBezTo>
                    <a:pt x="75" y="56"/>
                    <a:pt x="78" y="50"/>
                    <a:pt x="82" y="45"/>
                  </a:cubicBezTo>
                  <a:cubicBezTo>
                    <a:pt x="84" y="41"/>
                    <a:pt x="87" y="38"/>
                    <a:pt x="88" y="35"/>
                  </a:cubicBezTo>
                  <a:cubicBezTo>
                    <a:pt x="91" y="28"/>
                    <a:pt x="89" y="21"/>
                    <a:pt x="87" y="14"/>
                  </a:cubicBezTo>
                  <a:cubicBezTo>
                    <a:pt x="86" y="9"/>
                    <a:pt x="84" y="2"/>
                    <a:pt x="82" y="3"/>
                  </a:cubicBezTo>
                  <a:cubicBezTo>
                    <a:pt x="82" y="6"/>
                    <a:pt x="82" y="6"/>
                    <a:pt x="80" y="8"/>
                  </a:cubicBezTo>
                  <a:cubicBezTo>
                    <a:pt x="77" y="10"/>
                    <a:pt x="77" y="14"/>
                    <a:pt x="74" y="16"/>
                  </a:cubicBezTo>
                  <a:cubicBezTo>
                    <a:pt x="76" y="13"/>
                    <a:pt x="76" y="12"/>
                    <a:pt x="76" y="9"/>
                  </a:cubicBezTo>
                  <a:cubicBezTo>
                    <a:pt x="77" y="8"/>
                    <a:pt x="76" y="7"/>
                    <a:pt x="76" y="6"/>
                  </a:cubicBezTo>
                  <a:cubicBezTo>
                    <a:pt x="75" y="5"/>
                    <a:pt x="74" y="5"/>
                    <a:pt x="73" y="4"/>
                  </a:cubicBezTo>
                  <a:cubicBezTo>
                    <a:pt x="68" y="3"/>
                    <a:pt x="64" y="2"/>
                    <a:pt x="60" y="1"/>
                  </a:cubicBezTo>
                  <a:cubicBezTo>
                    <a:pt x="56" y="1"/>
                    <a:pt x="46" y="0"/>
                    <a:pt x="42" y="1"/>
                  </a:cubicBezTo>
                  <a:cubicBezTo>
                    <a:pt x="41" y="1"/>
                    <a:pt x="39" y="2"/>
                    <a:pt x="39" y="3"/>
                  </a:cubicBezTo>
                  <a:cubicBezTo>
                    <a:pt x="38" y="4"/>
                    <a:pt x="38" y="5"/>
                    <a:pt x="38" y="7"/>
                  </a:cubicBezTo>
                  <a:cubicBezTo>
                    <a:pt x="37" y="8"/>
                    <a:pt x="38" y="13"/>
                    <a:pt x="37" y="1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a:extLst>
                <a:ext uri="{FF2B5EF4-FFF2-40B4-BE49-F238E27FC236}">
                  <a16:creationId xmlns:a16="http://schemas.microsoft.com/office/drawing/2014/main" id="{254C0906-3D6B-4B50-898B-29F397633159}"/>
                </a:ext>
              </a:extLst>
            </p:cNvPr>
            <p:cNvSpPr>
              <a:spLocks/>
            </p:cNvSpPr>
            <p:nvPr/>
          </p:nvSpPr>
          <p:spPr bwMode="auto">
            <a:xfrm>
              <a:off x="4802" y="3858"/>
              <a:ext cx="77" cy="22"/>
            </a:xfrm>
            <a:custGeom>
              <a:avLst/>
              <a:gdLst>
                <a:gd name="T0" fmla="*/ 1 w 43"/>
                <a:gd name="T1" fmla="*/ 9 h 12"/>
                <a:gd name="T2" fmla="*/ 24 w 43"/>
                <a:gd name="T3" fmla="*/ 7 h 12"/>
                <a:gd name="T4" fmla="*/ 38 w 43"/>
                <a:gd name="T5" fmla="*/ 11 h 12"/>
                <a:gd name="T6" fmla="*/ 42 w 43"/>
                <a:gd name="T7" fmla="*/ 11 h 12"/>
                <a:gd name="T8" fmla="*/ 42 w 43"/>
                <a:gd name="T9" fmla="*/ 7 h 12"/>
                <a:gd name="T10" fmla="*/ 26 w 43"/>
                <a:gd name="T11" fmla="*/ 1 h 12"/>
                <a:gd name="T12" fmla="*/ 5 w 43"/>
                <a:gd name="T13" fmla="*/ 2 h 12"/>
                <a:gd name="T14" fmla="*/ 1 w 43"/>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2">
                  <a:moveTo>
                    <a:pt x="1" y="9"/>
                  </a:moveTo>
                  <a:cubicBezTo>
                    <a:pt x="5" y="6"/>
                    <a:pt x="19" y="6"/>
                    <a:pt x="24" y="7"/>
                  </a:cubicBezTo>
                  <a:cubicBezTo>
                    <a:pt x="30" y="7"/>
                    <a:pt x="35" y="9"/>
                    <a:pt x="38" y="11"/>
                  </a:cubicBezTo>
                  <a:cubicBezTo>
                    <a:pt x="39" y="12"/>
                    <a:pt x="41" y="12"/>
                    <a:pt x="42" y="11"/>
                  </a:cubicBezTo>
                  <a:cubicBezTo>
                    <a:pt x="43" y="10"/>
                    <a:pt x="43" y="8"/>
                    <a:pt x="42" y="7"/>
                  </a:cubicBezTo>
                  <a:cubicBezTo>
                    <a:pt x="39" y="4"/>
                    <a:pt x="33" y="1"/>
                    <a:pt x="26" y="1"/>
                  </a:cubicBezTo>
                  <a:cubicBezTo>
                    <a:pt x="14" y="0"/>
                    <a:pt x="5" y="2"/>
                    <a:pt x="5" y="2"/>
                  </a:cubicBezTo>
                  <a:cubicBezTo>
                    <a:pt x="5" y="2"/>
                    <a:pt x="0" y="6"/>
                    <a:pt x="1" y="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a:extLst>
                <a:ext uri="{FF2B5EF4-FFF2-40B4-BE49-F238E27FC236}">
                  <a16:creationId xmlns:a16="http://schemas.microsoft.com/office/drawing/2014/main" id="{34AF6E0D-6B59-45C3-A42D-42A64247CC19}"/>
                </a:ext>
              </a:extLst>
            </p:cNvPr>
            <p:cNvSpPr>
              <a:spLocks/>
            </p:cNvSpPr>
            <p:nvPr/>
          </p:nvSpPr>
          <p:spPr bwMode="auto">
            <a:xfrm>
              <a:off x="4788" y="3878"/>
              <a:ext cx="78" cy="23"/>
            </a:xfrm>
            <a:custGeom>
              <a:avLst/>
              <a:gdLst>
                <a:gd name="T0" fmla="*/ 0 w 44"/>
                <a:gd name="T1" fmla="*/ 9 h 13"/>
                <a:gd name="T2" fmla="*/ 25 w 44"/>
                <a:gd name="T3" fmla="*/ 7 h 13"/>
                <a:gd name="T4" fmla="*/ 38 w 44"/>
                <a:gd name="T5" fmla="*/ 12 h 13"/>
                <a:gd name="T6" fmla="*/ 42 w 44"/>
                <a:gd name="T7" fmla="*/ 12 h 13"/>
                <a:gd name="T8" fmla="*/ 42 w 44"/>
                <a:gd name="T9" fmla="*/ 7 h 13"/>
                <a:gd name="T10" fmla="*/ 21 w 44"/>
                <a:gd name="T11" fmla="*/ 1 h 13"/>
                <a:gd name="T12" fmla="*/ 6 w 44"/>
                <a:gd name="T13" fmla="*/ 3 h 13"/>
                <a:gd name="T14" fmla="*/ 0 w 44"/>
                <a:gd name="T15" fmla="*/ 9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3">
                  <a:moveTo>
                    <a:pt x="0" y="9"/>
                  </a:moveTo>
                  <a:cubicBezTo>
                    <a:pt x="5" y="6"/>
                    <a:pt x="20" y="6"/>
                    <a:pt x="25" y="7"/>
                  </a:cubicBezTo>
                  <a:cubicBezTo>
                    <a:pt x="31" y="7"/>
                    <a:pt x="36" y="10"/>
                    <a:pt x="38" y="12"/>
                  </a:cubicBezTo>
                  <a:cubicBezTo>
                    <a:pt x="40" y="13"/>
                    <a:pt x="41" y="13"/>
                    <a:pt x="42" y="12"/>
                  </a:cubicBezTo>
                  <a:cubicBezTo>
                    <a:pt x="44" y="10"/>
                    <a:pt x="44" y="8"/>
                    <a:pt x="42" y="7"/>
                  </a:cubicBezTo>
                  <a:cubicBezTo>
                    <a:pt x="39" y="5"/>
                    <a:pt x="28" y="1"/>
                    <a:pt x="21" y="1"/>
                  </a:cubicBezTo>
                  <a:cubicBezTo>
                    <a:pt x="9" y="0"/>
                    <a:pt x="6" y="3"/>
                    <a:pt x="6" y="3"/>
                  </a:cubicBezTo>
                  <a:cubicBezTo>
                    <a:pt x="6" y="3"/>
                    <a:pt x="1" y="4"/>
                    <a:pt x="0" y="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a:extLst>
                <a:ext uri="{FF2B5EF4-FFF2-40B4-BE49-F238E27FC236}">
                  <a16:creationId xmlns:a16="http://schemas.microsoft.com/office/drawing/2014/main" id="{5F855057-A035-4BED-B7FE-7C9DFC38F36B}"/>
                </a:ext>
              </a:extLst>
            </p:cNvPr>
            <p:cNvSpPr>
              <a:spLocks/>
            </p:cNvSpPr>
            <p:nvPr/>
          </p:nvSpPr>
          <p:spPr bwMode="auto">
            <a:xfrm>
              <a:off x="4815" y="3839"/>
              <a:ext cx="73" cy="19"/>
            </a:xfrm>
            <a:custGeom>
              <a:avLst/>
              <a:gdLst>
                <a:gd name="T0" fmla="*/ 24 w 41"/>
                <a:gd name="T1" fmla="*/ 1 h 11"/>
                <a:gd name="T2" fmla="*/ 4 w 41"/>
                <a:gd name="T3" fmla="*/ 2 h 11"/>
                <a:gd name="T4" fmla="*/ 2 w 41"/>
                <a:gd name="T5" fmla="*/ 7 h 11"/>
                <a:gd name="T6" fmla="*/ 20 w 41"/>
                <a:gd name="T7" fmla="*/ 5 h 11"/>
                <a:gd name="T8" fmla="*/ 33 w 41"/>
                <a:gd name="T9" fmla="*/ 9 h 11"/>
                <a:gd name="T10" fmla="*/ 36 w 41"/>
                <a:gd name="T11" fmla="*/ 10 h 11"/>
                <a:gd name="T12" fmla="*/ 40 w 41"/>
                <a:gd name="T13" fmla="*/ 9 h 11"/>
                <a:gd name="T14" fmla="*/ 39 w 41"/>
                <a:gd name="T15" fmla="*/ 6 h 11"/>
                <a:gd name="T16" fmla="*/ 24 w 41"/>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1">
                  <a:moveTo>
                    <a:pt x="24" y="1"/>
                  </a:moveTo>
                  <a:cubicBezTo>
                    <a:pt x="16" y="0"/>
                    <a:pt x="7" y="1"/>
                    <a:pt x="4" y="2"/>
                  </a:cubicBezTo>
                  <a:cubicBezTo>
                    <a:pt x="2" y="3"/>
                    <a:pt x="0" y="6"/>
                    <a:pt x="2" y="7"/>
                  </a:cubicBezTo>
                  <a:cubicBezTo>
                    <a:pt x="4" y="6"/>
                    <a:pt x="14" y="5"/>
                    <a:pt x="20" y="5"/>
                  </a:cubicBezTo>
                  <a:cubicBezTo>
                    <a:pt x="24" y="5"/>
                    <a:pt x="29" y="7"/>
                    <a:pt x="33" y="9"/>
                  </a:cubicBezTo>
                  <a:cubicBezTo>
                    <a:pt x="34" y="9"/>
                    <a:pt x="35" y="10"/>
                    <a:pt x="36" y="10"/>
                  </a:cubicBezTo>
                  <a:cubicBezTo>
                    <a:pt x="38" y="11"/>
                    <a:pt x="39" y="11"/>
                    <a:pt x="40" y="9"/>
                  </a:cubicBezTo>
                  <a:cubicBezTo>
                    <a:pt x="41" y="8"/>
                    <a:pt x="40" y="7"/>
                    <a:pt x="39" y="6"/>
                  </a:cubicBezTo>
                  <a:cubicBezTo>
                    <a:pt x="36" y="4"/>
                    <a:pt x="31" y="1"/>
                    <a:pt x="24" y="1"/>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a:extLst>
                <a:ext uri="{FF2B5EF4-FFF2-40B4-BE49-F238E27FC236}">
                  <a16:creationId xmlns:a16="http://schemas.microsoft.com/office/drawing/2014/main" id="{DE897694-7EE2-4305-A02D-EE1C4E35F7A6}"/>
                </a:ext>
              </a:extLst>
            </p:cNvPr>
            <p:cNvSpPr>
              <a:spLocks/>
            </p:cNvSpPr>
            <p:nvPr/>
          </p:nvSpPr>
          <p:spPr bwMode="auto">
            <a:xfrm>
              <a:off x="4594" y="3628"/>
              <a:ext cx="78" cy="147"/>
            </a:xfrm>
            <a:custGeom>
              <a:avLst/>
              <a:gdLst>
                <a:gd name="T0" fmla="*/ 62 w 78"/>
                <a:gd name="T1" fmla="*/ 147 h 147"/>
                <a:gd name="T2" fmla="*/ 0 w 78"/>
                <a:gd name="T3" fmla="*/ 129 h 147"/>
                <a:gd name="T4" fmla="*/ 0 w 78"/>
                <a:gd name="T5" fmla="*/ 0 h 147"/>
                <a:gd name="T6" fmla="*/ 78 w 78"/>
                <a:gd name="T7" fmla="*/ 4 h 147"/>
                <a:gd name="T8" fmla="*/ 62 w 78"/>
                <a:gd name="T9" fmla="*/ 147 h 147"/>
              </a:gdLst>
              <a:ahLst/>
              <a:cxnLst>
                <a:cxn ang="0">
                  <a:pos x="T0" y="T1"/>
                </a:cxn>
                <a:cxn ang="0">
                  <a:pos x="T2" y="T3"/>
                </a:cxn>
                <a:cxn ang="0">
                  <a:pos x="T4" y="T5"/>
                </a:cxn>
                <a:cxn ang="0">
                  <a:pos x="T6" y="T7"/>
                </a:cxn>
                <a:cxn ang="0">
                  <a:pos x="T8" y="T9"/>
                </a:cxn>
              </a:cxnLst>
              <a:rect l="0" t="0" r="r" b="b"/>
              <a:pathLst>
                <a:path w="78" h="147">
                  <a:moveTo>
                    <a:pt x="62" y="147"/>
                  </a:moveTo>
                  <a:lnTo>
                    <a:pt x="0" y="129"/>
                  </a:lnTo>
                  <a:lnTo>
                    <a:pt x="0" y="0"/>
                  </a:lnTo>
                  <a:lnTo>
                    <a:pt x="78" y="4"/>
                  </a:lnTo>
                  <a:lnTo>
                    <a:pt x="62" y="147"/>
                  </a:ln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a:extLst>
                <a:ext uri="{FF2B5EF4-FFF2-40B4-BE49-F238E27FC236}">
                  <a16:creationId xmlns:a16="http://schemas.microsoft.com/office/drawing/2014/main" id="{34BDDFA0-4C3F-4E67-81AC-4A458BB8ABA4}"/>
                </a:ext>
              </a:extLst>
            </p:cNvPr>
            <p:cNvSpPr>
              <a:spLocks/>
            </p:cNvSpPr>
            <p:nvPr/>
          </p:nvSpPr>
          <p:spPr bwMode="auto">
            <a:xfrm>
              <a:off x="4458" y="3801"/>
              <a:ext cx="228" cy="77"/>
            </a:xfrm>
            <a:custGeom>
              <a:avLst/>
              <a:gdLst>
                <a:gd name="T0" fmla="*/ 1 w 128"/>
                <a:gd name="T1" fmla="*/ 23 h 43"/>
                <a:gd name="T2" fmla="*/ 2 w 128"/>
                <a:gd name="T3" fmla="*/ 33 h 43"/>
                <a:gd name="T4" fmla="*/ 37 w 128"/>
                <a:gd name="T5" fmla="*/ 42 h 43"/>
                <a:gd name="T6" fmla="*/ 77 w 128"/>
                <a:gd name="T7" fmla="*/ 28 h 43"/>
                <a:gd name="T8" fmla="*/ 101 w 128"/>
                <a:gd name="T9" fmla="*/ 22 h 43"/>
                <a:gd name="T10" fmla="*/ 126 w 128"/>
                <a:gd name="T11" fmla="*/ 12 h 43"/>
                <a:gd name="T12" fmla="*/ 125 w 128"/>
                <a:gd name="T13" fmla="*/ 0 h 43"/>
                <a:gd name="T14" fmla="*/ 1 w 128"/>
                <a:gd name="T15" fmla="*/ 2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43">
                  <a:moveTo>
                    <a:pt x="1" y="23"/>
                  </a:moveTo>
                  <a:cubicBezTo>
                    <a:pt x="0" y="26"/>
                    <a:pt x="0" y="30"/>
                    <a:pt x="2" y="33"/>
                  </a:cubicBezTo>
                  <a:cubicBezTo>
                    <a:pt x="3" y="35"/>
                    <a:pt x="17" y="43"/>
                    <a:pt x="37" y="42"/>
                  </a:cubicBezTo>
                  <a:cubicBezTo>
                    <a:pt x="56" y="41"/>
                    <a:pt x="69" y="33"/>
                    <a:pt x="77" y="28"/>
                  </a:cubicBezTo>
                  <a:cubicBezTo>
                    <a:pt x="84" y="23"/>
                    <a:pt x="92" y="22"/>
                    <a:pt x="101" y="22"/>
                  </a:cubicBezTo>
                  <a:cubicBezTo>
                    <a:pt x="111" y="21"/>
                    <a:pt x="123" y="16"/>
                    <a:pt x="126" y="12"/>
                  </a:cubicBezTo>
                  <a:cubicBezTo>
                    <a:pt x="128" y="8"/>
                    <a:pt x="125" y="0"/>
                    <a:pt x="125" y="0"/>
                  </a:cubicBezTo>
                  <a:lnTo>
                    <a:pt x="1" y="2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a:extLst>
                <a:ext uri="{FF2B5EF4-FFF2-40B4-BE49-F238E27FC236}">
                  <a16:creationId xmlns:a16="http://schemas.microsoft.com/office/drawing/2014/main" id="{5D617CDF-5F05-46CF-850C-4A738F98E2D6}"/>
                </a:ext>
              </a:extLst>
            </p:cNvPr>
            <p:cNvSpPr>
              <a:spLocks/>
            </p:cNvSpPr>
            <p:nvPr/>
          </p:nvSpPr>
          <p:spPr bwMode="auto">
            <a:xfrm>
              <a:off x="4453" y="3730"/>
              <a:ext cx="233" cy="139"/>
            </a:xfrm>
            <a:custGeom>
              <a:avLst/>
              <a:gdLst>
                <a:gd name="T0" fmla="*/ 82 w 131"/>
                <a:gd name="T1" fmla="*/ 3 h 78"/>
                <a:gd name="T2" fmla="*/ 81 w 131"/>
                <a:gd name="T3" fmla="*/ 3 h 78"/>
                <a:gd name="T4" fmla="*/ 78 w 131"/>
                <a:gd name="T5" fmla="*/ 2 h 78"/>
                <a:gd name="T6" fmla="*/ 76 w 131"/>
                <a:gd name="T7" fmla="*/ 4 h 78"/>
                <a:gd name="T8" fmla="*/ 71 w 131"/>
                <a:gd name="T9" fmla="*/ 12 h 78"/>
                <a:gd name="T10" fmla="*/ 49 w 131"/>
                <a:gd name="T11" fmla="*/ 29 h 78"/>
                <a:gd name="T12" fmla="*/ 30 w 131"/>
                <a:gd name="T13" fmla="*/ 38 h 78"/>
                <a:gd name="T14" fmla="*/ 9 w 131"/>
                <a:gd name="T15" fmla="*/ 46 h 78"/>
                <a:gd name="T16" fmla="*/ 9 w 131"/>
                <a:gd name="T17" fmla="*/ 69 h 78"/>
                <a:gd name="T18" fmla="*/ 57 w 131"/>
                <a:gd name="T19" fmla="*/ 73 h 78"/>
                <a:gd name="T20" fmla="*/ 95 w 131"/>
                <a:gd name="T21" fmla="*/ 56 h 78"/>
                <a:gd name="T22" fmla="*/ 128 w 131"/>
                <a:gd name="T23" fmla="*/ 46 h 78"/>
                <a:gd name="T24" fmla="*/ 125 w 131"/>
                <a:gd name="T25" fmla="*/ 24 h 78"/>
                <a:gd name="T26" fmla="*/ 117 w 131"/>
                <a:gd name="T27" fmla="*/ 1 h 78"/>
                <a:gd name="T28" fmla="*/ 115 w 131"/>
                <a:gd name="T29" fmla="*/ 4 h 78"/>
                <a:gd name="T30" fmla="*/ 111 w 131"/>
                <a:gd name="T31" fmla="*/ 7 h 78"/>
                <a:gd name="T32" fmla="*/ 106 w 131"/>
                <a:gd name="T33" fmla="*/ 15 h 78"/>
                <a:gd name="T34" fmla="*/ 103 w 131"/>
                <a:gd name="T35" fmla="*/ 18 h 78"/>
                <a:gd name="T36" fmla="*/ 99 w 131"/>
                <a:gd name="T37" fmla="*/ 16 h 78"/>
                <a:gd name="T38" fmla="*/ 94 w 131"/>
                <a:gd name="T39" fmla="*/ 16 h 78"/>
                <a:gd name="T40" fmla="*/ 95 w 131"/>
                <a:gd name="T41" fmla="*/ 11 h 78"/>
                <a:gd name="T42" fmla="*/ 95 w 131"/>
                <a:gd name="T43" fmla="*/ 9 h 78"/>
                <a:gd name="T44" fmla="*/ 94 w 131"/>
                <a:gd name="T45" fmla="*/ 7 h 78"/>
                <a:gd name="T46" fmla="*/ 82 w 131"/>
                <a:gd name="T47" fmla="*/ 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8">
                  <a:moveTo>
                    <a:pt x="82" y="3"/>
                  </a:moveTo>
                  <a:cubicBezTo>
                    <a:pt x="82" y="3"/>
                    <a:pt x="81" y="3"/>
                    <a:pt x="81" y="3"/>
                  </a:cubicBezTo>
                  <a:cubicBezTo>
                    <a:pt x="80" y="2"/>
                    <a:pt x="79" y="2"/>
                    <a:pt x="78" y="2"/>
                  </a:cubicBezTo>
                  <a:cubicBezTo>
                    <a:pt x="77" y="3"/>
                    <a:pt x="76" y="3"/>
                    <a:pt x="76" y="4"/>
                  </a:cubicBezTo>
                  <a:cubicBezTo>
                    <a:pt x="74" y="6"/>
                    <a:pt x="72" y="9"/>
                    <a:pt x="71" y="12"/>
                  </a:cubicBezTo>
                  <a:cubicBezTo>
                    <a:pt x="67" y="18"/>
                    <a:pt x="58" y="24"/>
                    <a:pt x="49" y="29"/>
                  </a:cubicBezTo>
                  <a:cubicBezTo>
                    <a:pt x="43" y="32"/>
                    <a:pt x="36" y="35"/>
                    <a:pt x="30" y="38"/>
                  </a:cubicBezTo>
                  <a:cubicBezTo>
                    <a:pt x="23" y="41"/>
                    <a:pt x="14" y="43"/>
                    <a:pt x="9" y="46"/>
                  </a:cubicBezTo>
                  <a:cubicBezTo>
                    <a:pt x="1" y="51"/>
                    <a:pt x="0" y="64"/>
                    <a:pt x="9" y="69"/>
                  </a:cubicBezTo>
                  <a:cubicBezTo>
                    <a:pt x="17" y="74"/>
                    <a:pt x="36" y="78"/>
                    <a:pt x="57" y="73"/>
                  </a:cubicBezTo>
                  <a:cubicBezTo>
                    <a:pt x="68" y="69"/>
                    <a:pt x="81" y="57"/>
                    <a:pt x="95" y="56"/>
                  </a:cubicBezTo>
                  <a:cubicBezTo>
                    <a:pt x="105" y="55"/>
                    <a:pt x="122" y="53"/>
                    <a:pt x="128" y="46"/>
                  </a:cubicBezTo>
                  <a:cubicBezTo>
                    <a:pt x="131" y="43"/>
                    <a:pt x="128" y="33"/>
                    <a:pt x="125" y="24"/>
                  </a:cubicBezTo>
                  <a:cubicBezTo>
                    <a:pt x="123" y="14"/>
                    <a:pt x="120" y="0"/>
                    <a:pt x="117" y="1"/>
                  </a:cubicBezTo>
                  <a:cubicBezTo>
                    <a:pt x="117" y="2"/>
                    <a:pt x="116" y="3"/>
                    <a:pt x="115" y="4"/>
                  </a:cubicBezTo>
                  <a:cubicBezTo>
                    <a:pt x="114" y="5"/>
                    <a:pt x="113" y="6"/>
                    <a:pt x="111" y="7"/>
                  </a:cubicBezTo>
                  <a:cubicBezTo>
                    <a:pt x="109" y="9"/>
                    <a:pt x="108" y="12"/>
                    <a:pt x="106" y="15"/>
                  </a:cubicBezTo>
                  <a:cubicBezTo>
                    <a:pt x="105" y="16"/>
                    <a:pt x="105" y="17"/>
                    <a:pt x="103" y="18"/>
                  </a:cubicBezTo>
                  <a:cubicBezTo>
                    <a:pt x="102" y="18"/>
                    <a:pt x="101" y="17"/>
                    <a:pt x="99" y="16"/>
                  </a:cubicBezTo>
                  <a:cubicBezTo>
                    <a:pt x="98" y="16"/>
                    <a:pt x="96" y="16"/>
                    <a:pt x="94" y="16"/>
                  </a:cubicBezTo>
                  <a:cubicBezTo>
                    <a:pt x="94" y="14"/>
                    <a:pt x="94" y="12"/>
                    <a:pt x="95" y="11"/>
                  </a:cubicBezTo>
                  <a:cubicBezTo>
                    <a:pt x="95" y="10"/>
                    <a:pt x="95" y="9"/>
                    <a:pt x="95" y="9"/>
                  </a:cubicBezTo>
                  <a:cubicBezTo>
                    <a:pt x="95" y="8"/>
                    <a:pt x="94" y="8"/>
                    <a:pt x="94" y="7"/>
                  </a:cubicBezTo>
                  <a:cubicBezTo>
                    <a:pt x="90" y="5"/>
                    <a:pt x="86" y="4"/>
                    <a:pt x="82" y="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a:extLst>
                <a:ext uri="{FF2B5EF4-FFF2-40B4-BE49-F238E27FC236}">
                  <a16:creationId xmlns:a16="http://schemas.microsoft.com/office/drawing/2014/main" id="{301B1AEB-3D74-444E-81D7-CF39967DF5D5}"/>
                </a:ext>
              </a:extLst>
            </p:cNvPr>
            <p:cNvSpPr>
              <a:spLocks/>
            </p:cNvSpPr>
            <p:nvPr/>
          </p:nvSpPr>
          <p:spPr bwMode="auto">
            <a:xfrm>
              <a:off x="4556" y="3762"/>
              <a:ext cx="45" cy="25"/>
            </a:xfrm>
            <a:custGeom>
              <a:avLst/>
              <a:gdLst>
                <a:gd name="T0" fmla="*/ 0 w 25"/>
                <a:gd name="T1" fmla="*/ 6 h 14"/>
                <a:gd name="T2" fmla="*/ 7 w 25"/>
                <a:gd name="T3" fmla="*/ 1 h 14"/>
                <a:gd name="T4" fmla="*/ 23 w 25"/>
                <a:gd name="T5" fmla="*/ 7 h 14"/>
                <a:gd name="T6" fmla="*/ 22 w 25"/>
                <a:gd name="T7" fmla="*/ 13 h 14"/>
                <a:gd name="T8" fmla="*/ 18 w 25"/>
                <a:gd name="T9" fmla="*/ 13 h 14"/>
                <a:gd name="T10" fmla="*/ 0 w 25"/>
                <a:gd name="T11" fmla="*/ 6 h 14"/>
              </a:gdLst>
              <a:ahLst/>
              <a:cxnLst>
                <a:cxn ang="0">
                  <a:pos x="T0" y="T1"/>
                </a:cxn>
                <a:cxn ang="0">
                  <a:pos x="T2" y="T3"/>
                </a:cxn>
                <a:cxn ang="0">
                  <a:pos x="T4" y="T5"/>
                </a:cxn>
                <a:cxn ang="0">
                  <a:pos x="T6" y="T7"/>
                </a:cxn>
                <a:cxn ang="0">
                  <a:pos x="T8" y="T9"/>
                </a:cxn>
                <a:cxn ang="0">
                  <a:pos x="T10" y="T11"/>
                </a:cxn>
              </a:cxnLst>
              <a:rect l="0" t="0" r="r" b="b"/>
              <a:pathLst>
                <a:path w="25" h="14">
                  <a:moveTo>
                    <a:pt x="0" y="6"/>
                  </a:moveTo>
                  <a:cubicBezTo>
                    <a:pt x="0" y="6"/>
                    <a:pt x="1" y="2"/>
                    <a:pt x="7" y="1"/>
                  </a:cubicBezTo>
                  <a:cubicBezTo>
                    <a:pt x="11" y="0"/>
                    <a:pt x="18" y="3"/>
                    <a:pt x="23" y="7"/>
                  </a:cubicBezTo>
                  <a:cubicBezTo>
                    <a:pt x="25" y="9"/>
                    <a:pt x="25" y="12"/>
                    <a:pt x="22" y="13"/>
                  </a:cubicBezTo>
                  <a:cubicBezTo>
                    <a:pt x="21" y="14"/>
                    <a:pt x="20" y="14"/>
                    <a:pt x="18" y="13"/>
                  </a:cubicBezTo>
                  <a:cubicBezTo>
                    <a:pt x="15" y="10"/>
                    <a:pt x="9" y="5"/>
                    <a:pt x="0"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a:extLst>
                <a:ext uri="{FF2B5EF4-FFF2-40B4-BE49-F238E27FC236}">
                  <a16:creationId xmlns:a16="http://schemas.microsoft.com/office/drawing/2014/main" id="{DD037115-BFDD-4ACF-9074-2455FC2842E6}"/>
                </a:ext>
              </a:extLst>
            </p:cNvPr>
            <p:cNvSpPr>
              <a:spLocks/>
            </p:cNvSpPr>
            <p:nvPr/>
          </p:nvSpPr>
          <p:spPr bwMode="auto">
            <a:xfrm>
              <a:off x="4531" y="3778"/>
              <a:ext cx="50" cy="23"/>
            </a:xfrm>
            <a:custGeom>
              <a:avLst/>
              <a:gdLst>
                <a:gd name="T0" fmla="*/ 0 w 28"/>
                <a:gd name="T1" fmla="*/ 4 h 13"/>
                <a:gd name="T2" fmla="*/ 9 w 28"/>
                <a:gd name="T3" fmla="*/ 0 h 13"/>
                <a:gd name="T4" fmla="*/ 27 w 28"/>
                <a:gd name="T5" fmla="*/ 7 h 13"/>
                <a:gd name="T6" fmla="*/ 26 w 28"/>
                <a:gd name="T7" fmla="*/ 12 h 13"/>
                <a:gd name="T8" fmla="*/ 22 w 28"/>
                <a:gd name="T9" fmla="*/ 12 h 13"/>
                <a:gd name="T10" fmla="*/ 0 w 28"/>
                <a:gd name="T11" fmla="*/ 4 h 13"/>
              </a:gdLst>
              <a:ahLst/>
              <a:cxnLst>
                <a:cxn ang="0">
                  <a:pos x="T0" y="T1"/>
                </a:cxn>
                <a:cxn ang="0">
                  <a:pos x="T2" y="T3"/>
                </a:cxn>
                <a:cxn ang="0">
                  <a:pos x="T4" y="T5"/>
                </a:cxn>
                <a:cxn ang="0">
                  <a:pos x="T6" y="T7"/>
                </a:cxn>
                <a:cxn ang="0">
                  <a:pos x="T8" y="T9"/>
                </a:cxn>
                <a:cxn ang="0">
                  <a:pos x="T10" y="T11"/>
                </a:cxn>
              </a:cxnLst>
              <a:rect l="0" t="0" r="r" b="b"/>
              <a:pathLst>
                <a:path w="28" h="13">
                  <a:moveTo>
                    <a:pt x="0" y="4"/>
                  </a:moveTo>
                  <a:cubicBezTo>
                    <a:pt x="0" y="4"/>
                    <a:pt x="3" y="0"/>
                    <a:pt x="9" y="0"/>
                  </a:cubicBezTo>
                  <a:cubicBezTo>
                    <a:pt x="9" y="0"/>
                    <a:pt x="20" y="0"/>
                    <a:pt x="27" y="7"/>
                  </a:cubicBezTo>
                  <a:cubicBezTo>
                    <a:pt x="28" y="8"/>
                    <a:pt x="28" y="11"/>
                    <a:pt x="26" y="12"/>
                  </a:cubicBezTo>
                  <a:cubicBezTo>
                    <a:pt x="25" y="13"/>
                    <a:pt x="23" y="13"/>
                    <a:pt x="22" y="12"/>
                  </a:cubicBezTo>
                  <a:cubicBezTo>
                    <a:pt x="19" y="9"/>
                    <a:pt x="13" y="3"/>
                    <a:pt x="0" y="4"/>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a:extLst>
                <a:ext uri="{FF2B5EF4-FFF2-40B4-BE49-F238E27FC236}">
                  <a16:creationId xmlns:a16="http://schemas.microsoft.com/office/drawing/2014/main" id="{08CCE7AD-5537-49AC-9991-C175686D75D6}"/>
                </a:ext>
              </a:extLst>
            </p:cNvPr>
            <p:cNvSpPr>
              <a:spLocks/>
            </p:cNvSpPr>
            <p:nvPr/>
          </p:nvSpPr>
          <p:spPr bwMode="auto">
            <a:xfrm>
              <a:off x="4506" y="3791"/>
              <a:ext cx="48" cy="23"/>
            </a:xfrm>
            <a:custGeom>
              <a:avLst/>
              <a:gdLst>
                <a:gd name="T0" fmla="*/ 0 w 27"/>
                <a:gd name="T1" fmla="*/ 4 h 13"/>
                <a:gd name="T2" fmla="*/ 8 w 27"/>
                <a:gd name="T3" fmla="*/ 0 h 13"/>
                <a:gd name="T4" fmla="*/ 26 w 27"/>
                <a:gd name="T5" fmla="*/ 7 h 13"/>
                <a:gd name="T6" fmla="*/ 25 w 27"/>
                <a:gd name="T7" fmla="*/ 12 h 13"/>
                <a:gd name="T8" fmla="*/ 21 w 27"/>
                <a:gd name="T9" fmla="*/ 12 h 13"/>
                <a:gd name="T10" fmla="*/ 0 w 27"/>
                <a:gd name="T11" fmla="*/ 4 h 13"/>
              </a:gdLst>
              <a:ahLst/>
              <a:cxnLst>
                <a:cxn ang="0">
                  <a:pos x="T0" y="T1"/>
                </a:cxn>
                <a:cxn ang="0">
                  <a:pos x="T2" y="T3"/>
                </a:cxn>
                <a:cxn ang="0">
                  <a:pos x="T4" y="T5"/>
                </a:cxn>
                <a:cxn ang="0">
                  <a:pos x="T6" y="T7"/>
                </a:cxn>
                <a:cxn ang="0">
                  <a:pos x="T8" y="T9"/>
                </a:cxn>
                <a:cxn ang="0">
                  <a:pos x="T10" y="T11"/>
                </a:cxn>
              </a:cxnLst>
              <a:rect l="0" t="0" r="r" b="b"/>
              <a:pathLst>
                <a:path w="27" h="13">
                  <a:moveTo>
                    <a:pt x="0" y="4"/>
                  </a:moveTo>
                  <a:cubicBezTo>
                    <a:pt x="0" y="4"/>
                    <a:pt x="3" y="0"/>
                    <a:pt x="8" y="0"/>
                  </a:cubicBezTo>
                  <a:cubicBezTo>
                    <a:pt x="8" y="0"/>
                    <a:pt x="19" y="0"/>
                    <a:pt x="26" y="7"/>
                  </a:cubicBezTo>
                  <a:cubicBezTo>
                    <a:pt x="27" y="8"/>
                    <a:pt x="27" y="11"/>
                    <a:pt x="25" y="12"/>
                  </a:cubicBezTo>
                  <a:cubicBezTo>
                    <a:pt x="24" y="13"/>
                    <a:pt x="22" y="13"/>
                    <a:pt x="21" y="12"/>
                  </a:cubicBezTo>
                  <a:cubicBezTo>
                    <a:pt x="18" y="9"/>
                    <a:pt x="12" y="3"/>
                    <a:pt x="0" y="4"/>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a:extLst>
                <a:ext uri="{FF2B5EF4-FFF2-40B4-BE49-F238E27FC236}">
                  <a16:creationId xmlns:a16="http://schemas.microsoft.com/office/drawing/2014/main" id="{CB14F4F3-859C-4124-AAD2-AF4FA5D299CB}"/>
                </a:ext>
              </a:extLst>
            </p:cNvPr>
            <p:cNvSpPr>
              <a:spLocks/>
            </p:cNvSpPr>
            <p:nvPr/>
          </p:nvSpPr>
          <p:spPr bwMode="auto">
            <a:xfrm>
              <a:off x="4586" y="2870"/>
              <a:ext cx="318" cy="908"/>
            </a:xfrm>
            <a:custGeom>
              <a:avLst/>
              <a:gdLst>
                <a:gd name="T0" fmla="*/ 170 w 178"/>
                <a:gd name="T1" fmla="*/ 39 h 509"/>
                <a:gd name="T2" fmla="*/ 173 w 178"/>
                <a:gd name="T3" fmla="*/ 273 h 509"/>
                <a:gd name="T4" fmla="*/ 175 w 178"/>
                <a:gd name="T5" fmla="*/ 332 h 509"/>
                <a:gd name="T6" fmla="*/ 178 w 178"/>
                <a:gd name="T7" fmla="*/ 499 h 509"/>
                <a:gd name="T8" fmla="*/ 134 w 178"/>
                <a:gd name="T9" fmla="*/ 501 h 509"/>
                <a:gd name="T10" fmla="*/ 99 w 178"/>
                <a:gd name="T11" fmla="*/ 286 h 509"/>
                <a:gd name="T12" fmla="*/ 84 w 178"/>
                <a:gd name="T13" fmla="*/ 148 h 509"/>
                <a:gd name="T14" fmla="*/ 70 w 178"/>
                <a:gd name="T15" fmla="*/ 271 h 509"/>
                <a:gd name="T16" fmla="*/ 68 w 178"/>
                <a:gd name="T17" fmla="*/ 331 h 509"/>
                <a:gd name="T18" fmla="*/ 45 w 178"/>
                <a:gd name="T19" fmla="*/ 467 h 509"/>
                <a:gd name="T20" fmla="*/ 3 w 178"/>
                <a:gd name="T21" fmla="*/ 465 h 509"/>
                <a:gd name="T22" fmla="*/ 1 w 178"/>
                <a:gd name="T23" fmla="*/ 271 h 509"/>
                <a:gd name="T24" fmla="*/ 6 w 178"/>
                <a:gd name="T25" fmla="*/ 0 h 509"/>
                <a:gd name="T26" fmla="*/ 170 w 178"/>
                <a:gd name="T27" fmla="*/ 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509">
                  <a:moveTo>
                    <a:pt x="170" y="39"/>
                  </a:moveTo>
                  <a:cubicBezTo>
                    <a:pt x="173" y="113"/>
                    <a:pt x="173" y="273"/>
                    <a:pt x="173" y="273"/>
                  </a:cubicBezTo>
                  <a:cubicBezTo>
                    <a:pt x="174" y="283"/>
                    <a:pt x="174" y="299"/>
                    <a:pt x="175" y="332"/>
                  </a:cubicBezTo>
                  <a:cubicBezTo>
                    <a:pt x="176" y="380"/>
                    <a:pt x="178" y="499"/>
                    <a:pt x="178" y="499"/>
                  </a:cubicBezTo>
                  <a:cubicBezTo>
                    <a:pt x="178" y="499"/>
                    <a:pt x="155" y="509"/>
                    <a:pt x="134" y="501"/>
                  </a:cubicBezTo>
                  <a:cubicBezTo>
                    <a:pt x="134" y="501"/>
                    <a:pt x="105" y="334"/>
                    <a:pt x="99" y="286"/>
                  </a:cubicBezTo>
                  <a:cubicBezTo>
                    <a:pt x="94" y="245"/>
                    <a:pt x="84" y="148"/>
                    <a:pt x="84" y="148"/>
                  </a:cubicBezTo>
                  <a:cubicBezTo>
                    <a:pt x="70" y="271"/>
                    <a:pt x="70" y="271"/>
                    <a:pt x="70" y="271"/>
                  </a:cubicBezTo>
                  <a:cubicBezTo>
                    <a:pt x="70" y="271"/>
                    <a:pt x="70" y="303"/>
                    <a:pt x="68" y="331"/>
                  </a:cubicBezTo>
                  <a:cubicBezTo>
                    <a:pt x="67" y="353"/>
                    <a:pt x="45" y="467"/>
                    <a:pt x="45" y="467"/>
                  </a:cubicBezTo>
                  <a:cubicBezTo>
                    <a:pt x="45" y="467"/>
                    <a:pt x="26" y="473"/>
                    <a:pt x="3" y="465"/>
                  </a:cubicBezTo>
                  <a:cubicBezTo>
                    <a:pt x="3" y="465"/>
                    <a:pt x="1" y="291"/>
                    <a:pt x="1" y="271"/>
                  </a:cubicBezTo>
                  <a:cubicBezTo>
                    <a:pt x="0" y="248"/>
                    <a:pt x="6" y="0"/>
                    <a:pt x="6" y="0"/>
                  </a:cubicBezTo>
                  <a:lnTo>
                    <a:pt x="170" y="39"/>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a:extLst>
                <a:ext uri="{FF2B5EF4-FFF2-40B4-BE49-F238E27FC236}">
                  <a16:creationId xmlns:a16="http://schemas.microsoft.com/office/drawing/2014/main" id="{59184D8E-EA97-49F8-96B5-663379BA5C62}"/>
                </a:ext>
              </a:extLst>
            </p:cNvPr>
            <p:cNvSpPr>
              <a:spLocks/>
            </p:cNvSpPr>
            <p:nvPr/>
          </p:nvSpPr>
          <p:spPr bwMode="auto">
            <a:xfrm>
              <a:off x="4642" y="3020"/>
              <a:ext cx="94" cy="334"/>
            </a:xfrm>
            <a:custGeom>
              <a:avLst/>
              <a:gdLst>
                <a:gd name="T0" fmla="*/ 53 w 53"/>
                <a:gd name="T1" fmla="*/ 64 h 187"/>
                <a:gd name="T2" fmla="*/ 48 w 53"/>
                <a:gd name="T3" fmla="*/ 22 h 187"/>
                <a:gd name="T4" fmla="*/ 0 w 53"/>
                <a:gd name="T5" fmla="*/ 0 h 187"/>
                <a:gd name="T6" fmla="*/ 40 w 53"/>
                <a:gd name="T7" fmla="*/ 28 h 187"/>
                <a:gd name="T8" fmla="*/ 47 w 53"/>
                <a:gd name="T9" fmla="*/ 66 h 187"/>
                <a:gd name="T10" fmla="*/ 39 w 53"/>
                <a:gd name="T11" fmla="*/ 187 h 187"/>
                <a:gd name="T12" fmla="*/ 53 w 53"/>
                <a:gd name="T13" fmla="*/ 64 h 187"/>
              </a:gdLst>
              <a:ahLst/>
              <a:cxnLst>
                <a:cxn ang="0">
                  <a:pos x="T0" y="T1"/>
                </a:cxn>
                <a:cxn ang="0">
                  <a:pos x="T2" y="T3"/>
                </a:cxn>
                <a:cxn ang="0">
                  <a:pos x="T4" y="T5"/>
                </a:cxn>
                <a:cxn ang="0">
                  <a:pos x="T6" y="T7"/>
                </a:cxn>
                <a:cxn ang="0">
                  <a:pos x="T8" y="T9"/>
                </a:cxn>
                <a:cxn ang="0">
                  <a:pos x="T10" y="T11"/>
                </a:cxn>
                <a:cxn ang="0">
                  <a:pos x="T12" y="T13"/>
                </a:cxn>
              </a:cxnLst>
              <a:rect l="0" t="0" r="r" b="b"/>
              <a:pathLst>
                <a:path w="53" h="187">
                  <a:moveTo>
                    <a:pt x="53" y="64"/>
                  </a:moveTo>
                  <a:cubicBezTo>
                    <a:pt x="48" y="22"/>
                    <a:pt x="48" y="22"/>
                    <a:pt x="48" y="22"/>
                  </a:cubicBezTo>
                  <a:cubicBezTo>
                    <a:pt x="48" y="22"/>
                    <a:pt x="26" y="17"/>
                    <a:pt x="0" y="0"/>
                  </a:cubicBezTo>
                  <a:cubicBezTo>
                    <a:pt x="0" y="0"/>
                    <a:pt x="10" y="13"/>
                    <a:pt x="40" y="28"/>
                  </a:cubicBezTo>
                  <a:cubicBezTo>
                    <a:pt x="47" y="66"/>
                    <a:pt x="47" y="66"/>
                    <a:pt x="47" y="66"/>
                  </a:cubicBezTo>
                  <a:cubicBezTo>
                    <a:pt x="39" y="187"/>
                    <a:pt x="39" y="187"/>
                    <a:pt x="39" y="187"/>
                  </a:cubicBezTo>
                  <a:lnTo>
                    <a:pt x="53" y="64"/>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a:extLst>
                <a:ext uri="{FF2B5EF4-FFF2-40B4-BE49-F238E27FC236}">
                  <a16:creationId xmlns:a16="http://schemas.microsoft.com/office/drawing/2014/main" id="{F83BBDF1-9530-4EDF-89B3-0999CEE0AE1E}"/>
                </a:ext>
              </a:extLst>
            </p:cNvPr>
            <p:cNvSpPr>
              <a:spLocks/>
            </p:cNvSpPr>
            <p:nvPr/>
          </p:nvSpPr>
          <p:spPr bwMode="auto">
            <a:xfrm>
              <a:off x="4198" y="2533"/>
              <a:ext cx="476" cy="316"/>
            </a:xfrm>
            <a:custGeom>
              <a:avLst/>
              <a:gdLst>
                <a:gd name="T0" fmla="*/ 222 w 267"/>
                <a:gd name="T1" fmla="*/ 21 h 177"/>
                <a:gd name="T2" fmla="*/ 156 w 267"/>
                <a:gd name="T3" fmla="*/ 112 h 177"/>
                <a:gd name="T4" fmla="*/ 104 w 267"/>
                <a:gd name="T5" fmla="*/ 72 h 177"/>
                <a:gd name="T6" fmla="*/ 81 w 267"/>
                <a:gd name="T7" fmla="*/ 42 h 177"/>
                <a:gd name="T8" fmla="*/ 57 w 267"/>
                <a:gd name="T9" fmla="*/ 24 h 177"/>
                <a:gd name="T10" fmla="*/ 43 w 267"/>
                <a:gd name="T11" fmla="*/ 17 h 177"/>
                <a:gd name="T12" fmla="*/ 51 w 267"/>
                <a:gd name="T13" fmla="*/ 37 h 177"/>
                <a:gd name="T14" fmla="*/ 49 w 267"/>
                <a:gd name="T15" fmla="*/ 45 h 177"/>
                <a:gd name="T16" fmla="*/ 6 w 267"/>
                <a:gd name="T17" fmla="*/ 27 h 177"/>
                <a:gd name="T18" fmla="*/ 3 w 267"/>
                <a:gd name="T19" fmla="*/ 36 h 177"/>
                <a:gd name="T20" fmla="*/ 7 w 267"/>
                <a:gd name="T21" fmla="*/ 63 h 177"/>
                <a:gd name="T22" fmla="*/ 28 w 267"/>
                <a:gd name="T23" fmla="*/ 83 h 177"/>
                <a:gd name="T24" fmla="*/ 74 w 267"/>
                <a:gd name="T25" fmla="*/ 97 h 177"/>
                <a:gd name="T26" fmla="*/ 74 w 267"/>
                <a:gd name="T27" fmla="*/ 97 h 177"/>
                <a:gd name="T28" fmla="*/ 138 w 267"/>
                <a:gd name="T29" fmla="*/ 160 h 177"/>
                <a:gd name="T30" fmla="*/ 181 w 267"/>
                <a:gd name="T31" fmla="*/ 159 h 177"/>
                <a:gd name="T32" fmla="*/ 256 w 267"/>
                <a:gd name="T33" fmla="*/ 69 h 177"/>
                <a:gd name="T34" fmla="*/ 267 w 267"/>
                <a:gd name="T35" fmla="*/ 0 h 177"/>
                <a:gd name="T36" fmla="*/ 222 w 267"/>
                <a:gd name="T37" fmla="*/ 2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7" h="177">
                  <a:moveTo>
                    <a:pt x="222" y="21"/>
                  </a:moveTo>
                  <a:cubicBezTo>
                    <a:pt x="211" y="35"/>
                    <a:pt x="156" y="112"/>
                    <a:pt x="156" y="112"/>
                  </a:cubicBezTo>
                  <a:cubicBezTo>
                    <a:pt x="104" y="72"/>
                    <a:pt x="104" y="72"/>
                    <a:pt x="104" y="72"/>
                  </a:cubicBezTo>
                  <a:cubicBezTo>
                    <a:pt x="92" y="62"/>
                    <a:pt x="89" y="50"/>
                    <a:pt x="81" y="42"/>
                  </a:cubicBezTo>
                  <a:cubicBezTo>
                    <a:pt x="74" y="33"/>
                    <a:pt x="66" y="31"/>
                    <a:pt x="57" y="24"/>
                  </a:cubicBezTo>
                  <a:cubicBezTo>
                    <a:pt x="49" y="17"/>
                    <a:pt x="45" y="11"/>
                    <a:pt x="43" y="17"/>
                  </a:cubicBezTo>
                  <a:cubicBezTo>
                    <a:pt x="40" y="23"/>
                    <a:pt x="49" y="34"/>
                    <a:pt x="51" y="37"/>
                  </a:cubicBezTo>
                  <a:cubicBezTo>
                    <a:pt x="52" y="39"/>
                    <a:pt x="62" y="45"/>
                    <a:pt x="49" y="45"/>
                  </a:cubicBezTo>
                  <a:cubicBezTo>
                    <a:pt x="36" y="44"/>
                    <a:pt x="12" y="30"/>
                    <a:pt x="6" y="27"/>
                  </a:cubicBezTo>
                  <a:cubicBezTo>
                    <a:pt x="0" y="24"/>
                    <a:pt x="0" y="32"/>
                    <a:pt x="3" y="36"/>
                  </a:cubicBezTo>
                  <a:cubicBezTo>
                    <a:pt x="5" y="41"/>
                    <a:pt x="4" y="55"/>
                    <a:pt x="7" y="63"/>
                  </a:cubicBezTo>
                  <a:cubicBezTo>
                    <a:pt x="11" y="72"/>
                    <a:pt x="16" y="77"/>
                    <a:pt x="28" y="83"/>
                  </a:cubicBezTo>
                  <a:cubicBezTo>
                    <a:pt x="39" y="88"/>
                    <a:pt x="66" y="92"/>
                    <a:pt x="74" y="97"/>
                  </a:cubicBezTo>
                  <a:cubicBezTo>
                    <a:pt x="74" y="97"/>
                    <a:pt x="74" y="97"/>
                    <a:pt x="74" y="97"/>
                  </a:cubicBezTo>
                  <a:cubicBezTo>
                    <a:pt x="93" y="117"/>
                    <a:pt x="129" y="153"/>
                    <a:pt x="138" y="160"/>
                  </a:cubicBezTo>
                  <a:cubicBezTo>
                    <a:pt x="150" y="169"/>
                    <a:pt x="162" y="177"/>
                    <a:pt x="181" y="159"/>
                  </a:cubicBezTo>
                  <a:cubicBezTo>
                    <a:pt x="201" y="141"/>
                    <a:pt x="256" y="69"/>
                    <a:pt x="256" y="69"/>
                  </a:cubicBezTo>
                  <a:cubicBezTo>
                    <a:pt x="267" y="0"/>
                    <a:pt x="267" y="0"/>
                    <a:pt x="267" y="0"/>
                  </a:cubicBezTo>
                  <a:cubicBezTo>
                    <a:pt x="248" y="0"/>
                    <a:pt x="235" y="4"/>
                    <a:pt x="222" y="21"/>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8">
              <a:extLst>
                <a:ext uri="{FF2B5EF4-FFF2-40B4-BE49-F238E27FC236}">
                  <a16:creationId xmlns:a16="http://schemas.microsoft.com/office/drawing/2014/main" id="{952E597E-8362-4019-B7A2-87EB4E912A02}"/>
                </a:ext>
              </a:extLst>
            </p:cNvPr>
            <p:cNvSpPr>
              <a:spLocks/>
            </p:cNvSpPr>
            <p:nvPr/>
          </p:nvSpPr>
          <p:spPr bwMode="auto">
            <a:xfrm>
              <a:off x="4476" y="2724"/>
              <a:ext cx="28" cy="48"/>
            </a:xfrm>
            <a:custGeom>
              <a:avLst/>
              <a:gdLst>
                <a:gd name="T0" fmla="*/ 0 w 16"/>
                <a:gd name="T1" fmla="*/ 5 h 27"/>
                <a:gd name="T2" fmla="*/ 15 w 16"/>
                <a:gd name="T3" fmla="*/ 27 h 27"/>
                <a:gd name="T4" fmla="*/ 3 w 16"/>
                <a:gd name="T5" fmla="*/ 0 h 27"/>
                <a:gd name="T6" fmla="*/ 0 w 16"/>
                <a:gd name="T7" fmla="*/ 5 h 27"/>
              </a:gdLst>
              <a:ahLst/>
              <a:cxnLst>
                <a:cxn ang="0">
                  <a:pos x="T0" y="T1"/>
                </a:cxn>
                <a:cxn ang="0">
                  <a:pos x="T2" y="T3"/>
                </a:cxn>
                <a:cxn ang="0">
                  <a:pos x="T4" y="T5"/>
                </a:cxn>
                <a:cxn ang="0">
                  <a:pos x="T6" y="T7"/>
                </a:cxn>
              </a:cxnLst>
              <a:rect l="0" t="0" r="r" b="b"/>
              <a:pathLst>
                <a:path w="16" h="27">
                  <a:moveTo>
                    <a:pt x="0" y="5"/>
                  </a:moveTo>
                  <a:cubicBezTo>
                    <a:pt x="7" y="10"/>
                    <a:pt x="14" y="21"/>
                    <a:pt x="15" y="27"/>
                  </a:cubicBezTo>
                  <a:cubicBezTo>
                    <a:pt x="15" y="27"/>
                    <a:pt x="16" y="13"/>
                    <a:pt x="3" y="0"/>
                  </a:cubicBezTo>
                  <a:lnTo>
                    <a:pt x="0" y="5"/>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9">
              <a:extLst>
                <a:ext uri="{FF2B5EF4-FFF2-40B4-BE49-F238E27FC236}">
                  <a16:creationId xmlns:a16="http://schemas.microsoft.com/office/drawing/2014/main" id="{5F814A21-AE2D-467A-98FB-B1C1EC938E66}"/>
                </a:ext>
              </a:extLst>
            </p:cNvPr>
            <p:cNvSpPr>
              <a:spLocks/>
            </p:cNvSpPr>
            <p:nvPr/>
          </p:nvSpPr>
          <p:spPr bwMode="auto">
            <a:xfrm>
              <a:off x="4501" y="2530"/>
              <a:ext cx="180" cy="224"/>
            </a:xfrm>
            <a:custGeom>
              <a:avLst/>
              <a:gdLst>
                <a:gd name="T0" fmla="*/ 101 w 101"/>
                <a:gd name="T1" fmla="*/ 1 h 126"/>
                <a:gd name="T2" fmla="*/ 63 w 101"/>
                <a:gd name="T3" fmla="*/ 8 h 126"/>
                <a:gd name="T4" fmla="*/ 24 w 101"/>
                <a:gd name="T5" fmla="*/ 56 h 126"/>
                <a:gd name="T6" fmla="*/ 0 w 101"/>
                <a:gd name="T7" fmla="*/ 91 h 126"/>
                <a:gd name="T8" fmla="*/ 45 w 101"/>
                <a:gd name="T9" fmla="*/ 126 h 126"/>
                <a:gd name="T10" fmla="*/ 94 w 101"/>
                <a:gd name="T11" fmla="*/ 65 h 126"/>
                <a:gd name="T12" fmla="*/ 101 w 101"/>
                <a:gd name="T13" fmla="*/ 1 h 126"/>
              </a:gdLst>
              <a:ahLst/>
              <a:cxnLst>
                <a:cxn ang="0">
                  <a:pos x="T0" y="T1"/>
                </a:cxn>
                <a:cxn ang="0">
                  <a:pos x="T2" y="T3"/>
                </a:cxn>
                <a:cxn ang="0">
                  <a:pos x="T4" y="T5"/>
                </a:cxn>
                <a:cxn ang="0">
                  <a:pos x="T6" y="T7"/>
                </a:cxn>
                <a:cxn ang="0">
                  <a:pos x="T8" y="T9"/>
                </a:cxn>
                <a:cxn ang="0">
                  <a:pos x="T10" y="T11"/>
                </a:cxn>
                <a:cxn ang="0">
                  <a:pos x="T12" y="T13"/>
                </a:cxn>
              </a:cxnLst>
              <a:rect l="0" t="0" r="r" b="b"/>
              <a:pathLst>
                <a:path w="101" h="126">
                  <a:moveTo>
                    <a:pt x="101" y="1"/>
                  </a:moveTo>
                  <a:cubicBezTo>
                    <a:pt x="101" y="1"/>
                    <a:pt x="75" y="0"/>
                    <a:pt x="63" y="8"/>
                  </a:cubicBezTo>
                  <a:cubicBezTo>
                    <a:pt x="52" y="17"/>
                    <a:pt x="43" y="28"/>
                    <a:pt x="24" y="56"/>
                  </a:cubicBezTo>
                  <a:cubicBezTo>
                    <a:pt x="8" y="80"/>
                    <a:pt x="0" y="91"/>
                    <a:pt x="0" y="91"/>
                  </a:cubicBezTo>
                  <a:cubicBezTo>
                    <a:pt x="0" y="91"/>
                    <a:pt x="14" y="115"/>
                    <a:pt x="45" y="126"/>
                  </a:cubicBezTo>
                  <a:cubicBezTo>
                    <a:pt x="94" y="65"/>
                    <a:pt x="94" y="65"/>
                    <a:pt x="94" y="65"/>
                  </a:cubicBezTo>
                  <a:lnTo>
                    <a:pt x="101" y="1"/>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0">
              <a:extLst>
                <a:ext uri="{FF2B5EF4-FFF2-40B4-BE49-F238E27FC236}">
                  <a16:creationId xmlns:a16="http://schemas.microsoft.com/office/drawing/2014/main" id="{B288FE7A-5E94-4817-A10A-D381BB6BCFB5}"/>
                </a:ext>
              </a:extLst>
            </p:cNvPr>
            <p:cNvSpPr>
              <a:spLocks/>
            </p:cNvSpPr>
            <p:nvPr/>
          </p:nvSpPr>
          <p:spPr bwMode="auto">
            <a:xfrm>
              <a:off x="4594" y="2526"/>
              <a:ext cx="322" cy="478"/>
            </a:xfrm>
            <a:custGeom>
              <a:avLst/>
              <a:gdLst>
                <a:gd name="T0" fmla="*/ 101 w 181"/>
                <a:gd name="T1" fmla="*/ 1 h 268"/>
                <a:gd name="T2" fmla="*/ 151 w 181"/>
                <a:gd name="T3" fmla="*/ 4 h 268"/>
                <a:gd name="T4" fmla="*/ 180 w 181"/>
                <a:gd name="T5" fmla="*/ 38 h 268"/>
                <a:gd name="T6" fmla="*/ 163 w 181"/>
                <a:gd name="T7" fmla="*/ 160 h 268"/>
                <a:gd name="T8" fmla="*/ 167 w 181"/>
                <a:gd name="T9" fmla="*/ 240 h 268"/>
                <a:gd name="T10" fmla="*/ 0 w 181"/>
                <a:gd name="T11" fmla="*/ 235 h 268"/>
                <a:gd name="T12" fmla="*/ 5 w 181"/>
                <a:gd name="T13" fmla="*/ 68 h 268"/>
                <a:gd name="T14" fmla="*/ 39 w 181"/>
                <a:gd name="T15" fmla="*/ 4 h 268"/>
                <a:gd name="T16" fmla="*/ 101 w 181"/>
                <a:gd name="T17" fmla="*/ 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268">
                  <a:moveTo>
                    <a:pt x="101" y="1"/>
                  </a:moveTo>
                  <a:cubicBezTo>
                    <a:pt x="116" y="3"/>
                    <a:pt x="136" y="3"/>
                    <a:pt x="151" y="4"/>
                  </a:cubicBezTo>
                  <a:cubicBezTo>
                    <a:pt x="162" y="9"/>
                    <a:pt x="181" y="26"/>
                    <a:pt x="180" y="38"/>
                  </a:cubicBezTo>
                  <a:cubicBezTo>
                    <a:pt x="174" y="84"/>
                    <a:pt x="163" y="160"/>
                    <a:pt x="163" y="160"/>
                  </a:cubicBezTo>
                  <a:cubicBezTo>
                    <a:pt x="167" y="240"/>
                    <a:pt x="167" y="240"/>
                    <a:pt x="167" y="240"/>
                  </a:cubicBezTo>
                  <a:cubicBezTo>
                    <a:pt x="146" y="260"/>
                    <a:pt x="50" y="268"/>
                    <a:pt x="0" y="235"/>
                  </a:cubicBezTo>
                  <a:cubicBezTo>
                    <a:pt x="0" y="235"/>
                    <a:pt x="2" y="92"/>
                    <a:pt x="5" y="68"/>
                  </a:cubicBezTo>
                  <a:cubicBezTo>
                    <a:pt x="11" y="24"/>
                    <a:pt x="17" y="8"/>
                    <a:pt x="39" y="4"/>
                  </a:cubicBezTo>
                  <a:cubicBezTo>
                    <a:pt x="62" y="0"/>
                    <a:pt x="101" y="1"/>
                    <a:pt x="101" y="1"/>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1">
              <a:extLst>
                <a:ext uri="{FF2B5EF4-FFF2-40B4-BE49-F238E27FC236}">
                  <a16:creationId xmlns:a16="http://schemas.microsoft.com/office/drawing/2014/main" id="{203E1456-BC44-4C4C-BBDC-D8F38C1DAA1F}"/>
                </a:ext>
              </a:extLst>
            </p:cNvPr>
            <p:cNvSpPr>
              <a:spLocks/>
            </p:cNvSpPr>
            <p:nvPr/>
          </p:nvSpPr>
          <p:spPr bwMode="auto">
            <a:xfrm>
              <a:off x="4843" y="2535"/>
              <a:ext cx="476" cy="316"/>
            </a:xfrm>
            <a:custGeom>
              <a:avLst/>
              <a:gdLst>
                <a:gd name="T0" fmla="*/ 45 w 267"/>
                <a:gd name="T1" fmla="*/ 21 h 177"/>
                <a:gd name="T2" fmla="*/ 112 w 267"/>
                <a:gd name="T3" fmla="*/ 112 h 177"/>
                <a:gd name="T4" fmla="*/ 163 w 267"/>
                <a:gd name="T5" fmla="*/ 72 h 177"/>
                <a:gd name="T6" fmla="*/ 186 w 267"/>
                <a:gd name="T7" fmla="*/ 42 h 177"/>
                <a:gd name="T8" fmla="*/ 210 w 267"/>
                <a:gd name="T9" fmla="*/ 24 h 177"/>
                <a:gd name="T10" fmla="*/ 225 w 267"/>
                <a:gd name="T11" fmla="*/ 18 h 177"/>
                <a:gd name="T12" fmla="*/ 217 w 267"/>
                <a:gd name="T13" fmla="*/ 37 h 177"/>
                <a:gd name="T14" fmla="*/ 218 w 267"/>
                <a:gd name="T15" fmla="*/ 45 h 177"/>
                <a:gd name="T16" fmla="*/ 261 w 267"/>
                <a:gd name="T17" fmla="*/ 27 h 177"/>
                <a:gd name="T18" fmla="*/ 265 w 267"/>
                <a:gd name="T19" fmla="*/ 37 h 177"/>
                <a:gd name="T20" fmla="*/ 260 w 267"/>
                <a:gd name="T21" fmla="*/ 63 h 177"/>
                <a:gd name="T22" fmla="*/ 239 w 267"/>
                <a:gd name="T23" fmla="*/ 83 h 177"/>
                <a:gd name="T24" fmla="*/ 193 w 267"/>
                <a:gd name="T25" fmla="*/ 97 h 177"/>
                <a:gd name="T26" fmla="*/ 129 w 267"/>
                <a:gd name="T27" fmla="*/ 160 h 177"/>
                <a:gd name="T28" fmla="*/ 86 w 267"/>
                <a:gd name="T29" fmla="*/ 159 h 177"/>
                <a:gd name="T30" fmla="*/ 23 w 267"/>
                <a:gd name="T31" fmla="*/ 84 h 177"/>
                <a:gd name="T32" fmla="*/ 0 w 267"/>
                <a:gd name="T33" fmla="*/ 1 h 177"/>
                <a:gd name="T34" fmla="*/ 45 w 267"/>
                <a:gd name="T35" fmla="*/ 2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7">
                  <a:moveTo>
                    <a:pt x="45" y="21"/>
                  </a:moveTo>
                  <a:cubicBezTo>
                    <a:pt x="56" y="35"/>
                    <a:pt x="112" y="112"/>
                    <a:pt x="112" y="112"/>
                  </a:cubicBezTo>
                  <a:cubicBezTo>
                    <a:pt x="163" y="72"/>
                    <a:pt x="163" y="72"/>
                    <a:pt x="163" y="72"/>
                  </a:cubicBezTo>
                  <a:cubicBezTo>
                    <a:pt x="175" y="63"/>
                    <a:pt x="179" y="50"/>
                    <a:pt x="186" y="42"/>
                  </a:cubicBezTo>
                  <a:cubicBezTo>
                    <a:pt x="194" y="33"/>
                    <a:pt x="202" y="31"/>
                    <a:pt x="210" y="24"/>
                  </a:cubicBezTo>
                  <a:cubicBezTo>
                    <a:pt x="219" y="17"/>
                    <a:pt x="222" y="12"/>
                    <a:pt x="225" y="18"/>
                  </a:cubicBezTo>
                  <a:cubicBezTo>
                    <a:pt x="228" y="24"/>
                    <a:pt x="218" y="34"/>
                    <a:pt x="217" y="37"/>
                  </a:cubicBezTo>
                  <a:cubicBezTo>
                    <a:pt x="215" y="39"/>
                    <a:pt x="206" y="46"/>
                    <a:pt x="218" y="45"/>
                  </a:cubicBezTo>
                  <a:cubicBezTo>
                    <a:pt x="231" y="44"/>
                    <a:pt x="255" y="30"/>
                    <a:pt x="261" y="27"/>
                  </a:cubicBezTo>
                  <a:cubicBezTo>
                    <a:pt x="267" y="24"/>
                    <a:pt x="267" y="32"/>
                    <a:pt x="265" y="37"/>
                  </a:cubicBezTo>
                  <a:cubicBezTo>
                    <a:pt x="262" y="41"/>
                    <a:pt x="263" y="55"/>
                    <a:pt x="260" y="63"/>
                  </a:cubicBezTo>
                  <a:cubicBezTo>
                    <a:pt x="257" y="72"/>
                    <a:pt x="251" y="77"/>
                    <a:pt x="239" y="83"/>
                  </a:cubicBezTo>
                  <a:cubicBezTo>
                    <a:pt x="228" y="88"/>
                    <a:pt x="202" y="92"/>
                    <a:pt x="193" y="97"/>
                  </a:cubicBezTo>
                  <a:cubicBezTo>
                    <a:pt x="174" y="117"/>
                    <a:pt x="138" y="153"/>
                    <a:pt x="129" y="160"/>
                  </a:cubicBezTo>
                  <a:cubicBezTo>
                    <a:pt x="117" y="169"/>
                    <a:pt x="105" y="177"/>
                    <a:pt x="86" y="159"/>
                  </a:cubicBezTo>
                  <a:cubicBezTo>
                    <a:pt x="67" y="141"/>
                    <a:pt x="23" y="84"/>
                    <a:pt x="23" y="84"/>
                  </a:cubicBezTo>
                  <a:cubicBezTo>
                    <a:pt x="0" y="1"/>
                    <a:pt x="0" y="1"/>
                    <a:pt x="0" y="1"/>
                  </a:cubicBezTo>
                  <a:cubicBezTo>
                    <a:pt x="19" y="0"/>
                    <a:pt x="32" y="4"/>
                    <a:pt x="45" y="21"/>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2">
              <a:extLst>
                <a:ext uri="{FF2B5EF4-FFF2-40B4-BE49-F238E27FC236}">
                  <a16:creationId xmlns:a16="http://schemas.microsoft.com/office/drawing/2014/main" id="{84A19FC5-451E-48D3-8F14-7DEBD204AC91}"/>
                </a:ext>
              </a:extLst>
            </p:cNvPr>
            <p:cNvSpPr>
              <a:spLocks/>
            </p:cNvSpPr>
            <p:nvPr/>
          </p:nvSpPr>
          <p:spPr bwMode="auto">
            <a:xfrm>
              <a:off x="5014" y="2728"/>
              <a:ext cx="29" cy="46"/>
            </a:xfrm>
            <a:custGeom>
              <a:avLst/>
              <a:gdLst>
                <a:gd name="T0" fmla="*/ 16 w 16"/>
                <a:gd name="T1" fmla="*/ 4 h 26"/>
                <a:gd name="T2" fmla="*/ 1 w 16"/>
                <a:gd name="T3" fmla="*/ 26 h 26"/>
                <a:gd name="T4" fmla="*/ 13 w 16"/>
                <a:gd name="T5" fmla="*/ 0 h 26"/>
                <a:gd name="T6" fmla="*/ 16 w 16"/>
                <a:gd name="T7" fmla="*/ 4 h 26"/>
              </a:gdLst>
              <a:ahLst/>
              <a:cxnLst>
                <a:cxn ang="0">
                  <a:pos x="T0" y="T1"/>
                </a:cxn>
                <a:cxn ang="0">
                  <a:pos x="T2" y="T3"/>
                </a:cxn>
                <a:cxn ang="0">
                  <a:pos x="T4" y="T5"/>
                </a:cxn>
                <a:cxn ang="0">
                  <a:pos x="T6" y="T7"/>
                </a:cxn>
              </a:cxnLst>
              <a:rect l="0" t="0" r="r" b="b"/>
              <a:pathLst>
                <a:path w="16" h="26">
                  <a:moveTo>
                    <a:pt x="16" y="4"/>
                  </a:moveTo>
                  <a:cubicBezTo>
                    <a:pt x="9" y="9"/>
                    <a:pt x="1" y="21"/>
                    <a:pt x="1" y="26"/>
                  </a:cubicBezTo>
                  <a:cubicBezTo>
                    <a:pt x="1" y="26"/>
                    <a:pt x="0" y="12"/>
                    <a:pt x="13" y="0"/>
                  </a:cubicBezTo>
                  <a:lnTo>
                    <a:pt x="16" y="4"/>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3">
              <a:extLst>
                <a:ext uri="{FF2B5EF4-FFF2-40B4-BE49-F238E27FC236}">
                  <a16:creationId xmlns:a16="http://schemas.microsoft.com/office/drawing/2014/main" id="{82D92573-F26D-49F5-8AD3-B3ECE1D37041}"/>
                </a:ext>
              </a:extLst>
            </p:cNvPr>
            <p:cNvSpPr>
              <a:spLocks/>
            </p:cNvSpPr>
            <p:nvPr/>
          </p:nvSpPr>
          <p:spPr bwMode="auto">
            <a:xfrm>
              <a:off x="4815" y="2530"/>
              <a:ext cx="201" cy="226"/>
            </a:xfrm>
            <a:custGeom>
              <a:avLst/>
              <a:gdLst>
                <a:gd name="T0" fmla="*/ 14 w 113"/>
                <a:gd name="T1" fmla="*/ 1 h 127"/>
                <a:gd name="T2" fmla="*/ 50 w 113"/>
                <a:gd name="T3" fmla="*/ 10 h 127"/>
                <a:gd name="T4" fmla="*/ 89 w 113"/>
                <a:gd name="T5" fmla="*/ 57 h 127"/>
                <a:gd name="T6" fmla="*/ 113 w 113"/>
                <a:gd name="T7" fmla="*/ 92 h 127"/>
                <a:gd name="T8" fmla="*/ 69 w 113"/>
                <a:gd name="T9" fmla="*/ 127 h 127"/>
                <a:gd name="T10" fmla="*/ 35 w 113"/>
                <a:gd name="T11" fmla="*/ 85 h 127"/>
                <a:gd name="T12" fmla="*/ 14 w 113"/>
                <a:gd name="T13" fmla="*/ 1 h 127"/>
              </a:gdLst>
              <a:ahLst/>
              <a:cxnLst>
                <a:cxn ang="0">
                  <a:pos x="T0" y="T1"/>
                </a:cxn>
                <a:cxn ang="0">
                  <a:pos x="T2" y="T3"/>
                </a:cxn>
                <a:cxn ang="0">
                  <a:pos x="T4" y="T5"/>
                </a:cxn>
                <a:cxn ang="0">
                  <a:pos x="T6" y="T7"/>
                </a:cxn>
                <a:cxn ang="0">
                  <a:pos x="T8" y="T9"/>
                </a:cxn>
                <a:cxn ang="0">
                  <a:pos x="T10" y="T11"/>
                </a:cxn>
                <a:cxn ang="0">
                  <a:pos x="T12" y="T13"/>
                </a:cxn>
              </a:cxnLst>
              <a:rect l="0" t="0" r="r" b="b"/>
              <a:pathLst>
                <a:path w="113" h="127">
                  <a:moveTo>
                    <a:pt x="14" y="1"/>
                  </a:moveTo>
                  <a:cubicBezTo>
                    <a:pt x="14" y="1"/>
                    <a:pt x="37" y="0"/>
                    <a:pt x="50" y="10"/>
                  </a:cubicBezTo>
                  <a:cubicBezTo>
                    <a:pt x="61" y="18"/>
                    <a:pt x="70" y="29"/>
                    <a:pt x="89" y="57"/>
                  </a:cubicBezTo>
                  <a:cubicBezTo>
                    <a:pt x="105" y="81"/>
                    <a:pt x="113" y="92"/>
                    <a:pt x="113" y="92"/>
                  </a:cubicBezTo>
                  <a:cubicBezTo>
                    <a:pt x="113" y="92"/>
                    <a:pt x="100" y="116"/>
                    <a:pt x="69" y="127"/>
                  </a:cubicBezTo>
                  <a:cubicBezTo>
                    <a:pt x="35" y="85"/>
                    <a:pt x="35" y="85"/>
                    <a:pt x="35" y="85"/>
                  </a:cubicBezTo>
                  <a:cubicBezTo>
                    <a:pt x="18" y="63"/>
                    <a:pt x="0" y="29"/>
                    <a:pt x="14" y="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4">
              <a:extLst>
                <a:ext uri="{FF2B5EF4-FFF2-40B4-BE49-F238E27FC236}">
                  <a16:creationId xmlns:a16="http://schemas.microsoft.com/office/drawing/2014/main" id="{8A43554F-EC25-4540-A148-02427FBA927C}"/>
                </a:ext>
              </a:extLst>
            </p:cNvPr>
            <p:cNvSpPr>
              <a:spLocks/>
            </p:cNvSpPr>
            <p:nvPr/>
          </p:nvSpPr>
          <p:spPr bwMode="auto">
            <a:xfrm>
              <a:off x="4613" y="2253"/>
              <a:ext cx="166" cy="166"/>
            </a:xfrm>
            <a:custGeom>
              <a:avLst/>
              <a:gdLst>
                <a:gd name="T0" fmla="*/ 93 w 93"/>
                <a:gd name="T1" fmla="*/ 46 h 93"/>
                <a:gd name="T2" fmla="*/ 47 w 93"/>
                <a:gd name="T3" fmla="*/ 93 h 93"/>
                <a:gd name="T4" fmla="*/ 0 w 93"/>
                <a:gd name="T5" fmla="*/ 47 h 93"/>
                <a:gd name="T6" fmla="*/ 46 w 93"/>
                <a:gd name="T7" fmla="*/ 0 h 93"/>
                <a:gd name="T8" fmla="*/ 93 w 93"/>
                <a:gd name="T9" fmla="*/ 46 h 93"/>
              </a:gdLst>
              <a:ahLst/>
              <a:cxnLst>
                <a:cxn ang="0">
                  <a:pos x="T0" y="T1"/>
                </a:cxn>
                <a:cxn ang="0">
                  <a:pos x="T2" y="T3"/>
                </a:cxn>
                <a:cxn ang="0">
                  <a:pos x="T4" y="T5"/>
                </a:cxn>
                <a:cxn ang="0">
                  <a:pos x="T6" y="T7"/>
                </a:cxn>
                <a:cxn ang="0">
                  <a:pos x="T8" y="T9"/>
                </a:cxn>
              </a:cxnLst>
              <a:rect l="0" t="0" r="r" b="b"/>
              <a:pathLst>
                <a:path w="93" h="93">
                  <a:moveTo>
                    <a:pt x="93" y="46"/>
                  </a:moveTo>
                  <a:cubicBezTo>
                    <a:pt x="93" y="72"/>
                    <a:pt x="73" y="93"/>
                    <a:pt x="47" y="93"/>
                  </a:cubicBezTo>
                  <a:cubicBezTo>
                    <a:pt x="22" y="93"/>
                    <a:pt x="1" y="72"/>
                    <a:pt x="0" y="47"/>
                  </a:cubicBezTo>
                  <a:cubicBezTo>
                    <a:pt x="0" y="21"/>
                    <a:pt x="21" y="0"/>
                    <a:pt x="46" y="0"/>
                  </a:cubicBezTo>
                  <a:cubicBezTo>
                    <a:pt x="72" y="0"/>
                    <a:pt x="93" y="20"/>
                    <a:pt x="93" y="4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5">
              <a:extLst>
                <a:ext uri="{FF2B5EF4-FFF2-40B4-BE49-F238E27FC236}">
                  <a16:creationId xmlns:a16="http://schemas.microsoft.com/office/drawing/2014/main" id="{FCB11D8C-2762-4469-9A9B-9F4E5F28666D}"/>
                </a:ext>
              </a:extLst>
            </p:cNvPr>
            <p:cNvSpPr>
              <a:spLocks/>
            </p:cNvSpPr>
            <p:nvPr/>
          </p:nvSpPr>
          <p:spPr bwMode="auto">
            <a:xfrm>
              <a:off x="4806" y="2394"/>
              <a:ext cx="34" cy="86"/>
            </a:xfrm>
            <a:custGeom>
              <a:avLst/>
              <a:gdLst>
                <a:gd name="T0" fmla="*/ 19 w 19"/>
                <a:gd name="T1" fmla="*/ 0 h 48"/>
                <a:gd name="T2" fmla="*/ 9 w 19"/>
                <a:gd name="T3" fmla="*/ 41 h 48"/>
                <a:gd name="T4" fmla="*/ 0 w 19"/>
                <a:gd name="T5" fmla="*/ 48 h 48"/>
                <a:gd name="T6" fmla="*/ 0 w 19"/>
                <a:gd name="T7" fmla="*/ 24 h 48"/>
                <a:gd name="T8" fmla="*/ 19 w 19"/>
                <a:gd name="T9" fmla="*/ 0 h 48"/>
              </a:gdLst>
              <a:ahLst/>
              <a:cxnLst>
                <a:cxn ang="0">
                  <a:pos x="T0" y="T1"/>
                </a:cxn>
                <a:cxn ang="0">
                  <a:pos x="T2" y="T3"/>
                </a:cxn>
                <a:cxn ang="0">
                  <a:pos x="T4" y="T5"/>
                </a:cxn>
                <a:cxn ang="0">
                  <a:pos x="T6" y="T7"/>
                </a:cxn>
                <a:cxn ang="0">
                  <a:pos x="T8" y="T9"/>
                </a:cxn>
              </a:cxnLst>
              <a:rect l="0" t="0" r="r" b="b"/>
              <a:pathLst>
                <a:path w="19" h="48">
                  <a:moveTo>
                    <a:pt x="19" y="0"/>
                  </a:moveTo>
                  <a:cubicBezTo>
                    <a:pt x="19" y="0"/>
                    <a:pt x="12" y="35"/>
                    <a:pt x="9" y="41"/>
                  </a:cubicBezTo>
                  <a:cubicBezTo>
                    <a:pt x="6" y="47"/>
                    <a:pt x="0" y="48"/>
                    <a:pt x="0" y="48"/>
                  </a:cubicBezTo>
                  <a:cubicBezTo>
                    <a:pt x="0" y="24"/>
                    <a:pt x="0" y="24"/>
                    <a:pt x="0" y="24"/>
                  </a:cubicBezTo>
                  <a:lnTo>
                    <a:pt x="19"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6">
              <a:extLst>
                <a:ext uri="{FF2B5EF4-FFF2-40B4-BE49-F238E27FC236}">
                  <a16:creationId xmlns:a16="http://schemas.microsoft.com/office/drawing/2014/main" id="{4534A3A1-375B-4190-B15C-D6E765C1890E}"/>
                </a:ext>
              </a:extLst>
            </p:cNvPr>
            <p:cNvSpPr>
              <a:spLocks/>
            </p:cNvSpPr>
            <p:nvPr/>
          </p:nvSpPr>
          <p:spPr bwMode="auto">
            <a:xfrm>
              <a:off x="4815" y="2301"/>
              <a:ext cx="44" cy="95"/>
            </a:xfrm>
            <a:custGeom>
              <a:avLst/>
              <a:gdLst>
                <a:gd name="T0" fmla="*/ 4 w 25"/>
                <a:gd name="T1" fmla="*/ 1 h 53"/>
                <a:gd name="T2" fmla="*/ 19 w 25"/>
                <a:gd name="T3" fmla="*/ 6 h 53"/>
                <a:gd name="T4" fmla="*/ 14 w 25"/>
                <a:gd name="T5" fmla="*/ 52 h 53"/>
                <a:gd name="T6" fmla="*/ 0 w 25"/>
                <a:gd name="T7" fmla="*/ 53 h 53"/>
                <a:gd name="T8" fmla="*/ 4 w 25"/>
                <a:gd name="T9" fmla="*/ 1 h 53"/>
              </a:gdLst>
              <a:ahLst/>
              <a:cxnLst>
                <a:cxn ang="0">
                  <a:pos x="T0" y="T1"/>
                </a:cxn>
                <a:cxn ang="0">
                  <a:pos x="T2" y="T3"/>
                </a:cxn>
                <a:cxn ang="0">
                  <a:pos x="T4" y="T5"/>
                </a:cxn>
                <a:cxn ang="0">
                  <a:pos x="T6" y="T7"/>
                </a:cxn>
                <a:cxn ang="0">
                  <a:pos x="T8" y="T9"/>
                </a:cxn>
              </a:cxnLst>
              <a:rect l="0" t="0" r="r" b="b"/>
              <a:pathLst>
                <a:path w="25" h="53">
                  <a:moveTo>
                    <a:pt x="4" y="1"/>
                  </a:moveTo>
                  <a:cubicBezTo>
                    <a:pt x="4" y="1"/>
                    <a:pt x="13" y="0"/>
                    <a:pt x="19" y="6"/>
                  </a:cubicBezTo>
                  <a:cubicBezTo>
                    <a:pt x="25" y="12"/>
                    <a:pt x="22" y="32"/>
                    <a:pt x="14" y="52"/>
                  </a:cubicBezTo>
                  <a:cubicBezTo>
                    <a:pt x="0" y="53"/>
                    <a:pt x="0" y="53"/>
                    <a:pt x="0" y="53"/>
                  </a:cubicBezTo>
                  <a:lnTo>
                    <a:pt x="4" y="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7">
              <a:extLst>
                <a:ext uri="{FF2B5EF4-FFF2-40B4-BE49-F238E27FC236}">
                  <a16:creationId xmlns:a16="http://schemas.microsoft.com/office/drawing/2014/main" id="{52E94E21-90F4-44A7-92E9-709B7645A428}"/>
                </a:ext>
              </a:extLst>
            </p:cNvPr>
            <p:cNvSpPr>
              <a:spLocks/>
            </p:cNvSpPr>
            <p:nvPr/>
          </p:nvSpPr>
          <p:spPr bwMode="auto">
            <a:xfrm>
              <a:off x="4624" y="2253"/>
              <a:ext cx="250" cy="330"/>
            </a:xfrm>
            <a:custGeom>
              <a:avLst/>
              <a:gdLst>
                <a:gd name="T0" fmla="*/ 103 w 140"/>
                <a:gd name="T1" fmla="*/ 81 h 185"/>
                <a:gd name="T2" fmla="*/ 113 w 140"/>
                <a:gd name="T3" fmla="*/ 73 h 185"/>
                <a:gd name="T4" fmla="*/ 134 w 140"/>
                <a:gd name="T5" fmla="*/ 76 h 185"/>
                <a:gd name="T6" fmla="*/ 120 w 140"/>
                <a:gd name="T7" fmla="*/ 108 h 185"/>
                <a:gd name="T8" fmla="*/ 102 w 140"/>
                <a:gd name="T9" fmla="*/ 103 h 185"/>
                <a:gd name="T10" fmla="*/ 102 w 140"/>
                <a:gd name="T11" fmla="*/ 160 h 185"/>
                <a:gd name="T12" fmla="*/ 51 w 140"/>
                <a:gd name="T13" fmla="*/ 158 h 185"/>
                <a:gd name="T14" fmla="*/ 51 w 140"/>
                <a:gd name="T15" fmla="*/ 141 h 185"/>
                <a:gd name="T16" fmla="*/ 30 w 140"/>
                <a:gd name="T17" fmla="*/ 142 h 185"/>
                <a:gd name="T18" fmla="*/ 8 w 140"/>
                <a:gd name="T19" fmla="*/ 119 h 185"/>
                <a:gd name="T20" fmla="*/ 4 w 140"/>
                <a:gd name="T21" fmla="*/ 44 h 185"/>
                <a:gd name="T22" fmla="*/ 86 w 140"/>
                <a:gd name="T23" fmla="*/ 17 h 185"/>
                <a:gd name="T24" fmla="*/ 103 w 140"/>
                <a:gd name="T25" fmla="*/ 8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85">
                  <a:moveTo>
                    <a:pt x="103" y="81"/>
                  </a:moveTo>
                  <a:cubicBezTo>
                    <a:pt x="106" y="82"/>
                    <a:pt x="110" y="77"/>
                    <a:pt x="113" y="73"/>
                  </a:cubicBezTo>
                  <a:cubicBezTo>
                    <a:pt x="117" y="69"/>
                    <a:pt x="128" y="64"/>
                    <a:pt x="134" y="76"/>
                  </a:cubicBezTo>
                  <a:cubicBezTo>
                    <a:pt x="140" y="88"/>
                    <a:pt x="129" y="105"/>
                    <a:pt x="120" y="108"/>
                  </a:cubicBezTo>
                  <a:cubicBezTo>
                    <a:pt x="105" y="113"/>
                    <a:pt x="102" y="103"/>
                    <a:pt x="102" y="103"/>
                  </a:cubicBezTo>
                  <a:cubicBezTo>
                    <a:pt x="102" y="160"/>
                    <a:pt x="102" y="160"/>
                    <a:pt x="102" y="160"/>
                  </a:cubicBezTo>
                  <a:cubicBezTo>
                    <a:pt x="83" y="185"/>
                    <a:pt x="29" y="184"/>
                    <a:pt x="51" y="158"/>
                  </a:cubicBezTo>
                  <a:cubicBezTo>
                    <a:pt x="51" y="141"/>
                    <a:pt x="51" y="141"/>
                    <a:pt x="51" y="141"/>
                  </a:cubicBezTo>
                  <a:cubicBezTo>
                    <a:pt x="51" y="141"/>
                    <a:pt x="37" y="143"/>
                    <a:pt x="30" y="142"/>
                  </a:cubicBezTo>
                  <a:cubicBezTo>
                    <a:pt x="19" y="140"/>
                    <a:pt x="11" y="131"/>
                    <a:pt x="8" y="119"/>
                  </a:cubicBezTo>
                  <a:cubicBezTo>
                    <a:pt x="2" y="99"/>
                    <a:pt x="0" y="83"/>
                    <a:pt x="4" y="44"/>
                  </a:cubicBezTo>
                  <a:cubicBezTo>
                    <a:pt x="9" y="1"/>
                    <a:pt x="59" y="0"/>
                    <a:pt x="86" y="17"/>
                  </a:cubicBezTo>
                  <a:cubicBezTo>
                    <a:pt x="113" y="34"/>
                    <a:pt x="103" y="81"/>
                    <a:pt x="103" y="81"/>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8">
              <a:extLst>
                <a:ext uri="{FF2B5EF4-FFF2-40B4-BE49-F238E27FC236}">
                  <a16:creationId xmlns:a16="http://schemas.microsoft.com/office/drawing/2014/main" id="{02A6EC7E-0567-4710-8E61-655A7F40241B}"/>
                </a:ext>
              </a:extLst>
            </p:cNvPr>
            <p:cNvSpPr>
              <a:spLocks/>
            </p:cNvSpPr>
            <p:nvPr/>
          </p:nvSpPr>
          <p:spPr bwMode="auto">
            <a:xfrm>
              <a:off x="4613" y="2235"/>
              <a:ext cx="221" cy="170"/>
            </a:xfrm>
            <a:custGeom>
              <a:avLst/>
              <a:gdLst>
                <a:gd name="T0" fmla="*/ 109 w 124"/>
                <a:gd name="T1" fmla="*/ 95 h 95"/>
                <a:gd name="T2" fmla="*/ 119 w 124"/>
                <a:gd name="T3" fmla="*/ 83 h 95"/>
                <a:gd name="T4" fmla="*/ 117 w 124"/>
                <a:gd name="T5" fmla="*/ 38 h 95"/>
                <a:gd name="T6" fmla="*/ 114 w 124"/>
                <a:gd name="T7" fmla="*/ 16 h 95"/>
                <a:gd name="T8" fmla="*/ 67 w 124"/>
                <a:gd name="T9" fmla="*/ 4 h 95"/>
                <a:gd name="T10" fmla="*/ 3 w 124"/>
                <a:gd name="T11" fmla="*/ 5 h 95"/>
                <a:gd name="T12" fmla="*/ 14 w 124"/>
                <a:gd name="T13" fmla="*/ 39 h 95"/>
                <a:gd name="T14" fmla="*/ 40 w 124"/>
                <a:gd name="T15" fmla="*/ 45 h 95"/>
                <a:gd name="T16" fmla="*/ 90 w 124"/>
                <a:gd name="T17" fmla="*/ 44 h 95"/>
                <a:gd name="T18" fmla="*/ 99 w 124"/>
                <a:gd name="T19" fmla="*/ 62 h 95"/>
                <a:gd name="T20" fmla="*/ 109 w 124"/>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5">
                  <a:moveTo>
                    <a:pt x="109" y="95"/>
                  </a:moveTo>
                  <a:cubicBezTo>
                    <a:pt x="110" y="95"/>
                    <a:pt x="116" y="86"/>
                    <a:pt x="119" y="83"/>
                  </a:cubicBezTo>
                  <a:cubicBezTo>
                    <a:pt x="124" y="78"/>
                    <a:pt x="117" y="38"/>
                    <a:pt x="117" y="38"/>
                  </a:cubicBezTo>
                  <a:cubicBezTo>
                    <a:pt x="117" y="38"/>
                    <a:pt x="123" y="27"/>
                    <a:pt x="114" y="16"/>
                  </a:cubicBezTo>
                  <a:cubicBezTo>
                    <a:pt x="107" y="9"/>
                    <a:pt x="98" y="0"/>
                    <a:pt x="67" y="4"/>
                  </a:cubicBezTo>
                  <a:cubicBezTo>
                    <a:pt x="46" y="7"/>
                    <a:pt x="22" y="14"/>
                    <a:pt x="3" y="5"/>
                  </a:cubicBezTo>
                  <a:cubicBezTo>
                    <a:pt x="0" y="16"/>
                    <a:pt x="3" y="30"/>
                    <a:pt x="14" y="39"/>
                  </a:cubicBezTo>
                  <a:cubicBezTo>
                    <a:pt x="14" y="39"/>
                    <a:pt x="21" y="43"/>
                    <a:pt x="40" y="45"/>
                  </a:cubicBezTo>
                  <a:cubicBezTo>
                    <a:pt x="58" y="47"/>
                    <a:pt x="86" y="45"/>
                    <a:pt x="90" y="44"/>
                  </a:cubicBezTo>
                  <a:cubicBezTo>
                    <a:pt x="95" y="43"/>
                    <a:pt x="96" y="48"/>
                    <a:pt x="99" y="62"/>
                  </a:cubicBezTo>
                  <a:cubicBezTo>
                    <a:pt x="102" y="74"/>
                    <a:pt x="104" y="95"/>
                    <a:pt x="109" y="9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9">
              <a:extLst>
                <a:ext uri="{FF2B5EF4-FFF2-40B4-BE49-F238E27FC236}">
                  <a16:creationId xmlns:a16="http://schemas.microsoft.com/office/drawing/2014/main" id="{13E15541-504F-40F9-9C72-33F49286ADDA}"/>
                </a:ext>
              </a:extLst>
            </p:cNvPr>
            <p:cNvSpPr>
              <a:spLocks/>
            </p:cNvSpPr>
            <p:nvPr/>
          </p:nvSpPr>
          <p:spPr bwMode="auto">
            <a:xfrm>
              <a:off x="4818" y="2280"/>
              <a:ext cx="36" cy="28"/>
            </a:xfrm>
            <a:custGeom>
              <a:avLst/>
              <a:gdLst>
                <a:gd name="T0" fmla="*/ 2 w 20"/>
                <a:gd name="T1" fmla="*/ 16 h 16"/>
                <a:gd name="T2" fmla="*/ 20 w 20"/>
                <a:gd name="T3" fmla="*/ 7 h 16"/>
                <a:gd name="T4" fmla="*/ 7 w 20"/>
                <a:gd name="T5" fmla="*/ 3 h 16"/>
                <a:gd name="T6" fmla="*/ 2 w 20"/>
                <a:gd name="T7" fmla="*/ 16 h 16"/>
              </a:gdLst>
              <a:ahLst/>
              <a:cxnLst>
                <a:cxn ang="0">
                  <a:pos x="T0" y="T1"/>
                </a:cxn>
                <a:cxn ang="0">
                  <a:pos x="T2" y="T3"/>
                </a:cxn>
                <a:cxn ang="0">
                  <a:pos x="T4" y="T5"/>
                </a:cxn>
                <a:cxn ang="0">
                  <a:pos x="T6" y="T7"/>
                </a:cxn>
              </a:cxnLst>
              <a:rect l="0" t="0" r="r" b="b"/>
              <a:pathLst>
                <a:path w="20" h="16">
                  <a:moveTo>
                    <a:pt x="2" y="16"/>
                  </a:moveTo>
                  <a:cubicBezTo>
                    <a:pt x="20" y="7"/>
                    <a:pt x="20" y="7"/>
                    <a:pt x="20" y="7"/>
                  </a:cubicBezTo>
                  <a:cubicBezTo>
                    <a:pt x="17" y="2"/>
                    <a:pt x="11" y="0"/>
                    <a:pt x="7" y="3"/>
                  </a:cubicBezTo>
                  <a:cubicBezTo>
                    <a:pt x="2" y="5"/>
                    <a:pt x="0" y="11"/>
                    <a:pt x="2" y="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0">
              <a:extLst>
                <a:ext uri="{FF2B5EF4-FFF2-40B4-BE49-F238E27FC236}">
                  <a16:creationId xmlns:a16="http://schemas.microsoft.com/office/drawing/2014/main" id="{99903EE0-C375-4E1B-9491-535E65F8E2F8}"/>
                </a:ext>
              </a:extLst>
            </p:cNvPr>
            <p:cNvSpPr>
              <a:spLocks/>
            </p:cNvSpPr>
            <p:nvPr/>
          </p:nvSpPr>
          <p:spPr bwMode="auto">
            <a:xfrm>
              <a:off x="4715" y="2464"/>
              <a:ext cx="82" cy="51"/>
            </a:xfrm>
            <a:custGeom>
              <a:avLst/>
              <a:gdLst>
                <a:gd name="T0" fmla="*/ 0 w 46"/>
                <a:gd name="T1" fmla="*/ 23 h 29"/>
                <a:gd name="T2" fmla="*/ 34 w 46"/>
                <a:gd name="T3" fmla="*/ 12 h 29"/>
                <a:gd name="T4" fmla="*/ 46 w 46"/>
                <a:gd name="T5" fmla="*/ 0 h 29"/>
                <a:gd name="T6" fmla="*/ 40 w 46"/>
                <a:gd name="T7" fmla="*/ 14 h 29"/>
                <a:gd name="T8" fmla="*/ 0 w 46"/>
                <a:gd name="T9" fmla="*/ 29 h 29"/>
                <a:gd name="T10" fmla="*/ 0 w 46"/>
                <a:gd name="T11" fmla="*/ 23 h 29"/>
              </a:gdLst>
              <a:ahLst/>
              <a:cxnLst>
                <a:cxn ang="0">
                  <a:pos x="T0" y="T1"/>
                </a:cxn>
                <a:cxn ang="0">
                  <a:pos x="T2" y="T3"/>
                </a:cxn>
                <a:cxn ang="0">
                  <a:pos x="T4" y="T5"/>
                </a:cxn>
                <a:cxn ang="0">
                  <a:pos x="T6" y="T7"/>
                </a:cxn>
                <a:cxn ang="0">
                  <a:pos x="T8" y="T9"/>
                </a:cxn>
                <a:cxn ang="0">
                  <a:pos x="T10" y="T11"/>
                </a:cxn>
              </a:cxnLst>
              <a:rect l="0" t="0" r="r" b="b"/>
              <a:pathLst>
                <a:path w="46" h="29">
                  <a:moveTo>
                    <a:pt x="0" y="23"/>
                  </a:moveTo>
                  <a:cubicBezTo>
                    <a:pt x="0" y="23"/>
                    <a:pt x="25" y="17"/>
                    <a:pt x="34" y="12"/>
                  </a:cubicBezTo>
                  <a:cubicBezTo>
                    <a:pt x="40" y="9"/>
                    <a:pt x="45" y="4"/>
                    <a:pt x="46" y="0"/>
                  </a:cubicBezTo>
                  <a:cubicBezTo>
                    <a:pt x="46" y="0"/>
                    <a:pt x="45" y="8"/>
                    <a:pt x="40" y="14"/>
                  </a:cubicBezTo>
                  <a:cubicBezTo>
                    <a:pt x="33" y="23"/>
                    <a:pt x="0" y="29"/>
                    <a:pt x="0" y="29"/>
                  </a:cubicBezTo>
                  <a:lnTo>
                    <a:pt x="0" y="23"/>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1">
              <a:extLst>
                <a:ext uri="{FF2B5EF4-FFF2-40B4-BE49-F238E27FC236}">
                  <a16:creationId xmlns:a16="http://schemas.microsoft.com/office/drawing/2014/main" id="{6E2E489E-62DB-44BD-B785-4813F7955153}"/>
                </a:ext>
              </a:extLst>
            </p:cNvPr>
            <p:cNvSpPr>
              <a:spLocks/>
            </p:cNvSpPr>
            <p:nvPr/>
          </p:nvSpPr>
          <p:spPr bwMode="auto">
            <a:xfrm>
              <a:off x="4711" y="2380"/>
              <a:ext cx="18" cy="19"/>
            </a:xfrm>
            <a:custGeom>
              <a:avLst/>
              <a:gdLst>
                <a:gd name="T0" fmla="*/ 0 w 10"/>
                <a:gd name="T1" fmla="*/ 5 h 11"/>
                <a:gd name="T2" fmla="*/ 5 w 10"/>
                <a:gd name="T3" fmla="*/ 11 h 11"/>
                <a:gd name="T4" fmla="*/ 10 w 10"/>
                <a:gd name="T5" fmla="*/ 5 h 11"/>
                <a:gd name="T6" fmla="*/ 5 w 10"/>
                <a:gd name="T7" fmla="*/ 0 h 11"/>
                <a:gd name="T8" fmla="*/ 0 w 10"/>
                <a:gd name="T9" fmla="*/ 5 h 11"/>
              </a:gdLst>
              <a:ahLst/>
              <a:cxnLst>
                <a:cxn ang="0">
                  <a:pos x="T0" y="T1"/>
                </a:cxn>
                <a:cxn ang="0">
                  <a:pos x="T2" y="T3"/>
                </a:cxn>
                <a:cxn ang="0">
                  <a:pos x="T4" y="T5"/>
                </a:cxn>
                <a:cxn ang="0">
                  <a:pos x="T6" y="T7"/>
                </a:cxn>
                <a:cxn ang="0">
                  <a:pos x="T8" y="T9"/>
                </a:cxn>
              </a:cxnLst>
              <a:rect l="0" t="0" r="r" b="b"/>
              <a:pathLst>
                <a:path w="10" h="11">
                  <a:moveTo>
                    <a:pt x="0" y="5"/>
                  </a:moveTo>
                  <a:cubicBezTo>
                    <a:pt x="0" y="8"/>
                    <a:pt x="2" y="11"/>
                    <a:pt x="5" y="11"/>
                  </a:cubicBezTo>
                  <a:cubicBezTo>
                    <a:pt x="8" y="11"/>
                    <a:pt x="10" y="8"/>
                    <a:pt x="10" y="5"/>
                  </a:cubicBezTo>
                  <a:cubicBezTo>
                    <a:pt x="10" y="2"/>
                    <a:pt x="8" y="0"/>
                    <a:pt x="5" y="0"/>
                  </a:cubicBezTo>
                  <a:cubicBezTo>
                    <a:pt x="2" y="0"/>
                    <a:pt x="0" y="3"/>
                    <a:pt x="0"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2">
              <a:extLst>
                <a:ext uri="{FF2B5EF4-FFF2-40B4-BE49-F238E27FC236}">
                  <a16:creationId xmlns:a16="http://schemas.microsoft.com/office/drawing/2014/main" id="{BCD67B52-2670-436E-BB3A-DA16712662E6}"/>
                </a:ext>
              </a:extLst>
            </p:cNvPr>
            <p:cNvSpPr>
              <a:spLocks/>
            </p:cNvSpPr>
            <p:nvPr/>
          </p:nvSpPr>
          <p:spPr bwMode="auto">
            <a:xfrm>
              <a:off x="4715" y="2349"/>
              <a:ext cx="23" cy="18"/>
            </a:xfrm>
            <a:custGeom>
              <a:avLst/>
              <a:gdLst>
                <a:gd name="T0" fmla="*/ 13 w 13"/>
                <a:gd name="T1" fmla="*/ 5 h 10"/>
                <a:gd name="T2" fmla="*/ 2 w 13"/>
                <a:gd name="T3" fmla="*/ 0 h 10"/>
                <a:gd name="T4" fmla="*/ 5 w 13"/>
                <a:gd name="T5" fmla="*/ 8 h 10"/>
                <a:gd name="T6" fmla="*/ 13 w 13"/>
                <a:gd name="T7" fmla="*/ 5 h 10"/>
              </a:gdLst>
              <a:ahLst/>
              <a:cxnLst>
                <a:cxn ang="0">
                  <a:pos x="T0" y="T1"/>
                </a:cxn>
                <a:cxn ang="0">
                  <a:pos x="T2" y="T3"/>
                </a:cxn>
                <a:cxn ang="0">
                  <a:pos x="T4" y="T5"/>
                </a:cxn>
                <a:cxn ang="0">
                  <a:pos x="T6" y="T7"/>
                </a:cxn>
              </a:cxnLst>
              <a:rect l="0" t="0" r="r" b="b"/>
              <a:pathLst>
                <a:path w="13" h="10">
                  <a:moveTo>
                    <a:pt x="13" y="5"/>
                  </a:moveTo>
                  <a:cubicBezTo>
                    <a:pt x="2" y="0"/>
                    <a:pt x="2" y="0"/>
                    <a:pt x="2" y="0"/>
                  </a:cubicBezTo>
                  <a:cubicBezTo>
                    <a:pt x="0" y="3"/>
                    <a:pt x="2" y="7"/>
                    <a:pt x="5" y="8"/>
                  </a:cubicBezTo>
                  <a:cubicBezTo>
                    <a:pt x="8" y="10"/>
                    <a:pt x="12" y="8"/>
                    <a:pt x="13"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3">
              <a:extLst>
                <a:ext uri="{FF2B5EF4-FFF2-40B4-BE49-F238E27FC236}">
                  <a16:creationId xmlns:a16="http://schemas.microsoft.com/office/drawing/2014/main" id="{845BAAB1-010D-4D1F-AC45-D5A0316BDC56}"/>
                </a:ext>
              </a:extLst>
            </p:cNvPr>
            <p:cNvSpPr>
              <a:spLocks/>
            </p:cNvSpPr>
            <p:nvPr/>
          </p:nvSpPr>
          <p:spPr bwMode="auto">
            <a:xfrm>
              <a:off x="4635" y="2348"/>
              <a:ext cx="21" cy="19"/>
            </a:xfrm>
            <a:custGeom>
              <a:avLst/>
              <a:gdLst>
                <a:gd name="T0" fmla="*/ 10 w 12"/>
                <a:gd name="T1" fmla="*/ 0 h 11"/>
                <a:gd name="T2" fmla="*/ 0 w 12"/>
                <a:gd name="T3" fmla="*/ 7 h 11"/>
                <a:gd name="T4" fmla="*/ 8 w 12"/>
                <a:gd name="T5" fmla="*/ 9 h 11"/>
                <a:gd name="T6" fmla="*/ 10 w 12"/>
                <a:gd name="T7" fmla="*/ 0 h 11"/>
              </a:gdLst>
              <a:ahLst/>
              <a:cxnLst>
                <a:cxn ang="0">
                  <a:pos x="T0" y="T1"/>
                </a:cxn>
                <a:cxn ang="0">
                  <a:pos x="T2" y="T3"/>
                </a:cxn>
                <a:cxn ang="0">
                  <a:pos x="T4" y="T5"/>
                </a:cxn>
                <a:cxn ang="0">
                  <a:pos x="T6" y="T7"/>
                </a:cxn>
              </a:cxnLst>
              <a:rect l="0" t="0" r="r" b="b"/>
              <a:pathLst>
                <a:path w="12" h="11">
                  <a:moveTo>
                    <a:pt x="10" y="0"/>
                  </a:moveTo>
                  <a:cubicBezTo>
                    <a:pt x="0" y="7"/>
                    <a:pt x="0" y="7"/>
                    <a:pt x="0" y="7"/>
                  </a:cubicBezTo>
                  <a:cubicBezTo>
                    <a:pt x="2" y="10"/>
                    <a:pt x="6" y="11"/>
                    <a:pt x="8" y="9"/>
                  </a:cubicBezTo>
                  <a:cubicBezTo>
                    <a:pt x="11" y="6"/>
                    <a:pt x="12" y="2"/>
                    <a:pt x="1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54">
              <a:extLst>
                <a:ext uri="{FF2B5EF4-FFF2-40B4-BE49-F238E27FC236}">
                  <a16:creationId xmlns:a16="http://schemas.microsoft.com/office/drawing/2014/main" id="{C7DDD80B-294D-4D2A-A8C1-6767A49593D9}"/>
                </a:ext>
              </a:extLst>
            </p:cNvPr>
            <p:cNvSpPr>
              <a:spLocks noChangeArrowheads="1"/>
            </p:cNvSpPr>
            <p:nvPr/>
          </p:nvSpPr>
          <p:spPr bwMode="auto">
            <a:xfrm>
              <a:off x="4642" y="2378"/>
              <a:ext cx="16" cy="1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5">
              <a:extLst>
                <a:ext uri="{FF2B5EF4-FFF2-40B4-BE49-F238E27FC236}">
                  <a16:creationId xmlns:a16="http://schemas.microsoft.com/office/drawing/2014/main" id="{06926104-41B7-408A-9B6F-1499DE5D3EEB}"/>
                </a:ext>
              </a:extLst>
            </p:cNvPr>
            <p:cNvSpPr>
              <a:spLocks/>
            </p:cNvSpPr>
            <p:nvPr/>
          </p:nvSpPr>
          <p:spPr bwMode="auto">
            <a:xfrm>
              <a:off x="4654" y="2380"/>
              <a:ext cx="34" cy="55"/>
            </a:xfrm>
            <a:custGeom>
              <a:avLst/>
              <a:gdLst>
                <a:gd name="T0" fmla="*/ 34 w 34"/>
                <a:gd name="T1" fmla="*/ 0 h 55"/>
                <a:gd name="T2" fmla="*/ 29 w 34"/>
                <a:gd name="T3" fmla="*/ 55 h 55"/>
                <a:gd name="T4" fmla="*/ 0 w 34"/>
                <a:gd name="T5" fmla="*/ 44 h 55"/>
                <a:gd name="T6" fmla="*/ 34 w 34"/>
                <a:gd name="T7" fmla="*/ 0 h 55"/>
              </a:gdLst>
              <a:ahLst/>
              <a:cxnLst>
                <a:cxn ang="0">
                  <a:pos x="T0" y="T1"/>
                </a:cxn>
                <a:cxn ang="0">
                  <a:pos x="T2" y="T3"/>
                </a:cxn>
                <a:cxn ang="0">
                  <a:pos x="T4" y="T5"/>
                </a:cxn>
                <a:cxn ang="0">
                  <a:pos x="T6" y="T7"/>
                </a:cxn>
              </a:cxnLst>
              <a:rect l="0" t="0" r="r" b="b"/>
              <a:pathLst>
                <a:path w="34" h="55">
                  <a:moveTo>
                    <a:pt x="34" y="0"/>
                  </a:moveTo>
                  <a:lnTo>
                    <a:pt x="29" y="55"/>
                  </a:lnTo>
                  <a:lnTo>
                    <a:pt x="0" y="44"/>
                  </a:lnTo>
                  <a:lnTo>
                    <a:pt x="34" y="0"/>
                  </a:lnTo>
                  <a:close/>
                </a:path>
              </a:pathLst>
            </a:cu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56">
              <a:extLst>
                <a:ext uri="{FF2B5EF4-FFF2-40B4-BE49-F238E27FC236}">
                  <a16:creationId xmlns:a16="http://schemas.microsoft.com/office/drawing/2014/main" id="{DC774B42-77CD-45C3-865C-3E2B70281425}"/>
                </a:ext>
              </a:extLst>
            </p:cNvPr>
            <p:cNvSpPr>
              <a:spLocks noChangeArrowheads="1"/>
            </p:cNvSpPr>
            <p:nvPr/>
          </p:nvSpPr>
          <p:spPr bwMode="auto">
            <a:xfrm>
              <a:off x="4704" y="2446"/>
              <a:ext cx="18" cy="18"/>
            </a:xfrm>
            <a:prstGeom prst="ellipse">
              <a:avLst/>
            </a:prstGeom>
            <a:solidFill>
              <a:srgbClr val="9A4A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7">
              <a:extLst>
                <a:ext uri="{FF2B5EF4-FFF2-40B4-BE49-F238E27FC236}">
                  <a16:creationId xmlns:a16="http://schemas.microsoft.com/office/drawing/2014/main" id="{AE27519A-5AD9-4A1E-9E04-F28D2FAE4CE8}"/>
                </a:ext>
              </a:extLst>
            </p:cNvPr>
            <p:cNvSpPr>
              <a:spLocks noEditPoints="1"/>
            </p:cNvSpPr>
            <p:nvPr/>
          </p:nvSpPr>
          <p:spPr bwMode="auto">
            <a:xfrm>
              <a:off x="4793" y="1848"/>
              <a:ext cx="225" cy="321"/>
            </a:xfrm>
            <a:custGeom>
              <a:avLst/>
              <a:gdLst>
                <a:gd name="T0" fmla="*/ 75 w 126"/>
                <a:gd name="T1" fmla="*/ 2 h 180"/>
                <a:gd name="T2" fmla="*/ 96 w 126"/>
                <a:gd name="T3" fmla="*/ 10 h 180"/>
                <a:gd name="T4" fmla="*/ 114 w 126"/>
                <a:gd name="T5" fmla="*/ 24 h 180"/>
                <a:gd name="T6" fmla="*/ 124 w 126"/>
                <a:gd name="T7" fmla="*/ 43 h 180"/>
                <a:gd name="T8" fmla="*/ 125 w 126"/>
                <a:gd name="T9" fmla="*/ 65 h 180"/>
                <a:gd name="T10" fmla="*/ 118 w 126"/>
                <a:gd name="T11" fmla="*/ 82 h 180"/>
                <a:gd name="T12" fmla="*/ 107 w 126"/>
                <a:gd name="T13" fmla="*/ 93 h 180"/>
                <a:gd name="T14" fmla="*/ 94 w 126"/>
                <a:gd name="T15" fmla="*/ 101 h 180"/>
                <a:gd name="T16" fmla="*/ 81 w 126"/>
                <a:gd name="T17" fmla="*/ 108 h 180"/>
                <a:gd name="T18" fmla="*/ 70 w 126"/>
                <a:gd name="T19" fmla="*/ 115 h 180"/>
                <a:gd name="T20" fmla="*/ 64 w 126"/>
                <a:gd name="T21" fmla="*/ 124 h 180"/>
                <a:gd name="T22" fmla="*/ 60 w 126"/>
                <a:gd name="T23" fmla="*/ 128 h 180"/>
                <a:gd name="T24" fmla="*/ 56 w 126"/>
                <a:gd name="T25" fmla="*/ 129 h 180"/>
                <a:gd name="T26" fmla="*/ 37 w 126"/>
                <a:gd name="T27" fmla="*/ 125 h 180"/>
                <a:gd name="T28" fmla="*/ 32 w 126"/>
                <a:gd name="T29" fmla="*/ 122 h 180"/>
                <a:gd name="T30" fmla="*/ 32 w 126"/>
                <a:gd name="T31" fmla="*/ 117 h 180"/>
                <a:gd name="T32" fmla="*/ 39 w 126"/>
                <a:gd name="T33" fmla="*/ 101 h 180"/>
                <a:gd name="T34" fmla="*/ 51 w 126"/>
                <a:gd name="T35" fmla="*/ 90 h 180"/>
                <a:gd name="T36" fmla="*/ 64 w 126"/>
                <a:gd name="T37" fmla="*/ 82 h 180"/>
                <a:gd name="T38" fmla="*/ 77 w 126"/>
                <a:gd name="T39" fmla="*/ 75 h 180"/>
                <a:gd name="T40" fmla="*/ 87 w 126"/>
                <a:gd name="T41" fmla="*/ 68 h 180"/>
                <a:gd name="T42" fmla="*/ 92 w 126"/>
                <a:gd name="T43" fmla="*/ 60 h 180"/>
                <a:gd name="T44" fmla="*/ 88 w 126"/>
                <a:gd name="T45" fmla="*/ 43 h 180"/>
                <a:gd name="T46" fmla="*/ 68 w 126"/>
                <a:gd name="T47" fmla="*/ 32 h 180"/>
                <a:gd name="T48" fmla="*/ 33 w 126"/>
                <a:gd name="T49" fmla="*/ 46 h 180"/>
                <a:gd name="T50" fmla="*/ 29 w 126"/>
                <a:gd name="T51" fmla="*/ 49 h 180"/>
                <a:gd name="T52" fmla="*/ 24 w 126"/>
                <a:gd name="T53" fmla="*/ 50 h 180"/>
                <a:gd name="T54" fmla="*/ 4 w 126"/>
                <a:gd name="T55" fmla="*/ 45 h 180"/>
                <a:gd name="T56" fmla="*/ 1 w 126"/>
                <a:gd name="T57" fmla="*/ 43 h 180"/>
                <a:gd name="T58" fmla="*/ 0 w 126"/>
                <a:gd name="T59" fmla="*/ 39 h 180"/>
                <a:gd name="T60" fmla="*/ 9 w 126"/>
                <a:gd name="T61" fmla="*/ 22 h 180"/>
                <a:gd name="T62" fmla="*/ 26 w 126"/>
                <a:gd name="T63" fmla="*/ 9 h 180"/>
                <a:gd name="T64" fmla="*/ 49 w 126"/>
                <a:gd name="T65" fmla="*/ 2 h 180"/>
                <a:gd name="T66" fmla="*/ 75 w 126"/>
                <a:gd name="T67" fmla="*/ 2 h 180"/>
                <a:gd name="T68" fmla="*/ 53 w 126"/>
                <a:gd name="T69" fmla="*/ 144 h 180"/>
                <a:gd name="T70" fmla="*/ 58 w 126"/>
                <a:gd name="T71" fmla="*/ 147 h 180"/>
                <a:gd name="T72" fmla="*/ 59 w 126"/>
                <a:gd name="T73" fmla="*/ 153 h 180"/>
                <a:gd name="T74" fmla="*/ 54 w 126"/>
                <a:gd name="T75" fmla="*/ 174 h 180"/>
                <a:gd name="T76" fmla="*/ 51 w 126"/>
                <a:gd name="T77" fmla="*/ 179 h 180"/>
                <a:gd name="T78" fmla="*/ 46 w 126"/>
                <a:gd name="T79" fmla="*/ 179 h 180"/>
                <a:gd name="T80" fmla="*/ 25 w 126"/>
                <a:gd name="T81" fmla="*/ 175 h 180"/>
                <a:gd name="T82" fmla="*/ 20 w 126"/>
                <a:gd name="T83" fmla="*/ 172 h 180"/>
                <a:gd name="T84" fmla="*/ 19 w 126"/>
                <a:gd name="T85" fmla="*/ 167 h 180"/>
                <a:gd name="T86" fmla="*/ 24 w 126"/>
                <a:gd name="T87" fmla="*/ 145 h 180"/>
                <a:gd name="T88" fmla="*/ 27 w 126"/>
                <a:gd name="T89" fmla="*/ 141 h 180"/>
                <a:gd name="T90" fmla="*/ 32 w 126"/>
                <a:gd name="T91" fmla="*/ 140 h 180"/>
                <a:gd name="T92" fmla="*/ 53 w 126"/>
                <a:gd name="T93" fmla="*/ 1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80">
                  <a:moveTo>
                    <a:pt x="75" y="2"/>
                  </a:moveTo>
                  <a:cubicBezTo>
                    <a:pt x="82" y="4"/>
                    <a:pt x="90" y="7"/>
                    <a:pt x="96" y="10"/>
                  </a:cubicBezTo>
                  <a:cubicBezTo>
                    <a:pt x="103" y="14"/>
                    <a:pt x="109" y="19"/>
                    <a:pt x="114" y="24"/>
                  </a:cubicBezTo>
                  <a:cubicBezTo>
                    <a:pt x="119" y="30"/>
                    <a:pt x="122" y="36"/>
                    <a:pt x="124" y="43"/>
                  </a:cubicBezTo>
                  <a:cubicBezTo>
                    <a:pt x="126" y="50"/>
                    <a:pt x="126" y="57"/>
                    <a:pt x="125" y="65"/>
                  </a:cubicBezTo>
                  <a:cubicBezTo>
                    <a:pt x="123" y="72"/>
                    <a:pt x="121" y="77"/>
                    <a:pt x="118" y="82"/>
                  </a:cubicBezTo>
                  <a:cubicBezTo>
                    <a:pt x="115" y="86"/>
                    <a:pt x="111" y="90"/>
                    <a:pt x="107" y="93"/>
                  </a:cubicBezTo>
                  <a:cubicBezTo>
                    <a:pt x="103" y="96"/>
                    <a:pt x="99" y="99"/>
                    <a:pt x="94" y="101"/>
                  </a:cubicBezTo>
                  <a:cubicBezTo>
                    <a:pt x="90" y="104"/>
                    <a:pt x="85" y="106"/>
                    <a:pt x="81" y="108"/>
                  </a:cubicBezTo>
                  <a:cubicBezTo>
                    <a:pt x="77" y="110"/>
                    <a:pt x="74" y="113"/>
                    <a:pt x="70" y="115"/>
                  </a:cubicBezTo>
                  <a:cubicBezTo>
                    <a:pt x="67" y="118"/>
                    <a:pt x="65" y="121"/>
                    <a:pt x="64" y="124"/>
                  </a:cubicBezTo>
                  <a:cubicBezTo>
                    <a:pt x="63" y="126"/>
                    <a:pt x="62" y="127"/>
                    <a:pt x="60" y="128"/>
                  </a:cubicBezTo>
                  <a:cubicBezTo>
                    <a:pt x="59" y="129"/>
                    <a:pt x="57" y="130"/>
                    <a:pt x="56" y="129"/>
                  </a:cubicBezTo>
                  <a:cubicBezTo>
                    <a:pt x="37" y="125"/>
                    <a:pt x="37" y="125"/>
                    <a:pt x="37" y="125"/>
                  </a:cubicBezTo>
                  <a:cubicBezTo>
                    <a:pt x="35" y="125"/>
                    <a:pt x="34" y="124"/>
                    <a:pt x="32" y="122"/>
                  </a:cubicBezTo>
                  <a:cubicBezTo>
                    <a:pt x="31" y="121"/>
                    <a:pt x="31" y="119"/>
                    <a:pt x="32" y="117"/>
                  </a:cubicBezTo>
                  <a:cubicBezTo>
                    <a:pt x="33" y="111"/>
                    <a:pt x="36" y="105"/>
                    <a:pt x="39" y="101"/>
                  </a:cubicBezTo>
                  <a:cubicBezTo>
                    <a:pt x="43" y="97"/>
                    <a:pt x="47" y="93"/>
                    <a:pt x="51" y="90"/>
                  </a:cubicBezTo>
                  <a:cubicBezTo>
                    <a:pt x="55" y="87"/>
                    <a:pt x="60" y="84"/>
                    <a:pt x="64" y="82"/>
                  </a:cubicBezTo>
                  <a:cubicBezTo>
                    <a:pt x="69" y="80"/>
                    <a:pt x="73" y="77"/>
                    <a:pt x="77" y="75"/>
                  </a:cubicBezTo>
                  <a:cubicBezTo>
                    <a:pt x="81" y="73"/>
                    <a:pt x="84" y="71"/>
                    <a:pt x="87" y="68"/>
                  </a:cubicBezTo>
                  <a:cubicBezTo>
                    <a:pt x="90" y="66"/>
                    <a:pt x="91" y="63"/>
                    <a:pt x="92" y="60"/>
                  </a:cubicBezTo>
                  <a:cubicBezTo>
                    <a:pt x="94" y="53"/>
                    <a:pt x="92" y="48"/>
                    <a:pt x="88" y="43"/>
                  </a:cubicBezTo>
                  <a:cubicBezTo>
                    <a:pt x="83" y="37"/>
                    <a:pt x="77" y="34"/>
                    <a:pt x="68" y="32"/>
                  </a:cubicBezTo>
                  <a:cubicBezTo>
                    <a:pt x="54" y="29"/>
                    <a:pt x="42" y="33"/>
                    <a:pt x="33" y="46"/>
                  </a:cubicBezTo>
                  <a:cubicBezTo>
                    <a:pt x="31" y="48"/>
                    <a:pt x="30" y="49"/>
                    <a:pt x="29" y="49"/>
                  </a:cubicBezTo>
                  <a:cubicBezTo>
                    <a:pt x="28" y="50"/>
                    <a:pt x="26" y="50"/>
                    <a:pt x="24" y="50"/>
                  </a:cubicBezTo>
                  <a:cubicBezTo>
                    <a:pt x="4" y="45"/>
                    <a:pt x="4" y="45"/>
                    <a:pt x="4" y="45"/>
                  </a:cubicBezTo>
                  <a:cubicBezTo>
                    <a:pt x="3" y="45"/>
                    <a:pt x="2" y="44"/>
                    <a:pt x="1" y="43"/>
                  </a:cubicBezTo>
                  <a:cubicBezTo>
                    <a:pt x="0" y="42"/>
                    <a:pt x="0" y="40"/>
                    <a:pt x="0" y="39"/>
                  </a:cubicBezTo>
                  <a:cubicBezTo>
                    <a:pt x="2" y="33"/>
                    <a:pt x="5" y="28"/>
                    <a:pt x="9" y="22"/>
                  </a:cubicBezTo>
                  <a:cubicBezTo>
                    <a:pt x="14" y="17"/>
                    <a:pt x="20" y="13"/>
                    <a:pt x="26" y="9"/>
                  </a:cubicBezTo>
                  <a:cubicBezTo>
                    <a:pt x="33" y="5"/>
                    <a:pt x="41" y="3"/>
                    <a:pt x="49" y="2"/>
                  </a:cubicBezTo>
                  <a:cubicBezTo>
                    <a:pt x="57" y="0"/>
                    <a:pt x="66" y="0"/>
                    <a:pt x="75" y="2"/>
                  </a:cubicBezTo>
                  <a:close/>
                  <a:moveTo>
                    <a:pt x="53" y="144"/>
                  </a:moveTo>
                  <a:cubicBezTo>
                    <a:pt x="55" y="145"/>
                    <a:pt x="57" y="146"/>
                    <a:pt x="58" y="147"/>
                  </a:cubicBezTo>
                  <a:cubicBezTo>
                    <a:pt x="59" y="149"/>
                    <a:pt x="59" y="151"/>
                    <a:pt x="59" y="153"/>
                  </a:cubicBezTo>
                  <a:cubicBezTo>
                    <a:pt x="54" y="174"/>
                    <a:pt x="54" y="174"/>
                    <a:pt x="54" y="174"/>
                  </a:cubicBezTo>
                  <a:cubicBezTo>
                    <a:pt x="53" y="176"/>
                    <a:pt x="52" y="177"/>
                    <a:pt x="51" y="179"/>
                  </a:cubicBezTo>
                  <a:cubicBezTo>
                    <a:pt x="49" y="180"/>
                    <a:pt x="48" y="180"/>
                    <a:pt x="46" y="179"/>
                  </a:cubicBezTo>
                  <a:cubicBezTo>
                    <a:pt x="25" y="175"/>
                    <a:pt x="25" y="175"/>
                    <a:pt x="25" y="175"/>
                  </a:cubicBezTo>
                  <a:cubicBezTo>
                    <a:pt x="23" y="174"/>
                    <a:pt x="21" y="173"/>
                    <a:pt x="20" y="172"/>
                  </a:cubicBezTo>
                  <a:cubicBezTo>
                    <a:pt x="19" y="170"/>
                    <a:pt x="19" y="168"/>
                    <a:pt x="19" y="167"/>
                  </a:cubicBezTo>
                  <a:cubicBezTo>
                    <a:pt x="24" y="145"/>
                    <a:pt x="24" y="145"/>
                    <a:pt x="24" y="145"/>
                  </a:cubicBezTo>
                  <a:cubicBezTo>
                    <a:pt x="25" y="143"/>
                    <a:pt x="26" y="142"/>
                    <a:pt x="27" y="141"/>
                  </a:cubicBezTo>
                  <a:cubicBezTo>
                    <a:pt x="29" y="140"/>
                    <a:pt x="30" y="139"/>
                    <a:pt x="32" y="140"/>
                  </a:cubicBezTo>
                  <a:lnTo>
                    <a:pt x="53" y="144"/>
                  </a:lnTo>
                  <a:close/>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8">
              <a:extLst>
                <a:ext uri="{FF2B5EF4-FFF2-40B4-BE49-F238E27FC236}">
                  <a16:creationId xmlns:a16="http://schemas.microsoft.com/office/drawing/2014/main" id="{6AE3D535-E297-40DA-BAB4-7603EEC50475}"/>
                </a:ext>
              </a:extLst>
            </p:cNvPr>
            <p:cNvSpPr>
              <a:spLocks noEditPoints="1"/>
            </p:cNvSpPr>
            <p:nvPr/>
          </p:nvSpPr>
          <p:spPr bwMode="auto">
            <a:xfrm>
              <a:off x="4970" y="2214"/>
              <a:ext cx="155" cy="223"/>
            </a:xfrm>
            <a:custGeom>
              <a:avLst/>
              <a:gdLst>
                <a:gd name="T0" fmla="*/ 38 w 87"/>
                <a:gd name="T1" fmla="*/ 1 h 125"/>
                <a:gd name="T2" fmla="*/ 55 w 87"/>
                <a:gd name="T3" fmla="*/ 1 h 125"/>
                <a:gd name="T4" fmla="*/ 69 w 87"/>
                <a:gd name="T5" fmla="*/ 5 h 125"/>
                <a:gd name="T6" fmla="*/ 81 w 87"/>
                <a:gd name="T7" fmla="*/ 15 h 125"/>
                <a:gd name="T8" fmla="*/ 87 w 87"/>
                <a:gd name="T9" fmla="*/ 29 h 125"/>
                <a:gd name="T10" fmla="*/ 86 w 87"/>
                <a:gd name="T11" fmla="*/ 41 h 125"/>
                <a:gd name="T12" fmla="*/ 82 w 87"/>
                <a:gd name="T13" fmla="*/ 51 h 125"/>
                <a:gd name="T14" fmla="*/ 76 w 87"/>
                <a:gd name="T15" fmla="*/ 60 h 125"/>
                <a:gd name="T16" fmla="*/ 70 w 87"/>
                <a:gd name="T17" fmla="*/ 67 h 125"/>
                <a:gd name="T18" fmla="*/ 65 w 87"/>
                <a:gd name="T19" fmla="*/ 75 h 125"/>
                <a:gd name="T20" fmla="*/ 63 w 87"/>
                <a:gd name="T21" fmla="*/ 82 h 125"/>
                <a:gd name="T22" fmla="*/ 62 w 87"/>
                <a:gd name="T23" fmla="*/ 86 h 125"/>
                <a:gd name="T24" fmla="*/ 59 w 87"/>
                <a:gd name="T25" fmla="*/ 88 h 125"/>
                <a:gd name="T26" fmla="*/ 46 w 87"/>
                <a:gd name="T27" fmla="*/ 90 h 125"/>
                <a:gd name="T28" fmla="*/ 42 w 87"/>
                <a:gd name="T29" fmla="*/ 89 h 125"/>
                <a:gd name="T30" fmla="*/ 40 w 87"/>
                <a:gd name="T31" fmla="*/ 86 h 125"/>
                <a:gd name="T32" fmla="*/ 41 w 87"/>
                <a:gd name="T33" fmla="*/ 74 h 125"/>
                <a:gd name="T34" fmla="*/ 46 w 87"/>
                <a:gd name="T35" fmla="*/ 64 h 125"/>
                <a:gd name="T36" fmla="*/ 52 w 87"/>
                <a:gd name="T37" fmla="*/ 55 h 125"/>
                <a:gd name="T38" fmla="*/ 59 w 87"/>
                <a:gd name="T39" fmla="*/ 47 h 125"/>
                <a:gd name="T40" fmla="*/ 63 w 87"/>
                <a:gd name="T41" fmla="*/ 41 h 125"/>
                <a:gd name="T42" fmla="*/ 64 w 87"/>
                <a:gd name="T43" fmla="*/ 34 h 125"/>
                <a:gd name="T44" fmla="*/ 57 w 87"/>
                <a:gd name="T45" fmla="*/ 24 h 125"/>
                <a:gd name="T46" fmla="*/ 42 w 87"/>
                <a:gd name="T47" fmla="*/ 22 h 125"/>
                <a:gd name="T48" fmla="*/ 23 w 87"/>
                <a:gd name="T49" fmla="*/ 40 h 125"/>
                <a:gd name="T50" fmla="*/ 21 w 87"/>
                <a:gd name="T51" fmla="*/ 43 h 125"/>
                <a:gd name="T52" fmla="*/ 18 w 87"/>
                <a:gd name="T53" fmla="*/ 45 h 125"/>
                <a:gd name="T54" fmla="*/ 4 w 87"/>
                <a:gd name="T55" fmla="*/ 47 h 125"/>
                <a:gd name="T56" fmla="*/ 2 w 87"/>
                <a:gd name="T57" fmla="*/ 46 h 125"/>
                <a:gd name="T58" fmla="*/ 0 w 87"/>
                <a:gd name="T59" fmla="*/ 44 h 125"/>
                <a:gd name="T60" fmla="*/ 2 w 87"/>
                <a:gd name="T61" fmla="*/ 31 h 125"/>
                <a:gd name="T62" fmla="*/ 9 w 87"/>
                <a:gd name="T63" fmla="*/ 18 h 125"/>
                <a:gd name="T64" fmla="*/ 22 w 87"/>
                <a:gd name="T65" fmla="*/ 7 h 125"/>
                <a:gd name="T66" fmla="*/ 38 w 87"/>
                <a:gd name="T67" fmla="*/ 1 h 125"/>
                <a:gd name="T68" fmla="*/ 61 w 87"/>
                <a:gd name="T69" fmla="*/ 98 h 125"/>
                <a:gd name="T70" fmla="*/ 65 w 87"/>
                <a:gd name="T71" fmla="*/ 99 h 125"/>
                <a:gd name="T72" fmla="*/ 67 w 87"/>
                <a:gd name="T73" fmla="*/ 102 h 125"/>
                <a:gd name="T74" fmla="*/ 69 w 87"/>
                <a:gd name="T75" fmla="*/ 117 h 125"/>
                <a:gd name="T76" fmla="*/ 68 w 87"/>
                <a:gd name="T77" fmla="*/ 120 h 125"/>
                <a:gd name="T78" fmla="*/ 65 w 87"/>
                <a:gd name="T79" fmla="*/ 122 h 125"/>
                <a:gd name="T80" fmla="*/ 51 w 87"/>
                <a:gd name="T81" fmla="*/ 125 h 125"/>
                <a:gd name="T82" fmla="*/ 47 w 87"/>
                <a:gd name="T83" fmla="*/ 124 h 125"/>
                <a:gd name="T84" fmla="*/ 45 w 87"/>
                <a:gd name="T85" fmla="*/ 121 h 125"/>
                <a:gd name="T86" fmla="*/ 43 w 87"/>
                <a:gd name="T87" fmla="*/ 106 h 125"/>
                <a:gd name="T88" fmla="*/ 44 w 87"/>
                <a:gd name="T89" fmla="*/ 102 h 125"/>
                <a:gd name="T90" fmla="*/ 47 w 87"/>
                <a:gd name="T91" fmla="*/ 100 h 125"/>
                <a:gd name="T92" fmla="*/ 61 w 87"/>
                <a:gd name="T93" fmla="*/ 9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5">
                  <a:moveTo>
                    <a:pt x="38" y="1"/>
                  </a:moveTo>
                  <a:cubicBezTo>
                    <a:pt x="44" y="0"/>
                    <a:pt x="49" y="0"/>
                    <a:pt x="55" y="1"/>
                  </a:cubicBezTo>
                  <a:cubicBezTo>
                    <a:pt x="60" y="2"/>
                    <a:pt x="65" y="3"/>
                    <a:pt x="69" y="5"/>
                  </a:cubicBezTo>
                  <a:cubicBezTo>
                    <a:pt x="74" y="8"/>
                    <a:pt x="77" y="11"/>
                    <a:pt x="81" y="15"/>
                  </a:cubicBezTo>
                  <a:cubicBezTo>
                    <a:pt x="84" y="18"/>
                    <a:pt x="86" y="23"/>
                    <a:pt x="87" y="29"/>
                  </a:cubicBezTo>
                  <a:cubicBezTo>
                    <a:pt x="87" y="33"/>
                    <a:pt x="87" y="38"/>
                    <a:pt x="86" y="41"/>
                  </a:cubicBezTo>
                  <a:cubicBezTo>
                    <a:pt x="86" y="45"/>
                    <a:pt x="84" y="48"/>
                    <a:pt x="82" y="51"/>
                  </a:cubicBezTo>
                  <a:cubicBezTo>
                    <a:pt x="81" y="54"/>
                    <a:pt x="79" y="57"/>
                    <a:pt x="76" y="60"/>
                  </a:cubicBezTo>
                  <a:cubicBezTo>
                    <a:pt x="74" y="62"/>
                    <a:pt x="72" y="65"/>
                    <a:pt x="70" y="67"/>
                  </a:cubicBezTo>
                  <a:cubicBezTo>
                    <a:pt x="68" y="70"/>
                    <a:pt x="66" y="72"/>
                    <a:pt x="65" y="75"/>
                  </a:cubicBezTo>
                  <a:cubicBezTo>
                    <a:pt x="63" y="77"/>
                    <a:pt x="63" y="80"/>
                    <a:pt x="63" y="82"/>
                  </a:cubicBezTo>
                  <a:cubicBezTo>
                    <a:pt x="63" y="84"/>
                    <a:pt x="62" y="85"/>
                    <a:pt x="62" y="86"/>
                  </a:cubicBezTo>
                  <a:cubicBezTo>
                    <a:pt x="61" y="87"/>
                    <a:pt x="60" y="87"/>
                    <a:pt x="59" y="88"/>
                  </a:cubicBezTo>
                  <a:cubicBezTo>
                    <a:pt x="46" y="90"/>
                    <a:pt x="46" y="90"/>
                    <a:pt x="46" y="90"/>
                  </a:cubicBezTo>
                  <a:cubicBezTo>
                    <a:pt x="44" y="90"/>
                    <a:pt x="43" y="90"/>
                    <a:pt x="42" y="89"/>
                  </a:cubicBezTo>
                  <a:cubicBezTo>
                    <a:pt x="41" y="88"/>
                    <a:pt x="40" y="87"/>
                    <a:pt x="40" y="86"/>
                  </a:cubicBezTo>
                  <a:cubicBezTo>
                    <a:pt x="40" y="81"/>
                    <a:pt x="40" y="77"/>
                    <a:pt x="41" y="74"/>
                  </a:cubicBezTo>
                  <a:cubicBezTo>
                    <a:pt x="42" y="70"/>
                    <a:pt x="44" y="67"/>
                    <a:pt x="46" y="64"/>
                  </a:cubicBezTo>
                  <a:cubicBezTo>
                    <a:pt x="48" y="60"/>
                    <a:pt x="50" y="58"/>
                    <a:pt x="52" y="55"/>
                  </a:cubicBezTo>
                  <a:cubicBezTo>
                    <a:pt x="54" y="52"/>
                    <a:pt x="57" y="50"/>
                    <a:pt x="59" y="47"/>
                  </a:cubicBezTo>
                  <a:cubicBezTo>
                    <a:pt x="61" y="45"/>
                    <a:pt x="62" y="43"/>
                    <a:pt x="63" y="41"/>
                  </a:cubicBezTo>
                  <a:cubicBezTo>
                    <a:pt x="64" y="38"/>
                    <a:pt x="65" y="36"/>
                    <a:pt x="64" y="34"/>
                  </a:cubicBezTo>
                  <a:cubicBezTo>
                    <a:pt x="64" y="29"/>
                    <a:pt x="61" y="26"/>
                    <a:pt x="57" y="24"/>
                  </a:cubicBezTo>
                  <a:cubicBezTo>
                    <a:pt x="53" y="21"/>
                    <a:pt x="48" y="21"/>
                    <a:pt x="42" y="22"/>
                  </a:cubicBezTo>
                  <a:cubicBezTo>
                    <a:pt x="32" y="23"/>
                    <a:pt x="26" y="30"/>
                    <a:pt x="23" y="40"/>
                  </a:cubicBezTo>
                  <a:cubicBezTo>
                    <a:pt x="22" y="41"/>
                    <a:pt x="22" y="42"/>
                    <a:pt x="21" y="43"/>
                  </a:cubicBezTo>
                  <a:cubicBezTo>
                    <a:pt x="21" y="44"/>
                    <a:pt x="20" y="44"/>
                    <a:pt x="18" y="45"/>
                  </a:cubicBezTo>
                  <a:cubicBezTo>
                    <a:pt x="4" y="47"/>
                    <a:pt x="4" y="47"/>
                    <a:pt x="4" y="47"/>
                  </a:cubicBezTo>
                  <a:cubicBezTo>
                    <a:pt x="3" y="47"/>
                    <a:pt x="2" y="47"/>
                    <a:pt x="2" y="46"/>
                  </a:cubicBezTo>
                  <a:cubicBezTo>
                    <a:pt x="1" y="46"/>
                    <a:pt x="0" y="45"/>
                    <a:pt x="0" y="44"/>
                  </a:cubicBezTo>
                  <a:cubicBezTo>
                    <a:pt x="0" y="40"/>
                    <a:pt x="0" y="35"/>
                    <a:pt x="2" y="31"/>
                  </a:cubicBezTo>
                  <a:cubicBezTo>
                    <a:pt x="3" y="26"/>
                    <a:pt x="6" y="22"/>
                    <a:pt x="9" y="18"/>
                  </a:cubicBezTo>
                  <a:cubicBezTo>
                    <a:pt x="13" y="14"/>
                    <a:pt x="17" y="10"/>
                    <a:pt x="22" y="7"/>
                  </a:cubicBezTo>
                  <a:cubicBezTo>
                    <a:pt x="27" y="4"/>
                    <a:pt x="32" y="2"/>
                    <a:pt x="38" y="1"/>
                  </a:cubicBezTo>
                  <a:moveTo>
                    <a:pt x="61" y="98"/>
                  </a:moveTo>
                  <a:cubicBezTo>
                    <a:pt x="63" y="98"/>
                    <a:pt x="64" y="98"/>
                    <a:pt x="65" y="99"/>
                  </a:cubicBezTo>
                  <a:cubicBezTo>
                    <a:pt x="66" y="99"/>
                    <a:pt x="67" y="100"/>
                    <a:pt x="67" y="102"/>
                  </a:cubicBezTo>
                  <a:cubicBezTo>
                    <a:pt x="69" y="117"/>
                    <a:pt x="69" y="117"/>
                    <a:pt x="69" y="117"/>
                  </a:cubicBezTo>
                  <a:cubicBezTo>
                    <a:pt x="69" y="118"/>
                    <a:pt x="69" y="119"/>
                    <a:pt x="68" y="120"/>
                  </a:cubicBezTo>
                  <a:cubicBezTo>
                    <a:pt x="68" y="121"/>
                    <a:pt x="67" y="122"/>
                    <a:pt x="65" y="122"/>
                  </a:cubicBezTo>
                  <a:cubicBezTo>
                    <a:pt x="51" y="125"/>
                    <a:pt x="51" y="125"/>
                    <a:pt x="51" y="125"/>
                  </a:cubicBezTo>
                  <a:cubicBezTo>
                    <a:pt x="49" y="125"/>
                    <a:pt x="48" y="125"/>
                    <a:pt x="47" y="124"/>
                  </a:cubicBezTo>
                  <a:cubicBezTo>
                    <a:pt x="46" y="123"/>
                    <a:pt x="45" y="122"/>
                    <a:pt x="45" y="121"/>
                  </a:cubicBezTo>
                  <a:cubicBezTo>
                    <a:pt x="43" y="106"/>
                    <a:pt x="43" y="106"/>
                    <a:pt x="43" y="106"/>
                  </a:cubicBezTo>
                  <a:cubicBezTo>
                    <a:pt x="42" y="104"/>
                    <a:pt x="43" y="103"/>
                    <a:pt x="44" y="102"/>
                  </a:cubicBezTo>
                  <a:cubicBezTo>
                    <a:pt x="44" y="101"/>
                    <a:pt x="45" y="100"/>
                    <a:pt x="47" y="100"/>
                  </a:cubicBezTo>
                  <a:cubicBezTo>
                    <a:pt x="61" y="98"/>
                    <a:pt x="61" y="98"/>
                    <a:pt x="61" y="98"/>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1">
              <a:extLst>
                <a:ext uri="{FF2B5EF4-FFF2-40B4-BE49-F238E27FC236}">
                  <a16:creationId xmlns:a16="http://schemas.microsoft.com/office/drawing/2014/main" id="{E0F4A438-65E8-468C-A217-94543782F69E}"/>
                </a:ext>
              </a:extLst>
            </p:cNvPr>
            <p:cNvSpPr>
              <a:spLocks noEditPoints="1"/>
            </p:cNvSpPr>
            <p:nvPr/>
          </p:nvSpPr>
          <p:spPr bwMode="auto">
            <a:xfrm>
              <a:off x="5221" y="2094"/>
              <a:ext cx="214" cy="243"/>
            </a:xfrm>
            <a:custGeom>
              <a:avLst/>
              <a:gdLst>
                <a:gd name="T0" fmla="*/ 34 w 120"/>
                <a:gd name="T1" fmla="*/ 111 h 136"/>
                <a:gd name="T2" fmla="*/ 36 w 120"/>
                <a:gd name="T3" fmla="*/ 115 h 136"/>
                <a:gd name="T4" fmla="*/ 35 w 120"/>
                <a:gd name="T5" fmla="*/ 119 h 136"/>
                <a:gd name="T6" fmla="*/ 25 w 120"/>
                <a:gd name="T7" fmla="*/ 134 h 136"/>
                <a:gd name="T8" fmla="*/ 21 w 120"/>
                <a:gd name="T9" fmla="*/ 136 h 136"/>
                <a:gd name="T10" fmla="*/ 17 w 120"/>
                <a:gd name="T11" fmla="*/ 135 h 136"/>
                <a:gd name="T12" fmla="*/ 2 w 120"/>
                <a:gd name="T13" fmla="*/ 125 h 136"/>
                <a:gd name="T14" fmla="*/ 0 w 120"/>
                <a:gd name="T15" fmla="*/ 121 h 136"/>
                <a:gd name="T16" fmla="*/ 1 w 120"/>
                <a:gd name="T17" fmla="*/ 117 h 136"/>
                <a:gd name="T18" fmla="*/ 12 w 120"/>
                <a:gd name="T19" fmla="*/ 102 h 136"/>
                <a:gd name="T20" fmla="*/ 15 w 120"/>
                <a:gd name="T21" fmla="*/ 100 h 136"/>
                <a:gd name="T22" fmla="*/ 19 w 120"/>
                <a:gd name="T23" fmla="*/ 101 h 136"/>
                <a:gd name="T24" fmla="*/ 34 w 120"/>
                <a:gd name="T25" fmla="*/ 111 h 136"/>
                <a:gd name="T26" fmla="*/ 95 w 120"/>
                <a:gd name="T27" fmla="*/ 11 h 136"/>
                <a:gd name="T28" fmla="*/ 109 w 120"/>
                <a:gd name="T29" fmla="*/ 24 h 136"/>
                <a:gd name="T30" fmla="*/ 118 w 120"/>
                <a:gd name="T31" fmla="*/ 40 h 136"/>
                <a:gd name="T32" fmla="*/ 119 w 120"/>
                <a:gd name="T33" fmla="*/ 57 h 136"/>
                <a:gd name="T34" fmla="*/ 113 w 120"/>
                <a:gd name="T35" fmla="*/ 74 h 136"/>
                <a:gd name="T36" fmla="*/ 102 w 120"/>
                <a:gd name="T37" fmla="*/ 84 h 136"/>
                <a:gd name="T38" fmla="*/ 90 w 120"/>
                <a:gd name="T39" fmla="*/ 89 h 136"/>
                <a:gd name="T40" fmla="*/ 78 w 120"/>
                <a:gd name="T41" fmla="*/ 92 h 136"/>
                <a:gd name="T42" fmla="*/ 66 w 120"/>
                <a:gd name="T43" fmla="*/ 93 h 136"/>
                <a:gd name="T44" fmla="*/ 56 w 120"/>
                <a:gd name="T45" fmla="*/ 94 h 136"/>
                <a:gd name="T46" fmla="*/ 48 w 120"/>
                <a:gd name="T47" fmla="*/ 99 h 136"/>
                <a:gd name="T48" fmla="*/ 44 w 120"/>
                <a:gd name="T49" fmla="*/ 101 h 136"/>
                <a:gd name="T50" fmla="*/ 40 w 120"/>
                <a:gd name="T51" fmla="*/ 100 h 136"/>
                <a:gd name="T52" fmla="*/ 27 w 120"/>
                <a:gd name="T53" fmla="*/ 91 h 136"/>
                <a:gd name="T54" fmla="*/ 25 w 120"/>
                <a:gd name="T55" fmla="*/ 88 h 136"/>
                <a:gd name="T56" fmla="*/ 26 w 120"/>
                <a:gd name="T57" fmla="*/ 84 h 136"/>
                <a:gd name="T58" fmla="*/ 37 w 120"/>
                <a:gd name="T59" fmla="*/ 74 h 136"/>
                <a:gd name="T60" fmla="*/ 49 w 120"/>
                <a:gd name="T61" fmla="*/ 69 h 136"/>
                <a:gd name="T62" fmla="*/ 62 w 120"/>
                <a:gd name="T63" fmla="*/ 67 h 136"/>
                <a:gd name="T64" fmla="*/ 73 w 120"/>
                <a:gd name="T65" fmla="*/ 66 h 136"/>
                <a:gd name="T66" fmla="*/ 83 w 120"/>
                <a:gd name="T67" fmla="*/ 65 h 136"/>
                <a:gd name="T68" fmla="*/ 90 w 120"/>
                <a:gd name="T69" fmla="*/ 60 h 136"/>
                <a:gd name="T70" fmla="*/ 92 w 120"/>
                <a:gd name="T71" fmla="*/ 45 h 136"/>
                <a:gd name="T72" fmla="*/ 81 w 120"/>
                <a:gd name="T73" fmla="*/ 31 h 136"/>
                <a:gd name="T74" fmla="*/ 50 w 120"/>
                <a:gd name="T75" fmla="*/ 30 h 136"/>
                <a:gd name="T76" fmla="*/ 46 w 120"/>
                <a:gd name="T77" fmla="*/ 32 h 136"/>
                <a:gd name="T78" fmla="*/ 42 w 120"/>
                <a:gd name="T79" fmla="*/ 31 h 136"/>
                <a:gd name="T80" fmla="*/ 28 w 120"/>
                <a:gd name="T81" fmla="*/ 21 h 136"/>
                <a:gd name="T82" fmla="*/ 26 w 120"/>
                <a:gd name="T83" fmla="*/ 18 h 136"/>
                <a:gd name="T84" fmla="*/ 27 w 120"/>
                <a:gd name="T85" fmla="*/ 15 h 136"/>
                <a:gd name="T86" fmla="*/ 39 w 120"/>
                <a:gd name="T87" fmla="*/ 5 h 136"/>
                <a:gd name="T88" fmla="*/ 57 w 120"/>
                <a:gd name="T89" fmla="*/ 1 h 136"/>
                <a:gd name="T90" fmla="*/ 76 w 120"/>
                <a:gd name="T91" fmla="*/ 2 h 136"/>
                <a:gd name="T92" fmla="*/ 95 w 120"/>
                <a:gd name="T93" fmla="*/ 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36">
                  <a:moveTo>
                    <a:pt x="34" y="111"/>
                  </a:moveTo>
                  <a:cubicBezTo>
                    <a:pt x="35" y="112"/>
                    <a:pt x="36" y="113"/>
                    <a:pt x="36" y="115"/>
                  </a:cubicBezTo>
                  <a:cubicBezTo>
                    <a:pt x="36" y="116"/>
                    <a:pt x="36" y="118"/>
                    <a:pt x="35" y="119"/>
                  </a:cubicBezTo>
                  <a:cubicBezTo>
                    <a:pt x="25" y="134"/>
                    <a:pt x="25" y="134"/>
                    <a:pt x="25" y="134"/>
                  </a:cubicBezTo>
                  <a:cubicBezTo>
                    <a:pt x="24" y="135"/>
                    <a:pt x="23" y="136"/>
                    <a:pt x="21" y="136"/>
                  </a:cubicBezTo>
                  <a:cubicBezTo>
                    <a:pt x="19" y="136"/>
                    <a:pt x="18" y="136"/>
                    <a:pt x="17" y="135"/>
                  </a:cubicBezTo>
                  <a:cubicBezTo>
                    <a:pt x="2" y="125"/>
                    <a:pt x="2" y="125"/>
                    <a:pt x="2" y="125"/>
                  </a:cubicBezTo>
                  <a:cubicBezTo>
                    <a:pt x="1" y="124"/>
                    <a:pt x="0" y="123"/>
                    <a:pt x="0" y="121"/>
                  </a:cubicBezTo>
                  <a:cubicBezTo>
                    <a:pt x="0" y="120"/>
                    <a:pt x="0" y="118"/>
                    <a:pt x="1" y="117"/>
                  </a:cubicBezTo>
                  <a:cubicBezTo>
                    <a:pt x="12" y="102"/>
                    <a:pt x="12" y="102"/>
                    <a:pt x="12" y="102"/>
                  </a:cubicBezTo>
                  <a:cubicBezTo>
                    <a:pt x="13" y="101"/>
                    <a:pt x="14" y="100"/>
                    <a:pt x="15" y="100"/>
                  </a:cubicBezTo>
                  <a:cubicBezTo>
                    <a:pt x="17" y="100"/>
                    <a:pt x="18" y="100"/>
                    <a:pt x="19" y="101"/>
                  </a:cubicBezTo>
                  <a:cubicBezTo>
                    <a:pt x="34" y="111"/>
                    <a:pt x="34" y="111"/>
                    <a:pt x="34" y="111"/>
                  </a:cubicBezTo>
                  <a:moveTo>
                    <a:pt x="95" y="11"/>
                  </a:moveTo>
                  <a:cubicBezTo>
                    <a:pt x="100" y="15"/>
                    <a:pt x="105" y="19"/>
                    <a:pt x="109" y="24"/>
                  </a:cubicBezTo>
                  <a:cubicBezTo>
                    <a:pt x="113" y="29"/>
                    <a:pt x="116" y="34"/>
                    <a:pt x="118" y="40"/>
                  </a:cubicBezTo>
                  <a:cubicBezTo>
                    <a:pt x="119" y="45"/>
                    <a:pt x="120" y="51"/>
                    <a:pt x="119" y="57"/>
                  </a:cubicBezTo>
                  <a:cubicBezTo>
                    <a:pt x="119" y="63"/>
                    <a:pt x="117" y="69"/>
                    <a:pt x="113" y="74"/>
                  </a:cubicBezTo>
                  <a:cubicBezTo>
                    <a:pt x="109" y="79"/>
                    <a:pt x="106" y="82"/>
                    <a:pt x="102" y="84"/>
                  </a:cubicBezTo>
                  <a:cubicBezTo>
                    <a:pt x="98" y="87"/>
                    <a:pt x="95" y="88"/>
                    <a:pt x="90" y="89"/>
                  </a:cubicBezTo>
                  <a:cubicBezTo>
                    <a:pt x="86" y="91"/>
                    <a:pt x="82" y="91"/>
                    <a:pt x="78" y="92"/>
                  </a:cubicBezTo>
                  <a:cubicBezTo>
                    <a:pt x="74" y="92"/>
                    <a:pt x="70" y="92"/>
                    <a:pt x="66" y="93"/>
                  </a:cubicBezTo>
                  <a:cubicBezTo>
                    <a:pt x="63" y="93"/>
                    <a:pt x="59" y="94"/>
                    <a:pt x="56" y="94"/>
                  </a:cubicBezTo>
                  <a:cubicBezTo>
                    <a:pt x="53" y="95"/>
                    <a:pt x="50" y="97"/>
                    <a:pt x="48" y="99"/>
                  </a:cubicBezTo>
                  <a:cubicBezTo>
                    <a:pt x="47" y="100"/>
                    <a:pt x="46" y="101"/>
                    <a:pt x="44" y="101"/>
                  </a:cubicBezTo>
                  <a:cubicBezTo>
                    <a:pt x="43" y="102"/>
                    <a:pt x="41" y="101"/>
                    <a:pt x="40" y="100"/>
                  </a:cubicBezTo>
                  <a:cubicBezTo>
                    <a:pt x="27" y="91"/>
                    <a:pt x="27" y="91"/>
                    <a:pt x="27" y="91"/>
                  </a:cubicBezTo>
                  <a:cubicBezTo>
                    <a:pt x="26" y="90"/>
                    <a:pt x="25" y="89"/>
                    <a:pt x="25" y="88"/>
                  </a:cubicBezTo>
                  <a:cubicBezTo>
                    <a:pt x="25" y="86"/>
                    <a:pt x="25" y="85"/>
                    <a:pt x="26" y="84"/>
                  </a:cubicBezTo>
                  <a:cubicBezTo>
                    <a:pt x="29" y="79"/>
                    <a:pt x="33" y="76"/>
                    <a:pt x="37" y="74"/>
                  </a:cubicBezTo>
                  <a:cubicBezTo>
                    <a:pt x="41" y="72"/>
                    <a:pt x="45" y="70"/>
                    <a:pt x="49" y="69"/>
                  </a:cubicBezTo>
                  <a:cubicBezTo>
                    <a:pt x="53" y="68"/>
                    <a:pt x="58" y="68"/>
                    <a:pt x="62" y="67"/>
                  </a:cubicBezTo>
                  <a:cubicBezTo>
                    <a:pt x="66" y="67"/>
                    <a:pt x="70" y="67"/>
                    <a:pt x="73" y="66"/>
                  </a:cubicBezTo>
                  <a:cubicBezTo>
                    <a:pt x="77" y="66"/>
                    <a:pt x="80" y="65"/>
                    <a:pt x="83" y="65"/>
                  </a:cubicBezTo>
                  <a:cubicBezTo>
                    <a:pt x="86" y="64"/>
                    <a:pt x="88" y="62"/>
                    <a:pt x="90" y="60"/>
                  </a:cubicBezTo>
                  <a:cubicBezTo>
                    <a:pt x="93" y="55"/>
                    <a:pt x="94" y="51"/>
                    <a:pt x="92" y="45"/>
                  </a:cubicBezTo>
                  <a:cubicBezTo>
                    <a:pt x="90" y="40"/>
                    <a:pt x="87" y="35"/>
                    <a:pt x="81" y="31"/>
                  </a:cubicBezTo>
                  <a:cubicBezTo>
                    <a:pt x="71" y="24"/>
                    <a:pt x="61" y="24"/>
                    <a:pt x="50" y="30"/>
                  </a:cubicBezTo>
                  <a:cubicBezTo>
                    <a:pt x="48" y="31"/>
                    <a:pt x="47" y="32"/>
                    <a:pt x="46" y="32"/>
                  </a:cubicBezTo>
                  <a:cubicBezTo>
                    <a:pt x="45" y="32"/>
                    <a:pt x="43" y="32"/>
                    <a:pt x="42" y="31"/>
                  </a:cubicBezTo>
                  <a:cubicBezTo>
                    <a:pt x="28" y="21"/>
                    <a:pt x="28" y="21"/>
                    <a:pt x="28" y="21"/>
                  </a:cubicBezTo>
                  <a:cubicBezTo>
                    <a:pt x="27" y="20"/>
                    <a:pt x="27" y="19"/>
                    <a:pt x="26" y="18"/>
                  </a:cubicBezTo>
                  <a:cubicBezTo>
                    <a:pt x="26" y="17"/>
                    <a:pt x="27" y="16"/>
                    <a:pt x="27" y="15"/>
                  </a:cubicBezTo>
                  <a:cubicBezTo>
                    <a:pt x="30" y="11"/>
                    <a:pt x="34" y="8"/>
                    <a:pt x="39" y="5"/>
                  </a:cubicBezTo>
                  <a:cubicBezTo>
                    <a:pt x="45" y="3"/>
                    <a:pt x="50" y="1"/>
                    <a:pt x="57" y="1"/>
                  </a:cubicBezTo>
                  <a:cubicBezTo>
                    <a:pt x="63" y="0"/>
                    <a:pt x="69" y="1"/>
                    <a:pt x="76" y="2"/>
                  </a:cubicBezTo>
                  <a:cubicBezTo>
                    <a:pt x="83" y="4"/>
                    <a:pt x="89" y="7"/>
                    <a:pt x="95" y="11"/>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2">
              <a:extLst>
                <a:ext uri="{FF2B5EF4-FFF2-40B4-BE49-F238E27FC236}">
                  <a16:creationId xmlns:a16="http://schemas.microsoft.com/office/drawing/2014/main" id="{71B15130-299E-4827-96BC-B7B60BAE9F40}"/>
                </a:ext>
              </a:extLst>
            </p:cNvPr>
            <p:cNvSpPr>
              <a:spLocks/>
            </p:cNvSpPr>
            <p:nvPr/>
          </p:nvSpPr>
          <p:spPr bwMode="auto">
            <a:xfrm>
              <a:off x="5266" y="2094"/>
              <a:ext cx="169" cy="180"/>
            </a:xfrm>
            <a:custGeom>
              <a:avLst/>
              <a:gdLst>
                <a:gd name="T0" fmla="*/ 37 w 95"/>
                <a:gd name="T1" fmla="*/ 0 h 101"/>
                <a:gd name="T2" fmla="*/ 32 w 95"/>
                <a:gd name="T3" fmla="*/ 1 h 101"/>
                <a:gd name="T4" fmla="*/ 14 w 95"/>
                <a:gd name="T5" fmla="*/ 5 h 101"/>
                <a:gd name="T6" fmla="*/ 2 w 95"/>
                <a:gd name="T7" fmla="*/ 15 h 101"/>
                <a:gd name="T8" fmla="*/ 1 w 95"/>
                <a:gd name="T9" fmla="*/ 17 h 101"/>
                <a:gd name="T10" fmla="*/ 1 w 95"/>
                <a:gd name="T11" fmla="*/ 18 h 101"/>
                <a:gd name="T12" fmla="*/ 3 w 95"/>
                <a:gd name="T13" fmla="*/ 21 h 101"/>
                <a:gd name="T14" fmla="*/ 17 w 95"/>
                <a:gd name="T15" fmla="*/ 31 h 101"/>
                <a:gd name="T16" fmla="*/ 20 w 95"/>
                <a:gd name="T17" fmla="*/ 32 h 101"/>
                <a:gd name="T18" fmla="*/ 21 w 95"/>
                <a:gd name="T19" fmla="*/ 32 h 101"/>
                <a:gd name="T20" fmla="*/ 25 w 95"/>
                <a:gd name="T21" fmla="*/ 30 h 101"/>
                <a:gd name="T22" fmla="*/ 40 w 95"/>
                <a:gd name="T23" fmla="*/ 26 h 101"/>
                <a:gd name="T24" fmla="*/ 56 w 95"/>
                <a:gd name="T25" fmla="*/ 31 h 101"/>
                <a:gd name="T26" fmla="*/ 67 w 95"/>
                <a:gd name="T27" fmla="*/ 45 h 101"/>
                <a:gd name="T28" fmla="*/ 68 w 95"/>
                <a:gd name="T29" fmla="*/ 51 h 101"/>
                <a:gd name="T30" fmla="*/ 65 w 95"/>
                <a:gd name="T31" fmla="*/ 60 h 101"/>
                <a:gd name="T32" fmla="*/ 58 w 95"/>
                <a:gd name="T33" fmla="*/ 65 h 101"/>
                <a:gd name="T34" fmla="*/ 48 w 95"/>
                <a:gd name="T35" fmla="*/ 66 h 101"/>
                <a:gd name="T36" fmla="*/ 37 w 95"/>
                <a:gd name="T37" fmla="*/ 67 h 101"/>
                <a:gd name="T38" fmla="*/ 24 w 95"/>
                <a:gd name="T39" fmla="*/ 69 h 101"/>
                <a:gd name="T40" fmla="*/ 12 w 95"/>
                <a:gd name="T41" fmla="*/ 74 h 101"/>
                <a:gd name="T42" fmla="*/ 1 w 95"/>
                <a:gd name="T43" fmla="*/ 84 h 101"/>
                <a:gd name="T44" fmla="*/ 0 w 95"/>
                <a:gd name="T45" fmla="*/ 87 h 101"/>
                <a:gd name="T46" fmla="*/ 0 w 95"/>
                <a:gd name="T47" fmla="*/ 88 h 101"/>
                <a:gd name="T48" fmla="*/ 2 w 95"/>
                <a:gd name="T49" fmla="*/ 91 h 101"/>
                <a:gd name="T50" fmla="*/ 15 w 95"/>
                <a:gd name="T51" fmla="*/ 100 h 101"/>
                <a:gd name="T52" fmla="*/ 18 w 95"/>
                <a:gd name="T53" fmla="*/ 101 h 101"/>
                <a:gd name="T54" fmla="*/ 19 w 95"/>
                <a:gd name="T55" fmla="*/ 101 h 101"/>
                <a:gd name="T56" fmla="*/ 23 w 95"/>
                <a:gd name="T57" fmla="*/ 99 h 101"/>
                <a:gd name="T58" fmla="*/ 31 w 95"/>
                <a:gd name="T59" fmla="*/ 94 h 101"/>
                <a:gd name="T60" fmla="*/ 41 w 95"/>
                <a:gd name="T61" fmla="*/ 93 h 101"/>
                <a:gd name="T62" fmla="*/ 53 w 95"/>
                <a:gd name="T63" fmla="*/ 92 h 101"/>
                <a:gd name="T64" fmla="*/ 65 w 95"/>
                <a:gd name="T65" fmla="*/ 89 h 101"/>
                <a:gd name="T66" fmla="*/ 77 w 95"/>
                <a:gd name="T67" fmla="*/ 84 h 101"/>
                <a:gd name="T68" fmla="*/ 88 w 95"/>
                <a:gd name="T69" fmla="*/ 74 h 101"/>
                <a:gd name="T70" fmla="*/ 94 w 95"/>
                <a:gd name="T71" fmla="*/ 57 h 101"/>
                <a:gd name="T72" fmla="*/ 95 w 95"/>
                <a:gd name="T73" fmla="*/ 53 h 101"/>
                <a:gd name="T74" fmla="*/ 93 w 95"/>
                <a:gd name="T75" fmla="*/ 40 h 101"/>
                <a:gd name="T76" fmla="*/ 84 w 95"/>
                <a:gd name="T77" fmla="*/ 24 h 101"/>
                <a:gd name="T78" fmla="*/ 70 w 95"/>
                <a:gd name="T79" fmla="*/ 11 h 101"/>
                <a:gd name="T80" fmla="*/ 51 w 95"/>
                <a:gd name="T81" fmla="*/ 2 h 101"/>
                <a:gd name="T82" fmla="*/ 37 w 95"/>
                <a:gd name="T8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 h="101">
                  <a:moveTo>
                    <a:pt x="37" y="0"/>
                  </a:moveTo>
                  <a:cubicBezTo>
                    <a:pt x="35" y="0"/>
                    <a:pt x="33" y="0"/>
                    <a:pt x="32" y="1"/>
                  </a:cubicBezTo>
                  <a:cubicBezTo>
                    <a:pt x="25" y="1"/>
                    <a:pt x="20" y="3"/>
                    <a:pt x="14" y="5"/>
                  </a:cubicBezTo>
                  <a:cubicBezTo>
                    <a:pt x="9" y="8"/>
                    <a:pt x="5" y="11"/>
                    <a:pt x="2" y="15"/>
                  </a:cubicBezTo>
                  <a:cubicBezTo>
                    <a:pt x="2" y="15"/>
                    <a:pt x="1" y="16"/>
                    <a:pt x="1" y="17"/>
                  </a:cubicBezTo>
                  <a:cubicBezTo>
                    <a:pt x="1" y="17"/>
                    <a:pt x="1" y="18"/>
                    <a:pt x="1" y="18"/>
                  </a:cubicBezTo>
                  <a:cubicBezTo>
                    <a:pt x="2" y="19"/>
                    <a:pt x="2" y="20"/>
                    <a:pt x="3" y="21"/>
                  </a:cubicBezTo>
                  <a:cubicBezTo>
                    <a:pt x="17" y="31"/>
                    <a:pt x="17" y="31"/>
                    <a:pt x="17" y="31"/>
                  </a:cubicBezTo>
                  <a:cubicBezTo>
                    <a:pt x="18" y="31"/>
                    <a:pt x="19" y="32"/>
                    <a:pt x="20" y="32"/>
                  </a:cubicBezTo>
                  <a:cubicBezTo>
                    <a:pt x="20" y="32"/>
                    <a:pt x="21" y="32"/>
                    <a:pt x="21" y="32"/>
                  </a:cubicBezTo>
                  <a:cubicBezTo>
                    <a:pt x="22" y="32"/>
                    <a:pt x="23" y="31"/>
                    <a:pt x="25" y="30"/>
                  </a:cubicBezTo>
                  <a:cubicBezTo>
                    <a:pt x="30" y="27"/>
                    <a:pt x="35" y="26"/>
                    <a:pt x="40" y="26"/>
                  </a:cubicBezTo>
                  <a:cubicBezTo>
                    <a:pt x="46" y="26"/>
                    <a:pt x="51" y="27"/>
                    <a:pt x="56" y="31"/>
                  </a:cubicBezTo>
                  <a:cubicBezTo>
                    <a:pt x="62" y="35"/>
                    <a:pt x="65" y="40"/>
                    <a:pt x="67" y="45"/>
                  </a:cubicBezTo>
                  <a:cubicBezTo>
                    <a:pt x="68" y="47"/>
                    <a:pt x="68" y="49"/>
                    <a:pt x="68" y="51"/>
                  </a:cubicBezTo>
                  <a:cubicBezTo>
                    <a:pt x="68" y="54"/>
                    <a:pt x="67" y="57"/>
                    <a:pt x="65" y="60"/>
                  </a:cubicBezTo>
                  <a:cubicBezTo>
                    <a:pt x="63" y="62"/>
                    <a:pt x="61" y="64"/>
                    <a:pt x="58" y="65"/>
                  </a:cubicBezTo>
                  <a:cubicBezTo>
                    <a:pt x="55" y="65"/>
                    <a:pt x="52" y="66"/>
                    <a:pt x="48" y="66"/>
                  </a:cubicBezTo>
                  <a:cubicBezTo>
                    <a:pt x="45" y="67"/>
                    <a:pt x="41" y="67"/>
                    <a:pt x="37" y="67"/>
                  </a:cubicBezTo>
                  <a:cubicBezTo>
                    <a:pt x="33" y="68"/>
                    <a:pt x="28" y="68"/>
                    <a:pt x="24" y="69"/>
                  </a:cubicBezTo>
                  <a:cubicBezTo>
                    <a:pt x="20" y="70"/>
                    <a:pt x="16" y="72"/>
                    <a:pt x="12" y="74"/>
                  </a:cubicBezTo>
                  <a:cubicBezTo>
                    <a:pt x="8" y="76"/>
                    <a:pt x="4" y="79"/>
                    <a:pt x="1" y="84"/>
                  </a:cubicBezTo>
                  <a:cubicBezTo>
                    <a:pt x="0" y="84"/>
                    <a:pt x="0" y="85"/>
                    <a:pt x="0" y="87"/>
                  </a:cubicBezTo>
                  <a:cubicBezTo>
                    <a:pt x="0" y="87"/>
                    <a:pt x="0" y="87"/>
                    <a:pt x="0" y="88"/>
                  </a:cubicBezTo>
                  <a:cubicBezTo>
                    <a:pt x="0" y="89"/>
                    <a:pt x="1" y="90"/>
                    <a:pt x="2" y="91"/>
                  </a:cubicBezTo>
                  <a:cubicBezTo>
                    <a:pt x="15" y="100"/>
                    <a:pt x="15" y="100"/>
                    <a:pt x="15" y="100"/>
                  </a:cubicBezTo>
                  <a:cubicBezTo>
                    <a:pt x="16" y="101"/>
                    <a:pt x="17" y="101"/>
                    <a:pt x="18" y="101"/>
                  </a:cubicBezTo>
                  <a:cubicBezTo>
                    <a:pt x="18" y="101"/>
                    <a:pt x="19" y="101"/>
                    <a:pt x="19" y="101"/>
                  </a:cubicBezTo>
                  <a:cubicBezTo>
                    <a:pt x="21" y="101"/>
                    <a:pt x="22" y="100"/>
                    <a:pt x="23" y="99"/>
                  </a:cubicBezTo>
                  <a:cubicBezTo>
                    <a:pt x="25" y="97"/>
                    <a:pt x="28" y="95"/>
                    <a:pt x="31" y="94"/>
                  </a:cubicBezTo>
                  <a:cubicBezTo>
                    <a:pt x="34" y="94"/>
                    <a:pt x="38" y="93"/>
                    <a:pt x="41" y="93"/>
                  </a:cubicBezTo>
                  <a:cubicBezTo>
                    <a:pt x="45" y="92"/>
                    <a:pt x="49" y="92"/>
                    <a:pt x="53" y="92"/>
                  </a:cubicBezTo>
                  <a:cubicBezTo>
                    <a:pt x="57" y="91"/>
                    <a:pt x="61" y="91"/>
                    <a:pt x="65" y="89"/>
                  </a:cubicBezTo>
                  <a:cubicBezTo>
                    <a:pt x="70" y="88"/>
                    <a:pt x="73" y="87"/>
                    <a:pt x="77" y="84"/>
                  </a:cubicBezTo>
                  <a:cubicBezTo>
                    <a:pt x="81" y="82"/>
                    <a:pt x="84" y="79"/>
                    <a:pt x="88" y="74"/>
                  </a:cubicBezTo>
                  <a:cubicBezTo>
                    <a:pt x="92" y="69"/>
                    <a:pt x="94" y="63"/>
                    <a:pt x="94" y="57"/>
                  </a:cubicBezTo>
                  <a:cubicBezTo>
                    <a:pt x="95" y="56"/>
                    <a:pt x="95" y="54"/>
                    <a:pt x="95" y="53"/>
                  </a:cubicBezTo>
                  <a:cubicBezTo>
                    <a:pt x="95" y="48"/>
                    <a:pt x="94" y="44"/>
                    <a:pt x="93" y="40"/>
                  </a:cubicBezTo>
                  <a:cubicBezTo>
                    <a:pt x="91" y="34"/>
                    <a:pt x="88" y="29"/>
                    <a:pt x="84" y="24"/>
                  </a:cubicBezTo>
                  <a:cubicBezTo>
                    <a:pt x="80" y="19"/>
                    <a:pt x="75" y="15"/>
                    <a:pt x="70" y="11"/>
                  </a:cubicBezTo>
                  <a:cubicBezTo>
                    <a:pt x="64" y="7"/>
                    <a:pt x="58" y="4"/>
                    <a:pt x="51" y="2"/>
                  </a:cubicBezTo>
                  <a:cubicBezTo>
                    <a:pt x="46" y="1"/>
                    <a:pt x="41" y="0"/>
                    <a:pt x="37" y="0"/>
                  </a:cubicBezTo>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3">
              <a:extLst>
                <a:ext uri="{FF2B5EF4-FFF2-40B4-BE49-F238E27FC236}">
                  <a16:creationId xmlns:a16="http://schemas.microsoft.com/office/drawing/2014/main" id="{700DF2A2-D112-4068-B69F-098BD3ABD4D5}"/>
                </a:ext>
              </a:extLst>
            </p:cNvPr>
            <p:cNvSpPr>
              <a:spLocks/>
            </p:cNvSpPr>
            <p:nvPr/>
          </p:nvSpPr>
          <p:spPr bwMode="auto">
            <a:xfrm>
              <a:off x="5221" y="2273"/>
              <a:ext cx="65" cy="64"/>
            </a:xfrm>
            <a:custGeom>
              <a:avLst/>
              <a:gdLst>
                <a:gd name="T0" fmla="*/ 16 w 36"/>
                <a:gd name="T1" fmla="*/ 0 h 36"/>
                <a:gd name="T2" fmla="*/ 15 w 36"/>
                <a:gd name="T3" fmla="*/ 0 h 36"/>
                <a:gd name="T4" fmla="*/ 12 w 36"/>
                <a:gd name="T5" fmla="*/ 2 h 36"/>
                <a:gd name="T6" fmla="*/ 1 w 36"/>
                <a:gd name="T7" fmla="*/ 17 h 36"/>
                <a:gd name="T8" fmla="*/ 0 w 36"/>
                <a:gd name="T9" fmla="*/ 20 h 36"/>
                <a:gd name="T10" fmla="*/ 0 w 36"/>
                <a:gd name="T11" fmla="*/ 21 h 36"/>
                <a:gd name="T12" fmla="*/ 2 w 36"/>
                <a:gd name="T13" fmla="*/ 25 h 36"/>
                <a:gd name="T14" fmla="*/ 17 w 36"/>
                <a:gd name="T15" fmla="*/ 35 h 36"/>
                <a:gd name="T16" fmla="*/ 20 w 36"/>
                <a:gd name="T17" fmla="*/ 36 h 36"/>
                <a:gd name="T18" fmla="*/ 21 w 36"/>
                <a:gd name="T19" fmla="*/ 36 h 36"/>
                <a:gd name="T20" fmla="*/ 25 w 36"/>
                <a:gd name="T21" fmla="*/ 34 h 36"/>
                <a:gd name="T22" fmla="*/ 35 w 36"/>
                <a:gd name="T23" fmla="*/ 19 h 36"/>
                <a:gd name="T24" fmla="*/ 36 w 36"/>
                <a:gd name="T25" fmla="*/ 16 h 36"/>
                <a:gd name="T26" fmla="*/ 36 w 36"/>
                <a:gd name="T27" fmla="*/ 15 h 36"/>
                <a:gd name="T28" fmla="*/ 34 w 36"/>
                <a:gd name="T29" fmla="*/ 11 h 36"/>
                <a:gd name="T30" fmla="*/ 19 w 36"/>
                <a:gd name="T31" fmla="*/ 1 h 36"/>
                <a:gd name="T32" fmla="*/ 16 w 36"/>
                <a:gd name="T3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6">
                  <a:moveTo>
                    <a:pt x="16" y="0"/>
                  </a:moveTo>
                  <a:cubicBezTo>
                    <a:pt x="16" y="0"/>
                    <a:pt x="16" y="0"/>
                    <a:pt x="15" y="0"/>
                  </a:cubicBezTo>
                  <a:cubicBezTo>
                    <a:pt x="14" y="0"/>
                    <a:pt x="13" y="1"/>
                    <a:pt x="12" y="2"/>
                  </a:cubicBezTo>
                  <a:cubicBezTo>
                    <a:pt x="1" y="17"/>
                    <a:pt x="1" y="17"/>
                    <a:pt x="1" y="17"/>
                  </a:cubicBezTo>
                  <a:cubicBezTo>
                    <a:pt x="0" y="18"/>
                    <a:pt x="0" y="19"/>
                    <a:pt x="0" y="20"/>
                  </a:cubicBezTo>
                  <a:cubicBezTo>
                    <a:pt x="0" y="20"/>
                    <a:pt x="0" y="21"/>
                    <a:pt x="0" y="21"/>
                  </a:cubicBezTo>
                  <a:cubicBezTo>
                    <a:pt x="0" y="23"/>
                    <a:pt x="1" y="24"/>
                    <a:pt x="2" y="25"/>
                  </a:cubicBezTo>
                  <a:cubicBezTo>
                    <a:pt x="17" y="35"/>
                    <a:pt x="17" y="35"/>
                    <a:pt x="17" y="35"/>
                  </a:cubicBezTo>
                  <a:cubicBezTo>
                    <a:pt x="18" y="36"/>
                    <a:pt x="19" y="36"/>
                    <a:pt x="20" y="36"/>
                  </a:cubicBezTo>
                  <a:cubicBezTo>
                    <a:pt x="20" y="36"/>
                    <a:pt x="21" y="36"/>
                    <a:pt x="21" y="36"/>
                  </a:cubicBezTo>
                  <a:cubicBezTo>
                    <a:pt x="23" y="36"/>
                    <a:pt x="24" y="35"/>
                    <a:pt x="25" y="34"/>
                  </a:cubicBezTo>
                  <a:cubicBezTo>
                    <a:pt x="35" y="19"/>
                    <a:pt x="35" y="19"/>
                    <a:pt x="35" y="19"/>
                  </a:cubicBezTo>
                  <a:cubicBezTo>
                    <a:pt x="36" y="18"/>
                    <a:pt x="36" y="17"/>
                    <a:pt x="36" y="16"/>
                  </a:cubicBezTo>
                  <a:cubicBezTo>
                    <a:pt x="36" y="15"/>
                    <a:pt x="36" y="15"/>
                    <a:pt x="36" y="15"/>
                  </a:cubicBezTo>
                  <a:cubicBezTo>
                    <a:pt x="36" y="13"/>
                    <a:pt x="35" y="12"/>
                    <a:pt x="34" y="11"/>
                  </a:cubicBezTo>
                  <a:cubicBezTo>
                    <a:pt x="19" y="1"/>
                    <a:pt x="19" y="1"/>
                    <a:pt x="19" y="1"/>
                  </a:cubicBezTo>
                  <a:cubicBezTo>
                    <a:pt x="18" y="0"/>
                    <a:pt x="17" y="0"/>
                    <a:pt x="16" y="0"/>
                  </a:cubicBezTo>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4">
              <a:extLst>
                <a:ext uri="{FF2B5EF4-FFF2-40B4-BE49-F238E27FC236}">
                  <a16:creationId xmlns:a16="http://schemas.microsoft.com/office/drawing/2014/main" id="{714D5F0E-3362-448D-BB3C-235CF23A56EB}"/>
                </a:ext>
              </a:extLst>
            </p:cNvPr>
            <p:cNvSpPr>
              <a:spLocks/>
            </p:cNvSpPr>
            <p:nvPr/>
          </p:nvSpPr>
          <p:spPr bwMode="auto">
            <a:xfrm>
              <a:off x="2896" y="3475"/>
              <a:ext cx="182" cy="353"/>
            </a:xfrm>
            <a:custGeom>
              <a:avLst/>
              <a:gdLst>
                <a:gd name="T0" fmla="*/ 49 w 102"/>
                <a:gd name="T1" fmla="*/ 129 h 198"/>
                <a:gd name="T2" fmla="*/ 57 w 102"/>
                <a:gd name="T3" fmla="*/ 0 h 198"/>
                <a:gd name="T4" fmla="*/ 0 w 102"/>
                <a:gd name="T5" fmla="*/ 41 h 198"/>
                <a:gd name="T6" fmla="*/ 14 w 102"/>
                <a:gd name="T7" fmla="*/ 139 h 198"/>
                <a:gd name="T8" fmla="*/ 14 w 102"/>
                <a:gd name="T9" fmla="*/ 142 h 198"/>
                <a:gd name="T10" fmla="*/ 42 w 102"/>
                <a:gd name="T11" fmla="*/ 172 h 198"/>
                <a:gd name="T12" fmla="*/ 74 w 102"/>
                <a:gd name="T13" fmla="*/ 193 h 198"/>
                <a:gd name="T14" fmla="*/ 102 w 102"/>
                <a:gd name="T15" fmla="*/ 192 h 198"/>
                <a:gd name="T16" fmla="*/ 55 w 102"/>
                <a:gd name="T17" fmla="*/ 152 h 198"/>
                <a:gd name="T18" fmla="*/ 49 w 102"/>
                <a:gd name="T19" fmla="*/ 12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98">
                  <a:moveTo>
                    <a:pt x="49" y="129"/>
                  </a:moveTo>
                  <a:cubicBezTo>
                    <a:pt x="49" y="117"/>
                    <a:pt x="57" y="0"/>
                    <a:pt x="57" y="0"/>
                  </a:cubicBezTo>
                  <a:cubicBezTo>
                    <a:pt x="0" y="41"/>
                    <a:pt x="0" y="41"/>
                    <a:pt x="0" y="41"/>
                  </a:cubicBezTo>
                  <a:cubicBezTo>
                    <a:pt x="12" y="111"/>
                    <a:pt x="14" y="128"/>
                    <a:pt x="14" y="139"/>
                  </a:cubicBezTo>
                  <a:cubicBezTo>
                    <a:pt x="14" y="139"/>
                    <a:pt x="14" y="140"/>
                    <a:pt x="14" y="142"/>
                  </a:cubicBezTo>
                  <a:cubicBezTo>
                    <a:pt x="14" y="156"/>
                    <a:pt x="30" y="163"/>
                    <a:pt x="42" y="172"/>
                  </a:cubicBezTo>
                  <a:cubicBezTo>
                    <a:pt x="46" y="176"/>
                    <a:pt x="60" y="186"/>
                    <a:pt x="74" y="193"/>
                  </a:cubicBezTo>
                  <a:cubicBezTo>
                    <a:pt x="83" y="198"/>
                    <a:pt x="100" y="198"/>
                    <a:pt x="102" y="192"/>
                  </a:cubicBezTo>
                  <a:cubicBezTo>
                    <a:pt x="88" y="181"/>
                    <a:pt x="67" y="165"/>
                    <a:pt x="55" y="152"/>
                  </a:cubicBezTo>
                  <a:cubicBezTo>
                    <a:pt x="50" y="146"/>
                    <a:pt x="49" y="141"/>
                    <a:pt x="49" y="129"/>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5">
              <a:extLst>
                <a:ext uri="{FF2B5EF4-FFF2-40B4-BE49-F238E27FC236}">
                  <a16:creationId xmlns:a16="http://schemas.microsoft.com/office/drawing/2014/main" id="{8ACA8080-5A0E-439C-8A10-764C7C562695}"/>
                </a:ext>
              </a:extLst>
            </p:cNvPr>
            <p:cNvSpPr>
              <a:spLocks/>
            </p:cNvSpPr>
            <p:nvPr/>
          </p:nvSpPr>
          <p:spPr bwMode="auto">
            <a:xfrm>
              <a:off x="2908" y="3789"/>
              <a:ext cx="218" cy="94"/>
            </a:xfrm>
            <a:custGeom>
              <a:avLst/>
              <a:gdLst>
                <a:gd name="T0" fmla="*/ 120 w 122"/>
                <a:gd name="T1" fmla="*/ 31 h 53"/>
                <a:gd name="T2" fmla="*/ 118 w 122"/>
                <a:gd name="T3" fmla="*/ 42 h 53"/>
                <a:gd name="T4" fmla="*/ 81 w 122"/>
                <a:gd name="T5" fmla="*/ 51 h 53"/>
                <a:gd name="T6" fmla="*/ 46 w 122"/>
                <a:gd name="T7" fmla="*/ 37 h 53"/>
                <a:gd name="T8" fmla="*/ 21 w 122"/>
                <a:gd name="T9" fmla="*/ 20 h 53"/>
                <a:gd name="T10" fmla="*/ 2 w 122"/>
                <a:gd name="T11" fmla="*/ 13 h 53"/>
                <a:gd name="T12" fmla="*/ 0 w 122"/>
                <a:gd name="T13" fmla="*/ 0 h 53"/>
                <a:gd name="T14" fmla="*/ 120 w 122"/>
                <a:gd name="T15" fmla="*/ 31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53">
                  <a:moveTo>
                    <a:pt x="120" y="31"/>
                  </a:moveTo>
                  <a:cubicBezTo>
                    <a:pt x="121" y="31"/>
                    <a:pt x="122" y="38"/>
                    <a:pt x="118" y="42"/>
                  </a:cubicBezTo>
                  <a:cubicBezTo>
                    <a:pt x="113" y="46"/>
                    <a:pt x="100" y="53"/>
                    <a:pt x="81" y="51"/>
                  </a:cubicBezTo>
                  <a:cubicBezTo>
                    <a:pt x="63" y="48"/>
                    <a:pt x="53" y="43"/>
                    <a:pt x="46" y="37"/>
                  </a:cubicBezTo>
                  <a:cubicBezTo>
                    <a:pt x="39" y="31"/>
                    <a:pt x="29" y="22"/>
                    <a:pt x="21" y="20"/>
                  </a:cubicBezTo>
                  <a:cubicBezTo>
                    <a:pt x="13" y="19"/>
                    <a:pt x="5" y="15"/>
                    <a:pt x="2" y="13"/>
                  </a:cubicBezTo>
                  <a:cubicBezTo>
                    <a:pt x="0" y="11"/>
                    <a:pt x="0" y="0"/>
                    <a:pt x="0" y="0"/>
                  </a:cubicBezTo>
                  <a:lnTo>
                    <a:pt x="120" y="3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6">
              <a:extLst>
                <a:ext uri="{FF2B5EF4-FFF2-40B4-BE49-F238E27FC236}">
                  <a16:creationId xmlns:a16="http://schemas.microsoft.com/office/drawing/2014/main" id="{BB254F3C-C272-454A-9785-CA2303DA041A}"/>
                </a:ext>
              </a:extLst>
            </p:cNvPr>
            <p:cNvSpPr>
              <a:spLocks/>
            </p:cNvSpPr>
            <p:nvPr/>
          </p:nvSpPr>
          <p:spPr bwMode="auto">
            <a:xfrm>
              <a:off x="2906" y="3718"/>
              <a:ext cx="223" cy="153"/>
            </a:xfrm>
            <a:custGeom>
              <a:avLst/>
              <a:gdLst>
                <a:gd name="T0" fmla="*/ 8 w 125"/>
                <a:gd name="T1" fmla="*/ 0 h 86"/>
                <a:gd name="T2" fmla="*/ 6 w 125"/>
                <a:gd name="T3" fmla="*/ 2 h 86"/>
                <a:gd name="T4" fmla="*/ 3 w 125"/>
                <a:gd name="T5" fmla="*/ 18 h 86"/>
                <a:gd name="T6" fmla="*/ 1 w 125"/>
                <a:gd name="T7" fmla="*/ 44 h 86"/>
                <a:gd name="T8" fmla="*/ 23 w 125"/>
                <a:gd name="T9" fmla="*/ 56 h 86"/>
                <a:gd name="T10" fmla="*/ 49 w 125"/>
                <a:gd name="T11" fmla="*/ 72 h 86"/>
                <a:gd name="T12" fmla="*/ 87 w 125"/>
                <a:gd name="T13" fmla="*/ 86 h 86"/>
                <a:gd name="T14" fmla="*/ 120 w 125"/>
                <a:gd name="T15" fmla="*/ 75 h 86"/>
                <a:gd name="T16" fmla="*/ 100 w 125"/>
                <a:gd name="T17" fmla="*/ 53 h 86"/>
                <a:gd name="T18" fmla="*/ 78 w 125"/>
                <a:gd name="T19" fmla="*/ 40 h 86"/>
                <a:gd name="T20" fmla="*/ 47 w 125"/>
                <a:gd name="T21" fmla="*/ 7 h 86"/>
                <a:gd name="T22" fmla="*/ 44 w 125"/>
                <a:gd name="T23" fmla="*/ 2 h 86"/>
                <a:gd name="T24" fmla="*/ 40 w 125"/>
                <a:gd name="T25" fmla="*/ 2 h 86"/>
                <a:gd name="T26" fmla="*/ 30 w 125"/>
                <a:gd name="T27" fmla="*/ 5 h 86"/>
                <a:gd name="T28" fmla="*/ 23 w 125"/>
                <a:gd name="T29" fmla="*/ 11 h 86"/>
                <a:gd name="T30" fmla="*/ 24 w 125"/>
                <a:gd name="T31" fmla="*/ 15 h 86"/>
                <a:gd name="T32" fmla="*/ 24 w 125"/>
                <a:gd name="T33" fmla="*/ 17 h 86"/>
                <a:gd name="T34" fmla="*/ 22 w 125"/>
                <a:gd name="T35" fmla="*/ 17 h 86"/>
                <a:gd name="T36" fmla="*/ 16 w 125"/>
                <a:gd name="T37" fmla="*/ 10 h 86"/>
                <a:gd name="T38" fmla="*/ 13 w 125"/>
                <a:gd name="T39" fmla="*/ 7 h 86"/>
                <a:gd name="T40" fmla="*/ 9 w 125"/>
                <a:gd name="T41" fmla="*/ 4 h 86"/>
                <a:gd name="T42" fmla="*/ 8 w 125"/>
                <a:gd name="T4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86">
                  <a:moveTo>
                    <a:pt x="8" y="0"/>
                  </a:moveTo>
                  <a:cubicBezTo>
                    <a:pt x="8" y="0"/>
                    <a:pt x="6" y="0"/>
                    <a:pt x="6" y="2"/>
                  </a:cubicBezTo>
                  <a:cubicBezTo>
                    <a:pt x="5" y="5"/>
                    <a:pt x="4" y="14"/>
                    <a:pt x="3" y="18"/>
                  </a:cubicBezTo>
                  <a:cubicBezTo>
                    <a:pt x="2" y="25"/>
                    <a:pt x="0" y="38"/>
                    <a:pt x="1" y="44"/>
                  </a:cubicBezTo>
                  <a:cubicBezTo>
                    <a:pt x="2" y="49"/>
                    <a:pt x="15" y="53"/>
                    <a:pt x="23" y="56"/>
                  </a:cubicBezTo>
                  <a:cubicBezTo>
                    <a:pt x="31" y="59"/>
                    <a:pt x="40" y="65"/>
                    <a:pt x="49" y="72"/>
                  </a:cubicBezTo>
                  <a:cubicBezTo>
                    <a:pt x="57" y="79"/>
                    <a:pt x="75" y="86"/>
                    <a:pt x="87" y="86"/>
                  </a:cubicBezTo>
                  <a:cubicBezTo>
                    <a:pt x="101" y="86"/>
                    <a:pt x="117" y="82"/>
                    <a:pt x="120" y="75"/>
                  </a:cubicBezTo>
                  <a:cubicBezTo>
                    <a:pt x="125" y="67"/>
                    <a:pt x="121" y="63"/>
                    <a:pt x="100" y="53"/>
                  </a:cubicBezTo>
                  <a:cubicBezTo>
                    <a:pt x="97" y="51"/>
                    <a:pt x="83" y="43"/>
                    <a:pt x="78" y="40"/>
                  </a:cubicBezTo>
                  <a:cubicBezTo>
                    <a:pt x="65" y="32"/>
                    <a:pt x="53" y="21"/>
                    <a:pt x="47" y="7"/>
                  </a:cubicBezTo>
                  <a:cubicBezTo>
                    <a:pt x="46" y="5"/>
                    <a:pt x="45" y="3"/>
                    <a:pt x="44" y="2"/>
                  </a:cubicBezTo>
                  <a:cubicBezTo>
                    <a:pt x="43" y="2"/>
                    <a:pt x="41" y="2"/>
                    <a:pt x="40" y="2"/>
                  </a:cubicBezTo>
                  <a:cubicBezTo>
                    <a:pt x="36" y="2"/>
                    <a:pt x="33" y="3"/>
                    <a:pt x="30" y="5"/>
                  </a:cubicBezTo>
                  <a:cubicBezTo>
                    <a:pt x="27" y="6"/>
                    <a:pt x="23" y="8"/>
                    <a:pt x="23" y="11"/>
                  </a:cubicBezTo>
                  <a:cubicBezTo>
                    <a:pt x="23" y="13"/>
                    <a:pt x="24" y="14"/>
                    <a:pt x="24" y="15"/>
                  </a:cubicBezTo>
                  <a:cubicBezTo>
                    <a:pt x="24" y="16"/>
                    <a:pt x="24" y="17"/>
                    <a:pt x="24" y="17"/>
                  </a:cubicBezTo>
                  <a:cubicBezTo>
                    <a:pt x="23" y="18"/>
                    <a:pt x="22" y="17"/>
                    <a:pt x="22" y="17"/>
                  </a:cubicBezTo>
                  <a:cubicBezTo>
                    <a:pt x="20" y="15"/>
                    <a:pt x="18" y="12"/>
                    <a:pt x="16" y="10"/>
                  </a:cubicBezTo>
                  <a:cubicBezTo>
                    <a:pt x="15" y="9"/>
                    <a:pt x="14" y="8"/>
                    <a:pt x="13" y="7"/>
                  </a:cubicBezTo>
                  <a:cubicBezTo>
                    <a:pt x="12" y="6"/>
                    <a:pt x="10" y="5"/>
                    <a:pt x="9" y="4"/>
                  </a:cubicBezTo>
                  <a:cubicBezTo>
                    <a:pt x="8" y="3"/>
                    <a:pt x="8" y="1"/>
                    <a:pt x="8"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7">
              <a:extLst>
                <a:ext uri="{FF2B5EF4-FFF2-40B4-BE49-F238E27FC236}">
                  <a16:creationId xmlns:a16="http://schemas.microsoft.com/office/drawing/2014/main" id="{F291E5A3-1136-4D29-BF22-8FA7AFA022B6}"/>
                </a:ext>
              </a:extLst>
            </p:cNvPr>
            <p:cNvSpPr>
              <a:spLocks/>
            </p:cNvSpPr>
            <p:nvPr/>
          </p:nvSpPr>
          <p:spPr bwMode="auto">
            <a:xfrm>
              <a:off x="2972" y="3809"/>
              <a:ext cx="157" cy="64"/>
            </a:xfrm>
            <a:custGeom>
              <a:avLst/>
              <a:gdLst>
                <a:gd name="T0" fmla="*/ 12 w 88"/>
                <a:gd name="T1" fmla="*/ 21 h 36"/>
                <a:gd name="T2" fmla="*/ 0 w 88"/>
                <a:gd name="T3" fmla="*/ 13 h 36"/>
                <a:gd name="T4" fmla="*/ 0 w 88"/>
                <a:gd name="T5" fmla="*/ 13 h 36"/>
                <a:gd name="T6" fmla="*/ 35 w 88"/>
                <a:gd name="T7" fmla="*/ 21 h 36"/>
                <a:gd name="T8" fmla="*/ 38 w 88"/>
                <a:gd name="T9" fmla="*/ 9 h 36"/>
                <a:gd name="T10" fmla="*/ 59 w 88"/>
                <a:gd name="T11" fmla="*/ 0 h 36"/>
                <a:gd name="T12" fmla="*/ 63 w 88"/>
                <a:gd name="T13" fmla="*/ 2 h 36"/>
                <a:gd name="T14" fmla="*/ 83 w 88"/>
                <a:gd name="T15" fmla="*/ 24 h 36"/>
                <a:gd name="T16" fmla="*/ 50 w 88"/>
                <a:gd name="T17" fmla="*/ 36 h 36"/>
                <a:gd name="T18" fmla="*/ 12 w 88"/>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6">
                  <a:moveTo>
                    <a:pt x="12" y="21"/>
                  </a:moveTo>
                  <a:cubicBezTo>
                    <a:pt x="8" y="18"/>
                    <a:pt x="4" y="15"/>
                    <a:pt x="0" y="13"/>
                  </a:cubicBezTo>
                  <a:cubicBezTo>
                    <a:pt x="0" y="13"/>
                    <a:pt x="0" y="13"/>
                    <a:pt x="0" y="13"/>
                  </a:cubicBezTo>
                  <a:cubicBezTo>
                    <a:pt x="0" y="13"/>
                    <a:pt x="25" y="28"/>
                    <a:pt x="35" y="21"/>
                  </a:cubicBezTo>
                  <a:cubicBezTo>
                    <a:pt x="41" y="16"/>
                    <a:pt x="38" y="11"/>
                    <a:pt x="38" y="9"/>
                  </a:cubicBezTo>
                  <a:cubicBezTo>
                    <a:pt x="38" y="8"/>
                    <a:pt x="53" y="1"/>
                    <a:pt x="59" y="0"/>
                  </a:cubicBezTo>
                  <a:cubicBezTo>
                    <a:pt x="61" y="1"/>
                    <a:pt x="63" y="2"/>
                    <a:pt x="63" y="2"/>
                  </a:cubicBezTo>
                  <a:cubicBezTo>
                    <a:pt x="84" y="12"/>
                    <a:pt x="88" y="16"/>
                    <a:pt x="83" y="24"/>
                  </a:cubicBezTo>
                  <a:cubicBezTo>
                    <a:pt x="80" y="31"/>
                    <a:pt x="68" y="36"/>
                    <a:pt x="50" y="36"/>
                  </a:cubicBezTo>
                  <a:cubicBezTo>
                    <a:pt x="38" y="36"/>
                    <a:pt x="20" y="28"/>
                    <a:pt x="12" y="2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8">
              <a:extLst>
                <a:ext uri="{FF2B5EF4-FFF2-40B4-BE49-F238E27FC236}">
                  <a16:creationId xmlns:a16="http://schemas.microsoft.com/office/drawing/2014/main" id="{7BB9780E-E2F9-4279-AF6D-C39FB5287D8F}"/>
                </a:ext>
              </a:extLst>
            </p:cNvPr>
            <p:cNvSpPr>
              <a:spLocks/>
            </p:cNvSpPr>
            <p:nvPr/>
          </p:nvSpPr>
          <p:spPr bwMode="auto">
            <a:xfrm>
              <a:off x="2915" y="3718"/>
              <a:ext cx="145" cy="114"/>
            </a:xfrm>
            <a:custGeom>
              <a:avLst/>
              <a:gdLst>
                <a:gd name="T0" fmla="*/ 68 w 81"/>
                <a:gd name="T1" fmla="*/ 56 h 64"/>
                <a:gd name="T2" fmla="*/ 72 w 81"/>
                <a:gd name="T3" fmla="*/ 64 h 64"/>
                <a:gd name="T4" fmla="*/ 33 w 81"/>
                <a:gd name="T5" fmla="*/ 41 h 64"/>
                <a:gd name="T6" fmla="*/ 6 w 81"/>
                <a:gd name="T7" fmla="*/ 14 h 64"/>
                <a:gd name="T8" fmla="*/ 0 w 81"/>
                <a:gd name="T9" fmla="*/ 9 h 64"/>
                <a:gd name="T10" fmla="*/ 1 w 81"/>
                <a:gd name="T11" fmla="*/ 2 h 64"/>
                <a:gd name="T12" fmla="*/ 3 w 81"/>
                <a:gd name="T13" fmla="*/ 0 h 64"/>
                <a:gd name="T14" fmla="*/ 4 w 81"/>
                <a:gd name="T15" fmla="*/ 4 h 64"/>
                <a:gd name="T16" fmla="*/ 8 w 81"/>
                <a:gd name="T17" fmla="*/ 7 h 64"/>
                <a:gd name="T18" fmla="*/ 11 w 81"/>
                <a:gd name="T19" fmla="*/ 10 h 64"/>
                <a:gd name="T20" fmla="*/ 17 w 81"/>
                <a:gd name="T21" fmla="*/ 17 h 64"/>
                <a:gd name="T22" fmla="*/ 68 w 81"/>
                <a:gd name="T23"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4">
                  <a:moveTo>
                    <a:pt x="68" y="56"/>
                  </a:moveTo>
                  <a:cubicBezTo>
                    <a:pt x="81" y="61"/>
                    <a:pt x="75" y="63"/>
                    <a:pt x="72" y="64"/>
                  </a:cubicBezTo>
                  <a:cubicBezTo>
                    <a:pt x="68" y="64"/>
                    <a:pt x="46" y="51"/>
                    <a:pt x="33" y="41"/>
                  </a:cubicBezTo>
                  <a:cubicBezTo>
                    <a:pt x="19" y="30"/>
                    <a:pt x="11" y="18"/>
                    <a:pt x="6" y="14"/>
                  </a:cubicBezTo>
                  <a:cubicBezTo>
                    <a:pt x="4" y="13"/>
                    <a:pt x="2" y="11"/>
                    <a:pt x="0" y="9"/>
                  </a:cubicBezTo>
                  <a:cubicBezTo>
                    <a:pt x="0" y="6"/>
                    <a:pt x="0" y="4"/>
                    <a:pt x="1" y="2"/>
                  </a:cubicBezTo>
                  <a:cubicBezTo>
                    <a:pt x="1" y="0"/>
                    <a:pt x="3" y="0"/>
                    <a:pt x="3" y="0"/>
                  </a:cubicBezTo>
                  <a:cubicBezTo>
                    <a:pt x="3" y="1"/>
                    <a:pt x="3" y="3"/>
                    <a:pt x="4" y="4"/>
                  </a:cubicBezTo>
                  <a:cubicBezTo>
                    <a:pt x="5" y="5"/>
                    <a:pt x="7" y="6"/>
                    <a:pt x="8" y="7"/>
                  </a:cubicBezTo>
                  <a:cubicBezTo>
                    <a:pt x="9" y="8"/>
                    <a:pt x="10" y="9"/>
                    <a:pt x="11" y="10"/>
                  </a:cubicBezTo>
                  <a:cubicBezTo>
                    <a:pt x="13" y="12"/>
                    <a:pt x="15" y="15"/>
                    <a:pt x="17" y="17"/>
                  </a:cubicBezTo>
                  <a:cubicBezTo>
                    <a:pt x="28" y="31"/>
                    <a:pt x="55" y="50"/>
                    <a:pt x="68" y="5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9">
              <a:extLst>
                <a:ext uri="{FF2B5EF4-FFF2-40B4-BE49-F238E27FC236}">
                  <a16:creationId xmlns:a16="http://schemas.microsoft.com/office/drawing/2014/main" id="{23FB8447-1226-4932-A4D1-3F337D6346AC}"/>
                </a:ext>
              </a:extLst>
            </p:cNvPr>
            <p:cNvSpPr>
              <a:spLocks/>
            </p:cNvSpPr>
            <p:nvPr/>
          </p:nvSpPr>
          <p:spPr bwMode="auto">
            <a:xfrm>
              <a:off x="3038" y="3805"/>
              <a:ext cx="47" cy="23"/>
            </a:xfrm>
            <a:custGeom>
              <a:avLst/>
              <a:gdLst>
                <a:gd name="T0" fmla="*/ 2 w 26"/>
                <a:gd name="T1" fmla="*/ 13 h 13"/>
                <a:gd name="T2" fmla="*/ 1 w 26"/>
                <a:gd name="T3" fmla="*/ 12 h 13"/>
                <a:gd name="T4" fmla="*/ 1 w 26"/>
                <a:gd name="T5" fmla="*/ 11 h 13"/>
                <a:gd name="T6" fmla="*/ 25 w 26"/>
                <a:gd name="T7" fmla="*/ 1 h 13"/>
                <a:gd name="T8" fmla="*/ 26 w 26"/>
                <a:gd name="T9" fmla="*/ 3 h 13"/>
                <a:gd name="T10" fmla="*/ 24 w 26"/>
                <a:gd name="T11" fmla="*/ 4 h 13"/>
                <a:gd name="T12" fmla="*/ 3 w 26"/>
                <a:gd name="T13" fmla="*/ 12 h 13"/>
                <a:gd name="T14" fmla="*/ 2 w 2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3">
                  <a:moveTo>
                    <a:pt x="2" y="13"/>
                  </a:moveTo>
                  <a:cubicBezTo>
                    <a:pt x="1" y="12"/>
                    <a:pt x="1" y="12"/>
                    <a:pt x="1" y="12"/>
                  </a:cubicBezTo>
                  <a:cubicBezTo>
                    <a:pt x="1" y="12"/>
                    <a:pt x="0" y="11"/>
                    <a:pt x="1" y="11"/>
                  </a:cubicBezTo>
                  <a:cubicBezTo>
                    <a:pt x="5" y="6"/>
                    <a:pt x="15" y="0"/>
                    <a:pt x="25" y="1"/>
                  </a:cubicBezTo>
                  <a:cubicBezTo>
                    <a:pt x="25" y="1"/>
                    <a:pt x="26" y="2"/>
                    <a:pt x="26" y="3"/>
                  </a:cubicBezTo>
                  <a:cubicBezTo>
                    <a:pt x="26" y="3"/>
                    <a:pt x="25" y="4"/>
                    <a:pt x="24" y="4"/>
                  </a:cubicBezTo>
                  <a:cubicBezTo>
                    <a:pt x="15" y="3"/>
                    <a:pt x="6" y="9"/>
                    <a:pt x="3" y="12"/>
                  </a:cubicBezTo>
                  <a:cubicBezTo>
                    <a:pt x="3" y="13"/>
                    <a:pt x="2" y="13"/>
                    <a:pt x="2" y="1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70">
              <a:extLst>
                <a:ext uri="{FF2B5EF4-FFF2-40B4-BE49-F238E27FC236}">
                  <a16:creationId xmlns:a16="http://schemas.microsoft.com/office/drawing/2014/main" id="{FA1BA177-F399-41F9-A835-50D93DED481E}"/>
                </a:ext>
              </a:extLst>
            </p:cNvPr>
            <p:cNvSpPr>
              <a:spLocks/>
            </p:cNvSpPr>
            <p:nvPr/>
          </p:nvSpPr>
          <p:spPr bwMode="auto">
            <a:xfrm>
              <a:off x="3019" y="3792"/>
              <a:ext cx="44" cy="24"/>
            </a:xfrm>
            <a:custGeom>
              <a:avLst/>
              <a:gdLst>
                <a:gd name="T0" fmla="*/ 2 w 25"/>
                <a:gd name="T1" fmla="*/ 13 h 13"/>
                <a:gd name="T2" fmla="*/ 1 w 25"/>
                <a:gd name="T3" fmla="*/ 13 h 13"/>
                <a:gd name="T4" fmla="*/ 1 w 25"/>
                <a:gd name="T5" fmla="*/ 11 h 13"/>
                <a:gd name="T6" fmla="*/ 24 w 25"/>
                <a:gd name="T7" fmla="*/ 1 h 13"/>
                <a:gd name="T8" fmla="*/ 25 w 25"/>
                <a:gd name="T9" fmla="*/ 3 h 13"/>
                <a:gd name="T10" fmla="*/ 24 w 25"/>
                <a:gd name="T11" fmla="*/ 4 h 13"/>
                <a:gd name="T12" fmla="*/ 3 w 25"/>
                <a:gd name="T13" fmla="*/ 12 h 13"/>
                <a:gd name="T14" fmla="*/ 2 w 2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3">
                  <a:moveTo>
                    <a:pt x="2" y="13"/>
                  </a:moveTo>
                  <a:cubicBezTo>
                    <a:pt x="1" y="13"/>
                    <a:pt x="1" y="13"/>
                    <a:pt x="1" y="13"/>
                  </a:cubicBezTo>
                  <a:cubicBezTo>
                    <a:pt x="0" y="12"/>
                    <a:pt x="0" y="11"/>
                    <a:pt x="1" y="11"/>
                  </a:cubicBezTo>
                  <a:cubicBezTo>
                    <a:pt x="4" y="6"/>
                    <a:pt x="15" y="0"/>
                    <a:pt x="24" y="1"/>
                  </a:cubicBezTo>
                  <a:cubicBezTo>
                    <a:pt x="25" y="1"/>
                    <a:pt x="25" y="2"/>
                    <a:pt x="25" y="3"/>
                  </a:cubicBezTo>
                  <a:cubicBezTo>
                    <a:pt x="25" y="4"/>
                    <a:pt x="25" y="4"/>
                    <a:pt x="24" y="4"/>
                  </a:cubicBezTo>
                  <a:cubicBezTo>
                    <a:pt x="15" y="3"/>
                    <a:pt x="5" y="9"/>
                    <a:pt x="3" y="12"/>
                  </a:cubicBezTo>
                  <a:cubicBezTo>
                    <a:pt x="2" y="13"/>
                    <a:pt x="2" y="13"/>
                    <a:pt x="2" y="1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71">
              <a:extLst>
                <a:ext uri="{FF2B5EF4-FFF2-40B4-BE49-F238E27FC236}">
                  <a16:creationId xmlns:a16="http://schemas.microsoft.com/office/drawing/2014/main" id="{76FB2A44-5679-4946-9D78-6A2848BB3AFD}"/>
                </a:ext>
              </a:extLst>
            </p:cNvPr>
            <p:cNvSpPr>
              <a:spLocks/>
            </p:cNvSpPr>
            <p:nvPr/>
          </p:nvSpPr>
          <p:spPr bwMode="auto">
            <a:xfrm>
              <a:off x="2999" y="3782"/>
              <a:ext cx="45" cy="21"/>
            </a:xfrm>
            <a:custGeom>
              <a:avLst/>
              <a:gdLst>
                <a:gd name="T0" fmla="*/ 1 w 25"/>
                <a:gd name="T1" fmla="*/ 12 h 12"/>
                <a:gd name="T2" fmla="*/ 1 w 25"/>
                <a:gd name="T3" fmla="*/ 12 h 12"/>
                <a:gd name="T4" fmla="*/ 0 w 25"/>
                <a:gd name="T5" fmla="*/ 10 h 12"/>
                <a:gd name="T6" fmla="*/ 24 w 25"/>
                <a:gd name="T7" fmla="*/ 1 h 12"/>
                <a:gd name="T8" fmla="*/ 25 w 25"/>
                <a:gd name="T9" fmla="*/ 2 h 12"/>
                <a:gd name="T10" fmla="*/ 24 w 25"/>
                <a:gd name="T11" fmla="*/ 3 h 12"/>
                <a:gd name="T12" fmla="*/ 2 w 25"/>
                <a:gd name="T13" fmla="*/ 12 h 12"/>
                <a:gd name="T14" fmla="*/ 1 w 25"/>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2">
                  <a:moveTo>
                    <a:pt x="1" y="12"/>
                  </a:moveTo>
                  <a:cubicBezTo>
                    <a:pt x="1" y="12"/>
                    <a:pt x="1" y="12"/>
                    <a:pt x="1" y="12"/>
                  </a:cubicBezTo>
                  <a:cubicBezTo>
                    <a:pt x="0" y="12"/>
                    <a:pt x="0" y="11"/>
                    <a:pt x="0" y="10"/>
                  </a:cubicBezTo>
                  <a:cubicBezTo>
                    <a:pt x="4" y="6"/>
                    <a:pt x="15" y="0"/>
                    <a:pt x="24" y="1"/>
                  </a:cubicBezTo>
                  <a:cubicBezTo>
                    <a:pt x="25" y="1"/>
                    <a:pt x="25" y="2"/>
                    <a:pt x="25" y="2"/>
                  </a:cubicBezTo>
                  <a:cubicBezTo>
                    <a:pt x="25" y="3"/>
                    <a:pt x="24" y="3"/>
                    <a:pt x="24" y="3"/>
                  </a:cubicBezTo>
                  <a:cubicBezTo>
                    <a:pt x="15" y="2"/>
                    <a:pt x="5" y="8"/>
                    <a:pt x="2" y="12"/>
                  </a:cubicBezTo>
                  <a:cubicBezTo>
                    <a:pt x="2" y="12"/>
                    <a:pt x="2" y="12"/>
                    <a:pt x="1" y="1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2">
              <a:extLst>
                <a:ext uri="{FF2B5EF4-FFF2-40B4-BE49-F238E27FC236}">
                  <a16:creationId xmlns:a16="http://schemas.microsoft.com/office/drawing/2014/main" id="{81C45821-E69F-47B1-8BB9-590DC0210644}"/>
                </a:ext>
              </a:extLst>
            </p:cNvPr>
            <p:cNvSpPr>
              <a:spLocks/>
            </p:cNvSpPr>
            <p:nvPr/>
          </p:nvSpPr>
          <p:spPr bwMode="auto">
            <a:xfrm>
              <a:off x="2979" y="3767"/>
              <a:ext cx="47" cy="24"/>
            </a:xfrm>
            <a:custGeom>
              <a:avLst/>
              <a:gdLst>
                <a:gd name="T0" fmla="*/ 2 w 26"/>
                <a:gd name="T1" fmla="*/ 13 h 13"/>
                <a:gd name="T2" fmla="*/ 1 w 26"/>
                <a:gd name="T3" fmla="*/ 12 h 13"/>
                <a:gd name="T4" fmla="*/ 1 w 26"/>
                <a:gd name="T5" fmla="*/ 11 h 13"/>
                <a:gd name="T6" fmla="*/ 25 w 26"/>
                <a:gd name="T7" fmla="*/ 1 h 13"/>
                <a:gd name="T8" fmla="*/ 26 w 26"/>
                <a:gd name="T9" fmla="*/ 3 h 13"/>
                <a:gd name="T10" fmla="*/ 24 w 26"/>
                <a:gd name="T11" fmla="*/ 4 h 13"/>
                <a:gd name="T12" fmla="*/ 3 w 26"/>
                <a:gd name="T13" fmla="*/ 12 h 13"/>
                <a:gd name="T14" fmla="*/ 2 w 26"/>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3">
                  <a:moveTo>
                    <a:pt x="2" y="13"/>
                  </a:moveTo>
                  <a:cubicBezTo>
                    <a:pt x="1" y="12"/>
                    <a:pt x="1" y="12"/>
                    <a:pt x="1" y="12"/>
                  </a:cubicBezTo>
                  <a:cubicBezTo>
                    <a:pt x="1" y="12"/>
                    <a:pt x="0" y="11"/>
                    <a:pt x="1" y="11"/>
                  </a:cubicBezTo>
                  <a:cubicBezTo>
                    <a:pt x="5" y="6"/>
                    <a:pt x="15" y="0"/>
                    <a:pt x="25" y="1"/>
                  </a:cubicBezTo>
                  <a:cubicBezTo>
                    <a:pt x="25" y="1"/>
                    <a:pt x="26" y="2"/>
                    <a:pt x="26" y="3"/>
                  </a:cubicBezTo>
                  <a:cubicBezTo>
                    <a:pt x="26" y="3"/>
                    <a:pt x="25" y="4"/>
                    <a:pt x="24" y="4"/>
                  </a:cubicBezTo>
                  <a:cubicBezTo>
                    <a:pt x="15" y="3"/>
                    <a:pt x="6" y="9"/>
                    <a:pt x="3" y="12"/>
                  </a:cubicBezTo>
                  <a:cubicBezTo>
                    <a:pt x="3" y="13"/>
                    <a:pt x="2" y="13"/>
                    <a:pt x="2" y="13"/>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3">
              <a:extLst>
                <a:ext uri="{FF2B5EF4-FFF2-40B4-BE49-F238E27FC236}">
                  <a16:creationId xmlns:a16="http://schemas.microsoft.com/office/drawing/2014/main" id="{17555C98-9F74-4F7D-9905-85B8F21EB360}"/>
                </a:ext>
              </a:extLst>
            </p:cNvPr>
            <p:cNvSpPr>
              <a:spLocks/>
            </p:cNvSpPr>
            <p:nvPr/>
          </p:nvSpPr>
          <p:spPr bwMode="auto">
            <a:xfrm>
              <a:off x="2962" y="3755"/>
              <a:ext cx="50" cy="21"/>
            </a:xfrm>
            <a:custGeom>
              <a:avLst/>
              <a:gdLst>
                <a:gd name="T0" fmla="*/ 2 w 28"/>
                <a:gd name="T1" fmla="*/ 12 h 12"/>
                <a:gd name="T2" fmla="*/ 1 w 28"/>
                <a:gd name="T3" fmla="*/ 12 h 12"/>
                <a:gd name="T4" fmla="*/ 1 w 28"/>
                <a:gd name="T5" fmla="*/ 10 h 12"/>
                <a:gd name="T6" fmla="*/ 27 w 28"/>
                <a:gd name="T7" fmla="*/ 1 h 12"/>
                <a:gd name="T8" fmla="*/ 28 w 28"/>
                <a:gd name="T9" fmla="*/ 2 h 12"/>
                <a:gd name="T10" fmla="*/ 26 w 28"/>
                <a:gd name="T11" fmla="*/ 3 h 12"/>
                <a:gd name="T12" fmla="*/ 3 w 28"/>
                <a:gd name="T13" fmla="*/ 12 h 12"/>
                <a:gd name="T14" fmla="*/ 2 w 28"/>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2">
                  <a:moveTo>
                    <a:pt x="2" y="12"/>
                  </a:moveTo>
                  <a:cubicBezTo>
                    <a:pt x="1" y="12"/>
                    <a:pt x="1" y="12"/>
                    <a:pt x="1" y="12"/>
                  </a:cubicBezTo>
                  <a:cubicBezTo>
                    <a:pt x="0" y="12"/>
                    <a:pt x="0" y="11"/>
                    <a:pt x="1" y="10"/>
                  </a:cubicBezTo>
                  <a:cubicBezTo>
                    <a:pt x="6" y="4"/>
                    <a:pt x="17" y="0"/>
                    <a:pt x="27" y="1"/>
                  </a:cubicBezTo>
                  <a:cubicBezTo>
                    <a:pt x="27" y="1"/>
                    <a:pt x="28" y="1"/>
                    <a:pt x="28" y="2"/>
                  </a:cubicBezTo>
                  <a:cubicBezTo>
                    <a:pt x="28" y="3"/>
                    <a:pt x="27" y="3"/>
                    <a:pt x="26" y="3"/>
                  </a:cubicBezTo>
                  <a:cubicBezTo>
                    <a:pt x="18" y="2"/>
                    <a:pt x="7" y="6"/>
                    <a:pt x="3" y="12"/>
                  </a:cubicBezTo>
                  <a:cubicBezTo>
                    <a:pt x="2" y="12"/>
                    <a:pt x="2" y="12"/>
                    <a:pt x="2" y="1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4">
              <a:extLst>
                <a:ext uri="{FF2B5EF4-FFF2-40B4-BE49-F238E27FC236}">
                  <a16:creationId xmlns:a16="http://schemas.microsoft.com/office/drawing/2014/main" id="{8B2F5799-E5FD-4CAB-BFCF-D97C7E6021AC}"/>
                </a:ext>
              </a:extLst>
            </p:cNvPr>
            <p:cNvSpPr>
              <a:spLocks/>
            </p:cNvSpPr>
            <p:nvPr/>
          </p:nvSpPr>
          <p:spPr bwMode="auto">
            <a:xfrm>
              <a:off x="2689" y="3568"/>
              <a:ext cx="101" cy="365"/>
            </a:xfrm>
            <a:custGeom>
              <a:avLst/>
              <a:gdLst>
                <a:gd name="T0" fmla="*/ 57 w 57"/>
                <a:gd name="T1" fmla="*/ 1 h 205"/>
                <a:gd name="T2" fmla="*/ 0 w 57"/>
                <a:gd name="T3" fmla="*/ 0 h 205"/>
                <a:gd name="T4" fmla="*/ 8 w 57"/>
                <a:gd name="T5" fmla="*/ 117 h 205"/>
                <a:gd name="T6" fmla="*/ 10 w 57"/>
                <a:gd name="T7" fmla="*/ 184 h 205"/>
                <a:gd name="T8" fmla="*/ 40 w 57"/>
                <a:gd name="T9" fmla="*/ 190 h 205"/>
                <a:gd name="T10" fmla="*/ 39 w 57"/>
                <a:gd name="T11" fmla="*/ 118 h 205"/>
                <a:gd name="T12" fmla="*/ 55 w 57"/>
                <a:gd name="T13" fmla="*/ 14 h 205"/>
                <a:gd name="T14" fmla="*/ 57 w 57"/>
                <a:gd name="T15" fmla="*/ 1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5">
                  <a:moveTo>
                    <a:pt x="57" y="1"/>
                  </a:moveTo>
                  <a:cubicBezTo>
                    <a:pt x="0" y="0"/>
                    <a:pt x="0" y="0"/>
                    <a:pt x="0" y="0"/>
                  </a:cubicBezTo>
                  <a:cubicBezTo>
                    <a:pt x="1" y="39"/>
                    <a:pt x="7" y="81"/>
                    <a:pt x="8" y="117"/>
                  </a:cubicBezTo>
                  <a:cubicBezTo>
                    <a:pt x="8" y="124"/>
                    <a:pt x="7" y="170"/>
                    <a:pt x="10" y="184"/>
                  </a:cubicBezTo>
                  <a:cubicBezTo>
                    <a:pt x="14" y="205"/>
                    <a:pt x="39" y="202"/>
                    <a:pt x="40" y="190"/>
                  </a:cubicBezTo>
                  <a:cubicBezTo>
                    <a:pt x="41" y="177"/>
                    <a:pt x="39" y="124"/>
                    <a:pt x="39" y="118"/>
                  </a:cubicBezTo>
                  <a:cubicBezTo>
                    <a:pt x="38" y="95"/>
                    <a:pt x="49" y="56"/>
                    <a:pt x="55" y="14"/>
                  </a:cubicBezTo>
                  <a:cubicBezTo>
                    <a:pt x="55" y="12"/>
                    <a:pt x="57" y="3"/>
                    <a:pt x="57" y="1"/>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5">
              <a:extLst>
                <a:ext uri="{FF2B5EF4-FFF2-40B4-BE49-F238E27FC236}">
                  <a16:creationId xmlns:a16="http://schemas.microsoft.com/office/drawing/2014/main" id="{E90AB883-05B5-48F7-8ACC-DFE56925AE45}"/>
                </a:ext>
              </a:extLst>
            </p:cNvPr>
            <p:cNvSpPr>
              <a:spLocks/>
            </p:cNvSpPr>
            <p:nvPr/>
          </p:nvSpPr>
          <p:spPr bwMode="auto">
            <a:xfrm>
              <a:off x="2685" y="3908"/>
              <a:ext cx="93" cy="84"/>
            </a:xfrm>
            <a:custGeom>
              <a:avLst/>
              <a:gdLst>
                <a:gd name="T0" fmla="*/ 52 w 52"/>
                <a:gd name="T1" fmla="*/ 8 h 47"/>
                <a:gd name="T2" fmla="*/ 47 w 52"/>
                <a:gd name="T3" fmla="*/ 36 h 47"/>
                <a:gd name="T4" fmla="*/ 27 w 52"/>
                <a:gd name="T5" fmla="*/ 45 h 47"/>
                <a:gd name="T6" fmla="*/ 4 w 52"/>
                <a:gd name="T7" fmla="*/ 29 h 47"/>
                <a:gd name="T8" fmla="*/ 1 w 52"/>
                <a:gd name="T9" fmla="*/ 0 h 47"/>
                <a:gd name="T10" fmla="*/ 52 w 52"/>
                <a:gd name="T11" fmla="*/ 8 h 47"/>
              </a:gdLst>
              <a:ahLst/>
              <a:cxnLst>
                <a:cxn ang="0">
                  <a:pos x="T0" y="T1"/>
                </a:cxn>
                <a:cxn ang="0">
                  <a:pos x="T2" y="T3"/>
                </a:cxn>
                <a:cxn ang="0">
                  <a:pos x="T4" y="T5"/>
                </a:cxn>
                <a:cxn ang="0">
                  <a:pos x="T6" y="T7"/>
                </a:cxn>
                <a:cxn ang="0">
                  <a:pos x="T8" y="T9"/>
                </a:cxn>
                <a:cxn ang="0">
                  <a:pos x="T10" y="T11"/>
                </a:cxn>
              </a:cxnLst>
              <a:rect l="0" t="0" r="r" b="b"/>
              <a:pathLst>
                <a:path w="52" h="47">
                  <a:moveTo>
                    <a:pt x="52" y="8"/>
                  </a:moveTo>
                  <a:cubicBezTo>
                    <a:pt x="52" y="20"/>
                    <a:pt x="51" y="28"/>
                    <a:pt x="47" y="36"/>
                  </a:cubicBezTo>
                  <a:cubicBezTo>
                    <a:pt x="44" y="43"/>
                    <a:pt x="36" y="47"/>
                    <a:pt x="27" y="45"/>
                  </a:cubicBezTo>
                  <a:cubicBezTo>
                    <a:pt x="19" y="44"/>
                    <a:pt x="7" y="39"/>
                    <a:pt x="4" y="29"/>
                  </a:cubicBezTo>
                  <a:cubicBezTo>
                    <a:pt x="1" y="19"/>
                    <a:pt x="0" y="11"/>
                    <a:pt x="1" y="0"/>
                  </a:cubicBezTo>
                  <a:lnTo>
                    <a:pt x="52" y="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6">
              <a:extLst>
                <a:ext uri="{FF2B5EF4-FFF2-40B4-BE49-F238E27FC236}">
                  <a16:creationId xmlns:a16="http://schemas.microsoft.com/office/drawing/2014/main" id="{FDCA20C9-6A2A-47E5-B303-5F26A7F53E46}"/>
                </a:ext>
              </a:extLst>
            </p:cNvPr>
            <p:cNvSpPr>
              <a:spLocks/>
            </p:cNvSpPr>
            <p:nvPr/>
          </p:nvSpPr>
          <p:spPr bwMode="auto">
            <a:xfrm>
              <a:off x="2687" y="3769"/>
              <a:ext cx="93" cy="223"/>
            </a:xfrm>
            <a:custGeom>
              <a:avLst/>
              <a:gdLst>
                <a:gd name="T0" fmla="*/ 9 w 52"/>
                <a:gd name="T1" fmla="*/ 0 h 125"/>
                <a:gd name="T2" fmla="*/ 5 w 52"/>
                <a:gd name="T3" fmla="*/ 34 h 125"/>
                <a:gd name="T4" fmla="*/ 0 w 52"/>
                <a:gd name="T5" fmla="*/ 74 h 125"/>
                <a:gd name="T6" fmla="*/ 8 w 52"/>
                <a:gd name="T7" fmla="*/ 108 h 125"/>
                <a:gd name="T8" fmla="*/ 45 w 52"/>
                <a:gd name="T9" fmla="*/ 110 h 125"/>
                <a:gd name="T10" fmla="*/ 49 w 52"/>
                <a:gd name="T11" fmla="*/ 68 h 125"/>
                <a:gd name="T12" fmla="*/ 44 w 52"/>
                <a:gd name="T13" fmla="*/ 26 h 125"/>
                <a:gd name="T14" fmla="*/ 40 w 52"/>
                <a:gd name="T15" fmla="*/ 0 h 125"/>
                <a:gd name="T16" fmla="*/ 40 w 52"/>
                <a:gd name="T17" fmla="*/ 6 h 125"/>
                <a:gd name="T18" fmla="*/ 38 w 52"/>
                <a:gd name="T19" fmla="*/ 14 h 125"/>
                <a:gd name="T20" fmla="*/ 37 w 52"/>
                <a:gd name="T21" fmla="*/ 10 h 125"/>
                <a:gd name="T22" fmla="*/ 36 w 52"/>
                <a:gd name="T23" fmla="*/ 6 h 125"/>
                <a:gd name="T24" fmla="*/ 32 w 52"/>
                <a:gd name="T25" fmla="*/ 5 h 125"/>
                <a:gd name="T26" fmla="*/ 22 w 52"/>
                <a:gd name="T27" fmla="*/ 4 h 125"/>
                <a:gd name="T28" fmla="*/ 17 w 52"/>
                <a:gd name="T29" fmla="*/ 4 h 125"/>
                <a:gd name="T30" fmla="*/ 12 w 52"/>
                <a:gd name="T31" fmla="*/ 5 h 125"/>
                <a:gd name="T32" fmla="*/ 11 w 52"/>
                <a:gd name="T33" fmla="*/ 7 h 125"/>
                <a:gd name="T34" fmla="*/ 11 w 52"/>
                <a:gd name="T35" fmla="*/ 9 h 125"/>
                <a:gd name="T36" fmla="*/ 11 w 52"/>
                <a:gd name="T37" fmla="*/ 13 h 125"/>
                <a:gd name="T38" fmla="*/ 10 w 52"/>
                <a:gd name="T39" fmla="*/ 14 h 125"/>
                <a:gd name="T40" fmla="*/ 9 w 52"/>
                <a:gd name="T41" fmla="*/ 13 h 125"/>
                <a:gd name="T42" fmla="*/ 9 w 52"/>
                <a:gd name="T43" fmla="*/ 7 h 125"/>
                <a:gd name="T44" fmla="*/ 9 w 52"/>
                <a:gd name="T45" fmla="*/ 3 h 125"/>
                <a:gd name="T46" fmla="*/ 9 w 52"/>
                <a:gd name="T4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125">
                  <a:moveTo>
                    <a:pt x="9" y="0"/>
                  </a:moveTo>
                  <a:cubicBezTo>
                    <a:pt x="5" y="1"/>
                    <a:pt x="6" y="17"/>
                    <a:pt x="5" y="34"/>
                  </a:cubicBezTo>
                  <a:cubicBezTo>
                    <a:pt x="5" y="52"/>
                    <a:pt x="1" y="60"/>
                    <a:pt x="0" y="74"/>
                  </a:cubicBezTo>
                  <a:cubicBezTo>
                    <a:pt x="0" y="91"/>
                    <a:pt x="1" y="98"/>
                    <a:pt x="8" y="108"/>
                  </a:cubicBezTo>
                  <a:cubicBezTo>
                    <a:pt x="15" y="117"/>
                    <a:pt x="36" y="125"/>
                    <a:pt x="45" y="110"/>
                  </a:cubicBezTo>
                  <a:cubicBezTo>
                    <a:pt x="52" y="97"/>
                    <a:pt x="51" y="84"/>
                    <a:pt x="49" y="68"/>
                  </a:cubicBezTo>
                  <a:cubicBezTo>
                    <a:pt x="46" y="51"/>
                    <a:pt x="44" y="39"/>
                    <a:pt x="44" y="26"/>
                  </a:cubicBezTo>
                  <a:cubicBezTo>
                    <a:pt x="43" y="13"/>
                    <a:pt x="43" y="1"/>
                    <a:pt x="40" y="0"/>
                  </a:cubicBezTo>
                  <a:cubicBezTo>
                    <a:pt x="40" y="2"/>
                    <a:pt x="40" y="4"/>
                    <a:pt x="40" y="6"/>
                  </a:cubicBezTo>
                  <a:cubicBezTo>
                    <a:pt x="40" y="7"/>
                    <a:pt x="40" y="14"/>
                    <a:pt x="38" y="14"/>
                  </a:cubicBezTo>
                  <a:cubicBezTo>
                    <a:pt x="38" y="13"/>
                    <a:pt x="38" y="11"/>
                    <a:pt x="37" y="10"/>
                  </a:cubicBezTo>
                  <a:cubicBezTo>
                    <a:pt x="37" y="8"/>
                    <a:pt x="37" y="7"/>
                    <a:pt x="36" y="6"/>
                  </a:cubicBezTo>
                  <a:cubicBezTo>
                    <a:pt x="35" y="5"/>
                    <a:pt x="34" y="5"/>
                    <a:pt x="32" y="5"/>
                  </a:cubicBezTo>
                  <a:cubicBezTo>
                    <a:pt x="29" y="4"/>
                    <a:pt x="25" y="4"/>
                    <a:pt x="22" y="4"/>
                  </a:cubicBezTo>
                  <a:cubicBezTo>
                    <a:pt x="20" y="4"/>
                    <a:pt x="18" y="4"/>
                    <a:pt x="17" y="4"/>
                  </a:cubicBezTo>
                  <a:cubicBezTo>
                    <a:pt x="15" y="4"/>
                    <a:pt x="14" y="5"/>
                    <a:pt x="12" y="5"/>
                  </a:cubicBezTo>
                  <a:cubicBezTo>
                    <a:pt x="12" y="6"/>
                    <a:pt x="11" y="6"/>
                    <a:pt x="11" y="7"/>
                  </a:cubicBezTo>
                  <a:cubicBezTo>
                    <a:pt x="11" y="8"/>
                    <a:pt x="11" y="8"/>
                    <a:pt x="11" y="9"/>
                  </a:cubicBezTo>
                  <a:cubicBezTo>
                    <a:pt x="11" y="10"/>
                    <a:pt x="11" y="11"/>
                    <a:pt x="11" y="13"/>
                  </a:cubicBezTo>
                  <a:cubicBezTo>
                    <a:pt x="11" y="13"/>
                    <a:pt x="10" y="14"/>
                    <a:pt x="10" y="14"/>
                  </a:cubicBezTo>
                  <a:cubicBezTo>
                    <a:pt x="9" y="14"/>
                    <a:pt x="9" y="13"/>
                    <a:pt x="9" y="13"/>
                  </a:cubicBezTo>
                  <a:cubicBezTo>
                    <a:pt x="9" y="11"/>
                    <a:pt x="9" y="9"/>
                    <a:pt x="9" y="7"/>
                  </a:cubicBezTo>
                  <a:cubicBezTo>
                    <a:pt x="9" y="6"/>
                    <a:pt x="9" y="4"/>
                    <a:pt x="9" y="3"/>
                  </a:cubicBezTo>
                  <a:cubicBezTo>
                    <a:pt x="9" y="2"/>
                    <a:pt x="9" y="1"/>
                    <a:pt x="9"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7">
              <a:extLst>
                <a:ext uri="{FF2B5EF4-FFF2-40B4-BE49-F238E27FC236}">
                  <a16:creationId xmlns:a16="http://schemas.microsoft.com/office/drawing/2014/main" id="{13D4F45E-FA2F-4A73-B110-C802F48761FE}"/>
                </a:ext>
              </a:extLst>
            </p:cNvPr>
            <p:cNvSpPr>
              <a:spLocks/>
            </p:cNvSpPr>
            <p:nvPr/>
          </p:nvSpPr>
          <p:spPr bwMode="auto">
            <a:xfrm>
              <a:off x="2687" y="3892"/>
              <a:ext cx="93" cy="100"/>
            </a:xfrm>
            <a:custGeom>
              <a:avLst/>
              <a:gdLst>
                <a:gd name="T0" fmla="*/ 0 w 52"/>
                <a:gd name="T1" fmla="*/ 1 h 56"/>
                <a:gd name="T2" fmla="*/ 4 w 52"/>
                <a:gd name="T3" fmla="*/ 21 h 56"/>
                <a:gd name="T4" fmla="*/ 11 w 52"/>
                <a:gd name="T5" fmla="*/ 11 h 56"/>
                <a:gd name="T6" fmla="*/ 38 w 52"/>
                <a:gd name="T7" fmla="*/ 12 h 56"/>
                <a:gd name="T8" fmla="*/ 45 w 52"/>
                <a:gd name="T9" fmla="*/ 21 h 56"/>
                <a:gd name="T10" fmla="*/ 49 w 52"/>
                <a:gd name="T11" fmla="*/ 0 h 56"/>
                <a:gd name="T12" fmla="*/ 45 w 52"/>
                <a:gd name="T13" fmla="*/ 41 h 56"/>
                <a:gd name="T14" fmla="*/ 8 w 52"/>
                <a:gd name="T15" fmla="*/ 39 h 56"/>
                <a:gd name="T16" fmla="*/ 0 w 52"/>
                <a:gd name="T17" fmla="*/ 5 h 56"/>
                <a:gd name="T18" fmla="*/ 0 w 52"/>
                <a:gd name="T1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6">
                  <a:moveTo>
                    <a:pt x="0" y="1"/>
                  </a:moveTo>
                  <a:cubicBezTo>
                    <a:pt x="0" y="3"/>
                    <a:pt x="0" y="19"/>
                    <a:pt x="4" y="21"/>
                  </a:cubicBezTo>
                  <a:cubicBezTo>
                    <a:pt x="9" y="24"/>
                    <a:pt x="11" y="11"/>
                    <a:pt x="11" y="11"/>
                  </a:cubicBezTo>
                  <a:cubicBezTo>
                    <a:pt x="11" y="11"/>
                    <a:pt x="21" y="7"/>
                    <a:pt x="38" y="12"/>
                  </a:cubicBezTo>
                  <a:cubicBezTo>
                    <a:pt x="37" y="15"/>
                    <a:pt x="41" y="23"/>
                    <a:pt x="45" y="21"/>
                  </a:cubicBezTo>
                  <a:cubicBezTo>
                    <a:pt x="49" y="19"/>
                    <a:pt x="49" y="0"/>
                    <a:pt x="49" y="0"/>
                  </a:cubicBezTo>
                  <a:cubicBezTo>
                    <a:pt x="51" y="16"/>
                    <a:pt x="52" y="29"/>
                    <a:pt x="45" y="41"/>
                  </a:cubicBezTo>
                  <a:cubicBezTo>
                    <a:pt x="36" y="56"/>
                    <a:pt x="15" y="48"/>
                    <a:pt x="8" y="39"/>
                  </a:cubicBezTo>
                  <a:cubicBezTo>
                    <a:pt x="1" y="29"/>
                    <a:pt x="0" y="22"/>
                    <a:pt x="0" y="5"/>
                  </a:cubicBezTo>
                  <a:cubicBezTo>
                    <a:pt x="0" y="4"/>
                    <a:pt x="0" y="2"/>
                    <a:pt x="0" y="1"/>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8">
              <a:extLst>
                <a:ext uri="{FF2B5EF4-FFF2-40B4-BE49-F238E27FC236}">
                  <a16:creationId xmlns:a16="http://schemas.microsoft.com/office/drawing/2014/main" id="{059BB003-281F-4268-B4A6-E3AD0037C68C}"/>
                </a:ext>
              </a:extLst>
            </p:cNvPr>
            <p:cNvSpPr>
              <a:spLocks/>
            </p:cNvSpPr>
            <p:nvPr/>
          </p:nvSpPr>
          <p:spPr bwMode="auto">
            <a:xfrm>
              <a:off x="2694" y="3769"/>
              <a:ext cx="16" cy="155"/>
            </a:xfrm>
            <a:custGeom>
              <a:avLst/>
              <a:gdLst>
                <a:gd name="T0" fmla="*/ 8 w 9"/>
                <a:gd name="T1" fmla="*/ 81 h 87"/>
                <a:gd name="T2" fmla="*/ 1 w 9"/>
                <a:gd name="T3" fmla="*/ 77 h 87"/>
                <a:gd name="T4" fmla="*/ 1 w 9"/>
                <a:gd name="T5" fmla="*/ 34 h 87"/>
                <a:gd name="T6" fmla="*/ 5 w 9"/>
                <a:gd name="T7" fmla="*/ 0 h 87"/>
                <a:gd name="T8" fmla="*/ 5 w 9"/>
                <a:gd name="T9" fmla="*/ 1 h 87"/>
                <a:gd name="T10" fmla="*/ 5 w 9"/>
                <a:gd name="T11" fmla="*/ 9 h 87"/>
                <a:gd name="T12" fmla="*/ 5 w 9"/>
                <a:gd name="T13" fmla="*/ 13 h 87"/>
                <a:gd name="T14" fmla="*/ 7 w 9"/>
                <a:gd name="T15" fmla="*/ 60 h 87"/>
                <a:gd name="T16" fmla="*/ 8 w 9"/>
                <a:gd name="T17"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7">
                  <a:moveTo>
                    <a:pt x="8" y="81"/>
                  </a:moveTo>
                  <a:cubicBezTo>
                    <a:pt x="9" y="87"/>
                    <a:pt x="3" y="86"/>
                    <a:pt x="1" y="77"/>
                  </a:cubicBezTo>
                  <a:cubicBezTo>
                    <a:pt x="0" y="69"/>
                    <a:pt x="3" y="48"/>
                    <a:pt x="1" y="34"/>
                  </a:cubicBezTo>
                  <a:cubicBezTo>
                    <a:pt x="2" y="17"/>
                    <a:pt x="1" y="1"/>
                    <a:pt x="5" y="0"/>
                  </a:cubicBezTo>
                  <a:cubicBezTo>
                    <a:pt x="5" y="1"/>
                    <a:pt x="5" y="1"/>
                    <a:pt x="5" y="1"/>
                  </a:cubicBezTo>
                  <a:cubicBezTo>
                    <a:pt x="5" y="9"/>
                    <a:pt x="5" y="9"/>
                    <a:pt x="5" y="9"/>
                  </a:cubicBezTo>
                  <a:cubicBezTo>
                    <a:pt x="5" y="10"/>
                    <a:pt x="5" y="11"/>
                    <a:pt x="5" y="13"/>
                  </a:cubicBezTo>
                  <a:cubicBezTo>
                    <a:pt x="6" y="25"/>
                    <a:pt x="7" y="49"/>
                    <a:pt x="7" y="60"/>
                  </a:cubicBezTo>
                  <a:cubicBezTo>
                    <a:pt x="7" y="71"/>
                    <a:pt x="8" y="75"/>
                    <a:pt x="8" y="8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9">
              <a:extLst>
                <a:ext uri="{FF2B5EF4-FFF2-40B4-BE49-F238E27FC236}">
                  <a16:creationId xmlns:a16="http://schemas.microsoft.com/office/drawing/2014/main" id="{D6DBC6A2-B50A-44B2-B93E-5D74C384730B}"/>
                </a:ext>
              </a:extLst>
            </p:cNvPr>
            <p:cNvSpPr>
              <a:spLocks/>
            </p:cNvSpPr>
            <p:nvPr/>
          </p:nvSpPr>
          <p:spPr bwMode="auto">
            <a:xfrm>
              <a:off x="2751" y="3769"/>
              <a:ext cx="14" cy="155"/>
            </a:xfrm>
            <a:custGeom>
              <a:avLst/>
              <a:gdLst>
                <a:gd name="T0" fmla="*/ 0 w 8"/>
                <a:gd name="T1" fmla="*/ 81 h 87"/>
                <a:gd name="T2" fmla="*/ 1 w 8"/>
                <a:gd name="T3" fmla="*/ 60 h 87"/>
                <a:gd name="T4" fmla="*/ 3 w 8"/>
                <a:gd name="T5" fmla="*/ 13 h 87"/>
                <a:gd name="T6" fmla="*/ 4 w 8"/>
                <a:gd name="T7" fmla="*/ 6 h 87"/>
                <a:gd name="T8" fmla="*/ 4 w 8"/>
                <a:gd name="T9" fmla="*/ 0 h 87"/>
                <a:gd name="T10" fmla="*/ 4 w 8"/>
                <a:gd name="T11" fmla="*/ 0 h 87"/>
                <a:gd name="T12" fmla="*/ 7 w 8"/>
                <a:gd name="T13" fmla="*/ 16 h 87"/>
                <a:gd name="T14" fmla="*/ 7 w 8"/>
                <a:gd name="T15" fmla="*/ 34 h 87"/>
                <a:gd name="T16" fmla="*/ 7 w 8"/>
                <a:gd name="T17" fmla="*/ 78 h 87"/>
                <a:gd name="T18" fmla="*/ 0 w 8"/>
                <a:gd name="T19"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7">
                  <a:moveTo>
                    <a:pt x="0" y="81"/>
                  </a:moveTo>
                  <a:cubicBezTo>
                    <a:pt x="1" y="75"/>
                    <a:pt x="1" y="71"/>
                    <a:pt x="1" y="60"/>
                  </a:cubicBezTo>
                  <a:cubicBezTo>
                    <a:pt x="1" y="49"/>
                    <a:pt x="2" y="25"/>
                    <a:pt x="3" y="13"/>
                  </a:cubicBezTo>
                  <a:cubicBezTo>
                    <a:pt x="4" y="11"/>
                    <a:pt x="4" y="7"/>
                    <a:pt x="4" y="6"/>
                  </a:cubicBezTo>
                  <a:cubicBezTo>
                    <a:pt x="4" y="4"/>
                    <a:pt x="4" y="2"/>
                    <a:pt x="4" y="0"/>
                  </a:cubicBezTo>
                  <a:cubicBezTo>
                    <a:pt x="4" y="0"/>
                    <a:pt x="4" y="0"/>
                    <a:pt x="4" y="0"/>
                  </a:cubicBezTo>
                  <a:cubicBezTo>
                    <a:pt x="6" y="1"/>
                    <a:pt x="7" y="7"/>
                    <a:pt x="7" y="16"/>
                  </a:cubicBezTo>
                  <a:cubicBezTo>
                    <a:pt x="7" y="21"/>
                    <a:pt x="7" y="27"/>
                    <a:pt x="7" y="34"/>
                  </a:cubicBezTo>
                  <a:cubicBezTo>
                    <a:pt x="5" y="48"/>
                    <a:pt x="8" y="69"/>
                    <a:pt x="7" y="78"/>
                  </a:cubicBezTo>
                  <a:cubicBezTo>
                    <a:pt x="6" y="86"/>
                    <a:pt x="0" y="87"/>
                    <a:pt x="0" y="8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0">
              <a:extLst>
                <a:ext uri="{FF2B5EF4-FFF2-40B4-BE49-F238E27FC236}">
                  <a16:creationId xmlns:a16="http://schemas.microsoft.com/office/drawing/2014/main" id="{FC6A9EC2-F937-4565-927A-2EE2D2C7ECFE}"/>
                </a:ext>
              </a:extLst>
            </p:cNvPr>
            <p:cNvSpPr>
              <a:spLocks/>
            </p:cNvSpPr>
            <p:nvPr/>
          </p:nvSpPr>
          <p:spPr bwMode="auto">
            <a:xfrm>
              <a:off x="2703" y="3901"/>
              <a:ext cx="55" cy="15"/>
            </a:xfrm>
            <a:custGeom>
              <a:avLst/>
              <a:gdLst>
                <a:gd name="T0" fmla="*/ 29 w 31"/>
                <a:gd name="T1" fmla="*/ 8 h 8"/>
                <a:gd name="T2" fmla="*/ 29 w 31"/>
                <a:gd name="T3" fmla="*/ 8 h 8"/>
                <a:gd name="T4" fmla="*/ 2 w 31"/>
                <a:gd name="T5" fmla="*/ 8 h 8"/>
                <a:gd name="T6" fmla="*/ 1 w 31"/>
                <a:gd name="T7" fmla="*/ 7 h 8"/>
                <a:gd name="T8" fmla="*/ 1 w 31"/>
                <a:gd name="T9" fmla="*/ 5 h 8"/>
                <a:gd name="T10" fmla="*/ 30 w 31"/>
                <a:gd name="T11" fmla="*/ 5 h 8"/>
                <a:gd name="T12" fmla="*/ 31 w 31"/>
                <a:gd name="T13" fmla="*/ 7 h 8"/>
                <a:gd name="T14" fmla="*/ 29 w 3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8">
                  <a:moveTo>
                    <a:pt x="29" y="8"/>
                  </a:moveTo>
                  <a:cubicBezTo>
                    <a:pt x="29" y="8"/>
                    <a:pt x="29" y="8"/>
                    <a:pt x="29" y="8"/>
                  </a:cubicBezTo>
                  <a:cubicBezTo>
                    <a:pt x="29" y="8"/>
                    <a:pt x="16" y="2"/>
                    <a:pt x="2" y="8"/>
                  </a:cubicBezTo>
                  <a:cubicBezTo>
                    <a:pt x="2" y="8"/>
                    <a:pt x="1" y="7"/>
                    <a:pt x="1" y="7"/>
                  </a:cubicBezTo>
                  <a:cubicBezTo>
                    <a:pt x="0" y="6"/>
                    <a:pt x="1" y="5"/>
                    <a:pt x="1" y="5"/>
                  </a:cubicBezTo>
                  <a:cubicBezTo>
                    <a:pt x="16" y="0"/>
                    <a:pt x="29" y="5"/>
                    <a:pt x="30" y="5"/>
                  </a:cubicBezTo>
                  <a:cubicBezTo>
                    <a:pt x="31" y="5"/>
                    <a:pt x="31" y="6"/>
                    <a:pt x="31" y="7"/>
                  </a:cubicBezTo>
                  <a:cubicBezTo>
                    <a:pt x="30" y="7"/>
                    <a:pt x="30" y="8"/>
                    <a:pt x="29" y="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1">
              <a:extLst>
                <a:ext uri="{FF2B5EF4-FFF2-40B4-BE49-F238E27FC236}">
                  <a16:creationId xmlns:a16="http://schemas.microsoft.com/office/drawing/2014/main" id="{5CC064D6-44CC-4CC6-A5A0-175E261C6747}"/>
                </a:ext>
              </a:extLst>
            </p:cNvPr>
            <p:cNvSpPr>
              <a:spLocks/>
            </p:cNvSpPr>
            <p:nvPr/>
          </p:nvSpPr>
          <p:spPr bwMode="auto">
            <a:xfrm>
              <a:off x="2701" y="3876"/>
              <a:ext cx="59" cy="15"/>
            </a:xfrm>
            <a:custGeom>
              <a:avLst/>
              <a:gdLst>
                <a:gd name="T0" fmla="*/ 32 w 33"/>
                <a:gd name="T1" fmla="*/ 8 h 8"/>
                <a:gd name="T2" fmla="*/ 31 w 33"/>
                <a:gd name="T3" fmla="*/ 8 h 8"/>
                <a:gd name="T4" fmla="*/ 2 w 33"/>
                <a:gd name="T5" fmla="*/ 8 h 8"/>
                <a:gd name="T6" fmla="*/ 0 w 33"/>
                <a:gd name="T7" fmla="*/ 7 h 8"/>
                <a:gd name="T8" fmla="*/ 1 w 33"/>
                <a:gd name="T9" fmla="*/ 6 h 8"/>
                <a:gd name="T10" fmla="*/ 32 w 33"/>
                <a:gd name="T11" fmla="*/ 6 h 8"/>
                <a:gd name="T12" fmla="*/ 33 w 33"/>
                <a:gd name="T13" fmla="*/ 8 h 8"/>
                <a:gd name="T14" fmla="*/ 32 w 33"/>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
                  <a:moveTo>
                    <a:pt x="32" y="8"/>
                  </a:moveTo>
                  <a:cubicBezTo>
                    <a:pt x="31" y="8"/>
                    <a:pt x="31" y="8"/>
                    <a:pt x="31" y="8"/>
                  </a:cubicBezTo>
                  <a:cubicBezTo>
                    <a:pt x="31" y="8"/>
                    <a:pt x="17" y="3"/>
                    <a:pt x="2" y="8"/>
                  </a:cubicBezTo>
                  <a:cubicBezTo>
                    <a:pt x="1" y="8"/>
                    <a:pt x="0" y="8"/>
                    <a:pt x="0" y="7"/>
                  </a:cubicBezTo>
                  <a:cubicBezTo>
                    <a:pt x="0" y="7"/>
                    <a:pt x="0" y="6"/>
                    <a:pt x="1" y="6"/>
                  </a:cubicBezTo>
                  <a:cubicBezTo>
                    <a:pt x="17" y="0"/>
                    <a:pt x="32" y="6"/>
                    <a:pt x="32" y="6"/>
                  </a:cubicBezTo>
                  <a:cubicBezTo>
                    <a:pt x="33" y="6"/>
                    <a:pt x="33" y="7"/>
                    <a:pt x="33" y="8"/>
                  </a:cubicBezTo>
                  <a:cubicBezTo>
                    <a:pt x="33" y="8"/>
                    <a:pt x="32" y="8"/>
                    <a:pt x="32" y="8"/>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2">
              <a:extLst>
                <a:ext uri="{FF2B5EF4-FFF2-40B4-BE49-F238E27FC236}">
                  <a16:creationId xmlns:a16="http://schemas.microsoft.com/office/drawing/2014/main" id="{74E81CB0-7197-4821-9562-CCCC009CCD73}"/>
                </a:ext>
              </a:extLst>
            </p:cNvPr>
            <p:cNvSpPr>
              <a:spLocks/>
            </p:cNvSpPr>
            <p:nvPr/>
          </p:nvSpPr>
          <p:spPr bwMode="auto">
            <a:xfrm>
              <a:off x="2701" y="3853"/>
              <a:ext cx="59" cy="16"/>
            </a:xfrm>
            <a:custGeom>
              <a:avLst/>
              <a:gdLst>
                <a:gd name="T0" fmla="*/ 1 w 33"/>
                <a:gd name="T1" fmla="*/ 9 h 9"/>
                <a:gd name="T2" fmla="*/ 0 w 33"/>
                <a:gd name="T3" fmla="*/ 8 h 9"/>
                <a:gd name="T4" fmla="*/ 1 w 33"/>
                <a:gd name="T5" fmla="*/ 6 h 9"/>
                <a:gd name="T6" fmla="*/ 32 w 33"/>
                <a:gd name="T7" fmla="*/ 6 h 9"/>
                <a:gd name="T8" fmla="*/ 33 w 33"/>
                <a:gd name="T9" fmla="*/ 8 h 9"/>
                <a:gd name="T10" fmla="*/ 31 w 33"/>
                <a:gd name="T11" fmla="*/ 9 h 9"/>
                <a:gd name="T12" fmla="*/ 2 w 33"/>
                <a:gd name="T13" fmla="*/ 9 h 9"/>
                <a:gd name="T14" fmla="*/ 1 w 33"/>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9">
                  <a:moveTo>
                    <a:pt x="1" y="9"/>
                  </a:moveTo>
                  <a:cubicBezTo>
                    <a:pt x="1" y="9"/>
                    <a:pt x="0" y="9"/>
                    <a:pt x="0" y="8"/>
                  </a:cubicBezTo>
                  <a:cubicBezTo>
                    <a:pt x="0" y="7"/>
                    <a:pt x="0" y="7"/>
                    <a:pt x="1" y="6"/>
                  </a:cubicBezTo>
                  <a:cubicBezTo>
                    <a:pt x="16" y="0"/>
                    <a:pt x="31" y="6"/>
                    <a:pt x="32" y="6"/>
                  </a:cubicBezTo>
                  <a:cubicBezTo>
                    <a:pt x="33" y="6"/>
                    <a:pt x="33" y="7"/>
                    <a:pt x="33" y="8"/>
                  </a:cubicBezTo>
                  <a:cubicBezTo>
                    <a:pt x="33" y="9"/>
                    <a:pt x="32" y="9"/>
                    <a:pt x="31" y="9"/>
                  </a:cubicBezTo>
                  <a:cubicBezTo>
                    <a:pt x="31" y="8"/>
                    <a:pt x="16" y="2"/>
                    <a:pt x="2" y="9"/>
                  </a:cubicBezTo>
                  <a:lnTo>
                    <a:pt x="1" y="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3">
              <a:extLst>
                <a:ext uri="{FF2B5EF4-FFF2-40B4-BE49-F238E27FC236}">
                  <a16:creationId xmlns:a16="http://schemas.microsoft.com/office/drawing/2014/main" id="{7E54995F-DF47-41FA-8908-415A2FB62D33}"/>
                </a:ext>
              </a:extLst>
            </p:cNvPr>
            <p:cNvSpPr>
              <a:spLocks/>
            </p:cNvSpPr>
            <p:nvPr/>
          </p:nvSpPr>
          <p:spPr bwMode="auto">
            <a:xfrm>
              <a:off x="2699" y="3830"/>
              <a:ext cx="61" cy="18"/>
            </a:xfrm>
            <a:custGeom>
              <a:avLst/>
              <a:gdLst>
                <a:gd name="T0" fmla="*/ 2 w 34"/>
                <a:gd name="T1" fmla="*/ 10 h 10"/>
                <a:gd name="T2" fmla="*/ 1 w 34"/>
                <a:gd name="T3" fmla="*/ 9 h 10"/>
                <a:gd name="T4" fmla="*/ 1 w 34"/>
                <a:gd name="T5" fmla="*/ 8 h 10"/>
                <a:gd name="T6" fmla="*/ 33 w 34"/>
                <a:gd name="T7" fmla="*/ 7 h 10"/>
                <a:gd name="T8" fmla="*/ 34 w 34"/>
                <a:gd name="T9" fmla="*/ 9 h 10"/>
                <a:gd name="T10" fmla="*/ 32 w 34"/>
                <a:gd name="T11" fmla="*/ 10 h 10"/>
                <a:gd name="T12" fmla="*/ 2 w 3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 y="10"/>
                  </a:moveTo>
                  <a:cubicBezTo>
                    <a:pt x="1" y="10"/>
                    <a:pt x="1" y="10"/>
                    <a:pt x="1" y="9"/>
                  </a:cubicBezTo>
                  <a:cubicBezTo>
                    <a:pt x="0" y="9"/>
                    <a:pt x="1" y="8"/>
                    <a:pt x="1" y="8"/>
                  </a:cubicBezTo>
                  <a:cubicBezTo>
                    <a:pt x="18" y="0"/>
                    <a:pt x="33" y="7"/>
                    <a:pt x="33" y="7"/>
                  </a:cubicBezTo>
                  <a:cubicBezTo>
                    <a:pt x="34" y="8"/>
                    <a:pt x="34" y="8"/>
                    <a:pt x="34" y="9"/>
                  </a:cubicBezTo>
                  <a:cubicBezTo>
                    <a:pt x="34" y="10"/>
                    <a:pt x="33" y="10"/>
                    <a:pt x="32" y="10"/>
                  </a:cubicBezTo>
                  <a:cubicBezTo>
                    <a:pt x="32" y="10"/>
                    <a:pt x="18" y="3"/>
                    <a:pt x="2" y="1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4">
              <a:extLst>
                <a:ext uri="{FF2B5EF4-FFF2-40B4-BE49-F238E27FC236}">
                  <a16:creationId xmlns:a16="http://schemas.microsoft.com/office/drawing/2014/main" id="{D3AF9620-1CC1-4747-8344-2A4B15ED042C}"/>
                </a:ext>
              </a:extLst>
            </p:cNvPr>
            <p:cNvSpPr>
              <a:spLocks/>
            </p:cNvSpPr>
            <p:nvPr/>
          </p:nvSpPr>
          <p:spPr bwMode="auto">
            <a:xfrm>
              <a:off x="2699" y="3807"/>
              <a:ext cx="61" cy="18"/>
            </a:xfrm>
            <a:custGeom>
              <a:avLst/>
              <a:gdLst>
                <a:gd name="T0" fmla="*/ 2 w 34"/>
                <a:gd name="T1" fmla="*/ 10 h 10"/>
                <a:gd name="T2" fmla="*/ 1 w 34"/>
                <a:gd name="T3" fmla="*/ 9 h 10"/>
                <a:gd name="T4" fmla="*/ 1 w 34"/>
                <a:gd name="T5" fmla="*/ 7 h 10"/>
                <a:gd name="T6" fmla="*/ 33 w 34"/>
                <a:gd name="T7" fmla="*/ 7 h 10"/>
                <a:gd name="T8" fmla="*/ 34 w 34"/>
                <a:gd name="T9" fmla="*/ 9 h 10"/>
                <a:gd name="T10" fmla="*/ 32 w 34"/>
                <a:gd name="T11" fmla="*/ 10 h 10"/>
                <a:gd name="T12" fmla="*/ 2 w 3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4" h="10">
                  <a:moveTo>
                    <a:pt x="2" y="10"/>
                  </a:moveTo>
                  <a:cubicBezTo>
                    <a:pt x="1" y="10"/>
                    <a:pt x="1" y="10"/>
                    <a:pt x="1" y="9"/>
                  </a:cubicBezTo>
                  <a:cubicBezTo>
                    <a:pt x="0" y="9"/>
                    <a:pt x="0" y="8"/>
                    <a:pt x="1" y="7"/>
                  </a:cubicBezTo>
                  <a:cubicBezTo>
                    <a:pt x="16" y="0"/>
                    <a:pt x="33" y="7"/>
                    <a:pt x="33" y="7"/>
                  </a:cubicBezTo>
                  <a:cubicBezTo>
                    <a:pt x="34" y="8"/>
                    <a:pt x="34" y="9"/>
                    <a:pt x="34" y="9"/>
                  </a:cubicBezTo>
                  <a:cubicBezTo>
                    <a:pt x="34" y="10"/>
                    <a:pt x="33" y="10"/>
                    <a:pt x="32" y="10"/>
                  </a:cubicBezTo>
                  <a:cubicBezTo>
                    <a:pt x="32" y="10"/>
                    <a:pt x="16" y="3"/>
                    <a:pt x="2" y="1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5">
              <a:extLst>
                <a:ext uri="{FF2B5EF4-FFF2-40B4-BE49-F238E27FC236}">
                  <a16:creationId xmlns:a16="http://schemas.microsoft.com/office/drawing/2014/main" id="{E9B56590-8518-4237-9D41-FA06650B3814}"/>
                </a:ext>
              </a:extLst>
            </p:cNvPr>
            <p:cNvSpPr>
              <a:spLocks/>
            </p:cNvSpPr>
            <p:nvPr/>
          </p:nvSpPr>
          <p:spPr bwMode="auto">
            <a:xfrm>
              <a:off x="2682" y="2902"/>
              <a:ext cx="331" cy="753"/>
            </a:xfrm>
            <a:custGeom>
              <a:avLst/>
              <a:gdLst>
                <a:gd name="T0" fmla="*/ 23 w 186"/>
                <a:gd name="T1" fmla="*/ 0 h 422"/>
                <a:gd name="T2" fmla="*/ 9 w 186"/>
                <a:gd name="T3" fmla="*/ 150 h 422"/>
                <a:gd name="T4" fmla="*/ 18 w 186"/>
                <a:gd name="T5" fmla="*/ 252 h 422"/>
                <a:gd name="T6" fmla="*/ 2 w 186"/>
                <a:gd name="T7" fmla="*/ 323 h 422"/>
                <a:gd name="T8" fmla="*/ 6 w 186"/>
                <a:gd name="T9" fmla="*/ 412 h 422"/>
                <a:gd name="T10" fmla="*/ 55 w 186"/>
                <a:gd name="T11" fmla="*/ 412 h 422"/>
                <a:gd name="T12" fmla="*/ 84 w 186"/>
                <a:gd name="T13" fmla="*/ 261 h 422"/>
                <a:gd name="T14" fmla="*/ 99 w 186"/>
                <a:gd name="T15" fmla="*/ 162 h 422"/>
                <a:gd name="T16" fmla="*/ 119 w 186"/>
                <a:gd name="T17" fmla="*/ 261 h 422"/>
                <a:gd name="T18" fmla="*/ 113 w 186"/>
                <a:gd name="T19" fmla="*/ 302 h 422"/>
                <a:gd name="T20" fmla="*/ 124 w 186"/>
                <a:gd name="T21" fmla="*/ 389 h 422"/>
                <a:gd name="T22" fmla="*/ 173 w 186"/>
                <a:gd name="T23" fmla="*/ 382 h 422"/>
                <a:gd name="T24" fmla="*/ 183 w 186"/>
                <a:gd name="T25" fmla="*/ 254 h 422"/>
                <a:gd name="T26" fmla="*/ 170 w 186"/>
                <a:gd name="T27" fmla="*/ 12 h 422"/>
                <a:gd name="T28" fmla="*/ 23 w 186"/>
                <a:gd name="T29"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 h="422">
                  <a:moveTo>
                    <a:pt x="23" y="0"/>
                  </a:moveTo>
                  <a:cubicBezTo>
                    <a:pt x="2" y="56"/>
                    <a:pt x="6" y="91"/>
                    <a:pt x="9" y="150"/>
                  </a:cubicBezTo>
                  <a:cubicBezTo>
                    <a:pt x="13" y="204"/>
                    <a:pt x="18" y="252"/>
                    <a:pt x="18" y="252"/>
                  </a:cubicBezTo>
                  <a:cubicBezTo>
                    <a:pt x="17" y="262"/>
                    <a:pt x="3" y="280"/>
                    <a:pt x="2" y="323"/>
                  </a:cubicBezTo>
                  <a:cubicBezTo>
                    <a:pt x="0" y="363"/>
                    <a:pt x="6" y="412"/>
                    <a:pt x="6" y="412"/>
                  </a:cubicBezTo>
                  <a:cubicBezTo>
                    <a:pt x="6" y="412"/>
                    <a:pt x="32" y="422"/>
                    <a:pt x="55" y="412"/>
                  </a:cubicBezTo>
                  <a:cubicBezTo>
                    <a:pt x="55" y="412"/>
                    <a:pt x="78" y="311"/>
                    <a:pt x="84" y="261"/>
                  </a:cubicBezTo>
                  <a:cubicBezTo>
                    <a:pt x="90" y="218"/>
                    <a:pt x="99" y="162"/>
                    <a:pt x="99" y="162"/>
                  </a:cubicBezTo>
                  <a:cubicBezTo>
                    <a:pt x="119" y="261"/>
                    <a:pt x="119" y="261"/>
                    <a:pt x="119" y="261"/>
                  </a:cubicBezTo>
                  <a:cubicBezTo>
                    <a:pt x="119" y="261"/>
                    <a:pt x="113" y="279"/>
                    <a:pt x="113" y="302"/>
                  </a:cubicBezTo>
                  <a:cubicBezTo>
                    <a:pt x="113" y="325"/>
                    <a:pt x="124" y="389"/>
                    <a:pt x="124" y="389"/>
                  </a:cubicBezTo>
                  <a:cubicBezTo>
                    <a:pt x="124" y="389"/>
                    <a:pt x="154" y="399"/>
                    <a:pt x="173" y="382"/>
                  </a:cubicBezTo>
                  <a:cubicBezTo>
                    <a:pt x="173" y="382"/>
                    <a:pt x="180" y="289"/>
                    <a:pt x="183" y="254"/>
                  </a:cubicBezTo>
                  <a:cubicBezTo>
                    <a:pt x="186" y="207"/>
                    <a:pt x="181" y="78"/>
                    <a:pt x="170" y="12"/>
                  </a:cubicBezTo>
                  <a:lnTo>
                    <a:pt x="23"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6">
              <a:extLst>
                <a:ext uri="{FF2B5EF4-FFF2-40B4-BE49-F238E27FC236}">
                  <a16:creationId xmlns:a16="http://schemas.microsoft.com/office/drawing/2014/main" id="{E9578AE0-8BC5-4402-9831-E2FCB2151D08}"/>
                </a:ext>
              </a:extLst>
            </p:cNvPr>
            <p:cNvSpPr>
              <a:spLocks/>
            </p:cNvSpPr>
            <p:nvPr/>
          </p:nvSpPr>
          <p:spPr bwMode="auto">
            <a:xfrm>
              <a:off x="2858" y="3022"/>
              <a:ext cx="113" cy="346"/>
            </a:xfrm>
            <a:custGeom>
              <a:avLst/>
              <a:gdLst>
                <a:gd name="T0" fmla="*/ 0 w 63"/>
                <a:gd name="T1" fmla="*/ 95 h 194"/>
                <a:gd name="T2" fmla="*/ 9 w 63"/>
                <a:gd name="T3" fmla="*/ 21 h 194"/>
                <a:gd name="T4" fmla="*/ 63 w 63"/>
                <a:gd name="T5" fmla="*/ 0 h 194"/>
                <a:gd name="T6" fmla="*/ 19 w 63"/>
                <a:gd name="T7" fmla="*/ 28 h 194"/>
                <a:gd name="T8" fmla="*/ 7 w 63"/>
                <a:gd name="T9" fmla="*/ 97 h 194"/>
                <a:gd name="T10" fmla="*/ 20 w 63"/>
                <a:gd name="T11" fmla="*/ 194 h 194"/>
                <a:gd name="T12" fmla="*/ 0 w 63"/>
                <a:gd name="T13" fmla="*/ 95 h 194"/>
              </a:gdLst>
              <a:ahLst/>
              <a:cxnLst>
                <a:cxn ang="0">
                  <a:pos x="T0" y="T1"/>
                </a:cxn>
                <a:cxn ang="0">
                  <a:pos x="T2" y="T3"/>
                </a:cxn>
                <a:cxn ang="0">
                  <a:pos x="T4" y="T5"/>
                </a:cxn>
                <a:cxn ang="0">
                  <a:pos x="T6" y="T7"/>
                </a:cxn>
                <a:cxn ang="0">
                  <a:pos x="T8" y="T9"/>
                </a:cxn>
                <a:cxn ang="0">
                  <a:pos x="T10" y="T11"/>
                </a:cxn>
                <a:cxn ang="0">
                  <a:pos x="T12" y="T13"/>
                </a:cxn>
              </a:cxnLst>
              <a:rect l="0" t="0" r="r" b="b"/>
              <a:pathLst>
                <a:path w="63" h="194">
                  <a:moveTo>
                    <a:pt x="0" y="95"/>
                  </a:moveTo>
                  <a:cubicBezTo>
                    <a:pt x="9" y="21"/>
                    <a:pt x="9" y="21"/>
                    <a:pt x="9" y="21"/>
                  </a:cubicBezTo>
                  <a:cubicBezTo>
                    <a:pt x="9" y="21"/>
                    <a:pt x="46" y="16"/>
                    <a:pt x="63" y="0"/>
                  </a:cubicBezTo>
                  <a:cubicBezTo>
                    <a:pt x="63" y="0"/>
                    <a:pt x="50" y="24"/>
                    <a:pt x="19" y="28"/>
                  </a:cubicBezTo>
                  <a:cubicBezTo>
                    <a:pt x="7" y="97"/>
                    <a:pt x="7" y="97"/>
                    <a:pt x="7" y="97"/>
                  </a:cubicBezTo>
                  <a:cubicBezTo>
                    <a:pt x="20" y="194"/>
                    <a:pt x="20" y="194"/>
                    <a:pt x="20" y="194"/>
                  </a:cubicBezTo>
                  <a:lnTo>
                    <a:pt x="0" y="95"/>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7">
              <a:extLst>
                <a:ext uri="{FF2B5EF4-FFF2-40B4-BE49-F238E27FC236}">
                  <a16:creationId xmlns:a16="http://schemas.microsoft.com/office/drawing/2014/main" id="{88FAEC87-74B2-46BE-9B09-C62C41532F09}"/>
                </a:ext>
              </a:extLst>
            </p:cNvPr>
            <p:cNvSpPr>
              <a:spLocks/>
            </p:cNvSpPr>
            <p:nvPr/>
          </p:nvSpPr>
          <p:spPr bwMode="auto">
            <a:xfrm>
              <a:off x="2899" y="2533"/>
              <a:ext cx="416" cy="346"/>
            </a:xfrm>
            <a:custGeom>
              <a:avLst/>
              <a:gdLst>
                <a:gd name="T0" fmla="*/ 69 w 233"/>
                <a:gd name="T1" fmla="*/ 152 h 194"/>
                <a:gd name="T2" fmla="*/ 18 w 233"/>
                <a:gd name="T3" fmla="*/ 91 h 194"/>
                <a:gd name="T4" fmla="*/ 0 w 233"/>
                <a:gd name="T5" fmla="*/ 27 h 194"/>
                <a:gd name="T6" fmla="*/ 12 w 233"/>
                <a:gd name="T7" fmla="*/ 27 h 194"/>
                <a:gd name="T8" fmla="*/ 51 w 233"/>
                <a:gd name="T9" fmla="*/ 44 h 194"/>
                <a:gd name="T10" fmla="*/ 111 w 233"/>
                <a:gd name="T11" fmla="*/ 123 h 194"/>
                <a:gd name="T12" fmla="*/ 146 w 233"/>
                <a:gd name="T13" fmla="*/ 79 h 194"/>
                <a:gd name="T14" fmla="*/ 157 w 233"/>
                <a:gd name="T15" fmla="*/ 42 h 194"/>
                <a:gd name="T16" fmla="*/ 174 w 233"/>
                <a:gd name="T17" fmla="*/ 18 h 194"/>
                <a:gd name="T18" fmla="*/ 186 w 233"/>
                <a:gd name="T19" fmla="*/ 7 h 194"/>
                <a:gd name="T20" fmla="*/ 184 w 233"/>
                <a:gd name="T21" fmla="*/ 28 h 194"/>
                <a:gd name="T22" fmla="*/ 188 w 233"/>
                <a:gd name="T23" fmla="*/ 35 h 194"/>
                <a:gd name="T24" fmla="*/ 223 w 233"/>
                <a:gd name="T25" fmla="*/ 5 h 194"/>
                <a:gd name="T26" fmla="*/ 229 w 233"/>
                <a:gd name="T27" fmla="*/ 13 h 194"/>
                <a:gd name="T28" fmla="*/ 231 w 233"/>
                <a:gd name="T29" fmla="*/ 39 h 194"/>
                <a:gd name="T30" fmla="*/ 219 w 233"/>
                <a:gd name="T31" fmla="*/ 62 h 194"/>
                <a:gd name="T32" fmla="*/ 182 w 233"/>
                <a:gd name="T33" fmla="*/ 92 h 194"/>
                <a:gd name="T34" fmla="*/ 146 w 233"/>
                <a:gd name="T35" fmla="*/ 158 h 194"/>
                <a:gd name="T36" fmla="*/ 106 w 233"/>
                <a:gd name="T37" fmla="*/ 185 h 194"/>
                <a:gd name="T38" fmla="*/ 69 w 233"/>
                <a:gd name="T39" fmla="*/ 15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 h="194">
                  <a:moveTo>
                    <a:pt x="69" y="152"/>
                  </a:moveTo>
                  <a:cubicBezTo>
                    <a:pt x="51" y="133"/>
                    <a:pt x="18" y="91"/>
                    <a:pt x="18" y="91"/>
                  </a:cubicBezTo>
                  <a:cubicBezTo>
                    <a:pt x="0" y="27"/>
                    <a:pt x="0" y="27"/>
                    <a:pt x="0" y="27"/>
                  </a:cubicBezTo>
                  <a:cubicBezTo>
                    <a:pt x="0" y="27"/>
                    <a:pt x="9" y="27"/>
                    <a:pt x="12" y="27"/>
                  </a:cubicBezTo>
                  <a:cubicBezTo>
                    <a:pt x="32" y="29"/>
                    <a:pt x="38" y="30"/>
                    <a:pt x="51" y="44"/>
                  </a:cubicBezTo>
                  <a:cubicBezTo>
                    <a:pt x="61" y="55"/>
                    <a:pt x="98" y="106"/>
                    <a:pt x="111" y="123"/>
                  </a:cubicBezTo>
                  <a:cubicBezTo>
                    <a:pt x="146" y="79"/>
                    <a:pt x="146" y="79"/>
                    <a:pt x="146" y="79"/>
                  </a:cubicBezTo>
                  <a:cubicBezTo>
                    <a:pt x="154" y="67"/>
                    <a:pt x="153" y="52"/>
                    <a:pt x="157" y="42"/>
                  </a:cubicBezTo>
                  <a:cubicBezTo>
                    <a:pt x="162" y="32"/>
                    <a:pt x="169" y="27"/>
                    <a:pt x="174" y="18"/>
                  </a:cubicBezTo>
                  <a:cubicBezTo>
                    <a:pt x="180" y="9"/>
                    <a:pt x="181" y="3"/>
                    <a:pt x="186" y="7"/>
                  </a:cubicBezTo>
                  <a:cubicBezTo>
                    <a:pt x="190" y="12"/>
                    <a:pt x="185" y="25"/>
                    <a:pt x="184" y="28"/>
                  </a:cubicBezTo>
                  <a:cubicBezTo>
                    <a:pt x="184" y="31"/>
                    <a:pt x="177" y="40"/>
                    <a:pt x="188" y="35"/>
                  </a:cubicBezTo>
                  <a:cubicBezTo>
                    <a:pt x="200" y="31"/>
                    <a:pt x="218" y="9"/>
                    <a:pt x="223" y="5"/>
                  </a:cubicBezTo>
                  <a:cubicBezTo>
                    <a:pt x="228" y="0"/>
                    <a:pt x="230" y="7"/>
                    <a:pt x="229" y="13"/>
                  </a:cubicBezTo>
                  <a:cubicBezTo>
                    <a:pt x="228" y="18"/>
                    <a:pt x="233" y="30"/>
                    <a:pt x="231" y="39"/>
                  </a:cubicBezTo>
                  <a:cubicBezTo>
                    <a:pt x="229" y="48"/>
                    <a:pt x="228" y="52"/>
                    <a:pt x="219" y="62"/>
                  </a:cubicBezTo>
                  <a:cubicBezTo>
                    <a:pt x="210" y="70"/>
                    <a:pt x="190" y="81"/>
                    <a:pt x="182" y="92"/>
                  </a:cubicBezTo>
                  <a:cubicBezTo>
                    <a:pt x="173" y="103"/>
                    <a:pt x="156" y="138"/>
                    <a:pt x="146" y="158"/>
                  </a:cubicBezTo>
                  <a:cubicBezTo>
                    <a:pt x="132" y="185"/>
                    <a:pt x="121" y="194"/>
                    <a:pt x="106" y="185"/>
                  </a:cubicBezTo>
                  <a:cubicBezTo>
                    <a:pt x="91" y="176"/>
                    <a:pt x="76" y="159"/>
                    <a:pt x="69" y="152"/>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8">
              <a:extLst>
                <a:ext uri="{FF2B5EF4-FFF2-40B4-BE49-F238E27FC236}">
                  <a16:creationId xmlns:a16="http://schemas.microsoft.com/office/drawing/2014/main" id="{F96960A4-8031-4582-81E2-3A9E04492FAE}"/>
                </a:ext>
              </a:extLst>
            </p:cNvPr>
            <p:cNvSpPr>
              <a:spLocks/>
            </p:cNvSpPr>
            <p:nvPr/>
          </p:nvSpPr>
          <p:spPr bwMode="auto">
            <a:xfrm>
              <a:off x="2899" y="2579"/>
              <a:ext cx="168" cy="204"/>
            </a:xfrm>
            <a:custGeom>
              <a:avLst/>
              <a:gdLst>
                <a:gd name="T0" fmla="*/ 6 w 94"/>
                <a:gd name="T1" fmla="*/ 1 h 114"/>
                <a:gd name="T2" fmla="*/ 36 w 94"/>
                <a:gd name="T3" fmla="*/ 5 h 114"/>
                <a:gd name="T4" fmla="*/ 65 w 94"/>
                <a:gd name="T5" fmla="*/ 34 h 114"/>
                <a:gd name="T6" fmla="*/ 94 w 94"/>
                <a:gd name="T7" fmla="*/ 73 h 114"/>
                <a:gd name="T8" fmla="*/ 55 w 94"/>
                <a:gd name="T9" fmla="*/ 114 h 114"/>
                <a:gd name="T10" fmla="*/ 0 w 94"/>
                <a:gd name="T11" fmla="*/ 57 h 114"/>
                <a:gd name="T12" fmla="*/ 6 w 94"/>
                <a:gd name="T13" fmla="*/ 1 h 114"/>
              </a:gdLst>
              <a:ahLst/>
              <a:cxnLst>
                <a:cxn ang="0">
                  <a:pos x="T0" y="T1"/>
                </a:cxn>
                <a:cxn ang="0">
                  <a:pos x="T2" y="T3"/>
                </a:cxn>
                <a:cxn ang="0">
                  <a:pos x="T4" y="T5"/>
                </a:cxn>
                <a:cxn ang="0">
                  <a:pos x="T6" y="T7"/>
                </a:cxn>
                <a:cxn ang="0">
                  <a:pos x="T8" y="T9"/>
                </a:cxn>
                <a:cxn ang="0">
                  <a:pos x="T10" y="T11"/>
                </a:cxn>
                <a:cxn ang="0">
                  <a:pos x="T12" y="T13"/>
                </a:cxn>
              </a:cxnLst>
              <a:rect l="0" t="0" r="r" b="b"/>
              <a:pathLst>
                <a:path w="94" h="114">
                  <a:moveTo>
                    <a:pt x="6" y="1"/>
                  </a:moveTo>
                  <a:cubicBezTo>
                    <a:pt x="18" y="0"/>
                    <a:pt x="29" y="2"/>
                    <a:pt x="36" y="5"/>
                  </a:cubicBezTo>
                  <a:cubicBezTo>
                    <a:pt x="47" y="10"/>
                    <a:pt x="54" y="20"/>
                    <a:pt x="65" y="34"/>
                  </a:cubicBezTo>
                  <a:cubicBezTo>
                    <a:pt x="75" y="49"/>
                    <a:pt x="94" y="73"/>
                    <a:pt x="94" y="73"/>
                  </a:cubicBezTo>
                  <a:cubicBezTo>
                    <a:pt x="94" y="73"/>
                    <a:pt x="89" y="95"/>
                    <a:pt x="55" y="114"/>
                  </a:cubicBezTo>
                  <a:cubicBezTo>
                    <a:pt x="0" y="57"/>
                    <a:pt x="0" y="57"/>
                    <a:pt x="0" y="57"/>
                  </a:cubicBezTo>
                  <a:lnTo>
                    <a:pt x="6" y="1"/>
                  </a:ln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9">
              <a:extLst>
                <a:ext uri="{FF2B5EF4-FFF2-40B4-BE49-F238E27FC236}">
                  <a16:creationId xmlns:a16="http://schemas.microsoft.com/office/drawing/2014/main" id="{CBEDF96E-52BD-4B66-87E2-7A0B47E93C67}"/>
                </a:ext>
              </a:extLst>
            </p:cNvPr>
            <p:cNvSpPr>
              <a:spLocks/>
            </p:cNvSpPr>
            <p:nvPr/>
          </p:nvSpPr>
          <p:spPr bwMode="auto">
            <a:xfrm>
              <a:off x="3069" y="2747"/>
              <a:ext cx="28" cy="48"/>
            </a:xfrm>
            <a:custGeom>
              <a:avLst/>
              <a:gdLst>
                <a:gd name="T0" fmla="*/ 16 w 16"/>
                <a:gd name="T1" fmla="*/ 3 h 27"/>
                <a:gd name="T2" fmla="*/ 4 w 16"/>
                <a:gd name="T3" fmla="*/ 27 h 27"/>
                <a:gd name="T4" fmla="*/ 13 w 16"/>
                <a:gd name="T5" fmla="*/ 0 h 27"/>
                <a:gd name="T6" fmla="*/ 16 w 16"/>
                <a:gd name="T7" fmla="*/ 3 h 27"/>
              </a:gdLst>
              <a:ahLst/>
              <a:cxnLst>
                <a:cxn ang="0">
                  <a:pos x="T0" y="T1"/>
                </a:cxn>
                <a:cxn ang="0">
                  <a:pos x="T2" y="T3"/>
                </a:cxn>
                <a:cxn ang="0">
                  <a:pos x="T4" y="T5"/>
                </a:cxn>
                <a:cxn ang="0">
                  <a:pos x="T6" y="T7"/>
                </a:cxn>
              </a:cxnLst>
              <a:rect l="0" t="0" r="r" b="b"/>
              <a:pathLst>
                <a:path w="16" h="27">
                  <a:moveTo>
                    <a:pt x="16" y="3"/>
                  </a:moveTo>
                  <a:cubicBezTo>
                    <a:pt x="8" y="12"/>
                    <a:pt x="4" y="22"/>
                    <a:pt x="4" y="27"/>
                  </a:cubicBezTo>
                  <a:cubicBezTo>
                    <a:pt x="4" y="27"/>
                    <a:pt x="0" y="14"/>
                    <a:pt x="13" y="0"/>
                  </a:cubicBezTo>
                  <a:lnTo>
                    <a:pt x="16" y="3"/>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0">
              <a:extLst>
                <a:ext uri="{FF2B5EF4-FFF2-40B4-BE49-F238E27FC236}">
                  <a16:creationId xmlns:a16="http://schemas.microsoft.com/office/drawing/2014/main" id="{A733C5D3-984F-492C-93A4-C9B0638E65B0}"/>
                </a:ext>
              </a:extLst>
            </p:cNvPr>
            <p:cNvSpPr>
              <a:spLocks/>
            </p:cNvSpPr>
            <p:nvPr/>
          </p:nvSpPr>
          <p:spPr bwMode="auto">
            <a:xfrm>
              <a:off x="2694" y="2579"/>
              <a:ext cx="330" cy="434"/>
            </a:xfrm>
            <a:custGeom>
              <a:avLst/>
              <a:gdLst>
                <a:gd name="T0" fmla="*/ 161 w 185"/>
                <a:gd name="T1" fmla="*/ 114 h 243"/>
                <a:gd name="T2" fmla="*/ 168 w 185"/>
                <a:gd name="T3" fmla="*/ 50 h 243"/>
                <a:gd name="T4" fmla="*/ 124 w 185"/>
                <a:gd name="T5" fmla="*/ 1 h 243"/>
                <a:gd name="T6" fmla="*/ 75 w 185"/>
                <a:gd name="T7" fmla="*/ 1 h 243"/>
                <a:gd name="T8" fmla="*/ 28 w 185"/>
                <a:gd name="T9" fmla="*/ 4 h 243"/>
                <a:gd name="T10" fmla="*/ 13 w 185"/>
                <a:gd name="T11" fmla="*/ 35 h 243"/>
                <a:gd name="T12" fmla="*/ 8 w 185"/>
                <a:gd name="T13" fmla="*/ 76 h 243"/>
                <a:gd name="T14" fmla="*/ 21 w 185"/>
                <a:gd name="T15" fmla="*/ 108 h 243"/>
                <a:gd name="T16" fmla="*/ 27 w 185"/>
                <a:gd name="T17" fmla="*/ 148 h 243"/>
                <a:gd name="T18" fmla="*/ 16 w 185"/>
                <a:gd name="T19" fmla="*/ 177 h 243"/>
                <a:gd name="T20" fmla="*/ 0 w 185"/>
                <a:gd name="T21" fmla="*/ 234 h 243"/>
                <a:gd name="T22" fmla="*/ 31 w 185"/>
                <a:gd name="T23" fmla="*/ 213 h 243"/>
                <a:gd name="T24" fmla="*/ 106 w 185"/>
                <a:gd name="T25" fmla="*/ 240 h 243"/>
                <a:gd name="T26" fmla="*/ 167 w 185"/>
                <a:gd name="T27" fmla="*/ 208 h 243"/>
                <a:gd name="T28" fmla="*/ 158 w 185"/>
                <a:gd name="T29" fmla="*/ 156 h 243"/>
                <a:gd name="T30" fmla="*/ 161 w 185"/>
                <a:gd name="T31" fmla="*/ 11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5" h="243">
                  <a:moveTo>
                    <a:pt x="161" y="114"/>
                  </a:moveTo>
                  <a:cubicBezTo>
                    <a:pt x="185" y="94"/>
                    <a:pt x="177" y="68"/>
                    <a:pt x="168" y="50"/>
                  </a:cubicBezTo>
                  <a:cubicBezTo>
                    <a:pt x="150" y="14"/>
                    <a:pt x="132" y="0"/>
                    <a:pt x="124" y="1"/>
                  </a:cubicBezTo>
                  <a:cubicBezTo>
                    <a:pt x="75" y="1"/>
                    <a:pt x="75" y="1"/>
                    <a:pt x="75" y="1"/>
                  </a:cubicBezTo>
                  <a:cubicBezTo>
                    <a:pt x="52" y="4"/>
                    <a:pt x="33" y="3"/>
                    <a:pt x="28" y="4"/>
                  </a:cubicBezTo>
                  <a:cubicBezTo>
                    <a:pt x="13" y="7"/>
                    <a:pt x="13" y="19"/>
                    <a:pt x="13" y="35"/>
                  </a:cubicBezTo>
                  <a:cubicBezTo>
                    <a:pt x="12" y="51"/>
                    <a:pt x="3" y="48"/>
                    <a:pt x="8" y="76"/>
                  </a:cubicBezTo>
                  <a:cubicBezTo>
                    <a:pt x="8" y="76"/>
                    <a:pt x="19" y="98"/>
                    <a:pt x="21" y="108"/>
                  </a:cubicBezTo>
                  <a:cubicBezTo>
                    <a:pt x="24" y="118"/>
                    <a:pt x="31" y="133"/>
                    <a:pt x="27" y="148"/>
                  </a:cubicBezTo>
                  <a:cubicBezTo>
                    <a:pt x="26" y="154"/>
                    <a:pt x="22" y="160"/>
                    <a:pt x="16" y="177"/>
                  </a:cubicBezTo>
                  <a:cubicBezTo>
                    <a:pt x="10" y="192"/>
                    <a:pt x="5" y="207"/>
                    <a:pt x="0" y="234"/>
                  </a:cubicBezTo>
                  <a:cubicBezTo>
                    <a:pt x="0" y="234"/>
                    <a:pt x="15" y="231"/>
                    <a:pt x="31" y="213"/>
                  </a:cubicBezTo>
                  <a:cubicBezTo>
                    <a:pt x="31" y="213"/>
                    <a:pt x="53" y="243"/>
                    <a:pt x="106" y="240"/>
                  </a:cubicBezTo>
                  <a:cubicBezTo>
                    <a:pt x="162" y="237"/>
                    <a:pt x="167" y="208"/>
                    <a:pt x="167" y="208"/>
                  </a:cubicBezTo>
                  <a:cubicBezTo>
                    <a:pt x="158" y="156"/>
                    <a:pt x="158" y="156"/>
                    <a:pt x="158" y="156"/>
                  </a:cubicBezTo>
                  <a:cubicBezTo>
                    <a:pt x="159" y="135"/>
                    <a:pt x="160" y="127"/>
                    <a:pt x="161" y="114"/>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91">
              <a:extLst>
                <a:ext uri="{FF2B5EF4-FFF2-40B4-BE49-F238E27FC236}">
                  <a16:creationId xmlns:a16="http://schemas.microsoft.com/office/drawing/2014/main" id="{BA4883BA-FE03-400B-B9FA-AEF4D2DF0080}"/>
                </a:ext>
              </a:extLst>
            </p:cNvPr>
            <p:cNvSpPr>
              <a:spLocks/>
            </p:cNvSpPr>
            <p:nvPr/>
          </p:nvSpPr>
          <p:spPr bwMode="auto">
            <a:xfrm>
              <a:off x="2794" y="2738"/>
              <a:ext cx="130" cy="66"/>
            </a:xfrm>
            <a:custGeom>
              <a:avLst/>
              <a:gdLst>
                <a:gd name="T0" fmla="*/ 2 w 73"/>
                <a:gd name="T1" fmla="*/ 0 h 37"/>
                <a:gd name="T2" fmla="*/ 30 w 73"/>
                <a:gd name="T3" fmla="*/ 35 h 37"/>
                <a:gd name="T4" fmla="*/ 41 w 73"/>
                <a:gd name="T5" fmla="*/ 37 h 37"/>
                <a:gd name="T6" fmla="*/ 73 w 73"/>
                <a:gd name="T7" fmla="*/ 20 h 37"/>
                <a:gd name="T8" fmla="*/ 43 w 73"/>
                <a:gd name="T9" fmla="*/ 30 h 37"/>
                <a:gd name="T10" fmla="*/ 29 w 73"/>
                <a:gd name="T11" fmla="*/ 28 h 37"/>
                <a:gd name="T12" fmla="*/ 2 w 73"/>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73" h="37">
                  <a:moveTo>
                    <a:pt x="2" y="0"/>
                  </a:moveTo>
                  <a:cubicBezTo>
                    <a:pt x="2" y="0"/>
                    <a:pt x="0" y="27"/>
                    <a:pt x="30" y="35"/>
                  </a:cubicBezTo>
                  <a:cubicBezTo>
                    <a:pt x="34" y="37"/>
                    <a:pt x="38" y="37"/>
                    <a:pt x="41" y="37"/>
                  </a:cubicBezTo>
                  <a:cubicBezTo>
                    <a:pt x="62" y="37"/>
                    <a:pt x="73" y="20"/>
                    <a:pt x="73" y="20"/>
                  </a:cubicBezTo>
                  <a:cubicBezTo>
                    <a:pt x="73" y="20"/>
                    <a:pt x="60" y="30"/>
                    <a:pt x="43" y="30"/>
                  </a:cubicBezTo>
                  <a:cubicBezTo>
                    <a:pt x="38" y="30"/>
                    <a:pt x="34" y="30"/>
                    <a:pt x="29" y="28"/>
                  </a:cubicBezTo>
                  <a:cubicBezTo>
                    <a:pt x="6" y="20"/>
                    <a:pt x="2" y="0"/>
                    <a:pt x="2" y="0"/>
                  </a:cubicBezTo>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2">
              <a:extLst>
                <a:ext uri="{FF2B5EF4-FFF2-40B4-BE49-F238E27FC236}">
                  <a16:creationId xmlns:a16="http://schemas.microsoft.com/office/drawing/2014/main" id="{F818152D-F196-4AB8-B219-99A885A222FB}"/>
                </a:ext>
              </a:extLst>
            </p:cNvPr>
            <p:cNvSpPr>
              <a:spLocks/>
            </p:cNvSpPr>
            <p:nvPr/>
          </p:nvSpPr>
          <p:spPr bwMode="auto">
            <a:xfrm>
              <a:off x="2592" y="2530"/>
              <a:ext cx="100" cy="140"/>
            </a:xfrm>
            <a:custGeom>
              <a:avLst/>
              <a:gdLst>
                <a:gd name="T0" fmla="*/ 46 w 56"/>
                <a:gd name="T1" fmla="*/ 6 h 79"/>
                <a:gd name="T2" fmla="*/ 18 w 56"/>
                <a:gd name="T3" fmla="*/ 66 h 79"/>
                <a:gd name="T4" fmla="*/ 52 w 56"/>
                <a:gd name="T5" fmla="*/ 24 h 79"/>
                <a:gd name="T6" fmla="*/ 46 w 56"/>
                <a:gd name="T7" fmla="*/ 6 h 79"/>
              </a:gdLst>
              <a:ahLst/>
              <a:cxnLst>
                <a:cxn ang="0">
                  <a:pos x="T0" y="T1"/>
                </a:cxn>
                <a:cxn ang="0">
                  <a:pos x="T2" y="T3"/>
                </a:cxn>
                <a:cxn ang="0">
                  <a:pos x="T4" y="T5"/>
                </a:cxn>
                <a:cxn ang="0">
                  <a:pos x="T6" y="T7"/>
                </a:cxn>
              </a:cxnLst>
              <a:rect l="0" t="0" r="r" b="b"/>
              <a:pathLst>
                <a:path w="56" h="79">
                  <a:moveTo>
                    <a:pt x="46" y="6"/>
                  </a:moveTo>
                  <a:cubicBezTo>
                    <a:pt x="39" y="0"/>
                    <a:pt x="0" y="53"/>
                    <a:pt x="18" y="66"/>
                  </a:cubicBezTo>
                  <a:cubicBezTo>
                    <a:pt x="36" y="79"/>
                    <a:pt x="56" y="42"/>
                    <a:pt x="52" y="24"/>
                  </a:cubicBezTo>
                  <a:cubicBezTo>
                    <a:pt x="48" y="7"/>
                    <a:pt x="46" y="6"/>
                    <a:pt x="46" y="6"/>
                  </a:cubicBezTo>
                  <a:close/>
                </a:path>
              </a:pathLst>
            </a:custGeom>
            <a:solidFill>
              <a:srgbClr val="374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3">
              <a:extLst>
                <a:ext uri="{FF2B5EF4-FFF2-40B4-BE49-F238E27FC236}">
                  <a16:creationId xmlns:a16="http://schemas.microsoft.com/office/drawing/2014/main" id="{877A6AF6-63B2-4931-8161-03E1170AAC5A}"/>
                </a:ext>
              </a:extLst>
            </p:cNvPr>
            <p:cNvSpPr>
              <a:spLocks/>
            </p:cNvSpPr>
            <p:nvPr/>
          </p:nvSpPr>
          <p:spPr bwMode="auto">
            <a:xfrm>
              <a:off x="2485" y="2251"/>
              <a:ext cx="338" cy="478"/>
            </a:xfrm>
            <a:custGeom>
              <a:avLst/>
              <a:gdLst>
                <a:gd name="T0" fmla="*/ 70 w 189"/>
                <a:gd name="T1" fmla="*/ 136 h 268"/>
                <a:gd name="T2" fmla="*/ 96 w 189"/>
                <a:gd name="T3" fmla="*/ 100 h 268"/>
                <a:gd name="T4" fmla="*/ 109 w 189"/>
                <a:gd name="T5" fmla="*/ 82 h 268"/>
                <a:gd name="T6" fmla="*/ 118 w 189"/>
                <a:gd name="T7" fmla="*/ 72 h 268"/>
                <a:gd name="T8" fmla="*/ 129 w 189"/>
                <a:gd name="T9" fmla="*/ 65 h 268"/>
                <a:gd name="T10" fmla="*/ 134 w 189"/>
                <a:gd name="T11" fmla="*/ 58 h 268"/>
                <a:gd name="T12" fmla="*/ 154 w 189"/>
                <a:gd name="T13" fmla="*/ 37 h 268"/>
                <a:gd name="T14" fmla="*/ 179 w 189"/>
                <a:gd name="T15" fmla="*/ 20 h 268"/>
                <a:gd name="T16" fmla="*/ 183 w 189"/>
                <a:gd name="T17" fmla="*/ 6 h 268"/>
                <a:gd name="T18" fmla="*/ 176 w 189"/>
                <a:gd name="T19" fmla="*/ 3 h 268"/>
                <a:gd name="T20" fmla="*/ 135 w 189"/>
                <a:gd name="T21" fmla="*/ 9 h 268"/>
                <a:gd name="T22" fmla="*/ 117 w 189"/>
                <a:gd name="T23" fmla="*/ 15 h 268"/>
                <a:gd name="T24" fmla="*/ 109 w 189"/>
                <a:gd name="T25" fmla="*/ 20 h 268"/>
                <a:gd name="T26" fmla="*/ 101 w 189"/>
                <a:gd name="T27" fmla="*/ 32 h 268"/>
                <a:gd name="T28" fmla="*/ 73 w 189"/>
                <a:gd name="T29" fmla="*/ 62 h 268"/>
                <a:gd name="T30" fmla="*/ 40 w 189"/>
                <a:gd name="T31" fmla="*/ 94 h 268"/>
                <a:gd name="T32" fmla="*/ 8 w 189"/>
                <a:gd name="T33" fmla="*/ 125 h 268"/>
                <a:gd name="T34" fmla="*/ 4 w 189"/>
                <a:gd name="T35" fmla="*/ 144 h 268"/>
                <a:gd name="T36" fmla="*/ 29 w 189"/>
                <a:gd name="T37" fmla="*/ 172 h 268"/>
                <a:gd name="T38" fmla="*/ 38 w 189"/>
                <a:gd name="T39" fmla="*/ 181 h 268"/>
                <a:gd name="T40" fmla="*/ 75 w 189"/>
                <a:gd name="T41" fmla="*/ 213 h 268"/>
                <a:gd name="T42" fmla="*/ 107 w 189"/>
                <a:gd name="T43" fmla="*/ 240 h 268"/>
                <a:gd name="T44" fmla="*/ 125 w 189"/>
                <a:gd name="T45" fmla="*/ 265 h 268"/>
                <a:gd name="T46" fmla="*/ 149 w 189"/>
                <a:gd name="T47" fmla="*/ 199 h 268"/>
                <a:gd name="T48" fmla="*/ 136 w 189"/>
                <a:gd name="T49" fmla="*/ 183 h 268"/>
                <a:gd name="T50" fmla="*/ 70 w 189"/>
                <a:gd name="T51" fmla="*/ 13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 h="268">
                  <a:moveTo>
                    <a:pt x="70" y="136"/>
                  </a:moveTo>
                  <a:cubicBezTo>
                    <a:pt x="80" y="122"/>
                    <a:pt x="87" y="112"/>
                    <a:pt x="96" y="100"/>
                  </a:cubicBezTo>
                  <a:cubicBezTo>
                    <a:pt x="101" y="94"/>
                    <a:pt x="104" y="89"/>
                    <a:pt x="109" y="82"/>
                  </a:cubicBezTo>
                  <a:cubicBezTo>
                    <a:pt x="112" y="78"/>
                    <a:pt x="114" y="74"/>
                    <a:pt x="118" y="72"/>
                  </a:cubicBezTo>
                  <a:cubicBezTo>
                    <a:pt x="122" y="71"/>
                    <a:pt x="126" y="67"/>
                    <a:pt x="129" y="65"/>
                  </a:cubicBezTo>
                  <a:cubicBezTo>
                    <a:pt x="131" y="62"/>
                    <a:pt x="132" y="60"/>
                    <a:pt x="134" y="58"/>
                  </a:cubicBezTo>
                  <a:cubicBezTo>
                    <a:pt x="140" y="50"/>
                    <a:pt x="146" y="43"/>
                    <a:pt x="154" y="37"/>
                  </a:cubicBezTo>
                  <a:cubicBezTo>
                    <a:pt x="162" y="31"/>
                    <a:pt x="171" y="26"/>
                    <a:pt x="179" y="20"/>
                  </a:cubicBezTo>
                  <a:cubicBezTo>
                    <a:pt x="184" y="17"/>
                    <a:pt x="189" y="11"/>
                    <a:pt x="183" y="6"/>
                  </a:cubicBezTo>
                  <a:cubicBezTo>
                    <a:pt x="181" y="4"/>
                    <a:pt x="179" y="3"/>
                    <a:pt x="176" y="3"/>
                  </a:cubicBezTo>
                  <a:cubicBezTo>
                    <a:pt x="162" y="0"/>
                    <a:pt x="149" y="5"/>
                    <a:pt x="135" y="9"/>
                  </a:cubicBezTo>
                  <a:cubicBezTo>
                    <a:pt x="129" y="11"/>
                    <a:pt x="123" y="13"/>
                    <a:pt x="117" y="15"/>
                  </a:cubicBezTo>
                  <a:cubicBezTo>
                    <a:pt x="114" y="17"/>
                    <a:pt x="111" y="18"/>
                    <a:pt x="109" y="20"/>
                  </a:cubicBezTo>
                  <a:cubicBezTo>
                    <a:pt x="105" y="23"/>
                    <a:pt x="103" y="28"/>
                    <a:pt x="101" y="32"/>
                  </a:cubicBezTo>
                  <a:cubicBezTo>
                    <a:pt x="95" y="43"/>
                    <a:pt x="82" y="54"/>
                    <a:pt x="73" y="62"/>
                  </a:cubicBezTo>
                  <a:cubicBezTo>
                    <a:pt x="62" y="73"/>
                    <a:pt x="52" y="83"/>
                    <a:pt x="40" y="94"/>
                  </a:cubicBezTo>
                  <a:cubicBezTo>
                    <a:pt x="29" y="104"/>
                    <a:pt x="18" y="114"/>
                    <a:pt x="8" y="125"/>
                  </a:cubicBezTo>
                  <a:cubicBezTo>
                    <a:pt x="0" y="135"/>
                    <a:pt x="3" y="142"/>
                    <a:pt x="4" y="144"/>
                  </a:cubicBezTo>
                  <a:cubicBezTo>
                    <a:pt x="11" y="159"/>
                    <a:pt x="19" y="164"/>
                    <a:pt x="29" y="172"/>
                  </a:cubicBezTo>
                  <a:cubicBezTo>
                    <a:pt x="32" y="175"/>
                    <a:pt x="35" y="178"/>
                    <a:pt x="38" y="181"/>
                  </a:cubicBezTo>
                  <a:cubicBezTo>
                    <a:pt x="50" y="192"/>
                    <a:pt x="63" y="202"/>
                    <a:pt x="75" y="213"/>
                  </a:cubicBezTo>
                  <a:cubicBezTo>
                    <a:pt x="89" y="224"/>
                    <a:pt x="94" y="229"/>
                    <a:pt x="107" y="240"/>
                  </a:cubicBezTo>
                  <a:cubicBezTo>
                    <a:pt x="114" y="247"/>
                    <a:pt x="119" y="254"/>
                    <a:pt x="125" y="265"/>
                  </a:cubicBezTo>
                  <a:cubicBezTo>
                    <a:pt x="146" y="268"/>
                    <a:pt x="167" y="236"/>
                    <a:pt x="149" y="199"/>
                  </a:cubicBezTo>
                  <a:cubicBezTo>
                    <a:pt x="146" y="192"/>
                    <a:pt x="142" y="187"/>
                    <a:pt x="136" y="183"/>
                  </a:cubicBezTo>
                  <a:cubicBezTo>
                    <a:pt x="114" y="168"/>
                    <a:pt x="70" y="136"/>
                    <a:pt x="70" y="136"/>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4">
              <a:extLst>
                <a:ext uri="{FF2B5EF4-FFF2-40B4-BE49-F238E27FC236}">
                  <a16:creationId xmlns:a16="http://schemas.microsoft.com/office/drawing/2014/main" id="{8B3517A5-B31A-44AE-9126-84B254D2A142}"/>
                </a:ext>
              </a:extLst>
            </p:cNvPr>
            <p:cNvSpPr>
              <a:spLocks/>
            </p:cNvSpPr>
            <p:nvPr/>
          </p:nvSpPr>
          <p:spPr bwMode="auto">
            <a:xfrm>
              <a:off x="2566" y="2494"/>
              <a:ext cx="55" cy="37"/>
            </a:xfrm>
            <a:custGeom>
              <a:avLst/>
              <a:gdLst>
                <a:gd name="T0" fmla="*/ 25 w 31"/>
                <a:gd name="T1" fmla="*/ 0 h 21"/>
                <a:gd name="T2" fmla="*/ 0 w 31"/>
                <a:gd name="T3" fmla="*/ 18 h 21"/>
                <a:gd name="T4" fmla="*/ 31 w 31"/>
                <a:gd name="T5" fmla="*/ 4 h 21"/>
                <a:gd name="T6" fmla="*/ 25 w 31"/>
                <a:gd name="T7" fmla="*/ 0 h 21"/>
              </a:gdLst>
              <a:ahLst/>
              <a:cxnLst>
                <a:cxn ang="0">
                  <a:pos x="T0" y="T1"/>
                </a:cxn>
                <a:cxn ang="0">
                  <a:pos x="T2" y="T3"/>
                </a:cxn>
                <a:cxn ang="0">
                  <a:pos x="T4" y="T5"/>
                </a:cxn>
                <a:cxn ang="0">
                  <a:pos x="T6" y="T7"/>
                </a:cxn>
              </a:cxnLst>
              <a:rect l="0" t="0" r="r" b="b"/>
              <a:pathLst>
                <a:path w="31" h="21">
                  <a:moveTo>
                    <a:pt x="25" y="0"/>
                  </a:moveTo>
                  <a:cubicBezTo>
                    <a:pt x="25" y="0"/>
                    <a:pt x="16" y="13"/>
                    <a:pt x="0" y="18"/>
                  </a:cubicBezTo>
                  <a:cubicBezTo>
                    <a:pt x="0" y="18"/>
                    <a:pt x="13" y="21"/>
                    <a:pt x="31" y="4"/>
                  </a:cubicBezTo>
                  <a:lnTo>
                    <a:pt x="25"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5">
              <a:extLst>
                <a:ext uri="{FF2B5EF4-FFF2-40B4-BE49-F238E27FC236}">
                  <a16:creationId xmlns:a16="http://schemas.microsoft.com/office/drawing/2014/main" id="{08B227DB-161D-40B4-97E6-12BCCF0A691C}"/>
                </a:ext>
              </a:extLst>
            </p:cNvPr>
            <p:cNvSpPr>
              <a:spLocks/>
            </p:cNvSpPr>
            <p:nvPr/>
          </p:nvSpPr>
          <p:spPr bwMode="auto">
            <a:xfrm>
              <a:off x="2625" y="2540"/>
              <a:ext cx="142" cy="209"/>
            </a:xfrm>
            <a:custGeom>
              <a:avLst/>
              <a:gdLst>
                <a:gd name="T0" fmla="*/ 69 w 80"/>
                <a:gd name="T1" fmla="*/ 26 h 117"/>
                <a:gd name="T2" fmla="*/ 28 w 80"/>
                <a:gd name="T3" fmla="*/ 0 h 117"/>
                <a:gd name="T4" fmla="*/ 26 w 80"/>
                <a:gd name="T5" fmla="*/ 27 h 117"/>
                <a:gd name="T6" fmla="*/ 0 w 80"/>
                <a:gd name="T7" fmla="*/ 60 h 117"/>
                <a:gd name="T8" fmla="*/ 26 w 80"/>
                <a:gd name="T9" fmla="*/ 82 h 117"/>
                <a:gd name="T10" fmla="*/ 55 w 80"/>
                <a:gd name="T11" fmla="*/ 117 h 117"/>
                <a:gd name="T12" fmla="*/ 77 w 80"/>
                <a:gd name="T13" fmla="*/ 82 h 117"/>
                <a:gd name="T14" fmla="*/ 69 w 80"/>
                <a:gd name="T15" fmla="*/ 26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17">
                  <a:moveTo>
                    <a:pt x="69" y="26"/>
                  </a:moveTo>
                  <a:cubicBezTo>
                    <a:pt x="64" y="22"/>
                    <a:pt x="52" y="15"/>
                    <a:pt x="28" y="0"/>
                  </a:cubicBezTo>
                  <a:cubicBezTo>
                    <a:pt x="28" y="0"/>
                    <a:pt x="31" y="7"/>
                    <a:pt x="26" y="27"/>
                  </a:cubicBezTo>
                  <a:cubicBezTo>
                    <a:pt x="20" y="46"/>
                    <a:pt x="8" y="59"/>
                    <a:pt x="0" y="60"/>
                  </a:cubicBezTo>
                  <a:cubicBezTo>
                    <a:pt x="0" y="60"/>
                    <a:pt x="13" y="70"/>
                    <a:pt x="26" y="82"/>
                  </a:cubicBezTo>
                  <a:cubicBezTo>
                    <a:pt x="38" y="94"/>
                    <a:pt x="48" y="103"/>
                    <a:pt x="55" y="117"/>
                  </a:cubicBezTo>
                  <a:cubicBezTo>
                    <a:pt x="55" y="117"/>
                    <a:pt x="73" y="112"/>
                    <a:pt x="77" y="82"/>
                  </a:cubicBezTo>
                  <a:cubicBezTo>
                    <a:pt x="80" y="61"/>
                    <a:pt x="78" y="37"/>
                    <a:pt x="69" y="2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6">
              <a:extLst>
                <a:ext uri="{FF2B5EF4-FFF2-40B4-BE49-F238E27FC236}">
                  <a16:creationId xmlns:a16="http://schemas.microsoft.com/office/drawing/2014/main" id="{CA07EB5A-C6C8-4D42-BC8D-A8688CCFE2F6}"/>
                </a:ext>
              </a:extLst>
            </p:cNvPr>
            <p:cNvSpPr>
              <a:spLocks/>
            </p:cNvSpPr>
            <p:nvPr/>
          </p:nvSpPr>
          <p:spPr bwMode="auto">
            <a:xfrm>
              <a:off x="2710" y="2274"/>
              <a:ext cx="287" cy="298"/>
            </a:xfrm>
            <a:custGeom>
              <a:avLst/>
              <a:gdLst>
                <a:gd name="T0" fmla="*/ 154 w 161"/>
                <a:gd name="T1" fmla="*/ 79 h 167"/>
                <a:gd name="T2" fmla="*/ 151 w 161"/>
                <a:gd name="T3" fmla="*/ 32 h 167"/>
                <a:gd name="T4" fmla="*/ 82 w 161"/>
                <a:gd name="T5" fmla="*/ 0 h 167"/>
                <a:gd name="T6" fmla="*/ 73 w 161"/>
                <a:gd name="T7" fmla="*/ 0 h 167"/>
                <a:gd name="T8" fmla="*/ 0 w 161"/>
                <a:gd name="T9" fmla="*/ 70 h 167"/>
                <a:gd name="T10" fmla="*/ 0 w 161"/>
                <a:gd name="T11" fmla="*/ 70 h 167"/>
                <a:gd name="T12" fmla="*/ 14 w 161"/>
                <a:gd name="T13" fmla="*/ 138 h 167"/>
                <a:gd name="T14" fmla="*/ 65 w 161"/>
                <a:gd name="T15" fmla="*/ 162 h 167"/>
                <a:gd name="T16" fmla="*/ 150 w 161"/>
                <a:gd name="T17" fmla="*/ 141 h 167"/>
                <a:gd name="T18" fmla="*/ 133 w 161"/>
                <a:gd name="T19" fmla="*/ 124 h 167"/>
                <a:gd name="T20" fmla="*/ 125 w 161"/>
                <a:gd name="T21" fmla="*/ 114 h 167"/>
                <a:gd name="T22" fmla="*/ 138 w 161"/>
                <a:gd name="T23" fmla="*/ 95 h 167"/>
                <a:gd name="T24" fmla="*/ 154 w 161"/>
                <a:gd name="T25" fmla="*/ 7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167">
                  <a:moveTo>
                    <a:pt x="154" y="79"/>
                  </a:moveTo>
                  <a:cubicBezTo>
                    <a:pt x="161" y="64"/>
                    <a:pt x="160" y="45"/>
                    <a:pt x="151" y="32"/>
                  </a:cubicBezTo>
                  <a:cubicBezTo>
                    <a:pt x="136" y="10"/>
                    <a:pt x="110" y="0"/>
                    <a:pt x="82" y="0"/>
                  </a:cubicBezTo>
                  <a:cubicBezTo>
                    <a:pt x="73" y="0"/>
                    <a:pt x="73" y="0"/>
                    <a:pt x="73" y="0"/>
                  </a:cubicBezTo>
                  <a:cubicBezTo>
                    <a:pt x="35" y="1"/>
                    <a:pt x="0" y="34"/>
                    <a:pt x="0" y="70"/>
                  </a:cubicBezTo>
                  <a:cubicBezTo>
                    <a:pt x="0" y="70"/>
                    <a:pt x="0" y="70"/>
                    <a:pt x="0" y="70"/>
                  </a:cubicBezTo>
                  <a:cubicBezTo>
                    <a:pt x="0" y="96"/>
                    <a:pt x="0" y="120"/>
                    <a:pt x="14" y="138"/>
                  </a:cubicBezTo>
                  <a:cubicBezTo>
                    <a:pt x="27" y="154"/>
                    <a:pt x="48" y="160"/>
                    <a:pt x="65" y="162"/>
                  </a:cubicBezTo>
                  <a:cubicBezTo>
                    <a:pt x="98" y="167"/>
                    <a:pt x="135" y="164"/>
                    <a:pt x="150" y="141"/>
                  </a:cubicBezTo>
                  <a:cubicBezTo>
                    <a:pt x="150" y="141"/>
                    <a:pt x="131" y="145"/>
                    <a:pt x="133" y="124"/>
                  </a:cubicBezTo>
                  <a:cubicBezTo>
                    <a:pt x="133" y="121"/>
                    <a:pt x="130" y="117"/>
                    <a:pt x="125" y="114"/>
                  </a:cubicBezTo>
                  <a:cubicBezTo>
                    <a:pt x="129" y="107"/>
                    <a:pt x="133" y="101"/>
                    <a:pt x="138" y="95"/>
                  </a:cubicBezTo>
                  <a:cubicBezTo>
                    <a:pt x="144" y="89"/>
                    <a:pt x="150" y="86"/>
                    <a:pt x="154" y="7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7">
              <a:extLst>
                <a:ext uri="{FF2B5EF4-FFF2-40B4-BE49-F238E27FC236}">
                  <a16:creationId xmlns:a16="http://schemas.microsoft.com/office/drawing/2014/main" id="{544DD64C-0433-45D9-854B-5302F73D99EC}"/>
                </a:ext>
              </a:extLst>
            </p:cNvPr>
            <p:cNvSpPr>
              <a:spLocks/>
            </p:cNvSpPr>
            <p:nvPr/>
          </p:nvSpPr>
          <p:spPr bwMode="auto">
            <a:xfrm>
              <a:off x="2739" y="2353"/>
              <a:ext cx="228" cy="292"/>
            </a:xfrm>
            <a:custGeom>
              <a:avLst/>
              <a:gdLst>
                <a:gd name="T0" fmla="*/ 128 w 128"/>
                <a:gd name="T1" fmla="*/ 53 h 164"/>
                <a:gd name="T2" fmla="*/ 109 w 128"/>
                <a:gd name="T3" fmla="*/ 105 h 164"/>
                <a:gd name="T4" fmla="*/ 79 w 128"/>
                <a:gd name="T5" fmla="*/ 104 h 164"/>
                <a:gd name="T6" fmla="*/ 80 w 128"/>
                <a:gd name="T7" fmla="*/ 127 h 164"/>
                <a:gd name="T8" fmla="*/ 93 w 128"/>
                <a:gd name="T9" fmla="*/ 152 h 164"/>
                <a:gd name="T10" fmla="*/ 56 w 128"/>
                <a:gd name="T11" fmla="*/ 154 h 164"/>
                <a:gd name="T12" fmla="*/ 33 w 128"/>
                <a:gd name="T13" fmla="*/ 134 h 164"/>
                <a:gd name="T14" fmla="*/ 31 w 128"/>
                <a:gd name="T15" fmla="*/ 129 h 164"/>
                <a:gd name="T16" fmla="*/ 30 w 128"/>
                <a:gd name="T17" fmla="*/ 74 h 164"/>
                <a:gd name="T18" fmla="*/ 12 w 128"/>
                <a:gd name="T19" fmla="*/ 74 h 164"/>
                <a:gd name="T20" fmla="*/ 7 w 128"/>
                <a:gd name="T21" fmla="*/ 43 h 164"/>
                <a:gd name="T22" fmla="*/ 30 w 128"/>
                <a:gd name="T23" fmla="*/ 46 h 164"/>
                <a:gd name="T24" fmla="*/ 38 w 128"/>
                <a:gd name="T25" fmla="*/ 56 h 164"/>
                <a:gd name="T26" fmla="*/ 43 w 128"/>
                <a:gd name="T27" fmla="*/ 47 h 164"/>
                <a:gd name="T28" fmla="*/ 44 w 128"/>
                <a:gd name="T29" fmla="*/ 37 h 164"/>
                <a:gd name="T30" fmla="*/ 68 w 128"/>
                <a:gd name="T31" fmla="*/ 7 h 164"/>
                <a:gd name="T32" fmla="*/ 93 w 128"/>
                <a:gd name="T33" fmla="*/ 12 h 164"/>
                <a:gd name="T34" fmla="*/ 119 w 128"/>
                <a:gd name="T35" fmla="*/ 0 h 164"/>
                <a:gd name="T36" fmla="*/ 122 w 128"/>
                <a:gd name="T37" fmla="*/ 7 h 164"/>
                <a:gd name="T38" fmla="*/ 126 w 128"/>
                <a:gd name="T39" fmla="*/ 22 h 164"/>
                <a:gd name="T40" fmla="*/ 128 w 128"/>
                <a:gd name="T41" fmla="*/ 5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 h="164">
                  <a:moveTo>
                    <a:pt x="128" y="53"/>
                  </a:moveTo>
                  <a:cubicBezTo>
                    <a:pt x="128" y="92"/>
                    <a:pt x="116" y="102"/>
                    <a:pt x="109" y="105"/>
                  </a:cubicBezTo>
                  <a:cubicBezTo>
                    <a:pt x="103" y="108"/>
                    <a:pt x="91" y="106"/>
                    <a:pt x="79" y="104"/>
                  </a:cubicBezTo>
                  <a:cubicBezTo>
                    <a:pt x="80" y="127"/>
                    <a:pt x="80" y="127"/>
                    <a:pt x="80" y="127"/>
                  </a:cubicBezTo>
                  <a:cubicBezTo>
                    <a:pt x="80" y="127"/>
                    <a:pt x="94" y="141"/>
                    <a:pt x="93" y="152"/>
                  </a:cubicBezTo>
                  <a:cubicBezTo>
                    <a:pt x="92" y="163"/>
                    <a:pt x="72" y="164"/>
                    <a:pt x="56" y="154"/>
                  </a:cubicBezTo>
                  <a:cubicBezTo>
                    <a:pt x="45" y="147"/>
                    <a:pt x="37" y="138"/>
                    <a:pt x="33" y="134"/>
                  </a:cubicBezTo>
                  <a:cubicBezTo>
                    <a:pt x="32" y="133"/>
                    <a:pt x="31" y="131"/>
                    <a:pt x="31" y="129"/>
                  </a:cubicBezTo>
                  <a:cubicBezTo>
                    <a:pt x="30" y="74"/>
                    <a:pt x="30" y="74"/>
                    <a:pt x="30" y="74"/>
                  </a:cubicBezTo>
                  <a:cubicBezTo>
                    <a:pt x="30" y="74"/>
                    <a:pt x="24" y="81"/>
                    <a:pt x="12" y="74"/>
                  </a:cubicBezTo>
                  <a:cubicBezTo>
                    <a:pt x="1" y="66"/>
                    <a:pt x="0" y="52"/>
                    <a:pt x="7" y="43"/>
                  </a:cubicBezTo>
                  <a:cubicBezTo>
                    <a:pt x="11" y="37"/>
                    <a:pt x="24" y="37"/>
                    <a:pt x="30" y="46"/>
                  </a:cubicBezTo>
                  <a:cubicBezTo>
                    <a:pt x="34" y="52"/>
                    <a:pt x="33" y="57"/>
                    <a:pt x="38" y="56"/>
                  </a:cubicBezTo>
                  <a:cubicBezTo>
                    <a:pt x="43" y="55"/>
                    <a:pt x="43" y="50"/>
                    <a:pt x="43" y="47"/>
                  </a:cubicBezTo>
                  <a:cubicBezTo>
                    <a:pt x="44" y="43"/>
                    <a:pt x="44" y="42"/>
                    <a:pt x="44" y="37"/>
                  </a:cubicBezTo>
                  <a:cubicBezTo>
                    <a:pt x="55" y="34"/>
                    <a:pt x="67" y="18"/>
                    <a:pt x="68" y="7"/>
                  </a:cubicBezTo>
                  <a:cubicBezTo>
                    <a:pt x="77" y="10"/>
                    <a:pt x="85" y="13"/>
                    <a:pt x="93" y="12"/>
                  </a:cubicBezTo>
                  <a:cubicBezTo>
                    <a:pt x="106" y="12"/>
                    <a:pt x="113" y="9"/>
                    <a:pt x="119" y="0"/>
                  </a:cubicBezTo>
                  <a:cubicBezTo>
                    <a:pt x="120" y="2"/>
                    <a:pt x="122" y="5"/>
                    <a:pt x="122" y="7"/>
                  </a:cubicBezTo>
                  <a:cubicBezTo>
                    <a:pt x="124" y="13"/>
                    <a:pt x="126" y="17"/>
                    <a:pt x="126" y="22"/>
                  </a:cubicBezTo>
                  <a:cubicBezTo>
                    <a:pt x="128" y="32"/>
                    <a:pt x="128" y="43"/>
                    <a:pt x="128" y="53"/>
                  </a:cubicBezTo>
                  <a:close/>
                </a:path>
              </a:pathLst>
            </a:custGeom>
            <a:solidFill>
              <a:srgbClr val="FF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8">
              <a:extLst>
                <a:ext uri="{FF2B5EF4-FFF2-40B4-BE49-F238E27FC236}">
                  <a16:creationId xmlns:a16="http://schemas.microsoft.com/office/drawing/2014/main" id="{E5E7406E-A85A-402F-8968-91AE78234969}"/>
                </a:ext>
              </a:extLst>
            </p:cNvPr>
            <p:cNvSpPr>
              <a:spLocks/>
            </p:cNvSpPr>
            <p:nvPr/>
          </p:nvSpPr>
          <p:spPr bwMode="auto">
            <a:xfrm>
              <a:off x="2805" y="2506"/>
              <a:ext cx="75" cy="47"/>
            </a:xfrm>
            <a:custGeom>
              <a:avLst/>
              <a:gdLst>
                <a:gd name="T0" fmla="*/ 42 w 42"/>
                <a:gd name="T1" fmla="*/ 18 h 26"/>
                <a:gd name="T2" fmla="*/ 0 w 42"/>
                <a:gd name="T3" fmla="*/ 0 h 26"/>
                <a:gd name="T4" fmla="*/ 9 w 42"/>
                <a:gd name="T5" fmla="*/ 13 h 26"/>
                <a:gd name="T6" fmla="*/ 42 w 42"/>
                <a:gd name="T7" fmla="*/ 26 h 26"/>
                <a:gd name="T8" fmla="*/ 42 w 42"/>
                <a:gd name="T9" fmla="*/ 18 h 26"/>
              </a:gdLst>
              <a:ahLst/>
              <a:cxnLst>
                <a:cxn ang="0">
                  <a:pos x="T0" y="T1"/>
                </a:cxn>
                <a:cxn ang="0">
                  <a:pos x="T2" y="T3"/>
                </a:cxn>
                <a:cxn ang="0">
                  <a:pos x="T4" y="T5"/>
                </a:cxn>
                <a:cxn ang="0">
                  <a:pos x="T6" y="T7"/>
                </a:cxn>
                <a:cxn ang="0">
                  <a:pos x="T8" y="T9"/>
                </a:cxn>
              </a:cxnLst>
              <a:rect l="0" t="0" r="r" b="b"/>
              <a:pathLst>
                <a:path w="42" h="26">
                  <a:moveTo>
                    <a:pt x="42" y="18"/>
                  </a:moveTo>
                  <a:cubicBezTo>
                    <a:pt x="30" y="17"/>
                    <a:pt x="4" y="10"/>
                    <a:pt x="0" y="0"/>
                  </a:cubicBezTo>
                  <a:cubicBezTo>
                    <a:pt x="0" y="0"/>
                    <a:pt x="2" y="6"/>
                    <a:pt x="9" y="13"/>
                  </a:cubicBezTo>
                  <a:cubicBezTo>
                    <a:pt x="17" y="19"/>
                    <a:pt x="42" y="26"/>
                    <a:pt x="42" y="26"/>
                  </a:cubicBezTo>
                  <a:lnTo>
                    <a:pt x="42" y="18"/>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9">
              <a:extLst>
                <a:ext uri="{FF2B5EF4-FFF2-40B4-BE49-F238E27FC236}">
                  <a16:creationId xmlns:a16="http://schemas.microsoft.com/office/drawing/2014/main" id="{74C8D984-12CE-4A07-9EF9-6748037C756D}"/>
                </a:ext>
              </a:extLst>
            </p:cNvPr>
            <p:cNvSpPr>
              <a:spLocks/>
            </p:cNvSpPr>
            <p:nvPr/>
          </p:nvSpPr>
          <p:spPr bwMode="auto">
            <a:xfrm>
              <a:off x="2885" y="2494"/>
              <a:ext cx="18" cy="18"/>
            </a:xfrm>
            <a:custGeom>
              <a:avLst/>
              <a:gdLst>
                <a:gd name="T0" fmla="*/ 10 w 10"/>
                <a:gd name="T1" fmla="*/ 5 h 10"/>
                <a:gd name="T2" fmla="*/ 5 w 10"/>
                <a:gd name="T3" fmla="*/ 10 h 10"/>
                <a:gd name="T4" fmla="*/ 0 w 10"/>
                <a:gd name="T5" fmla="*/ 5 h 10"/>
                <a:gd name="T6" fmla="*/ 5 w 10"/>
                <a:gd name="T7" fmla="*/ 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7"/>
                    <a:pt x="8" y="10"/>
                    <a:pt x="5" y="10"/>
                  </a:cubicBezTo>
                  <a:cubicBezTo>
                    <a:pt x="2" y="10"/>
                    <a:pt x="0" y="7"/>
                    <a:pt x="0" y="5"/>
                  </a:cubicBezTo>
                  <a:cubicBezTo>
                    <a:pt x="0" y="2"/>
                    <a:pt x="2" y="0"/>
                    <a:pt x="5" y="0"/>
                  </a:cubicBezTo>
                  <a:cubicBezTo>
                    <a:pt x="7" y="0"/>
                    <a:pt x="10" y="2"/>
                    <a:pt x="10" y="5"/>
                  </a:cubicBezTo>
                  <a:close/>
                </a:path>
              </a:pathLst>
            </a:custGeom>
            <a:solidFill>
              <a:srgbClr val="B166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00">
              <a:extLst>
                <a:ext uri="{FF2B5EF4-FFF2-40B4-BE49-F238E27FC236}">
                  <a16:creationId xmlns:a16="http://schemas.microsoft.com/office/drawing/2014/main" id="{429137B1-8367-4C56-A11E-EAF94009B57D}"/>
                </a:ext>
              </a:extLst>
            </p:cNvPr>
            <p:cNvSpPr>
              <a:spLocks/>
            </p:cNvSpPr>
            <p:nvPr/>
          </p:nvSpPr>
          <p:spPr bwMode="auto">
            <a:xfrm>
              <a:off x="2871" y="2424"/>
              <a:ext cx="21" cy="22"/>
            </a:xfrm>
            <a:custGeom>
              <a:avLst/>
              <a:gdLst>
                <a:gd name="T0" fmla="*/ 11 w 12"/>
                <a:gd name="T1" fmla="*/ 6 h 12"/>
                <a:gd name="T2" fmla="*/ 6 w 12"/>
                <a:gd name="T3" fmla="*/ 11 h 12"/>
                <a:gd name="T4" fmla="*/ 1 w 12"/>
                <a:gd name="T5" fmla="*/ 6 h 12"/>
                <a:gd name="T6" fmla="*/ 6 w 12"/>
                <a:gd name="T7" fmla="*/ 0 h 12"/>
                <a:gd name="T8" fmla="*/ 11 w 12"/>
                <a:gd name="T9" fmla="*/ 6 h 12"/>
              </a:gdLst>
              <a:ahLst/>
              <a:cxnLst>
                <a:cxn ang="0">
                  <a:pos x="T0" y="T1"/>
                </a:cxn>
                <a:cxn ang="0">
                  <a:pos x="T2" y="T3"/>
                </a:cxn>
                <a:cxn ang="0">
                  <a:pos x="T4" y="T5"/>
                </a:cxn>
                <a:cxn ang="0">
                  <a:pos x="T6" y="T7"/>
                </a:cxn>
                <a:cxn ang="0">
                  <a:pos x="T8" y="T9"/>
                </a:cxn>
              </a:cxnLst>
              <a:rect l="0" t="0" r="r" b="b"/>
              <a:pathLst>
                <a:path w="12" h="12">
                  <a:moveTo>
                    <a:pt x="11" y="6"/>
                  </a:moveTo>
                  <a:cubicBezTo>
                    <a:pt x="12" y="9"/>
                    <a:pt x="9" y="11"/>
                    <a:pt x="6" y="11"/>
                  </a:cubicBezTo>
                  <a:cubicBezTo>
                    <a:pt x="3" y="12"/>
                    <a:pt x="1" y="9"/>
                    <a:pt x="1" y="6"/>
                  </a:cubicBezTo>
                  <a:cubicBezTo>
                    <a:pt x="0" y="3"/>
                    <a:pt x="3" y="1"/>
                    <a:pt x="6" y="0"/>
                  </a:cubicBezTo>
                  <a:cubicBezTo>
                    <a:pt x="9" y="0"/>
                    <a:pt x="11" y="2"/>
                    <a:pt x="1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01">
              <a:extLst>
                <a:ext uri="{FF2B5EF4-FFF2-40B4-BE49-F238E27FC236}">
                  <a16:creationId xmlns:a16="http://schemas.microsoft.com/office/drawing/2014/main" id="{10B17F01-019B-40A2-8C5E-775ABD9A90B7}"/>
                </a:ext>
              </a:extLst>
            </p:cNvPr>
            <p:cNvSpPr>
              <a:spLocks/>
            </p:cNvSpPr>
            <p:nvPr/>
          </p:nvSpPr>
          <p:spPr bwMode="auto">
            <a:xfrm>
              <a:off x="2938" y="2421"/>
              <a:ext cx="18" cy="19"/>
            </a:xfrm>
            <a:custGeom>
              <a:avLst/>
              <a:gdLst>
                <a:gd name="T0" fmla="*/ 9 w 10"/>
                <a:gd name="T1" fmla="*/ 5 h 11"/>
                <a:gd name="T2" fmla="*/ 5 w 10"/>
                <a:gd name="T3" fmla="*/ 11 h 11"/>
                <a:gd name="T4" fmla="*/ 0 w 10"/>
                <a:gd name="T5" fmla="*/ 6 h 11"/>
                <a:gd name="T6" fmla="*/ 4 w 10"/>
                <a:gd name="T7" fmla="*/ 1 h 11"/>
                <a:gd name="T8" fmla="*/ 9 w 10"/>
                <a:gd name="T9" fmla="*/ 5 h 11"/>
              </a:gdLst>
              <a:ahLst/>
              <a:cxnLst>
                <a:cxn ang="0">
                  <a:pos x="T0" y="T1"/>
                </a:cxn>
                <a:cxn ang="0">
                  <a:pos x="T2" y="T3"/>
                </a:cxn>
                <a:cxn ang="0">
                  <a:pos x="T4" y="T5"/>
                </a:cxn>
                <a:cxn ang="0">
                  <a:pos x="T6" y="T7"/>
                </a:cxn>
                <a:cxn ang="0">
                  <a:pos x="T8" y="T9"/>
                </a:cxn>
              </a:cxnLst>
              <a:rect l="0" t="0" r="r" b="b"/>
              <a:pathLst>
                <a:path w="10" h="11">
                  <a:moveTo>
                    <a:pt x="9" y="5"/>
                  </a:moveTo>
                  <a:cubicBezTo>
                    <a:pt x="10" y="8"/>
                    <a:pt x="8" y="10"/>
                    <a:pt x="5" y="11"/>
                  </a:cubicBezTo>
                  <a:cubicBezTo>
                    <a:pt x="2" y="11"/>
                    <a:pt x="0" y="9"/>
                    <a:pt x="0" y="6"/>
                  </a:cubicBezTo>
                  <a:cubicBezTo>
                    <a:pt x="0" y="3"/>
                    <a:pt x="2" y="1"/>
                    <a:pt x="4" y="1"/>
                  </a:cubicBezTo>
                  <a:cubicBezTo>
                    <a:pt x="7" y="0"/>
                    <a:pt x="9" y="2"/>
                    <a:pt x="9"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2">
              <a:extLst>
                <a:ext uri="{FF2B5EF4-FFF2-40B4-BE49-F238E27FC236}">
                  <a16:creationId xmlns:a16="http://schemas.microsoft.com/office/drawing/2014/main" id="{1430E25E-1FBC-42B3-AE46-B6095AEEE150}"/>
                </a:ext>
              </a:extLst>
            </p:cNvPr>
            <p:cNvSpPr>
              <a:spLocks/>
            </p:cNvSpPr>
            <p:nvPr/>
          </p:nvSpPr>
          <p:spPr bwMode="auto">
            <a:xfrm>
              <a:off x="2910" y="2421"/>
              <a:ext cx="37" cy="57"/>
            </a:xfrm>
            <a:custGeom>
              <a:avLst/>
              <a:gdLst>
                <a:gd name="T0" fmla="*/ 0 w 37"/>
                <a:gd name="T1" fmla="*/ 0 h 57"/>
                <a:gd name="T2" fmla="*/ 7 w 37"/>
                <a:gd name="T3" fmla="*/ 57 h 57"/>
                <a:gd name="T4" fmla="*/ 37 w 37"/>
                <a:gd name="T5" fmla="*/ 46 h 57"/>
                <a:gd name="T6" fmla="*/ 0 w 37"/>
                <a:gd name="T7" fmla="*/ 0 h 57"/>
              </a:gdLst>
              <a:ahLst/>
              <a:cxnLst>
                <a:cxn ang="0">
                  <a:pos x="T0" y="T1"/>
                </a:cxn>
                <a:cxn ang="0">
                  <a:pos x="T2" y="T3"/>
                </a:cxn>
                <a:cxn ang="0">
                  <a:pos x="T4" y="T5"/>
                </a:cxn>
                <a:cxn ang="0">
                  <a:pos x="T6" y="T7"/>
                </a:cxn>
              </a:cxnLst>
              <a:rect l="0" t="0" r="r" b="b"/>
              <a:pathLst>
                <a:path w="37" h="57">
                  <a:moveTo>
                    <a:pt x="0" y="0"/>
                  </a:moveTo>
                  <a:lnTo>
                    <a:pt x="7" y="57"/>
                  </a:lnTo>
                  <a:lnTo>
                    <a:pt x="37" y="46"/>
                  </a:lnTo>
                  <a:lnTo>
                    <a:pt x="0" y="0"/>
                  </a:lnTo>
                  <a:close/>
                </a:path>
              </a:pathLst>
            </a:custGeom>
            <a:solidFill>
              <a:srgbClr val="F2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3">
              <a:extLst>
                <a:ext uri="{FF2B5EF4-FFF2-40B4-BE49-F238E27FC236}">
                  <a16:creationId xmlns:a16="http://schemas.microsoft.com/office/drawing/2014/main" id="{484BDD5F-6C16-42ED-944E-7B60325918DD}"/>
                </a:ext>
              </a:extLst>
            </p:cNvPr>
            <p:cNvSpPr>
              <a:spLocks/>
            </p:cNvSpPr>
            <p:nvPr/>
          </p:nvSpPr>
          <p:spPr bwMode="auto">
            <a:xfrm>
              <a:off x="2856" y="2392"/>
              <a:ext cx="22" cy="23"/>
            </a:xfrm>
            <a:custGeom>
              <a:avLst/>
              <a:gdLst>
                <a:gd name="T0" fmla="*/ 0 w 12"/>
                <a:gd name="T1" fmla="*/ 10 h 13"/>
                <a:gd name="T2" fmla="*/ 10 w 12"/>
                <a:gd name="T3" fmla="*/ 0 h 13"/>
                <a:gd name="T4" fmla="*/ 9 w 12"/>
                <a:gd name="T5" fmla="*/ 10 h 13"/>
                <a:gd name="T6" fmla="*/ 0 w 12"/>
                <a:gd name="T7" fmla="*/ 10 h 13"/>
              </a:gdLst>
              <a:ahLst/>
              <a:cxnLst>
                <a:cxn ang="0">
                  <a:pos x="T0" y="T1"/>
                </a:cxn>
                <a:cxn ang="0">
                  <a:pos x="T2" y="T3"/>
                </a:cxn>
                <a:cxn ang="0">
                  <a:pos x="T4" y="T5"/>
                </a:cxn>
                <a:cxn ang="0">
                  <a:pos x="T6" y="T7"/>
                </a:cxn>
              </a:cxnLst>
              <a:rect l="0" t="0" r="r" b="b"/>
              <a:pathLst>
                <a:path w="12" h="13">
                  <a:moveTo>
                    <a:pt x="0" y="10"/>
                  </a:moveTo>
                  <a:cubicBezTo>
                    <a:pt x="10" y="0"/>
                    <a:pt x="10" y="0"/>
                    <a:pt x="10" y="0"/>
                  </a:cubicBezTo>
                  <a:cubicBezTo>
                    <a:pt x="12" y="3"/>
                    <a:pt x="12" y="8"/>
                    <a:pt x="9" y="10"/>
                  </a:cubicBezTo>
                  <a:cubicBezTo>
                    <a:pt x="7" y="13"/>
                    <a:pt x="3" y="12"/>
                    <a:pt x="0"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4">
              <a:extLst>
                <a:ext uri="{FF2B5EF4-FFF2-40B4-BE49-F238E27FC236}">
                  <a16:creationId xmlns:a16="http://schemas.microsoft.com/office/drawing/2014/main" id="{DF0C5A9B-1425-4346-B9FC-69238B5C190D}"/>
                </a:ext>
              </a:extLst>
            </p:cNvPr>
            <p:cNvSpPr>
              <a:spLocks/>
            </p:cNvSpPr>
            <p:nvPr/>
          </p:nvSpPr>
          <p:spPr bwMode="auto">
            <a:xfrm>
              <a:off x="2938" y="2389"/>
              <a:ext cx="24" cy="19"/>
            </a:xfrm>
            <a:custGeom>
              <a:avLst/>
              <a:gdLst>
                <a:gd name="T0" fmla="*/ 2 w 13"/>
                <a:gd name="T1" fmla="*/ 0 h 11"/>
                <a:gd name="T2" fmla="*/ 13 w 13"/>
                <a:gd name="T3" fmla="*/ 8 h 11"/>
                <a:gd name="T4" fmla="*/ 4 w 13"/>
                <a:gd name="T5" fmla="*/ 9 h 11"/>
                <a:gd name="T6" fmla="*/ 2 w 13"/>
                <a:gd name="T7" fmla="*/ 0 h 11"/>
              </a:gdLst>
              <a:ahLst/>
              <a:cxnLst>
                <a:cxn ang="0">
                  <a:pos x="T0" y="T1"/>
                </a:cxn>
                <a:cxn ang="0">
                  <a:pos x="T2" y="T3"/>
                </a:cxn>
                <a:cxn ang="0">
                  <a:pos x="T4" y="T5"/>
                </a:cxn>
                <a:cxn ang="0">
                  <a:pos x="T6" y="T7"/>
                </a:cxn>
              </a:cxnLst>
              <a:rect l="0" t="0" r="r" b="b"/>
              <a:pathLst>
                <a:path w="13" h="11">
                  <a:moveTo>
                    <a:pt x="2" y="0"/>
                  </a:moveTo>
                  <a:cubicBezTo>
                    <a:pt x="13" y="8"/>
                    <a:pt x="13" y="8"/>
                    <a:pt x="13" y="8"/>
                  </a:cubicBezTo>
                  <a:cubicBezTo>
                    <a:pt x="11" y="11"/>
                    <a:pt x="6" y="11"/>
                    <a:pt x="4" y="9"/>
                  </a:cubicBezTo>
                  <a:cubicBezTo>
                    <a:pt x="1" y="7"/>
                    <a:pt x="0" y="3"/>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5">
              <a:extLst>
                <a:ext uri="{FF2B5EF4-FFF2-40B4-BE49-F238E27FC236}">
                  <a16:creationId xmlns:a16="http://schemas.microsoft.com/office/drawing/2014/main" id="{C2E04471-6241-4DD2-B0A9-98949AAB0198}"/>
                </a:ext>
              </a:extLst>
            </p:cNvPr>
            <p:cNvSpPr>
              <a:spLocks noEditPoints="1"/>
            </p:cNvSpPr>
            <p:nvPr/>
          </p:nvSpPr>
          <p:spPr bwMode="auto">
            <a:xfrm>
              <a:off x="2571" y="1862"/>
              <a:ext cx="227" cy="321"/>
            </a:xfrm>
            <a:custGeom>
              <a:avLst/>
              <a:gdLst>
                <a:gd name="T0" fmla="*/ 55 w 127"/>
                <a:gd name="T1" fmla="*/ 2 h 180"/>
                <a:gd name="T2" fmla="*/ 78 w 127"/>
                <a:gd name="T3" fmla="*/ 0 h 180"/>
                <a:gd name="T4" fmla="*/ 99 w 127"/>
                <a:gd name="T5" fmla="*/ 6 h 180"/>
                <a:gd name="T6" fmla="*/ 116 w 127"/>
                <a:gd name="T7" fmla="*/ 19 h 180"/>
                <a:gd name="T8" fmla="*/ 125 w 127"/>
                <a:gd name="T9" fmla="*/ 40 h 180"/>
                <a:gd name="T10" fmla="*/ 126 w 127"/>
                <a:gd name="T11" fmla="*/ 58 h 180"/>
                <a:gd name="T12" fmla="*/ 120 w 127"/>
                <a:gd name="T13" fmla="*/ 72 h 180"/>
                <a:gd name="T14" fmla="*/ 112 w 127"/>
                <a:gd name="T15" fmla="*/ 85 h 180"/>
                <a:gd name="T16" fmla="*/ 102 w 127"/>
                <a:gd name="T17" fmla="*/ 96 h 180"/>
                <a:gd name="T18" fmla="*/ 95 w 127"/>
                <a:gd name="T19" fmla="*/ 107 h 180"/>
                <a:gd name="T20" fmla="*/ 93 w 127"/>
                <a:gd name="T21" fmla="*/ 118 h 180"/>
                <a:gd name="T22" fmla="*/ 91 w 127"/>
                <a:gd name="T23" fmla="*/ 123 h 180"/>
                <a:gd name="T24" fmla="*/ 87 w 127"/>
                <a:gd name="T25" fmla="*/ 126 h 180"/>
                <a:gd name="T26" fmla="*/ 68 w 127"/>
                <a:gd name="T27" fmla="*/ 129 h 180"/>
                <a:gd name="T28" fmla="*/ 63 w 127"/>
                <a:gd name="T29" fmla="*/ 128 h 180"/>
                <a:gd name="T30" fmla="*/ 60 w 127"/>
                <a:gd name="T31" fmla="*/ 124 h 180"/>
                <a:gd name="T32" fmla="*/ 61 w 127"/>
                <a:gd name="T33" fmla="*/ 106 h 180"/>
                <a:gd name="T34" fmla="*/ 67 w 127"/>
                <a:gd name="T35" fmla="*/ 91 h 180"/>
                <a:gd name="T36" fmla="*/ 76 w 127"/>
                <a:gd name="T37" fmla="*/ 79 h 180"/>
                <a:gd name="T38" fmla="*/ 85 w 127"/>
                <a:gd name="T39" fmla="*/ 68 h 180"/>
                <a:gd name="T40" fmla="*/ 92 w 127"/>
                <a:gd name="T41" fmla="*/ 58 h 180"/>
                <a:gd name="T42" fmla="*/ 93 w 127"/>
                <a:gd name="T43" fmla="*/ 47 h 180"/>
                <a:gd name="T44" fmla="*/ 83 w 127"/>
                <a:gd name="T45" fmla="*/ 33 h 180"/>
                <a:gd name="T46" fmla="*/ 60 w 127"/>
                <a:gd name="T47" fmla="*/ 31 h 180"/>
                <a:gd name="T48" fmla="*/ 33 w 127"/>
                <a:gd name="T49" fmla="*/ 58 h 180"/>
                <a:gd name="T50" fmla="*/ 31 w 127"/>
                <a:gd name="T51" fmla="*/ 63 h 180"/>
                <a:gd name="T52" fmla="*/ 27 w 127"/>
                <a:gd name="T53" fmla="*/ 65 h 180"/>
                <a:gd name="T54" fmla="*/ 7 w 127"/>
                <a:gd name="T55" fmla="*/ 69 h 180"/>
                <a:gd name="T56" fmla="*/ 3 w 127"/>
                <a:gd name="T57" fmla="*/ 68 h 180"/>
                <a:gd name="T58" fmla="*/ 1 w 127"/>
                <a:gd name="T59" fmla="*/ 64 h 180"/>
                <a:gd name="T60" fmla="*/ 3 w 127"/>
                <a:gd name="T61" fmla="*/ 46 h 180"/>
                <a:gd name="T62" fmla="*/ 13 w 127"/>
                <a:gd name="T63" fmla="*/ 27 h 180"/>
                <a:gd name="T64" fmla="*/ 31 w 127"/>
                <a:gd name="T65" fmla="*/ 11 h 180"/>
                <a:gd name="T66" fmla="*/ 55 w 127"/>
                <a:gd name="T67" fmla="*/ 2 h 180"/>
                <a:gd name="T68" fmla="*/ 91 w 127"/>
                <a:gd name="T69" fmla="*/ 141 h 180"/>
                <a:gd name="T70" fmla="*/ 96 w 127"/>
                <a:gd name="T71" fmla="*/ 142 h 180"/>
                <a:gd name="T72" fmla="*/ 99 w 127"/>
                <a:gd name="T73" fmla="*/ 146 h 180"/>
                <a:gd name="T74" fmla="*/ 103 w 127"/>
                <a:gd name="T75" fmla="*/ 168 h 180"/>
                <a:gd name="T76" fmla="*/ 102 w 127"/>
                <a:gd name="T77" fmla="*/ 173 h 180"/>
                <a:gd name="T78" fmla="*/ 98 w 127"/>
                <a:gd name="T79" fmla="*/ 176 h 180"/>
                <a:gd name="T80" fmla="*/ 77 w 127"/>
                <a:gd name="T81" fmla="*/ 180 h 180"/>
                <a:gd name="T82" fmla="*/ 71 w 127"/>
                <a:gd name="T83" fmla="*/ 179 h 180"/>
                <a:gd name="T84" fmla="*/ 69 w 127"/>
                <a:gd name="T85" fmla="*/ 174 h 180"/>
                <a:gd name="T86" fmla="*/ 64 w 127"/>
                <a:gd name="T87" fmla="*/ 153 h 180"/>
                <a:gd name="T88" fmla="*/ 66 w 127"/>
                <a:gd name="T89" fmla="*/ 147 h 180"/>
                <a:gd name="T90" fmla="*/ 70 w 127"/>
                <a:gd name="T91" fmla="*/ 145 h 180"/>
                <a:gd name="T92" fmla="*/ 91 w 127"/>
                <a:gd name="T93" fmla="*/ 14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180">
                  <a:moveTo>
                    <a:pt x="55" y="2"/>
                  </a:moveTo>
                  <a:cubicBezTo>
                    <a:pt x="62" y="0"/>
                    <a:pt x="70" y="0"/>
                    <a:pt x="78" y="0"/>
                  </a:cubicBezTo>
                  <a:cubicBezTo>
                    <a:pt x="86" y="1"/>
                    <a:pt x="93" y="3"/>
                    <a:pt x="99" y="6"/>
                  </a:cubicBezTo>
                  <a:cubicBezTo>
                    <a:pt x="106" y="9"/>
                    <a:pt x="111" y="14"/>
                    <a:pt x="116" y="19"/>
                  </a:cubicBezTo>
                  <a:cubicBezTo>
                    <a:pt x="121" y="25"/>
                    <a:pt x="124" y="32"/>
                    <a:pt x="125" y="40"/>
                  </a:cubicBezTo>
                  <a:cubicBezTo>
                    <a:pt x="127" y="46"/>
                    <a:pt x="127" y="52"/>
                    <a:pt x="126" y="58"/>
                  </a:cubicBezTo>
                  <a:cubicBezTo>
                    <a:pt x="124" y="63"/>
                    <a:pt x="123" y="68"/>
                    <a:pt x="120" y="72"/>
                  </a:cubicBezTo>
                  <a:cubicBezTo>
                    <a:pt x="118" y="77"/>
                    <a:pt x="115" y="81"/>
                    <a:pt x="112" y="85"/>
                  </a:cubicBezTo>
                  <a:cubicBezTo>
                    <a:pt x="108" y="89"/>
                    <a:pt x="105" y="93"/>
                    <a:pt x="102" y="96"/>
                  </a:cubicBezTo>
                  <a:cubicBezTo>
                    <a:pt x="100" y="100"/>
                    <a:pt x="97" y="103"/>
                    <a:pt x="95" y="107"/>
                  </a:cubicBezTo>
                  <a:cubicBezTo>
                    <a:pt x="93" y="111"/>
                    <a:pt x="92" y="114"/>
                    <a:pt x="93" y="118"/>
                  </a:cubicBezTo>
                  <a:cubicBezTo>
                    <a:pt x="93" y="120"/>
                    <a:pt x="92" y="122"/>
                    <a:pt x="91" y="123"/>
                  </a:cubicBezTo>
                  <a:cubicBezTo>
                    <a:pt x="90" y="125"/>
                    <a:pt x="89" y="126"/>
                    <a:pt x="87" y="126"/>
                  </a:cubicBezTo>
                  <a:cubicBezTo>
                    <a:pt x="68" y="129"/>
                    <a:pt x="68" y="129"/>
                    <a:pt x="68" y="129"/>
                  </a:cubicBezTo>
                  <a:cubicBezTo>
                    <a:pt x="67" y="130"/>
                    <a:pt x="65" y="129"/>
                    <a:pt x="63" y="128"/>
                  </a:cubicBezTo>
                  <a:cubicBezTo>
                    <a:pt x="61" y="127"/>
                    <a:pt x="61" y="126"/>
                    <a:pt x="60" y="124"/>
                  </a:cubicBezTo>
                  <a:cubicBezTo>
                    <a:pt x="59" y="117"/>
                    <a:pt x="60" y="112"/>
                    <a:pt x="61" y="106"/>
                  </a:cubicBezTo>
                  <a:cubicBezTo>
                    <a:pt x="63" y="101"/>
                    <a:pt x="65" y="96"/>
                    <a:pt x="67" y="91"/>
                  </a:cubicBezTo>
                  <a:cubicBezTo>
                    <a:pt x="70" y="87"/>
                    <a:pt x="73" y="83"/>
                    <a:pt x="76" y="79"/>
                  </a:cubicBezTo>
                  <a:cubicBezTo>
                    <a:pt x="80" y="75"/>
                    <a:pt x="83" y="71"/>
                    <a:pt x="85" y="68"/>
                  </a:cubicBezTo>
                  <a:cubicBezTo>
                    <a:pt x="88" y="64"/>
                    <a:pt x="90" y="61"/>
                    <a:pt x="92" y="58"/>
                  </a:cubicBezTo>
                  <a:cubicBezTo>
                    <a:pt x="94" y="54"/>
                    <a:pt x="94" y="51"/>
                    <a:pt x="93" y="47"/>
                  </a:cubicBezTo>
                  <a:cubicBezTo>
                    <a:pt x="92" y="41"/>
                    <a:pt x="89" y="36"/>
                    <a:pt x="83" y="33"/>
                  </a:cubicBezTo>
                  <a:cubicBezTo>
                    <a:pt x="77" y="30"/>
                    <a:pt x="69" y="30"/>
                    <a:pt x="60" y="31"/>
                  </a:cubicBezTo>
                  <a:cubicBezTo>
                    <a:pt x="46" y="34"/>
                    <a:pt x="37" y="43"/>
                    <a:pt x="33" y="58"/>
                  </a:cubicBezTo>
                  <a:cubicBezTo>
                    <a:pt x="33" y="60"/>
                    <a:pt x="32" y="62"/>
                    <a:pt x="31" y="63"/>
                  </a:cubicBezTo>
                  <a:cubicBezTo>
                    <a:pt x="31" y="64"/>
                    <a:pt x="29" y="65"/>
                    <a:pt x="27" y="65"/>
                  </a:cubicBezTo>
                  <a:cubicBezTo>
                    <a:pt x="7" y="69"/>
                    <a:pt x="7" y="69"/>
                    <a:pt x="7" y="69"/>
                  </a:cubicBezTo>
                  <a:cubicBezTo>
                    <a:pt x="6" y="69"/>
                    <a:pt x="4" y="69"/>
                    <a:pt x="3" y="68"/>
                  </a:cubicBezTo>
                  <a:cubicBezTo>
                    <a:pt x="2" y="67"/>
                    <a:pt x="1" y="66"/>
                    <a:pt x="1" y="64"/>
                  </a:cubicBezTo>
                  <a:cubicBezTo>
                    <a:pt x="0" y="59"/>
                    <a:pt x="0" y="52"/>
                    <a:pt x="3" y="46"/>
                  </a:cubicBezTo>
                  <a:cubicBezTo>
                    <a:pt x="5" y="39"/>
                    <a:pt x="8" y="33"/>
                    <a:pt x="13" y="27"/>
                  </a:cubicBezTo>
                  <a:cubicBezTo>
                    <a:pt x="18" y="21"/>
                    <a:pt x="24" y="15"/>
                    <a:pt x="31" y="11"/>
                  </a:cubicBezTo>
                  <a:cubicBezTo>
                    <a:pt x="38" y="6"/>
                    <a:pt x="46" y="3"/>
                    <a:pt x="55" y="2"/>
                  </a:cubicBezTo>
                  <a:close/>
                  <a:moveTo>
                    <a:pt x="91" y="141"/>
                  </a:moveTo>
                  <a:cubicBezTo>
                    <a:pt x="93" y="140"/>
                    <a:pt x="95" y="141"/>
                    <a:pt x="96" y="142"/>
                  </a:cubicBezTo>
                  <a:cubicBezTo>
                    <a:pt x="98" y="143"/>
                    <a:pt x="99" y="144"/>
                    <a:pt x="99" y="146"/>
                  </a:cubicBezTo>
                  <a:cubicBezTo>
                    <a:pt x="103" y="168"/>
                    <a:pt x="103" y="168"/>
                    <a:pt x="103" y="168"/>
                  </a:cubicBezTo>
                  <a:cubicBezTo>
                    <a:pt x="104" y="170"/>
                    <a:pt x="103" y="171"/>
                    <a:pt x="102" y="173"/>
                  </a:cubicBezTo>
                  <a:cubicBezTo>
                    <a:pt x="101" y="174"/>
                    <a:pt x="100" y="175"/>
                    <a:pt x="98" y="176"/>
                  </a:cubicBezTo>
                  <a:cubicBezTo>
                    <a:pt x="77" y="180"/>
                    <a:pt x="77" y="180"/>
                    <a:pt x="77" y="180"/>
                  </a:cubicBezTo>
                  <a:cubicBezTo>
                    <a:pt x="75" y="180"/>
                    <a:pt x="73" y="180"/>
                    <a:pt x="71" y="179"/>
                  </a:cubicBezTo>
                  <a:cubicBezTo>
                    <a:pt x="70" y="178"/>
                    <a:pt x="69" y="176"/>
                    <a:pt x="69" y="174"/>
                  </a:cubicBezTo>
                  <a:cubicBezTo>
                    <a:pt x="64" y="153"/>
                    <a:pt x="64" y="153"/>
                    <a:pt x="64" y="153"/>
                  </a:cubicBezTo>
                  <a:cubicBezTo>
                    <a:pt x="64" y="151"/>
                    <a:pt x="64" y="149"/>
                    <a:pt x="66" y="147"/>
                  </a:cubicBezTo>
                  <a:cubicBezTo>
                    <a:pt x="67" y="146"/>
                    <a:pt x="68" y="145"/>
                    <a:pt x="70" y="145"/>
                  </a:cubicBezTo>
                  <a:lnTo>
                    <a:pt x="91" y="14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6">
              <a:extLst>
                <a:ext uri="{FF2B5EF4-FFF2-40B4-BE49-F238E27FC236}">
                  <a16:creationId xmlns:a16="http://schemas.microsoft.com/office/drawing/2014/main" id="{E121969F-FC20-4DBF-BF3E-CC6CF755B7D9}"/>
                </a:ext>
              </a:extLst>
            </p:cNvPr>
            <p:cNvSpPr>
              <a:spLocks noEditPoints="1"/>
            </p:cNvSpPr>
            <p:nvPr/>
          </p:nvSpPr>
          <p:spPr bwMode="auto">
            <a:xfrm>
              <a:off x="2906" y="2014"/>
              <a:ext cx="170" cy="212"/>
            </a:xfrm>
            <a:custGeom>
              <a:avLst/>
              <a:gdLst>
                <a:gd name="T0" fmla="*/ 70 w 95"/>
                <a:gd name="T1" fmla="*/ 7 h 119"/>
                <a:gd name="T2" fmla="*/ 83 w 95"/>
                <a:gd name="T3" fmla="*/ 16 h 119"/>
                <a:gd name="T4" fmla="*/ 92 w 95"/>
                <a:gd name="T5" fmla="*/ 29 h 119"/>
                <a:gd name="T6" fmla="*/ 95 w 95"/>
                <a:gd name="T7" fmla="*/ 43 h 119"/>
                <a:gd name="T8" fmla="*/ 91 w 95"/>
                <a:gd name="T9" fmla="*/ 58 h 119"/>
                <a:gd name="T10" fmla="*/ 83 w 95"/>
                <a:gd name="T11" fmla="*/ 68 h 119"/>
                <a:gd name="T12" fmla="*/ 73 w 95"/>
                <a:gd name="T13" fmla="*/ 73 h 119"/>
                <a:gd name="T14" fmla="*/ 63 w 95"/>
                <a:gd name="T15" fmla="*/ 76 h 119"/>
                <a:gd name="T16" fmla="*/ 53 w 95"/>
                <a:gd name="T17" fmla="*/ 78 h 119"/>
                <a:gd name="T18" fmla="*/ 45 w 95"/>
                <a:gd name="T19" fmla="*/ 80 h 119"/>
                <a:gd name="T20" fmla="*/ 39 w 95"/>
                <a:gd name="T21" fmla="*/ 85 h 119"/>
                <a:gd name="T22" fmla="*/ 36 w 95"/>
                <a:gd name="T23" fmla="*/ 87 h 119"/>
                <a:gd name="T24" fmla="*/ 32 w 95"/>
                <a:gd name="T25" fmla="*/ 87 h 119"/>
                <a:gd name="T26" fmla="*/ 21 w 95"/>
                <a:gd name="T27" fmla="*/ 80 h 119"/>
                <a:gd name="T28" fmla="*/ 18 w 95"/>
                <a:gd name="T29" fmla="*/ 78 h 119"/>
                <a:gd name="T30" fmla="*/ 19 w 95"/>
                <a:gd name="T31" fmla="*/ 74 h 119"/>
                <a:gd name="T32" fmla="*/ 27 w 95"/>
                <a:gd name="T33" fmla="*/ 65 h 119"/>
                <a:gd name="T34" fmla="*/ 37 w 95"/>
                <a:gd name="T35" fmla="*/ 60 h 119"/>
                <a:gd name="T36" fmla="*/ 47 w 95"/>
                <a:gd name="T37" fmla="*/ 57 h 119"/>
                <a:gd name="T38" fmla="*/ 57 w 95"/>
                <a:gd name="T39" fmla="*/ 55 h 119"/>
                <a:gd name="T40" fmla="*/ 65 w 95"/>
                <a:gd name="T41" fmla="*/ 53 h 119"/>
                <a:gd name="T42" fmla="*/ 70 w 95"/>
                <a:gd name="T43" fmla="*/ 48 h 119"/>
                <a:gd name="T44" fmla="*/ 71 w 95"/>
                <a:gd name="T45" fmla="*/ 36 h 119"/>
                <a:gd name="T46" fmla="*/ 60 w 95"/>
                <a:gd name="T47" fmla="*/ 25 h 119"/>
                <a:gd name="T48" fmla="*/ 34 w 95"/>
                <a:gd name="T49" fmla="*/ 27 h 119"/>
                <a:gd name="T50" fmla="*/ 31 w 95"/>
                <a:gd name="T51" fmla="*/ 29 h 119"/>
                <a:gd name="T52" fmla="*/ 27 w 95"/>
                <a:gd name="T53" fmla="*/ 28 h 119"/>
                <a:gd name="T54" fmla="*/ 15 w 95"/>
                <a:gd name="T55" fmla="*/ 21 h 119"/>
                <a:gd name="T56" fmla="*/ 13 w 95"/>
                <a:gd name="T57" fmla="*/ 19 h 119"/>
                <a:gd name="T58" fmla="*/ 13 w 95"/>
                <a:gd name="T59" fmla="*/ 16 h 119"/>
                <a:gd name="T60" fmla="*/ 23 w 95"/>
                <a:gd name="T61" fmla="*/ 7 h 119"/>
                <a:gd name="T62" fmla="*/ 37 w 95"/>
                <a:gd name="T63" fmla="*/ 2 h 119"/>
                <a:gd name="T64" fmla="*/ 53 w 95"/>
                <a:gd name="T65" fmla="*/ 1 h 119"/>
                <a:gd name="T66" fmla="*/ 70 w 95"/>
                <a:gd name="T67" fmla="*/ 7 h 119"/>
                <a:gd name="T68" fmla="*/ 28 w 95"/>
                <a:gd name="T69" fmla="*/ 96 h 119"/>
                <a:gd name="T70" fmla="*/ 30 w 95"/>
                <a:gd name="T71" fmla="*/ 99 h 119"/>
                <a:gd name="T72" fmla="*/ 30 w 95"/>
                <a:gd name="T73" fmla="*/ 103 h 119"/>
                <a:gd name="T74" fmla="*/ 22 w 95"/>
                <a:gd name="T75" fmla="*/ 116 h 119"/>
                <a:gd name="T76" fmla="*/ 19 w 95"/>
                <a:gd name="T77" fmla="*/ 118 h 119"/>
                <a:gd name="T78" fmla="*/ 16 w 95"/>
                <a:gd name="T79" fmla="*/ 118 h 119"/>
                <a:gd name="T80" fmla="*/ 3 w 95"/>
                <a:gd name="T81" fmla="*/ 111 h 119"/>
                <a:gd name="T82" fmla="*/ 1 w 95"/>
                <a:gd name="T83" fmla="*/ 108 h 119"/>
                <a:gd name="T84" fmla="*/ 1 w 95"/>
                <a:gd name="T85" fmla="*/ 104 h 119"/>
                <a:gd name="T86" fmla="*/ 8 w 95"/>
                <a:gd name="T87" fmla="*/ 91 h 119"/>
                <a:gd name="T88" fmla="*/ 11 w 95"/>
                <a:gd name="T89" fmla="*/ 89 h 119"/>
                <a:gd name="T90" fmla="*/ 15 w 95"/>
                <a:gd name="T91" fmla="*/ 89 h 119"/>
                <a:gd name="T92" fmla="*/ 28 w 95"/>
                <a:gd name="T93" fmla="*/ 9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 h="119">
                  <a:moveTo>
                    <a:pt x="70" y="7"/>
                  </a:moveTo>
                  <a:cubicBezTo>
                    <a:pt x="75" y="9"/>
                    <a:pt x="79" y="13"/>
                    <a:pt x="83" y="16"/>
                  </a:cubicBezTo>
                  <a:cubicBezTo>
                    <a:pt x="87" y="20"/>
                    <a:pt x="90" y="24"/>
                    <a:pt x="92" y="29"/>
                  </a:cubicBezTo>
                  <a:cubicBezTo>
                    <a:pt x="94" y="33"/>
                    <a:pt x="95" y="38"/>
                    <a:pt x="95" y="43"/>
                  </a:cubicBezTo>
                  <a:cubicBezTo>
                    <a:pt x="95" y="48"/>
                    <a:pt x="93" y="53"/>
                    <a:pt x="91" y="58"/>
                  </a:cubicBezTo>
                  <a:cubicBezTo>
                    <a:pt x="88" y="62"/>
                    <a:pt x="86" y="65"/>
                    <a:pt x="83" y="68"/>
                  </a:cubicBezTo>
                  <a:cubicBezTo>
                    <a:pt x="80" y="70"/>
                    <a:pt x="77" y="72"/>
                    <a:pt x="73" y="73"/>
                  </a:cubicBezTo>
                  <a:cubicBezTo>
                    <a:pt x="70" y="74"/>
                    <a:pt x="67" y="75"/>
                    <a:pt x="63" y="76"/>
                  </a:cubicBezTo>
                  <a:cubicBezTo>
                    <a:pt x="60" y="77"/>
                    <a:pt x="57" y="77"/>
                    <a:pt x="53" y="78"/>
                  </a:cubicBezTo>
                  <a:cubicBezTo>
                    <a:pt x="50" y="79"/>
                    <a:pt x="48" y="79"/>
                    <a:pt x="45" y="80"/>
                  </a:cubicBezTo>
                  <a:cubicBezTo>
                    <a:pt x="42" y="81"/>
                    <a:pt x="40" y="83"/>
                    <a:pt x="39" y="85"/>
                  </a:cubicBezTo>
                  <a:cubicBezTo>
                    <a:pt x="38" y="86"/>
                    <a:pt x="37" y="87"/>
                    <a:pt x="36" y="87"/>
                  </a:cubicBezTo>
                  <a:cubicBezTo>
                    <a:pt x="34" y="88"/>
                    <a:pt x="33" y="88"/>
                    <a:pt x="32" y="87"/>
                  </a:cubicBezTo>
                  <a:cubicBezTo>
                    <a:pt x="21" y="80"/>
                    <a:pt x="21" y="80"/>
                    <a:pt x="21" y="80"/>
                  </a:cubicBezTo>
                  <a:cubicBezTo>
                    <a:pt x="20" y="80"/>
                    <a:pt x="19" y="79"/>
                    <a:pt x="18" y="78"/>
                  </a:cubicBezTo>
                  <a:cubicBezTo>
                    <a:pt x="18" y="76"/>
                    <a:pt x="18" y="75"/>
                    <a:pt x="19" y="74"/>
                  </a:cubicBezTo>
                  <a:cubicBezTo>
                    <a:pt x="21" y="70"/>
                    <a:pt x="24" y="67"/>
                    <a:pt x="27" y="65"/>
                  </a:cubicBezTo>
                  <a:cubicBezTo>
                    <a:pt x="30" y="63"/>
                    <a:pt x="34" y="61"/>
                    <a:pt x="37" y="60"/>
                  </a:cubicBezTo>
                  <a:cubicBezTo>
                    <a:pt x="40" y="59"/>
                    <a:pt x="44" y="58"/>
                    <a:pt x="47" y="57"/>
                  </a:cubicBezTo>
                  <a:cubicBezTo>
                    <a:pt x="51" y="57"/>
                    <a:pt x="54" y="56"/>
                    <a:pt x="57" y="55"/>
                  </a:cubicBezTo>
                  <a:cubicBezTo>
                    <a:pt x="60" y="55"/>
                    <a:pt x="63" y="54"/>
                    <a:pt x="65" y="53"/>
                  </a:cubicBezTo>
                  <a:cubicBezTo>
                    <a:pt x="67" y="52"/>
                    <a:pt x="69" y="50"/>
                    <a:pt x="70" y="48"/>
                  </a:cubicBezTo>
                  <a:cubicBezTo>
                    <a:pt x="72" y="44"/>
                    <a:pt x="73" y="40"/>
                    <a:pt x="71" y="36"/>
                  </a:cubicBezTo>
                  <a:cubicBezTo>
                    <a:pt x="69" y="32"/>
                    <a:pt x="65" y="28"/>
                    <a:pt x="60" y="25"/>
                  </a:cubicBezTo>
                  <a:cubicBezTo>
                    <a:pt x="51" y="20"/>
                    <a:pt x="42" y="21"/>
                    <a:pt x="34" y="27"/>
                  </a:cubicBezTo>
                  <a:cubicBezTo>
                    <a:pt x="32" y="28"/>
                    <a:pt x="31" y="29"/>
                    <a:pt x="31" y="29"/>
                  </a:cubicBezTo>
                  <a:cubicBezTo>
                    <a:pt x="30" y="29"/>
                    <a:pt x="29" y="29"/>
                    <a:pt x="27" y="28"/>
                  </a:cubicBezTo>
                  <a:cubicBezTo>
                    <a:pt x="15" y="21"/>
                    <a:pt x="15" y="21"/>
                    <a:pt x="15" y="21"/>
                  </a:cubicBezTo>
                  <a:cubicBezTo>
                    <a:pt x="14" y="21"/>
                    <a:pt x="13" y="20"/>
                    <a:pt x="13" y="19"/>
                  </a:cubicBezTo>
                  <a:cubicBezTo>
                    <a:pt x="13" y="18"/>
                    <a:pt x="13" y="17"/>
                    <a:pt x="13" y="16"/>
                  </a:cubicBezTo>
                  <a:cubicBezTo>
                    <a:pt x="16" y="13"/>
                    <a:pt x="19" y="10"/>
                    <a:pt x="23" y="7"/>
                  </a:cubicBezTo>
                  <a:cubicBezTo>
                    <a:pt x="27" y="4"/>
                    <a:pt x="32" y="3"/>
                    <a:pt x="37" y="2"/>
                  </a:cubicBezTo>
                  <a:cubicBezTo>
                    <a:pt x="42" y="1"/>
                    <a:pt x="47" y="0"/>
                    <a:pt x="53" y="1"/>
                  </a:cubicBezTo>
                  <a:cubicBezTo>
                    <a:pt x="59" y="2"/>
                    <a:pt x="65" y="4"/>
                    <a:pt x="70" y="7"/>
                  </a:cubicBezTo>
                  <a:moveTo>
                    <a:pt x="28" y="96"/>
                  </a:moveTo>
                  <a:cubicBezTo>
                    <a:pt x="29" y="97"/>
                    <a:pt x="30" y="98"/>
                    <a:pt x="30" y="99"/>
                  </a:cubicBezTo>
                  <a:cubicBezTo>
                    <a:pt x="30" y="101"/>
                    <a:pt x="30" y="102"/>
                    <a:pt x="30" y="103"/>
                  </a:cubicBezTo>
                  <a:cubicBezTo>
                    <a:pt x="22" y="116"/>
                    <a:pt x="22" y="116"/>
                    <a:pt x="22" y="116"/>
                  </a:cubicBezTo>
                  <a:cubicBezTo>
                    <a:pt x="22" y="117"/>
                    <a:pt x="21" y="118"/>
                    <a:pt x="19" y="118"/>
                  </a:cubicBezTo>
                  <a:cubicBezTo>
                    <a:pt x="18" y="119"/>
                    <a:pt x="17" y="119"/>
                    <a:pt x="16" y="118"/>
                  </a:cubicBezTo>
                  <a:cubicBezTo>
                    <a:pt x="3" y="111"/>
                    <a:pt x="3" y="111"/>
                    <a:pt x="3" y="111"/>
                  </a:cubicBezTo>
                  <a:cubicBezTo>
                    <a:pt x="2" y="110"/>
                    <a:pt x="1" y="109"/>
                    <a:pt x="1" y="108"/>
                  </a:cubicBezTo>
                  <a:cubicBezTo>
                    <a:pt x="0" y="107"/>
                    <a:pt x="0" y="105"/>
                    <a:pt x="1" y="104"/>
                  </a:cubicBezTo>
                  <a:cubicBezTo>
                    <a:pt x="8" y="91"/>
                    <a:pt x="8" y="91"/>
                    <a:pt x="8" y="91"/>
                  </a:cubicBezTo>
                  <a:cubicBezTo>
                    <a:pt x="9" y="90"/>
                    <a:pt x="10" y="89"/>
                    <a:pt x="11" y="89"/>
                  </a:cubicBezTo>
                  <a:cubicBezTo>
                    <a:pt x="12" y="88"/>
                    <a:pt x="14" y="89"/>
                    <a:pt x="15" y="89"/>
                  </a:cubicBezTo>
                  <a:cubicBezTo>
                    <a:pt x="28" y="96"/>
                    <a:pt x="28" y="96"/>
                    <a:pt x="28" y="96"/>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7">
              <a:extLst>
                <a:ext uri="{FF2B5EF4-FFF2-40B4-BE49-F238E27FC236}">
                  <a16:creationId xmlns:a16="http://schemas.microsoft.com/office/drawing/2014/main" id="{B327715D-66B5-493C-998A-395414957B36}"/>
                </a:ext>
              </a:extLst>
            </p:cNvPr>
            <p:cNvSpPr>
              <a:spLocks noEditPoints="1"/>
            </p:cNvSpPr>
            <p:nvPr/>
          </p:nvSpPr>
          <p:spPr bwMode="auto">
            <a:xfrm>
              <a:off x="2906" y="2016"/>
              <a:ext cx="170" cy="210"/>
            </a:xfrm>
            <a:custGeom>
              <a:avLst/>
              <a:gdLst>
                <a:gd name="T0" fmla="*/ 13 w 95"/>
                <a:gd name="T1" fmla="*/ 88 h 118"/>
                <a:gd name="T2" fmla="*/ 11 w 95"/>
                <a:gd name="T3" fmla="*/ 88 h 118"/>
                <a:gd name="T4" fmla="*/ 8 w 95"/>
                <a:gd name="T5" fmla="*/ 90 h 118"/>
                <a:gd name="T6" fmla="*/ 1 w 95"/>
                <a:gd name="T7" fmla="*/ 103 h 118"/>
                <a:gd name="T8" fmla="*/ 0 w 95"/>
                <a:gd name="T9" fmla="*/ 106 h 118"/>
                <a:gd name="T10" fmla="*/ 1 w 95"/>
                <a:gd name="T11" fmla="*/ 107 h 118"/>
                <a:gd name="T12" fmla="*/ 3 w 95"/>
                <a:gd name="T13" fmla="*/ 110 h 118"/>
                <a:gd name="T14" fmla="*/ 16 w 95"/>
                <a:gd name="T15" fmla="*/ 117 h 118"/>
                <a:gd name="T16" fmla="*/ 18 w 95"/>
                <a:gd name="T17" fmla="*/ 118 h 118"/>
                <a:gd name="T18" fmla="*/ 19 w 95"/>
                <a:gd name="T19" fmla="*/ 117 h 118"/>
                <a:gd name="T20" fmla="*/ 22 w 95"/>
                <a:gd name="T21" fmla="*/ 115 h 118"/>
                <a:gd name="T22" fmla="*/ 30 w 95"/>
                <a:gd name="T23" fmla="*/ 102 h 118"/>
                <a:gd name="T24" fmla="*/ 30 w 95"/>
                <a:gd name="T25" fmla="*/ 100 h 118"/>
                <a:gd name="T26" fmla="*/ 30 w 95"/>
                <a:gd name="T27" fmla="*/ 98 h 118"/>
                <a:gd name="T28" fmla="*/ 28 w 95"/>
                <a:gd name="T29" fmla="*/ 95 h 118"/>
                <a:gd name="T30" fmla="*/ 15 w 95"/>
                <a:gd name="T31" fmla="*/ 88 h 118"/>
                <a:gd name="T32" fmla="*/ 13 w 95"/>
                <a:gd name="T33" fmla="*/ 88 h 118"/>
                <a:gd name="T34" fmla="*/ 46 w 95"/>
                <a:gd name="T35" fmla="*/ 0 h 118"/>
                <a:gd name="T36" fmla="*/ 37 w 95"/>
                <a:gd name="T37" fmla="*/ 1 h 118"/>
                <a:gd name="T38" fmla="*/ 23 w 95"/>
                <a:gd name="T39" fmla="*/ 6 h 118"/>
                <a:gd name="T40" fmla="*/ 13 w 95"/>
                <a:gd name="T41" fmla="*/ 15 h 118"/>
                <a:gd name="T42" fmla="*/ 13 w 95"/>
                <a:gd name="T43" fmla="*/ 17 h 118"/>
                <a:gd name="T44" fmla="*/ 13 w 95"/>
                <a:gd name="T45" fmla="*/ 18 h 118"/>
                <a:gd name="T46" fmla="*/ 15 w 95"/>
                <a:gd name="T47" fmla="*/ 20 h 118"/>
                <a:gd name="T48" fmla="*/ 27 w 95"/>
                <a:gd name="T49" fmla="*/ 27 h 118"/>
                <a:gd name="T50" fmla="*/ 30 w 95"/>
                <a:gd name="T51" fmla="*/ 28 h 118"/>
                <a:gd name="T52" fmla="*/ 31 w 95"/>
                <a:gd name="T53" fmla="*/ 28 h 118"/>
                <a:gd name="T54" fmla="*/ 34 w 95"/>
                <a:gd name="T55" fmla="*/ 26 h 118"/>
                <a:gd name="T56" fmla="*/ 49 w 95"/>
                <a:gd name="T57" fmla="*/ 21 h 118"/>
                <a:gd name="T58" fmla="*/ 60 w 95"/>
                <a:gd name="T59" fmla="*/ 24 h 118"/>
                <a:gd name="T60" fmla="*/ 71 w 95"/>
                <a:gd name="T61" fmla="*/ 35 h 118"/>
                <a:gd name="T62" fmla="*/ 72 w 95"/>
                <a:gd name="T63" fmla="*/ 41 h 118"/>
                <a:gd name="T64" fmla="*/ 70 w 95"/>
                <a:gd name="T65" fmla="*/ 47 h 118"/>
                <a:gd name="T66" fmla="*/ 65 w 95"/>
                <a:gd name="T67" fmla="*/ 52 h 118"/>
                <a:gd name="T68" fmla="*/ 57 w 95"/>
                <a:gd name="T69" fmla="*/ 54 h 118"/>
                <a:gd name="T70" fmla="*/ 47 w 95"/>
                <a:gd name="T71" fmla="*/ 56 h 118"/>
                <a:gd name="T72" fmla="*/ 37 w 95"/>
                <a:gd name="T73" fmla="*/ 59 h 118"/>
                <a:gd name="T74" fmla="*/ 27 w 95"/>
                <a:gd name="T75" fmla="*/ 64 h 118"/>
                <a:gd name="T76" fmla="*/ 19 w 95"/>
                <a:gd name="T77" fmla="*/ 73 h 118"/>
                <a:gd name="T78" fmla="*/ 18 w 95"/>
                <a:gd name="T79" fmla="*/ 75 h 118"/>
                <a:gd name="T80" fmla="*/ 18 w 95"/>
                <a:gd name="T81" fmla="*/ 77 h 118"/>
                <a:gd name="T82" fmla="*/ 21 w 95"/>
                <a:gd name="T83" fmla="*/ 79 h 118"/>
                <a:gd name="T84" fmla="*/ 32 w 95"/>
                <a:gd name="T85" fmla="*/ 86 h 118"/>
                <a:gd name="T86" fmla="*/ 34 w 95"/>
                <a:gd name="T87" fmla="*/ 86 h 118"/>
                <a:gd name="T88" fmla="*/ 36 w 95"/>
                <a:gd name="T89" fmla="*/ 86 h 118"/>
                <a:gd name="T90" fmla="*/ 39 w 95"/>
                <a:gd name="T91" fmla="*/ 84 h 118"/>
                <a:gd name="T92" fmla="*/ 45 w 95"/>
                <a:gd name="T93" fmla="*/ 79 h 118"/>
                <a:gd name="T94" fmla="*/ 53 w 95"/>
                <a:gd name="T95" fmla="*/ 77 h 118"/>
                <a:gd name="T96" fmla="*/ 63 w 95"/>
                <a:gd name="T97" fmla="*/ 75 h 118"/>
                <a:gd name="T98" fmla="*/ 73 w 95"/>
                <a:gd name="T99" fmla="*/ 72 h 118"/>
                <a:gd name="T100" fmla="*/ 83 w 95"/>
                <a:gd name="T101" fmla="*/ 67 h 118"/>
                <a:gd name="T102" fmla="*/ 91 w 95"/>
                <a:gd name="T103" fmla="*/ 57 h 118"/>
                <a:gd name="T104" fmla="*/ 95 w 95"/>
                <a:gd name="T105" fmla="*/ 42 h 118"/>
                <a:gd name="T106" fmla="*/ 92 w 95"/>
                <a:gd name="T107" fmla="*/ 28 h 118"/>
                <a:gd name="T108" fmla="*/ 83 w 95"/>
                <a:gd name="T109" fmla="*/ 15 h 118"/>
                <a:gd name="T110" fmla="*/ 70 w 95"/>
                <a:gd name="T111" fmla="*/ 6 h 118"/>
                <a:gd name="T112" fmla="*/ 53 w 95"/>
                <a:gd name="T113" fmla="*/ 0 h 118"/>
                <a:gd name="T114" fmla="*/ 46 w 9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 h="118">
                  <a:moveTo>
                    <a:pt x="13" y="88"/>
                  </a:moveTo>
                  <a:cubicBezTo>
                    <a:pt x="12" y="88"/>
                    <a:pt x="12" y="88"/>
                    <a:pt x="11" y="88"/>
                  </a:cubicBezTo>
                  <a:cubicBezTo>
                    <a:pt x="10" y="88"/>
                    <a:pt x="9" y="89"/>
                    <a:pt x="8" y="90"/>
                  </a:cubicBezTo>
                  <a:cubicBezTo>
                    <a:pt x="1" y="103"/>
                    <a:pt x="1" y="103"/>
                    <a:pt x="1" y="103"/>
                  </a:cubicBezTo>
                  <a:cubicBezTo>
                    <a:pt x="0" y="104"/>
                    <a:pt x="0" y="105"/>
                    <a:pt x="0" y="106"/>
                  </a:cubicBezTo>
                  <a:cubicBezTo>
                    <a:pt x="0" y="106"/>
                    <a:pt x="0" y="106"/>
                    <a:pt x="1" y="107"/>
                  </a:cubicBezTo>
                  <a:cubicBezTo>
                    <a:pt x="1" y="108"/>
                    <a:pt x="2" y="109"/>
                    <a:pt x="3" y="110"/>
                  </a:cubicBezTo>
                  <a:cubicBezTo>
                    <a:pt x="16" y="117"/>
                    <a:pt x="16" y="117"/>
                    <a:pt x="16" y="117"/>
                  </a:cubicBezTo>
                  <a:cubicBezTo>
                    <a:pt x="17" y="117"/>
                    <a:pt x="17" y="118"/>
                    <a:pt x="18" y="118"/>
                  </a:cubicBezTo>
                  <a:cubicBezTo>
                    <a:pt x="18" y="118"/>
                    <a:pt x="19" y="118"/>
                    <a:pt x="19" y="117"/>
                  </a:cubicBezTo>
                  <a:cubicBezTo>
                    <a:pt x="21" y="117"/>
                    <a:pt x="22" y="116"/>
                    <a:pt x="22" y="115"/>
                  </a:cubicBezTo>
                  <a:cubicBezTo>
                    <a:pt x="30" y="102"/>
                    <a:pt x="30" y="102"/>
                    <a:pt x="30" y="102"/>
                  </a:cubicBezTo>
                  <a:cubicBezTo>
                    <a:pt x="30" y="101"/>
                    <a:pt x="30" y="100"/>
                    <a:pt x="30" y="100"/>
                  </a:cubicBezTo>
                  <a:cubicBezTo>
                    <a:pt x="30" y="99"/>
                    <a:pt x="30" y="99"/>
                    <a:pt x="30" y="98"/>
                  </a:cubicBezTo>
                  <a:cubicBezTo>
                    <a:pt x="30" y="97"/>
                    <a:pt x="29" y="96"/>
                    <a:pt x="28" y="95"/>
                  </a:cubicBezTo>
                  <a:cubicBezTo>
                    <a:pt x="15" y="88"/>
                    <a:pt x="15" y="88"/>
                    <a:pt x="15" y="88"/>
                  </a:cubicBezTo>
                  <a:cubicBezTo>
                    <a:pt x="14" y="88"/>
                    <a:pt x="13" y="88"/>
                    <a:pt x="13" y="88"/>
                  </a:cubicBezTo>
                  <a:moveTo>
                    <a:pt x="46" y="0"/>
                  </a:moveTo>
                  <a:cubicBezTo>
                    <a:pt x="43" y="0"/>
                    <a:pt x="40" y="0"/>
                    <a:pt x="37" y="1"/>
                  </a:cubicBezTo>
                  <a:cubicBezTo>
                    <a:pt x="32" y="2"/>
                    <a:pt x="27" y="3"/>
                    <a:pt x="23" y="6"/>
                  </a:cubicBezTo>
                  <a:cubicBezTo>
                    <a:pt x="19" y="9"/>
                    <a:pt x="16" y="12"/>
                    <a:pt x="13" y="15"/>
                  </a:cubicBezTo>
                  <a:cubicBezTo>
                    <a:pt x="13" y="16"/>
                    <a:pt x="13" y="16"/>
                    <a:pt x="13" y="17"/>
                  </a:cubicBezTo>
                  <a:cubicBezTo>
                    <a:pt x="13" y="17"/>
                    <a:pt x="13" y="18"/>
                    <a:pt x="13" y="18"/>
                  </a:cubicBezTo>
                  <a:cubicBezTo>
                    <a:pt x="13" y="19"/>
                    <a:pt x="14" y="20"/>
                    <a:pt x="15" y="20"/>
                  </a:cubicBezTo>
                  <a:cubicBezTo>
                    <a:pt x="27" y="27"/>
                    <a:pt x="27" y="27"/>
                    <a:pt x="27" y="27"/>
                  </a:cubicBezTo>
                  <a:cubicBezTo>
                    <a:pt x="28" y="28"/>
                    <a:pt x="29" y="28"/>
                    <a:pt x="30" y="28"/>
                  </a:cubicBezTo>
                  <a:cubicBezTo>
                    <a:pt x="30" y="28"/>
                    <a:pt x="30" y="28"/>
                    <a:pt x="31" y="28"/>
                  </a:cubicBezTo>
                  <a:cubicBezTo>
                    <a:pt x="31" y="28"/>
                    <a:pt x="32" y="27"/>
                    <a:pt x="34" y="26"/>
                  </a:cubicBezTo>
                  <a:cubicBezTo>
                    <a:pt x="39" y="23"/>
                    <a:pt x="44" y="21"/>
                    <a:pt x="49" y="21"/>
                  </a:cubicBezTo>
                  <a:cubicBezTo>
                    <a:pt x="52" y="21"/>
                    <a:pt x="56" y="22"/>
                    <a:pt x="60" y="24"/>
                  </a:cubicBezTo>
                  <a:cubicBezTo>
                    <a:pt x="65" y="27"/>
                    <a:pt x="69" y="31"/>
                    <a:pt x="71" y="35"/>
                  </a:cubicBezTo>
                  <a:cubicBezTo>
                    <a:pt x="72" y="37"/>
                    <a:pt x="72" y="39"/>
                    <a:pt x="72" y="41"/>
                  </a:cubicBezTo>
                  <a:cubicBezTo>
                    <a:pt x="72" y="43"/>
                    <a:pt x="71" y="45"/>
                    <a:pt x="70" y="47"/>
                  </a:cubicBezTo>
                  <a:cubicBezTo>
                    <a:pt x="69" y="49"/>
                    <a:pt x="67" y="51"/>
                    <a:pt x="65" y="52"/>
                  </a:cubicBezTo>
                  <a:cubicBezTo>
                    <a:pt x="63" y="53"/>
                    <a:pt x="60" y="54"/>
                    <a:pt x="57" y="54"/>
                  </a:cubicBezTo>
                  <a:cubicBezTo>
                    <a:pt x="54" y="55"/>
                    <a:pt x="51" y="56"/>
                    <a:pt x="47" y="56"/>
                  </a:cubicBezTo>
                  <a:cubicBezTo>
                    <a:pt x="44" y="57"/>
                    <a:pt x="40" y="58"/>
                    <a:pt x="37" y="59"/>
                  </a:cubicBezTo>
                  <a:cubicBezTo>
                    <a:pt x="34" y="60"/>
                    <a:pt x="30" y="62"/>
                    <a:pt x="27" y="64"/>
                  </a:cubicBezTo>
                  <a:cubicBezTo>
                    <a:pt x="24" y="66"/>
                    <a:pt x="21" y="69"/>
                    <a:pt x="19" y="73"/>
                  </a:cubicBezTo>
                  <a:cubicBezTo>
                    <a:pt x="18" y="74"/>
                    <a:pt x="18" y="74"/>
                    <a:pt x="18" y="75"/>
                  </a:cubicBezTo>
                  <a:cubicBezTo>
                    <a:pt x="18" y="76"/>
                    <a:pt x="18" y="76"/>
                    <a:pt x="18" y="77"/>
                  </a:cubicBezTo>
                  <a:cubicBezTo>
                    <a:pt x="19" y="78"/>
                    <a:pt x="20" y="79"/>
                    <a:pt x="21" y="79"/>
                  </a:cubicBezTo>
                  <a:cubicBezTo>
                    <a:pt x="32" y="86"/>
                    <a:pt x="32" y="86"/>
                    <a:pt x="32" y="86"/>
                  </a:cubicBezTo>
                  <a:cubicBezTo>
                    <a:pt x="33" y="86"/>
                    <a:pt x="34" y="86"/>
                    <a:pt x="34" y="86"/>
                  </a:cubicBezTo>
                  <a:cubicBezTo>
                    <a:pt x="35" y="86"/>
                    <a:pt x="35" y="86"/>
                    <a:pt x="36" y="86"/>
                  </a:cubicBezTo>
                  <a:cubicBezTo>
                    <a:pt x="37" y="86"/>
                    <a:pt x="38" y="85"/>
                    <a:pt x="39" y="84"/>
                  </a:cubicBezTo>
                  <a:cubicBezTo>
                    <a:pt x="40" y="82"/>
                    <a:pt x="42" y="80"/>
                    <a:pt x="45" y="79"/>
                  </a:cubicBezTo>
                  <a:cubicBezTo>
                    <a:pt x="48" y="78"/>
                    <a:pt x="50" y="78"/>
                    <a:pt x="53" y="77"/>
                  </a:cubicBezTo>
                  <a:cubicBezTo>
                    <a:pt x="57" y="76"/>
                    <a:pt x="60" y="76"/>
                    <a:pt x="63" y="75"/>
                  </a:cubicBezTo>
                  <a:cubicBezTo>
                    <a:pt x="67" y="74"/>
                    <a:pt x="70" y="73"/>
                    <a:pt x="73" y="72"/>
                  </a:cubicBezTo>
                  <a:cubicBezTo>
                    <a:pt x="77" y="71"/>
                    <a:pt x="80" y="69"/>
                    <a:pt x="83" y="67"/>
                  </a:cubicBezTo>
                  <a:cubicBezTo>
                    <a:pt x="86" y="64"/>
                    <a:pt x="88" y="61"/>
                    <a:pt x="91" y="57"/>
                  </a:cubicBezTo>
                  <a:cubicBezTo>
                    <a:pt x="93" y="52"/>
                    <a:pt x="95" y="47"/>
                    <a:pt x="95" y="42"/>
                  </a:cubicBezTo>
                  <a:cubicBezTo>
                    <a:pt x="95" y="37"/>
                    <a:pt x="94" y="32"/>
                    <a:pt x="92" y="28"/>
                  </a:cubicBezTo>
                  <a:cubicBezTo>
                    <a:pt x="90" y="23"/>
                    <a:pt x="87" y="19"/>
                    <a:pt x="83" y="15"/>
                  </a:cubicBezTo>
                  <a:cubicBezTo>
                    <a:pt x="79" y="12"/>
                    <a:pt x="75" y="8"/>
                    <a:pt x="70" y="6"/>
                  </a:cubicBezTo>
                  <a:cubicBezTo>
                    <a:pt x="65" y="3"/>
                    <a:pt x="59" y="1"/>
                    <a:pt x="53" y="0"/>
                  </a:cubicBezTo>
                  <a:cubicBezTo>
                    <a:pt x="51" y="0"/>
                    <a:pt x="49" y="0"/>
                    <a:pt x="46" y="0"/>
                  </a:cubicBezTo>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8">
              <a:extLst>
                <a:ext uri="{FF2B5EF4-FFF2-40B4-BE49-F238E27FC236}">
                  <a16:creationId xmlns:a16="http://schemas.microsoft.com/office/drawing/2014/main" id="{1AD035F7-AF09-44AD-B78E-640B0F005A32}"/>
                </a:ext>
              </a:extLst>
            </p:cNvPr>
            <p:cNvSpPr>
              <a:spLocks noEditPoints="1"/>
            </p:cNvSpPr>
            <p:nvPr/>
          </p:nvSpPr>
          <p:spPr bwMode="auto">
            <a:xfrm>
              <a:off x="2343" y="2114"/>
              <a:ext cx="224" cy="237"/>
            </a:xfrm>
            <a:custGeom>
              <a:avLst/>
              <a:gdLst>
                <a:gd name="T0" fmla="*/ 104 w 126"/>
                <a:gd name="T1" fmla="*/ 98 h 133"/>
                <a:gd name="T2" fmla="*/ 108 w 126"/>
                <a:gd name="T3" fmla="*/ 96 h 133"/>
                <a:gd name="T4" fmla="*/ 112 w 126"/>
                <a:gd name="T5" fmla="*/ 98 h 133"/>
                <a:gd name="T6" fmla="*/ 124 w 126"/>
                <a:gd name="T7" fmla="*/ 111 h 133"/>
                <a:gd name="T8" fmla="*/ 126 w 126"/>
                <a:gd name="T9" fmla="*/ 115 h 133"/>
                <a:gd name="T10" fmla="*/ 124 w 126"/>
                <a:gd name="T11" fmla="*/ 119 h 133"/>
                <a:gd name="T12" fmla="*/ 111 w 126"/>
                <a:gd name="T13" fmla="*/ 131 h 133"/>
                <a:gd name="T14" fmla="*/ 107 w 126"/>
                <a:gd name="T15" fmla="*/ 133 h 133"/>
                <a:gd name="T16" fmla="*/ 103 w 126"/>
                <a:gd name="T17" fmla="*/ 131 h 133"/>
                <a:gd name="T18" fmla="*/ 91 w 126"/>
                <a:gd name="T19" fmla="*/ 117 h 133"/>
                <a:gd name="T20" fmla="*/ 89 w 126"/>
                <a:gd name="T21" fmla="*/ 113 h 133"/>
                <a:gd name="T22" fmla="*/ 91 w 126"/>
                <a:gd name="T23" fmla="*/ 110 h 133"/>
                <a:gd name="T24" fmla="*/ 104 w 126"/>
                <a:gd name="T25" fmla="*/ 98 h 133"/>
                <a:gd name="T26" fmla="*/ 19 w 126"/>
                <a:gd name="T27" fmla="*/ 17 h 133"/>
                <a:gd name="T28" fmla="*/ 34 w 126"/>
                <a:gd name="T29" fmla="*/ 6 h 133"/>
                <a:gd name="T30" fmla="*/ 52 w 126"/>
                <a:gd name="T31" fmla="*/ 1 h 133"/>
                <a:gd name="T32" fmla="*/ 69 w 126"/>
                <a:gd name="T33" fmla="*/ 3 h 133"/>
                <a:gd name="T34" fmla="*/ 84 w 126"/>
                <a:gd name="T35" fmla="*/ 13 h 133"/>
                <a:gd name="T36" fmla="*/ 92 w 126"/>
                <a:gd name="T37" fmla="*/ 25 h 133"/>
                <a:gd name="T38" fmla="*/ 95 w 126"/>
                <a:gd name="T39" fmla="*/ 38 h 133"/>
                <a:gd name="T40" fmla="*/ 94 w 126"/>
                <a:gd name="T41" fmla="*/ 50 h 133"/>
                <a:gd name="T42" fmla="*/ 93 w 126"/>
                <a:gd name="T43" fmla="*/ 62 h 133"/>
                <a:gd name="T44" fmla="*/ 92 w 126"/>
                <a:gd name="T45" fmla="*/ 72 h 133"/>
                <a:gd name="T46" fmla="*/ 95 w 126"/>
                <a:gd name="T47" fmla="*/ 81 h 133"/>
                <a:gd name="T48" fmla="*/ 97 w 126"/>
                <a:gd name="T49" fmla="*/ 85 h 133"/>
                <a:gd name="T50" fmla="*/ 95 w 126"/>
                <a:gd name="T51" fmla="*/ 89 h 133"/>
                <a:gd name="T52" fmla="*/ 84 w 126"/>
                <a:gd name="T53" fmla="*/ 100 h 133"/>
                <a:gd name="T54" fmla="*/ 79 w 126"/>
                <a:gd name="T55" fmla="*/ 101 h 133"/>
                <a:gd name="T56" fmla="*/ 76 w 126"/>
                <a:gd name="T57" fmla="*/ 99 h 133"/>
                <a:gd name="T58" fmla="*/ 69 w 126"/>
                <a:gd name="T59" fmla="*/ 87 h 133"/>
                <a:gd name="T60" fmla="*/ 66 w 126"/>
                <a:gd name="T61" fmla="*/ 74 h 133"/>
                <a:gd name="T62" fmla="*/ 67 w 126"/>
                <a:gd name="T63" fmla="*/ 61 h 133"/>
                <a:gd name="T64" fmla="*/ 69 w 126"/>
                <a:gd name="T65" fmla="*/ 50 h 133"/>
                <a:gd name="T66" fmla="*/ 69 w 126"/>
                <a:gd name="T67" fmla="*/ 40 h 133"/>
                <a:gd name="T68" fmla="*/ 65 w 126"/>
                <a:gd name="T69" fmla="*/ 32 h 133"/>
                <a:gd name="T70" fmla="*/ 52 w 126"/>
                <a:gd name="T71" fmla="*/ 27 h 133"/>
                <a:gd name="T72" fmla="*/ 35 w 126"/>
                <a:gd name="T73" fmla="*/ 35 h 133"/>
                <a:gd name="T74" fmla="*/ 28 w 126"/>
                <a:gd name="T75" fmla="*/ 66 h 133"/>
                <a:gd name="T76" fmla="*/ 29 w 126"/>
                <a:gd name="T77" fmla="*/ 70 h 133"/>
                <a:gd name="T78" fmla="*/ 27 w 126"/>
                <a:gd name="T79" fmla="*/ 73 h 133"/>
                <a:gd name="T80" fmla="*/ 15 w 126"/>
                <a:gd name="T81" fmla="*/ 84 h 133"/>
                <a:gd name="T82" fmla="*/ 12 w 126"/>
                <a:gd name="T83" fmla="*/ 86 h 133"/>
                <a:gd name="T84" fmla="*/ 8 w 126"/>
                <a:gd name="T85" fmla="*/ 84 h 133"/>
                <a:gd name="T86" fmla="*/ 2 w 126"/>
                <a:gd name="T87" fmla="*/ 70 h 133"/>
                <a:gd name="T88" fmla="*/ 1 w 126"/>
                <a:gd name="T89" fmla="*/ 52 h 133"/>
                <a:gd name="T90" fmla="*/ 6 w 126"/>
                <a:gd name="T91" fmla="*/ 34 h 133"/>
                <a:gd name="T92" fmla="*/ 19 w 126"/>
                <a:gd name="T93" fmla="*/ 1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33">
                  <a:moveTo>
                    <a:pt x="104" y="98"/>
                  </a:moveTo>
                  <a:cubicBezTo>
                    <a:pt x="105" y="96"/>
                    <a:pt x="107" y="96"/>
                    <a:pt x="108" y="96"/>
                  </a:cubicBezTo>
                  <a:cubicBezTo>
                    <a:pt x="110" y="96"/>
                    <a:pt x="111" y="97"/>
                    <a:pt x="112" y="98"/>
                  </a:cubicBezTo>
                  <a:cubicBezTo>
                    <a:pt x="124" y="111"/>
                    <a:pt x="124" y="111"/>
                    <a:pt x="124" y="111"/>
                  </a:cubicBezTo>
                  <a:cubicBezTo>
                    <a:pt x="125" y="112"/>
                    <a:pt x="126" y="114"/>
                    <a:pt x="126" y="115"/>
                  </a:cubicBezTo>
                  <a:cubicBezTo>
                    <a:pt x="126" y="117"/>
                    <a:pt x="125" y="118"/>
                    <a:pt x="124" y="119"/>
                  </a:cubicBezTo>
                  <a:cubicBezTo>
                    <a:pt x="111" y="131"/>
                    <a:pt x="111" y="131"/>
                    <a:pt x="111" y="131"/>
                  </a:cubicBezTo>
                  <a:cubicBezTo>
                    <a:pt x="110" y="132"/>
                    <a:pt x="109" y="133"/>
                    <a:pt x="107" y="133"/>
                  </a:cubicBezTo>
                  <a:cubicBezTo>
                    <a:pt x="106" y="132"/>
                    <a:pt x="104" y="132"/>
                    <a:pt x="103" y="131"/>
                  </a:cubicBezTo>
                  <a:cubicBezTo>
                    <a:pt x="91" y="117"/>
                    <a:pt x="91" y="117"/>
                    <a:pt x="91" y="117"/>
                  </a:cubicBezTo>
                  <a:cubicBezTo>
                    <a:pt x="90" y="116"/>
                    <a:pt x="89" y="115"/>
                    <a:pt x="89" y="113"/>
                  </a:cubicBezTo>
                  <a:cubicBezTo>
                    <a:pt x="89" y="112"/>
                    <a:pt x="90" y="111"/>
                    <a:pt x="91" y="110"/>
                  </a:cubicBezTo>
                  <a:cubicBezTo>
                    <a:pt x="104" y="98"/>
                    <a:pt x="104" y="98"/>
                    <a:pt x="104" y="98"/>
                  </a:cubicBezTo>
                  <a:moveTo>
                    <a:pt x="19" y="17"/>
                  </a:moveTo>
                  <a:cubicBezTo>
                    <a:pt x="23" y="13"/>
                    <a:pt x="29" y="9"/>
                    <a:pt x="34" y="6"/>
                  </a:cubicBezTo>
                  <a:cubicBezTo>
                    <a:pt x="40" y="3"/>
                    <a:pt x="46" y="2"/>
                    <a:pt x="52" y="1"/>
                  </a:cubicBezTo>
                  <a:cubicBezTo>
                    <a:pt x="58" y="0"/>
                    <a:pt x="63" y="1"/>
                    <a:pt x="69" y="3"/>
                  </a:cubicBezTo>
                  <a:cubicBezTo>
                    <a:pt x="75" y="4"/>
                    <a:pt x="80" y="8"/>
                    <a:pt x="84" y="13"/>
                  </a:cubicBezTo>
                  <a:cubicBezTo>
                    <a:pt x="88" y="17"/>
                    <a:pt x="91" y="21"/>
                    <a:pt x="92" y="25"/>
                  </a:cubicBezTo>
                  <a:cubicBezTo>
                    <a:pt x="94" y="29"/>
                    <a:pt x="94" y="33"/>
                    <a:pt x="95" y="38"/>
                  </a:cubicBezTo>
                  <a:cubicBezTo>
                    <a:pt x="95" y="42"/>
                    <a:pt x="95" y="46"/>
                    <a:pt x="94" y="50"/>
                  </a:cubicBezTo>
                  <a:cubicBezTo>
                    <a:pt x="94" y="54"/>
                    <a:pt x="93" y="58"/>
                    <a:pt x="93" y="62"/>
                  </a:cubicBezTo>
                  <a:cubicBezTo>
                    <a:pt x="92" y="66"/>
                    <a:pt x="92" y="69"/>
                    <a:pt x="92" y="72"/>
                  </a:cubicBezTo>
                  <a:cubicBezTo>
                    <a:pt x="93" y="76"/>
                    <a:pt x="94" y="79"/>
                    <a:pt x="95" y="81"/>
                  </a:cubicBezTo>
                  <a:cubicBezTo>
                    <a:pt x="96" y="83"/>
                    <a:pt x="97" y="84"/>
                    <a:pt x="97" y="85"/>
                  </a:cubicBezTo>
                  <a:cubicBezTo>
                    <a:pt x="97" y="87"/>
                    <a:pt x="96" y="88"/>
                    <a:pt x="95" y="89"/>
                  </a:cubicBezTo>
                  <a:cubicBezTo>
                    <a:pt x="84" y="100"/>
                    <a:pt x="84" y="100"/>
                    <a:pt x="84" y="100"/>
                  </a:cubicBezTo>
                  <a:cubicBezTo>
                    <a:pt x="82" y="101"/>
                    <a:pt x="81" y="101"/>
                    <a:pt x="79" y="101"/>
                  </a:cubicBezTo>
                  <a:cubicBezTo>
                    <a:pt x="78" y="101"/>
                    <a:pt x="77" y="101"/>
                    <a:pt x="76" y="99"/>
                  </a:cubicBezTo>
                  <a:cubicBezTo>
                    <a:pt x="72" y="95"/>
                    <a:pt x="70" y="91"/>
                    <a:pt x="69" y="87"/>
                  </a:cubicBezTo>
                  <a:cubicBezTo>
                    <a:pt x="67" y="82"/>
                    <a:pt x="67" y="78"/>
                    <a:pt x="66" y="74"/>
                  </a:cubicBezTo>
                  <a:cubicBezTo>
                    <a:pt x="66" y="69"/>
                    <a:pt x="67" y="65"/>
                    <a:pt x="67" y="61"/>
                  </a:cubicBezTo>
                  <a:cubicBezTo>
                    <a:pt x="68" y="57"/>
                    <a:pt x="68" y="53"/>
                    <a:pt x="69" y="50"/>
                  </a:cubicBezTo>
                  <a:cubicBezTo>
                    <a:pt x="69" y="46"/>
                    <a:pt x="69" y="43"/>
                    <a:pt x="69" y="40"/>
                  </a:cubicBezTo>
                  <a:cubicBezTo>
                    <a:pt x="68" y="37"/>
                    <a:pt x="67" y="34"/>
                    <a:pt x="65" y="32"/>
                  </a:cubicBezTo>
                  <a:cubicBezTo>
                    <a:pt x="62" y="28"/>
                    <a:pt x="57" y="26"/>
                    <a:pt x="52" y="27"/>
                  </a:cubicBezTo>
                  <a:cubicBezTo>
                    <a:pt x="46" y="27"/>
                    <a:pt x="41" y="30"/>
                    <a:pt x="35" y="35"/>
                  </a:cubicBezTo>
                  <a:cubicBezTo>
                    <a:pt x="27" y="43"/>
                    <a:pt x="24" y="53"/>
                    <a:pt x="28" y="66"/>
                  </a:cubicBezTo>
                  <a:cubicBezTo>
                    <a:pt x="29" y="67"/>
                    <a:pt x="29" y="68"/>
                    <a:pt x="29" y="70"/>
                  </a:cubicBezTo>
                  <a:cubicBezTo>
                    <a:pt x="29" y="71"/>
                    <a:pt x="28" y="72"/>
                    <a:pt x="27" y="73"/>
                  </a:cubicBezTo>
                  <a:cubicBezTo>
                    <a:pt x="15" y="84"/>
                    <a:pt x="15" y="84"/>
                    <a:pt x="15" y="84"/>
                  </a:cubicBezTo>
                  <a:cubicBezTo>
                    <a:pt x="14" y="85"/>
                    <a:pt x="13" y="86"/>
                    <a:pt x="12" y="86"/>
                  </a:cubicBezTo>
                  <a:cubicBezTo>
                    <a:pt x="10" y="86"/>
                    <a:pt x="9" y="85"/>
                    <a:pt x="8" y="84"/>
                  </a:cubicBezTo>
                  <a:cubicBezTo>
                    <a:pt x="5" y="80"/>
                    <a:pt x="3" y="76"/>
                    <a:pt x="2" y="70"/>
                  </a:cubicBezTo>
                  <a:cubicBezTo>
                    <a:pt x="0" y="65"/>
                    <a:pt x="0" y="59"/>
                    <a:pt x="1" y="52"/>
                  </a:cubicBezTo>
                  <a:cubicBezTo>
                    <a:pt x="1" y="46"/>
                    <a:pt x="3" y="40"/>
                    <a:pt x="6" y="34"/>
                  </a:cubicBezTo>
                  <a:cubicBezTo>
                    <a:pt x="9" y="27"/>
                    <a:pt x="13" y="22"/>
                    <a:pt x="19" y="17"/>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9">
              <a:extLst>
                <a:ext uri="{FF2B5EF4-FFF2-40B4-BE49-F238E27FC236}">
                  <a16:creationId xmlns:a16="http://schemas.microsoft.com/office/drawing/2014/main" id="{BA626E17-ACDF-4AAA-A986-5FD1464C01A2}"/>
                </a:ext>
              </a:extLst>
            </p:cNvPr>
            <p:cNvSpPr>
              <a:spLocks noEditPoints="1"/>
            </p:cNvSpPr>
            <p:nvPr/>
          </p:nvSpPr>
          <p:spPr bwMode="auto">
            <a:xfrm>
              <a:off x="2343" y="2116"/>
              <a:ext cx="224" cy="235"/>
            </a:xfrm>
            <a:custGeom>
              <a:avLst/>
              <a:gdLst>
                <a:gd name="T0" fmla="*/ 108 w 126"/>
                <a:gd name="T1" fmla="*/ 95 h 132"/>
                <a:gd name="T2" fmla="*/ 104 w 126"/>
                <a:gd name="T3" fmla="*/ 97 h 132"/>
                <a:gd name="T4" fmla="*/ 91 w 126"/>
                <a:gd name="T5" fmla="*/ 109 h 132"/>
                <a:gd name="T6" fmla="*/ 89 w 126"/>
                <a:gd name="T7" fmla="*/ 112 h 132"/>
                <a:gd name="T8" fmla="*/ 89 w 126"/>
                <a:gd name="T9" fmla="*/ 113 h 132"/>
                <a:gd name="T10" fmla="*/ 91 w 126"/>
                <a:gd name="T11" fmla="*/ 116 h 132"/>
                <a:gd name="T12" fmla="*/ 103 w 126"/>
                <a:gd name="T13" fmla="*/ 130 h 132"/>
                <a:gd name="T14" fmla="*/ 107 w 126"/>
                <a:gd name="T15" fmla="*/ 132 h 132"/>
                <a:gd name="T16" fmla="*/ 107 w 126"/>
                <a:gd name="T17" fmla="*/ 132 h 132"/>
                <a:gd name="T18" fmla="*/ 111 w 126"/>
                <a:gd name="T19" fmla="*/ 130 h 132"/>
                <a:gd name="T20" fmla="*/ 124 w 126"/>
                <a:gd name="T21" fmla="*/ 118 h 132"/>
                <a:gd name="T22" fmla="*/ 126 w 126"/>
                <a:gd name="T23" fmla="*/ 114 h 132"/>
                <a:gd name="T24" fmla="*/ 126 w 126"/>
                <a:gd name="T25" fmla="*/ 114 h 132"/>
                <a:gd name="T26" fmla="*/ 124 w 126"/>
                <a:gd name="T27" fmla="*/ 110 h 132"/>
                <a:gd name="T28" fmla="*/ 112 w 126"/>
                <a:gd name="T29" fmla="*/ 97 h 132"/>
                <a:gd name="T30" fmla="*/ 108 w 126"/>
                <a:gd name="T31" fmla="*/ 95 h 132"/>
                <a:gd name="T32" fmla="*/ 108 w 126"/>
                <a:gd name="T33" fmla="*/ 95 h 132"/>
                <a:gd name="T34" fmla="*/ 56 w 126"/>
                <a:gd name="T35" fmla="*/ 0 h 132"/>
                <a:gd name="T36" fmla="*/ 52 w 126"/>
                <a:gd name="T37" fmla="*/ 0 h 132"/>
                <a:gd name="T38" fmla="*/ 34 w 126"/>
                <a:gd name="T39" fmla="*/ 5 h 132"/>
                <a:gd name="T40" fmla="*/ 19 w 126"/>
                <a:gd name="T41" fmla="*/ 16 h 132"/>
                <a:gd name="T42" fmla="*/ 6 w 126"/>
                <a:gd name="T43" fmla="*/ 33 h 132"/>
                <a:gd name="T44" fmla="*/ 1 w 126"/>
                <a:gd name="T45" fmla="*/ 51 h 132"/>
                <a:gd name="T46" fmla="*/ 0 w 126"/>
                <a:gd name="T47" fmla="*/ 58 h 132"/>
                <a:gd name="T48" fmla="*/ 2 w 126"/>
                <a:gd name="T49" fmla="*/ 69 h 132"/>
                <a:gd name="T50" fmla="*/ 8 w 126"/>
                <a:gd name="T51" fmla="*/ 83 h 132"/>
                <a:gd name="T52" fmla="*/ 12 w 126"/>
                <a:gd name="T53" fmla="*/ 85 h 132"/>
                <a:gd name="T54" fmla="*/ 15 w 126"/>
                <a:gd name="T55" fmla="*/ 83 h 132"/>
                <a:gd name="T56" fmla="*/ 27 w 126"/>
                <a:gd name="T57" fmla="*/ 72 h 132"/>
                <a:gd name="T58" fmla="*/ 29 w 126"/>
                <a:gd name="T59" fmla="*/ 69 h 132"/>
                <a:gd name="T60" fmla="*/ 29 w 126"/>
                <a:gd name="T61" fmla="*/ 68 h 132"/>
                <a:gd name="T62" fmla="*/ 28 w 126"/>
                <a:gd name="T63" fmla="*/ 65 h 132"/>
                <a:gd name="T64" fmla="*/ 27 w 126"/>
                <a:gd name="T65" fmla="*/ 54 h 132"/>
                <a:gd name="T66" fmla="*/ 35 w 126"/>
                <a:gd name="T67" fmla="*/ 34 h 132"/>
                <a:gd name="T68" fmla="*/ 52 w 126"/>
                <a:gd name="T69" fmla="*/ 26 h 132"/>
                <a:gd name="T70" fmla="*/ 54 w 126"/>
                <a:gd name="T71" fmla="*/ 26 h 132"/>
                <a:gd name="T72" fmla="*/ 65 w 126"/>
                <a:gd name="T73" fmla="*/ 31 h 132"/>
                <a:gd name="T74" fmla="*/ 69 w 126"/>
                <a:gd name="T75" fmla="*/ 39 h 132"/>
                <a:gd name="T76" fmla="*/ 69 w 126"/>
                <a:gd name="T77" fmla="*/ 43 h 132"/>
                <a:gd name="T78" fmla="*/ 69 w 126"/>
                <a:gd name="T79" fmla="*/ 49 h 132"/>
                <a:gd name="T80" fmla="*/ 67 w 126"/>
                <a:gd name="T81" fmla="*/ 60 h 132"/>
                <a:gd name="T82" fmla="*/ 66 w 126"/>
                <a:gd name="T83" fmla="*/ 71 h 132"/>
                <a:gd name="T84" fmla="*/ 66 w 126"/>
                <a:gd name="T85" fmla="*/ 73 h 132"/>
                <a:gd name="T86" fmla="*/ 69 w 126"/>
                <a:gd name="T87" fmla="*/ 86 h 132"/>
                <a:gd name="T88" fmla="*/ 76 w 126"/>
                <a:gd name="T89" fmla="*/ 98 h 132"/>
                <a:gd name="T90" fmla="*/ 79 w 126"/>
                <a:gd name="T91" fmla="*/ 100 h 132"/>
                <a:gd name="T92" fmla="*/ 80 w 126"/>
                <a:gd name="T93" fmla="*/ 100 h 132"/>
                <a:gd name="T94" fmla="*/ 84 w 126"/>
                <a:gd name="T95" fmla="*/ 99 h 132"/>
                <a:gd name="T96" fmla="*/ 95 w 126"/>
                <a:gd name="T97" fmla="*/ 88 h 132"/>
                <a:gd name="T98" fmla="*/ 97 w 126"/>
                <a:gd name="T99" fmla="*/ 85 h 132"/>
                <a:gd name="T100" fmla="*/ 97 w 126"/>
                <a:gd name="T101" fmla="*/ 84 h 132"/>
                <a:gd name="T102" fmla="*/ 95 w 126"/>
                <a:gd name="T103" fmla="*/ 80 h 132"/>
                <a:gd name="T104" fmla="*/ 92 w 126"/>
                <a:gd name="T105" fmla="*/ 71 h 132"/>
                <a:gd name="T106" fmla="*/ 92 w 126"/>
                <a:gd name="T107" fmla="*/ 68 h 132"/>
                <a:gd name="T108" fmla="*/ 93 w 126"/>
                <a:gd name="T109" fmla="*/ 61 h 132"/>
                <a:gd name="T110" fmla="*/ 94 w 126"/>
                <a:gd name="T111" fmla="*/ 49 h 132"/>
                <a:gd name="T112" fmla="*/ 95 w 126"/>
                <a:gd name="T113" fmla="*/ 41 h 132"/>
                <a:gd name="T114" fmla="*/ 95 w 126"/>
                <a:gd name="T115" fmla="*/ 37 h 132"/>
                <a:gd name="T116" fmla="*/ 92 w 126"/>
                <a:gd name="T117" fmla="*/ 24 h 132"/>
                <a:gd name="T118" fmla="*/ 84 w 126"/>
                <a:gd name="T119" fmla="*/ 12 h 132"/>
                <a:gd name="T120" fmla="*/ 69 w 126"/>
                <a:gd name="T121" fmla="*/ 2 h 132"/>
                <a:gd name="T122" fmla="*/ 56 w 126"/>
                <a:gd name="T1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6" h="132">
                  <a:moveTo>
                    <a:pt x="108" y="95"/>
                  </a:moveTo>
                  <a:cubicBezTo>
                    <a:pt x="107" y="95"/>
                    <a:pt x="105" y="96"/>
                    <a:pt x="104" y="97"/>
                  </a:cubicBezTo>
                  <a:cubicBezTo>
                    <a:pt x="91" y="109"/>
                    <a:pt x="91" y="109"/>
                    <a:pt x="91" y="109"/>
                  </a:cubicBezTo>
                  <a:cubicBezTo>
                    <a:pt x="90" y="110"/>
                    <a:pt x="89" y="111"/>
                    <a:pt x="89" y="112"/>
                  </a:cubicBezTo>
                  <a:cubicBezTo>
                    <a:pt x="89" y="113"/>
                    <a:pt x="89" y="113"/>
                    <a:pt x="89" y="113"/>
                  </a:cubicBezTo>
                  <a:cubicBezTo>
                    <a:pt x="89" y="114"/>
                    <a:pt x="90" y="115"/>
                    <a:pt x="91" y="116"/>
                  </a:cubicBezTo>
                  <a:cubicBezTo>
                    <a:pt x="103" y="130"/>
                    <a:pt x="103" y="130"/>
                    <a:pt x="103" y="130"/>
                  </a:cubicBezTo>
                  <a:cubicBezTo>
                    <a:pt x="104" y="131"/>
                    <a:pt x="106" y="131"/>
                    <a:pt x="107" y="132"/>
                  </a:cubicBezTo>
                  <a:cubicBezTo>
                    <a:pt x="107" y="132"/>
                    <a:pt x="107" y="132"/>
                    <a:pt x="107" y="132"/>
                  </a:cubicBezTo>
                  <a:cubicBezTo>
                    <a:pt x="109" y="132"/>
                    <a:pt x="110" y="131"/>
                    <a:pt x="111" y="130"/>
                  </a:cubicBezTo>
                  <a:cubicBezTo>
                    <a:pt x="124" y="118"/>
                    <a:pt x="124" y="118"/>
                    <a:pt x="124" y="118"/>
                  </a:cubicBezTo>
                  <a:cubicBezTo>
                    <a:pt x="125" y="117"/>
                    <a:pt x="126" y="116"/>
                    <a:pt x="126" y="114"/>
                  </a:cubicBezTo>
                  <a:cubicBezTo>
                    <a:pt x="126" y="114"/>
                    <a:pt x="126" y="114"/>
                    <a:pt x="126" y="114"/>
                  </a:cubicBezTo>
                  <a:cubicBezTo>
                    <a:pt x="126" y="112"/>
                    <a:pt x="125" y="111"/>
                    <a:pt x="124" y="110"/>
                  </a:cubicBezTo>
                  <a:cubicBezTo>
                    <a:pt x="112" y="97"/>
                    <a:pt x="112" y="97"/>
                    <a:pt x="112" y="97"/>
                  </a:cubicBezTo>
                  <a:cubicBezTo>
                    <a:pt x="111" y="96"/>
                    <a:pt x="110" y="95"/>
                    <a:pt x="108" y="95"/>
                  </a:cubicBezTo>
                  <a:cubicBezTo>
                    <a:pt x="108" y="95"/>
                    <a:pt x="108" y="95"/>
                    <a:pt x="108" y="95"/>
                  </a:cubicBezTo>
                  <a:moveTo>
                    <a:pt x="56" y="0"/>
                  </a:moveTo>
                  <a:cubicBezTo>
                    <a:pt x="55" y="0"/>
                    <a:pt x="53" y="0"/>
                    <a:pt x="52" y="0"/>
                  </a:cubicBezTo>
                  <a:cubicBezTo>
                    <a:pt x="46" y="1"/>
                    <a:pt x="40" y="2"/>
                    <a:pt x="34" y="5"/>
                  </a:cubicBezTo>
                  <a:cubicBezTo>
                    <a:pt x="29" y="8"/>
                    <a:pt x="23" y="12"/>
                    <a:pt x="19" y="16"/>
                  </a:cubicBezTo>
                  <a:cubicBezTo>
                    <a:pt x="13" y="21"/>
                    <a:pt x="9" y="26"/>
                    <a:pt x="6" y="33"/>
                  </a:cubicBezTo>
                  <a:cubicBezTo>
                    <a:pt x="3" y="39"/>
                    <a:pt x="1" y="45"/>
                    <a:pt x="1" y="51"/>
                  </a:cubicBezTo>
                  <a:cubicBezTo>
                    <a:pt x="0" y="54"/>
                    <a:pt x="0" y="56"/>
                    <a:pt x="0" y="58"/>
                  </a:cubicBezTo>
                  <a:cubicBezTo>
                    <a:pt x="0" y="62"/>
                    <a:pt x="1" y="66"/>
                    <a:pt x="2" y="69"/>
                  </a:cubicBezTo>
                  <a:cubicBezTo>
                    <a:pt x="3" y="75"/>
                    <a:pt x="5" y="79"/>
                    <a:pt x="8" y="83"/>
                  </a:cubicBezTo>
                  <a:cubicBezTo>
                    <a:pt x="9" y="84"/>
                    <a:pt x="10" y="85"/>
                    <a:pt x="12" y="85"/>
                  </a:cubicBezTo>
                  <a:cubicBezTo>
                    <a:pt x="13" y="85"/>
                    <a:pt x="14" y="84"/>
                    <a:pt x="15" y="83"/>
                  </a:cubicBezTo>
                  <a:cubicBezTo>
                    <a:pt x="27" y="72"/>
                    <a:pt x="27" y="72"/>
                    <a:pt x="27" y="72"/>
                  </a:cubicBezTo>
                  <a:cubicBezTo>
                    <a:pt x="28" y="71"/>
                    <a:pt x="29" y="70"/>
                    <a:pt x="29" y="69"/>
                  </a:cubicBezTo>
                  <a:cubicBezTo>
                    <a:pt x="29" y="68"/>
                    <a:pt x="29" y="68"/>
                    <a:pt x="29" y="68"/>
                  </a:cubicBezTo>
                  <a:cubicBezTo>
                    <a:pt x="29" y="67"/>
                    <a:pt x="29" y="66"/>
                    <a:pt x="28" y="65"/>
                  </a:cubicBezTo>
                  <a:cubicBezTo>
                    <a:pt x="27" y="61"/>
                    <a:pt x="27" y="57"/>
                    <a:pt x="27" y="54"/>
                  </a:cubicBezTo>
                  <a:cubicBezTo>
                    <a:pt x="27" y="46"/>
                    <a:pt x="30" y="40"/>
                    <a:pt x="35" y="34"/>
                  </a:cubicBezTo>
                  <a:cubicBezTo>
                    <a:pt x="41" y="29"/>
                    <a:pt x="46" y="26"/>
                    <a:pt x="52" y="26"/>
                  </a:cubicBezTo>
                  <a:cubicBezTo>
                    <a:pt x="52" y="26"/>
                    <a:pt x="53" y="26"/>
                    <a:pt x="54" y="26"/>
                  </a:cubicBezTo>
                  <a:cubicBezTo>
                    <a:pt x="58" y="26"/>
                    <a:pt x="62" y="28"/>
                    <a:pt x="65" y="31"/>
                  </a:cubicBezTo>
                  <a:cubicBezTo>
                    <a:pt x="67" y="33"/>
                    <a:pt x="68" y="36"/>
                    <a:pt x="69" y="39"/>
                  </a:cubicBezTo>
                  <a:cubicBezTo>
                    <a:pt x="69" y="40"/>
                    <a:pt x="69" y="41"/>
                    <a:pt x="69" y="43"/>
                  </a:cubicBezTo>
                  <a:cubicBezTo>
                    <a:pt x="69" y="45"/>
                    <a:pt x="69" y="47"/>
                    <a:pt x="69" y="49"/>
                  </a:cubicBezTo>
                  <a:cubicBezTo>
                    <a:pt x="68" y="52"/>
                    <a:pt x="68" y="56"/>
                    <a:pt x="67" y="60"/>
                  </a:cubicBezTo>
                  <a:cubicBezTo>
                    <a:pt x="67" y="64"/>
                    <a:pt x="66" y="67"/>
                    <a:pt x="66" y="71"/>
                  </a:cubicBezTo>
                  <a:cubicBezTo>
                    <a:pt x="66" y="71"/>
                    <a:pt x="66" y="72"/>
                    <a:pt x="66" y="73"/>
                  </a:cubicBezTo>
                  <a:cubicBezTo>
                    <a:pt x="67" y="77"/>
                    <a:pt x="67" y="81"/>
                    <a:pt x="69" y="86"/>
                  </a:cubicBezTo>
                  <a:cubicBezTo>
                    <a:pt x="70" y="90"/>
                    <a:pt x="72" y="94"/>
                    <a:pt x="76" y="98"/>
                  </a:cubicBezTo>
                  <a:cubicBezTo>
                    <a:pt x="77" y="100"/>
                    <a:pt x="78" y="100"/>
                    <a:pt x="79" y="100"/>
                  </a:cubicBezTo>
                  <a:cubicBezTo>
                    <a:pt x="79" y="100"/>
                    <a:pt x="80" y="100"/>
                    <a:pt x="80" y="100"/>
                  </a:cubicBezTo>
                  <a:cubicBezTo>
                    <a:pt x="81" y="100"/>
                    <a:pt x="82" y="100"/>
                    <a:pt x="84" y="99"/>
                  </a:cubicBezTo>
                  <a:cubicBezTo>
                    <a:pt x="95" y="88"/>
                    <a:pt x="95" y="88"/>
                    <a:pt x="95" y="88"/>
                  </a:cubicBezTo>
                  <a:cubicBezTo>
                    <a:pt x="96" y="87"/>
                    <a:pt x="97" y="86"/>
                    <a:pt x="97" y="85"/>
                  </a:cubicBezTo>
                  <a:cubicBezTo>
                    <a:pt x="97" y="84"/>
                    <a:pt x="97" y="84"/>
                    <a:pt x="97" y="84"/>
                  </a:cubicBezTo>
                  <a:cubicBezTo>
                    <a:pt x="97" y="83"/>
                    <a:pt x="96" y="82"/>
                    <a:pt x="95" y="80"/>
                  </a:cubicBezTo>
                  <a:cubicBezTo>
                    <a:pt x="94" y="78"/>
                    <a:pt x="93" y="75"/>
                    <a:pt x="92" y="71"/>
                  </a:cubicBezTo>
                  <a:cubicBezTo>
                    <a:pt x="92" y="70"/>
                    <a:pt x="92" y="69"/>
                    <a:pt x="92" y="68"/>
                  </a:cubicBezTo>
                  <a:cubicBezTo>
                    <a:pt x="92" y="66"/>
                    <a:pt x="93" y="63"/>
                    <a:pt x="93" y="61"/>
                  </a:cubicBezTo>
                  <a:cubicBezTo>
                    <a:pt x="93" y="57"/>
                    <a:pt x="94" y="53"/>
                    <a:pt x="94" y="49"/>
                  </a:cubicBezTo>
                  <a:cubicBezTo>
                    <a:pt x="95" y="46"/>
                    <a:pt x="95" y="43"/>
                    <a:pt x="95" y="41"/>
                  </a:cubicBezTo>
                  <a:cubicBezTo>
                    <a:pt x="95" y="39"/>
                    <a:pt x="95" y="38"/>
                    <a:pt x="95" y="37"/>
                  </a:cubicBezTo>
                  <a:cubicBezTo>
                    <a:pt x="94" y="32"/>
                    <a:pt x="94" y="28"/>
                    <a:pt x="92" y="24"/>
                  </a:cubicBezTo>
                  <a:cubicBezTo>
                    <a:pt x="91" y="20"/>
                    <a:pt x="88" y="16"/>
                    <a:pt x="84" y="12"/>
                  </a:cubicBezTo>
                  <a:cubicBezTo>
                    <a:pt x="80" y="7"/>
                    <a:pt x="75" y="3"/>
                    <a:pt x="69" y="2"/>
                  </a:cubicBezTo>
                  <a:cubicBezTo>
                    <a:pt x="65" y="0"/>
                    <a:pt x="61" y="0"/>
                    <a:pt x="56" y="0"/>
                  </a:cubicBezTo>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0">
              <a:extLst>
                <a:ext uri="{FF2B5EF4-FFF2-40B4-BE49-F238E27FC236}">
                  <a16:creationId xmlns:a16="http://schemas.microsoft.com/office/drawing/2014/main" id="{55368BDF-0088-441B-B1FC-E5809EB11584}"/>
                </a:ext>
              </a:extLst>
            </p:cNvPr>
            <p:cNvSpPr>
              <a:spLocks/>
            </p:cNvSpPr>
            <p:nvPr/>
          </p:nvSpPr>
          <p:spPr bwMode="auto">
            <a:xfrm>
              <a:off x="3622" y="2692"/>
              <a:ext cx="360" cy="451"/>
            </a:xfrm>
            <a:custGeom>
              <a:avLst/>
              <a:gdLst>
                <a:gd name="T0" fmla="*/ 202 w 202"/>
                <a:gd name="T1" fmla="*/ 53 h 253"/>
                <a:gd name="T2" fmla="*/ 126 w 202"/>
                <a:gd name="T3" fmla="*/ 9 h 253"/>
                <a:gd name="T4" fmla="*/ 121 w 202"/>
                <a:gd name="T5" fmla="*/ 6 h 253"/>
                <a:gd name="T6" fmla="*/ 94 w 202"/>
                <a:gd name="T7" fmla="*/ 2 h 253"/>
                <a:gd name="T8" fmla="*/ 72 w 202"/>
                <a:gd name="T9" fmla="*/ 10 h 253"/>
                <a:gd name="T10" fmla="*/ 69 w 202"/>
                <a:gd name="T11" fmla="*/ 12 h 253"/>
                <a:gd name="T12" fmla="*/ 21 w 202"/>
                <a:gd name="T13" fmla="*/ 67 h 253"/>
                <a:gd name="T14" fmla="*/ 0 w 202"/>
                <a:gd name="T15" fmla="*/ 147 h 253"/>
                <a:gd name="T16" fmla="*/ 21 w 202"/>
                <a:gd name="T17" fmla="*/ 203 h 253"/>
                <a:gd name="T18" fmla="*/ 26 w 202"/>
                <a:gd name="T19" fmla="*/ 206 h 253"/>
                <a:gd name="T20" fmla="*/ 107 w 202"/>
                <a:gd name="T21" fmla="*/ 253 h 253"/>
                <a:gd name="T22" fmla="*/ 107 w 202"/>
                <a:gd name="T23" fmla="*/ 253 h 253"/>
                <a:gd name="T24" fmla="*/ 103 w 202"/>
                <a:gd name="T25" fmla="*/ 250 h 253"/>
                <a:gd name="T26" fmla="*/ 81 w 202"/>
                <a:gd name="T27" fmla="*/ 194 h 253"/>
                <a:gd name="T28" fmla="*/ 102 w 202"/>
                <a:gd name="T29" fmla="*/ 114 h 253"/>
                <a:gd name="T30" fmla="*/ 153 w 202"/>
                <a:gd name="T31" fmla="*/ 57 h 253"/>
                <a:gd name="T32" fmla="*/ 202 w 202"/>
                <a:gd name="T33" fmla="*/ 53 h 253"/>
                <a:gd name="T34" fmla="*/ 202 w 202"/>
                <a:gd name="T35" fmla="*/ 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2" h="253">
                  <a:moveTo>
                    <a:pt x="202" y="53"/>
                  </a:moveTo>
                  <a:cubicBezTo>
                    <a:pt x="190" y="46"/>
                    <a:pt x="142" y="18"/>
                    <a:pt x="126" y="9"/>
                  </a:cubicBezTo>
                  <a:cubicBezTo>
                    <a:pt x="123" y="7"/>
                    <a:pt x="121" y="6"/>
                    <a:pt x="121" y="6"/>
                  </a:cubicBezTo>
                  <a:cubicBezTo>
                    <a:pt x="113" y="1"/>
                    <a:pt x="104" y="0"/>
                    <a:pt x="94" y="2"/>
                  </a:cubicBezTo>
                  <a:cubicBezTo>
                    <a:pt x="87" y="3"/>
                    <a:pt x="80" y="6"/>
                    <a:pt x="72" y="10"/>
                  </a:cubicBezTo>
                  <a:cubicBezTo>
                    <a:pt x="71" y="11"/>
                    <a:pt x="70" y="12"/>
                    <a:pt x="69" y="12"/>
                  </a:cubicBezTo>
                  <a:cubicBezTo>
                    <a:pt x="50" y="24"/>
                    <a:pt x="34" y="42"/>
                    <a:pt x="21" y="67"/>
                  </a:cubicBezTo>
                  <a:cubicBezTo>
                    <a:pt x="7" y="94"/>
                    <a:pt x="0" y="121"/>
                    <a:pt x="0" y="147"/>
                  </a:cubicBezTo>
                  <a:cubicBezTo>
                    <a:pt x="0" y="174"/>
                    <a:pt x="7" y="192"/>
                    <a:pt x="21" y="203"/>
                  </a:cubicBezTo>
                  <a:cubicBezTo>
                    <a:pt x="23" y="204"/>
                    <a:pt x="24" y="205"/>
                    <a:pt x="26" y="206"/>
                  </a:cubicBezTo>
                  <a:cubicBezTo>
                    <a:pt x="39" y="214"/>
                    <a:pt x="105" y="252"/>
                    <a:pt x="107" y="253"/>
                  </a:cubicBezTo>
                  <a:cubicBezTo>
                    <a:pt x="107" y="253"/>
                    <a:pt x="107" y="253"/>
                    <a:pt x="107" y="253"/>
                  </a:cubicBezTo>
                  <a:cubicBezTo>
                    <a:pt x="106" y="252"/>
                    <a:pt x="104" y="251"/>
                    <a:pt x="103" y="250"/>
                  </a:cubicBezTo>
                  <a:cubicBezTo>
                    <a:pt x="88" y="239"/>
                    <a:pt x="81" y="221"/>
                    <a:pt x="81" y="194"/>
                  </a:cubicBezTo>
                  <a:cubicBezTo>
                    <a:pt x="81" y="168"/>
                    <a:pt x="88" y="141"/>
                    <a:pt x="102" y="114"/>
                  </a:cubicBezTo>
                  <a:cubicBezTo>
                    <a:pt x="116" y="88"/>
                    <a:pt x="133" y="69"/>
                    <a:pt x="153" y="57"/>
                  </a:cubicBezTo>
                  <a:cubicBezTo>
                    <a:pt x="172" y="46"/>
                    <a:pt x="188" y="45"/>
                    <a:pt x="202" y="53"/>
                  </a:cubicBezTo>
                  <a:cubicBezTo>
                    <a:pt x="202" y="53"/>
                    <a:pt x="202" y="53"/>
                    <a:pt x="202" y="53"/>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11">
              <a:extLst>
                <a:ext uri="{FF2B5EF4-FFF2-40B4-BE49-F238E27FC236}">
                  <a16:creationId xmlns:a16="http://schemas.microsoft.com/office/drawing/2014/main" id="{22660776-3ADF-41AE-8895-BE1347714AF7}"/>
                </a:ext>
              </a:extLst>
            </p:cNvPr>
            <p:cNvSpPr>
              <a:spLocks noEditPoints="1"/>
            </p:cNvSpPr>
            <p:nvPr/>
          </p:nvSpPr>
          <p:spPr bwMode="auto">
            <a:xfrm>
              <a:off x="3686" y="2703"/>
              <a:ext cx="296" cy="183"/>
            </a:xfrm>
            <a:custGeom>
              <a:avLst/>
              <a:gdLst>
                <a:gd name="T0" fmla="*/ 86 w 166"/>
                <a:gd name="T1" fmla="*/ 78 h 103"/>
                <a:gd name="T2" fmla="*/ 69 w 166"/>
                <a:gd name="T3" fmla="*/ 103 h 103"/>
                <a:gd name="T4" fmla="*/ 69 w 166"/>
                <a:gd name="T5" fmla="*/ 103 h 103"/>
                <a:gd name="T6" fmla="*/ 69 w 166"/>
                <a:gd name="T7" fmla="*/ 103 h 103"/>
                <a:gd name="T8" fmla="*/ 86 w 166"/>
                <a:gd name="T9" fmla="*/ 78 h 103"/>
                <a:gd name="T10" fmla="*/ 153 w 166"/>
                <a:gd name="T11" fmla="*/ 42 h 103"/>
                <a:gd name="T12" fmla="*/ 166 w 166"/>
                <a:gd name="T13" fmla="*/ 47 h 103"/>
                <a:gd name="T14" fmla="*/ 166 w 166"/>
                <a:gd name="T15" fmla="*/ 47 h 103"/>
                <a:gd name="T16" fmla="*/ 153 w 166"/>
                <a:gd name="T17" fmla="*/ 42 h 103"/>
                <a:gd name="T18" fmla="*/ 29 w 166"/>
                <a:gd name="T19" fmla="*/ 9 h 103"/>
                <a:gd name="T20" fmla="*/ 0 w 166"/>
                <a:gd name="T21" fmla="*/ 37 h 103"/>
                <a:gd name="T22" fmla="*/ 29 w 166"/>
                <a:gd name="T23" fmla="*/ 9 h 103"/>
                <a:gd name="T24" fmla="*/ 85 w 166"/>
                <a:gd name="T25" fmla="*/ 0 h 103"/>
                <a:gd name="T26" fmla="*/ 87 w 166"/>
                <a:gd name="T27" fmla="*/ 1 h 103"/>
                <a:gd name="T28" fmla="*/ 85 w 166"/>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6" h="103">
                  <a:moveTo>
                    <a:pt x="86" y="78"/>
                  </a:moveTo>
                  <a:cubicBezTo>
                    <a:pt x="80" y="85"/>
                    <a:pt x="75" y="94"/>
                    <a:pt x="69" y="103"/>
                  </a:cubicBezTo>
                  <a:cubicBezTo>
                    <a:pt x="69" y="103"/>
                    <a:pt x="69" y="103"/>
                    <a:pt x="69" y="103"/>
                  </a:cubicBezTo>
                  <a:cubicBezTo>
                    <a:pt x="69" y="103"/>
                    <a:pt x="69" y="103"/>
                    <a:pt x="69" y="103"/>
                  </a:cubicBezTo>
                  <a:cubicBezTo>
                    <a:pt x="75" y="94"/>
                    <a:pt x="80" y="85"/>
                    <a:pt x="86" y="78"/>
                  </a:cubicBezTo>
                  <a:moveTo>
                    <a:pt x="153" y="42"/>
                  </a:moveTo>
                  <a:cubicBezTo>
                    <a:pt x="157" y="43"/>
                    <a:pt x="162" y="44"/>
                    <a:pt x="166" y="47"/>
                  </a:cubicBezTo>
                  <a:cubicBezTo>
                    <a:pt x="166" y="47"/>
                    <a:pt x="166" y="47"/>
                    <a:pt x="166" y="47"/>
                  </a:cubicBezTo>
                  <a:cubicBezTo>
                    <a:pt x="162" y="44"/>
                    <a:pt x="157" y="43"/>
                    <a:pt x="153" y="42"/>
                  </a:cubicBezTo>
                  <a:moveTo>
                    <a:pt x="29" y="9"/>
                  </a:moveTo>
                  <a:cubicBezTo>
                    <a:pt x="19" y="16"/>
                    <a:pt x="9" y="25"/>
                    <a:pt x="0" y="37"/>
                  </a:cubicBezTo>
                  <a:cubicBezTo>
                    <a:pt x="9" y="25"/>
                    <a:pt x="19" y="16"/>
                    <a:pt x="29" y="9"/>
                  </a:cubicBezTo>
                  <a:moveTo>
                    <a:pt x="85" y="0"/>
                  </a:moveTo>
                  <a:cubicBezTo>
                    <a:pt x="85" y="0"/>
                    <a:pt x="86" y="0"/>
                    <a:pt x="87" y="1"/>
                  </a:cubicBezTo>
                  <a:cubicBezTo>
                    <a:pt x="85" y="0"/>
                    <a:pt x="85" y="0"/>
                    <a:pt x="85" y="0"/>
                  </a:cubicBezTo>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2">
              <a:extLst>
                <a:ext uri="{FF2B5EF4-FFF2-40B4-BE49-F238E27FC236}">
                  <a16:creationId xmlns:a16="http://schemas.microsoft.com/office/drawing/2014/main" id="{F3BE4980-5DFD-4EEA-A16E-F93FE382C860}"/>
                </a:ext>
              </a:extLst>
            </p:cNvPr>
            <p:cNvSpPr>
              <a:spLocks/>
            </p:cNvSpPr>
            <p:nvPr/>
          </p:nvSpPr>
          <p:spPr bwMode="auto">
            <a:xfrm>
              <a:off x="3664" y="2694"/>
              <a:ext cx="318" cy="192"/>
            </a:xfrm>
            <a:custGeom>
              <a:avLst/>
              <a:gdLst>
                <a:gd name="T0" fmla="*/ 78 w 178"/>
                <a:gd name="T1" fmla="*/ 0 h 108"/>
                <a:gd name="T2" fmla="*/ 70 w 178"/>
                <a:gd name="T3" fmla="*/ 1 h 108"/>
                <a:gd name="T4" fmla="*/ 70 w 178"/>
                <a:gd name="T5" fmla="*/ 1 h 108"/>
                <a:gd name="T6" fmla="*/ 70 w 178"/>
                <a:gd name="T7" fmla="*/ 1 h 108"/>
                <a:gd name="T8" fmla="*/ 70 w 178"/>
                <a:gd name="T9" fmla="*/ 1 h 108"/>
                <a:gd name="T10" fmla="*/ 70 w 178"/>
                <a:gd name="T11" fmla="*/ 8 h 108"/>
                <a:gd name="T12" fmla="*/ 70 w 178"/>
                <a:gd name="T13" fmla="*/ 26 h 108"/>
                <a:gd name="T14" fmla="*/ 70 w 178"/>
                <a:gd name="T15" fmla="*/ 26 h 108"/>
                <a:gd name="T16" fmla="*/ 70 w 178"/>
                <a:gd name="T17" fmla="*/ 26 h 108"/>
                <a:gd name="T18" fmla="*/ 61 w 178"/>
                <a:gd name="T19" fmla="*/ 21 h 108"/>
                <a:gd name="T20" fmla="*/ 44 w 178"/>
                <a:gd name="T21" fmla="*/ 12 h 108"/>
                <a:gd name="T22" fmla="*/ 44 w 178"/>
                <a:gd name="T23" fmla="*/ 12 h 108"/>
                <a:gd name="T24" fmla="*/ 41 w 178"/>
                <a:gd name="T25" fmla="*/ 14 h 108"/>
                <a:gd name="T26" fmla="*/ 12 w 178"/>
                <a:gd name="T27" fmla="*/ 42 h 108"/>
                <a:gd name="T28" fmla="*/ 0 w 178"/>
                <a:gd name="T29" fmla="*/ 61 h 108"/>
                <a:gd name="T30" fmla="*/ 81 w 178"/>
                <a:gd name="T31" fmla="*/ 108 h 108"/>
                <a:gd name="T32" fmla="*/ 98 w 178"/>
                <a:gd name="T33" fmla="*/ 83 h 108"/>
                <a:gd name="T34" fmla="*/ 129 w 178"/>
                <a:gd name="T35" fmla="*/ 56 h 108"/>
                <a:gd name="T36" fmla="*/ 159 w 178"/>
                <a:gd name="T37" fmla="*/ 47 h 108"/>
                <a:gd name="T38" fmla="*/ 165 w 178"/>
                <a:gd name="T39" fmla="*/ 47 h 108"/>
                <a:gd name="T40" fmla="*/ 178 w 178"/>
                <a:gd name="T41" fmla="*/ 52 h 108"/>
                <a:gd name="T42" fmla="*/ 178 w 178"/>
                <a:gd name="T43" fmla="*/ 52 h 108"/>
                <a:gd name="T44" fmla="*/ 102 w 178"/>
                <a:gd name="T45" fmla="*/ 8 h 108"/>
                <a:gd name="T46" fmla="*/ 99 w 178"/>
                <a:gd name="T47" fmla="*/ 6 h 108"/>
                <a:gd name="T48" fmla="*/ 97 w 178"/>
                <a:gd name="T49" fmla="*/ 5 h 108"/>
                <a:gd name="T50" fmla="*/ 97 w 178"/>
                <a:gd name="T51" fmla="*/ 5 h 108"/>
                <a:gd name="T52" fmla="*/ 78 w 178"/>
                <a:gd name="T5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08">
                  <a:moveTo>
                    <a:pt x="78" y="0"/>
                  </a:moveTo>
                  <a:cubicBezTo>
                    <a:pt x="75" y="0"/>
                    <a:pt x="73" y="0"/>
                    <a:pt x="70" y="1"/>
                  </a:cubicBezTo>
                  <a:cubicBezTo>
                    <a:pt x="70" y="1"/>
                    <a:pt x="70" y="1"/>
                    <a:pt x="70" y="1"/>
                  </a:cubicBezTo>
                  <a:cubicBezTo>
                    <a:pt x="70" y="1"/>
                    <a:pt x="70" y="1"/>
                    <a:pt x="70" y="1"/>
                  </a:cubicBezTo>
                  <a:cubicBezTo>
                    <a:pt x="70" y="1"/>
                    <a:pt x="70" y="1"/>
                    <a:pt x="70" y="1"/>
                  </a:cubicBezTo>
                  <a:cubicBezTo>
                    <a:pt x="70" y="8"/>
                    <a:pt x="70" y="8"/>
                    <a:pt x="70" y="8"/>
                  </a:cubicBezTo>
                  <a:cubicBezTo>
                    <a:pt x="70" y="26"/>
                    <a:pt x="70" y="26"/>
                    <a:pt x="70" y="26"/>
                  </a:cubicBezTo>
                  <a:cubicBezTo>
                    <a:pt x="70" y="26"/>
                    <a:pt x="70" y="26"/>
                    <a:pt x="70" y="26"/>
                  </a:cubicBezTo>
                  <a:cubicBezTo>
                    <a:pt x="70" y="26"/>
                    <a:pt x="70" y="26"/>
                    <a:pt x="70" y="26"/>
                  </a:cubicBezTo>
                  <a:cubicBezTo>
                    <a:pt x="61" y="21"/>
                    <a:pt x="61" y="21"/>
                    <a:pt x="61" y="21"/>
                  </a:cubicBezTo>
                  <a:cubicBezTo>
                    <a:pt x="44" y="12"/>
                    <a:pt x="44" y="12"/>
                    <a:pt x="44" y="12"/>
                  </a:cubicBezTo>
                  <a:cubicBezTo>
                    <a:pt x="44" y="12"/>
                    <a:pt x="44" y="12"/>
                    <a:pt x="44" y="12"/>
                  </a:cubicBezTo>
                  <a:cubicBezTo>
                    <a:pt x="43" y="12"/>
                    <a:pt x="42" y="13"/>
                    <a:pt x="41" y="14"/>
                  </a:cubicBezTo>
                  <a:cubicBezTo>
                    <a:pt x="31" y="21"/>
                    <a:pt x="21" y="30"/>
                    <a:pt x="12" y="42"/>
                  </a:cubicBezTo>
                  <a:cubicBezTo>
                    <a:pt x="8" y="48"/>
                    <a:pt x="4" y="54"/>
                    <a:pt x="0" y="61"/>
                  </a:cubicBezTo>
                  <a:cubicBezTo>
                    <a:pt x="81" y="108"/>
                    <a:pt x="81" y="108"/>
                    <a:pt x="81" y="108"/>
                  </a:cubicBezTo>
                  <a:cubicBezTo>
                    <a:pt x="87" y="99"/>
                    <a:pt x="92" y="90"/>
                    <a:pt x="98" y="83"/>
                  </a:cubicBezTo>
                  <a:cubicBezTo>
                    <a:pt x="108" y="71"/>
                    <a:pt x="118" y="63"/>
                    <a:pt x="129" y="56"/>
                  </a:cubicBezTo>
                  <a:cubicBezTo>
                    <a:pt x="140" y="50"/>
                    <a:pt x="150" y="47"/>
                    <a:pt x="159" y="47"/>
                  </a:cubicBezTo>
                  <a:cubicBezTo>
                    <a:pt x="161" y="47"/>
                    <a:pt x="163" y="47"/>
                    <a:pt x="165" y="47"/>
                  </a:cubicBezTo>
                  <a:cubicBezTo>
                    <a:pt x="169" y="48"/>
                    <a:pt x="174" y="49"/>
                    <a:pt x="178" y="52"/>
                  </a:cubicBezTo>
                  <a:cubicBezTo>
                    <a:pt x="178" y="52"/>
                    <a:pt x="178" y="52"/>
                    <a:pt x="178" y="52"/>
                  </a:cubicBezTo>
                  <a:cubicBezTo>
                    <a:pt x="166" y="45"/>
                    <a:pt x="118" y="17"/>
                    <a:pt x="102" y="8"/>
                  </a:cubicBezTo>
                  <a:cubicBezTo>
                    <a:pt x="101" y="7"/>
                    <a:pt x="99" y="6"/>
                    <a:pt x="99" y="6"/>
                  </a:cubicBezTo>
                  <a:cubicBezTo>
                    <a:pt x="98" y="5"/>
                    <a:pt x="97" y="5"/>
                    <a:pt x="97" y="5"/>
                  </a:cubicBezTo>
                  <a:cubicBezTo>
                    <a:pt x="97" y="5"/>
                    <a:pt x="97" y="5"/>
                    <a:pt x="97" y="5"/>
                  </a:cubicBezTo>
                  <a:cubicBezTo>
                    <a:pt x="91" y="1"/>
                    <a:pt x="85" y="0"/>
                    <a:pt x="78" y="0"/>
                  </a:cubicBezTo>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3">
              <a:extLst>
                <a:ext uri="{FF2B5EF4-FFF2-40B4-BE49-F238E27FC236}">
                  <a16:creationId xmlns:a16="http://schemas.microsoft.com/office/drawing/2014/main" id="{FE48D9D5-B9B3-49F1-8567-5ADB8718412E}"/>
                </a:ext>
              </a:extLst>
            </p:cNvPr>
            <p:cNvSpPr>
              <a:spLocks/>
            </p:cNvSpPr>
            <p:nvPr/>
          </p:nvSpPr>
          <p:spPr bwMode="auto">
            <a:xfrm>
              <a:off x="3629" y="2804"/>
              <a:ext cx="34" cy="88"/>
            </a:xfrm>
            <a:custGeom>
              <a:avLst/>
              <a:gdLst>
                <a:gd name="T0" fmla="*/ 19 w 19"/>
                <a:gd name="T1" fmla="*/ 0 h 49"/>
                <a:gd name="T2" fmla="*/ 17 w 19"/>
                <a:gd name="T3" fmla="*/ 5 h 49"/>
                <a:gd name="T4" fmla="*/ 0 w 19"/>
                <a:gd name="T5" fmla="*/ 49 h 49"/>
                <a:gd name="T6" fmla="*/ 0 w 19"/>
                <a:gd name="T7" fmla="*/ 49 h 49"/>
                <a:gd name="T8" fmla="*/ 17 w 19"/>
                <a:gd name="T9" fmla="*/ 4 h 49"/>
                <a:gd name="T10" fmla="*/ 19 w 19"/>
                <a:gd name="T11" fmla="*/ 0 h 49"/>
              </a:gdLst>
              <a:ahLst/>
              <a:cxnLst>
                <a:cxn ang="0">
                  <a:pos x="T0" y="T1"/>
                </a:cxn>
                <a:cxn ang="0">
                  <a:pos x="T2" y="T3"/>
                </a:cxn>
                <a:cxn ang="0">
                  <a:pos x="T4" y="T5"/>
                </a:cxn>
                <a:cxn ang="0">
                  <a:pos x="T6" y="T7"/>
                </a:cxn>
                <a:cxn ang="0">
                  <a:pos x="T8" y="T9"/>
                </a:cxn>
                <a:cxn ang="0">
                  <a:pos x="T10" y="T11"/>
                </a:cxn>
              </a:cxnLst>
              <a:rect l="0" t="0" r="r" b="b"/>
              <a:pathLst>
                <a:path w="19" h="49">
                  <a:moveTo>
                    <a:pt x="19" y="0"/>
                  </a:moveTo>
                  <a:cubicBezTo>
                    <a:pt x="19" y="2"/>
                    <a:pt x="18" y="3"/>
                    <a:pt x="17" y="5"/>
                  </a:cubicBezTo>
                  <a:cubicBezTo>
                    <a:pt x="9" y="20"/>
                    <a:pt x="4" y="35"/>
                    <a:pt x="0" y="49"/>
                  </a:cubicBezTo>
                  <a:cubicBezTo>
                    <a:pt x="0" y="49"/>
                    <a:pt x="0" y="49"/>
                    <a:pt x="0" y="49"/>
                  </a:cubicBezTo>
                  <a:cubicBezTo>
                    <a:pt x="4" y="35"/>
                    <a:pt x="9" y="20"/>
                    <a:pt x="17" y="4"/>
                  </a:cubicBezTo>
                  <a:cubicBezTo>
                    <a:pt x="18" y="3"/>
                    <a:pt x="19" y="2"/>
                    <a:pt x="19"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4">
              <a:extLst>
                <a:ext uri="{FF2B5EF4-FFF2-40B4-BE49-F238E27FC236}">
                  <a16:creationId xmlns:a16="http://schemas.microsoft.com/office/drawing/2014/main" id="{E9C2A41F-9BEB-4878-BD8C-249C6D4DF1F1}"/>
                </a:ext>
              </a:extLst>
            </p:cNvPr>
            <p:cNvSpPr>
              <a:spLocks/>
            </p:cNvSpPr>
            <p:nvPr/>
          </p:nvSpPr>
          <p:spPr bwMode="auto">
            <a:xfrm>
              <a:off x="3622" y="2892"/>
              <a:ext cx="39" cy="164"/>
            </a:xfrm>
            <a:custGeom>
              <a:avLst/>
              <a:gdLst>
                <a:gd name="T0" fmla="*/ 4 w 22"/>
                <a:gd name="T1" fmla="*/ 0 h 92"/>
                <a:gd name="T2" fmla="*/ 4 w 22"/>
                <a:gd name="T3" fmla="*/ 0 h 92"/>
                <a:gd name="T4" fmla="*/ 0 w 22"/>
                <a:gd name="T5" fmla="*/ 35 h 92"/>
                <a:gd name="T6" fmla="*/ 21 w 22"/>
                <a:gd name="T7" fmla="*/ 91 h 92"/>
                <a:gd name="T8" fmla="*/ 22 w 22"/>
                <a:gd name="T9" fmla="*/ 92 h 92"/>
                <a:gd name="T10" fmla="*/ 21 w 22"/>
                <a:gd name="T11" fmla="*/ 91 h 92"/>
                <a:gd name="T12" fmla="*/ 0 w 22"/>
                <a:gd name="T13" fmla="*/ 35 h 92"/>
                <a:gd name="T14" fmla="*/ 4 w 22"/>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2">
                  <a:moveTo>
                    <a:pt x="4" y="0"/>
                  </a:moveTo>
                  <a:cubicBezTo>
                    <a:pt x="4" y="0"/>
                    <a:pt x="4" y="0"/>
                    <a:pt x="4" y="0"/>
                  </a:cubicBezTo>
                  <a:cubicBezTo>
                    <a:pt x="1" y="12"/>
                    <a:pt x="0" y="24"/>
                    <a:pt x="0" y="35"/>
                  </a:cubicBezTo>
                  <a:cubicBezTo>
                    <a:pt x="0" y="62"/>
                    <a:pt x="7" y="80"/>
                    <a:pt x="21" y="91"/>
                  </a:cubicBezTo>
                  <a:cubicBezTo>
                    <a:pt x="22" y="91"/>
                    <a:pt x="22" y="92"/>
                    <a:pt x="22" y="92"/>
                  </a:cubicBezTo>
                  <a:cubicBezTo>
                    <a:pt x="22" y="92"/>
                    <a:pt x="22" y="91"/>
                    <a:pt x="21" y="91"/>
                  </a:cubicBezTo>
                  <a:cubicBezTo>
                    <a:pt x="7" y="80"/>
                    <a:pt x="0" y="62"/>
                    <a:pt x="0" y="35"/>
                  </a:cubicBezTo>
                  <a:cubicBezTo>
                    <a:pt x="0" y="24"/>
                    <a:pt x="1" y="12"/>
                    <a:pt x="4" y="0"/>
                  </a:cubicBezTo>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15">
              <a:extLst>
                <a:ext uri="{FF2B5EF4-FFF2-40B4-BE49-F238E27FC236}">
                  <a16:creationId xmlns:a16="http://schemas.microsoft.com/office/drawing/2014/main" id="{60F1BECE-AFBD-4EE8-99EB-EBC60C6DD9BB}"/>
                </a:ext>
              </a:extLst>
            </p:cNvPr>
            <p:cNvSpPr>
              <a:spLocks noChangeArrowheads="1"/>
            </p:cNvSpPr>
            <p:nvPr/>
          </p:nvSpPr>
          <p:spPr bwMode="auto">
            <a:xfrm>
              <a:off x="3809" y="2886"/>
              <a:ext cx="1" cy="1"/>
            </a:xfrm>
            <a:prstGeom prst="ellipse">
              <a:avLst/>
            </a:pr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16">
              <a:extLst>
                <a:ext uri="{FF2B5EF4-FFF2-40B4-BE49-F238E27FC236}">
                  <a16:creationId xmlns:a16="http://schemas.microsoft.com/office/drawing/2014/main" id="{C3FDE012-3AE3-4A3F-AFA0-43A88669EA9D}"/>
                </a:ext>
              </a:extLst>
            </p:cNvPr>
            <p:cNvSpPr>
              <a:spLocks noEditPoints="1"/>
            </p:cNvSpPr>
            <p:nvPr/>
          </p:nvSpPr>
          <p:spPr bwMode="auto">
            <a:xfrm>
              <a:off x="3766" y="2886"/>
              <a:ext cx="46" cy="257"/>
            </a:xfrm>
            <a:custGeom>
              <a:avLst/>
              <a:gdLst>
                <a:gd name="T0" fmla="*/ 11 w 26"/>
                <a:gd name="T1" fmla="*/ 130 h 144"/>
                <a:gd name="T2" fmla="*/ 22 w 26"/>
                <a:gd name="T3" fmla="*/ 141 h 144"/>
                <a:gd name="T4" fmla="*/ 26 w 26"/>
                <a:gd name="T5" fmla="*/ 144 h 144"/>
                <a:gd name="T6" fmla="*/ 26 w 26"/>
                <a:gd name="T7" fmla="*/ 144 h 144"/>
                <a:gd name="T8" fmla="*/ 22 w 26"/>
                <a:gd name="T9" fmla="*/ 141 h 144"/>
                <a:gd name="T10" fmla="*/ 11 w 26"/>
                <a:gd name="T11" fmla="*/ 130 h 144"/>
                <a:gd name="T12" fmla="*/ 2 w 26"/>
                <a:gd name="T13" fmla="*/ 130 h 144"/>
                <a:gd name="T14" fmla="*/ 26 w 26"/>
                <a:gd name="T15" fmla="*/ 144 h 144"/>
                <a:gd name="T16" fmla="*/ 26 w 26"/>
                <a:gd name="T17" fmla="*/ 144 h 144"/>
                <a:gd name="T18" fmla="*/ 2 w 26"/>
                <a:gd name="T19" fmla="*/ 130 h 144"/>
                <a:gd name="T20" fmla="*/ 24 w 26"/>
                <a:gd name="T21" fmla="*/ 0 h 144"/>
                <a:gd name="T22" fmla="*/ 24 w 26"/>
                <a:gd name="T23" fmla="*/ 0 h 144"/>
                <a:gd name="T24" fmla="*/ 21 w 26"/>
                <a:gd name="T25" fmla="*/ 5 h 144"/>
                <a:gd name="T26" fmla="*/ 0 w 26"/>
                <a:gd name="T27" fmla="*/ 85 h 144"/>
                <a:gd name="T28" fmla="*/ 2 w 26"/>
                <a:gd name="T29" fmla="*/ 107 h 144"/>
                <a:gd name="T30" fmla="*/ 0 w 26"/>
                <a:gd name="T31" fmla="*/ 85 h 144"/>
                <a:gd name="T32" fmla="*/ 21 w 26"/>
                <a:gd name="T33" fmla="*/ 5 h 144"/>
                <a:gd name="T34" fmla="*/ 24 w 26"/>
                <a:gd name="T3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44">
                  <a:moveTo>
                    <a:pt x="11" y="130"/>
                  </a:moveTo>
                  <a:cubicBezTo>
                    <a:pt x="14" y="135"/>
                    <a:pt x="18" y="138"/>
                    <a:pt x="22" y="141"/>
                  </a:cubicBezTo>
                  <a:cubicBezTo>
                    <a:pt x="23" y="142"/>
                    <a:pt x="25" y="143"/>
                    <a:pt x="26" y="144"/>
                  </a:cubicBezTo>
                  <a:cubicBezTo>
                    <a:pt x="26" y="144"/>
                    <a:pt x="26" y="144"/>
                    <a:pt x="26" y="144"/>
                  </a:cubicBezTo>
                  <a:cubicBezTo>
                    <a:pt x="25" y="143"/>
                    <a:pt x="23" y="142"/>
                    <a:pt x="22" y="141"/>
                  </a:cubicBezTo>
                  <a:cubicBezTo>
                    <a:pt x="18" y="138"/>
                    <a:pt x="14" y="135"/>
                    <a:pt x="11" y="130"/>
                  </a:cubicBezTo>
                  <a:moveTo>
                    <a:pt x="2" y="130"/>
                  </a:moveTo>
                  <a:cubicBezTo>
                    <a:pt x="15" y="138"/>
                    <a:pt x="25" y="144"/>
                    <a:pt x="26" y="144"/>
                  </a:cubicBezTo>
                  <a:cubicBezTo>
                    <a:pt x="26" y="144"/>
                    <a:pt x="26" y="144"/>
                    <a:pt x="26" y="144"/>
                  </a:cubicBezTo>
                  <a:cubicBezTo>
                    <a:pt x="25" y="144"/>
                    <a:pt x="15" y="138"/>
                    <a:pt x="2" y="130"/>
                  </a:cubicBezTo>
                  <a:moveTo>
                    <a:pt x="24" y="0"/>
                  </a:moveTo>
                  <a:cubicBezTo>
                    <a:pt x="24" y="0"/>
                    <a:pt x="24" y="0"/>
                    <a:pt x="24" y="0"/>
                  </a:cubicBezTo>
                  <a:cubicBezTo>
                    <a:pt x="23" y="2"/>
                    <a:pt x="22" y="4"/>
                    <a:pt x="21" y="5"/>
                  </a:cubicBezTo>
                  <a:cubicBezTo>
                    <a:pt x="7" y="32"/>
                    <a:pt x="0" y="59"/>
                    <a:pt x="0" y="85"/>
                  </a:cubicBezTo>
                  <a:cubicBezTo>
                    <a:pt x="0" y="93"/>
                    <a:pt x="1" y="100"/>
                    <a:pt x="2" y="107"/>
                  </a:cubicBezTo>
                  <a:cubicBezTo>
                    <a:pt x="1" y="100"/>
                    <a:pt x="0" y="93"/>
                    <a:pt x="0" y="85"/>
                  </a:cubicBezTo>
                  <a:cubicBezTo>
                    <a:pt x="0" y="59"/>
                    <a:pt x="7" y="32"/>
                    <a:pt x="21" y="5"/>
                  </a:cubicBezTo>
                  <a:cubicBezTo>
                    <a:pt x="22" y="4"/>
                    <a:pt x="23" y="2"/>
                    <a:pt x="24" y="0"/>
                  </a:cubicBezTo>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7">
              <a:extLst>
                <a:ext uri="{FF2B5EF4-FFF2-40B4-BE49-F238E27FC236}">
                  <a16:creationId xmlns:a16="http://schemas.microsoft.com/office/drawing/2014/main" id="{B76D40B0-4C9A-4E99-9E47-7DAF1ABEE88A}"/>
                </a:ext>
              </a:extLst>
            </p:cNvPr>
            <p:cNvSpPr>
              <a:spLocks/>
            </p:cNvSpPr>
            <p:nvPr/>
          </p:nvSpPr>
          <p:spPr bwMode="auto">
            <a:xfrm>
              <a:off x="3622" y="2802"/>
              <a:ext cx="190" cy="341"/>
            </a:xfrm>
            <a:custGeom>
              <a:avLst/>
              <a:gdLst>
                <a:gd name="T0" fmla="*/ 24 w 107"/>
                <a:gd name="T1" fmla="*/ 0 h 191"/>
                <a:gd name="T2" fmla="*/ 23 w 107"/>
                <a:gd name="T3" fmla="*/ 1 h 191"/>
                <a:gd name="T4" fmla="*/ 21 w 107"/>
                <a:gd name="T5" fmla="*/ 5 h 191"/>
                <a:gd name="T6" fmla="*/ 4 w 107"/>
                <a:gd name="T7" fmla="*/ 50 h 191"/>
                <a:gd name="T8" fmla="*/ 0 w 107"/>
                <a:gd name="T9" fmla="*/ 85 h 191"/>
                <a:gd name="T10" fmla="*/ 21 w 107"/>
                <a:gd name="T11" fmla="*/ 141 h 191"/>
                <a:gd name="T12" fmla="*/ 22 w 107"/>
                <a:gd name="T13" fmla="*/ 142 h 191"/>
                <a:gd name="T14" fmla="*/ 26 w 107"/>
                <a:gd name="T15" fmla="*/ 144 h 191"/>
                <a:gd name="T16" fmla="*/ 83 w 107"/>
                <a:gd name="T17" fmla="*/ 177 h 191"/>
                <a:gd name="T18" fmla="*/ 107 w 107"/>
                <a:gd name="T19" fmla="*/ 191 h 191"/>
                <a:gd name="T20" fmla="*/ 107 w 107"/>
                <a:gd name="T21" fmla="*/ 191 h 191"/>
                <a:gd name="T22" fmla="*/ 103 w 107"/>
                <a:gd name="T23" fmla="*/ 188 h 191"/>
                <a:gd name="T24" fmla="*/ 92 w 107"/>
                <a:gd name="T25" fmla="*/ 177 h 191"/>
                <a:gd name="T26" fmla="*/ 83 w 107"/>
                <a:gd name="T27" fmla="*/ 154 h 191"/>
                <a:gd name="T28" fmla="*/ 81 w 107"/>
                <a:gd name="T29" fmla="*/ 132 h 191"/>
                <a:gd name="T30" fmla="*/ 102 w 107"/>
                <a:gd name="T31" fmla="*/ 52 h 191"/>
                <a:gd name="T32" fmla="*/ 105 w 107"/>
                <a:gd name="T33" fmla="*/ 47 h 191"/>
                <a:gd name="T34" fmla="*/ 105 w 107"/>
                <a:gd name="T35" fmla="*/ 47 h 191"/>
                <a:gd name="T36" fmla="*/ 24 w 107"/>
                <a:gd name="T37" fmla="*/ 0 h 191"/>
                <a:gd name="T38" fmla="*/ 24 w 107"/>
                <a:gd name="T3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91">
                  <a:moveTo>
                    <a:pt x="24" y="0"/>
                  </a:moveTo>
                  <a:cubicBezTo>
                    <a:pt x="24" y="0"/>
                    <a:pt x="24" y="1"/>
                    <a:pt x="23" y="1"/>
                  </a:cubicBezTo>
                  <a:cubicBezTo>
                    <a:pt x="23" y="3"/>
                    <a:pt x="22" y="4"/>
                    <a:pt x="21" y="5"/>
                  </a:cubicBezTo>
                  <a:cubicBezTo>
                    <a:pt x="13" y="21"/>
                    <a:pt x="8" y="36"/>
                    <a:pt x="4" y="50"/>
                  </a:cubicBezTo>
                  <a:cubicBezTo>
                    <a:pt x="1" y="62"/>
                    <a:pt x="0" y="74"/>
                    <a:pt x="0" y="85"/>
                  </a:cubicBezTo>
                  <a:cubicBezTo>
                    <a:pt x="0" y="112"/>
                    <a:pt x="7" y="130"/>
                    <a:pt x="21" y="141"/>
                  </a:cubicBezTo>
                  <a:cubicBezTo>
                    <a:pt x="22" y="141"/>
                    <a:pt x="22" y="142"/>
                    <a:pt x="22" y="142"/>
                  </a:cubicBezTo>
                  <a:cubicBezTo>
                    <a:pt x="23" y="143"/>
                    <a:pt x="25" y="143"/>
                    <a:pt x="26" y="144"/>
                  </a:cubicBezTo>
                  <a:cubicBezTo>
                    <a:pt x="34" y="149"/>
                    <a:pt x="63" y="165"/>
                    <a:pt x="83" y="177"/>
                  </a:cubicBezTo>
                  <a:cubicBezTo>
                    <a:pt x="96" y="185"/>
                    <a:pt x="106" y="191"/>
                    <a:pt x="107" y="191"/>
                  </a:cubicBezTo>
                  <a:cubicBezTo>
                    <a:pt x="107" y="191"/>
                    <a:pt x="107" y="191"/>
                    <a:pt x="107" y="191"/>
                  </a:cubicBezTo>
                  <a:cubicBezTo>
                    <a:pt x="106" y="190"/>
                    <a:pt x="104" y="189"/>
                    <a:pt x="103" y="188"/>
                  </a:cubicBezTo>
                  <a:cubicBezTo>
                    <a:pt x="99" y="185"/>
                    <a:pt x="95" y="182"/>
                    <a:pt x="92" y="177"/>
                  </a:cubicBezTo>
                  <a:cubicBezTo>
                    <a:pt x="88" y="171"/>
                    <a:pt x="85" y="163"/>
                    <a:pt x="83" y="154"/>
                  </a:cubicBezTo>
                  <a:cubicBezTo>
                    <a:pt x="82" y="147"/>
                    <a:pt x="81" y="140"/>
                    <a:pt x="81" y="132"/>
                  </a:cubicBezTo>
                  <a:cubicBezTo>
                    <a:pt x="81" y="106"/>
                    <a:pt x="88" y="79"/>
                    <a:pt x="102" y="52"/>
                  </a:cubicBezTo>
                  <a:cubicBezTo>
                    <a:pt x="103" y="51"/>
                    <a:pt x="104" y="49"/>
                    <a:pt x="105" y="47"/>
                  </a:cubicBezTo>
                  <a:cubicBezTo>
                    <a:pt x="105" y="47"/>
                    <a:pt x="105" y="47"/>
                    <a:pt x="105" y="47"/>
                  </a:cubicBezTo>
                  <a:cubicBezTo>
                    <a:pt x="24" y="0"/>
                    <a:pt x="24" y="0"/>
                    <a:pt x="24" y="0"/>
                  </a:cubicBezTo>
                  <a:cubicBezTo>
                    <a:pt x="24" y="0"/>
                    <a:pt x="24" y="0"/>
                    <a:pt x="24"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8">
              <a:extLst>
                <a:ext uri="{FF2B5EF4-FFF2-40B4-BE49-F238E27FC236}">
                  <a16:creationId xmlns:a16="http://schemas.microsoft.com/office/drawing/2014/main" id="{B983CA6F-71E0-4C9C-8770-B6581B2EEFD9}"/>
                </a:ext>
              </a:extLst>
            </p:cNvPr>
            <p:cNvSpPr>
              <a:spLocks/>
            </p:cNvSpPr>
            <p:nvPr/>
          </p:nvSpPr>
          <p:spPr bwMode="auto">
            <a:xfrm>
              <a:off x="3409" y="1420"/>
              <a:ext cx="746" cy="794"/>
            </a:xfrm>
            <a:custGeom>
              <a:avLst/>
              <a:gdLst>
                <a:gd name="T0" fmla="*/ 285 w 418"/>
                <a:gd name="T1" fmla="*/ 79 h 445"/>
                <a:gd name="T2" fmla="*/ 386 w 418"/>
                <a:gd name="T3" fmla="*/ 50 h 445"/>
                <a:gd name="T4" fmla="*/ 418 w 418"/>
                <a:gd name="T5" fmla="*/ 61 h 445"/>
                <a:gd name="T6" fmla="*/ 417 w 418"/>
                <a:gd name="T7" fmla="*/ 60 h 445"/>
                <a:gd name="T8" fmla="*/ 337 w 418"/>
                <a:gd name="T9" fmla="*/ 14 h 445"/>
                <a:gd name="T10" fmla="*/ 305 w 418"/>
                <a:gd name="T11" fmla="*/ 3 h 445"/>
                <a:gd name="T12" fmla="*/ 204 w 418"/>
                <a:gd name="T13" fmla="*/ 32 h 445"/>
                <a:gd name="T14" fmla="*/ 56 w 418"/>
                <a:gd name="T15" fmla="*/ 188 h 445"/>
                <a:gd name="T16" fmla="*/ 0 w 418"/>
                <a:gd name="T17" fmla="*/ 398 h 445"/>
                <a:gd name="T18" fmla="*/ 82 w 418"/>
                <a:gd name="T19" fmla="*/ 445 h 445"/>
                <a:gd name="T20" fmla="*/ 137 w 418"/>
                <a:gd name="T21" fmla="*/ 235 h 445"/>
                <a:gd name="T22" fmla="*/ 285 w 418"/>
                <a:gd name="T23" fmla="*/ 7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8" h="445">
                  <a:moveTo>
                    <a:pt x="285" y="79"/>
                  </a:moveTo>
                  <a:cubicBezTo>
                    <a:pt x="325" y="56"/>
                    <a:pt x="358" y="47"/>
                    <a:pt x="386" y="50"/>
                  </a:cubicBezTo>
                  <a:cubicBezTo>
                    <a:pt x="398" y="52"/>
                    <a:pt x="408" y="55"/>
                    <a:pt x="418" y="61"/>
                  </a:cubicBezTo>
                  <a:cubicBezTo>
                    <a:pt x="417" y="60"/>
                    <a:pt x="417" y="60"/>
                    <a:pt x="417" y="60"/>
                  </a:cubicBezTo>
                  <a:cubicBezTo>
                    <a:pt x="408" y="55"/>
                    <a:pt x="351" y="22"/>
                    <a:pt x="337" y="14"/>
                  </a:cubicBezTo>
                  <a:cubicBezTo>
                    <a:pt x="328" y="8"/>
                    <a:pt x="317" y="5"/>
                    <a:pt x="305" y="3"/>
                  </a:cubicBezTo>
                  <a:cubicBezTo>
                    <a:pt x="277" y="0"/>
                    <a:pt x="244" y="10"/>
                    <a:pt x="204" y="32"/>
                  </a:cubicBezTo>
                  <a:cubicBezTo>
                    <a:pt x="143" y="68"/>
                    <a:pt x="93" y="120"/>
                    <a:pt x="56" y="188"/>
                  </a:cubicBezTo>
                  <a:cubicBezTo>
                    <a:pt x="18" y="257"/>
                    <a:pt x="0" y="327"/>
                    <a:pt x="0" y="398"/>
                  </a:cubicBezTo>
                  <a:cubicBezTo>
                    <a:pt x="82" y="445"/>
                    <a:pt x="82" y="445"/>
                    <a:pt x="82" y="445"/>
                  </a:cubicBezTo>
                  <a:cubicBezTo>
                    <a:pt x="81" y="374"/>
                    <a:pt x="100" y="304"/>
                    <a:pt x="137" y="235"/>
                  </a:cubicBezTo>
                  <a:cubicBezTo>
                    <a:pt x="175" y="167"/>
                    <a:pt x="224" y="115"/>
                    <a:pt x="285" y="79"/>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9">
              <a:extLst>
                <a:ext uri="{FF2B5EF4-FFF2-40B4-BE49-F238E27FC236}">
                  <a16:creationId xmlns:a16="http://schemas.microsoft.com/office/drawing/2014/main" id="{E1C93BF2-D13F-424D-AC44-B51B8B1934D6}"/>
                </a:ext>
              </a:extLst>
            </p:cNvPr>
            <p:cNvSpPr>
              <a:spLocks noEditPoints="1"/>
            </p:cNvSpPr>
            <p:nvPr/>
          </p:nvSpPr>
          <p:spPr bwMode="auto">
            <a:xfrm>
              <a:off x="3507" y="1441"/>
              <a:ext cx="642" cy="414"/>
            </a:xfrm>
            <a:custGeom>
              <a:avLst/>
              <a:gdLst>
                <a:gd name="T0" fmla="*/ 80 w 360"/>
                <a:gd name="T1" fmla="*/ 227 h 232"/>
                <a:gd name="T2" fmla="*/ 78 w 360"/>
                <a:gd name="T3" fmla="*/ 232 h 232"/>
                <a:gd name="T4" fmla="*/ 78 w 360"/>
                <a:gd name="T5" fmla="*/ 232 h 232"/>
                <a:gd name="T6" fmla="*/ 78 w 360"/>
                <a:gd name="T7" fmla="*/ 232 h 232"/>
                <a:gd name="T8" fmla="*/ 80 w 360"/>
                <a:gd name="T9" fmla="*/ 227 h 232"/>
                <a:gd name="T10" fmla="*/ 0 w 360"/>
                <a:gd name="T11" fmla="*/ 177 h 232"/>
                <a:gd name="T12" fmla="*/ 0 w 360"/>
                <a:gd name="T13" fmla="*/ 178 h 232"/>
                <a:gd name="T14" fmla="*/ 0 w 360"/>
                <a:gd name="T15" fmla="*/ 177 h 232"/>
                <a:gd name="T16" fmla="*/ 255 w 360"/>
                <a:gd name="T17" fmla="*/ 54 h 232"/>
                <a:gd name="T18" fmla="*/ 230 w 360"/>
                <a:gd name="T19" fmla="*/ 67 h 232"/>
                <a:gd name="T20" fmla="*/ 89 w 360"/>
                <a:gd name="T21" fmla="*/ 210 h 232"/>
                <a:gd name="T22" fmla="*/ 230 w 360"/>
                <a:gd name="T23" fmla="*/ 67 h 232"/>
                <a:gd name="T24" fmla="*/ 255 w 360"/>
                <a:gd name="T25" fmla="*/ 54 h 232"/>
                <a:gd name="T26" fmla="*/ 336 w 360"/>
                <a:gd name="T27" fmla="*/ 39 h 232"/>
                <a:gd name="T28" fmla="*/ 360 w 360"/>
                <a:gd name="T29" fmla="*/ 47 h 232"/>
                <a:gd name="T30" fmla="*/ 336 w 360"/>
                <a:gd name="T31" fmla="*/ 39 h 232"/>
                <a:gd name="T32" fmla="*/ 191 w 360"/>
                <a:gd name="T33" fmla="*/ 0 h 232"/>
                <a:gd name="T34" fmla="*/ 149 w 360"/>
                <a:gd name="T35" fmla="*/ 20 h 232"/>
                <a:gd name="T36" fmla="*/ 3 w 360"/>
                <a:gd name="T37" fmla="*/ 172 h 232"/>
                <a:gd name="T38" fmla="*/ 149 w 360"/>
                <a:gd name="T39" fmla="*/ 20 h 232"/>
                <a:gd name="T40" fmla="*/ 191 w 360"/>
                <a:gd name="T4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0" h="232">
                  <a:moveTo>
                    <a:pt x="80" y="227"/>
                  </a:moveTo>
                  <a:cubicBezTo>
                    <a:pt x="79" y="229"/>
                    <a:pt x="78" y="230"/>
                    <a:pt x="78" y="232"/>
                  </a:cubicBezTo>
                  <a:cubicBezTo>
                    <a:pt x="78" y="232"/>
                    <a:pt x="78" y="232"/>
                    <a:pt x="78" y="232"/>
                  </a:cubicBezTo>
                  <a:cubicBezTo>
                    <a:pt x="78" y="232"/>
                    <a:pt x="78" y="232"/>
                    <a:pt x="78" y="232"/>
                  </a:cubicBezTo>
                  <a:cubicBezTo>
                    <a:pt x="78" y="230"/>
                    <a:pt x="79" y="229"/>
                    <a:pt x="80" y="227"/>
                  </a:cubicBezTo>
                  <a:moveTo>
                    <a:pt x="0" y="177"/>
                  </a:moveTo>
                  <a:cubicBezTo>
                    <a:pt x="0" y="177"/>
                    <a:pt x="0" y="177"/>
                    <a:pt x="0" y="178"/>
                  </a:cubicBezTo>
                  <a:cubicBezTo>
                    <a:pt x="0" y="177"/>
                    <a:pt x="0" y="177"/>
                    <a:pt x="0" y="177"/>
                  </a:cubicBezTo>
                  <a:moveTo>
                    <a:pt x="255" y="54"/>
                  </a:moveTo>
                  <a:cubicBezTo>
                    <a:pt x="247" y="58"/>
                    <a:pt x="239" y="62"/>
                    <a:pt x="230" y="67"/>
                  </a:cubicBezTo>
                  <a:cubicBezTo>
                    <a:pt x="173" y="100"/>
                    <a:pt x="126" y="148"/>
                    <a:pt x="89" y="210"/>
                  </a:cubicBezTo>
                  <a:cubicBezTo>
                    <a:pt x="126" y="148"/>
                    <a:pt x="173" y="100"/>
                    <a:pt x="230" y="67"/>
                  </a:cubicBezTo>
                  <a:cubicBezTo>
                    <a:pt x="239" y="62"/>
                    <a:pt x="247" y="58"/>
                    <a:pt x="255" y="54"/>
                  </a:cubicBezTo>
                  <a:moveTo>
                    <a:pt x="336" y="39"/>
                  </a:moveTo>
                  <a:cubicBezTo>
                    <a:pt x="344" y="40"/>
                    <a:pt x="352" y="43"/>
                    <a:pt x="360" y="47"/>
                  </a:cubicBezTo>
                  <a:cubicBezTo>
                    <a:pt x="352" y="43"/>
                    <a:pt x="344" y="40"/>
                    <a:pt x="336" y="39"/>
                  </a:cubicBezTo>
                  <a:moveTo>
                    <a:pt x="191" y="0"/>
                  </a:moveTo>
                  <a:cubicBezTo>
                    <a:pt x="178" y="5"/>
                    <a:pt x="164" y="12"/>
                    <a:pt x="149" y="20"/>
                  </a:cubicBezTo>
                  <a:cubicBezTo>
                    <a:pt x="89" y="55"/>
                    <a:pt x="40" y="105"/>
                    <a:pt x="3" y="172"/>
                  </a:cubicBezTo>
                  <a:cubicBezTo>
                    <a:pt x="40" y="105"/>
                    <a:pt x="89" y="55"/>
                    <a:pt x="149" y="20"/>
                  </a:cubicBezTo>
                  <a:cubicBezTo>
                    <a:pt x="164" y="12"/>
                    <a:pt x="178" y="5"/>
                    <a:pt x="19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0">
              <a:extLst>
                <a:ext uri="{FF2B5EF4-FFF2-40B4-BE49-F238E27FC236}">
                  <a16:creationId xmlns:a16="http://schemas.microsoft.com/office/drawing/2014/main" id="{27B5E6A8-0138-4001-B2F3-2E1EC376E4BF}"/>
                </a:ext>
              </a:extLst>
            </p:cNvPr>
            <p:cNvSpPr>
              <a:spLocks/>
            </p:cNvSpPr>
            <p:nvPr/>
          </p:nvSpPr>
          <p:spPr bwMode="auto">
            <a:xfrm>
              <a:off x="3500" y="1425"/>
              <a:ext cx="653" cy="430"/>
            </a:xfrm>
            <a:custGeom>
              <a:avLst/>
              <a:gdLst>
                <a:gd name="T0" fmla="*/ 243 w 366"/>
                <a:gd name="T1" fmla="*/ 0 h 241"/>
                <a:gd name="T2" fmla="*/ 195 w 366"/>
                <a:gd name="T3" fmla="*/ 9 h 241"/>
                <a:gd name="T4" fmla="*/ 153 w 366"/>
                <a:gd name="T5" fmla="*/ 29 h 241"/>
                <a:gd name="T6" fmla="*/ 7 w 366"/>
                <a:gd name="T7" fmla="*/ 181 h 241"/>
                <a:gd name="T8" fmla="*/ 5 w 366"/>
                <a:gd name="T9" fmla="*/ 185 h 241"/>
                <a:gd name="T10" fmla="*/ 4 w 366"/>
                <a:gd name="T11" fmla="*/ 186 h 241"/>
                <a:gd name="T12" fmla="*/ 4 w 366"/>
                <a:gd name="T13" fmla="*/ 187 h 241"/>
                <a:gd name="T14" fmla="*/ 0 w 366"/>
                <a:gd name="T15" fmla="*/ 194 h 241"/>
                <a:gd name="T16" fmla="*/ 82 w 366"/>
                <a:gd name="T17" fmla="*/ 241 h 241"/>
                <a:gd name="T18" fmla="*/ 84 w 366"/>
                <a:gd name="T19" fmla="*/ 236 h 241"/>
                <a:gd name="T20" fmla="*/ 86 w 366"/>
                <a:gd name="T21" fmla="*/ 232 h 241"/>
                <a:gd name="T22" fmla="*/ 93 w 366"/>
                <a:gd name="T23" fmla="*/ 219 h 241"/>
                <a:gd name="T24" fmla="*/ 234 w 366"/>
                <a:gd name="T25" fmla="*/ 76 h 241"/>
                <a:gd name="T26" fmla="*/ 259 w 366"/>
                <a:gd name="T27" fmla="*/ 63 h 241"/>
                <a:gd name="T28" fmla="*/ 324 w 366"/>
                <a:gd name="T29" fmla="*/ 46 h 241"/>
                <a:gd name="T30" fmla="*/ 335 w 366"/>
                <a:gd name="T31" fmla="*/ 47 h 241"/>
                <a:gd name="T32" fmla="*/ 340 w 366"/>
                <a:gd name="T33" fmla="*/ 48 h 241"/>
                <a:gd name="T34" fmla="*/ 364 w 366"/>
                <a:gd name="T35" fmla="*/ 56 h 241"/>
                <a:gd name="T36" fmla="*/ 366 w 366"/>
                <a:gd name="T37" fmla="*/ 57 h 241"/>
                <a:gd name="T38" fmla="*/ 286 w 366"/>
                <a:gd name="T39" fmla="*/ 11 h 241"/>
                <a:gd name="T40" fmla="*/ 254 w 366"/>
                <a:gd name="T41" fmla="*/ 0 h 241"/>
                <a:gd name="T42" fmla="*/ 243 w 366"/>
                <a:gd name="T4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6" h="241">
                  <a:moveTo>
                    <a:pt x="243" y="0"/>
                  </a:moveTo>
                  <a:cubicBezTo>
                    <a:pt x="228" y="0"/>
                    <a:pt x="212" y="3"/>
                    <a:pt x="195" y="9"/>
                  </a:cubicBezTo>
                  <a:cubicBezTo>
                    <a:pt x="182" y="14"/>
                    <a:pt x="168" y="21"/>
                    <a:pt x="153" y="29"/>
                  </a:cubicBezTo>
                  <a:cubicBezTo>
                    <a:pt x="93" y="64"/>
                    <a:pt x="44" y="114"/>
                    <a:pt x="7" y="181"/>
                  </a:cubicBezTo>
                  <a:cubicBezTo>
                    <a:pt x="6" y="182"/>
                    <a:pt x="6" y="184"/>
                    <a:pt x="5" y="185"/>
                  </a:cubicBezTo>
                  <a:cubicBezTo>
                    <a:pt x="5" y="186"/>
                    <a:pt x="5" y="186"/>
                    <a:pt x="4" y="186"/>
                  </a:cubicBezTo>
                  <a:cubicBezTo>
                    <a:pt x="4" y="186"/>
                    <a:pt x="4" y="186"/>
                    <a:pt x="4" y="187"/>
                  </a:cubicBezTo>
                  <a:cubicBezTo>
                    <a:pt x="3" y="189"/>
                    <a:pt x="2" y="191"/>
                    <a:pt x="0" y="194"/>
                  </a:cubicBezTo>
                  <a:cubicBezTo>
                    <a:pt x="82" y="241"/>
                    <a:pt x="82" y="241"/>
                    <a:pt x="82" y="241"/>
                  </a:cubicBezTo>
                  <a:cubicBezTo>
                    <a:pt x="82" y="239"/>
                    <a:pt x="83" y="238"/>
                    <a:pt x="84" y="236"/>
                  </a:cubicBezTo>
                  <a:cubicBezTo>
                    <a:pt x="85" y="235"/>
                    <a:pt x="85" y="233"/>
                    <a:pt x="86" y="232"/>
                  </a:cubicBezTo>
                  <a:cubicBezTo>
                    <a:pt x="88" y="228"/>
                    <a:pt x="91" y="224"/>
                    <a:pt x="93" y="219"/>
                  </a:cubicBezTo>
                  <a:cubicBezTo>
                    <a:pt x="130" y="157"/>
                    <a:pt x="177" y="109"/>
                    <a:pt x="234" y="76"/>
                  </a:cubicBezTo>
                  <a:cubicBezTo>
                    <a:pt x="243" y="71"/>
                    <a:pt x="251" y="67"/>
                    <a:pt x="259" y="63"/>
                  </a:cubicBezTo>
                  <a:cubicBezTo>
                    <a:pt x="283" y="52"/>
                    <a:pt x="305" y="46"/>
                    <a:pt x="324" y="46"/>
                  </a:cubicBezTo>
                  <a:cubicBezTo>
                    <a:pt x="328" y="46"/>
                    <a:pt x="331" y="47"/>
                    <a:pt x="335" y="47"/>
                  </a:cubicBezTo>
                  <a:cubicBezTo>
                    <a:pt x="337" y="47"/>
                    <a:pt x="338" y="48"/>
                    <a:pt x="340" y="48"/>
                  </a:cubicBezTo>
                  <a:cubicBezTo>
                    <a:pt x="348" y="49"/>
                    <a:pt x="356" y="52"/>
                    <a:pt x="364" y="56"/>
                  </a:cubicBezTo>
                  <a:cubicBezTo>
                    <a:pt x="365" y="56"/>
                    <a:pt x="366" y="57"/>
                    <a:pt x="366" y="57"/>
                  </a:cubicBezTo>
                  <a:cubicBezTo>
                    <a:pt x="357" y="52"/>
                    <a:pt x="300" y="19"/>
                    <a:pt x="286" y="11"/>
                  </a:cubicBezTo>
                  <a:cubicBezTo>
                    <a:pt x="277" y="5"/>
                    <a:pt x="266" y="2"/>
                    <a:pt x="254" y="0"/>
                  </a:cubicBezTo>
                  <a:cubicBezTo>
                    <a:pt x="250" y="0"/>
                    <a:pt x="246" y="0"/>
                    <a:pt x="243"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1">
              <a:extLst>
                <a:ext uri="{FF2B5EF4-FFF2-40B4-BE49-F238E27FC236}">
                  <a16:creationId xmlns:a16="http://schemas.microsoft.com/office/drawing/2014/main" id="{637479D3-7AC2-44B1-A51B-ECE625C62A1D}"/>
                </a:ext>
              </a:extLst>
            </p:cNvPr>
            <p:cNvSpPr>
              <a:spLocks noEditPoints="1"/>
            </p:cNvSpPr>
            <p:nvPr/>
          </p:nvSpPr>
          <p:spPr bwMode="auto">
            <a:xfrm>
              <a:off x="3518" y="1855"/>
              <a:ext cx="128" cy="359"/>
            </a:xfrm>
            <a:custGeom>
              <a:avLst/>
              <a:gdLst>
                <a:gd name="T0" fmla="*/ 0 w 72"/>
                <a:gd name="T1" fmla="*/ 189 h 201"/>
                <a:gd name="T2" fmla="*/ 21 w 72"/>
                <a:gd name="T3" fmla="*/ 201 h 201"/>
                <a:gd name="T4" fmla="*/ 21 w 72"/>
                <a:gd name="T5" fmla="*/ 201 h 201"/>
                <a:gd name="T6" fmla="*/ 0 w 72"/>
                <a:gd name="T7" fmla="*/ 189 h 201"/>
                <a:gd name="T8" fmla="*/ 72 w 72"/>
                <a:gd name="T9" fmla="*/ 0 h 201"/>
                <a:gd name="T10" fmla="*/ 21 w 72"/>
                <a:gd name="T11" fmla="*/ 201 h 201"/>
                <a:gd name="T12" fmla="*/ 72 w 72"/>
                <a:gd name="T13" fmla="*/ 0 h 201"/>
                <a:gd name="T14" fmla="*/ 72 w 72"/>
                <a:gd name="T15" fmla="*/ 0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201">
                  <a:moveTo>
                    <a:pt x="0" y="189"/>
                  </a:moveTo>
                  <a:cubicBezTo>
                    <a:pt x="21" y="201"/>
                    <a:pt x="21" y="201"/>
                    <a:pt x="21" y="201"/>
                  </a:cubicBezTo>
                  <a:cubicBezTo>
                    <a:pt x="21" y="201"/>
                    <a:pt x="21" y="201"/>
                    <a:pt x="21" y="201"/>
                  </a:cubicBezTo>
                  <a:cubicBezTo>
                    <a:pt x="0" y="189"/>
                    <a:pt x="0" y="189"/>
                    <a:pt x="0" y="189"/>
                  </a:cubicBezTo>
                  <a:moveTo>
                    <a:pt x="72" y="0"/>
                  </a:moveTo>
                  <a:cubicBezTo>
                    <a:pt x="37" y="65"/>
                    <a:pt x="20" y="133"/>
                    <a:pt x="21" y="201"/>
                  </a:cubicBezTo>
                  <a:cubicBezTo>
                    <a:pt x="20" y="133"/>
                    <a:pt x="37" y="65"/>
                    <a:pt x="72" y="0"/>
                  </a:cubicBezTo>
                  <a:cubicBezTo>
                    <a:pt x="72" y="0"/>
                    <a:pt x="72" y="0"/>
                    <a:pt x="72"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22">
              <a:extLst>
                <a:ext uri="{FF2B5EF4-FFF2-40B4-BE49-F238E27FC236}">
                  <a16:creationId xmlns:a16="http://schemas.microsoft.com/office/drawing/2014/main" id="{C01D8A64-1C05-4CFD-9956-155BD2B468A4}"/>
                </a:ext>
              </a:extLst>
            </p:cNvPr>
            <p:cNvSpPr>
              <a:spLocks/>
            </p:cNvSpPr>
            <p:nvPr/>
          </p:nvSpPr>
          <p:spPr bwMode="auto">
            <a:xfrm>
              <a:off x="3409" y="1771"/>
              <a:ext cx="237" cy="443"/>
            </a:xfrm>
            <a:custGeom>
              <a:avLst/>
              <a:gdLst>
                <a:gd name="T0" fmla="*/ 51 w 133"/>
                <a:gd name="T1" fmla="*/ 0 h 248"/>
                <a:gd name="T2" fmla="*/ 0 w 133"/>
                <a:gd name="T3" fmla="*/ 201 h 248"/>
                <a:gd name="T4" fmla="*/ 61 w 133"/>
                <a:gd name="T5" fmla="*/ 236 h 248"/>
                <a:gd name="T6" fmla="*/ 82 w 133"/>
                <a:gd name="T7" fmla="*/ 248 h 248"/>
                <a:gd name="T8" fmla="*/ 82 w 133"/>
                <a:gd name="T9" fmla="*/ 248 h 248"/>
                <a:gd name="T10" fmla="*/ 133 w 133"/>
                <a:gd name="T11" fmla="*/ 47 h 248"/>
                <a:gd name="T12" fmla="*/ 51 w 133"/>
                <a:gd name="T13" fmla="*/ 0 h 248"/>
                <a:gd name="T14" fmla="*/ 51 w 133"/>
                <a:gd name="T15" fmla="*/ 0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248">
                  <a:moveTo>
                    <a:pt x="51" y="0"/>
                  </a:moveTo>
                  <a:cubicBezTo>
                    <a:pt x="17" y="66"/>
                    <a:pt x="0" y="133"/>
                    <a:pt x="0" y="201"/>
                  </a:cubicBezTo>
                  <a:cubicBezTo>
                    <a:pt x="61" y="236"/>
                    <a:pt x="61" y="236"/>
                    <a:pt x="61" y="236"/>
                  </a:cubicBezTo>
                  <a:cubicBezTo>
                    <a:pt x="82" y="248"/>
                    <a:pt x="82" y="248"/>
                    <a:pt x="82" y="248"/>
                  </a:cubicBezTo>
                  <a:cubicBezTo>
                    <a:pt x="82" y="248"/>
                    <a:pt x="82" y="248"/>
                    <a:pt x="82" y="248"/>
                  </a:cubicBezTo>
                  <a:cubicBezTo>
                    <a:pt x="81" y="180"/>
                    <a:pt x="98" y="112"/>
                    <a:pt x="133" y="47"/>
                  </a:cubicBezTo>
                  <a:cubicBezTo>
                    <a:pt x="51" y="0"/>
                    <a:pt x="51" y="0"/>
                    <a:pt x="51" y="0"/>
                  </a:cubicBezTo>
                  <a:cubicBezTo>
                    <a:pt x="51" y="0"/>
                    <a:pt x="51" y="0"/>
                    <a:pt x="51" y="0"/>
                  </a:cubicBezTo>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23">
              <a:extLst>
                <a:ext uri="{FF2B5EF4-FFF2-40B4-BE49-F238E27FC236}">
                  <a16:creationId xmlns:a16="http://schemas.microsoft.com/office/drawing/2014/main" id="{8B7054E2-03D6-4ECC-A64D-B4C416D2C1F5}"/>
                </a:ext>
              </a:extLst>
            </p:cNvPr>
            <p:cNvSpPr>
              <a:spLocks/>
            </p:cNvSpPr>
            <p:nvPr/>
          </p:nvSpPr>
          <p:spPr bwMode="auto">
            <a:xfrm>
              <a:off x="3643" y="1784"/>
              <a:ext cx="414" cy="956"/>
            </a:xfrm>
            <a:custGeom>
              <a:avLst/>
              <a:gdLst>
                <a:gd name="T0" fmla="*/ 210 w 232"/>
                <a:gd name="T1" fmla="*/ 8 h 536"/>
                <a:gd name="T2" fmla="*/ 150 w 232"/>
                <a:gd name="T3" fmla="*/ 17 h 536"/>
                <a:gd name="T4" fmla="*/ 141 w 232"/>
                <a:gd name="T5" fmla="*/ 60 h 536"/>
                <a:gd name="T6" fmla="*/ 88 w 232"/>
                <a:gd name="T7" fmla="*/ 163 h 536"/>
                <a:gd name="T8" fmla="*/ 21 w 232"/>
                <a:gd name="T9" fmla="*/ 316 h 536"/>
                <a:gd name="T10" fmla="*/ 0 w 232"/>
                <a:gd name="T11" fmla="*/ 465 h 536"/>
                <a:gd name="T12" fmla="*/ 1 w 232"/>
                <a:gd name="T13" fmla="*/ 490 h 536"/>
                <a:gd name="T14" fmla="*/ 56 w 232"/>
                <a:gd name="T15" fmla="*/ 522 h 536"/>
                <a:gd name="T16" fmla="*/ 82 w 232"/>
                <a:gd name="T17" fmla="*/ 536 h 536"/>
                <a:gd name="T18" fmla="*/ 82 w 232"/>
                <a:gd name="T19" fmla="*/ 511 h 536"/>
                <a:gd name="T20" fmla="*/ 82 w 232"/>
                <a:gd name="T21" fmla="*/ 511 h 536"/>
                <a:gd name="T22" fmla="*/ 102 w 232"/>
                <a:gd name="T23" fmla="*/ 363 h 536"/>
                <a:gd name="T24" fmla="*/ 169 w 232"/>
                <a:gd name="T25" fmla="*/ 210 h 536"/>
                <a:gd name="T26" fmla="*/ 223 w 232"/>
                <a:gd name="T27" fmla="*/ 107 h 536"/>
                <a:gd name="T28" fmla="*/ 232 w 232"/>
                <a:gd name="T29" fmla="*/ 56 h 536"/>
                <a:gd name="T30" fmla="*/ 210 w 232"/>
                <a:gd name="T31" fmla="*/ 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536">
                  <a:moveTo>
                    <a:pt x="210" y="8"/>
                  </a:moveTo>
                  <a:cubicBezTo>
                    <a:pt x="195" y="0"/>
                    <a:pt x="175" y="3"/>
                    <a:pt x="150" y="17"/>
                  </a:cubicBezTo>
                  <a:cubicBezTo>
                    <a:pt x="150" y="32"/>
                    <a:pt x="147" y="46"/>
                    <a:pt x="141" y="60"/>
                  </a:cubicBezTo>
                  <a:cubicBezTo>
                    <a:pt x="135" y="77"/>
                    <a:pt x="117" y="111"/>
                    <a:pt x="88" y="163"/>
                  </a:cubicBezTo>
                  <a:cubicBezTo>
                    <a:pt x="57" y="216"/>
                    <a:pt x="35" y="268"/>
                    <a:pt x="21" y="316"/>
                  </a:cubicBezTo>
                  <a:cubicBezTo>
                    <a:pt x="7" y="365"/>
                    <a:pt x="0" y="415"/>
                    <a:pt x="0" y="465"/>
                  </a:cubicBezTo>
                  <a:cubicBezTo>
                    <a:pt x="1" y="490"/>
                    <a:pt x="1" y="490"/>
                    <a:pt x="1" y="490"/>
                  </a:cubicBezTo>
                  <a:cubicBezTo>
                    <a:pt x="56" y="522"/>
                    <a:pt x="56" y="522"/>
                    <a:pt x="56" y="522"/>
                  </a:cubicBezTo>
                  <a:cubicBezTo>
                    <a:pt x="82" y="536"/>
                    <a:pt x="82" y="536"/>
                    <a:pt x="82" y="536"/>
                  </a:cubicBezTo>
                  <a:cubicBezTo>
                    <a:pt x="82" y="511"/>
                    <a:pt x="82" y="511"/>
                    <a:pt x="82" y="511"/>
                  </a:cubicBezTo>
                  <a:cubicBezTo>
                    <a:pt x="82" y="511"/>
                    <a:pt x="82" y="511"/>
                    <a:pt x="82" y="511"/>
                  </a:cubicBezTo>
                  <a:cubicBezTo>
                    <a:pt x="82" y="461"/>
                    <a:pt x="89" y="412"/>
                    <a:pt x="102" y="363"/>
                  </a:cubicBezTo>
                  <a:cubicBezTo>
                    <a:pt x="116" y="315"/>
                    <a:pt x="138" y="263"/>
                    <a:pt x="169" y="210"/>
                  </a:cubicBezTo>
                  <a:cubicBezTo>
                    <a:pt x="199" y="158"/>
                    <a:pt x="217" y="124"/>
                    <a:pt x="223" y="107"/>
                  </a:cubicBezTo>
                  <a:cubicBezTo>
                    <a:pt x="229" y="91"/>
                    <a:pt x="232" y="73"/>
                    <a:pt x="232" y="56"/>
                  </a:cubicBezTo>
                  <a:cubicBezTo>
                    <a:pt x="232" y="32"/>
                    <a:pt x="224" y="16"/>
                    <a:pt x="210" y="8"/>
                  </a:cubicBezTo>
                </a:path>
              </a:pathLst>
            </a:custGeom>
            <a:solidFill>
              <a:srgbClr val="27DE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4">
              <a:extLst>
                <a:ext uri="{FF2B5EF4-FFF2-40B4-BE49-F238E27FC236}">
                  <a16:creationId xmlns:a16="http://schemas.microsoft.com/office/drawing/2014/main" id="{F0991090-9DF6-4AB4-946A-90F72779FB26}"/>
                </a:ext>
              </a:extLst>
            </p:cNvPr>
            <p:cNvSpPr>
              <a:spLocks noEditPoints="1"/>
            </p:cNvSpPr>
            <p:nvPr/>
          </p:nvSpPr>
          <p:spPr bwMode="auto">
            <a:xfrm>
              <a:off x="3645" y="2005"/>
              <a:ext cx="308" cy="710"/>
            </a:xfrm>
            <a:custGeom>
              <a:avLst/>
              <a:gdLst>
                <a:gd name="T0" fmla="*/ 0 w 173"/>
                <a:gd name="T1" fmla="*/ 353 h 398"/>
                <a:gd name="T2" fmla="*/ 0 w 173"/>
                <a:gd name="T3" fmla="*/ 366 h 398"/>
                <a:gd name="T4" fmla="*/ 55 w 173"/>
                <a:gd name="T5" fmla="*/ 398 h 398"/>
                <a:gd name="T6" fmla="*/ 55 w 173"/>
                <a:gd name="T7" fmla="*/ 397 h 398"/>
                <a:gd name="T8" fmla="*/ 0 w 173"/>
                <a:gd name="T9" fmla="*/ 366 h 398"/>
                <a:gd name="T10" fmla="*/ 0 w 173"/>
                <a:gd name="T11" fmla="*/ 353 h 398"/>
                <a:gd name="T12" fmla="*/ 21 w 173"/>
                <a:gd name="T13" fmla="*/ 190 h 398"/>
                <a:gd name="T14" fmla="*/ 20 w 173"/>
                <a:gd name="T15" fmla="*/ 192 h 398"/>
                <a:gd name="T16" fmla="*/ 9 w 173"/>
                <a:gd name="T17" fmla="*/ 237 h 398"/>
                <a:gd name="T18" fmla="*/ 20 w 173"/>
                <a:gd name="T19" fmla="*/ 192 h 398"/>
                <a:gd name="T20" fmla="*/ 21 w 173"/>
                <a:gd name="T21" fmla="*/ 190 h 398"/>
                <a:gd name="T22" fmla="*/ 173 w 173"/>
                <a:gd name="T23" fmla="*/ 77 h 398"/>
                <a:gd name="T24" fmla="*/ 168 w 173"/>
                <a:gd name="T25" fmla="*/ 86 h 398"/>
                <a:gd name="T26" fmla="*/ 146 w 173"/>
                <a:gd name="T27" fmla="*/ 126 h 398"/>
                <a:gd name="T28" fmla="*/ 168 w 173"/>
                <a:gd name="T29" fmla="*/ 86 h 398"/>
                <a:gd name="T30" fmla="*/ 173 w 173"/>
                <a:gd name="T31" fmla="*/ 77 h 398"/>
                <a:gd name="T32" fmla="*/ 109 w 173"/>
                <a:gd name="T33" fmla="*/ 0 h 398"/>
                <a:gd name="T34" fmla="*/ 87 w 173"/>
                <a:gd name="T35" fmla="*/ 39 h 398"/>
                <a:gd name="T36" fmla="*/ 52 w 173"/>
                <a:gd name="T37" fmla="*/ 105 h 398"/>
                <a:gd name="T38" fmla="*/ 87 w 173"/>
                <a:gd name="T39" fmla="*/ 39 h 398"/>
                <a:gd name="T40" fmla="*/ 109 w 173"/>
                <a:gd name="T4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398">
                  <a:moveTo>
                    <a:pt x="0" y="353"/>
                  </a:moveTo>
                  <a:cubicBezTo>
                    <a:pt x="0" y="366"/>
                    <a:pt x="0" y="366"/>
                    <a:pt x="0" y="366"/>
                  </a:cubicBezTo>
                  <a:cubicBezTo>
                    <a:pt x="55" y="398"/>
                    <a:pt x="55" y="398"/>
                    <a:pt x="55" y="398"/>
                  </a:cubicBezTo>
                  <a:cubicBezTo>
                    <a:pt x="55" y="398"/>
                    <a:pt x="55" y="398"/>
                    <a:pt x="55" y="397"/>
                  </a:cubicBezTo>
                  <a:cubicBezTo>
                    <a:pt x="0" y="366"/>
                    <a:pt x="0" y="366"/>
                    <a:pt x="0" y="366"/>
                  </a:cubicBezTo>
                  <a:cubicBezTo>
                    <a:pt x="0" y="353"/>
                    <a:pt x="0" y="353"/>
                    <a:pt x="0" y="353"/>
                  </a:cubicBezTo>
                  <a:moveTo>
                    <a:pt x="21" y="190"/>
                  </a:moveTo>
                  <a:cubicBezTo>
                    <a:pt x="20" y="191"/>
                    <a:pt x="20" y="192"/>
                    <a:pt x="20" y="192"/>
                  </a:cubicBezTo>
                  <a:cubicBezTo>
                    <a:pt x="16" y="207"/>
                    <a:pt x="12" y="222"/>
                    <a:pt x="9" y="237"/>
                  </a:cubicBezTo>
                  <a:cubicBezTo>
                    <a:pt x="12" y="222"/>
                    <a:pt x="16" y="207"/>
                    <a:pt x="20" y="192"/>
                  </a:cubicBezTo>
                  <a:cubicBezTo>
                    <a:pt x="20" y="192"/>
                    <a:pt x="20" y="191"/>
                    <a:pt x="21" y="190"/>
                  </a:cubicBezTo>
                  <a:moveTo>
                    <a:pt x="173" y="77"/>
                  </a:moveTo>
                  <a:cubicBezTo>
                    <a:pt x="171" y="80"/>
                    <a:pt x="170" y="83"/>
                    <a:pt x="168" y="86"/>
                  </a:cubicBezTo>
                  <a:cubicBezTo>
                    <a:pt x="160" y="99"/>
                    <a:pt x="153" y="113"/>
                    <a:pt x="146" y="126"/>
                  </a:cubicBezTo>
                  <a:cubicBezTo>
                    <a:pt x="153" y="113"/>
                    <a:pt x="160" y="99"/>
                    <a:pt x="168" y="86"/>
                  </a:cubicBezTo>
                  <a:cubicBezTo>
                    <a:pt x="170" y="83"/>
                    <a:pt x="171" y="80"/>
                    <a:pt x="173" y="77"/>
                  </a:cubicBezTo>
                  <a:moveTo>
                    <a:pt x="109" y="0"/>
                  </a:moveTo>
                  <a:cubicBezTo>
                    <a:pt x="102" y="12"/>
                    <a:pt x="95" y="25"/>
                    <a:pt x="87" y="39"/>
                  </a:cubicBezTo>
                  <a:cubicBezTo>
                    <a:pt x="74" y="61"/>
                    <a:pt x="62" y="84"/>
                    <a:pt x="52" y="105"/>
                  </a:cubicBezTo>
                  <a:cubicBezTo>
                    <a:pt x="62" y="84"/>
                    <a:pt x="74" y="61"/>
                    <a:pt x="87" y="39"/>
                  </a:cubicBezTo>
                  <a:cubicBezTo>
                    <a:pt x="95" y="25"/>
                    <a:pt x="102" y="12"/>
                    <a:pt x="109"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5">
              <a:extLst>
                <a:ext uri="{FF2B5EF4-FFF2-40B4-BE49-F238E27FC236}">
                  <a16:creationId xmlns:a16="http://schemas.microsoft.com/office/drawing/2014/main" id="{2DE44885-929F-413A-A589-1E28517AA657}"/>
                </a:ext>
              </a:extLst>
            </p:cNvPr>
            <p:cNvSpPr>
              <a:spLocks/>
            </p:cNvSpPr>
            <p:nvPr/>
          </p:nvSpPr>
          <p:spPr bwMode="auto">
            <a:xfrm>
              <a:off x="3743" y="2713"/>
              <a:ext cx="0" cy="2"/>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path>
              </a:pathLst>
            </a:custGeom>
            <a:solidFill>
              <a:srgbClr val="1B9B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6">
              <a:extLst>
                <a:ext uri="{FF2B5EF4-FFF2-40B4-BE49-F238E27FC236}">
                  <a16:creationId xmlns:a16="http://schemas.microsoft.com/office/drawing/2014/main" id="{70477D7F-C4C3-4D95-BF00-D73FE190B0C8}"/>
                </a:ext>
              </a:extLst>
            </p:cNvPr>
            <p:cNvSpPr>
              <a:spLocks noEditPoints="1"/>
            </p:cNvSpPr>
            <p:nvPr/>
          </p:nvSpPr>
          <p:spPr bwMode="auto">
            <a:xfrm>
              <a:off x="3743" y="2708"/>
              <a:ext cx="46" cy="32"/>
            </a:xfrm>
            <a:custGeom>
              <a:avLst/>
              <a:gdLst>
                <a:gd name="T0" fmla="*/ 0 w 26"/>
                <a:gd name="T1" fmla="*/ 3 h 18"/>
                <a:gd name="T2" fmla="*/ 0 w 26"/>
                <a:gd name="T3" fmla="*/ 4 h 18"/>
                <a:gd name="T4" fmla="*/ 0 w 26"/>
                <a:gd name="T5" fmla="*/ 4 h 18"/>
                <a:gd name="T6" fmla="*/ 17 w 26"/>
                <a:gd name="T7" fmla="*/ 13 h 18"/>
                <a:gd name="T8" fmla="*/ 0 w 26"/>
                <a:gd name="T9" fmla="*/ 4 h 18"/>
                <a:gd name="T10" fmla="*/ 0 w 26"/>
                <a:gd name="T11" fmla="*/ 3 h 18"/>
                <a:gd name="T12" fmla="*/ 26 w 26"/>
                <a:gd name="T13" fmla="*/ 0 h 18"/>
                <a:gd name="T14" fmla="*/ 26 w 26"/>
                <a:gd name="T15" fmla="*/ 18 h 18"/>
                <a:gd name="T16" fmla="*/ 26 w 26"/>
                <a:gd name="T17" fmla="*/ 18 h 18"/>
                <a:gd name="T18" fmla="*/ 26 w 26"/>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8">
                  <a:moveTo>
                    <a:pt x="0" y="3"/>
                  </a:moveTo>
                  <a:cubicBezTo>
                    <a:pt x="0" y="4"/>
                    <a:pt x="0" y="4"/>
                    <a:pt x="0" y="4"/>
                  </a:cubicBezTo>
                  <a:cubicBezTo>
                    <a:pt x="0" y="4"/>
                    <a:pt x="0" y="4"/>
                    <a:pt x="0" y="4"/>
                  </a:cubicBezTo>
                  <a:cubicBezTo>
                    <a:pt x="17" y="13"/>
                    <a:pt x="17" y="13"/>
                    <a:pt x="17" y="13"/>
                  </a:cubicBezTo>
                  <a:cubicBezTo>
                    <a:pt x="0" y="4"/>
                    <a:pt x="0" y="4"/>
                    <a:pt x="0" y="4"/>
                  </a:cubicBezTo>
                  <a:cubicBezTo>
                    <a:pt x="0" y="3"/>
                    <a:pt x="0" y="3"/>
                    <a:pt x="0" y="3"/>
                  </a:cubicBezTo>
                  <a:moveTo>
                    <a:pt x="26" y="0"/>
                  </a:moveTo>
                  <a:cubicBezTo>
                    <a:pt x="26" y="18"/>
                    <a:pt x="26" y="18"/>
                    <a:pt x="26" y="18"/>
                  </a:cubicBezTo>
                  <a:cubicBezTo>
                    <a:pt x="26" y="18"/>
                    <a:pt x="26" y="18"/>
                    <a:pt x="26" y="18"/>
                  </a:cubicBezTo>
                  <a:cubicBezTo>
                    <a:pt x="26" y="0"/>
                    <a:pt x="26" y="0"/>
                    <a:pt x="26" y="0"/>
                  </a:cubicBezTo>
                </a:path>
              </a:pathLst>
            </a:custGeom>
            <a:solidFill>
              <a:srgbClr val="105D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7">
              <a:extLst>
                <a:ext uri="{FF2B5EF4-FFF2-40B4-BE49-F238E27FC236}">
                  <a16:creationId xmlns:a16="http://schemas.microsoft.com/office/drawing/2014/main" id="{6E24A3A9-674A-4406-A5F0-22CBCC18499D}"/>
                </a:ext>
              </a:extLst>
            </p:cNvPr>
            <p:cNvSpPr>
              <a:spLocks/>
            </p:cNvSpPr>
            <p:nvPr/>
          </p:nvSpPr>
          <p:spPr bwMode="auto">
            <a:xfrm>
              <a:off x="3643" y="1923"/>
              <a:ext cx="383" cy="817"/>
            </a:xfrm>
            <a:custGeom>
              <a:avLst/>
              <a:gdLst>
                <a:gd name="T0" fmla="*/ 134 w 215"/>
                <a:gd name="T1" fmla="*/ 0 h 458"/>
                <a:gd name="T2" fmla="*/ 110 w 215"/>
                <a:gd name="T3" fmla="*/ 46 h 458"/>
                <a:gd name="T4" fmla="*/ 88 w 215"/>
                <a:gd name="T5" fmla="*/ 85 h 458"/>
                <a:gd name="T6" fmla="*/ 53 w 215"/>
                <a:gd name="T7" fmla="*/ 151 h 458"/>
                <a:gd name="T8" fmla="*/ 22 w 215"/>
                <a:gd name="T9" fmla="*/ 236 h 458"/>
                <a:gd name="T10" fmla="*/ 21 w 215"/>
                <a:gd name="T11" fmla="*/ 238 h 458"/>
                <a:gd name="T12" fmla="*/ 10 w 215"/>
                <a:gd name="T13" fmla="*/ 283 h 458"/>
                <a:gd name="T14" fmla="*/ 0 w 215"/>
                <a:gd name="T15" fmla="*/ 387 h 458"/>
                <a:gd name="T16" fmla="*/ 1 w 215"/>
                <a:gd name="T17" fmla="*/ 399 h 458"/>
                <a:gd name="T18" fmla="*/ 1 w 215"/>
                <a:gd name="T19" fmla="*/ 412 h 458"/>
                <a:gd name="T20" fmla="*/ 56 w 215"/>
                <a:gd name="T21" fmla="*/ 443 h 458"/>
                <a:gd name="T22" fmla="*/ 56 w 215"/>
                <a:gd name="T23" fmla="*/ 443 h 458"/>
                <a:gd name="T24" fmla="*/ 56 w 215"/>
                <a:gd name="T25" fmla="*/ 444 h 458"/>
                <a:gd name="T26" fmla="*/ 73 w 215"/>
                <a:gd name="T27" fmla="*/ 453 h 458"/>
                <a:gd name="T28" fmla="*/ 82 w 215"/>
                <a:gd name="T29" fmla="*/ 458 h 458"/>
                <a:gd name="T30" fmla="*/ 82 w 215"/>
                <a:gd name="T31" fmla="*/ 440 h 458"/>
                <a:gd name="T32" fmla="*/ 82 w 215"/>
                <a:gd name="T33" fmla="*/ 433 h 458"/>
                <a:gd name="T34" fmla="*/ 82 w 215"/>
                <a:gd name="T35" fmla="*/ 433 h 458"/>
                <a:gd name="T36" fmla="*/ 102 w 215"/>
                <a:gd name="T37" fmla="*/ 285 h 458"/>
                <a:gd name="T38" fmla="*/ 147 w 215"/>
                <a:gd name="T39" fmla="*/ 172 h 458"/>
                <a:gd name="T40" fmla="*/ 169 w 215"/>
                <a:gd name="T41" fmla="*/ 132 h 458"/>
                <a:gd name="T42" fmla="*/ 174 w 215"/>
                <a:gd name="T43" fmla="*/ 123 h 458"/>
                <a:gd name="T44" fmla="*/ 215 w 215"/>
                <a:gd name="T45" fmla="*/ 47 h 458"/>
                <a:gd name="T46" fmla="*/ 134 w 215"/>
                <a:gd name="T47"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5" h="458">
                  <a:moveTo>
                    <a:pt x="134" y="0"/>
                  </a:moveTo>
                  <a:cubicBezTo>
                    <a:pt x="128" y="12"/>
                    <a:pt x="120" y="27"/>
                    <a:pt x="110" y="46"/>
                  </a:cubicBezTo>
                  <a:cubicBezTo>
                    <a:pt x="103" y="58"/>
                    <a:pt x="96" y="71"/>
                    <a:pt x="88" y="85"/>
                  </a:cubicBezTo>
                  <a:cubicBezTo>
                    <a:pt x="75" y="107"/>
                    <a:pt x="63" y="130"/>
                    <a:pt x="53" y="151"/>
                  </a:cubicBezTo>
                  <a:cubicBezTo>
                    <a:pt x="40" y="180"/>
                    <a:pt x="30" y="209"/>
                    <a:pt x="22" y="236"/>
                  </a:cubicBezTo>
                  <a:cubicBezTo>
                    <a:pt x="21" y="237"/>
                    <a:pt x="21" y="238"/>
                    <a:pt x="21" y="238"/>
                  </a:cubicBezTo>
                  <a:cubicBezTo>
                    <a:pt x="17" y="253"/>
                    <a:pt x="13" y="268"/>
                    <a:pt x="10" y="283"/>
                  </a:cubicBezTo>
                  <a:cubicBezTo>
                    <a:pt x="4" y="317"/>
                    <a:pt x="0" y="352"/>
                    <a:pt x="0" y="387"/>
                  </a:cubicBezTo>
                  <a:cubicBezTo>
                    <a:pt x="1" y="399"/>
                    <a:pt x="1" y="399"/>
                    <a:pt x="1" y="399"/>
                  </a:cubicBezTo>
                  <a:cubicBezTo>
                    <a:pt x="1" y="412"/>
                    <a:pt x="1" y="412"/>
                    <a:pt x="1" y="412"/>
                  </a:cubicBezTo>
                  <a:cubicBezTo>
                    <a:pt x="56" y="443"/>
                    <a:pt x="56" y="443"/>
                    <a:pt x="56" y="443"/>
                  </a:cubicBezTo>
                  <a:cubicBezTo>
                    <a:pt x="56" y="443"/>
                    <a:pt x="56" y="443"/>
                    <a:pt x="56" y="443"/>
                  </a:cubicBezTo>
                  <a:cubicBezTo>
                    <a:pt x="56" y="444"/>
                    <a:pt x="56" y="444"/>
                    <a:pt x="56" y="444"/>
                  </a:cubicBezTo>
                  <a:cubicBezTo>
                    <a:pt x="73" y="453"/>
                    <a:pt x="73" y="453"/>
                    <a:pt x="73" y="453"/>
                  </a:cubicBezTo>
                  <a:cubicBezTo>
                    <a:pt x="82" y="458"/>
                    <a:pt x="82" y="458"/>
                    <a:pt x="82" y="458"/>
                  </a:cubicBezTo>
                  <a:cubicBezTo>
                    <a:pt x="82" y="440"/>
                    <a:pt x="82" y="440"/>
                    <a:pt x="82" y="440"/>
                  </a:cubicBezTo>
                  <a:cubicBezTo>
                    <a:pt x="82" y="433"/>
                    <a:pt x="82" y="433"/>
                    <a:pt x="82" y="433"/>
                  </a:cubicBezTo>
                  <a:cubicBezTo>
                    <a:pt x="82" y="433"/>
                    <a:pt x="82" y="433"/>
                    <a:pt x="82" y="433"/>
                  </a:cubicBezTo>
                  <a:cubicBezTo>
                    <a:pt x="82" y="383"/>
                    <a:pt x="89" y="334"/>
                    <a:pt x="102" y="285"/>
                  </a:cubicBezTo>
                  <a:cubicBezTo>
                    <a:pt x="112" y="249"/>
                    <a:pt x="127" y="211"/>
                    <a:pt x="147" y="172"/>
                  </a:cubicBezTo>
                  <a:cubicBezTo>
                    <a:pt x="154" y="159"/>
                    <a:pt x="161" y="145"/>
                    <a:pt x="169" y="132"/>
                  </a:cubicBezTo>
                  <a:cubicBezTo>
                    <a:pt x="171" y="129"/>
                    <a:pt x="172" y="126"/>
                    <a:pt x="174" y="123"/>
                  </a:cubicBezTo>
                  <a:cubicBezTo>
                    <a:pt x="193" y="90"/>
                    <a:pt x="206" y="65"/>
                    <a:pt x="215" y="47"/>
                  </a:cubicBezTo>
                  <a:cubicBezTo>
                    <a:pt x="134" y="0"/>
                    <a:pt x="134" y="0"/>
                    <a:pt x="134"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8">
              <a:extLst>
                <a:ext uri="{FF2B5EF4-FFF2-40B4-BE49-F238E27FC236}">
                  <a16:creationId xmlns:a16="http://schemas.microsoft.com/office/drawing/2014/main" id="{A5E47309-6069-4753-B020-F99E5B591161}"/>
                </a:ext>
              </a:extLst>
            </p:cNvPr>
            <p:cNvSpPr>
              <a:spLocks noEditPoints="1"/>
            </p:cNvSpPr>
            <p:nvPr/>
          </p:nvSpPr>
          <p:spPr bwMode="auto">
            <a:xfrm>
              <a:off x="3903" y="1791"/>
              <a:ext cx="154" cy="128"/>
            </a:xfrm>
            <a:custGeom>
              <a:avLst/>
              <a:gdLst>
                <a:gd name="T0" fmla="*/ 86 w 86"/>
                <a:gd name="T1" fmla="*/ 52 h 72"/>
                <a:gd name="T2" fmla="*/ 85 w 86"/>
                <a:gd name="T3" fmla="*/ 72 h 72"/>
                <a:gd name="T4" fmla="*/ 86 w 86"/>
                <a:gd name="T5" fmla="*/ 52 h 72"/>
                <a:gd name="T6" fmla="*/ 86 w 86"/>
                <a:gd name="T7" fmla="*/ 52 h 72"/>
                <a:gd name="T8" fmla="*/ 86 w 86"/>
                <a:gd name="T9" fmla="*/ 43 h 72"/>
                <a:gd name="T10" fmla="*/ 86 w 86"/>
                <a:gd name="T11" fmla="*/ 43 h 72"/>
                <a:gd name="T12" fmla="*/ 86 w 86"/>
                <a:gd name="T13" fmla="*/ 43 h 72"/>
                <a:gd name="T14" fmla="*/ 46 w 86"/>
                <a:gd name="T15" fmla="*/ 0 h 72"/>
                <a:gd name="T16" fmla="*/ 4 w 86"/>
                <a:gd name="T17" fmla="*/ 13 h 72"/>
                <a:gd name="T18" fmla="*/ 0 w 86"/>
                <a:gd name="T19" fmla="*/ 40 h 72"/>
                <a:gd name="T20" fmla="*/ 4 w 86"/>
                <a:gd name="T21" fmla="*/ 13 h 72"/>
                <a:gd name="T22" fmla="*/ 46 w 86"/>
                <a:gd name="T23" fmla="*/ 0 h 72"/>
                <a:gd name="T24" fmla="*/ 64 w 86"/>
                <a:gd name="T25" fmla="*/ 4 h 72"/>
                <a:gd name="T26" fmla="*/ 86 w 86"/>
                <a:gd name="T27" fmla="*/ 43 h 72"/>
                <a:gd name="T28" fmla="*/ 64 w 86"/>
                <a:gd name="T29" fmla="*/ 4 h 72"/>
                <a:gd name="T30" fmla="*/ 46 w 86"/>
                <a:gd name="T3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72">
                  <a:moveTo>
                    <a:pt x="86" y="52"/>
                  </a:moveTo>
                  <a:cubicBezTo>
                    <a:pt x="86" y="59"/>
                    <a:pt x="85" y="66"/>
                    <a:pt x="85" y="72"/>
                  </a:cubicBezTo>
                  <a:cubicBezTo>
                    <a:pt x="85" y="66"/>
                    <a:pt x="86" y="59"/>
                    <a:pt x="86" y="52"/>
                  </a:cubicBezTo>
                  <a:cubicBezTo>
                    <a:pt x="86" y="52"/>
                    <a:pt x="86" y="52"/>
                    <a:pt x="86" y="52"/>
                  </a:cubicBezTo>
                  <a:moveTo>
                    <a:pt x="86" y="43"/>
                  </a:moveTo>
                  <a:cubicBezTo>
                    <a:pt x="86" y="43"/>
                    <a:pt x="86" y="43"/>
                    <a:pt x="86" y="43"/>
                  </a:cubicBezTo>
                  <a:cubicBezTo>
                    <a:pt x="86" y="43"/>
                    <a:pt x="86" y="43"/>
                    <a:pt x="86" y="43"/>
                  </a:cubicBezTo>
                  <a:moveTo>
                    <a:pt x="46" y="0"/>
                  </a:moveTo>
                  <a:cubicBezTo>
                    <a:pt x="34" y="0"/>
                    <a:pt x="20" y="4"/>
                    <a:pt x="4" y="13"/>
                  </a:cubicBezTo>
                  <a:cubicBezTo>
                    <a:pt x="4" y="22"/>
                    <a:pt x="3" y="31"/>
                    <a:pt x="0" y="40"/>
                  </a:cubicBezTo>
                  <a:cubicBezTo>
                    <a:pt x="3" y="31"/>
                    <a:pt x="4" y="22"/>
                    <a:pt x="4" y="13"/>
                  </a:cubicBezTo>
                  <a:cubicBezTo>
                    <a:pt x="20" y="4"/>
                    <a:pt x="34" y="0"/>
                    <a:pt x="46" y="0"/>
                  </a:cubicBezTo>
                  <a:cubicBezTo>
                    <a:pt x="52" y="0"/>
                    <a:pt x="58" y="1"/>
                    <a:pt x="64" y="4"/>
                  </a:cubicBezTo>
                  <a:cubicBezTo>
                    <a:pt x="77" y="11"/>
                    <a:pt x="84" y="24"/>
                    <a:pt x="86" y="43"/>
                  </a:cubicBezTo>
                  <a:cubicBezTo>
                    <a:pt x="84" y="24"/>
                    <a:pt x="77" y="11"/>
                    <a:pt x="64" y="4"/>
                  </a:cubicBezTo>
                  <a:cubicBezTo>
                    <a:pt x="58" y="1"/>
                    <a:pt x="52" y="0"/>
                    <a:pt x="46" y="0"/>
                  </a:cubicBezTo>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9">
              <a:extLst>
                <a:ext uri="{FF2B5EF4-FFF2-40B4-BE49-F238E27FC236}">
                  <a16:creationId xmlns:a16="http://schemas.microsoft.com/office/drawing/2014/main" id="{8DFD9888-70E3-4C4A-97EE-A1D8A785CDE3}"/>
                </a:ext>
              </a:extLst>
            </p:cNvPr>
            <p:cNvSpPr>
              <a:spLocks/>
            </p:cNvSpPr>
            <p:nvPr/>
          </p:nvSpPr>
          <p:spPr bwMode="auto">
            <a:xfrm>
              <a:off x="3882" y="1791"/>
              <a:ext cx="175" cy="216"/>
            </a:xfrm>
            <a:custGeom>
              <a:avLst/>
              <a:gdLst>
                <a:gd name="T0" fmla="*/ 58 w 98"/>
                <a:gd name="T1" fmla="*/ 0 h 121"/>
                <a:gd name="T2" fmla="*/ 16 w 98"/>
                <a:gd name="T3" fmla="*/ 13 h 121"/>
                <a:gd name="T4" fmla="*/ 12 w 98"/>
                <a:gd name="T5" fmla="*/ 40 h 121"/>
                <a:gd name="T6" fmla="*/ 7 w 98"/>
                <a:gd name="T7" fmla="*/ 56 h 121"/>
                <a:gd name="T8" fmla="*/ 0 w 98"/>
                <a:gd name="T9" fmla="*/ 74 h 121"/>
                <a:gd name="T10" fmla="*/ 81 w 98"/>
                <a:gd name="T11" fmla="*/ 121 h 121"/>
                <a:gd name="T12" fmla="*/ 89 w 98"/>
                <a:gd name="T13" fmla="*/ 103 h 121"/>
                <a:gd name="T14" fmla="*/ 97 w 98"/>
                <a:gd name="T15" fmla="*/ 72 h 121"/>
                <a:gd name="T16" fmla="*/ 98 w 98"/>
                <a:gd name="T17" fmla="*/ 52 h 121"/>
                <a:gd name="T18" fmla="*/ 98 w 98"/>
                <a:gd name="T19" fmla="*/ 43 h 121"/>
                <a:gd name="T20" fmla="*/ 98 w 98"/>
                <a:gd name="T21" fmla="*/ 43 h 121"/>
                <a:gd name="T22" fmla="*/ 98 w 98"/>
                <a:gd name="T23" fmla="*/ 43 h 121"/>
                <a:gd name="T24" fmla="*/ 76 w 98"/>
                <a:gd name="T25" fmla="*/ 4 h 121"/>
                <a:gd name="T26" fmla="*/ 58 w 98"/>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121">
                  <a:moveTo>
                    <a:pt x="58" y="0"/>
                  </a:moveTo>
                  <a:cubicBezTo>
                    <a:pt x="46" y="0"/>
                    <a:pt x="32" y="4"/>
                    <a:pt x="16" y="13"/>
                  </a:cubicBezTo>
                  <a:cubicBezTo>
                    <a:pt x="16" y="22"/>
                    <a:pt x="15" y="31"/>
                    <a:pt x="12" y="40"/>
                  </a:cubicBezTo>
                  <a:cubicBezTo>
                    <a:pt x="11" y="46"/>
                    <a:pt x="9" y="51"/>
                    <a:pt x="7" y="56"/>
                  </a:cubicBezTo>
                  <a:cubicBezTo>
                    <a:pt x="6" y="61"/>
                    <a:pt x="3" y="67"/>
                    <a:pt x="0" y="74"/>
                  </a:cubicBezTo>
                  <a:cubicBezTo>
                    <a:pt x="81" y="121"/>
                    <a:pt x="81" y="121"/>
                    <a:pt x="81" y="121"/>
                  </a:cubicBezTo>
                  <a:cubicBezTo>
                    <a:pt x="84" y="114"/>
                    <a:pt x="87" y="108"/>
                    <a:pt x="89" y="103"/>
                  </a:cubicBezTo>
                  <a:cubicBezTo>
                    <a:pt x="92" y="93"/>
                    <a:pt x="95" y="83"/>
                    <a:pt x="97" y="72"/>
                  </a:cubicBezTo>
                  <a:cubicBezTo>
                    <a:pt x="97" y="66"/>
                    <a:pt x="98" y="59"/>
                    <a:pt x="98" y="52"/>
                  </a:cubicBezTo>
                  <a:cubicBezTo>
                    <a:pt x="98" y="49"/>
                    <a:pt x="98" y="46"/>
                    <a:pt x="98" y="43"/>
                  </a:cubicBezTo>
                  <a:cubicBezTo>
                    <a:pt x="98" y="43"/>
                    <a:pt x="98" y="43"/>
                    <a:pt x="98" y="43"/>
                  </a:cubicBezTo>
                  <a:cubicBezTo>
                    <a:pt x="98" y="43"/>
                    <a:pt x="98" y="43"/>
                    <a:pt x="98" y="43"/>
                  </a:cubicBezTo>
                  <a:cubicBezTo>
                    <a:pt x="96" y="24"/>
                    <a:pt x="89" y="11"/>
                    <a:pt x="76" y="4"/>
                  </a:cubicBezTo>
                  <a:cubicBezTo>
                    <a:pt x="70" y="1"/>
                    <a:pt x="64" y="0"/>
                    <a:pt x="58" y="0"/>
                  </a:cubicBezTo>
                </a:path>
              </a:pathLst>
            </a:custGeom>
            <a:solidFill>
              <a:srgbClr val="FA1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30">
              <a:extLst>
                <a:ext uri="{FF2B5EF4-FFF2-40B4-BE49-F238E27FC236}">
                  <a16:creationId xmlns:a16="http://schemas.microsoft.com/office/drawing/2014/main" id="{AEFBD0C6-2FA7-4D7D-9762-86210B4BD462}"/>
                </a:ext>
              </a:extLst>
            </p:cNvPr>
            <p:cNvSpPr>
              <a:spLocks/>
            </p:cNvSpPr>
            <p:nvPr/>
          </p:nvSpPr>
          <p:spPr bwMode="auto">
            <a:xfrm>
              <a:off x="3554" y="1504"/>
              <a:ext cx="708" cy="1236"/>
            </a:xfrm>
            <a:custGeom>
              <a:avLst/>
              <a:gdLst>
                <a:gd name="T0" fmla="*/ 111 w 397"/>
                <a:gd name="T1" fmla="*/ 335 h 693"/>
                <a:gd name="T2" fmla="*/ 1 w 397"/>
                <a:gd name="T3" fmla="*/ 398 h 693"/>
                <a:gd name="T4" fmla="*/ 56 w 397"/>
                <a:gd name="T5" fmla="*/ 188 h 693"/>
                <a:gd name="T6" fmla="*/ 204 w 397"/>
                <a:gd name="T7" fmla="*/ 32 h 693"/>
                <a:gd name="T8" fmla="*/ 305 w 397"/>
                <a:gd name="T9" fmla="*/ 3 h 693"/>
                <a:gd name="T10" fmla="*/ 372 w 397"/>
                <a:gd name="T11" fmla="*/ 49 h 693"/>
                <a:gd name="T12" fmla="*/ 397 w 397"/>
                <a:gd name="T13" fmla="*/ 150 h 693"/>
                <a:gd name="T14" fmla="*/ 389 w 397"/>
                <a:gd name="T15" fmla="*/ 219 h 693"/>
                <a:gd name="T16" fmla="*/ 363 w 397"/>
                <a:gd name="T17" fmla="*/ 299 h 693"/>
                <a:gd name="T18" fmla="*/ 315 w 397"/>
                <a:gd name="T19" fmla="*/ 393 h 693"/>
                <a:gd name="T20" fmla="*/ 269 w 397"/>
                <a:gd name="T21" fmla="*/ 482 h 693"/>
                <a:gd name="T22" fmla="*/ 254 w 397"/>
                <a:gd name="T23" fmla="*/ 539 h 693"/>
                <a:gd name="T24" fmla="*/ 246 w 397"/>
                <a:gd name="T25" fmla="*/ 628 h 693"/>
                <a:gd name="T26" fmla="*/ 132 w 397"/>
                <a:gd name="T27" fmla="*/ 693 h 693"/>
                <a:gd name="T28" fmla="*/ 132 w 397"/>
                <a:gd name="T29" fmla="*/ 668 h 693"/>
                <a:gd name="T30" fmla="*/ 152 w 397"/>
                <a:gd name="T31" fmla="*/ 520 h 693"/>
                <a:gd name="T32" fmla="*/ 219 w 397"/>
                <a:gd name="T33" fmla="*/ 367 h 693"/>
                <a:gd name="T34" fmla="*/ 273 w 397"/>
                <a:gd name="T35" fmla="*/ 264 h 693"/>
                <a:gd name="T36" fmla="*/ 282 w 397"/>
                <a:gd name="T37" fmla="*/ 213 h 693"/>
                <a:gd name="T38" fmla="*/ 260 w 397"/>
                <a:gd name="T39" fmla="*/ 165 h 693"/>
                <a:gd name="T40" fmla="*/ 199 w 397"/>
                <a:gd name="T41" fmla="*/ 175 h 693"/>
                <a:gd name="T42" fmla="*/ 136 w 397"/>
                <a:gd name="T43" fmla="*/ 242 h 693"/>
                <a:gd name="T44" fmla="*/ 111 w 397"/>
                <a:gd name="T45" fmla="*/ 33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7" h="693">
                  <a:moveTo>
                    <a:pt x="111" y="335"/>
                  </a:moveTo>
                  <a:cubicBezTo>
                    <a:pt x="1" y="398"/>
                    <a:pt x="1" y="398"/>
                    <a:pt x="1" y="398"/>
                  </a:cubicBezTo>
                  <a:cubicBezTo>
                    <a:pt x="0" y="327"/>
                    <a:pt x="19" y="257"/>
                    <a:pt x="56" y="188"/>
                  </a:cubicBezTo>
                  <a:cubicBezTo>
                    <a:pt x="94" y="120"/>
                    <a:pt x="143" y="68"/>
                    <a:pt x="204" y="32"/>
                  </a:cubicBezTo>
                  <a:cubicBezTo>
                    <a:pt x="244" y="9"/>
                    <a:pt x="277" y="0"/>
                    <a:pt x="305" y="3"/>
                  </a:cubicBezTo>
                  <a:cubicBezTo>
                    <a:pt x="333" y="7"/>
                    <a:pt x="355" y="22"/>
                    <a:pt x="372" y="49"/>
                  </a:cubicBezTo>
                  <a:cubicBezTo>
                    <a:pt x="388" y="76"/>
                    <a:pt x="397" y="109"/>
                    <a:pt x="397" y="150"/>
                  </a:cubicBezTo>
                  <a:cubicBezTo>
                    <a:pt x="397" y="172"/>
                    <a:pt x="394" y="195"/>
                    <a:pt x="389" y="219"/>
                  </a:cubicBezTo>
                  <a:cubicBezTo>
                    <a:pt x="383" y="243"/>
                    <a:pt x="375" y="270"/>
                    <a:pt x="363" y="299"/>
                  </a:cubicBezTo>
                  <a:cubicBezTo>
                    <a:pt x="357" y="316"/>
                    <a:pt x="341" y="347"/>
                    <a:pt x="315" y="393"/>
                  </a:cubicBezTo>
                  <a:cubicBezTo>
                    <a:pt x="291" y="437"/>
                    <a:pt x="276" y="466"/>
                    <a:pt x="269" y="482"/>
                  </a:cubicBezTo>
                  <a:cubicBezTo>
                    <a:pt x="263" y="498"/>
                    <a:pt x="258" y="517"/>
                    <a:pt x="254" y="539"/>
                  </a:cubicBezTo>
                  <a:cubicBezTo>
                    <a:pt x="250" y="562"/>
                    <a:pt x="247" y="591"/>
                    <a:pt x="246" y="628"/>
                  </a:cubicBezTo>
                  <a:cubicBezTo>
                    <a:pt x="132" y="693"/>
                    <a:pt x="132" y="693"/>
                    <a:pt x="132" y="693"/>
                  </a:cubicBezTo>
                  <a:cubicBezTo>
                    <a:pt x="132" y="668"/>
                    <a:pt x="132" y="668"/>
                    <a:pt x="132" y="668"/>
                  </a:cubicBezTo>
                  <a:cubicBezTo>
                    <a:pt x="132" y="618"/>
                    <a:pt x="139" y="569"/>
                    <a:pt x="152" y="520"/>
                  </a:cubicBezTo>
                  <a:cubicBezTo>
                    <a:pt x="166" y="472"/>
                    <a:pt x="188" y="420"/>
                    <a:pt x="219" y="367"/>
                  </a:cubicBezTo>
                  <a:cubicBezTo>
                    <a:pt x="249" y="315"/>
                    <a:pt x="267" y="281"/>
                    <a:pt x="273" y="264"/>
                  </a:cubicBezTo>
                  <a:cubicBezTo>
                    <a:pt x="279" y="248"/>
                    <a:pt x="282" y="230"/>
                    <a:pt x="282" y="213"/>
                  </a:cubicBezTo>
                  <a:cubicBezTo>
                    <a:pt x="282" y="189"/>
                    <a:pt x="274" y="173"/>
                    <a:pt x="260" y="165"/>
                  </a:cubicBezTo>
                  <a:cubicBezTo>
                    <a:pt x="245" y="157"/>
                    <a:pt x="224" y="160"/>
                    <a:pt x="199" y="175"/>
                  </a:cubicBezTo>
                  <a:cubicBezTo>
                    <a:pt x="174" y="190"/>
                    <a:pt x="152" y="212"/>
                    <a:pt x="136" y="242"/>
                  </a:cubicBezTo>
                  <a:cubicBezTo>
                    <a:pt x="119" y="272"/>
                    <a:pt x="111" y="303"/>
                    <a:pt x="111" y="335"/>
                  </a:cubicBezTo>
                  <a:close/>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1">
              <a:extLst>
                <a:ext uri="{FF2B5EF4-FFF2-40B4-BE49-F238E27FC236}">
                  <a16:creationId xmlns:a16="http://schemas.microsoft.com/office/drawing/2014/main" id="{CCCC85D4-11D1-4209-AFFE-95763D01274D}"/>
                </a:ext>
              </a:extLst>
            </p:cNvPr>
            <p:cNvSpPr>
              <a:spLocks/>
            </p:cNvSpPr>
            <p:nvPr/>
          </p:nvSpPr>
          <p:spPr bwMode="auto">
            <a:xfrm>
              <a:off x="3766" y="2772"/>
              <a:ext cx="260" cy="385"/>
            </a:xfrm>
            <a:custGeom>
              <a:avLst/>
              <a:gdLst>
                <a:gd name="T0" fmla="*/ 72 w 146"/>
                <a:gd name="T1" fmla="*/ 12 h 216"/>
                <a:gd name="T2" fmla="*/ 124 w 146"/>
                <a:gd name="T3" fmla="*/ 10 h 216"/>
                <a:gd name="T4" fmla="*/ 146 w 146"/>
                <a:gd name="T5" fmla="*/ 65 h 216"/>
                <a:gd name="T6" fmla="*/ 124 w 146"/>
                <a:gd name="T7" fmla="*/ 146 h 216"/>
                <a:gd name="T8" fmla="*/ 73 w 146"/>
                <a:gd name="T9" fmla="*/ 204 h 216"/>
                <a:gd name="T10" fmla="*/ 21 w 146"/>
                <a:gd name="T11" fmla="*/ 205 h 216"/>
                <a:gd name="T12" fmla="*/ 0 w 146"/>
                <a:gd name="T13" fmla="*/ 149 h 216"/>
                <a:gd name="T14" fmla="*/ 21 w 146"/>
                <a:gd name="T15" fmla="*/ 70 h 216"/>
                <a:gd name="T16" fmla="*/ 72 w 146"/>
                <a:gd name="T17" fmla="*/ 1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216">
                  <a:moveTo>
                    <a:pt x="72" y="12"/>
                  </a:moveTo>
                  <a:cubicBezTo>
                    <a:pt x="92" y="1"/>
                    <a:pt x="110" y="0"/>
                    <a:pt x="124" y="10"/>
                  </a:cubicBezTo>
                  <a:cubicBezTo>
                    <a:pt x="139" y="20"/>
                    <a:pt x="146" y="39"/>
                    <a:pt x="146" y="65"/>
                  </a:cubicBezTo>
                  <a:cubicBezTo>
                    <a:pt x="146" y="92"/>
                    <a:pt x="139" y="119"/>
                    <a:pt x="124" y="146"/>
                  </a:cubicBezTo>
                  <a:cubicBezTo>
                    <a:pt x="110" y="173"/>
                    <a:pt x="93" y="192"/>
                    <a:pt x="73" y="204"/>
                  </a:cubicBezTo>
                  <a:cubicBezTo>
                    <a:pt x="53" y="215"/>
                    <a:pt x="35" y="216"/>
                    <a:pt x="21" y="205"/>
                  </a:cubicBezTo>
                  <a:cubicBezTo>
                    <a:pt x="7" y="195"/>
                    <a:pt x="0" y="176"/>
                    <a:pt x="0" y="149"/>
                  </a:cubicBezTo>
                  <a:cubicBezTo>
                    <a:pt x="0" y="123"/>
                    <a:pt x="7" y="96"/>
                    <a:pt x="21" y="70"/>
                  </a:cubicBezTo>
                  <a:cubicBezTo>
                    <a:pt x="35" y="43"/>
                    <a:pt x="52" y="24"/>
                    <a:pt x="72" y="12"/>
                  </a:cubicBezTo>
                  <a:close/>
                </a:path>
              </a:pathLst>
            </a:custGeom>
            <a:solidFill>
              <a:srgbClr val="FC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 name="TextBox 136">
            <a:extLst>
              <a:ext uri="{FF2B5EF4-FFF2-40B4-BE49-F238E27FC236}">
                <a16:creationId xmlns:a16="http://schemas.microsoft.com/office/drawing/2014/main" id="{C9CF59E9-4393-4527-8B77-5DA2BE922896}"/>
              </a:ext>
            </a:extLst>
          </p:cNvPr>
          <p:cNvSpPr txBox="1"/>
          <p:nvPr/>
        </p:nvSpPr>
        <p:spPr>
          <a:xfrm>
            <a:off x="6606774" y="852846"/>
            <a:ext cx="4966439" cy="430887"/>
          </a:xfrm>
          <a:prstGeom prst="rect">
            <a:avLst/>
          </a:prstGeom>
          <a:noFill/>
        </p:spPr>
        <p:txBody>
          <a:bodyPr wrap="square" lIns="0" tIns="0" rIns="0" bIns="0" rtlCol="0">
            <a:spAutoFit/>
          </a:bodyPr>
          <a:lstStyle/>
          <a:p>
            <a:r>
              <a:rPr lang="en-ID" sz="2800" b="1" dirty="0">
                <a:solidFill>
                  <a:schemeClr val="tx1">
                    <a:lumMod val="85000"/>
                    <a:lumOff val="15000"/>
                  </a:schemeClr>
                </a:solidFill>
              </a:rPr>
              <a:t>Lorem Ipsum </a:t>
            </a:r>
          </a:p>
        </p:txBody>
      </p:sp>
      <p:sp>
        <p:nvSpPr>
          <p:cNvPr id="138" name="Text Placeholder 2">
            <a:extLst>
              <a:ext uri="{FF2B5EF4-FFF2-40B4-BE49-F238E27FC236}">
                <a16:creationId xmlns:a16="http://schemas.microsoft.com/office/drawing/2014/main" id="{C4B22A8A-8162-4368-A6EC-5E6D72F1AA4D}"/>
              </a:ext>
            </a:extLst>
          </p:cNvPr>
          <p:cNvSpPr txBox="1">
            <a:spLocks/>
          </p:cNvSpPr>
          <p:nvPr/>
        </p:nvSpPr>
        <p:spPr>
          <a:xfrm>
            <a:off x="6606774" y="1387939"/>
            <a:ext cx="4966439" cy="123110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i="1" dirty="0">
                <a:solidFill>
                  <a:schemeClr val="tx1">
                    <a:lumMod val="85000"/>
                    <a:lumOff val="15000"/>
                  </a:schemeClr>
                </a:solidFill>
              </a:rPr>
              <a:t>Lorem ipsum dolor sit </a:t>
            </a:r>
            <a:r>
              <a:rPr lang="en-US" sz="1600" i="1" dirty="0" err="1">
                <a:solidFill>
                  <a:schemeClr val="tx1">
                    <a:lumMod val="85000"/>
                    <a:lumOff val="15000"/>
                  </a:schemeClr>
                </a:solidFill>
              </a:rPr>
              <a:t>amet</a:t>
            </a:r>
            <a:r>
              <a:rPr lang="en-US" sz="1600" i="1" dirty="0">
                <a:solidFill>
                  <a:schemeClr val="tx1">
                    <a:lumMod val="85000"/>
                    <a:lumOff val="15000"/>
                  </a:schemeClr>
                </a:solidFill>
              </a:rPr>
              <a:t>, </a:t>
            </a:r>
            <a:r>
              <a:rPr lang="en-US" sz="1600" i="1" dirty="0" err="1">
                <a:solidFill>
                  <a:schemeClr val="tx1">
                    <a:lumMod val="85000"/>
                    <a:lumOff val="15000"/>
                  </a:schemeClr>
                </a:solidFill>
              </a:rPr>
              <a:t>consectetur</a:t>
            </a:r>
            <a:r>
              <a:rPr lang="en-US" sz="1600" i="1" dirty="0">
                <a:solidFill>
                  <a:schemeClr val="tx1">
                    <a:lumMod val="85000"/>
                    <a:lumOff val="15000"/>
                  </a:schemeClr>
                </a:solidFill>
              </a:rPr>
              <a:t> </a:t>
            </a:r>
            <a:r>
              <a:rPr lang="en-US" sz="1600" i="1" dirty="0" err="1">
                <a:solidFill>
                  <a:schemeClr val="tx1">
                    <a:lumMod val="85000"/>
                    <a:lumOff val="15000"/>
                  </a:schemeClr>
                </a:solidFill>
              </a:rPr>
              <a:t>adipiscing</a:t>
            </a:r>
            <a:r>
              <a:rPr lang="en-US" sz="1600" i="1" dirty="0">
                <a:solidFill>
                  <a:schemeClr val="tx1">
                    <a:lumMod val="85000"/>
                    <a:lumOff val="15000"/>
                  </a:schemeClr>
                </a:solidFill>
              </a:rPr>
              <a:t> </a:t>
            </a:r>
            <a:r>
              <a:rPr lang="en-US" sz="1600" i="1" dirty="0" err="1">
                <a:solidFill>
                  <a:schemeClr val="tx1">
                    <a:lumMod val="85000"/>
                    <a:lumOff val="15000"/>
                  </a:schemeClr>
                </a:solidFill>
              </a:rPr>
              <a:t>elit</a:t>
            </a:r>
            <a:r>
              <a:rPr lang="en-US" sz="1600" i="1" dirty="0">
                <a:solidFill>
                  <a:schemeClr val="tx1">
                    <a:lumMod val="85000"/>
                    <a:lumOff val="15000"/>
                  </a:schemeClr>
                </a:solidFill>
              </a:rPr>
              <a:t>. </a:t>
            </a:r>
            <a:r>
              <a:rPr lang="en-US" sz="1600" i="1" dirty="0" err="1">
                <a:solidFill>
                  <a:schemeClr val="tx1">
                    <a:lumMod val="85000"/>
                    <a:lumOff val="15000"/>
                  </a:schemeClr>
                </a:solidFill>
              </a:rPr>
              <a:t>Aliquam</a:t>
            </a:r>
            <a:r>
              <a:rPr lang="en-US" sz="1600" i="1" dirty="0">
                <a:solidFill>
                  <a:schemeClr val="tx1">
                    <a:lumMod val="85000"/>
                    <a:lumOff val="15000"/>
                  </a:schemeClr>
                </a:solidFill>
              </a:rPr>
              <a:t> at </a:t>
            </a:r>
            <a:r>
              <a:rPr lang="en-US" sz="1600" i="1" dirty="0" err="1">
                <a:solidFill>
                  <a:schemeClr val="tx1">
                    <a:lumMod val="85000"/>
                    <a:lumOff val="15000"/>
                  </a:schemeClr>
                </a:solidFill>
              </a:rPr>
              <a:t>volutpat</a:t>
            </a:r>
            <a:r>
              <a:rPr lang="en-US" sz="1600" i="1" dirty="0">
                <a:solidFill>
                  <a:schemeClr val="tx1">
                    <a:lumMod val="85000"/>
                    <a:lumOff val="15000"/>
                  </a:schemeClr>
                </a:solidFill>
              </a:rPr>
              <a:t> </a:t>
            </a:r>
            <a:r>
              <a:rPr lang="en-US" sz="1600" i="1" dirty="0" err="1">
                <a:solidFill>
                  <a:schemeClr val="tx1">
                    <a:lumMod val="85000"/>
                    <a:lumOff val="15000"/>
                  </a:schemeClr>
                </a:solidFill>
              </a:rPr>
              <a:t>massa</a:t>
            </a:r>
            <a:r>
              <a:rPr lang="en-US" sz="1600" i="1" dirty="0">
                <a:solidFill>
                  <a:schemeClr val="tx1">
                    <a:lumMod val="85000"/>
                    <a:lumOff val="15000"/>
                  </a:schemeClr>
                </a:solidFill>
              </a:rPr>
              <a:t>, sed </a:t>
            </a:r>
            <a:r>
              <a:rPr lang="en-US" sz="1600" i="1" dirty="0" err="1">
                <a:solidFill>
                  <a:schemeClr val="tx1">
                    <a:lumMod val="85000"/>
                    <a:lumOff val="15000"/>
                  </a:schemeClr>
                </a:solidFill>
              </a:rPr>
              <a:t>congue</a:t>
            </a:r>
            <a:r>
              <a:rPr lang="en-US" sz="1600" i="1" dirty="0">
                <a:solidFill>
                  <a:schemeClr val="tx1">
                    <a:lumMod val="85000"/>
                    <a:lumOff val="15000"/>
                  </a:schemeClr>
                </a:solidFill>
              </a:rPr>
              <a:t> </a:t>
            </a:r>
            <a:r>
              <a:rPr lang="en-US" sz="1600" i="1" dirty="0" err="1">
                <a:solidFill>
                  <a:schemeClr val="tx1">
                    <a:lumMod val="85000"/>
                    <a:lumOff val="15000"/>
                  </a:schemeClr>
                </a:solidFill>
              </a:rPr>
              <a:t>lacus</a:t>
            </a:r>
            <a:r>
              <a:rPr lang="en-US" sz="1600" i="1" dirty="0">
                <a:solidFill>
                  <a:schemeClr val="tx1">
                    <a:lumMod val="85000"/>
                    <a:lumOff val="15000"/>
                  </a:schemeClr>
                </a:solidFill>
              </a:rPr>
              <a:t>. Proin </a:t>
            </a:r>
            <a:r>
              <a:rPr lang="en-US" sz="1600" i="1" dirty="0" err="1">
                <a:solidFill>
                  <a:schemeClr val="tx1">
                    <a:lumMod val="85000"/>
                    <a:lumOff val="15000"/>
                  </a:schemeClr>
                </a:solidFill>
              </a:rPr>
              <a:t>ornare</a:t>
            </a:r>
            <a:r>
              <a:rPr lang="en-US" sz="1600" i="1" dirty="0">
                <a:solidFill>
                  <a:schemeClr val="tx1">
                    <a:lumMod val="85000"/>
                    <a:lumOff val="15000"/>
                  </a:schemeClr>
                </a:solidFill>
              </a:rPr>
              <a:t> </a:t>
            </a:r>
            <a:r>
              <a:rPr lang="en-US" sz="1600" i="1" dirty="0" err="1">
                <a:solidFill>
                  <a:schemeClr val="tx1">
                    <a:lumMod val="85000"/>
                    <a:lumOff val="15000"/>
                  </a:schemeClr>
                </a:solidFill>
              </a:rPr>
              <a:t>erat</a:t>
            </a:r>
            <a:r>
              <a:rPr lang="en-US" sz="1600" i="1" dirty="0">
                <a:solidFill>
                  <a:schemeClr val="tx1">
                    <a:lumMod val="85000"/>
                    <a:lumOff val="15000"/>
                  </a:schemeClr>
                </a:solidFill>
              </a:rPr>
              <a:t> et semper </a:t>
            </a:r>
            <a:r>
              <a:rPr lang="en-US" sz="1600" i="1" dirty="0" err="1">
                <a:solidFill>
                  <a:schemeClr val="tx1">
                    <a:lumMod val="85000"/>
                    <a:lumOff val="15000"/>
                  </a:schemeClr>
                </a:solidFill>
              </a:rPr>
              <a:t>tincidunt</a:t>
            </a:r>
            <a:r>
              <a:rPr lang="en-US" sz="1600" i="1" dirty="0">
                <a:solidFill>
                  <a:schemeClr val="tx1">
                    <a:lumMod val="85000"/>
                    <a:lumOff val="15000"/>
                  </a:schemeClr>
                </a:solidFill>
              </a:rPr>
              <a:t>. Sed </a:t>
            </a:r>
            <a:r>
              <a:rPr lang="en-US" sz="1600" i="1" dirty="0" err="1">
                <a:solidFill>
                  <a:schemeClr val="tx1">
                    <a:lumMod val="85000"/>
                    <a:lumOff val="15000"/>
                  </a:schemeClr>
                </a:solidFill>
              </a:rPr>
              <a:t>orci</a:t>
            </a:r>
            <a:r>
              <a:rPr lang="en-US" sz="1600" i="1" dirty="0">
                <a:solidFill>
                  <a:schemeClr val="tx1">
                    <a:lumMod val="85000"/>
                    <a:lumOff val="15000"/>
                  </a:schemeClr>
                </a:solidFill>
              </a:rPr>
              <a:t> </a:t>
            </a:r>
            <a:r>
              <a:rPr lang="en-US" sz="1600" i="1" dirty="0" err="1">
                <a:solidFill>
                  <a:schemeClr val="tx1">
                    <a:lumMod val="85000"/>
                    <a:lumOff val="15000"/>
                  </a:schemeClr>
                </a:solidFill>
              </a:rPr>
              <a:t>enim</a:t>
            </a:r>
            <a:r>
              <a:rPr lang="en-US" sz="1600" i="1" dirty="0">
                <a:solidFill>
                  <a:schemeClr val="tx1">
                    <a:lumMod val="85000"/>
                    <a:lumOff val="15000"/>
                  </a:schemeClr>
                </a:solidFill>
              </a:rPr>
              <a:t>, </a:t>
            </a:r>
            <a:r>
              <a:rPr lang="en-US" sz="1600" i="1" dirty="0" err="1">
                <a:solidFill>
                  <a:schemeClr val="tx1">
                    <a:lumMod val="85000"/>
                    <a:lumOff val="15000"/>
                  </a:schemeClr>
                </a:solidFill>
              </a:rPr>
              <a:t>egestas</a:t>
            </a:r>
            <a:r>
              <a:rPr lang="en-US" sz="1600" i="1" dirty="0">
                <a:solidFill>
                  <a:schemeClr val="tx1">
                    <a:lumMod val="85000"/>
                    <a:lumOff val="15000"/>
                  </a:schemeClr>
                </a:solidFill>
              </a:rPr>
              <a:t> </a:t>
            </a:r>
            <a:r>
              <a:rPr lang="en-US" sz="1600" i="1" dirty="0" err="1">
                <a:solidFill>
                  <a:schemeClr val="tx1">
                    <a:lumMod val="85000"/>
                    <a:lumOff val="15000"/>
                  </a:schemeClr>
                </a:solidFill>
              </a:rPr>
              <a:t>quis</a:t>
            </a:r>
            <a:r>
              <a:rPr lang="en-US" sz="1600" i="1" dirty="0">
                <a:solidFill>
                  <a:schemeClr val="tx1">
                    <a:lumMod val="85000"/>
                    <a:lumOff val="15000"/>
                  </a:schemeClr>
                </a:solidFill>
              </a:rPr>
              <a:t> </a:t>
            </a:r>
            <a:r>
              <a:rPr lang="en-US" sz="1600" i="1" dirty="0" err="1">
                <a:solidFill>
                  <a:schemeClr val="tx1">
                    <a:lumMod val="85000"/>
                    <a:lumOff val="15000"/>
                  </a:schemeClr>
                </a:solidFill>
              </a:rPr>
              <a:t>lectus</a:t>
            </a:r>
            <a:r>
              <a:rPr lang="en-US" sz="1600" i="1" dirty="0">
                <a:solidFill>
                  <a:schemeClr val="tx1">
                    <a:lumMod val="85000"/>
                    <a:lumOff val="15000"/>
                  </a:schemeClr>
                </a:solidFill>
              </a:rPr>
              <a:t> </a:t>
            </a:r>
            <a:r>
              <a:rPr lang="en-US" sz="1600" i="1" dirty="0" err="1">
                <a:solidFill>
                  <a:schemeClr val="tx1">
                    <a:lumMod val="85000"/>
                    <a:lumOff val="15000"/>
                  </a:schemeClr>
                </a:solidFill>
              </a:rPr>
              <a:t>sollicitudin</a:t>
            </a:r>
            <a:r>
              <a:rPr lang="en-US" sz="1600" i="1" dirty="0">
                <a:solidFill>
                  <a:schemeClr val="tx1">
                    <a:lumMod val="85000"/>
                    <a:lumOff val="15000"/>
                  </a:schemeClr>
                </a:solidFill>
              </a:rPr>
              <a:t>, semper </a:t>
            </a:r>
            <a:r>
              <a:rPr lang="en-US" sz="1600" i="1" dirty="0" err="1">
                <a:solidFill>
                  <a:schemeClr val="tx1">
                    <a:lumMod val="85000"/>
                    <a:lumOff val="15000"/>
                  </a:schemeClr>
                </a:solidFill>
              </a:rPr>
              <a:t>fringilla</a:t>
            </a:r>
            <a:r>
              <a:rPr lang="en-US" sz="1600" i="1" dirty="0">
                <a:solidFill>
                  <a:schemeClr val="tx1">
                    <a:lumMod val="85000"/>
                    <a:lumOff val="15000"/>
                  </a:schemeClr>
                </a:solidFill>
              </a:rPr>
              <a:t> </a:t>
            </a:r>
            <a:r>
              <a:rPr lang="en-US" sz="1600" i="1" dirty="0" err="1">
                <a:solidFill>
                  <a:schemeClr val="tx1">
                    <a:lumMod val="85000"/>
                    <a:lumOff val="15000"/>
                  </a:schemeClr>
                </a:solidFill>
              </a:rPr>
              <a:t>justo</a:t>
            </a:r>
            <a:r>
              <a:rPr lang="en-US" sz="1600" i="1" dirty="0">
                <a:solidFill>
                  <a:schemeClr val="tx1">
                    <a:lumMod val="85000"/>
                    <a:lumOff val="15000"/>
                  </a:schemeClr>
                </a:solidFill>
              </a:rPr>
              <a:t>. </a:t>
            </a:r>
            <a:r>
              <a:rPr lang="en-US" sz="1600" i="1" dirty="0" err="1">
                <a:solidFill>
                  <a:schemeClr val="tx1">
                    <a:lumMod val="85000"/>
                    <a:lumOff val="15000"/>
                  </a:schemeClr>
                </a:solidFill>
              </a:rPr>
              <a:t>Curabitur</a:t>
            </a:r>
            <a:r>
              <a:rPr lang="en-US" sz="1600" i="1" dirty="0">
                <a:solidFill>
                  <a:schemeClr val="tx1">
                    <a:lumMod val="85000"/>
                    <a:lumOff val="15000"/>
                  </a:schemeClr>
                </a:solidFill>
              </a:rPr>
              <a:t> </a:t>
            </a:r>
            <a:r>
              <a:rPr lang="en-US" sz="1600" i="1" dirty="0" err="1">
                <a:solidFill>
                  <a:schemeClr val="tx1">
                    <a:lumMod val="85000"/>
                    <a:lumOff val="15000"/>
                  </a:schemeClr>
                </a:solidFill>
              </a:rPr>
              <a:t>ullamcorper</a:t>
            </a:r>
            <a:r>
              <a:rPr lang="en-US" sz="1600" i="1" dirty="0">
                <a:solidFill>
                  <a:schemeClr val="tx1">
                    <a:lumMod val="85000"/>
                    <a:lumOff val="15000"/>
                  </a:schemeClr>
                </a:solidFill>
              </a:rPr>
              <a:t>, </a:t>
            </a:r>
            <a:r>
              <a:rPr lang="en-US" sz="1600" i="1" dirty="0" err="1">
                <a:solidFill>
                  <a:schemeClr val="tx1">
                    <a:lumMod val="85000"/>
                    <a:lumOff val="15000"/>
                  </a:schemeClr>
                </a:solidFill>
              </a:rPr>
              <a:t>sem</a:t>
            </a:r>
            <a:r>
              <a:rPr lang="en-US" sz="1600" i="1" dirty="0">
                <a:solidFill>
                  <a:schemeClr val="tx1">
                    <a:lumMod val="85000"/>
                    <a:lumOff val="15000"/>
                  </a:schemeClr>
                </a:solidFill>
              </a:rPr>
              <a:t> </a:t>
            </a:r>
            <a:r>
              <a:rPr lang="en-US" sz="1600" i="1" dirty="0" err="1">
                <a:solidFill>
                  <a:schemeClr val="tx1">
                    <a:lumMod val="85000"/>
                    <a:lumOff val="15000"/>
                  </a:schemeClr>
                </a:solidFill>
              </a:rPr>
              <a:t>quis</a:t>
            </a:r>
            <a:r>
              <a:rPr lang="en-US" sz="1600" i="1" dirty="0">
                <a:solidFill>
                  <a:schemeClr val="tx1">
                    <a:lumMod val="85000"/>
                    <a:lumOff val="15000"/>
                  </a:schemeClr>
                </a:solidFill>
              </a:rPr>
              <a:t> </a:t>
            </a:r>
            <a:r>
              <a:rPr lang="en-US" sz="1600" i="1" dirty="0" err="1">
                <a:solidFill>
                  <a:schemeClr val="tx1">
                    <a:lumMod val="85000"/>
                    <a:lumOff val="15000"/>
                  </a:schemeClr>
                </a:solidFill>
              </a:rPr>
              <a:t>rhoncus</a:t>
            </a:r>
            <a:r>
              <a:rPr lang="en-US" sz="1600" i="1" dirty="0">
                <a:solidFill>
                  <a:schemeClr val="tx1">
                    <a:lumMod val="85000"/>
                    <a:lumOff val="15000"/>
                  </a:schemeClr>
                </a:solidFill>
              </a:rPr>
              <a:t> cursus, </a:t>
            </a:r>
          </a:p>
        </p:txBody>
      </p:sp>
      <p:sp>
        <p:nvSpPr>
          <p:cNvPr id="153" name="TextBox 152">
            <a:extLst>
              <a:ext uri="{FF2B5EF4-FFF2-40B4-BE49-F238E27FC236}">
                <a16:creationId xmlns:a16="http://schemas.microsoft.com/office/drawing/2014/main" id="{C1AB8F3F-272C-4504-9143-28F5810AC887}"/>
              </a:ext>
            </a:extLst>
          </p:cNvPr>
          <p:cNvSpPr txBox="1"/>
          <p:nvPr/>
        </p:nvSpPr>
        <p:spPr>
          <a:xfrm>
            <a:off x="618786" y="604287"/>
            <a:ext cx="5477214" cy="1231106"/>
          </a:xfrm>
          <a:prstGeom prst="rect">
            <a:avLst/>
          </a:prstGeom>
          <a:noFill/>
        </p:spPr>
        <p:txBody>
          <a:bodyPr wrap="square" lIns="0" tIns="0" rIns="0" bIns="0" rtlCol="0" anchor="t" anchorCtr="0">
            <a:spAutoFit/>
          </a:bodyPr>
          <a:lstStyle/>
          <a:p>
            <a:r>
              <a:rPr lang="en-US" sz="4000" b="1" dirty="0">
                <a:solidFill>
                  <a:srgbClr val="FB5252"/>
                </a:solidFill>
                <a:latin typeface="Arial Black" panose="020B0A04020102020204" pitchFamily="34" charset="0"/>
              </a:rPr>
              <a:t>What is Language Learning</a:t>
            </a:r>
            <a:endParaRPr lang="en-US" sz="2400" b="1" dirty="0">
              <a:solidFill>
                <a:srgbClr val="FB5252"/>
              </a:solidFill>
              <a:latin typeface="Arial Black" panose="020B0A04020102020204" pitchFamily="34" charset="0"/>
            </a:endParaRPr>
          </a:p>
        </p:txBody>
      </p:sp>
      <p:sp>
        <p:nvSpPr>
          <p:cNvPr id="168" name="Text Placeholder 2">
            <a:extLst>
              <a:ext uri="{FF2B5EF4-FFF2-40B4-BE49-F238E27FC236}">
                <a16:creationId xmlns:a16="http://schemas.microsoft.com/office/drawing/2014/main" id="{993AF6C1-FC5B-429E-9E7F-FCEB9300FC32}"/>
              </a:ext>
            </a:extLst>
          </p:cNvPr>
          <p:cNvSpPr txBox="1">
            <a:spLocks/>
          </p:cNvSpPr>
          <p:nvPr/>
        </p:nvSpPr>
        <p:spPr>
          <a:xfrm>
            <a:off x="6606775" y="3209092"/>
            <a:ext cx="2375313" cy="172354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200"/>
              </a:spcAft>
              <a:buClr>
                <a:srgbClr val="008BD0"/>
              </a:buClr>
            </a:pPr>
            <a:r>
              <a:rPr lang="en-US" sz="1400" dirty="0">
                <a:solidFill>
                  <a:schemeClr val="tx1">
                    <a:lumMod val="85000"/>
                    <a:lumOff val="15000"/>
                  </a:schemeClr>
                </a:solidFill>
              </a:rPr>
              <a:t>Lorem ipsum dolor sit </a:t>
            </a:r>
            <a:r>
              <a:rPr lang="en-US" sz="1400" dirty="0" err="1">
                <a:solidFill>
                  <a:schemeClr val="tx1">
                    <a:lumMod val="85000"/>
                    <a:lumOff val="15000"/>
                  </a:schemeClr>
                </a:solidFill>
              </a:rPr>
              <a:t>amet</a:t>
            </a:r>
            <a:r>
              <a:rPr lang="en-US" sz="1400" dirty="0">
                <a:solidFill>
                  <a:schemeClr val="tx1">
                    <a:lumMod val="85000"/>
                    <a:lumOff val="15000"/>
                  </a:schemeClr>
                </a:solidFill>
              </a:rPr>
              <a:t>, </a:t>
            </a:r>
            <a:r>
              <a:rPr lang="en-US" sz="1400" dirty="0" err="1">
                <a:solidFill>
                  <a:schemeClr val="tx1">
                    <a:lumMod val="85000"/>
                    <a:lumOff val="15000"/>
                  </a:schemeClr>
                </a:solidFill>
              </a:rPr>
              <a:t>consectetur</a:t>
            </a:r>
            <a:r>
              <a:rPr lang="en-US" sz="1400" dirty="0">
                <a:solidFill>
                  <a:schemeClr val="tx1">
                    <a:lumMod val="85000"/>
                    <a:lumOff val="15000"/>
                  </a:schemeClr>
                </a:solidFill>
              </a:rPr>
              <a:t> </a:t>
            </a:r>
            <a:r>
              <a:rPr lang="en-US" sz="1400" dirty="0" err="1">
                <a:solidFill>
                  <a:schemeClr val="tx1">
                    <a:lumMod val="85000"/>
                    <a:lumOff val="15000"/>
                  </a:schemeClr>
                </a:solidFill>
              </a:rPr>
              <a:t>adipiscing</a:t>
            </a:r>
            <a:r>
              <a:rPr lang="en-US" sz="1400" dirty="0">
                <a:solidFill>
                  <a:schemeClr val="tx1">
                    <a:lumMod val="85000"/>
                    <a:lumOff val="15000"/>
                  </a:schemeClr>
                </a:solidFill>
              </a:rPr>
              <a:t> </a:t>
            </a:r>
            <a:r>
              <a:rPr lang="en-US" sz="1400" dirty="0" err="1">
                <a:solidFill>
                  <a:schemeClr val="tx1">
                    <a:lumMod val="85000"/>
                    <a:lumOff val="15000"/>
                  </a:schemeClr>
                </a:solidFill>
              </a:rPr>
              <a:t>elit</a:t>
            </a:r>
            <a:r>
              <a:rPr lang="en-US" sz="1400" dirty="0">
                <a:solidFill>
                  <a:schemeClr val="tx1">
                    <a:lumMod val="85000"/>
                    <a:lumOff val="15000"/>
                  </a:schemeClr>
                </a:solidFill>
              </a:rPr>
              <a:t>. </a:t>
            </a:r>
            <a:r>
              <a:rPr lang="en-US" sz="1400" dirty="0" err="1">
                <a:solidFill>
                  <a:schemeClr val="tx1">
                    <a:lumMod val="85000"/>
                    <a:lumOff val="15000"/>
                  </a:schemeClr>
                </a:solidFill>
              </a:rPr>
              <a:t>Aliquam</a:t>
            </a:r>
            <a:r>
              <a:rPr lang="en-US" sz="1400" dirty="0">
                <a:solidFill>
                  <a:schemeClr val="tx1">
                    <a:lumMod val="85000"/>
                    <a:lumOff val="15000"/>
                  </a:schemeClr>
                </a:solidFill>
              </a:rPr>
              <a:t> at </a:t>
            </a:r>
            <a:r>
              <a:rPr lang="en-US" sz="1400" dirty="0" err="1">
                <a:solidFill>
                  <a:schemeClr val="tx1">
                    <a:lumMod val="85000"/>
                    <a:lumOff val="15000"/>
                  </a:schemeClr>
                </a:solidFill>
              </a:rPr>
              <a:t>volutpat</a:t>
            </a:r>
            <a:r>
              <a:rPr lang="en-US" sz="1400" dirty="0">
                <a:solidFill>
                  <a:schemeClr val="tx1">
                    <a:lumMod val="85000"/>
                    <a:lumOff val="15000"/>
                  </a:schemeClr>
                </a:solidFill>
              </a:rPr>
              <a:t> </a:t>
            </a:r>
            <a:r>
              <a:rPr lang="en-US" sz="1400" dirty="0" err="1">
                <a:solidFill>
                  <a:schemeClr val="tx1">
                    <a:lumMod val="85000"/>
                    <a:lumOff val="15000"/>
                  </a:schemeClr>
                </a:solidFill>
              </a:rPr>
              <a:t>massa</a:t>
            </a:r>
            <a:r>
              <a:rPr lang="en-US" sz="1400" dirty="0">
                <a:solidFill>
                  <a:schemeClr val="tx1">
                    <a:lumMod val="85000"/>
                    <a:lumOff val="15000"/>
                  </a:schemeClr>
                </a:solidFill>
              </a:rPr>
              <a:t>, sed </a:t>
            </a:r>
            <a:r>
              <a:rPr lang="en-US" sz="1400" dirty="0" err="1">
                <a:solidFill>
                  <a:schemeClr val="tx1">
                    <a:lumMod val="85000"/>
                    <a:lumOff val="15000"/>
                  </a:schemeClr>
                </a:solidFill>
              </a:rPr>
              <a:t>congue</a:t>
            </a:r>
            <a:r>
              <a:rPr lang="en-US" sz="1400" dirty="0">
                <a:solidFill>
                  <a:schemeClr val="tx1">
                    <a:lumMod val="85000"/>
                    <a:lumOff val="15000"/>
                  </a:schemeClr>
                </a:solidFill>
              </a:rPr>
              <a:t> </a:t>
            </a:r>
            <a:r>
              <a:rPr lang="en-US" sz="1400" dirty="0" err="1">
                <a:solidFill>
                  <a:schemeClr val="tx1">
                    <a:lumMod val="85000"/>
                    <a:lumOff val="15000"/>
                  </a:schemeClr>
                </a:solidFill>
              </a:rPr>
              <a:t>lacus</a:t>
            </a:r>
            <a:r>
              <a:rPr lang="en-US" sz="1400" dirty="0">
                <a:solidFill>
                  <a:schemeClr val="tx1">
                    <a:lumMod val="85000"/>
                    <a:lumOff val="15000"/>
                  </a:schemeClr>
                </a:solidFill>
              </a:rPr>
              <a:t>. Proin </a:t>
            </a:r>
            <a:r>
              <a:rPr lang="en-US" sz="1400" dirty="0" err="1">
                <a:solidFill>
                  <a:schemeClr val="tx1">
                    <a:lumMod val="85000"/>
                    <a:lumOff val="15000"/>
                  </a:schemeClr>
                </a:solidFill>
              </a:rPr>
              <a:t>ornare</a:t>
            </a:r>
            <a:r>
              <a:rPr lang="en-US" sz="1400" dirty="0">
                <a:solidFill>
                  <a:schemeClr val="tx1">
                    <a:lumMod val="85000"/>
                    <a:lumOff val="15000"/>
                  </a:schemeClr>
                </a:solidFill>
              </a:rPr>
              <a:t> </a:t>
            </a:r>
            <a:r>
              <a:rPr lang="en-US" sz="1400" dirty="0" err="1">
                <a:solidFill>
                  <a:schemeClr val="tx1">
                    <a:lumMod val="85000"/>
                    <a:lumOff val="15000"/>
                  </a:schemeClr>
                </a:solidFill>
              </a:rPr>
              <a:t>erat</a:t>
            </a:r>
            <a:r>
              <a:rPr lang="en-US" sz="1400" dirty="0">
                <a:solidFill>
                  <a:schemeClr val="tx1">
                    <a:lumMod val="85000"/>
                    <a:lumOff val="15000"/>
                  </a:schemeClr>
                </a:solidFill>
              </a:rPr>
              <a:t> et semper </a:t>
            </a:r>
            <a:r>
              <a:rPr lang="en-US" sz="1400" dirty="0" err="1">
                <a:solidFill>
                  <a:schemeClr val="tx1">
                    <a:lumMod val="85000"/>
                    <a:lumOff val="15000"/>
                  </a:schemeClr>
                </a:solidFill>
              </a:rPr>
              <a:t>tincidunt</a:t>
            </a:r>
            <a:r>
              <a:rPr lang="en-US" sz="1400" dirty="0">
                <a:solidFill>
                  <a:schemeClr val="tx1">
                    <a:lumMod val="85000"/>
                    <a:lumOff val="15000"/>
                  </a:schemeClr>
                </a:solidFill>
              </a:rPr>
              <a:t>. Sed </a:t>
            </a:r>
            <a:r>
              <a:rPr lang="en-US" sz="1400" dirty="0" err="1">
                <a:solidFill>
                  <a:schemeClr val="tx1">
                    <a:lumMod val="85000"/>
                    <a:lumOff val="15000"/>
                  </a:schemeClr>
                </a:solidFill>
              </a:rPr>
              <a:t>orci</a:t>
            </a:r>
            <a:r>
              <a:rPr lang="en-US" sz="1400" dirty="0">
                <a:solidFill>
                  <a:schemeClr val="tx1">
                    <a:lumMod val="85000"/>
                    <a:lumOff val="15000"/>
                  </a:schemeClr>
                </a:solidFill>
              </a:rPr>
              <a:t> </a:t>
            </a:r>
            <a:r>
              <a:rPr lang="en-US" sz="1400" dirty="0" err="1">
                <a:solidFill>
                  <a:schemeClr val="tx1">
                    <a:lumMod val="85000"/>
                    <a:lumOff val="15000"/>
                  </a:schemeClr>
                </a:solidFill>
              </a:rPr>
              <a:t>enim</a:t>
            </a:r>
            <a:r>
              <a:rPr lang="en-US" sz="1400" dirty="0">
                <a:solidFill>
                  <a:schemeClr val="tx1">
                    <a:lumMod val="85000"/>
                    <a:lumOff val="15000"/>
                  </a:schemeClr>
                </a:solidFill>
              </a:rPr>
              <a:t>, </a:t>
            </a:r>
            <a:r>
              <a:rPr lang="en-US" sz="1400" dirty="0" err="1">
                <a:solidFill>
                  <a:schemeClr val="tx1">
                    <a:lumMod val="85000"/>
                    <a:lumOff val="15000"/>
                  </a:schemeClr>
                </a:solidFill>
              </a:rPr>
              <a:t>egestas</a:t>
            </a:r>
            <a:r>
              <a:rPr lang="en-US" sz="1400" dirty="0">
                <a:solidFill>
                  <a:schemeClr val="tx1">
                    <a:lumMod val="85000"/>
                    <a:lumOff val="15000"/>
                  </a:schemeClr>
                </a:solidFill>
              </a:rPr>
              <a:t> </a:t>
            </a:r>
            <a:r>
              <a:rPr lang="en-US" sz="1400" dirty="0" err="1">
                <a:solidFill>
                  <a:schemeClr val="tx1">
                    <a:lumMod val="85000"/>
                    <a:lumOff val="15000"/>
                  </a:schemeClr>
                </a:solidFill>
              </a:rPr>
              <a:t>quis</a:t>
            </a:r>
            <a:r>
              <a:rPr lang="en-US" sz="1400" dirty="0">
                <a:solidFill>
                  <a:schemeClr val="tx1">
                    <a:lumMod val="85000"/>
                    <a:lumOff val="15000"/>
                  </a:schemeClr>
                </a:solidFill>
              </a:rPr>
              <a:t> </a:t>
            </a:r>
            <a:r>
              <a:rPr lang="en-US" sz="1400" dirty="0" err="1">
                <a:solidFill>
                  <a:schemeClr val="tx1">
                    <a:lumMod val="85000"/>
                    <a:lumOff val="15000"/>
                  </a:schemeClr>
                </a:solidFill>
              </a:rPr>
              <a:t>lectus</a:t>
            </a:r>
            <a:r>
              <a:rPr lang="en-US" sz="1400" dirty="0">
                <a:solidFill>
                  <a:schemeClr val="tx1">
                    <a:lumMod val="85000"/>
                    <a:lumOff val="15000"/>
                  </a:schemeClr>
                </a:solidFill>
              </a:rPr>
              <a:t> </a:t>
            </a:r>
            <a:r>
              <a:rPr lang="en-US" sz="1400" dirty="0" err="1">
                <a:solidFill>
                  <a:schemeClr val="tx1">
                    <a:lumMod val="85000"/>
                    <a:lumOff val="15000"/>
                  </a:schemeClr>
                </a:solidFill>
              </a:rPr>
              <a:t>sollicitudin</a:t>
            </a:r>
            <a:r>
              <a:rPr lang="en-US" sz="1400" dirty="0">
                <a:solidFill>
                  <a:schemeClr val="tx1">
                    <a:lumMod val="85000"/>
                    <a:lumOff val="15000"/>
                  </a:schemeClr>
                </a:solidFill>
              </a:rPr>
              <a:t>, semper </a:t>
            </a:r>
            <a:r>
              <a:rPr lang="en-US" sz="1400" dirty="0" err="1">
                <a:solidFill>
                  <a:schemeClr val="tx1">
                    <a:lumMod val="85000"/>
                    <a:lumOff val="15000"/>
                  </a:schemeClr>
                </a:solidFill>
              </a:rPr>
              <a:t>fringilla</a:t>
            </a:r>
            <a:r>
              <a:rPr lang="en-US" sz="1400" dirty="0">
                <a:solidFill>
                  <a:schemeClr val="tx1">
                    <a:lumMod val="85000"/>
                    <a:lumOff val="15000"/>
                  </a:schemeClr>
                </a:solidFill>
              </a:rPr>
              <a:t> </a:t>
            </a:r>
            <a:r>
              <a:rPr lang="en-US" sz="1400" dirty="0" err="1">
                <a:solidFill>
                  <a:schemeClr val="tx1">
                    <a:lumMod val="85000"/>
                    <a:lumOff val="15000"/>
                  </a:schemeClr>
                </a:solidFill>
              </a:rPr>
              <a:t>justo</a:t>
            </a:r>
            <a:r>
              <a:rPr lang="en-US" sz="1400" dirty="0">
                <a:solidFill>
                  <a:schemeClr val="tx1">
                    <a:lumMod val="85000"/>
                    <a:lumOff val="15000"/>
                  </a:schemeClr>
                </a:solidFill>
              </a:rPr>
              <a:t>. </a:t>
            </a:r>
          </a:p>
        </p:txBody>
      </p:sp>
      <p:cxnSp>
        <p:nvCxnSpPr>
          <p:cNvPr id="170" name="Straight Connector 169">
            <a:extLst>
              <a:ext uri="{FF2B5EF4-FFF2-40B4-BE49-F238E27FC236}">
                <a16:creationId xmlns:a16="http://schemas.microsoft.com/office/drawing/2014/main" id="{6D5B5BEC-1389-43CF-B5A0-004F57C65925}"/>
              </a:ext>
            </a:extLst>
          </p:cNvPr>
          <p:cNvCxnSpPr>
            <a:cxnSpLocks/>
          </p:cNvCxnSpPr>
          <p:nvPr/>
        </p:nvCxnSpPr>
        <p:spPr>
          <a:xfrm>
            <a:off x="6605516" y="2902067"/>
            <a:ext cx="556828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2" name="Oval 171">
            <a:extLst>
              <a:ext uri="{FF2B5EF4-FFF2-40B4-BE49-F238E27FC236}">
                <a16:creationId xmlns:a16="http://schemas.microsoft.com/office/drawing/2014/main" id="{91D46AD8-D560-4E1A-A681-F28CACDABA54}"/>
              </a:ext>
            </a:extLst>
          </p:cNvPr>
          <p:cNvSpPr/>
          <p:nvPr/>
        </p:nvSpPr>
        <p:spPr>
          <a:xfrm>
            <a:off x="6605516" y="2831509"/>
            <a:ext cx="136477" cy="136477"/>
          </a:xfrm>
          <a:prstGeom prst="ellipse">
            <a:avLst/>
          </a:prstGeom>
          <a:gradFill>
            <a:gsLst>
              <a:gs pos="100000">
                <a:srgbClr val="006496"/>
              </a:gs>
              <a:gs pos="49000">
                <a:srgbClr val="0077B5"/>
              </a:gs>
            </a:gsLst>
            <a:lin ang="54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id="{8F8714EF-FA52-4E7E-8F5B-5E98A5D11D89}"/>
              </a:ext>
            </a:extLst>
          </p:cNvPr>
          <p:cNvSpPr/>
          <p:nvPr/>
        </p:nvSpPr>
        <p:spPr>
          <a:xfrm>
            <a:off x="9197900" y="2831509"/>
            <a:ext cx="136477" cy="136477"/>
          </a:xfrm>
          <a:prstGeom prst="ellipse">
            <a:avLst/>
          </a:prstGeom>
          <a:gradFill>
            <a:gsLst>
              <a:gs pos="100000">
                <a:srgbClr val="006496"/>
              </a:gs>
              <a:gs pos="49000">
                <a:srgbClr val="0077B5"/>
              </a:gs>
            </a:gsLst>
            <a:lin ang="5400000" scaled="1"/>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Text Placeholder 2">
            <a:extLst>
              <a:ext uri="{FF2B5EF4-FFF2-40B4-BE49-F238E27FC236}">
                <a16:creationId xmlns:a16="http://schemas.microsoft.com/office/drawing/2014/main" id="{F2427643-8CDA-4CA8-ABF7-88AF5B3DC220}"/>
              </a:ext>
            </a:extLst>
          </p:cNvPr>
          <p:cNvSpPr txBox="1">
            <a:spLocks/>
          </p:cNvSpPr>
          <p:nvPr/>
        </p:nvSpPr>
        <p:spPr>
          <a:xfrm>
            <a:off x="9197900" y="3209092"/>
            <a:ext cx="2375313" cy="172354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200"/>
              </a:spcAft>
              <a:buClr>
                <a:srgbClr val="008BD0"/>
              </a:buClr>
            </a:pPr>
            <a:r>
              <a:rPr lang="en-US" sz="1400" dirty="0">
                <a:solidFill>
                  <a:schemeClr val="tx1">
                    <a:lumMod val="85000"/>
                    <a:lumOff val="15000"/>
                  </a:schemeClr>
                </a:solidFill>
              </a:rPr>
              <a:t>Lorem ipsum dolor sit </a:t>
            </a:r>
            <a:r>
              <a:rPr lang="en-US" sz="1400" dirty="0" err="1">
                <a:solidFill>
                  <a:schemeClr val="tx1">
                    <a:lumMod val="85000"/>
                    <a:lumOff val="15000"/>
                  </a:schemeClr>
                </a:solidFill>
              </a:rPr>
              <a:t>amet</a:t>
            </a:r>
            <a:r>
              <a:rPr lang="en-US" sz="1400" dirty="0">
                <a:solidFill>
                  <a:schemeClr val="tx1">
                    <a:lumMod val="85000"/>
                    <a:lumOff val="15000"/>
                  </a:schemeClr>
                </a:solidFill>
              </a:rPr>
              <a:t>, </a:t>
            </a:r>
            <a:r>
              <a:rPr lang="en-US" sz="1400" dirty="0" err="1">
                <a:solidFill>
                  <a:schemeClr val="tx1">
                    <a:lumMod val="85000"/>
                    <a:lumOff val="15000"/>
                  </a:schemeClr>
                </a:solidFill>
              </a:rPr>
              <a:t>consectetur</a:t>
            </a:r>
            <a:r>
              <a:rPr lang="en-US" sz="1400" dirty="0">
                <a:solidFill>
                  <a:schemeClr val="tx1">
                    <a:lumMod val="85000"/>
                    <a:lumOff val="15000"/>
                  </a:schemeClr>
                </a:solidFill>
              </a:rPr>
              <a:t> </a:t>
            </a:r>
            <a:r>
              <a:rPr lang="en-US" sz="1400" dirty="0" err="1">
                <a:solidFill>
                  <a:schemeClr val="tx1">
                    <a:lumMod val="85000"/>
                    <a:lumOff val="15000"/>
                  </a:schemeClr>
                </a:solidFill>
              </a:rPr>
              <a:t>adipiscing</a:t>
            </a:r>
            <a:r>
              <a:rPr lang="en-US" sz="1400" dirty="0">
                <a:solidFill>
                  <a:schemeClr val="tx1">
                    <a:lumMod val="85000"/>
                    <a:lumOff val="15000"/>
                  </a:schemeClr>
                </a:solidFill>
              </a:rPr>
              <a:t> </a:t>
            </a:r>
            <a:r>
              <a:rPr lang="en-US" sz="1400" dirty="0" err="1">
                <a:solidFill>
                  <a:schemeClr val="tx1">
                    <a:lumMod val="85000"/>
                    <a:lumOff val="15000"/>
                  </a:schemeClr>
                </a:solidFill>
              </a:rPr>
              <a:t>elit</a:t>
            </a:r>
            <a:r>
              <a:rPr lang="en-US" sz="1400" dirty="0">
                <a:solidFill>
                  <a:schemeClr val="tx1">
                    <a:lumMod val="85000"/>
                    <a:lumOff val="15000"/>
                  </a:schemeClr>
                </a:solidFill>
              </a:rPr>
              <a:t>. </a:t>
            </a:r>
            <a:r>
              <a:rPr lang="en-US" sz="1400" dirty="0" err="1">
                <a:solidFill>
                  <a:schemeClr val="tx1">
                    <a:lumMod val="85000"/>
                    <a:lumOff val="15000"/>
                  </a:schemeClr>
                </a:solidFill>
              </a:rPr>
              <a:t>Aliquam</a:t>
            </a:r>
            <a:r>
              <a:rPr lang="en-US" sz="1400" dirty="0">
                <a:solidFill>
                  <a:schemeClr val="tx1">
                    <a:lumMod val="85000"/>
                    <a:lumOff val="15000"/>
                  </a:schemeClr>
                </a:solidFill>
              </a:rPr>
              <a:t> at </a:t>
            </a:r>
            <a:r>
              <a:rPr lang="en-US" sz="1400" dirty="0" err="1">
                <a:solidFill>
                  <a:schemeClr val="tx1">
                    <a:lumMod val="85000"/>
                    <a:lumOff val="15000"/>
                  </a:schemeClr>
                </a:solidFill>
              </a:rPr>
              <a:t>volutpat</a:t>
            </a:r>
            <a:r>
              <a:rPr lang="en-US" sz="1400" dirty="0">
                <a:solidFill>
                  <a:schemeClr val="tx1">
                    <a:lumMod val="85000"/>
                    <a:lumOff val="15000"/>
                  </a:schemeClr>
                </a:solidFill>
              </a:rPr>
              <a:t> </a:t>
            </a:r>
            <a:r>
              <a:rPr lang="en-US" sz="1400" dirty="0" err="1">
                <a:solidFill>
                  <a:schemeClr val="tx1">
                    <a:lumMod val="85000"/>
                    <a:lumOff val="15000"/>
                  </a:schemeClr>
                </a:solidFill>
              </a:rPr>
              <a:t>massa</a:t>
            </a:r>
            <a:r>
              <a:rPr lang="en-US" sz="1400" dirty="0">
                <a:solidFill>
                  <a:schemeClr val="tx1">
                    <a:lumMod val="85000"/>
                    <a:lumOff val="15000"/>
                  </a:schemeClr>
                </a:solidFill>
              </a:rPr>
              <a:t>, sed </a:t>
            </a:r>
            <a:r>
              <a:rPr lang="en-US" sz="1400" dirty="0" err="1">
                <a:solidFill>
                  <a:schemeClr val="tx1">
                    <a:lumMod val="85000"/>
                    <a:lumOff val="15000"/>
                  </a:schemeClr>
                </a:solidFill>
              </a:rPr>
              <a:t>congue</a:t>
            </a:r>
            <a:r>
              <a:rPr lang="en-US" sz="1400" dirty="0">
                <a:solidFill>
                  <a:schemeClr val="tx1">
                    <a:lumMod val="85000"/>
                    <a:lumOff val="15000"/>
                  </a:schemeClr>
                </a:solidFill>
              </a:rPr>
              <a:t> </a:t>
            </a:r>
            <a:r>
              <a:rPr lang="en-US" sz="1400" dirty="0" err="1">
                <a:solidFill>
                  <a:schemeClr val="tx1">
                    <a:lumMod val="85000"/>
                    <a:lumOff val="15000"/>
                  </a:schemeClr>
                </a:solidFill>
              </a:rPr>
              <a:t>lacus</a:t>
            </a:r>
            <a:r>
              <a:rPr lang="en-US" sz="1400" dirty="0">
                <a:solidFill>
                  <a:schemeClr val="tx1">
                    <a:lumMod val="85000"/>
                    <a:lumOff val="15000"/>
                  </a:schemeClr>
                </a:solidFill>
              </a:rPr>
              <a:t>. Proin </a:t>
            </a:r>
            <a:r>
              <a:rPr lang="en-US" sz="1400" dirty="0" err="1">
                <a:solidFill>
                  <a:schemeClr val="tx1">
                    <a:lumMod val="85000"/>
                    <a:lumOff val="15000"/>
                  </a:schemeClr>
                </a:solidFill>
              </a:rPr>
              <a:t>ornare</a:t>
            </a:r>
            <a:r>
              <a:rPr lang="en-US" sz="1400" dirty="0">
                <a:solidFill>
                  <a:schemeClr val="tx1">
                    <a:lumMod val="85000"/>
                    <a:lumOff val="15000"/>
                  </a:schemeClr>
                </a:solidFill>
              </a:rPr>
              <a:t> </a:t>
            </a:r>
            <a:r>
              <a:rPr lang="en-US" sz="1400" dirty="0" err="1">
                <a:solidFill>
                  <a:schemeClr val="tx1">
                    <a:lumMod val="85000"/>
                    <a:lumOff val="15000"/>
                  </a:schemeClr>
                </a:solidFill>
              </a:rPr>
              <a:t>erat</a:t>
            </a:r>
            <a:r>
              <a:rPr lang="en-US" sz="1400" dirty="0">
                <a:solidFill>
                  <a:schemeClr val="tx1">
                    <a:lumMod val="85000"/>
                    <a:lumOff val="15000"/>
                  </a:schemeClr>
                </a:solidFill>
              </a:rPr>
              <a:t> et semper </a:t>
            </a:r>
            <a:r>
              <a:rPr lang="en-US" sz="1400" dirty="0" err="1">
                <a:solidFill>
                  <a:schemeClr val="tx1">
                    <a:lumMod val="85000"/>
                    <a:lumOff val="15000"/>
                  </a:schemeClr>
                </a:solidFill>
              </a:rPr>
              <a:t>tincidunt</a:t>
            </a:r>
            <a:r>
              <a:rPr lang="en-US" sz="1400" dirty="0">
                <a:solidFill>
                  <a:schemeClr val="tx1">
                    <a:lumMod val="85000"/>
                    <a:lumOff val="15000"/>
                  </a:schemeClr>
                </a:solidFill>
              </a:rPr>
              <a:t>. Sed </a:t>
            </a:r>
            <a:r>
              <a:rPr lang="en-US" sz="1400" dirty="0" err="1">
                <a:solidFill>
                  <a:schemeClr val="tx1">
                    <a:lumMod val="85000"/>
                    <a:lumOff val="15000"/>
                  </a:schemeClr>
                </a:solidFill>
              </a:rPr>
              <a:t>orci</a:t>
            </a:r>
            <a:r>
              <a:rPr lang="en-US" sz="1400" dirty="0">
                <a:solidFill>
                  <a:schemeClr val="tx1">
                    <a:lumMod val="85000"/>
                    <a:lumOff val="15000"/>
                  </a:schemeClr>
                </a:solidFill>
              </a:rPr>
              <a:t> </a:t>
            </a:r>
            <a:r>
              <a:rPr lang="en-US" sz="1400" dirty="0" err="1">
                <a:solidFill>
                  <a:schemeClr val="tx1">
                    <a:lumMod val="85000"/>
                    <a:lumOff val="15000"/>
                  </a:schemeClr>
                </a:solidFill>
              </a:rPr>
              <a:t>enim</a:t>
            </a:r>
            <a:r>
              <a:rPr lang="en-US" sz="1400" dirty="0">
                <a:solidFill>
                  <a:schemeClr val="tx1">
                    <a:lumMod val="85000"/>
                    <a:lumOff val="15000"/>
                  </a:schemeClr>
                </a:solidFill>
              </a:rPr>
              <a:t>, </a:t>
            </a:r>
            <a:r>
              <a:rPr lang="en-US" sz="1400" dirty="0" err="1">
                <a:solidFill>
                  <a:schemeClr val="tx1">
                    <a:lumMod val="85000"/>
                    <a:lumOff val="15000"/>
                  </a:schemeClr>
                </a:solidFill>
              </a:rPr>
              <a:t>egestas</a:t>
            </a:r>
            <a:r>
              <a:rPr lang="en-US" sz="1400" dirty="0">
                <a:solidFill>
                  <a:schemeClr val="tx1">
                    <a:lumMod val="85000"/>
                    <a:lumOff val="15000"/>
                  </a:schemeClr>
                </a:solidFill>
              </a:rPr>
              <a:t> </a:t>
            </a:r>
            <a:r>
              <a:rPr lang="en-US" sz="1400" dirty="0" err="1">
                <a:solidFill>
                  <a:schemeClr val="tx1">
                    <a:lumMod val="85000"/>
                    <a:lumOff val="15000"/>
                  </a:schemeClr>
                </a:solidFill>
              </a:rPr>
              <a:t>quis</a:t>
            </a:r>
            <a:r>
              <a:rPr lang="en-US" sz="1400" dirty="0">
                <a:solidFill>
                  <a:schemeClr val="tx1">
                    <a:lumMod val="85000"/>
                    <a:lumOff val="15000"/>
                  </a:schemeClr>
                </a:solidFill>
              </a:rPr>
              <a:t> </a:t>
            </a:r>
            <a:r>
              <a:rPr lang="en-US" sz="1400" dirty="0" err="1">
                <a:solidFill>
                  <a:schemeClr val="tx1">
                    <a:lumMod val="85000"/>
                    <a:lumOff val="15000"/>
                  </a:schemeClr>
                </a:solidFill>
              </a:rPr>
              <a:t>lectus</a:t>
            </a:r>
            <a:r>
              <a:rPr lang="en-US" sz="1400" dirty="0">
                <a:solidFill>
                  <a:schemeClr val="tx1">
                    <a:lumMod val="85000"/>
                    <a:lumOff val="15000"/>
                  </a:schemeClr>
                </a:solidFill>
              </a:rPr>
              <a:t> </a:t>
            </a:r>
            <a:r>
              <a:rPr lang="en-US" sz="1400" dirty="0" err="1">
                <a:solidFill>
                  <a:schemeClr val="tx1">
                    <a:lumMod val="85000"/>
                    <a:lumOff val="15000"/>
                  </a:schemeClr>
                </a:solidFill>
              </a:rPr>
              <a:t>sollicitudin</a:t>
            </a:r>
            <a:r>
              <a:rPr lang="en-US" sz="1400" dirty="0">
                <a:solidFill>
                  <a:schemeClr val="tx1">
                    <a:lumMod val="85000"/>
                    <a:lumOff val="15000"/>
                  </a:schemeClr>
                </a:solidFill>
              </a:rPr>
              <a:t>, semper </a:t>
            </a:r>
            <a:r>
              <a:rPr lang="en-US" sz="1400" dirty="0" err="1">
                <a:solidFill>
                  <a:schemeClr val="tx1">
                    <a:lumMod val="85000"/>
                    <a:lumOff val="15000"/>
                  </a:schemeClr>
                </a:solidFill>
              </a:rPr>
              <a:t>fringilla</a:t>
            </a:r>
            <a:r>
              <a:rPr lang="en-US" sz="1400" dirty="0">
                <a:solidFill>
                  <a:schemeClr val="tx1">
                    <a:lumMod val="85000"/>
                    <a:lumOff val="15000"/>
                  </a:schemeClr>
                </a:solidFill>
              </a:rPr>
              <a:t> </a:t>
            </a:r>
            <a:r>
              <a:rPr lang="en-US" sz="1400" dirty="0" err="1">
                <a:solidFill>
                  <a:schemeClr val="tx1">
                    <a:lumMod val="85000"/>
                    <a:lumOff val="15000"/>
                  </a:schemeClr>
                </a:solidFill>
              </a:rPr>
              <a:t>justo</a:t>
            </a:r>
            <a:r>
              <a:rPr lang="en-US" sz="1400" dirty="0">
                <a:solidFill>
                  <a:schemeClr val="tx1">
                    <a:lumMod val="85000"/>
                    <a:lumOff val="15000"/>
                  </a:schemeClr>
                </a:solidFill>
              </a:rPr>
              <a:t>. </a:t>
            </a:r>
          </a:p>
        </p:txBody>
      </p:sp>
      <p:sp>
        <p:nvSpPr>
          <p:cNvPr id="180" name="Freeform: Shape 179">
            <a:extLst>
              <a:ext uri="{FF2B5EF4-FFF2-40B4-BE49-F238E27FC236}">
                <a16:creationId xmlns:a16="http://schemas.microsoft.com/office/drawing/2014/main" id="{85552944-D54D-49FA-8598-2A1C50173BB6}"/>
              </a:ext>
            </a:extLst>
          </p:cNvPr>
          <p:cNvSpPr/>
          <p:nvPr/>
        </p:nvSpPr>
        <p:spPr>
          <a:xfrm>
            <a:off x="8167114" y="0"/>
            <a:ext cx="4024887" cy="379240"/>
          </a:xfrm>
          <a:custGeom>
            <a:avLst/>
            <a:gdLst>
              <a:gd name="connsiteX0" fmla="*/ 0 w 4024887"/>
              <a:gd name="connsiteY0" fmla="*/ 0 h 379240"/>
              <a:gd name="connsiteX1" fmla="*/ 4024887 w 4024887"/>
              <a:gd name="connsiteY1" fmla="*/ 0 h 379240"/>
              <a:gd name="connsiteX2" fmla="*/ 4024887 w 4024887"/>
              <a:gd name="connsiteY2" fmla="*/ 379240 h 379240"/>
              <a:gd name="connsiteX3" fmla="*/ 3978602 w 4024887"/>
              <a:gd name="connsiteY3" fmla="*/ 361504 h 379240"/>
              <a:gd name="connsiteX4" fmla="*/ 3396237 w 4024887"/>
              <a:gd name="connsiteY4" fmla="*/ 190500 h 379240"/>
              <a:gd name="connsiteX5" fmla="*/ 1929387 w 4024887"/>
              <a:gd name="connsiteY5" fmla="*/ 323850 h 379240"/>
              <a:gd name="connsiteX6" fmla="*/ 170834 w 4024887"/>
              <a:gd name="connsiteY6" fmla="*/ 34528 h 379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4887" h="379240">
                <a:moveTo>
                  <a:pt x="0" y="0"/>
                </a:moveTo>
                <a:lnTo>
                  <a:pt x="4024887" y="0"/>
                </a:lnTo>
                <a:lnTo>
                  <a:pt x="4024887" y="379240"/>
                </a:lnTo>
                <a:lnTo>
                  <a:pt x="3978602" y="361504"/>
                </a:lnTo>
                <a:cubicBezTo>
                  <a:pt x="3753226" y="279003"/>
                  <a:pt x="3547050" y="213519"/>
                  <a:pt x="3396237" y="190500"/>
                </a:cubicBezTo>
                <a:cubicBezTo>
                  <a:pt x="2792987" y="98425"/>
                  <a:pt x="2691387" y="403225"/>
                  <a:pt x="1929387" y="323850"/>
                </a:cubicBezTo>
                <a:cubicBezTo>
                  <a:pt x="1548387" y="284163"/>
                  <a:pt x="825281" y="161925"/>
                  <a:pt x="170834" y="34528"/>
                </a:cubicBezTo>
                <a:close/>
              </a:path>
            </a:pathLst>
          </a:custGeom>
          <a:gradFill>
            <a:gsLst>
              <a:gs pos="100000">
                <a:srgbClr val="006496"/>
              </a:gs>
              <a:gs pos="49000">
                <a:srgbClr val="0077B5"/>
              </a:gs>
            </a:gsLst>
            <a:lin ang="5400000" scaled="1"/>
          </a:gra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1" name="Slide Number Placeholder 180">
            <a:extLst>
              <a:ext uri="{FF2B5EF4-FFF2-40B4-BE49-F238E27FC236}">
                <a16:creationId xmlns:a16="http://schemas.microsoft.com/office/drawing/2014/main" id="{8C432FB1-6D73-4D64-BC24-0243D0ADB787}"/>
              </a:ext>
            </a:extLst>
          </p:cNvPr>
          <p:cNvSpPr>
            <a:spLocks noGrp="1"/>
          </p:cNvSpPr>
          <p:nvPr>
            <p:ph type="sldNum" sz="quarter" idx="12"/>
          </p:nvPr>
        </p:nvSpPr>
        <p:spPr/>
        <p:txBody>
          <a:bodyPr/>
          <a:lstStyle/>
          <a:p>
            <a:fld id="{89CD6E39-4852-418B-BA35-BEEEB494AB9E}" type="slidenum">
              <a:rPr lang="en-US" smtClean="0"/>
              <a:t>2</a:t>
            </a:fld>
            <a:endParaRPr lang="en-US"/>
          </a:p>
        </p:txBody>
      </p:sp>
    </p:spTree>
    <p:extLst>
      <p:ext uri="{BB962C8B-B14F-4D97-AF65-F5344CB8AC3E}">
        <p14:creationId xmlns:p14="http://schemas.microsoft.com/office/powerpoint/2010/main" val="37614334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016"/>
        <p:cNvGrpSpPr/>
        <p:nvPr/>
      </p:nvGrpSpPr>
      <p:grpSpPr>
        <a:xfrm>
          <a:off x="0" y="0"/>
          <a:ext cx="0" cy="0"/>
          <a:chOff x="0" y="0"/>
          <a:chExt cx="0" cy="0"/>
        </a:xfrm>
      </p:grpSpPr>
      <p:sp>
        <p:nvSpPr>
          <p:cNvPr id="7017" name="Google Shape;7017;p74"/>
          <p:cNvSpPr txBox="1">
            <a:spLocks noGrp="1"/>
          </p:cNvSpPr>
          <p:nvPr>
            <p:ph type="title" idx="4294967295"/>
          </p:nvPr>
        </p:nvSpPr>
        <p:spPr>
          <a:xfrm>
            <a:off x="1132900"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chemeClr val="lt1"/>
                </a:solidFill>
                <a:latin typeface="Arial"/>
                <a:ea typeface="Arial"/>
                <a:cs typeface="Arial"/>
                <a:sym typeface="Arial"/>
              </a:rPr>
              <a:t>Help &amp; Support </a:t>
            </a:r>
            <a:r>
              <a:rPr lang="en">
                <a:latin typeface="Arial"/>
                <a:ea typeface="Arial"/>
                <a:cs typeface="Arial"/>
                <a:sym typeface="Arial"/>
              </a:rPr>
              <a:t>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7018" name="Google Shape;7018;p74"/>
          <p:cNvSpPr txBox="1">
            <a:spLocks noGrp="1"/>
          </p:cNvSpPr>
          <p:nvPr>
            <p:ph type="title" idx="4294967295"/>
          </p:nvPr>
        </p:nvSpPr>
        <p:spPr>
          <a:xfrm>
            <a:off x="6477867"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Avatar Icons</a:t>
            </a:r>
            <a:endParaRPr>
              <a:solidFill>
                <a:srgbClr val="FFFFFF"/>
              </a:solidFill>
              <a:latin typeface="Arial"/>
              <a:ea typeface="Arial"/>
              <a:cs typeface="Arial"/>
              <a:sym typeface="Arial"/>
            </a:endParaRPr>
          </a:p>
        </p:txBody>
      </p:sp>
      <p:grpSp>
        <p:nvGrpSpPr>
          <p:cNvPr id="7019" name="Google Shape;7019;p74"/>
          <p:cNvGrpSpPr/>
          <p:nvPr/>
        </p:nvGrpSpPr>
        <p:grpSpPr>
          <a:xfrm>
            <a:off x="1177276" y="2045934"/>
            <a:ext cx="389923" cy="474321"/>
            <a:chOff x="-35830350" y="1912725"/>
            <a:chExt cx="241050" cy="293225"/>
          </a:xfrm>
        </p:grpSpPr>
        <p:sp>
          <p:nvSpPr>
            <p:cNvPr id="7020" name="Google Shape;7020;p74"/>
            <p:cNvSpPr/>
            <p:nvPr/>
          </p:nvSpPr>
          <p:spPr>
            <a:xfrm>
              <a:off x="-35830350" y="1912725"/>
              <a:ext cx="241050" cy="293225"/>
            </a:xfrm>
            <a:custGeom>
              <a:avLst/>
              <a:gdLst/>
              <a:ahLst/>
              <a:cxnLst/>
              <a:rect l="l" t="t" r="r" b="b"/>
              <a:pathLst>
                <a:path w="9642" h="11729" extrusionOk="0">
                  <a:moveTo>
                    <a:pt x="8665" y="694"/>
                  </a:moveTo>
                  <a:cubicBezTo>
                    <a:pt x="8822" y="726"/>
                    <a:pt x="8980" y="883"/>
                    <a:pt x="8980" y="1041"/>
                  </a:cubicBezTo>
                  <a:lnTo>
                    <a:pt x="8980" y="7562"/>
                  </a:lnTo>
                  <a:lnTo>
                    <a:pt x="2836" y="7562"/>
                  </a:lnTo>
                  <a:lnTo>
                    <a:pt x="2836" y="694"/>
                  </a:lnTo>
                  <a:close/>
                  <a:moveTo>
                    <a:pt x="2175" y="726"/>
                  </a:moveTo>
                  <a:lnTo>
                    <a:pt x="2175" y="7625"/>
                  </a:lnTo>
                  <a:lnTo>
                    <a:pt x="1828" y="7625"/>
                  </a:lnTo>
                  <a:cubicBezTo>
                    <a:pt x="1450" y="7625"/>
                    <a:pt x="1072" y="7720"/>
                    <a:pt x="788" y="7972"/>
                  </a:cubicBezTo>
                  <a:lnTo>
                    <a:pt x="788" y="1797"/>
                  </a:lnTo>
                  <a:cubicBezTo>
                    <a:pt x="788" y="1198"/>
                    <a:pt x="1261" y="726"/>
                    <a:pt x="1828" y="726"/>
                  </a:cubicBezTo>
                  <a:close/>
                  <a:moveTo>
                    <a:pt x="8791" y="8287"/>
                  </a:moveTo>
                  <a:cubicBezTo>
                    <a:pt x="8696" y="8507"/>
                    <a:pt x="8665" y="8759"/>
                    <a:pt x="8633" y="8948"/>
                  </a:cubicBezTo>
                  <a:lnTo>
                    <a:pt x="1734" y="8948"/>
                  </a:lnTo>
                  <a:cubicBezTo>
                    <a:pt x="1545" y="8948"/>
                    <a:pt x="1387" y="9106"/>
                    <a:pt x="1387" y="9295"/>
                  </a:cubicBezTo>
                  <a:cubicBezTo>
                    <a:pt x="1387" y="9515"/>
                    <a:pt x="1545" y="9673"/>
                    <a:pt x="1734" y="9673"/>
                  </a:cubicBezTo>
                  <a:lnTo>
                    <a:pt x="4821" y="9673"/>
                  </a:lnTo>
                  <a:lnTo>
                    <a:pt x="4821" y="10335"/>
                  </a:lnTo>
                  <a:lnTo>
                    <a:pt x="1860" y="10335"/>
                  </a:lnTo>
                  <a:cubicBezTo>
                    <a:pt x="1293" y="10335"/>
                    <a:pt x="757" y="9925"/>
                    <a:pt x="757" y="9295"/>
                  </a:cubicBezTo>
                  <a:cubicBezTo>
                    <a:pt x="757" y="8728"/>
                    <a:pt x="1230" y="8287"/>
                    <a:pt x="1765" y="8287"/>
                  </a:cubicBezTo>
                  <a:close/>
                  <a:moveTo>
                    <a:pt x="8665" y="9673"/>
                  </a:moveTo>
                  <a:cubicBezTo>
                    <a:pt x="8696" y="9894"/>
                    <a:pt x="8759" y="10146"/>
                    <a:pt x="8822" y="10335"/>
                  </a:cubicBezTo>
                  <a:lnTo>
                    <a:pt x="7594" y="10335"/>
                  </a:lnTo>
                  <a:lnTo>
                    <a:pt x="7594" y="9673"/>
                  </a:lnTo>
                  <a:close/>
                  <a:moveTo>
                    <a:pt x="6900" y="9673"/>
                  </a:moveTo>
                  <a:lnTo>
                    <a:pt x="6900" y="10693"/>
                  </a:lnTo>
                  <a:lnTo>
                    <a:pt x="6428" y="10398"/>
                  </a:lnTo>
                  <a:cubicBezTo>
                    <a:pt x="6396" y="10366"/>
                    <a:pt x="6302" y="10366"/>
                    <a:pt x="6239" y="10366"/>
                  </a:cubicBezTo>
                  <a:cubicBezTo>
                    <a:pt x="6144" y="10366"/>
                    <a:pt x="6113" y="10366"/>
                    <a:pt x="6018" y="10398"/>
                  </a:cubicBezTo>
                  <a:lnTo>
                    <a:pt x="5514" y="10713"/>
                  </a:lnTo>
                  <a:lnTo>
                    <a:pt x="5514" y="9673"/>
                  </a:lnTo>
                  <a:close/>
                  <a:moveTo>
                    <a:pt x="1734" y="1"/>
                  </a:moveTo>
                  <a:cubicBezTo>
                    <a:pt x="1261" y="1"/>
                    <a:pt x="820" y="222"/>
                    <a:pt x="505" y="537"/>
                  </a:cubicBezTo>
                  <a:cubicBezTo>
                    <a:pt x="190" y="820"/>
                    <a:pt x="1" y="1261"/>
                    <a:pt x="1" y="1734"/>
                  </a:cubicBezTo>
                  <a:lnTo>
                    <a:pt x="1" y="9295"/>
                  </a:lnTo>
                  <a:cubicBezTo>
                    <a:pt x="95" y="10272"/>
                    <a:pt x="946" y="10996"/>
                    <a:pt x="1860" y="10996"/>
                  </a:cubicBezTo>
                  <a:lnTo>
                    <a:pt x="4853" y="10996"/>
                  </a:lnTo>
                  <a:lnTo>
                    <a:pt x="4853" y="11343"/>
                  </a:lnTo>
                  <a:cubicBezTo>
                    <a:pt x="4853" y="11469"/>
                    <a:pt x="4916" y="11595"/>
                    <a:pt x="5042" y="11658"/>
                  </a:cubicBezTo>
                  <a:cubicBezTo>
                    <a:pt x="5099" y="11700"/>
                    <a:pt x="5155" y="11717"/>
                    <a:pt x="5209" y="11717"/>
                  </a:cubicBezTo>
                  <a:cubicBezTo>
                    <a:pt x="5275" y="11717"/>
                    <a:pt x="5336" y="11692"/>
                    <a:pt x="5388" y="11658"/>
                  </a:cubicBezTo>
                  <a:lnTo>
                    <a:pt x="6239" y="11122"/>
                  </a:lnTo>
                  <a:lnTo>
                    <a:pt x="7058" y="11658"/>
                  </a:lnTo>
                  <a:cubicBezTo>
                    <a:pt x="7121" y="11705"/>
                    <a:pt x="7176" y="11729"/>
                    <a:pt x="7231" y="11729"/>
                  </a:cubicBezTo>
                  <a:cubicBezTo>
                    <a:pt x="7286" y="11729"/>
                    <a:pt x="7342" y="11705"/>
                    <a:pt x="7405" y="11658"/>
                  </a:cubicBezTo>
                  <a:cubicBezTo>
                    <a:pt x="7531" y="11595"/>
                    <a:pt x="7594" y="11500"/>
                    <a:pt x="7594" y="11343"/>
                  </a:cubicBezTo>
                  <a:lnTo>
                    <a:pt x="7594" y="10996"/>
                  </a:lnTo>
                  <a:lnTo>
                    <a:pt x="9295" y="10996"/>
                  </a:lnTo>
                  <a:cubicBezTo>
                    <a:pt x="9421" y="10996"/>
                    <a:pt x="9547" y="10933"/>
                    <a:pt x="9578" y="10839"/>
                  </a:cubicBezTo>
                  <a:cubicBezTo>
                    <a:pt x="9641" y="10713"/>
                    <a:pt x="9641" y="10618"/>
                    <a:pt x="9578" y="10524"/>
                  </a:cubicBezTo>
                  <a:cubicBezTo>
                    <a:pt x="9169" y="9767"/>
                    <a:pt x="9169" y="8885"/>
                    <a:pt x="9578" y="8098"/>
                  </a:cubicBezTo>
                  <a:cubicBezTo>
                    <a:pt x="9610" y="8035"/>
                    <a:pt x="9610" y="8003"/>
                    <a:pt x="9610" y="7909"/>
                  </a:cubicBezTo>
                  <a:lnTo>
                    <a:pt x="9610" y="1041"/>
                  </a:lnTo>
                  <a:cubicBezTo>
                    <a:pt x="9610" y="474"/>
                    <a:pt x="9137" y="1"/>
                    <a:pt x="86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1" name="Google Shape;7021;p74"/>
            <p:cNvSpPr/>
            <p:nvPr/>
          </p:nvSpPr>
          <p:spPr>
            <a:xfrm>
              <a:off x="-35742925" y="1965500"/>
              <a:ext cx="120550" cy="119750"/>
            </a:xfrm>
            <a:custGeom>
              <a:avLst/>
              <a:gdLst/>
              <a:ahLst/>
              <a:cxnLst/>
              <a:rect l="l" t="t" r="r" b="b"/>
              <a:pathLst>
                <a:path w="4822" h="4790" extrusionOk="0">
                  <a:moveTo>
                    <a:pt x="2364" y="694"/>
                  </a:moveTo>
                  <a:cubicBezTo>
                    <a:pt x="2773" y="694"/>
                    <a:pt x="3057" y="1009"/>
                    <a:pt x="3057" y="1356"/>
                  </a:cubicBezTo>
                  <a:cubicBezTo>
                    <a:pt x="3057" y="1765"/>
                    <a:pt x="2742" y="2049"/>
                    <a:pt x="2364" y="2049"/>
                  </a:cubicBezTo>
                  <a:cubicBezTo>
                    <a:pt x="2348" y="2050"/>
                    <a:pt x="2332" y="2051"/>
                    <a:pt x="2316" y="2051"/>
                  </a:cubicBezTo>
                  <a:cubicBezTo>
                    <a:pt x="1989" y="2051"/>
                    <a:pt x="1702" y="1746"/>
                    <a:pt x="1702" y="1356"/>
                  </a:cubicBezTo>
                  <a:cubicBezTo>
                    <a:pt x="1702" y="977"/>
                    <a:pt x="2017" y="694"/>
                    <a:pt x="2364" y="694"/>
                  </a:cubicBezTo>
                  <a:close/>
                  <a:moveTo>
                    <a:pt x="2427" y="2742"/>
                  </a:moveTo>
                  <a:cubicBezTo>
                    <a:pt x="3246" y="2742"/>
                    <a:pt x="3939" y="3340"/>
                    <a:pt x="4097" y="4128"/>
                  </a:cubicBezTo>
                  <a:lnTo>
                    <a:pt x="757" y="4128"/>
                  </a:lnTo>
                  <a:cubicBezTo>
                    <a:pt x="883" y="3340"/>
                    <a:pt x="1576" y="2742"/>
                    <a:pt x="2427" y="2742"/>
                  </a:cubicBezTo>
                  <a:close/>
                  <a:moveTo>
                    <a:pt x="2427" y="1"/>
                  </a:moveTo>
                  <a:cubicBezTo>
                    <a:pt x="1671" y="1"/>
                    <a:pt x="1041" y="599"/>
                    <a:pt x="1041" y="1356"/>
                  </a:cubicBezTo>
                  <a:cubicBezTo>
                    <a:pt x="1041" y="1734"/>
                    <a:pt x="1167" y="2049"/>
                    <a:pt x="1387" y="2269"/>
                  </a:cubicBezTo>
                  <a:cubicBezTo>
                    <a:pt x="568" y="2647"/>
                    <a:pt x="32" y="3498"/>
                    <a:pt x="32" y="4443"/>
                  </a:cubicBezTo>
                  <a:cubicBezTo>
                    <a:pt x="1" y="4632"/>
                    <a:pt x="158" y="4790"/>
                    <a:pt x="379" y="4790"/>
                  </a:cubicBezTo>
                  <a:lnTo>
                    <a:pt x="4475" y="4790"/>
                  </a:lnTo>
                  <a:cubicBezTo>
                    <a:pt x="4664" y="4790"/>
                    <a:pt x="4821" y="4632"/>
                    <a:pt x="4821" y="4443"/>
                  </a:cubicBezTo>
                  <a:cubicBezTo>
                    <a:pt x="4821" y="3498"/>
                    <a:pt x="4254" y="2647"/>
                    <a:pt x="3435" y="2269"/>
                  </a:cubicBezTo>
                  <a:cubicBezTo>
                    <a:pt x="3687" y="2049"/>
                    <a:pt x="3813" y="1702"/>
                    <a:pt x="3813" y="1356"/>
                  </a:cubicBezTo>
                  <a:cubicBezTo>
                    <a:pt x="3813" y="599"/>
                    <a:pt x="3183" y="1"/>
                    <a:pt x="24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22" name="Google Shape;7022;p74"/>
          <p:cNvGrpSpPr/>
          <p:nvPr/>
        </p:nvGrpSpPr>
        <p:grpSpPr>
          <a:xfrm>
            <a:off x="1135259" y="2658732"/>
            <a:ext cx="473957" cy="471449"/>
            <a:chOff x="-35854750" y="2272675"/>
            <a:chExt cx="293000" cy="291450"/>
          </a:xfrm>
        </p:grpSpPr>
        <p:sp>
          <p:nvSpPr>
            <p:cNvPr id="7023" name="Google Shape;7023;p74"/>
            <p:cNvSpPr/>
            <p:nvPr/>
          </p:nvSpPr>
          <p:spPr>
            <a:xfrm>
              <a:off x="-35854750" y="2272675"/>
              <a:ext cx="293000" cy="291450"/>
            </a:xfrm>
            <a:custGeom>
              <a:avLst/>
              <a:gdLst/>
              <a:ahLst/>
              <a:cxnLst/>
              <a:rect l="l" t="t" r="r" b="b"/>
              <a:pathLst>
                <a:path w="11720" h="11658" extrusionOk="0">
                  <a:moveTo>
                    <a:pt x="5844" y="654"/>
                  </a:moveTo>
                  <a:cubicBezTo>
                    <a:pt x="6144" y="654"/>
                    <a:pt x="6443" y="773"/>
                    <a:pt x="6679" y="1009"/>
                  </a:cubicBezTo>
                  <a:lnTo>
                    <a:pt x="7057" y="1355"/>
                  </a:lnTo>
                  <a:lnTo>
                    <a:pt x="4600" y="1355"/>
                  </a:lnTo>
                  <a:lnTo>
                    <a:pt x="5009" y="1009"/>
                  </a:lnTo>
                  <a:cubicBezTo>
                    <a:pt x="5246" y="773"/>
                    <a:pt x="5545" y="654"/>
                    <a:pt x="5844" y="654"/>
                  </a:cubicBezTo>
                  <a:close/>
                  <a:moveTo>
                    <a:pt x="2080" y="3939"/>
                  </a:moveTo>
                  <a:lnTo>
                    <a:pt x="2080" y="6365"/>
                  </a:lnTo>
                  <a:lnTo>
                    <a:pt x="819" y="5136"/>
                  </a:lnTo>
                  <a:lnTo>
                    <a:pt x="2080" y="3939"/>
                  </a:lnTo>
                  <a:close/>
                  <a:moveTo>
                    <a:pt x="9609" y="3876"/>
                  </a:moveTo>
                  <a:lnTo>
                    <a:pt x="10869" y="5136"/>
                  </a:lnTo>
                  <a:lnTo>
                    <a:pt x="9609" y="6365"/>
                  </a:lnTo>
                  <a:lnTo>
                    <a:pt x="9609" y="3876"/>
                  </a:lnTo>
                  <a:close/>
                  <a:moveTo>
                    <a:pt x="8570" y="2080"/>
                  </a:moveTo>
                  <a:cubicBezTo>
                    <a:pt x="8790" y="2080"/>
                    <a:pt x="8948" y="2238"/>
                    <a:pt x="8948" y="2427"/>
                  </a:cubicBezTo>
                  <a:lnTo>
                    <a:pt x="8948" y="7089"/>
                  </a:lnTo>
                  <a:lnTo>
                    <a:pt x="8286" y="7751"/>
                  </a:lnTo>
                  <a:cubicBezTo>
                    <a:pt x="7593" y="7152"/>
                    <a:pt x="6774" y="6837"/>
                    <a:pt x="5860" y="6837"/>
                  </a:cubicBezTo>
                  <a:cubicBezTo>
                    <a:pt x="4978" y="6837"/>
                    <a:pt x="4127" y="7152"/>
                    <a:pt x="3466" y="7751"/>
                  </a:cubicBezTo>
                  <a:lnTo>
                    <a:pt x="2804" y="7089"/>
                  </a:lnTo>
                  <a:lnTo>
                    <a:pt x="2804" y="2427"/>
                  </a:lnTo>
                  <a:cubicBezTo>
                    <a:pt x="2804" y="2238"/>
                    <a:pt x="2962" y="2080"/>
                    <a:pt x="3119" y="2080"/>
                  </a:cubicBezTo>
                  <a:close/>
                  <a:moveTo>
                    <a:pt x="693" y="5987"/>
                  </a:moveTo>
                  <a:lnTo>
                    <a:pt x="2993" y="8223"/>
                  </a:lnTo>
                  <a:lnTo>
                    <a:pt x="693" y="10492"/>
                  </a:lnTo>
                  <a:lnTo>
                    <a:pt x="693" y="5987"/>
                  </a:lnTo>
                  <a:close/>
                  <a:moveTo>
                    <a:pt x="11027" y="5987"/>
                  </a:moveTo>
                  <a:lnTo>
                    <a:pt x="11027" y="10492"/>
                  </a:lnTo>
                  <a:lnTo>
                    <a:pt x="8727" y="8223"/>
                  </a:lnTo>
                  <a:lnTo>
                    <a:pt x="11027" y="5987"/>
                  </a:lnTo>
                  <a:close/>
                  <a:moveTo>
                    <a:pt x="5829" y="7499"/>
                  </a:moveTo>
                  <a:cubicBezTo>
                    <a:pt x="6616" y="7499"/>
                    <a:pt x="7309" y="7814"/>
                    <a:pt x="7876" y="8381"/>
                  </a:cubicBezTo>
                  <a:lnTo>
                    <a:pt x="10523" y="10964"/>
                  </a:lnTo>
                  <a:lnTo>
                    <a:pt x="1166" y="10964"/>
                  </a:lnTo>
                  <a:lnTo>
                    <a:pt x="3781" y="8381"/>
                  </a:lnTo>
                  <a:cubicBezTo>
                    <a:pt x="4316" y="7814"/>
                    <a:pt x="5041" y="7499"/>
                    <a:pt x="5829" y="7499"/>
                  </a:cubicBezTo>
                  <a:close/>
                  <a:moveTo>
                    <a:pt x="5864" y="1"/>
                  </a:moveTo>
                  <a:cubicBezTo>
                    <a:pt x="5380" y="1"/>
                    <a:pt x="4899" y="190"/>
                    <a:pt x="4537" y="568"/>
                  </a:cubicBezTo>
                  <a:lnTo>
                    <a:pt x="3655" y="1387"/>
                  </a:lnTo>
                  <a:lnTo>
                    <a:pt x="3119" y="1387"/>
                  </a:lnTo>
                  <a:cubicBezTo>
                    <a:pt x="2552" y="1387"/>
                    <a:pt x="2080" y="1859"/>
                    <a:pt x="2080" y="2427"/>
                  </a:cubicBezTo>
                  <a:lnTo>
                    <a:pt x="2080" y="2962"/>
                  </a:lnTo>
                  <a:lnTo>
                    <a:pt x="315" y="4726"/>
                  </a:lnTo>
                  <a:cubicBezTo>
                    <a:pt x="126" y="4915"/>
                    <a:pt x="0" y="5136"/>
                    <a:pt x="0" y="5420"/>
                  </a:cubicBezTo>
                  <a:lnTo>
                    <a:pt x="0" y="10618"/>
                  </a:lnTo>
                  <a:cubicBezTo>
                    <a:pt x="32" y="11216"/>
                    <a:pt x="473" y="11657"/>
                    <a:pt x="1071" y="11657"/>
                  </a:cubicBezTo>
                  <a:lnTo>
                    <a:pt x="10680" y="11657"/>
                  </a:lnTo>
                  <a:cubicBezTo>
                    <a:pt x="11216" y="11657"/>
                    <a:pt x="11720" y="11185"/>
                    <a:pt x="11720" y="10618"/>
                  </a:cubicBezTo>
                  <a:lnTo>
                    <a:pt x="11720" y="5420"/>
                  </a:lnTo>
                  <a:cubicBezTo>
                    <a:pt x="11720" y="5136"/>
                    <a:pt x="11626" y="4915"/>
                    <a:pt x="11405" y="4726"/>
                  </a:cubicBezTo>
                  <a:lnTo>
                    <a:pt x="9641" y="2962"/>
                  </a:lnTo>
                  <a:lnTo>
                    <a:pt x="9641" y="2427"/>
                  </a:lnTo>
                  <a:cubicBezTo>
                    <a:pt x="9641" y="1859"/>
                    <a:pt x="9168" y="1387"/>
                    <a:pt x="8633" y="1387"/>
                  </a:cubicBezTo>
                  <a:lnTo>
                    <a:pt x="8065" y="1387"/>
                  </a:lnTo>
                  <a:lnTo>
                    <a:pt x="7215" y="568"/>
                  </a:lnTo>
                  <a:cubicBezTo>
                    <a:pt x="6837" y="190"/>
                    <a:pt x="6348" y="1"/>
                    <a:pt x="58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4" name="Google Shape;7024;p74"/>
            <p:cNvSpPr/>
            <p:nvPr/>
          </p:nvSpPr>
          <p:spPr>
            <a:xfrm>
              <a:off x="-35733475" y="2340425"/>
              <a:ext cx="51225" cy="68550"/>
            </a:xfrm>
            <a:custGeom>
              <a:avLst/>
              <a:gdLst/>
              <a:ahLst/>
              <a:cxnLst/>
              <a:rect l="l" t="t" r="r" b="b"/>
              <a:pathLst>
                <a:path w="2049" h="2742" extrusionOk="0">
                  <a:moveTo>
                    <a:pt x="1009" y="0"/>
                  </a:moveTo>
                  <a:cubicBezTo>
                    <a:pt x="474" y="0"/>
                    <a:pt x="1" y="473"/>
                    <a:pt x="1" y="1008"/>
                  </a:cubicBezTo>
                  <a:cubicBezTo>
                    <a:pt x="1" y="1260"/>
                    <a:pt x="158" y="1418"/>
                    <a:pt x="316" y="1418"/>
                  </a:cubicBezTo>
                  <a:cubicBezTo>
                    <a:pt x="505" y="1418"/>
                    <a:pt x="663" y="1260"/>
                    <a:pt x="663" y="1040"/>
                  </a:cubicBezTo>
                  <a:cubicBezTo>
                    <a:pt x="663" y="851"/>
                    <a:pt x="820" y="693"/>
                    <a:pt x="1009" y="693"/>
                  </a:cubicBezTo>
                  <a:cubicBezTo>
                    <a:pt x="1198" y="693"/>
                    <a:pt x="1356" y="851"/>
                    <a:pt x="1356" y="1040"/>
                  </a:cubicBezTo>
                  <a:cubicBezTo>
                    <a:pt x="1356" y="1229"/>
                    <a:pt x="1293" y="1323"/>
                    <a:pt x="1135" y="1386"/>
                  </a:cubicBezTo>
                  <a:cubicBezTo>
                    <a:pt x="852" y="1449"/>
                    <a:pt x="663" y="1733"/>
                    <a:pt x="663" y="2016"/>
                  </a:cubicBezTo>
                  <a:lnTo>
                    <a:pt x="663" y="2394"/>
                  </a:lnTo>
                  <a:cubicBezTo>
                    <a:pt x="663" y="2583"/>
                    <a:pt x="820" y="2741"/>
                    <a:pt x="1009" y="2741"/>
                  </a:cubicBezTo>
                  <a:cubicBezTo>
                    <a:pt x="1230" y="2741"/>
                    <a:pt x="1387" y="2583"/>
                    <a:pt x="1387" y="2394"/>
                  </a:cubicBezTo>
                  <a:lnTo>
                    <a:pt x="1387" y="2016"/>
                  </a:lnTo>
                  <a:cubicBezTo>
                    <a:pt x="1765" y="1827"/>
                    <a:pt x="2049" y="1449"/>
                    <a:pt x="2049" y="1008"/>
                  </a:cubicBezTo>
                  <a:cubicBezTo>
                    <a:pt x="2049" y="473"/>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5" name="Google Shape;7025;p74"/>
            <p:cNvSpPr/>
            <p:nvPr/>
          </p:nvSpPr>
          <p:spPr>
            <a:xfrm>
              <a:off x="-35716925" y="2418400"/>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62"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26" name="Google Shape;7026;p74"/>
          <p:cNvGrpSpPr/>
          <p:nvPr/>
        </p:nvGrpSpPr>
        <p:grpSpPr>
          <a:xfrm>
            <a:off x="1134611" y="3264845"/>
            <a:ext cx="475251" cy="472744"/>
            <a:chOff x="-35853975" y="2631825"/>
            <a:chExt cx="293800" cy="292250"/>
          </a:xfrm>
        </p:grpSpPr>
        <p:sp>
          <p:nvSpPr>
            <p:cNvPr id="7027" name="Google Shape;7027;p74"/>
            <p:cNvSpPr/>
            <p:nvPr/>
          </p:nvSpPr>
          <p:spPr>
            <a:xfrm>
              <a:off x="-35813025" y="2701825"/>
              <a:ext cx="201675" cy="171925"/>
            </a:xfrm>
            <a:custGeom>
              <a:avLst/>
              <a:gdLst/>
              <a:ahLst/>
              <a:cxnLst/>
              <a:rect l="l" t="t" r="r" b="b"/>
              <a:pathLst>
                <a:path w="8067" h="6877" extrusionOk="0">
                  <a:moveTo>
                    <a:pt x="1765" y="824"/>
                  </a:moveTo>
                  <a:lnTo>
                    <a:pt x="2868" y="1643"/>
                  </a:lnTo>
                  <a:lnTo>
                    <a:pt x="2238" y="2462"/>
                  </a:lnTo>
                  <a:cubicBezTo>
                    <a:pt x="2112" y="2620"/>
                    <a:pt x="2143" y="2840"/>
                    <a:pt x="2301" y="2935"/>
                  </a:cubicBezTo>
                  <a:lnTo>
                    <a:pt x="5042" y="4983"/>
                  </a:lnTo>
                  <a:cubicBezTo>
                    <a:pt x="5108" y="5035"/>
                    <a:pt x="5179" y="5060"/>
                    <a:pt x="5246" y="5060"/>
                  </a:cubicBezTo>
                  <a:cubicBezTo>
                    <a:pt x="5341" y="5060"/>
                    <a:pt x="5428" y="5011"/>
                    <a:pt x="5483" y="4920"/>
                  </a:cubicBezTo>
                  <a:lnTo>
                    <a:pt x="6113" y="4100"/>
                  </a:lnTo>
                  <a:lnTo>
                    <a:pt x="7247" y="4920"/>
                  </a:lnTo>
                  <a:lnTo>
                    <a:pt x="6554" y="5739"/>
                  </a:lnTo>
                  <a:cubicBezTo>
                    <a:pt x="6348" y="6001"/>
                    <a:pt x="6042" y="6152"/>
                    <a:pt x="5735" y="6152"/>
                  </a:cubicBezTo>
                  <a:cubicBezTo>
                    <a:pt x="5525" y="6152"/>
                    <a:pt x="5315" y="6081"/>
                    <a:pt x="5136" y="5928"/>
                  </a:cubicBezTo>
                  <a:lnTo>
                    <a:pt x="1324" y="3061"/>
                  </a:lnTo>
                  <a:cubicBezTo>
                    <a:pt x="883" y="2714"/>
                    <a:pt x="757" y="2084"/>
                    <a:pt x="1135" y="1643"/>
                  </a:cubicBezTo>
                  <a:lnTo>
                    <a:pt x="1765" y="824"/>
                  </a:lnTo>
                  <a:close/>
                  <a:moveTo>
                    <a:pt x="1647" y="1"/>
                  </a:moveTo>
                  <a:cubicBezTo>
                    <a:pt x="1540" y="1"/>
                    <a:pt x="1435" y="63"/>
                    <a:pt x="1356" y="162"/>
                  </a:cubicBezTo>
                  <a:lnTo>
                    <a:pt x="537" y="1265"/>
                  </a:lnTo>
                  <a:cubicBezTo>
                    <a:pt x="1" y="1990"/>
                    <a:pt x="95" y="3061"/>
                    <a:pt x="883" y="3659"/>
                  </a:cubicBezTo>
                  <a:lnTo>
                    <a:pt x="4727" y="6526"/>
                  </a:lnTo>
                  <a:cubicBezTo>
                    <a:pt x="5026" y="6760"/>
                    <a:pt x="5384" y="6876"/>
                    <a:pt x="5744" y="6876"/>
                  </a:cubicBezTo>
                  <a:cubicBezTo>
                    <a:pt x="6255" y="6876"/>
                    <a:pt x="6770" y="6642"/>
                    <a:pt x="7121" y="6180"/>
                  </a:cubicBezTo>
                  <a:lnTo>
                    <a:pt x="7940" y="5077"/>
                  </a:lnTo>
                  <a:cubicBezTo>
                    <a:pt x="8066" y="4888"/>
                    <a:pt x="8003" y="4668"/>
                    <a:pt x="7846" y="4573"/>
                  </a:cubicBezTo>
                  <a:lnTo>
                    <a:pt x="6207" y="3344"/>
                  </a:lnTo>
                  <a:cubicBezTo>
                    <a:pt x="6142" y="3292"/>
                    <a:pt x="6070" y="3267"/>
                    <a:pt x="6001" y="3267"/>
                  </a:cubicBezTo>
                  <a:cubicBezTo>
                    <a:pt x="5903" y="3267"/>
                    <a:pt x="5808" y="3316"/>
                    <a:pt x="5735" y="3407"/>
                  </a:cubicBezTo>
                  <a:lnTo>
                    <a:pt x="5105" y="4258"/>
                  </a:lnTo>
                  <a:lnTo>
                    <a:pt x="2931" y="2588"/>
                  </a:lnTo>
                  <a:lnTo>
                    <a:pt x="3561" y="1769"/>
                  </a:lnTo>
                  <a:cubicBezTo>
                    <a:pt x="3687" y="1612"/>
                    <a:pt x="3656" y="1423"/>
                    <a:pt x="3498" y="1297"/>
                  </a:cubicBezTo>
                  <a:lnTo>
                    <a:pt x="1828" y="68"/>
                  </a:lnTo>
                  <a:cubicBezTo>
                    <a:pt x="1770" y="22"/>
                    <a:pt x="1708" y="1"/>
                    <a:pt x="16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8" name="Google Shape;7028;p74"/>
            <p:cNvSpPr/>
            <p:nvPr/>
          </p:nvSpPr>
          <p:spPr>
            <a:xfrm>
              <a:off x="-35853975" y="2631825"/>
              <a:ext cx="293800" cy="292250"/>
            </a:xfrm>
            <a:custGeom>
              <a:avLst/>
              <a:gdLst/>
              <a:ahLst/>
              <a:cxnLst/>
              <a:rect l="l" t="t" r="r" b="b"/>
              <a:pathLst>
                <a:path w="11752" h="11690" extrusionOk="0">
                  <a:moveTo>
                    <a:pt x="5861" y="662"/>
                  </a:moveTo>
                  <a:cubicBezTo>
                    <a:pt x="8696" y="662"/>
                    <a:pt x="11027" y="2994"/>
                    <a:pt x="11027" y="5829"/>
                  </a:cubicBezTo>
                  <a:cubicBezTo>
                    <a:pt x="11027" y="6806"/>
                    <a:pt x="10744" y="7751"/>
                    <a:pt x="10240" y="8539"/>
                  </a:cubicBezTo>
                  <a:cubicBezTo>
                    <a:pt x="10177" y="8665"/>
                    <a:pt x="10114" y="8791"/>
                    <a:pt x="10177" y="8854"/>
                  </a:cubicBezTo>
                  <a:lnTo>
                    <a:pt x="10807" y="10776"/>
                  </a:lnTo>
                  <a:lnTo>
                    <a:pt x="8854" y="10145"/>
                  </a:lnTo>
                  <a:cubicBezTo>
                    <a:pt x="8837" y="10137"/>
                    <a:pt x="8815" y="10133"/>
                    <a:pt x="8792" y="10133"/>
                  </a:cubicBezTo>
                  <a:cubicBezTo>
                    <a:pt x="8728" y="10133"/>
                    <a:pt x="8648" y="10162"/>
                    <a:pt x="8602" y="10208"/>
                  </a:cubicBezTo>
                  <a:cubicBezTo>
                    <a:pt x="7751" y="10713"/>
                    <a:pt x="6806" y="10996"/>
                    <a:pt x="5861" y="10996"/>
                  </a:cubicBezTo>
                  <a:cubicBezTo>
                    <a:pt x="3025" y="10996"/>
                    <a:pt x="725" y="8665"/>
                    <a:pt x="725" y="5829"/>
                  </a:cubicBezTo>
                  <a:cubicBezTo>
                    <a:pt x="725" y="2994"/>
                    <a:pt x="3025" y="662"/>
                    <a:pt x="5861" y="662"/>
                  </a:cubicBezTo>
                  <a:close/>
                  <a:moveTo>
                    <a:pt x="5829" y="1"/>
                  </a:moveTo>
                  <a:cubicBezTo>
                    <a:pt x="2616" y="1"/>
                    <a:pt x="1" y="2647"/>
                    <a:pt x="1" y="5829"/>
                  </a:cubicBezTo>
                  <a:cubicBezTo>
                    <a:pt x="1" y="7373"/>
                    <a:pt x="599" y="8854"/>
                    <a:pt x="1733" y="9956"/>
                  </a:cubicBezTo>
                  <a:cubicBezTo>
                    <a:pt x="2836" y="11059"/>
                    <a:pt x="4285" y="11689"/>
                    <a:pt x="5861" y="11689"/>
                  </a:cubicBezTo>
                  <a:cubicBezTo>
                    <a:pt x="6900" y="11689"/>
                    <a:pt x="7908" y="11406"/>
                    <a:pt x="8822" y="10870"/>
                  </a:cubicBezTo>
                  <a:lnTo>
                    <a:pt x="11279" y="11658"/>
                  </a:lnTo>
                  <a:cubicBezTo>
                    <a:pt x="11303" y="11666"/>
                    <a:pt x="11331" y="11669"/>
                    <a:pt x="11360" y="11669"/>
                  </a:cubicBezTo>
                  <a:cubicBezTo>
                    <a:pt x="11449" y="11669"/>
                    <a:pt x="11555" y="11634"/>
                    <a:pt x="11626" y="11563"/>
                  </a:cubicBezTo>
                  <a:cubicBezTo>
                    <a:pt x="11689" y="11500"/>
                    <a:pt x="11752" y="11343"/>
                    <a:pt x="11689" y="11217"/>
                  </a:cubicBezTo>
                  <a:lnTo>
                    <a:pt x="10901" y="8791"/>
                  </a:lnTo>
                  <a:cubicBezTo>
                    <a:pt x="11469" y="7877"/>
                    <a:pt x="11752" y="6837"/>
                    <a:pt x="11752" y="5829"/>
                  </a:cubicBezTo>
                  <a:cubicBezTo>
                    <a:pt x="11689" y="2647"/>
                    <a:pt x="9074"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29" name="Google Shape;7029;p74"/>
            <p:cNvSpPr/>
            <p:nvPr/>
          </p:nvSpPr>
          <p:spPr>
            <a:xfrm>
              <a:off x="-35715350" y="2735025"/>
              <a:ext cx="49650" cy="40675"/>
            </a:xfrm>
            <a:custGeom>
              <a:avLst/>
              <a:gdLst/>
              <a:ahLst/>
              <a:cxnLst/>
              <a:rect l="l" t="t" r="r" b="b"/>
              <a:pathLst>
                <a:path w="1986" h="1627" extrusionOk="0">
                  <a:moveTo>
                    <a:pt x="410" y="0"/>
                  </a:moveTo>
                  <a:cubicBezTo>
                    <a:pt x="221" y="0"/>
                    <a:pt x="64" y="126"/>
                    <a:pt x="64" y="315"/>
                  </a:cubicBezTo>
                  <a:cubicBezTo>
                    <a:pt x="1" y="504"/>
                    <a:pt x="158" y="662"/>
                    <a:pt x="379" y="662"/>
                  </a:cubicBezTo>
                  <a:cubicBezTo>
                    <a:pt x="788" y="725"/>
                    <a:pt x="1166" y="977"/>
                    <a:pt x="1261" y="1386"/>
                  </a:cubicBezTo>
                  <a:cubicBezTo>
                    <a:pt x="1311" y="1536"/>
                    <a:pt x="1439" y="1626"/>
                    <a:pt x="1585" y="1626"/>
                  </a:cubicBezTo>
                  <a:cubicBezTo>
                    <a:pt x="1623" y="1626"/>
                    <a:pt x="1662" y="1620"/>
                    <a:pt x="1702" y="1607"/>
                  </a:cubicBezTo>
                  <a:cubicBezTo>
                    <a:pt x="1891" y="1575"/>
                    <a:pt x="1985" y="1386"/>
                    <a:pt x="1954" y="1197"/>
                  </a:cubicBezTo>
                  <a:cubicBezTo>
                    <a:pt x="1733" y="504"/>
                    <a:pt x="1103" y="32"/>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0" name="Google Shape;7030;p74"/>
            <p:cNvSpPr/>
            <p:nvPr/>
          </p:nvSpPr>
          <p:spPr>
            <a:xfrm>
              <a:off x="-35705900" y="2667275"/>
              <a:ext cx="107925" cy="101750"/>
            </a:xfrm>
            <a:custGeom>
              <a:avLst/>
              <a:gdLst/>
              <a:ahLst/>
              <a:cxnLst/>
              <a:rect l="l" t="t" r="r" b="b"/>
              <a:pathLst>
                <a:path w="4317" h="4070" extrusionOk="0">
                  <a:moveTo>
                    <a:pt x="347" y="1"/>
                  </a:moveTo>
                  <a:cubicBezTo>
                    <a:pt x="158" y="1"/>
                    <a:pt x="1" y="127"/>
                    <a:pt x="1" y="316"/>
                  </a:cubicBezTo>
                  <a:cubicBezTo>
                    <a:pt x="1" y="505"/>
                    <a:pt x="95" y="662"/>
                    <a:pt x="316" y="662"/>
                  </a:cubicBezTo>
                  <a:cubicBezTo>
                    <a:pt x="2048" y="820"/>
                    <a:pt x="3372" y="2111"/>
                    <a:pt x="3655" y="3781"/>
                  </a:cubicBezTo>
                  <a:cubicBezTo>
                    <a:pt x="3683" y="3951"/>
                    <a:pt x="3813" y="4070"/>
                    <a:pt x="3976" y="4070"/>
                  </a:cubicBezTo>
                  <a:cubicBezTo>
                    <a:pt x="3995" y="4070"/>
                    <a:pt x="4014" y="4068"/>
                    <a:pt x="4033" y="4065"/>
                  </a:cubicBezTo>
                  <a:cubicBezTo>
                    <a:pt x="4191" y="4065"/>
                    <a:pt x="4317" y="3844"/>
                    <a:pt x="4317" y="3687"/>
                  </a:cubicBezTo>
                  <a:cubicBezTo>
                    <a:pt x="4002" y="1733"/>
                    <a:pt x="2364" y="190"/>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1" name="Google Shape;7031;p74"/>
            <p:cNvSpPr/>
            <p:nvPr/>
          </p:nvSpPr>
          <p:spPr>
            <a:xfrm>
              <a:off x="-35709825" y="2700350"/>
              <a:ext cx="77200" cy="68700"/>
            </a:xfrm>
            <a:custGeom>
              <a:avLst/>
              <a:gdLst/>
              <a:ahLst/>
              <a:cxnLst/>
              <a:rect l="l" t="t" r="r" b="b"/>
              <a:pathLst>
                <a:path w="3088" h="2748" extrusionOk="0">
                  <a:moveTo>
                    <a:pt x="347" y="1"/>
                  </a:moveTo>
                  <a:cubicBezTo>
                    <a:pt x="158" y="1"/>
                    <a:pt x="0" y="127"/>
                    <a:pt x="0" y="316"/>
                  </a:cubicBezTo>
                  <a:cubicBezTo>
                    <a:pt x="0" y="536"/>
                    <a:pt x="95" y="694"/>
                    <a:pt x="315" y="725"/>
                  </a:cubicBezTo>
                  <a:cubicBezTo>
                    <a:pt x="1323" y="788"/>
                    <a:pt x="2142" y="1545"/>
                    <a:pt x="2394" y="2490"/>
                  </a:cubicBezTo>
                  <a:cubicBezTo>
                    <a:pt x="2422" y="2655"/>
                    <a:pt x="2570" y="2748"/>
                    <a:pt x="2753" y="2748"/>
                  </a:cubicBezTo>
                  <a:cubicBezTo>
                    <a:pt x="2780" y="2748"/>
                    <a:pt x="2808" y="2746"/>
                    <a:pt x="2836" y="2742"/>
                  </a:cubicBezTo>
                  <a:cubicBezTo>
                    <a:pt x="3025" y="2679"/>
                    <a:pt x="3088" y="2490"/>
                    <a:pt x="3056" y="2301"/>
                  </a:cubicBezTo>
                  <a:cubicBezTo>
                    <a:pt x="2741" y="1072"/>
                    <a:pt x="1670" y="127"/>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32" name="Google Shape;7032;p74"/>
          <p:cNvGrpSpPr/>
          <p:nvPr/>
        </p:nvGrpSpPr>
        <p:grpSpPr>
          <a:xfrm>
            <a:off x="4119417" y="2047370"/>
            <a:ext cx="471449" cy="471449"/>
            <a:chOff x="-34032200" y="1916675"/>
            <a:chExt cx="291450" cy="291450"/>
          </a:xfrm>
        </p:grpSpPr>
        <p:sp>
          <p:nvSpPr>
            <p:cNvPr id="7033" name="Google Shape;7033;p74"/>
            <p:cNvSpPr/>
            <p:nvPr/>
          </p:nvSpPr>
          <p:spPr>
            <a:xfrm>
              <a:off x="-34032200" y="1916675"/>
              <a:ext cx="291450" cy="291450"/>
            </a:xfrm>
            <a:custGeom>
              <a:avLst/>
              <a:gdLst/>
              <a:ahLst/>
              <a:cxnLst/>
              <a:rect l="l" t="t" r="r" b="b"/>
              <a:pathLst>
                <a:path w="11658" h="11658" extrusionOk="0">
                  <a:moveTo>
                    <a:pt x="6459" y="694"/>
                  </a:moveTo>
                  <a:cubicBezTo>
                    <a:pt x="6648" y="694"/>
                    <a:pt x="6806" y="851"/>
                    <a:pt x="6806" y="1040"/>
                  </a:cubicBezTo>
                  <a:lnTo>
                    <a:pt x="6806" y="1387"/>
                  </a:lnTo>
                  <a:lnTo>
                    <a:pt x="662" y="1387"/>
                  </a:lnTo>
                  <a:lnTo>
                    <a:pt x="662" y="1040"/>
                  </a:lnTo>
                  <a:cubicBezTo>
                    <a:pt x="662" y="851"/>
                    <a:pt x="820" y="694"/>
                    <a:pt x="977" y="694"/>
                  </a:cubicBezTo>
                  <a:close/>
                  <a:moveTo>
                    <a:pt x="10303" y="4096"/>
                  </a:moveTo>
                  <a:lnTo>
                    <a:pt x="8192" y="5419"/>
                  </a:lnTo>
                  <a:lnTo>
                    <a:pt x="6207" y="4096"/>
                  </a:lnTo>
                  <a:close/>
                  <a:moveTo>
                    <a:pt x="5420" y="4411"/>
                  </a:moveTo>
                  <a:lnTo>
                    <a:pt x="7971" y="6112"/>
                  </a:lnTo>
                  <a:cubicBezTo>
                    <a:pt x="8034" y="6144"/>
                    <a:pt x="8097" y="6144"/>
                    <a:pt x="8192" y="6144"/>
                  </a:cubicBezTo>
                  <a:cubicBezTo>
                    <a:pt x="8255" y="6144"/>
                    <a:pt x="8286" y="6144"/>
                    <a:pt x="8381" y="6112"/>
                  </a:cubicBezTo>
                  <a:lnTo>
                    <a:pt x="10933" y="4537"/>
                  </a:lnTo>
                  <a:lnTo>
                    <a:pt x="10933" y="7184"/>
                  </a:lnTo>
                  <a:cubicBezTo>
                    <a:pt x="10933" y="7373"/>
                    <a:pt x="10775" y="7530"/>
                    <a:pt x="10618" y="7530"/>
                  </a:cubicBezTo>
                  <a:lnTo>
                    <a:pt x="5766" y="7530"/>
                  </a:lnTo>
                  <a:cubicBezTo>
                    <a:pt x="5577" y="7530"/>
                    <a:pt x="5420" y="7373"/>
                    <a:pt x="5420" y="7184"/>
                  </a:cubicBezTo>
                  <a:lnTo>
                    <a:pt x="5420" y="4443"/>
                  </a:lnTo>
                  <a:lnTo>
                    <a:pt x="5420" y="4411"/>
                  </a:lnTo>
                  <a:close/>
                  <a:moveTo>
                    <a:pt x="6806" y="2048"/>
                  </a:moveTo>
                  <a:lnTo>
                    <a:pt x="6806" y="3435"/>
                  </a:lnTo>
                  <a:lnTo>
                    <a:pt x="5766" y="3435"/>
                  </a:lnTo>
                  <a:cubicBezTo>
                    <a:pt x="5231" y="3435"/>
                    <a:pt x="4758" y="3907"/>
                    <a:pt x="4758" y="4443"/>
                  </a:cubicBezTo>
                  <a:lnTo>
                    <a:pt x="4758" y="7184"/>
                  </a:lnTo>
                  <a:cubicBezTo>
                    <a:pt x="4758" y="7719"/>
                    <a:pt x="5231" y="8192"/>
                    <a:pt x="5766" y="8192"/>
                  </a:cubicBezTo>
                  <a:lnTo>
                    <a:pt x="6806" y="8192"/>
                  </a:lnTo>
                  <a:lnTo>
                    <a:pt x="6806" y="8916"/>
                  </a:lnTo>
                  <a:lnTo>
                    <a:pt x="662" y="8916"/>
                  </a:lnTo>
                  <a:lnTo>
                    <a:pt x="662" y="2048"/>
                  </a:lnTo>
                  <a:close/>
                  <a:moveTo>
                    <a:pt x="6774" y="9578"/>
                  </a:moveTo>
                  <a:lnTo>
                    <a:pt x="6774" y="10649"/>
                  </a:lnTo>
                  <a:cubicBezTo>
                    <a:pt x="6806" y="10838"/>
                    <a:pt x="6648" y="10996"/>
                    <a:pt x="6459" y="10996"/>
                  </a:cubicBezTo>
                  <a:lnTo>
                    <a:pt x="977" y="10996"/>
                  </a:lnTo>
                  <a:cubicBezTo>
                    <a:pt x="788" y="10996"/>
                    <a:pt x="631" y="10838"/>
                    <a:pt x="631" y="10649"/>
                  </a:cubicBezTo>
                  <a:lnTo>
                    <a:pt x="631" y="9578"/>
                  </a:lnTo>
                  <a:close/>
                  <a:moveTo>
                    <a:pt x="1009" y="1"/>
                  </a:moveTo>
                  <a:cubicBezTo>
                    <a:pt x="473" y="1"/>
                    <a:pt x="1" y="473"/>
                    <a:pt x="1" y="1040"/>
                  </a:cubicBezTo>
                  <a:lnTo>
                    <a:pt x="1" y="10649"/>
                  </a:lnTo>
                  <a:cubicBezTo>
                    <a:pt x="1" y="11185"/>
                    <a:pt x="473" y="11657"/>
                    <a:pt x="1009" y="11657"/>
                  </a:cubicBezTo>
                  <a:lnTo>
                    <a:pt x="6491" y="11657"/>
                  </a:lnTo>
                  <a:cubicBezTo>
                    <a:pt x="7026" y="11657"/>
                    <a:pt x="7499" y="11185"/>
                    <a:pt x="7499" y="10649"/>
                  </a:cubicBezTo>
                  <a:lnTo>
                    <a:pt x="7499" y="8255"/>
                  </a:lnTo>
                  <a:lnTo>
                    <a:pt x="10618" y="8255"/>
                  </a:lnTo>
                  <a:cubicBezTo>
                    <a:pt x="11185" y="8255"/>
                    <a:pt x="11658" y="7782"/>
                    <a:pt x="11658" y="7215"/>
                  </a:cubicBezTo>
                  <a:lnTo>
                    <a:pt x="11658" y="4506"/>
                  </a:lnTo>
                  <a:cubicBezTo>
                    <a:pt x="11658" y="3907"/>
                    <a:pt x="11185" y="3435"/>
                    <a:pt x="10618" y="3435"/>
                  </a:cubicBezTo>
                  <a:lnTo>
                    <a:pt x="7499" y="3435"/>
                  </a:lnTo>
                  <a:lnTo>
                    <a:pt x="7499" y="1040"/>
                  </a:lnTo>
                  <a:cubicBezTo>
                    <a:pt x="7499" y="473"/>
                    <a:pt x="7026" y="1"/>
                    <a:pt x="6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4" name="Google Shape;7034;p74"/>
            <p:cNvSpPr/>
            <p:nvPr/>
          </p:nvSpPr>
          <p:spPr>
            <a:xfrm>
              <a:off x="-33999125" y="20190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616"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5" name="Google Shape;7035;p74"/>
            <p:cNvSpPr/>
            <p:nvPr/>
          </p:nvSpPr>
          <p:spPr>
            <a:xfrm>
              <a:off x="-33999900" y="2053725"/>
              <a:ext cx="52000" cy="18125"/>
            </a:xfrm>
            <a:custGeom>
              <a:avLst/>
              <a:gdLst/>
              <a:ahLst/>
              <a:cxnLst/>
              <a:rect l="l" t="t" r="r" b="b"/>
              <a:pathLst>
                <a:path w="2080" h="725" extrusionOk="0">
                  <a:moveTo>
                    <a:pt x="347" y="0"/>
                  </a:moveTo>
                  <a:cubicBezTo>
                    <a:pt x="158" y="0"/>
                    <a:pt x="0" y="158"/>
                    <a:pt x="0" y="347"/>
                  </a:cubicBezTo>
                  <a:cubicBezTo>
                    <a:pt x="0" y="567"/>
                    <a:pt x="158" y="725"/>
                    <a:pt x="347" y="725"/>
                  </a:cubicBezTo>
                  <a:lnTo>
                    <a:pt x="1733" y="725"/>
                  </a:lnTo>
                  <a:cubicBezTo>
                    <a:pt x="1922" y="725"/>
                    <a:pt x="2080" y="567"/>
                    <a:pt x="2080" y="347"/>
                  </a:cubicBez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36" name="Google Shape;7036;p74"/>
            <p:cNvSpPr/>
            <p:nvPr/>
          </p:nvSpPr>
          <p:spPr>
            <a:xfrm>
              <a:off x="-33999125" y="2088375"/>
              <a:ext cx="34675" cy="17350"/>
            </a:xfrm>
            <a:custGeom>
              <a:avLst/>
              <a:gdLst/>
              <a:ahLst/>
              <a:cxnLst/>
              <a:rect l="l" t="t" r="r" b="b"/>
              <a:pathLst>
                <a:path w="1387" h="694" extrusionOk="0">
                  <a:moveTo>
                    <a:pt x="347" y="1"/>
                  </a:moveTo>
                  <a:cubicBezTo>
                    <a:pt x="158" y="1"/>
                    <a:pt x="1" y="158"/>
                    <a:pt x="1" y="347"/>
                  </a:cubicBezTo>
                  <a:cubicBezTo>
                    <a:pt x="1" y="536"/>
                    <a:pt x="158" y="694"/>
                    <a:pt x="347" y="694"/>
                  </a:cubicBezTo>
                  <a:lnTo>
                    <a:pt x="1041" y="694"/>
                  </a:lnTo>
                  <a:cubicBezTo>
                    <a:pt x="1230" y="694"/>
                    <a:pt x="1387" y="536"/>
                    <a:pt x="1387" y="347"/>
                  </a:cubicBezTo>
                  <a:cubicBezTo>
                    <a:pt x="1387" y="158"/>
                    <a:pt x="1230"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37" name="Google Shape;7037;p74"/>
          <p:cNvSpPr/>
          <p:nvPr/>
        </p:nvSpPr>
        <p:spPr>
          <a:xfrm>
            <a:off x="4114686" y="2656971"/>
            <a:ext cx="472703" cy="475493"/>
          </a:xfrm>
          <a:custGeom>
            <a:avLst/>
            <a:gdLst/>
            <a:ahLst/>
            <a:cxnLst/>
            <a:rect l="l" t="t" r="r" b="b"/>
            <a:pathLst>
              <a:path w="11689" h="11758" extrusionOk="0">
                <a:moveTo>
                  <a:pt x="8538" y="2747"/>
                </a:moveTo>
                <a:cubicBezTo>
                  <a:pt x="8727" y="2747"/>
                  <a:pt x="8853" y="2905"/>
                  <a:pt x="8853" y="3094"/>
                </a:cubicBezTo>
                <a:cubicBezTo>
                  <a:pt x="8885" y="3251"/>
                  <a:pt x="8727" y="3409"/>
                  <a:pt x="8538" y="3409"/>
                </a:cubicBezTo>
                <a:cubicBezTo>
                  <a:pt x="8444" y="3409"/>
                  <a:pt x="8381" y="3377"/>
                  <a:pt x="8286" y="3346"/>
                </a:cubicBezTo>
                <a:lnTo>
                  <a:pt x="8538" y="2747"/>
                </a:lnTo>
                <a:close/>
                <a:moveTo>
                  <a:pt x="3277" y="1581"/>
                </a:moveTo>
                <a:cubicBezTo>
                  <a:pt x="3844" y="1581"/>
                  <a:pt x="4316" y="2023"/>
                  <a:pt x="4316" y="2590"/>
                </a:cubicBezTo>
                <a:cubicBezTo>
                  <a:pt x="4316" y="3157"/>
                  <a:pt x="3844" y="3598"/>
                  <a:pt x="3277" y="3598"/>
                </a:cubicBezTo>
                <a:cubicBezTo>
                  <a:pt x="2741" y="3598"/>
                  <a:pt x="2269" y="3157"/>
                  <a:pt x="2269" y="2590"/>
                </a:cubicBezTo>
                <a:cubicBezTo>
                  <a:pt x="2269" y="1991"/>
                  <a:pt x="2741" y="1581"/>
                  <a:pt x="3277" y="1581"/>
                </a:cubicBezTo>
                <a:close/>
                <a:moveTo>
                  <a:pt x="9231" y="5457"/>
                </a:moveTo>
                <a:cubicBezTo>
                  <a:pt x="9672" y="5457"/>
                  <a:pt x="10050" y="5740"/>
                  <a:pt x="10208" y="6150"/>
                </a:cubicBezTo>
                <a:lnTo>
                  <a:pt x="8286" y="6150"/>
                </a:lnTo>
                <a:cubicBezTo>
                  <a:pt x="8412" y="5772"/>
                  <a:pt x="8759" y="5457"/>
                  <a:pt x="9231" y="5457"/>
                </a:cubicBezTo>
                <a:close/>
                <a:moveTo>
                  <a:pt x="10932" y="6843"/>
                </a:moveTo>
                <a:lnTo>
                  <a:pt x="10932" y="7504"/>
                </a:lnTo>
                <a:lnTo>
                  <a:pt x="5262" y="7504"/>
                </a:lnTo>
                <a:lnTo>
                  <a:pt x="5262" y="6843"/>
                </a:lnTo>
                <a:close/>
                <a:moveTo>
                  <a:pt x="3403" y="4291"/>
                </a:moveTo>
                <a:cubicBezTo>
                  <a:pt x="4064" y="4322"/>
                  <a:pt x="4631" y="4921"/>
                  <a:pt x="4631" y="5583"/>
                </a:cubicBezTo>
                <a:lnTo>
                  <a:pt x="4631" y="7725"/>
                </a:lnTo>
                <a:cubicBezTo>
                  <a:pt x="4348" y="7567"/>
                  <a:pt x="4033" y="7441"/>
                  <a:pt x="3686" y="7441"/>
                </a:cubicBezTo>
                <a:lnTo>
                  <a:pt x="3340" y="7441"/>
                </a:lnTo>
                <a:lnTo>
                  <a:pt x="3340" y="6402"/>
                </a:lnTo>
                <a:cubicBezTo>
                  <a:pt x="3340" y="6213"/>
                  <a:pt x="3182" y="6055"/>
                  <a:pt x="2962" y="6055"/>
                </a:cubicBezTo>
                <a:cubicBezTo>
                  <a:pt x="2773" y="6055"/>
                  <a:pt x="2615" y="6213"/>
                  <a:pt x="2615" y="6402"/>
                </a:cubicBezTo>
                <a:lnTo>
                  <a:pt x="2615" y="7788"/>
                </a:lnTo>
                <a:cubicBezTo>
                  <a:pt x="2615" y="7977"/>
                  <a:pt x="2773" y="8134"/>
                  <a:pt x="2962" y="8134"/>
                </a:cubicBezTo>
                <a:lnTo>
                  <a:pt x="3655" y="8134"/>
                </a:lnTo>
                <a:cubicBezTo>
                  <a:pt x="4064" y="8134"/>
                  <a:pt x="4474" y="8418"/>
                  <a:pt x="4600" y="8828"/>
                </a:cubicBezTo>
                <a:lnTo>
                  <a:pt x="1985" y="8828"/>
                </a:lnTo>
                <a:lnTo>
                  <a:pt x="1985" y="5583"/>
                </a:lnTo>
                <a:lnTo>
                  <a:pt x="2080" y="5583"/>
                </a:lnTo>
                <a:cubicBezTo>
                  <a:pt x="2080" y="5236"/>
                  <a:pt x="2237" y="4858"/>
                  <a:pt x="2458" y="4637"/>
                </a:cubicBezTo>
                <a:cubicBezTo>
                  <a:pt x="2741" y="4385"/>
                  <a:pt x="3056" y="4291"/>
                  <a:pt x="3403" y="4291"/>
                </a:cubicBezTo>
                <a:close/>
                <a:moveTo>
                  <a:pt x="1040" y="4795"/>
                </a:moveTo>
                <a:cubicBezTo>
                  <a:pt x="1229" y="4795"/>
                  <a:pt x="1418" y="4952"/>
                  <a:pt x="1418" y="5141"/>
                </a:cubicBezTo>
                <a:lnTo>
                  <a:pt x="1418" y="9174"/>
                </a:lnTo>
                <a:lnTo>
                  <a:pt x="1418" y="9300"/>
                </a:lnTo>
                <a:cubicBezTo>
                  <a:pt x="1449" y="9458"/>
                  <a:pt x="1575" y="9521"/>
                  <a:pt x="1733" y="9521"/>
                </a:cubicBezTo>
                <a:lnTo>
                  <a:pt x="5860" y="9521"/>
                </a:lnTo>
                <a:cubicBezTo>
                  <a:pt x="6049" y="9521"/>
                  <a:pt x="6175" y="9678"/>
                  <a:pt x="6175" y="9836"/>
                </a:cubicBezTo>
                <a:lnTo>
                  <a:pt x="6175" y="10938"/>
                </a:lnTo>
                <a:lnTo>
                  <a:pt x="693" y="10938"/>
                </a:lnTo>
                <a:lnTo>
                  <a:pt x="693" y="5141"/>
                </a:lnTo>
                <a:cubicBezTo>
                  <a:pt x="693" y="4952"/>
                  <a:pt x="851" y="4795"/>
                  <a:pt x="1040" y="4795"/>
                </a:cubicBezTo>
                <a:close/>
                <a:moveTo>
                  <a:pt x="7656" y="8197"/>
                </a:moveTo>
                <a:cubicBezTo>
                  <a:pt x="7971" y="8260"/>
                  <a:pt x="8254" y="8576"/>
                  <a:pt x="8254" y="8922"/>
                </a:cubicBezTo>
                <a:lnTo>
                  <a:pt x="8254" y="10938"/>
                </a:lnTo>
                <a:lnTo>
                  <a:pt x="6868" y="10938"/>
                </a:lnTo>
                <a:lnTo>
                  <a:pt x="6868" y="9836"/>
                </a:lnTo>
                <a:cubicBezTo>
                  <a:pt x="6868" y="9269"/>
                  <a:pt x="6396" y="8796"/>
                  <a:pt x="5860" y="8796"/>
                </a:cubicBezTo>
                <a:lnTo>
                  <a:pt x="5388" y="8796"/>
                </a:lnTo>
                <a:cubicBezTo>
                  <a:pt x="5356" y="8576"/>
                  <a:pt x="5230" y="8386"/>
                  <a:pt x="5104" y="8197"/>
                </a:cubicBezTo>
                <a:close/>
                <a:moveTo>
                  <a:pt x="9185" y="1"/>
                </a:moveTo>
                <a:cubicBezTo>
                  <a:pt x="9049" y="1"/>
                  <a:pt x="8908" y="88"/>
                  <a:pt x="8885" y="227"/>
                </a:cubicBezTo>
                <a:lnTo>
                  <a:pt x="6837" y="5078"/>
                </a:lnTo>
                <a:cubicBezTo>
                  <a:pt x="6774" y="5236"/>
                  <a:pt x="6837" y="5457"/>
                  <a:pt x="7026" y="5520"/>
                </a:cubicBezTo>
                <a:cubicBezTo>
                  <a:pt x="7089" y="5520"/>
                  <a:pt x="7120" y="5551"/>
                  <a:pt x="7152" y="5551"/>
                </a:cubicBezTo>
                <a:cubicBezTo>
                  <a:pt x="7278" y="5551"/>
                  <a:pt x="7435" y="5457"/>
                  <a:pt x="7467" y="5362"/>
                </a:cubicBezTo>
                <a:lnTo>
                  <a:pt x="8034" y="4039"/>
                </a:lnTo>
                <a:cubicBezTo>
                  <a:pt x="8191" y="4133"/>
                  <a:pt x="8349" y="4165"/>
                  <a:pt x="8538" y="4165"/>
                </a:cubicBezTo>
                <a:cubicBezTo>
                  <a:pt x="8664" y="4165"/>
                  <a:pt x="8759" y="4133"/>
                  <a:pt x="8885" y="4133"/>
                </a:cubicBezTo>
                <a:lnTo>
                  <a:pt x="8885" y="4921"/>
                </a:lnTo>
                <a:cubicBezTo>
                  <a:pt x="8223" y="5047"/>
                  <a:pt x="7719" y="5583"/>
                  <a:pt x="7561" y="6244"/>
                </a:cubicBezTo>
                <a:lnTo>
                  <a:pt x="5293" y="6244"/>
                </a:lnTo>
                <a:lnTo>
                  <a:pt x="5293" y="5709"/>
                </a:lnTo>
                <a:cubicBezTo>
                  <a:pt x="5293" y="4984"/>
                  <a:pt x="4915" y="4354"/>
                  <a:pt x="4348" y="4007"/>
                </a:cubicBezTo>
                <a:cubicBezTo>
                  <a:pt x="4757" y="3692"/>
                  <a:pt x="4978" y="3220"/>
                  <a:pt x="4978" y="2653"/>
                </a:cubicBezTo>
                <a:cubicBezTo>
                  <a:pt x="4978" y="1707"/>
                  <a:pt x="4253" y="983"/>
                  <a:pt x="3308" y="983"/>
                </a:cubicBezTo>
                <a:cubicBezTo>
                  <a:pt x="2363" y="983"/>
                  <a:pt x="1607" y="1707"/>
                  <a:pt x="1607" y="2653"/>
                </a:cubicBezTo>
                <a:cubicBezTo>
                  <a:pt x="1607" y="3220"/>
                  <a:pt x="1890" y="3724"/>
                  <a:pt x="2269" y="4039"/>
                </a:cubicBezTo>
                <a:cubicBezTo>
                  <a:pt x="2143" y="4133"/>
                  <a:pt x="2080" y="4196"/>
                  <a:pt x="1985" y="4291"/>
                </a:cubicBezTo>
                <a:cubicBezTo>
                  <a:pt x="1922" y="4354"/>
                  <a:pt x="1827" y="4448"/>
                  <a:pt x="1764" y="4543"/>
                </a:cubicBezTo>
                <a:cubicBezTo>
                  <a:pt x="1575" y="4354"/>
                  <a:pt x="1323" y="4228"/>
                  <a:pt x="1008" y="4228"/>
                </a:cubicBezTo>
                <a:cubicBezTo>
                  <a:pt x="473" y="4228"/>
                  <a:pt x="0" y="4700"/>
                  <a:pt x="0" y="5268"/>
                </a:cubicBezTo>
                <a:lnTo>
                  <a:pt x="0" y="11411"/>
                </a:lnTo>
                <a:cubicBezTo>
                  <a:pt x="0" y="11600"/>
                  <a:pt x="158" y="11758"/>
                  <a:pt x="347" y="11758"/>
                </a:cubicBezTo>
                <a:lnTo>
                  <a:pt x="8570" y="11758"/>
                </a:lnTo>
                <a:cubicBezTo>
                  <a:pt x="8759" y="11758"/>
                  <a:pt x="8916" y="11600"/>
                  <a:pt x="8916" y="11411"/>
                </a:cubicBezTo>
                <a:lnTo>
                  <a:pt x="8916" y="9048"/>
                </a:lnTo>
                <a:cubicBezTo>
                  <a:pt x="8916" y="8765"/>
                  <a:pt x="8853" y="8544"/>
                  <a:pt x="8727" y="8292"/>
                </a:cubicBezTo>
                <a:lnTo>
                  <a:pt x="11342" y="8292"/>
                </a:lnTo>
                <a:cubicBezTo>
                  <a:pt x="11531" y="8292"/>
                  <a:pt x="11689" y="8134"/>
                  <a:pt x="11689" y="7945"/>
                </a:cubicBezTo>
                <a:lnTo>
                  <a:pt x="11689" y="6559"/>
                </a:lnTo>
                <a:cubicBezTo>
                  <a:pt x="11689" y="6339"/>
                  <a:pt x="11531" y="6181"/>
                  <a:pt x="11310" y="6181"/>
                </a:cubicBezTo>
                <a:lnTo>
                  <a:pt x="10901" y="6181"/>
                </a:lnTo>
                <a:cubicBezTo>
                  <a:pt x="10775" y="5520"/>
                  <a:pt x="10239" y="4984"/>
                  <a:pt x="9546" y="4826"/>
                </a:cubicBezTo>
                <a:lnTo>
                  <a:pt x="9546" y="3094"/>
                </a:lnTo>
                <a:cubicBezTo>
                  <a:pt x="9546" y="2621"/>
                  <a:pt x="9231" y="2243"/>
                  <a:pt x="8790" y="2117"/>
                </a:cubicBezTo>
                <a:lnTo>
                  <a:pt x="9515" y="447"/>
                </a:lnTo>
                <a:cubicBezTo>
                  <a:pt x="9578" y="290"/>
                  <a:pt x="9515" y="69"/>
                  <a:pt x="9326" y="38"/>
                </a:cubicBezTo>
                <a:cubicBezTo>
                  <a:pt x="9283" y="12"/>
                  <a:pt x="9234" y="1"/>
                  <a:pt x="91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38" name="Google Shape;7038;p74"/>
          <p:cNvGrpSpPr/>
          <p:nvPr/>
        </p:nvGrpSpPr>
        <p:grpSpPr>
          <a:xfrm>
            <a:off x="4118790" y="3264845"/>
            <a:ext cx="472703" cy="472744"/>
            <a:chOff x="-34032200" y="2634975"/>
            <a:chExt cx="292225" cy="292250"/>
          </a:xfrm>
        </p:grpSpPr>
        <p:sp>
          <p:nvSpPr>
            <p:cNvPr id="7039" name="Google Shape;7039;p74"/>
            <p:cNvSpPr/>
            <p:nvPr/>
          </p:nvSpPr>
          <p:spPr>
            <a:xfrm>
              <a:off x="-34032200" y="2634975"/>
              <a:ext cx="292225" cy="292250"/>
            </a:xfrm>
            <a:custGeom>
              <a:avLst/>
              <a:gdLst/>
              <a:ahLst/>
              <a:cxnLst/>
              <a:rect l="l" t="t" r="r" b="b"/>
              <a:pathLst>
                <a:path w="11689" h="11690" extrusionOk="0">
                  <a:moveTo>
                    <a:pt x="5766" y="662"/>
                  </a:moveTo>
                  <a:cubicBezTo>
                    <a:pt x="8602" y="662"/>
                    <a:pt x="10933" y="2962"/>
                    <a:pt x="10933" y="5798"/>
                  </a:cubicBezTo>
                  <a:cubicBezTo>
                    <a:pt x="10933" y="6806"/>
                    <a:pt x="10649" y="7783"/>
                    <a:pt x="10114" y="8602"/>
                  </a:cubicBezTo>
                  <a:lnTo>
                    <a:pt x="10145" y="8444"/>
                  </a:lnTo>
                  <a:cubicBezTo>
                    <a:pt x="10177" y="8350"/>
                    <a:pt x="10145" y="8224"/>
                    <a:pt x="10082" y="8129"/>
                  </a:cubicBezTo>
                  <a:cubicBezTo>
                    <a:pt x="9988" y="8066"/>
                    <a:pt x="9862" y="8035"/>
                    <a:pt x="9767" y="8035"/>
                  </a:cubicBezTo>
                  <a:lnTo>
                    <a:pt x="9641" y="8066"/>
                  </a:lnTo>
                  <a:cubicBezTo>
                    <a:pt x="10019" y="7405"/>
                    <a:pt x="10240" y="6617"/>
                    <a:pt x="10240" y="5829"/>
                  </a:cubicBezTo>
                  <a:cubicBezTo>
                    <a:pt x="10240" y="3372"/>
                    <a:pt x="8223" y="1356"/>
                    <a:pt x="5766" y="1356"/>
                  </a:cubicBezTo>
                  <a:cubicBezTo>
                    <a:pt x="5136" y="1356"/>
                    <a:pt x="4506" y="1482"/>
                    <a:pt x="3970" y="1765"/>
                  </a:cubicBezTo>
                  <a:cubicBezTo>
                    <a:pt x="3813" y="1828"/>
                    <a:pt x="3718" y="2017"/>
                    <a:pt x="3813" y="2175"/>
                  </a:cubicBezTo>
                  <a:lnTo>
                    <a:pt x="3970" y="2553"/>
                  </a:lnTo>
                  <a:lnTo>
                    <a:pt x="2710" y="2742"/>
                  </a:lnTo>
                  <a:lnTo>
                    <a:pt x="2301" y="2773"/>
                  </a:lnTo>
                  <a:cubicBezTo>
                    <a:pt x="2364" y="2647"/>
                    <a:pt x="2710" y="1324"/>
                    <a:pt x="2742" y="1198"/>
                  </a:cubicBezTo>
                  <a:lnTo>
                    <a:pt x="2836" y="1293"/>
                  </a:lnTo>
                  <a:cubicBezTo>
                    <a:pt x="2898" y="1354"/>
                    <a:pt x="2986" y="1402"/>
                    <a:pt x="3084" y="1402"/>
                  </a:cubicBezTo>
                  <a:cubicBezTo>
                    <a:pt x="3136" y="1402"/>
                    <a:pt x="3191" y="1389"/>
                    <a:pt x="3246" y="1356"/>
                  </a:cubicBezTo>
                  <a:cubicBezTo>
                    <a:pt x="4033" y="883"/>
                    <a:pt x="4915" y="662"/>
                    <a:pt x="5766" y="662"/>
                  </a:cubicBezTo>
                  <a:close/>
                  <a:moveTo>
                    <a:pt x="6144" y="2080"/>
                  </a:moveTo>
                  <a:cubicBezTo>
                    <a:pt x="7940" y="2238"/>
                    <a:pt x="9358" y="3687"/>
                    <a:pt x="9515" y="5451"/>
                  </a:cubicBezTo>
                  <a:lnTo>
                    <a:pt x="9200" y="5451"/>
                  </a:lnTo>
                  <a:cubicBezTo>
                    <a:pt x="9011" y="5451"/>
                    <a:pt x="8854" y="5609"/>
                    <a:pt x="8854" y="5829"/>
                  </a:cubicBezTo>
                  <a:cubicBezTo>
                    <a:pt x="8854" y="6018"/>
                    <a:pt x="9011" y="6176"/>
                    <a:pt x="9200" y="6176"/>
                  </a:cubicBezTo>
                  <a:lnTo>
                    <a:pt x="9515" y="6176"/>
                  </a:lnTo>
                  <a:cubicBezTo>
                    <a:pt x="9452" y="6932"/>
                    <a:pt x="9169" y="7657"/>
                    <a:pt x="8665" y="8255"/>
                  </a:cubicBezTo>
                  <a:lnTo>
                    <a:pt x="6995" y="8570"/>
                  </a:lnTo>
                  <a:cubicBezTo>
                    <a:pt x="6900" y="8602"/>
                    <a:pt x="6806" y="8665"/>
                    <a:pt x="6774" y="8759"/>
                  </a:cubicBezTo>
                  <a:cubicBezTo>
                    <a:pt x="6743" y="8885"/>
                    <a:pt x="6743" y="9011"/>
                    <a:pt x="6806" y="9074"/>
                  </a:cubicBezTo>
                  <a:lnTo>
                    <a:pt x="6995" y="9389"/>
                  </a:lnTo>
                  <a:cubicBezTo>
                    <a:pt x="6743" y="9484"/>
                    <a:pt x="6459" y="9547"/>
                    <a:pt x="6176" y="9547"/>
                  </a:cubicBezTo>
                  <a:lnTo>
                    <a:pt x="6176" y="9232"/>
                  </a:lnTo>
                  <a:cubicBezTo>
                    <a:pt x="6176" y="9043"/>
                    <a:pt x="6018" y="8885"/>
                    <a:pt x="5829" y="8885"/>
                  </a:cubicBezTo>
                  <a:cubicBezTo>
                    <a:pt x="5640" y="8885"/>
                    <a:pt x="5483" y="9043"/>
                    <a:pt x="5483" y="9232"/>
                  </a:cubicBezTo>
                  <a:lnTo>
                    <a:pt x="5483" y="9547"/>
                  </a:lnTo>
                  <a:cubicBezTo>
                    <a:pt x="3655" y="9389"/>
                    <a:pt x="2238" y="7940"/>
                    <a:pt x="2080" y="6176"/>
                  </a:cubicBezTo>
                  <a:lnTo>
                    <a:pt x="2395" y="6176"/>
                  </a:lnTo>
                  <a:cubicBezTo>
                    <a:pt x="2584" y="6176"/>
                    <a:pt x="2742" y="6018"/>
                    <a:pt x="2742" y="5829"/>
                  </a:cubicBezTo>
                  <a:cubicBezTo>
                    <a:pt x="2742" y="5609"/>
                    <a:pt x="2584" y="5451"/>
                    <a:pt x="2395" y="5451"/>
                  </a:cubicBezTo>
                  <a:lnTo>
                    <a:pt x="2080" y="5451"/>
                  </a:lnTo>
                  <a:cubicBezTo>
                    <a:pt x="2175" y="4727"/>
                    <a:pt x="2427" y="3971"/>
                    <a:pt x="2962" y="3372"/>
                  </a:cubicBezTo>
                  <a:lnTo>
                    <a:pt x="4474" y="3183"/>
                  </a:lnTo>
                  <a:cubicBezTo>
                    <a:pt x="4600" y="3183"/>
                    <a:pt x="4663" y="3088"/>
                    <a:pt x="4726" y="3025"/>
                  </a:cubicBezTo>
                  <a:cubicBezTo>
                    <a:pt x="4758" y="2931"/>
                    <a:pt x="4758" y="2836"/>
                    <a:pt x="4726" y="2710"/>
                  </a:cubicBezTo>
                  <a:lnTo>
                    <a:pt x="4506" y="2269"/>
                  </a:lnTo>
                  <a:cubicBezTo>
                    <a:pt x="4789" y="2143"/>
                    <a:pt x="5104" y="2112"/>
                    <a:pt x="5420" y="2080"/>
                  </a:cubicBezTo>
                  <a:lnTo>
                    <a:pt x="5420" y="2395"/>
                  </a:lnTo>
                  <a:cubicBezTo>
                    <a:pt x="5420" y="2584"/>
                    <a:pt x="5577" y="2742"/>
                    <a:pt x="5766" y="2742"/>
                  </a:cubicBezTo>
                  <a:cubicBezTo>
                    <a:pt x="5987" y="2742"/>
                    <a:pt x="6144" y="2584"/>
                    <a:pt x="6144" y="2395"/>
                  </a:cubicBezTo>
                  <a:lnTo>
                    <a:pt x="6144" y="2080"/>
                  </a:lnTo>
                  <a:close/>
                  <a:moveTo>
                    <a:pt x="1607" y="2899"/>
                  </a:moveTo>
                  <a:lnTo>
                    <a:pt x="1544" y="3151"/>
                  </a:lnTo>
                  <a:cubicBezTo>
                    <a:pt x="1481" y="3246"/>
                    <a:pt x="1544" y="3372"/>
                    <a:pt x="1607" y="3466"/>
                  </a:cubicBezTo>
                  <a:cubicBezTo>
                    <a:pt x="1670" y="3529"/>
                    <a:pt x="1796" y="3561"/>
                    <a:pt x="1922" y="3561"/>
                  </a:cubicBezTo>
                  <a:lnTo>
                    <a:pt x="1985" y="3561"/>
                  </a:lnTo>
                  <a:cubicBezTo>
                    <a:pt x="1607" y="4254"/>
                    <a:pt x="1387" y="5042"/>
                    <a:pt x="1387" y="5861"/>
                  </a:cubicBezTo>
                  <a:cubicBezTo>
                    <a:pt x="1387" y="8287"/>
                    <a:pt x="3372" y="10303"/>
                    <a:pt x="5829" y="10303"/>
                  </a:cubicBezTo>
                  <a:cubicBezTo>
                    <a:pt x="6459" y="10303"/>
                    <a:pt x="7089" y="10177"/>
                    <a:pt x="7688" y="9925"/>
                  </a:cubicBezTo>
                  <a:cubicBezTo>
                    <a:pt x="7751" y="9862"/>
                    <a:pt x="7845" y="9799"/>
                    <a:pt x="7877" y="9704"/>
                  </a:cubicBezTo>
                  <a:cubicBezTo>
                    <a:pt x="7908" y="9641"/>
                    <a:pt x="7877" y="9515"/>
                    <a:pt x="7845" y="9452"/>
                  </a:cubicBezTo>
                  <a:lnTo>
                    <a:pt x="7688" y="9200"/>
                  </a:lnTo>
                  <a:lnTo>
                    <a:pt x="9421" y="8854"/>
                  </a:lnTo>
                  <a:lnTo>
                    <a:pt x="9421" y="8854"/>
                  </a:lnTo>
                  <a:cubicBezTo>
                    <a:pt x="9326" y="9200"/>
                    <a:pt x="9074" y="10177"/>
                    <a:pt x="9011" y="10492"/>
                  </a:cubicBezTo>
                  <a:lnTo>
                    <a:pt x="8759" y="10303"/>
                  </a:lnTo>
                  <a:cubicBezTo>
                    <a:pt x="8708" y="10235"/>
                    <a:pt x="8640" y="10204"/>
                    <a:pt x="8567" y="10204"/>
                  </a:cubicBezTo>
                  <a:cubicBezTo>
                    <a:pt x="8505" y="10204"/>
                    <a:pt x="8439" y="10228"/>
                    <a:pt x="8381" y="10271"/>
                  </a:cubicBezTo>
                  <a:cubicBezTo>
                    <a:pt x="7593" y="10744"/>
                    <a:pt x="6680" y="10965"/>
                    <a:pt x="5829" y="10965"/>
                  </a:cubicBezTo>
                  <a:cubicBezTo>
                    <a:pt x="2994" y="10965"/>
                    <a:pt x="662" y="8665"/>
                    <a:pt x="662" y="5829"/>
                  </a:cubicBezTo>
                  <a:cubicBezTo>
                    <a:pt x="662" y="4758"/>
                    <a:pt x="977" y="3781"/>
                    <a:pt x="1607" y="2899"/>
                  </a:cubicBezTo>
                  <a:close/>
                  <a:moveTo>
                    <a:pt x="5766" y="1"/>
                  </a:moveTo>
                  <a:cubicBezTo>
                    <a:pt x="4884" y="1"/>
                    <a:pt x="3970" y="221"/>
                    <a:pt x="3151" y="662"/>
                  </a:cubicBezTo>
                  <a:lnTo>
                    <a:pt x="2836" y="316"/>
                  </a:lnTo>
                  <a:cubicBezTo>
                    <a:pt x="2765" y="245"/>
                    <a:pt x="2677" y="210"/>
                    <a:pt x="2597" y="210"/>
                  </a:cubicBezTo>
                  <a:cubicBezTo>
                    <a:pt x="2570" y="210"/>
                    <a:pt x="2545" y="214"/>
                    <a:pt x="2521" y="221"/>
                  </a:cubicBezTo>
                  <a:cubicBezTo>
                    <a:pt x="2395" y="253"/>
                    <a:pt x="2301" y="347"/>
                    <a:pt x="2269" y="473"/>
                  </a:cubicBezTo>
                  <a:lnTo>
                    <a:pt x="1985" y="1450"/>
                  </a:lnTo>
                  <a:cubicBezTo>
                    <a:pt x="694" y="2553"/>
                    <a:pt x="1" y="4160"/>
                    <a:pt x="1" y="5829"/>
                  </a:cubicBezTo>
                  <a:cubicBezTo>
                    <a:pt x="1" y="7342"/>
                    <a:pt x="599" y="8854"/>
                    <a:pt x="1733" y="9956"/>
                  </a:cubicBezTo>
                  <a:cubicBezTo>
                    <a:pt x="2836" y="11059"/>
                    <a:pt x="4285" y="11689"/>
                    <a:pt x="5861" y="11689"/>
                  </a:cubicBezTo>
                  <a:cubicBezTo>
                    <a:pt x="6774" y="11689"/>
                    <a:pt x="7719" y="11437"/>
                    <a:pt x="8539" y="11028"/>
                  </a:cubicBezTo>
                  <a:lnTo>
                    <a:pt x="8980" y="11406"/>
                  </a:lnTo>
                  <a:cubicBezTo>
                    <a:pt x="9027" y="11477"/>
                    <a:pt x="9110" y="11512"/>
                    <a:pt x="9201" y="11512"/>
                  </a:cubicBezTo>
                  <a:cubicBezTo>
                    <a:pt x="9232" y="11512"/>
                    <a:pt x="9263" y="11508"/>
                    <a:pt x="9295" y="11500"/>
                  </a:cubicBezTo>
                  <a:cubicBezTo>
                    <a:pt x="9421" y="11437"/>
                    <a:pt x="9484" y="11374"/>
                    <a:pt x="9515" y="11248"/>
                  </a:cubicBezTo>
                  <a:lnTo>
                    <a:pt x="9799" y="10114"/>
                  </a:lnTo>
                  <a:cubicBezTo>
                    <a:pt x="10996" y="9011"/>
                    <a:pt x="11689" y="7468"/>
                    <a:pt x="11689" y="5861"/>
                  </a:cubicBezTo>
                  <a:cubicBezTo>
                    <a:pt x="11658" y="2616"/>
                    <a:pt x="9011" y="1"/>
                    <a:pt x="57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0" name="Google Shape;7040;p74"/>
            <p:cNvSpPr/>
            <p:nvPr/>
          </p:nvSpPr>
          <p:spPr>
            <a:xfrm>
              <a:off x="-33947125" y="2735800"/>
              <a:ext cx="51200" cy="86675"/>
            </a:xfrm>
            <a:custGeom>
              <a:avLst/>
              <a:gdLst/>
              <a:ahLst/>
              <a:cxnLst/>
              <a:rect l="l" t="t" r="r" b="b"/>
              <a:pathLst>
                <a:path w="2048" h="3467" extrusionOk="0">
                  <a:moveTo>
                    <a:pt x="1040" y="1"/>
                  </a:moveTo>
                  <a:cubicBezTo>
                    <a:pt x="473" y="1"/>
                    <a:pt x="0" y="473"/>
                    <a:pt x="0" y="1040"/>
                  </a:cubicBezTo>
                  <a:cubicBezTo>
                    <a:pt x="0" y="1229"/>
                    <a:pt x="158" y="1387"/>
                    <a:pt x="378" y="1387"/>
                  </a:cubicBezTo>
                  <a:cubicBezTo>
                    <a:pt x="567" y="1387"/>
                    <a:pt x="725" y="1229"/>
                    <a:pt x="725" y="1040"/>
                  </a:cubicBezTo>
                  <a:cubicBezTo>
                    <a:pt x="725" y="851"/>
                    <a:pt x="882" y="662"/>
                    <a:pt x="1071" y="662"/>
                  </a:cubicBezTo>
                  <a:cubicBezTo>
                    <a:pt x="1292" y="662"/>
                    <a:pt x="1449" y="851"/>
                    <a:pt x="1449" y="1040"/>
                  </a:cubicBezTo>
                  <a:lnTo>
                    <a:pt x="1449" y="1292"/>
                  </a:lnTo>
                  <a:cubicBezTo>
                    <a:pt x="1449" y="1418"/>
                    <a:pt x="1355" y="1544"/>
                    <a:pt x="1229" y="1639"/>
                  </a:cubicBezTo>
                  <a:lnTo>
                    <a:pt x="599" y="1954"/>
                  </a:lnTo>
                  <a:cubicBezTo>
                    <a:pt x="252" y="2111"/>
                    <a:pt x="63" y="2458"/>
                    <a:pt x="63" y="2836"/>
                  </a:cubicBezTo>
                  <a:lnTo>
                    <a:pt x="63" y="3119"/>
                  </a:lnTo>
                  <a:cubicBezTo>
                    <a:pt x="0" y="3372"/>
                    <a:pt x="158" y="3466"/>
                    <a:pt x="315" y="3466"/>
                  </a:cubicBezTo>
                  <a:lnTo>
                    <a:pt x="1701" y="3466"/>
                  </a:lnTo>
                  <a:cubicBezTo>
                    <a:pt x="1891" y="3466"/>
                    <a:pt x="2048" y="3309"/>
                    <a:pt x="2048" y="3119"/>
                  </a:cubicBezTo>
                  <a:cubicBezTo>
                    <a:pt x="2048" y="2930"/>
                    <a:pt x="1891" y="2773"/>
                    <a:pt x="1701" y="2773"/>
                  </a:cubicBezTo>
                  <a:lnTo>
                    <a:pt x="693" y="2773"/>
                  </a:lnTo>
                  <a:cubicBezTo>
                    <a:pt x="725" y="2678"/>
                    <a:pt x="756" y="2584"/>
                    <a:pt x="882" y="2521"/>
                  </a:cubicBezTo>
                  <a:lnTo>
                    <a:pt x="1512" y="2206"/>
                  </a:lnTo>
                  <a:cubicBezTo>
                    <a:pt x="1859" y="2048"/>
                    <a:pt x="2048" y="1702"/>
                    <a:pt x="2048" y="1292"/>
                  </a:cubicBezTo>
                  <a:lnTo>
                    <a:pt x="2048" y="1040"/>
                  </a:lnTo>
                  <a:cubicBezTo>
                    <a:pt x="2048" y="473"/>
                    <a:pt x="1575"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1" name="Google Shape;7041;p74"/>
            <p:cNvSpPr/>
            <p:nvPr/>
          </p:nvSpPr>
          <p:spPr>
            <a:xfrm>
              <a:off x="-33878600" y="2737375"/>
              <a:ext cx="52000" cy="86675"/>
            </a:xfrm>
            <a:custGeom>
              <a:avLst/>
              <a:gdLst/>
              <a:ahLst/>
              <a:cxnLst/>
              <a:rect l="l" t="t" r="r" b="b"/>
              <a:pathLst>
                <a:path w="2080" h="3467" extrusionOk="0">
                  <a:moveTo>
                    <a:pt x="347" y="1"/>
                  </a:moveTo>
                  <a:cubicBezTo>
                    <a:pt x="158" y="1"/>
                    <a:pt x="0" y="158"/>
                    <a:pt x="0" y="347"/>
                  </a:cubicBezTo>
                  <a:lnTo>
                    <a:pt x="0" y="1733"/>
                  </a:lnTo>
                  <a:cubicBezTo>
                    <a:pt x="0" y="1922"/>
                    <a:pt x="158" y="2080"/>
                    <a:pt x="347" y="2080"/>
                  </a:cubicBezTo>
                  <a:lnTo>
                    <a:pt x="1355" y="2080"/>
                  </a:lnTo>
                  <a:lnTo>
                    <a:pt x="1355" y="3088"/>
                  </a:lnTo>
                  <a:cubicBezTo>
                    <a:pt x="1355" y="3309"/>
                    <a:pt x="1512" y="3466"/>
                    <a:pt x="1733" y="3466"/>
                  </a:cubicBezTo>
                  <a:cubicBezTo>
                    <a:pt x="1922" y="3466"/>
                    <a:pt x="2079" y="3309"/>
                    <a:pt x="2079" y="3088"/>
                  </a:cubicBezTo>
                  <a:lnTo>
                    <a:pt x="2079" y="1733"/>
                  </a:lnTo>
                  <a:lnTo>
                    <a:pt x="2079" y="347"/>
                  </a:lnTo>
                  <a:cubicBezTo>
                    <a:pt x="2079" y="158"/>
                    <a:pt x="1922" y="1"/>
                    <a:pt x="1733" y="1"/>
                  </a:cubicBezTo>
                  <a:cubicBezTo>
                    <a:pt x="1512" y="1"/>
                    <a:pt x="1355" y="158"/>
                    <a:pt x="1355" y="347"/>
                  </a:cubicBezTo>
                  <a:lnTo>
                    <a:pt x="1355" y="1355"/>
                  </a:lnTo>
                  <a:lnTo>
                    <a:pt x="693" y="1355"/>
                  </a:ln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42" name="Google Shape;7042;p74"/>
          <p:cNvGrpSpPr/>
          <p:nvPr/>
        </p:nvGrpSpPr>
        <p:grpSpPr>
          <a:xfrm>
            <a:off x="2319317" y="3886510"/>
            <a:ext cx="477839" cy="472703"/>
            <a:chOff x="-32245875" y="1938725"/>
            <a:chExt cx="295400" cy="292225"/>
          </a:xfrm>
        </p:grpSpPr>
        <p:sp>
          <p:nvSpPr>
            <p:cNvPr id="7043" name="Google Shape;7043;p74"/>
            <p:cNvSpPr/>
            <p:nvPr/>
          </p:nvSpPr>
          <p:spPr>
            <a:xfrm>
              <a:off x="-32156075" y="2042700"/>
              <a:ext cx="120525" cy="120525"/>
            </a:xfrm>
            <a:custGeom>
              <a:avLst/>
              <a:gdLst/>
              <a:ahLst/>
              <a:cxnLst/>
              <a:rect l="l" t="t" r="r" b="b"/>
              <a:pathLst>
                <a:path w="4821" h="4821" extrusionOk="0">
                  <a:moveTo>
                    <a:pt x="2395" y="725"/>
                  </a:moveTo>
                  <a:cubicBezTo>
                    <a:pt x="3340" y="725"/>
                    <a:pt x="4096" y="1481"/>
                    <a:pt x="4096" y="2426"/>
                  </a:cubicBezTo>
                  <a:cubicBezTo>
                    <a:pt x="4096" y="3308"/>
                    <a:pt x="3340" y="4096"/>
                    <a:pt x="2395" y="4096"/>
                  </a:cubicBezTo>
                  <a:cubicBezTo>
                    <a:pt x="1450" y="4096"/>
                    <a:pt x="725" y="3340"/>
                    <a:pt x="725" y="2426"/>
                  </a:cubicBezTo>
                  <a:cubicBezTo>
                    <a:pt x="725" y="1450"/>
                    <a:pt x="1450" y="725"/>
                    <a:pt x="2395" y="725"/>
                  </a:cubicBezTo>
                  <a:close/>
                  <a:moveTo>
                    <a:pt x="2395" y="0"/>
                  </a:moveTo>
                  <a:cubicBezTo>
                    <a:pt x="1072" y="0"/>
                    <a:pt x="1" y="1071"/>
                    <a:pt x="1" y="2426"/>
                  </a:cubicBezTo>
                  <a:cubicBezTo>
                    <a:pt x="1" y="3749"/>
                    <a:pt x="1072" y="4821"/>
                    <a:pt x="2395" y="4821"/>
                  </a:cubicBezTo>
                  <a:cubicBezTo>
                    <a:pt x="3750" y="4821"/>
                    <a:pt x="4821" y="3749"/>
                    <a:pt x="4821" y="2426"/>
                  </a:cubicBezTo>
                  <a:cubicBezTo>
                    <a:pt x="4758" y="1071"/>
                    <a:pt x="3718"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4" name="Google Shape;7044;p74"/>
            <p:cNvSpPr/>
            <p:nvPr/>
          </p:nvSpPr>
          <p:spPr>
            <a:xfrm>
              <a:off x="-32105675" y="2076550"/>
              <a:ext cx="35475" cy="33900"/>
            </a:xfrm>
            <a:custGeom>
              <a:avLst/>
              <a:gdLst/>
              <a:ahLst/>
              <a:cxnLst/>
              <a:rect l="l" t="t" r="r" b="b"/>
              <a:pathLst>
                <a:path w="1419" h="1356" extrusionOk="0">
                  <a:moveTo>
                    <a:pt x="347" y="1"/>
                  </a:moveTo>
                  <a:cubicBezTo>
                    <a:pt x="158" y="1"/>
                    <a:pt x="1" y="159"/>
                    <a:pt x="1" y="348"/>
                  </a:cubicBezTo>
                  <a:lnTo>
                    <a:pt x="1" y="1009"/>
                  </a:lnTo>
                  <a:cubicBezTo>
                    <a:pt x="1" y="1230"/>
                    <a:pt x="158" y="1356"/>
                    <a:pt x="347" y="1356"/>
                  </a:cubicBezTo>
                  <a:lnTo>
                    <a:pt x="1009" y="1356"/>
                  </a:lnTo>
                  <a:cubicBezTo>
                    <a:pt x="1230" y="1356"/>
                    <a:pt x="1387" y="1198"/>
                    <a:pt x="1387" y="1009"/>
                  </a:cubicBezTo>
                  <a:cubicBezTo>
                    <a:pt x="1419" y="852"/>
                    <a:pt x="1261" y="694"/>
                    <a:pt x="1072" y="694"/>
                  </a:cubicBezTo>
                  <a:lnTo>
                    <a:pt x="694" y="694"/>
                  </a:lnTo>
                  <a:lnTo>
                    <a:pt x="694" y="348"/>
                  </a:lnTo>
                  <a:cubicBezTo>
                    <a:pt x="694" y="159"/>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5" name="Google Shape;7045;p74"/>
            <p:cNvSpPr/>
            <p:nvPr/>
          </p:nvSpPr>
          <p:spPr>
            <a:xfrm>
              <a:off x="-32245875" y="1938725"/>
              <a:ext cx="295400" cy="292225"/>
            </a:xfrm>
            <a:custGeom>
              <a:avLst/>
              <a:gdLst/>
              <a:ahLst/>
              <a:cxnLst/>
              <a:rect l="l" t="t" r="r" b="b"/>
              <a:pathLst>
                <a:path w="11816" h="11689" extrusionOk="0">
                  <a:moveTo>
                    <a:pt x="10965" y="1355"/>
                  </a:moveTo>
                  <a:cubicBezTo>
                    <a:pt x="11154" y="1355"/>
                    <a:pt x="11311" y="1544"/>
                    <a:pt x="11311" y="1733"/>
                  </a:cubicBezTo>
                  <a:lnTo>
                    <a:pt x="11311" y="2742"/>
                  </a:lnTo>
                  <a:lnTo>
                    <a:pt x="1009" y="2742"/>
                  </a:lnTo>
                  <a:lnTo>
                    <a:pt x="1009" y="1733"/>
                  </a:lnTo>
                  <a:lnTo>
                    <a:pt x="852" y="1733"/>
                  </a:lnTo>
                  <a:cubicBezTo>
                    <a:pt x="852" y="1544"/>
                    <a:pt x="1009" y="1355"/>
                    <a:pt x="1198" y="1355"/>
                  </a:cubicBezTo>
                  <a:lnTo>
                    <a:pt x="1545" y="1355"/>
                  </a:lnTo>
                  <a:lnTo>
                    <a:pt x="1545" y="1733"/>
                  </a:lnTo>
                  <a:cubicBezTo>
                    <a:pt x="1545" y="1922"/>
                    <a:pt x="1702" y="2080"/>
                    <a:pt x="1891" y="2080"/>
                  </a:cubicBezTo>
                  <a:cubicBezTo>
                    <a:pt x="2112" y="2080"/>
                    <a:pt x="2269" y="1922"/>
                    <a:pt x="2269" y="1733"/>
                  </a:cubicBezTo>
                  <a:lnTo>
                    <a:pt x="2269" y="1355"/>
                  </a:lnTo>
                  <a:lnTo>
                    <a:pt x="3624" y="1355"/>
                  </a:lnTo>
                  <a:lnTo>
                    <a:pt x="3624" y="1733"/>
                  </a:lnTo>
                  <a:cubicBezTo>
                    <a:pt x="3624" y="1922"/>
                    <a:pt x="3782" y="2080"/>
                    <a:pt x="4002" y="2080"/>
                  </a:cubicBezTo>
                  <a:cubicBezTo>
                    <a:pt x="4191" y="2080"/>
                    <a:pt x="4349" y="1922"/>
                    <a:pt x="4349" y="1733"/>
                  </a:cubicBezTo>
                  <a:lnTo>
                    <a:pt x="4349" y="1355"/>
                  </a:lnTo>
                  <a:lnTo>
                    <a:pt x="5735" y="1355"/>
                  </a:lnTo>
                  <a:lnTo>
                    <a:pt x="5735" y="1733"/>
                  </a:lnTo>
                  <a:cubicBezTo>
                    <a:pt x="5735" y="1922"/>
                    <a:pt x="5892" y="2080"/>
                    <a:pt x="6081" y="2080"/>
                  </a:cubicBezTo>
                  <a:cubicBezTo>
                    <a:pt x="6270" y="2080"/>
                    <a:pt x="6428" y="1922"/>
                    <a:pt x="6428" y="1733"/>
                  </a:cubicBezTo>
                  <a:lnTo>
                    <a:pt x="6428" y="1355"/>
                  </a:lnTo>
                  <a:lnTo>
                    <a:pt x="7814" y="1355"/>
                  </a:lnTo>
                  <a:lnTo>
                    <a:pt x="7814" y="1733"/>
                  </a:lnTo>
                  <a:cubicBezTo>
                    <a:pt x="7814" y="1922"/>
                    <a:pt x="7972" y="2080"/>
                    <a:pt x="8161" y="2080"/>
                  </a:cubicBezTo>
                  <a:cubicBezTo>
                    <a:pt x="8381" y="2080"/>
                    <a:pt x="8539" y="1922"/>
                    <a:pt x="8539" y="1733"/>
                  </a:cubicBezTo>
                  <a:lnTo>
                    <a:pt x="8539" y="1355"/>
                  </a:lnTo>
                  <a:lnTo>
                    <a:pt x="9893" y="1355"/>
                  </a:lnTo>
                  <a:lnTo>
                    <a:pt x="9893" y="1733"/>
                  </a:lnTo>
                  <a:cubicBezTo>
                    <a:pt x="9893" y="1922"/>
                    <a:pt x="10051" y="2080"/>
                    <a:pt x="10272" y="2080"/>
                  </a:cubicBezTo>
                  <a:cubicBezTo>
                    <a:pt x="10461" y="2080"/>
                    <a:pt x="10618" y="1922"/>
                    <a:pt x="10618" y="1733"/>
                  </a:cubicBezTo>
                  <a:lnTo>
                    <a:pt x="10618" y="1355"/>
                  </a:lnTo>
                  <a:close/>
                  <a:moveTo>
                    <a:pt x="11154" y="3466"/>
                  </a:moveTo>
                  <a:lnTo>
                    <a:pt x="11154" y="9641"/>
                  </a:lnTo>
                  <a:lnTo>
                    <a:pt x="852" y="9641"/>
                  </a:lnTo>
                  <a:lnTo>
                    <a:pt x="852" y="3466"/>
                  </a:lnTo>
                  <a:close/>
                  <a:moveTo>
                    <a:pt x="11154" y="10366"/>
                  </a:moveTo>
                  <a:lnTo>
                    <a:pt x="11154" y="10712"/>
                  </a:lnTo>
                  <a:cubicBezTo>
                    <a:pt x="11122" y="10870"/>
                    <a:pt x="10965" y="11027"/>
                    <a:pt x="10807" y="11027"/>
                  </a:cubicBezTo>
                  <a:lnTo>
                    <a:pt x="1198" y="11027"/>
                  </a:lnTo>
                  <a:cubicBezTo>
                    <a:pt x="1009" y="11027"/>
                    <a:pt x="852" y="10870"/>
                    <a:pt x="852" y="10649"/>
                  </a:cubicBezTo>
                  <a:lnTo>
                    <a:pt x="852" y="10366"/>
                  </a:lnTo>
                  <a:close/>
                  <a:moveTo>
                    <a:pt x="1734" y="1"/>
                  </a:moveTo>
                  <a:cubicBezTo>
                    <a:pt x="1545" y="1"/>
                    <a:pt x="1387" y="158"/>
                    <a:pt x="1387" y="347"/>
                  </a:cubicBezTo>
                  <a:lnTo>
                    <a:pt x="1387" y="694"/>
                  </a:lnTo>
                  <a:lnTo>
                    <a:pt x="1041" y="694"/>
                  </a:lnTo>
                  <a:cubicBezTo>
                    <a:pt x="474" y="694"/>
                    <a:pt x="1" y="1166"/>
                    <a:pt x="1" y="1733"/>
                  </a:cubicBezTo>
                  <a:lnTo>
                    <a:pt x="1" y="10649"/>
                  </a:lnTo>
                  <a:cubicBezTo>
                    <a:pt x="1" y="11216"/>
                    <a:pt x="474" y="11689"/>
                    <a:pt x="1041" y="11689"/>
                  </a:cubicBezTo>
                  <a:lnTo>
                    <a:pt x="10650" y="11689"/>
                  </a:lnTo>
                  <a:cubicBezTo>
                    <a:pt x="11185" y="11689"/>
                    <a:pt x="11658" y="11216"/>
                    <a:pt x="11658" y="10649"/>
                  </a:cubicBezTo>
                  <a:lnTo>
                    <a:pt x="11658" y="1733"/>
                  </a:lnTo>
                  <a:cubicBezTo>
                    <a:pt x="11815" y="1166"/>
                    <a:pt x="11343" y="694"/>
                    <a:pt x="10807" y="694"/>
                  </a:cubicBezTo>
                  <a:lnTo>
                    <a:pt x="10461" y="694"/>
                  </a:lnTo>
                  <a:lnTo>
                    <a:pt x="10461" y="347"/>
                  </a:lnTo>
                  <a:cubicBezTo>
                    <a:pt x="10461" y="158"/>
                    <a:pt x="10303" y="1"/>
                    <a:pt x="10083" y="1"/>
                  </a:cubicBezTo>
                  <a:cubicBezTo>
                    <a:pt x="9893" y="1"/>
                    <a:pt x="9736" y="158"/>
                    <a:pt x="9736" y="347"/>
                  </a:cubicBezTo>
                  <a:lnTo>
                    <a:pt x="9736" y="694"/>
                  </a:lnTo>
                  <a:lnTo>
                    <a:pt x="8350" y="694"/>
                  </a:lnTo>
                  <a:lnTo>
                    <a:pt x="8350" y="347"/>
                  </a:lnTo>
                  <a:cubicBezTo>
                    <a:pt x="8350" y="158"/>
                    <a:pt x="8192" y="1"/>
                    <a:pt x="8003" y="1"/>
                  </a:cubicBezTo>
                  <a:cubicBezTo>
                    <a:pt x="7814" y="1"/>
                    <a:pt x="7657" y="158"/>
                    <a:pt x="7657" y="347"/>
                  </a:cubicBezTo>
                  <a:lnTo>
                    <a:pt x="7657" y="694"/>
                  </a:lnTo>
                  <a:lnTo>
                    <a:pt x="6270" y="694"/>
                  </a:lnTo>
                  <a:lnTo>
                    <a:pt x="6270" y="347"/>
                  </a:lnTo>
                  <a:cubicBezTo>
                    <a:pt x="6270" y="158"/>
                    <a:pt x="6113" y="1"/>
                    <a:pt x="5924" y="1"/>
                  </a:cubicBezTo>
                  <a:cubicBezTo>
                    <a:pt x="5735" y="1"/>
                    <a:pt x="5577" y="158"/>
                    <a:pt x="5577" y="347"/>
                  </a:cubicBezTo>
                  <a:lnTo>
                    <a:pt x="5577" y="694"/>
                  </a:lnTo>
                  <a:lnTo>
                    <a:pt x="4191" y="694"/>
                  </a:lnTo>
                  <a:lnTo>
                    <a:pt x="4191" y="347"/>
                  </a:lnTo>
                  <a:cubicBezTo>
                    <a:pt x="4191" y="158"/>
                    <a:pt x="4034" y="1"/>
                    <a:pt x="3845" y="1"/>
                  </a:cubicBezTo>
                  <a:cubicBezTo>
                    <a:pt x="3624" y="1"/>
                    <a:pt x="3466" y="158"/>
                    <a:pt x="3466" y="347"/>
                  </a:cubicBezTo>
                  <a:lnTo>
                    <a:pt x="3466" y="694"/>
                  </a:lnTo>
                  <a:lnTo>
                    <a:pt x="2112" y="694"/>
                  </a:lnTo>
                  <a:lnTo>
                    <a:pt x="2112" y="347"/>
                  </a:lnTo>
                  <a:cubicBezTo>
                    <a:pt x="2112" y="158"/>
                    <a:pt x="1954"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46" name="Google Shape;7046;p74"/>
          <p:cNvGrpSpPr/>
          <p:nvPr/>
        </p:nvGrpSpPr>
        <p:grpSpPr>
          <a:xfrm>
            <a:off x="2314867" y="4512374"/>
            <a:ext cx="486736" cy="469549"/>
            <a:chOff x="-32243500" y="2299850"/>
            <a:chExt cx="300900" cy="290275"/>
          </a:xfrm>
        </p:grpSpPr>
        <p:sp>
          <p:nvSpPr>
            <p:cNvPr id="7047" name="Google Shape;7047;p74"/>
            <p:cNvSpPr/>
            <p:nvPr/>
          </p:nvSpPr>
          <p:spPr>
            <a:xfrm>
              <a:off x="-32243500" y="2299850"/>
              <a:ext cx="300900" cy="290275"/>
            </a:xfrm>
            <a:custGeom>
              <a:avLst/>
              <a:gdLst/>
              <a:ahLst/>
              <a:cxnLst/>
              <a:rect l="l" t="t" r="r" b="b"/>
              <a:pathLst>
                <a:path w="12036" h="11611" extrusionOk="0">
                  <a:moveTo>
                    <a:pt x="7955" y="654"/>
                  </a:moveTo>
                  <a:cubicBezTo>
                    <a:pt x="8743" y="654"/>
                    <a:pt x="9531" y="946"/>
                    <a:pt x="10114" y="1529"/>
                  </a:cubicBezTo>
                  <a:cubicBezTo>
                    <a:pt x="11311" y="2726"/>
                    <a:pt x="11311" y="4679"/>
                    <a:pt x="10114" y="5876"/>
                  </a:cubicBezTo>
                  <a:cubicBezTo>
                    <a:pt x="9540" y="6450"/>
                    <a:pt x="8752" y="6766"/>
                    <a:pt x="7951" y="6766"/>
                  </a:cubicBezTo>
                  <a:cubicBezTo>
                    <a:pt x="7565" y="6766"/>
                    <a:pt x="7175" y="6692"/>
                    <a:pt x="6806" y="6538"/>
                  </a:cubicBezTo>
                  <a:cubicBezTo>
                    <a:pt x="6759" y="6526"/>
                    <a:pt x="6709" y="6519"/>
                    <a:pt x="6661" y="6519"/>
                  </a:cubicBezTo>
                  <a:cubicBezTo>
                    <a:pt x="6577" y="6519"/>
                    <a:pt x="6499" y="6541"/>
                    <a:pt x="6459" y="6601"/>
                  </a:cubicBezTo>
                  <a:lnTo>
                    <a:pt x="5545" y="7514"/>
                  </a:lnTo>
                  <a:lnTo>
                    <a:pt x="4726" y="7514"/>
                  </a:lnTo>
                  <a:cubicBezTo>
                    <a:pt x="4537" y="7514"/>
                    <a:pt x="4380" y="7672"/>
                    <a:pt x="4380" y="7861"/>
                  </a:cubicBezTo>
                  <a:lnTo>
                    <a:pt x="4380" y="8460"/>
                  </a:lnTo>
                  <a:lnTo>
                    <a:pt x="3907" y="8428"/>
                  </a:lnTo>
                  <a:cubicBezTo>
                    <a:pt x="3813" y="8428"/>
                    <a:pt x="3687" y="8428"/>
                    <a:pt x="3655" y="8491"/>
                  </a:cubicBezTo>
                  <a:cubicBezTo>
                    <a:pt x="3592" y="8554"/>
                    <a:pt x="3529" y="8649"/>
                    <a:pt x="3529" y="8743"/>
                  </a:cubicBezTo>
                  <a:lnTo>
                    <a:pt x="3466" y="9531"/>
                  </a:lnTo>
                  <a:lnTo>
                    <a:pt x="2678" y="9594"/>
                  </a:lnTo>
                  <a:cubicBezTo>
                    <a:pt x="2584" y="9594"/>
                    <a:pt x="2521" y="9657"/>
                    <a:pt x="2426" y="9720"/>
                  </a:cubicBezTo>
                  <a:cubicBezTo>
                    <a:pt x="2395" y="9814"/>
                    <a:pt x="2363" y="9877"/>
                    <a:pt x="2363" y="9972"/>
                  </a:cubicBezTo>
                  <a:lnTo>
                    <a:pt x="2426" y="10665"/>
                  </a:lnTo>
                  <a:lnTo>
                    <a:pt x="2174" y="10949"/>
                  </a:lnTo>
                  <a:lnTo>
                    <a:pt x="694" y="10949"/>
                  </a:lnTo>
                  <a:lnTo>
                    <a:pt x="694" y="9499"/>
                  </a:lnTo>
                  <a:lnTo>
                    <a:pt x="757" y="9499"/>
                  </a:lnTo>
                  <a:lnTo>
                    <a:pt x="5041" y="5215"/>
                  </a:lnTo>
                  <a:cubicBezTo>
                    <a:pt x="5104" y="5120"/>
                    <a:pt x="5167" y="4963"/>
                    <a:pt x="5104" y="4837"/>
                  </a:cubicBezTo>
                  <a:cubicBezTo>
                    <a:pt x="4695" y="3702"/>
                    <a:pt x="4947" y="2411"/>
                    <a:pt x="5797" y="1529"/>
                  </a:cubicBezTo>
                  <a:cubicBezTo>
                    <a:pt x="6380" y="946"/>
                    <a:pt x="7168" y="654"/>
                    <a:pt x="7955" y="654"/>
                  </a:cubicBezTo>
                  <a:close/>
                  <a:moveTo>
                    <a:pt x="7936" y="1"/>
                  </a:moveTo>
                  <a:cubicBezTo>
                    <a:pt x="6971" y="1"/>
                    <a:pt x="6002" y="363"/>
                    <a:pt x="5262" y="1088"/>
                  </a:cubicBezTo>
                  <a:cubicBezTo>
                    <a:pt x="4285" y="2096"/>
                    <a:pt x="3939" y="3576"/>
                    <a:pt x="4380" y="4931"/>
                  </a:cubicBezTo>
                  <a:lnTo>
                    <a:pt x="126" y="9184"/>
                  </a:lnTo>
                  <a:cubicBezTo>
                    <a:pt x="32" y="9247"/>
                    <a:pt x="0" y="9342"/>
                    <a:pt x="0" y="9405"/>
                  </a:cubicBezTo>
                  <a:lnTo>
                    <a:pt x="0" y="11358"/>
                  </a:lnTo>
                  <a:cubicBezTo>
                    <a:pt x="32" y="11453"/>
                    <a:pt x="189" y="11610"/>
                    <a:pt x="379" y="11610"/>
                  </a:cubicBezTo>
                  <a:lnTo>
                    <a:pt x="2332" y="11610"/>
                  </a:lnTo>
                  <a:cubicBezTo>
                    <a:pt x="2395" y="11610"/>
                    <a:pt x="2521" y="11579"/>
                    <a:pt x="2552" y="11516"/>
                  </a:cubicBezTo>
                  <a:lnTo>
                    <a:pt x="3025" y="11043"/>
                  </a:lnTo>
                  <a:cubicBezTo>
                    <a:pt x="3119" y="10949"/>
                    <a:pt x="3151" y="10823"/>
                    <a:pt x="3119" y="10759"/>
                  </a:cubicBezTo>
                  <a:lnTo>
                    <a:pt x="3025" y="10255"/>
                  </a:lnTo>
                  <a:lnTo>
                    <a:pt x="3750" y="10161"/>
                  </a:lnTo>
                  <a:cubicBezTo>
                    <a:pt x="3907" y="10161"/>
                    <a:pt x="4002" y="10003"/>
                    <a:pt x="4065" y="9846"/>
                  </a:cubicBezTo>
                  <a:lnTo>
                    <a:pt x="4128" y="9153"/>
                  </a:lnTo>
                  <a:lnTo>
                    <a:pt x="4663" y="9216"/>
                  </a:lnTo>
                  <a:cubicBezTo>
                    <a:pt x="4726" y="9216"/>
                    <a:pt x="4852" y="9216"/>
                    <a:pt x="4915" y="9153"/>
                  </a:cubicBezTo>
                  <a:cubicBezTo>
                    <a:pt x="5010" y="9058"/>
                    <a:pt x="5041" y="8995"/>
                    <a:pt x="5041" y="8901"/>
                  </a:cubicBezTo>
                  <a:lnTo>
                    <a:pt x="5041" y="8271"/>
                  </a:lnTo>
                  <a:lnTo>
                    <a:pt x="5671" y="8271"/>
                  </a:lnTo>
                  <a:cubicBezTo>
                    <a:pt x="5734" y="8271"/>
                    <a:pt x="5829" y="8239"/>
                    <a:pt x="5892" y="8145"/>
                  </a:cubicBezTo>
                  <a:lnTo>
                    <a:pt x="6774" y="7325"/>
                  </a:lnTo>
                  <a:cubicBezTo>
                    <a:pt x="7153" y="7452"/>
                    <a:pt x="7548" y="7514"/>
                    <a:pt x="7941" y="7514"/>
                  </a:cubicBezTo>
                  <a:cubicBezTo>
                    <a:pt x="8920" y="7514"/>
                    <a:pt x="9889" y="7131"/>
                    <a:pt x="10586" y="6412"/>
                  </a:cubicBezTo>
                  <a:cubicBezTo>
                    <a:pt x="12035" y="4963"/>
                    <a:pt x="12035" y="2568"/>
                    <a:pt x="10586" y="1088"/>
                  </a:cubicBezTo>
                  <a:cubicBezTo>
                    <a:pt x="9862" y="363"/>
                    <a:pt x="8901" y="1"/>
                    <a:pt x="79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48" name="Google Shape;7048;p74"/>
            <p:cNvSpPr/>
            <p:nvPr/>
          </p:nvSpPr>
          <p:spPr>
            <a:xfrm>
              <a:off x="-32048175" y="2342775"/>
              <a:ext cx="55950" cy="51025"/>
            </a:xfrm>
            <a:custGeom>
              <a:avLst/>
              <a:gdLst/>
              <a:ahLst/>
              <a:cxnLst/>
              <a:rect l="l" t="t" r="r" b="b"/>
              <a:pathLst>
                <a:path w="2238" h="2041" extrusionOk="0">
                  <a:moveTo>
                    <a:pt x="1119" y="662"/>
                  </a:moveTo>
                  <a:cubicBezTo>
                    <a:pt x="1206" y="662"/>
                    <a:pt x="1292" y="694"/>
                    <a:pt x="1355" y="757"/>
                  </a:cubicBezTo>
                  <a:cubicBezTo>
                    <a:pt x="1481" y="883"/>
                    <a:pt x="1481" y="1135"/>
                    <a:pt x="1355" y="1229"/>
                  </a:cubicBezTo>
                  <a:cubicBezTo>
                    <a:pt x="1292" y="1292"/>
                    <a:pt x="1206" y="1324"/>
                    <a:pt x="1119" y="1324"/>
                  </a:cubicBezTo>
                  <a:cubicBezTo>
                    <a:pt x="1032" y="1324"/>
                    <a:pt x="946" y="1292"/>
                    <a:pt x="883" y="1229"/>
                  </a:cubicBezTo>
                  <a:cubicBezTo>
                    <a:pt x="725" y="1135"/>
                    <a:pt x="725" y="914"/>
                    <a:pt x="883" y="757"/>
                  </a:cubicBezTo>
                  <a:cubicBezTo>
                    <a:pt x="946" y="694"/>
                    <a:pt x="1032" y="662"/>
                    <a:pt x="1119" y="662"/>
                  </a:cubicBezTo>
                  <a:close/>
                  <a:moveTo>
                    <a:pt x="1115" y="1"/>
                  </a:moveTo>
                  <a:cubicBezTo>
                    <a:pt x="851" y="1"/>
                    <a:pt x="584" y="95"/>
                    <a:pt x="379" y="284"/>
                  </a:cubicBezTo>
                  <a:cubicBezTo>
                    <a:pt x="1" y="694"/>
                    <a:pt x="1" y="1355"/>
                    <a:pt x="379" y="1733"/>
                  </a:cubicBezTo>
                  <a:cubicBezTo>
                    <a:pt x="599" y="1938"/>
                    <a:pt x="867" y="2041"/>
                    <a:pt x="1127" y="2041"/>
                  </a:cubicBezTo>
                  <a:cubicBezTo>
                    <a:pt x="1387" y="2041"/>
                    <a:pt x="1639" y="1938"/>
                    <a:pt x="1828" y="1733"/>
                  </a:cubicBezTo>
                  <a:cubicBezTo>
                    <a:pt x="2238" y="1355"/>
                    <a:pt x="2238" y="694"/>
                    <a:pt x="1828" y="284"/>
                  </a:cubicBezTo>
                  <a:cubicBezTo>
                    <a:pt x="1639" y="95"/>
                    <a:pt x="1379" y="1"/>
                    <a:pt x="11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49" name="Google Shape;7049;p74"/>
          <p:cNvSpPr/>
          <p:nvPr/>
        </p:nvSpPr>
        <p:spPr>
          <a:xfrm>
            <a:off x="2316721" y="5126199"/>
            <a:ext cx="475251" cy="470156"/>
          </a:xfrm>
          <a:custGeom>
            <a:avLst/>
            <a:gdLst/>
            <a:ahLst/>
            <a:cxnLst/>
            <a:rect l="l" t="t" r="r" b="b"/>
            <a:pathLst>
              <a:path w="11752" h="11626" extrusionOk="0">
                <a:moveTo>
                  <a:pt x="5829" y="662"/>
                </a:moveTo>
                <a:cubicBezTo>
                  <a:pt x="6049" y="662"/>
                  <a:pt x="6207" y="819"/>
                  <a:pt x="6207" y="1008"/>
                </a:cubicBezTo>
                <a:cubicBezTo>
                  <a:pt x="6207" y="1197"/>
                  <a:pt x="6049" y="1355"/>
                  <a:pt x="5829" y="1355"/>
                </a:cubicBezTo>
                <a:cubicBezTo>
                  <a:pt x="5640" y="1355"/>
                  <a:pt x="5482" y="1197"/>
                  <a:pt x="5482" y="1008"/>
                </a:cubicBezTo>
                <a:cubicBezTo>
                  <a:pt x="5482" y="819"/>
                  <a:pt x="5640" y="662"/>
                  <a:pt x="5829" y="662"/>
                </a:cubicBezTo>
                <a:close/>
                <a:moveTo>
                  <a:pt x="5829" y="2048"/>
                </a:moveTo>
                <a:cubicBezTo>
                  <a:pt x="6743" y="2048"/>
                  <a:pt x="7625" y="2363"/>
                  <a:pt x="8255" y="2898"/>
                </a:cubicBezTo>
                <a:lnTo>
                  <a:pt x="7247" y="3875"/>
                </a:lnTo>
                <a:cubicBezTo>
                  <a:pt x="6869" y="3560"/>
                  <a:pt x="6364" y="3403"/>
                  <a:pt x="5797" y="3403"/>
                </a:cubicBezTo>
                <a:cubicBezTo>
                  <a:pt x="5325" y="3403"/>
                  <a:pt x="4821" y="3560"/>
                  <a:pt x="4380" y="3875"/>
                </a:cubicBezTo>
                <a:lnTo>
                  <a:pt x="3435" y="2930"/>
                </a:lnTo>
                <a:cubicBezTo>
                  <a:pt x="4065" y="2363"/>
                  <a:pt x="4884" y="2048"/>
                  <a:pt x="5829" y="2048"/>
                </a:cubicBezTo>
                <a:close/>
                <a:moveTo>
                  <a:pt x="4852" y="1355"/>
                </a:moveTo>
                <a:cubicBezTo>
                  <a:pt x="4852" y="1418"/>
                  <a:pt x="4884" y="1449"/>
                  <a:pt x="4884" y="1449"/>
                </a:cubicBezTo>
                <a:cubicBezTo>
                  <a:pt x="3214" y="1796"/>
                  <a:pt x="1828" y="3151"/>
                  <a:pt x="1481" y="4883"/>
                </a:cubicBezTo>
                <a:cubicBezTo>
                  <a:pt x="1450" y="4883"/>
                  <a:pt x="1387" y="4820"/>
                  <a:pt x="1387" y="4820"/>
                </a:cubicBezTo>
                <a:lnTo>
                  <a:pt x="1387" y="3718"/>
                </a:lnTo>
                <a:cubicBezTo>
                  <a:pt x="1387" y="2426"/>
                  <a:pt x="2458" y="1355"/>
                  <a:pt x="3750" y="1355"/>
                </a:cubicBezTo>
                <a:close/>
                <a:moveTo>
                  <a:pt x="7908" y="1355"/>
                </a:moveTo>
                <a:cubicBezTo>
                  <a:pt x="9200" y="1355"/>
                  <a:pt x="10240" y="2426"/>
                  <a:pt x="10240" y="3718"/>
                </a:cubicBezTo>
                <a:lnTo>
                  <a:pt x="10240" y="4820"/>
                </a:lnTo>
                <a:cubicBezTo>
                  <a:pt x="10208" y="4820"/>
                  <a:pt x="10177" y="4883"/>
                  <a:pt x="10177" y="4883"/>
                </a:cubicBezTo>
                <a:cubicBezTo>
                  <a:pt x="9830" y="3182"/>
                  <a:pt x="8475" y="1796"/>
                  <a:pt x="6743" y="1449"/>
                </a:cubicBezTo>
                <a:cubicBezTo>
                  <a:pt x="6743" y="1418"/>
                  <a:pt x="6774" y="1355"/>
                  <a:pt x="6774" y="1355"/>
                </a:cubicBezTo>
                <a:close/>
                <a:moveTo>
                  <a:pt x="10618" y="5419"/>
                </a:moveTo>
                <a:cubicBezTo>
                  <a:pt x="10807" y="5419"/>
                  <a:pt x="10964" y="5576"/>
                  <a:pt x="10964" y="5765"/>
                </a:cubicBezTo>
                <a:cubicBezTo>
                  <a:pt x="10964" y="5986"/>
                  <a:pt x="10807" y="6143"/>
                  <a:pt x="10618" y="6143"/>
                </a:cubicBezTo>
                <a:cubicBezTo>
                  <a:pt x="10397" y="6143"/>
                  <a:pt x="10240" y="5986"/>
                  <a:pt x="10240" y="5765"/>
                </a:cubicBezTo>
                <a:cubicBezTo>
                  <a:pt x="10240" y="5576"/>
                  <a:pt x="10397" y="5419"/>
                  <a:pt x="10618" y="5419"/>
                </a:cubicBezTo>
                <a:close/>
                <a:moveTo>
                  <a:pt x="1040" y="5450"/>
                </a:moveTo>
                <a:cubicBezTo>
                  <a:pt x="1229" y="5450"/>
                  <a:pt x="1387" y="5608"/>
                  <a:pt x="1387" y="5828"/>
                </a:cubicBezTo>
                <a:cubicBezTo>
                  <a:pt x="1387" y="6017"/>
                  <a:pt x="1229" y="6175"/>
                  <a:pt x="1040" y="6175"/>
                </a:cubicBezTo>
                <a:cubicBezTo>
                  <a:pt x="851" y="6175"/>
                  <a:pt x="694" y="6017"/>
                  <a:pt x="694" y="5828"/>
                </a:cubicBezTo>
                <a:cubicBezTo>
                  <a:pt x="694" y="5608"/>
                  <a:pt x="851" y="5450"/>
                  <a:pt x="1040" y="5450"/>
                </a:cubicBezTo>
                <a:close/>
                <a:moveTo>
                  <a:pt x="5829" y="4096"/>
                </a:moveTo>
                <a:cubicBezTo>
                  <a:pt x="6774" y="4096"/>
                  <a:pt x="7530" y="4820"/>
                  <a:pt x="7530" y="5765"/>
                </a:cubicBezTo>
                <a:cubicBezTo>
                  <a:pt x="7530" y="6711"/>
                  <a:pt x="6837" y="7498"/>
                  <a:pt x="5829" y="7498"/>
                </a:cubicBezTo>
                <a:cubicBezTo>
                  <a:pt x="4884" y="7498"/>
                  <a:pt x="4096" y="6711"/>
                  <a:pt x="4159" y="5734"/>
                </a:cubicBezTo>
                <a:cubicBezTo>
                  <a:pt x="4191" y="4789"/>
                  <a:pt x="4884" y="4096"/>
                  <a:pt x="5829" y="4096"/>
                </a:cubicBezTo>
                <a:close/>
                <a:moveTo>
                  <a:pt x="2930" y="3371"/>
                </a:moveTo>
                <a:lnTo>
                  <a:pt x="3876" y="4316"/>
                </a:lnTo>
                <a:cubicBezTo>
                  <a:pt x="3561" y="4757"/>
                  <a:pt x="3403" y="5261"/>
                  <a:pt x="3403" y="5765"/>
                </a:cubicBezTo>
                <a:cubicBezTo>
                  <a:pt x="3403" y="6301"/>
                  <a:pt x="3561" y="6805"/>
                  <a:pt x="3876" y="7183"/>
                </a:cubicBezTo>
                <a:lnTo>
                  <a:pt x="2899" y="8191"/>
                </a:lnTo>
                <a:cubicBezTo>
                  <a:pt x="2363" y="7561"/>
                  <a:pt x="2048" y="6711"/>
                  <a:pt x="2048" y="5765"/>
                </a:cubicBezTo>
                <a:cubicBezTo>
                  <a:pt x="2048" y="4883"/>
                  <a:pt x="2363" y="4001"/>
                  <a:pt x="2930" y="3371"/>
                </a:cubicBezTo>
                <a:close/>
                <a:moveTo>
                  <a:pt x="8759" y="3340"/>
                </a:moveTo>
                <a:cubicBezTo>
                  <a:pt x="9294" y="4001"/>
                  <a:pt x="9609" y="4820"/>
                  <a:pt x="9609" y="5734"/>
                </a:cubicBezTo>
                <a:cubicBezTo>
                  <a:pt x="9578" y="6711"/>
                  <a:pt x="9263" y="7561"/>
                  <a:pt x="8727" y="8191"/>
                </a:cubicBezTo>
                <a:lnTo>
                  <a:pt x="7782" y="7246"/>
                </a:lnTo>
                <a:cubicBezTo>
                  <a:pt x="8097" y="6805"/>
                  <a:pt x="8255" y="6301"/>
                  <a:pt x="8255" y="5765"/>
                </a:cubicBezTo>
                <a:cubicBezTo>
                  <a:pt x="8255" y="5576"/>
                  <a:pt x="8192" y="5387"/>
                  <a:pt x="8160" y="5198"/>
                </a:cubicBezTo>
                <a:cubicBezTo>
                  <a:pt x="8097" y="4883"/>
                  <a:pt x="7971" y="4600"/>
                  <a:pt x="7782" y="4316"/>
                </a:cubicBezTo>
                <a:lnTo>
                  <a:pt x="8759" y="3340"/>
                </a:lnTo>
                <a:close/>
                <a:moveTo>
                  <a:pt x="7310" y="7719"/>
                </a:moveTo>
                <a:lnTo>
                  <a:pt x="8255" y="8664"/>
                </a:lnTo>
                <a:cubicBezTo>
                  <a:pt x="7562" y="9231"/>
                  <a:pt x="6743" y="9546"/>
                  <a:pt x="5829" y="9546"/>
                </a:cubicBezTo>
                <a:cubicBezTo>
                  <a:pt x="4947" y="9546"/>
                  <a:pt x="4065" y="9231"/>
                  <a:pt x="3435" y="8695"/>
                </a:cubicBezTo>
                <a:lnTo>
                  <a:pt x="4411" y="7719"/>
                </a:lnTo>
                <a:cubicBezTo>
                  <a:pt x="4821" y="8034"/>
                  <a:pt x="5325" y="8191"/>
                  <a:pt x="5829" y="8191"/>
                </a:cubicBezTo>
                <a:cubicBezTo>
                  <a:pt x="6364" y="8191"/>
                  <a:pt x="6869" y="8034"/>
                  <a:pt x="7310" y="7719"/>
                </a:cubicBezTo>
                <a:close/>
                <a:moveTo>
                  <a:pt x="1481" y="6711"/>
                </a:moveTo>
                <a:cubicBezTo>
                  <a:pt x="1828" y="8443"/>
                  <a:pt x="3214" y="9798"/>
                  <a:pt x="4884" y="10145"/>
                </a:cubicBezTo>
                <a:cubicBezTo>
                  <a:pt x="4884" y="10176"/>
                  <a:pt x="4852" y="10239"/>
                  <a:pt x="4852" y="10271"/>
                </a:cubicBezTo>
                <a:lnTo>
                  <a:pt x="3781" y="10271"/>
                </a:lnTo>
                <a:cubicBezTo>
                  <a:pt x="2458" y="10271"/>
                  <a:pt x="1387" y="9168"/>
                  <a:pt x="1387" y="7813"/>
                </a:cubicBezTo>
                <a:lnTo>
                  <a:pt x="1387" y="6774"/>
                </a:lnTo>
                <a:cubicBezTo>
                  <a:pt x="1418" y="6774"/>
                  <a:pt x="1481" y="6711"/>
                  <a:pt x="1481" y="6711"/>
                </a:cubicBezTo>
                <a:close/>
                <a:moveTo>
                  <a:pt x="10177" y="6711"/>
                </a:moveTo>
                <a:cubicBezTo>
                  <a:pt x="10208" y="6711"/>
                  <a:pt x="10240" y="6774"/>
                  <a:pt x="10240" y="6774"/>
                </a:cubicBezTo>
                <a:lnTo>
                  <a:pt x="10240" y="7876"/>
                </a:lnTo>
                <a:cubicBezTo>
                  <a:pt x="10240" y="9168"/>
                  <a:pt x="9200" y="10271"/>
                  <a:pt x="7877" y="10271"/>
                </a:cubicBezTo>
                <a:lnTo>
                  <a:pt x="6774" y="10271"/>
                </a:lnTo>
                <a:cubicBezTo>
                  <a:pt x="6774" y="10239"/>
                  <a:pt x="6743" y="10176"/>
                  <a:pt x="6743" y="10145"/>
                </a:cubicBezTo>
                <a:cubicBezTo>
                  <a:pt x="8475" y="9798"/>
                  <a:pt x="9830" y="8412"/>
                  <a:pt x="10177" y="6711"/>
                </a:cubicBezTo>
                <a:close/>
                <a:moveTo>
                  <a:pt x="5829" y="10239"/>
                </a:moveTo>
                <a:cubicBezTo>
                  <a:pt x="6049" y="10239"/>
                  <a:pt x="6207" y="10397"/>
                  <a:pt x="6207" y="10586"/>
                </a:cubicBezTo>
                <a:cubicBezTo>
                  <a:pt x="6144" y="10775"/>
                  <a:pt x="5986" y="10932"/>
                  <a:pt x="5829" y="10932"/>
                </a:cubicBezTo>
                <a:cubicBezTo>
                  <a:pt x="5640" y="10932"/>
                  <a:pt x="5482" y="10775"/>
                  <a:pt x="5482" y="10586"/>
                </a:cubicBezTo>
                <a:cubicBezTo>
                  <a:pt x="5482" y="10397"/>
                  <a:pt x="5640" y="10239"/>
                  <a:pt x="5829" y="10239"/>
                </a:cubicBezTo>
                <a:close/>
                <a:moveTo>
                  <a:pt x="5829" y="0"/>
                </a:moveTo>
                <a:cubicBezTo>
                  <a:pt x="5388" y="0"/>
                  <a:pt x="5010" y="315"/>
                  <a:pt x="4852" y="693"/>
                </a:cubicBezTo>
                <a:lnTo>
                  <a:pt x="3813" y="693"/>
                </a:lnTo>
                <a:cubicBezTo>
                  <a:pt x="2111" y="693"/>
                  <a:pt x="725" y="2079"/>
                  <a:pt x="725" y="3781"/>
                </a:cubicBezTo>
                <a:lnTo>
                  <a:pt x="725" y="4820"/>
                </a:lnTo>
                <a:cubicBezTo>
                  <a:pt x="316" y="4946"/>
                  <a:pt x="0" y="5356"/>
                  <a:pt x="0" y="5828"/>
                </a:cubicBezTo>
                <a:cubicBezTo>
                  <a:pt x="0" y="6301"/>
                  <a:pt x="316" y="6648"/>
                  <a:pt x="725" y="6805"/>
                </a:cubicBezTo>
                <a:lnTo>
                  <a:pt x="725" y="7876"/>
                </a:lnTo>
                <a:cubicBezTo>
                  <a:pt x="725" y="9546"/>
                  <a:pt x="2111" y="10964"/>
                  <a:pt x="3813" y="10964"/>
                </a:cubicBezTo>
                <a:lnTo>
                  <a:pt x="4915" y="10964"/>
                </a:lnTo>
                <a:cubicBezTo>
                  <a:pt x="5073" y="11373"/>
                  <a:pt x="5419" y="11625"/>
                  <a:pt x="5892" y="11625"/>
                </a:cubicBezTo>
                <a:cubicBezTo>
                  <a:pt x="6333" y="11625"/>
                  <a:pt x="6711" y="11310"/>
                  <a:pt x="6869" y="10932"/>
                </a:cubicBezTo>
                <a:lnTo>
                  <a:pt x="7971" y="10932"/>
                </a:lnTo>
                <a:cubicBezTo>
                  <a:pt x="9672" y="10932"/>
                  <a:pt x="11059" y="9546"/>
                  <a:pt x="11059" y="7845"/>
                </a:cubicBezTo>
                <a:lnTo>
                  <a:pt x="11059" y="6774"/>
                </a:lnTo>
                <a:cubicBezTo>
                  <a:pt x="11216" y="6711"/>
                  <a:pt x="11311" y="6648"/>
                  <a:pt x="11437" y="6522"/>
                </a:cubicBezTo>
                <a:cubicBezTo>
                  <a:pt x="11626" y="6333"/>
                  <a:pt x="11752" y="6049"/>
                  <a:pt x="11752" y="5765"/>
                </a:cubicBezTo>
                <a:cubicBezTo>
                  <a:pt x="11752" y="5513"/>
                  <a:pt x="11626" y="5230"/>
                  <a:pt x="11437" y="5041"/>
                </a:cubicBezTo>
                <a:cubicBezTo>
                  <a:pt x="11248" y="4946"/>
                  <a:pt x="11090" y="4883"/>
                  <a:pt x="10964" y="4820"/>
                </a:cubicBezTo>
                <a:lnTo>
                  <a:pt x="10964" y="3781"/>
                </a:lnTo>
                <a:cubicBezTo>
                  <a:pt x="10964" y="2079"/>
                  <a:pt x="9578" y="693"/>
                  <a:pt x="7877" y="693"/>
                </a:cubicBezTo>
                <a:lnTo>
                  <a:pt x="6837" y="693"/>
                </a:lnTo>
                <a:cubicBezTo>
                  <a:pt x="6711" y="315"/>
                  <a:pt x="6301"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50" name="Google Shape;7050;p74"/>
          <p:cNvGrpSpPr/>
          <p:nvPr/>
        </p:nvGrpSpPr>
        <p:grpSpPr>
          <a:xfrm>
            <a:off x="1732577" y="2046095"/>
            <a:ext cx="472703" cy="473997"/>
            <a:chOff x="-35495600" y="1912725"/>
            <a:chExt cx="292225" cy="293025"/>
          </a:xfrm>
        </p:grpSpPr>
        <p:sp>
          <p:nvSpPr>
            <p:cNvPr id="7051" name="Google Shape;7051;p74"/>
            <p:cNvSpPr/>
            <p:nvPr/>
          </p:nvSpPr>
          <p:spPr>
            <a:xfrm>
              <a:off x="-35495600" y="1912725"/>
              <a:ext cx="102400" cy="293025"/>
            </a:xfrm>
            <a:custGeom>
              <a:avLst/>
              <a:gdLst/>
              <a:ahLst/>
              <a:cxnLst/>
              <a:rect l="l" t="t" r="r" b="b"/>
              <a:pathLst>
                <a:path w="4096" h="11721" extrusionOk="0">
                  <a:moveTo>
                    <a:pt x="3088" y="726"/>
                  </a:moveTo>
                  <a:cubicBezTo>
                    <a:pt x="3277" y="726"/>
                    <a:pt x="3435" y="883"/>
                    <a:pt x="3435" y="1041"/>
                  </a:cubicBezTo>
                  <a:lnTo>
                    <a:pt x="3435" y="3120"/>
                  </a:lnTo>
                  <a:cubicBezTo>
                    <a:pt x="3435" y="3309"/>
                    <a:pt x="3277" y="3467"/>
                    <a:pt x="3088" y="3467"/>
                  </a:cubicBezTo>
                  <a:lnTo>
                    <a:pt x="2710" y="3467"/>
                  </a:lnTo>
                  <a:lnTo>
                    <a:pt x="2710" y="726"/>
                  </a:lnTo>
                  <a:close/>
                  <a:moveTo>
                    <a:pt x="2080" y="757"/>
                  </a:moveTo>
                  <a:lnTo>
                    <a:pt x="2080" y="3561"/>
                  </a:lnTo>
                  <a:cubicBezTo>
                    <a:pt x="1702" y="3719"/>
                    <a:pt x="1418" y="4065"/>
                    <a:pt x="1418" y="4538"/>
                  </a:cubicBezTo>
                  <a:lnTo>
                    <a:pt x="1418" y="7310"/>
                  </a:lnTo>
                  <a:cubicBezTo>
                    <a:pt x="1418" y="7720"/>
                    <a:pt x="1702" y="8129"/>
                    <a:pt x="2080" y="8287"/>
                  </a:cubicBezTo>
                  <a:lnTo>
                    <a:pt x="2080" y="11028"/>
                  </a:lnTo>
                  <a:cubicBezTo>
                    <a:pt x="1292" y="10870"/>
                    <a:pt x="725" y="10177"/>
                    <a:pt x="725" y="9326"/>
                  </a:cubicBezTo>
                  <a:lnTo>
                    <a:pt x="725" y="2458"/>
                  </a:lnTo>
                  <a:cubicBezTo>
                    <a:pt x="725" y="1639"/>
                    <a:pt x="1292" y="915"/>
                    <a:pt x="2080" y="757"/>
                  </a:cubicBezTo>
                  <a:close/>
                  <a:moveTo>
                    <a:pt x="3136" y="8314"/>
                  </a:moveTo>
                  <a:cubicBezTo>
                    <a:pt x="3303" y="8314"/>
                    <a:pt x="3435" y="8461"/>
                    <a:pt x="3435" y="8633"/>
                  </a:cubicBezTo>
                  <a:lnTo>
                    <a:pt x="3435" y="10681"/>
                  </a:lnTo>
                  <a:cubicBezTo>
                    <a:pt x="3435" y="10870"/>
                    <a:pt x="3277" y="11028"/>
                    <a:pt x="3088" y="11028"/>
                  </a:cubicBezTo>
                  <a:lnTo>
                    <a:pt x="2710" y="11028"/>
                  </a:lnTo>
                  <a:lnTo>
                    <a:pt x="2710" y="8318"/>
                  </a:lnTo>
                  <a:lnTo>
                    <a:pt x="3088" y="8318"/>
                  </a:lnTo>
                  <a:cubicBezTo>
                    <a:pt x="3104" y="8316"/>
                    <a:pt x="3120" y="8314"/>
                    <a:pt x="3136" y="8314"/>
                  </a:cubicBezTo>
                  <a:close/>
                  <a:moveTo>
                    <a:pt x="2395" y="1"/>
                  </a:moveTo>
                  <a:cubicBezTo>
                    <a:pt x="1072" y="1"/>
                    <a:pt x="0" y="1104"/>
                    <a:pt x="0" y="2427"/>
                  </a:cubicBezTo>
                  <a:lnTo>
                    <a:pt x="0" y="9263"/>
                  </a:lnTo>
                  <a:cubicBezTo>
                    <a:pt x="0" y="10618"/>
                    <a:pt x="1072" y="11721"/>
                    <a:pt x="2395" y="11721"/>
                  </a:cubicBezTo>
                  <a:lnTo>
                    <a:pt x="3088" y="11721"/>
                  </a:lnTo>
                  <a:cubicBezTo>
                    <a:pt x="3624" y="11721"/>
                    <a:pt x="4096" y="11248"/>
                    <a:pt x="4096" y="10681"/>
                  </a:cubicBezTo>
                  <a:lnTo>
                    <a:pt x="4096" y="8633"/>
                  </a:lnTo>
                  <a:cubicBezTo>
                    <a:pt x="4096" y="8098"/>
                    <a:pt x="3624" y="7625"/>
                    <a:pt x="3088" y="7625"/>
                  </a:cubicBezTo>
                  <a:lnTo>
                    <a:pt x="2395" y="7625"/>
                  </a:lnTo>
                  <a:cubicBezTo>
                    <a:pt x="2206" y="7625"/>
                    <a:pt x="2048" y="7468"/>
                    <a:pt x="2048" y="7247"/>
                  </a:cubicBezTo>
                  <a:lnTo>
                    <a:pt x="2048" y="4506"/>
                  </a:lnTo>
                  <a:cubicBezTo>
                    <a:pt x="2048" y="4317"/>
                    <a:pt x="2206" y="4160"/>
                    <a:pt x="2395" y="4160"/>
                  </a:cubicBezTo>
                  <a:lnTo>
                    <a:pt x="3088" y="4160"/>
                  </a:lnTo>
                  <a:cubicBezTo>
                    <a:pt x="3624" y="4160"/>
                    <a:pt x="4096" y="3687"/>
                    <a:pt x="4096" y="3120"/>
                  </a:cubicBezTo>
                  <a:lnTo>
                    <a:pt x="4096" y="1041"/>
                  </a:lnTo>
                  <a:cubicBezTo>
                    <a:pt x="4096" y="474"/>
                    <a:pt x="3624"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2" name="Google Shape;7052;p74"/>
            <p:cNvSpPr/>
            <p:nvPr/>
          </p:nvSpPr>
          <p:spPr>
            <a:xfrm>
              <a:off x="-35305775" y="1912725"/>
              <a:ext cx="102400" cy="292250"/>
            </a:xfrm>
            <a:custGeom>
              <a:avLst/>
              <a:gdLst/>
              <a:ahLst/>
              <a:cxnLst/>
              <a:rect l="l" t="t" r="r" b="b"/>
              <a:pathLst>
                <a:path w="4096" h="11690" extrusionOk="0">
                  <a:moveTo>
                    <a:pt x="1386" y="694"/>
                  </a:moveTo>
                  <a:lnTo>
                    <a:pt x="1386" y="3435"/>
                  </a:lnTo>
                  <a:lnTo>
                    <a:pt x="1040" y="3435"/>
                  </a:lnTo>
                  <a:cubicBezTo>
                    <a:pt x="1023" y="3438"/>
                    <a:pt x="1007" y="3439"/>
                    <a:pt x="992" y="3439"/>
                  </a:cubicBezTo>
                  <a:cubicBezTo>
                    <a:pt x="825" y="3439"/>
                    <a:pt x="693" y="3293"/>
                    <a:pt x="693" y="3120"/>
                  </a:cubicBezTo>
                  <a:lnTo>
                    <a:pt x="693" y="1041"/>
                  </a:lnTo>
                  <a:cubicBezTo>
                    <a:pt x="693" y="852"/>
                    <a:pt x="851" y="694"/>
                    <a:pt x="1040" y="694"/>
                  </a:cubicBezTo>
                  <a:close/>
                  <a:moveTo>
                    <a:pt x="1386" y="8287"/>
                  </a:moveTo>
                  <a:lnTo>
                    <a:pt x="1386" y="10996"/>
                  </a:lnTo>
                  <a:lnTo>
                    <a:pt x="1040" y="10996"/>
                  </a:lnTo>
                  <a:cubicBezTo>
                    <a:pt x="851" y="10996"/>
                    <a:pt x="693" y="10839"/>
                    <a:pt x="693" y="10681"/>
                  </a:cubicBezTo>
                  <a:lnTo>
                    <a:pt x="693" y="8633"/>
                  </a:lnTo>
                  <a:cubicBezTo>
                    <a:pt x="693" y="8444"/>
                    <a:pt x="851" y="8287"/>
                    <a:pt x="1040" y="8287"/>
                  </a:cubicBezTo>
                  <a:close/>
                  <a:moveTo>
                    <a:pt x="2016" y="757"/>
                  </a:moveTo>
                  <a:cubicBezTo>
                    <a:pt x="2804" y="915"/>
                    <a:pt x="3403" y="1639"/>
                    <a:pt x="3403" y="2458"/>
                  </a:cubicBezTo>
                  <a:lnTo>
                    <a:pt x="3403" y="9295"/>
                  </a:lnTo>
                  <a:cubicBezTo>
                    <a:pt x="3403" y="10114"/>
                    <a:pt x="2804" y="10839"/>
                    <a:pt x="2016" y="10996"/>
                  </a:cubicBezTo>
                  <a:lnTo>
                    <a:pt x="2016" y="8255"/>
                  </a:lnTo>
                  <a:cubicBezTo>
                    <a:pt x="2426" y="8098"/>
                    <a:pt x="2678" y="7720"/>
                    <a:pt x="2678" y="7247"/>
                  </a:cubicBezTo>
                  <a:lnTo>
                    <a:pt x="2678" y="4506"/>
                  </a:lnTo>
                  <a:cubicBezTo>
                    <a:pt x="2678" y="4065"/>
                    <a:pt x="2426" y="3687"/>
                    <a:pt x="2016" y="3530"/>
                  </a:cubicBezTo>
                  <a:lnTo>
                    <a:pt x="2016" y="757"/>
                  </a:lnTo>
                  <a:close/>
                  <a:moveTo>
                    <a:pt x="1040" y="1"/>
                  </a:moveTo>
                  <a:cubicBezTo>
                    <a:pt x="473" y="1"/>
                    <a:pt x="0" y="474"/>
                    <a:pt x="0" y="1041"/>
                  </a:cubicBezTo>
                  <a:lnTo>
                    <a:pt x="0" y="3120"/>
                  </a:lnTo>
                  <a:cubicBezTo>
                    <a:pt x="0" y="3687"/>
                    <a:pt x="473" y="4128"/>
                    <a:pt x="1040" y="4128"/>
                  </a:cubicBezTo>
                  <a:lnTo>
                    <a:pt x="1701" y="4128"/>
                  </a:lnTo>
                  <a:cubicBezTo>
                    <a:pt x="1890" y="4128"/>
                    <a:pt x="2048" y="4286"/>
                    <a:pt x="2048" y="4506"/>
                  </a:cubicBezTo>
                  <a:lnTo>
                    <a:pt x="2048" y="7247"/>
                  </a:lnTo>
                  <a:cubicBezTo>
                    <a:pt x="2048" y="7436"/>
                    <a:pt x="1890" y="7625"/>
                    <a:pt x="1701" y="7625"/>
                  </a:cubicBezTo>
                  <a:lnTo>
                    <a:pt x="1040" y="7625"/>
                  </a:lnTo>
                  <a:cubicBezTo>
                    <a:pt x="473" y="7625"/>
                    <a:pt x="0" y="8098"/>
                    <a:pt x="0" y="8633"/>
                  </a:cubicBezTo>
                  <a:lnTo>
                    <a:pt x="0" y="10681"/>
                  </a:lnTo>
                  <a:cubicBezTo>
                    <a:pt x="0" y="11248"/>
                    <a:pt x="473" y="11689"/>
                    <a:pt x="1040" y="11689"/>
                  </a:cubicBezTo>
                  <a:lnTo>
                    <a:pt x="1701" y="11689"/>
                  </a:lnTo>
                  <a:cubicBezTo>
                    <a:pt x="3056" y="11689"/>
                    <a:pt x="4096" y="10650"/>
                    <a:pt x="4096" y="9295"/>
                  </a:cubicBezTo>
                  <a:lnTo>
                    <a:pt x="4096" y="2458"/>
                  </a:lnTo>
                  <a:cubicBezTo>
                    <a:pt x="4096" y="1104"/>
                    <a:pt x="2993"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3" name="Google Shape;7053;p74"/>
            <p:cNvSpPr/>
            <p:nvPr/>
          </p:nvSpPr>
          <p:spPr>
            <a:xfrm>
              <a:off x="-35427875" y="2017025"/>
              <a:ext cx="155200" cy="85800"/>
            </a:xfrm>
            <a:custGeom>
              <a:avLst/>
              <a:gdLst/>
              <a:ahLst/>
              <a:cxnLst/>
              <a:rect l="l" t="t" r="r" b="b"/>
              <a:pathLst>
                <a:path w="6208" h="3432" extrusionOk="0">
                  <a:moveTo>
                    <a:pt x="4853" y="1122"/>
                  </a:moveTo>
                  <a:lnTo>
                    <a:pt x="5420" y="1657"/>
                  </a:lnTo>
                  <a:lnTo>
                    <a:pt x="4853" y="2256"/>
                  </a:lnTo>
                  <a:cubicBezTo>
                    <a:pt x="4821" y="2130"/>
                    <a:pt x="4695" y="2035"/>
                    <a:pt x="4538" y="2035"/>
                  </a:cubicBezTo>
                  <a:lnTo>
                    <a:pt x="1734" y="2035"/>
                  </a:lnTo>
                  <a:cubicBezTo>
                    <a:pt x="1576" y="2035"/>
                    <a:pt x="1482" y="2098"/>
                    <a:pt x="1419" y="2256"/>
                  </a:cubicBezTo>
                  <a:lnTo>
                    <a:pt x="883" y="1657"/>
                  </a:lnTo>
                  <a:lnTo>
                    <a:pt x="1419" y="1122"/>
                  </a:lnTo>
                  <a:cubicBezTo>
                    <a:pt x="1482" y="1248"/>
                    <a:pt x="1576" y="1342"/>
                    <a:pt x="1734" y="1342"/>
                  </a:cubicBezTo>
                  <a:lnTo>
                    <a:pt x="4538" y="1342"/>
                  </a:lnTo>
                  <a:cubicBezTo>
                    <a:pt x="4695" y="1342"/>
                    <a:pt x="4821" y="1279"/>
                    <a:pt x="4853" y="1122"/>
                  </a:cubicBezTo>
                  <a:close/>
                  <a:moveTo>
                    <a:pt x="1715" y="0"/>
                  </a:moveTo>
                  <a:cubicBezTo>
                    <a:pt x="1631" y="0"/>
                    <a:pt x="1553" y="22"/>
                    <a:pt x="1513" y="82"/>
                  </a:cubicBezTo>
                  <a:lnTo>
                    <a:pt x="127" y="1468"/>
                  </a:lnTo>
                  <a:cubicBezTo>
                    <a:pt x="1" y="1594"/>
                    <a:pt x="1" y="1783"/>
                    <a:pt x="127" y="1941"/>
                  </a:cubicBezTo>
                  <a:lnTo>
                    <a:pt x="1513" y="3327"/>
                  </a:lnTo>
                  <a:cubicBezTo>
                    <a:pt x="1550" y="3401"/>
                    <a:pt x="1619" y="3432"/>
                    <a:pt x="1696" y="3432"/>
                  </a:cubicBezTo>
                  <a:cubicBezTo>
                    <a:pt x="1750" y="3432"/>
                    <a:pt x="1807" y="3416"/>
                    <a:pt x="1860" y="3390"/>
                  </a:cubicBezTo>
                  <a:cubicBezTo>
                    <a:pt x="1986" y="3359"/>
                    <a:pt x="2049" y="3201"/>
                    <a:pt x="2049" y="3075"/>
                  </a:cubicBezTo>
                  <a:lnTo>
                    <a:pt x="2049" y="2729"/>
                  </a:lnTo>
                  <a:lnTo>
                    <a:pt x="4160" y="2729"/>
                  </a:lnTo>
                  <a:lnTo>
                    <a:pt x="4160" y="3075"/>
                  </a:lnTo>
                  <a:cubicBezTo>
                    <a:pt x="4160" y="3233"/>
                    <a:pt x="4223" y="3359"/>
                    <a:pt x="4349" y="3390"/>
                  </a:cubicBezTo>
                  <a:cubicBezTo>
                    <a:pt x="4401" y="3416"/>
                    <a:pt x="4458" y="3432"/>
                    <a:pt x="4512" y="3432"/>
                  </a:cubicBezTo>
                  <a:cubicBezTo>
                    <a:pt x="4589" y="3432"/>
                    <a:pt x="4658" y="3401"/>
                    <a:pt x="4695" y="3327"/>
                  </a:cubicBezTo>
                  <a:lnTo>
                    <a:pt x="6081" y="1941"/>
                  </a:lnTo>
                  <a:cubicBezTo>
                    <a:pt x="6207" y="1815"/>
                    <a:pt x="6207" y="1594"/>
                    <a:pt x="6081" y="1468"/>
                  </a:cubicBezTo>
                  <a:lnTo>
                    <a:pt x="4695" y="82"/>
                  </a:lnTo>
                  <a:cubicBezTo>
                    <a:pt x="4649" y="36"/>
                    <a:pt x="4552" y="7"/>
                    <a:pt x="4454" y="7"/>
                  </a:cubicBezTo>
                  <a:cubicBezTo>
                    <a:pt x="4418" y="7"/>
                    <a:pt x="4382" y="11"/>
                    <a:pt x="4349" y="19"/>
                  </a:cubicBezTo>
                  <a:cubicBezTo>
                    <a:pt x="4223" y="51"/>
                    <a:pt x="4160" y="208"/>
                    <a:pt x="4160" y="334"/>
                  </a:cubicBezTo>
                  <a:lnTo>
                    <a:pt x="4160" y="681"/>
                  </a:lnTo>
                  <a:lnTo>
                    <a:pt x="2049" y="681"/>
                  </a:lnTo>
                  <a:lnTo>
                    <a:pt x="2049" y="334"/>
                  </a:lnTo>
                  <a:cubicBezTo>
                    <a:pt x="2049" y="177"/>
                    <a:pt x="1986" y="51"/>
                    <a:pt x="1860" y="19"/>
                  </a:cubicBezTo>
                  <a:cubicBezTo>
                    <a:pt x="1814" y="8"/>
                    <a:pt x="1763" y="0"/>
                    <a:pt x="17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54" name="Google Shape;7054;p74"/>
          <p:cNvSpPr/>
          <p:nvPr/>
        </p:nvSpPr>
        <p:spPr>
          <a:xfrm>
            <a:off x="1727021" y="2658367"/>
            <a:ext cx="475251" cy="472703"/>
          </a:xfrm>
          <a:custGeom>
            <a:avLst/>
            <a:gdLst/>
            <a:ahLst/>
            <a:cxnLst/>
            <a:rect l="l" t="t" r="r" b="b"/>
            <a:pathLst>
              <a:path w="11752" h="11689" extrusionOk="0">
                <a:moveTo>
                  <a:pt x="5860" y="662"/>
                </a:moveTo>
                <a:cubicBezTo>
                  <a:pt x="6427" y="662"/>
                  <a:pt x="6900" y="1135"/>
                  <a:pt x="6900" y="1670"/>
                </a:cubicBezTo>
                <a:cubicBezTo>
                  <a:pt x="6900" y="2238"/>
                  <a:pt x="6427" y="2710"/>
                  <a:pt x="5860" y="2710"/>
                </a:cubicBezTo>
                <a:cubicBezTo>
                  <a:pt x="5293" y="2710"/>
                  <a:pt x="4821" y="2238"/>
                  <a:pt x="4821" y="1670"/>
                </a:cubicBezTo>
                <a:cubicBezTo>
                  <a:pt x="4821" y="1135"/>
                  <a:pt x="5293" y="662"/>
                  <a:pt x="5860" y="662"/>
                </a:cubicBezTo>
                <a:close/>
                <a:moveTo>
                  <a:pt x="5860" y="3372"/>
                </a:moveTo>
                <a:cubicBezTo>
                  <a:pt x="7058" y="3403"/>
                  <a:pt x="8034" y="4317"/>
                  <a:pt x="8223" y="5451"/>
                </a:cubicBezTo>
                <a:lnTo>
                  <a:pt x="3466" y="5451"/>
                </a:lnTo>
                <a:cubicBezTo>
                  <a:pt x="3624" y="4285"/>
                  <a:pt x="4663" y="3372"/>
                  <a:pt x="5860" y="3372"/>
                </a:cubicBezTo>
                <a:close/>
                <a:moveTo>
                  <a:pt x="9420" y="7562"/>
                </a:moveTo>
                <a:cubicBezTo>
                  <a:pt x="9956" y="7562"/>
                  <a:pt x="10429" y="7814"/>
                  <a:pt x="10744" y="8223"/>
                </a:cubicBezTo>
                <a:lnTo>
                  <a:pt x="10082" y="8223"/>
                </a:lnTo>
                <a:cubicBezTo>
                  <a:pt x="9546" y="8223"/>
                  <a:pt x="9074" y="8696"/>
                  <a:pt x="9074" y="9232"/>
                </a:cubicBezTo>
                <a:cubicBezTo>
                  <a:pt x="9074" y="9799"/>
                  <a:pt x="9546" y="10271"/>
                  <a:pt x="10082" y="10271"/>
                </a:cubicBezTo>
                <a:lnTo>
                  <a:pt x="10744" y="10271"/>
                </a:lnTo>
                <a:cubicBezTo>
                  <a:pt x="10429" y="10712"/>
                  <a:pt x="9925" y="10933"/>
                  <a:pt x="9420" y="10933"/>
                </a:cubicBezTo>
                <a:cubicBezTo>
                  <a:pt x="8696" y="10933"/>
                  <a:pt x="8034" y="10460"/>
                  <a:pt x="7814" y="9799"/>
                </a:cubicBezTo>
                <a:cubicBezTo>
                  <a:pt x="7751" y="9673"/>
                  <a:pt x="7593" y="9547"/>
                  <a:pt x="7499" y="9547"/>
                </a:cubicBezTo>
                <a:lnTo>
                  <a:pt x="4222" y="9547"/>
                </a:lnTo>
                <a:cubicBezTo>
                  <a:pt x="4065" y="9547"/>
                  <a:pt x="3939" y="9641"/>
                  <a:pt x="3907" y="9799"/>
                </a:cubicBezTo>
                <a:cubicBezTo>
                  <a:pt x="3655" y="10460"/>
                  <a:pt x="2993" y="10933"/>
                  <a:pt x="2300" y="10933"/>
                </a:cubicBezTo>
                <a:cubicBezTo>
                  <a:pt x="1733" y="10933"/>
                  <a:pt x="1261" y="10649"/>
                  <a:pt x="914" y="10271"/>
                </a:cubicBezTo>
                <a:lnTo>
                  <a:pt x="1576" y="10271"/>
                </a:lnTo>
                <a:cubicBezTo>
                  <a:pt x="2143" y="10271"/>
                  <a:pt x="2615" y="9799"/>
                  <a:pt x="2615" y="9232"/>
                </a:cubicBezTo>
                <a:cubicBezTo>
                  <a:pt x="2615" y="8696"/>
                  <a:pt x="2143" y="8223"/>
                  <a:pt x="1576" y="8223"/>
                </a:cubicBezTo>
                <a:lnTo>
                  <a:pt x="914" y="8223"/>
                </a:lnTo>
                <a:cubicBezTo>
                  <a:pt x="1229" y="7782"/>
                  <a:pt x="1733" y="7562"/>
                  <a:pt x="2300" y="7562"/>
                </a:cubicBezTo>
                <a:cubicBezTo>
                  <a:pt x="2993" y="7562"/>
                  <a:pt x="3655" y="8034"/>
                  <a:pt x="3907" y="8696"/>
                </a:cubicBezTo>
                <a:cubicBezTo>
                  <a:pt x="3939" y="8822"/>
                  <a:pt x="4096" y="8917"/>
                  <a:pt x="4222" y="8917"/>
                </a:cubicBezTo>
                <a:lnTo>
                  <a:pt x="7499" y="8917"/>
                </a:lnTo>
                <a:cubicBezTo>
                  <a:pt x="7656" y="8917"/>
                  <a:pt x="7751" y="8854"/>
                  <a:pt x="7814" y="8696"/>
                </a:cubicBezTo>
                <a:cubicBezTo>
                  <a:pt x="8034" y="8034"/>
                  <a:pt x="8727" y="7562"/>
                  <a:pt x="9420" y="7562"/>
                </a:cubicBezTo>
                <a:close/>
                <a:moveTo>
                  <a:pt x="5860" y="1"/>
                </a:moveTo>
                <a:cubicBezTo>
                  <a:pt x="4915" y="1"/>
                  <a:pt x="4128" y="725"/>
                  <a:pt x="4128" y="1670"/>
                </a:cubicBezTo>
                <a:cubicBezTo>
                  <a:pt x="4128" y="2143"/>
                  <a:pt x="4348" y="2584"/>
                  <a:pt x="4663" y="2899"/>
                </a:cubicBezTo>
                <a:lnTo>
                  <a:pt x="4695" y="2931"/>
                </a:lnTo>
                <a:cubicBezTo>
                  <a:pt x="3592" y="3372"/>
                  <a:pt x="2773" y="4474"/>
                  <a:pt x="2773" y="5829"/>
                </a:cubicBezTo>
                <a:cubicBezTo>
                  <a:pt x="2773" y="6018"/>
                  <a:pt x="2930" y="6176"/>
                  <a:pt x="3119" y="6176"/>
                </a:cubicBezTo>
                <a:lnTo>
                  <a:pt x="5514" y="6176"/>
                </a:lnTo>
                <a:lnTo>
                  <a:pt x="5514" y="8255"/>
                </a:lnTo>
                <a:lnTo>
                  <a:pt x="4443" y="8255"/>
                </a:lnTo>
                <a:cubicBezTo>
                  <a:pt x="4065" y="7436"/>
                  <a:pt x="3245" y="6869"/>
                  <a:pt x="2300" y="6869"/>
                </a:cubicBezTo>
                <a:cubicBezTo>
                  <a:pt x="1261" y="6869"/>
                  <a:pt x="410" y="7499"/>
                  <a:pt x="32" y="8444"/>
                </a:cubicBezTo>
                <a:cubicBezTo>
                  <a:pt x="0" y="8570"/>
                  <a:pt x="0" y="8696"/>
                  <a:pt x="95" y="8759"/>
                </a:cubicBezTo>
                <a:cubicBezTo>
                  <a:pt x="158" y="8854"/>
                  <a:pt x="253" y="8917"/>
                  <a:pt x="347" y="8917"/>
                </a:cubicBezTo>
                <a:lnTo>
                  <a:pt x="1607" y="8917"/>
                </a:lnTo>
                <a:cubicBezTo>
                  <a:pt x="1828" y="8917"/>
                  <a:pt x="1985" y="9074"/>
                  <a:pt x="1985" y="9295"/>
                </a:cubicBezTo>
                <a:cubicBezTo>
                  <a:pt x="1985" y="9484"/>
                  <a:pt x="1828" y="9641"/>
                  <a:pt x="1607" y="9641"/>
                </a:cubicBezTo>
                <a:lnTo>
                  <a:pt x="347" y="9641"/>
                </a:lnTo>
                <a:cubicBezTo>
                  <a:pt x="253" y="9641"/>
                  <a:pt x="158" y="9673"/>
                  <a:pt x="95" y="9799"/>
                </a:cubicBezTo>
                <a:cubicBezTo>
                  <a:pt x="0" y="9862"/>
                  <a:pt x="0" y="9988"/>
                  <a:pt x="32" y="10114"/>
                </a:cubicBezTo>
                <a:cubicBezTo>
                  <a:pt x="410" y="11059"/>
                  <a:pt x="1292" y="11689"/>
                  <a:pt x="2300" y="11689"/>
                </a:cubicBezTo>
                <a:cubicBezTo>
                  <a:pt x="3182" y="11689"/>
                  <a:pt x="4065" y="11122"/>
                  <a:pt x="4443" y="10303"/>
                </a:cubicBezTo>
                <a:lnTo>
                  <a:pt x="7278" y="10303"/>
                </a:lnTo>
                <a:cubicBezTo>
                  <a:pt x="7688" y="11122"/>
                  <a:pt x="8507" y="11689"/>
                  <a:pt x="9452" y="11689"/>
                </a:cubicBezTo>
                <a:cubicBezTo>
                  <a:pt x="10492" y="11689"/>
                  <a:pt x="11342" y="11059"/>
                  <a:pt x="11689" y="10114"/>
                </a:cubicBezTo>
                <a:cubicBezTo>
                  <a:pt x="11752" y="9988"/>
                  <a:pt x="11752" y="9862"/>
                  <a:pt x="11657" y="9799"/>
                </a:cubicBezTo>
                <a:cubicBezTo>
                  <a:pt x="11594" y="9704"/>
                  <a:pt x="11500" y="9641"/>
                  <a:pt x="11374" y="9641"/>
                </a:cubicBezTo>
                <a:lnTo>
                  <a:pt x="10114" y="9641"/>
                </a:lnTo>
                <a:cubicBezTo>
                  <a:pt x="9925" y="9641"/>
                  <a:pt x="9767" y="9484"/>
                  <a:pt x="9767" y="9295"/>
                </a:cubicBezTo>
                <a:cubicBezTo>
                  <a:pt x="9767" y="9074"/>
                  <a:pt x="9925" y="8917"/>
                  <a:pt x="10114" y="8917"/>
                </a:cubicBezTo>
                <a:lnTo>
                  <a:pt x="11374" y="8917"/>
                </a:lnTo>
                <a:cubicBezTo>
                  <a:pt x="11500" y="8917"/>
                  <a:pt x="11594" y="8885"/>
                  <a:pt x="11657" y="8759"/>
                </a:cubicBezTo>
                <a:cubicBezTo>
                  <a:pt x="11752" y="8696"/>
                  <a:pt x="11752" y="8570"/>
                  <a:pt x="11689" y="8444"/>
                </a:cubicBezTo>
                <a:cubicBezTo>
                  <a:pt x="11342" y="7499"/>
                  <a:pt x="10429" y="6869"/>
                  <a:pt x="9452" y="6869"/>
                </a:cubicBezTo>
                <a:cubicBezTo>
                  <a:pt x="8538" y="6869"/>
                  <a:pt x="7688" y="7436"/>
                  <a:pt x="7278" y="8255"/>
                </a:cubicBezTo>
                <a:lnTo>
                  <a:pt x="6238" y="8255"/>
                </a:lnTo>
                <a:lnTo>
                  <a:pt x="6238" y="6176"/>
                </a:lnTo>
                <a:lnTo>
                  <a:pt x="8633" y="6176"/>
                </a:lnTo>
                <a:cubicBezTo>
                  <a:pt x="8822" y="6176"/>
                  <a:pt x="8979" y="6018"/>
                  <a:pt x="8979" y="5829"/>
                </a:cubicBezTo>
                <a:cubicBezTo>
                  <a:pt x="8979" y="4506"/>
                  <a:pt x="8192" y="3403"/>
                  <a:pt x="7058" y="2931"/>
                </a:cubicBezTo>
                <a:cubicBezTo>
                  <a:pt x="7341" y="2616"/>
                  <a:pt x="7562" y="2175"/>
                  <a:pt x="7562" y="1670"/>
                </a:cubicBezTo>
                <a:cubicBezTo>
                  <a:pt x="7562" y="725"/>
                  <a:pt x="6806" y="1"/>
                  <a:pt x="5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55" name="Google Shape;7055;p74"/>
          <p:cNvGrpSpPr/>
          <p:nvPr/>
        </p:nvGrpSpPr>
        <p:grpSpPr>
          <a:xfrm>
            <a:off x="1732577" y="3265493"/>
            <a:ext cx="472703" cy="471449"/>
            <a:chOff x="-35495600" y="2631825"/>
            <a:chExt cx="292225" cy="291450"/>
          </a:xfrm>
        </p:grpSpPr>
        <p:sp>
          <p:nvSpPr>
            <p:cNvPr id="7056" name="Google Shape;7056;p74"/>
            <p:cNvSpPr/>
            <p:nvPr/>
          </p:nvSpPr>
          <p:spPr>
            <a:xfrm>
              <a:off x="-35495600" y="2735025"/>
              <a:ext cx="137075" cy="188250"/>
            </a:xfrm>
            <a:custGeom>
              <a:avLst/>
              <a:gdLst/>
              <a:ahLst/>
              <a:cxnLst/>
              <a:rect l="l" t="t" r="r" b="b"/>
              <a:pathLst>
                <a:path w="5483" h="7530" extrusionOk="0">
                  <a:moveTo>
                    <a:pt x="4443" y="662"/>
                  </a:moveTo>
                  <a:cubicBezTo>
                    <a:pt x="4663" y="662"/>
                    <a:pt x="4821" y="819"/>
                    <a:pt x="4821" y="1040"/>
                  </a:cubicBezTo>
                  <a:lnTo>
                    <a:pt x="4821" y="1386"/>
                  </a:lnTo>
                  <a:lnTo>
                    <a:pt x="662" y="1386"/>
                  </a:lnTo>
                  <a:lnTo>
                    <a:pt x="662" y="1040"/>
                  </a:lnTo>
                  <a:cubicBezTo>
                    <a:pt x="725" y="819"/>
                    <a:pt x="820" y="662"/>
                    <a:pt x="1040" y="662"/>
                  </a:cubicBezTo>
                  <a:close/>
                  <a:moveTo>
                    <a:pt x="4821" y="2048"/>
                  </a:moveTo>
                  <a:lnTo>
                    <a:pt x="4821" y="5482"/>
                  </a:lnTo>
                  <a:lnTo>
                    <a:pt x="662" y="5482"/>
                  </a:lnTo>
                  <a:lnTo>
                    <a:pt x="662" y="2048"/>
                  </a:lnTo>
                  <a:close/>
                  <a:moveTo>
                    <a:pt x="4852" y="6143"/>
                  </a:moveTo>
                  <a:lnTo>
                    <a:pt x="4852" y="6490"/>
                  </a:lnTo>
                  <a:cubicBezTo>
                    <a:pt x="4821" y="6711"/>
                    <a:pt x="4663" y="6868"/>
                    <a:pt x="4506" y="6868"/>
                  </a:cubicBezTo>
                  <a:lnTo>
                    <a:pt x="1072" y="6868"/>
                  </a:lnTo>
                  <a:cubicBezTo>
                    <a:pt x="883" y="6868"/>
                    <a:pt x="725" y="6711"/>
                    <a:pt x="725" y="6490"/>
                  </a:cubicBezTo>
                  <a:lnTo>
                    <a:pt x="725" y="6143"/>
                  </a:lnTo>
                  <a:close/>
                  <a:moveTo>
                    <a:pt x="1040" y="0"/>
                  </a:moveTo>
                  <a:cubicBezTo>
                    <a:pt x="473" y="0"/>
                    <a:pt x="0" y="473"/>
                    <a:pt x="0" y="1040"/>
                  </a:cubicBezTo>
                  <a:lnTo>
                    <a:pt x="0" y="6490"/>
                  </a:lnTo>
                  <a:cubicBezTo>
                    <a:pt x="0" y="7057"/>
                    <a:pt x="473" y="7530"/>
                    <a:pt x="1040" y="7530"/>
                  </a:cubicBezTo>
                  <a:lnTo>
                    <a:pt x="4443" y="7530"/>
                  </a:lnTo>
                  <a:cubicBezTo>
                    <a:pt x="5010" y="7530"/>
                    <a:pt x="5482" y="7057"/>
                    <a:pt x="5482" y="6490"/>
                  </a:cubicBezTo>
                  <a:lnTo>
                    <a:pt x="5482" y="1040"/>
                  </a:lnTo>
                  <a:cubicBezTo>
                    <a:pt x="5482" y="473"/>
                    <a:pt x="5010"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7" name="Google Shape;7057;p74"/>
            <p:cNvSpPr/>
            <p:nvPr/>
          </p:nvSpPr>
          <p:spPr>
            <a:xfrm>
              <a:off x="-35339650" y="2631825"/>
              <a:ext cx="136275" cy="188275"/>
            </a:xfrm>
            <a:custGeom>
              <a:avLst/>
              <a:gdLst/>
              <a:ahLst/>
              <a:cxnLst/>
              <a:rect l="l" t="t" r="r" b="b"/>
              <a:pathLst>
                <a:path w="5451" h="7531" extrusionOk="0">
                  <a:moveTo>
                    <a:pt x="4411" y="662"/>
                  </a:moveTo>
                  <a:cubicBezTo>
                    <a:pt x="4600" y="662"/>
                    <a:pt x="4758" y="820"/>
                    <a:pt x="4758" y="1009"/>
                  </a:cubicBezTo>
                  <a:lnTo>
                    <a:pt x="4758" y="1387"/>
                  </a:lnTo>
                  <a:lnTo>
                    <a:pt x="631" y="1387"/>
                  </a:lnTo>
                  <a:lnTo>
                    <a:pt x="631" y="1009"/>
                  </a:lnTo>
                  <a:cubicBezTo>
                    <a:pt x="631" y="820"/>
                    <a:pt x="788" y="662"/>
                    <a:pt x="977" y="662"/>
                  </a:cubicBezTo>
                  <a:close/>
                  <a:moveTo>
                    <a:pt x="4758" y="2049"/>
                  </a:moveTo>
                  <a:lnTo>
                    <a:pt x="4758" y="5483"/>
                  </a:lnTo>
                  <a:lnTo>
                    <a:pt x="631" y="5483"/>
                  </a:lnTo>
                  <a:lnTo>
                    <a:pt x="631" y="2049"/>
                  </a:lnTo>
                  <a:close/>
                  <a:moveTo>
                    <a:pt x="4789" y="6144"/>
                  </a:moveTo>
                  <a:lnTo>
                    <a:pt x="4789" y="6491"/>
                  </a:lnTo>
                  <a:cubicBezTo>
                    <a:pt x="4758" y="6680"/>
                    <a:pt x="4600" y="6837"/>
                    <a:pt x="4443" y="6837"/>
                  </a:cubicBezTo>
                  <a:lnTo>
                    <a:pt x="1009" y="6837"/>
                  </a:lnTo>
                  <a:cubicBezTo>
                    <a:pt x="820" y="6837"/>
                    <a:pt x="662" y="6680"/>
                    <a:pt x="662" y="6491"/>
                  </a:cubicBezTo>
                  <a:lnTo>
                    <a:pt x="662" y="6144"/>
                  </a:lnTo>
                  <a:close/>
                  <a:moveTo>
                    <a:pt x="1009" y="1"/>
                  </a:moveTo>
                  <a:cubicBezTo>
                    <a:pt x="473" y="1"/>
                    <a:pt x="0" y="473"/>
                    <a:pt x="0" y="1009"/>
                  </a:cubicBezTo>
                  <a:lnTo>
                    <a:pt x="0" y="6491"/>
                  </a:lnTo>
                  <a:cubicBezTo>
                    <a:pt x="0" y="7058"/>
                    <a:pt x="473" y="7531"/>
                    <a:pt x="1009" y="7531"/>
                  </a:cubicBezTo>
                  <a:lnTo>
                    <a:pt x="4443" y="7531"/>
                  </a:lnTo>
                  <a:cubicBezTo>
                    <a:pt x="4978" y="7531"/>
                    <a:pt x="5451" y="7058"/>
                    <a:pt x="5451" y="6491"/>
                  </a:cubicBezTo>
                  <a:lnTo>
                    <a:pt x="5451" y="1009"/>
                  </a:lnTo>
                  <a:cubicBezTo>
                    <a:pt x="5451" y="442"/>
                    <a:pt x="4978"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8" name="Google Shape;7058;p74"/>
            <p:cNvSpPr/>
            <p:nvPr/>
          </p:nvSpPr>
          <p:spPr>
            <a:xfrm>
              <a:off x="-35341225" y="2836625"/>
              <a:ext cx="85075" cy="84500"/>
            </a:xfrm>
            <a:custGeom>
              <a:avLst/>
              <a:gdLst/>
              <a:ahLst/>
              <a:cxnLst/>
              <a:rect l="l" t="t" r="r" b="b"/>
              <a:pathLst>
                <a:path w="3403" h="3380" extrusionOk="0">
                  <a:moveTo>
                    <a:pt x="3056" y="0"/>
                  </a:moveTo>
                  <a:cubicBezTo>
                    <a:pt x="2836" y="0"/>
                    <a:pt x="2678" y="158"/>
                    <a:pt x="2678" y="347"/>
                  </a:cubicBezTo>
                  <a:lnTo>
                    <a:pt x="2678" y="1008"/>
                  </a:lnTo>
                  <a:cubicBezTo>
                    <a:pt x="2678" y="1575"/>
                    <a:pt x="2206" y="2048"/>
                    <a:pt x="1670" y="2048"/>
                  </a:cubicBezTo>
                  <a:lnTo>
                    <a:pt x="1103" y="2048"/>
                  </a:lnTo>
                  <a:lnTo>
                    <a:pt x="1229" y="1922"/>
                  </a:lnTo>
                  <a:cubicBezTo>
                    <a:pt x="1418" y="1859"/>
                    <a:pt x="1418" y="1638"/>
                    <a:pt x="1261" y="1481"/>
                  </a:cubicBezTo>
                  <a:cubicBezTo>
                    <a:pt x="1213" y="1418"/>
                    <a:pt x="1127" y="1386"/>
                    <a:pt x="1036" y="1386"/>
                  </a:cubicBezTo>
                  <a:cubicBezTo>
                    <a:pt x="946" y="1386"/>
                    <a:pt x="851" y="1418"/>
                    <a:pt x="788" y="1481"/>
                  </a:cubicBezTo>
                  <a:lnTo>
                    <a:pt x="126" y="2142"/>
                  </a:lnTo>
                  <a:cubicBezTo>
                    <a:pt x="0" y="2268"/>
                    <a:pt x="0" y="2521"/>
                    <a:pt x="126" y="2615"/>
                  </a:cubicBezTo>
                  <a:lnTo>
                    <a:pt x="788" y="3308"/>
                  </a:lnTo>
                  <a:cubicBezTo>
                    <a:pt x="851" y="3355"/>
                    <a:pt x="946" y="3379"/>
                    <a:pt x="1036" y="3379"/>
                  </a:cubicBezTo>
                  <a:cubicBezTo>
                    <a:pt x="1127" y="3379"/>
                    <a:pt x="1213" y="3355"/>
                    <a:pt x="1261" y="3308"/>
                  </a:cubicBezTo>
                  <a:cubicBezTo>
                    <a:pt x="1387" y="3182"/>
                    <a:pt x="1387" y="2930"/>
                    <a:pt x="1261" y="2836"/>
                  </a:cubicBezTo>
                  <a:lnTo>
                    <a:pt x="1166" y="2710"/>
                  </a:lnTo>
                  <a:lnTo>
                    <a:pt x="1702" y="2710"/>
                  </a:lnTo>
                  <a:cubicBezTo>
                    <a:pt x="2647" y="2710"/>
                    <a:pt x="3403" y="1953"/>
                    <a:pt x="3403" y="1008"/>
                  </a:cubicBezTo>
                  <a:lnTo>
                    <a:pt x="3403" y="347"/>
                  </a:lnTo>
                  <a:cubicBezTo>
                    <a:pt x="3403" y="158"/>
                    <a:pt x="3245" y="0"/>
                    <a:pt x="30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59" name="Google Shape;7059;p74"/>
            <p:cNvSpPr/>
            <p:nvPr/>
          </p:nvSpPr>
          <p:spPr>
            <a:xfrm>
              <a:off x="-35442050" y="2632625"/>
              <a:ext cx="84300" cy="85075"/>
            </a:xfrm>
            <a:custGeom>
              <a:avLst/>
              <a:gdLst/>
              <a:ahLst/>
              <a:cxnLst/>
              <a:rect l="l" t="t" r="r" b="b"/>
              <a:pathLst>
                <a:path w="3372" h="3403" extrusionOk="0">
                  <a:moveTo>
                    <a:pt x="2348" y="0"/>
                  </a:moveTo>
                  <a:cubicBezTo>
                    <a:pt x="2261" y="0"/>
                    <a:pt x="2175" y="32"/>
                    <a:pt x="2112" y="95"/>
                  </a:cubicBezTo>
                  <a:cubicBezTo>
                    <a:pt x="1986" y="189"/>
                    <a:pt x="1986" y="441"/>
                    <a:pt x="2112" y="567"/>
                  </a:cubicBezTo>
                  <a:lnTo>
                    <a:pt x="2238" y="662"/>
                  </a:lnTo>
                  <a:lnTo>
                    <a:pt x="1671" y="662"/>
                  </a:lnTo>
                  <a:cubicBezTo>
                    <a:pt x="725" y="662"/>
                    <a:pt x="1" y="1418"/>
                    <a:pt x="1" y="2363"/>
                  </a:cubicBezTo>
                  <a:lnTo>
                    <a:pt x="1" y="3025"/>
                  </a:lnTo>
                  <a:cubicBezTo>
                    <a:pt x="1" y="3245"/>
                    <a:pt x="158" y="3403"/>
                    <a:pt x="347" y="3403"/>
                  </a:cubicBezTo>
                  <a:cubicBezTo>
                    <a:pt x="536" y="3403"/>
                    <a:pt x="694" y="3245"/>
                    <a:pt x="694" y="3025"/>
                  </a:cubicBezTo>
                  <a:lnTo>
                    <a:pt x="694" y="2363"/>
                  </a:lnTo>
                  <a:cubicBezTo>
                    <a:pt x="694" y="1828"/>
                    <a:pt x="1166" y="1355"/>
                    <a:pt x="1734" y="1355"/>
                  </a:cubicBezTo>
                  <a:lnTo>
                    <a:pt x="2269" y="1355"/>
                  </a:lnTo>
                  <a:lnTo>
                    <a:pt x="2143" y="1450"/>
                  </a:lnTo>
                  <a:cubicBezTo>
                    <a:pt x="1954" y="1544"/>
                    <a:pt x="1954" y="1765"/>
                    <a:pt x="2112" y="1891"/>
                  </a:cubicBezTo>
                  <a:cubicBezTo>
                    <a:pt x="2175" y="1954"/>
                    <a:pt x="2261" y="1985"/>
                    <a:pt x="2348" y="1985"/>
                  </a:cubicBezTo>
                  <a:cubicBezTo>
                    <a:pt x="2435" y="1985"/>
                    <a:pt x="2521" y="1954"/>
                    <a:pt x="2584" y="1891"/>
                  </a:cubicBezTo>
                  <a:lnTo>
                    <a:pt x="3246" y="1229"/>
                  </a:lnTo>
                  <a:cubicBezTo>
                    <a:pt x="3372" y="1103"/>
                    <a:pt x="3372" y="883"/>
                    <a:pt x="3246" y="756"/>
                  </a:cubicBezTo>
                  <a:lnTo>
                    <a:pt x="2584" y="95"/>
                  </a:lnTo>
                  <a:cubicBezTo>
                    <a:pt x="2521" y="32"/>
                    <a:pt x="2435" y="0"/>
                    <a:pt x="2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60" name="Google Shape;7060;p74"/>
          <p:cNvGrpSpPr/>
          <p:nvPr/>
        </p:nvGrpSpPr>
        <p:grpSpPr>
          <a:xfrm>
            <a:off x="4716109" y="2047370"/>
            <a:ext cx="471449" cy="471449"/>
            <a:chOff x="-33673825" y="1916675"/>
            <a:chExt cx="291450" cy="291450"/>
          </a:xfrm>
        </p:grpSpPr>
        <p:sp>
          <p:nvSpPr>
            <p:cNvPr id="7061" name="Google Shape;7061;p74"/>
            <p:cNvSpPr/>
            <p:nvPr/>
          </p:nvSpPr>
          <p:spPr>
            <a:xfrm>
              <a:off x="-33486375" y="1950550"/>
              <a:ext cx="85875" cy="85075"/>
            </a:xfrm>
            <a:custGeom>
              <a:avLst/>
              <a:gdLst/>
              <a:ahLst/>
              <a:cxnLst/>
              <a:rect l="l" t="t" r="r" b="b"/>
              <a:pathLst>
                <a:path w="3435" h="3403" extrusionOk="0">
                  <a:moveTo>
                    <a:pt x="379" y="0"/>
                  </a:moveTo>
                  <a:cubicBezTo>
                    <a:pt x="158" y="0"/>
                    <a:pt x="1" y="158"/>
                    <a:pt x="1" y="347"/>
                  </a:cubicBezTo>
                  <a:cubicBezTo>
                    <a:pt x="1" y="536"/>
                    <a:pt x="158" y="693"/>
                    <a:pt x="379" y="693"/>
                  </a:cubicBezTo>
                  <a:lnTo>
                    <a:pt x="1072" y="693"/>
                  </a:lnTo>
                  <a:cubicBezTo>
                    <a:pt x="1639" y="693"/>
                    <a:pt x="2111" y="1166"/>
                    <a:pt x="2111" y="1733"/>
                  </a:cubicBezTo>
                  <a:lnTo>
                    <a:pt x="2111" y="2269"/>
                  </a:lnTo>
                  <a:lnTo>
                    <a:pt x="1985" y="2174"/>
                  </a:lnTo>
                  <a:cubicBezTo>
                    <a:pt x="1922" y="2111"/>
                    <a:pt x="1836" y="2080"/>
                    <a:pt x="1749" y="2080"/>
                  </a:cubicBezTo>
                  <a:cubicBezTo>
                    <a:pt x="1663" y="2080"/>
                    <a:pt x="1576" y="2111"/>
                    <a:pt x="1513" y="2174"/>
                  </a:cubicBezTo>
                  <a:cubicBezTo>
                    <a:pt x="1387" y="2269"/>
                    <a:pt x="1387" y="2521"/>
                    <a:pt x="1513" y="2647"/>
                  </a:cubicBezTo>
                  <a:lnTo>
                    <a:pt x="2174" y="3308"/>
                  </a:lnTo>
                  <a:cubicBezTo>
                    <a:pt x="2237" y="3371"/>
                    <a:pt x="2324" y="3403"/>
                    <a:pt x="2411" y="3403"/>
                  </a:cubicBezTo>
                  <a:cubicBezTo>
                    <a:pt x="2497" y="3403"/>
                    <a:pt x="2584" y="3371"/>
                    <a:pt x="2647" y="3308"/>
                  </a:cubicBezTo>
                  <a:lnTo>
                    <a:pt x="3309" y="2647"/>
                  </a:lnTo>
                  <a:cubicBezTo>
                    <a:pt x="3435" y="2521"/>
                    <a:pt x="3435" y="2269"/>
                    <a:pt x="3309" y="2174"/>
                  </a:cubicBezTo>
                  <a:cubicBezTo>
                    <a:pt x="3261" y="2111"/>
                    <a:pt x="3175" y="2080"/>
                    <a:pt x="3084" y="2080"/>
                  </a:cubicBezTo>
                  <a:cubicBezTo>
                    <a:pt x="2994" y="2080"/>
                    <a:pt x="2899" y="2111"/>
                    <a:pt x="2836" y="2174"/>
                  </a:cubicBezTo>
                  <a:lnTo>
                    <a:pt x="2742" y="2269"/>
                  </a:lnTo>
                  <a:lnTo>
                    <a:pt x="2742" y="1733"/>
                  </a:lnTo>
                  <a:cubicBezTo>
                    <a:pt x="2773" y="788"/>
                    <a:pt x="1985"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2" name="Google Shape;7062;p74"/>
            <p:cNvSpPr/>
            <p:nvPr/>
          </p:nvSpPr>
          <p:spPr>
            <a:xfrm>
              <a:off x="-33605300" y="2122250"/>
              <a:ext cx="85075" cy="85875"/>
            </a:xfrm>
            <a:custGeom>
              <a:avLst/>
              <a:gdLst/>
              <a:ahLst/>
              <a:cxnLst/>
              <a:rect l="l" t="t" r="r" b="b"/>
              <a:pathLst>
                <a:path w="3403" h="3435" extrusionOk="0">
                  <a:moveTo>
                    <a:pt x="1024" y="0"/>
                  </a:moveTo>
                  <a:cubicBezTo>
                    <a:pt x="938" y="0"/>
                    <a:pt x="851" y="32"/>
                    <a:pt x="788" y="95"/>
                  </a:cubicBezTo>
                  <a:lnTo>
                    <a:pt x="126" y="756"/>
                  </a:lnTo>
                  <a:cubicBezTo>
                    <a:pt x="0" y="882"/>
                    <a:pt x="0" y="1134"/>
                    <a:pt x="126" y="1229"/>
                  </a:cubicBezTo>
                  <a:cubicBezTo>
                    <a:pt x="189" y="1292"/>
                    <a:pt x="276" y="1323"/>
                    <a:pt x="363" y="1323"/>
                  </a:cubicBezTo>
                  <a:cubicBezTo>
                    <a:pt x="449" y="1323"/>
                    <a:pt x="536" y="1292"/>
                    <a:pt x="599" y="1229"/>
                  </a:cubicBezTo>
                  <a:lnTo>
                    <a:pt x="725" y="1134"/>
                  </a:lnTo>
                  <a:lnTo>
                    <a:pt x="725" y="1670"/>
                  </a:lnTo>
                  <a:cubicBezTo>
                    <a:pt x="662" y="2174"/>
                    <a:pt x="820" y="2615"/>
                    <a:pt x="1135" y="2930"/>
                  </a:cubicBezTo>
                  <a:cubicBezTo>
                    <a:pt x="1450" y="3245"/>
                    <a:pt x="1891" y="3434"/>
                    <a:pt x="2363" y="3434"/>
                  </a:cubicBezTo>
                  <a:lnTo>
                    <a:pt x="3025" y="3434"/>
                  </a:lnTo>
                  <a:cubicBezTo>
                    <a:pt x="3245" y="3434"/>
                    <a:pt x="3403" y="3277"/>
                    <a:pt x="3403" y="3088"/>
                  </a:cubicBezTo>
                  <a:cubicBezTo>
                    <a:pt x="3403" y="2899"/>
                    <a:pt x="3245" y="2741"/>
                    <a:pt x="3025" y="2741"/>
                  </a:cubicBezTo>
                  <a:lnTo>
                    <a:pt x="2363" y="2741"/>
                  </a:lnTo>
                  <a:cubicBezTo>
                    <a:pt x="1828" y="2741"/>
                    <a:pt x="1355" y="2269"/>
                    <a:pt x="1355" y="1670"/>
                  </a:cubicBezTo>
                  <a:lnTo>
                    <a:pt x="1355" y="1134"/>
                  </a:lnTo>
                  <a:lnTo>
                    <a:pt x="1450" y="1229"/>
                  </a:lnTo>
                  <a:cubicBezTo>
                    <a:pt x="1513" y="1292"/>
                    <a:pt x="1607" y="1323"/>
                    <a:pt x="1698" y="1323"/>
                  </a:cubicBezTo>
                  <a:cubicBezTo>
                    <a:pt x="1788" y="1323"/>
                    <a:pt x="1875" y="1292"/>
                    <a:pt x="1922" y="1229"/>
                  </a:cubicBezTo>
                  <a:cubicBezTo>
                    <a:pt x="2048" y="1134"/>
                    <a:pt x="2048" y="882"/>
                    <a:pt x="1922" y="756"/>
                  </a:cubicBezTo>
                  <a:lnTo>
                    <a:pt x="1261" y="95"/>
                  </a:lnTo>
                  <a:cubicBezTo>
                    <a:pt x="1198" y="32"/>
                    <a:pt x="1111" y="0"/>
                    <a:pt x="10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3" name="Google Shape;7063;p74"/>
            <p:cNvSpPr/>
            <p:nvPr/>
          </p:nvSpPr>
          <p:spPr>
            <a:xfrm>
              <a:off x="-33673825" y="1916675"/>
              <a:ext cx="189050" cy="189050"/>
            </a:xfrm>
            <a:custGeom>
              <a:avLst/>
              <a:gdLst/>
              <a:ahLst/>
              <a:cxnLst/>
              <a:rect l="l" t="t" r="r" b="b"/>
              <a:pathLst>
                <a:path w="7562" h="7562" extrusionOk="0">
                  <a:moveTo>
                    <a:pt x="3718" y="694"/>
                  </a:moveTo>
                  <a:cubicBezTo>
                    <a:pt x="5073" y="694"/>
                    <a:pt x="6144" y="1733"/>
                    <a:pt x="6144" y="3088"/>
                  </a:cubicBezTo>
                  <a:lnTo>
                    <a:pt x="6144" y="3466"/>
                  </a:lnTo>
                  <a:lnTo>
                    <a:pt x="6081" y="3466"/>
                  </a:lnTo>
                  <a:cubicBezTo>
                    <a:pt x="5986" y="2647"/>
                    <a:pt x="5262" y="2048"/>
                    <a:pt x="4411" y="2048"/>
                  </a:cubicBezTo>
                  <a:lnTo>
                    <a:pt x="3025" y="2048"/>
                  </a:lnTo>
                  <a:cubicBezTo>
                    <a:pt x="2143" y="2048"/>
                    <a:pt x="1481" y="2678"/>
                    <a:pt x="1324" y="3466"/>
                  </a:cubicBezTo>
                  <a:lnTo>
                    <a:pt x="1292" y="3466"/>
                  </a:lnTo>
                  <a:lnTo>
                    <a:pt x="1292" y="3088"/>
                  </a:lnTo>
                  <a:cubicBezTo>
                    <a:pt x="1355" y="1733"/>
                    <a:pt x="2426" y="694"/>
                    <a:pt x="3718" y="694"/>
                  </a:cubicBezTo>
                  <a:close/>
                  <a:moveTo>
                    <a:pt x="4380" y="2741"/>
                  </a:moveTo>
                  <a:cubicBezTo>
                    <a:pt x="4915" y="2741"/>
                    <a:pt x="5388" y="3214"/>
                    <a:pt x="5388" y="3750"/>
                  </a:cubicBezTo>
                  <a:lnTo>
                    <a:pt x="5388" y="4096"/>
                  </a:lnTo>
                  <a:lnTo>
                    <a:pt x="5388" y="4096"/>
                  </a:lnTo>
                  <a:cubicBezTo>
                    <a:pt x="5153" y="4096"/>
                    <a:pt x="4907" y="4091"/>
                    <a:pt x="4821" y="4033"/>
                  </a:cubicBezTo>
                  <a:cubicBezTo>
                    <a:pt x="4789" y="4002"/>
                    <a:pt x="4758" y="3876"/>
                    <a:pt x="4758" y="3781"/>
                  </a:cubicBezTo>
                  <a:cubicBezTo>
                    <a:pt x="4758" y="3592"/>
                    <a:pt x="4600" y="3435"/>
                    <a:pt x="4411" y="3435"/>
                  </a:cubicBezTo>
                  <a:cubicBezTo>
                    <a:pt x="4191" y="3435"/>
                    <a:pt x="4033" y="3592"/>
                    <a:pt x="4033" y="3781"/>
                  </a:cubicBezTo>
                  <a:cubicBezTo>
                    <a:pt x="4033" y="3876"/>
                    <a:pt x="4033" y="4002"/>
                    <a:pt x="3970" y="4033"/>
                  </a:cubicBezTo>
                  <a:cubicBezTo>
                    <a:pt x="3907" y="4096"/>
                    <a:pt x="3757" y="4112"/>
                    <a:pt x="3576" y="4112"/>
                  </a:cubicBezTo>
                  <a:cubicBezTo>
                    <a:pt x="3395" y="4112"/>
                    <a:pt x="3182" y="4096"/>
                    <a:pt x="2993" y="4096"/>
                  </a:cubicBezTo>
                  <a:lnTo>
                    <a:pt x="1954" y="4096"/>
                  </a:lnTo>
                  <a:lnTo>
                    <a:pt x="1954" y="3750"/>
                  </a:lnTo>
                  <a:cubicBezTo>
                    <a:pt x="1954" y="3214"/>
                    <a:pt x="2426" y="2741"/>
                    <a:pt x="2993" y="2741"/>
                  </a:cubicBezTo>
                  <a:close/>
                  <a:moveTo>
                    <a:pt x="1009" y="4065"/>
                  </a:moveTo>
                  <a:cubicBezTo>
                    <a:pt x="1198" y="4065"/>
                    <a:pt x="1355" y="4222"/>
                    <a:pt x="1355" y="4411"/>
                  </a:cubicBezTo>
                  <a:lnTo>
                    <a:pt x="1355" y="5104"/>
                  </a:lnTo>
                  <a:cubicBezTo>
                    <a:pt x="1355" y="5293"/>
                    <a:pt x="1198" y="5451"/>
                    <a:pt x="1009" y="5451"/>
                  </a:cubicBezTo>
                  <a:cubicBezTo>
                    <a:pt x="820" y="5451"/>
                    <a:pt x="662" y="5293"/>
                    <a:pt x="662" y="5104"/>
                  </a:cubicBezTo>
                  <a:lnTo>
                    <a:pt x="662" y="4411"/>
                  </a:lnTo>
                  <a:cubicBezTo>
                    <a:pt x="662" y="4222"/>
                    <a:pt x="820" y="4065"/>
                    <a:pt x="1009" y="4065"/>
                  </a:cubicBezTo>
                  <a:close/>
                  <a:moveTo>
                    <a:pt x="6490" y="4096"/>
                  </a:moveTo>
                  <a:cubicBezTo>
                    <a:pt x="6679" y="4096"/>
                    <a:pt x="6837" y="4254"/>
                    <a:pt x="6837" y="4474"/>
                  </a:cubicBezTo>
                  <a:lnTo>
                    <a:pt x="6837" y="5136"/>
                  </a:lnTo>
                  <a:cubicBezTo>
                    <a:pt x="6837" y="5325"/>
                    <a:pt x="6679" y="5482"/>
                    <a:pt x="6490" y="5482"/>
                  </a:cubicBezTo>
                  <a:cubicBezTo>
                    <a:pt x="6301" y="5482"/>
                    <a:pt x="6144" y="5325"/>
                    <a:pt x="6144" y="5136"/>
                  </a:cubicBezTo>
                  <a:lnTo>
                    <a:pt x="6144" y="4474"/>
                  </a:lnTo>
                  <a:cubicBezTo>
                    <a:pt x="6144" y="4254"/>
                    <a:pt x="6301" y="4096"/>
                    <a:pt x="6490" y="4096"/>
                  </a:cubicBezTo>
                  <a:close/>
                  <a:moveTo>
                    <a:pt x="4443" y="4537"/>
                  </a:moveTo>
                  <a:cubicBezTo>
                    <a:pt x="4726" y="4726"/>
                    <a:pt x="5073" y="4789"/>
                    <a:pt x="5451" y="4789"/>
                  </a:cubicBezTo>
                  <a:lnTo>
                    <a:pt x="5451" y="5136"/>
                  </a:lnTo>
                  <a:cubicBezTo>
                    <a:pt x="5451" y="6081"/>
                    <a:pt x="4663" y="6869"/>
                    <a:pt x="3718" y="6869"/>
                  </a:cubicBezTo>
                  <a:cubicBezTo>
                    <a:pt x="2773" y="6869"/>
                    <a:pt x="2048" y="6081"/>
                    <a:pt x="2048" y="5136"/>
                  </a:cubicBezTo>
                  <a:lnTo>
                    <a:pt x="2048" y="4789"/>
                  </a:lnTo>
                  <a:lnTo>
                    <a:pt x="3056" y="4789"/>
                  </a:lnTo>
                  <a:cubicBezTo>
                    <a:pt x="3148" y="4789"/>
                    <a:pt x="3241" y="4790"/>
                    <a:pt x="3333" y="4790"/>
                  </a:cubicBezTo>
                  <a:cubicBezTo>
                    <a:pt x="3749" y="4790"/>
                    <a:pt x="4159" y="4769"/>
                    <a:pt x="4443" y="4537"/>
                  </a:cubicBezTo>
                  <a:close/>
                  <a:moveTo>
                    <a:pt x="3813" y="1"/>
                  </a:moveTo>
                  <a:cubicBezTo>
                    <a:pt x="2111" y="1"/>
                    <a:pt x="725" y="1387"/>
                    <a:pt x="725" y="3088"/>
                  </a:cubicBezTo>
                  <a:lnTo>
                    <a:pt x="725" y="3466"/>
                  </a:lnTo>
                  <a:cubicBezTo>
                    <a:pt x="347" y="3624"/>
                    <a:pt x="63" y="4002"/>
                    <a:pt x="63" y="4474"/>
                  </a:cubicBezTo>
                  <a:lnTo>
                    <a:pt x="63" y="5136"/>
                  </a:lnTo>
                  <a:cubicBezTo>
                    <a:pt x="0" y="5671"/>
                    <a:pt x="473" y="6144"/>
                    <a:pt x="1009" y="6144"/>
                  </a:cubicBezTo>
                  <a:cubicBezTo>
                    <a:pt x="1198" y="6144"/>
                    <a:pt x="1355" y="6112"/>
                    <a:pt x="1513" y="6049"/>
                  </a:cubicBezTo>
                  <a:cubicBezTo>
                    <a:pt x="1891" y="6932"/>
                    <a:pt x="2741" y="7562"/>
                    <a:pt x="3781" y="7562"/>
                  </a:cubicBezTo>
                  <a:cubicBezTo>
                    <a:pt x="4789" y="7562"/>
                    <a:pt x="5671" y="6932"/>
                    <a:pt x="6018" y="6049"/>
                  </a:cubicBezTo>
                  <a:cubicBezTo>
                    <a:pt x="6175" y="6112"/>
                    <a:pt x="6333" y="6144"/>
                    <a:pt x="6522" y="6144"/>
                  </a:cubicBezTo>
                  <a:cubicBezTo>
                    <a:pt x="7089" y="6144"/>
                    <a:pt x="7562" y="5671"/>
                    <a:pt x="7562" y="5136"/>
                  </a:cubicBezTo>
                  <a:lnTo>
                    <a:pt x="7562" y="4474"/>
                  </a:lnTo>
                  <a:cubicBezTo>
                    <a:pt x="7562" y="4033"/>
                    <a:pt x="7278" y="3624"/>
                    <a:pt x="6869" y="3466"/>
                  </a:cubicBezTo>
                  <a:lnTo>
                    <a:pt x="6869" y="3088"/>
                  </a:lnTo>
                  <a:cubicBezTo>
                    <a:pt x="6869" y="1387"/>
                    <a:pt x="5514" y="1"/>
                    <a:pt x="38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4" name="Google Shape;7064;p74"/>
            <p:cNvSpPr/>
            <p:nvPr/>
          </p:nvSpPr>
          <p:spPr>
            <a:xfrm>
              <a:off x="-33503700" y="2070250"/>
              <a:ext cx="121325" cy="137075"/>
            </a:xfrm>
            <a:custGeom>
              <a:avLst/>
              <a:gdLst/>
              <a:ahLst/>
              <a:cxnLst/>
              <a:rect l="l" t="t" r="r" b="b"/>
              <a:pathLst>
                <a:path w="4853" h="5483" extrusionOk="0">
                  <a:moveTo>
                    <a:pt x="3151" y="726"/>
                  </a:moveTo>
                  <a:cubicBezTo>
                    <a:pt x="3687" y="726"/>
                    <a:pt x="4222" y="1198"/>
                    <a:pt x="4222" y="1734"/>
                  </a:cubicBezTo>
                  <a:lnTo>
                    <a:pt x="4222" y="2112"/>
                  </a:lnTo>
                  <a:cubicBezTo>
                    <a:pt x="3939" y="2112"/>
                    <a:pt x="3655" y="2112"/>
                    <a:pt x="3592" y="1986"/>
                  </a:cubicBezTo>
                  <a:cubicBezTo>
                    <a:pt x="3529" y="1954"/>
                    <a:pt x="3498" y="1828"/>
                    <a:pt x="3498" y="1734"/>
                  </a:cubicBezTo>
                  <a:cubicBezTo>
                    <a:pt x="3498" y="1545"/>
                    <a:pt x="3340" y="1387"/>
                    <a:pt x="3151" y="1387"/>
                  </a:cubicBezTo>
                  <a:cubicBezTo>
                    <a:pt x="2962" y="1387"/>
                    <a:pt x="2804" y="1545"/>
                    <a:pt x="2804" y="1734"/>
                  </a:cubicBezTo>
                  <a:cubicBezTo>
                    <a:pt x="2804" y="1828"/>
                    <a:pt x="2804" y="1954"/>
                    <a:pt x="2710" y="1986"/>
                  </a:cubicBezTo>
                  <a:cubicBezTo>
                    <a:pt x="2636" y="2060"/>
                    <a:pt x="2487" y="2090"/>
                    <a:pt x="2312" y="2090"/>
                  </a:cubicBezTo>
                  <a:cubicBezTo>
                    <a:pt x="2189" y="2090"/>
                    <a:pt x="2053" y="2075"/>
                    <a:pt x="1922" y="2049"/>
                  </a:cubicBezTo>
                  <a:lnTo>
                    <a:pt x="694" y="2049"/>
                  </a:lnTo>
                  <a:lnTo>
                    <a:pt x="694" y="1734"/>
                  </a:lnTo>
                  <a:cubicBezTo>
                    <a:pt x="694" y="1198"/>
                    <a:pt x="1166" y="726"/>
                    <a:pt x="1765" y="726"/>
                  </a:cubicBezTo>
                  <a:close/>
                  <a:moveTo>
                    <a:pt x="3151" y="2521"/>
                  </a:moveTo>
                  <a:cubicBezTo>
                    <a:pt x="3435" y="2742"/>
                    <a:pt x="3813" y="2773"/>
                    <a:pt x="4222" y="2773"/>
                  </a:cubicBezTo>
                  <a:lnTo>
                    <a:pt x="4222" y="3120"/>
                  </a:lnTo>
                  <a:cubicBezTo>
                    <a:pt x="4159" y="4034"/>
                    <a:pt x="3372" y="4853"/>
                    <a:pt x="2426" y="4853"/>
                  </a:cubicBezTo>
                  <a:cubicBezTo>
                    <a:pt x="1481" y="4853"/>
                    <a:pt x="694" y="4065"/>
                    <a:pt x="694" y="3120"/>
                  </a:cubicBezTo>
                  <a:lnTo>
                    <a:pt x="694" y="2773"/>
                  </a:lnTo>
                  <a:lnTo>
                    <a:pt x="1765" y="2773"/>
                  </a:lnTo>
                  <a:cubicBezTo>
                    <a:pt x="1859" y="2773"/>
                    <a:pt x="2836" y="2773"/>
                    <a:pt x="3151" y="2521"/>
                  </a:cubicBezTo>
                  <a:close/>
                  <a:moveTo>
                    <a:pt x="1733" y="1"/>
                  </a:moveTo>
                  <a:cubicBezTo>
                    <a:pt x="788" y="1"/>
                    <a:pt x="1" y="757"/>
                    <a:pt x="1" y="1702"/>
                  </a:cubicBezTo>
                  <a:lnTo>
                    <a:pt x="1" y="3088"/>
                  </a:lnTo>
                  <a:cubicBezTo>
                    <a:pt x="1" y="4412"/>
                    <a:pt x="1103" y="5483"/>
                    <a:pt x="2395" y="5483"/>
                  </a:cubicBezTo>
                  <a:cubicBezTo>
                    <a:pt x="3750" y="5483"/>
                    <a:pt x="4789" y="4380"/>
                    <a:pt x="4789" y="3088"/>
                  </a:cubicBezTo>
                  <a:lnTo>
                    <a:pt x="4789" y="1702"/>
                  </a:lnTo>
                  <a:cubicBezTo>
                    <a:pt x="4852" y="789"/>
                    <a:pt x="4065" y="1"/>
                    <a:pt x="31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65" name="Google Shape;7065;p74"/>
          <p:cNvGrpSpPr/>
          <p:nvPr/>
        </p:nvGrpSpPr>
        <p:grpSpPr>
          <a:xfrm>
            <a:off x="4712934" y="2657476"/>
            <a:ext cx="477799" cy="473957"/>
            <a:chOff x="-33676975" y="2275050"/>
            <a:chExt cx="295375" cy="293000"/>
          </a:xfrm>
        </p:grpSpPr>
        <p:sp>
          <p:nvSpPr>
            <p:cNvPr id="7066" name="Google Shape;7066;p74"/>
            <p:cNvSpPr/>
            <p:nvPr/>
          </p:nvSpPr>
          <p:spPr>
            <a:xfrm>
              <a:off x="-33502125" y="2309700"/>
              <a:ext cx="52800" cy="67750"/>
            </a:xfrm>
            <a:custGeom>
              <a:avLst/>
              <a:gdLst/>
              <a:ahLst/>
              <a:cxnLst/>
              <a:rect l="l" t="t" r="r" b="b"/>
              <a:pathLst>
                <a:path w="2112" h="2710" extrusionOk="0">
                  <a:moveTo>
                    <a:pt x="1040" y="0"/>
                  </a:moveTo>
                  <a:cubicBezTo>
                    <a:pt x="473" y="0"/>
                    <a:pt x="1" y="473"/>
                    <a:pt x="1" y="1040"/>
                  </a:cubicBezTo>
                  <a:cubicBezTo>
                    <a:pt x="1" y="1229"/>
                    <a:pt x="158" y="1387"/>
                    <a:pt x="379" y="1387"/>
                  </a:cubicBezTo>
                  <a:cubicBezTo>
                    <a:pt x="568" y="1387"/>
                    <a:pt x="725" y="1229"/>
                    <a:pt x="725" y="1040"/>
                  </a:cubicBezTo>
                  <a:cubicBezTo>
                    <a:pt x="725" y="820"/>
                    <a:pt x="883" y="662"/>
                    <a:pt x="1072" y="662"/>
                  </a:cubicBezTo>
                  <a:cubicBezTo>
                    <a:pt x="1261" y="662"/>
                    <a:pt x="1450" y="820"/>
                    <a:pt x="1450" y="1040"/>
                  </a:cubicBezTo>
                  <a:cubicBezTo>
                    <a:pt x="1450" y="1198"/>
                    <a:pt x="1355" y="1292"/>
                    <a:pt x="1198" y="1355"/>
                  </a:cubicBezTo>
                  <a:cubicBezTo>
                    <a:pt x="914" y="1418"/>
                    <a:pt x="725" y="1702"/>
                    <a:pt x="725" y="1985"/>
                  </a:cubicBezTo>
                  <a:lnTo>
                    <a:pt x="725" y="2363"/>
                  </a:lnTo>
                  <a:cubicBezTo>
                    <a:pt x="725" y="2552"/>
                    <a:pt x="883" y="2710"/>
                    <a:pt x="1072" y="2710"/>
                  </a:cubicBezTo>
                  <a:cubicBezTo>
                    <a:pt x="1292" y="2710"/>
                    <a:pt x="1450" y="2552"/>
                    <a:pt x="1450" y="2363"/>
                  </a:cubicBezTo>
                  <a:lnTo>
                    <a:pt x="1450" y="1985"/>
                  </a:lnTo>
                  <a:cubicBezTo>
                    <a:pt x="1828" y="1828"/>
                    <a:pt x="2111" y="1418"/>
                    <a:pt x="2111" y="977"/>
                  </a:cubicBezTo>
                  <a:cubicBezTo>
                    <a:pt x="2048" y="473"/>
                    <a:pt x="1576"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7" name="Google Shape;7067;p74"/>
            <p:cNvSpPr/>
            <p:nvPr/>
          </p:nvSpPr>
          <p:spPr>
            <a:xfrm>
              <a:off x="-33484800" y="2395550"/>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62"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68" name="Google Shape;7068;p74"/>
            <p:cNvSpPr/>
            <p:nvPr/>
          </p:nvSpPr>
          <p:spPr>
            <a:xfrm>
              <a:off x="-33676975" y="2275050"/>
              <a:ext cx="295375" cy="293000"/>
            </a:xfrm>
            <a:custGeom>
              <a:avLst/>
              <a:gdLst/>
              <a:ahLst/>
              <a:cxnLst/>
              <a:rect l="l" t="t" r="r" b="b"/>
              <a:pathLst>
                <a:path w="11815" h="11720" extrusionOk="0">
                  <a:moveTo>
                    <a:pt x="8034" y="725"/>
                  </a:moveTo>
                  <a:cubicBezTo>
                    <a:pt x="9735" y="725"/>
                    <a:pt x="11090" y="2080"/>
                    <a:pt x="11090" y="3781"/>
                  </a:cubicBezTo>
                  <a:cubicBezTo>
                    <a:pt x="11090" y="5482"/>
                    <a:pt x="9735" y="6868"/>
                    <a:pt x="8034" y="6868"/>
                  </a:cubicBezTo>
                  <a:cubicBezTo>
                    <a:pt x="6333" y="6868"/>
                    <a:pt x="4947" y="5482"/>
                    <a:pt x="4947" y="3781"/>
                  </a:cubicBezTo>
                  <a:cubicBezTo>
                    <a:pt x="4947" y="2080"/>
                    <a:pt x="6333" y="725"/>
                    <a:pt x="8034" y="725"/>
                  </a:cubicBezTo>
                  <a:close/>
                  <a:moveTo>
                    <a:pt x="5104" y="6207"/>
                  </a:moveTo>
                  <a:cubicBezTo>
                    <a:pt x="5262" y="6364"/>
                    <a:pt x="5419" y="6553"/>
                    <a:pt x="5577" y="6679"/>
                  </a:cubicBezTo>
                  <a:lnTo>
                    <a:pt x="5325" y="6931"/>
                  </a:lnTo>
                  <a:cubicBezTo>
                    <a:pt x="5262" y="6994"/>
                    <a:pt x="5167" y="7026"/>
                    <a:pt x="5077" y="7026"/>
                  </a:cubicBezTo>
                  <a:cubicBezTo>
                    <a:pt x="4986" y="7026"/>
                    <a:pt x="4899" y="6994"/>
                    <a:pt x="4852" y="6931"/>
                  </a:cubicBezTo>
                  <a:cubicBezTo>
                    <a:pt x="4726" y="6805"/>
                    <a:pt x="4726" y="6585"/>
                    <a:pt x="4852" y="6459"/>
                  </a:cubicBezTo>
                  <a:lnTo>
                    <a:pt x="5104" y="6207"/>
                  </a:lnTo>
                  <a:close/>
                  <a:moveTo>
                    <a:pt x="3104" y="8380"/>
                  </a:moveTo>
                  <a:cubicBezTo>
                    <a:pt x="3190" y="8380"/>
                    <a:pt x="3277" y="8412"/>
                    <a:pt x="3340" y="8475"/>
                  </a:cubicBezTo>
                  <a:cubicBezTo>
                    <a:pt x="3466" y="8601"/>
                    <a:pt x="3466" y="8822"/>
                    <a:pt x="3340" y="8948"/>
                  </a:cubicBezTo>
                  <a:lnTo>
                    <a:pt x="1387" y="10932"/>
                  </a:lnTo>
                  <a:cubicBezTo>
                    <a:pt x="1324" y="10980"/>
                    <a:pt x="1229" y="11003"/>
                    <a:pt x="1139" y="11003"/>
                  </a:cubicBezTo>
                  <a:cubicBezTo>
                    <a:pt x="1048" y="11003"/>
                    <a:pt x="961" y="10980"/>
                    <a:pt x="914" y="10932"/>
                  </a:cubicBezTo>
                  <a:cubicBezTo>
                    <a:pt x="788" y="10806"/>
                    <a:pt x="788" y="10554"/>
                    <a:pt x="914" y="10460"/>
                  </a:cubicBezTo>
                  <a:lnTo>
                    <a:pt x="2867" y="8475"/>
                  </a:lnTo>
                  <a:cubicBezTo>
                    <a:pt x="2930" y="8412"/>
                    <a:pt x="3017" y="8380"/>
                    <a:pt x="3104" y="8380"/>
                  </a:cubicBezTo>
                  <a:close/>
                  <a:moveTo>
                    <a:pt x="8034" y="0"/>
                  </a:moveTo>
                  <a:cubicBezTo>
                    <a:pt x="5955" y="0"/>
                    <a:pt x="4285" y="1701"/>
                    <a:pt x="4285" y="3749"/>
                  </a:cubicBezTo>
                  <a:cubicBezTo>
                    <a:pt x="4285" y="4411"/>
                    <a:pt x="4443" y="5041"/>
                    <a:pt x="4758" y="5608"/>
                  </a:cubicBezTo>
                  <a:lnTo>
                    <a:pt x="4380" y="5986"/>
                  </a:lnTo>
                  <a:cubicBezTo>
                    <a:pt x="4065" y="6301"/>
                    <a:pt x="3970" y="6774"/>
                    <a:pt x="4159" y="7183"/>
                  </a:cubicBezTo>
                  <a:lnTo>
                    <a:pt x="3529" y="7813"/>
                  </a:lnTo>
                  <a:cubicBezTo>
                    <a:pt x="3387" y="7743"/>
                    <a:pt x="3232" y="7707"/>
                    <a:pt x="3077" y="7707"/>
                  </a:cubicBezTo>
                  <a:cubicBezTo>
                    <a:pt x="2819" y="7707"/>
                    <a:pt x="2560" y="7806"/>
                    <a:pt x="2363" y="8002"/>
                  </a:cubicBezTo>
                  <a:lnTo>
                    <a:pt x="378" y="9987"/>
                  </a:lnTo>
                  <a:cubicBezTo>
                    <a:pt x="0" y="10365"/>
                    <a:pt x="0" y="11027"/>
                    <a:pt x="378" y="11436"/>
                  </a:cubicBezTo>
                  <a:cubicBezTo>
                    <a:pt x="583" y="11625"/>
                    <a:pt x="851" y="11720"/>
                    <a:pt x="1119" y="11720"/>
                  </a:cubicBezTo>
                  <a:cubicBezTo>
                    <a:pt x="1387" y="11720"/>
                    <a:pt x="1654" y="11625"/>
                    <a:pt x="1859" y="11436"/>
                  </a:cubicBezTo>
                  <a:lnTo>
                    <a:pt x="3813" y="9452"/>
                  </a:lnTo>
                  <a:cubicBezTo>
                    <a:pt x="4128" y="9137"/>
                    <a:pt x="4222" y="8664"/>
                    <a:pt x="4002" y="8286"/>
                  </a:cubicBezTo>
                  <a:lnTo>
                    <a:pt x="4632" y="7656"/>
                  </a:lnTo>
                  <a:cubicBezTo>
                    <a:pt x="4782" y="7725"/>
                    <a:pt x="4940" y="7761"/>
                    <a:pt x="5097" y="7761"/>
                  </a:cubicBezTo>
                  <a:cubicBezTo>
                    <a:pt x="5367" y="7761"/>
                    <a:pt x="5629" y="7655"/>
                    <a:pt x="5829" y="7435"/>
                  </a:cubicBezTo>
                  <a:lnTo>
                    <a:pt x="6207" y="7057"/>
                  </a:lnTo>
                  <a:cubicBezTo>
                    <a:pt x="6774" y="7372"/>
                    <a:pt x="7404" y="7530"/>
                    <a:pt x="8066" y="7530"/>
                  </a:cubicBezTo>
                  <a:cubicBezTo>
                    <a:pt x="10145" y="7530"/>
                    <a:pt x="11815" y="5829"/>
                    <a:pt x="11815" y="3781"/>
                  </a:cubicBezTo>
                  <a:cubicBezTo>
                    <a:pt x="11815" y="1733"/>
                    <a:pt x="10082" y="0"/>
                    <a:pt x="80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69" name="Google Shape;7069;p74"/>
          <p:cNvGrpSpPr/>
          <p:nvPr/>
        </p:nvGrpSpPr>
        <p:grpSpPr>
          <a:xfrm>
            <a:off x="4716109" y="3264542"/>
            <a:ext cx="471449" cy="473351"/>
            <a:chOff x="-33673825" y="2634975"/>
            <a:chExt cx="291450" cy="292625"/>
          </a:xfrm>
        </p:grpSpPr>
        <p:sp>
          <p:nvSpPr>
            <p:cNvPr id="7070" name="Google Shape;7070;p74"/>
            <p:cNvSpPr/>
            <p:nvPr/>
          </p:nvSpPr>
          <p:spPr>
            <a:xfrm>
              <a:off x="-33673825" y="2634975"/>
              <a:ext cx="291450" cy="292625"/>
            </a:xfrm>
            <a:custGeom>
              <a:avLst/>
              <a:gdLst/>
              <a:ahLst/>
              <a:cxnLst/>
              <a:rect l="l" t="t" r="r" b="b"/>
              <a:pathLst>
                <a:path w="11658" h="11705" extrusionOk="0">
                  <a:moveTo>
                    <a:pt x="5829" y="662"/>
                  </a:moveTo>
                  <a:cubicBezTo>
                    <a:pt x="6459" y="662"/>
                    <a:pt x="7089" y="1261"/>
                    <a:pt x="7562" y="2238"/>
                  </a:cubicBezTo>
                  <a:cubicBezTo>
                    <a:pt x="7310" y="2364"/>
                    <a:pt x="7152" y="2553"/>
                    <a:pt x="7026" y="2773"/>
                  </a:cubicBezTo>
                  <a:cubicBezTo>
                    <a:pt x="6648" y="2742"/>
                    <a:pt x="6238" y="2710"/>
                    <a:pt x="5860" y="2710"/>
                  </a:cubicBezTo>
                  <a:cubicBezTo>
                    <a:pt x="5451" y="2710"/>
                    <a:pt x="5041" y="2742"/>
                    <a:pt x="4663" y="2773"/>
                  </a:cubicBezTo>
                  <a:cubicBezTo>
                    <a:pt x="4569" y="2553"/>
                    <a:pt x="4348" y="2364"/>
                    <a:pt x="4159" y="2238"/>
                  </a:cubicBezTo>
                  <a:cubicBezTo>
                    <a:pt x="4569" y="1261"/>
                    <a:pt x="5199" y="662"/>
                    <a:pt x="5829" y="662"/>
                  </a:cubicBezTo>
                  <a:close/>
                  <a:moveTo>
                    <a:pt x="3403" y="2742"/>
                  </a:moveTo>
                  <a:cubicBezTo>
                    <a:pt x="3813" y="2742"/>
                    <a:pt x="4096" y="3057"/>
                    <a:pt x="4096" y="3403"/>
                  </a:cubicBezTo>
                  <a:cubicBezTo>
                    <a:pt x="4096" y="3750"/>
                    <a:pt x="3781" y="4097"/>
                    <a:pt x="3403" y="4097"/>
                  </a:cubicBezTo>
                  <a:cubicBezTo>
                    <a:pt x="3025" y="4097"/>
                    <a:pt x="2741" y="3750"/>
                    <a:pt x="2741" y="3403"/>
                  </a:cubicBezTo>
                  <a:cubicBezTo>
                    <a:pt x="2741" y="3057"/>
                    <a:pt x="3025" y="2742"/>
                    <a:pt x="3403" y="2742"/>
                  </a:cubicBezTo>
                  <a:close/>
                  <a:moveTo>
                    <a:pt x="7562" y="946"/>
                  </a:moveTo>
                  <a:cubicBezTo>
                    <a:pt x="9011" y="1482"/>
                    <a:pt x="10145" y="2616"/>
                    <a:pt x="10649" y="4097"/>
                  </a:cubicBezTo>
                  <a:cubicBezTo>
                    <a:pt x="10334" y="3844"/>
                    <a:pt x="9988" y="3655"/>
                    <a:pt x="9609" y="3466"/>
                  </a:cubicBezTo>
                  <a:lnTo>
                    <a:pt x="9609" y="3403"/>
                  </a:lnTo>
                  <a:cubicBezTo>
                    <a:pt x="9609" y="2679"/>
                    <a:pt x="8979" y="2049"/>
                    <a:pt x="8223" y="2049"/>
                  </a:cubicBezTo>
                  <a:lnTo>
                    <a:pt x="8192" y="2049"/>
                  </a:lnTo>
                  <a:cubicBezTo>
                    <a:pt x="7971" y="1608"/>
                    <a:pt x="7782" y="1261"/>
                    <a:pt x="7562" y="946"/>
                  </a:cubicBezTo>
                  <a:close/>
                  <a:moveTo>
                    <a:pt x="4096" y="978"/>
                  </a:moveTo>
                  <a:lnTo>
                    <a:pt x="4096" y="978"/>
                  </a:lnTo>
                  <a:cubicBezTo>
                    <a:pt x="3844" y="1293"/>
                    <a:pt x="3624" y="1639"/>
                    <a:pt x="3466" y="2080"/>
                  </a:cubicBezTo>
                  <a:lnTo>
                    <a:pt x="3403" y="2080"/>
                  </a:lnTo>
                  <a:cubicBezTo>
                    <a:pt x="2678" y="2080"/>
                    <a:pt x="2048" y="2710"/>
                    <a:pt x="2048" y="3466"/>
                  </a:cubicBezTo>
                  <a:lnTo>
                    <a:pt x="2048" y="3498"/>
                  </a:lnTo>
                  <a:cubicBezTo>
                    <a:pt x="1639" y="3687"/>
                    <a:pt x="1292" y="3876"/>
                    <a:pt x="977" y="4128"/>
                  </a:cubicBezTo>
                  <a:cubicBezTo>
                    <a:pt x="1481" y="2616"/>
                    <a:pt x="2615" y="1482"/>
                    <a:pt x="4096" y="978"/>
                  </a:cubicBezTo>
                  <a:close/>
                  <a:moveTo>
                    <a:pt x="8223" y="2773"/>
                  </a:moveTo>
                  <a:cubicBezTo>
                    <a:pt x="8601" y="2773"/>
                    <a:pt x="8885" y="3088"/>
                    <a:pt x="8885" y="3466"/>
                  </a:cubicBezTo>
                  <a:cubicBezTo>
                    <a:pt x="8885" y="3813"/>
                    <a:pt x="8601" y="4128"/>
                    <a:pt x="8223" y="4128"/>
                  </a:cubicBezTo>
                  <a:cubicBezTo>
                    <a:pt x="7814" y="4128"/>
                    <a:pt x="7562" y="3813"/>
                    <a:pt x="7562" y="3466"/>
                  </a:cubicBezTo>
                  <a:cubicBezTo>
                    <a:pt x="7562" y="3088"/>
                    <a:pt x="7877" y="2773"/>
                    <a:pt x="8223" y="2773"/>
                  </a:cubicBezTo>
                  <a:close/>
                  <a:moveTo>
                    <a:pt x="9452" y="4160"/>
                  </a:moveTo>
                  <a:cubicBezTo>
                    <a:pt x="10429" y="4632"/>
                    <a:pt x="11027" y="5262"/>
                    <a:pt x="11027" y="5892"/>
                  </a:cubicBezTo>
                  <a:cubicBezTo>
                    <a:pt x="10964" y="5924"/>
                    <a:pt x="10933" y="6050"/>
                    <a:pt x="10933" y="6176"/>
                  </a:cubicBezTo>
                  <a:cubicBezTo>
                    <a:pt x="10492" y="5735"/>
                    <a:pt x="9925" y="5514"/>
                    <a:pt x="9294" y="5514"/>
                  </a:cubicBezTo>
                  <a:cubicBezTo>
                    <a:pt x="9168" y="5514"/>
                    <a:pt x="9042" y="5514"/>
                    <a:pt x="8916" y="5546"/>
                  </a:cubicBezTo>
                  <a:cubicBezTo>
                    <a:pt x="8916" y="5231"/>
                    <a:pt x="8885" y="4947"/>
                    <a:pt x="8885" y="4664"/>
                  </a:cubicBezTo>
                  <a:cubicBezTo>
                    <a:pt x="9137" y="4569"/>
                    <a:pt x="9326" y="4349"/>
                    <a:pt x="9452" y="4160"/>
                  </a:cubicBezTo>
                  <a:close/>
                  <a:moveTo>
                    <a:pt x="2237" y="4097"/>
                  </a:moveTo>
                  <a:cubicBezTo>
                    <a:pt x="2363" y="4349"/>
                    <a:pt x="2552" y="4506"/>
                    <a:pt x="2773" y="4632"/>
                  </a:cubicBezTo>
                  <a:cubicBezTo>
                    <a:pt x="2741" y="5042"/>
                    <a:pt x="2710" y="5420"/>
                    <a:pt x="2710" y="5829"/>
                  </a:cubicBezTo>
                  <a:cubicBezTo>
                    <a:pt x="2710" y="6207"/>
                    <a:pt x="2741" y="6617"/>
                    <a:pt x="2773" y="6995"/>
                  </a:cubicBezTo>
                  <a:cubicBezTo>
                    <a:pt x="2552" y="7121"/>
                    <a:pt x="2363" y="7310"/>
                    <a:pt x="2237" y="7499"/>
                  </a:cubicBezTo>
                  <a:cubicBezTo>
                    <a:pt x="1261" y="7026"/>
                    <a:pt x="662" y="6459"/>
                    <a:pt x="662" y="5829"/>
                  </a:cubicBezTo>
                  <a:cubicBezTo>
                    <a:pt x="662" y="5199"/>
                    <a:pt x="1261" y="4569"/>
                    <a:pt x="2237" y="4097"/>
                  </a:cubicBezTo>
                  <a:close/>
                  <a:moveTo>
                    <a:pt x="5829" y="3466"/>
                  </a:moveTo>
                  <a:cubicBezTo>
                    <a:pt x="6175" y="3466"/>
                    <a:pt x="6522" y="3466"/>
                    <a:pt x="6869" y="3498"/>
                  </a:cubicBezTo>
                  <a:cubicBezTo>
                    <a:pt x="6932" y="4191"/>
                    <a:pt x="7467" y="4790"/>
                    <a:pt x="8192" y="4790"/>
                  </a:cubicBezTo>
                  <a:cubicBezTo>
                    <a:pt x="8223" y="5105"/>
                    <a:pt x="8223" y="5420"/>
                    <a:pt x="8223" y="5735"/>
                  </a:cubicBezTo>
                  <a:cubicBezTo>
                    <a:pt x="7436" y="6144"/>
                    <a:pt x="6869" y="6963"/>
                    <a:pt x="6869" y="7909"/>
                  </a:cubicBezTo>
                  <a:lnTo>
                    <a:pt x="6869" y="8192"/>
                  </a:lnTo>
                  <a:cubicBezTo>
                    <a:pt x="6522" y="8224"/>
                    <a:pt x="6175" y="8224"/>
                    <a:pt x="5829" y="8224"/>
                  </a:cubicBezTo>
                  <a:cubicBezTo>
                    <a:pt x="5451" y="8224"/>
                    <a:pt x="5104" y="8224"/>
                    <a:pt x="4758" y="8192"/>
                  </a:cubicBezTo>
                  <a:cubicBezTo>
                    <a:pt x="4726" y="7468"/>
                    <a:pt x="4159" y="6869"/>
                    <a:pt x="3466" y="6869"/>
                  </a:cubicBezTo>
                  <a:cubicBezTo>
                    <a:pt x="3403" y="6522"/>
                    <a:pt x="3403" y="6207"/>
                    <a:pt x="3403" y="5861"/>
                  </a:cubicBezTo>
                  <a:cubicBezTo>
                    <a:pt x="3403" y="5483"/>
                    <a:pt x="3403" y="5136"/>
                    <a:pt x="3466" y="4790"/>
                  </a:cubicBezTo>
                  <a:cubicBezTo>
                    <a:pt x="4159" y="4758"/>
                    <a:pt x="4758" y="4191"/>
                    <a:pt x="4758" y="3498"/>
                  </a:cubicBezTo>
                  <a:cubicBezTo>
                    <a:pt x="5104" y="3466"/>
                    <a:pt x="5482" y="3466"/>
                    <a:pt x="5829" y="3466"/>
                  </a:cubicBezTo>
                  <a:close/>
                  <a:moveTo>
                    <a:pt x="3403" y="7562"/>
                  </a:moveTo>
                  <a:cubicBezTo>
                    <a:pt x="3813" y="7562"/>
                    <a:pt x="4096" y="7877"/>
                    <a:pt x="4096" y="8224"/>
                  </a:cubicBezTo>
                  <a:cubicBezTo>
                    <a:pt x="4096" y="8570"/>
                    <a:pt x="3781" y="8885"/>
                    <a:pt x="3403" y="8885"/>
                  </a:cubicBezTo>
                  <a:cubicBezTo>
                    <a:pt x="3025" y="8885"/>
                    <a:pt x="2741" y="8570"/>
                    <a:pt x="2741" y="8224"/>
                  </a:cubicBezTo>
                  <a:cubicBezTo>
                    <a:pt x="2741" y="7877"/>
                    <a:pt x="3025" y="7562"/>
                    <a:pt x="3403" y="7562"/>
                  </a:cubicBezTo>
                  <a:close/>
                  <a:moveTo>
                    <a:pt x="7940" y="10114"/>
                  </a:moveTo>
                  <a:lnTo>
                    <a:pt x="8192" y="10429"/>
                  </a:lnTo>
                  <a:lnTo>
                    <a:pt x="7593" y="10650"/>
                  </a:lnTo>
                  <a:cubicBezTo>
                    <a:pt x="7719" y="10492"/>
                    <a:pt x="7814" y="10303"/>
                    <a:pt x="7940" y="10114"/>
                  </a:cubicBezTo>
                  <a:close/>
                  <a:moveTo>
                    <a:pt x="977" y="7594"/>
                  </a:moveTo>
                  <a:cubicBezTo>
                    <a:pt x="1261" y="7814"/>
                    <a:pt x="1639" y="8035"/>
                    <a:pt x="2048" y="8224"/>
                  </a:cubicBezTo>
                  <a:lnTo>
                    <a:pt x="2048" y="8255"/>
                  </a:lnTo>
                  <a:cubicBezTo>
                    <a:pt x="2048" y="9011"/>
                    <a:pt x="2678" y="9641"/>
                    <a:pt x="3403" y="9641"/>
                  </a:cubicBezTo>
                  <a:lnTo>
                    <a:pt x="3466" y="9641"/>
                  </a:lnTo>
                  <a:cubicBezTo>
                    <a:pt x="3655" y="10019"/>
                    <a:pt x="3844" y="10397"/>
                    <a:pt x="4096" y="10681"/>
                  </a:cubicBezTo>
                  <a:cubicBezTo>
                    <a:pt x="2615" y="10145"/>
                    <a:pt x="1481" y="9011"/>
                    <a:pt x="977" y="7594"/>
                  </a:cubicBezTo>
                  <a:close/>
                  <a:moveTo>
                    <a:pt x="9294" y="6207"/>
                  </a:moveTo>
                  <a:cubicBezTo>
                    <a:pt x="10240" y="6207"/>
                    <a:pt x="10964" y="6963"/>
                    <a:pt x="10964" y="7909"/>
                  </a:cubicBezTo>
                  <a:cubicBezTo>
                    <a:pt x="10964" y="8192"/>
                    <a:pt x="10901" y="8413"/>
                    <a:pt x="10807" y="8665"/>
                  </a:cubicBezTo>
                  <a:cubicBezTo>
                    <a:pt x="10744" y="8759"/>
                    <a:pt x="10177" y="9484"/>
                    <a:pt x="9294" y="10744"/>
                  </a:cubicBezTo>
                  <a:lnTo>
                    <a:pt x="8979" y="10303"/>
                  </a:lnTo>
                  <a:cubicBezTo>
                    <a:pt x="8018" y="9071"/>
                    <a:pt x="8059" y="9043"/>
                    <a:pt x="8038" y="9043"/>
                  </a:cubicBezTo>
                  <a:lnTo>
                    <a:pt x="8038" y="9043"/>
                  </a:lnTo>
                  <a:cubicBezTo>
                    <a:pt x="8037" y="9043"/>
                    <a:pt x="8036" y="9043"/>
                    <a:pt x="8034" y="9043"/>
                  </a:cubicBezTo>
                  <a:cubicBezTo>
                    <a:pt x="7751" y="8728"/>
                    <a:pt x="7593" y="8350"/>
                    <a:pt x="7593" y="7909"/>
                  </a:cubicBezTo>
                  <a:cubicBezTo>
                    <a:pt x="7593" y="6963"/>
                    <a:pt x="8349" y="6207"/>
                    <a:pt x="9294" y="6207"/>
                  </a:cubicBezTo>
                  <a:close/>
                  <a:moveTo>
                    <a:pt x="7026" y="8854"/>
                  </a:moveTo>
                  <a:cubicBezTo>
                    <a:pt x="7152" y="9074"/>
                    <a:pt x="7278" y="9326"/>
                    <a:pt x="7467" y="9515"/>
                  </a:cubicBezTo>
                  <a:cubicBezTo>
                    <a:pt x="7026" y="10429"/>
                    <a:pt x="6459" y="10965"/>
                    <a:pt x="5829" y="10965"/>
                  </a:cubicBezTo>
                  <a:cubicBezTo>
                    <a:pt x="5199" y="10965"/>
                    <a:pt x="4569" y="10397"/>
                    <a:pt x="4096" y="9389"/>
                  </a:cubicBezTo>
                  <a:cubicBezTo>
                    <a:pt x="4317" y="9295"/>
                    <a:pt x="4474" y="9074"/>
                    <a:pt x="4600" y="8854"/>
                  </a:cubicBezTo>
                  <a:cubicBezTo>
                    <a:pt x="4978" y="8885"/>
                    <a:pt x="5388" y="8917"/>
                    <a:pt x="5766" y="8917"/>
                  </a:cubicBezTo>
                  <a:cubicBezTo>
                    <a:pt x="6207" y="8917"/>
                    <a:pt x="6616" y="8885"/>
                    <a:pt x="7026" y="8854"/>
                  </a:cubicBezTo>
                  <a:close/>
                  <a:moveTo>
                    <a:pt x="5829" y="1"/>
                  </a:moveTo>
                  <a:cubicBezTo>
                    <a:pt x="2584" y="1"/>
                    <a:pt x="0" y="2616"/>
                    <a:pt x="0" y="5861"/>
                  </a:cubicBezTo>
                  <a:cubicBezTo>
                    <a:pt x="0" y="9043"/>
                    <a:pt x="2584" y="11689"/>
                    <a:pt x="5829" y="11689"/>
                  </a:cubicBezTo>
                  <a:cubicBezTo>
                    <a:pt x="6806" y="11689"/>
                    <a:pt x="7751" y="11437"/>
                    <a:pt x="8570" y="11028"/>
                  </a:cubicBezTo>
                  <a:lnTo>
                    <a:pt x="8979" y="11563"/>
                  </a:lnTo>
                  <a:cubicBezTo>
                    <a:pt x="9042" y="11658"/>
                    <a:pt x="9145" y="11705"/>
                    <a:pt x="9247" y="11705"/>
                  </a:cubicBezTo>
                  <a:cubicBezTo>
                    <a:pt x="9350" y="11705"/>
                    <a:pt x="9452" y="11658"/>
                    <a:pt x="9515" y="11563"/>
                  </a:cubicBezTo>
                  <a:cubicBezTo>
                    <a:pt x="9515" y="11563"/>
                    <a:pt x="11279" y="9169"/>
                    <a:pt x="11405" y="8980"/>
                  </a:cubicBezTo>
                  <a:cubicBezTo>
                    <a:pt x="11563" y="8665"/>
                    <a:pt x="11657" y="8287"/>
                    <a:pt x="11657" y="7940"/>
                  </a:cubicBezTo>
                  <a:cubicBezTo>
                    <a:pt x="11657" y="7657"/>
                    <a:pt x="11626" y="7405"/>
                    <a:pt x="11531" y="7152"/>
                  </a:cubicBezTo>
                  <a:cubicBezTo>
                    <a:pt x="11594" y="6774"/>
                    <a:pt x="11657" y="6333"/>
                    <a:pt x="11657" y="5892"/>
                  </a:cubicBezTo>
                  <a:cubicBezTo>
                    <a:pt x="11657" y="2616"/>
                    <a:pt x="9042"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1" name="Google Shape;7071;p74"/>
            <p:cNvSpPr/>
            <p:nvPr/>
          </p:nvSpPr>
          <p:spPr>
            <a:xfrm>
              <a:off x="-33467475" y="2806675"/>
              <a:ext cx="51225" cy="51225"/>
            </a:xfrm>
            <a:custGeom>
              <a:avLst/>
              <a:gdLst/>
              <a:ahLst/>
              <a:cxnLst/>
              <a:rect l="l" t="t" r="r" b="b"/>
              <a:pathLst>
                <a:path w="2049" h="2049" extrusionOk="0">
                  <a:moveTo>
                    <a:pt x="1040" y="631"/>
                  </a:moveTo>
                  <a:cubicBezTo>
                    <a:pt x="1229" y="631"/>
                    <a:pt x="1387" y="789"/>
                    <a:pt x="1387" y="1009"/>
                  </a:cubicBezTo>
                  <a:cubicBezTo>
                    <a:pt x="1387" y="1198"/>
                    <a:pt x="1198" y="1356"/>
                    <a:pt x="1040" y="1356"/>
                  </a:cubicBezTo>
                  <a:cubicBezTo>
                    <a:pt x="820" y="1356"/>
                    <a:pt x="662" y="1198"/>
                    <a:pt x="662" y="1009"/>
                  </a:cubicBezTo>
                  <a:cubicBezTo>
                    <a:pt x="662" y="789"/>
                    <a:pt x="820" y="631"/>
                    <a:pt x="1040" y="631"/>
                  </a:cubicBezTo>
                  <a:close/>
                  <a:moveTo>
                    <a:pt x="1040" y="1"/>
                  </a:moveTo>
                  <a:cubicBezTo>
                    <a:pt x="473" y="1"/>
                    <a:pt x="1" y="474"/>
                    <a:pt x="1" y="1041"/>
                  </a:cubicBezTo>
                  <a:cubicBezTo>
                    <a:pt x="1" y="1576"/>
                    <a:pt x="473" y="2049"/>
                    <a:pt x="1040" y="2049"/>
                  </a:cubicBezTo>
                  <a:cubicBezTo>
                    <a:pt x="1576" y="2049"/>
                    <a:pt x="2049" y="1576"/>
                    <a:pt x="2049" y="1041"/>
                  </a:cubicBezTo>
                  <a:cubicBezTo>
                    <a:pt x="2049" y="442"/>
                    <a:pt x="1576"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72" name="Google Shape;7072;p74"/>
          <p:cNvGrpSpPr/>
          <p:nvPr/>
        </p:nvGrpSpPr>
        <p:grpSpPr>
          <a:xfrm>
            <a:off x="2940119" y="3887096"/>
            <a:ext cx="439583" cy="471531"/>
            <a:chOff x="-31874100" y="1939525"/>
            <a:chExt cx="271750" cy="291500"/>
          </a:xfrm>
        </p:grpSpPr>
        <p:sp>
          <p:nvSpPr>
            <p:cNvPr id="7073" name="Google Shape;7073;p74"/>
            <p:cNvSpPr/>
            <p:nvPr/>
          </p:nvSpPr>
          <p:spPr>
            <a:xfrm>
              <a:off x="-31874100" y="2132475"/>
              <a:ext cx="271750" cy="98550"/>
            </a:xfrm>
            <a:custGeom>
              <a:avLst/>
              <a:gdLst/>
              <a:ahLst/>
              <a:cxnLst/>
              <a:rect l="l" t="t" r="r" b="b"/>
              <a:pathLst>
                <a:path w="10870" h="3942" extrusionOk="0">
                  <a:moveTo>
                    <a:pt x="2080" y="1135"/>
                  </a:moveTo>
                  <a:lnTo>
                    <a:pt x="2300" y="1576"/>
                  </a:lnTo>
                  <a:cubicBezTo>
                    <a:pt x="2363" y="1702"/>
                    <a:pt x="2458" y="1734"/>
                    <a:pt x="2584" y="1765"/>
                  </a:cubicBezTo>
                  <a:lnTo>
                    <a:pt x="3056" y="1860"/>
                  </a:lnTo>
                  <a:lnTo>
                    <a:pt x="2710" y="2206"/>
                  </a:lnTo>
                  <a:cubicBezTo>
                    <a:pt x="2615" y="2269"/>
                    <a:pt x="2584" y="2395"/>
                    <a:pt x="2615" y="2521"/>
                  </a:cubicBezTo>
                  <a:lnTo>
                    <a:pt x="2710" y="2994"/>
                  </a:lnTo>
                  <a:lnTo>
                    <a:pt x="2269" y="2773"/>
                  </a:lnTo>
                  <a:cubicBezTo>
                    <a:pt x="2237" y="2710"/>
                    <a:pt x="2143" y="2710"/>
                    <a:pt x="2111" y="2710"/>
                  </a:cubicBezTo>
                  <a:cubicBezTo>
                    <a:pt x="2080" y="2710"/>
                    <a:pt x="1985" y="2710"/>
                    <a:pt x="1954" y="2773"/>
                  </a:cubicBezTo>
                  <a:lnTo>
                    <a:pt x="1513" y="2994"/>
                  </a:lnTo>
                  <a:lnTo>
                    <a:pt x="1607" y="2521"/>
                  </a:lnTo>
                  <a:cubicBezTo>
                    <a:pt x="1607" y="2395"/>
                    <a:pt x="1607" y="2301"/>
                    <a:pt x="1513" y="2206"/>
                  </a:cubicBezTo>
                  <a:lnTo>
                    <a:pt x="1166" y="1860"/>
                  </a:lnTo>
                  <a:lnTo>
                    <a:pt x="1639" y="1765"/>
                  </a:lnTo>
                  <a:cubicBezTo>
                    <a:pt x="1670" y="1765"/>
                    <a:pt x="1796" y="1702"/>
                    <a:pt x="1828" y="1576"/>
                  </a:cubicBezTo>
                  <a:lnTo>
                    <a:pt x="2080" y="1135"/>
                  </a:lnTo>
                  <a:close/>
                  <a:moveTo>
                    <a:pt x="5514" y="1135"/>
                  </a:moveTo>
                  <a:lnTo>
                    <a:pt x="5734" y="1576"/>
                  </a:lnTo>
                  <a:cubicBezTo>
                    <a:pt x="5766" y="1702"/>
                    <a:pt x="5892" y="1734"/>
                    <a:pt x="6018" y="1765"/>
                  </a:cubicBezTo>
                  <a:lnTo>
                    <a:pt x="6490" y="1860"/>
                  </a:lnTo>
                  <a:lnTo>
                    <a:pt x="6144" y="2206"/>
                  </a:lnTo>
                  <a:cubicBezTo>
                    <a:pt x="6049" y="2269"/>
                    <a:pt x="6018" y="2395"/>
                    <a:pt x="6049" y="2521"/>
                  </a:cubicBezTo>
                  <a:lnTo>
                    <a:pt x="6144" y="2994"/>
                  </a:lnTo>
                  <a:lnTo>
                    <a:pt x="5703" y="2773"/>
                  </a:lnTo>
                  <a:cubicBezTo>
                    <a:pt x="5671" y="2710"/>
                    <a:pt x="5577" y="2710"/>
                    <a:pt x="5545" y="2710"/>
                  </a:cubicBezTo>
                  <a:cubicBezTo>
                    <a:pt x="5514" y="2710"/>
                    <a:pt x="5419" y="2710"/>
                    <a:pt x="5388" y="2773"/>
                  </a:cubicBezTo>
                  <a:lnTo>
                    <a:pt x="4947" y="2994"/>
                  </a:lnTo>
                  <a:lnTo>
                    <a:pt x="5041" y="2521"/>
                  </a:lnTo>
                  <a:cubicBezTo>
                    <a:pt x="5041" y="2395"/>
                    <a:pt x="5041" y="2301"/>
                    <a:pt x="4947" y="2206"/>
                  </a:cubicBezTo>
                  <a:lnTo>
                    <a:pt x="4600" y="1860"/>
                  </a:lnTo>
                  <a:lnTo>
                    <a:pt x="4978" y="1765"/>
                  </a:lnTo>
                  <a:cubicBezTo>
                    <a:pt x="5104" y="1765"/>
                    <a:pt x="5199" y="1702"/>
                    <a:pt x="5262" y="1576"/>
                  </a:cubicBezTo>
                  <a:lnTo>
                    <a:pt x="5514" y="1135"/>
                  </a:lnTo>
                  <a:close/>
                  <a:moveTo>
                    <a:pt x="8916" y="1135"/>
                  </a:moveTo>
                  <a:lnTo>
                    <a:pt x="9168" y="1576"/>
                  </a:lnTo>
                  <a:cubicBezTo>
                    <a:pt x="9200" y="1702"/>
                    <a:pt x="9326" y="1734"/>
                    <a:pt x="9452" y="1765"/>
                  </a:cubicBezTo>
                  <a:lnTo>
                    <a:pt x="9924" y="1860"/>
                  </a:lnTo>
                  <a:lnTo>
                    <a:pt x="9546" y="2206"/>
                  </a:lnTo>
                  <a:cubicBezTo>
                    <a:pt x="9483" y="2269"/>
                    <a:pt x="9452" y="2395"/>
                    <a:pt x="9483" y="2521"/>
                  </a:cubicBezTo>
                  <a:lnTo>
                    <a:pt x="9546" y="2994"/>
                  </a:lnTo>
                  <a:lnTo>
                    <a:pt x="9137" y="2773"/>
                  </a:lnTo>
                  <a:cubicBezTo>
                    <a:pt x="9074" y="2710"/>
                    <a:pt x="9011" y="2710"/>
                    <a:pt x="8979" y="2710"/>
                  </a:cubicBezTo>
                  <a:cubicBezTo>
                    <a:pt x="8916" y="2710"/>
                    <a:pt x="8853" y="2710"/>
                    <a:pt x="8822" y="2773"/>
                  </a:cubicBezTo>
                  <a:lnTo>
                    <a:pt x="8381" y="2994"/>
                  </a:lnTo>
                  <a:lnTo>
                    <a:pt x="8444" y="2521"/>
                  </a:lnTo>
                  <a:cubicBezTo>
                    <a:pt x="8444" y="2395"/>
                    <a:pt x="8444" y="2301"/>
                    <a:pt x="8381" y="2206"/>
                  </a:cubicBezTo>
                  <a:lnTo>
                    <a:pt x="8034" y="1860"/>
                  </a:lnTo>
                  <a:lnTo>
                    <a:pt x="8412" y="1765"/>
                  </a:lnTo>
                  <a:cubicBezTo>
                    <a:pt x="8538" y="1765"/>
                    <a:pt x="8601" y="1702"/>
                    <a:pt x="8696" y="1576"/>
                  </a:cubicBezTo>
                  <a:lnTo>
                    <a:pt x="8916" y="1135"/>
                  </a:lnTo>
                  <a:close/>
                  <a:moveTo>
                    <a:pt x="2048" y="1"/>
                  </a:moveTo>
                  <a:cubicBezTo>
                    <a:pt x="1922" y="1"/>
                    <a:pt x="1796" y="64"/>
                    <a:pt x="1733" y="190"/>
                  </a:cubicBezTo>
                  <a:lnTo>
                    <a:pt x="1292" y="1104"/>
                  </a:lnTo>
                  <a:lnTo>
                    <a:pt x="315" y="1261"/>
                  </a:lnTo>
                  <a:cubicBezTo>
                    <a:pt x="189" y="1261"/>
                    <a:pt x="63" y="1387"/>
                    <a:pt x="32" y="1482"/>
                  </a:cubicBezTo>
                  <a:cubicBezTo>
                    <a:pt x="0" y="1608"/>
                    <a:pt x="32" y="1765"/>
                    <a:pt x="95" y="1860"/>
                  </a:cubicBezTo>
                  <a:lnTo>
                    <a:pt x="819" y="2553"/>
                  </a:lnTo>
                  <a:lnTo>
                    <a:pt x="662" y="3561"/>
                  </a:lnTo>
                  <a:cubicBezTo>
                    <a:pt x="630" y="3655"/>
                    <a:pt x="693" y="3813"/>
                    <a:pt x="788" y="3876"/>
                  </a:cubicBezTo>
                  <a:cubicBezTo>
                    <a:pt x="862" y="3913"/>
                    <a:pt x="925" y="3928"/>
                    <a:pt x="990" y="3928"/>
                  </a:cubicBezTo>
                  <a:cubicBezTo>
                    <a:pt x="1035" y="3928"/>
                    <a:pt x="1082" y="3920"/>
                    <a:pt x="1134" y="3907"/>
                  </a:cubicBezTo>
                  <a:lnTo>
                    <a:pt x="2048" y="3435"/>
                  </a:lnTo>
                  <a:lnTo>
                    <a:pt x="2962" y="3907"/>
                  </a:lnTo>
                  <a:cubicBezTo>
                    <a:pt x="2998" y="3931"/>
                    <a:pt x="3039" y="3942"/>
                    <a:pt x="3082" y="3942"/>
                  </a:cubicBezTo>
                  <a:cubicBezTo>
                    <a:pt x="3153" y="3942"/>
                    <a:pt x="3230" y="3915"/>
                    <a:pt x="3308" y="3876"/>
                  </a:cubicBezTo>
                  <a:cubicBezTo>
                    <a:pt x="3434" y="3781"/>
                    <a:pt x="3466" y="3655"/>
                    <a:pt x="3434" y="3561"/>
                  </a:cubicBezTo>
                  <a:lnTo>
                    <a:pt x="3277" y="2553"/>
                  </a:lnTo>
                  <a:lnTo>
                    <a:pt x="3749" y="2080"/>
                  </a:lnTo>
                  <a:lnTo>
                    <a:pt x="4222" y="2553"/>
                  </a:lnTo>
                  <a:lnTo>
                    <a:pt x="4064" y="3561"/>
                  </a:lnTo>
                  <a:cubicBezTo>
                    <a:pt x="4001" y="3655"/>
                    <a:pt x="4096" y="3813"/>
                    <a:pt x="4159" y="3876"/>
                  </a:cubicBezTo>
                  <a:cubicBezTo>
                    <a:pt x="4233" y="3913"/>
                    <a:pt x="4307" y="3928"/>
                    <a:pt x="4380" y="3928"/>
                  </a:cubicBezTo>
                  <a:cubicBezTo>
                    <a:pt x="4433" y="3928"/>
                    <a:pt x="4485" y="3920"/>
                    <a:pt x="4537" y="3907"/>
                  </a:cubicBezTo>
                  <a:lnTo>
                    <a:pt x="5419" y="3435"/>
                  </a:lnTo>
                  <a:lnTo>
                    <a:pt x="6333" y="3907"/>
                  </a:lnTo>
                  <a:cubicBezTo>
                    <a:pt x="6381" y="3931"/>
                    <a:pt x="6429" y="3942"/>
                    <a:pt x="6475" y="3942"/>
                  </a:cubicBezTo>
                  <a:cubicBezTo>
                    <a:pt x="6550" y="3942"/>
                    <a:pt x="6621" y="3915"/>
                    <a:pt x="6679" y="3876"/>
                  </a:cubicBezTo>
                  <a:cubicBezTo>
                    <a:pt x="6805" y="3781"/>
                    <a:pt x="6837" y="3655"/>
                    <a:pt x="6805" y="3561"/>
                  </a:cubicBezTo>
                  <a:lnTo>
                    <a:pt x="6648" y="2553"/>
                  </a:lnTo>
                  <a:lnTo>
                    <a:pt x="7120" y="2080"/>
                  </a:lnTo>
                  <a:lnTo>
                    <a:pt x="7593" y="2553"/>
                  </a:lnTo>
                  <a:lnTo>
                    <a:pt x="7435" y="3561"/>
                  </a:lnTo>
                  <a:cubicBezTo>
                    <a:pt x="7404" y="3655"/>
                    <a:pt x="7467" y="3813"/>
                    <a:pt x="7561" y="3876"/>
                  </a:cubicBezTo>
                  <a:cubicBezTo>
                    <a:pt x="7635" y="3913"/>
                    <a:pt x="7698" y="3928"/>
                    <a:pt x="7763" y="3928"/>
                  </a:cubicBezTo>
                  <a:cubicBezTo>
                    <a:pt x="7809" y="3928"/>
                    <a:pt x="7856" y="3920"/>
                    <a:pt x="7908" y="3907"/>
                  </a:cubicBezTo>
                  <a:lnTo>
                    <a:pt x="8822" y="3435"/>
                  </a:lnTo>
                  <a:lnTo>
                    <a:pt x="9735" y="3907"/>
                  </a:lnTo>
                  <a:cubicBezTo>
                    <a:pt x="9771" y="3931"/>
                    <a:pt x="9812" y="3942"/>
                    <a:pt x="9856" y="3942"/>
                  </a:cubicBezTo>
                  <a:cubicBezTo>
                    <a:pt x="9926" y="3942"/>
                    <a:pt x="10004" y="3915"/>
                    <a:pt x="10082" y="3876"/>
                  </a:cubicBezTo>
                  <a:cubicBezTo>
                    <a:pt x="10208" y="3781"/>
                    <a:pt x="10239" y="3655"/>
                    <a:pt x="10208" y="3561"/>
                  </a:cubicBezTo>
                  <a:lnTo>
                    <a:pt x="10050" y="2553"/>
                  </a:lnTo>
                  <a:lnTo>
                    <a:pt x="10743" y="1860"/>
                  </a:lnTo>
                  <a:cubicBezTo>
                    <a:pt x="10838" y="1765"/>
                    <a:pt x="10869" y="1608"/>
                    <a:pt x="10838" y="1482"/>
                  </a:cubicBezTo>
                  <a:cubicBezTo>
                    <a:pt x="10775" y="1387"/>
                    <a:pt x="10680" y="1293"/>
                    <a:pt x="10554" y="1261"/>
                  </a:cubicBezTo>
                  <a:lnTo>
                    <a:pt x="9578" y="1104"/>
                  </a:lnTo>
                  <a:lnTo>
                    <a:pt x="9137" y="190"/>
                  </a:lnTo>
                  <a:cubicBezTo>
                    <a:pt x="9105" y="64"/>
                    <a:pt x="8979" y="1"/>
                    <a:pt x="8822" y="1"/>
                  </a:cubicBezTo>
                  <a:cubicBezTo>
                    <a:pt x="8696" y="1"/>
                    <a:pt x="8570" y="64"/>
                    <a:pt x="8507" y="190"/>
                  </a:cubicBezTo>
                  <a:lnTo>
                    <a:pt x="8066" y="1104"/>
                  </a:lnTo>
                  <a:lnTo>
                    <a:pt x="7120" y="1261"/>
                  </a:lnTo>
                  <a:lnTo>
                    <a:pt x="6175" y="1104"/>
                  </a:lnTo>
                  <a:lnTo>
                    <a:pt x="5734" y="190"/>
                  </a:lnTo>
                  <a:cubicBezTo>
                    <a:pt x="5703" y="64"/>
                    <a:pt x="5577" y="1"/>
                    <a:pt x="5419" y="1"/>
                  </a:cubicBezTo>
                  <a:cubicBezTo>
                    <a:pt x="5262" y="1"/>
                    <a:pt x="5199" y="64"/>
                    <a:pt x="5104" y="190"/>
                  </a:cubicBezTo>
                  <a:lnTo>
                    <a:pt x="4695" y="1104"/>
                  </a:lnTo>
                  <a:lnTo>
                    <a:pt x="3749" y="1261"/>
                  </a:lnTo>
                  <a:lnTo>
                    <a:pt x="2804" y="1104"/>
                  </a:lnTo>
                  <a:lnTo>
                    <a:pt x="2363" y="190"/>
                  </a:lnTo>
                  <a:cubicBezTo>
                    <a:pt x="2332" y="64"/>
                    <a:pt x="2206"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4" name="Google Shape;7074;p74"/>
            <p:cNvSpPr/>
            <p:nvPr/>
          </p:nvSpPr>
          <p:spPr>
            <a:xfrm>
              <a:off x="-31830775" y="1939525"/>
              <a:ext cx="189050" cy="189825"/>
            </a:xfrm>
            <a:custGeom>
              <a:avLst/>
              <a:gdLst/>
              <a:ahLst/>
              <a:cxnLst/>
              <a:rect l="l" t="t" r="r" b="b"/>
              <a:pathLst>
                <a:path w="7562" h="7593" extrusionOk="0">
                  <a:moveTo>
                    <a:pt x="3718" y="662"/>
                  </a:moveTo>
                  <a:cubicBezTo>
                    <a:pt x="5072" y="662"/>
                    <a:pt x="6144" y="1764"/>
                    <a:pt x="6144" y="3088"/>
                  </a:cubicBezTo>
                  <a:lnTo>
                    <a:pt x="6144" y="3466"/>
                  </a:lnTo>
                  <a:lnTo>
                    <a:pt x="6081" y="3466"/>
                  </a:lnTo>
                  <a:cubicBezTo>
                    <a:pt x="5986" y="2647"/>
                    <a:pt x="5261" y="2048"/>
                    <a:pt x="4411" y="2048"/>
                  </a:cubicBezTo>
                  <a:lnTo>
                    <a:pt x="3025" y="2048"/>
                  </a:lnTo>
                  <a:cubicBezTo>
                    <a:pt x="2142" y="2048"/>
                    <a:pt x="1481" y="2678"/>
                    <a:pt x="1323" y="3466"/>
                  </a:cubicBezTo>
                  <a:lnTo>
                    <a:pt x="1292" y="3466"/>
                  </a:lnTo>
                  <a:lnTo>
                    <a:pt x="1292" y="3088"/>
                  </a:lnTo>
                  <a:cubicBezTo>
                    <a:pt x="1323" y="1764"/>
                    <a:pt x="2426" y="662"/>
                    <a:pt x="3718" y="662"/>
                  </a:cubicBezTo>
                  <a:close/>
                  <a:moveTo>
                    <a:pt x="4348" y="2773"/>
                  </a:moveTo>
                  <a:cubicBezTo>
                    <a:pt x="4915" y="2773"/>
                    <a:pt x="5387" y="3245"/>
                    <a:pt x="5387" y="3781"/>
                  </a:cubicBezTo>
                  <a:lnTo>
                    <a:pt x="5387" y="4127"/>
                  </a:lnTo>
                  <a:lnTo>
                    <a:pt x="5387" y="4127"/>
                  </a:lnTo>
                  <a:cubicBezTo>
                    <a:pt x="5153" y="4127"/>
                    <a:pt x="4907" y="4122"/>
                    <a:pt x="4820" y="4064"/>
                  </a:cubicBezTo>
                  <a:cubicBezTo>
                    <a:pt x="4789" y="4033"/>
                    <a:pt x="4757" y="3907"/>
                    <a:pt x="4757" y="3812"/>
                  </a:cubicBezTo>
                  <a:cubicBezTo>
                    <a:pt x="4757" y="3623"/>
                    <a:pt x="4600" y="3466"/>
                    <a:pt x="4411" y="3466"/>
                  </a:cubicBezTo>
                  <a:cubicBezTo>
                    <a:pt x="4190" y="3466"/>
                    <a:pt x="4033" y="3623"/>
                    <a:pt x="4033" y="3812"/>
                  </a:cubicBezTo>
                  <a:cubicBezTo>
                    <a:pt x="4033" y="3907"/>
                    <a:pt x="4033" y="4033"/>
                    <a:pt x="3970" y="4064"/>
                  </a:cubicBezTo>
                  <a:cubicBezTo>
                    <a:pt x="3907" y="4127"/>
                    <a:pt x="3789" y="4143"/>
                    <a:pt x="3643" y="4143"/>
                  </a:cubicBezTo>
                  <a:cubicBezTo>
                    <a:pt x="3497" y="4143"/>
                    <a:pt x="3324" y="4127"/>
                    <a:pt x="3151" y="4127"/>
                  </a:cubicBezTo>
                  <a:lnTo>
                    <a:pt x="1953" y="4127"/>
                  </a:lnTo>
                  <a:lnTo>
                    <a:pt x="1953" y="3781"/>
                  </a:lnTo>
                  <a:cubicBezTo>
                    <a:pt x="1953" y="3214"/>
                    <a:pt x="2426" y="2773"/>
                    <a:pt x="2993" y="2773"/>
                  </a:cubicBezTo>
                  <a:close/>
                  <a:moveTo>
                    <a:pt x="1008" y="4096"/>
                  </a:moveTo>
                  <a:cubicBezTo>
                    <a:pt x="1197" y="4096"/>
                    <a:pt x="1355" y="4253"/>
                    <a:pt x="1355" y="4442"/>
                  </a:cubicBezTo>
                  <a:lnTo>
                    <a:pt x="1355" y="5135"/>
                  </a:lnTo>
                  <a:cubicBezTo>
                    <a:pt x="1323" y="5356"/>
                    <a:pt x="1197" y="5482"/>
                    <a:pt x="1008" y="5482"/>
                  </a:cubicBezTo>
                  <a:cubicBezTo>
                    <a:pt x="819" y="5482"/>
                    <a:pt x="662" y="5324"/>
                    <a:pt x="662" y="5135"/>
                  </a:cubicBezTo>
                  <a:lnTo>
                    <a:pt x="662" y="4442"/>
                  </a:lnTo>
                  <a:cubicBezTo>
                    <a:pt x="662" y="4253"/>
                    <a:pt x="819" y="4096"/>
                    <a:pt x="1008" y="4096"/>
                  </a:cubicBezTo>
                  <a:close/>
                  <a:moveTo>
                    <a:pt x="6459" y="4127"/>
                  </a:moveTo>
                  <a:cubicBezTo>
                    <a:pt x="6648" y="4127"/>
                    <a:pt x="6805" y="4285"/>
                    <a:pt x="6805" y="4505"/>
                  </a:cubicBezTo>
                  <a:lnTo>
                    <a:pt x="6805" y="5167"/>
                  </a:lnTo>
                  <a:cubicBezTo>
                    <a:pt x="6805" y="5356"/>
                    <a:pt x="6648" y="5513"/>
                    <a:pt x="6459" y="5513"/>
                  </a:cubicBezTo>
                  <a:cubicBezTo>
                    <a:pt x="6238" y="5513"/>
                    <a:pt x="6081" y="5356"/>
                    <a:pt x="6081" y="5167"/>
                  </a:cubicBezTo>
                  <a:lnTo>
                    <a:pt x="6081" y="4505"/>
                  </a:lnTo>
                  <a:cubicBezTo>
                    <a:pt x="6081" y="4285"/>
                    <a:pt x="6238" y="4127"/>
                    <a:pt x="6459" y="4127"/>
                  </a:cubicBezTo>
                  <a:close/>
                  <a:moveTo>
                    <a:pt x="4442" y="4568"/>
                  </a:moveTo>
                  <a:cubicBezTo>
                    <a:pt x="4726" y="4757"/>
                    <a:pt x="5072" y="4820"/>
                    <a:pt x="5450" y="4820"/>
                  </a:cubicBezTo>
                  <a:lnTo>
                    <a:pt x="5450" y="5167"/>
                  </a:lnTo>
                  <a:cubicBezTo>
                    <a:pt x="5450" y="6112"/>
                    <a:pt x="4663" y="6900"/>
                    <a:pt x="3718" y="6900"/>
                  </a:cubicBezTo>
                  <a:cubicBezTo>
                    <a:pt x="2772" y="6900"/>
                    <a:pt x="2048" y="6112"/>
                    <a:pt x="2048" y="5167"/>
                  </a:cubicBezTo>
                  <a:lnTo>
                    <a:pt x="2048" y="4820"/>
                  </a:lnTo>
                  <a:lnTo>
                    <a:pt x="3214" y="4820"/>
                  </a:lnTo>
                  <a:cubicBezTo>
                    <a:pt x="3305" y="4820"/>
                    <a:pt x="3394" y="4821"/>
                    <a:pt x="3479" y="4821"/>
                  </a:cubicBezTo>
                  <a:cubicBezTo>
                    <a:pt x="3863" y="4821"/>
                    <a:pt x="4184" y="4800"/>
                    <a:pt x="4442" y="4568"/>
                  </a:cubicBezTo>
                  <a:close/>
                  <a:moveTo>
                    <a:pt x="3718" y="0"/>
                  </a:moveTo>
                  <a:cubicBezTo>
                    <a:pt x="2048" y="0"/>
                    <a:pt x="662" y="1386"/>
                    <a:pt x="662" y="3119"/>
                  </a:cubicBezTo>
                  <a:lnTo>
                    <a:pt x="662" y="3497"/>
                  </a:lnTo>
                  <a:cubicBezTo>
                    <a:pt x="252" y="3655"/>
                    <a:pt x="0" y="4033"/>
                    <a:pt x="0" y="4505"/>
                  </a:cubicBezTo>
                  <a:lnTo>
                    <a:pt x="0" y="5167"/>
                  </a:lnTo>
                  <a:cubicBezTo>
                    <a:pt x="0" y="5703"/>
                    <a:pt x="473" y="6175"/>
                    <a:pt x="1008" y="6175"/>
                  </a:cubicBezTo>
                  <a:cubicBezTo>
                    <a:pt x="1197" y="6175"/>
                    <a:pt x="1355" y="6144"/>
                    <a:pt x="1512" y="6081"/>
                  </a:cubicBezTo>
                  <a:cubicBezTo>
                    <a:pt x="1890" y="6963"/>
                    <a:pt x="2741" y="7593"/>
                    <a:pt x="3781" y="7593"/>
                  </a:cubicBezTo>
                  <a:cubicBezTo>
                    <a:pt x="4789" y="7593"/>
                    <a:pt x="5671" y="6963"/>
                    <a:pt x="6018" y="6049"/>
                  </a:cubicBezTo>
                  <a:cubicBezTo>
                    <a:pt x="6175" y="6144"/>
                    <a:pt x="6333" y="6175"/>
                    <a:pt x="6522" y="6175"/>
                  </a:cubicBezTo>
                  <a:cubicBezTo>
                    <a:pt x="7089" y="6175"/>
                    <a:pt x="7561" y="5703"/>
                    <a:pt x="7561" y="5167"/>
                  </a:cubicBezTo>
                  <a:lnTo>
                    <a:pt x="7561" y="4474"/>
                  </a:lnTo>
                  <a:cubicBezTo>
                    <a:pt x="7561" y="4064"/>
                    <a:pt x="7278" y="3655"/>
                    <a:pt x="6868" y="3497"/>
                  </a:cubicBezTo>
                  <a:lnTo>
                    <a:pt x="6868" y="3119"/>
                  </a:lnTo>
                  <a:cubicBezTo>
                    <a:pt x="6805" y="1386"/>
                    <a:pt x="5419" y="0"/>
                    <a:pt x="37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75" name="Google Shape;7075;p74"/>
          <p:cNvSpPr/>
          <p:nvPr/>
        </p:nvSpPr>
        <p:spPr>
          <a:xfrm>
            <a:off x="2948367" y="4511690"/>
            <a:ext cx="415400" cy="471449"/>
          </a:xfrm>
          <a:custGeom>
            <a:avLst/>
            <a:gdLst/>
            <a:ahLst/>
            <a:cxnLst/>
            <a:rect l="l" t="t" r="r" b="b"/>
            <a:pathLst>
              <a:path w="10272" h="11658" extrusionOk="0">
                <a:moveTo>
                  <a:pt x="7877" y="693"/>
                </a:moveTo>
                <a:cubicBezTo>
                  <a:pt x="8066" y="693"/>
                  <a:pt x="8224" y="851"/>
                  <a:pt x="8224" y="1040"/>
                </a:cubicBezTo>
                <a:lnTo>
                  <a:pt x="8224" y="1387"/>
                </a:lnTo>
                <a:lnTo>
                  <a:pt x="2080" y="1387"/>
                </a:lnTo>
                <a:lnTo>
                  <a:pt x="2080" y="1040"/>
                </a:lnTo>
                <a:cubicBezTo>
                  <a:pt x="2049" y="851"/>
                  <a:pt x="2206" y="693"/>
                  <a:pt x="2395" y="693"/>
                </a:cubicBezTo>
                <a:close/>
                <a:moveTo>
                  <a:pt x="9200" y="2710"/>
                </a:moveTo>
                <a:cubicBezTo>
                  <a:pt x="9421" y="2710"/>
                  <a:pt x="9578" y="2899"/>
                  <a:pt x="9578" y="3088"/>
                </a:cubicBezTo>
                <a:cubicBezTo>
                  <a:pt x="9578" y="3277"/>
                  <a:pt x="9421" y="3434"/>
                  <a:pt x="9200" y="3434"/>
                </a:cubicBezTo>
                <a:lnTo>
                  <a:pt x="8854" y="3434"/>
                </a:lnTo>
                <a:lnTo>
                  <a:pt x="8854" y="2773"/>
                </a:lnTo>
                <a:lnTo>
                  <a:pt x="9200" y="2773"/>
                </a:lnTo>
                <a:lnTo>
                  <a:pt x="9200" y="2710"/>
                </a:lnTo>
                <a:close/>
                <a:moveTo>
                  <a:pt x="6176" y="3907"/>
                </a:moveTo>
                <a:cubicBezTo>
                  <a:pt x="6207" y="4033"/>
                  <a:pt x="6333" y="4127"/>
                  <a:pt x="6491" y="4127"/>
                </a:cubicBezTo>
                <a:lnTo>
                  <a:pt x="9200" y="4127"/>
                </a:lnTo>
                <a:cubicBezTo>
                  <a:pt x="9326" y="4127"/>
                  <a:pt x="9421" y="4127"/>
                  <a:pt x="9515" y="4096"/>
                </a:cubicBezTo>
                <a:lnTo>
                  <a:pt x="9515" y="4096"/>
                </a:lnTo>
                <a:cubicBezTo>
                  <a:pt x="9421" y="4474"/>
                  <a:pt x="9011" y="4789"/>
                  <a:pt x="8539" y="4789"/>
                </a:cubicBezTo>
                <a:lnTo>
                  <a:pt x="6491" y="4789"/>
                </a:lnTo>
                <a:cubicBezTo>
                  <a:pt x="6333" y="4789"/>
                  <a:pt x="6239" y="4852"/>
                  <a:pt x="6176" y="5010"/>
                </a:cubicBezTo>
                <a:lnTo>
                  <a:pt x="5640" y="4474"/>
                </a:lnTo>
                <a:lnTo>
                  <a:pt x="6176" y="3907"/>
                </a:lnTo>
                <a:close/>
                <a:moveTo>
                  <a:pt x="1387" y="4789"/>
                </a:moveTo>
                <a:lnTo>
                  <a:pt x="1387" y="5451"/>
                </a:lnTo>
                <a:lnTo>
                  <a:pt x="1009" y="5451"/>
                </a:lnTo>
                <a:cubicBezTo>
                  <a:pt x="820" y="5451"/>
                  <a:pt x="662" y="5293"/>
                  <a:pt x="662" y="5073"/>
                </a:cubicBezTo>
                <a:cubicBezTo>
                  <a:pt x="662" y="4884"/>
                  <a:pt x="820" y="4789"/>
                  <a:pt x="1009" y="4789"/>
                </a:cubicBezTo>
                <a:close/>
                <a:moveTo>
                  <a:pt x="4065" y="5923"/>
                </a:moveTo>
                <a:lnTo>
                  <a:pt x="4601" y="6459"/>
                </a:lnTo>
                <a:lnTo>
                  <a:pt x="4065" y="7026"/>
                </a:lnTo>
                <a:cubicBezTo>
                  <a:pt x="4033" y="6900"/>
                  <a:pt x="3907" y="6774"/>
                  <a:pt x="3750" y="6774"/>
                </a:cubicBezTo>
                <a:lnTo>
                  <a:pt x="1702" y="6774"/>
                </a:lnTo>
                <a:cubicBezTo>
                  <a:pt x="1664" y="6779"/>
                  <a:pt x="1626" y="6782"/>
                  <a:pt x="1589" y="6782"/>
                </a:cubicBezTo>
                <a:cubicBezTo>
                  <a:pt x="1192" y="6782"/>
                  <a:pt x="838" y="6487"/>
                  <a:pt x="694" y="6112"/>
                </a:cubicBezTo>
                <a:lnTo>
                  <a:pt x="694" y="6112"/>
                </a:lnTo>
                <a:cubicBezTo>
                  <a:pt x="788" y="6144"/>
                  <a:pt x="914" y="6144"/>
                  <a:pt x="1009" y="6144"/>
                </a:cubicBezTo>
                <a:lnTo>
                  <a:pt x="3750" y="6144"/>
                </a:lnTo>
                <a:cubicBezTo>
                  <a:pt x="3907" y="6144"/>
                  <a:pt x="4002" y="6081"/>
                  <a:pt x="4065" y="5923"/>
                </a:cubicBezTo>
                <a:close/>
                <a:moveTo>
                  <a:pt x="8192" y="2048"/>
                </a:moveTo>
                <a:lnTo>
                  <a:pt x="8192" y="3434"/>
                </a:lnTo>
                <a:lnTo>
                  <a:pt x="6806" y="3434"/>
                </a:lnTo>
                <a:lnTo>
                  <a:pt x="6806" y="3088"/>
                </a:lnTo>
                <a:cubicBezTo>
                  <a:pt x="6806" y="2930"/>
                  <a:pt x="6743" y="2804"/>
                  <a:pt x="6617" y="2773"/>
                </a:cubicBezTo>
                <a:cubicBezTo>
                  <a:pt x="6571" y="2761"/>
                  <a:pt x="6520" y="2754"/>
                  <a:pt x="6472" y="2754"/>
                </a:cubicBezTo>
                <a:cubicBezTo>
                  <a:pt x="6388" y="2754"/>
                  <a:pt x="6310" y="2776"/>
                  <a:pt x="6270" y="2836"/>
                </a:cubicBezTo>
                <a:lnTo>
                  <a:pt x="4884" y="4222"/>
                </a:lnTo>
                <a:cubicBezTo>
                  <a:pt x="4758" y="4348"/>
                  <a:pt x="4758" y="4569"/>
                  <a:pt x="4884" y="4695"/>
                </a:cubicBezTo>
                <a:lnTo>
                  <a:pt x="6270" y="6081"/>
                </a:lnTo>
                <a:cubicBezTo>
                  <a:pt x="6315" y="6125"/>
                  <a:pt x="6407" y="6170"/>
                  <a:pt x="6501" y="6170"/>
                </a:cubicBezTo>
                <a:cubicBezTo>
                  <a:pt x="6540" y="6170"/>
                  <a:pt x="6580" y="6162"/>
                  <a:pt x="6617" y="6144"/>
                </a:cubicBezTo>
                <a:cubicBezTo>
                  <a:pt x="6743" y="6112"/>
                  <a:pt x="6806" y="5955"/>
                  <a:pt x="6806" y="5829"/>
                </a:cubicBezTo>
                <a:lnTo>
                  <a:pt x="6806" y="5482"/>
                </a:lnTo>
                <a:lnTo>
                  <a:pt x="8192" y="5482"/>
                </a:lnTo>
                <a:lnTo>
                  <a:pt x="8192" y="8948"/>
                </a:lnTo>
                <a:lnTo>
                  <a:pt x="2049" y="8948"/>
                </a:lnTo>
                <a:lnTo>
                  <a:pt x="2049" y="7530"/>
                </a:lnTo>
                <a:lnTo>
                  <a:pt x="3435" y="7530"/>
                </a:lnTo>
                <a:lnTo>
                  <a:pt x="3435" y="7877"/>
                </a:lnTo>
                <a:cubicBezTo>
                  <a:pt x="3435" y="8034"/>
                  <a:pt x="3498" y="8160"/>
                  <a:pt x="3624" y="8192"/>
                </a:cubicBezTo>
                <a:cubicBezTo>
                  <a:pt x="3676" y="8218"/>
                  <a:pt x="3734" y="8233"/>
                  <a:pt x="3788" y="8233"/>
                </a:cubicBezTo>
                <a:cubicBezTo>
                  <a:pt x="3864" y="8233"/>
                  <a:pt x="3934" y="8202"/>
                  <a:pt x="3970" y="8129"/>
                </a:cubicBezTo>
                <a:lnTo>
                  <a:pt x="5357" y="6742"/>
                </a:lnTo>
                <a:cubicBezTo>
                  <a:pt x="5483" y="6616"/>
                  <a:pt x="5483" y="6396"/>
                  <a:pt x="5357" y="6270"/>
                </a:cubicBezTo>
                <a:lnTo>
                  <a:pt x="3970" y="4884"/>
                </a:lnTo>
                <a:cubicBezTo>
                  <a:pt x="3924" y="4837"/>
                  <a:pt x="3828" y="4808"/>
                  <a:pt x="3730" y="4808"/>
                </a:cubicBezTo>
                <a:cubicBezTo>
                  <a:pt x="3694" y="4808"/>
                  <a:pt x="3658" y="4812"/>
                  <a:pt x="3624" y="4821"/>
                </a:cubicBezTo>
                <a:cubicBezTo>
                  <a:pt x="3498" y="4852"/>
                  <a:pt x="3435" y="5010"/>
                  <a:pt x="3435" y="5136"/>
                </a:cubicBezTo>
                <a:lnTo>
                  <a:pt x="3435" y="5482"/>
                </a:lnTo>
                <a:lnTo>
                  <a:pt x="2049" y="5482"/>
                </a:lnTo>
                <a:lnTo>
                  <a:pt x="2049" y="2048"/>
                </a:lnTo>
                <a:close/>
                <a:moveTo>
                  <a:pt x="8192" y="9609"/>
                </a:moveTo>
                <a:lnTo>
                  <a:pt x="8192" y="10649"/>
                </a:lnTo>
                <a:cubicBezTo>
                  <a:pt x="8192" y="10838"/>
                  <a:pt x="8035" y="10996"/>
                  <a:pt x="7877" y="10996"/>
                </a:cubicBezTo>
                <a:lnTo>
                  <a:pt x="2395" y="10996"/>
                </a:lnTo>
                <a:cubicBezTo>
                  <a:pt x="2206" y="10996"/>
                  <a:pt x="2049" y="10838"/>
                  <a:pt x="2049" y="10649"/>
                </a:cubicBezTo>
                <a:lnTo>
                  <a:pt x="2049" y="9609"/>
                </a:lnTo>
                <a:close/>
                <a:moveTo>
                  <a:pt x="2395" y="0"/>
                </a:moveTo>
                <a:cubicBezTo>
                  <a:pt x="1860" y="0"/>
                  <a:pt x="1387" y="473"/>
                  <a:pt x="1387" y="1040"/>
                </a:cubicBezTo>
                <a:lnTo>
                  <a:pt x="1387" y="4096"/>
                </a:lnTo>
                <a:lnTo>
                  <a:pt x="1009" y="4096"/>
                </a:lnTo>
                <a:cubicBezTo>
                  <a:pt x="473" y="4096"/>
                  <a:pt x="1" y="4569"/>
                  <a:pt x="1" y="5136"/>
                </a:cubicBezTo>
                <a:lnTo>
                  <a:pt x="1" y="5797"/>
                </a:lnTo>
                <a:cubicBezTo>
                  <a:pt x="1" y="6616"/>
                  <a:pt x="599" y="7341"/>
                  <a:pt x="1387" y="7498"/>
                </a:cubicBezTo>
                <a:lnTo>
                  <a:pt x="1387" y="10649"/>
                </a:lnTo>
                <a:cubicBezTo>
                  <a:pt x="1387" y="11185"/>
                  <a:pt x="1860" y="11657"/>
                  <a:pt x="2395" y="11657"/>
                </a:cubicBezTo>
                <a:lnTo>
                  <a:pt x="7877" y="11657"/>
                </a:lnTo>
                <a:cubicBezTo>
                  <a:pt x="8413" y="11657"/>
                  <a:pt x="8885" y="11185"/>
                  <a:pt x="8885" y="10649"/>
                </a:cubicBezTo>
                <a:lnTo>
                  <a:pt x="8885" y="5451"/>
                </a:lnTo>
                <a:cubicBezTo>
                  <a:pt x="9673" y="5293"/>
                  <a:pt x="10271" y="4569"/>
                  <a:pt x="10271" y="3749"/>
                </a:cubicBezTo>
                <a:lnTo>
                  <a:pt x="10271" y="3088"/>
                </a:lnTo>
                <a:cubicBezTo>
                  <a:pt x="10271" y="2521"/>
                  <a:pt x="9799" y="2048"/>
                  <a:pt x="9263" y="2048"/>
                </a:cubicBezTo>
                <a:lnTo>
                  <a:pt x="8885" y="2048"/>
                </a:lnTo>
                <a:lnTo>
                  <a:pt x="8885" y="1040"/>
                </a:lnTo>
                <a:cubicBezTo>
                  <a:pt x="8885" y="473"/>
                  <a:pt x="8413" y="0"/>
                  <a:pt x="787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76" name="Google Shape;7076;p74"/>
          <p:cNvGrpSpPr/>
          <p:nvPr/>
        </p:nvGrpSpPr>
        <p:grpSpPr>
          <a:xfrm>
            <a:off x="2915269" y="5125791"/>
            <a:ext cx="489284" cy="470357"/>
            <a:chOff x="-31889075" y="2658950"/>
            <a:chExt cx="302475" cy="290775"/>
          </a:xfrm>
        </p:grpSpPr>
        <p:sp>
          <p:nvSpPr>
            <p:cNvPr id="7077" name="Google Shape;7077;p74"/>
            <p:cNvSpPr/>
            <p:nvPr/>
          </p:nvSpPr>
          <p:spPr>
            <a:xfrm>
              <a:off x="-31889075" y="2658950"/>
              <a:ext cx="302475" cy="290775"/>
            </a:xfrm>
            <a:custGeom>
              <a:avLst/>
              <a:gdLst/>
              <a:ahLst/>
              <a:cxnLst/>
              <a:rect l="l" t="t" r="r" b="b"/>
              <a:pathLst>
                <a:path w="12099" h="11631" extrusionOk="0">
                  <a:moveTo>
                    <a:pt x="10555" y="712"/>
                  </a:moveTo>
                  <a:lnTo>
                    <a:pt x="11153" y="1310"/>
                  </a:lnTo>
                  <a:lnTo>
                    <a:pt x="10051" y="3138"/>
                  </a:lnTo>
                  <a:lnTo>
                    <a:pt x="8728" y="1814"/>
                  </a:lnTo>
                  <a:lnTo>
                    <a:pt x="10555" y="712"/>
                  </a:lnTo>
                  <a:close/>
                  <a:moveTo>
                    <a:pt x="8665" y="2696"/>
                  </a:moveTo>
                  <a:lnTo>
                    <a:pt x="9137" y="3169"/>
                  </a:lnTo>
                  <a:lnTo>
                    <a:pt x="7278" y="4996"/>
                  </a:lnTo>
                  <a:lnTo>
                    <a:pt x="6806" y="4524"/>
                  </a:lnTo>
                  <a:lnTo>
                    <a:pt x="8665" y="2696"/>
                  </a:lnTo>
                  <a:close/>
                  <a:moveTo>
                    <a:pt x="3022" y="640"/>
                  </a:moveTo>
                  <a:cubicBezTo>
                    <a:pt x="3549" y="640"/>
                    <a:pt x="4066" y="847"/>
                    <a:pt x="4443" y="1247"/>
                  </a:cubicBezTo>
                  <a:cubicBezTo>
                    <a:pt x="5010" y="1783"/>
                    <a:pt x="5199" y="2602"/>
                    <a:pt x="4915" y="3358"/>
                  </a:cubicBezTo>
                  <a:cubicBezTo>
                    <a:pt x="4884" y="3484"/>
                    <a:pt x="4915" y="3642"/>
                    <a:pt x="5010" y="3705"/>
                  </a:cubicBezTo>
                  <a:lnTo>
                    <a:pt x="8160" y="6855"/>
                  </a:lnTo>
                  <a:cubicBezTo>
                    <a:pt x="8208" y="6926"/>
                    <a:pt x="8308" y="6961"/>
                    <a:pt x="8409" y="6961"/>
                  </a:cubicBezTo>
                  <a:cubicBezTo>
                    <a:pt x="8442" y="6961"/>
                    <a:pt x="8476" y="6957"/>
                    <a:pt x="8507" y="6950"/>
                  </a:cubicBezTo>
                  <a:cubicBezTo>
                    <a:pt x="8741" y="6862"/>
                    <a:pt x="8981" y="6819"/>
                    <a:pt x="9217" y="6819"/>
                  </a:cubicBezTo>
                  <a:cubicBezTo>
                    <a:pt x="9743" y="6819"/>
                    <a:pt x="10248" y="7031"/>
                    <a:pt x="10618" y="7422"/>
                  </a:cubicBezTo>
                  <a:cubicBezTo>
                    <a:pt x="11153" y="7926"/>
                    <a:pt x="11342" y="8682"/>
                    <a:pt x="11153" y="9375"/>
                  </a:cubicBezTo>
                  <a:lnTo>
                    <a:pt x="10240" y="8493"/>
                  </a:lnTo>
                  <a:cubicBezTo>
                    <a:pt x="10035" y="8289"/>
                    <a:pt x="9767" y="8186"/>
                    <a:pt x="9503" y="8186"/>
                  </a:cubicBezTo>
                  <a:cubicBezTo>
                    <a:pt x="9240" y="8186"/>
                    <a:pt x="8980" y="8289"/>
                    <a:pt x="8791" y="8493"/>
                  </a:cubicBezTo>
                  <a:cubicBezTo>
                    <a:pt x="8381" y="8871"/>
                    <a:pt x="8381" y="9533"/>
                    <a:pt x="8791" y="9943"/>
                  </a:cubicBezTo>
                  <a:lnTo>
                    <a:pt x="9673" y="10856"/>
                  </a:lnTo>
                  <a:cubicBezTo>
                    <a:pt x="9498" y="10904"/>
                    <a:pt x="9318" y="10928"/>
                    <a:pt x="9140" y="10928"/>
                  </a:cubicBezTo>
                  <a:cubicBezTo>
                    <a:pt x="8614" y="10928"/>
                    <a:pt x="8096" y="10721"/>
                    <a:pt x="7719" y="10321"/>
                  </a:cubicBezTo>
                  <a:cubicBezTo>
                    <a:pt x="7152" y="9785"/>
                    <a:pt x="6963" y="8966"/>
                    <a:pt x="7247" y="8210"/>
                  </a:cubicBezTo>
                  <a:cubicBezTo>
                    <a:pt x="7278" y="8084"/>
                    <a:pt x="7247" y="7926"/>
                    <a:pt x="7152" y="7863"/>
                  </a:cubicBezTo>
                  <a:lnTo>
                    <a:pt x="4002" y="4713"/>
                  </a:lnTo>
                  <a:cubicBezTo>
                    <a:pt x="3960" y="4629"/>
                    <a:pt x="3876" y="4587"/>
                    <a:pt x="3787" y="4587"/>
                  </a:cubicBezTo>
                  <a:cubicBezTo>
                    <a:pt x="3743" y="4587"/>
                    <a:pt x="3697" y="4597"/>
                    <a:pt x="3655" y="4618"/>
                  </a:cubicBezTo>
                  <a:cubicBezTo>
                    <a:pt x="3421" y="4706"/>
                    <a:pt x="3181" y="4749"/>
                    <a:pt x="2945" y="4749"/>
                  </a:cubicBezTo>
                  <a:cubicBezTo>
                    <a:pt x="2419" y="4749"/>
                    <a:pt x="1914" y="4537"/>
                    <a:pt x="1544" y="4146"/>
                  </a:cubicBezTo>
                  <a:cubicBezTo>
                    <a:pt x="1009" y="3642"/>
                    <a:pt x="820" y="2885"/>
                    <a:pt x="1009" y="2192"/>
                  </a:cubicBezTo>
                  <a:lnTo>
                    <a:pt x="1009" y="2192"/>
                  </a:lnTo>
                  <a:lnTo>
                    <a:pt x="1922" y="3075"/>
                  </a:lnTo>
                  <a:cubicBezTo>
                    <a:pt x="2127" y="3279"/>
                    <a:pt x="2395" y="3382"/>
                    <a:pt x="2659" y="3382"/>
                  </a:cubicBezTo>
                  <a:cubicBezTo>
                    <a:pt x="2923" y="3382"/>
                    <a:pt x="3183" y="3279"/>
                    <a:pt x="3372" y="3075"/>
                  </a:cubicBezTo>
                  <a:cubicBezTo>
                    <a:pt x="3781" y="2696"/>
                    <a:pt x="3781" y="2035"/>
                    <a:pt x="3372" y="1625"/>
                  </a:cubicBezTo>
                  <a:lnTo>
                    <a:pt x="2490" y="712"/>
                  </a:lnTo>
                  <a:cubicBezTo>
                    <a:pt x="2665" y="664"/>
                    <a:pt x="2844" y="640"/>
                    <a:pt x="3022" y="640"/>
                  </a:cubicBezTo>
                  <a:close/>
                  <a:moveTo>
                    <a:pt x="4380" y="6036"/>
                  </a:moveTo>
                  <a:lnTo>
                    <a:pt x="5829" y="7485"/>
                  </a:lnTo>
                  <a:lnTo>
                    <a:pt x="2679" y="10636"/>
                  </a:lnTo>
                  <a:cubicBezTo>
                    <a:pt x="2474" y="10840"/>
                    <a:pt x="2206" y="10943"/>
                    <a:pt x="1942" y="10943"/>
                  </a:cubicBezTo>
                  <a:cubicBezTo>
                    <a:pt x="1678" y="10943"/>
                    <a:pt x="1418" y="10840"/>
                    <a:pt x="1229" y="10636"/>
                  </a:cubicBezTo>
                  <a:cubicBezTo>
                    <a:pt x="820" y="10226"/>
                    <a:pt x="820" y="9596"/>
                    <a:pt x="1229" y="9186"/>
                  </a:cubicBezTo>
                  <a:lnTo>
                    <a:pt x="4380" y="6036"/>
                  </a:lnTo>
                  <a:close/>
                  <a:moveTo>
                    <a:pt x="2915" y="1"/>
                  </a:moveTo>
                  <a:cubicBezTo>
                    <a:pt x="2465" y="1"/>
                    <a:pt x="2014" y="112"/>
                    <a:pt x="1607" y="334"/>
                  </a:cubicBezTo>
                  <a:cubicBezTo>
                    <a:pt x="1544" y="365"/>
                    <a:pt x="1450" y="491"/>
                    <a:pt x="1450" y="554"/>
                  </a:cubicBezTo>
                  <a:cubicBezTo>
                    <a:pt x="1450" y="680"/>
                    <a:pt x="1481" y="775"/>
                    <a:pt x="1544" y="838"/>
                  </a:cubicBezTo>
                  <a:lnTo>
                    <a:pt x="2836" y="2129"/>
                  </a:lnTo>
                  <a:cubicBezTo>
                    <a:pt x="2962" y="2255"/>
                    <a:pt x="2962" y="2507"/>
                    <a:pt x="2836" y="2602"/>
                  </a:cubicBezTo>
                  <a:cubicBezTo>
                    <a:pt x="2773" y="2665"/>
                    <a:pt x="2686" y="2696"/>
                    <a:pt x="2600" y="2696"/>
                  </a:cubicBezTo>
                  <a:cubicBezTo>
                    <a:pt x="2513" y="2696"/>
                    <a:pt x="2427" y="2665"/>
                    <a:pt x="2364" y="2602"/>
                  </a:cubicBezTo>
                  <a:lnTo>
                    <a:pt x="1072" y="1310"/>
                  </a:lnTo>
                  <a:cubicBezTo>
                    <a:pt x="1001" y="1239"/>
                    <a:pt x="912" y="1204"/>
                    <a:pt x="846" y="1204"/>
                  </a:cubicBezTo>
                  <a:cubicBezTo>
                    <a:pt x="824" y="1204"/>
                    <a:pt x="804" y="1208"/>
                    <a:pt x="788" y="1216"/>
                  </a:cubicBezTo>
                  <a:cubicBezTo>
                    <a:pt x="662" y="1216"/>
                    <a:pt x="599" y="1310"/>
                    <a:pt x="536" y="1373"/>
                  </a:cubicBezTo>
                  <a:cubicBezTo>
                    <a:pt x="1" y="2413"/>
                    <a:pt x="127" y="3736"/>
                    <a:pt x="1009" y="4618"/>
                  </a:cubicBezTo>
                  <a:cubicBezTo>
                    <a:pt x="1549" y="5135"/>
                    <a:pt x="2230" y="5407"/>
                    <a:pt x="2934" y="5407"/>
                  </a:cubicBezTo>
                  <a:cubicBezTo>
                    <a:pt x="3173" y="5407"/>
                    <a:pt x="3415" y="5375"/>
                    <a:pt x="3655" y="5311"/>
                  </a:cubicBezTo>
                  <a:lnTo>
                    <a:pt x="3907" y="5563"/>
                  </a:lnTo>
                  <a:lnTo>
                    <a:pt x="757" y="8714"/>
                  </a:lnTo>
                  <a:cubicBezTo>
                    <a:pt x="64" y="9344"/>
                    <a:pt x="64" y="10447"/>
                    <a:pt x="757" y="11108"/>
                  </a:cubicBezTo>
                  <a:cubicBezTo>
                    <a:pt x="1088" y="11455"/>
                    <a:pt x="1521" y="11628"/>
                    <a:pt x="1954" y="11628"/>
                  </a:cubicBezTo>
                  <a:cubicBezTo>
                    <a:pt x="2387" y="11628"/>
                    <a:pt x="2820" y="11455"/>
                    <a:pt x="3151" y="11108"/>
                  </a:cubicBezTo>
                  <a:lnTo>
                    <a:pt x="6302" y="7958"/>
                  </a:lnTo>
                  <a:lnTo>
                    <a:pt x="6522" y="8210"/>
                  </a:lnTo>
                  <a:cubicBezTo>
                    <a:pt x="6302" y="9155"/>
                    <a:pt x="6522" y="10132"/>
                    <a:pt x="7247" y="10825"/>
                  </a:cubicBezTo>
                  <a:cubicBezTo>
                    <a:pt x="7765" y="11362"/>
                    <a:pt x="8469" y="11630"/>
                    <a:pt x="9169" y="11630"/>
                  </a:cubicBezTo>
                  <a:cubicBezTo>
                    <a:pt x="9618" y="11630"/>
                    <a:pt x="10066" y="11519"/>
                    <a:pt x="10460" y="11297"/>
                  </a:cubicBezTo>
                  <a:cubicBezTo>
                    <a:pt x="10555" y="11266"/>
                    <a:pt x="10618" y="11140"/>
                    <a:pt x="10618" y="11077"/>
                  </a:cubicBezTo>
                  <a:cubicBezTo>
                    <a:pt x="10618" y="11014"/>
                    <a:pt x="10586" y="10888"/>
                    <a:pt x="10555" y="10793"/>
                  </a:cubicBezTo>
                  <a:lnTo>
                    <a:pt x="9263" y="9501"/>
                  </a:lnTo>
                  <a:cubicBezTo>
                    <a:pt x="9137" y="9375"/>
                    <a:pt x="9137" y="9155"/>
                    <a:pt x="9263" y="9029"/>
                  </a:cubicBezTo>
                  <a:cubicBezTo>
                    <a:pt x="9310" y="8966"/>
                    <a:pt x="9397" y="8934"/>
                    <a:pt x="9488" y="8934"/>
                  </a:cubicBezTo>
                  <a:cubicBezTo>
                    <a:pt x="9578" y="8934"/>
                    <a:pt x="9673" y="8966"/>
                    <a:pt x="9736" y="9029"/>
                  </a:cubicBezTo>
                  <a:lnTo>
                    <a:pt x="11027" y="10321"/>
                  </a:lnTo>
                  <a:cubicBezTo>
                    <a:pt x="11075" y="10392"/>
                    <a:pt x="11157" y="10427"/>
                    <a:pt x="11236" y="10427"/>
                  </a:cubicBezTo>
                  <a:cubicBezTo>
                    <a:pt x="11262" y="10427"/>
                    <a:pt x="11287" y="10423"/>
                    <a:pt x="11311" y="10415"/>
                  </a:cubicBezTo>
                  <a:cubicBezTo>
                    <a:pt x="11405" y="10415"/>
                    <a:pt x="11500" y="10321"/>
                    <a:pt x="11532" y="10258"/>
                  </a:cubicBezTo>
                  <a:cubicBezTo>
                    <a:pt x="12099" y="9218"/>
                    <a:pt x="11973" y="7895"/>
                    <a:pt x="11059" y="7013"/>
                  </a:cubicBezTo>
                  <a:cubicBezTo>
                    <a:pt x="10542" y="6496"/>
                    <a:pt x="9850" y="6224"/>
                    <a:pt x="9139" y="6224"/>
                  </a:cubicBezTo>
                  <a:cubicBezTo>
                    <a:pt x="8897" y="6224"/>
                    <a:pt x="8653" y="6255"/>
                    <a:pt x="8413" y="6320"/>
                  </a:cubicBezTo>
                  <a:lnTo>
                    <a:pt x="7719" y="5595"/>
                  </a:lnTo>
                  <a:lnTo>
                    <a:pt x="9578" y="3736"/>
                  </a:lnTo>
                  <a:lnTo>
                    <a:pt x="9799" y="3988"/>
                  </a:lnTo>
                  <a:cubicBezTo>
                    <a:pt x="9867" y="4056"/>
                    <a:pt x="9958" y="4089"/>
                    <a:pt x="10051" y="4089"/>
                  </a:cubicBezTo>
                  <a:cubicBezTo>
                    <a:pt x="10172" y="4089"/>
                    <a:pt x="10294" y="4032"/>
                    <a:pt x="10366" y="3925"/>
                  </a:cubicBezTo>
                  <a:lnTo>
                    <a:pt x="11815" y="1499"/>
                  </a:lnTo>
                  <a:cubicBezTo>
                    <a:pt x="11878" y="1373"/>
                    <a:pt x="11878" y="1184"/>
                    <a:pt x="11784" y="1090"/>
                  </a:cubicBezTo>
                  <a:lnTo>
                    <a:pt x="10775" y="82"/>
                  </a:lnTo>
                  <a:cubicBezTo>
                    <a:pt x="10723" y="30"/>
                    <a:pt x="10652" y="6"/>
                    <a:pt x="10573" y="6"/>
                  </a:cubicBezTo>
                  <a:cubicBezTo>
                    <a:pt x="10507" y="6"/>
                    <a:pt x="10437" y="22"/>
                    <a:pt x="10366" y="50"/>
                  </a:cubicBezTo>
                  <a:lnTo>
                    <a:pt x="7940" y="1499"/>
                  </a:lnTo>
                  <a:cubicBezTo>
                    <a:pt x="7751" y="1625"/>
                    <a:pt x="7719" y="1909"/>
                    <a:pt x="7877" y="2066"/>
                  </a:cubicBezTo>
                  <a:lnTo>
                    <a:pt x="8097" y="2287"/>
                  </a:lnTo>
                  <a:lnTo>
                    <a:pt x="6270" y="4146"/>
                  </a:lnTo>
                  <a:lnTo>
                    <a:pt x="5546" y="3421"/>
                  </a:lnTo>
                  <a:cubicBezTo>
                    <a:pt x="5798" y="2476"/>
                    <a:pt x="5546" y="1499"/>
                    <a:pt x="4852" y="806"/>
                  </a:cubicBezTo>
                  <a:cubicBezTo>
                    <a:pt x="4315" y="269"/>
                    <a:pt x="3615" y="1"/>
                    <a:pt x="29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78" name="Google Shape;7078;p74"/>
            <p:cNvSpPr/>
            <p:nvPr/>
          </p:nvSpPr>
          <p:spPr>
            <a:xfrm>
              <a:off x="-31838650" y="2838200"/>
              <a:ext cx="70100" cy="68550"/>
            </a:xfrm>
            <a:custGeom>
              <a:avLst/>
              <a:gdLst/>
              <a:ahLst/>
              <a:cxnLst/>
              <a:rect l="l" t="t" r="r" b="b"/>
              <a:pathLst>
                <a:path w="2804" h="2742" extrusionOk="0">
                  <a:moveTo>
                    <a:pt x="2430" y="0"/>
                  </a:moveTo>
                  <a:cubicBezTo>
                    <a:pt x="2339" y="0"/>
                    <a:pt x="2253" y="32"/>
                    <a:pt x="2205" y="95"/>
                  </a:cubicBezTo>
                  <a:lnTo>
                    <a:pt x="95" y="2174"/>
                  </a:lnTo>
                  <a:cubicBezTo>
                    <a:pt x="0" y="2300"/>
                    <a:pt x="0" y="2521"/>
                    <a:pt x="95" y="2647"/>
                  </a:cubicBezTo>
                  <a:cubicBezTo>
                    <a:pt x="158" y="2710"/>
                    <a:pt x="236" y="2741"/>
                    <a:pt x="319" y="2741"/>
                  </a:cubicBezTo>
                  <a:cubicBezTo>
                    <a:pt x="402" y="2741"/>
                    <a:pt x="488" y="2710"/>
                    <a:pt x="567" y="2647"/>
                  </a:cubicBezTo>
                  <a:lnTo>
                    <a:pt x="2678" y="567"/>
                  </a:lnTo>
                  <a:cubicBezTo>
                    <a:pt x="2804" y="441"/>
                    <a:pt x="2804" y="221"/>
                    <a:pt x="2678" y="95"/>
                  </a:cubicBezTo>
                  <a:cubicBezTo>
                    <a:pt x="2615" y="32"/>
                    <a:pt x="2520" y="0"/>
                    <a:pt x="24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79" name="Google Shape;7079;p74"/>
          <p:cNvSpPr/>
          <p:nvPr/>
        </p:nvSpPr>
        <p:spPr>
          <a:xfrm>
            <a:off x="5299436" y="4511043"/>
            <a:ext cx="475251" cy="472744"/>
          </a:xfrm>
          <a:custGeom>
            <a:avLst/>
            <a:gdLst/>
            <a:ahLst/>
            <a:cxnLst/>
            <a:rect l="l" t="t" r="r" b="b"/>
            <a:pathLst>
              <a:path w="11752" h="11690" extrusionOk="0">
                <a:moveTo>
                  <a:pt x="5923" y="694"/>
                </a:moveTo>
                <a:cubicBezTo>
                  <a:pt x="6490" y="694"/>
                  <a:pt x="6963" y="1166"/>
                  <a:pt x="6963" y="1765"/>
                </a:cubicBezTo>
                <a:cubicBezTo>
                  <a:pt x="6963" y="2332"/>
                  <a:pt x="6490" y="2805"/>
                  <a:pt x="5923" y="2805"/>
                </a:cubicBezTo>
                <a:cubicBezTo>
                  <a:pt x="5325" y="2805"/>
                  <a:pt x="4852" y="2332"/>
                  <a:pt x="4852" y="1765"/>
                </a:cubicBezTo>
                <a:cubicBezTo>
                  <a:pt x="4852" y="1229"/>
                  <a:pt x="5325" y="694"/>
                  <a:pt x="5923" y="694"/>
                </a:cubicBezTo>
                <a:close/>
                <a:moveTo>
                  <a:pt x="2489" y="3466"/>
                </a:moveTo>
                <a:cubicBezTo>
                  <a:pt x="2678" y="3466"/>
                  <a:pt x="2836" y="3624"/>
                  <a:pt x="2836" y="3813"/>
                </a:cubicBezTo>
                <a:lnTo>
                  <a:pt x="2836" y="4916"/>
                </a:lnTo>
                <a:cubicBezTo>
                  <a:pt x="2678" y="4947"/>
                  <a:pt x="2584" y="5042"/>
                  <a:pt x="2458" y="5168"/>
                </a:cubicBezTo>
                <a:cubicBezTo>
                  <a:pt x="2363" y="5231"/>
                  <a:pt x="2300" y="5357"/>
                  <a:pt x="2237" y="5420"/>
                </a:cubicBezTo>
                <a:cubicBezTo>
                  <a:pt x="2174" y="5357"/>
                  <a:pt x="2143" y="5262"/>
                  <a:pt x="2143" y="5199"/>
                </a:cubicBezTo>
                <a:lnTo>
                  <a:pt x="2143" y="3813"/>
                </a:lnTo>
                <a:cubicBezTo>
                  <a:pt x="2143" y="3624"/>
                  <a:pt x="2300" y="3466"/>
                  <a:pt x="2489" y="3466"/>
                </a:cubicBezTo>
                <a:close/>
                <a:moveTo>
                  <a:pt x="9326" y="3466"/>
                </a:moveTo>
                <a:cubicBezTo>
                  <a:pt x="9546" y="3466"/>
                  <a:pt x="9704" y="3624"/>
                  <a:pt x="9704" y="3813"/>
                </a:cubicBezTo>
                <a:lnTo>
                  <a:pt x="9704" y="5199"/>
                </a:lnTo>
                <a:cubicBezTo>
                  <a:pt x="9704" y="5262"/>
                  <a:pt x="9641" y="5357"/>
                  <a:pt x="9578" y="5420"/>
                </a:cubicBezTo>
                <a:cubicBezTo>
                  <a:pt x="9546" y="5294"/>
                  <a:pt x="9452" y="5231"/>
                  <a:pt x="9389" y="5168"/>
                </a:cubicBezTo>
                <a:cubicBezTo>
                  <a:pt x="9263" y="5042"/>
                  <a:pt x="9137" y="4947"/>
                  <a:pt x="8979" y="4916"/>
                </a:cubicBezTo>
                <a:lnTo>
                  <a:pt x="8979" y="3813"/>
                </a:lnTo>
                <a:cubicBezTo>
                  <a:pt x="9011" y="3624"/>
                  <a:pt x="9168" y="3466"/>
                  <a:pt x="9326" y="3466"/>
                </a:cubicBezTo>
                <a:close/>
                <a:moveTo>
                  <a:pt x="5923" y="3466"/>
                </a:moveTo>
                <a:cubicBezTo>
                  <a:pt x="6900" y="3466"/>
                  <a:pt x="7814" y="4096"/>
                  <a:pt x="8160" y="4947"/>
                </a:cubicBezTo>
                <a:cubicBezTo>
                  <a:pt x="8066" y="5010"/>
                  <a:pt x="8003" y="5042"/>
                  <a:pt x="7971" y="5105"/>
                </a:cubicBezTo>
                <a:lnTo>
                  <a:pt x="6081" y="6963"/>
                </a:lnTo>
                <a:cubicBezTo>
                  <a:pt x="6018" y="6995"/>
                  <a:pt x="5955" y="7089"/>
                  <a:pt x="5923" y="7152"/>
                </a:cubicBezTo>
                <a:cubicBezTo>
                  <a:pt x="5860" y="7089"/>
                  <a:pt x="5797" y="7026"/>
                  <a:pt x="5766" y="6963"/>
                </a:cubicBezTo>
                <a:lnTo>
                  <a:pt x="3876" y="5105"/>
                </a:lnTo>
                <a:cubicBezTo>
                  <a:pt x="3781" y="5042"/>
                  <a:pt x="3750" y="5010"/>
                  <a:pt x="3655" y="4947"/>
                </a:cubicBezTo>
                <a:cubicBezTo>
                  <a:pt x="4033" y="4096"/>
                  <a:pt x="4915" y="3466"/>
                  <a:pt x="5923" y="3466"/>
                </a:cubicBezTo>
                <a:close/>
                <a:moveTo>
                  <a:pt x="10744" y="2049"/>
                </a:moveTo>
                <a:cubicBezTo>
                  <a:pt x="10964" y="2049"/>
                  <a:pt x="11122" y="2206"/>
                  <a:pt x="11122" y="2395"/>
                </a:cubicBezTo>
                <a:lnTo>
                  <a:pt x="11122" y="6144"/>
                </a:lnTo>
                <a:lnTo>
                  <a:pt x="11059" y="6144"/>
                </a:lnTo>
                <a:cubicBezTo>
                  <a:pt x="11059" y="6333"/>
                  <a:pt x="11027" y="6491"/>
                  <a:pt x="10901" y="6648"/>
                </a:cubicBezTo>
                <a:lnTo>
                  <a:pt x="9263" y="9421"/>
                </a:lnTo>
                <a:cubicBezTo>
                  <a:pt x="9105" y="9673"/>
                  <a:pt x="9011" y="9956"/>
                  <a:pt x="9011" y="10271"/>
                </a:cubicBezTo>
                <a:lnTo>
                  <a:pt x="9011" y="10933"/>
                </a:lnTo>
                <a:lnTo>
                  <a:pt x="6270" y="10933"/>
                </a:lnTo>
                <a:lnTo>
                  <a:pt x="6270" y="8097"/>
                </a:lnTo>
                <a:cubicBezTo>
                  <a:pt x="6270" y="7845"/>
                  <a:pt x="6396" y="7593"/>
                  <a:pt x="6585" y="7404"/>
                </a:cubicBezTo>
                <a:lnTo>
                  <a:pt x="8475" y="5546"/>
                </a:lnTo>
                <a:cubicBezTo>
                  <a:pt x="8538" y="5483"/>
                  <a:pt x="8625" y="5451"/>
                  <a:pt x="8712" y="5451"/>
                </a:cubicBezTo>
                <a:cubicBezTo>
                  <a:pt x="8798" y="5451"/>
                  <a:pt x="8885" y="5483"/>
                  <a:pt x="8948" y="5546"/>
                </a:cubicBezTo>
                <a:cubicBezTo>
                  <a:pt x="9074" y="5672"/>
                  <a:pt x="9074" y="5892"/>
                  <a:pt x="8948" y="6018"/>
                </a:cubicBezTo>
                <a:lnTo>
                  <a:pt x="7751" y="7215"/>
                </a:lnTo>
                <a:cubicBezTo>
                  <a:pt x="7656" y="7310"/>
                  <a:pt x="7656" y="7562"/>
                  <a:pt x="7751" y="7656"/>
                </a:cubicBezTo>
                <a:cubicBezTo>
                  <a:pt x="7814" y="7719"/>
                  <a:pt x="7908" y="7751"/>
                  <a:pt x="7999" y="7751"/>
                </a:cubicBezTo>
                <a:cubicBezTo>
                  <a:pt x="8089" y="7751"/>
                  <a:pt x="8176" y="7719"/>
                  <a:pt x="8223" y="7656"/>
                </a:cubicBezTo>
                <a:lnTo>
                  <a:pt x="10082" y="5829"/>
                </a:lnTo>
                <a:cubicBezTo>
                  <a:pt x="10271" y="5609"/>
                  <a:pt x="10397" y="5388"/>
                  <a:pt x="10397" y="5105"/>
                </a:cubicBezTo>
                <a:lnTo>
                  <a:pt x="10397" y="2395"/>
                </a:lnTo>
                <a:cubicBezTo>
                  <a:pt x="10397" y="2206"/>
                  <a:pt x="10555" y="2049"/>
                  <a:pt x="10744" y="2049"/>
                </a:cubicBezTo>
                <a:close/>
                <a:moveTo>
                  <a:pt x="1103" y="2080"/>
                </a:moveTo>
                <a:cubicBezTo>
                  <a:pt x="1292" y="2080"/>
                  <a:pt x="1450" y="2238"/>
                  <a:pt x="1450" y="2427"/>
                </a:cubicBezTo>
                <a:lnTo>
                  <a:pt x="1450" y="5168"/>
                </a:lnTo>
                <a:cubicBezTo>
                  <a:pt x="1450" y="5420"/>
                  <a:pt x="1576" y="5672"/>
                  <a:pt x="1796" y="5861"/>
                </a:cubicBezTo>
                <a:lnTo>
                  <a:pt x="3624" y="7719"/>
                </a:lnTo>
                <a:cubicBezTo>
                  <a:pt x="3687" y="7782"/>
                  <a:pt x="3781" y="7814"/>
                  <a:pt x="3872" y="7814"/>
                </a:cubicBezTo>
                <a:cubicBezTo>
                  <a:pt x="3962" y="7814"/>
                  <a:pt x="4049" y="7782"/>
                  <a:pt x="4096" y="7719"/>
                </a:cubicBezTo>
                <a:cubicBezTo>
                  <a:pt x="4222" y="7593"/>
                  <a:pt x="4222" y="7373"/>
                  <a:pt x="4096" y="7247"/>
                </a:cubicBezTo>
                <a:lnTo>
                  <a:pt x="2930" y="6050"/>
                </a:lnTo>
                <a:cubicBezTo>
                  <a:pt x="2804" y="5955"/>
                  <a:pt x="2804" y="5703"/>
                  <a:pt x="2930" y="5577"/>
                </a:cubicBezTo>
                <a:cubicBezTo>
                  <a:pt x="2978" y="5530"/>
                  <a:pt x="3064" y="5506"/>
                  <a:pt x="3155" y="5506"/>
                </a:cubicBezTo>
                <a:cubicBezTo>
                  <a:pt x="3245" y="5506"/>
                  <a:pt x="3340" y="5530"/>
                  <a:pt x="3403" y="5577"/>
                </a:cubicBezTo>
                <a:lnTo>
                  <a:pt x="5293" y="7436"/>
                </a:lnTo>
                <a:cubicBezTo>
                  <a:pt x="5482" y="7625"/>
                  <a:pt x="5608" y="7877"/>
                  <a:pt x="5608" y="8161"/>
                </a:cubicBezTo>
                <a:lnTo>
                  <a:pt x="5608" y="10996"/>
                </a:lnTo>
                <a:lnTo>
                  <a:pt x="2836" y="10996"/>
                </a:lnTo>
                <a:lnTo>
                  <a:pt x="2836" y="10303"/>
                </a:lnTo>
                <a:cubicBezTo>
                  <a:pt x="2804" y="10051"/>
                  <a:pt x="2710" y="9736"/>
                  <a:pt x="2552" y="9452"/>
                </a:cubicBezTo>
                <a:lnTo>
                  <a:pt x="914" y="6680"/>
                </a:lnTo>
                <a:cubicBezTo>
                  <a:pt x="851" y="6522"/>
                  <a:pt x="757" y="6333"/>
                  <a:pt x="757" y="6176"/>
                </a:cubicBezTo>
                <a:lnTo>
                  <a:pt x="757" y="2427"/>
                </a:lnTo>
                <a:cubicBezTo>
                  <a:pt x="757" y="2238"/>
                  <a:pt x="914" y="2080"/>
                  <a:pt x="1103" y="2080"/>
                </a:cubicBezTo>
                <a:close/>
                <a:moveTo>
                  <a:pt x="5860" y="1"/>
                </a:moveTo>
                <a:cubicBezTo>
                  <a:pt x="4915" y="1"/>
                  <a:pt x="4128" y="788"/>
                  <a:pt x="4128" y="1734"/>
                </a:cubicBezTo>
                <a:cubicBezTo>
                  <a:pt x="4128" y="2206"/>
                  <a:pt x="4348" y="2647"/>
                  <a:pt x="4695" y="2994"/>
                </a:cubicBezTo>
                <a:cubicBezTo>
                  <a:pt x="4411" y="3120"/>
                  <a:pt x="4191" y="3214"/>
                  <a:pt x="3939" y="3435"/>
                </a:cubicBezTo>
                <a:cubicBezTo>
                  <a:pt x="3750" y="3592"/>
                  <a:pt x="3592" y="3750"/>
                  <a:pt x="3435" y="3939"/>
                </a:cubicBezTo>
                <a:lnTo>
                  <a:pt x="3435" y="3813"/>
                </a:lnTo>
                <a:cubicBezTo>
                  <a:pt x="3435" y="3246"/>
                  <a:pt x="2962" y="2805"/>
                  <a:pt x="2395" y="2805"/>
                </a:cubicBezTo>
                <a:cubicBezTo>
                  <a:pt x="2300" y="2805"/>
                  <a:pt x="2174" y="2836"/>
                  <a:pt x="2048" y="2836"/>
                </a:cubicBezTo>
                <a:lnTo>
                  <a:pt x="2048" y="2427"/>
                </a:lnTo>
                <a:cubicBezTo>
                  <a:pt x="2048" y="1891"/>
                  <a:pt x="1576" y="1418"/>
                  <a:pt x="1040" y="1418"/>
                </a:cubicBezTo>
                <a:cubicBezTo>
                  <a:pt x="473" y="1418"/>
                  <a:pt x="0" y="1891"/>
                  <a:pt x="0" y="2427"/>
                </a:cubicBezTo>
                <a:lnTo>
                  <a:pt x="0" y="6176"/>
                </a:lnTo>
                <a:cubicBezTo>
                  <a:pt x="0" y="6491"/>
                  <a:pt x="95" y="6806"/>
                  <a:pt x="253" y="7026"/>
                </a:cubicBezTo>
                <a:lnTo>
                  <a:pt x="1891" y="9799"/>
                </a:lnTo>
                <a:cubicBezTo>
                  <a:pt x="1985" y="9956"/>
                  <a:pt x="2048" y="10145"/>
                  <a:pt x="2048" y="10303"/>
                </a:cubicBezTo>
                <a:lnTo>
                  <a:pt x="2048" y="11342"/>
                </a:lnTo>
                <a:cubicBezTo>
                  <a:pt x="2048" y="11532"/>
                  <a:pt x="2206" y="11689"/>
                  <a:pt x="2395" y="11689"/>
                </a:cubicBezTo>
                <a:lnTo>
                  <a:pt x="9294" y="11689"/>
                </a:lnTo>
                <a:cubicBezTo>
                  <a:pt x="9483" y="11689"/>
                  <a:pt x="9641" y="11532"/>
                  <a:pt x="9641" y="11342"/>
                </a:cubicBezTo>
                <a:lnTo>
                  <a:pt x="9641" y="10303"/>
                </a:lnTo>
                <a:cubicBezTo>
                  <a:pt x="9641" y="10114"/>
                  <a:pt x="9704" y="9956"/>
                  <a:pt x="9799" y="9799"/>
                </a:cubicBezTo>
                <a:lnTo>
                  <a:pt x="11468" y="7026"/>
                </a:lnTo>
                <a:cubicBezTo>
                  <a:pt x="11626" y="6774"/>
                  <a:pt x="11689" y="6491"/>
                  <a:pt x="11689" y="6176"/>
                </a:cubicBezTo>
                <a:lnTo>
                  <a:pt x="11689" y="2427"/>
                </a:lnTo>
                <a:cubicBezTo>
                  <a:pt x="11752" y="1891"/>
                  <a:pt x="11279" y="1418"/>
                  <a:pt x="10712" y="1418"/>
                </a:cubicBezTo>
                <a:cubicBezTo>
                  <a:pt x="10177" y="1418"/>
                  <a:pt x="9704" y="1891"/>
                  <a:pt x="9704" y="2427"/>
                </a:cubicBezTo>
                <a:lnTo>
                  <a:pt x="9704" y="2836"/>
                </a:lnTo>
                <a:cubicBezTo>
                  <a:pt x="9578" y="2805"/>
                  <a:pt x="9452" y="2805"/>
                  <a:pt x="9326" y="2805"/>
                </a:cubicBezTo>
                <a:cubicBezTo>
                  <a:pt x="8790" y="2805"/>
                  <a:pt x="8318" y="3246"/>
                  <a:pt x="8318" y="3813"/>
                </a:cubicBezTo>
                <a:lnTo>
                  <a:pt x="8318" y="3939"/>
                </a:lnTo>
                <a:cubicBezTo>
                  <a:pt x="8160" y="3750"/>
                  <a:pt x="8003" y="3592"/>
                  <a:pt x="7814" y="3435"/>
                </a:cubicBezTo>
                <a:cubicBezTo>
                  <a:pt x="7562" y="3246"/>
                  <a:pt x="7341" y="3088"/>
                  <a:pt x="7058" y="2994"/>
                </a:cubicBezTo>
                <a:cubicBezTo>
                  <a:pt x="7404" y="2647"/>
                  <a:pt x="7593" y="2206"/>
                  <a:pt x="7593" y="1734"/>
                </a:cubicBezTo>
                <a:cubicBezTo>
                  <a:pt x="7593" y="788"/>
                  <a:pt x="6806" y="1"/>
                  <a:pt x="5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80" name="Google Shape;7080;p74"/>
          <p:cNvGrpSpPr/>
          <p:nvPr/>
        </p:nvGrpSpPr>
        <p:grpSpPr>
          <a:xfrm>
            <a:off x="2329895" y="2046095"/>
            <a:ext cx="472703" cy="473997"/>
            <a:chOff x="-35136450" y="1912725"/>
            <a:chExt cx="292225" cy="293025"/>
          </a:xfrm>
        </p:grpSpPr>
        <p:sp>
          <p:nvSpPr>
            <p:cNvPr id="7081" name="Google Shape;7081;p74"/>
            <p:cNvSpPr/>
            <p:nvPr/>
          </p:nvSpPr>
          <p:spPr>
            <a:xfrm>
              <a:off x="-35136450" y="2050575"/>
              <a:ext cx="155975" cy="155175"/>
            </a:xfrm>
            <a:custGeom>
              <a:avLst/>
              <a:gdLst/>
              <a:ahLst/>
              <a:cxnLst/>
              <a:rect l="l" t="t" r="r" b="b"/>
              <a:pathLst>
                <a:path w="6239" h="6207" extrusionOk="0">
                  <a:moveTo>
                    <a:pt x="3120" y="693"/>
                  </a:moveTo>
                  <a:cubicBezTo>
                    <a:pt x="3718" y="693"/>
                    <a:pt x="4191" y="1166"/>
                    <a:pt x="4191" y="1702"/>
                  </a:cubicBezTo>
                  <a:cubicBezTo>
                    <a:pt x="4191" y="2269"/>
                    <a:pt x="3718" y="2741"/>
                    <a:pt x="3120" y="2741"/>
                  </a:cubicBezTo>
                  <a:cubicBezTo>
                    <a:pt x="2521" y="2741"/>
                    <a:pt x="2049" y="2269"/>
                    <a:pt x="2049" y="1702"/>
                  </a:cubicBezTo>
                  <a:cubicBezTo>
                    <a:pt x="2049" y="1166"/>
                    <a:pt x="2521" y="693"/>
                    <a:pt x="3120" y="693"/>
                  </a:cubicBezTo>
                  <a:close/>
                  <a:moveTo>
                    <a:pt x="3120" y="3434"/>
                  </a:moveTo>
                  <a:cubicBezTo>
                    <a:pt x="4348" y="3434"/>
                    <a:pt x="5357" y="4348"/>
                    <a:pt x="5514" y="5514"/>
                  </a:cubicBezTo>
                  <a:lnTo>
                    <a:pt x="757" y="5514"/>
                  </a:lnTo>
                  <a:cubicBezTo>
                    <a:pt x="883" y="4348"/>
                    <a:pt x="1891" y="3434"/>
                    <a:pt x="3120" y="3434"/>
                  </a:cubicBezTo>
                  <a:close/>
                  <a:moveTo>
                    <a:pt x="3120" y="0"/>
                  </a:moveTo>
                  <a:cubicBezTo>
                    <a:pt x="2175" y="0"/>
                    <a:pt x="1387" y="756"/>
                    <a:pt x="1387" y="1702"/>
                  </a:cubicBezTo>
                  <a:cubicBezTo>
                    <a:pt x="1387" y="2174"/>
                    <a:pt x="1576" y="2615"/>
                    <a:pt x="1891" y="2930"/>
                  </a:cubicBezTo>
                  <a:lnTo>
                    <a:pt x="1954" y="2962"/>
                  </a:lnTo>
                  <a:cubicBezTo>
                    <a:pt x="851" y="3403"/>
                    <a:pt x="1" y="4506"/>
                    <a:pt x="1" y="5829"/>
                  </a:cubicBezTo>
                  <a:cubicBezTo>
                    <a:pt x="1" y="6049"/>
                    <a:pt x="158" y="6207"/>
                    <a:pt x="379" y="6207"/>
                  </a:cubicBezTo>
                  <a:lnTo>
                    <a:pt x="5892" y="6207"/>
                  </a:lnTo>
                  <a:cubicBezTo>
                    <a:pt x="6081" y="6207"/>
                    <a:pt x="6239" y="6049"/>
                    <a:pt x="6239" y="5829"/>
                  </a:cubicBezTo>
                  <a:cubicBezTo>
                    <a:pt x="6239" y="4537"/>
                    <a:pt x="5420" y="3434"/>
                    <a:pt x="4317" y="2962"/>
                  </a:cubicBezTo>
                  <a:lnTo>
                    <a:pt x="4348" y="2930"/>
                  </a:lnTo>
                  <a:cubicBezTo>
                    <a:pt x="4663" y="2615"/>
                    <a:pt x="4852" y="2174"/>
                    <a:pt x="4852" y="1702"/>
                  </a:cubicBezTo>
                  <a:cubicBezTo>
                    <a:pt x="4852" y="756"/>
                    <a:pt x="4065" y="0"/>
                    <a:pt x="31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2" name="Google Shape;7082;p74"/>
            <p:cNvSpPr/>
            <p:nvPr/>
          </p:nvSpPr>
          <p:spPr>
            <a:xfrm>
              <a:off x="-34964750" y="1947400"/>
              <a:ext cx="68550" cy="103200"/>
            </a:xfrm>
            <a:custGeom>
              <a:avLst/>
              <a:gdLst/>
              <a:ahLst/>
              <a:cxnLst/>
              <a:rect l="l" t="t" r="r" b="b"/>
              <a:pathLst>
                <a:path w="2742" h="4128" extrusionOk="0">
                  <a:moveTo>
                    <a:pt x="1387" y="725"/>
                  </a:moveTo>
                  <a:cubicBezTo>
                    <a:pt x="1765" y="725"/>
                    <a:pt x="2049" y="1008"/>
                    <a:pt x="2049" y="1386"/>
                  </a:cubicBezTo>
                  <a:lnTo>
                    <a:pt x="2049" y="2773"/>
                  </a:lnTo>
                  <a:cubicBezTo>
                    <a:pt x="2049" y="2836"/>
                    <a:pt x="2049" y="2867"/>
                    <a:pt x="2017" y="2930"/>
                  </a:cubicBezTo>
                  <a:lnTo>
                    <a:pt x="1923" y="2836"/>
                  </a:lnTo>
                  <a:cubicBezTo>
                    <a:pt x="1860" y="2773"/>
                    <a:pt x="1773" y="2741"/>
                    <a:pt x="1686" y="2741"/>
                  </a:cubicBezTo>
                  <a:cubicBezTo>
                    <a:pt x="1600" y="2741"/>
                    <a:pt x="1513" y="2773"/>
                    <a:pt x="1450" y="2836"/>
                  </a:cubicBezTo>
                  <a:cubicBezTo>
                    <a:pt x="1324" y="2962"/>
                    <a:pt x="1324" y="3182"/>
                    <a:pt x="1450" y="3308"/>
                  </a:cubicBezTo>
                  <a:lnTo>
                    <a:pt x="1545" y="3403"/>
                  </a:lnTo>
                  <a:cubicBezTo>
                    <a:pt x="1482" y="3434"/>
                    <a:pt x="1450" y="3434"/>
                    <a:pt x="1387" y="3434"/>
                  </a:cubicBezTo>
                  <a:cubicBezTo>
                    <a:pt x="977" y="3434"/>
                    <a:pt x="694" y="3119"/>
                    <a:pt x="694" y="2773"/>
                  </a:cubicBezTo>
                  <a:lnTo>
                    <a:pt x="694" y="1386"/>
                  </a:lnTo>
                  <a:cubicBezTo>
                    <a:pt x="694" y="977"/>
                    <a:pt x="1040" y="725"/>
                    <a:pt x="1387" y="725"/>
                  </a:cubicBezTo>
                  <a:close/>
                  <a:moveTo>
                    <a:pt x="1387" y="0"/>
                  </a:moveTo>
                  <a:cubicBezTo>
                    <a:pt x="631" y="0"/>
                    <a:pt x="1" y="630"/>
                    <a:pt x="1" y="1386"/>
                  </a:cubicBezTo>
                  <a:lnTo>
                    <a:pt x="1" y="2773"/>
                  </a:lnTo>
                  <a:cubicBezTo>
                    <a:pt x="1" y="3497"/>
                    <a:pt x="631" y="4127"/>
                    <a:pt x="1387" y="4127"/>
                  </a:cubicBezTo>
                  <a:cubicBezTo>
                    <a:pt x="1608" y="4127"/>
                    <a:pt x="1860" y="4064"/>
                    <a:pt x="2080" y="3938"/>
                  </a:cubicBezTo>
                  <a:lnTo>
                    <a:pt x="2175" y="4033"/>
                  </a:lnTo>
                  <a:cubicBezTo>
                    <a:pt x="2222" y="4080"/>
                    <a:pt x="2309" y="4104"/>
                    <a:pt x="2399" y="4104"/>
                  </a:cubicBezTo>
                  <a:cubicBezTo>
                    <a:pt x="2490" y="4104"/>
                    <a:pt x="2584" y="4080"/>
                    <a:pt x="2647" y="4033"/>
                  </a:cubicBezTo>
                  <a:cubicBezTo>
                    <a:pt x="2742" y="3907"/>
                    <a:pt x="2742" y="3655"/>
                    <a:pt x="2647" y="3560"/>
                  </a:cubicBezTo>
                  <a:lnTo>
                    <a:pt x="2553" y="3466"/>
                  </a:lnTo>
                  <a:cubicBezTo>
                    <a:pt x="2679" y="3277"/>
                    <a:pt x="2742" y="3025"/>
                    <a:pt x="2742" y="2773"/>
                  </a:cubicBezTo>
                  <a:lnTo>
                    <a:pt x="2742" y="1386"/>
                  </a:lnTo>
                  <a:cubicBezTo>
                    <a:pt x="2742" y="630"/>
                    <a:pt x="2112" y="0"/>
                    <a:pt x="1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3" name="Google Shape;7083;p74"/>
            <p:cNvSpPr/>
            <p:nvPr/>
          </p:nvSpPr>
          <p:spPr>
            <a:xfrm>
              <a:off x="-35016725" y="1912725"/>
              <a:ext cx="172500" cy="172025"/>
            </a:xfrm>
            <a:custGeom>
              <a:avLst/>
              <a:gdLst/>
              <a:ahLst/>
              <a:cxnLst/>
              <a:rect l="l" t="t" r="r" b="b"/>
              <a:pathLst>
                <a:path w="6900" h="6881" extrusionOk="0">
                  <a:moveTo>
                    <a:pt x="3466" y="726"/>
                  </a:moveTo>
                  <a:cubicBezTo>
                    <a:pt x="4947" y="726"/>
                    <a:pt x="6175" y="1954"/>
                    <a:pt x="6175" y="3467"/>
                  </a:cubicBezTo>
                  <a:cubicBezTo>
                    <a:pt x="6207" y="4979"/>
                    <a:pt x="4978" y="6207"/>
                    <a:pt x="3466" y="6207"/>
                  </a:cubicBezTo>
                  <a:cubicBezTo>
                    <a:pt x="2930" y="6207"/>
                    <a:pt x="2426" y="6050"/>
                    <a:pt x="1985" y="5766"/>
                  </a:cubicBezTo>
                  <a:cubicBezTo>
                    <a:pt x="1942" y="5745"/>
                    <a:pt x="1868" y="5708"/>
                    <a:pt x="1806" y="5708"/>
                  </a:cubicBezTo>
                  <a:cubicBezTo>
                    <a:pt x="1778" y="5708"/>
                    <a:pt x="1753" y="5715"/>
                    <a:pt x="1733" y="5735"/>
                  </a:cubicBezTo>
                  <a:lnTo>
                    <a:pt x="946" y="5987"/>
                  </a:lnTo>
                  <a:lnTo>
                    <a:pt x="1198" y="5199"/>
                  </a:lnTo>
                  <a:cubicBezTo>
                    <a:pt x="1261" y="5136"/>
                    <a:pt x="1198" y="5010"/>
                    <a:pt x="1166" y="4947"/>
                  </a:cubicBezTo>
                  <a:cubicBezTo>
                    <a:pt x="914" y="4506"/>
                    <a:pt x="757" y="4002"/>
                    <a:pt x="757" y="3467"/>
                  </a:cubicBezTo>
                  <a:cubicBezTo>
                    <a:pt x="757" y="1954"/>
                    <a:pt x="1954" y="726"/>
                    <a:pt x="3466" y="726"/>
                  </a:cubicBezTo>
                  <a:close/>
                  <a:moveTo>
                    <a:pt x="3466" y="1"/>
                  </a:moveTo>
                  <a:cubicBezTo>
                    <a:pt x="1576" y="1"/>
                    <a:pt x="32" y="1545"/>
                    <a:pt x="32" y="3435"/>
                  </a:cubicBezTo>
                  <a:cubicBezTo>
                    <a:pt x="32" y="4034"/>
                    <a:pt x="190" y="4569"/>
                    <a:pt x="473" y="5136"/>
                  </a:cubicBezTo>
                  <a:lnTo>
                    <a:pt x="32" y="6428"/>
                  </a:lnTo>
                  <a:cubicBezTo>
                    <a:pt x="0" y="6554"/>
                    <a:pt x="32" y="6712"/>
                    <a:pt x="95" y="6775"/>
                  </a:cubicBezTo>
                  <a:cubicBezTo>
                    <a:pt x="166" y="6845"/>
                    <a:pt x="272" y="6881"/>
                    <a:pt x="374" y="6881"/>
                  </a:cubicBezTo>
                  <a:cubicBezTo>
                    <a:pt x="408" y="6881"/>
                    <a:pt x="442" y="6877"/>
                    <a:pt x="473" y="6869"/>
                  </a:cubicBezTo>
                  <a:lnTo>
                    <a:pt x="1765" y="6428"/>
                  </a:lnTo>
                  <a:cubicBezTo>
                    <a:pt x="2269" y="6712"/>
                    <a:pt x="2867" y="6869"/>
                    <a:pt x="3466" y="6869"/>
                  </a:cubicBezTo>
                  <a:cubicBezTo>
                    <a:pt x="5356" y="6869"/>
                    <a:pt x="6900" y="5325"/>
                    <a:pt x="6900" y="3435"/>
                  </a:cubicBezTo>
                  <a:cubicBezTo>
                    <a:pt x="6869" y="1576"/>
                    <a:pt x="5356" y="1"/>
                    <a:pt x="34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84" name="Google Shape;7084;p74"/>
          <p:cNvGrpSpPr/>
          <p:nvPr/>
        </p:nvGrpSpPr>
        <p:grpSpPr>
          <a:xfrm>
            <a:off x="2330522" y="2658388"/>
            <a:ext cx="471449" cy="472137"/>
            <a:chOff x="-35134875" y="2272675"/>
            <a:chExt cx="291450" cy="291875"/>
          </a:xfrm>
        </p:grpSpPr>
        <p:sp>
          <p:nvSpPr>
            <p:cNvPr id="7085" name="Google Shape;7085;p74"/>
            <p:cNvSpPr/>
            <p:nvPr/>
          </p:nvSpPr>
          <p:spPr>
            <a:xfrm>
              <a:off x="-35134875" y="2272675"/>
              <a:ext cx="291450" cy="291875"/>
            </a:xfrm>
            <a:custGeom>
              <a:avLst/>
              <a:gdLst/>
              <a:ahLst/>
              <a:cxnLst/>
              <a:rect l="l" t="t" r="r" b="b"/>
              <a:pathLst>
                <a:path w="11658" h="11675" extrusionOk="0">
                  <a:moveTo>
                    <a:pt x="9925" y="662"/>
                  </a:moveTo>
                  <a:cubicBezTo>
                    <a:pt x="10460" y="662"/>
                    <a:pt x="10933" y="1135"/>
                    <a:pt x="10933" y="1733"/>
                  </a:cubicBezTo>
                  <a:lnTo>
                    <a:pt x="10933" y="5136"/>
                  </a:lnTo>
                  <a:cubicBezTo>
                    <a:pt x="10933" y="5703"/>
                    <a:pt x="10460" y="6176"/>
                    <a:pt x="9925" y="6176"/>
                  </a:cubicBezTo>
                  <a:cubicBezTo>
                    <a:pt x="9704" y="6176"/>
                    <a:pt x="9547" y="6333"/>
                    <a:pt x="9547" y="6522"/>
                  </a:cubicBezTo>
                  <a:lnTo>
                    <a:pt x="9547" y="7751"/>
                  </a:lnTo>
                  <a:lnTo>
                    <a:pt x="8192" y="6365"/>
                  </a:lnTo>
                  <a:lnTo>
                    <a:pt x="8192" y="4474"/>
                  </a:lnTo>
                  <a:cubicBezTo>
                    <a:pt x="8192" y="3529"/>
                    <a:pt x="7404" y="2742"/>
                    <a:pt x="6459" y="2742"/>
                  </a:cubicBezTo>
                  <a:lnTo>
                    <a:pt x="3372" y="2742"/>
                  </a:lnTo>
                  <a:lnTo>
                    <a:pt x="3372" y="1733"/>
                  </a:lnTo>
                  <a:cubicBezTo>
                    <a:pt x="3372" y="1166"/>
                    <a:pt x="3844" y="662"/>
                    <a:pt x="4411" y="662"/>
                  </a:cubicBezTo>
                  <a:close/>
                  <a:moveTo>
                    <a:pt x="6459" y="3403"/>
                  </a:moveTo>
                  <a:cubicBezTo>
                    <a:pt x="6995" y="3403"/>
                    <a:pt x="7499" y="3876"/>
                    <a:pt x="7499" y="4474"/>
                  </a:cubicBezTo>
                  <a:lnTo>
                    <a:pt x="7499" y="7908"/>
                  </a:lnTo>
                  <a:lnTo>
                    <a:pt x="7467" y="7908"/>
                  </a:lnTo>
                  <a:cubicBezTo>
                    <a:pt x="7467" y="8444"/>
                    <a:pt x="6995" y="8917"/>
                    <a:pt x="6396" y="8917"/>
                  </a:cubicBezTo>
                  <a:lnTo>
                    <a:pt x="3687" y="8917"/>
                  </a:lnTo>
                  <a:cubicBezTo>
                    <a:pt x="3624" y="8917"/>
                    <a:pt x="3498" y="8948"/>
                    <a:pt x="3466" y="9043"/>
                  </a:cubicBezTo>
                  <a:lnTo>
                    <a:pt x="1986" y="10492"/>
                  </a:lnTo>
                  <a:lnTo>
                    <a:pt x="1986" y="9295"/>
                  </a:lnTo>
                  <a:cubicBezTo>
                    <a:pt x="1986" y="9074"/>
                    <a:pt x="1828" y="8917"/>
                    <a:pt x="1639" y="8917"/>
                  </a:cubicBezTo>
                  <a:cubicBezTo>
                    <a:pt x="1103" y="8917"/>
                    <a:pt x="631" y="8444"/>
                    <a:pt x="631" y="7908"/>
                  </a:cubicBezTo>
                  <a:lnTo>
                    <a:pt x="631" y="4474"/>
                  </a:lnTo>
                  <a:cubicBezTo>
                    <a:pt x="631" y="3939"/>
                    <a:pt x="1103" y="3403"/>
                    <a:pt x="1639" y="3403"/>
                  </a:cubicBezTo>
                  <a:close/>
                  <a:moveTo>
                    <a:pt x="4411" y="1"/>
                  </a:moveTo>
                  <a:cubicBezTo>
                    <a:pt x="3466" y="1"/>
                    <a:pt x="2710" y="788"/>
                    <a:pt x="2710" y="1733"/>
                  </a:cubicBezTo>
                  <a:lnTo>
                    <a:pt x="2710" y="2742"/>
                  </a:lnTo>
                  <a:lnTo>
                    <a:pt x="1671" y="2742"/>
                  </a:lnTo>
                  <a:cubicBezTo>
                    <a:pt x="725" y="2742"/>
                    <a:pt x="1" y="3529"/>
                    <a:pt x="1" y="4474"/>
                  </a:cubicBezTo>
                  <a:lnTo>
                    <a:pt x="1" y="7908"/>
                  </a:lnTo>
                  <a:cubicBezTo>
                    <a:pt x="1" y="8728"/>
                    <a:pt x="568" y="9452"/>
                    <a:pt x="1355" y="9610"/>
                  </a:cubicBezTo>
                  <a:lnTo>
                    <a:pt x="1355" y="11342"/>
                  </a:lnTo>
                  <a:cubicBezTo>
                    <a:pt x="1355" y="11500"/>
                    <a:pt x="1450" y="11594"/>
                    <a:pt x="1576" y="11657"/>
                  </a:cubicBezTo>
                  <a:cubicBezTo>
                    <a:pt x="1607" y="11668"/>
                    <a:pt x="1646" y="11675"/>
                    <a:pt x="1687" y="11675"/>
                  </a:cubicBezTo>
                  <a:cubicBezTo>
                    <a:pt x="1769" y="11675"/>
                    <a:pt x="1860" y="11647"/>
                    <a:pt x="1923" y="11563"/>
                  </a:cubicBezTo>
                  <a:lnTo>
                    <a:pt x="3876" y="9610"/>
                  </a:lnTo>
                  <a:lnTo>
                    <a:pt x="6491" y="9610"/>
                  </a:lnTo>
                  <a:cubicBezTo>
                    <a:pt x="7436" y="9610"/>
                    <a:pt x="8224" y="8854"/>
                    <a:pt x="8224" y="7908"/>
                  </a:cubicBezTo>
                  <a:lnTo>
                    <a:pt x="8224" y="7341"/>
                  </a:lnTo>
                  <a:lnTo>
                    <a:pt x="9704" y="8822"/>
                  </a:lnTo>
                  <a:cubicBezTo>
                    <a:pt x="9773" y="8868"/>
                    <a:pt x="9876" y="8897"/>
                    <a:pt x="9976" y="8897"/>
                  </a:cubicBezTo>
                  <a:cubicBezTo>
                    <a:pt x="10013" y="8897"/>
                    <a:pt x="10049" y="8893"/>
                    <a:pt x="10082" y="8885"/>
                  </a:cubicBezTo>
                  <a:cubicBezTo>
                    <a:pt x="10208" y="8854"/>
                    <a:pt x="10271" y="8696"/>
                    <a:pt x="10271" y="8570"/>
                  </a:cubicBezTo>
                  <a:lnTo>
                    <a:pt x="10271" y="6837"/>
                  </a:lnTo>
                  <a:cubicBezTo>
                    <a:pt x="11059" y="6680"/>
                    <a:pt x="11658" y="5987"/>
                    <a:pt x="11658" y="5136"/>
                  </a:cubicBezTo>
                  <a:lnTo>
                    <a:pt x="11658" y="1733"/>
                  </a:lnTo>
                  <a:cubicBezTo>
                    <a:pt x="11595" y="788"/>
                    <a:pt x="10870" y="1"/>
                    <a:pt x="99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6" name="Google Shape;7086;p74"/>
            <p:cNvSpPr/>
            <p:nvPr/>
          </p:nvSpPr>
          <p:spPr>
            <a:xfrm>
              <a:off x="-35093925" y="2419175"/>
              <a:ext cx="18150" cy="17350"/>
            </a:xfrm>
            <a:custGeom>
              <a:avLst/>
              <a:gdLst/>
              <a:ahLst/>
              <a:cxnLst/>
              <a:rect l="l" t="t" r="r" b="b"/>
              <a:pathLst>
                <a:path w="726" h="694" extrusionOk="0">
                  <a:moveTo>
                    <a:pt x="348" y="1"/>
                  </a:moveTo>
                  <a:cubicBezTo>
                    <a:pt x="159" y="1"/>
                    <a:pt x="1" y="158"/>
                    <a:pt x="1" y="347"/>
                  </a:cubicBezTo>
                  <a:cubicBezTo>
                    <a:pt x="1" y="536"/>
                    <a:pt x="159"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7" name="Google Shape;7087;p74"/>
            <p:cNvSpPr/>
            <p:nvPr/>
          </p:nvSpPr>
          <p:spPr>
            <a:xfrm>
              <a:off x="-350427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88" name="Google Shape;7088;p74"/>
            <p:cNvSpPr/>
            <p:nvPr/>
          </p:nvSpPr>
          <p:spPr>
            <a:xfrm>
              <a:off x="-34991525" y="241917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089" name="Google Shape;7089;p74"/>
          <p:cNvGrpSpPr/>
          <p:nvPr/>
        </p:nvGrpSpPr>
        <p:grpSpPr>
          <a:xfrm>
            <a:off x="2385945" y="3265493"/>
            <a:ext cx="360604" cy="471449"/>
            <a:chOff x="-35101800" y="2631050"/>
            <a:chExt cx="222925" cy="291450"/>
          </a:xfrm>
        </p:grpSpPr>
        <p:sp>
          <p:nvSpPr>
            <p:cNvPr id="7090" name="Google Shape;7090;p74"/>
            <p:cNvSpPr/>
            <p:nvPr/>
          </p:nvSpPr>
          <p:spPr>
            <a:xfrm>
              <a:off x="-34999400" y="2699575"/>
              <a:ext cx="18150" cy="18125"/>
            </a:xfrm>
            <a:custGeom>
              <a:avLst/>
              <a:gdLst/>
              <a:ahLst/>
              <a:cxnLst/>
              <a:rect l="l" t="t" r="r" b="b"/>
              <a:pathLst>
                <a:path w="726" h="725" extrusionOk="0">
                  <a:moveTo>
                    <a:pt x="347" y="0"/>
                  </a:moveTo>
                  <a:cubicBezTo>
                    <a:pt x="158" y="0"/>
                    <a:pt x="1" y="158"/>
                    <a:pt x="1" y="347"/>
                  </a:cubicBezTo>
                  <a:cubicBezTo>
                    <a:pt x="1" y="567"/>
                    <a:pt x="158" y="725"/>
                    <a:pt x="347" y="725"/>
                  </a:cubicBezTo>
                  <a:cubicBezTo>
                    <a:pt x="568" y="725"/>
                    <a:pt x="725" y="567"/>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1" name="Google Shape;7091;p74"/>
            <p:cNvSpPr/>
            <p:nvPr/>
          </p:nvSpPr>
          <p:spPr>
            <a:xfrm>
              <a:off x="-34999400" y="2732650"/>
              <a:ext cx="18150" cy="52800"/>
            </a:xfrm>
            <a:custGeom>
              <a:avLst/>
              <a:gdLst/>
              <a:ahLst/>
              <a:cxnLst/>
              <a:rect l="l" t="t" r="r" b="b"/>
              <a:pathLst>
                <a:path w="726" h="2112" extrusionOk="0">
                  <a:moveTo>
                    <a:pt x="347" y="0"/>
                  </a:moveTo>
                  <a:cubicBezTo>
                    <a:pt x="158" y="0"/>
                    <a:pt x="1" y="190"/>
                    <a:pt x="1" y="379"/>
                  </a:cubicBezTo>
                  <a:lnTo>
                    <a:pt x="1" y="1765"/>
                  </a:lnTo>
                  <a:cubicBezTo>
                    <a:pt x="1" y="1985"/>
                    <a:pt x="158" y="2111"/>
                    <a:pt x="347" y="2111"/>
                  </a:cubicBezTo>
                  <a:cubicBezTo>
                    <a:pt x="568" y="2111"/>
                    <a:pt x="725" y="1954"/>
                    <a:pt x="725" y="1765"/>
                  </a:cubicBezTo>
                  <a:lnTo>
                    <a:pt x="725" y="379"/>
                  </a:lnTo>
                  <a:cubicBezTo>
                    <a:pt x="725" y="190"/>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2" name="Google Shape;7092;p74"/>
            <p:cNvSpPr/>
            <p:nvPr/>
          </p:nvSpPr>
          <p:spPr>
            <a:xfrm>
              <a:off x="-35067125" y="2665700"/>
              <a:ext cx="153600" cy="154400"/>
            </a:xfrm>
            <a:custGeom>
              <a:avLst/>
              <a:gdLst/>
              <a:ahLst/>
              <a:cxnLst/>
              <a:rect l="l" t="t" r="r" b="b"/>
              <a:pathLst>
                <a:path w="6144" h="6176" extrusionOk="0">
                  <a:moveTo>
                    <a:pt x="3056" y="694"/>
                  </a:moveTo>
                  <a:cubicBezTo>
                    <a:pt x="4411" y="694"/>
                    <a:pt x="5482" y="1765"/>
                    <a:pt x="5482" y="3088"/>
                  </a:cubicBezTo>
                  <a:cubicBezTo>
                    <a:pt x="5482" y="4443"/>
                    <a:pt x="4411" y="5482"/>
                    <a:pt x="3056" y="5482"/>
                  </a:cubicBezTo>
                  <a:cubicBezTo>
                    <a:pt x="1733" y="5482"/>
                    <a:pt x="662" y="4443"/>
                    <a:pt x="662" y="3088"/>
                  </a:cubicBezTo>
                  <a:cubicBezTo>
                    <a:pt x="662" y="1796"/>
                    <a:pt x="1764" y="694"/>
                    <a:pt x="3056" y="694"/>
                  </a:cubicBezTo>
                  <a:close/>
                  <a:moveTo>
                    <a:pt x="3056" y="1"/>
                  </a:moveTo>
                  <a:cubicBezTo>
                    <a:pt x="1386" y="1"/>
                    <a:pt x="0" y="1387"/>
                    <a:pt x="0" y="3088"/>
                  </a:cubicBezTo>
                  <a:cubicBezTo>
                    <a:pt x="0" y="4789"/>
                    <a:pt x="1386" y="6176"/>
                    <a:pt x="3056" y="6176"/>
                  </a:cubicBezTo>
                  <a:cubicBezTo>
                    <a:pt x="4757" y="6176"/>
                    <a:pt x="6144" y="4789"/>
                    <a:pt x="6144" y="3088"/>
                  </a:cubicBezTo>
                  <a:cubicBezTo>
                    <a:pt x="6144" y="1387"/>
                    <a:pt x="4757" y="1"/>
                    <a:pt x="3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3" name="Google Shape;7093;p74"/>
            <p:cNvSpPr/>
            <p:nvPr/>
          </p:nvSpPr>
          <p:spPr>
            <a:xfrm>
              <a:off x="-35101800" y="2631050"/>
              <a:ext cx="222925" cy="291450"/>
            </a:xfrm>
            <a:custGeom>
              <a:avLst/>
              <a:gdLst/>
              <a:ahLst/>
              <a:cxnLst/>
              <a:rect l="l" t="t" r="r" b="b"/>
              <a:pathLst>
                <a:path w="8917" h="11658" extrusionOk="0">
                  <a:moveTo>
                    <a:pt x="4443" y="693"/>
                  </a:moveTo>
                  <a:cubicBezTo>
                    <a:pt x="6554" y="693"/>
                    <a:pt x="8192" y="2395"/>
                    <a:pt x="8192" y="4474"/>
                  </a:cubicBezTo>
                  <a:cubicBezTo>
                    <a:pt x="8192" y="5293"/>
                    <a:pt x="7940" y="6081"/>
                    <a:pt x="7436" y="6711"/>
                  </a:cubicBezTo>
                  <a:lnTo>
                    <a:pt x="4443" y="10775"/>
                  </a:lnTo>
                  <a:lnTo>
                    <a:pt x="1450" y="6711"/>
                  </a:lnTo>
                  <a:cubicBezTo>
                    <a:pt x="1009" y="6049"/>
                    <a:pt x="726" y="5293"/>
                    <a:pt x="726" y="4474"/>
                  </a:cubicBezTo>
                  <a:cubicBezTo>
                    <a:pt x="726" y="2395"/>
                    <a:pt x="2364" y="693"/>
                    <a:pt x="4443" y="693"/>
                  </a:cubicBezTo>
                  <a:close/>
                  <a:moveTo>
                    <a:pt x="4443" y="0"/>
                  </a:moveTo>
                  <a:cubicBezTo>
                    <a:pt x="2017" y="0"/>
                    <a:pt x="1" y="1985"/>
                    <a:pt x="1" y="4443"/>
                  </a:cubicBezTo>
                  <a:cubicBezTo>
                    <a:pt x="1" y="5419"/>
                    <a:pt x="316" y="6333"/>
                    <a:pt x="883" y="7120"/>
                  </a:cubicBezTo>
                  <a:lnTo>
                    <a:pt x="4191" y="11531"/>
                  </a:lnTo>
                  <a:cubicBezTo>
                    <a:pt x="4254" y="11594"/>
                    <a:pt x="4349" y="11657"/>
                    <a:pt x="4443" y="11657"/>
                  </a:cubicBezTo>
                  <a:cubicBezTo>
                    <a:pt x="4569" y="11657"/>
                    <a:pt x="4664" y="11594"/>
                    <a:pt x="4727" y="11531"/>
                  </a:cubicBezTo>
                  <a:lnTo>
                    <a:pt x="8003" y="7120"/>
                  </a:lnTo>
                  <a:cubicBezTo>
                    <a:pt x="8602" y="6333"/>
                    <a:pt x="8917" y="5419"/>
                    <a:pt x="8917" y="4443"/>
                  </a:cubicBezTo>
                  <a:cubicBezTo>
                    <a:pt x="8917" y="1985"/>
                    <a:pt x="6901"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94" name="Google Shape;7094;p74"/>
          <p:cNvSpPr/>
          <p:nvPr/>
        </p:nvSpPr>
        <p:spPr>
          <a:xfrm>
            <a:off x="5309540" y="2046480"/>
            <a:ext cx="451027" cy="473673"/>
          </a:xfrm>
          <a:custGeom>
            <a:avLst/>
            <a:gdLst/>
            <a:ahLst/>
            <a:cxnLst/>
            <a:rect l="l" t="t" r="r" b="b"/>
            <a:pathLst>
              <a:path w="11153" h="11713" extrusionOk="0">
                <a:moveTo>
                  <a:pt x="9594" y="693"/>
                </a:moveTo>
                <a:cubicBezTo>
                  <a:pt x="9767" y="693"/>
                  <a:pt x="9940" y="764"/>
                  <a:pt x="10082" y="906"/>
                </a:cubicBezTo>
                <a:cubicBezTo>
                  <a:pt x="10365" y="1158"/>
                  <a:pt x="10365" y="1599"/>
                  <a:pt x="10082" y="1883"/>
                </a:cubicBezTo>
                <a:lnTo>
                  <a:pt x="9168" y="2796"/>
                </a:lnTo>
                <a:lnTo>
                  <a:pt x="6175" y="3364"/>
                </a:lnTo>
                <a:lnTo>
                  <a:pt x="6175" y="1410"/>
                </a:lnTo>
                <a:lnTo>
                  <a:pt x="8475" y="1410"/>
                </a:lnTo>
                <a:cubicBezTo>
                  <a:pt x="8538" y="1410"/>
                  <a:pt x="8664" y="1379"/>
                  <a:pt x="8696" y="1284"/>
                </a:cubicBezTo>
                <a:lnTo>
                  <a:pt x="9105" y="906"/>
                </a:lnTo>
                <a:cubicBezTo>
                  <a:pt x="9247" y="764"/>
                  <a:pt x="9420" y="693"/>
                  <a:pt x="9594" y="693"/>
                </a:cubicBezTo>
                <a:close/>
                <a:moveTo>
                  <a:pt x="5136" y="749"/>
                </a:moveTo>
                <a:cubicBezTo>
                  <a:pt x="5325" y="749"/>
                  <a:pt x="5482" y="906"/>
                  <a:pt x="5482" y="1095"/>
                </a:cubicBezTo>
                <a:lnTo>
                  <a:pt x="5482" y="4214"/>
                </a:lnTo>
                <a:cubicBezTo>
                  <a:pt x="5356" y="4151"/>
                  <a:pt x="5230" y="4151"/>
                  <a:pt x="5136" y="4151"/>
                </a:cubicBezTo>
                <a:cubicBezTo>
                  <a:pt x="5010" y="4151"/>
                  <a:pt x="4884" y="4151"/>
                  <a:pt x="4758" y="4214"/>
                </a:cubicBezTo>
                <a:lnTo>
                  <a:pt x="4758" y="1095"/>
                </a:lnTo>
                <a:cubicBezTo>
                  <a:pt x="4758" y="906"/>
                  <a:pt x="4915" y="749"/>
                  <a:pt x="5136" y="749"/>
                </a:cubicBezTo>
                <a:close/>
                <a:moveTo>
                  <a:pt x="5136" y="4844"/>
                </a:moveTo>
                <a:cubicBezTo>
                  <a:pt x="5671" y="4844"/>
                  <a:pt x="6144" y="5317"/>
                  <a:pt x="6144" y="5852"/>
                </a:cubicBezTo>
                <a:cubicBezTo>
                  <a:pt x="6144" y="6419"/>
                  <a:pt x="5671" y="6861"/>
                  <a:pt x="5136" y="6861"/>
                </a:cubicBezTo>
                <a:cubicBezTo>
                  <a:pt x="4568" y="6861"/>
                  <a:pt x="4096" y="6388"/>
                  <a:pt x="4096" y="5852"/>
                </a:cubicBezTo>
                <a:cubicBezTo>
                  <a:pt x="4096" y="5317"/>
                  <a:pt x="4568" y="4844"/>
                  <a:pt x="5136" y="4844"/>
                </a:cubicBezTo>
                <a:close/>
                <a:moveTo>
                  <a:pt x="4096" y="1442"/>
                </a:moveTo>
                <a:lnTo>
                  <a:pt x="4096" y="4529"/>
                </a:lnTo>
                <a:cubicBezTo>
                  <a:pt x="3655" y="4844"/>
                  <a:pt x="3434" y="5348"/>
                  <a:pt x="3434" y="5884"/>
                </a:cubicBezTo>
                <a:cubicBezTo>
                  <a:pt x="3434" y="6136"/>
                  <a:pt x="3466" y="6419"/>
                  <a:pt x="3592" y="6609"/>
                </a:cubicBezTo>
                <a:lnTo>
                  <a:pt x="2332" y="8184"/>
                </a:lnTo>
                <a:cubicBezTo>
                  <a:pt x="1323" y="7522"/>
                  <a:pt x="725" y="6356"/>
                  <a:pt x="725" y="5159"/>
                </a:cubicBezTo>
                <a:cubicBezTo>
                  <a:pt x="662" y="3143"/>
                  <a:pt x="2206" y="1568"/>
                  <a:pt x="4096" y="1442"/>
                </a:cubicBezTo>
                <a:close/>
                <a:moveTo>
                  <a:pt x="8916" y="3521"/>
                </a:moveTo>
                <a:lnTo>
                  <a:pt x="8916" y="4466"/>
                </a:lnTo>
                <a:cubicBezTo>
                  <a:pt x="8916" y="4529"/>
                  <a:pt x="8916" y="4592"/>
                  <a:pt x="8948" y="4624"/>
                </a:cubicBezTo>
                <a:lnTo>
                  <a:pt x="9798" y="6419"/>
                </a:lnTo>
                <a:cubicBezTo>
                  <a:pt x="9893" y="6577"/>
                  <a:pt x="9798" y="6672"/>
                  <a:pt x="9798" y="6735"/>
                </a:cubicBezTo>
                <a:cubicBezTo>
                  <a:pt x="9767" y="6766"/>
                  <a:pt x="9704" y="6892"/>
                  <a:pt x="9546" y="6892"/>
                </a:cubicBezTo>
                <a:lnTo>
                  <a:pt x="9263" y="6892"/>
                </a:lnTo>
                <a:cubicBezTo>
                  <a:pt x="9074" y="6892"/>
                  <a:pt x="8916" y="7050"/>
                  <a:pt x="8916" y="7239"/>
                </a:cubicBezTo>
                <a:lnTo>
                  <a:pt x="8916" y="8341"/>
                </a:lnTo>
                <a:cubicBezTo>
                  <a:pt x="8633" y="8467"/>
                  <a:pt x="8381" y="8656"/>
                  <a:pt x="8286" y="8971"/>
                </a:cubicBezTo>
                <a:lnTo>
                  <a:pt x="6522" y="8971"/>
                </a:lnTo>
                <a:cubicBezTo>
                  <a:pt x="5955" y="8971"/>
                  <a:pt x="5482" y="8499"/>
                  <a:pt x="5482" y="7932"/>
                </a:cubicBezTo>
                <a:lnTo>
                  <a:pt x="5482" y="7554"/>
                </a:lnTo>
                <a:cubicBezTo>
                  <a:pt x="6270" y="7396"/>
                  <a:pt x="6868" y="6672"/>
                  <a:pt x="6868" y="5852"/>
                </a:cubicBezTo>
                <a:cubicBezTo>
                  <a:pt x="6868" y="5317"/>
                  <a:pt x="6585" y="4781"/>
                  <a:pt x="6207" y="4466"/>
                </a:cubicBezTo>
                <a:lnTo>
                  <a:pt x="6207" y="4088"/>
                </a:lnTo>
                <a:lnTo>
                  <a:pt x="8916" y="3521"/>
                </a:lnTo>
                <a:close/>
                <a:moveTo>
                  <a:pt x="9231" y="8940"/>
                </a:moveTo>
                <a:cubicBezTo>
                  <a:pt x="9420" y="8940"/>
                  <a:pt x="9578" y="9097"/>
                  <a:pt x="9578" y="9286"/>
                </a:cubicBezTo>
                <a:cubicBezTo>
                  <a:pt x="9578" y="9475"/>
                  <a:pt x="9420" y="9633"/>
                  <a:pt x="9231" y="9633"/>
                </a:cubicBezTo>
                <a:cubicBezTo>
                  <a:pt x="9011" y="9633"/>
                  <a:pt x="8853" y="9475"/>
                  <a:pt x="8853" y="9286"/>
                </a:cubicBezTo>
                <a:cubicBezTo>
                  <a:pt x="8853" y="9097"/>
                  <a:pt x="9011" y="8940"/>
                  <a:pt x="9231" y="8940"/>
                </a:cubicBezTo>
                <a:close/>
                <a:moveTo>
                  <a:pt x="3970" y="7144"/>
                </a:moveTo>
                <a:cubicBezTo>
                  <a:pt x="4222" y="7365"/>
                  <a:pt x="4442" y="7522"/>
                  <a:pt x="4758" y="7554"/>
                </a:cubicBezTo>
                <a:lnTo>
                  <a:pt x="4758" y="7932"/>
                </a:lnTo>
                <a:cubicBezTo>
                  <a:pt x="4758" y="8877"/>
                  <a:pt x="5514" y="9633"/>
                  <a:pt x="6459" y="9633"/>
                </a:cubicBezTo>
                <a:lnTo>
                  <a:pt x="8223" y="9633"/>
                </a:lnTo>
                <a:cubicBezTo>
                  <a:pt x="8286" y="9727"/>
                  <a:pt x="8318" y="9791"/>
                  <a:pt x="8349" y="9822"/>
                </a:cubicBezTo>
                <a:cubicBezTo>
                  <a:pt x="8034" y="10137"/>
                  <a:pt x="7593" y="10295"/>
                  <a:pt x="7183" y="10295"/>
                </a:cubicBezTo>
                <a:lnTo>
                  <a:pt x="5797" y="10295"/>
                </a:lnTo>
                <a:cubicBezTo>
                  <a:pt x="5608" y="10295"/>
                  <a:pt x="5451" y="10452"/>
                  <a:pt x="5451" y="10673"/>
                </a:cubicBezTo>
                <a:lnTo>
                  <a:pt x="5451" y="11051"/>
                </a:lnTo>
                <a:lnTo>
                  <a:pt x="2710" y="11051"/>
                </a:lnTo>
                <a:lnTo>
                  <a:pt x="2710" y="8719"/>
                </a:lnTo>
                <a:lnTo>
                  <a:pt x="3970" y="7144"/>
                </a:lnTo>
                <a:close/>
                <a:moveTo>
                  <a:pt x="9629" y="0"/>
                </a:moveTo>
                <a:cubicBezTo>
                  <a:pt x="9278" y="0"/>
                  <a:pt x="8932" y="134"/>
                  <a:pt x="8664" y="402"/>
                </a:cubicBezTo>
                <a:lnTo>
                  <a:pt x="8412" y="686"/>
                </a:lnTo>
                <a:lnTo>
                  <a:pt x="6144" y="686"/>
                </a:lnTo>
                <a:cubicBezTo>
                  <a:pt x="5986" y="308"/>
                  <a:pt x="5640" y="24"/>
                  <a:pt x="5167" y="24"/>
                </a:cubicBezTo>
                <a:cubicBezTo>
                  <a:pt x="4726" y="24"/>
                  <a:pt x="4348" y="308"/>
                  <a:pt x="4190" y="686"/>
                </a:cubicBezTo>
                <a:cubicBezTo>
                  <a:pt x="1859" y="812"/>
                  <a:pt x="0" y="2702"/>
                  <a:pt x="0" y="5033"/>
                </a:cubicBezTo>
                <a:cubicBezTo>
                  <a:pt x="0" y="6514"/>
                  <a:pt x="725" y="7900"/>
                  <a:pt x="1922" y="8688"/>
                </a:cubicBezTo>
                <a:lnTo>
                  <a:pt x="2048" y="8782"/>
                </a:lnTo>
                <a:lnTo>
                  <a:pt x="2048" y="11366"/>
                </a:lnTo>
                <a:cubicBezTo>
                  <a:pt x="2048" y="11555"/>
                  <a:pt x="2206" y="11712"/>
                  <a:pt x="2426" y="11712"/>
                </a:cubicBezTo>
                <a:lnTo>
                  <a:pt x="5829" y="11712"/>
                </a:lnTo>
                <a:cubicBezTo>
                  <a:pt x="6018" y="11712"/>
                  <a:pt x="6207" y="11555"/>
                  <a:pt x="6207" y="11366"/>
                </a:cubicBezTo>
                <a:lnTo>
                  <a:pt x="6207" y="10956"/>
                </a:lnTo>
                <a:lnTo>
                  <a:pt x="7215" y="10956"/>
                </a:lnTo>
                <a:cubicBezTo>
                  <a:pt x="7877" y="10956"/>
                  <a:pt x="8475" y="10704"/>
                  <a:pt x="8948" y="10232"/>
                </a:cubicBezTo>
                <a:cubicBezTo>
                  <a:pt x="9074" y="10263"/>
                  <a:pt x="9137" y="10263"/>
                  <a:pt x="9263" y="10263"/>
                </a:cubicBezTo>
                <a:cubicBezTo>
                  <a:pt x="9830" y="10263"/>
                  <a:pt x="10302" y="9791"/>
                  <a:pt x="10302" y="9223"/>
                </a:cubicBezTo>
                <a:cubicBezTo>
                  <a:pt x="10302" y="8814"/>
                  <a:pt x="10019" y="8404"/>
                  <a:pt x="9609" y="8247"/>
                </a:cubicBezTo>
                <a:lnTo>
                  <a:pt x="9609" y="7491"/>
                </a:lnTo>
                <a:cubicBezTo>
                  <a:pt x="9924" y="7459"/>
                  <a:pt x="10239" y="7302"/>
                  <a:pt x="10397" y="7018"/>
                </a:cubicBezTo>
                <a:cubicBezTo>
                  <a:pt x="10617" y="6703"/>
                  <a:pt x="10617" y="6356"/>
                  <a:pt x="10460" y="6041"/>
                </a:cubicBezTo>
                <a:lnTo>
                  <a:pt x="9609" y="4403"/>
                </a:lnTo>
                <a:lnTo>
                  <a:pt x="9609" y="3332"/>
                </a:lnTo>
                <a:lnTo>
                  <a:pt x="10617" y="2355"/>
                </a:lnTo>
                <a:cubicBezTo>
                  <a:pt x="11153" y="1788"/>
                  <a:pt x="11153" y="938"/>
                  <a:pt x="10617" y="402"/>
                </a:cubicBezTo>
                <a:cubicBezTo>
                  <a:pt x="10334" y="134"/>
                  <a:pt x="9979" y="0"/>
                  <a:pt x="96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095" name="Google Shape;7095;p74"/>
          <p:cNvGrpSpPr/>
          <p:nvPr/>
        </p:nvGrpSpPr>
        <p:grpSpPr>
          <a:xfrm>
            <a:off x="5303348" y="2657476"/>
            <a:ext cx="471449" cy="473957"/>
            <a:chOff x="-33314675" y="2275050"/>
            <a:chExt cx="291450" cy="293000"/>
          </a:xfrm>
        </p:grpSpPr>
        <p:sp>
          <p:nvSpPr>
            <p:cNvPr id="7096" name="Google Shape;7096;p74"/>
            <p:cNvSpPr/>
            <p:nvPr/>
          </p:nvSpPr>
          <p:spPr>
            <a:xfrm>
              <a:off x="-33143750" y="2275050"/>
              <a:ext cx="120525" cy="120525"/>
            </a:xfrm>
            <a:custGeom>
              <a:avLst/>
              <a:gdLst/>
              <a:ahLst/>
              <a:cxnLst/>
              <a:rect l="l" t="t" r="r" b="b"/>
              <a:pathLst>
                <a:path w="4821" h="4821" extrusionOk="0">
                  <a:moveTo>
                    <a:pt x="2426" y="725"/>
                  </a:moveTo>
                  <a:cubicBezTo>
                    <a:pt x="3371" y="725"/>
                    <a:pt x="4096" y="1512"/>
                    <a:pt x="4096" y="2458"/>
                  </a:cubicBezTo>
                  <a:cubicBezTo>
                    <a:pt x="4159" y="3403"/>
                    <a:pt x="3371" y="4159"/>
                    <a:pt x="2426" y="4159"/>
                  </a:cubicBezTo>
                  <a:cubicBezTo>
                    <a:pt x="1481" y="4159"/>
                    <a:pt x="725" y="3403"/>
                    <a:pt x="725" y="2458"/>
                  </a:cubicBezTo>
                  <a:cubicBezTo>
                    <a:pt x="725" y="1512"/>
                    <a:pt x="1481" y="725"/>
                    <a:pt x="2426" y="725"/>
                  </a:cubicBezTo>
                  <a:close/>
                  <a:moveTo>
                    <a:pt x="2426" y="0"/>
                  </a:moveTo>
                  <a:cubicBezTo>
                    <a:pt x="1071" y="0"/>
                    <a:pt x="0" y="1103"/>
                    <a:pt x="0" y="2426"/>
                  </a:cubicBezTo>
                  <a:cubicBezTo>
                    <a:pt x="0" y="3749"/>
                    <a:pt x="1071" y="4820"/>
                    <a:pt x="2426" y="4820"/>
                  </a:cubicBezTo>
                  <a:cubicBezTo>
                    <a:pt x="3749" y="4820"/>
                    <a:pt x="4821" y="3749"/>
                    <a:pt x="4821" y="2426"/>
                  </a:cubicBezTo>
                  <a:cubicBezTo>
                    <a:pt x="4821" y="1103"/>
                    <a:pt x="3749" y="0"/>
                    <a:pt x="2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7" name="Google Shape;7097;p74"/>
            <p:cNvSpPr/>
            <p:nvPr/>
          </p:nvSpPr>
          <p:spPr>
            <a:xfrm>
              <a:off x="-33093350" y="2309700"/>
              <a:ext cx="35475" cy="34675"/>
            </a:xfrm>
            <a:custGeom>
              <a:avLst/>
              <a:gdLst/>
              <a:ahLst/>
              <a:cxnLst/>
              <a:rect l="l" t="t" r="r" b="b"/>
              <a:pathLst>
                <a:path w="1419" h="1387" extrusionOk="0">
                  <a:moveTo>
                    <a:pt x="347" y="0"/>
                  </a:moveTo>
                  <a:cubicBezTo>
                    <a:pt x="158" y="0"/>
                    <a:pt x="1" y="158"/>
                    <a:pt x="1" y="347"/>
                  </a:cubicBezTo>
                  <a:lnTo>
                    <a:pt x="1" y="1009"/>
                  </a:lnTo>
                  <a:cubicBezTo>
                    <a:pt x="1" y="1229"/>
                    <a:pt x="158" y="1387"/>
                    <a:pt x="347" y="1387"/>
                  </a:cubicBezTo>
                  <a:lnTo>
                    <a:pt x="1040" y="1387"/>
                  </a:lnTo>
                  <a:cubicBezTo>
                    <a:pt x="1229" y="1387"/>
                    <a:pt x="1387" y="1229"/>
                    <a:pt x="1387" y="1009"/>
                  </a:cubicBezTo>
                  <a:cubicBezTo>
                    <a:pt x="1418" y="883"/>
                    <a:pt x="1261" y="694"/>
                    <a:pt x="1072" y="694"/>
                  </a:cubicBezTo>
                  <a:lnTo>
                    <a:pt x="725" y="694"/>
                  </a:lnTo>
                  <a:lnTo>
                    <a:pt x="725" y="347"/>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098" name="Google Shape;7098;p74"/>
            <p:cNvSpPr/>
            <p:nvPr/>
          </p:nvSpPr>
          <p:spPr>
            <a:xfrm>
              <a:off x="-33314675" y="2328600"/>
              <a:ext cx="239475" cy="239450"/>
            </a:xfrm>
            <a:custGeom>
              <a:avLst/>
              <a:gdLst/>
              <a:ahLst/>
              <a:cxnLst/>
              <a:rect l="l" t="t" r="r" b="b"/>
              <a:pathLst>
                <a:path w="9579" h="9578" extrusionOk="0">
                  <a:moveTo>
                    <a:pt x="3057" y="631"/>
                  </a:moveTo>
                  <a:cubicBezTo>
                    <a:pt x="3624" y="631"/>
                    <a:pt x="4096" y="1103"/>
                    <a:pt x="4096" y="1639"/>
                  </a:cubicBezTo>
                  <a:cubicBezTo>
                    <a:pt x="4096" y="2206"/>
                    <a:pt x="3624" y="2678"/>
                    <a:pt x="3057" y="2678"/>
                  </a:cubicBezTo>
                  <a:cubicBezTo>
                    <a:pt x="2521" y="2678"/>
                    <a:pt x="2049" y="2206"/>
                    <a:pt x="2049" y="1639"/>
                  </a:cubicBezTo>
                  <a:cubicBezTo>
                    <a:pt x="2049" y="1103"/>
                    <a:pt x="2490" y="631"/>
                    <a:pt x="3057" y="631"/>
                  </a:cubicBezTo>
                  <a:close/>
                  <a:moveTo>
                    <a:pt x="3063" y="3369"/>
                  </a:moveTo>
                  <a:cubicBezTo>
                    <a:pt x="3690" y="3369"/>
                    <a:pt x="4308" y="3646"/>
                    <a:pt x="4726" y="4065"/>
                  </a:cubicBezTo>
                  <a:lnTo>
                    <a:pt x="4411" y="4065"/>
                  </a:lnTo>
                  <a:cubicBezTo>
                    <a:pt x="3844" y="4065"/>
                    <a:pt x="3372" y="4506"/>
                    <a:pt x="3372" y="5073"/>
                  </a:cubicBezTo>
                  <a:lnTo>
                    <a:pt x="3372" y="6774"/>
                  </a:lnTo>
                  <a:lnTo>
                    <a:pt x="662" y="6774"/>
                  </a:lnTo>
                  <a:lnTo>
                    <a:pt x="662" y="5892"/>
                  </a:lnTo>
                  <a:cubicBezTo>
                    <a:pt x="662" y="4569"/>
                    <a:pt x="1702" y="3435"/>
                    <a:pt x="2962" y="3372"/>
                  </a:cubicBezTo>
                  <a:cubicBezTo>
                    <a:pt x="2996" y="3370"/>
                    <a:pt x="3029" y="3369"/>
                    <a:pt x="3063" y="3369"/>
                  </a:cubicBezTo>
                  <a:close/>
                  <a:moveTo>
                    <a:pt x="7215" y="4726"/>
                  </a:moveTo>
                  <a:cubicBezTo>
                    <a:pt x="7373" y="4726"/>
                    <a:pt x="7530" y="4884"/>
                    <a:pt x="7530" y="5073"/>
                  </a:cubicBezTo>
                  <a:lnTo>
                    <a:pt x="7530" y="6774"/>
                  </a:lnTo>
                  <a:lnTo>
                    <a:pt x="4096" y="6774"/>
                  </a:lnTo>
                  <a:lnTo>
                    <a:pt x="4096" y="5073"/>
                  </a:lnTo>
                  <a:cubicBezTo>
                    <a:pt x="4096" y="4884"/>
                    <a:pt x="4254" y="4726"/>
                    <a:pt x="4443" y="4726"/>
                  </a:cubicBezTo>
                  <a:close/>
                  <a:moveTo>
                    <a:pt x="8586" y="7495"/>
                  </a:moveTo>
                  <a:cubicBezTo>
                    <a:pt x="8753" y="7495"/>
                    <a:pt x="8885" y="7644"/>
                    <a:pt x="8885" y="7845"/>
                  </a:cubicBezTo>
                  <a:lnTo>
                    <a:pt x="8885" y="8885"/>
                  </a:lnTo>
                  <a:lnTo>
                    <a:pt x="662" y="8885"/>
                  </a:lnTo>
                  <a:lnTo>
                    <a:pt x="662" y="7499"/>
                  </a:lnTo>
                  <a:lnTo>
                    <a:pt x="8539" y="7499"/>
                  </a:lnTo>
                  <a:cubicBezTo>
                    <a:pt x="8555" y="7496"/>
                    <a:pt x="8571" y="7495"/>
                    <a:pt x="8586" y="7495"/>
                  </a:cubicBezTo>
                  <a:close/>
                  <a:moveTo>
                    <a:pt x="3057" y="1"/>
                  </a:moveTo>
                  <a:cubicBezTo>
                    <a:pt x="2112" y="1"/>
                    <a:pt x="1387" y="725"/>
                    <a:pt x="1387" y="1702"/>
                  </a:cubicBezTo>
                  <a:cubicBezTo>
                    <a:pt x="1387" y="2206"/>
                    <a:pt x="1576" y="2647"/>
                    <a:pt x="1923" y="2930"/>
                  </a:cubicBezTo>
                  <a:cubicBezTo>
                    <a:pt x="820" y="3403"/>
                    <a:pt x="1" y="4600"/>
                    <a:pt x="1" y="5923"/>
                  </a:cubicBezTo>
                  <a:lnTo>
                    <a:pt x="1" y="9263"/>
                  </a:lnTo>
                  <a:cubicBezTo>
                    <a:pt x="1" y="9420"/>
                    <a:pt x="127" y="9578"/>
                    <a:pt x="316" y="9578"/>
                  </a:cubicBezTo>
                  <a:lnTo>
                    <a:pt x="9200" y="9578"/>
                  </a:lnTo>
                  <a:cubicBezTo>
                    <a:pt x="9421" y="9578"/>
                    <a:pt x="9578" y="9420"/>
                    <a:pt x="9578" y="9200"/>
                  </a:cubicBezTo>
                  <a:lnTo>
                    <a:pt x="9578" y="7845"/>
                  </a:lnTo>
                  <a:cubicBezTo>
                    <a:pt x="9578" y="7278"/>
                    <a:pt x="9106" y="6806"/>
                    <a:pt x="8539" y="6806"/>
                  </a:cubicBezTo>
                  <a:lnTo>
                    <a:pt x="8192" y="6806"/>
                  </a:lnTo>
                  <a:lnTo>
                    <a:pt x="8192" y="5104"/>
                  </a:lnTo>
                  <a:cubicBezTo>
                    <a:pt x="8192" y="4569"/>
                    <a:pt x="7719" y="4096"/>
                    <a:pt x="7152" y="4096"/>
                  </a:cubicBezTo>
                  <a:lnTo>
                    <a:pt x="5577" y="4096"/>
                  </a:lnTo>
                  <a:cubicBezTo>
                    <a:pt x="5231" y="3561"/>
                    <a:pt x="4758" y="3183"/>
                    <a:pt x="4222" y="2930"/>
                  </a:cubicBezTo>
                  <a:cubicBezTo>
                    <a:pt x="4569" y="2615"/>
                    <a:pt x="4758" y="2206"/>
                    <a:pt x="4758" y="1702"/>
                  </a:cubicBezTo>
                  <a:cubicBezTo>
                    <a:pt x="4758" y="725"/>
                    <a:pt x="4002"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099" name="Google Shape;7099;p74"/>
          <p:cNvSpPr/>
          <p:nvPr/>
        </p:nvSpPr>
        <p:spPr>
          <a:xfrm>
            <a:off x="5297428" y="3263876"/>
            <a:ext cx="475251" cy="475291"/>
          </a:xfrm>
          <a:custGeom>
            <a:avLst/>
            <a:gdLst/>
            <a:ahLst/>
            <a:cxnLst/>
            <a:rect l="l" t="t" r="r" b="b"/>
            <a:pathLst>
              <a:path w="11752" h="11753" extrusionOk="0">
                <a:moveTo>
                  <a:pt x="9672" y="725"/>
                </a:moveTo>
                <a:lnTo>
                  <a:pt x="9672" y="4191"/>
                </a:lnTo>
                <a:cubicBezTo>
                  <a:pt x="9546" y="4160"/>
                  <a:pt x="9420" y="4160"/>
                  <a:pt x="9294" y="4160"/>
                </a:cubicBezTo>
                <a:cubicBezTo>
                  <a:pt x="9200" y="4160"/>
                  <a:pt x="9074" y="4191"/>
                  <a:pt x="8948" y="4223"/>
                </a:cubicBezTo>
                <a:lnTo>
                  <a:pt x="8948" y="3844"/>
                </a:lnTo>
                <a:cubicBezTo>
                  <a:pt x="8948" y="3277"/>
                  <a:pt x="8475" y="2805"/>
                  <a:pt x="7939" y="2805"/>
                </a:cubicBezTo>
                <a:cubicBezTo>
                  <a:pt x="7813" y="2805"/>
                  <a:pt x="7687" y="2836"/>
                  <a:pt x="7561" y="2836"/>
                </a:cubicBezTo>
                <a:lnTo>
                  <a:pt x="7561" y="2458"/>
                </a:lnTo>
                <a:cubicBezTo>
                  <a:pt x="7561" y="1891"/>
                  <a:pt x="7089" y="1419"/>
                  <a:pt x="6553" y="1419"/>
                </a:cubicBezTo>
                <a:cubicBezTo>
                  <a:pt x="6427" y="1419"/>
                  <a:pt x="6364" y="1419"/>
                  <a:pt x="6238" y="1482"/>
                </a:cubicBezTo>
                <a:cubicBezTo>
                  <a:pt x="6427" y="1041"/>
                  <a:pt x="6837" y="725"/>
                  <a:pt x="7246" y="725"/>
                </a:cubicBezTo>
                <a:close/>
                <a:moveTo>
                  <a:pt x="11090" y="1419"/>
                </a:moveTo>
                <a:lnTo>
                  <a:pt x="11090" y="4884"/>
                </a:lnTo>
                <a:cubicBezTo>
                  <a:pt x="10964" y="4853"/>
                  <a:pt x="10838" y="4853"/>
                  <a:pt x="10712" y="4853"/>
                </a:cubicBezTo>
                <a:cubicBezTo>
                  <a:pt x="10617" y="4853"/>
                  <a:pt x="10491" y="4884"/>
                  <a:pt x="10365" y="4884"/>
                </a:cubicBezTo>
                <a:lnTo>
                  <a:pt x="10365" y="1419"/>
                </a:lnTo>
                <a:close/>
                <a:moveTo>
                  <a:pt x="4537" y="725"/>
                </a:moveTo>
                <a:cubicBezTo>
                  <a:pt x="5104" y="725"/>
                  <a:pt x="5577" y="1198"/>
                  <a:pt x="5577" y="1734"/>
                </a:cubicBezTo>
                <a:lnTo>
                  <a:pt x="5577" y="5010"/>
                </a:lnTo>
                <a:lnTo>
                  <a:pt x="4474" y="6113"/>
                </a:lnTo>
                <a:cubicBezTo>
                  <a:pt x="4253" y="6302"/>
                  <a:pt x="4096" y="6585"/>
                  <a:pt x="4033" y="6869"/>
                </a:cubicBezTo>
                <a:lnTo>
                  <a:pt x="2143" y="6869"/>
                </a:lnTo>
                <a:lnTo>
                  <a:pt x="2143" y="725"/>
                </a:lnTo>
                <a:close/>
                <a:moveTo>
                  <a:pt x="1418" y="1419"/>
                </a:moveTo>
                <a:lnTo>
                  <a:pt x="1418" y="7247"/>
                </a:lnTo>
                <a:cubicBezTo>
                  <a:pt x="1418" y="7468"/>
                  <a:pt x="1575" y="7625"/>
                  <a:pt x="1796" y="7625"/>
                </a:cubicBezTo>
                <a:lnTo>
                  <a:pt x="3938" y="7625"/>
                </a:lnTo>
                <a:cubicBezTo>
                  <a:pt x="4001" y="7846"/>
                  <a:pt x="4064" y="8098"/>
                  <a:pt x="4190" y="8287"/>
                </a:cubicBezTo>
                <a:lnTo>
                  <a:pt x="725" y="8287"/>
                </a:lnTo>
                <a:lnTo>
                  <a:pt x="725" y="1419"/>
                </a:lnTo>
                <a:close/>
                <a:moveTo>
                  <a:pt x="6648" y="2112"/>
                </a:moveTo>
                <a:cubicBezTo>
                  <a:pt x="6837" y="2112"/>
                  <a:pt x="6994" y="2269"/>
                  <a:pt x="6994" y="2458"/>
                </a:cubicBezTo>
                <a:lnTo>
                  <a:pt x="6994" y="6554"/>
                </a:lnTo>
                <a:cubicBezTo>
                  <a:pt x="6994" y="6743"/>
                  <a:pt x="7152" y="6900"/>
                  <a:pt x="7341" y="6900"/>
                </a:cubicBezTo>
                <a:cubicBezTo>
                  <a:pt x="7530" y="6900"/>
                  <a:pt x="7687" y="6743"/>
                  <a:pt x="7687" y="6554"/>
                </a:cubicBezTo>
                <a:lnTo>
                  <a:pt x="7687" y="3844"/>
                </a:lnTo>
                <a:cubicBezTo>
                  <a:pt x="7687" y="3624"/>
                  <a:pt x="7845" y="3466"/>
                  <a:pt x="8065" y="3466"/>
                </a:cubicBezTo>
                <a:cubicBezTo>
                  <a:pt x="8254" y="3466"/>
                  <a:pt x="8412" y="3624"/>
                  <a:pt x="8412" y="3844"/>
                </a:cubicBezTo>
                <a:lnTo>
                  <a:pt x="8412" y="6554"/>
                </a:lnTo>
                <a:cubicBezTo>
                  <a:pt x="8412" y="6743"/>
                  <a:pt x="8570" y="6900"/>
                  <a:pt x="8759" y="6900"/>
                </a:cubicBezTo>
                <a:cubicBezTo>
                  <a:pt x="8948" y="6900"/>
                  <a:pt x="9105" y="6743"/>
                  <a:pt x="9105" y="6554"/>
                </a:cubicBezTo>
                <a:lnTo>
                  <a:pt x="9105" y="5168"/>
                </a:lnTo>
                <a:cubicBezTo>
                  <a:pt x="9105" y="4979"/>
                  <a:pt x="9263" y="4821"/>
                  <a:pt x="9483" y="4821"/>
                </a:cubicBezTo>
                <a:cubicBezTo>
                  <a:pt x="9672" y="4821"/>
                  <a:pt x="9830" y="4979"/>
                  <a:pt x="9830" y="5168"/>
                </a:cubicBezTo>
                <a:lnTo>
                  <a:pt x="9830" y="6554"/>
                </a:lnTo>
                <a:cubicBezTo>
                  <a:pt x="9830" y="6743"/>
                  <a:pt x="9987" y="6900"/>
                  <a:pt x="10176" y="6900"/>
                </a:cubicBezTo>
                <a:cubicBezTo>
                  <a:pt x="10365" y="6900"/>
                  <a:pt x="10523" y="6743"/>
                  <a:pt x="10523" y="6554"/>
                </a:cubicBezTo>
                <a:lnTo>
                  <a:pt x="10523" y="5892"/>
                </a:lnTo>
                <a:cubicBezTo>
                  <a:pt x="10523" y="5672"/>
                  <a:pt x="10680" y="5514"/>
                  <a:pt x="10901" y="5514"/>
                </a:cubicBezTo>
                <a:cubicBezTo>
                  <a:pt x="11090" y="5514"/>
                  <a:pt x="11247" y="5672"/>
                  <a:pt x="11247" y="5892"/>
                </a:cubicBezTo>
                <a:cubicBezTo>
                  <a:pt x="11090" y="5955"/>
                  <a:pt x="11090" y="8633"/>
                  <a:pt x="11090" y="8791"/>
                </a:cubicBezTo>
                <a:cubicBezTo>
                  <a:pt x="11090" y="9043"/>
                  <a:pt x="10995" y="9232"/>
                  <a:pt x="10838" y="9389"/>
                </a:cubicBezTo>
                <a:cubicBezTo>
                  <a:pt x="10586" y="9673"/>
                  <a:pt x="10397" y="10051"/>
                  <a:pt x="10397" y="10460"/>
                </a:cubicBezTo>
                <a:lnTo>
                  <a:pt x="10397" y="11028"/>
                </a:lnTo>
                <a:lnTo>
                  <a:pt x="6270" y="11028"/>
                </a:lnTo>
                <a:lnTo>
                  <a:pt x="6270" y="10397"/>
                </a:lnTo>
                <a:cubicBezTo>
                  <a:pt x="6270" y="10051"/>
                  <a:pt x="6144" y="9673"/>
                  <a:pt x="5923" y="9389"/>
                </a:cubicBezTo>
                <a:lnTo>
                  <a:pt x="4852" y="7972"/>
                </a:lnTo>
                <a:cubicBezTo>
                  <a:pt x="4537" y="7562"/>
                  <a:pt x="4600" y="6995"/>
                  <a:pt x="4946" y="6617"/>
                </a:cubicBezTo>
                <a:lnTo>
                  <a:pt x="5577" y="5987"/>
                </a:lnTo>
                <a:lnTo>
                  <a:pt x="5577" y="6554"/>
                </a:lnTo>
                <a:cubicBezTo>
                  <a:pt x="5577" y="6743"/>
                  <a:pt x="5734" y="6900"/>
                  <a:pt x="5923" y="6900"/>
                </a:cubicBezTo>
                <a:cubicBezTo>
                  <a:pt x="6112" y="6900"/>
                  <a:pt x="6270" y="6743"/>
                  <a:pt x="6270" y="6554"/>
                </a:cubicBezTo>
                <a:lnTo>
                  <a:pt x="6270" y="2458"/>
                </a:lnTo>
                <a:cubicBezTo>
                  <a:pt x="6270" y="2269"/>
                  <a:pt x="6427" y="2112"/>
                  <a:pt x="6648" y="2112"/>
                </a:cubicBezTo>
                <a:close/>
                <a:moveTo>
                  <a:pt x="1733" y="1"/>
                </a:moveTo>
                <a:cubicBezTo>
                  <a:pt x="1544" y="1"/>
                  <a:pt x="1386" y="158"/>
                  <a:pt x="1386" y="379"/>
                </a:cubicBezTo>
                <a:lnTo>
                  <a:pt x="1386" y="725"/>
                </a:lnTo>
                <a:lnTo>
                  <a:pt x="378" y="725"/>
                </a:lnTo>
                <a:cubicBezTo>
                  <a:pt x="158" y="725"/>
                  <a:pt x="0" y="883"/>
                  <a:pt x="0" y="1072"/>
                </a:cubicBezTo>
                <a:lnTo>
                  <a:pt x="0" y="8602"/>
                </a:lnTo>
                <a:cubicBezTo>
                  <a:pt x="0" y="8791"/>
                  <a:pt x="158" y="8948"/>
                  <a:pt x="378" y="8948"/>
                </a:cubicBezTo>
                <a:lnTo>
                  <a:pt x="4663" y="8948"/>
                </a:lnTo>
                <a:lnTo>
                  <a:pt x="5293" y="9830"/>
                </a:lnTo>
                <a:cubicBezTo>
                  <a:pt x="5419" y="9988"/>
                  <a:pt x="5482" y="10208"/>
                  <a:pt x="5482" y="10460"/>
                </a:cubicBezTo>
                <a:lnTo>
                  <a:pt x="5482" y="11406"/>
                </a:lnTo>
                <a:cubicBezTo>
                  <a:pt x="5482" y="11595"/>
                  <a:pt x="5640" y="11752"/>
                  <a:pt x="5829" y="11752"/>
                </a:cubicBezTo>
                <a:lnTo>
                  <a:pt x="10649" y="11752"/>
                </a:lnTo>
                <a:cubicBezTo>
                  <a:pt x="10838" y="11752"/>
                  <a:pt x="10995" y="11595"/>
                  <a:pt x="10995" y="11406"/>
                </a:cubicBezTo>
                <a:lnTo>
                  <a:pt x="10995" y="10460"/>
                </a:lnTo>
                <a:cubicBezTo>
                  <a:pt x="10995" y="10208"/>
                  <a:pt x="11090" y="10019"/>
                  <a:pt x="11247" y="9862"/>
                </a:cubicBezTo>
                <a:cubicBezTo>
                  <a:pt x="11500" y="9578"/>
                  <a:pt x="11657" y="9200"/>
                  <a:pt x="11657" y="8791"/>
                </a:cubicBezTo>
                <a:lnTo>
                  <a:pt x="11657" y="1072"/>
                </a:lnTo>
                <a:cubicBezTo>
                  <a:pt x="11752" y="883"/>
                  <a:pt x="11594" y="725"/>
                  <a:pt x="11405" y="725"/>
                </a:cubicBezTo>
                <a:lnTo>
                  <a:pt x="10365" y="725"/>
                </a:lnTo>
                <a:lnTo>
                  <a:pt x="10365" y="379"/>
                </a:lnTo>
                <a:cubicBezTo>
                  <a:pt x="10365" y="158"/>
                  <a:pt x="10208" y="1"/>
                  <a:pt x="10019" y="1"/>
                </a:cubicBezTo>
                <a:lnTo>
                  <a:pt x="7246" y="1"/>
                </a:lnTo>
                <a:cubicBezTo>
                  <a:pt x="6711" y="1"/>
                  <a:pt x="6207" y="284"/>
                  <a:pt x="5892" y="662"/>
                </a:cubicBezTo>
                <a:cubicBezTo>
                  <a:pt x="5577" y="253"/>
                  <a:pt x="5041" y="1"/>
                  <a:pt x="45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00" name="Google Shape;7100;p74"/>
          <p:cNvGrpSpPr/>
          <p:nvPr/>
        </p:nvGrpSpPr>
        <p:grpSpPr>
          <a:xfrm>
            <a:off x="3519602" y="3887157"/>
            <a:ext cx="471449" cy="471409"/>
            <a:chOff x="-31523625" y="1939525"/>
            <a:chExt cx="291450" cy="291425"/>
          </a:xfrm>
        </p:grpSpPr>
        <p:sp>
          <p:nvSpPr>
            <p:cNvPr id="7101" name="Google Shape;7101;p74"/>
            <p:cNvSpPr/>
            <p:nvPr/>
          </p:nvSpPr>
          <p:spPr>
            <a:xfrm>
              <a:off x="-31523625" y="1939525"/>
              <a:ext cx="291450" cy="291425"/>
            </a:xfrm>
            <a:custGeom>
              <a:avLst/>
              <a:gdLst/>
              <a:ahLst/>
              <a:cxnLst/>
              <a:rect l="l" t="t" r="r" b="b"/>
              <a:pathLst>
                <a:path w="11658" h="11657" extrusionOk="0">
                  <a:moveTo>
                    <a:pt x="2269" y="756"/>
                  </a:moveTo>
                  <a:cubicBezTo>
                    <a:pt x="2899" y="756"/>
                    <a:pt x="3372" y="1260"/>
                    <a:pt x="3372" y="1859"/>
                  </a:cubicBezTo>
                  <a:cubicBezTo>
                    <a:pt x="3372" y="2363"/>
                    <a:pt x="3057" y="2615"/>
                    <a:pt x="2805" y="2867"/>
                  </a:cubicBezTo>
                  <a:cubicBezTo>
                    <a:pt x="2710" y="2962"/>
                    <a:pt x="2679" y="3025"/>
                    <a:pt x="2679" y="3119"/>
                  </a:cubicBezTo>
                  <a:lnTo>
                    <a:pt x="2679" y="7246"/>
                  </a:lnTo>
                  <a:cubicBezTo>
                    <a:pt x="2679" y="7341"/>
                    <a:pt x="2710" y="7435"/>
                    <a:pt x="2805" y="7498"/>
                  </a:cubicBezTo>
                  <a:cubicBezTo>
                    <a:pt x="3057" y="7750"/>
                    <a:pt x="3372" y="8002"/>
                    <a:pt x="3372" y="8506"/>
                  </a:cubicBezTo>
                  <a:cubicBezTo>
                    <a:pt x="3372" y="9137"/>
                    <a:pt x="2868" y="9609"/>
                    <a:pt x="2269" y="9609"/>
                  </a:cubicBezTo>
                  <a:lnTo>
                    <a:pt x="1765" y="9609"/>
                  </a:lnTo>
                  <a:cubicBezTo>
                    <a:pt x="1167" y="9609"/>
                    <a:pt x="663" y="9137"/>
                    <a:pt x="663" y="8506"/>
                  </a:cubicBezTo>
                  <a:cubicBezTo>
                    <a:pt x="663" y="8002"/>
                    <a:pt x="978" y="7750"/>
                    <a:pt x="1261" y="7498"/>
                  </a:cubicBezTo>
                  <a:cubicBezTo>
                    <a:pt x="1324" y="7404"/>
                    <a:pt x="1356" y="7341"/>
                    <a:pt x="1356" y="7246"/>
                  </a:cubicBezTo>
                  <a:lnTo>
                    <a:pt x="1356" y="3119"/>
                  </a:lnTo>
                  <a:cubicBezTo>
                    <a:pt x="1356" y="3025"/>
                    <a:pt x="1324" y="2930"/>
                    <a:pt x="1261" y="2867"/>
                  </a:cubicBezTo>
                  <a:cubicBezTo>
                    <a:pt x="978" y="2615"/>
                    <a:pt x="663" y="2363"/>
                    <a:pt x="663" y="1859"/>
                  </a:cubicBezTo>
                  <a:cubicBezTo>
                    <a:pt x="663" y="1229"/>
                    <a:pt x="1167" y="756"/>
                    <a:pt x="1765" y="756"/>
                  </a:cubicBezTo>
                  <a:close/>
                  <a:moveTo>
                    <a:pt x="10650" y="2048"/>
                  </a:moveTo>
                  <a:cubicBezTo>
                    <a:pt x="10870" y="2048"/>
                    <a:pt x="11028" y="2205"/>
                    <a:pt x="11028" y="2395"/>
                  </a:cubicBezTo>
                  <a:lnTo>
                    <a:pt x="11028" y="9294"/>
                  </a:lnTo>
                  <a:lnTo>
                    <a:pt x="10965" y="9294"/>
                  </a:lnTo>
                  <a:cubicBezTo>
                    <a:pt x="10965" y="9483"/>
                    <a:pt x="10807" y="9641"/>
                    <a:pt x="10618" y="9641"/>
                  </a:cubicBezTo>
                  <a:lnTo>
                    <a:pt x="3687" y="9641"/>
                  </a:lnTo>
                  <a:cubicBezTo>
                    <a:pt x="3939" y="9326"/>
                    <a:pt x="4097" y="8948"/>
                    <a:pt x="4097" y="8538"/>
                  </a:cubicBezTo>
                  <a:cubicBezTo>
                    <a:pt x="4097" y="8065"/>
                    <a:pt x="3876" y="7593"/>
                    <a:pt x="3561" y="7278"/>
                  </a:cubicBezTo>
                  <a:lnTo>
                    <a:pt x="3404" y="7120"/>
                  </a:lnTo>
                  <a:lnTo>
                    <a:pt x="3404" y="3245"/>
                  </a:lnTo>
                  <a:cubicBezTo>
                    <a:pt x="3624" y="3025"/>
                    <a:pt x="4002" y="2710"/>
                    <a:pt x="4097" y="2048"/>
                  </a:cubicBezTo>
                  <a:close/>
                  <a:moveTo>
                    <a:pt x="4758" y="10334"/>
                  </a:moveTo>
                  <a:lnTo>
                    <a:pt x="4758" y="10649"/>
                  </a:lnTo>
                  <a:cubicBezTo>
                    <a:pt x="4758" y="10838"/>
                    <a:pt x="4601" y="10995"/>
                    <a:pt x="4412" y="10995"/>
                  </a:cubicBezTo>
                  <a:lnTo>
                    <a:pt x="2710" y="10995"/>
                  </a:lnTo>
                  <a:cubicBezTo>
                    <a:pt x="2521" y="10995"/>
                    <a:pt x="2364" y="10838"/>
                    <a:pt x="2364" y="10649"/>
                  </a:cubicBezTo>
                  <a:lnTo>
                    <a:pt x="2364" y="10334"/>
                  </a:lnTo>
                  <a:close/>
                  <a:moveTo>
                    <a:pt x="1797" y="0"/>
                  </a:moveTo>
                  <a:cubicBezTo>
                    <a:pt x="820" y="0"/>
                    <a:pt x="1" y="788"/>
                    <a:pt x="1" y="1827"/>
                  </a:cubicBezTo>
                  <a:cubicBezTo>
                    <a:pt x="1" y="2300"/>
                    <a:pt x="190" y="2773"/>
                    <a:pt x="505" y="3088"/>
                  </a:cubicBezTo>
                  <a:lnTo>
                    <a:pt x="663" y="3245"/>
                  </a:lnTo>
                  <a:lnTo>
                    <a:pt x="663" y="7089"/>
                  </a:lnTo>
                  <a:cubicBezTo>
                    <a:pt x="474" y="7278"/>
                    <a:pt x="1" y="7719"/>
                    <a:pt x="1" y="8506"/>
                  </a:cubicBezTo>
                  <a:cubicBezTo>
                    <a:pt x="1" y="9452"/>
                    <a:pt x="694" y="10208"/>
                    <a:pt x="1639" y="10271"/>
                  </a:cubicBezTo>
                  <a:lnTo>
                    <a:pt x="1734" y="10271"/>
                  </a:lnTo>
                  <a:lnTo>
                    <a:pt x="1734" y="10649"/>
                  </a:lnTo>
                  <a:cubicBezTo>
                    <a:pt x="1734" y="11184"/>
                    <a:pt x="2206" y="11657"/>
                    <a:pt x="2742" y="11657"/>
                  </a:cubicBezTo>
                  <a:lnTo>
                    <a:pt x="4443" y="11657"/>
                  </a:lnTo>
                  <a:cubicBezTo>
                    <a:pt x="5010" y="11657"/>
                    <a:pt x="5451" y="11184"/>
                    <a:pt x="5451" y="10649"/>
                  </a:cubicBezTo>
                  <a:lnTo>
                    <a:pt x="5451" y="10334"/>
                  </a:lnTo>
                  <a:lnTo>
                    <a:pt x="10618" y="10334"/>
                  </a:lnTo>
                  <a:cubicBezTo>
                    <a:pt x="11185" y="10334"/>
                    <a:pt x="11658" y="9861"/>
                    <a:pt x="11658" y="9294"/>
                  </a:cubicBezTo>
                  <a:lnTo>
                    <a:pt x="11658" y="2395"/>
                  </a:lnTo>
                  <a:cubicBezTo>
                    <a:pt x="11658" y="1827"/>
                    <a:pt x="11185" y="1386"/>
                    <a:pt x="10618" y="1386"/>
                  </a:cubicBezTo>
                  <a:lnTo>
                    <a:pt x="4034" y="1386"/>
                  </a:lnTo>
                  <a:cubicBezTo>
                    <a:pt x="3845" y="599"/>
                    <a:pt x="3151" y="0"/>
                    <a:pt x="23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2" name="Google Shape;7102;p74"/>
            <p:cNvSpPr/>
            <p:nvPr/>
          </p:nvSpPr>
          <p:spPr>
            <a:xfrm>
              <a:off x="-31404675" y="2007250"/>
              <a:ext cx="138625" cy="52800"/>
            </a:xfrm>
            <a:custGeom>
              <a:avLst/>
              <a:gdLst/>
              <a:ahLst/>
              <a:cxnLst/>
              <a:rect l="l" t="t" r="r" b="b"/>
              <a:pathLst>
                <a:path w="5545" h="2112" extrusionOk="0">
                  <a:moveTo>
                    <a:pt x="4852" y="725"/>
                  </a:moveTo>
                  <a:lnTo>
                    <a:pt x="4852" y="1418"/>
                  </a:lnTo>
                  <a:lnTo>
                    <a:pt x="693" y="1418"/>
                  </a:lnTo>
                  <a:lnTo>
                    <a:pt x="693" y="725"/>
                  </a:lnTo>
                  <a:close/>
                  <a:moveTo>
                    <a:pt x="347" y="1"/>
                  </a:moveTo>
                  <a:cubicBezTo>
                    <a:pt x="158" y="1"/>
                    <a:pt x="0" y="158"/>
                    <a:pt x="0" y="379"/>
                  </a:cubicBezTo>
                  <a:lnTo>
                    <a:pt x="0" y="1733"/>
                  </a:lnTo>
                  <a:cubicBezTo>
                    <a:pt x="0" y="1954"/>
                    <a:pt x="158" y="2111"/>
                    <a:pt x="347" y="2111"/>
                  </a:cubicBezTo>
                  <a:lnTo>
                    <a:pt x="5199" y="2111"/>
                  </a:lnTo>
                  <a:cubicBezTo>
                    <a:pt x="5388" y="2111"/>
                    <a:pt x="5545" y="1954"/>
                    <a:pt x="5545" y="1733"/>
                  </a:cubicBezTo>
                  <a:lnTo>
                    <a:pt x="5545" y="379"/>
                  </a:lnTo>
                  <a:cubicBezTo>
                    <a:pt x="5514" y="158"/>
                    <a:pt x="5356" y="1"/>
                    <a:pt x="51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3" name="Google Shape;7103;p74"/>
            <p:cNvSpPr/>
            <p:nvPr/>
          </p:nvSpPr>
          <p:spPr>
            <a:xfrm>
              <a:off x="-31404675" y="2077350"/>
              <a:ext cx="34675" cy="18150"/>
            </a:xfrm>
            <a:custGeom>
              <a:avLst/>
              <a:gdLst/>
              <a:ahLst/>
              <a:cxnLst/>
              <a:rect l="l" t="t" r="r" b="b"/>
              <a:pathLst>
                <a:path w="1387" h="726" extrusionOk="0">
                  <a:moveTo>
                    <a:pt x="347" y="0"/>
                  </a:moveTo>
                  <a:cubicBezTo>
                    <a:pt x="158" y="0"/>
                    <a:pt x="0" y="158"/>
                    <a:pt x="0" y="347"/>
                  </a:cubicBezTo>
                  <a:cubicBezTo>
                    <a:pt x="0" y="568"/>
                    <a:pt x="158" y="725"/>
                    <a:pt x="347" y="725"/>
                  </a:cubicBezTo>
                  <a:lnTo>
                    <a:pt x="1008" y="725"/>
                  </a:lnTo>
                  <a:cubicBezTo>
                    <a:pt x="1229" y="725"/>
                    <a:pt x="1386" y="568"/>
                    <a:pt x="1386" y="347"/>
                  </a:cubicBezTo>
                  <a:cubicBezTo>
                    <a:pt x="1386" y="158"/>
                    <a:pt x="1229"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4" name="Google Shape;7104;p74"/>
            <p:cNvSpPr/>
            <p:nvPr/>
          </p:nvSpPr>
          <p:spPr>
            <a:xfrm>
              <a:off x="-31353475"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1" y="725"/>
                  </a:lnTo>
                  <a:cubicBezTo>
                    <a:pt x="1260" y="725"/>
                    <a:pt x="1418" y="568"/>
                    <a:pt x="1418" y="347"/>
                  </a:cubicBezTo>
                  <a:cubicBezTo>
                    <a:pt x="1418" y="158"/>
                    <a:pt x="126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5" name="Google Shape;7105;p74"/>
            <p:cNvSpPr/>
            <p:nvPr/>
          </p:nvSpPr>
          <p:spPr>
            <a:xfrm>
              <a:off x="-31301500" y="2077350"/>
              <a:ext cx="35450" cy="18150"/>
            </a:xfrm>
            <a:custGeom>
              <a:avLst/>
              <a:gdLst/>
              <a:ahLst/>
              <a:cxnLst/>
              <a:rect l="l" t="t" r="r" b="b"/>
              <a:pathLst>
                <a:path w="1418" h="726" extrusionOk="0">
                  <a:moveTo>
                    <a:pt x="347" y="0"/>
                  </a:moveTo>
                  <a:cubicBezTo>
                    <a:pt x="158" y="0"/>
                    <a:pt x="0" y="158"/>
                    <a:pt x="0" y="347"/>
                  </a:cubicBezTo>
                  <a:cubicBezTo>
                    <a:pt x="0" y="568"/>
                    <a:pt x="158" y="725"/>
                    <a:pt x="347" y="725"/>
                  </a:cubicBezTo>
                  <a:lnTo>
                    <a:pt x="1072" y="725"/>
                  </a:lnTo>
                  <a:cubicBezTo>
                    <a:pt x="1261" y="725"/>
                    <a:pt x="1418" y="568"/>
                    <a:pt x="1418" y="347"/>
                  </a:cubicBezTo>
                  <a:cubicBezTo>
                    <a:pt x="1387" y="158"/>
                    <a:pt x="122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6" name="Google Shape;7106;p74"/>
            <p:cNvSpPr/>
            <p:nvPr/>
          </p:nvSpPr>
          <p:spPr>
            <a:xfrm>
              <a:off x="-31404675" y="2112000"/>
              <a:ext cx="34675" cy="17350"/>
            </a:xfrm>
            <a:custGeom>
              <a:avLst/>
              <a:gdLst/>
              <a:ahLst/>
              <a:cxnLst/>
              <a:rect l="l" t="t" r="r" b="b"/>
              <a:pathLst>
                <a:path w="1387" h="694" extrusionOk="0">
                  <a:moveTo>
                    <a:pt x="347" y="1"/>
                  </a:moveTo>
                  <a:cubicBezTo>
                    <a:pt x="158" y="1"/>
                    <a:pt x="0" y="158"/>
                    <a:pt x="0" y="347"/>
                  </a:cubicBezTo>
                  <a:cubicBezTo>
                    <a:pt x="0" y="536"/>
                    <a:pt x="158" y="694"/>
                    <a:pt x="347" y="694"/>
                  </a:cubicBezTo>
                  <a:lnTo>
                    <a:pt x="1008" y="694"/>
                  </a:lnTo>
                  <a:cubicBezTo>
                    <a:pt x="1229" y="694"/>
                    <a:pt x="1386" y="536"/>
                    <a:pt x="1386" y="347"/>
                  </a:cubicBezTo>
                  <a:cubicBezTo>
                    <a:pt x="1386" y="158"/>
                    <a:pt x="1229"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7" name="Google Shape;7107;p74"/>
            <p:cNvSpPr/>
            <p:nvPr/>
          </p:nvSpPr>
          <p:spPr>
            <a:xfrm>
              <a:off x="-31353475"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1" y="694"/>
                  </a:lnTo>
                  <a:cubicBezTo>
                    <a:pt x="1260" y="694"/>
                    <a:pt x="1418" y="536"/>
                    <a:pt x="1418" y="347"/>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8" name="Google Shape;7108;p74"/>
            <p:cNvSpPr/>
            <p:nvPr/>
          </p:nvSpPr>
          <p:spPr>
            <a:xfrm>
              <a:off x="-31301500" y="2112000"/>
              <a:ext cx="35450" cy="17350"/>
            </a:xfrm>
            <a:custGeom>
              <a:avLst/>
              <a:gdLst/>
              <a:ahLst/>
              <a:cxnLst/>
              <a:rect l="l" t="t" r="r" b="b"/>
              <a:pathLst>
                <a:path w="1418" h="694" extrusionOk="0">
                  <a:moveTo>
                    <a:pt x="347" y="1"/>
                  </a:moveTo>
                  <a:cubicBezTo>
                    <a:pt x="158" y="1"/>
                    <a:pt x="0" y="158"/>
                    <a:pt x="0" y="347"/>
                  </a:cubicBezTo>
                  <a:cubicBezTo>
                    <a:pt x="0" y="536"/>
                    <a:pt x="158" y="694"/>
                    <a:pt x="347" y="694"/>
                  </a:cubicBezTo>
                  <a:lnTo>
                    <a:pt x="1072" y="694"/>
                  </a:lnTo>
                  <a:cubicBezTo>
                    <a:pt x="1261" y="694"/>
                    <a:pt x="1418" y="536"/>
                    <a:pt x="1418" y="347"/>
                  </a:cubicBezTo>
                  <a:cubicBezTo>
                    <a:pt x="1387" y="158"/>
                    <a:pt x="122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09" name="Google Shape;7109;p74"/>
            <p:cNvSpPr/>
            <p:nvPr/>
          </p:nvSpPr>
          <p:spPr>
            <a:xfrm>
              <a:off x="-31404675" y="2145075"/>
              <a:ext cx="34675" cy="18150"/>
            </a:xfrm>
            <a:custGeom>
              <a:avLst/>
              <a:gdLst/>
              <a:ahLst/>
              <a:cxnLst/>
              <a:rect l="l" t="t" r="r" b="b"/>
              <a:pathLst>
                <a:path w="1387" h="726" extrusionOk="0">
                  <a:moveTo>
                    <a:pt x="347" y="1"/>
                  </a:moveTo>
                  <a:cubicBezTo>
                    <a:pt x="158" y="1"/>
                    <a:pt x="0" y="158"/>
                    <a:pt x="0" y="379"/>
                  </a:cubicBezTo>
                  <a:cubicBezTo>
                    <a:pt x="0" y="568"/>
                    <a:pt x="158" y="726"/>
                    <a:pt x="347" y="726"/>
                  </a:cubicBezTo>
                  <a:lnTo>
                    <a:pt x="1008" y="726"/>
                  </a:lnTo>
                  <a:cubicBezTo>
                    <a:pt x="1229" y="726"/>
                    <a:pt x="1386" y="568"/>
                    <a:pt x="1386" y="379"/>
                  </a:cubicBezTo>
                  <a:cubicBezTo>
                    <a:pt x="1386" y="158"/>
                    <a:pt x="1229"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0" name="Google Shape;7110;p74"/>
            <p:cNvSpPr/>
            <p:nvPr/>
          </p:nvSpPr>
          <p:spPr>
            <a:xfrm>
              <a:off x="-31353475"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1" y="726"/>
                  </a:lnTo>
                  <a:cubicBezTo>
                    <a:pt x="1260" y="726"/>
                    <a:pt x="1418" y="568"/>
                    <a:pt x="1418" y="379"/>
                  </a:cubicBezTo>
                  <a:cubicBezTo>
                    <a:pt x="1418" y="158"/>
                    <a:pt x="1260" y="1"/>
                    <a:pt x="10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1" name="Google Shape;7111;p74"/>
            <p:cNvSpPr/>
            <p:nvPr/>
          </p:nvSpPr>
          <p:spPr>
            <a:xfrm>
              <a:off x="-31301500" y="2145075"/>
              <a:ext cx="35450" cy="18150"/>
            </a:xfrm>
            <a:custGeom>
              <a:avLst/>
              <a:gdLst/>
              <a:ahLst/>
              <a:cxnLst/>
              <a:rect l="l" t="t" r="r" b="b"/>
              <a:pathLst>
                <a:path w="1418" h="726" extrusionOk="0">
                  <a:moveTo>
                    <a:pt x="347" y="1"/>
                  </a:moveTo>
                  <a:cubicBezTo>
                    <a:pt x="158" y="1"/>
                    <a:pt x="0" y="158"/>
                    <a:pt x="0" y="379"/>
                  </a:cubicBezTo>
                  <a:cubicBezTo>
                    <a:pt x="0" y="568"/>
                    <a:pt x="158" y="726"/>
                    <a:pt x="347" y="726"/>
                  </a:cubicBezTo>
                  <a:lnTo>
                    <a:pt x="1072" y="726"/>
                  </a:lnTo>
                  <a:cubicBezTo>
                    <a:pt x="1261" y="726"/>
                    <a:pt x="1418" y="568"/>
                    <a:pt x="1418" y="379"/>
                  </a:cubicBezTo>
                  <a:cubicBezTo>
                    <a:pt x="1387" y="158"/>
                    <a:pt x="122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12" name="Google Shape;7112;p74"/>
          <p:cNvGrpSpPr/>
          <p:nvPr/>
        </p:nvGrpSpPr>
        <p:grpSpPr>
          <a:xfrm>
            <a:off x="3518328" y="4511425"/>
            <a:ext cx="473997" cy="471449"/>
            <a:chOff x="-31523625" y="2298675"/>
            <a:chExt cx="293025" cy="291450"/>
          </a:xfrm>
        </p:grpSpPr>
        <p:sp>
          <p:nvSpPr>
            <p:cNvPr id="7113" name="Google Shape;7113;p74"/>
            <p:cNvSpPr/>
            <p:nvPr/>
          </p:nvSpPr>
          <p:spPr>
            <a:xfrm>
              <a:off x="-31523625" y="2298675"/>
              <a:ext cx="293025" cy="291450"/>
            </a:xfrm>
            <a:custGeom>
              <a:avLst/>
              <a:gdLst/>
              <a:ahLst/>
              <a:cxnLst/>
              <a:rect l="l" t="t" r="r" b="b"/>
              <a:pathLst>
                <a:path w="11721" h="11658" extrusionOk="0">
                  <a:moveTo>
                    <a:pt x="4443" y="630"/>
                  </a:moveTo>
                  <a:cubicBezTo>
                    <a:pt x="4632" y="630"/>
                    <a:pt x="4790" y="788"/>
                    <a:pt x="4790" y="977"/>
                  </a:cubicBezTo>
                  <a:cubicBezTo>
                    <a:pt x="4790" y="1198"/>
                    <a:pt x="4632" y="1355"/>
                    <a:pt x="4443" y="1355"/>
                  </a:cubicBezTo>
                  <a:cubicBezTo>
                    <a:pt x="4254" y="1355"/>
                    <a:pt x="4097" y="1198"/>
                    <a:pt x="4097" y="977"/>
                  </a:cubicBezTo>
                  <a:cubicBezTo>
                    <a:pt x="4097" y="788"/>
                    <a:pt x="4254" y="630"/>
                    <a:pt x="4443" y="630"/>
                  </a:cubicBezTo>
                  <a:close/>
                  <a:moveTo>
                    <a:pt x="7153" y="3434"/>
                  </a:moveTo>
                  <a:cubicBezTo>
                    <a:pt x="6523" y="3938"/>
                    <a:pt x="6176" y="4663"/>
                    <a:pt x="6176" y="5482"/>
                  </a:cubicBezTo>
                  <a:lnTo>
                    <a:pt x="6176" y="7530"/>
                  </a:lnTo>
                  <a:lnTo>
                    <a:pt x="663" y="7530"/>
                  </a:lnTo>
                  <a:lnTo>
                    <a:pt x="663" y="5482"/>
                  </a:lnTo>
                  <a:cubicBezTo>
                    <a:pt x="663" y="4348"/>
                    <a:pt x="1576" y="3434"/>
                    <a:pt x="2710" y="3434"/>
                  </a:cubicBezTo>
                  <a:lnTo>
                    <a:pt x="4790" y="3434"/>
                  </a:lnTo>
                  <a:lnTo>
                    <a:pt x="4790" y="4474"/>
                  </a:lnTo>
                  <a:cubicBezTo>
                    <a:pt x="4790" y="4663"/>
                    <a:pt x="4947" y="4821"/>
                    <a:pt x="5136" y="4821"/>
                  </a:cubicBezTo>
                  <a:cubicBezTo>
                    <a:pt x="5357" y="4821"/>
                    <a:pt x="5514" y="4663"/>
                    <a:pt x="5514" y="4474"/>
                  </a:cubicBezTo>
                  <a:lnTo>
                    <a:pt x="5514" y="3434"/>
                  </a:lnTo>
                  <a:close/>
                  <a:moveTo>
                    <a:pt x="6176" y="8255"/>
                  </a:moveTo>
                  <a:lnTo>
                    <a:pt x="6176" y="8916"/>
                  </a:lnTo>
                  <a:lnTo>
                    <a:pt x="663" y="8916"/>
                  </a:lnTo>
                  <a:lnTo>
                    <a:pt x="663" y="8255"/>
                  </a:lnTo>
                  <a:close/>
                  <a:moveTo>
                    <a:pt x="8917" y="3434"/>
                  </a:moveTo>
                  <a:cubicBezTo>
                    <a:pt x="10083" y="3434"/>
                    <a:pt x="10965" y="4348"/>
                    <a:pt x="10965" y="5482"/>
                  </a:cubicBezTo>
                  <a:lnTo>
                    <a:pt x="10965" y="8916"/>
                  </a:lnTo>
                  <a:lnTo>
                    <a:pt x="6869" y="8916"/>
                  </a:lnTo>
                  <a:lnTo>
                    <a:pt x="6869" y="5482"/>
                  </a:lnTo>
                  <a:cubicBezTo>
                    <a:pt x="6869" y="4380"/>
                    <a:pt x="7783" y="3434"/>
                    <a:pt x="8917" y="3434"/>
                  </a:cubicBezTo>
                  <a:close/>
                  <a:moveTo>
                    <a:pt x="4790" y="9609"/>
                  </a:moveTo>
                  <a:lnTo>
                    <a:pt x="4790" y="10996"/>
                  </a:lnTo>
                  <a:lnTo>
                    <a:pt x="4128" y="10996"/>
                  </a:lnTo>
                  <a:lnTo>
                    <a:pt x="4128" y="9609"/>
                  </a:lnTo>
                  <a:close/>
                  <a:moveTo>
                    <a:pt x="4443" y="0"/>
                  </a:moveTo>
                  <a:cubicBezTo>
                    <a:pt x="3876" y="0"/>
                    <a:pt x="3404" y="473"/>
                    <a:pt x="3404" y="1040"/>
                  </a:cubicBezTo>
                  <a:cubicBezTo>
                    <a:pt x="3404" y="1576"/>
                    <a:pt x="3876" y="2048"/>
                    <a:pt x="4443" y="2048"/>
                  </a:cubicBezTo>
                  <a:cubicBezTo>
                    <a:pt x="4569" y="2048"/>
                    <a:pt x="4664" y="2017"/>
                    <a:pt x="4790" y="2017"/>
                  </a:cubicBezTo>
                  <a:lnTo>
                    <a:pt x="4790" y="2773"/>
                  </a:lnTo>
                  <a:lnTo>
                    <a:pt x="2710" y="2773"/>
                  </a:lnTo>
                  <a:cubicBezTo>
                    <a:pt x="1198" y="2773"/>
                    <a:pt x="1" y="4001"/>
                    <a:pt x="1" y="5482"/>
                  </a:cubicBezTo>
                  <a:lnTo>
                    <a:pt x="1" y="9231"/>
                  </a:lnTo>
                  <a:cubicBezTo>
                    <a:pt x="1" y="9420"/>
                    <a:pt x="159" y="9578"/>
                    <a:pt x="348" y="9578"/>
                  </a:cubicBezTo>
                  <a:lnTo>
                    <a:pt x="3467" y="9578"/>
                  </a:lnTo>
                  <a:lnTo>
                    <a:pt x="3467" y="11311"/>
                  </a:lnTo>
                  <a:cubicBezTo>
                    <a:pt x="3467" y="11500"/>
                    <a:pt x="3624" y="11657"/>
                    <a:pt x="3813" y="11657"/>
                  </a:cubicBezTo>
                  <a:lnTo>
                    <a:pt x="5199" y="11657"/>
                  </a:lnTo>
                  <a:cubicBezTo>
                    <a:pt x="5388" y="11657"/>
                    <a:pt x="5546" y="11500"/>
                    <a:pt x="5546" y="11311"/>
                  </a:cubicBezTo>
                  <a:lnTo>
                    <a:pt x="5546" y="9578"/>
                  </a:lnTo>
                  <a:lnTo>
                    <a:pt x="11374" y="9578"/>
                  </a:lnTo>
                  <a:cubicBezTo>
                    <a:pt x="11563" y="9578"/>
                    <a:pt x="11721" y="9420"/>
                    <a:pt x="11721" y="9231"/>
                  </a:cubicBezTo>
                  <a:lnTo>
                    <a:pt x="11721" y="5482"/>
                  </a:lnTo>
                  <a:cubicBezTo>
                    <a:pt x="11658" y="4001"/>
                    <a:pt x="10429" y="2773"/>
                    <a:pt x="8917" y="2773"/>
                  </a:cubicBezTo>
                  <a:lnTo>
                    <a:pt x="5451" y="2773"/>
                  </a:lnTo>
                  <a:lnTo>
                    <a:pt x="5451" y="1040"/>
                  </a:lnTo>
                  <a:cubicBezTo>
                    <a:pt x="5451" y="473"/>
                    <a:pt x="4979"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4" name="Google Shape;7114;p74"/>
            <p:cNvSpPr/>
            <p:nvPr/>
          </p:nvSpPr>
          <p:spPr>
            <a:xfrm>
              <a:off x="-31334575" y="2452250"/>
              <a:ext cx="67750" cy="51225"/>
            </a:xfrm>
            <a:custGeom>
              <a:avLst/>
              <a:gdLst/>
              <a:ahLst/>
              <a:cxnLst/>
              <a:rect l="l" t="t" r="r" b="b"/>
              <a:pathLst>
                <a:path w="2710" h="2049" extrusionOk="0">
                  <a:moveTo>
                    <a:pt x="1670" y="694"/>
                  </a:moveTo>
                  <a:cubicBezTo>
                    <a:pt x="1890" y="694"/>
                    <a:pt x="2048" y="851"/>
                    <a:pt x="2048" y="1040"/>
                  </a:cubicBezTo>
                  <a:cubicBezTo>
                    <a:pt x="2048" y="1229"/>
                    <a:pt x="1890" y="1387"/>
                    <a:pt x="1670" y="1387"/>
                  </a:cubicBezTo>
                  <a:lnTo>
                    <a:pt x="1008" y="1387"/>
                  </a:lnTo>
                  <a:cubicBezTo>
                    <a:pt x="819" y="1387"/>
                    <a:pt x="662" y="1229"/>
                    <a:pt x="662" y="1040"/>
                  </a:cubicBezTo>
                  <a:cubicBezTo>
                    <a:pt x="662" y="851"/>
                    <a:pt x="819" y="694"/>
                    <a:pt x="1008" y="694"/>
                  </a:cubicBezTo>
                  <a:close/>
                  <a:moveTo>
                    <a:pt x="1008" y="1"/>
                  </a:moveTo>
                  <a:cubicBezTo>
                    <a:pt x="473" y="1"/>
                    <a:pt x="0" y="473"/>
                    <a:pt x="0" y="1040"/>
                  </a:cubicBezTo>
                  <a:cubicBezTo>
                    <a:pt x="0" y="1576"/>
                    <a:pt x="473" y="2049"/>
                    <a:pt x="1008" y="2049"/>
                  </a:cubicBezTo>
                  <a:lnTo>
                    <a:pt x="1670" y="2049"/>
                  </a:lnTo>
                  <a:cubicBezTo>
                    <a:pt x="2237" y="2049"/>
                    <a:pt x="2710" y="1576"/>
                    <a:pt x="2710" y="1040"/>
                  </a:cubicBezTo>
                  <a:cubicBezTo>
                    <a:pt x="2710" y="473"/>
                    <a:pt x="2269" y="1"/>
                    <a:pt x="16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5" name="Google Shape;7115;p74"/>
            <p:cNvSpPr/>
            <p:nvPr/>
          </p:nvSpPr>
          <p:spPr>
            <a:xfrm>
              <a:off x="-31334575" y="2419175"/>
              <a:ext cx="68525" cy="17350"/>
            </a:xfrm>
            <a:custGeom>
              <a:avLst/>
              <a:gdLst/>
              <a:ahLst/>
              <a:cxnLst/>
              <a:rect l="l" t="t" r="r" b="b"/>
              <a:pathLst>
                <a:path w="2741" h="694" extrusionOk="0">
                  <a:moveTo>
                    <a:pt x="347" y="1"/>
                  </a:moveTo>
                  <a:cubicBezTo>
                    <a:pt x="158" y="1"/>
                    <a:pt x="0" y="158"/>
                    <a:pt x="0" y="347"/>
                  </a:cubicBezTo>
                  <a:cubicBezTo>
                    <a:pt x="0" y="536"/>
                    <a:pt x="158" y="694"/>
                    <a:pt x="347" y="694"/>
                  </a:cubicBezTo>
                  <a:lnTo>
                    <a:pt x="2395" y="694"/>
                  </a:lnTo>
                  <a:cubicBezTo>
                    <a:pt x="2584" y="694"/>
                    <a:pt x="2741" y="536"/>
                    <a:pt x="2741" y="347"/>
                  </a:cubicBezTo>
                  <a:cubicBezTo>
                    <a:pt x="2710" y="158"/>
                    <a:pt x="2552"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116" name="Google Shape;7116;p74"/>
          <p:cNvSpPr/>
          <p:nvPr/>
        </p:nvSpPr>
        <p:spPr>
          <a:xfrm>
            <a:off x="3511979" y="5123652"/>
            <a:ext cx="479093" cy="475251"/>
          </a:xfrm>
          <a:custGeom>
            <a:avLst/>
            <a:gdLst/>
            <a:ahLst/>
            <a:cxnLst/>
            <a:rect l="l" t="t" r="r" b="b"/>
            <a:pathLst>
              <a:path w="11847" h="11752" extrusionOk="0">
                <a:moveTo>
                  <a:pt x="6039" y="2796"/>
                </a:moveTo>
                <a:cubicBezTo>
                  <a:pt x="6845" y="2796"/>
                  <a:pt x="7621" y="3116"/>
                  <a:pt x="8224" y="3718"/>
                </a:cubicBezTo>
                <a:cubicBezTo>
                  <a:pt x="8917" y="4411"/>
                  <a:pt x="9232" y="5356"/>
                  <a:pt x="9074" y="6396"/>
                </a:cubicBezTo>
                <a:cubicBezTo>
                  <a:pt x="8885" y="7688"/>
                  <a:pt x="7814" y="8759"/>
                  <a:pt x="6522" y="8948"/>
                </a:cubicBezTo>
                <a:cubicBezTo>
                  <a:pt x="6377" y="8962"/>
                  <a:pt x="6232" y="8970"/>
                  <a:pt x="6088" y="8970"/>
                </a:cubicBezTo>
                <a:cubicBezTo>
                  <a:pt x="5606" y="8970"/>
                  <a:pt x="5132" y="8883"/>
                  <a:pt x="4695" y="8664"/>
                </a:cubicBezTo>
                <a:lnTo>
                  <a:pt x="5231" y="8160"/>
                </a:lnTo>
                <a:cubicBezTo>
                  <a:pt x="5444" y="8249"/>
                  <a:pt x="5677" y="8288"/>
                  <a:pt x="5919" y="8288"/>
                </a:cubicBezTo>
                <a:cubicBezTo>
                  <a:pt x="6106" y="8288"/>
                  <a:pt x="6298" y="8265"/>
                  <a:pt x="6491" y="8223"/>
                </a:cubicBezTo>
                <a:cubicBezTo>
                  <a:pt x="6964" y="8160"/>
                  <a:pt x="7373" y="7908"/>
                  <a:pt x="7751" y="7562"/>
                </a:cubicBezTo>
                <a:cubicBezTo>
                  <a:pt x="8098" y="7215"/>
                  <a:pt x="8318" y="6774"/>
                  <a:pt x="8413" y="6301"/>
                </a:cubicBezTo>
                <a:cubicBezTo>
                  <a:pt x="8476" y="5797"/>
                  <a:pt x="8444" y="5293"/>
                  <a:pt x="8224" y="4821"/>
                </a:cubicBezTo>
                <a:cubicBezTo>
                  <a:pt x="8161" y="4695"/>
                  <a:pt x="8066" y="4663"/>
                  <a:pt x="7972" y="4600"/>
                </a:cubicBezTo>
                <a:cubicBezTo>
                  <a:pt x="7846" y="4600"/>
                  <a:pt x="7751" y="4600"/>
                  <a:pt x="7657" y="4695"/>
                </a:cubicBezTo>
                <a:lnTo>
                  <a:pt x="6806" y="5545"/>
                </a:lnTo>
                <a:cubicBezTo>
                  <a:pt x="6743" y="5608"/>
                  <a:pt x="6649" y="5640"/>
                  <a:pt x="6558" y="5640"/>
                </a:cubicBezTo>
                <a:cubicBezTo>
                  <a:pt x="6467" y="5640"/>
                  <a:pt x="6381" y="5608"/>
                  <a:pt x="6333" y="5545"/>
                </a:cubicBezTo>
                <a:cubicBezTo>
                  <a:pt x="6207" y="5419"/>
                  <a:pt x="6207" y="5199"/>
                  <a:pt x="6333" y="5073"/>
                </a:cubicBezTo>
                <a:lnTo>
                  <a:pt x="7184" y="4222"/>
                </a:lnTo>
                <a:cubicBezTo>
                  <a:pt x="7279" y="4128"/>
                  <a:pt x="7310" y="4033"/>
                  <a:pt x="7279" y="3907"/>
                </a:cubicBezTo>
                <a:cubicBezTo>
                  <a:pt x="7279" y="3781"/>
                  <a:pt x="7184" y="3718"/>
                  <a:pt x="7058" y="3655"/>
                </a:cubicBezTo>
                <a:cubicBezTo>
                  <a:pt x="6723" y="3499"/>
                  <a:pt x="6372" y="3437"/>
                  <a:pt x="6017" y="3437"/>
                </a:cubicBezTo>
                <a:cubicBezTo>
                  <a:pt x="5871" y="3437"/>
                  <a:pt x="5724" y="3448"/>
                  <a:pt x="5577" y="3466"/>
                </a:cubicBezTo>
                <a:cubicBezTo>
                  <a:pt x="5105" y="3561"/>
                  <a:pt x="4664" y="3781"/>
                  <a:pt x="4317" y="4128"/>
                </a:cubicBezTo>
                <a:cubicBezTo>
                  <a:pt x="3971" y="4506"/>
                  <a:pt x="3719" y="4915"/>
                  <a:pt x="3656" y="5388"/>
                </a:cubicBezTo>
                <a:cubicBezTo>
                  <a:pt x="3561" y="5829"/>
                  <a:pt x="3593" y="6270"/>
                  <a:pt x="3719" y="6648"/>
                </a:cubicBezTo>
                <a:lnTo>
                  <a:pt x="3214" y="7184"/>
                </a:lnTo>
                <a:cubicBezTo>
                  <a:pt x="2962" y="6648"/>
                  <a:pt x="2868" y="6018"/>
                  <a:pt x="2962" y="5388"/>
                </a:cubicBezTo>
                <a:cubicBezTo>
                  <a:pt x="3183" y="4096"/>
                  <a:pt x="4223" y="3025"/>
                  <a:pt x="5546" y="2836"/>
                </a:cubicBezTo>
                <a:cubicBezTo>
                  <a:pt x="5710" y="2809"/>
                  <a:pt x="5875" y="2796"/>
                  <a:pt x="6039" y="2796"/>
                </a:cubicBezTo>
                <a:close/>
                <a:moveTo>
                  <a:pt x="6428" y="757"/>
                </a:moveTo>
                <a:lnTo>
                  <a:pt x="6554" y="1261"/>
                </a:lnTo>
                <a:cubicBezTo>
                  <a:pt x="6585" y="1387"/>
                  <a:pt x="6680" y="1481"/>
                  <a:pt x="6838" y="1481"/>
                </a:cubicBezTo>
                <a:cubicBezTo>
                  <a:pt x="7468" y="1607"/>
                  <a:pt x="8003" y="1859"/>
                  <a:pt x="8539" y="2206"/>
                </a:cubicBezTo>
                <a:cubicBezTo>
                  <a:pt x="8586" y="2237"/>
                  <a:pt x="8641" y="2253"/>
                  <a:pt x="8700" y="2253"/>
                </a:cubicBezTo>
                <a:cubicBezTo>
                  <a:pt x="8759" y="2253"/>
                  <a:pt x="8822" y="2237"/>
                  <a:pt x="8885" y="2206"/>
                </a:cubicBezTo>
                <a:lnTo>
                  <a:pt x="9326" y="1922"/>
                </a:lnTo>
                <a:lnTo>
                  <a:pt x="9894" y="2521"/>
                </a:lnTo>
                <a:lnTo>
                  <a:pt x="9641" y="2962"/>
                </a:lnTo>
                <a:cubicBezTo>
                  <a:pt x="9547" y="3088"/>
                  <a:pt x="9547" y="3246"/>
                  <a:pt x="9641" y="3309"/>
                </a:cubicBezTo>
                <a:cubicBezTo>
                  <a:pt x="9988" y="3813"/>
                  <a:pt x="10209" y="4411"/>
                  <a:pt x="10335" y="5010"/>
                </a:cubicBezTo>
                <a:cubicBezTo>
                  <a:pt x="10366" y="5136"/>
                  <a:pt x="10461" y="5230"/>
                  <a:pt x="10587" y="5293"/>
                </a:cubicBezTo>
                <a:lnTo>
                  <a:pt x="11091" y="5388"/>
                </a:lnTo>
                <a:lnTo>
                  <a:pt x="11091" y="6301"/>
                </a:lnTo>
                <a:lnTo>
                  <a:pt x="11154" y="6301"/>
                </a:lnTo>
                <a:lnTo>
                  <a:pt x="10650" y="6428"/>
                </a:lnTo>
                <a:cubicBezTo>
                  <a:pt x="10524" y="6459"/>
                  <a:pt x="10429" y="6554"/>
                  <a:pt x="10429" y="6711"/>
                </a:cubicBezTo>
                <a:cubicBezTo>
                  <a:pt x="10303" y="7341"/>
                  <a:pt x="10051" y="7877"/>
                  <a:pt x="9704" y="8381"/>
                </a:cubicBezTo>
                <a:cubicBezTo>
                  <a:pt x="9641" y="8507"/>
                  <a:pt x="9641" y="8633"/>
                  <a:pt x="9704" y="8759"/>
                </a:cubicBezTo>
                <a:lnTo>
                  <a:pt x="9988" y="9168"/>
                </a:lnTo>
                <a:lnTo>
                  <a:pt x="9389" y="9767"/>
                </a:lnTo>
                <a:lnTo>
                  <a:pt x="8948" y="9483"/>
                </a:lnTo>
                <a:cubicBezTo>
                  <a:pt x="8901" y="9452"/>
                  <a:pt x="8838" y="9436"/>
                  <a:pt x="8775" y="9436"/>
                </a:cubicBezTo>
                <a:cubicBezTo>
                  <a:pt x="8712" y="9436"/>
                  <a:pt x="8649" y="9452"/>
                  <a:pt x="8602" y="9483"/>
                </a:cubicBezTo>
                <a:cubicBezTo>
                  <a:pt x="8098" y="9862"/>
                  <a:pt x="7499" y="10082"/>
                  <a:pt x="6901" y="10208"/>
                </a:cubicBezTo>
                <a:cubicBezTo>
                  <a:pt x="6806" y="10240"/>
                  <a:pt x="6680" y="10334"/>
                  <a:pt x="6649" y="10429"/>
                </a:cubicBezTo>
                <a:lnTo>
                  <a:pt x="6522" y="10964"/>
                </a:lnTo>
                <a:lnTo>
                  <a:pt x="5703" y="10964"/>
                </a:lnTo>
                <a:lnTo>
                  <a:pt x="5577" y="10429"/>
                </a:lnTo>
                <a:cubicBezTo>
                  <a:pt x="5546" y="10334"/>
                  <a:pt x="5451" y="10208"/>
                  <a:pt x="5294" y="10208"/>
                </a:cubicBezTo>
                <a:cubicBezTo>
                  <a:pt x="4758" y="10082"/>
                  <a:pt x="4223" y="9893"/>
                  <a:pt x="3750" y="9609"/>
                </a:cubicBezTo>
                <a:lnTo>
                  <a:pt x="4286" y="9105"/>
                </a:lnTo>
                <a:cubicBezTo>
                  <a:pt x="4821" y="9420"/>
                  <a:pt x="5451" y="9578"/>
                  <a:pt x="6113" y="9578"/>
                </a:cubicBezTo>
                <a:cubicBezTo>
                  <a:pt x="6333" y="9578"/>
                  <a:pt x="6522" y="9578"/>
                  <a:pt x="6712" y="9546"/>
                </a:cubicBezTo>
                <a:cubicBezTo>
                  <a:pt x="7499" y="9420"/>
                  <a:pt x="8224" y="9011"/>
                  <a:pt x="8759" y="8475"/>
                </a:cubicBezTo>
                <a:cubicBezTo>
                  <a:pt x="9326" y="7908"/>
                  <a:pt x="9704" y="7184"/>
                  <a:pt x="9831" y="6428"/>
                </a:cubicBezTo>
                <a:cubicBezTo>
                  <a:pt x="10020" y="5199"/>
                  <a:pt x="9641" y="4033"/>
                  <a:pt x="8759" y="3151"/>
                </a:cubicBezTo>
                <a:cubicBezTo>
                  <a:pt x="8046" y="2438"/>
                  <a:pt x="7089" y="2034"/>
                  <a:pt x="6074" y="2034"/>
                </a:cubicBezTo>
                <a:cubicBezTo>
                  <a:pt x="5878" y="2034"/>
                  <a:pt x="5681" y="2049"/>
                  <a:pt x="5483" y="2080"/>
                </a:cubicBezTo>
                <a:cubicBezTo>
                  <a:pt x="4695" y="2206"/>
                  <a:pt x="4002" y="2615"/>
                  <a:pt x="3435" y="3151"/>
                </a:cubicBezTo>
                <a:cubicBezTo>
                  <a:pt x="2899" y="3718"/>
                  <a:pt x="2490" y="4443"/>
                  <a:pt x="2395" y="5199"/>
                </a:cubicBezTo>
                <a:cubicBezTo>
                  <a:pt x="2269" y="6018"/>
                  <a:pt x="2427" y="6900"/>
                  <a:pt x="2805" y="7656"/>
                </a:cubicBezTo>
                <a:lnTo>
                  <a:pt x="2301" y="8160"/>
                </a:lnTo>
                <a:cubicBezTo>
                  <a:pt x="2017" y="7688"/>
                  <a:pt x="1828" y="7184"/>
                  <a:pt x="1702" y="6617"/>
                </a:cubicBezTo>
                <a:cubicBezTo>
                  <a:pt x="1671" y="6491"/>
                  <a:pt x="1608" y="6396"/>
                  <a:pt x="1482" y="6333"/>
                </a:cubicBezTo>
                <a:lnTo>
                  <a:pt x="978" y="6238"/>
                </a:lnTo>
                <a:lnTo>
                  <a:pt x="978" y="5388"/>
                </a:lnTo>
                <a:lnTo>
                  <a:pt x="1482" y="5293"/>
                </a:lnTo>
                <a:cubicBezTo>
                  <a:pt x="1608" y="5230"/>
                  <a:pt x="1702" y="5167"/>
                  <a:pt x="1702" y="5010"/>
                </a:cubicBezTo>
                <a:cubicBezTo>
                  <a:pt x="1828" y="4380"/>
                  <a:pt x="2080" y="3813"/>
                  <a:pt x="2427" y="3309"/>
                </a:cubicBezTo>
                <a:cubicBezTo>
                  <a:pt x="2490" y="3183"/>
                  <a:pt x="2490" y="3088"/>
                  <a:pt x="2427" y="2962"/>
                </a:cubicBezTo>
                <a:lnTo>
                  <a:pt x="2143" y="2521"/>
                </a:lnTo>
                <a:lnTo>
                  <a:pt x="2742" y="1922"/>
                </a:lnTo>
                <a:lnTo>
                  <a:pt x="3183" y="2206"/>
                </a:lnTo>
                <a:cubicBezTo>
                  <a:pt x="3230" y="2237"/>
                  <a:pt x="3293" y="2253"/>
                  <a:pt x="3356" y="2253"/>
                </a:cubicBezTo>
                <a:cubicBezTo>
                  <a:pt x="3419" y="2253"/>
                  <a:pt x="3482" y="2237"/>
                  <a:pt x="3530" y="2206"/>
                </a:cubicBezTo>
                <a:cubicBezTo>
                  <a:pt x="4034" y="1859"/>
                  <a:pt x="4632" y="1607"/>
                  <a:pt x="5231" y="1481"/>
                </a:cubicBezTo>
                <a:cubicBezTo>
                  <a:pt x="5325" y="1450"/>
                  <a:pt x="5451" y="1387"/>
                  <a:pt x="5483" y="1261"/>
                </a:cubicBezTo>
                <a:lnTo>
                  <a:pt x="5609" y="757"/>
                </a:lnTo>
                <a:close/>
                <a:moveTo>
                  <a:pt x="6239" y="4222"/>
                </a:moveTo>
                <a:lnTo>
                  <a:pt x="5766" y="4695"/>
                </a:lnTo>
                <a:cubicBezTo>
                  <a:pt x="5388" y="5073"/>
                  <a:pt x="5388" y="5766"/>
                  <a:pt x="5766" y="6144"/>
                </a:cubicBezTo>
                <a:cubicBezTo>
                  <a:pt x="5971" y="6349"/>
                  <a:pt x="6239" y="6451"/>
                  <a:pt x="6503" y="6451"/>
                </a:cubicBezTo>
                <a:cubicBezTo>
                  <a:pt x="6767" y="6451"/>
                  <a:pt x="7027" y="6349"/>
                  <a:pt x="7216" y="6144"/>
                </a:cubicBezTo>
                <a:lnTo>
                  <a:pt x="7688" y="5671"/>
                </a:lnTo>
                <a:cubicBezTo>
                  <a:pt x="7751" y="5860"/>
                  <a:pt x="7751" y="6081"/>
                  <a:pt x="7688" y="6238"/>
                </a:cubicBezTo>
                <a:cubicBezTo>
                  <a:pt x="7594" y="6900"/>
                  <a:pt x="7027" y="7436"/>
                  <a:pt x="6365" y="7562"/>
                </a:cubicBezTo>
                <a:cubicBezTo>
                  <a:pt x="6267" y="7588"/>
                  <a:pt x="6163" y="7600"/>
                  <a:pt x="6059" y="7600"/>
                </a:cubicBezTo>
                <a:cubicBezTo>
                  <a:pt x="5794" y="7600"/>
                  <a:pt x="5520" y="7526"/>
                  <a:pt x="5294" y="7436"/>
                </a:cubicBezTo>
                <a:cubicBezTo>
                  <a:pt x="5252" y="7415"/>
                  <a:pt x="5206" y="7404"/>
                  <a:pt x="5161" y="7404"/>
                </a:cubicBezTo>
                <a:cubicBezTo>
                  <a:pt x="5070" y="7404"/>
                  <a:pt x="4979" y="7446"/>
                  <a:pt x="4916" y="7530"/>
                </a:cubicBezTo>
                <a:lnTo>
                  <a:pt x="3908" y="8507"/>
                </a:lnTo>
                <a:lnTo>
                  <a:pt x="1450" y="10964"/>
                </a:lnTo>
                <a:cubicBezTo>
                  <a:pt x="1387" y="11011"/>
                  <a:pt x="1293" y="11035"/>
                  <a:pt x="1202" y="11035"/>
                </a:cubicBezTo>
                <a:cubicBezTo>
                  <a:pt x="1112" y="11035"/>
                  <a:pt x="1025" y="11011"/>
                  <a:pt x="978" y="10964"/>
                </a:cubicBezTo>
                <a:cubicBezTo>
                  <a:pt x="852" y="10838"/>
                  <a:pt x="852" y="10586"/>
                  <a:pt x="978" y="10492"/>
                </a:cubicBezTo>
                <a:lnTo>
                  <a:pt x="3403" y="8034"/>
                </a:lnTo>
                <a:lnTo>
                  <a:pt x="4380" y="7058"/>
                </a:lnTo>
                <a:cubicBezTo>
                  <a:pt x="4506" y="6932"/>
                  <a:pt x="4506" y="6774"/>
                  <a:pt x="4475" y="6648"/>
                </a:cubicBezTo>
                <a:cubicBezTo>
                  <a:pt x="4317" y="6333"/>
                  <a:pt x="4286" y="5955"/>
                  <a:pt x="4349" y="5608"/>
                </a:cubicBezTo>
                <a:cubicBezTo>
                  <a:pt x="4475" y="4915"/>
                  <a:pt x="5010" y="4380"/>
                  <a:pt x="5703" y="4254"/>
                </a:cubicBezTo>
                <a:cubicBezTo>
                  <a:pt x="5798" y="4254"/>
                  <a:pt x="5892" y="4222"/>
                  <a:pt x="6018" y="4222"/>
                </a:cubicBezTo>
                <a:close/>
                <a:moveTo>
                  <a:pt x="5262" y="1"/>
                </a:moveTo>
                <a:cubicBezTo>
                  <a:pt x="5105" y="1"/>
                  <a:pt x="4979" y="127"/>
                  <a:pt x="4947" y="284"/>
                </a:cubicBezTo>
                <a:lnTo>
                  <a:pt x="4790" y="883"/>
                </a:lnTo>
                <a:cubicBezTo>
                  <a:pt x="4223" y="977"/>
                  <a:pt x="3719" y="1229"/>
                  <a:pt x="3214" y="1513"/>
                </a:cubicBezTo>
                <a:lnTo>
                  <a:pt x="2710" y="1198"/>
                </a:lnTo>
                <a:cubicBezTo>
                  <a:pt x="2652" y="1154"/>
                  <a:pt x="2580" y="1130"/>
                  <a:pt x="2507" y="1130"/>
                </a:cubicBezTo>
                <a:cubicBezTo>
                  <a:pt x="2422" y="1130"/>
                  <a:pt x="2337" y="1162"/>
                  <a:pt x="2269" y="1229"/>
                </a:cubicBezTo>
                <a:lnTo>
                  <a:pt x="1293" y="2206"/>
                </a:lnTo>
                <a:cubicBezTo>
                  <a:pt x="1167" y="2332"/>
                  <a:pt x="1167" y="2489"/>
                  <a:pt x="1230" y="2647"/>
                </a:cubicBezTo>
                <a:lnTo>
                  <a:pt x="1545" y="3151"/>
                </a:lnTo>
                <a:cubicBezTo>
                  <a:pt x="1230" y="3624"/>
                  <a:pt x="1041" y="4128"/>
                  <a:pt x="915" y="4726"/>
                </a:cubicBezTo>
                <a:lnTo>
                  <a:pt x="348" y="4884"/>
                </a:lnTo>
                <a:cubicBezTo>
                  <a:pt x="190" y="4915"/>
                  <a:pt x="64" y="5041"/>
                  <a:pt x="64" y="5199"/>
                </a:cubicBezTo>
                <a:lnTo>
                  <a:pt x="64" y="6585"/>
                </a:lnTo>
                <a:cubicBezTo>
                  <a:pt x="64" y="6743"/>
                  <a:pt x="190" y="6869"/>
                  <a:pt x="348" y="6900"/>
                </a:cubicBezTo>
                <a:lnTo>
                  <a:pt x="915" y="7058"/>
                </a:lnTo>
                <a:cubicBezTo>
                  <a:pt x="1041" y="7656"/>
                  <a:pt x="1324" y="8223"/>
                  <a:pt x="1639" y="8696"/>
                </a:cubicBezTo>
                <a:lnTo>
                  <a:pt x="379" y="9956"/>
                </a:lnTo>
                <a:cubicBezTo>
                  <a:pt x="1" y="10366"/>
                  <a:pt x="1" y="11027"/>
                  <a:pt x="379" y="11437"/>
                </a:cubicBezTo>
                <a:cubicBezTo>
                  <a:pt x="584" y="11626"/>
                  <a:pt x="852" y="11720"/>
                  <a:pt x="1115" y="11720"/>
                </a:cubicBezTo>
                <a:cubicBezTo>
                  <a:pt x="1379" y="11720"/>
                  <a:pt x="1639" y="11626"/>
                  <a:pt x="1828" y="11437"/>
                </a:cubicBezTo>
                <a:lnTo>
                  <a:pt x="3088" y="10177"/>
                </a:lnTo>
                <a:cubicBezTo>
                  <a:pt x="3624" y="10523"/>
                  <a:pt x="4160" y="10744"/>
                  <a:pt x="4758" y="10870"/>
                </a:cubicBezTo>
                <a:lnTo>
                  <a:pt x="4916" y="11468"/>
                </a:lnTo>
                <a:cubicBezTo>
                  <a:pt x="4947" y="11626"/>
                  <a:pt x="5073" y="11752"/>
                  <a:pt x="5231" y="11752"/>
                </a:cubicBezTo>
                <a:lnTo>
                  <a:pt x="6585" y="11752"/>
                </a:lnTo>
                <a:cubicBezTo>
                  <a:pt x="6775" y="11752"/>
                  <a:pt x="6869" y="11626"/>
                  <a:pt x="6932" y="11468"/>
                </a:cubicBezTo>
                <a:lnTo>
                  <a:pt x="7090" y="10870"/>
                </a:lnTo>
                <a:cubicBezTo>
                  <a:pt x="7625" y="10744"/>
                  <a:pt x="8129" y="10523"/>
                  <a:pt x="8665" y="10240"/>
                </a:cubicBezTo>
                <a:lnTo>
                  <a:pt x="9169" y="10555"/>
                </a:lnTo>
                <a:cubicBezTo>
                  <a:pt x="9227" y="10599"/>
                  <a:pt x="9299" y="10622"/>
                  <a:pt x="9372" y="10622"/>
                </a:cubicBezTo>
                <a:cubicBezTo>
                  <a:pt x="9457" y="10622"/>
                  <a:pt x="9542" y="10591"/>
                  <a:pt x="9610" y="10523"/>
                </a:cubicBezTo>
                <a:lnTo>
                  <a:pt x="10587" y="9546"/>
                </a:lnTo>
                <a:cubicBezTo>
                  <a:pt x="10713" y="9420"/>
                  <a:pt x="10713" y="9263"/>
                  <a:pt x="10618" y="9105"/>
                </a:cubicBezTo>
                <a:lnTo>
                  <a:pt x="10303" y="8601"/>
                </a:lnTo>
                <a:cubicBezTo>
                  <a:pt x="10618" y="8129"/>
                  <a:pt x="10807" y="7593"/>
                  <a:pt x="10933" y="7026"/>
                </a:cubicBezTo>
                <a:lnTo>
                  <a:pt x="11532" y="6869"/>
                </a:lnTo>
                <a:cubicBezTo>
                  <a:pt x="11689" y="6806"/>
                  <a:pt x="11784" y="6711"/>
                  <a:pt x="11784" y="6554"/>
                </a:cubicBezTo>
                <a:lnTo>
                  <a:pt x="11784" y="5167"/>
                </a:lnTo>
                <a:cubicBezTo>
                  <a:pt x="11847" y="5041"/>
                  <a:pt x="11721" y="4915"/>
                  <a:pt x="11563" y="4884"/>
                </a:cubicBezTo>
                <a:lnTo>
                  <a:pt x="10965" y="4726"/>
                </a:lnTo>
                <a:cubicBezTo>
                  <a:pt x="10839" y="4191"/>
                  <a:pt x="10618" y="3655"/>
                  <a:pt x="10335" y="3151"/>
                </a:cubicBezTo>
                <a:lnTo>
                  <a:pt x="10650" y="2647"/>
                </a:lnTo>
                <a:cubicBezTo>
                  <a:pt x="10744" y="2521"/>
                  <a:pt x="10744" y="2332"/>
                  <a:pt x="10618" y="2206"/>
                </a:cubicBezTo>
                <a:lnTo>
                  <a:pt x="9641" y="1229"/>
                </a:lnTo>
                <a:cubicBezTo>
                  <a:pt x="9574" y="1162"/>
                  <a:pt x="9497" y="1130"/>
                  <a:pt x="9417" y="1130"/>
                </a:cubicBezTo>
                <a:cubicBezTo>
                  <a:pt x="9347" y="1130"/>
                  <a:pt x="9274" y="1154"/>
                  <a:pt x="9200" y="1198"/>
                </a:cubicBezTo>
                <a:lnTo>
                  <a:pt x="8696" y="1513"/>
                </a:lnTo>
                <a:cubicBezTo>
                  <a:pt x="8224" y="1198"/>
                  <a:pt x="7720" y="977"/>
                  <a:pt x="7121" y="883"/>
                </a:cubicBezTo>
                <a:lnTo>
                  <a:pt x="6964" y="284"/>
                </a:lnTo>
                <a:cubicBezTo>
                  <a:pt x="6932" y="127"/>
                  <a:pt x="6806" y="1"/>
                  <a:pt x="66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17" name="Google Shape;7117;p74"/>
          <p:cNvSpPr/>
          <p:nvPr/>
        </p:nvSpPr>
        <p:spPr>
          <a:xfrm>
            <a:off x="5300711" y="5125553"/>
            <a:ext cx="472703" cy="471449"/>
          </a:xfrm>
          <a:custGeom>
            <a:avLst/>
            <a:gdLst/>
            <a:ahLst/>
            <a:cxnLst/>
            <a:rect l="l" t="t" r="r" b="b"/>
            <a:pathLst>
              <a:path w="11689" h="11658" extrusionOk="0">
                <a:moveTo>
                  <a:pt x="8632" y="694"/>
                </a:moveTo>
                <a:cubicBezTo>
                  <a:pt x="8821" y="694"/>
                  <a:pt x="8979" y="851"/>
                  <a:pt x="8979" y="1040"/>
                </a:cubicBezTo>
                <a:lnTo>
                  <a:pt x="8979" y="1387"/>
                </a:lnTo>
                <a:lnTo>
                  <a:pt x="2836" y="1387"/>
                </a:lnTo>
                <a:lnTo>
                  <a:pt x="2836" y="1040"/>
                </a:lnTo>
                <a:cubicBezTo>
                  <a:pt x="2804" y="851"/>
                  <a:pt x="2962" y="694"/>
                  <a:pt x="3151" y="694"/>
                </a:cubicBezTo>
                <a:close/>
                <a:moveTo>
                  <a:pt x="4505" y="3435"/>
                </a:moveTo>
                <a:cubicBezTo>
                  <a:pt x="4694" y="3435"/>
                  <a:pt x="4852" y="3592"/>
                  <a:pt x="4852" y="3781"/>
                </a:cubicBezTo>
                <a:lnTo>
                  <a:pt x="4852" y="5829"/>
                </a:lnTo>
                <a:cubicBezTo>
                  <a:pt x="4852" y="6049"/>
                  <a:pt x="4694" y="6207"/>
                  <a:pt x="4505" y="6207"/>
                </a:cubicBezTo>
                <a:lnTo>
                  <a:pt x="3812" y="6207"/>
                </a:lnTo>
                <a:cubicBezTo>
                  <a:pt x="3623" y="6207"/>
                  <a:pt x="3466" y="6365"/>
                  <a:pt x="3466" y="6554"/>
                </a:cubicBezTo>
                <a:lnTo>
                  <a:pt x="3466" y="7089"/>
                </a:lnTo>
                <a:lnTo>
                  <a:pt x="2678" y="6302"/>
                </a:lnTo>
                <a:cubicBezTo>
                  <a:pt x="2615" y="6239"/>
                  <a:pt x="2520" y="6207"/>
                  <a:pt x="2457" y="6207"/>
                </a:cubicBezTo>
                <a:lnTo>
                  <a:pt x="1071" y="6207"/>
                </a:lnTo>
                <a:cubicBezTo>
                  <a:pt x="882" y="6144"/>
                  <a:pt x="725" y="5986"/>
                  <a:pt x="725" y="5829"/>
                </a:cubicBezTo>
                <a:lnTo>
                  <a:pt x="725" y="3781"/>
                </a:lnTo>
                <a:cubicBezTo>
                  <a:pt x="725" y="3592"/>
                  <a:pt x="882" y="3435"/>
                  <a:pt x="1071" y="3435"/>
                </a:cubicBezTo>
                <a:close/>
                <a:moveTo>
                  <a:pt x="10680" y="3435"/>
                </a:moveTo>
                <a:cubicBezTo>
                  <a:pt x="10869" y="3435"/>
                  <a:pt x="11027" y="3592"/>
                  <a:pt x="11027" y="3781"/>
                </a:cubicBezTo>
                <a:lnTo>
                  <a:pt x="11027" y="5829"/>
                </a:lnTo>
                <a:cubicBezTo>
                  <a:pt x="11027" y="6049"/>
                  <a:pt x="10869" y="6207"/>
                  <a:pt x="10680" y="6207"/>
                </a:cubicBezTo>
                <a:lnTo>
                  <a:pt x="9294" y="6207"/>
                </a:lnTo>
                <a:cubicBezTo>
                  <a:pt x="9231" y="6207"/>
                  <a:pt x="9105" y="6239"/>
                  <a:pt x="9074" y="6302"/>
                </a:cubicBezTo>
                <a:lnTo>
                  <a:pt x="8286" y="7089"/>
                </a:lnTo>
                <a:lnTo>
                  <a:pt x="8286" y="6554"/>
                </a:lnTo>
                <a:cubicBezTo>
                  <a:pt x="8286" y="6365"/>
                  <a:pt x="8128" y="6207"/>
                  <a:pt x="7908" y="6207"/>
                </a:cubicBezTo>
                <a:lnTo>
                  <a:pt x="7246" y="6207"/>
                </a:lnTo>
                <a:cubicBezTo>
                  <a:pt x="7057" y="6207"/>
                  <a:pt x="6900" y="6049"/>
                  <a:pt x="6900" y="5829"/>
                </a:cubicBezTo>
                <a:lnTo>
                  <a:pt x="6900" y="3781"/>
                </a:lnTo>
                <a:cubicBezTo>
                  <a:pt x="6900" y="3592"/>
                  <a:pt x="7057" y="3435"/>
                  <a:pt x="7246" y="3435"/>
                </a:cubicBezTo>
                <a:close/>
                <a:moveTo>
                  <a:pt x="8948" y="2048"/>
                </a:moveTo>
                <a:lnTo>
                  <a:pt x="8948" y="2773"/>
                </a:lnTo>
                <a:lnTo>
                  <a:pt x="7246" y="2773"/>
                </a:lnTo>
                <a:cubicBezTo>
                  <a:pt x="6711" y="2773"/>
                  <a:pt x="6238" y="3246"/>
                  <a:pt x="6238" y="3781"/>
                </a:cubicBezTo>
                <a:lnTo>
                  <a:pt x="6238" y="5829"/>
                </a:lnTo>
                <a:cubicBezTo>
                  <a:pt x="6238" y="6396"/>
                  <a:pt x="6711" y="6869"/>
                  <a:pt x="7246" y="6869"/>
                </a:cubicBezTo>
                <a:lnTo>
                  <a:pt x="7593" y="6869"/>
                </a:lnTo>
                <a:lnTo>
                  <a:pt x="7593" y="7877"/>
                </a:lnTo>
                <a:cubicBezTo>
                  <a:pt x="7593" y="8034"/>
                  <a:pt x="7687" y="8160"/>
                  <a:pt x="7813" y="8192"/>
                </a:cubicBezTo>
                <a:cubicBezTo>
                  <a:pt x="7852" y="8218"/>
                  <a:pt x="7902" y="8233"/>
                  <a:pt x="7954" y="8233"/>
                </a:cubicBezTo>
                <a:cubicBezTo>
                  <a:pt x="8028" y="8233"/>
                  <a:pt x="8105" y="8203"/>
                  <a:pt x="8160" y="8129"/>
                </a:cubicBezTo>
                <a:lnTo>
                  <a:pt x="8948" y="7341"/>
                </a:lnTo>
                <a:lnTo>
                  <a:pt x="8948" y="8916"/>
                </a:lnTo>
                <a:lnTo>
                  <a:pt x="2804" y="8916"/>
                </a:lnTo>
                <a:lnTo>
                  <a:pt x="2804" y="7341"/>
                </a:lnTo>
                <a:lnTo>
                  <a:pt x="3592" y="8129"/>
                </a:lnTo>
                <a:cubicBezTo>
                  <a:pt x="3636" y="8173"/>
                  <a:pt x="3728" y="8218"/>
                  <a:pt x="3823" y="8218"/>
                </a:cubicBezTo>
                <a:cubicBezTo>
                  <a:pt x="3862" y="8218"/>
                  <a:pt x="3901" y="8210"/>
                  <a:pt x="3938" y="8192"/>
                </a:cubicBezTo>
                <a:cubicBezTo>
                  <a:pt x="4064" y="8160"/>
                  <a:pt x="4127" y="8003"/>
                  <a:pt x="4127" y="7877"/>
                </a:cubicBezTo>
                <a:lnTo>
                  <a:pt x="4127" y="6869"/>
                </a:lnTo>
                <a:lnTo>
                  <a:pt x="4505" y="6869"/>
                </a:lnTo>
                <a:cubicBezTo>
                  <a:pt x="5041" y="6869"/>
                  <a:pt x="5513" y="6396"/>
                  <a:pt x="5513" y="5829"/>
                </a:cubicBezTo>
                <a:lnTo>
                  <a:pt x="5513" y="3781"/>
                </a:lnTo>
                <a:cubicBezTo>
                  <a:pt x="5513" y="3246"/>
                  <a:pt x="5041" y="2773"/>
                  <a:pt x="4505" y="2773"/>
                </a:cubicBezTo>
                <a:lnTo>
                  <a:pt x="2804" y="2773"/>
                </a:lnTo>
                <a:lnTo>
                  <a:pt x="2804" y="2048"/>
                </a:lnTo>
                <a:close/>
                <a:moveTo>
                  <a:pt x="8948" y="9547"/>
                </a:moveTo>
                <a:lnTo>
                  <a:pt x="8948" y="10618"/>
                </a:lnTo>
                <a:cubicBezTo>
                  <a:pt x="8948" y="10838"/>
                  <a:pt x="8790" y="10964"/>
                  <a:pt x="8632" y="10964"/>
                </a:cubicBezTo>
                <a:lnTo>
                  <a:pt x="3151" y="10964"/>
                </a:lnTo>
                <a:cubicBezTo>
                  <a:pt x="2962" y="10964"/>
                  <a:pt x="2804" y="10807"/>
                  <a:pt x="2804" y="10618"/>
                </a:cubicBezTo>
                <a:lnTo>
                  <a:pt x="2804" y="9547"/>
                </a:lnTo>
                <a:close/>
                <a:moveTo>
                  <a:pt x="3119" y="1"/>
                </a:moveTo>
                <a:cubicBezTo>
                  <a:pt x="2552" y="1"/>
                  <a:pt x="2079" y="473"/>
                  <a:pt x="2079" y="1040"/>
                </a:cubicBezTo>
                <a:lnTo>
                  <a:pt x="2079" y="2773"/>
                </a:lnTo>
                <a:lnTo>
                  <a:pt x="1040" y="2773"/>
                </a:lnTo>
                <a:cubicBezTo>
                  <a:pt x="473" y="2773"/>
                  <a:pt x="0" y="3246"/>
                  <a:pt x="0" y="3781"/>
                </a:cubicBezTo>
                <a:lnTo>
                  <a:pt x="0" y="5829"/>
                </a:lnTo>
                <a:cubicBezTo>
                  <a:pt x="0" y="6396"/>
                  <a:pt x="473" y="6869"/>
                  <a:pt x="1040" y="6869"/>
                </a:cubicBezTo>
                <a:lnTo>
                  <a:pt x="2079" y="6869"/>
                </a:lnTo>
                <a:lnTo>
                  <a:pt x="2079" y="10649"/>
                </a:lnTo>
                <a:cubicBezTo>
                  <a:pt x="2079" y="11185"/>
                  <a:pt x="2552" y="11657"/>
                  <a:pt x="3119" y="11657"/>
                </a:cubicBezTo>
                <a:lnTo>
                  <a:pt x="8601" y="11657"/>
                </a:lnTo>
                <a:cubicBezTo>
                  <a:pt x="9137" y="11657"/>
                  <a:pt x="9609" y="11185"/>
                  <a:pt x="9609" y="10649"/>
                </a:cubicBezTo>
                <a:lnTo>
                  <a:pt x="9609" y="6869"/>
                </a:lnTo>
                <a:lnTo>
                  <a:pt x="10680" y="6869"/>
                </a:lnTo>
                <a:cubicBezTo>
                  <a:pt x="11216" y="6869"/>
                  <a:pt x="11688" y="6396"/>
                  <a:pt x="11688" y="5829"/>
                </a:cubicBezTo>
                <a:lnTo>
                  <a:pt x="11688" y="3781"/>
                </a:lnTo>
                <a:cubicBezTo>
                  <a:pt x="11688" y="3214"/>
                  <a:pt x="11279" y="2773"/>
                  <a:pt x="10680" y="2773"/>
                </a:cubicBezTo>
                <a:lnTo>
                  <a:pt x="9609" y="2773"/>
                </a:lnTo>
                <a:lnTo>
                  <a:pt x="9609" y="1040"/>
                </a:lnTo>
                <a:cubicBezTo>
                  <a:pt x="9609" y="473"/>
                  <a:pt x="9137"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18" name="Google Shape;7118;p74"/>
          <p:cNvGrpSpPr/>
          <p:nvPr/>
        </p:nvGrpSpPr>
        <p:grpSpPr>
          <a:xfrm>
            <a:off x="2941245" y="2047390"/>
            <a:ext cx="442131" cy="471409"/>
            <a:chOff x="-34767825" y="1914325"/>
            <a:chExt cx="273325" cy="291425"/>
          </a:xfrm>
        </p:grpSpPr>
        <p:sp>
          <p:nvSpPr>
            <p:cNvPr id="7119" name="Google Shape;7119;p74"/>
            <p:cNvSpPr/>
            <p:nvPr/>
          </p:nvSpPr>
          <p:spPr>
            <a:xfrm>
              <a:off x="-34767825" y="1914325"/>
              <a:ext cx="273325" cy="291425"/>
            </a:xfrm>
            <a:custGeom>
              <a:avLst/>
              <a:gdLst/>
              <a:ahLst/>
              <a:cxnLst/>
              <a:rect l="l" t="t" r="r" b="b"/>
              <a:pathLst>
                <a:path w="10933" h="11657" extrusionOk="0">
                  <a:moveTo>
                    <a:pt x="5954" y="662"/>
                  </a:moveTo>
                  <a:cubicBezTo>
                    <a:pt x="5702" y="851"/>
                    <a:pt x="5482" y="1103"/>
                    <a:pt x="5324" y="1355"/>
                  </a:cubicBezTo>
                  <a:lnTo>
                    <a:pt x="693" y="1355"/>
                  </a:lnTo>
                  <a:lnTo>
                    <a:pt x="693" y="1008"/>
                  </a:lnTo>
                  <a:cubicBezTo>
                    <a:pt x="662" y="819"/>
                    <a:pt x="819" y="662"/>
                    <a:pt x="1008" y="662"/>
                  </a:cubicBezTo>
                  <a:close/>
                  <a:moveTo>
                    <a:pt x="7902" y="692"/>
                  </a:moveTo>
                  <a:cubicBezTo>
                    <a:pt x="9199" y="692"/>
                    <a:pt x="10239" y="1752"/>
                    <a:pt x="10239" y="3056"/>
                  </a:cubicBezTo>
                  <a:cubicBezTo>
                    <a:pt x="10239" y="4411"/>
                    <a:pt x="9168" y="5450"/>
                    <a:pt x="7845" y="5450"/>
                  </a:cubicBezTo>
                  <a:cubicBezTo>
                    <a:pt x="7404" y="5450"/>
                    <a:pt x="6963" y="5356"/>
                    <a:pt x="6585" y="5104"/>
                  </a:cubicBezTo>
                  <a:cubicBezTo>
                    <a:pt x="6519" y="5082"/>
                    <a:pt x="6454" y="5045"/>
                    <a:pt x="6389" y="5045"/>
                  </a:cubicBezTo>
                  <a:cubicBezTo>
                    <a:pt x="6360" y="5045"/>
                    <a:pt x="6330" y="5053"/>
                    <a:pt x="6301" y="5072"/>
                  </a:cubicBezTo>
                  <a:lnTo>
                    <a:pt x="5671" y="5261"/>
                  </a:lnTo>
                  <a:lnTo>
                    <a:pt x="5860" y="4631"/>
                  </a:lnTo>
                  <a:cubicBezTo>
                    <a:pt x="5923" y="4568"/>
                    <a:pt x="5860" y="4442"/>
                    <a:pt x="5828" y="4348"/>
                  </a:cubicBezTo>
                  <a:cubicBezTo>
                    <a:pt x="5608" y="3970"/>
                    <a:pt x="5482" y="3529"/>
                    <a:pt x="5482" y="3087"/>
                  </a:cubicBezTo>
                  <a:cubicBezTo>
                    <a:pt x="5482" y="2678"/>
                    <a:pt x="5608" y="2268"/>
                    <a:pt x="5765" y="1953"/>
                  </a:cubicBezTo>
                  <a:cubicBezTo>
                    <a:pt x="5797" y="1922"/>
                    <a:pt x="5797" y="1922"/>
                    <a:pt x="5797" y="1859"/>
                  </a:cubicBezTo>
                  <a:cubicBezTo>
                    <a:pt x="6207" y="1166"/>
                    <a:pt x="6963" y="693"/>
                    <a:pt x="7845" y="693"/>
                  </a:cubicBezTo>
                  <a:cubicBezTo>
                    <a:pt x="7864" y="693"/>
                    <a:pt x="7883" y="692"/>
                    <a:pt x="7902" y="692"/>
                  </a:cubicBezTo>
                  <a:close/>
                  <a:moveTo>
                    <a:pt x="3749" y="5450"/>
                  </a:moveTo>
                  <a:cubicBezTo>
                    <a:pt x="4127" y="5450"/>
                    <a:pt x="4411" y="5765"/>
                    <a:pt x="4411" y="6143"/>
                  </a:cubicBezTo>
                  <a:cubicBezTo>
                    <a:pt x="4411" y="6521"/>
                    <a:pt x="4096" y="6805"/>
                    <a:pt x="3749" y="6805"/>
                  </a:cubicBezTo>
                  <a:cubicBezTo>
                    <a:pt x="3732" y="6806"/>
                    <a:pt x="3714" y="6807"/>
                    <a:pt x="3697" y="6807"/>
                  </a:cubicBezTo>
                  <a:cubicBezTo>
                    <a:pt x="3343" y="6807"/>
                    <a:pt x="3056" y="6504"/>
                    <a:pt x="3056" y="6143"/>
                  </a:cubicBezTo>
                  <a:cubicBezTo>
                    <a:pt x="3056" y="5734"/>
                    <a:pt x="3371" y="5450"/>
                    <a:pt x="3749" y="5450"/>
                  </a:cubicBezTo>
                  <a:close/>
                  <a:moveTo>
                    <a:pt x="4946" y="1985"/>
                  </a:moveTo>
                  <a:cubicBezTo>
                    <a:pt x="4852" y="2300"/>
                    <a:pt x="4789" y="2646"/>
                    <a:pt x="4789" y="3024"/>
                  </a:cubicBezTo>
                  <a:cubicBezTo>
                    <a:pt x="4757" y="3560"/>
                    <a:pt x="4915" y="4096"/>
                    <a:pt x="5167" y="4568"/>
                  </a:cubicBezTo>
                  <a:lnTo>
                    <a:pt x="4883" y="5387"/>
                  </a:lnTo>
                  <a:cubicBezTo>
                    <a:pt x="4631" y="5009"/>
                    <a:pt x="4222" y="4757"/>
                    <a:pt x="3749" y="4757"/>
                  </a:cubicBezTo>
                  <a:cubicBezTo>
                    <a:pt x="2993" y="4757"/>
                    <a:pt x="2363" y="5387"/>
                    <a:pt x="2363" y="6143"/>
                  </a:cubicBezTo>
                  <a:cubicBezTo>
                    <a:pt x="2363" y="6490"/>
                    <a:pt x="2489" y="6805"/>
                    <a:pt x="2709" y="7026"/>
                  </a:cubicBezTo>
                  <a:cubicBezTo>
                    <a:pt x="2016" y="7404"/>
                    <a:pt x="1481" y="8065"/>
                    <a:pt x="1386" y="8853"/>
                  </a:cubicBezTo>
                  <a:lnTo>
                    <a:pt x="662" y="8853"/>
                  </a:lnTo>
                  <a:lnTo>
                    <a:pt x="662" y="1985"/>
                  </a:lnTo>
                  <a:close/>
                  <a:moveTo>
                    <a:pt x="3749" y="7498"/>
                  </a:moveTo>
                  <a:cubicBezTo>
                    <a:pt x="4568" y="7498"/>
                    <a:pt x="5261" y="8097"/>
                    <a:pt x="5419" y="8884"/>
                  </a:cubicBezTo>
                  <a:lnTo>
                    <a:pt x="2079" y="8884"/>
                  </a:lnTo>
                  <a:cubicBezTo>
                    <a:pt x="2237" y="8097"/>
                    <a:pt x="2899" y="7498"/>
                    <a:pt x="3749" y="7498"/>
                  </a:cubicBezTo>
                  <a:close/>
                  <a:moveTo>
                    <a:pt x="6364" y="5765"/>
                  </a:moveTo>
                  <a:cubicBezTo>
                    <a:pt x="6522" y="5860"/>
                    <a:pt x="6679" y="5923"/>
                    <a:pt x="6837" y="5986"/>
                  </a:cubicBezTo>
                  <a:lnTo>
                    <a:pt x="6837" y="8884"/>
                  </a:lnTo>
                  <a:lnTo>
                    <a:pt x="6112" y="8884"/>
                  </a:lnTo>
                  <a:cubicBezTo>
                    <a:pt x="5986" y="8065"/>
                    <a:pt x="5482" y="7404"/>
                    <a:pt x="4757" y="7089"/>
                  </a:cubicBezTo>
                  <a:cubicBezTo>
                    <a:pt x="5009" y="6837"/>
                    <a:pt x="5104" y="6521"/>
                    <a:pt x="5104" y="6175"/>
                  </a:cubicBezTo>
                  <a:lnTo>
                    <a:pt x="5230" y="6175"/>
                  </a:lnTo>
                  <a:lnTo>
                    <a:pt x="6364" y="5765"/>
                  </a:lnTo>
                  <a:close/>
                  <a:moveTo>
                    <a:pt x="6805" y="9514"/>
                  </a:moveTo>
                  <a:lnTo>
                    <a:pt x="6805" y="10586"/>
                  </a:lnTo>
                  <a:cubicBezTo>
                    <a:pt x="6805" y="10775"/>
                    <a:pt x="6648" y="10932"/>
                    <a:pt x="6490" y="10932"/>
                  </a:cubicBezTo>
                  <a:lnTo>
                    <a:pt x="1008" y="10932"/>
                  </a:lnTo>
                  <a:cubicBezTo>
                    <a:pt x="819" y="10932"/>
                    <a:pt x="662" y="10775"/>
                    <a:pt x="662" y="10586"/>
                  </a:cubicBezTo>
                  <a:lnTo>
                    <a:pt x="662" y="9514"/>
                  </a:lnTo>
                  <a:close/>
                  <a:moveTo>
                    <a:pt x="1008" y="0"/>
                  </a:moveTo>
                  <a:cubicBezTo>
                    <a:pt x="473" y="0"/>
                    <a:pt x="0" y="473"/>
                    <a:pt x="0" y="1040"/>
                  </a:cubicBezTo>
                  <a:lnTo>
                    <a:pt x="0" y="10649"/>
                  </a:lnTo>
                  <a:cubicBezTo>
                    <a:pt x="0" y="11184"/>
                    <a:pt x="441" y="11657"/>
                    <a:pt x="1008" y="11657"/>
                  </a:cubicBezTo>
                  <a:lnTo>
                    <a:pt x="6490" y="11657"/>
                  </a:lnTo>
                  <a:cubicBezTo>
                    <a:pt x="7057" y="11657"/>
                    <a:pt x="7530" y="11184"/>
                    <a:pt x="7530" y="10617"/>
                  </a:cubicBezTo>
                  <a:lnTo>
                    <a:pt x="7530" y="6143"/>
                  </a:lnTo>
                  <a:cubicBezTo>
                    <a:pt x="7624" y="6143"/>
                    <a:pt x="7750" y="6175"/>
                    <a:pt x="7876" y="6175"/>
                  </a:cubicBezTo>
                  <a:cubicBezTo>
                    <a:pt x="9578" y="6175"/>
                    <a:pt x="10932" y="4789"/>
                    <a:pt x="10932" y="3087"/>
                  </a:cubicBezTo>
                  <a:cubicBezTo>
                    <a:pt x="10932" y="1418"/>
                    <a:pt x="9578" y="0"/>
                    <a:pt x="787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0" name="Google Shape;7120;p74"/>
            <p:cNvSpPr/>
            <p:nvPr/>
          </p:nvSpPr>
          <p:spPr>
            <a:xfrm>
              <a:off x="-34579600" y="1947400"/>
              <a:ext cx="17350" cy="18125"/>
            </a:xfrm>
            <a:custGeom>
              <a:avLst/>
              <a:gdLst/>
              <a:ahLst/>
              <a:cxnLst/>
              <a:rect l="l" t="t" r="r" b="b"/>
              <a:pathLst>
                <a:path w="694" h="725" extrusionOk="0">
                  <a:moveTo>
                    <a:pt x="347" y="0"/>
                  </a:moveTo>
                  <a:cubicBezTo>
                    <a:pt x="158" y="0"/>
                    <a:pt x="1" y="189"/>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1" name="Google Shape;7121;p74"/>
            <p:cNvSpPr/>
            <p:nvPr/>
          </p:nvSpPr>
          <p:spPr>
            <a:xfrm>
              <a:off x="-34581175" y="1982050"/>
              <a:ext cx="18150" cy="52000"/>
            </a:xfrm>
            <a:custGeom>
              <a:avLst/>
              <a:gdLst/>
              <a:ahLst/>
              <a:cxnLst/>
              <a:rect l="l" t="t" r="r" b="b"/>
              <a:pathLst>
                <a:path w="726" h="2080" extrusionOk="0">
                  <a:moveTo>
                    <a:pt x="379" y="0"/>
                  </a:moveTo>
                  <a:cubicBezTo>
                    <a:pt x="158" y="0"/>
                    <a:pt x="1" y="158"/>
                    <a:pt x="1" y="347"/>
                  </a:cubicBezTo>
                  <a:lnTo>
                    <a:pt x="1" y="1733"/>
                  </a:lnTo>
                  <a:cubicBezTo>
                    <a:pt x="1" y="1922"/>
                    <a:pt x="158" y="2080"/>
                    <a:pt x="379" y="2080"/>
                  </a:cubicBezTo>
                  <a:cubicBezTo>
                    <a:pt x="568" y="2080"/>
                    <a:pt x="725" y="1922"/>
                    <a:pt x="725" y="1733"/>
                  </a:cubicBezTo>
                  <a:lnTo>
                    <a:pt x="725" y="347"/>
                  </a:ln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22" name="Google Shape;7122;p74"/>
          <p:cNvGrpSpPr/>
          <p:nvPr/>
        </p:nvGrpSpPr>
        <p:grpSpPr>
          <a:xfrm>
            <a:off x="2924684" y="2657456"/>
            <a:ext cx="475251" cy="473997"/>
            <a:chOff x="-34778075" y="2272675"/>
            <a:chExt cx="293800" cy="293025"/>
          </a:xfrm>
        </p:grpSpPr>
        <p:sp>
          <p:nvSpPr>
            <p:cNvPr id="7123" name="Google Shape;7123;p74"/>
            <p:cNvSpPr/>
            <p:nvPr/>
          </p:nvSpPr>
          <p:spPr>
            <a:xfrm>
              <a:off x="-34725300" y="2324675"/>
              <a:ext cx="187475" cy="188250"/>
            </a:xfrm>
            <a:custGeom>
              <a:avLst/>
              <a:gdLst/>
              <a:ahLst/>
              <a:cxnLst/>
              <a:rect l="l" t="t" r="r" b="b"/>
              <a:pathLst>
                <a:path w="7499" h="7530" extrusionOk="0">
                  <a:moveTo>
                    <a:pt x="4127" y="693"/>
                  </a:moveTo>
                  <a:lnTo>
                    <a:pt x="4127" y="1134"/>
                  </a:lnTo>
                  <a:cubicBezTo>
                    <a:pt x="4127" y="1292"/>
                    <a:pt x="4253" y="1418"/>
                    <a:pt x="4411" y="1449"/>
                  </a:cubicBezTo>
                  <a:cubicBezTo>
                    <a:pt x="4600" y="1481"/>
                    <a:pt x="4821" y="1607"/>
                    <a:pt x="4978" y="1701"/>
                  </a:cubicBezTo>
                  <a:cubicBezTo>
                    <a:pt x="5023" y="1724"/>
                    <a:pt x="5075" y="1734"/>
                    <a:pt x="5130" y="1734"/>
                  </a:cubicBezTo>
                  <a:cubicBezTo>
                    <a:pt x="5230" y="1734"/>
                    <a:pt x="5338" y="1699"/>
                    <a:pt x="5419" y="1638"/>
                  </a:cubicBezTo>
                  <a:lnTo>
                    <a:pt x="5734" y="1323"/>
                  </a:lnTo>
                  <a:lnTo>
                    <a:pt x="6207" y="1796"/>
                  </a:lnTo>
                  <a:lnTo>
                    <a:pt x="5892" y="2111"/>
                  </a:lnTo>
                  <a:cubicBezTo>
                    <a:pt x="5766" y="2237"/>
                    <a:pt x="5766" y="2394"/>
                    <a:pt x="5860" y="2552"/>
                  </a:cubicBezTo>
                  <a:cubicBezTo>
                    <a:pt x="5986" y="2741"/>
                    <a:pt x="6049" y="2961"/>
                    <a:pt x="6081" y="3150"/>
                  </a:cubicBezTo>
                  <a:cubicBezTo>
                    <a:pt x="6144" y="3308"/>
                    <a:pt x="6238" y="3434"/>
                    <a:pt x="6396" y="3434"/>
                  </a:cubicBezTo>
                  <a:lnTo>
                    <a:pt x="6837" y="3434"/>
                  </a:lnTo>
                  <a:lnTo>
                    <a:pt x="6837" y="4096"/>
                  </a:lnTo>
                  <a:lnTo>
                    <a:pt x="6396" y="4096"/>
                  </a:lnTo>
                  <a:cubicBezTo>
                    <a:pt x="6238" y="4096"/>
                    <a:pt x="6144" y="4222"/>
                    <a:pt x="6081" y="4379"/>
                  </a:cubicBezTo>
                  <a:cubicBezTo>
                    <a:pt x="6049" y="4568"/>
                    <a:pt x="5923" y="4789"/>
                    <a:pt x="5860" y="4946"/>
                  </a:cubicBezTo>
                  <a:cubicBezTo>
                    <a:pt x="5766" y="5072"/>
                    <a:pt x="5829" y="5261"/>
                    <a:pt x="5892" y="5387"/>
                  </a:cubicBezTo>
                  <a:lnTo>
                    <a:pt x="6207" y="5702"/>
                  </a:lnTo>
                  <a:lnTo>
                    <a:pt x="5734" y="6175"/>
                  </a:lnTo>
                  <a:lnTo>
                    <a:pt x="5419" y="5860"/>
                  </a:lnTo>
                  <a:cubicBezTo>
                    <a:pt x="5352" y="5792"/>
                    <a:pt x="5275" y="5761"/>
                    <a:pt x="5194" y="5761"/>
                  </a:cubicBezTo>
                  <a:cubicBezTo>
                    <a:pt x="5124" y="5761"/>
                    <a:pt x="5051" y="5785"/>
                    <a:pt x="4978" y="5828"/>
                  </a:cubicBezTo>
                  <a:cubicBezTo>
                    <a:pt x="4789" y="5954"/>
                    <a:pt x="4600" y="6017"/>
                    <a:pt x="4411" y="6049"/>
                  </a:cubicBezTo>
                  <a:cubicBezTo>
                    <a:pt x="4253" y="6080"/>
                    <a:pt x="4127" y="6206"/>
                    <a:pt x="4127" y="6364"/>
                  </a:cubicBezTo>
                  <a:lnTo>
                    <a:pt x="4127" y="6805"/>
                  </a:lnTo>
                  <a:lnTo>
                    <a:pt x="3466" y="6805"/>
                  </a:lnTo>
                  <a:lnTo>
                    <a:pt x="3466" y="6364"/>
                  </a:lnTo>
                  <a:cubicBezTo>
                    <a:pt x="3466" y="6206"/>
                    <a:pt x="3340" y="6112"/>
                    <a:pt x="3182" y="6049"/>
                  </a:cubicBezTo>
                  <a:cubicBezTo>
                    <a:pt x="2993" y="6017"/>
                    <a:pt x="2741" y="5891"/>
                    <a:pt x="2584" y="5828"/>
                  </a:cubicBezTo>
                  <a:cubicBezTo>
                    <a:pt x="2549" y="5794"/>
                    <a:pt x="2497" y="5780"/>
                    <a:pt x="2441" y="5780"/>
                  </a:cubicBezTo>
                  <a:cubicBezTo>
                    <a:pt x="2344" y="5780"/>
                    <a:pt x="2234" y="5820"/>
                    <a:pt x="2174" y="5860"/>
                  </a:cubicBezTo>
                  <a:lnTo>
                    <a:pt x="1859" y="6175"/>
                  </a:lnTo>
                  <a:lnTo>
                    <a:pt x="1387" y="5702"/>
                  </a:lnTo>
                  <a:lnTo>
                    <a:pt x="1702" y="5387"/>
                  </a:lnTo>
                  <a:cubicBezTo>
                    <a:pt x="1796" y="5261"/>
                    <a:pt x="1796" y="5104"/>
                    <a:pt x="1733" y="4946"/>
                  </a:cubicBezTo>
                  <a:cubicBezTo>
                    <a:pt x="1607" y="4757"/>
                    <a:pt x="1544" y="4568"/>
                    <a:pt x="1481" y="4379"/>
                  </a:cubicBezTo>
                  <a:cubicBezTo>
                    <a:pt x="1450" y="4222"/>
                    <a:pt x="1324" y="4096"/>
                    <a:pt x="1166" y="4096"/>
                  </a:cubicBezTo>
                  <a:lnTo>
                    <a:pt x="756" y="4096"/>
                  </a:lnTo>
                  <a:lnTo>
                    <a:pt x="756" y="3434"/>
                  </a:lnTo>
                  <a:lnTo>
                    <a:pt x="1166" y="3434"/>
                  </a:lnTo>
                  <a:cubicBezTo>
                    <a:pt x="1324" y="3434"/>
                    <a:pt x="1450" y="3308"/>
                    <a:pt x="1481" y="3150"/>
                  </a:cubicBezTo>
                  <a:cubicBezTo>
                    <a:pt x="1544" y="2961"/>
                    <a:pt x="1639" y="2709"/>
                    <a:pt x="1733" y="2552"/>
                  </a:cubicBezTo>
                  <a:cubicBezTo>
                    <a:pt x="1796" y="2426"/>
                    <a:pt x="1765" y="2237"/>
                    <a:pt x="1702" y="2111"/>
                  </a:cubicBezTo>
                  <a:lnTo>
                    <a:pt x="1387" y="1796"/>
                  </a:lnTo>
                  <a:lnTo>
                    <a:pt x="1859" y="1323"/>
                  </a:lnTo>
                  <a:lnTo>
                    <a:pt x="2174" y="1638"/>
                  </a:lnTo>
                  <a:cubicBezTo>
                    <a:pt x="2230" y="1712"/>
                    <a:pt x="2307" y="1743"/>
                    <a:pt x="2392" y="1743"/>
                  </a:cubicBezTo>
                  <a:cubicBezTo>
                    <a:pt x="2453" y="1743"/>
                    <a:pt x="2518" y="1727"/>
                    <a:pt x="2584" y="1701"/>
                  </a:cubicBezTo>
                  <a:cubicBezTo>
                    <a:pt x="2804" y="1575"/>
                    <a:pt x="2993" y="1481"/>
                    <a:pt x="3182" y="1449"/>
                  </a:cubicBezTo>
                  <a:cubicBezTo>
                    <a:pt x="3340" y="1418"/>
                    <a:pt x="3466" y="1292"/>
                    <a:pt x="3466" y="1134"/>
                  </a:cubicBezTo>
                  <a:lnTo>
                    <a:pt x="3466" y="693"/>
                  </a:lnTo>
                  <a:close/>
                  <a:moveTo>
                    <a:pt x="3056" y="0"/>
                  </a:moveTo>
                  <a:cubicBezTo>
                    <a:pt x="2867" y="0"/>
                    <a:pt x="2710" y="158"/>
                    <a:pt x="2710" y="347"/>
                  </a:cubicBezTo>
                  <a:lnTo>
                    <a:pt x="2710" y="851"/>
                  </a:lnTo>
                  <a:cubicBezTo>
                    <a:pt x="2584" y="914"/>
                    <a:pt x="2521" y="945"/>
                    <a:pt x="2426" y="977"/>
                  </a:cubicBezTo>
                  <a:lnTo>
                    <a:pt x="2080" y="630"/>
                  </a:lnTo>
                  <a:cubicBezTo>
                    <a:pt x="1985" y="536"/>
                    <a:pt x="1922" y="504"/>
                    <a:pt x="1828" y="504"/>
                  </a:cubicBezTo>
                  <a:cubicBezTo>
                    <a:pt x="1765" y="504"/>
                    <a:pt x="1639" y="536"/>
                    <a:pt x="1607" y="630"/>
                  </a:cubicBezTo>
                  <a:lnTo>
                    <a:pt x="630" y="1607"/>
                  </a:lnTo>
                  <a:cubicBezTo>
                    <a:pt x="536" y="1701"/>
                    <a:pt x="504" y="1764"/>
                    <a:pt x="504" y="1859"/>
                  </a:cubicBezTo>
                  <a:cubicBezTo>
                    <a:pt x="504" y="1922"/>
                    <a:pt x="536" y="2048"/>
                    <a:pt x="630" y="2079"/>
                  </a:cubicBezTo>
                  <a:lnTo>
                    <a:pt x="977" y="2426"/>
                  </a:lnTo>
                  <a:cubicBezTo>
                    <a:pt x="945" y="2520"/>
                    <a:pt x="914" y="2646"/>
                    <a:pt x="851" y="2709"/>
                  </a:cubicBezTo>
                  <a:lnTo>
                    <a:pt x="347" y="2709"/>
                  </a:lnTo>
                  <a:cubicBezTo>
                    <a:pt x="158" y="2709"/>
                    <a:pt x="0" y="2867"/>
                    <a:pt x="0" y="3056"/>
                  </a:cubicBezTo>
                  <a:lnTo>
                    <a:pt x="0" y="4442"/>
                  </a:lnTo>
                  <a:cubicBezTo>
                    <a:pt x="0" y="4631"/>
                    <a:pt x="158" y="4789"/>
                    <a:pt x="347" y="4789"/>
                  </a:cubicBezTo>
                  <a:lnTo>
                    <a:pt x="851" y="4789"/>
                  </a:lnTo>
                  <a:cubicBezTo>
                    <a:pt x="882" y="4915"/>
                    <a:pt x="945" y="5009"/>
                    <a:pt x="977" y="5072"/>
                  </a:cubicBezTo>
                  <a:lnTo>
                    <a:pt x="630" y="5419"/>
                  </a:lnTo>
                  <a:cubicBezTo>
                    <a:pt x="536" y="5513"/>
                    <a:pt x="504" y="5576"/>
                    <a:pt x="504" y="5671"/>
                  </a:cubicBezTo>
                  <a:cubicBezTo>
                    <a:pt x="504" y="5734"/>
                    <a:pt x="536" y="5860"/>
                    <a:pt x="630" y="5891"/>
                  </a:cubicBezTo>
                  <a:lnTo>
                    <a:pt x="1607" y="6900"/>
                  </a:lnTo>
                  <a:cubicBezTo>
                    <a:pt x="1670" y="6963"/>
                    <a:pt x="1765" y="6994"/>
                    <a:pt x="1828" y="6994"/>
                  </a:cubicBezTo>
                  <a:cubicBezTo>
                    <a:pt x="1922" y="6994"/>
                    <a:pt x="2048" y="6963"/>
                    <a:pt x="2080" y="6900"/>
                  </a:cubicBezTo>
                  <a:lnTo>
                    <a:pt x="2426" y="6521"/>
                  </a:lnTo>
                  <a:cubicBezTo>
                    <a:pt x="2521" y="6585"/>
                    <a:pt x="2615" y="6616"/>
                    <a:pt x="2710" y="6648"/>
                  </a:cubicBezTo>
                  <a:lnTo>
                    <a:pt x="2710" y="7152"/>
                  </a:lnTo>
                  <a:cubicBezTo>
                    <a:pt x="2710" y="7372"/>
                    <a:pt x="2867" y="7530"/>
                    <a:pt x="3056" y="7530"/>
                  </a:cubicBezTo>
                  <a:lnTo>
                    <a:pt x="4443" y="7530"/>
                  </a:lnTo>
                  <a:cubicBezTo>
                    <a:pt x="4632" y="7530"/>
                    <a:pt x="4789" y="7372"/>
                    <a:pt x="4789" y="7152"/>
                  </a:cubicBezTo>
                  <a:lnTo>
                    <a:pt x="4789" y="6648"/>
                  </a:lnTo>
                  <a:cubicBezTo>
                    <a:pt x="4915" y="6616"/>
                    <a:pt x="4978" y="6585"/>
                    <a:pt x="5073" y="6521"/>
                  </a:cubicBezTo>
                  <a:lnTo>
                    <a:pt x="5419" y="6900"/>
                  </a:lnTo>
                  <a:cubicBezTo>
                    <a:pt x="5514" y="6963"/>
                    <a:pt x="5577" y="6994"/>
                    <a:pt x="5671" y="6994"/>
                  </a:cubicBezTo>
                  <a:cubicBezTo>
                    <a:pt x="5734" y="6994"/>
                    <a:pt x="5860" y="6963"/>
                    <a:pt x="5892" y="6900"/>
                  </a:cubicBezTo>
                  <a:lnTo>
                    <a:pt x="6868" y="5891"/>
                  </a:lnTo>
                  <a:cubicBezTo>
                    <a:pt x="6994" y="5797"/>
                    <a:pt x="6994" y="5545"/>
                    <a:pt x="6868" y="5419"/>
                  </a:cubicBezTo>
                  <a:lnTo>
                    <a:pt x="6522" y="5072"/>
                  </a:lnTo>
                  <a:cubicBezTo>
                    <a:pt x="6553" y="5009"/>
                    <a:pt x="6616" y="4883"/>
                    <a:pt x="6648" y="4789"/>
                  </a:cubicBezTo>
                  <a:lnTo>
                    <a:pt x="7152" y="4789"/>
                  </a:lnTo>
                  <a:cubicBezTo>
                    <a:pt x="7341" y="4789"/>
                    <a:pt x="7499" y="4631"/>
                    <a:pt x="7499" y="4442"/>
                  </a:cubicBezTo>
                  <a:lnTo>
                    <a:pt x="7499" y="3056"/>
                  </a:lnTo>
                  <a:cubicBezTo>
                    <a:pt x="7499" y="2867"/>
                    <a:pt x="7341" y="2709"/>
                    <a:pt x="7152" y="2709"/>
                  </a:cubicBezTo>
                  <a:lnTo>
                    <a:pt x="6648" y="2709"/>
                  </a:lnTo>
                  <a:cubicBezTo>
                    <a:pt x="6616" y="2583"/>
                    <a:pt x="6553" y="2520"/>
                    <a:pt x="6522" y="2426"/>
                  </a:cubicBezTo>
                  <a:lnTo>
                    <a:pt x="6868" y="2079"/>
                  </a:lnTo>
                  <a:cubicBezTo>
                    <a:pt x="6994" y="1953"/>
                    <a:pt x="6994" y="1733"/>
                    <a:pt x="6868" y="1607"/>
                  </a:cubicBezTo>
                  <a:lnTo>
                    <a:pt x="5892" y="630"/>
                  </a:lnTo>
                  <a:cubicBezTo>
                    <a:pt x="5829" y="536"/>
                    <a:pt x="5734" y="504"/>
                    <a:pt x="5671" y="504"/>
                  </a:cubicBezTo>
                  <a:cubicBezTo>
                    <a:pt x="5577" y="504"/>
                    <a:pt x="5451" y="536"/>
                    <a:pt x="5419" y="630"/>
                  </a:cubicBezTo>
                  <a:lnTo>
                    <a:pt x="5073" y="977"/>
                  </a:lnTo>
                  <a:cubicBezTo>
                    <a:pt x="4978" y="945"/>
                    <a:pt x="4884" y="914"/>
                    <a:pt x="4789" y="851"/>
                  </a:cubicBezTo>
                  <a:lnTo>
                    <a:pt x="4789" y="347"/>
                  </a:ln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4" name="Google Shape;7124;p74"/>
            <p:cNvSpPr/>
            <p:nvPr/>
          </p:nvSpPr>
          <p:spPr>
            <a:xfrm>
              <a:off x="-34673325" y="2375850"/>
              <a:ext cx="85100" cy="84300"/>
            </a:xfrm>
            <a:custGeom>
              <a:avLst/>
              <a:gdLst/>
              <a:ahLst/>
              <a:cxnLst/>
              <a:rect l="l" t="t" r="r" b="b"/>
              <a:pathLst>
                <a:path w="3404" h="3372" extrusionOk="0">
                  <a:moveTo>
                    <a:pt x="1702" y="662"/>
                  </a:moveTo>
                  <a:cubicBezTo>
                    <a:pt x="2238" y="662"/>
                    <a:pt x="2710" y="1135"/>
                    <a:pt x="2710" y="1702"/>
                  </a:cubicBezTo>
                  <a:cubicBezTo>
                    <a:pt x="2710" y="2238"/>
                    <a:pt x="2238" y="2710"/>
                    <a:pt x="1702" y="2710"/>
                  </a:cubicBezTo>
                  <a:cubicBezTo>
                    <a:pt x="1135" y="2710"/>
                    <a:pt x="662" y="2238"/>
                    <a:pt x="662" y="1702"/>
                  </a:cubicBezTo>
                  <a:cubicBezTo>
                    <a:pt x="662" y="1135"/>
                    <a:pt x="1135" y="662"/>
                    <a:pt x="1702" y="662"/>
                  </a:cubicBezTo>
                  <a:close/>
                  <a:moveTo>
                    <a:pt x="1702" y="1"/>
                  </a:moveTo>
                  <a:cubicBezTo>
                    <a:pt x="757" y="1"/>
                    <a:pt x="1" y="757"/>
                    <a:pt x="1" y="1702"/>
                  </a:cubicBezTo>
                  <a:cubicBezTo>
                    <a:pt x="1" y="2647"/>
                    <a:pt x="757" y="3372"/>
                    <a:pt x="1702" y="3372"/>
                  </a:cubicBezTo>
                  <a:cubicBezTo>
                    <a:pt x="2647" y="3372"/>
                    <a:pt x="3403" y="2647"/>
                    <a:pt x="3403" y="1702"/>
                  </a:cubicBezTo>
                  <a:cubicBezTo>
                    <a:pt x="3372" y="757"/>
                    <a:pt x="2647" y="1"/>
                    <a:pt x="17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5" name="Google Shape;7125;p74"/>
            <p:cNvSpPr/>
            <p:nvPr/>
          </p:nvSpPr>
          <p:spPr>
            <a:xfrm>
              <a:off x="-34778075" y="2272675"/>
              <a:ext cx="293800" cy="293025"/>
            </a:xfrm>
            <a:custGeom>
              <a:avLst/>
              <a:gdLst/>
              <a:ahLst/>
              <a:cxnLst/>
              <a:rect l="l" t="t" r="r" b="b"/>
              <a:pathLst>
                <a:path w="11752" h="11721" extrusionOk="0">
                  <a:moveTo>
                    <a:pt x="5892" y="694"/>
                  </a:moveTo>
                  <a:cubicBezTo>
                    <a:pt x="8727" y="694"/>
                    <a:pt x="11027" y="3025"/>
                    <a:pt x="11027" y="5861"/>
                  </a:cubicBezTo>
                  <a:cubicBezTo>
                    <a:pt x="10996" y="8665"/>
                    <a:pt x="8727" y="10964"/>
                    <a:pt x="5892" y="10964"/>
                  </a:cubicBezTo>
                  <a:cubicBezTo>
                    <a:pt x="4884" y="10964"/>
                    <a:pt x="3939" y="10712"/>
                    <a:pt x="3119" y="10177"/>
                  </a:cubicBezTo>
                  <a:cubicBezTo>
                    <a:pt x="3075" y="10154"/>
                    <a:pt x="2999" y="10132"/>
                    <a:pt x="2936" y="10132"/>
                  </a:cubicBezTo>
                  <a:cubicBezTo>
                    <a:pt x="2910" y="10132"/>
                    <a:pt x="2886" y="10136"/>
                    <a:pt x="2867" y="10145"/>
                  </a:cubicBezTo>
                  <a:lnTo>
                    <a:pt x="914" y="10775"/>
                  </a:lnTo>
                  <a:lnTo>
                    <a:pt x="1544" y="8854"/>
                  </a:lnTo>
                  <a:cubicBezTo>
                    <a:pt x="1576" y="8759"/>
                    <a:pt x="1544" y="8665"/>
                    <a:pt x="1513" y="8570"/>
                  </a:cubicBezTo>
                  <a:cubicBezTo>
                    <a:pt x="1009" y="7751"/>
                    <a:pt x="725" y="6806"/>
                    <a:pt x="725" y="5861"/>
                  </a:cubicBezTo>
                  <a:cubicBezTo>
                    <a:pt x="725" y="3025"/>
                    <a:pt x="3056" y="694"/>
                    <a:pt x="5892" y="694"/>
                  </a:cubicBezTo>
                  <a:close/>
                  <a:moveTo>
                    <a:pt x="5892" y="1"/>
                  </a:moveTo>
                  <a:cubicBezTo>
                    <a:pt x="4348" y="1"/>
                    <a:pt x="2867" y="568"/>
                    <a:pt x="1733" y="1733"/>
                  </a:cubicBezTo>
                  <a:cubicBezTo>
                    <a:pt x="631" y="2836"/>
                    <a:pt x="0" y="4285"/>
                    <a:pt x="0" y="5861"/>
                  </a:cubicBezTo>
                  <a:cubicBezTo>
                    <a:pt x="0" y="6869"/>
                    <a:pt x="284" y="7908"/>
                    <a:pt x="851" y="8822"/>
                  </a:cubicBezTo>
                  <a:lnTo>
                    <a:pt x="63" y="11248"/>
                  </a:lnTo>
                  <a:cubicBezTo>
                    <a:pt x="0" y="11374"/>
                    <a:pt x="63" y="11531"/>
                    <a:pt x="127" y="11594"/>
                  </a:cubicBezTo>
                  <a:cubicBezTo>
                    <a:pt x="197" y="11665"/>
                    <a:pt x="304" y="11701"/>
                    <a:pt x="392" y="11701"/>
                  </a:cubicBezTo>
                  <a:cubicBezTo>
                    <a:pt x="422" y="11701"/>
                    <a:pt x="449" y="11697"/>
                    <a:pt x="473" y="11689"/>
                  </a:cubicBezTo>
                  <a:lnTo>
                    <a:pt x="2930" y="10901"/>
                  </a:lnTo>
                  <a:cubicBezTo>
                    <a:pt x="3844" y="11437"/>
                    <a:pt x="4852" y="11720"/>
                    <a:pt x="5892" y="11720"/>
                  </a:cubicBezTo>
                  <a:cubicBezTo>
                    <a:pt x="7404" y="11720"/>
                    <a:pt x="8916" y="11122"/>
                    <a:pt x="10019" y="9988"/>
                  </a:cubicBezTo>
                  <a:cubicBezTo>
                    <a:pt x="11122" y="8885"/>
                    <a:pt x="11752" y="7436"/>
                    <a:pt x="11752" y="5861"/>
                  </a:cubicBezTo>
                  <a:cubicBezTo>
                    <a:pt x="11752" y="4317"/>
                    <a:pt x="11153" y="2805"/>
                    <a:pt x="10019" y="1702"/>
                  </a:cubicBezTo>
                  <a:cubicBezTo>
                    <a:pt x="8885" y="568"/>
                    <a:pt x="7404"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26" name="Google Shape;7126;p74"/>
          <p:cNvGrpSpPr/>
          <p:nvPr/>
        </p:nvGrpSpPr>
        <p:grpSpPr>
          <a:xfrm>
            <a:off x="2926586" y="3265493"/>
            <a:ext cx="471449" cy="471449"/>
            <a:chOff x="-34776500" y="2631825"/>
            <a:chExt cx="291450" cy="291450"/>
          </a:xfrm>
        </p:grpSpPr>
        <p:sp>
          <p:nvSpPr>
            <p:cNvPr id="7127" name="Google Shape;7127;p74"/>
            <p:cNvSpPr/>
            <p:nvPr/>
          </p:nvSpPr>
          <p:spPr>
            <a:xfrm>
              <a:off x="-34691425" y="2666500"/>
              <a:ext cx="120525" cy="154400"/>
            </a:xfrm>
            <a:custGeom>
              <a:avLst/>
              <a:gdLst/>
              <a:ahLst/>
              <a:cxnLst/>
              <a:rect l="l" t="t" r="r" b="b"/>
              <a:pathLst>
                <a:path w="4821" h="6176" extrusionOk="0">
                  <a:moveTo>
                    <a:pt x="2331" y="693"/>
                  </a:moveTo>
                  <a:cubicBezTo>
                    <a:pt x="3277" y="693"/>
                    <a:pt x="4033" y="1449"/>
                    <a:pt x="4033" y="2394"/>
                  </a:cubicBezTo>
                  <a:cubicBezTo>
                    <a:pt x="4096" y="2899"/>
                    <a:pt x="3844" y="3466"/>
                    <a:pt x="3403" y="3781"/>
                  </a:cubicBezTo>
                  <a:cubicBezTo>
                    <a:pt x="3151" y="3970"/>
                    <a:pt x="2741" y="4348"/>
                    <a:pt x="2741" y="4946"/>
                  </a:cubicBezTo>
                  <a:lnTo>
                    <a:pt x="2741" y="5135"/>
                  </a:lnTo>
                  <a:cubicBezTo>
                    <a:pt x="2741" y="5356"/>
                    <a:pt x="2583" y="5513"/>
                    <a:pt x="2363" y="5513"/>
                  </a:cubicBezTo>
                  <a:cubicBezTo>
                    <a:pt x="2174" y="5513"/>
                    <a:pt x="2016" y="5356"/>
                    <a:pt x="2016" y="5135"/>
                  </a:cubicBezTo>
                  <a:lnTo>
                    <a:pt x="2016" y="4946"/>
                  </a:lnTo>
                  <a:cubicBezTo>
                    <a:pt x="2016" y="4285"/>
                    <a:pt x="2363" y="3655"/>
                    <a:pt x="2962" y="3214"/>
                  </a:cubicBezTo>
                  <a:cubicBezTo>
                    <a:pt x="3245" y="3025"/>
                    <a:pt x="3403" y="2710"/>
                    <a:pt x="3403" y="2394"/>
                  </a:cubicBezTo>
                  <a:cubicBezTo>
                    <a:pt x="3403" y="1827"/>
                    <a:pt x="2930" y="1355"/>
                    <a:pt x="2363" y="1355"/>
                  </a:cubicBezTo>
                  <a:cubicBezTo>
                    <a:pt x="1827" y="1355"/>
                    <a:pt x="1355" y="1827"/>
                    <a:pt x="1355" y="2394"/>
                  </a:cubicBezTo>
                  <a:cubicBezTo>
                    <a:pt x="1355" y="2583"/>
                    <a:pt x="1197" y="2741"/>
                    <a:pt x="1008" y="2741"/>
                  </a:cubicBezTo>
                  <a:cubicBezTo>
                    <a:pt x="788" y="2741"/>
                    <a:pt x="630" y="2583"/>
                    <a:pt x="630" y="2394"/>
                  </a:cubicBezTo>
                  <a:cubicBezTo>
                    <a:pt x="630" y="1449"/>
                    <a:pt x="1386" y="693"/>
                    <a:pt x="2331" y="693"/>
                  </a:cubicBezTo>
                  <a:close/>
                  <a:moveTo>
                    <a:pt x="2426" y="0"/>
                  </a:moveTo>
                  <a:cubicBezTo>
                    <a:pt x="1071" y="0"/>
                    <a:pt x="0" y="1040"/>
                    <a:pt x="0" y="2394"/>
                  </a:cubicBezTo>
                  <a:cubicBezTo>
                    <a:pt x="0" y="2930"/>
                    <a:pt x="473" y="3403"/>
                    <a:pt x="1040" y="3403"/>
                  </a:cubicBezTo>
                  <a:cubicBezTo>
                    <a:pt x="1575" y="3403"/>
                    <a:pt x="2048" y="2930"/>
                    <a:pt x="2048" y="2394"/>
                  </a:cubicBezTo>
                  <a:cubicBezTo>
                    <a:pt x="2048" y="2205"/>
                    <a:pt x="2205" y="2048"/>
                    <a:pt x="2426" y="2048"/>
                  </a:cubicBezTo>
                  <a:cubicBezTo>
                    <a:pt x="2615" y="2048"/>
                    <a:pt x="2772" y="2205"/>
                    <a:pt x="2772" y="2394"/>
                  </a:cubicBezTo>
                  <a:cubicBezTo>
                    <a:pt x="2772" y="2520"/>
                    <a:pt x="2741" y="2583"/>
                    <a:pt x="2615" y="2646"/>
                  </a:cubicBezTo>
                  <a:cubicBezTo>
                    <a:pt x="1827" y="3245"/>
                    <a:pt x="1386" y="4064"/>
                    <a:pt x="1386" y="4946"/>
                  </a:cubicBezTo>
                  <a:lnTo>
                    <a:pt x="1386" y="5135"/>
                  </a:lnTo>
                  <a:cubicBezTo>
                    <a:pt x="1386" y="5702"/>
                    <a:pt x="1859" y="6175"/>
                    <a:pt x="2426" y="6175"/>
                  </a:cubicBezTo>
                  <a:cubicBezTo>
                    <a:pt x="2962" y="6175"/>
                    <a:pt x="3434" y="5702"/>
                    <a:pt x="3434" y="5135"/>
                  </a:cubicBezTo>
                  <a:lnTo>
                    <a:pt x="3434" y="4946"/>
                  </a:lnTo>
                  <a:cubicBezTo>
                    <a:pt x="3434" y="4663"/>
                    <a:pt x="3686" y="4442"/>
                    <a:pt x="3844" y="4316"/>
                  </a:cubicBezTo>
                  <a:cubicBezTo>
                    <a:pt x="4474" y="3875"/>
                    <a:pt x="4820" y="3151"/>
                    <a:pt x="4820" y="2394"/>
                  </a:cubicBezTo>
                  <a:cubicBezTo>
                    <a:pt x="4789" y="1040"/>
                    <a:pt x="3718" y="0"/>
                    <a:pt x="24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8" name="Google Shape;7128;p74"/>
            <p:cNvSpPr/>
            <p:nvPr/>
          </p:nvSpPr>
          <p:spPr>
            <a:xfrm>
              <a:off x="-34656775" y="2837400"/>
              <a:ext cx="51200" cy="51225"/>
            </a:xfrm>
            <a:custGeom>
              <a:avLst/>
              <a:gdLst/>
              <a:ahLst/>
              <a:cxnLst/>
              <a:rect l="l" t="t" r="r" b="b"/>
              <a:pathLst>
                <a:path w="2048" h="2049" extrusionOk="0">
                  <a:moveTo>
                    <a:pt x="1040" y="662"/>
                  </a:moveTo>
                  <a:cubicBezTo>
                    <a:pt x="1229" y="662"/>
                    <a:pt x="1386" y="820"/>
                    <a:pt x="1386" y="1040"/>
                  </a:cubicBezTo>
                  <a:cubicBezTo>
                    <a:pt x="1386" y="1229"/>
                    <a:pt x="1197" y="1387"/>
                    <a:pt x="1040" y="1387"/>
                  </a:cubicBezTo>
                  <a:cubicBezTo>
                    <a:pt x="819" y="1387"/>
                    <a:pt x="662" y="1229"/>
                    <a:pt x="662" y="1040"/>
                  </a:cubicBezTo>
                  <a:cubicBezTo>
                    <a:pt x="662" y="820"/>
                    <a:pt x="819" y="662"/>
                    <a:pt x="1040" y="662"/>
                  </a:cubicBezTo>
                  <a:close/>
                  <a:moveTo>
                    <a:pt x="1040" y="1"/>
                  </a:moveTo>
                  <a:cubicBezTo>
                    <a:pt x="473" y="1"/>
                    <a:pt x="0" y="473"/>
                    <a:pt x="0" y="1040"/>
                  </a:cubicBezTo>
                  <a:cubicBezTo>
                    <a:pt x="0" y="1576"/>
                    <a:pt x="473" y="2048"/>
                    <a:pt x="1040" y="2048"/>
                  </a:cubicBezTo>
                  <a:cubicBezTo>
                    <a:pt x="1576" y="2048"/>
                    <a:pt x="2048" y="1576"/>
                    <a:pt x="2048" y="1040"/>
                  </a:cubicBezTo>
                  <a:cubicBezTo>
                    <a:pt x="2048" y="473"/>
                    <a:pt x="1576"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29" name="Google Shape;7129;p74"/>
            <p:cNvSpPr/>
            <p:nvPr/>
          </p:nvSpPr>
          <p:spPr>
            <a:xfrm>
              <a:off x="-34776500" y="2631825"/>
              <a:ext cx="291450" cy="291450"/>
            </a:xfrm>
            <a:custGeom>
              <a:avLst/>
              <a:gdLst/>
              <a:ahLst/>
              <a:cxnLst/>
              <a:rect l="l" t="t" r="r" b="b"/>
              <a:pathLst>
                <a:path w="11658" h="11658" extrusionOk="0">
                  <a:moveTo>
                    <a:pt x="5829" y="662"/>
                  </a:moveTo>
                  <a:cubicBezTo>
                    <a:pt x="8664" y="662"/>
                    <a:pt x="10964" y="2994"/>
                    <a:pt x="10964" y="5829"/>
                  </a:cubicBezTo>
                  <a:cubicBezTo>
                    <a:pt x="10933" y="8665"/>
                    <a:pt x="8664" y="10996"/>
                    <a:pt x="5829" y="10996"/>
                  </a:cubicBezTo>
                  <a:cubicBezTo>
                    <a:pt x="2993" y="10996"/>
                    <a:pt x="662" y="8665"/>
                    <a:pt x="662" y="5829"/>
                  </a:cubicBezTo>
                  <a:cubicBezTo>
                    <a:pt x="662" y="2994"/>
                    <a:pt x="2993" y="662"/>
                    <a:pt x="5829" y="662"/>
                  </a:cubicBezTo>
                  <a:close/>
                  <a:moveTo>
                    <a:pt x="5829" y="1"/>
                  </a:moveTo>
                  <a:cubicBezTo>
                    <a:pt x="2584" y="1"/>
                    <a:pt x="0" y="2647"/>
                    <a:pt x="0" y="5829"/>
                  </a:cubicBezTo>
                  <a:cubicBezTo>
                    <a:pt x="0" y="9043"/>
                    <a:pt x="2615" y="11658"/>
                    <a:pt x="5829" y="11658"/>
                  </a:cubicBezTo>
                  <a:cubicBezTo>
                    <a:pt x="9042" y="11658"/>
                    <a:pt x="11657" y="9011"/>
                    <a:pt x="11657" y="5829"/>
                  </a:cubicBezTo>
                  <a:cubicBezTo>
                    <a:pt x="11657" y="2584"/>
                    <a:pt x="9011"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30" name="Google Shape;7130;p74"/>
          <p:cNvGrpSpPr/>
          <p:nvPr/>
        </p:nvGrpSpPr>
        <p:grpSpPr>
          <a:xfrm>
            <a:off x="1138171" y="3883965"/>
            <a:ext cx="472703" cy="477799"/>
            <a:chOff x="-32956300" y="1915900"/>
            <a:chExt cx="292225" cy="295375"/>
          </a:xfrm>
        </p:grpSpPr>
        <p:sp>
          <p:nvSpPr>
            <p:cNvPr id="7131" name="Google Shape;7131;p74"/>
            <p:cNvSpPr/>
            <p:nvPr/>
          </p:nvSpPr>
          <p:spPr>
            <a:xfrm>
              <a:off x="-32956300" y="1915900"/>
              <a:ext cx="292225" cy="295375"/>
            </a:xfrm>
            <a:custGeom>
              <a:avLst/>
              <a:gdLst/>
              <a:ahLst/>
              <a:cxnLst/>
              <a:rect l="l" t="t" r="r" b="b"/>
              <a:pathLst>
                <a:path w="11689" h="11815" extrusionOk="0">
                  <a:moveTo>
                    <a:pt x="10996" y="2079"/>
                  </a:moveTo>
                  <a:lnTo>
                    <a:pt x="10996" y="3466"/>
                  </a:lnTo>
                  <a:lnTo>
                    <a:pt x="10334" y="3466"/>
                  </a:lnTo>
                  <a:lnTo>
                    <a:pt x="10334" y="2079"/>
                  </a:lnTo>
                  <a:close/>
                  <a:moveTo>
                    <a:pt x="10996" y="4127"/>
                  </a:moveTo>
                  <a:lnTo>
                    <a:pt x="10996" y="5513"/>
                  </a:lnTo>
                  <a:lnTo>
                    <a:pt x="10303" y="5513"/>
                  </a:lnTo>
                  <a:lnTo>
                    <a:pt x="10303" y="4127"/>
                  </a:lnTo>
                  <a:close/>
                  <a:moveTo>
                    <a:pt x="10996" y="6175"/>
                  </a:moveTo>
                  <a:lnTo>
                    <a:pt x="10996" y="7561"/>
                  </a:lnTo>
                  <a:lnTo>
                    <a:pt x="10334" y="7561"/>
                  </a:lnTo>
                  <a:lnTo>
                    <a:pt x="10334" y="6175"/>
                  </a:lnTo>
                  <a:close/>
                  <a:moveTo>
                    <a:pt x="2741" y="536"/>
                  </a:moveTo>
                  <a:lnTo>
                    <a:pt x="2741" y="10869"/>
                  </a:lnTo>
                  <a:lnTo>
                    <a:pt x="1733" y="10869"/>
                  </a:lnTo>
                  <a:cubicBezTo>
                    <a:pt x="1679" y="10914"/>
                    <a:pt x="1627" y="10934"/>
                    <a:pt x="1581" y="10934"/>
                  </a:cubicBezTo>
                  <a:cubicBezTo>
                    <a:pt x="1467" y="10934"/>
                    <a:pt x="1387" y="10815"/>
                    <a:pt x="1387" y="10680"/>
                  </a:cubicBezTo>
                  <a:lnTo>
                    <a:pt x="1387" y="10334"/>
                  </a:lnTo>
                  <a:lnTo>
                    <a:pt x="1733" y="10334"/>
                  </a:lnTo>
                  <a:cubicBezTo>
                    <a:pt x="1922" y="10334"/>
                    <a:pt x="2080" y="10145"/>
                    <a:pt x="2080" y="9956"/>
                  </a:cubicBezTo>
                  <a:cubicBezTo>
                    <a:pt x="2080" y="9767"/>
                    <a:pt x="1922" y="9609"/>
                    <a:pt x="1733" y="9609"/>
                  </a:cubicBezTo>
                  <a:lnTo>
                    <a:pt x="1387" y="9609"/>
                  </a:lnTo>
                  <a:lnTo>
                    <a:pt x="1387" y="8223"/>
                  </a:lnTo>
                  <a:lnTo>
                    <a:pt x="1733" y="8223"/>
                  </a:lnTo>
                  <a:cubicBezTo>
                    <a:pt x="1922" y="8223"/>
                    <a:pt x="2080" y="8065"/>
                    <a:pt x="2080" y="7876"/>
                  </a:cubicBezTo>
                  <a:cubicBezTo>
                    <a:pt x="2080" y="7687"/>
                    <a:pt x="1922" y="7530"/>
                    <a:pt x="1733" y="7530"/>
                  </a:cubicBezTo>
                  <a:lnTo>
                    <a:pt x="1387" y="7530"/>
                  </a:lnTo>
                  <a:lnTo>
                    <a:pt x="1387" y="6143"/>
                  </a:lnTo>
                  <a:lnTo>
                    <a:pt x="1733" y="6143"/>
                  </a:lnTo>
                  <a:cubicBezTo>
                    <a:pt x="1922" y="6143"/>
                    <a:pt x="2080" y="5986"/>
                    <a:pt x="2080" y="5797"/>
                  </a:cubicBezTo>
                  <a:cubicBezTo>
                    <a:pt x="2080" y="5576"/>
                    <a:pt x="1922" y="5419"/>
                    <a:pt x="1733" y="5419"/>
                  </a:cubicBezTo>
                  <a:lnTo>
                    <a:pt x="1387" y="5419"/>
                  </a:lnTo>
                  <a:lnTo>
                    <a:pt x="1387" y="4064"/>
                  </a:lnTo>
                  <a:lnTo>
                    <a:pt x="1733" y="4064"/>
                  </a:lnTo>
                  <a:cubicBezTo>
                    <a:pt x="1922" y="4064"/>
                    <a:pt x="2080" y="3907"/>
                    <a:pt x="2080" y="3686"/>
                  </a:cubicBezTo>
                  <a:cubicBezTo>
                    <a:pt x="2080" y="3497"/>
                    <a:pt x="1922" y="3340"/>
                    <a:pt x="1733" y="3340"/>
                  </a:cubicBezTo>
                  <a:lnTo>
                    <a:pt x="1387" y="3340"/>
                  </a:lnTo>
                  <a:lnTo>
                    <a:pt x="1387" y="1953"/>
                  </a:lnTo>
                  <a:lnTo>
                    <a:pt x="1733" y="1953"/>
                  </a:lnTo>
                  <a:cubicBezTo>
                    <a:pt x="1922" y="1953"/>
                    <a:pt x="2080" y="1796"/>
                    <a:pt x="2080" y="1607"/>
                  </a:cubicBezTo>
                  <a:cubicBezTo>
                    <a:pt x="2080" y="1418"/>
                    <a:pt x="1922" y="1260"/>
                    <a:pt x="1733" y="1260"/>
                  </a:cubicBezTo>
                  <a:lnTo>
                    <a:pt x="1387" y="1260"/>
                  </a:lnTo>
                  <a:lnTo>
                    <a:pt x="1387" y="914"/>
                  </a:lnTo>
                  <a:cubicBezTo>
                    <a:pt x="1387" y="693"/>
                    <a:pt x="1544" y="536"/>
                    <a:pt x="1733" y="536"/>
                  </a:cubicBezTo>
                  <a:close/>
                  <a:moveTo>
                    <a:pt x="9263" y="725"/>
                  </a:moveTo>
                  <a:cubicBezTo>
                    <a:pt x="9452" y="725"/>
                    <a:pt x="9609" y="882"/>
                    <a:pt x="9609" y="1071"/>
                  </a:cubicBezTo>
                  <a:lnTo>
                    <a:pt x="9609" y="10680"/>
                  </a:lnTo>
                  <a:cubicBezTo>
                    <a:pt x="9609" y="10869"/>
                    <a:pt x="9452" y="11027"/>
                    <a:pt x="9263" y="11027"/>
                  </a:cubicBezTo>
                  <a:lnTo>
                    <a:pt x="3371" y="11027"/>
                  </a:lnTo>
                  <a:lnTo>
                    <a:pt x="3371" y="725"/>
                  </a:lnTo>
                  <a:close/>
                  <a:moveTo>
                    <a:pt x="1733" y="0"/>
                  </a:moveTo>
                  <a:cubicBezTo>
                    <a:pt x="1166" y="0"/>
                    <a:pt x="694" y="473"/>
                    <a:pt x="694" y="1040"/>
                  </a:cubicBezTo>
                  <a:lnTo>
                    <a:pt x="694" y="1386"/>
                  </a:lnTo>
                  <a:lnTo>
                    <a:pt x="347" y="1386"/>
                  </a:lnTo>
                  <a:cubicBezTo>
                    <a:pt x="158" y="1386"/>
                    <a:pt x="0" y="1544"/>
                    <a:pt x="0" y="1733"/>
                  </a:cubicBezTo>
                  <a:cubicBezTo>
                    <a:pt x="0" y="1922"/>
                    <a:pt x="158" y="2079"/>
                    <a:pt x="347" y="2079"/>
                  </a:cubicBezTo>
                  <a:lnTo>
                    <a:pt x="694" y="2079"/>
                  </a:lnTo>
                  <a:lnTo>
                    <a:pt x="694" y="3466"/>
                  </a:lnTo>
                  <a:lnTo>
                    <a:pt x="347" y="3466"/>
                  </a:lnTo>
                  <a:cubicBezTo>
                    <a:pt x="158" y="3466"/>
                    <a:pt x="0" y="3623"/>
                    <a:pt x="0" y="3812"/>
                  </a:cubicBezTo>
                  <a:cubicBezTo>
                    <a:pt x="0" y="4033"/>
                    <a:pt x="158" y="4190"/>
                    <a:pt x="347" y="4190"/>
                  </a:cubicBezTo>
                  <a:lnTo>
                    <a:pt x="694" y="4190"/>
                  </a:lnTo>
                  <a:lnTo>
                    <a:pt x="694" y="5545"/>
                  </a:lnTo>
                  <a:lnTo>
                    <a:pt x="347" y="5545"/>
                  </a:lnTo>
                  <a:cubicBezTo>
                    <a:pt x="158" y="5545"/>
                    <a:pt x="0" y="5702"/>
                    <a:pt x="0" y="5923"/>
                  </a:cubicBezTo>
                  <a:cubicBezTo>
                    <a:pt x="0" y="6112"/>
                    <a:pt x="158" y="6269"/>
                    <a:pt x="347" y="6269"/>
                  </a:cubicBezTo>
                  <a:lnTo>
                    <a:pt x="694" y="6269"/>
                  </a:lnTo>
                  <a:lnTo>
                    <a:pt x="694" y="7656"/>
                  </a:lnTo>
                  <a:lnTo>
                    <a:pt x="347" y="7656"/>
                  </a:lnTo>
                  <a:cubicBezTo>
                    <a:pt x="158" y="7656"/>
                    <a:pt x="0" y="7813"/>
                    <a:pt x="0" y="8002"/>
                  </a:cubicBezTo>
                  <a:cubicBezTo>
                    <a:pt x="0" y="8191"/>
                    <a:pt x="158" y="8349"/>
                    <a:pt x="347" y="8349"/>
                  </a:cubicBezTo>
                  <a:lnTo>
                    <a:pt x="694" y="8349"/>
                  </a:lnTo>
                  <a:lnTo>
                    <a:pt x="694" y="9735"/>
                  </a:lnTo>
                  <a:lnTo>
                    <a:pt x="347" y="9735"/>
                  </a:lnTo>
                  <a:cubicBezTo>
                    <a:pt x="158" y="9735"/>
                    <a:pt x="0" y="9893"/>
                    <a:pt x="0" y="10082"/>
                  </a:cubicBezTo>
                  <a:cubicBezTo>
                    <a:pt x="0" y="10271"/>
                    <a:pt x="158" y="10428"/>
                    <a:pt x="347" y="10428"/>
                  </a:cubicBezTo>
                  <a:lnTo>
                    <a:pt x="694" y="10428"/>
                  </a:lnTo>
                  <a:lnTo>
                    <a:pt x="694" y="10806"/>
                  </a:lnTo>
                  <a:cubicBezTo>
                    <a:pt x="694" y="11342"/>
                    <a:pt x="1166" y="11814"/>
                    <a:pt x="1733" y="11814"/>
                  </a:cubicBezTo>
                  <a:lnTo>
                    <a:pt x="9294" y="11814"/>
                  </a:lnTo>
                  <a:cubicBezTo>
                    <a:pt x="9830" y="11814"/>
                    <a:pt x="10303" y="11342"/>
                    <a:pt x="10303" y="10806"/>
                  </a:cubicBezTo>
                  <a:lnTo>
                    <a:pt x="10303" y="8380"/>
                  </a:lnTo>
                  <a:lnTo>
                    <a:pt x="11342" y="8380"/>
                  </a:lnTo>
                  <a:cubicBezTo>
                    <a:pt x="11531" y="8380"/>
                    <a:pt x="11689" y="8223"/>
                    <a:pt x="11689" y="8034"/>
                  </a:cubicBezTo>
                  <a:lnTo>
                    <a:pt x="11689" y="1859"/>
                  </a:lnTo>
                  <a:cubicBezTo>
                    <a:pt x="11689" y="1544"/>
                    <a:pt x="11531" y="1386"/>
                    <a:pt x="11342" y="1386"/>
                  </a:cubicBezTo>
                  <a:lnTo>
                    <a:pt x="10303" y="1386"/>
                  </a:lnTo>
                  <a:lnTo>
                    <a:pt x="10303" y="1040"/>
                  </a:lnTo>
                  <a:cubicBezTo>
                    <a:pt x="10303" y="473"/>
                    <a:pt x="9830" y="0"/>
                    <a:pt x="929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2" name="Google Shape;7132;p74"/>
            <p:cNvSpPr/>
            <p:nvPr/>
          </p:nvSpPr>
          <p:spPr>
            <a:xfrm>
              <a:off x="-32836575" y="1967875"/>
              <a:ext cx="85875" cy="188250"/>
            </a:xfrm>
            <a:custGeom>
              <a:avLst/>
              <a:gdLst/>
              <a:ahLst/>
              <a:cxnLst/>
              <a:rect l="l" t="t" r="r" b="b"/>
              <a:pathLst>
                <a:path w="3435" h="7530" extrusionOk="0">
                  <a:moveTo>
                    <a:pt x="2773" y="693"/>
                  </a:moveTo>
                  <a:lnTo>
                    <a:pt x="2773" y="2048"/>
                  </a:lnTo>
                  <a:lnTo>
                    <a:pt x="1733" y="2048"/>
                  </a:lnTo>
                  <a:cubicBezTo>
                    <a:pt x="1544" y="2048"/>
                    <a:pt x="1386" y="2206"/>
                    <a:pt x="1386" y="2426"/>
                  </a:cubicBezTo>
                  <a:lnTo>
                    <a:pt x="1386" y="5136"/>
                  </a:lnTo>
                  <a:cubicBezTo>
                    <a:pt x="1386" y="5325"/>
                    <a:pt x="1544" y="5482"/>
                    <a:pt x="1733" y="5482"/>
                  </a:cubicBezTo>
                  <a:lnTo>
                    <a:pt x="2773" y="5482"/>
                  </a:lnTo>
                  <a:lnTo>
                    <a:pt x="2773" y="6868"/>
                  </a:lnTo>
                  <a:lnTo>
                    <a:pt x="1733" y="6868"/>
                  </a:lnTo>
                  <a:cubicBezTo>
                    <a:pt x="1197" y="6868"/>
                    <a:pt x="725" y="6396"/>
                    <a:pt x="725" y="5829"/>
                  </a:cubicBezTo>
                  <a:lnTo>
                    <a:pt x="725" y="1733"/>
                  </a:lnTo>
                  <a:cubicBezTo>
                    <a:pt x="725" y="1198"/>
                    <a:pt x="1197" y="693"/>
                    <a:pt x="1733" y="693"/>
                  </a:cubicBezTo>
                  <a:close/>
                  <a:moveTo>
                    <a:pt x="1701" y="0"/>
                  </a:moveTo>
                  <a:cubicBezTo>
                    <a:pt x="756" y="0"/>
                    <a:pt x="0" y="788"/>
                    <a:pt x="0" y="1733"/>
                  </a:cubicBezTo>
                  <a:lnTo>
                    <a:pt x="0" y="5829"/>
                  </a:lnTo>
                  <a:cubicBezTo>
                    <a:pt x="0" y="6774"/>
                    <a:pt x="756" y="7530"/>
                    <a:pt x="1701" y="7530"/>
                  </a:cubicBezTo>
                  <a:lnTo>
                    <a:pt x="3088" y="7530"/>
                  </a:lnTo>
                  <a:cubicBezTo>
                    <a:pt x="3277" y="7530"/>
                    <a:pt x="3434" y="7372"/>
                    <a:pt x="3434" y="7183"/>
                  </a:cubicBezTo>
                  <a:lnTo>
                    <a:pt x="3434" y="5136"/>
                  </a:lnTo>
                  <a:cubicBezTo>
                    <a:pt x="3434" y="4947"/>
                    <a:pt x="3277" y="4789"/>
                    <a:pt x="3088" y="4789"/>
                  </a:cubicBezTo>
                  <a:lnTo>
                    <a:pt x="2048" y="4789"/>
                  </a:lnTo>
                  <a:lnTo>
                    <a:pt x="2048" y="2741"/>
                  </a:lnTo>
                  <a:lnTo>
                    <a:pt x="3088" y="2741"/>
                  </a:lnTo>
                  <a:cubicBezTo>
                    <a:pt x="3277" y="2741"/>
                    <a:pt x="3434" y="2552"/>
                    <a:pt x="3434" y="2363"/>
                  </a:cubicBezTo>
                  <a:lnTo>
                    <a:pt x="3434" y="284"/>
                  </a:lnTo>
                  <a:cubicBezTo>
                    <a:pt x="3434" y="158"/>
                    <a:pt x="3277"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133" name="Google Shape;7133;p74"/>
          <p:cNvSpPr/>
          <p:nvPr/>
        </p:nvSpPr>
        <p:spPr>
          <a:xfrm>
            <a:off x="1134198" y="4511710"/>
            <a:ext cx="472703" cy="471409"/>
          </a:xfrm>
          <a:custGeom>
            <a:avLst/>
            <a:gdLst/>
            <a:ahLst/>
            <a:cxnLst/>
            <a:rect l="l" t="t" r="r" b="b"/>
            <a:pathLst>
              <a:path w="11689" h="11657" extrusionOk="0">
                <a:moveTo>
                  <a:pt x="5829" y="725"/>
                </a:moveTo>
                <a:cubicBezTo>
                  <a:pt x="6112" y="725"/>
                  <a:pt x="6333" y="882"/>
                  <a:pt x="6427" y="1134"/>
                </a:cubicBezTo>
                <a:lnTo>
                  <a:pt x="6774" y="2080"/>
                </a:lnTo>
                <a:lnTo>
                  <a:pt x="4915" y="2080"/>
                </a:lnTo>
                <a:lnTo>
                  <a:pt x="5262" y="1134"/>
                </a:lnTo>
                <a:cubicBezTo>
                  <a:pt x="5356" y="882"/>
                  <a:pt x="5577" y="725"/>
                  <a:pt x="5829" y="725"/>
                </a:cubicBezTo>
                <a:close/>
                <a:moveTo>
                  <a:pt x="7058" y="2773"/>
                </a:moveTo>
                <a:lnTo>
                  <a:pt x="7782" y="4852"/>
                </a:lnTo>
                <a:lnTo>
                  <a:pt x="3970" y="4852"/>
                </a:lnTo>
                <a:lnTo>
                  <a:pt x="4695" y="2773"/>
                </a:lnTo>
                <a:close/>
                <a:moveTo>
                  <a:pt x="8003" y="5514"/>
                </a:moveTo>
                <a:lnTo>
                  <a:pt x="8759" y="7624"/>
                </a:lnTo>
                <a:lnTo>
                  <a:pt x="2962" y="7624"/>
                </a:lnTo>
                <a:lnTo>
                  <a:pt x="3687" y="5514"/>
                </a:lnTo>
                <a:close/>
                <a:moveTo>
                  <a:pt x="8979" y="8286"/>
                </a:moveTo>
                <a:lnTo>
                  <a:pt x="9452" y="9672"/>
                </a:lnTo>
                <a:lnTo>
                  <a:pt x="2206" y="9672"/>
                </a:lnTo>
                <a:lnTo>
                  <a:pt x="2710" y="8286"/>
                </a:lnTo>
                <a:close/>
                <a:moveTo>
                  <a:pt x="10649" y="10334"/>
                </a:moveTo>
                <a:cubicBezTo>
                  <a:pt x="10838" y="10334"/>
                  <a:pt x="10996" y="10491"/>
                  <a:pt x="10996" y="10680"/>
                </a:cubicBezTo>
                <a:lnTo>
                  <a:pt x="10996" y="10995"/>
                </a:lnTo>
                <a:lnTo>
                  <a:pt x="662" y="10995"/>
                </a:lnTo>
                <a:lnTo>
                  <a:pt x="662" y="10680"/>
                </a:lnTo>
                <a:cubicBezTo>
                  <a:pt x="662" y="10491"/>
                  <a:pt x="820" y="10334"/>
                  <a:pt x="1040" y="10334"/>
                </a:cubicBezTo>
                <a:close/>
                <a:moveTo>
                  <a:pt x="5829" y="0"/>
                </a:moveTo>
                <a:cubicBezTo>
                  <a:pt x="5262" y="0"/>
                  <a:pt x="4758" y="378"/>
                  <a:pt x="4600" y="882"/>
                </a:cubicBezTo>
                <a:cubicBezTo>
                  <a:pt x="4474" y="1260"/>
                  <a:pt x="1670" y="9231"/>
                  <a:pt x="1481" y="9609"/>
                </a:cubicBezTo>
                <a:lnTo>
                  <a:pt x="1040" y="9609"/>
                </a:lnTo>
                <a:cubicBezTo>
                  <a:pt x="473" y="9609"/>
                  <a:pt x="0" y="10082"/>
                  <a:pt x="0" y="10649"/>
                </a:cubicBezTo>
                <a:lnTo>
                  <a:pt x="0" y="11310"/>
                </a:lnTo>
                <a:cubicBezTo>
                  <a:pt x="0" y="11499"/>
                  <a:pt x="158" y="11657"/>
                  <a:pt x="347" y="11657"/>
                </a:cubicBezTo>
                <a:lnTo>
                  <a:pt x="11342" y="11657"/>
                </a:lnTo>
                <a:cubicBezTo>
                  <a:pt x="11531" y="11657"/>
                  <a:pt x="11689" y="11499"/>
                  <a:pt x="11689" y="11310"/>
                </a:cubicBezTo>
                <a:lnTo>
                  <a:pt x="11689" y="10680"/>
                </a:lnTo>
                <a:cubicBezTo>
                  <a:pt x="11689" y="10082"/>
                  <a:pt x="11216" y="9609"/>
                  <a:pt x="10618" y="9609"/>
                </a:cubicBezTo>
                <a:lnTo>
                  <a:pt x="10145" y="9609"/>
                </a:lnTo>
                <a:cubicBezTo>
                  <a:pt x="9988" y="9231"/>
                  <a:pt x="7184" y="1229"/>
                  <a:pt x="7058" y="882"/>
                </a:cubicBezTo>
                <a:cubicBezTo>
                  <a:pt x="6837" y="378"/>
                  <a:pt x="6396"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4" name="Google Shape;7134;p74"/>
          <p:cNvSpPr/>
          <p:nvPr/>
        </p:nvSpPr>
        <p:spPr>
          <a:xfrm>
            <a:off x="1133550" y="5124905"/>
            <a:ext cx="473997" cy="472744"/>
          </a:xfrm>
          <a:custGeom>
            <a:avLst/>
            <a:gdLst/>
            <a:ahLst/>
            <a:cxnLst/>
            <a:rect l="l" t="t" r="r" b="b"/>
            <a:pathLst>
              <a:path w="11721" h="11690" extrusionOk="0">
                <a:moveTo>
                  <a:pt x="8980" y="662"/>
                </a:moveTo>
                <a:lnTo>
                  <a:pt x="8980" y="2710"/>
                </a:lnTo>
                <a:lnTo>
                  <a:pt x="7594" y="2710"/>
                </a:lnTo>
                <a:lnTo>
                  <a:pt x="7594" y="1671"/>
                </a:lnTo>
                <a:cubicBezTo>
                  <a:pt x="7594" y="1135"/>
                  <a:pt x="8066" y="662"/>
                  <a:pt x="8602" y="662"/>
                </a:cubicBezTo>
                <a:close/>
                <a:moveTo>
                  <a:pt x="9988" y="662"/>
                </a:moveTo>
                <a:cubicBezTo>
                  <a:pt x="10177" y="662"/>
                  <a:pt x="10366" y="820"/>
                  <a:pt x="10366" y="1009"/>
                </a:cubicBezTo>
                <a:lnTo>
                  <a:pt x="10366" y="2395"/>
                </a:lnTo>
                <a:cubicBezTo>
                  <a:pt x="10366" y="2584"/>
                  <a:pt x="10177" y="2742"/>
                  <a:pt x="9988" y="2742"/>
                </a:cubicBezTo>
                <a:lnTo>
                  <a:pt x="9641" y="2742"/>
                </a:lnTo>
                <a:lnTo>
                  <a:pt x="9641" y="662"/>
                </a:lnTo>
                <a:close/>
                <a:moveTo>
                  <a:pt x="10650" y="4758"/>
                </a:moveTo>
                <a:cubicBezTo>
                  <a:pt x="10870" y="4758"/>
                  <a:pt x="11028" y="4916"/>
                  <a:pt x="11028" y="5105"/>
                </a:cubicBezTo>
                <a:cubicBezTo>
                  <a:pt x="11028" y="5294"/>
                  <a:pt x="10870" y="5451"/>
                  <a:pt x="10650" y="5451"/>
                </a:cubicBezTo>
                <a:lnTo>
                  <a:pt x="9295" y="5451"/>
                </a:lnTo>
                <a:cubicBezTo>
                  <a:pt x="9074" y="5451"/>
                  <a:pt x="8917" y="5294"/>
                  <a:pt x="8917" y="5105"/>
                </a:cubicBezTo>
                <a:cubicBezTo>
                  <a:pt x="8917" y="4916"/>
                  <a:pt x="9074" y="4758"/>
                  <a:pt x="9295" y="4758"/>
                </a:cubicBezTo>
                <a:close/>
                <a:moveTo>
                  <a:pt x="10650" y="6144"/>
                </a:moveTo>
                <a:cubicBezTo>
                  <a:pt x="10870" y="6144"/>
                  <a:pt x="11028" y="6302"/>
                  <a:pt x="11028" y="6491"/>
                </a:cubicBezTo>
                <a:cubicBezTo>
                  <a:pt x="11028" y="6680"/>
                  <a:pt x="10870" y="6837"/>
                  <a:pt x="10650" y="6837"/>
                </a:cubicBezTo>
                <a:lnTo>
                  <a:pt x="9295" y="6837"/>
                </a:lnTo>
                <a:cubicBezTo>
                  <a:pt x="9074" y="6837"/>
                  <a:pt x="8917" y="6680"/>
                  <a:pt x="8917" y="6491"/>
                </a:cubicBezTo>
                <a:cubicBezTo>
                  <a:pt x="8917" y="6302"/>
                  <a:pt x="9074" y="6144"/>
                  <a:pt x="9295" y="6144"/>
                </a:cubicBezTo>
                <a:close/>
                <a:moveTo>
                  <a:pt x="3088" y="3372"/>
                </a:moveTo>
                <a:cubicBezTo>
                  <a:pt x="3309" y="3372"/>
                  <a:pt x="3467" y="3529"/>
                  <a:pt x="3467" y="3718"/>
                </a:cubicBezTo>
                <a:lnTo>
                  <a:pt x="3467" y="7814"/>
                </a:lnTo>
                <a:cubicBezTo>
                  <a:pt x="3467" y="8035"/>
                  <a:pt x="3309" y="8192"/>
                  <a:pt x="3088" y="8192"/>
                </a:cubicBezTo>
                <a:lnTo>
                  <a:pt x="2742" y="8192"/>
                </a:lnTo>
                <a:lnTo>
                  <a:pt x="2742" y="3372"/>
                </a:lnTo>
                <a:close/>
                <a:moveTo>
                  <a:pt x="9988" y="7499"/>
                </a:moveTo>
                <a:cubicBezTo>
                  <a:pt x="10177" y="7499"/>
                  <a:pt x="10335" y="7657"/>
                  <a:pt x="10335" y="7877"/>
                </a:cubicBezTo>
                <a:cubicBezTo>
                  <a:pt x="10335" y="8066"/>
                  <a:pt x="10177" y="8224"/>
                  <a:pt x="9988" y="8224"/>
                </a:cubicBezTo>
                <a:lnTo>
                  <a:pt x="9326" y="8224"/>
                </a:lnTo>
                <a:cubicBezTo>
                  <a:pt x="9137" y="8224"/>
                  <a:pt x="8980" y="8066"/>
                  <a:pt x="8980" y="7877"/>
                </a:cubicBezTo>
                <a:cubicBezTo>
                  <a:pt x="8980" y="7657"/>
                  <a:pt x="9137" y="7499"/>
                  <a:pt x="9326" y="7499"/>
                </a:cubicBezTo>
                <a:close/>
                <a:moveTo>
                  <a:pt x="9988" y="3403"/>
                </a:moveTo>
                <a:cubicBezTo>
                  <a:pt x="10177" y="3403"/>
                  <a:pt x="10335" y="3561"/>
                  <a:pt x="10335" y="3781"/>
                </a:cubicBezTo>
                <a:cubicBezTo>
                  <a:pt x="10335" y="3971"/>
                  <a:pt x="10177" y="4128"/>
                  <a:pt x="9988" y="4128"/>
                </a:cubicBezTo>
                <a:lnTo>
                  <a:pt x="7279" y="4128"/>
                </a:lnTo>
                <a:cubicBezTo>
                  <a:pt x="7090" y="4128"/>
                  <a:pt x="6932" y="4286"/>
                  <a:pt x="6932" y="4475"/>
                </a:cubicBezTo>
                <a:cubicBezTo>
                  <a:pt x="6932" y="5042"/>
                  <a:pt x="6459" y="5514"/>
                  <a:pt x="5892" y="5514"/>
                </a:cubicBezTo>
                <a:cubicBezTo>
                  <a:pt x="5703" y="5514"/>
                  <a:pt x="5546" y="5672"/>
                  <a:pt x="5546" y="5861"/>
                </a:cubicBezTo>
                <a:cubicBezTo>
                  <a:pt x="5546" y="6050"/>
                  <a:pt x="5703" y="6207"/>
                  <a:pt x="5892" y="6207"/>
                </a:cubicBezTo>
                <a:cubicBezTo>
                  <a:pt x="6302" y="6207"/>
                  <a:pt x="6649" y="6081"/>
                  <a:pt x="6932" y="5861"/>
                </a:cubicBezTo>
                <a:lnTo>
                  <a:pt x="6932" y="8255"/>
                </a:lnTo>
                <a:lnTo>
                  <a:pt x="5546" y="8255"/>
                </a:lnTo>
                <a:lnTo>
                  <a:pt x="5546" y="8192"/>
                </a:lnTo>
                <a:cubicBezTo>
                  <a:pt x="5388" y="8192"/>
                  <a:pt x="5231" y="8129"/>
                  <a:pt x="5073" y="8066"/>
                </a:cubicBezTo>
                <a:lnTo>
                  <a:pt x="4128" y="7625"/>
                </a:lnTo>
                <a:lnTo>
                  <a:pt x="4128" y="4097"/>
                </a:lnTo>
                <a:lnTo>
                  <a:pt x="4727" y="4097"/>
                </a:lnTo>
                <a:cubicBezTo>
                  <a:pt x="5105" y="4097"/>
                  <a:pt x="5514" y="3907"/>
                  <a:pt x="5766" y="3655"/>
                </a:cubicBezTo>
                <a:cubicBezTo>
                  <a:pt x="5924" y="3498"/>
                  <a:pt x="6144" y="3403"/>
                  <a:pt x="6365" y="3403"/>
                </a:cubicBezTo>
                <a:close/>
                <a:moveTo>
                  <a:pt x="1734" y="662"/>
                </a:moveTo>
                <a:cubicBezTo>
                  <a:pt x="1923" y="662"/>
                  <a:pt x="2080" y="820"/>
                  <a:pt x="2080" y="1009"/>
                </a:cubicBezTo>
                <a:lnTo>
                  <a:pt x="2080" y="9200"/>
                </a:lnTo>
                <a:cubicBezTo>
                  <a:pt x="2080" y="9389"/>
                  <a:pt x="1923" y="9547"/>
                  <a:pt x="1734" y="9547"/>
                </a:cubicBezTo>
                <a:cubicBezTo>
                  <a:pt x="1513" y="9547"/>
                  <a:pt x="1356" y="9389"/>
                  <a:pt x="1356" y="9200"/>
                </a:cubicBezTo>
                <a:lnTo>
                  <a:pt x="1356" y="1009"/>
                </a:lnTo>
                <a:cubicBezTo>
                  <a:pt x="1356" y="820"/>
                  <a:pt x="1513" y="662"/>
                  <a:pt x="1734" y="662"/>
                </a:cubicBezTo>
                <a:close/>
                <a:moveTo>
                  <a:pt x="8350" y="4790"/>
                </a:moveTo>
                <a:cubicBezTo>
                  <a:pt x="8287" y="4916"/>
                  <a:pt x="8287" y="5042"/>
                  <a:pt x="8287" y="5136"/>
                </a:cubicBezTo>
                <a:cubicBezTo>
                  <a:pt x="8287" y="5420"/>
                  <a:pt x="8413" y="5672"/>
                  <a:pt x="8570" y="5829"/>
                </a:cubicBezTo>
                <a:cubicBezTo>
                  <a:pt x="8413" y="6018"/>
                  <a:pt x="8287" y="6239"/>
                  <a:pt x="8287" y="6491"/>
                </a:cubicBezTo>
                <a:cubicBezTo>
                  <a:pt x="8287" y="6743"/>
                  <a:pt x="8413" y="6995"/>
                  <a:pt x="8570" y="7152"/>
                </a:cubicBezTo>
                <a:cubicBezTo>
                  <a:pt x="8413" y="7342"/>
                  <a:pt x="8287" y="7594"/>
                  <a:pt x="8287" y="7814"/>
                </a:cubicBezTo>
                <a:cubicBezTo>
                  <a:pt x="8287" y="8255"/>
                  <a:pt x="8570" y="8633"/>
                  <a:pt x="8980" y="8791"/>
                </a:cubicBezTo>
                <a:lnTo>
                  <a:pt x="8980" y="10965"/>
                </a:lnTo>
                <a:lnTo>
                  <a:pt x="8602" y="10965"/>
                </a:lnTo>
                <a:cubicBezTo>
                  <a:pt x="8066" y="10965"/>
                  <a:pt x="7594" y="10460"/>
                  <a:pt x="7594" y="9925"/>
                </a:cubicBezTo>
                <a:lnTo>
                  <a:pt x="7594" y="4790"/>
                </a:lnTo>
                <a:close/>
                <a:moveTo>
                  <a:pt x="9988" y="8885"/>
                </a:moveTo>
                <a:cubicBezTo>
                  <a:pt x="10177" y="8885"/>
                  <a:pt x="10335" y="9043"/>
                  <a:pt x="10335" y="9232"/>
                </a:cubicBezTo>
                <a:lnTo>
                  <a:pt x="10335" y="10618"/>
                </a:lnTo>
                <a:cubicBezTo>
                  <a:pt x="10335" y="10807"/>
                  <a:pt x="10177" y="10965"/>
                  <a:pt x="9988" y="10965"/>
                </a:cubicBezTo>
                <a:lnTo>
                  <a:pt x="9641" y="10965"/>
                </a:lnTo>
                <a:lnTo>
                  <a:pt x="9641" y="8885"/>
                </a:lnTo>
                <a:close/>
                <a:moveTo>
                  <a:pt x="1734" y="1"/>
                </a:moveTo>
                <a:cubicBezTo>
                  <a:pt x="1167" y="1"/>
                  <a:pt x="694" y="473"/>
                  <a:pt x="694" y="1009"/>
                </a:cubicBezTo>
                <a:lnTo>
                  <a:pt x="694" y="9200"/>
                </a:lnTo>
                <a:cubicBezTo>
                  <a:pt x="694" y="9641"/>
                  <a:pt x="978" y="10019"/>
                  <a:pt x="1356" y="10177"/>
                </a:cubicBezTo>
                <a:lnTo>
                  <a:pt x="1356" y="10965"/>
                </a:lnTo>
                <a:lnTo>
                  <a:pt x="348" y="10965"/>
                </a:lnTo>
                <a:cubicBezTo>
                  <a:pt x="158" y="10965"/>
                  <a:pt x="1" y="11122"/>
                  <a:pt x="1" y="11343"/>
                </a:cubicBezTo>
                <a:cubicBezTo>
                  <a:pt x="1" y="11532"/>
                  <a:pt x="158" y="11689"/>
                  <a:pt x="348" y="11689"/>
                </a:cubicBezTo>
                <a:lnTo>
                  <a:pt x="3057" y="11689"/>
                </a:lnTo>
                <a:cubicBezTo>
                  <a:pt x="3246" y="11689"/>
                  <a:pt x="3403" y="11532"/>
                  <a:pt x="3403" y="11343"/>
                </a:cubicBezTo>
                <a:cubicBezTo>
                  <a:pt x="3403" y="11122"/>
                  <a:pt x="3246" y="10965"/>
                  <a:pt x="3057" y="10965"/>
                </a:cubicBezTo>
                <a:lnTo>
                  <a:pt x="2049" y="10965"/>
                </a:lnTo>
                <a:lnTo>
                  <a:pt x="2049" y="10177"/>
                </a:lnTo>
                <a:cubicBezTo>
                  <a:pt x="2427" y="10019"/>
                  <a:pt x="2710" y="9673"/>
                  <a:pt x="2710" y="9200"/>
                </a:cubicBezTo>
                <a:lnTo>
                  <a:pt x="2710" y="8885"/>
                </a:lnTo>
                <a:lnTo>
                  <a:pt x="3057" y="8885"/>
                </a:lnTo>
                <a:cubicBezTo>
                  <a:pt x="3467" y="8885"/>
                  <a:pt x="3813" y="8665"/>
                  <a:pt x="3971" y="8350"/>
                </a:cubicBezTo>
                <a:lnTo>
                  <a:pt x="4727" y="8696"/>
                </a:lnTo>
                <a:cubicBezTo>
                  <a:pt x="4947" y="8822"/>
                  <a:pt x="5231" y="8885"/>
                  <a:pt x="5451" y="8885"/>
                </a:cubicBezTo>
                <a:lnTo>
                  <a:pt x="6838" y="8885"/>
                </a:lnTo>
                <a:lnTo>
                  <a:pt x="6838" y="9925"/>
                </a:lnTo>
                <a:cubicBezTo>
                  <a:pt x="6838" y="10870"/>
                  <a:pt x="7594" y="11689"/>
                  <a:pt x="8539" y="11689"/>
                </a:cubicBezTo>
                <a:lnTo>
                  <a:pt x="9925" y="11689"/>
                </a:lnTo>
                <a:cubicBezTo>
                  <a:pt x="10461" y="11689"/>
                  <a:pt x="10933" y="11217"/>
                  <a:pt x="10933" y="10650"/>
                </a:cubicBezTo>
                <a:lnTo>
                  <a:pt x="10933" y="9232"/>
                </a:lnTo>
                <a:cubicBezTo>
                  <a:pt x="10933" y="8980"/>
                  <a:pt x="10807" y="8728"/>
                  <a:pt x="10681" y="8570"/>
                </a:cubicBezTo>
                <a:cubicBezTo>
                  <a:pt x="10839" y="8381"/>
                  <a:pt x="10933" y="8129"/>
                  <a:pt x="10933" y="7909"/>
                </a:cubicBezTo>
                <a:cubicBezTo>
                  <a:pt x="10933" y="7783"/>
                  <a:pt x="10902" y="7625"/>
                  <a:pt x="10870" y="7499"/>
                </a:cubicBezTo>
                <a:cubicBezTo>
                  <a:pt x="11311" y="7405"/>
                  <a:pt x="11626" y="6995"/>
                  <a:pt x="11626" y="6522"/>
                </a:cubicBezTo>
                <a:cubicBezTo>
                  <a:pt x="11626" y="6239"/>
                  <a:pt x="11500" y="6018"/>
                  <a:pt x="11343" y="5861"/>
                </a:cubicBezTo>
                <a:cubicBezTo>
                  <a:pt x="11500" y="5672"/>
                  <a:pt x="11626" y="5420"/>
                  <a:pt x="11626" y="5199"/>
                </a:cubicBezTo>
                <a:cubicBezTo>
                  <a:pt x="11721" y="4632"/>
                  <a:pt x="11374" y="4254"/>
                  <a:pt x="10933" y="4128"/>
                </a:cubicBezTo>
                <a:cubicBezTo>
                  <a:pt x="10965" y="4002"/>
                  <a:pt x="11028" y="3876"/>
                  <a:pt x="11028" y="3718"/>
                </a:cubicBezTo>
                <a:cubicBezTo>
                  <a:pt x="11028" y="3466"/>
                  <a:pt x="10902" y="3214"/>
                  <a:pt x="10744" y="3057"/>
                </a:cubicBezTo>
                <a:cubicBezTo>
                  <a:pt x="10902" y="2868"/>
                  <a:pt x="11028" y="2616"/>
                  <a:pt x="11028" y="2395"/>
                </a:cubicBezTo>
                <a:lnTo>
                  <a:pt x="11028" y="1009"/>
                </a:lnTo>
                <a:cubicBezTo>
                  <a:pt x="11028" y="473"/>
                  <a:pt x="10555" y="1"/>
                  <a:pt x="9988" y="1"/>
                </a:cubicBezTo>
                <a:lnTo>
                  <a:pt x="8602" y="1"/>
                </a:lnTo>
                <a:cubicBezTo>
                  <a:pt x="7657" y="1"/>
                  <a:pt x="6932" y="726"/>
                  <a:pt x="6932" y="1671"/>
                </a:cubicBezTo>
                <a:lnTo>
                  <a:pt x="6932" y="2710"/>
                </a:lnTo>
                <a:lnTo>
                  <a:pt x="6365" y="2710"/>
                </a:lnTo>
                <a:cubicBezTo>
                  <a:pt x="5987" y="2710"/>
                  <a:pt x="5577" y="2868"/>
                  <a:pt x="5294" y="3151"/>
                </a:cubicBezTo>
                <a:cubicBezTo>
                  <a:pt x="5136" y="3309"/>
                  <a:pt x="4947" y="3372"/>
                  <a:pt x="4727" y="3372"/>
                </a:cubicBezTo>
                <a:lnTo>
                  <a:pt x="4097" y="3372"/>
                </a:lnTo>
                <a:cubicBezTo>
                  <a:pt x="3939" y="2994"/>
                  <a:pt x="3561" y="2710"/>
                  <a:pt x="3088" y="2710"/>
                </a:cubicBezTo>
                <a:lnTo>
                  <a:pt x="2742" y="2710"/>
                </a:lnTo>
                <a:lnTo>
                  <a:pt x="2742" y="1009"/>
                </a:lnTo>
                <a:cubicBezTo>
                  <a:pt x="2742" y="473"/>
                  <a:pt x="2269"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35" name="Google Shape;7135;p74"/>
          <p:cNvGrpSpPr/>
          <p:nvPr/>
        </p:nvGrpSpPr>
        <p:grpSpPr>
          <a:xfrm>
            <a:off x="4108135" y="3887157"/>
            <a:ext cx="475251" cy="471409"/>
            <a:chOff x="-31166825" y="1939525"/>
            <a:chExt cx="293800" cy="291425"/>
          </a:xfrm>
        </p:grpSpPr>
        <p:sp>
          <p:nvSpPr>
            <p:cNvPr id="7136" name="Google Shape;7136;p74"/>
            <p:cNvSpPr/>
            <p:nvPr/>
          </p:nvSpPr>
          <p:spPr>
            <a:xfrm>
              <a:off x="-31166825" y="1939525"/>
              <a:ext cx="224500" cy="291425"/>
            </a:xfrm>
            <a:custGeom>
              <a:avLst/>
              <a:gdLst/>
              <a:ahLst/>
              <a:cxnLst/>
              <a:rect l="l" t="t" r="r" b="b"/>
              <a:pathLst>
                <a:path w="8980" h="11657" extrusionOk="0">
                  <a:moveTo>
                    <a:pt x="5892" y="662"/>
                  </a:moveTo>
                  <a:cubicBezTo>
                    <a:pt x="6081" y="662"/>
                    <a:pt x="6239" y="819"/>
                    <a:pt x="6239" y="1040"/>
                  </a:cubicBezTo>
                  <a:lnTo>
                    <a:pt x="6239" y="1386"/>
                  </a:lnTo>
                  <a:lnTo>
                    <a:pt x="2805" y="1386"/>
                  </a:lnTo>
                  <a:lnTo>
                    <a:pt x="2805" y="1040"/>
                  </a:lnTo>
                  <a:cubicBezTo>
                    <a:pt x="2805" y="819"/>
                    <a:pt x="2962" y="662"/>
                    <a:pt x="3120" y="662"/>
                  </a:cubicBezTo>
                  <a:close/>
                  <a:moveTo>
                    <a:pt x="8035" y="1323"/>
                  </a:moveTo>
                  <a:cubicBezTo>
                    <a:pt x="8255" y="1323"/>
                    <a:pt x="8413" y="1512"/>
                    <a:pt x="8413" y="1701"/>
                  </a:cubicBezTo>
                  <a:lnTo>
                    <a:pt x="8413" y="10617"/>
                  </a:lnTo>
                  <a:cubicBezTo>
                    <a:pt x="8413" y="10838"/>
                    <a:pt x="8255" y="10995"/>
                    <a:pt x="8035" y="10995"/>
                  </a:cubicBezTo>
                  <a:lnTo>
                    <a:pt x="1166" y="10995"/>
                  </a:lnTo>
                  <a:cubicBezTo>
                    <a:pt x="946" y="10995"/>
                    <a:pt x="788" y="10838"/>
                    <a:pt x="788" y="10617"/>
                  </a:cubicBezTo>
                  <a:lnTo>
                    <a:pt x="788" y="1701"/>
                  </a:lnTo>
                  <a:lnTo>
                    <a:pt x="757" y="1701"/>
                  </a:lnTo>
                  <a:cubicBezTo>
                    <a:pt x="757" y="1512"/>
                    <a:pt x="914" y="1323"/>
                    <a:pt x="1103" y="1323"/>
                  </a:cubicBezTo>
                  <a:lnTo>
                    <a:pt x="2143" y="1323"/>
                  </a:lnTo>
                  <a:lnTo>
                    <a:pt x="2143" y="1701"/>
                  </a:lnTo>
                  <a:cubicBezTo>
                    <a:pt x="2143" y="1890"/>
                    <a:pt x="2301" y="2048"/>
                    <a:pt x="2490" y="2048"/>
                  </a:cubicBezTo>
                  <a:lnTo>
                    <a:pt x="6617" y="2048"/>
                  </a:lnTo>
                  <a:cubicBezTo>
                    <a:pt x="6837" y="2048"/>
                    <a:pt x="6995" y="1890"/>
                    <a:pt x="6995" y="1701"/>
                  </a:cubicBezTo>
                  <a:lnTo>
                    <a:pt x="6995" y="1323"/>
                  </a:lnTo>
                  <a:close/>
                  <a:moveTo>
                    <a:pt x="3120" y="0"/>
                  </a:moveTo>
                  <a:cubicBezTo>
                    <a:pt x="2679" y="0"/>
                    <a:pt x="2301" y="284"/>
                    <a:pt x="2143" y="662"/>
                  </a:cubicBezTo>
                  <a:lnTo>
                    <a:pt x="1040" y="662"/>
                  </a:lnTo>
                  <a:cubicBezTo>
                    <a:pt x="473" y="662"/>
                    <a:pt x="1" y="1134"/>
                    <a:pt x="1" y="1701"/>
                  </a:cubicBezTo>
                  <a:lnTo>
                    <a:pt x="1" y="10649"/>
                  </a:lnTo>
                  <a:cubicBezTo>
                    <a:pt x="64" y="11216"/>
                    <a:pt x="536" y="11657"/>
                    <a:pt x="1072" y="11657"/>
                  </a:cubicBezTo>
                  <a:lnTo>
                    <a:pt x="7971" y="11657"/>
                  </a:lnTo>
                  <a:cubicBezTo>
                    <a:pt x="8507" y="11657"/>
                    <a:pt x="8980" y="11184"/>
                    <a:pt x="8980" y="10649"/>
                  </a:cubicBezTo>
                  <a:lnTo>
                    <a:pt x="8980" y="1701"/>
                  </a:lnTo>
                  <a:cubicBezTo>
                    <a:pt x="8980" y="1134"/>
                    <a:pt x="8507" y="662"/>
                    <a:pt x="7971" y="662"/>
                  </a:cubicBezTo>
                  <a:lnTo>
                    <a:pt x="6869" y="662"/>
                  </a:lnTo>
                  <a:cubicBezTo>
                    <a:pt x="6711" y="284"/>
                    <a:pt x="6365" y="0"/>
                    <a:pt x="58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7" name="Google Shape;7137;p74"/>
            <p:cNvSpPr/>
            <p:nvPr/>
          </p:nvSpPr>
          <p:spPr>
            <a:xfrm>
              <a:off x="-31131375" y="2145075"/>
              <a:ext cx="52800" cy="52800"/>
            </a:xfrm>
            <a:custGeom>
              <a:avLst/>
              <a:gdLst/>
              <a:ahLst/>
              <a:cxnLst/>
              <a:rect l="l" t="t" r="r" b="b"/>
              <a:pathLst>
                <a:path w="2112" h="2112" extrusionOk="0">
                  <a:moveTo>
                    <a:pt x="1355" y="726"/>
                  </a:moveTo>
                  <a:lnTo>
                    <a:pt x="1355" y="1387"/>
                  </a:lnTo>
                  <a:lnTo>
                    <a:pt x="694" y="1387"/>
                  </a:lnTo>
                  <a:lnTo>
                    <a:pt x="694" y="726"/>
                  </a:lnTo>
                  <a:close/>
                  <a:moveTo>
                    <a:pt x="379" y="1"/>
                  </a:moveTo>
                  <a:cubicBezTo>
                    <a:pt x="158" y="1"/>
                    <a:pt x="0" y="158"/>
                    <a:pt x="0" y="379"/>
                  </a:cubicBezTo>
                  <a:lnTo>
                    <a:pt x="0" y="1734"/>
                  </a:lnTo>
                  <a:cubicBezTo>
                    <a:pt x="0" y="1954"/>
                    <a:pt x="158" y="2112"/>
                    <a:pt x="379" y="2112"/>
                  </a:cubicBezTo>
                  <a:lnTo>
                    <a:pt x="1733" y="2112"/>
                  </a:lnTo>
                  <a:cubicBezTo>
                    <a:pt x="1954" y="2112"/>
                    <a:pt x="2111" y="1954"/>
                    <a:pt x="2111" y="1734"/>
                  </a:cubicBezTo>
                  <a:lnTo>
                    <a:pt x="2111" y="379"/>
                  </a:lnTo>
                  <a:cubicBezTo>
                    <a:pt x="2111" y="158"/>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8" name="Google Shape;7138;p74"/>
            <p:cNvSpPr/>
            <p:nvPr/>
          </p:nvSpPr>
          <p:spPr>
            <a:xfrm>
              <a:off x="-31131375" y="2076550"/>
              <a:ext cx="52800" cy="52025"/>
            </a:xfrm>
            <a:custGeom>
              <a:avLst/>
              <a:gdLst/>
              <a:ahLst/>
              <a:cxnLst/>
              <a:rect l="l" t="t" r="r" b="b"/>
              <a:pathLst>
                <a:path w="2112" h="2081" extrusionOk="0">
                  <a:moveTo>
                    <a:pt x="1355" y="694"/>
                  </a:moveTo>
                  <a:lnTo>
                    <a:pt x="1355" y="1356"/>
                  </a:lnTo>
                  <a:lnTo>
                    <a:pt x="694" y="1356"/>
                  </a:lnTo>
                  <a:lnTo>
                    <a:pt x="694" y="694"/>
                  </a:lnTo>
                  <a:close/>
                  <a:moveTo>
                    <a:pt x="379" y="1"/>
                  </a:moveTo>
                  <a:cubicBezTo>
                    <a:pt x="158" y="1"/>
                    <a:pt x="0" y="159"/>
                    <a:pt x="0" y="348"/>
                  </a:cubicBezTo>
                  <a:lnTo>
                    <a:pt x="0" y="1734"/>
                  </a:lnTo>
                  <a:cubicBezTo>
                    <a:pt x="0" y="1923"/>
                    <a:pt x="158" y="2080"/>
                    <a:pt x="379" y="2080"/>
                  </a:cubicBezTo>
                  <a:lnTo>
                    <a:pt x="1733" y="2080"/>
                  </a:lnTo>
                  <a:cubicBezTo>
                    <a:pt x="1954" y="2080"/>
                    <a:pt x="2111" y="1923"/>
                    <a:pt x="2111" y="1734"/>
                  </a:cubicBezTo>
                  <a:lnTo>
                    <a:pt x="2111" y="348"/>
                  </a:lnTo>
                  <a:cubicBezTo>
                    <a:pt x="2111" y="159"/>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39" name="Google Shape;7139;p74"/>
            <p:cNvSpPr/>
            <p:nvPr/>
          </p:nvSpPr>
          <p:spPr>
            <a:xfrm>
              <a:off x="-31131375" y="2007250"/>
              <a:ext cx="52800" cy="52800"/>
            </a:xfrm>
            <a:custGeom>
              <a:avLst/>
              <a:gdLst/>
              <a:ahLst/>
              <a:cxnLst/>
              <a:rect l="l" t="t" r="r" b="b"/>
              <a:pathLst>
                <a:path w="2112" h="2112" extrusionOk="0">
                  <a:moveTo>
                    <a:pt x="1355" y="725"/>
                  </a:moveTo>
                  <a:lnTo>
                    <a:pt x="1355" y="1387"/>
                  </a:lnTo>
                  <a:lnTo>
                    <a:pt x="694" y="1387"/>
                  </a:lnTo>
                  <a:lnTo>
                    <a:pt x="694" y="725"/>
                  </a:lnTo>
                  <a:close/>
                  <a:moveTo>
                    <a:pt x="379" y="1"/>
                  </a:moveTo>
                  <a:cubicBezTo>
                    <a:pt x="158" y="1"/>
                    <a:pt x="0" y="158"/>
                    <a:pt x="0" y="379"/>
                  </a:cubicBezTo>
                  <a:lnTo>
                    <a:pt x="0" y="1733"/>
                  </a:lnTo>
                  <a:cubicBezTo>
                    <a:pt x="0" y="1954"/>
                    <a:pt x="158" y="2111"/>
                    <a:pt x="379" y="2111"/>
                  </a:cubicBezTo>
                  <a:lnTo>
                    <a:pt x="1733" y="2111"/>
                  </a:lnTo>
                  <a:cubicBezTo>
                    <a:pt x="1954" y="2111"/>
                    <a:pt x="2111" y="1954"/>
                    <a:pt x="2111" y="1733"/>
                  </a:cubicBezTo>
                  <a:lnTo>
                    <a:pt x="2111" y="379"/>
                  </a:lnTo>
                  <a:cubicBezTo>
                    <a:pt x="2111" y="158"/>
                    <a:pt x="1954" y="1"/>
                    <a:pt x="17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0" name="Google Shape;7140;p74"/>
            <p:cNvSpPr/>
            <p:nvPr/>
          </p:nvSpPr>
          <p:spPr>
            <a:xfrm>
              <a:off x="-31062075" y="2007250"/>
              <a:ext cx="85875" cy="18150"/>
            </a:xfrm>
            <a:custGeom>
              <a:avLst/>
              <a:gdLst/>
              <a:ahLst/>
              <a:cxnLst/>
              <a:rect l="l" t="t" r="r" b="b"/>
              <a:pathLst>
                <a:path w="3435" h="726" extrusionOk="0">
                  <a:moveTo>
                    <a:pt x="347" y="1"/>
                  </a:moveTo>
                  <a:cubicBezTo>
                    <a:pt x="158" y="1"/>
                    <a:pt x="1" y="158"/>
                    <a:pt x="1" y="379"/>
                  </a:cubicBezTo>
                  <a:cubicBezTo>
                    <a:pt x="1" y="568"/>
                    <a:pt x="158" y="725"/>
                    <a:pt x="347" y="725"/>
                  </a:cubicBezTo>
                  <a:lnTo>
                    <a:pt x="3057" y="725"/>
                  </a:lnTo>
                  <a:cubicBezTo>
                    <a:pt x="3277" y="725"/>
                    <a:pt x="3435" y="568"/>
                    <a:pt x="3435" y="379"/>
                  </a:cubicBezTo>
                  <a:cubicBezTo>
                    <a:pt x="3435" y="158"/>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1" name="Google Shape;7141;p74"/>
            <p:cNvSpPr/>
            <p:nvPr/>
          </p:nvSpPr>
          <p:spPr>
            <a:xfrm>
              <a:off x="-31062075" y="2041900"/>
              <a:ext cx="52025" cy="18150"/>
            </a:xfrm>
            <a:custGeom>
              <a:avLst/>
              <a:gdLst/>
              <a:ahLst/>
              <a:cxnLst/>
              <a:rect l="l" t="t" r="r" b="b"/>
              <a:pathLst>
                <a:path w="2081" h="726" extrusionOk="0">
                  <a:moveTo>
                    <a:pt x="347" y="1"/>
                  </a:moveTo>
                  <a:cubicBezTo>
                    <a:pt x="158" y="1"/>
                    <a:pt x="1" y="158"/>
                    <a:pt x="1" y="347"/>
                  </a:cubicBezTo>
                  <a:cubicBezTo>
                    <a:pt x="1" y="568"/>
                    <a:pt x="158" y="725"/>
                    <a:pt x="347" y="725"/>
                  </a:cubicBezTo>
                  <a:lnTo>
                    <a:pt x="1734" y="725"/>
                  </a:lnTo>
                  <a:cubicBezTo>
                    <a:pt x="1923" y="725"/>
                    <a:pt x="2080" y="568"/>
                    <a:pt x="2080" y="347"/>
                  </a:cubicBezTo>
                  <a:cubicBezTo>
                    <a:pt x="2080" y="158"/>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2" name="Google Shape;7142;p74"/>
            <p:cNvSpPr/>
            <p:nvPr/>
          </p:nvSpPr>
          <p:spPr>
            <a:xfrm>
              <a:off x="-31062075" y="2076550"/>
              <a:ext cx="85875" cy="17375"/>
            </a:xfrm>
            <a:custGeom>
              <a:avLst/>
              <a:gdLst/>
              <a:ahLst/>
              <a:cxnLst/>
              <a:rect l="l" t="t" r="r" b="b"/>
              <a:pathLst>
                <a:path w="3435" h="695" extrusionOk="0">
                  <a:moveTo>
                    <a:pt x="347" y="1"/>
                  </a:moveTo>
                  <a:cubicBezTo>
                    <a:pt x="158" y="1"/>
                    <a:pt x="1" y="159"/>
                    <a:pt x="1" y="348"/>
                  </a:cubicBezTo>
                  <a:cubicBezTo>
                    <a:pt x="1" y="537"/>
                    <a:pt x="158" y="694"/>
                    <a:pt x="347" y="694"/>
                  </a:cubicBezTo>
                  <a:lnTo>
                    <a:pt x="3057" y="694"/>
                  </a:lnTo>
                  <a:cubicBezTo>
                    <a:pt x="3277" y="694"/>
                    <a:pt x="3435" y="537"/>
                    <a:pt x="3435" y="348"/>
                  </a:cubicBezTo>
                  <a:cubicBezTo>
                    <a:pt x="3435" y="159"/>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3" name="Google Shape;7143;p74"/>
            <p:cNvSpPr/>
            <p:nvPr/>
          </p:nvSpPr>
          <p:spPr>
            <a:xfrm>
              <a:off x="-31062075" y="2110425"/>
              <a:ext cx="52025" cy="18150"/>
            </a:xfrm>
            <a:custGeom>
              <a:avLst/>
              <a:gdLst/>
              <a:ahLst/>
              <a:cxnLst/>
              <a:rect l="l" t="t" r="r" b="b"/>
              <a:pathLst>
                <a:path w="2081" h="726" extrusionOk="0">
                  <a:moveTo>
                    <a:pt x="347" y="1"/>
                  </a:moveTo>
                  <a:cubicBezTo>
                    <a:pt x="158" y="1"/>
                    <a:pt x="1" y="190"/>
                    <a:pt x="1" y="379"/>
                  </a:cubicBezTo>
                  <a:cubicBezTo>
                    <a:pt x="1" y="568"/>
                    <a:pt x="158" y="725"/>
                    <a:pt x="347" y="725"/>
                  </a:cubicBezTo>
                  <a:lnTo>
                    <a:pt x="1734" y="725"/>
                  </a:lnTo>
                  <a:cubicBezTo>
                    <a:pt x="1923" y="725"/>
                    <a:pt x="2080" y="568"/>
                    <a:pt x="2080" y="379"/>
                  </a:cubicBezTo>
                  <a:cubicBezTo>
                    <a:pt x="2080" y="190"/>
                    <a:pt x="1923" y="1"/>
                    <a:pt x="17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4" name="Google Shape;7144;p74"/>
            <p:cNvSpPr/>
            <p:nvPr/>
          </p:nvSpPr>
          <p:spPr>
            <a:xfrm>
              <a:off x="-31062075" y="2145075"/>
              <a:ext cx="85875" cy="18150"/>
            </a:xfrm>
            <a:custGeom>
              <a:avLst/>
              <a:gdLst/>
              <a:ahLst/>
              <a:cxnLst/>
              <a:rect l="l" t="t" r="r" b="b"/>
              <a:pathLst>
                <a:path w="3435" h="726" extrusionOk="0">
                  <a:moveTo>
                    <a:pt x="347" y="1"/>
                  </a:moveTo>
                  <a:cubicBezTo>
                    <a:pt x="158" y="1"/>
                    <a:pt x="1" y="158"/>
                    <a:pt x="1" y="379"/>
                  </a:cubicBezTo>
                  <a:cubicBezTo>
                    <a:pt x="1" y="568"/>
                    <a:pt x="158" y="726"/>
                    <a:pt x="347" y="726"/>
                  </a:cubicBezTo>
                  <a:lnTo>
                    <a:pt x="3057" y="726"/>
                  </a:lnTo>
                  <a:cubicBezTo>
                    <a:pt x="3277" y="726"/>
                    <a:pt x="3435" y="568"/>
                    <a:pt x="3435" y="379"/>
                  </a:cubicBezTo>
                  <a:cubicBezTo>
                    <a:pt x="3435" y="158"/>
                    <a:pt x="3277" y="1"/>
                    <a:pt x="3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5" name="Google Shape;7145;p74"/>
            <p:cNvSpPr/>
            <p:nvPr/>
          </p:nvSpPr>
          <p:spPr>
            <a:xfrm>
              <a:off x="-31062075" y="2179750"/>
              <a:ext cx="52025" cy="18125"/>
            </a:xfrm>
            <a:custGeom>
              <a:avLst/>
              <a:gdLst/>
              <a:ahLst/>
              <a:cxnLst/>
              <a:rect l="l" t="t" r="r" b="b"/>
              <a:pathLst>
                <a:path w="2081" h="725" extrusionOk="0">
                  <a:moveTo>
                    <a:pt x="347" y="0"/>
                  </a:moveTo>
                  <a:cubicBezTo>
                    <a:pt x="158" y="0"/>
                    <a:pt x="1" y="158"/>
                    <a:pt x="1" y="347"/>
                  </a:cubicBezTo>
                  <a:cubicBezTo>
                    <a:pt x="1" y="567"/>
                    <a:pt x="158" y="725"/>
                    <a:pt x="347" y="725"/>
                  </a:cubicBezTo>
                  <a:lnTo>
                    <a:pt x="1734" y="725"/>
                  </a:lnTo>
                  <a:cubicBezTo>
                    <a:pt x="1923" y="725"/>
                    <a:pt x="2080" y="567"/>
                    <a:pt x="2080" y="347"/>
                  </a:cubicBez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6" name="Google Shape;7146;p74"/>
            <p:cNvSpPr/>
            <p:nvPr/>
          </p:nvSpPr>
          <p:spPr>
            <a:xfrm>
              <a:off x="-30924225" y="1974175"/>
              <a:ext cx="51200" cy="240250"/>
            </a:xfrm>
            <a:custGeom>
              <a:avLst/>
              <a:gdLst/>
              <a:ahLst/>
              <a:cxnLst/>
              <a:rect l="l" t="t" r="r" b="b"/>
              <a:pathLst>
                <a:path w="2048" h="9610" extrusionOk="0">
                  <a:moveTo>
                    <a:pt x="1008" y="662"/>
                  </a:moveTo>
                  <a:cubicBezTo>
                    <a:pt x="1229" y="662"/>
                    <a:pt x="1386" y="819"/>
                    <a:pt x="1386" y="1009"/>
                  </a:cubicBezTo>
                  <a:lnTo>
                    <a:pt x="1386" y="2080"/>
                  </a:lnTo>
                  <a:lnTo>
                    <a:pt x="725" y="2080"/>
                  </a:lnTo>
                  <a:lnTo>
                    <a:pt x="725" y="1009"/>
                  </a:lnTo>
                  <a:lnTo>
                    <a:pt x="662" y="1009"/>
                  </a:lnTo>
                  <a:cubicBezTo>
                    <a:pt x="662" y="819"/>
                    <a:pt x="819" y="662"/>
                    <a:pt x="1008" y="662"/>
                  </a:cubicBezTo>
                  <a:close/>
                  <a:moveTo>
                    <a:pt x="1323" y="2741"/>
                  </a:moveTo>
                  <a:lnTo>
                    <a:pt x="1323" y="6900"/>
                  </a:lnTo>
                  <a:lnTo>
                    <a:pt x="662" y="6900"/>
                  </a:lnTo>
                  <a:lnTo>
                    <a:pt x="662" y="2741"/>
                  </a:lnTo>
                  <a:close/>
                  <a:moveTo>
                    <a:pt x="1260" y="7562"/>
                  </a:moveTo>
                  <a:lnTo>
                    <a:pt x="1008" y="8192"/>
                  </a:lnTo>
                  <a:lnTo>
                    <a:pt x="819" y="7562"/>
                  </a:lnTo>
                  <a:close/>
                  <a:moveTo>
                    <a:pt x="1008" y="0"/>
                  </a:moveTo>
                  <a:cubicBezTo>
                    <a:pt x="473" y="0"/>
                    <a:pt x="0" y="473"/>
                    <a:pt x="0" y="1009"/>
                  </a:cubicBezTo>
                  <a:lnTo>
                    <a:pt x="0" y="7215"/>
                  </a:lnTo>
                  <a:lnTo>
                    <a:pt x="0" y="7309"/>
                  </a:lnTo>
                  <a:lnTo>
                    <a:pt x="662" y="9357"/>
                  </a:lnTo>
                  <a:cubicBezTo>
                    <a:pt x="693" y="9515"/>
                    <a:pt x="819" y="9609"/>
                    <a:pt x="977" y="9609"/>
                  </a:cubicBezTo>
                  <a:cubicBezTo>
                    <a:pt x="1134" y="9609"/>
                    <a:pt x="1260" y="9515"/>
                    <a:pt x="1292" y="9357"/>
                  </a:cubicBezTo>
                  <a:lnTo>
                    <a:pt x="1954" y="7309"/>
                  </a:lnTo>
                  <a:lnTo>
                    <a:pt x="1954" y="7215"/>
                  </a:lnTo>
                  <a:lnTo>
                    <a:pt x="1954" y="1009"/>
                  </a:lnTo>
                  <a:cubicBezTo>
                    <a:pt x="2048" y="441"/>
                    <a:pt x="1576"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47" name="Google Shape;7147;p74"/>
          <p:cNvGrpSpPr/>
          <p:nvPr/>
        </p:nvGrpSpPr>
        <p:grpSpPr>
          <a:xfrm>
            <a:off x="4109410" y="4511061"/>
            <a:ext cx="472703" cy="472177"/>
            <a:chOff x="-31165250" y="2298675"/>
            <a:chExt cx="292225" cy="291900"/>
          </a:xfrm>
        </p:grpSpPr>
        <p:sp>
          <p:nvSpPr>
            <p:cNvPr id="7148" name="Google Shape;7148;p74"/>
            <p:cNvSpPr/>
            <p:nvPr/>
          </p:nvSpPr>
          <p:spPr>
            <a:xfrm>
              <a:off x="-31003000" y="2332550"/>
              <a:ext cx="86675" cy="103400"/>
            </a:xfrm>
            <a:custGeom>
              <a:avLst/>
              <a:gdLst/>
              <a:ahLst/>
              <a:cxnLst/>
              <a:rect l="l" t="t" r="r" b="b"/>
              <a:pathLst>
                <a:path w="3467" h="4136" extrusionOk="0">
                  <a:moveTo>
                    <a:pt x="2049" y="1386"/>
                  </a:moveTo>
                  <a:cubicBezTo>
                    <a:pt x="2017" y="1764"/>
                    <a:pt x="1923" y="2111"/>
                    <a:pt x="1734" y="2426"/>
                  </a:cubicBezTo>
                  <a:cubicBezTo>
                    <a:pt x="1576" y="2111"/>
                    <a:pt x="1450" y="1764"/>
                    <a:pt x="1418" y="1386"/>
                  </a:cubicBezTo>
                  <a:close/>
                  <a:moveTo>
                    <a:pt x="1734" y="0"/>
                  </a:moveTo>
                  <a:cubicBezTo>
                    <a:pt x="1545" y="0"/>
                    <a:pt x="1387" y="158"/>
                    <a:pt x="1387" y="347"/>
                  </a:cubicBezTo>
                  <a:lnTo>
                    <a:pt x="1387" y="693"/>
                  </a:lnTo>
                  <a:lnTo>
                    <a:pt x="347" y="693"/>
                  </a:lnTo>
                  <a:cubicBezTo>
                    <a:pt x="158" y="693"/>
                    <a:pt x="1" y="851"/>
                    <a:pt x="1" y="1071"/>
                  </a:cubicBezTo>
                  <a:cubicBezTo>
                    <a:pt x="1" y="1260"/>
                    <a:pt x="158" y="1418"/>
                    <a:pt x="347" y="1418"/>
                  </a:cubicBezTo>
                  <a:lnTo>
                    <a:pt x="694" y="1418"/>
                  </a:lnTo>
                  <a:cubicBezTo>
                    <a:pt x="757" y="2016"/>
                    <a:pt x="946" y="2552"/>
                    <a:pt x="1292" y="3056"/>
                  </a:cubicBezTo>
                  <a:lnTo>
                    <a:pt x="788" y="3592"/>
                  </a:lnTo>
                  <a:cubicBezTo>
                    <a:pt x="662" y="3686"/>
                    <a:pt x="662" y="3938"/>
                    <a:pt x="788" y="4064"/>
                  </a:cubicBezTo>
                  <a:cubicBezTo>
                    <a:pt x="851" y="4111"/>
                    <a:pt x="938" y="4135"/>
                    <a:pt x="1025" y="4135"/>
                  </a:cubicBezTo>
                  <a:cubicBezTo>
                    <a:pt x="1111" y="4135"/>
                    <a:pt x="1198" y="4111"/>
                    <a:pt x="1261" y="4064"/>
                  </a:cubicBezTo>
                  <a:lnTo>
                    <a:pt x="1702" y="3623"/>
                  </a:lnTo>
                  <a:lnTo>
                    <a:pt x="2112" y="4064"/>
                  </a:lnTo>
                  <a:cubicBezTo>
                    <a:pt x="2175" y="4111"/>
                    <a:pt x="2269" y="4135"/>
                    <a:pt x="2360" y="4135"/>
                  </a:cubicBezTo>
                  <a:cubicBezTo>
                    <a:pt x="2450" y="4135"/>
                    <a:pt x="2537" y="4111"/>
                    <a:pt x="2584" y="4064"/>
                  </a:cubicBezTo>
                  <a:cubicBezTo>
                    <a:pt x="2710" y="3938"/>
                    <a:pt x="2710" y="3686"/>
                    <a:pt x="2584" y="3592"/>
                  </a:cubicBezTo>
                  <a:lnTo>
                    <a:pt x="2080" y="3056"/>
                  </a:lnTo>
                  <a:cubicBezTo>
                    <a:pt x="2395" y="2552"/>
                    <a:pt x="2584" y="2016"/>
                    <a:pt x="2679" y="1418"/>
                  </a:cubicBezTo>
                  <a:lnTo>
                    <a:pt x="3025" y="1418"/>
                  </a:lnTo>
                  <a:cubicBezTo>
                    <a:pt x="3214" y="1418"/>
                    <a:pt x="3372" y="1260"/>
                    <a:pt x="3372" y="1071"/>
                  </a:cubicBezTo>
                  <a:cubicBezTo>
                    <a:pt x="3466" y="851"/>
                    <a:pt x="3309" y="693"/>
                    <a:pt x="3120" y="693"/>
                  </a:cubicBezTo>
                  <a:lnTo>
                    <a:pt x="2080" y="693"/>
                  </a:lnTo>
                  <a:lnTo>
                    <a:pt x="2080" y="347"/>
                  </a:lnTo>
                  <a:cubicBezTo>
                    <a:pt x="2080" y="158"/>
                    <a:pt x="1923" y="0"/>
                    <a:pt x="173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49" name="Google Shape;7149;p74"/>
            <p:cNvSpPr/>
            <p:nvPr/>
          </p:nvSpPr>
          <p:spPr>
            <a:xfrm>
              <a:off x="-31165250" y="2298675"/>
              <a:ext cx="292225" cy="291900"/>
            </a:xfrm>
            <a:custGeom>
              <a:avLst/>
              <a:gdLst/>
              <a:ahLst/>
              <a:cxnLst/>
              <a:rect l="l" t="t" r="r" b="b"/>
              <a:pathLst>
                <a:path w="11689" h="11676" extrusionOk="0">
                  <a:moveTo>
                    <a:pt x="8192" y="630"/>
                  </a:moveTo>
                  <a:cubicBezTo>
                    <a:pt x="9704" y="630"/>
                    <a:pt x="10933" y="1859"/>
                    <a:pt x="10933" y="3403"/>
                  </a:cubicBezTo>
                  <a:cubicBezTo>
                    <a:pt x="10964" y="4947"/>
                    <a:pt x="9767" y="6144"/>
                    <a:pt x="8224" y="6144"/>
                  </a:cubicBezTo>
                  <a:cubicBezTo>
                    <a:pt x="7656" y="6144"/>
                    <a:pt x="7152" y="5986"/>
                    <a:pt x="6711" y="5671"/>
                  </a:cubicBezTo>
                  <a:cubicBezTo>
                    <a:pt x="6674" y="5634"/>
                    <a:pt x="6616" y="5619"/>
                    <a:pt x="6548" y="5619"/>
                  </a:cubicBezTo>
                  <a:cubicBezTo>
                    <a:pt x="6501" y="5619"/>
                    <a:pt x="6448" y="5627"/>
                    <a:pt x="6396" y="5640"/>
                  </a:cubicBezTo>
                  <a:lnTo>
                    <a:pt x="5609" y="5923"/>
                  </a:lnTo>
                  <a:lnTo>
                    <a:pt x="5861" y="4947"/>
                  </a:lnTo>
                  <a:cubicBezTo>
                    <a:pt x="5861" y="4852"/>
                    <a:pt x="5861" y="4789"/>
                    <a:pt x="5829" y="4695"/>
                  </a:cubicBezTo>
                  <a:cubicBezTo>
                    <a:pt x="5577" y="4317"/>
                    <a:pt x="5451" y="3844"/>
                    <a:pt x="5451" y="3403"/>
                  </a:cubicBezTo>
                  <a:cubicBezTo>
                    <a:pt x="5451" y="1859"/>
                    <a:pt x="6680" y="630"/>
                    <a:pt x="8192" y="630"/>
                  </a:cubicBezTo>
                  <a:close/>
                  <a:moveTo>
                    <a:pt x="3403" y="5545"/>
                  </a:moveTo>
                  <a:cubicBezTo>
                    <a:pt x="3970" y="5545"/>
                    <a:pt x="4474" y="5703"/>
                    <a:pt x="4916" y="5986"/>
                  </a:cubicBezTo>
                  <a:lnTo>
                    <a:pt x="4790" y="6490"/>
                  </a:lnTo>
                  <a:cubicBezTo>
                    <a:pt x="4758" y="6616"/>
                    <a:pt x="4790" y="6742"/>
                    <a:pt x="4916" y="6868"/>
                  </a:cubicBezTo>
                  <a:cubicBezTo>
                    <a:pt x="4960" y="6913"/>
                    <a:pt x="5052" y="6958"/>
                    <a:pt x="5146" y="6958"/>
                  </a:cubicBezTo>
                  <a:cubicBezTo>
                    <a:pt x="5186" y="6958"/>
                    <a:pt x="5225" y="6950"/>
                    <a:pt x="5262" y="6931"/>
                  </a:cubicBezTo>
                  <a:lnTo>
                    <a:pt x="5703" y="6774"/>
                  </a:lnTo>
                  <a:cubicBezTo>
                    <a:pt x="6018" y="7152"/>
                    <a:pt x="6176" y="7656"/>
                    <a:pt x="6176" y="8255"/>
                  </a:cubicBezTo>
                  <a:cubicBezTo>
                    <a:pt x="6176" y="8696"/>
                    <a:pt x="6050" y="9137"/>
                    <a:pt x="5829" y="9546"/>
                  </a:cubicBezTo>
                  <a:cubicBezTo>
                    <a:pt x="5766" y="9609"/>
                    <a:pt x="5766" y="9704"/>
                    <a:pt x="5766" y="9767"/>
                  </a:cubicBezTo>
                  <a:lnTo>
                    <a:pt x="6018" y="10775"/>
                  </a:lnTo>
                  <a:lnTo>
                    <a:pt x="5231" y="10491"/>
                  </a:lnTo>
                  <a:cubicBezTo>
                    <a:pt x="5178" y="10478"/>
                    <a:pt x="5126" y="10471"/>
                    <a:pt x="5078" y="10471"/>
                  </a:cubicBezTo>
                  <a:cubicBezTo>
                    <a:pt x="5011" y="10471"/>
                    <a:pt x="4952" y="10486"/>
                    <a:pt x="4916" y="10523"/>
                  </a:cubicBezTo>
                  <a:cubicBezTo>
                    <a:pt x="4474" y="10838"/>
                    <a:pt x="3939" y="10996"/>
                    <a:pt x="3403" y="10996"/>
                  </a:cubicBezTo>
                  <a:cubicBezTo>
                    <a:pt x="1891" y="10996"/>
                    <a:pt x="662" y="9767"/>
                    <a:pt x="662" y="8286"/>
                  </a:cubicBezTo>
                  <a:cubicBezTo>
                    <a:pt x="662" y="6774"/>
                    <a:pt x="1891" y="5545"/>
                    <a:pt x="3403" y="5545"/>
                  </a:cubicBezTo>
                  <a:close/>
                  <a:moveTo>
                    <a:pt x="8224" y="0"/>
                  </a:moveTo>
                  <a:cubicBezTo>
                    <a:pt x="6333" y="0"/>
                    <a:pt x="4790" y="1544"/>
                    <a:pt x="4790" y="3434"/>
                  </a:cubicBezTo>
                  <a:cubicBezTo>
                    <a:pt x="4790" y="3938"/>
                    <a:pt x="4916" y="4506"/>
                    <a:pt x="5136" y="4978"/>
                  </a:cubicBezTo>
                  <a:lnTo>
                    <a:pt x="5073" y="5262"/>
                  </a:lnTo>
                  <a:cubicBezTo>
                    <a:pt x="4569" y="4978"/>
                    <a:pt x="4002" y="4821"/>
                    <a:pt x="3435" y="4821"/>
                  </a:cubicBezTo>
                  <a:cubicBezTo>
                    <a:pt x="1513" y="4821"/>
                    <a:pt x="1" y="6364"/>
                    <a:pt x="1" y="8255"/>
                  </a:cubicBezTo>
                  <a:cubicBezTo>
                    <a:pt x="1" y="10113"/>
                    <a:pt x="1544" y="11657"/>
                    <a:pt x="3435" y="11657"/>
                  </a:cubicBezTo>
                  <a:cubicBezTo>
                    <a:pt x="4065" y="11657"/>
                    <a:pt x="4632" y="11500"/>
                    <a:pt x="5168" y="11185"/>
                  </a:cubicBezTo>
                  <a:lnTo>
                    <a:pt x="6365" y="11657"/>
                  </a:lnTo>
                  <a:cubicBezTo>
                    <a:pt x="6411" y="11669"/>
                    <a:pt x="6457" y="11676"/>
                    <a:pt x="6503" y="11676"/>
                  </a:cubicBezTo>
                  <a:cubicBezTo>
                    <a:pt x="6583" y="11676"/>
                    <a:pt x="6663" y="11654"/>
                    <a:pt x="6743" y="11594"/>
                  </a:cubicBezTo>
                  <a:cubicBezTo>
                    <a:pt x="6806" y="11500"/>
                    <a:pt x="6837" y="11405"/>
                    <a:pt x="6837" y="11248"/>
                  </a:cubicBezTo>
                  <a:lnTo>
                    <a:pt x="6491" y="9767"/>
                  </a:lnTo>
                  <a:cubicBezTo>
                    <a:pt x="6743" y="9294"/>
                    <a:pt x="6837" y="8790"/>
                    <a:pt x="6837" y="8255"/>
                  </a:cubicBezTo>
                  <a:cubicBezTo>
                    <a:pt x="6837" y="7625"/>
                    <a:pt x="6648" y="6994"/>
                    <a:pt x="6333" y="6427"/>
                  </a:cubicBezTo>
                  <a:lnTo>
                    <a:pt x="6459" y="6396"/>
                  </a:lnTo>
                  <a:cubicBezTo>
                    <a:pt x="6963" y="6711"/>
                    <a:pt x="7593" y="6868"/>
                    <a:pt x="8192" y="6868"/>
                  </a:cubicBezTo>
                  <a:cubicBezTo>
                    <a:pt x="10082" y="6868"/>
                    <a:pt x="11626" y="5325"/>
                    <a:pt x="11626" y="3434"/>
                  </a:cubicBezTo>
                  <a:cubicBezTo>
                    <a:pt x="11689" y="1544"/>
                    <a:pt x="10114" y="0"/>
                    <a:pt x="82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0" name="Google Shape;7150;p74"/>
            <p:cNvSpPr/>
            <p:nvPr/>
          </p:nvSpPr>
          <p:spPr>
            <a:xfrm>
              <a:off x="-31115625" y="2452250"/>
              <a:ext cx="70900" cy="104150"/>
            </a:xfrm>
            <a:custGeom>
              <a:avLst/>
              <a:gdLst/>
              <a:ahLst/>
              <a:cxnLst/>
              <a:rect l="l" t="t" r="r" b="b"/>
              <a:pathLst>
                <a:path w="2836" h="4166" extrusionOk="0">
                  <a:moveTo>
                    <a:pt x="1481" y="1576"/>
                  </a:moveTo>
                  <a:lnTo>
                    <a:pt x="1639" y="2112"/>
                  </a:lnTo>
                  <a:lnTo>
                    <a:pt x="1324" y="2112"/>
                  </a:lnTo>
                  <a:lnTo>
                    <a:pt x="1481" y="1576"/>
                  </a:lnTo>
                  <a:close/>
                  <a:moveTo>
                    <a:pt x="1418" y="1"/>
                  </a:moveTo>
                  <a:cubicBezTo>
                    <a:pt x="1261" y="1"/>
                    <a:pt x="1166" y="127"/>
                    <a:pt x="1103" y="253"/>
                  </a:cubicBezTo>
                  <a:lnTo>
                    <a:pt x="568" y="2049"/>
                  </a:lnTo>
                  <a:lnTo>
                    <a:pt x="410" y="2049"/>
                  </a:lnTo>
                  <a:cubicBezTo>
                    <a:pt x="221" y="2049"/>
                    <a:pt x="64" y="2206"/>
                    <a:pt x="64" y="2427"/>
                  </a:cubicBezTo>
                  <a:cubicBezTo>
                    <a:pt x="64" y="2584"/>
                    <a:pt x="158" y="2742"/>
                    <a:pt x="316" y="2773"/>
                  </a:cubicBezTo>
                  <a:lnTo>
                    <a:pt x="64" y="3718"/>
                  </a:lnTo>
                  <a:cubicBezTo>
                    <a:pt x="1" y="3907"/>
                    <a:pt x="95" y="4065"/>
                    <a:pt x="284" y="4159"/>
                  </a:cubicBezTo>
                  <a:cubicBezTo>
                    <a:pt x="308" y="4163"/>
                    <a:pt x="332" y="4165"/>
                    <a:pt x="355" y="4165"/>
                  </a:cubicBezTo>
                  <a:cubicBezTo>
                    <a:pt x="512" y="4165"/>
                    <a:pt x="643" y="4072"/>
                    <a:pt x="725" y="3907"/>
                  </a:cubicBezTo>
                  <a:lnTo>
                    <a:pt x="1072" y="2773"/>
                  </a:lnTo>
                  <a:lnTo>
                    <a:pt x="1796" y="2773"/>
                  </a:lnTo>
                  <a:lnTo>
                    <a:pt x="2143" y="3907"/>
                  </a:lnTo>
                  <a:cubicBezTo>
                    <a:pt x="2170" y="4072"/>
                    <a:pt x="2318" y="4165"/>
                    <a:pt x="2502" y="4165"/>
                  </a:cubicBezTo>
                  <a:cubicBezTo>
                    <a:pt x="2528" y="4165"/>
                    <a:pt x="2556" y="4163"/>
                    <a:pt x="2584" y="4159"/>
                  </a:cubicBezTo>
                  <a:cubicBezTo>
                    <a:pt x="2773" y="4096"/>
                    <a:pt x="2836" y="3907"/>
                    <a:pt x="2805" y="3718"/>
                  </a:cubicBezTo>
                  <a:lnTo>
                    <a:pt x="2521" y="2773"/>
                  </a:lnTo>
                  <a:cubicBezTo>
                    <a:pt x="2678" y="2742"/>
                    <a:pt x="2805" y="2616"/>
                    <a:pt x="2805" y="2427"/>
                  </a:cubicBezTo>
                  <a:cubicBezTo>
                    <a:pt x="2805" y="2206"/>
                    <a:pt x="2647" y="2049"/>
                    <a:pt x="2458" y="2049"/>
                  </a:cubicBezTo>
                  <a:lnTo>
                    <a:pt x="2300" y="2049"/>
                  </a:lnTo>
                  <a:lnTo>
                    <a:pt x="1733" y="253"/>
                  </a:lnTo>
                  <a:cubicBezTo>
                    <a:pt x="1702" y="95"/>
                    <a:pt x="1576"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51" name="Google Shape;7151;p74"/>
          <p:cNvGrpSpPr/>
          <p:nvPr/>
        </p:nvGrpSpPr>
        <p:grpSpPr>
          <a:xfrm>
            <a:off x="4110057" y="5125266"/>
            <a:ext cx="471409" cy="471409"/>
            <a:chOff x="-31164450" y="2657050"/>
            <a:chExt cx="291425" cy="291425"/>
          </a:xfrm>
        </p:grpSpPr>
        <p:sp>
          <p:nvSpPr>
            <p:cNvPr id="7152" name="Google Shape;7152;p74"/>
            <p:cNvSpPr/>
            <p:nvPr/>
          </p:nvSpPr>
          <p:spPr>
            <a:xfrm>
              <a:off x="-31028975" y="2761000"/>
              <a:ext cx="18125" cy="17350"/>
            </a:xfrm>
            <a:custGeom>
              <a:avLst/>
              <a:gdLst/>
              <a:ahLst/>
              <a:cxnLst/>
              <a:rect l="l" t="t" r="r" b="b"/>
              <a:pathLst>
                <a:path w="725" h="694" extrusionOk="0">
                  <a:moveTo>
                    <a:pt x="378" y="1"/>
                  </a:moveTo>
                  <a:cubicBezTo>
                    <a:pt x="158" y="1"/>
                    <a:pt x="0" y="158"/>
                    <a:pt x="0" y="347"/>
                  </a:cubicBezTo>
                  <a:cubicBezTo>
                    <a:pt x="63" y="536"/>
                    <a:pt x="221"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3" name="Google Shape;7153;p74"/>
            <p:cNvSpPr/>
            <p:nvPr/>
          </p:nvSpPr>
          <p:spPr>
            <a:xfrm>
              <a:off x="-31028975" y="2794075"/>
              <a:ext cx="18125" cy="52025"/>
            </a:xfrm>
            <a:custGeom>
              <a:avLst/>
              <a:gdLst/>
              <a:ahLst/>
              <a:cxnLst/>
              <a:rect l="l" t="t" r="r" b="b"/>
              <a:pathLst>
                <a:path w="725" h="2081" extrusionOk="0">
                  <a:moveTo>
                    <a:pt x="378" y="1"/>
                  </a:moveTo>
                  <a:cubicBezTo>
                    <a:pt x="158" y="1"/>
                    <a:pt x="0" y="158"/>
                    <a:pt x="0" y="347"/>
                  </a:cubicBezTo>
                  <a:lnTo>
                    <a:pt x="0" y="1734"/>
                  </a:lnTo>
                  <a:cubicBezTo>
                    <a:pt x="63" y="1923"/>
                    <a:pt x="221" y="2080"/>
                    <a:pt x="378" y="2080"/>
                  </a:cubicBezTo>
                  <a:cubicBezTo>
                    <a:pt x="567" y="2080"/>
                    <a:pt x="725" y="1923"/>
                    <a:pt x="725" y="1734"/>
                  </a:cubicBezTo>
                  <a:lnTo>
                    <a:pt x="725" y="347"/>
                  </a:ln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4" name="Google Shape;7154;p74"/>
            <p:cNvSpPr/>
            <p:nvPr/>
          </p:nvSpPr>
          <p:spPr>
            <a:xfrm>
              <a:off x="-31164450" y="2657050"/>
              <a:ext cx="291425" cy="291425"/>
            </a:xfrm>
            <a:custGeom>
              <a:avLst/>
              <a:gdLst/>
              <a:ahLst/>
              <a:cxnLst/>
              <a:rect l="l" t="t" r="r" b="b"/>
              <a:pathLst>
                <a:path w="11657" h="11657" extrusionOk="0">
                  <a:moveTo>
                    <a:pt x="1323" y="4852"/>
                  </a:moveTo>
                  <a:lnTo>
                    <a:pt x="1323" y="8286"/>
                  </a:lnTo>
                  <a:lnTo>
                    <a:pt x="977" y="8286"/>
                  </a:lnTo>
                  <a:cubicBezTo>
                    <a:pt x="788" y="8286"/>
                    <a:pt x="630" y="8128"/>
                    <a:pt x="630" y="7939"/>
                  </a:cubicBezTo>
                  <a:lnTo>
                    <a:pt x="630" y="5198"/>
                  </a:lnTo>
                  <a:cubicBezTo>
                    <a:pt x="630" y="5009"/>
                    <a:pt x="788" y="4852"/>
                    <a:pt x="977" y="4852"/>
                  </a:cubicBezTo>
                  <a:close/>
                  <a:moveTo>
                    <a:pt x="10554" y="4852"/>
                  </a:moveTo>
                  <a:cubicBezTo>
                    <a:pt x="10743" y="4852"/>
                    <a:pt x="10901" y="5009"/>
                    <a:pt x="10901" y="5198"/>
                  </a:cubicBezTo>
                  <a:lnTo>
                    <a:pt x="10901" y="7939"/>
                  </a:lnTo>
                  <a:lnTo>
                    <a:pt x="10932" y="7939"/>
                  </a:lnTo>
                  <a:cubicBezTo>
                    <a:pt x="10932" y="8128"/>
                    <a:pt x="10775" y="8286"/>
                    <a:pt x="10586" y="8286"/>
                  </a:cubicBezTo>
                  <a:lnTo>
                    <a:pt x="10239" y="8286"/>
                  </a:lnTo>
                  <a:lnTo>
                    <a:pt x="10239" y="4852"/>
                  </a:lnTo>
                  <a:close/>
                  <a:moveTo>
                    <a:pt x="5797" y="10302"/>
                  </a:moveTo>
                  <a:cubicBezTo>
                    <a:pt x="5986" y="10302"/>
                    <a:pt x="6144" y="10460"/>
                    <a:pt x="6144" y="10649"/>
                  </a:cubicBezTo>
                  <a:cubicBezTo>
                    <a:pt x="6144" y="10838"/>
                    <a:pt x="5986" y="10995"/>
                    <a:pt x="5797" y="10995"/>
                  </a:cubicBezTo>
                  <a:cubicBezTo>
                    <a:pt x="5577" y="10995"/>
                    <a:pt x="5419" y="10838"/>
                    <a:pt x="5419" y="10649"/>
                  </a:cubicBezTo>
                  <a:cubicBezTo>
                    <a:pt x="5419" y="10460"/>
                    <a:pt x="5577" y="10302"/>
                    <a:pt x="5797" y="10302"/>
                  </a:cubicBezTo>
                  <a:close/>
                  <a:moveTo>
                    <a:pt x="5829" y="0"/>
                  </a:moveTo>
                  <a:cubicBezTo>
                    <a:pt x="3371" y="0"/>
                    <a:pt x="1260" y="1796"/>
                    <a:pt x="788" y="4190"/>
                  </a:cubicBezTo>
                  <a:cubicBezTo>
                    <a:pt x="347" y="4316"/>
                    <a:pt x="0" y="4694"/>
                    <a:pt x="0" y="5167"/>
                  </a:cubicBezTo>
                  <a:lnTo>
                    <a:pt x="0" y="7876"/>
                  </a:lnTo>
                  <a:cubicBezTo>
                    <a:pt x="0" y="8443"/>
                    <a:pt x="473" y="8916"/>
                    <a:pt x="1008" y="8916"/>
                  </a:cubicBezTo>
                  <a:lnTo>
                    <a:pt x="1702" y="8916"/>
                  </a:lnTo>
                  <a:cubicBezTo>
                    <a:pt x="1891" y="8916"/>
                    <a:pt x="2048" y="8758"/>
                    <a:pt x="2048" y="8569"/>
                  </a:cubicBezTo>
                  <a:lnTo>
                    <a:pt x="2048" y="4474"/>
                  </a:lnTo>
                  <a:cubicBezTo>
                    <a:pt x="2048" y="4253"/>
                    <a:pt x="1891" y="4096"/>
                    <a:pt x="1702" y="4096"/>
                  </a:cubicBezTo>
                  <a:lnTo>
                    <a:pt x="1449" y="4096"/>
                  </a:lnTo>
                  <a:cubicBezTo>
                    <a:pt x="1922" y="2111"/>
                    <a:pt x="3749" y="630"/>
                    <a:pt x="5797" y="630"/>
                  </a:cubicBezTo>
                  <a:cubicBezTo>
                    <a:pt x="7876" y="630"/>
                    <a:pt x="9641" y="2079"/>
                    <a:pt x="10113" y="4096"/>
                  </a:cubicBezTo>
                  <a:lnTo>
                    <a:pt x="9893" y="4096"/>
                  </a:lnTo>
                  <a:cubicBezTo>
                    <a:pt x="9672" y="4096"/>
                    <a:pt x="9515" y="4253"/>
                    <a:pt x="9515" y="4474"/>
                  </a:cubicBezTo>
                  <a:lnTo>
                    <a:pt x="9515" y="8569"/>
                  </a:lnTo>
                  <a:cubicBezTo>
                    <a:pt x="9515" y="8758"/>
                    <a:pt x="9672" y="8916"/>
                    <a:pt x="9893" y="8916"/>
                  </a:cubicBezTo>
                  <a:lnTo>
                    <a:pt x="10208" y="8916"/>
                  </a:lnTo>
                  <a:cubicBezTo>
                    <a:pt x="10050" y="9704"/>
                    <a:pt x="9326" y="10302"/>
                    <a:pt x="8507" y="10302"/>
                  </a:cubicBezTo>
                  <a:lnTo>
                    <a:pt x="6742" y="10302"/>
                  </a:lnTo>
                  <a:cubicBezTo>
                    <a:pt x="6585" y="9893"/>
                    <a:pt x="6207" y="9609"/>
                    <a:pt x="5734" y="9609"/>
                  </a:cubicBezTo>
                  <a:cubicBezTo>
                    <a:pt x="5199" y="9609"/>
                    <a:pt x="4726" y="10082"/>
                    <a:pt x="4726" y="10649"/>
                  </a:cubicBezTo>
                  <a:cubicBezTo>
                    <a:pt x="4726" y="11184"/>
                    <a:pt x="5199" y="11657"/>
                    <a:pt x="5734" y="11657"/>
                  </a:cubicBezTo>
                  <a:cubicBezTo>
                    <a:pt x="6175" y="11657"/>
                    <a:pt x="6585" y="11405"/>
                    <a:pt x="6742" y="10995"/>
                  </a:cubicBezTo>
                  <a:lnTo>
                    <a:pt x="8507" y="10995"/>
                  </a:lnTo>
                  <a:cubicBezTo>
                    <a:pt x="9735" y="10995"/>
                    <a:pt x="10743" y="10082"/>
                    <a:pt x="10869" y="8916"/>
                  </a:cubicBezTo>
                  <a:cubicBezTo>
                    <a:pt x="11248" y="8790"/>
                    <a:pt x="11563" y="8412"/>
                    <a:pt x="11563" y="7939"/>
                  </a:cubicBezTo>
                  <a:lnTo>
                    <a:pt x="11563" y="5198"/>
                  </a:lnTo>
                  <a:cubicBezTo>
                    <a:pt x="11657" y="4694"/>
                    <a:pt x="11311" y="4316"/>
                    <a:pt x="10869" y="4190"/>
                  </a:cubicBezTo>
                  <a:cubicBezTo>
                    <a:pt x="10397" y="1796"/>
                    <a:pt x="8255"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5" name="Google Shape;7155;p74"/>
            <p:cNvSpPr/>
            <p:nvPr/>
          </p:nvSpPr>
          <p:spPr>
            <a:xfrm>
              <a:off x="-31097500" y="2727125"/>
              <a:ext cx="156750" cy="153925"/>
            </a:xfrm>
            <a:custGeom>
              <a:avLst/>
              <a:gdLst/>
              <a:ahLst/>
              <a:cxnLst/>
              <a:rect l="l" t="t" r="r" b="b"/>
              <a:pathLst>
                <a:path w="6270" h="6157" extrusionOk="0">
                  <a:moveTo>
                    <a:pt x="3119" y="663"/>
                  </a:moveTo>
                  <a:cubicBezTo>
                    <a:pt x="4442" y="663"/>
                    <a:pt x="5514" y="1734"/>
                    <a:pt x="5514" y="3088"/>
                  </a:cubicBezTo>
                  <a:cubicBezTo>
                    <a:pt x="5514" y="4412"/>
                    <a:pt x="4411" y="5483"/>
                    <a:pt x="3119" y="5483"/>
                  </a:cubicBezTo>
                  <a:cubicBezTo>
                    <a:pt x="2647" y="5483"/>
                    <a:pt x="2206" y="5357"/>
                    <a:pt x="1796" y="5136"/>
                  </a:cubicBezTo>
                  <a:cubicBezTo>
                    <a:pt x="1750" y="5090"/>
                    <a:pt x="1670" y="5061"/>
                    <a:pt x="1606" y="5061"/>
                  </a:cubicBezTo>
                  <a:cubicBezTo>
                    <a:pt x="1582" y="5061"/>
                    <a:pt x="1561" y="5065"/>
                    <a:pt x="1544" y="5073"/>
                  </a:cubicBezTo>
                  <a:lnTo>
                    <a:pt x="914" y="5294"/>
                  </a:lnTo>
                  <a:lnTo>
                    <a:pt x="1103" y="4664"/>
                  </a:lnTo>
                  <a:cubicBezTo>
                    <a:pt x="1134" y="4569"/>
                    <a:pt x="1103" y="4443"/>
                    <a:pt x="1071" y="4380"/>
                  </a:cubicBezTo>
                  <a:cubicBezTo>
                    <a:pt x="819" y="3971"/>
                    <a:pt x="693" y="3561"/>
                    <a:pt x="693" y="3120"/>
                  </a:cubicBezTo>
                  <a:cubicBezTo>
                    <a:pt x="693" y="1734"/>
                    <a:pt x="1796" y="663"/>
                    <a:pt x="3119" y="663"/>
                  </a:cubicBezTo>
                  <a:close/>
                  <a:moveTo>
                    <a:pt x="3151" y="1"/>
                  </a:moveTo>
                  <a:cubicBezTo>
                    <a:pt x="1449" y="1"/>
                    <a:pt x="32" y="1387"/>
                    <a:pt x="32" y="3057"/>
                  </a:cubicBezTo>
                  <a:cubicBezTo>
                    <a:pt x="32" y="3593"/>
                    <a:pt x="158" y="4097"/>
                    <a:pt x="441" y="4569"/>
                  </a:cubicBezTo>
                  <a:lnTo>
                    <a:pt x="32" y="5703"/>
                  </a:lnTo>
                  <a:cubicBezTo>
                    <a:pt x="0" y="5829"/>
                    <a:pt x="32" y="5955"/>
                    <a:pt x="126" y="6081"/>
                  </a:cubicBezTo>
                  <a:cubicBezTo>
                    <a:pt x="172" y="6128"/>
                    <a:pt x="269" y="6157"/>
                    <a:pt x="367" y="6157"/>
                  </a:cubicBezTo>
                  <a:cubicBezTo>
                    <a:pt x="403" y="6157"/>
                    <a:pt x="439" y="6153"/>
                    <a:pt x="473" y="6144"/>
                  </a:cubicBezTo>
                  <a:lnTo>
                    <a:pt x="1607" y="5735"/>
                  </a:lnTo>
                  <a:cubicBezTo>
                    <a:pt x="2080" y="5987"/>
                    <a:pt x="2584" y="6144"/>
                    <a:pt x="3151" y="6144"/>
                  </a:cubicBezTo>
                  <a:cubicBezTo>
                    <a:pt x="4852" y="6144"/>
                    <a:pt x="6270" y="4758"/>
                    <a:pt x="6270" y="3057"/>
                  </a:cubicBezTo>
                  <a:cubicBezTo>
                    <a:pt x="6270" y="1387"/>
                    <a:pt x="4883"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156" name="Google Shape;7156;p74"/>
          <p:cNvSpPr/>
          <p:nvPr/>
        </p:nvSpPr>
        <p:spPr>
          <a:xfrm>
            <a:off x="2918623" y="5686227"/>
            <a:ext cx="473997" cy="470156"/>
          </a:xfrm>
          <a:custGeom>
            <a:avLst/>
            <a:gdLst/>
            <a:ahLst/>
            <a:cxnLst/>
            <a:rect l="l" t="t" r="r" b="b"/>
            <a:pathLst>
              <a:path w="11721" h="11626" extrusionOk="0">
                <a:moveTo>
                  <a:pt x="8570" y="694"/>
                </a:moveTo>
                <a:cubicBezTo>
                  <a:pt x="9106" y="694"/>
                  <a:pt x="9578" y="1166"/>
                  <a:pt x="9578" y="1702"/>
                </a:cubicBezTo>
                <a:cubicBezTo>
                  <a:pt x="9578" y="2269"/>
                  <a:pt x="9106" y="2773"/>
                  <a:pt x="8570" y="2773"/>
                </a:cubicBezTo>
                <a:cubicBezTo>
                  <a:pt x="8003" y="2773"/>
                  <a:pt x="7530" y="2269"/>
                  <a:pt x="7530" y="1702"/>
                </a:cubicBezTo>
                <a:cubicBezTo>
                  <a:pt x="7530" y="1166"/>
                  <a:pt x="8003" y="694"/>
                  <a:pt x="8570" y="694"/>
                </a:cubicBezTo>
                <a:close/>
                <a:moveTo>
                  <a:pt x="8570" y="3403"/>
                </a:moveTo>
                <a:cubicBezTo>
                  <a:pt x="9893" y="3403"/>
                  <a:pt x="10964" y="4474"/>
                  <a:pt x="10964" y="5798"/>
                </a:cubicBezTo>
                <a:lnTo>
                  <a:pt x="10964" y="6144"/>
                </a:lnTo>
                <a:lnTo>
                  <a:pt x="6144" y="6144"/>
                </a:lnTo>
                <a:lnTo>
                  <a:pt x="6144" y="5798"/>
                </a:lnTo>
                <a:cubicBezTo>
                  <a:pt x="6144" y="4443"/>
                  <a:pt x="7215" y="3403"/>
                  <a:pt x="8570" y="3403"/>
                </a:cubicBezTo>
                <a:close/>
                <a:moveTo>
                  <a:pt x="3057" y="5483"/>
                </a:moveTo>
                <a:cubicBezTo>
                  <a:pt x="3592" y="5483"/>
                  <a:pt x="4096" y="5955"/>
                  <a:pt x="4096" y="6491"/>
                </a:cubicBezTo>
                <a:cubicBezTo>
                  <a:pt x="4096" y="7058"/>
                  <a:pt x="3624" y="7530"/>
                  <a:pt x="3057" y="7530"/>
                </a:cubicBezTo>
                <a:cubicBezTo>
                  <a:pt x="2490" y="7530"/>
                  <a:pt x="2017" y="7089"/>
                  <a:pt x="2017" y="6491"/>
                </a:cubicBezTo>
                <a:cubicBezTo>
                  <a:pt x="2017" y="5955"/>
                  <a:pt x="2490" y="5483"/>
                  <a:pt x="3057" y="5483"/>
                </a:cubicBezTo>
                <a:close/>
                <a:moveTo>
                  <a:pt x="10964" y="6869"/>
                </a:moveTo>
                <a:lnTo>
                  <a:pt x="10964" y="7530"/>
                </a:lnTo>
                <a:lnTo>
                  <a:pt x="4411" y="7530"/>
                </a:lnTo>
                <a:cubicBezTo>
                  <a:pt x="4569" y="7341"/>
                  <a:pt x="4695" y="7089"/>
                  <a:pt x="4726" y="6869"/>
                </a:cubicBezTo>
                <a:close/>
                <a:moveTo>
                  <a:pt x="3088" y="8255"/>
                </a:moveTo>
                <a:cubicBezTo>
                  <a:pt x="4411" y="8255"/>
                  <a:pt x="5514" y="9295"/>
                  <a:pt x="5514" y="10649"/>
                </a:cubicBezTo>
                <a:lnTo>
                  <a:pt x="5514" y="10996"/>
                </a:lnTo>
                <a:lnTo>
                  <a:pt x="694" y="10996"/>
                </a:lnTo>
                <a:lnTo>
                  <a:pt x="694" y="10649"/>
                </a:lnTo>
                <a:cubicBezTo>
                  <a:pt x="694" y="9295"/>
                  <a:pt x="1733" y="8255"/>
                  <a:pt x="3088" y="8255"/>
                </a:cubicBezTo>
                <a:close/>
                <a:moveTo>
                  <a:pt x="10933" y="8286"/>
                </a:moveTo>
                <a:lnTo>
                  <a:pt x="10933" y="10996"/>
                </a:lnTo>
                <a:lnTo>
                  <a:pt x="6144" y="10996"/>
                </a:lnTo>
                <a:lnTo>
                  <a:pt x="6144" y="10649"/>
                </a:lnTo>
                <a:cubicBezTo>
                  <a:pt x="6144" y="9830"/>
                  <a:pt x="5829" y="9074"/>
                  <a:pt x="5199" y="8476"/>
                </a:cubicBezTo>
                <a:cubicBezTo>
                  <a:pt x="5136" y="8412"/>
                  <a:pt x="5041" y="8318"/>
                  <a:pt x="4978" y="8286"/>
                </a:cubicBezTo>
                <a:close/>
                <a:moveTo>
                  <a:pt x="8602" y="1"/>
                </a:moveTo>
                <a:cubicBezTo>
                  <a:pt x="7656" y="1"/>
                  <a:pt x="6900" y="757"/>
                  <a:pt x="6900" y="1702"/>
                </a:cubicBezTo>
                <a:cubicBezTo>
                  <a:pt x="6900" y="2175"/>
                  <a:pt x="7058" y="2616"/>
                  <a:pt x="7404" y="2931"/>
                </a:cubicBezTo>
                <a:lnTo>
                  <a:pt x="7467" y="2962"/>
                </a:lnTo>
                <a:cubicBezTo>
                  <a:pt x="6302" y="3435"/>
                  <a:pt x="5514" y="4537"/>
                  <a:pt x="5514" y="5798"/>
                </a:cubicBezTo>
                <a:lnTo>
                  <a:pt x="5514" y="6144"/>
                </a:lnTo>
                <a:lnTo>
                  <a:pt x="4789" y="6144"/>
                </a:lnTo>
                <a:cubicBezTo>
                  <a:pt x="4632" y="5420"/>
                  <a:pt x="3907" y="4789"/>
                  <a:pt x="3088" y="4789"/>
                </a:cubicBezTo>
                <a:cubicBezTo>
                  <a:pt x="2143" y="4789"/>
                  <a:pt x="1387" y="5514"/>
                  <a:pt x="1387" y="6459"/>
                </a:cubicBezTo>
                <a:cubicBezTo>
                  <a:pt x="1387" y="6995"/>
                  <a:pt x="1576" y="7404"/>
                  <a:pt x="1954" y="7719"/>
                </a:cubicBezTo>
                <a:cubicBezTo>
                  <a:pt x="788" y="8192"/>
                  <a:pt x="1" y="9295"/>
                  <a:pt x="1" y="10555"/>
                </a:cubicBezTo>
                <a:lnTo>
                  <a:pt x="1" y="11279"/>
                </a:lnTo>
                <a:cubicBezTo>
                  <a:pt x="1" y="11468"/>
                  <a:pt x="158" y="11626"/>
                  <a:pt x="379" y="11626"/>
                </a:cubicBezTo>
                <a:lnTo>
                  <a:pt x="11342" y="11626"/>
                </a:lnTo>
                <a:cubicBezTo>
                  <a:pt x="11563" y="11626"/>
                  <a:pt x="11721" y="11468"/>
                  <a:pt x="11721" y="11279"/>
                </a:cubicBezTo>
                <a:lnTo>
                  <a:pt x="11721" y="5798"/>
                </a:lnTo>
                <a:cubicBezTo>
                  <a:pt x="11626" y="4537"/>
                  <a:pt x="10838" y="3435"/>
                  <a:pt x="9736" y="2962"/>
                </a:cubicBezTo>
                <a:lnTo>
                  <a:pt x="9767" y="2931"/>
                </a:lnTo>
                <a:cubicBezTo>
                  <a:pt x="10082" y="2616"/>
                  <a:pt x="10303" y="2175"/>
                  <a:pt x="10303" y="1702"/>
                </a:cubicBezTo>
                <a:cubicBezTo>
                  <a:pt x="10303" y="757"/>
                  <a:pt x="9547" y="1"/>
                  <a:pt x="86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57" name="Google Shape;7157;p74"/>
          <p:cNvGrpSpPr/>
          <p:nvPr/>
        </p:nvGrpSpPr>
        <p:grpSpPr>
          <a:xfrm>
            <a:off x="3510650" y="2046905"/>
            <a:ext cx="477799" cy="472380"/>
            <a:chOff x="-34421275" y="1912725"/>
            <a:chExt cx="295375" cy="292025"/>
          </a:xfrm>
        </p:grpSpPr>
        <p:sp>
          <p:nvSpPr>
            <p:cNvPr id="7158" name="Google Shape;7158;p74"/>
            <p:cNvSpPr/>
            <p:nvPr/>
          </p:nvSpPr>
          <p:spPr>
            <a:xfrm>
              <a:off x="-34421275" y="1974375"/>
              <a:ext cx="236300" cy="230375"/>
            </a:xfrm>
            <a:custGeom>
              <a:avLst/>
              <a:gdLst/>
              <a:ahLst/>
              <a:cxnLst/>
              <a:rect l="l" t="t" r="r" b="b"/>
              <a:pathLst>
                <a:path w="9452" h="9215" extrusionOk="0">
                  <a:moveTo>
                    <a:pt x="2158" y="725"/>
                  </a:moveTo>
                  <a:cubicBezTo>
                    <a:pt x="2245" y="725"/>
                    <a:pt x="2332" y="764"/>
                    <a:pt x="2395" y="843"/>
                  </a:cubicBezTo>
                  <a:lnTo>
                    <a:pt x="3371" y="1851"/>
                  </a:lnTo>
                  <a:cubicBezTo>
                    <a:pt x="3497" y="1946"/>
                    <a:pt x="3497" y="2198"/>
                    <a:pt x="3371" y="2324"/>
                  </a:cubicBezTo>
                  <a:lnTo>
                    <a:pt x="3151" y="2544"/>
                  </a:lnTo>
                  <a:lnTo>
                    <a:pt x="1702" y="1095"/>
                  </a:lnTo>
                  <a:lnTo>
                    <a:pt x="1922" y="843"/>
                  </a:lnTo>
                  <a:cubicBezTo>
                    <a:pt x="1985" y="764"/>
                    <a:pt x="2072" y="725"/>
                    <a:pt x="2158" y="725"/>
                  </a:cubicBezTo>
                  <a:close/>
                  <a:moveTo>
                    <a:pt x="7345" y="5884"/>
                  </a:moveTo>
                  <a:cubicBezTo>
                    <a:pt x="7428" y="5884"/>
                    <a:pt x="7514" y="5915"/>
                    <a:pt x="7593" y="5978"/>
                  </a:cubicBezTo>
                  <a:lnTo>
                    <a:pt x="8570" y="6955"/>
                  </a:lnTo>
                  <a:cubicBezTo>
                    <a:pt x="8696" y="7081"/>
                    <a:pt x="8696" y="7301"/>
                    <a:pt x="8570" y="7428"/>
                  </a:cubicBezTo>
                  <a:lnTo>
                    <a:pt x="8349" y="7648"/>
                  </a:lnTo>
                  <a:lnTo>
                    <a:pt x="6900" y="6199"/>
                  </a:lnTo>
                  <a:lnTo>
                    <a:pt x="7120" y="5978"/>
                  </a:lnTo>
                  <a:cubicBezTo>
                    <a:pt x="7183" y="5915"/>
                    <a:pt x="7262" y="5884"/>
                    <a:pt x="7345" y="5884"/>
                  </a:cubicBezTo>
                  <a:close/>
                  <a:moveTo>
                    <a:pt x="1166" y="1568"/>
                  </a:moveTo>
                  <a:lnTo>
                    <a:pt x="2678" y="3048"/>
                  </a:lnTo>
                  <a:cubicBezTo>
                    <a:pt x="2521" y="3426"/>
                    <a:pt x="2584" y="3867"/>
                    <a:pt x="2867" y="4214"/>
                  </a:cubicBezTo>
                  <a:lnTo>
                    <a:pt x="5104" y="6451"/>
                  </a:lnTo>
                  <a:cubicBezTo>
                    <a:pt x="5301" y="6648"/>
                    <a:pt x="5559" y="6746"/>
                    <a:pt x="5826" y="6746"/>
                  </a:cubicBezTo>
                  <a:cubicBezTo>
                    <a:pt x="5985" y="6746"/>
                    <a:pt x="6148" y="6711"/>
                    <a:pt x="6301" y="6640"/>
                  </a:cubicBezTo>
                  <a:lnTo>
                    <a:pt x="7782" y="8152"/>
                  </a:lnTo>
                  <a:lnTo>
                    <a:pt x="7719" y="8215"/>
                  </a:lnTo>
                  <a:cubicBezTo>
                    <a:pt x="7522" y="8412"/>
                    <a:pt x="7264" y="8510"/>
                    <a:pt x="6997" y="8510"/>
                  </a:cubicBezTo>
                  <a:cubicBezTo>
                    <a:pt x="6838" y="8510"/>
                    <a:pt x="6675" y="8475"/>
                    <a:pt x="6522" y="8404"/>
                  </a:cubicBezTo>
                  <a:cubicBezTo>
                    <a:pt x="4348" y="7301"/>
                    <a:pt x="1891" y="4876"/>
                    <a:pt x="851" y="2796"/>
                  </a:cubicBezTo>
                  <a:cubicBezTo>
                    <a:pt x="693" y="2418"/>
                    <a:pt x="788" y="1946"/>
                    <a:pt x="1103" y="1631"/>
                  </a:cubicBezTo>
                  <a:lnTo>
                    <a:pt x="1166" y="1568"/>
                  </a:lnTo>
                  <a:close/>
                  <a:moveTo>
                    <a:pt x="2190" y="0"/>
                  </a:moveTo>
                  <a:cubicBezTo>
                    <a:pt x="1922" y="0"/>
                    <a:pt x="1654" y="103"/>
                    <a:pt x="1449" y="307"/>
                  </a:cubicBezTo>
                  <a:lnTo>
                    <a:pt x="662" y="1095"/>
                  </a:lnTo>
                  <a:cubicBezTo>
                    <a:pt x="158" y="1599"/>
                    <a:pt x="0" y="2387"/>
                    <a:pt x="315" y="3017"/>
                  </a:cubicBezTo>
                  <a:cubicBezTo>
                    <a:pt x="1386" y="5348"/>
                    <a:pt x="3907" y="7869"/>
                    <a:pt x="6270" y="9034"/>
                  </a:cubicBezTo>
                  <a:cubicBezTo>
                    <a:pt x="6521" y="9154"/>
                    <a:pt x="6789" y="9214"/>
                    <a:pt x="7054" y="9214"/>
                  </a:cubicBezTo>
                  <a:cubicBezTo>
                    <a:pt x="7488" y="9214"/>
                    <a:pt x="7910" y="9052"/>
                    <a:pt x="8223" y="8719"/>
                  </a:cubicBezTo>
                  <a:lnTo>
                    <a:pt x="9042" y="7900"/>
                  </a:lnTo>
                  <a:cubicBezTo>
                    <a:pt x="9452" y="7522"/>
                    <a:pt x="9452" y="6829"/>
                    <a:pt x="9042" y="6451"/>
                  </a:cubicBezTo>
                  <a:lnTo>
                    <a:pt x="8066" y="5474"/>
                  </a:lnTo>
                  <a:cubicBezTo>
                    <a:pt x="7876" y="5269"/>
                    <a:pt x="7609" y="5167"/>
                    <a:pt x="7341" y="5167"/>
                  </a:cubicBezTo>
                  <a:cubicBezTo>
                    <a:pt x="7073" y="5167"/>
                    <a:pt x="6805" y="5269"/>
                    <a:pt x="6616" y="5474"/>
                  </a:cubicBezTo>
                  <a:lnTo>
                    <a:pt x="6144" y="5947"/>
                  </a:lnTo>
                  <a:cubicBezTo>
                    <a:pt x="6081" y="5994"/>
                    <a:pt x="5994" y="6018"/>
                    <a:pt x="5907" y="6018"/>
                  </a:cubicBezTo>
                  <a:cubicBezTo>
                    <a:pt x="5821" y="6018"/>
                    <a:pt x="5734" y="5994"/>
                    <a:pt x="5671" y="5947"/>
                  </a:cubicBezTo>
                  <a:lnTo>
                    <a:pt x="3434" y="3678"/>
                  </a:lnTo>
                  <a:cubicBezTo>
                    <a:pt x="3308" y="3584"/>
                    <a:pt x="3308" y="3332"/>
                    <a:pt x="3434" y="3206"/>
                  </a:cubicBezTo>
                  <a:lnTo>
                    <a:pt x="3907" y="2733"/>
                  </a:lnTo>
                  <a:cubicBezTo>
                    <a:pt x="4285" y="2355"/>
                    <a:pt x="4285" y="1694"/>
                    <a:pt x="3907" y="1284"/>
                  </a:cubicBezTo>
                  <a:lnTo>
                    <a:pt x="2930" y="307"/>
                  </a:lnTo>
                  <a:cubicBezTo>
                    <a:pt x="2725" y="103"/>
                    <a:pt x="2458" y="0"/>
                    <a:pt x="21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59" name="Google Shape;7159;p74"/>
            <p:cNvSpPr/>
            <p:nvPr/>
          </p:nvSpPr>
          <p:spPr>
            <a:xfrm>
              <a:off x="-34288175" y="1912725"/>
              <a:ext cx="162275" cy="163075"/>
            </a:xfrm>
            <a:custGeom>
              <a:avLst/>
              <a:gdLst/>
              <a:ahLst/>
              <a:cxnLst/>
              <a:rect l="l" t="t" r="r" b="b"/>
              <a:pathLst>
                <a:path w="6491" h="6523" extrusionOk="0">
                  <a:moveTo>
                    <a:pt x="5766" y="726"/>
                  </a:moveTo>
                  <a:lnTo>
                    <a:pt x="5766" y="2458"/>
                  </a:lnTo>
                  <a:lnTo>
                    <a:pt x="5388" y="2049"/>
                  </a:lnTo>
                  <a:cubicBezTo>
                    <a:pt x="5325" y="2002"/>
                    <a:pt x="5238" y="1978"/>
                    <a:pt x="5152" y="1978"/>
                  </a:cubicBezTo>
                  <a:cubicBezTo>
                    <a:pt x="5065" y="1978"/>
                    <a:pt x="4978" y="2002"/>
                    <a:pt x="4915" y="2049"/>
                  </a:cubicBezTo>
                  <a:lnTo>
                    <a:pt x="1985" y="4979"/>
                  </a:lnTo>
                  <a:cubicBezTo>
                    <a:pt x="1922" y="5042"/>
                    <a:pt x="1891" y="5136"/>
                    <a:pt x="1891" y="5199"/>
                  </a:cubicBezTo>
                  <a:cubicBezTo>
                    <a:pt x="1891" y="5294"/>
                    <a:pt x="1922" y="5420"/>
                    <a:pt x="1985" y="5451"/>
                  </a:cubicBezTo>
                  <a:lnTo>
                    <a:pt x="2395" y="5829"/>
                  </a:lnTo>
                  <a:lnTo>
                    <a:pt x="662" y="5829"/>
                  </a:lnTo>
                  <a:lnTo>
                    <a:pt x="662" y="4097"/>
                  </a:lnTo>
                  <a:lnTo>
                    <a:pt x="1040" y="4506"/>
                  </a:lnTo>
                  <a:cubicBezTo>
                    <a:pt x="1103" y="4553"/>
                    <a:pt x="1198" y="4577"/>
                    <a:pt x="1288" y="4577"/>
                  </a:cubicBezTo>
                  <a:cubicBezTo>
                    <a:pt x="1379" y="4577"/>
                    <a:pt x="1466" y="4553"/>
                    <a:pt x="1513" y="4506"/>
                  </a:cubicBezTo>
                  <a:lnTo>
                    <a:pt x="4443" y="1576"/>
                  </a:lnTo>
                  <a:cubicBezTo>
                    <a:pt x="4506" y="1513"/>
                    <a:pt x="4569" y="1419"/>
                    <a:pt x="4569" y="1356"/>
                  </a:cubicBezTo>
                  <a:cubicBezTo>
                    <a:pt x="4569" y="1261"/>
                    <a:pt x="4537" y="1135"/>
                    <a:pt x="4443" y="1104"/>
                  </a:cubicBezTo>
                  <a:lnTo>
                    <a:pt x="4033" y="726"/>
                  </a:lnTo>
                  <a:close/>
                  <a:moveTo>
                    <a:pt x="3214" y="1"/>
                  </a:moveTo>
                  <a:cubicBezTo>
                    <a:pt x="3057" y="1"/>
                    <a:pt x="2931" y="96"/>
                    <a:pt x="2899" y="222"/>
                  </a:cubicBezTo>
                  <a:cubicBezTo>
                    <a:pt x="2868" y="316"/>
                    <a:pt x="2868" y="474"/>
                    <a:pt x="2994" y="568"/>
                  </a:cubicBezTo>
                  <a:lnTo>
                    <a:pt x="3687" y="1261"/>
                  </a:lnTo>
                  <a:lnTo>
                    <a:pt x="1261" y="3719"/>
                  </a:lnTo>
                  <a:lnTo>
                    <a:pt x="536" y="2994"/>
                  </a:lnTo>
                  <a:cubicBezTo>
                    <a:pt x="490" y="2948"/>
                    <a:pt x="393" y="2919"/>
                    <a:pt x="295" y="2919"/>
                  </a:cubicBezTo>
                  <a:cubicBezTo>
                    <a:pt x="259" y="2919"/>
                    <a:pt x="223" y="2922"/>
                    <a:pt x="190" y="2931"/>
                  </a:cubicBezTo>
                  <a:cubicBezTo>
                    <a:pt x="64" y="2962"/>
                    <a:pt x="1" y="3120"/>
                    <a:pt x="1" y="3246"/>
                  </a:cubicBezTo>
                  <a:lnTo>
                    <a:pt x="1" y="6144"/>
                  </a:lnTo>
                  <a:cubicBezTo>
                    <a:pt x="1" y="6365"/>
                    <a:pt x="158" y="6522"/>
                    <a:pt x="347" y="6522"/>
                  </a:cubicBezTo>
                  <a:lnTo>
                    <a:pt x="3246" y="6522"/>
                  </a:lnTo>
                  <a:cubicBezTo>
                    <a:pt x="3403" y="6522"/>
                    <a:pt x="3529" y="6428"/>
                    <a:pt x="3561" y="6302"/>
                  </a:cubicBezTo>
                  <a:cubicBezTo>
                    <a:pt x="3624" y="6207"/>
                    <a:pt x="3624" y="6050"/>
                    <a:pt x="3498" y="5955"/>
                  </a:cubicBezTo>
                  <a:lnTo>
                    <a:pt x="2773" y="5262"/>
                  </a:lnTo>
                  <a:lnTo>
                    <a:pt x="5230" y="2805"/>
                  </a:lnTo>
                  <a:lnTo>
                    <a:pt x="5924" y="3530"/>
                  </a:lnTo>
                  <a:cubicBezTo>
                    <a:pt x="5993" y="3576"/>
                    <a:pt x="6096" y="3605"/>
                    <a:pt x="6195" y="3605"/>
                  </a:cubicBezTo>
                  <a:cubicBezTo>
                    <a:pt x="6232" y="3605"/>
                    <a:pt x="6268" y="3601"/>
                    <a:pt x="6302" y="3593"/>
                  </a:cubicBezTo>
                  <a:cubicBezTo>
                    <a:pt x="6396" y="3561"/>
                    <a:pt x="6491" y="3404"/>
                    <a:pt x="6491" y="3277"/>
                  </a:cubicBezTo>
                  <a:lnTo>
                    <a:pt x="6491" y="379"/>
                  </a:lnTo>
                  <a:cubicBezTo>
                    <a:pt x="6459" y="159"/>
                    <a:pt x="6333" y="1"/>
                    <a:pt x="614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0" name="Google Shape;7160;p74"/>
          <p:cNvGrpSpPr/>
          <p:nvPr/>
        </p:nvGrpSpPr>
        <p:grpSpPr>
          <a:xfrm>
            <a:off x="3509376" y="2657458"/>
            <a:ext cx="480347" cy="473997"/>
            <a:chOff x="-34418125" y="2271100"/>
            <a:chExt cx="296950" cy="293025"/>
          </a:xfrm>
        </p:grpSpPr>
        <p:sp>
          <p:nvSpPr>
            <p:cNvPr id="7161" name="Google Shape;7161;p74"/>
            <p:cNvSpPr/>
            <p:nvPr/>
          </p:nvSpPr>
          <p:spPr>
            <a:xfrm>
              <a:off x="-34418125" y="2271100"/>
              <a:ext cx="296950" cy="293025"/>
            </a:xfrm>
            <a:custGeom>
              <a:avLst/>
              <a:gdLst/>
              <a:ahLst/>
              <a:cxnLst/>
              <a:rect l="l" t="t" r="r" b="b"/>
              <a:pathLst>
                <a:path w="11878" h="11721" extrusionOk="0">
                  <a:moveTo>
                    <a:pt x="6207" y="1229"/>
                  </a:moveTo>
                  <a:lnTo>
                    <a:pt x="7089" y="2080"/>
                  </a:lnTo>
                  <a:lnTo>
                    <a:pt x="6207" y="2080"/>
                  </a:lnTo>
                  <a:lnTo>
                    <a:pt x="6207" y="1229"/>
                  </a:lnTo>
                  <a:close/>
                  <a:moveTo>
                    <a:pt x="7561" y="9074"/>
                  </a:moveTo>
                  <a:lnTo>
                    <a:pt x="7561" y="10366"/>
                  </a:lnTo>
                  <a:lnTo>
                    <a:pt x="6238" y="10366"/>
                  </a:lnTo>
                  <a:lnTo>
                    <a:pt x="7561" y="9074"/>
                  </a:lnTo>
                  <a:close/>
                  <a:moveTo>
                    <a:pt x="5514" y="725"/>
                  </a:moveTo>
                  <a:lnTo>
                    <a:pt x="5514" y="2427"/>
                  </a:lnTo>
                  <a:cubicBezTo>
                    <a:pt x="5514" y="2616"/>
                    <a:pt x="5671" y="2773"/>
                    <a:pt x="5860" y="2773"/>
                  </a:cubicBezTo>
                  <a:lnTo>
                    <a:pt x="7561" y="2773"/>
                  </a:lnTo>
                  <a:lnTo>
                    <a:pt x="7561" y="4222"/>
                  </a:lnTo>
                  <a:cubicBezTo>
                    <a:pt x="6837" y="4947"/>
                    <a:pt x="6742" y="5924"/>
                    <a:pt x="6994" y="6711"/>
                  </a:cubicBezTo>
                  <a:lnTo>
                    <a:pt x="4726" y="8980"/>
                  </a:lnTo>
                  <a:lnTo>
                    <a:pt x="1670" y="8980"/>
                  </a:lnTo>
                  <a:cubicBezTo>
                    <a:pt x="1481" y="8980"/>
                    <a:pt x="1323" y="9137"/>
                    <a:pt x="1323" y="9358"/>
                  </a:cubicBezTo>
                  <a:cubicBezTo>
                    <a:pt x="1323" y="9547"/>
                    <a:pt x="1481" y="9704"/>
                    <a:pt x="1670" y="9704"/>
                  </a:cubicBezTo>
                  <a:lnTo>
                    <a:pt x="4033" y="9704"/>
                  </a:lnTo>
                  <a:lnTo>
                    <a:pt x="3718" y="10019"/>
                  </a:lnTo>
                  <a:cubicBezTo>
                    <a:pt x="3623" y="10145"/>
                    <a:pt x="3529" y="10240"/>
                    <a:pt x="3497" y="10397"/>
                  </a:cubicBezTo>
                  <a:lnTo>
                    <a:pt x="662" y="10397"/>
                  </a:lnTo>
                  <a:lnTo>
                    <a:pt x="662" y="725"/>
                  </a:lnTo>
                  <a:close/>
                  <a:moveTo>
                    <a:pt x="9295" y="4211"/>
                  </a:moveTo>
                  <a:cubicBezTo>
                    <a:pt x="9367" y="4211"/>
                    <a:pt x="9441" y="4215"/>
                    <a:pt x="9515" y="4222"/>
                  </a:cubicBezTo>
                  <a:lnTo>
                    <a:pt x="9042" y="4695"/>
                  </a:lnTo>
                  <a:cubicBezTo>
                    <a:pt x="8664" y="5073"/>
                    <a:pt x="8664" y="5766"/>
                    <a:pt x="9042" y="6144"/>
                  </a:cubicBezTo>
                  <a:cubicBezTo>
                    <a:pt x="9247" y="6349"/>
                    <a:pt x="9515" y="6451"/>
                    <a:pt x="9779" y="6451"/>
                  </a:cubicBezTo>
                  <a:cubicBezTo>
                    <a:pt x="10042" y="6451"/>
                    <a:pt x="10302" y="6349"/>
                    <a:pt x="10491" y="6144"/>
                  </a:cubicBezTo>
                  <a:lnTo>
                    <a:pt x="10964" y="5672"/>
                  </a:lnTo>
                  <a:lnTo>
                    <a:pt x="10964" y="5672"/>
                  </a:lnTo>
                  <a:cubicBezTo>
                    <a:pt x="11058" y="6239"/>
                    <a:pt x="10869" y="6743"/>
                    <a:pt x="10491" y="7089"/>
                  </a:cubicBezTo>
                  <a:cubicBezTo>
                    <a:pt x="10183" y="7418"/>
                    <a:pt x="9741" y="7626"/>
                    <a:pt x="9278" y="7626"/>
                  </a:cubicBezTo>
                  <a:cubicBezTo>
                    <a:pt x="9031" y="7626"/>
                    <a:pt x="8779" y="7567"/>
                    <a:pt x="8538" y="7436"/>
                  </a:cubicBezTo>
                  <a:cubicBezTo>
                    <a:pt x="8496" y="7415"/>
                    <a:pt x="8451" y="7404"/>
                    <a:pt x="8404" y="7404"/>
                  </a:cubicBezTo>
                  <a:cubicBezTo>
                    <a:pt x="8311" y="7404"/>
                    <a:pt x="8213" y="7446"/>
                    <a:pt x="8129" y="7530"/>
                  </a:cubicBezTo>
                  <a:lnTo>
                    <a:pt x="4726" y="10964"/>
                  </a:lnTo>
                  <a:cubicBezTo>
                    <a:pt x="4663" y="11012"/>
                    <a:pt x="4568" y="11035"/>
                    <a:pt x="4478" y="11035"/>
                  </a:cubicBezTo>
                  <a:cubicBezTo>
                    <a:pt x="4387" y="11035"/>
                    <a:pt x="4301" y="11012"/>
                    <a:pt x="4253" y="10964"/>
                  </a:cubicBezTo>
                  <a:cubicBezTo>
                    <a:pt x="4127" y="10838"/>
                    <a:pt x="4127" y="10586"/>
                    <a:pt x="4253" y="10492"/>
                  </a:cubicBezTo>
                  <a:lnTo>
                    <a:pt x="7656" y="7058"/>
                  </a:lnTo>
                  <a:cubicBezTo>
                    <a:pt x="7782" y="6932"/>
                    <a:pt x="7782" y="6774"/>
                    <a:pt x="7750" y="6648"/>
                  </a:cubicBezTo>
                  <a:cubicBezTo>
                    <a:pt x="7467" y="6113"/>
                    <a:pt x="7498" y="5356"/>
                    <a:pt x="7971" y="4821"/>
                  </a:cubicBezTo>
                  <a:cubicBezTo>
                    <a:pt x="8330" y="4407"/>
                    <a:pt x="8785" y="4211"/>
                    <a:pt x="9295" y="4211"/>
                  </a:cubicBezTo>
                  <a:close/>
                  <a:moveTo>
                    <a:pt x="378" y="1"/>
                  </a:moveTo>
                  <a:cubicBezTo>
                    <a:pt x="189" y="1"/>
                    <a:pt x="32" y="158"/>
                    <a:pt x="32" y="347"/>
                  </a:cubicBezTo>
                  <a:lnTo>
                    <a:pt x="32" y="10681"/>
                  </a:lnTo>
                  <a:cubicBezTo>
                    <a:pt x="0" y="10870"/>
                    <a:pt x="158" y="11027"/>
                    <a:pt x="347" y="11027"/>
                  </a:cubicBezTo>
                  <a:lnTo>
                    <a:pt x="3529" y="11027"/>
                  </a:lnTo>
                  <a:cubicBezTo>
                    <a:pt x="3560" y="11185"/>
                    <a:pt x="3655" y="11311"/>
                    <a:pt x="3781" y="11437"/>
                  </a:cubicBezTo>
                  <a:cubicBezTo>
                    <a:pt x="3970" y="11626"/>
                    <a:pt x="4230" y="11720"/>
                    <a:pt x="4494" y="11720"/>
                  </a:cubicBezTo>
                  <a:cubicBezTo>
                    <a:pt x="4758" y="11720"/>
                    <a:pt x="5025" y="11626"/>
                    <a:pt x="5230" y="11437"/>
                  </a:cubicBezTo>
                  <a:lnTo>
                    <a:pt x="5608" y="11027"/>
                  </a:lnTo>
                  <a:lnTo>
                    <a:pt x="7940" y="11027"/>
                  </a:lnTo>
                  <a:cubicBezTo>
                    <a:pt x="8129" y="11027"/>
                    <a:pt x="8286" y="10870"/>
                    <a:pt x="8286" y="10681"/>
                  </a:cubicBezTo>
                  <a:lnTo>
                    <a:pt x="8286" y="8349"/>
                  </a:lnTo>
                  <a:lnTo>
                    <a:pt x="8538" y="8129"/>
                  </a:lnTo>
                  <a:cubicBezTo>
                    <a:pt x="8792" y="8220"/>
                    <a:pt x="9065" y="8269"/>
                    <a:pt x="9344" y="8269"/>
                  </a:cubicBezTo>
                  <a:cubicBezTo>
                    <a:pt x="9929" y="8269"/>
                    <a:pt x="10536" y="8053"/>
                    <a:pt x="11027" y="7562"/>
                  </a:cubicBezTo>
                  <a:cubicBezTo>
                    <a:pt x="11752" y="6806"/>
                    <a:pt x="11878" y="5735"/>
                    <a:pt x="11500" y="4852"/>
                  </a:cubicBezTo>
                  <a:cubicBezTo>
                    <a:pt x="11437" y="4726"/>
                    <a:pt x="11342" y="4695"/>
                    <a:pt x="11248" y="4663"/>
                  </a:cubicBezTo>
                  <a:cubicBezTo>
                    <a:pt x="11122" y="4663"/>
                    <a:pt x="11027" y="4663"/>
                    <a:pt x="10932" y="4726"/>
                  </a:cubicBezTo>
                  <a:lnTo>
                    <a:pt x="10082" y="5609"/>
                  </a:lnTo>
                  <a:cubicBezTo>
                    <a:pt x="10019" y="5656"/>
                    <a:pt x="9924" y="5679"/>
                    <a:pt x="9834" y="5679"/>
                  </a:cubicBezTo>
                  <a:cubicBezTo>
                    <a:pt x="9743" y="5679"/>
                    <a:pt x="9657" y="5656"/>
                    <a:pt x="9609" y="5609"/>
                  </a:cubicBezTo>
                  <a:cubicBezTo>
                    <a:pt x="9483" y="5483"/>
                    <a:pt x="9483" y="5230"/>
                    <a:pt x="9609" y="5136"/>
                  </a:cubicBezTo>
                  <a:lnTo>
                    <a:pt x="10460" y="4254"/>
                  </a:lnTo>
                  <a:cubicBezTo>
                    <a:pt x="10554" y="4191"/>
                    <a:pt x="10586" y="4065"/>
                    <a:pt x="10554" y="3939"/>
                  </a:cubicBezTo>
                  <a:cubicBezTo>
                    <a:pt x="10554" y="3813"/>
                    <a:pt x="10460" y="3750"/>
                    <a:pt x="10334" y="3718"/>
                  </a:cubicBezTo>
                  <a:cubicBezTo>
                    <a:pt x="10003" y="3561"/>
                    <a:pt x="9649" y="3482"/>
                    <a:pt x="9298" y="3482"/>
                  </a:cubicBezTo>
                  <a:cubicBezTo>
                    <a:pt x="8948" y="3482"/>
                    <a:pt x="8601" y="3561"/>
                    <a:pt x="8286" y="3718"/>
                  </a:cubicBezTo>
                  <a:lnTo>
                    <a:pt x="8286" y="2395"/>
                  </a:lnTo>
                  <a:cubicBezTo>
                    <a:pt x="8286" y="2332"/>
                    <a:pt x="8255" y="2206"/>
                    <a:pt x="8192" y="2175"/>
                  </a:cubicBezTo>
                  <a:lnTo>
                    <a:pt x="6144" y="127"/>
                  </a:lnTo>
                  <a:cubicBezTo>
                    <a:pt x="6049" y="64"/>
                    <a:pt x="5986"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2" name="Google Shape;7162;p74"/>
            <p:cNvSpPr/>
            <p:nvPr/>
          </p:nvSpPr>
          <p:spPr>
            <a:xfrm>
              <a:off x="-34331500" y="23057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3" name="Google Shape;7163;p74"/>
            <p:cNvSpPr/>
            <p:nvPr/>
          </p:nvSpPr>
          <p:spPr>
            <a:xfrm>
              <a:off x="-34331500" y="2341200"/>
              <a:ext cx="17350" cy="69350"/>
            </a:xfrm>
            <a:custGeom>
              <a:avLst/>
              <a:gdLst/>
              <a:ahLst/>
              <a:cxnLst/>
              <a:rect l="l" t="t" r="r" b="b"/>
              <a:pathLst>
                <a:path w="694" h="2774" extrusionOk="0">
                  <a:moveTo>
                    <a:pt x="347" y="1"/>
                  </a:moveTo>
                  <a:cubicBezTo>
                    <a:pt x="158" y="1"/>
                    <a:pt x="1" y="158"/>
                    <a:pt x="1" y="347"/>
                  </a:cubicBezTo>
                  <a:lnTo>
                    <a:pt x="1" y="2395"/>
                  </a:lnTo>
                  <a:cubicBezTo>
                    <a:pt x="1" y="2584"/>
                    <a:pt x="158" y="2773"/>
                    <a:pt x="347" y="2773"/>
                  </a:cubicBezTo>
                  <a:cubicBezTo>
                    <a:pt x="536" y="2773"/>
                    <a:pt x="694" y="2584"/>
                    <a:pt x="694" y="2395"/>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4" name="Google Shape;7164;p74"/>
            <p:cNvSpPr/>
            <p:nvPr/>
          </p:nvSpPr>
          <p:spPr>
            <a:xfrm>
              <a:off x="-34384275" y="2427050"/>
              <a:ext cx="121325" cy="17350"/>
            </a:xfrm>
            <a:custGeom>
              <a:avLst/>
              <a:gdLst/>
              <a:ahLst/>
              <a:cxnLst/>
              <a:rect l="l" t="t" r="r" b="b"/>
              <a:pathLst>
                <a:path w="4853" h="694" extrusionOk="0">
                  <a:moveTo>
                    <a:pt x="379" y="1"/>
                  </a:moveTo>
                  <a:cubicBezTo>
                    <a:pt x="158" y="1"/>
                    <a:pt x="1" y="158"/>
                    <a:pt x="1" y="347"/>
                  </a:cubicBezTo>
                  <a:cubicBezTo>
                    <a:pt x="1" y="536"/>
                    <a:pt x="158" y="694"/>
                    <a:pt x="379" y="694"/>
                  </a:cubicBezTo>
                  <a:lnTo>
                    <a:pt x="4506" y="694"/>
                  </a:lnTo>
                  <a:cubicBezTo>
                    <a:pt x="4695" y="694"/>
                    <a:pt x="4853" y="536"/>
                    <a:pt x="4853" y="347"/>
                  </a:cubicBezTo>
                  <a:cubicBezTo>
                    <a:pt x="4853"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5" name="Google Shape;7165;p74"/>
            <p:cNvSpPr/>
            <p:nvPr/>
          </p:nvSpPr>
          <p:spPr>
            <a:xfrm>
              <a:off x="-34384275" y="2460125"/>
              <a:ext cx="88250" cy="18150"/>
            </a:xfrm>
            <a:custGeom>
              <a:avLst/>
              <a:gdLst/>
              <a:ahLst/>
              <a:cxnLst/>
              <a:rect l="l" t="t" r="r" b="b"/>
              <a:pathLst>
                <a:path w="3530" h="726" extrusionOk="0">
                  <a:moveTo>
                    <a:pt x="379" y="1"/>
                  </a:moveTo>
                  <a:cubicBezTo>
                    <a:pt x="158" y="1"/>
                    <a:pt x="1" y="158"/>
                    <a:pt x="1" y="379"/>
                  </a:cubicBezTo>
                  <a:cubicBezTo>
                    <a:pt x="1" y="599"/>
                    <a:pt x="158" y="725"/>
                    <a:pt x="379" y="725"/>
                  </a:cubicBezTo>
                  <a:lnTo>
                    <a:pt x="3151" y="725"/>
                  </a:lnTo>
                  <a:cubicBezTo>
                    <a:pt x="3372" y="725"/>
                    <a:pt x="3530" y="568"/>
                    <a:pt x="3530" y="379"/>
                  </a:cubicBezTo>
                  <a:cubicBezTo>
                    <a:pt x="3530" y="158"/>
                    <a:pt x="3372"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66" name="Google Shape;7166;p74"/>
          <p:cNvGrpSpPr/>
          <p:nvPr/>
        </p:nvGrpSpPr>
        <p:grpSpPr>
          <a:xfrm>
            <a:off x="3510650" y="3265493"/>
            <a:ext cx="477799" cy="471449"/>
            <a:chOff x="-34421275" y="2631050"/>
            <a:chExt cx="295375" cy="291450"/>
          </a:xfrm>
        </p:grpSpPr>
        <p:sp>
          <p:nvSpPr>
            <p:cNvPr id="7167" name="Google Shape;7167;p74"/>
            <p:cNvSpPr/>
            <p:nvPr/>
          </p:nvSpPr>
          <p:spPr>
            <a:xfrm>
              <a:off x="-34421275" y="2639125"/>
              <a:ext cx="288275" cy="283375"/>
            </a:xfrm>
            <a:custGeom>
              <a:avLst/>
              <a:gdLst/>
              <a:ahLst/>
              <a:cxnLst/>
              <a:rect l="l" t="t" r="r" b="b"/>
              <a:pathLst>
                <a:path w="11531" h="11335" extrusionOk="0">
                  <a:moveTo>
                    <a:pt x="5592" y="717"/>
                  </a:moveTo>
                  <a:cubicBezTo>
                    <a:pt x="5679" y="717"/>
                    <a:pt x="5766" y="749"/>
                    <a:pt x="5829" y="812"/>
                  </a:cubicBezTo>
                  <a:lnTo>
                    <a:pt x="10680" y="5663"/>
                  </a:lnTo>
                  <a:cubicBezTo>
                    <a:pt x="10775" y="5758"/>
                    <a:pt x="10775" y="6010"/>
                    <a:pt x="10680" y="6136"/>
                  </a:cubicBezTo>
                  <a:cubicBezTo>
                    <a:pt x="10617" y="6183"/>
                    <a:pt x="10523" y="6207"/>
                    <a:pt x="10432" y="6207"/>
                  </a:cubicBezTo>
                  <a:cubicBezTo>
                    <a:pt x="10342" y="6207"/>
                    <a:pt x="10255" y="6183"/>
                    <a:pt x="10208" y="6136"/>
                  </a:cubicBezTo>
                  <a:lnTo>
                    <a:pt x="5356" y="1284"/>
                  </a:lnTo>
                  <a:cubicBezTo>
                    <a:pt x="5230" y="1158"/>
                    <a:pt x="5230" y="938"/>
                    <a:pt x="5356" y="812"/>
                  </a:cubicBezTo>
                  <a:cubicBezTo>
                    <a:pt x="5419" y="749"/>
                    <a:pt x="5506" y="717"/>
                    <a:pt x="5592" y="717"/>
                  </a:cubicBezTo>
                  <a:close/>
                  <a:moveTo>
                    <a:pt x="8444" y="7239"/>
                  </a:moveTo>
                  <a:lnTo>
                    <a:pt x="8538" y="7396"/>
                  </a:lnTo>
                  <a:cubicBezTo>
                    <a:pt x="8696" y="7554"/>
                    <a:pt x="8664" y="7806"/>
                    <a:pt x="8475" y="7932"/>
                  </a:cubicBezTo>
                  <a:lnTo>
                    <a:pt x="5923" y="9223"/>
                  </a:lnTo>
                  <a:cubicBezTo>
                    <a:pt x="5873" y="9261"/>
                    <a:pt x="5819" y="9278"/>
                    <a:pt x="5763" y="9278"/>
                  </a:cubicBezTo>
                  <a:cubicBezTo>
                    <a:pt x="5678" y="9278"/>
                    <a:pt x="5590" y="9237"/>
                    <a:pt x="5514" y="9160"/>
                  </a:cubicBezTo>
                  <a:lnTo>
                    <a:pt x="5230" y="8877"/>
                  </a:lnTo>
                  <a:cubicBezTo>
                    <a:pt x="6301" y="8089"/>
                    <a:pt x="7341" y="7617"/>
                    <a:pt x="8444" y="7239"/>
                  </a:cubicBezTo>
                  <a:close/>
                  <a:moveTo>
                    <a:pt x="5230" y="2198"/>
                  </a:moveTo>
                  <a:lnTo>
                    <a:pt x="9294" y="6230"/>
                  </a:lnTo>
                  <a:cubicBezTo>
                    <a:pt x="7908" y="6703"/>
                    <a:pt x="5797" y="7270"/>
                    <a:pt x="3560" y="9381"/>
                  </a:cubicBezTo>
                  <a:lnTo>
                    <a:pt x="2080" y="7932"/>
                  </a:lnTo>
                  <a:cubicBezTo>
                    <a:pt x="3340" y="6608"/>
                    <a:pt x="4285" y="5033"/>
                    <a:pt x="4852" y="3395"/>
                  </a:cubicBezTo>
                  <a:lnTo>
                    <a:pt x="5230" y="2198"/>
                  </a:lnTo>
                  <a:close/>
                  <a:moveTo>
                    <a:pt x="1138" y="8089"/>
                  </a:moveTo>
                  <a:cubicBezTo>
                    <a:pt x="1229" y="8089"/>
                    <a:pt x="1323" y="8121"/>
                    <a:pt x="1386" y="8184"/>
                  </a:cubicBezTo>
                  <a:lnTo>
                    <a:pt x="3308" y="10105"/>
                  </a:lnTo>
                  <a:cubicBezTo>
                    <a:pt x="3434" y="10231"/>
                    <a:pt x="3434" y="10452"/>
                    <a:pt x="3308" y="10578"/>
                  </a:cubicBezTo>
                  <a:cubicBezTo>
                    <a:pt x="3245" y="10641"/>
                    <a:pt x="3159" y="10673"/>
                    <a:pt x="3072" y="10673"/>
                  </a:cubicBezTo>
                  <a:cubicBezTo>
                    <a:pt x="2985" y="10673"/>
                    <a:pt x="2899" y="10641"/>
                    <a:pt x="2836" y="10578"/>
                  </a:cubicBezTo>
                  <a:lnTo>
                    <a:pt x="914" y="8656"/>
                  </a:lnTo>
                  <a:cubicBezTo>
                    <a:pt x="788" y="8530"/>
                    <a:pt x="788" y="8278"/>
                    <a:pt x="914" y="8184"/>
                  </a:cubicBezTo>
                  <a:cubicBezTo>
                    <a:pt x="961" y="8121"/>
                    <a:pt x="1048" y="8089"/>
                    <a:pt x="1138" y="8089"/>
                  </a:cubicBezTo>
                  <a:close/>
                  <a:moveTo>
                    <a:pt x="5565" y="0"/>
                  </a:moveTo>
                  <a:cubicBezTo>
                    <a:pt x="5301" y="0"/>
                    <a:pt x="5041" y="103"/>
                    <a:pt x="4852" y="307"/>
                  </a:cubicBezTo>
                  <a:cubicBezTo>
                    <a:pt x="4474" y="654"/>
                    <a:pt x="4442" y="1158"/>
                    <a:pt x="4694" y="1568"/>
                  </a:cubicBezTo>
                  <a:lnTo>
                    <a:pt x="4159" y="3143"/>
                  </a:lnTo>
                  <a:cubicBezTo>
                    <a:pt x="3655" y="4655"/>
                    <a:pt x="2710" y="6199"/>
                    <a:pt x="1575" y="7428"/>
                  </a:cubicBezTo>
                  <a:cubicBezTo>
                    <a:pt x="1422" y="7357"/>
                    <a:pt x="1259" y="7321"/>
                    <a:pt x="1100" y="7321"/>
                  </a:cubicBezTo>
                  <a:cubicBezTo>
                    <a:pt x="834" y="7321"/>
                    <a:pt x="575" y="7420"/>
                    <a:pt x="378" y="7617"/>
                  </a:cubicBezTo>
                  <a:cubicBezTo>
                    <a:pt x="0" y="8026"/>
                    <a:pt x="0" y="8688"/>
                    <a:pt x="378" y="9066"/>
                  </a:cubicBezTo>
                  <a:lnTo>
                    <a:pt x="2363" y="11051"/>
                  </a:lnTo>
                  <a:cubicBezTo>
                    <a:pt x="2552" y="11240"/>
                    <a:pt x="2820" y="11334"/>
                    <a:pt x="3088" y="11334"/>
                  </a:cubicBezTo>
                  <a:cubicBezTo>
                    <a:pt x="3356" y="11334"/>
                    <a:pt x="3623" y="11240"/>
                    <a:pt x="3812" y="11051"/>
                  </a:cubicBezTo>
                  <a:cubicBezTo>
                    <a:pt x="4127" y="10736"/>
                    <a:pt x="4222" y="10263"/>
                    <a:pt x="4001" y="9853"/>
                  </a:cubicBezTo>
                  <a:cubicBezTo>
                    <a:pt x="4222" y="9664"/>
                    <a:pt x="4442" y="9475"/>
                    <a:pt x="4694" y="9286"/>
                  </a:cubicBezTo>
                  <a:lnTo>
                    <a:pt x="5041" y="9633"/>
                  </a:lnTo>
                  <a:cubicBezTo>
                    <a:pt x="5238" y="9830"/>
                    <a:pt x="5496" y="9928"/>
                    <a:pt x="5755" y="9928"/>
                  </a:cubicBezTo>
                  <a:cubicBezTo>
                    <a:pt x="5910" y="9928"/>
                    <a:pt x="6065" y="9893"/>
                    <a:pt x="6207" y="9822"/>
                  </a:cubicBezTo>
                  <a:lnTo>
                    <a:pt x="8790" y="8530"/>
                  </a:lnTo>
                  <a:cubicBezTo>
                    <a:pt x="9357" y="8215"/>
                    <a:pt x="9515" y="7459"/>
                    <a:pt x="9137" y="6986"/>
                  </a:cubicBezTo>
                  <a:lnTo>
                    <a:pt x="9893" y="6766"/>
                  </a:lnTo>
                  <a:cubicBezTo>
                    <a:pt x="10050" y="6858"/>
                    <a:pt x="10229" y="6906"/>
                    <a:pt x="10412" y="6906"/>
                  </a:cubicBezTo>
                  <a:cubicBezTo>
                    <a:pt x="10668" y="6906"/>
                    <a:pt x="10932" y="6811"/>
                    <a:pt x="11153" y="6608"/>
                  </a:cubicBezTo>
                  <a:cubicBezTo>
                    <a:pt x="11531" y="6199"/>
                    <a:pt x="11531" y="5537"/>
                    <a:pt x="11153" y="5128"/>
                  </a:cubicBezTo>
                  <a:lnTo>
                    <a:pt x="6301" y="307"/>
                  </a:lnTo>
                  <a:cubicBezTo>
                    <a:pt x="6096" y="103"/>
                    <a:pt x="5829" y="0"/>
                    <a:pt x="55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8" name="Google Shape;7168;p74"/>
            <p:cNvSpPr/>
            <p:nvPr/>
          </p:nvSpPr>
          <p:spPr>
            <a:xfrm>
              <a:off x="-34181850" y="2644625"/>
              <a:ext cx="41775" cy="41575"/>
            </a:xfrm>
            <a:custGeom>
              <a:avLst/>
              <a:gdLst/>
              <a:ahLst/>
              <a:cxnLst/>
              <a:rect l="l" t="t" r="r" b="b"/>
              <a:pathLst>
                <a:path w="1671" h="1663" extrusionOk="0">
                  <a:moveTo>
                    <a:pt x="1328" y="1"/>
                  </a:moveTo>
                  <a:cubicBezTo>
                    <a:pt x="1237" y="1"/>
                    <a:pt x="1151" y="40"/>
                    <a:pt x="1103" y="119"/>
                  </a:cubicBezTo>
                  <a:lnTo>
                    <a:pt x="95" y="1096"/>
                  </a:lnTo>
                  <a:cubicBezTo>
                    <a:pt x="1" y="1222"/>
                    <a:pt x="1" y="1442"/>
                    <a:pt x="95" y="1568"/>
                  </a:cubicBezTo>
                  <a:cubicBezTo>
                    <a:pt x="158" y="1631"/>
                    <a:pt x="253" y="1663"/>
                    <a:pt x="343" y="1663"/>
                  </a:cubicBezTo>
                  <a:cubicBezTo>
                    <a:pt x="434" y="1663"/>
                    <a:pt x="521" y="1631"/>
                    <a:pt x="568" y="1568"/>
                  </a:cubicBezTo>
                  <a:lnTo>
                    <a:pt x="1576" y="592"/>
                  </a:lnTo>
                  <a:cubicBezTo>
                    <a:pt x="1671" y="466"/>
                    <a:pt x="1671" y="213"/>
                    <a:pt x="1576" y="119"/>
                  </a:cubicBezTo>
                  <a:cubicBezTo>
                    <a:pt x="1513" y="40"/>
                    <a:pt x="1418" y="1"/>
                    <a:pt x="13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69" name="Google Shape;7169;p74"/>
            <p:cNvSpPr/>
            <p:nvPr/>
          </p:nvSpPr>
          <p:spPr>
            <a:xfrm>
              <a:off x="-34217275" y="2631050"/>
              <a:ext cx="17350" cy="41775"/>
            </a:xfrm>
            <a:custGeom>
              <a:avLst/>
              <a:gdLst/>
              <a:ahLst/>
              <a:cxnLst/>
              <a:rect l="l" t="t" r="r" b="b"/>
              <a:pathLst>
                <a:path w="694" h="1671" extrusionOk="0">
                  <a:moveTo>
                    <a:pt x="347" y="0"/>
                  </a:moveTo>
                  <a:cubicBezTo>
                    <a:pt x="158" y="0"/>
                    <a:pt x="0" y="158"/>
                    <a:pt x="0" y="347"/>
                  </a:cubicBezTo>
                  <a:lnTo>
                    <a:pt x="0" y="1324"/>
                  </a:lnTo>
                  <a:cubicBezTo>
                    <a:pt x="0" y="1513"/>
                    <a:pt x="158" y="1670"/>
                    <a:pt x="347" y="1670"/>
                  </a:cubicBezTo>
                  <a:cubicBezTo>
                    <a:pt x="536" y="1670"/>
                    <a:pt x="693" y="1513"/>
                    <a:pt x="693" y="1324"/>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0" name="Google Shape;7170;p74"/>
            <p:cNvSpPr/>
            <p:nvPr/>
          </p:nvSpPr>
          <p:spPr>
            <a:xfrm>
              <a:off x="-34168450" y="2704300"/>
              <a:ext cx="42550" cy="18125"/>
            </a:xfrm>
            <a:custGeom>
              <a:avLst/>
              <a:gdLst/>
              <a:ahLst/>
              <a:cxnLst/>
              <a:rect l="l" t="t" r="r" b="b"/>
              <a:pathLst>
                <a:path w="1702" h="725" extrusionOk="0">
                  <a:moveTo>
                    <a:pt x="347" y="0"/>
                  </a:moveTo>
                  <a:cubicBezTo>
                    <a:pt x="158" y="0"/>
                    <a:pt x="0" y="158"/>
                    <a:pt x="0" y="378"/>
                  </a:cubicBezTo>
                  <a:cubicBezTo>
                    <a:pt x="0" y="567"/>
                    <a:pt x="158" y="725"/>
                    <a:pt x="347" y="725"/>
                  </a:cubicBezTo>
                  <a:lnTo>
                    <a:pt x="1355" y="725"/>
                  </a:lnTo>
                  <a:cubicBezTo>
                    <a:pt x="1544" y="725"/>
                    <a:pt x="1702" y="567"/>
                    <a:pt x="1702" y="378"/>
                  </a:cubicBezTo>
                  <a:cubicBezTo>
                    <a:pt x="1670" y="158"/>
                    <a:pt x="1544" y="0"/>
                    <a:pt x="13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171" name="Google Shape;7171;p74"/>
          <p:cNvSpPr/>
          <p:nvPr/>
        </p:nvSpPr>
        <p:spPr>
          <a:xfrm>
            <a:off x="1732206" y="3886734"/>
            <a:ext cx="471449" cy="472703"/>
          </a:xfrm>
          <a:custGeom>
            <a:avLst/>
            <a:gdLst/>
            <a:ahLst/>
            <a:cxnLst/>
            <a:rect l="l" t="t" r="r" b="b"/>
            <a:pathLst>
              <a:path w="11658" h="11689" extrusionOk="0">
                <a:moveTo>
                  <a:pt x="2868" y="8538"/>
                </a:moveTo>
                <a:cubicBezTo>
                  <a:pt x="3025" y="8948"/>
                  <a:pt x="3340" y="9263"/>
                  <a:pt x="3781" y="9452"/>
                </a:cubicBezTo>
                <a:cubicBezTo>
                  <a:pt x="3403" y="9389"/>
                  <a:pt x="2364" y="9231"/>
                  <a:pt x="2080" y="8916"/>
                </a:cubicBezTo>
                <a:cubicBezTo>
                  <a:pt x="2143" y="8885"/>
                  <a:pt x="2332" y="8727"/>
                  <a:pt x="2868" y="8538"/>
                </a:cubicBezTo>
                <a:close/>
                <a:moveTo>
                  <a:pt x="8791" y="8538"/>
                </a:moveTo>
                <a:cubicBezTo>
                  <a:pt x="9326" y="8727"/>
                  <a:pt x="9547" y="8885"/>
                  <a:pt x="9578" y="8916"/>
                </a:cubicBezTo>
                <a:cubicBezTo>
                  <a:pt x="9295" y="9231"/>
                  <a:pt x="8287" y="9389"/>
                  <a:pt x="7877" y="9452"/>
                </a:cubicBezTo>
                <a:cubicBezTo>
                  <a:pt x="8287" y="9294"/>
                  <a:pt x="8602" y="8948"/>
                  <a:pt x="8791" y="8538"/>
                </a:cubicBezTo>
                <a:close/>
                <a:moveTo>
                  <a:pt x="5829" y="725"/>
                </a:moveTo>
                <a:cubicBezTo>
                  <a:pt x="6018" y="725"/>
                  <a:pt x="6176" y="883"/>
                  <a:pt x="6176" y="1072"/>
                </a:cubicBezTo>
                <a:lnTo>
                  <a:pt x="6176" y="4537"/>
                </a:lnTo>
                <a:cubicBezTo>
                  <a:pt x="6176" y="4695"/>
                  <a:pt x="6302" y="4821"/>
                  <a:pt x="6428" y="4852"/>
                </a:cubicBezTo>
                <a:cubicBezTo>
                  <a:pt x="6455" y="4858"/>
                  <a:pt x="6482" y="4860"/>
                  <a:pt x="6508" y="4860"/>
                </a:cubicBezTo>
                <a:cubicBezTo>
                  <a:pt x="6637" y="4860"/>
                  <a:pt x="6754" y="4799"/>
                  <a:pt x="6806" y="4695"/>
                </a:cubicBezTo>
                <a:lnTo>
                  <a:pt x="8287" y="2237"/>
                </a:lnTo>
                <a:cubicBezTo>
                  <a:pt x="8326" y="2139"/>
                  <a:pt x="8415" y="2090"/>
                  <a:pt x="8514" y="2090"/>
                </a:cubicBezTo>
                <a:cubicBezTo>
                  <a:pt x="8574" y="2090"/>
                  <a:pt x="8637" y="2107"/>
                  <a:pt x="8696" y="2143"/>
                </a:cubicBezTo>
                <a:cubicBezTo>
                  <a:pt x="8854" y="2206"/>
                  <a:pt x="8948" y="2426"/>
                  <a:pt x="8854" y="2615"/>
                </a:cubicBezTo>
                <a:lnTo>
                  <a:pt x="7656" y="5041"/>
                </a:lnTo>
                <a:cubicBezTo>
                  <a:pt x="7562" y="5262"/>
                  <a:pt x="7656" y="5451"/>
                  <a:pt x="7814" y="5514"/>
                </a:cubicBezTo>
                <a:cubicBezTo>
                  <a:pt x="7851" y="5551"/>
                  <a:pt x="7898" y="5569"/>
                  <a:pt x="7949" y="5569"/>
                </a:cubicBezTo>
                <a:cubicBezTo>
                  <a:pt x="8028" y="5569"/>
                  <a:pt x="8116" y="5527"/>
                  <a:pt x="8192" y="5451"/>
                </a:cubicBezTo>
                <a:cubicBezTo>
                  <a:pt x="9630" y="4282"/>
                  <a:pt x="9701" y="4254"/>
                  <a:pt x="9704" y="4254"/>
                </a:cubicBezTo>
                <a:cubicBezTo>
                  <a:pt x="9704" y="4254"/>
                  <a:pt x="9704" y="4254"/>
                  <a:pt x="9704" y="4254"/>
                </a:cubicBezTo>
                <a:cubicBezTo>
                  <a:pt x="9752" y="4206"/>
                  <a:pt x="9838" y="4183"/>
                  <a:pt x="9929" y="4183"/>
                </a:cubicBezTo>
                <a:cubicBezTo>
                  <a:pt x="10019" y="4183"/>
                  <a:pt x="10114" y="4206"/>
                  <a:pt x="10177" y="4254"/>
                </a:cubicBezTo>
                <a:cubicBezTo>
                  <a:pt x="10271" y="4380"/>
                  <a:pt x="10271" y="4632"/>
                  <a:pt x="10177" y="4726"/>
                </a:cubicBezTo>
                <a:lnTo>
                  <a:pt x="8318" y="6585"/>
                </a:lnTo>
                <a:cubicBezTo>
                  <a:pt x="8224" y="6680"/>
                  <a:pt x="8192" y="6743"/>
                  <a:pt x="8192" y="6837"/>
                </a:cubicBezTo>
                <a:lnTo>
                  <a:pt x="8192" y="7940"/>
                </a:lnTo>
                <a:cubicBezTo>
                  <a:pt x="8192" y="8349"/>
                  <a:pt x="7908" y="8759"/>
                  <a:pt x="7499" y="8916"/>
                </a:cubicBezTo>
                <a:cubicBezTo>
                  <a:pt x="7184" y="9042"/>
                  <a:pt x="6932" y="9263"/>
                  <a:pt x="6869" y="9609"/>
                </a:cubicBezTo>
                <a:cubicBezTo>
                  <a:pt x="6491" y="9672"/>
                  <a:pt x="6144" y="9672"/>
                  <a:pt x="5798" y="9672"/>
                </a:cubicBezTo>
                <a:cubicBezTo>
                  <a:pt x="5451" y="9672"/>
                  <a:pt x="5073" y="9672"/>
                  <a:pt x="4726" y="9609"/>
                </a:cubicBezTo>
                <a:cubicBezTo>
                  <a:pt x="4663" y="9294"/>
                  <a:pt x="4411" y="9042"/>
                  <a:pt x="4096" y="8916"/>
                </a:cubicBezTo>
                <a:cubicBezTo>
                  <a:pt x="3655" y="8759"/>
                  <a:pt x="3403" y="8381"/>
                  <a:pt x="3403" y="7940"/>
                </a:cubicBezTo>
                <a:cubicBezTo>
                  <a:pt x="3403" y="7562"/>
                  <a:pt x="3277" y="7247"/>
                  <a:pt x="2994" y="6963"/>
                </a:cubicBezTo>
                <a:lnTo>
                  <a:pt x="1418" y="5388"/>
                </a:lnTo>
                <a:cubicBezTo>
                  <a:pt x="1355" y="5293"/>
                  <a:pt x="1355" y="5041"/>
                  <a:pt x="1513" y="4947"/>
                </a:cubicBezTo>
                <a:cubicBezTo>
                  <a:pt x="1568" y="4873"/>
                  <a:pt x="1667" y="4842"/>
                  <a:pt x="1758" y="4842"/>
                </a:cubicBezTo>
                <a:cubicBezTo>
                  <a:pt x="1823" y="4842"/>
                  <a:pt x="1883" y="4858"/>
                  <a:pt x="1923" y="4884"/>
                </a:cubicBezTo>
                <a:cubicBezTo>
                  <a:pt x="3718" y="6238"/>
                  <a:pt x="3592" y="6144"/>
                  <a:pt x="3750" y="6207"/>
                </a:cubicBezTo>
                <a:cubicBezTo>
                  <a:pt x="3834" y="6207"/>
                  <a:pt x="3876" y="6221"/>
                  <a:pt x="3913" y="6221"/>
                </a:cubicBezTo>
                <a:cubicBezTo>
                  <a:pt x="3932" y="6221"/>
                  <a:pt x="3949" y="6217"/>
                  <a:pt x="3970" y="6207"/>
                </a:cubicBezTo>
                <a:cubicBezTo>
                  <a:pt x="5231" y="6238"/>
                  <a:pt x="5483" y="6617"/>
                  <a:pt x="5483" y="7215"/>
                </a:cubicBezTo>
                <a:cubicBezTo>
                  <a:pt x="5483" y="7404"/>
                  <a:pt x="5640" y="7562"/>
                  <a:pt x="5829" y="7562"/>
                </a:cubicBezTo>
                <a:cubicBezTo>
                  <a:pt x="6018" y="7562"/>
                  <a:pt x="6176" y="7404"/>
                  <a:pt x="6176" y="7215"/>
                </a:cubicBezTo>
                <a:cubicBezTo>
                  <a:pt x="6176" y="6554"/>
                  <a:pt x="5924" y="6081"/>
                  <a:pt x="5388" y="5797"/>
                </a:cubicBezTo>
                <a:cubicBezTo>
                  <a:pt x="5073" y="5640"/>
                  <a:pt x="4663" y="5514"/>
                  <a:pt x="4128" y="5514"/>
                </a:cubicBezTo>
                <a:cubicBezTo>
                  <a:pt x="3624" y="4348"/>
                  <a:pt x="2836" y="2647"/>
                  <a:pt x="2805" y="2615"/>
                </a:cubicBezTo>
                <a:cubicBezTo>
                  <a:pt x="2710" y="2458"/>
                  <a:pt x="2805" y="2206"/>
                  <a:pt x="2962" y="2143"/>
                </a:cubicBezTo>
                <a:cubicBezTo>
                  <a:pt x="3015" y="2111"/>
                  <a:pt x="3071" y="2097"/>
                  <a:pt x="3126" y="2097"/>
                </a:cubicBezTo>
                <a:cubicBezTo>
                  <a:pt x="3235" y="2097"/>
                  <a:pt x="3340" y="2153"/>
                  <a:pt x="3403" y="2237"/>
                </a:cubicBezTo>
                <a:lnTo>
                  <a:pt x="4852" y="4695"/>
                </a:lnTo>
                <a:cubicBezTo>
                  <a:pt x="4905" y="4799"/>
                  <a:pt x="5022" y="4860"/>
                  <a:pt x="5150" y="4860"/>
                </a:cubicBezTo>
                <a:cubicBezTo>
                  <a:pt x="5176" y="4860"/>
                  <a:pt x="5204" y="4858"/>
                  <a:pt x="5231" y="4852"/>
                </a:cubicBezTo>
                <a:cubicBezTo>
                  <a:pt x="5388" y="4821"/>
                  <a:pt x="5483" y="4695"/>
                  <a:pt x="5483" y="4537"/>
                </a:cubicBezTo>
                <a:lnTo>
                  <a:pt x="5483" y="1072"/>
                </a:lnTo>
                <a:cubicBezTo>
                  <a:pt x="5483" y="883"/>
                  <a:pt x="5640" y="725"/>
                  <a:pt x="5829" y="725"/>
                </a:cubicBezTo>
                <a:close/>
                <a:moveTo>
                  <a:pt x="8822" y="7310"/>
                </a:moveTo>
                <a:cubicBezTo>
                  <a:pt x="10082" y="7688"/>
                  <a:pt x="10901" y="8318"/>
                  <a:pt x="10901" y="8916"/>
                </a:cubicBezTo>
                <a:cubicBezTo>
                  <a:pt x="10996" y="9925"/>
                  <a:pt x="8791" y="10996"/>
                  <a:pt x="5829" y="10996"/>
                </a:cubicBezTo>
                <a:cubicBezTo>
                  <a:pt x="2868" y="10996"/>
                  <a:pt x="662" y="9988"/>
                  <a:pt x="662" y="8948"/>
                </a:cubicBezTo>
                <a:cubicBezTo>
                  <a:pt x="662" y="8412"/>
                  <a:pt x="1387" y="7814"/>
                  <a:pt x="2490" y="7404"/>
                </a:cubicBezTo>
                <a:lnTo>
                  <a:pt x="2553" y="7499"/>
                </a:lnTo>
                <a:cubicBezTo>
                  <a:pt x="2679" y="7625"/>
                  <a:pt x="2773" y="7782"/>
                  <a:pt x="2773" y="7940"/>
                </a:cubicBezTo>
                <a:cubicBezTo>
                  <a:pt x="2206" y="8097"/>
                  <a:pt x="1387" y="8349"/>
                  <a:pt x="1387" y="8948"/>
                </a:cubicBezTo>
                <a:cubicBezTo>
                  <a:pt x="1387" y="9231"/>
                  <a:pt x="1544" y="9452"/>
                  <a:pt x="1860" y="9672"/>
                </a:cubicBezTo>
                <a:cubicBezTo>
                  <a:pt x="2773" y="10208"/>
                  <a:pt x="4726" y="10334"/>
                  <a:pt x="5798" y="10334"/>
                </a:cubicBezTo>
                <a:cubicBezTo>
                  <a:pt x="6869" y="10334"/>
                  <a:pt x="8822" y="10208"/>
                  <a:pt x="9736" y="9672"/>
                </a:cubicBezTo>
                <a:cubicBezTo>
                  <a:pt x="10051" y="9452"/>
                  <a:pt x="10208" y="9231"/>
                  <a:pt x="10208" y="8948"/>
                </a:cubicBezTo>
                <a:cubicBezTo>
                  <a:pt x="10208" y="8349"/>
                  <a:pt x="9421" y="8097"/>
                  <a:pt x="8822" y="7940"/>
                </a:cubicBezTo>
                <a:lnTo>
                  <a:pt x="8822" y="7310"/>
                </a:lnTo>
                <a:close/>
                <a:moveTo>
                  <a:pt x="5829" y="1"/>
                </a:moveTo>
                <a:cubicBezTo>
                  <a:pt x="5294" y="1"/>
                  <a:pt x="4821" y="473"/>
                  <a:pt x="4821" y="1072"/>
                </a:cubicBezTo>
                <a:lnTo>
                  <a:pt x="4821" y="3309"/>
                </a:lnTo>
                <a:lnTo>
                  <a:pt x="4002" y="1954"/>
                </a:lnTo>
                <a:cubicBezTo>
                  <a:pt x="3807" y="1608"/>
                  <a:pt x="3464" y="1440"/>
                  <a:pt x="3115" y="1440"/>
                </a:cubicBezTo>
                <a:cubicBezTo>
                  <a:pt x="2956" y="1440"/>
                  <a:pt x="2795" y="1475"/>
                  <a:pt x="2647" y="1544"/>
                </a:cubicBezTo>
                <a:cubicBezTo>
                  <a:pt x="2143" y="1765"/>
                  <a:pt x="1923" y="2426"/>
                  <a:pt x="2175" y="2930"/>
                </a:cubicBezTo>
                <a:cubicBezTo>
                  <a:pt x="2206" y="2993"/>
                  <a:pt x="2679" y="4033"/>
                  <a:pt x="3088" y="4915"/>
                </a:cubicBezTo>
                <a:lnTo>
                  <a:pt x="2332" y="4380"/>
                </a:lnTo>
                <a:cubicBezTo>
                  <a:pt x="2157" y="4233"/>
                  <a:pt x="1933" y="4162"/>
                  <a:pt x="1710" y="4162"/>
                </a:cubicBezTo>
                <a:cubicBezTo>
                  <a:pt x="1452" y="4162"/>
                  <a:pt x="1195" y="4257"/>
                  <a:pt x="1009" y="4443"/>
                </a:cubicBezTo>
                <a:cubicBezTo>
                  <a:pt x="599" y="4852"/>
                  <a:pt x="599" y="5514"/>
                  <a:pt x="1009" y="5923"/>
                </a:cubicBezTo>
                <a:lnTo>
                  <a:pt x="1986" y="6900"/>
                </a:lnTo>
                <a:cubicBezTo>
                  <a:pt x="725" y="7404"/>
                  <a:pt x="1" y="8160"/>
                  <a:pt x="1" y="8948"/>
                </a:cubicBezTo>
                <a:cubicBezTo>
                  <a:pt x="1" y="9736"/>
                  <a:pt x="631" y="10460"/>
                  <a:pt x="1828" y="10964"/>
                </a:cubicBezTo>
                <a:cubicBezTo>
                  <a:pt x="2868" y="11437"/>
                  <a:pt x="4348" y="11689"/>
                  <a:pt x="5829" y="11689"/>
                </a:cubicBezTo>
                <a:cubicBezTo>
                  <a:pt x="8948" y="11689"/>
                  <a:pt x="11658" y="10586"/>
                  <a:pt x="11658" y="8979"/>
                </a:cubicBezTo>
                <a:cubicBezTo>
                  <a:pt x="11658" y="8003"/>
                  <a:pt x="10744" y="7184"/>
                  <a:pt x="9169" y="6680"/>
                </a:cubicBezTo>
                <a:lnTo>
                  <a:pt x="10649" y="5199"/>
                </a:lnTo>
                <a:cubicBezTo>
                  <a:pt x="11027" y="4821"/>
                  <a:pt x="11027" y="4159"/>
                  <a:pt x="10649" y="3750"/>
                </a:cubicBezTo>
                <a:cubicBezTo>
                  <a:pt x="10445" y="3561"/>
                  <a:pt x="10185" y="3466"/>
                  <a:pt x="9929" y="3466"/>
                </a:cubicBezTo>
                <a:cubicBezTo>
                  <a:pt x="9673" y="3466"/>
                  <a:pt x="9421" y="3561"/>
                  <a:pt x="9232" y="3750"/>
                </a:cubicBezTo>
                <a:cubicBezTo>
                  <a:pt x="9137" y="3844"/>
                  <a:pt x="9074" y="3876"/>
                  <a:pt x="8948" y="4002"/>
                </a:cubicBezTo>
                <a:cubicBezTo>
                  <a:pt x="8980" y="3876"/>
                  <a:pt x="9421" y="3025"/>
                  <a:pt x="9484" y="2930"/>
                </a:cubicBezTo>
                <a:cubicBezTo>
                  <a:pt x="9736" y="2426"/>
                  <a:pt x="9547" y="1765"/>
                  <a:pt x="9011" y="1544"/>
                </a:cubicBezTo>
                <a:cubicBezTo>
                  <a:pt x="8873" y="1475"/>
                  <a:pt x="8719" y="1440"/>
                  <a:pt x="8564" y="1440"/>
                </a:cubicBezTo>
                <a:cubicBezTo>
                  <a:pt x="8226" y="1440"/>
                  <a:pt x="7883" y="1608"/>
                  <a:pt x="7688" y="1954"/>
                </a:cubicBezTo>
                <a:lnTo>
                  <a:pt x="6869" y="3309"/>
                </a:lnTo>
                <a:lnTo>
                  <a:pt x="6869" y="1072"/>
                </a:lnTo>
                <a:cubicBezTo>
                  <a:pt x="6869" y="505"/>
                  <a:pt x="6396" y="1"/>
                  <a:pt x="58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2" name="Google Shape;7172;p74"/>
          <p:cNvSpPr/>
          <p:nvPr/>
        </p:nvSpPr>
        <p:spPr>
          <a:xfrm>
            <a:off x="1732206" y="4511710"/>
            <a:ext cx="471449" cy="471409"/>
          </a:xfrm>
          <a:custGeom>
            <a:avLst/>
            <a:gdLst/>
            <a:ahLst/>
            <a:cxnLst/>
            <a:rect l="l" t="t" r="r" b="b"/>
            <a:pathLst>
              <a:path w="11658" h="11657" extrusionOk="0">
                <a:moveTo>
                  <a:pt x="5829" y="662"/>
                </a:moveTo>
                <a:cubicBezTo>
                  <a:pt x="6396" y="662"/>
                  <a:pt x="6869" y="1134"/>
                  <a:pt x="6869" y="1670"/>
                </a:cubicBezTo>
                <a:cubicBezTo>
                  <a:pt x="6869" y="2237"/>
                  <a:pt x="6396" y="2741"/>
                  <a:pt x="5829" y="2741"/>
                </a:cubicBezTo>
                <a:cubicBezTo>
                  <a:pt x="5294" y="2710"/>
                  <a:pt x="4821" y="2237"/>
                  <a:pt x="4821" y="1670"/>
                </a:cubicBezTo>
                <a:cubicBezTo>
                  <a:pt x="4821" y="1134"/>
                  <a:pt x="5294" y="662"/>
                  <a:pt x="5829" y="662"/>
                </a:cubicBezTo>
                <a:close/>
                <a:moveTo>
                  <a:pt x="5829" y="3403"/>
                </a:moveTo>
                <a:cubicBezTo>
                  <a:pt x="7058" y="3403"/>
                  <a:pt x="8034" y="4316"/>
                  <a:pt x="8192" y="5451"/>
                </a:cubicBezTo>
                <a:lnTo>
                  <a:pt x="3466" y="5451"/>
                </a:lnTo>
                <a:cubicBezTo>
                  <a:pt x="3624" y="4285"/>
                  <a:pt x="4600" y="3403"/>
                  <a:pt x="5829" y="3403"/>
                </a:cubicBezTo>
                <a:close/>
                <a:moveTo>
                  <a:pt x="1702" y="8885"/>
                </a:moveTo>
                <a:cubicBezTo>
                  <a:pt x="2269" y="8885"/>
                  <a:pt x="2710" y="9357"/>
                  <a:pt x="2710" y="9924"/>
                </a:cubicBezTo>
                <a:cubicBezTo>
                  <a:pt x="2710" y="10460"/>
                  <a:pt x="2269" y="10932"/>
                  <a:pt x="1702" y="10932"/>
                </a:cubicBezTo>
                <a:cubicBezTo>
                  <a:pt x="1135" y="10932"/>
                  <a:pt x="694" y="10460"/>
                  <a:pt x="694" y="9924"/>
                </a:cubicBezTo>
                <a:cubicBezTo>
                  <a:pt x="694" y="9357"/>
                  <a:pt x="1135" y="8885"/>
                  <a:pt x="1702" y="8885"/>
                </a:cubicBezTo>
                <a:close/>
                <a:moveTo>
                  <a:pt x="5829" y="8885"/>
                </a:moveTo>
                <a:cubicBezTo>
                  <a:pt x="6396" y="8885"/>
                  <a:pt x="6869" y="9357"/>
                  <a:pt x="6869" y="9924"/>
                </a:cubicBezTo>
                <a:cubicBezTo>
                  <a:pt x="6869" y="10460"/>
                  <a:pt x="6396" y="10932"/>
                  <a:pt x="5829" y="10932"/>
                </a:cubicBezTo>
                <a:cubicBezTo>
                  <a:pt x="5294" y="10932"/>
                  <a:pt x="4821" y="10460"/>
                  <a:pt x="4821" y="9924"/>
                </a:cubicBezTo>
                <a:cubicBezTo>
                  <a:pt x="4821" y="9357"/>
                  <a:pt x="5294" y="8885"/>
                  <a:pt x="5829" y="8885"/>
                </a:cubicBezTo>
                <a:close/>
                <a:moveTo>
                  <a:pt x="9956" y="8885"/>
                </a:moveTo>
                <a:cubicBezTo>
                  <a:pt x="10523" y="8885"/>
                  <a:pt x="10996" y="9357"/>
                  <a:pt x="10996" y="9924"/>
                </a:cubicBezTo>
                <a:cubicBezTo>
                  <a:pt x="10996" y="10460"/>
                  <a:pt x="10523" y="10932"/>
                  <a:pt x="9956" y="10932"/>
                </a:cubicBezTo>
                <a:cubicBezTo>
                  <a:pt x="9421" y="10932"/>
                  <a:pt x="8948" y="10460"/>
                  <a:pt x="8948" y="9924"/>
                </a:cubicBezTo>
                <a:cubicBezTo>
                  <a:pt x="8948" y="9357"/>
                  <a:pt x="9421" y="8885"/>
                  <a:pt x="9956" y="8885"/>
                </a:cubicBezTo>
                <a:close/>
                <a:moveTo>
                  <a:pt x="5829" y="0"/>
                </a:moveTo>
                <a:cubicBezTo>
                  <a:pt x="4884" y="0"/>
                  <a:pt x="4128" y="725"/>
                  <a:pt x="4128" y="1670"/>
                </a:cubicBezTo>
                <a:cubicBezTo>
                  <a:pt x="4128" y="2143"/>
                  <a:pt x="4285" y="2584"/>
                  <a:pt x="4663" y="2899"/>
                </a:cubicBezTo>
                <a:lnTo>
                  <a:pt x="4695" y="2930"/>
                </a:lnTo>
                <a:cubicBezTo>
                  <a:pt x="3561" y="3403"/>
                  <a:pt x="2773" y="4505"/>
                  <a:pt x="2773" y="5766"/>
                </a:cubicBezTo>
                <a:cubicBezTo>
                  <a:pt x="2773" y="5955"/>
                  <a:pt x="2931" y="6144"/>
                  <a:pt x="3120" y="6144"/>
                </a:cubicBezTo>
                <a:lnTo>
                  <a:pt x="5514" y="6144"/>
                </a:lnTo>
                <a:lnTo>
                  <a:pt x="5514" y="6837"/>
                </a:lnTo>
                <a:lnTo>
                  <a:pt x="2395" y="6837"/>
                </a:lnTo>
                <a:cubicBezTo>
                  <a:pt x="1860" y="6837"/>
                  <a:pt x="1387" y="7309"/>
                  <a:pt x="1387" y="7876"/>
                </a:cubicBezTo>
                <a:lnTo>
                  <a:pt x="1387" y="8254"/>
                </a:lnTo>
                <a:cubicBezTo>
                  <a:pt x="599" y="8412"/>
                  <a:pt x="1" y="9137"/>
                  <a:pt x="1" y="9956"/>
                </a:cubicBezTo>
                <a:cubicBezTo>
                  <a:pt x="1" y="10901"/>
                  <a:pt x="757" y="11657"/>
                  <a:pt x="1702" y="11657"/>
                </a:cubicBezTo>
                <a:cubicBezTo>
                  <a:pt x="2647" y="11657"/>
                  <a:pt x="3403" y="10901"/>
                  <a:pt x="3403" y="9956"/>
                </a:cubicBezTo>
                <a:cubicBezTo>
                  <a:pt x="3403" y="9137"/>
                  <a:pt x="2805" y="8412"/>
                  <a:pt x="2017" y="8254"/>
                </a:cubicBezTo>
                <a:lnTo>
                  <a:pt x="2017" y="7876"/>
                </a:lnTo>
                <a:cubicBezTo>
                  <a:pt x="2017" y="7656"/>
                  <a:pt x="2175" y="7498"/>
                  <a:pt x="2364" y="7498"/>
                </a:cubicBezTo>
                <a:lnTo>
                  <a:pt x="5483" y="7498"/>
                </a:lnTo>
                <a:lnTo>
                  <a:pt x="5483" y="8223"/>
                </a:lnTo>
                <a:cubicBezTo>
                  <a:pt x="4695" y="8380"/>
                  <a:pt x="4096" y="9074"/>
                  <a:pt x="4096" y="9924"/>
                </a:cubicBezTo>
                <a:cubicBezTo>
                  <a:pt x="4096" y="10869"/>
                  <a:pt x="4852" y="11594"/>
                  <a:pt x="5798" y="11594"/>
                </a:cubicBezTo>
                <a:cubicBezTo>
                  <a:pt x="6743" y="11594"/>
                  <a:pt x="7499" y="10869"/>
                  <a:pt x="7499" y="9924"/>
                </a:cubicBezTo>
                <a:cubicBezTo>
                  <a:pt x="7499" y="9074"/>
                  <a:pt x="6900" y="8380"/>
                  <a:pt x="6113" y="8223"/>
                </a:cubicBezTo>
                <a:lnTo>
                  <a:pt x="6113" y="7498"/>
                </a:lnTo>
                <a:lnTo>
                  <a:pt x="9232" y="7498"/>
                </a:lnTo>
                <a:cubicBezTo>
                  <a:pt x="9421" y="7498"/>
                  <a:pt x="9578" y="7656"/>
                  <a:pt x="9578" y="7876"/>
                </a:cubicBezTo>
                <a:lnTo>
                  <a:pt x="9578" y="8254"/>
                </a:lnTo>
                <a:cubicBezTo>
                  <a:pt x="8791" y="8412"/>
                  <a:pt x="8192" y="9137"/>
                  <a:pt x="8192" y="9956"/>
                </a:cubicBezTo>
                <a:cubicBezTo>
                  <a:pt x="8192" y="10901"/>
                  <a:pt x="8948" y="11657"/>
                  <a:pt x="9893" y="11657"/>
                </a:cubicBezTo>
                <a:cubicBezTo>
                  <a:pt x="10838" y="11657"/>
                  <a:pt x="11595" y="10901"/>
                  <a:pt x="11595" y="9956"/>
                </a:cubicBezTo>
                <a:cubicBezTo>
                  <a:pt x="11658" y="9074"/>
                  <a:pt x="11059" y="8412"/>
                  <a:pt x="10271" y="8254"/>
                </a:cubicBezTo>
                <a:lnTo>
                  <a:pt x="10271" y="7876"/>
                </a:lnTo>
                <a:cubicBezTo>
                  <a:pt x="10271" y="7309"/>
                  <a:pt x="9799" y="6837"/>
                  <a:pt x="9263" y="6837"/>
                </a:cubicBezTo>
                <a:lnTo>
                  <a:pt x="6144" y="6837"/>
                </a:lnTo>
                <a:lnTo>
                  <a:pt x="6144" y="6144"/>
                </a:lnTo>
                <a:lnTo>
                  <a:pt x="8539" y="6144"/>
                </a:lnTo>
                <a:cubicBezTo>
                  <a:pt x="8759" y="6144"/>
                  <a:pt x="8917" y="5955"/>
                  <a:pt x="8917" y="5766"/>
                </a:cubicBezTo>
                <a:cubicBezTo>
                  <a:pt x="8917" y="4474"/>
                  <a:pt x="8129" y="3371"/>
                  <a:pt x="6963" y="2930"/>
                </a:cubicBezTo>
                <a:lnTo>
                  <a:pt x="7026" y="2899"/>
                </a:lnTo>
                <a:cubicBezTo>
                  <a:pt x="7341" y="2584"/>
                  <a:pt x="7530" y="2143"/>
                  <a:pt x="7530" y="1670"/>
                </a:cubicBezTo>
                <a:cubicBezTo>
                  <a:pt x="7530" y="725"/>
                  <a:pt x="67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3" name="Google Shape;7173;p74"/>
          <p:cNvSpPr/>
          <p:nvPr/>
        </p:nvSpPr>
        <p:spPr>
          <a:xfrm>
            <a:off x="1720113" y="5125087"/>
            <a:ext cx="495632" cy="472380"/>
          </a:xfrm>
          <a:custGeom>
            <a:avLst/>
            <a:gdLst/>
            <a:ahLst/>
            <a:cxnLst/>
            <a:rect l="l" t="t" r="r" b="b"/>
            <a:pathLst>
              <a:path w="12256" h="11681" extrusionOk="0">
                <a:moveTo>
                  <a:pt x="8853" y="2072"/>
                </a:moveTo>
                <a:cubicBezTo>
                  <a:pt x="9121" y="2072"/>
                  <a:pt x="9389" y="2174"/>
                  <a:pt x="9578" y="2379"/>
                </a:cubicBezTo>
                <a:cubicBezTo>
                  <a:pt x="9987" y="2757"/>
                  <a:pt x="9987" y="3418"/>
                  <a:pt x="9578" y="3828"/>
                </a:cubicBezTo>
                <a:lnTo>
                  <a:pt x="8601" y="4805"/>
                </a:lnTo>
                <a:cubicBezTo>
                  <a:pt x="8444" y="4490"/>
                  <a:pt x="8254" y="4206"/>
                  <a:pt x="8002" y="3954"/>
                </a:cubicBezTo>
                <a:cubicBezTo>
                  <a:pt x="7782" y="3702"/>
                  <a:pt x="7467" y="3481"/>
                  <a:pt x="7152" y="3355"/>
                </a:cubicBezTo>
                <a:lnTo>
                  <a:pt x="8128" y="2379"/>
                </a:lnTo>
                <a:cubicBezTo>
                  <a:pt x="8317" y="2174"/>
                  <a:pt x="8585" y="2072"/>
                  <a:pt x="8853" y="2072"/>
                </a:cubicBezTo>
                <a:close/>
                <a:moveTo>
                  <a:pt x="5794" y="5110"/>
                </a:moveTo>
                <a:cubicBezTo>
                  <a:pt x="6066" y="5110"/>
                  <a:pt x="6350" y="5200"/>
                  <a:pt x="6553" y="5403"/>
                </a:cubicBezTo>
                <a:cubicBezTo>
                  <a:pt x="6837" y="5687"/>
                  <a:pt x="6900" y="6096"/>
                  <a:pt x="6774" y="6474"/>
                </a:cubicBezTo>
                <a:cubicBezTo>
                  <a:pt x="6675" y="6501"/>
                  <a:pt x="6569" y="6515"/>
                  <a:pt x="6462" y="6515"/>
                </a:cubicBezTo>
                <a:cubicBezTo>
                  <a:pt x="6192" y="6515"/>
                  <a:pt x="5915" y="6425"/>
                  <a:pt x="5734" y="6222"/>
                </a:cubicBezTo>
                <a:cubicBezTo>
                  <a:pt x="5451" y="5939"/>
                  <a:pt x="5356" y="5529"/>
                  <a:pt x="5482" y="5151"/>
                </a:cubicBezTo>
                <a:cubicBezTo>
                  <a:pt x="5580" y="5124"/>
                  <a:pt x="5686" y="5110"/>
                  <a:pt x="5794" y="5110"/>
                </a:cubicBezTo>
                <a:close/>
                <a:moveTo>
                  <a:pt x="8869" y="662"/>
                </a:moveTo>
                <a:cubicBezTo>
                  <a:pt x="9475" y="662"/>
                  <a:pt x="10082" y="898"/>
                  <a:pt x="10554" y="1371"/>
                </a:cubicBezTo>
                <a:cubicBezTo>
                  <a:pt x="11499" y="2316"/>
                  <a:pt x="11499" y="3828"/>
                  <a:pt x="10554" y="4773"/>
                </a:cubicBezTo>
                <a:lnTo>
                  <a:pt x="8160" y="7167"/>
                </a:lnTo>
                <a:cubicBezTo>
                  <a:pt x="7687" y="7640"/>
                  <a:pt x="7081" y="7876"/>
                  <a:pt x="6474" y="7876"/>
                </a:cubicBezTo>
                <a:cubicBezTo>
                  <a:pt x="5868" y="7876"/>
                  <a:pt x="5262" y="7640"/>
                  <a:pt x="4789" y="7167"/>
                </a:cubicBezTo>
                <a:cubicBezTo>
                  <a:pt x="4537" y="6947"/>
                  <a:pt x="4348" y="6632"/>
                  <a:pt x="4222" y="6254"/>
                </a:cubicBezTo>
                <a:lnTo>
                  <a:pt x="4789" y="5718"/>
                </a:lnTo>
                <a:cubicBezTo>
                  <a:pt x="4820" y="6065"/>
                  <a:pt x="4978" y="6411"/>
                  <a:pt x="5262" y="6695"/>
                </a:cubicBezTo>
                <a:cubicBezTo>
                  <a:pt x="5592" y="7026"/>
                  <a:pt x="6026" y="7191"/>
                  <a:pt x="6459" y="7191"/>
                </a:cubicBezTo>
                <a:cubicBezTo>
                  <a:pt x="6892" y="7191"/>
                  <a:pt x="7325" y="7026"/>
                  <a:pt x="7656" y="6695"/>
                </a:cubicBezTo>
                <a:lnTo>
                  <a:pt x="10050" y="4301"/>
                </a:lnTo>
                <a:cubicBezTo>
                  <a:pt x="10712" y="3639"/>
                  <a:pt x="10712" y="2568"/>
                  <a:pt x="10050" y="1906"/>
                </a:cubicBezTo>
                <a:cubicBezTo>
                  <a:pt x="9719" y="1560"/>
                  <a:pt x="9286" y="1386"/>
                  <a:pt x="8853" y="1386"/>
                </a:cubicBezTo>
                <a:cubicBezTo>
                  <a:pt x="8420" y="1386"/>
                  <a:pt x="7987" y="1560"/>
                  <a:pt x="7656" y="1906"/>
                </a:cubicBezTo>
                <a:lnTo>
                  <a:pt x="6427" y="3103"/>
                </a:lnTo>
                <a:cubicBezTo>
                  <a:pt x="6243" y="3066"/>
                  <a:pt x="6058" y="3051"/>
                  <a:pt x="5874" y="3051"/>
                </a:cubicBezTo>
                <a:cubicBezTo>
                  <a:pt x="5743" y="3051"/>
                  <a:pt x="5613" y="3059"/>
                  <a:pt x="5482" y="3072"/>
                </a:cubicBezTo>
                <a:lnTo>
                  <a:pt x="7183" y="1371"/>
                </a:lnTo>
                <a:cubicBezTo>
                  <a:pt x="7656" y="898"/>
                  <a:pt x="8262" y="662"/>
                  <a:pt x="8869" y="662"/>
                </a:cubicBezTo>
                <a:close/>
                <a:moveTo>
                  <a:pt x="3686" y="6821"/>
                </a:moveTo>
                <a:cubicBezTo>
                  <a:pt x="3844" y="7136"/>
                  <a:pt x="4033" y="7420"/>
                  <a:pt x="4253" y="7672"/>
                </a:cubicBezTo>
                <a:cubicBezTo>
                  <a:pt x="4505" y="7924"/>
                  <a:pt x="4820" y="8144"/>
                  <a:pt x="5135" y="8270"/>
                </a:cubicBezTo>
                <a:lnTo>
                  <a:pt x="4096" y="9278"/>
                </a:lnTo>
                <a:cubicBezTo>
                  <a:pt x="3907" y="9483"/>
                  <a:pt x="3647" y="9585"/>
                  <a:pt x="3383" y="9585"/>
                </a:cubicBezTo>
                <a:cubicBezTo>
                  <a:pt x="3119" y="9585"/>
                  <a:pt x="2851" y="9483"/>
                  <a:pt x="2647" y="9278"/>
                </a:cubicBezTo>
                <a:cubicBezTo>
                  <a:pt x="2269" y="8900"/>
                  <a:pt x="2269" y="8239"/>
                  <a:pt x="2647" y="7829"/>
                </a:cubicBezTo>
                <a:lnTo>
                  <a:pt x="3686" y="6821"/>
                </a:lnTo>
                <a:close/>
                <a:moveTo>
                  <a:pt x="5844" y="3718"/>
                </a:moveTo>
                <a:cubicBezTo>
                  <a:pt x="6451" y="3718"/>
                  <a:pt x="7057" y="3954"/>
                  <a:pt x="7530" y="4427"/>
                </a:cubicBezTo>
                <a:cubicBezTo>
                  <a:pt x="7782" y="4647"/>
                  <a:pt x="7971" y="4962"/>
                  <a:pt x="8097" y="5309"/>
                </a:cubicBezTo>
                <a:lnTo>
                  <a:pt x="7530" y="5876"/>
                </a:lnTo>
                <a:cubicBezTo>
                  <a:pt x="7498" y="5529"/>
                  <a:pt x="7341" y="5151"/>
                  <a:pt x="7057" y="4899"/>
                </a:cubicBezTo>
                <a:cubicBezTo>
                  <a:pt x="6726" y="4553"/>
                  <a:pt x="6293" y="4379"/>
                  <a:pt x="5860" y="4379"/>
                </a:cubicBezTo>
                <a:cubicBezTo>
                  <a:pt x="5427" y="4379"/>
                  <a:pt x="4994" y="4553"/>
                  <a:pt x="4663" y="4899"/>
                </a:cubicBezTo>
                <a:lnTo>
                  <a:pt x="2174" y="7357"/>
                </a:lnTo>
                <a:cubicBezTo>
                  <a:pt x="1512" y="8050"/>
                  <a:pt x="1512" y="9089"/>
                  <a:pt x="2174" y="9782"/>
                </a:cubicBezTo>
                <a:cubicBezTo>
                  <a:pt x="2505" y="10113"/>
                  <a:pt x="2938" y="10279"/>
                  <a:pt x="3371" y="10279"/>
                </a:cubicBezTo>
                <a:cubicBezTo>
                  <a:pt x="3804" y="10279"/>
                  <a:pt x="4238" y="10113"/>
                  <a:pt x="4568" y="9782"/>
                </a:cubicBezTo>
                <a:lnTo>
                  <a:pt x="5892" y="8459"/>
                </a:lnTo>
                <a:cubicBezTo>
                  <a:pt x="6122" y="8505"/>
                  <a:pt x="6336" y="8535"/>
                  <a:pt x="6570" y="8535"/>
                </a:cubicBezTo>
                <a:cubicBezTo>
                  <a:pt x="6656" y="8535"/>
                  <a:pt x="6744" y="8531"/>
                  <a:pt x="6837" y="8522"/>
                </a:cubicBezTo>
                <a:lnTo>
                  <a:pt x="6837" y="8522"/>
                </a:lnTo>
                <a:lnTo>
                  <a:pt x="5041" y="10286"/>
                </a:lnTo>
                <a:cubicBezTo>
                  <a:pt x="4568" y="10759"/>
                  <a:pt x="3962" y="10995"/>
                  <a:pt x="3355" y="10995"/>
                </a:cubicBezTo>
                <a:cubicBezTo>
                  <a:pt x="2749" y="10995"/>
                  <a:pt x="2143" y="10759"/>
                  <a:pt x="1670" y="10286"/>
                </a:cubicBezTo>
                <a:cubicBezTo>
                  <a:pt x="725" y="9341"/>
                  <a:pt x="725" y="7829"/>
                  <a:pt x="1670" y="6884"/>
                </a:cubicBezTo>
                <a:lnTo>
                  <a:pt x="4159" y="4427"/>
                </a:lnTo>
                <a:cubicBezTo>
                  <a:pt x="4631" y="3954"/>
                  <a:pt x="5238" y="3718"/>
                  <a:pt x="5844" y="3718"/>
                </a:cubicBezTo>
                <a:close/>
                <a:moveTo>
                  <a:pt x="8869" y="0"/>
                </a:moveTo>
                <a:cubicBezTo>
                  <a:pt x="8081" y="0"/>
                  <a:pt x="7294" y="299"/>
                  <a:pt x="6711" y="898"/>
                </a:cubicBezTo>
                <a:lnTo>
                  <a:pt x="1197" y="6411"/>
                </a:lnTo>
                <a:cubicBezTo>
                  <a:pt x="0" y="7609"/>
                  <a:pt x="0" y="9562"/>
                  <a:pt x="1197" y="10759"/>
                </a:cubicBezTo>
                <a:cubicBezTo>
                  <a:pt x="1812" y="11373"/>
                  <a:pt x="2599" y="11681"/>
                  <a:pt x="3379" y="11681"/>
                </a:cubicBezTo>
                <a:cubicBezTo>
                  <a:pt x="4159" y="11681"/>
                  <a:pt x="4931" y="11373"/>
                  <a:pt x="5514" y="10759"/>
                </a:cubicBezTo>
                <a:lnTo>
                  <a:pt x="11027" y="5246"/>
                </a:lnTo>
                <a:cubicBezTo>
                  <a:pt x="12256" y="4017"/>
                  <a:pt x="12256" y="2095"/>
                  <a:pt x="11027" y="898"/>
                </a:cubicBezTo>
                <a:cubicBezTo>
                  <a:pt x="10444" y="299"/>
                  <a:pt x="9656" y="0"/>
                  <a:pt x="88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174" name="Google Shape;7174;p74"/>
          <p:cNvGrpSpPr/>
          <p:nvPr/>
        </p:nvGrpSpPr>
        <p:grpSpPr>
          <a:xfrm>
            <a:off x="4716828" y="3887783"/>
            <a:ext cx="471449" cy="470156"/>
            <a:chOff x="-30805300" y="1938725"/>
            <a:chExt cx="291450" cy="290650"/>
          </a:xfrm>
        </p:grpSpPr>
        <p:sp>
          <p:nvSpPr>
            <p:cNvPr id="7175" name="Google Shape;7175;p74"/>
            <p:cNvSpPr/>
            <p:nvPr/>
          </p:nvSpPr>
          <p:spPr>
            <a:xfrm>
              <a:off x="-30805300" y="1938725"/>
              <a:ext cx="291450" cy="290650"/>
            </a:xfrm>
            <a:custGeom>
              <a:avLst/>
              <a:gdLst/>
              <a:ahLst/>
              <a:cxnLst/>
              <a:rect l="l" t="t" r="r" b="b"/>
              <a:pathLst>
                <a:path w="11658" h="11626" extrusionOk="0">
                  <a:moveTo>
                    <a:pt x="6806" y="694"/>
                  </a:moveTo>
                  <a:lnTo>
                    <a:pt x="6806" y="1450"/>
                  </a:lnTo>
                  <a:lnTo>
                    <a:pt x="6112" y="1450"/>
                  </a:lnTo>
                  <a:lnTo>
                    <a:pt x="6112" y="694"/>
                  </a:lnTo>
                  <a:close/>
                  <a:moveTo>
                    <a:pt x="10586" y="4821"/>
                  </a:moveTo>
                  <a:cubicBezTo>
                    <a:pt x="10807" y="4821"/>
                    <a:pt x="10964" y="5010"/>
                    <a:pt x="10964" y="5199"/>
                  </a:cubicBezTo>
                  <a:cubicBezTo>
                    <a:pt x="10964" y="5388"/>
                    <a:pt x="10807" y="5545"/>
                    <a:pt x="10586" y="5545"/>
                  </a:cubicBezTo>
                  <a:lnTo>
                    <a:pt x="8570" y="5545"/>
                  </a:lnTo>
                  <a:cubicBezTo>
                    <a:pt x="8349" y="5545"/>
                    <a:pt x="8192" y="5388"/>
                    <a:pt x="8192" y="5199"/>
                  </a:cubicBezTo>
                  <a:cubicBezTo>
                    <a:pt x="8192" y="5010"/>
                    <a:pt x="8349" y="4821"/>
                    <a:pt x="8570" y="4821"/>
                  </a:cubicBezTo>
                  <a:close/>
                  <a:moveTo>
                    <a:pt x="6459" y="3529"/>
                  </a:moveTo>
                  <a:cubicBezTo>
                    <a:pt x="7089" y="3529"/>
                    <a:pt x="7656" y="3844"/>
                    <a:pt x="7971" y="4411"/>
                  </a:cubicBezTo>
                  <a:cubicBezTo>
                    <a:pt x="7688" y="4600"/>
                    <a:pt x="7499" y="4915"/>
                    <a:pt x="7499" y="5262"/>
                  </a:cubicBezTo>
                  <a:cubicBezTo>
                    <a:pt x="7499" y="5388"/>
                    <a:pt x="7530" y="5545"/>
                    <a:pt x="7562" y="5672"/>
                  </a:cubicBezTo>
                  <a:cubicBezTo>
                    <a:pt x="7121" y="5703"/>
                    <a:pt x="6806" y="6113"/>
                    <a:pt x="6806" y="6585"/>
                  </a:cubicBezTo>
                  <a:cubicBezTo>
                    <a:pt x="6806" y="6680"/>
                    <a:pt x="6806" y="6774"/>
                    <a:pt x="6869" y="6900"/>
                  </a:cubicBezTo>
                  <a:cubicBezTo>
                    <a:pt x="6743" y="6932"/>
                    <a:pt x="6617" y="6932"/>
                    <a:pt x="6459" y="6932"/>
                  </a:cubicBezTo>
                  <a:cubicBezTo>
                    <a:pt x="5514" y="6932"/>
                    <a:pt x="4758" y="6176"/>
                    <a:pt x="4758" y="5230"/>
                  </a:cubicBezTo>
                  <a:cubicBezTo>
                    <a:pt x="4758" y="4285"/>
                    <a:pt x="5514" y="3529"/>
                    <a:pt x="6459" y="3529"/>
                  </a:cubicBezTo>
                  <a:close/>
                  <a:moveTo>
                    <a:pt x="9893" y="6207"/>
                  </a:moveTo>
                  <a:cubicBezTo>
                    <a:pt x="10082" y="6207"/>
                    <a:pt x="10240" y="6365"/>
                    <a:pt x="10240" y="6585"/>
                  </a:cubicBezTo>
                  <a:cubicBezTo>
                    <a:pt x="10240" y="6774"/>
                    <a:pt x="10082" y="6932"/>
                    <a:pt x="9893" y="6932"/>
                  </a:cubicBezTo>
                  <a:lnTo>
                    <a:pt x="7845" y="6932"/>
                  </a:lnTo>
                  <a:cubicBezTo>
                    <a:pt x="7656" y="6932"/>
                    <a:pt x="7499" y="6774"/>
                    <a:pt x="7499" y="6585"/>
                  </a:cubicBezTo>
                  <a:cubicBezTo>
                    <a:pt x="7499" y="6365"/>
                    <a:pt x="7656" y="6207"/>
                    <a:pt x="7845" y="6207"/>
                  </a:cubicBezTo>
                  <a:close/>
                  <a:moveTo>
                    <a:pt x="9231" y="7562"/>
                  </a:moveTo>
                  <a:cubicBezTo>
                    <a:pt x="9420" y="7562"/>
                    <a:pt x="9578" y="7719"/>
                    <a:pt x="9578" y="7908"/>
                  </a:cubicBezTo>
                  <a:cubicBezTo>
                    <a:pt x="9578" y="8097"/>
                    <a:pt x="9420" y="8255"/>
                    <a:pt x="9231" y="8255"/>
                  </a:cubicBezTo>
                  <a:lnTo>
                    <a:pt x="7845" y="8255"/>
                  </a:lnTo>
                  <a:cubicBezTo>
                    <a:pt x="7656" y="8255"/>
                    <a:pt x="7499" y="8097"/>
                    <a:pt x="7499" y="7908"/>
                  </a:cubicBezTo>
                  <a:cubicBezTo>
                    <a:pt x="7499" y="7719"/>
                    <a:pt x="7656" y="7562"/>
                    <a:pt x="7845" y="7562"/>
                  </a:cubicBezTo>
                  <a:close/>
                  <a:moveTo>
                    <a:pt x="6595" y="2171"/>
                  </a:moveTo>
                  <a:cubicBezTo>
                    <a:pt x="7889" y="2171"/>
                    <a:pt x="8963" y="3033"/>
                    <a:pt x="9389" y="4159"/>
                  </a:cubicBezTo>
                  <a:lnTo>
                    <a:pt x="8633" y="4159"/>
                  </a:lnTo>
                  <a:cubicBezTo>
                    <a:pt x="8223" y="3340"/>
                    <a:pt x="7404" y="2805"/>
                    <a:pt x="6459" y="2805"/>
                  </a:cubicBezTo>
                  <a:cubicBezTo>
                    <a:pt x="5136" y="2805"/>
                    <a:pt x="4065" y="3844"/>
                    <a:pt x="4065" y="5199"/>
                  </a:cubicBezTo>
                  <a:cubicBezTo>
                    <a:pt x="4065" y="6522"/>
                    <a:pt x="5136" y="7593"/>
                    <a:pt x="6459" y="7593"/>
                  </a:cubicBezTo>
                  <a:cubicBezTo>
                    <a:pt x="6617" y="7593"/>
                    <a:pt x="6743" y="7593"/>
                    <a:pt x="6900" y="7562"/>
                  </a:cubicBezTo>
                  <a:lnTo>
                    <a:pt x="6900" y="7562"/>
                  </a:lnTo>
                  <a:cubicBezTo>
                    <a:pt x="6869" y="7688"/>
                    <a:pt x="6806" y="7782"/>
                    <a:pt x="6806" y="7940"/>
                  </a:cubicBezTo>
                  <a:cubicBezTo>
                    <a:pt x="6806" y="8066"/>
                    <a:pt x="6806" y="8192"/>
                    <a:pt x="6869" y="8255"/>
                  </a:cubicBezTo>
                  <a:cubicBezTo>
                    <a:pt x="6743" y="8255"/>
                    <a:pt x="6585" y="8318"/>
                    <a:pt x="6459" y="8318"/>
                  </a:cubicBezTo>
                  <a:cubicBezTo>
                    <a:pt x="4758" y="8318"/>
                    <a:pt x="3403" y="6932"/>
                    <a:pt x="3403" y="5230"/>
                  </a:cubicBezTo>
                  <a:cubicBezTo>
                    <a:pt x="3403" y="3529"/>
                    <a:pt x="4758" y="2174"/>
                    <a:pt x="6459" y="2174"/>
                  </a:cubicBezTo>
                  <a:cubicBezTo>
                    <a:pt x="6505" y="2172"/>
                    <a:pt x="6550" y="2171"/>
                    <a:pt x="6595" y="2171"/>
                  </a:cubicBezTo>
                  <a:close/>
                  <a:moveTo>
                    <a:pt x="8538" y="8917"/>
                  </a:moveTo>
                  <a:cubicBezTo>
                    <a:pt x="8759" y="8917"/>
                    <a:pt x="8916" y="9074"/>
                    <a:pt x="8916" y="9295"/>
                  </a:cubicBezTo>
                  <a:cubicBezTo>
                    <a:pt x="8853" y="9484"/>
                    <a:pt x="8696" y="9641"/>
                    <a:pt x="8538" y="9641"/>
                  </a:cubicBezTo>
                  <a:lnTo>
                    <a:pt x="7877" y="9641"/>
                  </a:lnTo>
                  <a:cubicBezTo>
                    <a:pt x="7688" y="9641"/>
                    <a:pt x="7530" y="9484"/>
                    <a:pt x="7530" y="9295"/>
                  </a:cubicBezTo>
                  <a:cubicBezTo>
                    <a:pt x="7530" y="9074"/>
                    <a:pt x="7688" y="8917"/>
                    <a:pt x="7877" y="8917"/>
                  </a:cubicBezTo>
                  <a:close/>
                  <a:moveTo>
                    <a:pt x="3592" y="1765"/>
                  </a:moveTo>
                  <a:cubicBezTo>
                    <a:pt x="3655" y="2111"/>
                    <a:pt x="3655" y="2427"/>
                    <a:pt x="3592" y="2805"/>
                  </a:cubicBezTo>
                  <a:cubicBezTo>
                    <a:pt x="3025" y="3466"/>
                    <a:pt x="2710" y="4285"/>
                    <a:pt x="2710" y="5199"/>
                  </a:cubicBezTo>
                  <a:cubicBezTo>
                    <a:pt x="2710" y="7278"/>
                    <a:pt x="4411" y="8917"/>
                    <a:pt x="6459" y="8917"/>
                  </a:cubicBezTo>
                  <a:cubicBezTo>
                    <a:pt x="6585" y="8917"/>
                    <a:pt x="6743" y="8917"/>
                    <a:pt x="6869" y="8885"/>
                  </a:cubicBezTo>
                  <a:lnTo>
                    <a:pt x="6869" y="8885"/>
                  </a:lnTo>
                  <a:cubicBezTo>
                    <a:pt x="6806" y="9011"/>
                    <a:pt x="6774" y="9137"/>
                    <a:pt x="6774" y="9232"/>
                  </a:cubicBezTo>
                  <a:cubicBezTo>
                    <a:pt x="6774" y="9358"/>
                    <a:pt x="6806" y="9484"/>
                    <a:pt x="6806" y="9610"/>
                  </a:cubicBezTo>
                  <a:lnTo>
                    <a:pt x="4915" y="9610"/>
                  </a:lnTo>
                  <a:cubicBezTo>
                    <a:pt x="4537" y="9641"/>
                    <a:pt x="4096" y="9830"/>
                    <a:pt x="3781" y="10145"/>
                  </a:cubicBezTo>
                  <a:lnTo>
                    <a:pt x="3088" y="10870"/>
                  </a:lnTo>
                  <a:lnTo>
                    <a:pt x="788" y="8633"/>
                  </a:lnTo>
                  <a:lnTo>
                    <a:pt x="1544" y="7908"/>
                  </a:lnTo>
                  <a:cubicBezTo>
                    <a:pt x="1859" y="7593"/>
                    <a:pt x="2048" y="7152"/>
                    <a:pt x="2048" y="6680"/>
                  </a:cubicBezTo>
                  <a:lnTo>
                    <a:pt x="2048" y="3655"/>
                  </a:lnTo>
                  <a:cubicBezTo>
                    <a:pt x="2048" y="3592"/>
                    <a:pt x="2080" y="3498"/>
                    <a:pt x="2143" y="3435"/>
                  </a:cubicBezTo>
                  <a:lnTo>
                    <a:pt x="3592" y="1765"/>
                  </a:lnTo>
                  <a:close/>
                  <a:moveTo>
                    <a:pt x="5167" y="1"/>
                  </a:moveTo>
                  <a:cubicBezTo>
                    <a:pt x="4978" y="1"/>
                    <a:pt x="4821" y="158"/>
                    <a:pt x="4821" y="347"/>
                  </a:cubicBezTo>
                  <a:cubicBezTo>
                    <a:pt x="4821" y="536"/>
                    <a:pt x="4978" y="694"/>
                    <a:pt x="5167" y="694"/>
                  </a:cubicBezTo>
                  <a:lnTo>
                    <a:pt x="5514" y="694"/>
                  </a:lnTo>
                  <a:lnTo>
                    <a:pt x="5514" y="1576"/>
                  </a:lnTo>
                  <a:cubicBezTo>
                    <a:pt x="5136" y="1702"/>
                    <a:pt x="4726" y="1891"/>
                    <a:pt x="4380" y="2111"/>
                  </a:cubicBezTo>
                  <a:cubicBezTo>
                    <a:pt x="4380" y="1796"/>
                    <a:pt x="4317" y="1481"/>
                    <a:pt x="4222" y="1229"/>
                  </a:cubicBezTo>
                  <a:lnTo>
                    <a:pt x="4159" y="977"/>
                  </a:lnTo>
                  <a:cubicBezTo>
                    <a:pt x="4096" y="851"/>
                    <a:pt x="4033" y="788"/>
                    <a:pt x="3907" y="757"/>
                  </a:cubicBezTo>
                  <a:cubicBezTo>
                    <a:pt x="3872" y="739"/>
                    <a:pt x="3839" y="731"/>
                    <a:pt x="3808" y="731"/>
                  </a:cubicBezTo>
                  <a:cubicBezTo>
                    <a:pt x="3728" y="731"/>
                    <a:pt x="3660" y="783"/>
                    <a:pt x="3592" y="851"/>
                  </a:cubicBezTo>
                  <a:lnTo>
                    <a:pt x="1702" y="2962"/>
                  </a:lnTo>
                  <a:cubicBezTo>
                    <a:pt x="1544" y="3151"/>
                    <a:pt x="1418" y="3372"/>
                    <a:pt x="1418" y="3624"/>
                  </a:cubicBezTo>
                  <a:lnTo>
                    <a:pt x="1418" y="6648"/>
                  </a:lnTo>
                  <a:cubicBezTo>
                    <a:pt x="1418" y="6932"/>
                    <a:pt x="1292" y="7152"/>
                    <a:pt x="1103" y="7373"/>
                  </a:cubicBezTo>
                  <a:lnTo>
                    <a:pt x="127" y="8349"/>
                  </a:lnTo>
                  <a:cubicBezTo>
                    <a:pt x="64" y="8412"/>
                    <a:pt x="1" y="8507"/>
                    <a:pt x="1" y="8570"/>
                  </a:cubicBezTo>
                  <a:cubicBezTo>
                    <a:pt x="1" y="8664"/>
                    <a:pt x="32" y="8790"/>
                    <a:pt x="127" y="8822"/>
                  </a:cubicBezTo>
                  <a:lnTo>
                    <a:pt x="2867" y="11531"/>
                  </a:lnTo>
                  <a:cubicBezTo>
                    <a:pt x="2930" y="11594"/>
                    <a:pt x="3025" y="11626"/>
                    <a:pt x="3116" y="11626"/>
                  </a:cubicBezTo>
                  <a:cubicBezTo>
                    <a:pt x="3206" y="11626"/>
                    <a:pt x="3293" y="11594"/>
                    <a:pt x="3340" y="11531"/>
                  </a:cubicBezTo>
                  <a:lnTo>
                    <a:pt x="4348" y="10555"/>
                  </a:lnTo>
                  <a:cubicBezTo>
                    <a:pt x="4537" y="10366"/>
                    <a:pt x="4758" y="10240"/>
                    <a:pt x="5041" y="10240"/>
                  </a:cubicBezTo>
                  <a:lnTo>
                    <a:pt x="8601" y="10240"/>
                  </a:lnTo>
                  <a:cubicBezTo>
                    <a:pt x="9137" y="10240"/>
                    <a:pt x="9610" y="9767"/>
                    <a:pt x="9610" y="9200"/>
                  </a:cubicBezTo>
                  <a:cubicBezTo>
                    <a:pt x="9610" y="9106"/>
                    <a:pt x="9578" y="8948"/>
                    <a:pt x="9547" y="8822"/>
                  </a:cubicBezTo>
                  <a:cubicBezTo>
                    <a:pt x="9956" y="8696"/>
                    <a:pt x="10303" y="8318"/>
                    <a:pt x="10303" y="7845"/>
                  </a:cubicBezTo>
                  <a:cubicBezTo>
                    <a:pt x="10303" y="7719"/>
                    <a:pt x="10240" y="7562"/>
                    <a:pt x="10208" y="7436"/>
                  </a:cubicBezTo>
                  <a:cubicBezTo>
                    <a:pt x="10649" y="7310"/>
                    <a:pt x="10964" y="6932"/>
                    <a:pt x="10964" y="6459"/>
                  </a:cubicBezTo>
                  <a:cubicBezTo>
                    <a:pt x="10964" y="6333"/>
                    <a:pt x="10933" y="6176"/>
                    <a:pt x="10870" y="6050"/>
                  </a:cubicBezTo>
                  <a:cubicBezTo>
                    <a:pt x="11027" y="6018"/>
                    <a:pt x="11185" y="5955"/>
                    <a:pt x="11342" y="5798"/>
                  </a:cubicBezTo>
                  <a:cubicBezTo>
                    <a:pt x="11563" y="5577"/>
                    <a:pt x="11657" y="5325"/>
                    <a:pt x="11657" y="5041"/>
                  </a:cubicBezTo>
                  <a:cubicBezTo>
                    <a:pt x="11657" y="4758"/>
                    <a:pt x="11563" y="4474"/>
                    <a:pt x="11342" y="4285"/>
                  </a:cubicBezTo>
                  <a:cubicBezTo>
                    <a:pt x="11122" y="4285"/>
                    <a:pt x="10870" y="4159"/>
                    <a:pt x="10586" y="4159"/>
                  </a:cubicBezTo>
                  <a:lnTo>
                    <a:pt x="10145" y="4159"/>
                  </a:lnTo>
                  <a:cubicBezTo>
                    <a:pt x="9767" y="2899"/>
                    <a:pt x="8790" y="1922"/>
                    <a:pt x="7530" y="1576"/>
                  </a:cubicBezTo>
                  <a:lnTo>
                    <a:pt x="7530" y="694"/>
                  </a:lnTo>
                  <a:lnTo>
                    <a:pt x="7877" y="694"/>
                  </a:lnTo>
                  <a:cubicBezTo>
                    <a:pt x="8097" y="694"/>
                    <a:pt x="8255" y="536"/>
                    <a:pt x="8255" y="347"/>
                  </a:cubicBezTo>
                  <a:cubicBezTo>
                    <a:pt x="8255" y="158"/>
                    <a:pt x="8097" y="1"/>
                    <a:pt x="78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6" name="Google Shape;7176;p74"/>
            <p:cNvSpPr/>
            <p:nvPr/>
          </p:nvSpPr>
          <p:spPr>
            <a:xfrm>
              <a:off x="-30670625" y="2042700"/>
              <a:ext cx="35475" cy="35450"/>
            </a:xfrm>
            <a:custGeom>
              <a:avLst/>
              <a:gdLst/>
              <a:ahLst/>
              <a:cxnLst/>
              <a:rect l="l" t="t" r="r" b="b"/>
              <a:pathLst>
                <a:path w="1419" h="1418" extrusionOk="0">
                  <a:moveTo>
                    <a:pt x="1072" y="0"/>
                  </a:moveTo>
                  <a:cubicBezTo>
                    <a:pt x="883" y="0"/>
                    <a:pt x="725" y="158"/>
                    <a:pt x="725" y="378"/>
                  </a:cubicBezTo>
                  <a:lnTo>
                    <a:pt x="725" y="725"/>
                  </a:lnTo>
                  <a:lnTo>
                    <a:pt x="379" y="725"/>
                  </a:lnTo>
                  <a:cubicBezTo>
                    <a:pt x="158" y="725"/>
                    <a:pt x="1" y="882"/>
                    <a:pt x="1" y="1071"/>
                  </a:cubicBezTo>
                  <a:cubicBezTo>
                    <a:pt x="1" y="1260"/>
                    <a:pt x="158" y="1418"/>
                    <a:pt x="379" y="1418"/>
                  </a:cubicBezTo>
                  <a:lnTo>
                    <a:pt x="1041" y="1418"/>
                  </a:lnTo>
                  <a:cubicBezTo>
                    <a:pt x="1230" y="1418"/>
                    <a:pt x="1387" y="1260"/>
                    <a:pt x="1387" y="1071"/>
                  </a:cubicBezTo>
                  <a:lnTo>
                    <a:pt x="1387" y="410"/>
                  </a:ln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77" name="Google Shape;7177;p74"/>
          <p:cNvGrpSpPr/>
          <p:nvPr/>
        </p:nvGrpSpPr>
        <p:grpSpPr>
          <a:xfrm>
            <a:off x="4717474" y="4511687"/>
            <a:ext cx="470156" cy="470924"/>
            <a:chOff x="-30805300" y="2298675"/>
            <a:chExt cx="290650" cy="291125"/>
          </a:xfrm>
        </p:grpSpPr>
        <p:sp>
          <p:nvSpPr>
            <p:cNvPr id="7178" name="Google Shape;7178;p74"/>
            <p:cNvSpPr/>
            <p:nvPr/>
          </p:nvSpPr>
          <p:spPr>
            <a:xfrm>
              <a:off x="-30720225" y="24191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79" name="Google Shape;7179;p74"/>
            <p:cNvSpPr/>
            <p:nvPr/>
          </p:nvSpPr>
          <p:spPr>
            <a:xfrm>
              <a:off x="-30635175" y="2453250"/>
              <a:ext cx="87450" cy="69125"/>
            </a:xfrm>
            <a:custGeom>
              <a:avLst/>
              <a:gdLst/>
              <a:ahLst/>
              <a:cxnLst/>
              <a:rect l="l" t="t" r="r" b="b"/>
              <a:pathLst>
                <a:path w="3498" h="2765" extrusionOk="0">
                  <a:moveTo>
                    <a:pt x="3124" y="0"/>
                  </a:moveTo>
                  <a:cubicBezTo>
                    <a:pt x="3033" y="0"/>
                    <a:pt x="2946" y="40"/>
                    <a:pt x="2899" y="118"/>
                  </a:cubicBezTo>
                  <a:lnTo>
                    <a:pt x="1040" y="1946"/>
                  </a:lnTo>
                  <a:lnTo>
                    <a:pt x="599" y="1505"/>
                  </a:lnTo>
                  <a:cubicBezTo>
                    <a:pt x="536" y="1442"/>
                    <a:pt x="450" y="1410"/>
                    <a:pt x="363" y="1410"/>
                  </a:cubicBezTo>
                  <a:cubicBezTo>
                    <a:pt x="276" y="1410"/>
                    <a:pt x="190" y="1442"/>
                    <a:pt x="127" y="1505"/>
                  </a:cubicBezTo>
                  <a:cubicBezTo>
                    <a:pt x="1" y="1631"/>
                    <a:pt x="1" y="1851"/>
                    <a:pt x="127" y="1977"/>
                  </a:cubicBezTo>
                  <a:lnTo>
                    <a:pt x="788" y="2639"/>
                  </a:lnTo>
                  <a:cubicBezTo>
                    <a:pt x="883" y="2733"/>
                    <a:pt x="977" y="2765"/>
                    <a:pt x="1040" y="2765"/>
                  </a:cubicBezTo>
                  <a:cubicBezTo>
                    <a:pt x="1103" y="2765"/>
                    <a:pt x="1198" y="2733"/>
                    <a:pt x="1261" y="2639"/>
                  </a:cubicBezTo>
                  <a:lnTo>
                    <a:pt x="3372" y="591"/>
                  </a:lnTo>
                  <a:cubicBezTo>
                    <a:pt x="3498" y="496"/>
                    <a:pt x="3498" y="244"/>
                    <a:pt x="3372" y="118"/>
                  </a:cubicBezTo>
                  <a:cubicBezTo>
                    <a:pt x="3309" y="40"/>
                    <a:pt x="3214" y="0"/>
                    <a:pt x="31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0" name="Google Shape;7180;p74"/>
            <p:cNvSpPr/>
            <p:nvPr/>
          </p:nvSpPr>
          <p:spPr>
            <a:xfrm>
              <a:off x="-30805300" y="2298675"/>
              <a:ext cx="290650" cy="291125"/>
            </a:xfrm>
            <a:custGeom>
              <a:avLst/>
              <a:gdLst/>
              <a:ahLst/>
              <a:cxnLst/>
              <a:rect l="l" t="t" r="r" b="b"/>
              <a:pathLst>
                <a:path w="11626" h="11645" extrusionOk="0">
                  <a:moveTo>
                    <a:pt x="5797" y="630"/>
                  </a:moveTo>
                  <a:cubicBezTo>
                    <a:pt x="6333" y="630"/>
                    <a:pt x="6806" y="1103"/>
                    <a:pt x="6806" y="1670"/>
                  </a:cubicBezTo>
                  <a:lnTo>
                    <a:pt x="6806" y="4096"/>
                  </a:lnTo>
                  <a:lnTo>
                    <a:pt x="6459" y="4096"/>
                  </a:lnTo>
                  <a:cubicBezTo>
                    <a:pt x="5514" y="4096"/>
                    <a:pt x="4758" y="4852"/>
                    <a:pt x="4758" y="5797"/>
                  </a:cubicBezTo>
                  <a:lnTo>
                    <a:pt x="4758" y="6144"/>
                  </a:lnTo>
                  <a:lnTo>
                    <a:pt x="3088" y="6144"/>
                  </a:lnTo>
                  <a:lnTo>
                    <a:pt x="3088" y="6207"/>
                  </a:lnTo>
                  <a:cubicBezTo>
                    <a:pt x="2993" y="6207"/>
                    <a:pt x="2930" y="6238"/>
                    <a:pt x="2836" y="6270"/>
                  </a:cubicBezTo>
                  <a:lnTo>
                    <a:pt x="2017" y="7057"/>
                  </a:lnTo>
                  <a:lnTo>
                    <a:pt x="2017" y="6490"/>
                  </a:lnTo>
                  <a:cubicBezTo>
                    <a:pt x="2017" y="6301"/>
                    <a:pt x="1859" y="6144"/>
                    <a:pt x="1670" y="6144"/>
                  </a:cubicBezTo>
                  <a:cubicBezTo>
                    <a:pt x="1103" y="6144"/>
                    <a:pt x="631" y="5671"/>
                    <a:pt x="631" y="5136"/>
                  </a:cubicBezTo>
                  <a:lnTo>
                    <a:pt x="631" y="1670"/>
                  </a:lnTo>
                  <a:cubicBezTo>
                    <a:pt x="631" y="1103"/>
                    <a:pt x="1103" y="630"/>
                    <a:pt x="1670" y="630"/>
                  </a:cubicBezTo>
                  <a:close/>
                  <a:moveTo>
                    <a:pt x="9925" y="4852"/>
                  </a:moveTo>
                  <a:cubicBezTo>
                    <a:pt x="10492" y="4852"/>
                    <a:pt x="10964" y="5325"/>
                    <a:pt x="10964" y="5860"/>
                  </a:cubicBezTo>
                  <a:lnTo>
                    <a:pt x="10964" y="8601"/>
                  </a:lnTo>
                  <a:cubicBezTo>
                    <a:pt x="10964" y="9137"/>
                    <a:pt x="10492" y="9609"/>
                    <a:pt x="9925" y="9609"/>
                  </a:cubicBezTo>
                  <a:lnTo>
                    <a:pt x="8538" y="9609"/>
                  </a:lnTo>
                  <a:cubicBezTo>
                    <a:pt x="8475" y="9609"/>
                    <a:pt x="8349" y="9672"/>
                    <a:pt x="8318" y="9735"/>
                  </a:cubicBezTo>
                  <a:lnTo>
                    <a:pt x="7530" y="10523"/>
                  </a:lnTo>
                  <a:lnTo>
                    <a:pt x="7530" y="9987"/>
                  </a:lnTo>
                  <a:cubicBezTo>
                    <a:pt x="7530" y="9767"/>
                    <a:pt x="7373" y="9609"/>
                    <a:pt x="7184" y="9609"/>
                  </a:cubicBezTo>
                  <a:lnTo>
                    <a:pt x="6491" y="9609"/>
                  </a:lnTo>
                  <a:cubicBezTo>
                    <a:pt x="5955" y="9609"/>
                    <a:pt x="5482" y="9137"/>
                    <a:pt x="5482" y="8601"/>
                  </a:cubicBezTo>
                  <a:lnTo>
                    <a:pt x="5482" y="5860"/>
                  </a:lnTo>
                  <a:cubicBezTo>
                    <a:pt x="5482" y="5325"/>
                    <a:pt x="5955" y="4852"/>
                    <a:pt x="6491" y="4852"/>
                  </a:cubicBezTo>
                  <a:close/>
                  <a:moveTo>
                    <a:pt x="1702" y="0"/>
                  </a:moveTo>
                  <a:cubicBezTo>
                    <a:pt x="757" y="0"/>
                    <a:pt x="1" y="756"/>
                    <a:pt x="1" y="1702"/>
                  </a:cubicBezTo>
                  <a:lnTo>
                    <a:pt x="1" y="5167"/>
                  </a:lnTo>
                  <a:cubicBezTo>
                    <a:pt x="1" y="5986"/>
                    <a:pt x="599" y="6711"/>
                    <a:pt x="1387" y="6868"/>
                  </a:cubicBezTo>
                  <a:lnTo>
                    <a:pt x="1387" y="7940"/>
                  </a:lnTo>
                  <a:cubicBezTo>
                    <a:pt x="1387" y="8034"/>
                    <a:pt x="1450" y="8192"/>
                    <a:pt x="1576" y="8255"/>
                  </a:cubicBezTo>
                  <a:cubicBezTo>
                    <a:pt x="1618" y="8265"/>
                    <a:pt x="1663" y="8272"/>
                    <a:pt x="1708" y="8272"/>
                  </a:cubicBezTo>
                  <a:cubicBezTo>
                    <a:pt x="1796" y="8272"/>
                    <a:pt x="1880" y="8244"/>
                    <a:pt x="1922" y="8160"/>
                  </a:cubicBezTo>
                  <a:lnTo>
                    <a:pt x="3246" y="6900"/>
                  </a:lnTo>
                  <a:lnTo>
                    <a:pt x="4821" y="6900"/>
                  </a:lnTo>
                  <a:lnTo>
                    <a:pt x="4821" y="8601"/>
                  </a:lnTo>
                  <a:cubicBezTo>
                    <a:pt x="4821" y="9546"/>
                    <a:pt x="5545" y="10302"/>
                    <a:pt x="6491" y="10302"/>
                  </a:cubicBezTo>
                  <a:lnTo>
                    <a:pt x="6869" y="10302"/>
                  </a:lnTo>
                  <a:lnTo>
                    <a:pt x="6869" y="11311"/>
                  </a:lnTo>
                  <a:cubicBezTo>
                    <a:pt x="6869" y="11468"/>
                    <a:pt x="6932" y="11594"/>
                    <a:pt x="7058" y="11626"/>
                  </a:cubicBezTo>
                  <a:cubicBezTo>
                    <a:pt x="7104" y="11637"/>
                    <a:pt x="7154" y="11644"/>
                    <a:pt x="7202" y="11644"/>
                  </a:cubicBezTo>
                  <a:cubicBezTo>
                    <a:pt x="7286" y="11644"/>
                    <a:pt x="7364" y="11623"/>
                    <a:pt x="7404" y="11563"/>
                  </a:cubicBezTo>
                  <a:lnTo>
                    <a:pt x="8664" y="10302"/>
                  </a:lnTo>
                  <a:lnTo>
                    <a:pt x="9925" y="10302"/>
                  </a:lnTo>
                  <a:cubicBezTo>
                    <a:pt x="10870" y="10302"/>
                    <a:pt x="11626" y="9546"/>
                    <a:pt x="11626" y="8601"/>
                  </a:cubicBezTo>
                  <a:lnTo>
                    <a:pt x="11626" y="5892"/>
                  </a:lnTo>
                  <a:cubicBezTo>
                    <a:pt x="11626" y="4884"/>
                    <a:pt x="10870" y="4159"/>
                    <a:pt x="9925" y="4159"/>
                  </a:cubicBezTo>
                  <a:lnTo>
                    <a:pt x="7530" y="4159"/>
                  </a:lnTo>
                  <a:lnTo>
                    <a:pt x="7530" y="1702"/>
                  </a:lnTo>
                  <a:cubicBezTo>
                    <a:pt x="7530" y="756"/>
                    <a:pt x="67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1" name="Google Shape;7181;p74"/>
            <p:cNvSpPr/>
            <p:nvPr/>
          </p:nvSpPr>
          <p:spPr>
            <a:xfrm>
              <a:off x="-30737575" y="2332550"/>
              <a:ext cx="53600" cy="69325"/>
            </a:xfrm>
            <a:custGeom>
              <a:avLst/>
              <a:gdLst/>
              <a:ahLst/>
              <a:cxnLst/>
              <a:rect l="l" t="t" r="r" b="b"/>
              <a:pathLst>
                <a:path w="2144" h="2773" extrusionOk="0">
                  <a:moveTo>
                    <a:pt x="1041" y="0"/>
                  </a:moveTo>
                  <a:cubicBezTo>
                    <a:pt x="474" y="0"/>
                    <a:pt x="1" y="473"/>
                    <a:pt x="1" y="1008"/>
                  </a:cubicBezTo>
                  <a:cubicBezTo>
                    <a:pt x="1" y="1197"/>
                    <a:pt x="158" y="1355"/>
                    <a:pt x="379" y="1355"/>
                  </a:cubicBezTo>
                  <a:cubicBezTo>
                    <a:pt x="568" y="1355"/>
                    <a:pt x="726" y="1197"/>
                    <a:pt x="726" y="1008"/>
                  </a:cubicBezTo>
                  <a:cubicBezTo>
                    <a:pt x="726" y="819"/>
                    <a:pt x="883" y="662"/>
                    <a:pt x="1072" y="662"/>
                  </a:cubicBezTo>
                  <a:cubicBezTo>
                    <a:pt x="1293" y="662"/>
                    <a:pt x="1450" y="819"/>
                    <a:pt x="1450" y="1008"/>
                  </a:cubicBezTo>
                  <a:cubicBezTo>
                    <a:pt x="1450" y="1103"/>
                    <a:pt x="1324" y="1292"/>
                    <a:pt x="1198" y="1323"/>
                  </a:cubicBezTo>
                  <a:cubicBezTo>
                    <a:pt x="915" y="1449"/>
                    <a:pt x="757" y="1701"/>
                    <a:pt x="757" y="1953"/>
                  </a:cubicBezTo>
                  <a:lnTo>
                    <a:pt x="757" y="2426"/>
                  </a:lnTo>
                  <a:cubicBezTo>
                    <a:pt x="757" y="2615"/>
                    <a:pt x="915" y="2772"/>
                    <a:pt x="1135" y="2772"/>
                  </a:cubicBezTo>
                  <a:cubicBezTo>
                    <a:pt x="1324" y="2772"/>
                    <a:pt x="1482" y="2615"/>
                    <a:pt x="1482" y="2426"/>
                  </a:cubicBezTo>
                  <a:lnTo>
                    <a:pt x="1482" y="1953"/>
                  </a:lnTo>
                  <a:cubicBezTo>
                    <a:pt x="1860" y="1796"/>
                    <a:pt x="2143" y="1418"/>
                    <a:pt x="2143" y="1008"/>
                  </a:cubicBezTo>
                  <a:cubicBezTo>
                    <a:pt x="2049" y="473"/>
                    <a:pt x="1576"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82" name="Google Shape;7182;p74"/>
          <p:cNvGrpSpPr/>
          <p:nvPr/>
        </p:nvGrpSpPr>
        <p:grpSpPr>
          <a:xfrm>
            <a:off x="4716848" y="5125266"/>
            <a:ext cx="471409" cy="471409"/>
            <a:chOff x="-30806075" y="2657050"/>
            <a:chExt cx="291425" cy="291425"/>
          </a:xfrm>
        </p:grpSpPr>
        <p:sp>
          <p:nvSpPr>
            <p:cNvPr id="7183" name="Google Shape;7183;p74"/>
            <p:cNvSpPr/>
            <p:nvPr/>
          </p:nvSpPr>
          <p:spPr>
            <a:xfrm>
              <a:off x="-30806075" y="2657050"/>
              <a:ext cx="291425" cy="291425"/>
            </a:xfrm>
            <a:custGeom>
              <a:avLst/>
              <a:gdLst/>
              <a:ahLst/>
              <a:cxnLst/>
              <a:rect l="l" t="t" r="r" b="b"/>
              <a:pathLst>
                <a:path w="11657" h="11657" extrusionOk="0">
                  <a:moveTo>
                    <a:pt x="5828" y="693"/>
                  </a:moveTo>
                  <a:cubicBezTo>
                    <a:pt x="8664" y="693"/>
                    <a:pt x="10995" y="2993"/>
                    <a:pt x="10995" y="5828"/>
                  </a:cubicBezTo>
                  <a:cubicBezTo>
                    <a:pt x="10995" y="8664"/>
                    <a:pt x="8664" y="10995"/>
                    <a:pt x="5828" y="10995"/>
                  </a:cubicBezTo>
                  <a:cubicBezTo>
                    <a:pt x="2993" y="10995"/>
                    <a:pt x="662" y="8664"/>
                    <a:pt x="662" y="5828"/>
                  </a:cubicBezTo>
                  <a:cubicBezTo>
                    <a:pt x="662" y="2993"/>
                    <a:pt x="2993" y="693"/>
                    <a:pt x="5828" y="693"/>
                  </a:cubicBezTo>
                  <a:close/>
                  <a:moveTo>
                    <a:pt x="5828" y="0"/>
                  </a:moveTo>
                  <a:cubicBezTo>
                    <a:pt x="2583" y="0"/>
                    <a:pt x="0" y="2646"/>
                    <a:pt x="0" y="5828"/>
                  </a:cubicBezTo>
                  <a:cubicBezTo>
                    <a:pt x="0" y="9073"/>
                    <a:pt x="2646" y="11657"/>
                    <a:pt x="5828" y="11657"/>
                  </a:cubicBezTo>
                  <a:cubicBezTo>
                    <a:pt x="9042" y="11657"/>
                    <a:pt x="11657" y="9042"/>
                    <a:pt x="11657" y="5828"/>
                  </a:cubicBezTo>
                  <a:cubicBezTo>
                    <a:pt x="11657" y="2646"/>
                    <a:pt x="9042" y="0"/>
                    <a:pt x="58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4" name="Google Shape;7184;p74"/>
            <p:cNvSpPr/>
            <p:nvPr/>
          </p:nvSpPr>
          <p:spPr>
            <a:xfrm>
              <a:off x="-30771425" y="2692475"/>
              <a:ext cx="222125" cy="222925"/>
            </a:xfrm>
            <a:custGeom>
              <a:avLst/>
              <a:gdLst/>
              <a:ahLst/>
              <a:cxnLst/>
              <a:rect l="l" t="t" r="r" b="b"/>
              <a:pathLst>
                <a:path w="8885" h="8917" extrusionOk="0">
                  <a:moveTo>
                    <a:pt x="4442" y="725"/>
                  </a:moveTo>
                  <a:cubicBezTo>
                    <a:pt x="6522" y="725"/>
                    <a:pt x="8192" y="2427"/>
                    <a:pt x="8192" y="4474"/>
                  </a:cubicBezTo>
                  <a:cubicBezTo>
                    <a:pt x="8192" y="6522"/>
                    <a:pt x="6522" y="8192"/>
                    <a:pt x="4442" y="8192"/>
                  </a:cubicBezTo>
                  <a:cubicBezTo>
                    <a:pt x="2363" y="8192"/>
                    <a:pt x="693" y="6522"/>
                    <a:pt x="693" y="4474"/>
                  </a:cubicBezTo>
                  <a:cubicBezTo>
                    <a:pt x="693" y="2427"/>
                    <a:pt x="2395" y="725"/>
                    <a:pt x="4442" y="725"/>
                  </a:cubicBezTo>
                  <a:close/>
                  <a:moveTo>
                    <a:pt x="4442" y="1"/>
                  </a:moveTo>
                  <a:cubicBezTo>
                    <a:pt x="1985" y="1"/>
                    <a:pt x="0" y="2017"/>
                    <a:pt x="0" y="4474"/>
                  </a:cubicBezTo>
                  <a:cubicBezTo>
                    <a:pt x="0" y="6900"/>
                    <a:pt x="1985" y="8917"/>
                    <a:pt x="4442" y="8917"/>
                  </a:cubicBezTo>
                  <a:cubicBezTo>
                    <a:pt x="6868" y="8917"/>
                    <a:pt x="8885" y="6900"/>
                    <a:pt x="8885" y="4474"/>
                  </a:cubicBezTo>
                  <a:cubicBezTo>
                    <a:pt x="8885" y="2017"/>
                    <a:pt x="6868" y="1"/>
                    <a:pt x="4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5" name="Google Shape;7185;p74"/>
            <p:cNvSpPr/>
            <p:nvPr/>
          </p:nvSpPr>
          <p:spPr>
            <a:xfrm>
              <a:off x="-30669050" y="2726350"/>
              <a:ext cx="52025" cy="119150"/>
            </a:xfrm>
            <a:custGeom>
              <a:avLst/>
              <a:gdLst/>
              <a:ahLst/>
              <a:cxnLst/>
              <a:rect l="l" t="t" r="r" b="b"/>
              <a:pathLst>
                <a:path w="2081" h="4766" extrusionOk="0">
                  <a:moveTo>
                    <a:pt x="347" y="0"/>
                  </a:moveTo>
                  <a:cubicBezTo>
                    <a:pt x="158" y="0"/>
                    <a:pt x="1" y="158"/>
                    <a:pt x="1" y="347"/>
                  </a:cubicBezTo>
                  <a:lnTo>
                    <a:pt x="1" y="3056"/>
                  </a:lnTo>
                  <a:cubicBezTo>
                    <a:pt x="1" y="3151"/>
                    <a:pt x="32" y="3277"/>
                    <a:pt x="95" y="3308"/>
                  </a:cubicBezTo>
                  <a:lnTo>
                    <a:pt x="1482" y="4695"/>
                  </a:lnTo>
                  <a:cubicBezTo>
                    <a:pt x="1545" y="4742"/>
                    <a:pt x="1631" y="4766"/>
                    <a:pt x="1718" y="4766"/>
                  </a:cubicBezTo>
                  <a:cubicBezTo>
                    <a:pt x="1805" y="4766"/>
                    <a:pt x="1891" y="4742"/>
                    <a:pt x="1954" y="4695"/>
                  </a:cubicBezTo>
                  <a:cubicBezTo>
                    <a:pt x="2080" y="4569"/>
                    <a:pt x="2080" y="4317"/>
                    <a:pt x="1954" y="4222"/>
                  </a:cubicBezTo>
                  <a:lnTo>
                    <a:pt x="694" y="2962"/>
                  </a:lnTo>
                  <a:lnTo>
                    <a:pt x="694" y="347"/>
                  </a:ln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86" name="Google Shape;7186;p74"/>
          <p:cNvGrpSpPr/>
          <p:nvPr/>
        </p:nvGrpSpPr>
        <p:grpSpPr>
          <a:xfrm>
            <a:off x="3519576" y="5735676"/>
            <a:ext cx="471409" cy="471409"/>
            <a:chOff x="-30064925" y="2332550"/>
            <a:chExt cx="291425" cy="291425"/>
          </a:xfrm>
        </p:grpSpPr>
        <p:sp>
          <p:nvSpPr>
            <p:cNvPr id="7187" name="Google Shape;7187;p74"/>
            <p:cNvSpPr/>
            <p:nvPr/>
          </p:nvSpPr>
          <p:spPr>
            <a:xfrm>
              <a:off x="-30064925" y="2332550"/>
              <a:ext cx="291425" cy="291425"/>
            </a:xfrm>
            <a:custGeom>
              <a:avLst/>
              <a:gdLst/>
              <a:ahLst/>
              <a:cxnLst/>
              <a:rect l="l" t="t" r="r" b="b"/>
              <a:pathLst>
                <a:path w="11657" h="11657" extrusionOk="0">
                  <a:moveTo>
                    <a:pt x="5829" y="662"/>
                  </a:moveTo>
                  <a:cubicBezTo>
                    <a:pt x="8664" y="662"/>
                    <a:pt x="10995" y="2993"/>
                    <a:pt x="10995" y="5828"/>
                  </a:cubicBezTo>
                  <a:cubicBezTo>
                    <a:pt x="10995" y="8695"/>
                    <a:pt x="8664" y="10995"/>
                    <a:pt x="5829" y="10995"/>
                  </a:cubicBezTo>
                  <a:cubicBezTo>
                    <a:pt x="2993" y="10995"/>
                    <a:pt x="662" y="8664"/>
                    <a:pt x="662" y="5828"/>
                  </a:cubicBezTo>
                  <a:cubicBezTo>
                    <a:pt x="662" y="2993"/>
                    <a:pt x="2993" y="662"/>
                    <a:pt x="5829" y="662"/>
                  </a:cubicBezTo>
                  <a:close/>
                  <a:moveTo>
                    <a:pt x="5829" y="0"/>
                  </a:moveTo>
                  <a:cubicBezTo>
                    <a:pt x="2615" y="0"/>
                    <a:pt x="0" y="2615"/>
                    <a:pt x="0" y="5828"/>
                  </a:cubicBezTo>
                  <a:cubicBezTo>
                    <a:pt x="0" y="9042"/>
                    <a:pt x="2647" y="11657"/>
                    <a:pt x="5829" y="11657"/>
                  </a:cubicBezTo>
                  <a:cubicBezTo>
                    <a:pt x="9074" y="11657"/>
                    <a:pt x="11657" y="9010"/>
                    <a:pt x="11657" y="5828"/>
                  </a:cubicBezTo>
                  <a:cubicBezTo>
                    <a:pt x="11657" y="2646"/>
                    <a:pt x="9074"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8" name="Google Shape;7188;p74"/>
            <p:cNvSpPr/>
            <p:nvPr/>
          </p:nvSpPr>
          <p:spPr>
            <a:xfrm>
              <a:off x="-29944425" y="2384525"/>
              <a:ext cx="51225" cy="51225"/>
            </a:xfrm>
            <a:custGeom>
              <a:avLst/>
              <a:gdLst/>
              <a:ahLst/>
              <a:cxnLst/>
              <a:rect l="l" t="t" r="r" b="b"/>
              <a:pathLst>
                <a:path w="2049" h="2049" extrusionOk="0">
                  <a:moveTo>
                    <a:pt x="1009" y="662"/>
                  </a:moveTo>
                  <a:cubicBezTo>
                    <a:pt x="1198" y="662"/>
                    <a:pt x="1355" y="819"/>
                    <a:pt x="1355" y="1040"/>
                  </a:cubicBezTo>
                  <a:cubicBezTo>
                    <a:pt x="1355" y="1229"/>
                    <a:pt x="1198" y="1387"/>
                    <a:pt x="1009" y="1387"/>
                  </a:cubicBezTo>
                  <a:cubicBezTo>
                    <a:pt x="820" y="1387"/>
                    <a:pt x="662" y="1229"/>
                    <a:pt x="662" y="1040"/>
                  </a:cubicBezTo>
                  <a:cubicBezTo>
                    <a:pt x="662" y="819"/>
                    <a:pt x="820" y="662"/>
                    <a:pt x="1009" y="662"/>
                  </a:cubicBezTo>
                  <a:close/>
                  <a:moveTo>
                    <a:pt x="1009" y="0"/>
                  </a:moveTo>
                  <a:cubicBezTo>
                    <a:pt x="473" y="0"/>
                    <a:pt x="0" y="473"/>
                    <a:pt x="0" y="1040"/>
                  </a:cubicBezTo>
                  <a:cubicBezTo>
                    <a:pt x="0" y="1576"/>
                    <a:pt x="473" y="2048"/>
                    <a:pt x="1009" y="2048"/>
                  </a:cubicBezTo>
                  <a:cubicBezTo>
                    <a:pt x="1576" y="2048"/>
                    <a:pt x="2048" y="1576"/>
                    <a:pt x="2048" y="1040"/>
                  </a:cubicBezTo>
                  <a:cubicBezTo>
                    <a:pt x="2048" y="473"/>
                    <a:pt x="1607"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89" name="Google Shape;7189;p74"/>
            <p:cNvSpPr/>
            <p:nvPr/>
          </p:nvSpPr>
          <p:spPr>
            <a:xfrm>
              <a:off x="-29944425" y="2452250"/>
              <a:ext cx="51225" cy="119750"/>
            </a:xfrm>
            <a:custGeom>
              <a:avLst/>
              <a:gdLst/>
              <a:ahLst/>
              <a:cxnLst/>
              <a:rect l="l" t="t" r="r" b="b"/>
              <a:pathLst>
                <a:path w="2049" h="4790" extrusionOk="0">
                  <a:moveTo>
                    <a:pt x="1009" y="725"/>
                  </a:moveTo>
                  <a:cubicBezTo>
                    <a:pt x="1198" y="725"/>
                    <a:pt x="1355" y="883"/>
                    <a:pt x="1355" y="1072"/>
                  </a:cubicBezTo>
                  <a:lnTo>
                    <a:pt x="1355" y="3781"/>
                  </a:lnTo>
                  <a:cubicBezTo>
                    <a:pt x="1355" y="4002"/>
                    <a:pt x="1198" y="4159"/>
                    <a:pt x="1009" y="4159"/>
                  </a:cubicBezTo>
                  <a:cubicBezTo>
                    <a:pt x="820" y="4159"/>
                    <a:pt x="662" y="4002"/>
                    <a:pt x="662" y="3781"/>
                  </a:cubicBezTo>
                  <a:lnTo>
                    <a:pt x="662" y="1072"/>
                  </a:lnTo>
                  <a:cubicBezTo>
                    <a:pt x="662" y="883"/>
                    <a:pt x="820" y="725"/>
                    <a:pt x="1009" y="725"/>
                  </a:cubicBezTo>
                  <a:close/>
                  <a:moveTo>
                    <a:pt x="1009" y="1"/>
                  </a:moveTo>
                  <a:cubicBezTo>
                    <a:pt x="473" y="1"/>
                    <a:pt x="0" y="473"/>
                    <a:pt x="0" y="1040"/>
                  </a:cubicBezTo>
                  <a:lnTo>
                    <a:pt x="0" y="3750"/>
                  </a:lnTo>
                  <a:cubicBezTo>
                    <a:pt x="0" y="4317"/>
                    <a:pt x="473" y="4790"/>
                    <a:pt x="1009" y="4790"/>
                  </a:cubicBezTo>
                  <a:cubicBezTo>
                    <a:pt x="1576" y="4790"/>
                    <a:pt x="2048" y="4317"/>
                    <a:pt x="2048" y="3750"/>
                  </a:cubicBezTo>
                  <a:lnTo>
                    <a:pt x="2048" y="1040"/>
                  </a:lnTo>
                  <a:cubicBezTo>
                    <a:pt x="2048" y="473"/>
                    <a:pt x="1607"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90" name="Google Shape;7190;p74"/>
          <p:cNvGrpSpPr/>
          <p:nvPr/>
        </p:nvGrpSpPr>
        <p:grpSpPr>
          <a:xfrm>
            <a:off x="5310758" y="3881675"/>
            <a:ext cx="465140" cy="463839"/>
            <a:chOff x="2821450" y="2957850"/>
            <a:chExt cx="259275" cy="258550"/>
          </a:xfrm>
        </p:grpSpPr>
        <p:sp>
          <p:nvSpPr>
            <p:cNvPr id="7191" name="Google Shape;7191;p74"/>
            <p:cNvSpPr/>
            <p:nvPr/>
          </p:nvSpPr>
          <p:spPr>
            <a:xfrm>
              <a:off x="2821450" y="3080500"/>
              <a:ext cx="259275" cy="135900"/>
            </a:xfrm>
            <a:custGeom>
              <a:avLst/>
              <a:gdLst/>
              <a:ahLst/>
              <a:cxnLst/>
              <a:rect l="l" t="t" r="r" b="b"/>
              <a:pathLst>
                <a:path w="10371" h="5436" extrusionOk="0">
                  <a:moveTo>
                    <a:pt x="2677" y="585"/>
                  </a:moveTo>
                  <a:cubicBezTo>
                    <a:pt x="3151" y="585"/>
                    <a:pt x="3569" y="1004"/>
                    <a:pt x="3569" y="1505"/>
                  </a:cubicBezTo>
                  <a:cubicBezTo>
                    <a:pt x="3569" y="1979"/>
                    <a:pt x="3151" y="2397"/>
                    <a:pt x="2677" y="2397"/>
                  </a:cubicBezTo>
                  <a:cubicBezTo>
                    <a:pt x="2147" y="2397"/>
                    <a:pt x="1757" y="1979"/>
                    <a:pt x="1757" y="1505"/>
                  </a:cubicBezTo>
                  <a:cubicBezTo>
                    <a:pt x="1757" y="1004"/>
                    <a:pt x="2175" y="585"/>
                    <a:pt x="2677" y="585"/>
                  </a:cubicBezTo>
                  <a:close/>
                  <a:moveTo>
                    <a:pt x="7555" y="585"/>
                  </a:moveTo>
                  <a:cubicBezTo>
                    <a:pt x="8029" y="585"/>
                    <a:pt x="8447" y="1004"/>
                    <a:pt x="8447" y="1505"/>
                  </a:cubicBezTo>
                  <a:cubicBezTo>
                    <a:pt x="8447" y="1979"/>
                    <a:pt x="8029" y="2397"/>
                    <a:pt x="7555" y="2397"/>
                  </a:cubicBezTo>
                  <a:cubicBezTo>
                    <a:pt x="7025" y="2397"/>
                    <a:pt x="6635" y="1979"/>
                    <a:pt x="6635" y="1505"/>
                  </a:cubicBezTo>
                  <a:cubicBezTo>
                    <a:pt x="6635" y="1004"/>
                    <a:pt x="7053" y="585"/>
                    <a:pt x="7555" y="585"/>
                  </a:cubicBezTo>
                  <a:close/>
                  <a:moveTo>
                    <a:pt x="2677" y="2983"/>
                  </a:moveTo>
                  <a:cubicBezTo>
                    <a:pt x="3736" y="2983"/>
                    <a:pt x="4628" y="3791"/>
                    <a:pt x="4795" y="4795"/>
                  </a:cubicBezTo>
                  <a:lnTo>
                    <a:pt x="586" y="4795"/>
                  </a:lnTo>
                  <a:cubicBezTo>
                    <a:pt x="698" y="3791"/>
                    <a:pt x="1618" y="2983"/>
                    <a:pt x="2677" y="2983"/>
                  </a:cubicBezTo>
                  <a:close/>
                  <a:moveTo>
                    <a:pt x="7555" y="2983"/>
                  </a:moveTo>
                  <a:cubicBezTo>
                    <a:pt x="8614" y="2983"/>
                    <a:pt x="9506" y="3791"/>
                    <a:pt x="9646" y="4795"/>
                  </a:cubicBezTo>
                  <a:lnTo>
                    <a:pt x="5409" y="4795"/>
                  </a:lnTo>
                  <a:cubicBezTo>
                    <a:pt x="5548" y="3791"/>
                    <a:pt x="6468" y="2983"/>
                    <a:pt x="7555" y="2983"/>
                  </a:cubicBezTo>
                  <a:close/>
                  <a:moveTo>
                    <a:pt x="2733" y="0"/>
                  </a:moveTo>
                  <a:cubicBezTo>
                    <a:pt x="1896" y="0"/>
                    <a:pt x="1227" y="669"/>
                    <a:pt x="1227" y="1505"/>
                  </a:cubicBezTo>
                  <a:cubicBezTo>
                    <a:pt x="1227" y="1951"/>
                    <a:pt x="1395" y="2342"/>
                    <a:pt x="1729" y="2620"/>
                  </a:cubicBezTo>
                  <a:cubicBezTo>
                    <a:pt x="698" y="3039"/>
                    <a:pt x="1" y="4014"/>
                    <a:pt x="1" y="5129"/>
                  </a:cubicBezTo>
                  <a:cubicBezTo>
                    <a:pt x="1" y="5296"/>
                    <a:pt x="140" y="5436"/>
                    <a:pt x="335" y="5436"/>
                  </a:cubicBezTo>
                  <a:lnTo>
                    <a:pt x="10036" y="5436"/>
                  </a:lnTo>
                  <a:cubicBezTo>
                    <a:pt x="10231" y="5436"/>
                    <a:pt x="10370" y="5296"/>
                    <a:pt x="10370" y="5129"/>
                  </a:cubicBezTo>
                  <a:cubicBezTo>
                    <a:pt x="10259" y="3958"/>
                    <a:pt x="9562" y="2983"/>
                    <a:pt x="8559" y="2620"/>
                  </a:cubicBezTo>
                  <a:cubicBezTo>
                    <a:pt x="8865" y="2342"/>
                    <a:pt x="9032" y="1951"/>
                    <a:pt x="9032" y="1505"/>
                  </a:cubicBezTo>
                  <a:cubicBezTo>
                    <a:pt x="9032" y="669"/>
                    <a:pt x="8391" y="0"/>
                    <a:pt x="7555" y="0"/>
                  </a:cubicBezTo>
                  <a:cubicBezTo>
                    <a:pt x="6719" y="0"/>
                    <a:pt x="6050" y="669"/>
                    <a:pt x="6050" y="1505"/>
                  </a:cubicBezTo>
                  <a:cubicBezTo>
                    <a:pt x="6050" y="1951"/>
                    <a:pt x="6217" y="2342"/>
                    <a:pt x="6524" y="2620"/>
                  </a:cubicBezTo>
                  <a:cubicBezTo>
                    <a:pt x="5910" y="2843"/>
                    <a:pt x="5409" y="3317"/>
                    <a:pt x="5130" y="3903"/>
                  </a:cubicBezTo>
                  <a:cubicBezTo>
                    <a:pt x="4823" y="3317"/>
                    <a:pt x="4322" y="2843"/>
                    <a:pt x="3736" y="2620"/>
                  </a:cubicBezTo>
                  <a:cubicBezTo>
                    <a:pt x="4043" y="2342"/>
                    <a:pt x="4238" y="1951"/>
                    <a:pt x="4238" y="1505"/>
                  </a:cubicBezTo>
                  <a:cubicBezTo>
                    <a:pt x="4238" y="669"/>
                    <a:pt x="3569" y="0"/>
                    <a:pt x="2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2" name="Google Shape;7192;p74"/>
            <p:cNvSpPr/>
            <p:nvPr/>
          </p:nvSpPr>
          <p:spPr>
            <a:xfrm>
              <a:off x="2831900" y="2957850"/>
              <a:ext cx="228625" cy="106350"/>
            </a:xfrm>
            <a:custGeom>
              <a:avLst/>
              <a:gdLst/>
              <a:ahLst/>
              <a:cxnLst/>
              <a:rect l="l" t="t" r="r" b="b"/>
              <a:pathLst>
                <a:path w="9145" h="4254" extrusionOk="0">
                  <a:moveTo>
                    <a:pt x="8336" y="585"/>
                  </a:moveTo>
                  <a:cubicBezTo>
                    <a:pt x="8531" y="585"/>
                    <a:pt x="8642" y="725"/>
                    <a:pt x="8642" y="892"/>
                  </a:cubicBezTo>
                  <a:lnTo>
                    <a:pt x="8642" y="2119"/>
                  </a:lnTo>
                  <a:cubicBezTo>
                    <a:pt x="8642" y="2286"/>
                    <a:pt x="8531" y="2425"/>
                    <a:pt x="8336" y="2425"/>
                  </a:cubicBezTo>
                  <a:lnTo>
                    <a:pt x="7137" y="2425"/>
                  </a:lnTo>
                  <a:cubicBezTo>
                    <a:pt x="6942" y="2425"/>
                    <a:pt x="6803" y="2565"/>
                    <a:pt x="6803" y="2732"/>
                  </a:cubicBezTo>
                  <a:lnTo>
                    <a:pt x="6803" y="3234"/>
                  </a:lnTo>
                  <a:lnTo>
                    <a:pt x="6106" y="2537"/>
                  </a:lnTo>
                  <a:cubicBezTo>
                    <a:pt x="6050" y="2453"/>
                    <a:pt x="5966" y="2425"/>
                    <a:pt x="5911" y="2425"/>
                  </a:cubicBezTo>
                  <a:lnTo>
                    <a:pt x="3430" y="2425"/>
                  </a:lnTo>
                  <a:cubicBezTo>
                    <a:pt x="3346" y="2425"/>
                    <a:pt x="3262" y="2453"/>
                    <a:pt x="3207" y="2537"/>
                  </a:cubicBezTo>
                  <a:lnTo>
                    <a:pt x="2510" y="3234"/>
                  </a:lnTo>
                  <a:lnTo>
                    <a:pt x="2510" y="2732"/>
                  </a:lnTo>
                  <a:cubicBezTo>
                    <a:pt x="2510" y="2565"/>
                    <a:pt x="2370" y="2425"/>
                    <a:pt x="2203" y="2425"/>
                  </a:cubicBezTo>
                  <a:lnTo>
                    <a:pt x="1032" y="2425"/>
                  </a:lnTo>
                  <a:cubicBezTo>
                    <a:pt x="865" y="2425"/>
                    <a:pt x="726" y="2286"/>
                    <a:pt x="726" y="2119"/>
                  </a:cubicBezTo>
                  <a:lnTo>
                    <a:pt x="726" y="892"/>
                  </a:lnTo>
                  <a:cubicBezTo>
                    <a:pt x="726" y="725"/>
                    <a:pt x="865" y="585"/>
                    <a:pt x="1032" y="585"/>
                  </a:cubicBezTo>
                  <a:close/>
                  <a:moveTo>
                    <a:pt x="921" y="0"/>
                  </a:moveTo>
                  <a:cubicBezTo>
                    <a:pt x="447" y="0"/>
                    <a:pt x="1" y="418"/>
                    <a:pt x="1" y="892"/>
                  </a:cubicBezTo>
                  <a:lnTo>
                    <a:pt x="1" y="2119"/>
                  </a:lnTo>
                  <a:cubicBezTo>
                    <a:pt x="1" y="2592"/>
                    <a:pt x="419" y="3011"/>
                    <a:pt x="921" y="3011"/>
                  </a:cubicBezTo>
                  <a:lnTo>
                    <a:pt x="1841" y="3011"/>
                  </a:lnTo>
                  <a:lnTo>
                    <a:pt x="1841" y="3958"/>
                  </a:lnTo>
                  <a:cubicBezTo>
                    <a:pt x="1924" y="4098"/>
                    <a:pt x="2008" y="4209"/>
                    <a:pt x="2120" y="4237"/>
                  </a:cubicBezTo>
                  <a:cubicBezTo>
                    <a:pt x="2150" y="4247"/>
                    <a:pt x="2188" y="4254"/>
                    <a:pt x="2228" y="4254"/>
                  </a:cubicBezTo>
                  <a:cubicBezTo>
                    <a:pt x="2298" y="4254"/>
                    <a:pt x="2373" y="4234"/>
                    <a:pt x="2426" y="4181"/>
                  </a:cubicBezTo>
                  <a:lnTo>
                    <a:pt x="3541" y="3011"/>
                  </a:lnTo>
                  <a:lnTo>
                    <a:pt x="5743" y="3011"/>
                  </a:lnTo>
                  <a:lnTo>
                    <a:pt x="6830" y="4181"/>
                  </a:lnTo>
                  <a:cubicBezTo>
                    <a:pt x="6883" y="4234"/>
                    <a:pt x="6959" y="4254"/>
                    <a:pt x="7035" y="4254"/>
                  </a:cubicBezTo>
                  <a:cubicBezTo>
                    <a:pt x="7080" y="4254"/>
                    <a:pt x="7124" y="4247"/>
                    <a:pt x="7165" y="4237"/>
                  </a:cubicBezTo>
                  <a:cubicBezTo>
                    <a:pt x="7249" y="4209"/>
                    <a:pt x="7332" y="4070"/>
                    <a:pt x="7332" y="3958"/>
                  </a:cubicBezTo>
                  <a:lnTo>
                    <a:pt x="7332" y="3011"/>
                  </a:lnTo>
                  <a:lnTo>
                    <a:pt x="8224" y="3011"/>
                  </a:lnTo>
                  <a:cubicBezTo>
                    <a:pt x="8726" y="3011"/>
                    <a:pt x="9144" y="2592"/>
                    <a:pt x="9144" y="2119"/>
                  </a:cubicBezTo>
                  <a:lnTo>
                    <a:pt x="9144" y="892"/>
                  </a:lnTo>
                  <a:cubicBezTo>
                    <a:pt x="9144" y="418"/>
                    <a:pt x="8726" y="0"/>
                    <a:pt x="82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3" name="Google Shape;7193;p74"/>
            <p:cNvSpPr/>
            <p:nvPr/>
          </p:nvSpPr>
          <p:spPr>
            <a:xfrm>
              <a:off x="3024600" y="2966925"/>
              <a:ext cx="29875" cy="58497"/>
            </a:xfrm>
            <a:custGeom>
              <a:avLst/>
              <a:gdLst/>
              <a:ahLst/>
              <a:cxnLst/>
              <a:rect l="l" t="t" r="r" b="b"/>
              <a:pathLst>
                <a:path w="1195" h="2376" extrusionOk="0">
                  <a:moveTo>
                    <a:pt x="159" y="2269"/>
                  </a:moveTo>
                  <a:cubicBezTo>
                    <a:pt x="131" y="2225"/>
                    <a:pt x="349" y="2178"/>
                    <a:pt x="444" y="2102"/>
                  </a:cubicBezTo>
                  <a:cubicBezTo>
                    <a:pt x="539" y="2027"/>
                    <a:pt x="682" y="2090"/>
                    <a:pt x="730" y="1816"/>
                  </a:cubicBezTo>
                  <a:cubicBezTo>
                    <a:pt x="778" y="1542"/>
                    <a:pt x="774" y="725"/>
                    <a:pt x="730" y="459"/>
                  </a:cubicBezTo>
                  <a:cubicBezTo>
                    <a:pt x="686" y="193"/>
                    <a:pt x="587" y="273"/>
                    <a:pt x="468" y="221"/>
                  </a:cubicBezTo>
                  <a:cubicBezTo>
                    <a:pt x="349" y="169"/>
                    <a:pt x="-16" y="185"/>
                    <a:pt x="16" y="149"/>
                  </a:cubicBezTo>
                  <a:cubicBezTo>
                    <a:pt x="48" y="113"/>
                    <a:pt x="473" y="-21"/>
                    <a:pt x="659" y="7"/>
                  </a:cubicBezTo>
                  <a:cubicBezTo>
                    <a:pt x="846" y="35"/>
                    <a:pt x="1048" y="54"/>
                    <a:pt x="1135" y="316"/>
                  </a:cubicBezTo>
                  <a:cubicBezTo>
                    <a:pt x="1222" y="578"/>
                    <a:pt x="1183" y="1276"/>
                    <a:pt x="1183" y="1578"/>
                  </a:cubicBezTo>
                  <a:cubicBezTo>
                    <a:pt x="1183" y="1880"/>
                    <a:pt x="1230" y="1995"/>
                    <a:pt x="1135" y="2126"/>
                  </a:cubicBezTo>
                  <a:cubicBezTo>
                    <a:pt x="1040" y="2257"/>
                    <a:pt x="774" y="2340"/>
                    <a:pt x="611" y="2364"/>
                  </a:cubicBezTo>
                  <a:cubicBezTo>
                    <a:pt x="448" y="2388"/>
                    <a:pt x="187" y="2313"/>
                    <a:pt x="159" y="2269"/>
                  </a:cubicBezTo>
                  <a:close/>
                </a:path>
              </a:pathLst>
            </a:custGeom>
            <a:solidFill>
              <a:srgbClr val="5F7D95"/>
            </a:solidFill>
            <a:ln>
              <a:noFill/>
            </a:ln>
          </p:spPr>
        </p:sp>
      </p:grpSp>
      <p:grpSp>
        <p:nvGrpSpPr>
          <p:cNvPr id="7194" name="Google Shape;7194;p74"/>
          <p:cNvGrpSpPr/>
          <p:nvPr/>
        </p:nvGrpSpPr>
        <p:grpSpPr>
          <a:xfrm>
            <a:off x="6477467" y="2043032"/>
            <a:ext cx="481453" cy="481453"/>
            <a:chOff x="-57970450" y="1903275"/>
            <a:chExt cx="318225" cy="318225"/>
          </a:xfrm>
        </p:grpSpPr>
        <p:sp>
          <p:nvSpPr>
            <p:cNvPr id="7195" name="Google Shape;7195;p74"/>
            <p:cNvSpPr/>
            <p:nvPr/>
          </p:nvSpPr>
          <p:spPr>
            <a:xfrm>
              <a:off x="-57847575" y="2135825"/>
              <a:ext cx="73250" cy="28975"/>
            </a:xfrm>
            <a:custGeom>
              <a:avLst/>
              <a:gdLst/>
              <a:ahLst/>
              <a:cxnLst/>
              <a:rect l="l" t="t" r="r" b="b"/>
              <a:pathLst>
                <a:path w="2930" h="1159" extrusionOk="0">
                  <a:moveTo>
                    <a:pt x="414" y="1"/>
                  </a:moveTo>
                  <a:cubicBezTo>
                    <a:pt x="315" y="1"/>
                    <a:pt x="221" y="40"/>
                    <a:pt x="158" y="119"/>
                  </a:cubicBezTo>
                  <a:cubicBezTo>
                    <a:pt x="0" y="276"/>
                    <a:pt x="0" y="497"/>
                    <a:pt x="158" y="623"/>
                  </a:cubicBezTo>
                  <a:cubicBezTo>
                    <a:pt x="536" y="970"/>
                    <a:pt x="1008" y="1159"/>
                    <a:pt x="1481" y="1159"/>
                  </a:cubicBezTo>
                  <a:cubicBezTo>
                    <a:pt x="1954" y="1159"/>
                    <a:pt x="2458" y="970"/>
                    <a:pt x="2773" y="623"/>
                  </a:cubicBezTo>
                  <a:cubicBezTo>
                    <a:pt x="2930" y="465"/>
                    <a:pt x="2930" y="213"/>
                    <a:pt x="2773" y="119"/>
                  </a:cubicBezTo>
                  <a:cubicBezTo>
                    <a:pt x="2694" y="40"/>
                    <a:pt x="2592" y="1"/>
                    <a:pt x="2497" y="1"/>
                  </a:cubicBezTo>
                  <a:cubicBezTo>
                    <a:pt x="2402" y="1"/>
                    <a:pt x="2316" y="40"/>
                    <a:pt x="2269" y="119"/>
                  </a:cubicBezTo>
                  <a:cubicBezTo>
                    <a:pt x="2048" y="308"/>
                    <a:pt x="1733" y="434"/>
                    <a:pt x="1481" y="434"/>
                  </a:cubicBezTo>
                  <a:cubicBezTo>
                    <a:pt x="1197" y="434"/>
                    <a:pt x="882" y="339"/>
                    <a:pt x="693" y="119"/>
                  </a:cubicBezTo>
                  <a:cubicBezTo>
                    <a:pt x="615"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6" name="Google Shape;7196;p74"/>
            <p:cNvSpPr/>
            <p:nvPr/>
          </p:nvSpPr>
          <p:spPr>
            <a:xfrm>
              <a:off x="-57857025"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7" name="Google Shape;7197;p74"/>
            <p:cNvSpPr/>
            <p:nvPr/>
          </p:nvSpPr>
          <p:spPr>
            <a:xfrm>
              <a:off x="-57782200" y="2053725"/>
              <a:ext cx="18125" cy="18125"/>
            </a:xfrm>
            <a:custGeom>
              <a:avLst/>
              <a:gdLst/>
              <a:ahLst/>
              <a:cxnLst/>
              <a:rect l="l" t="t" r="r" b="b"/>
              <a:pathLst>
                <a:path w="725" h="725" extrusionOk="0">
                  <a:moveTo>
                    <a:pt x="347" y="0"/>
                  </a:moveTo>
                  <a:cubicBezTo>
                    <a:pt x="158" y="0"/>
                    <a:pt x="0" y="158"/>
                    <a:pt x="0" y="347"/>
                  </a:cubicBezTo>
                  <a:cubicBezTo>
                    <a:pt x="0" y="536"/>
                    <a:pt x="158" y="725"/>
                    <a:pt x="347" y="725"/>
                  </a:cubicBezTo>
                  <a:cubicBezTo>
                    <a:pt x="536" y="725"/>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198" name="Google Shape;7198;p74"/>
            <p:cNvSpPr/>
            <p:nvPr/>
          </p:nvSpPr>
          <p:spPr>
            <a:xfrm>
              <a:off x="-57970450" y="1903275"/>
              <a:ext cx="318225" cy="318225"/>
            </a:xfrm>
            <a:custGeom>
              <a:avLst/>
              <a:gdLst/>
              <a:ahLst/>
              <a:cxnLst/>
              <a:rect l="l" t="t" r="r" b="b"/>
              <a:pathLst>
                <a:path w="12729" h="12729" extrusionOk="0">
                  <a:moveTo>
                    <a:pt x="6396" y="757"/>
                  </a:moveTo>
                  <a:cubicBezTo>
                    <a:pt x="6774" y="757"/>
                    <a:pt x="7121" y="915"/>
                    <a:pt x="7404" y="1167"/>
                  </a:cubicBezTo>
                  <a:lnTo>
                    <a:pt x="8507" y="2269"/>
                  </a:lnTo>
                  <a:lnTo>
                    <a:pt x="4348" y="2269"/>
                  </a:lnTo>
                  <a:lnTo>
                    <a:pt x="5356" y="1167"/>
                  </a:lnTo>
                  <a:cubicBezTo>
                    <a:pt x="5640" y="915"/>
                    <a:pt x="5986" y="757"/>
                    <a:pt x="6396" y="757"/>
                  </a:cubicBezTo>
                  <a:close/>
                  <a:moveTo>
                    <a:pt x="11783" y="2994"/>
                  </a:moveTo>
                  <a:cubicBezTo>
                    <a:pt x="11626" y="3845"/>
                    <a:pt x="10838" y="4475"/>
                    <a:pt x="9925" y="4475"/>
                  </a:cubicBezTo>
                  <a:lnTo>
                    <a:pt x="2489" y="4475"/>
                  </a:lnTo>
                  <a:cubicBezTo>
                    <a:pt x="2454" y="4478"/>
                    <a:pt x="2420" y="4479"/>
                    <a:pt x="2385" y="4479"/>
                  </a:cubicBezTo>
                  <a:cubicBezTo>
                    <a:pt x="1665" y="4479"/>
                    <a:pt x="968" y="3867"/>
                    <a:pt x="788" y="3025"/>
                  </a:cubicBezTo>
                  <a:lnTo>
                    <a:pt x="2300" y="3025"/>
                  </a:lnTo>
                  <a:lnTo>
                    <a:pt x="2300" y="3372"/>
                  </a:lnTo>
                  <a:cubicBezTo>
                    <a:pt x="2300" y="3592"/>
                    <a:pt x="2458" y="3750"/>
                    <a:pt x="2647" y="3750"/>
                  </a:cubicBezTo>
                  <a:cubicBezTo>
                    <a:pt x="2836" y="3750"/>
                    <a:pt x="2993" y="3592"/>
                    <a:pt x="2993" y="3372"/>
                  </a:cubicBezTo>
                  <a:lnTo>
                    <a:pt x="2993" y="3025"/>
                  </a:lnTo>
                  <a:lnTo>
                    <a:pt x="3750" y="3025"/>
                  </a:lnTo>
                  <a:lnTo>
                    <a:pt x="3750" y="3372"/>
                  </a:lnTo>
                  <a:cubicBezTo>
                    <a:pt x="3750" y="3592"/>
                    <a:pt x="3907" y="3750"/>
                    <a:pt x="4096" y="3750"/>
                  </a:cubicBezTo>
                  <a:cubicBezTo>
                    <a:pt x="4285" y="3750"/>
                    <a:pt x="4443" y="3592"/>
                    <a:pt x="4443" y="3372"/>
                  </a:cubicBezTo>
                  <a:lnTo>
                    <a:pt x="4443" y="3025"/>
                  </a:lnTo>
                  <a:lnTo>
                    <a:pt x="5199" y="3025"/>
                  </a:lnTo>
                  <a:lnTo>
                    <a:pt x="5199" y="3372"/>
                  </a:lnTo>
                  <a:cubicBezTo>
                    <a:pt x="5199" y="3592"/>
                    <a:pt x="5356" y="3750"/>
                    <a:pt x="5545" y="3750"/>
                  </a:cubicBezTo>
                  <a:cubicBezTo>
                    <a:pt x="5766" y="3750"/>
                    <a:pt x="5923" y="3592"/>
                    <a:pt x="5923" y="3372"/>
                  </a:cubicBezTo>
                  <a:lnTo>
                    <a:pt x="5923" y="3025"/>
                  </a:lnTo>
                  <a:lnTo>
                    <a:pt x="6648" y="3025"/>
                  </a:lnTo>
                  <a:lnTo>
                    <a:pt x="6648" y="3372"/>
                  </a:lnTo>
                  <a:cubicBezTo>
                    <a:pt x="6648" y="3592"/>
                    <a:pt x="6806" y="3750"/>
                    <a:pt x="7026" y="3750"/>
                  </a:cubicBezTo>
                  <a:cubicBezTo>
                    <a:pt x="7215" y="3750"/>
                    <a:pt x="7373" y="3592"/>
                    <a:pt x="7373" y="3372"/>
                  </a:cubicBezTo>
                  <a:lnTo>
                    <a:pt x="7373" y="3025"/>
                  </a:lnTo>
                  <a:lnTo>
                    <a:pt x="8129" y="3025"/>
                  </a:lnTo>
                  <a:lnTo>
                    <a:pt x="8129" y="3372"/>
                  </a:lnTo>
                  <a:cubicBezTo>
                    <a:pt x="8129" y="3592"/>
                    <a:pt x="8286" y="3750"/>
                    <a:pt x="8475" y="3750"/>
                  </a:cubicBezTo>
                  <a:cubicBezTo>
                    <a:pt x="8664" y="3750"/>
                    <a:pt x="8822" y="3592"/>
                    <a:pt x="8822" y="3372"/>
                  </a:cubicBezTo>
                  <a:lnTo>
                    <a:pt x="8822" y="2994"/>
                  </a:lnTo>
                  <a:lnTo>
                    <a:pt x="9578" y="2994"/>
                  </a:lnTo>
                  <a:lnTo>
                    <a:pt x="9578" y="3372"/>
                  </a:lnTo>
                  <a:cubicBezTo>
                    <a:pt x="9578" y="3592"/>
                    <a:pt x="9735" y="3750"/>
                    <a:pt x="9925" y="3750"/>
                  </a:cubicBezTo>
                  <a:cubicBezTo>
                    <a:pt x="10114" y="3750"/>
                    <a:pt x="10271" y="3592"/>
                    <a:pt x="10271" y="3372"/>
                  </a:cubicBezTo>
                  <a:lnTo>
                    <a:pt x="10271" y="2994"/>
                  </a:lnTo>
                  <a:close/>
                  <a:moveTo>
                    <a:pt x="2300" y="6774"/>
                  </a:moveTo>
                  <a:lnTo>
                    <a:pt x="2300" y="8255"/>
                  </a:lnTo>
                  <a:cubicBezTo>
                    <a:pt x="1859" y="8255"/>
                    <a:pt x="1544" y="7909"/>
                    <a:pt x="1544" y="7531"/>
                  </a:cubicBezTo>
                  <a:cubicBezTo>
                    <a:pt x="1544" y="7121"/>
                    <a:pt x="1891" y="6774"/>
                    <a:pt x="2300" y="6774"/>
                  </a:cubicBezTo>
                  <a:close/>
                  <a:moveTo>
                    <a:pt x="10492" y="6774"/>
                  </a:moveTo>
                  <a:cubicBezTo>
                    <a:pt x="10870" y="6774"/>
                    <a:pt x="11216" y="7090"/>
                    <a:pt x="11216" y="7531"/>
                  </a:cubicBezTo>
                  <a:cubicBezTo>
                    <a:pt x="11216" y="7940"/>
                    <a:pt x="10901" y="8255"/>
                    <a:pt x="10492" y="8255"/>
                  </a:cubicBezTo>
                  <a:lnTo>
                    <a:pt x="10492" y="6774"/>
                  </a:lnTo>
                  <a:close/>
                  <a:moveTo>
                    <a:pt x="9767" y="5262"/>
                  </a:moveTo>
                  <a:cubicBezTo>
                    <a:pt x="9735" y="5388"/>
                    <a:pt x="9735" y="8507"/>
                    <a:pt x="9735" y="8633"/>
                  </a:cubicBezTo>
                  <a:cubicBezTo>
                    <a:pt x="9735" y="9421"/>
                    <a:pt x="9452" y="10145"/>
                    <a:pt x="8979" y="10744"/>
                  </a:cubicBezTo>
                  <a:lnTo>
                    <a:pt x="8979" y="9358"/>
                  </a:lnTo>
                  <a:cubicBezTo>
                    <a:pt x="8979" y="8350"/>
                    <a:pt x="8160" y="7531"/>
                    <a:pt x="7121" y="7531"/>
                  </a:cubicBezTo>
                  <a:cubicBezTo>
                    <a:pt x="6932" y="7531"/>
                    <a:pt x="6774" y="7688"/>
                    <a:pt x="6774" y="7877"/>
                  </a:cubicBezTo>
                  <a:cubicBezTo>
                    <a:pt x="6774" y="8066"/>
                    <a:pt x="6932" y="8224"/>
                    <a:pt x="7121" y="8224"/>
                  </a:cubicBezTo>
                  <a:cubicBezTo>
                    <a:pt x="7751" y="8224"/>
                    <a:pt x="8223" y="8728"/>
                    <a:pt x="8223" y="9326"/>
                  </a:cubicBezTo>
                  <a:lnTo>
                    <a:pt x="8223" y="11374"/>
                  </a:lnTo>
                  <a:cubicBezTo>
                    <a:pt x="7688" y="11721"/>
                    <a:pt x="7058" y="11973"/>
                    <a:pt x="6396" y="11973"/>
                  </a:cubicBezTo>
                  <a:cubicBezTo>
                    <a:pt x="5734" y="11973"/>
                    <a:pt x="5041" y="11784"/>
                    <a:pt x="4537" y="11374"/>
                  </a:cubicBezTo>
                  <a:lnTo>
                    <a:pt x="4537" y="9326"/>
                  </a:lnTo>
                  <a:cubicBezTo>
                    <a:pt x="4537" y="8696"/>
                    <a:pt x="5041" y="8224"/>
                    <a:pt x="5640" y="8224"/>
                  </a:cubicBezTo>
                  <a:cubicBezTo>
                    <a:pt x="5829" y="8224"/>
                    <a:pt x="5986" y="8066"/>
                    <a:pt x="5986" y="7877"/>
                  </a:cubicBezTo>
                  <a:cubicBezTo>
                    <a:pt x="5986" y="7688"/>
                    <a:pt x="5829" y="7499"/>
                    <a:pt x="5640" y="7499"/>
                  </a:cubicBezTo>
                  <a:cubicBezTo>
                    <a:pt x="4600" y="7499"/>
                    <a:pt x="3781" y="8350"/>
                    <a:pt x="3781" y="9358"/>
                  </a:cubicBezTo>
                  <a:lnTo>
                    <a:pt x="3781" y="10744"/>
                  </a:lnTo>
                  <a:cubicBezTo>
                    <a:pt x="3308" y="10145"/>
                    <a:pt x="3056" y="9389"/>
                    <a:pt x="3056" y="8602"/>
                  </a:cubicBezTo>
                  <a:lnTo>
                    <a:pt x="3056" y="5262"/>
                  </a:lnTo>
                  <a:close/>
                  <a:moveTo>
                    <a:pt x="6333" y="1"/>
                  </a:moveTo>
                  <a:cubicBezTo>
                    <a:pt x="5766" y="1"/>
                    <a:pt x="5199" y="221"/>
                    <a:pt x="4821" y="631"/>
                  </a:cubicBezTo>
                  <a:lnTo>
                    <a:pt x="3182" y="2238"/>
                  </a:lnTo>
                  <a:lnTo>
                    <a:pt x="347" y="2238"/>
                  </a:lnTo>
                  <a:cubicBezTo>
                    <a:pt x="158" y="2238"/>
                    <a:pt x="0" y="2395"/>
                    <a:pt x="0" y="2584"/>
                  </a:cubicBezTo>
                  <a:cubicBezTo>
                    <a:pt x="0" y="3908"/>
                    <a:pt x="1009" y="5010"/>
                    <a:pt x="2237" y="5199"/>
                  </a:cubicBezTo>
                  <a:lnTo>
                    <a:pt x="2237" y="5987"/>
                  </a:lnTo>
                  <a:cubicBezTo>
                    <a:pt x="1418" y="5987"/>
                    <a:pt x="757" y="6648"/>
                    <a:pt x="757" y="7468"/>
                  </a:cubicBezTo>
                  <a:cubicBezTo>
                    <a:pt x="757" y="8318"/>
                    <a:pt x="1418" y="8980"/>
                    <a:pt x="2237" y="8980"/>
                  </a:cubicBezTo>
                  <a:cubicBezTo>
                    <a:pt x="2363" y="10114"/>
                    <a:pt x="2930" y="11091"/>
                    <a:pt x="3718" y="11784"/>
                  </a:cubicBezTo>
                  <a:lnTo>
                    <a:pt x="3718" y="12351"/>
                  </a:lnTo>
                  <a:cubicBezTo>
                    <a:pt x="3718" y="12571"/>
                    <a:pt x="3876" y="12729"/>
                    <a:pt x="4065" y="12729"/>
                  </a:cubicBezTo>
                  <a:cubicBezTo>
                    <a:pt x="4254" y="12729"/>
                    <a:pt x="4411" y="12571"/>
                    <a:pt x="4411" y="12351"/>
                  </a:cubicBezTo>
                  <a:lnTo>
                    <a:pt x="4411" y="12288"/>
                  </a:lnTo>
                  <a:cubicBezTo>
                    <a:pt x="4978" y="12571"/>
                    <a:pt x="5608" y="12729"/>
                    <a:pt x="6270" y="12729"/>
                  </a:cubicBezTo>
                  <a:cubicBezTo>
                    <a:pt x="6932" y="12729"/>
                    <a:pt x="7562" y="12571"/>
                    <a:pt x="8129" y="12288"/>
                  </a:cubicBezTo>
                  <a:lnTo>
                    <a:pt x="8129" y="12351"/>
                  </a:lnTo>
                  <a:cubicBezTo>
                    <a:pt x="8129" y="12571"/>
                    <a:pt x="8286" y="12729"/>
                    <a:pt x="8475" y="12729"/>
                  </a:cubicBezTo>
                  <a:cubicBezTo>
                    <a:pt x="8664" y="12729"/>
                    <a:pt x="8822" y="12571"/>
                    <a:pt x="8822" y="12351"/>
                  </a:cubicBezTo>
                  <a:lnTo>
                    <a:pt x="8822" y="11784"/>
                  </a:lnTo>
                  <a:cubicBezTo>
                    <a:pt x="9641" y="11091"/>
                    <a:pt x="10208" y="10082"/>
                    <a:pt x="10271" y="8980"/>
                  </a:cubicBezTo>
                  <a:cubicBezTo>
                    <a:pt x="11122" y="8980"/>
                    <a:pt x="11783" y="8318"/>
                    <a:pt x="11783" y="7468"/>
                  </a:cubicBezTo>
                  <a:cubicBezTo>
                    <a:pt x="11972" y="6680"/>
                    <a:pt x="11311" y="6018"/>
                    <a:pt x="10492" y="6018"/>
                  </a:cubicBezTo>
                  <a:lnTo>
                    <a:pt x="10492" y="5231"/>
                  </a:lnTo>
                  <a:cubicBezTo>
                    <a:pt x="11752" y="5042"/>
                    <a:pt x="12728" y="3971"/>
                    <a:pt x="12728" y="2647"/>
                  </a:cubicBezTo>
                  <a:cubicBezTo>
                    <a:pt x="12728" y="2521"/>
                    <a:pt x="12697" y="2427"/>
                    <a:pt x="12602" y="2364"/>
                  </a:cubicBezTo>
                  <a:cubicBezTo>
                    <a:pt x="12539" y="2269"/>
                    <a:pt x="12445" y="2238"/>
                    <a:pt x="12319" y="2238"/>
                  </a:cubicBezTo>
                  <a:lnTo>
                    <a:pt x="9483" y="2238"/>
                  </a:lnTo>
                  <a:lnTo>
                    <a:pt x="7877" y="631"/>
                  </a:lnTo>
                  <a:cubicBezTo>
                    <a:pt x="7499" y="221"/>
                    <a:pt x="6932"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199" name="Google Shape;7199;p74"/>
          <p:cNvGrpSpPr/>
          <p:nvPr/>
        </p:nvGrpSpPr>
        <p:grpSpPr>
          <a:xfrm>
            <a:off x="6506667" y="2677642"/>
            <a:ext cx="423053" cy="479071"/>
            <a:chOff x="-57950750" y="2296300"/>
            <a:chExt cx="279625" cy="316650"/>
          </a:xfrm>
        </p:grpSpPr>
        <p:sp>
          <p:nvSpPr>
            <p:cNvPr id="7200" name="Google Shape;7200;p74"/>
            <p:cNvSpPr/>
            <p:nvPr/>
          </p:nvSpPr>
          <p:spPr>
            <a:xfrm>
              <a:off x="-57847575" y="2528075"/>
              <a:ext cx="73250" cy="29750"/>
            </a:xfrm>
            <a:custGeom>
              <a:avLst/>
              <a:gdLst/>
              <a:ahLst/>
              <a:cxnLst/>
              <a:rect l="l" t="t" r="r" b="b"/>
              <a:pathLst>
                <a:path w="2930" h="1190" extrusionOk="0">
                  <a:moveTo>
                    <a:pt x="414" y="0"/>
                  </a:moveTo>
                  <a:cubicBezTo>
                    <a:pt x="315" y="0"/>
                    <a:pt x="221" y="40"/>
                    <a:pt x="158" y="118"/>
                  </a:cubicBezTo>
                  <a:cubicBezTo>
                    <a:pt x="0" y="276"/>
                    <a:pt x="0" y="528"/>
                    <a:pt x="158" y="654"/>
                  </a:cubicBezTo>
                  <a:cubicBezTo>
                    <a:pt x="536" y="1000"/>
                    <a:pt x="1008" y="1189"/>
                    <a:pt x="1481" y="1189"/>
                  </a:cubicBezTo>
                  <a:cubicBezTo>
                    <a:pt x="1954" y="1189"/>
                    <a:pt x="2458" y="1000"/>
                    <a:pt x="2773" y="654"/>
                  </a:cubicBezTo>
                  <a:cubicBezTo>
                    <a:pt x="2930" y="496"/>
                    <a:pt x="2930" y="244"/>
                    <a:pt x="2773" y="118"/>
                  </a:cubicBezTo>
                  <a:cubicBezTo>
                    <a:pt x="2710" y="40"/>
                    <a:pt x="2623" y="0"/>
                    <a:pt x="2532" y="0"/>
                  </a:cubicBezTo>
                  <a:cubicBezTo>
                    <a:pt x="2442" y="0"/>
                    <a:pt x="2347" y="40"/>
                    <a:pt x="2269" y="118"/>
                  </a:cubicBezTo>
                  <a:cubicBezTo>
                    <a:pt x="2048" y="339"/>
                    <a:pt x="1733" y="433"/>
                    <a:pt x="1481" y="433"/>
                  </a:cubicBezTo>
                  <a:cubicBezTo>
                    <a:pt x="1197" y="433"/>
                    <a:pt x="882" y="339"/>
                    <a:pt x="693" y="118"/>
                  </a:cubicBezTo>
                  <a:cubicBezTo>
                    <a:pt x="615" y="40"/>
                    <a:pt x="512"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1" name="Google Shape;7201;p74"/>
            <p:cNvSpPr/>
            <p:nvPr/>
          </p:nvSpPr>
          <p:spPr>
            <a:xfrm>
              <a:off x="-57857025"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2" name="Google Shape;7202;p74"/>
            <p:cNvSpPr/>
            <p:nvPr/>
          </p:nvSpPr>
          <p:spPr>
            <a:xfrm>
              <a:off x="-57782200" y="24467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36" y="693"/>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3" name="Google Shape;7203;p74"/>
            <p:cNvSpPr/>
            <p:nvPr/>
          </p:nvSpPr>
          <p:spPr>
            <a:xfrm>
              <a:off x="-57950750" y="2296300"/>
              <a:ext cx="279625" cy="316650"/>
            </a:xfrm>
            <a:custGeom>
              <a:avLst/>
              <a:gdLst/>
              <a:ahLst/>
              <a:cxnLst/>
              <a:rect l="l" t="t" r="r" b="b"/>
              <a:pathLst>
                <a:path w="11185" h="12666" extrusionOk="0">
                  <a:moveTo>
                    <a:pt x="5639" y="694"/>
                  </a:moveTo>
                  <a:cubicBezTo>
                    <a:pt x="5955" y="694"/>
                    <a:pt x="6270" y="914"/>
                    <a:pt x="6333" y="1230"/>
                  </a:cubicBezTo>
                  <a:cubicBezTo>
                    <a:pt x="6381" y="1399"/>
                    <a:pt x="6523" y="1513"/>
                    <a:pt x="6701" y="1513"/>
                  </a:cubicBezTo>
                  <a:cubicBezTo>
                    <a:pt x="6754" y="1513"/>
                    <a:pt x="6810" y="1503"/>
                    <a:pt x="6868" y="1482"/>
                  </a:cubicBezTo>
                  <a:cubicBezTo>
                    <a:pt x="6931" y="1450"/>
                    <a:pt x="7057" y="1450"/>
                    <a:pt x="7120" y="1450"/>
                  </a:cubicBezTo>
                  <a:cubicBezTo>
                    <a:pt x="7435" y="1450"/>
                    <a:pt x="7719" y="1639"/>
                    <a:pt x="7845" y="1954"/>
                  </a:cubicBezTo>
                  <a:cubicBezTo>
                    <a:pt x="7876" y="2112"/>
                    <a:pt x="8034" y="2206"/>
                    <a:pt x="8191" y="2206"/>
                  </a:cubicBezTo>
                  <a:cubicBezTo>
                    <a:pt x="8632" y="2206"/>
                    <a:pt x="9010" y="2553"/>
                    <a:pt x="9010" y="3025"/>
                  </a:cubicBezTo>
                  <a:lnTo>
                    <a:pt x="9010" y="3970"/>
                  </a:lnTo>
                  <a:lnTo>
                    <a:pt x="8160" y="3088"/>
                  </a:lnTo>
                  <a:cubicBezTo>
                    <a:pt x="8084" y="3032"/>
                    <a:pt x="7986" y="2986"/>
                    <a:pt x="7885" y="2986"/>
                  </a:cubicBezTo>
                  <a:cubicBezTo>
                    <a:pt x="7818" y="2986"/>
                    <a:pt x="7750" y="3006"/>
                    <a:pt x="7687" y="3057"/>
                  </a:cubicBezTo>
                  <a:cubicBezTo>
                    <a:pt x="7073" y="3466"/>
                    <a:pt x="6364" y="3671"/>
                    <a:pt x="5655" y="3671"/>
                  </a:cubicBezTo>
                  <a:cubicBezTo>
                    <a:pt x="4946" y="3671"/>
                    <a:pt x="4237" y="3466"/>
                    <a:pt x="3623" y="3057"/>
                  </a:cubicBezTo>
                  <a:cubicBezTo>
                    <a:pt x="3560" y="3006"/>
                    <a:pt x="3492" y="2986"/>
                    <a:pt x="3425" y="2986"/>
                  </a:cubicBezTo>
                  <a:cubicBezTo>
                    <a:pt x="3324" y="2986"/>
                    <a:pt x="3226" y="3032"/>
                    <a:pt x="3151" y="3088"/>
                  </a:cubicBezTo>
                  <a:lnTo>
                    <a:pt x="2300" y="3970"/>
                  </a:lnTo>
                  <a:cubicBezTo>
                    <a:pt x="2268" y="3293"/>
                    <a:pt x="2253" y="3191"/>
                    <a:pt x="2245" y="3191"/>
                  </a:cubicBezTo>
                  <a:cubicBezTo>
                    <a:pt x="2241" y="3191"/>
                    <a:pt x="2239" y="3210"/>
                    <a:pt x="2238" y="3210"/>
                  </a:cubicBezTo>
                  <a:cubicBezTo>
                    <a:pt x="2237" y="3210"/>
                    <a:pt x="2237" y="3177"/>
                    <a:pt x="2237" y="3025"/>
                  </a:cubicBezTo>
                  <a:cubicBezTo>
                    <a:pt x="2237" y="2584"/>
                    <a:pt x="2615" y="2206"/>
                    <a:pt x="3088" y="2206"/>
                  </a:cubicBezTo>
                  <a:cubicBezTo>
                    <a:pt x="3245" y="2206"/>
                    <a:pt x="3403" y="2080"/>
                    <a:pt x="3434" y="1954"/>
                  </a:cubicBezTo>
                  <a:cubicBezTo>
                    <a:pt x="3560" y="1639"/>
                    <a:pt x="3812" y="1450"/>
                    <a:pt x="4127" y="1450"/>
                  </a:cubicBezTo>
                  <a:cubicBezTo>
                    <a:pt x="4222" y="1450"/>
                    <a:pt x="4348" y="1450"/>
                    <a:pt x="4411" y="1482"/>
                  </a:cubicBezTo>
                  <a:cubicBezTo>
                    <a:pt x="4449" y="1494"/>
                    <a:pt x="4491" y="1501"/>
                    <a:pt x="4532" y="1501"/>
                  </a:cubicBezTo>
                  <a:cubicBezTo>
                    <a:pt x="4695" y="1501"/>
                    <a:pt x="4865" y="1405"/>
                    <a:pt x="4915" y="1230"/>
                  </a:cubicBezTo>
                  <a:cubicBezTo>
                    <a:pt x="5009" y="914"/>
                    <a:pt x="5324" y="694"/>
                    <a:pt x="5639" y="694"/>
                  </a:cubicBezTo>
                  <a:close/>
                  <a:moveTo>
                    <a:pt x="1512" y="5955"/>
                  </a:moveTo>
                  <a:lnTo>
                    <a:pt x="1512" y="7467"/>
                  </a:lnTo>
                  <a:cubicBezTo>
                    <a:pt x="1071" y="7467"/>
                    <a:pt x="756" y="7152"/>
                    <a:pt x="756" y="6711"/>
                  </a:cubicBezTo>
                  <a:cubicBezTo>
                    <a:pt x="756" y="6333"/>
                    <a:pt x="1103" y="5955"/>
                    <a:pt x="1512" y="5955"/>
                  </a:cubicBezTo>
                  <a:close/>
                  <a:moveTo>
                    <a:pt x="9704" y="5955"/>
                  </a:moveTo>
                  <a:cubicBezTo>
                    <a:pt x="10082" y="5955"/>
                    <a:pt x="10428" y="6302"/>
                    <a:pt x="10428" y="6711"/>
                  </a:cubicBezTo>
                  <a:cubicBezTo>
                    <a:pt x="10428" y="7152"/>
                    <a:pt x="10113" y="7467"/>
                    <a:pt x="9704" y="7467"/>
                  </a:cubicBezTo>
                  <a:lnTo>
                    <a:pt x="9704" y="5955"/>
                  </a:lnTo>
                  <a:close/>
                  <a:moveTo>
                    <a:pt x="7813" y="3813"/>
                  </a:moveTo>
                  <a:lnTo>
                    <a:pt x="8979" y="5042"/>
                  </a:lnTo>
                  <a:lnTo>
                    <a:pt x="8979" y="8224"/>
                  </a:lnTo>
                  <a:lnTo>
                    <a:pt x="7971" y="8224"/>
                  </a:lnTo>
                  <a:cubicBezTo>
                    <a:pt x="7230" y="7767"/>
                    <a:pt x="6411" y="7538"/>
                    <a:pt x="5600" y="7538"/>
                  </a:cubicBezTo>
                  <a:cubicBezTo>
                    <a:pt x="4789" y="7538"/>
                    <a:pt x="3985" y="7767"/>
                    <a:pt x="3277" y="8224"/>
                  </a:cubicBezTo>
                  <a:lnTo>
                    <a:pt x="2237" y="8224"/>
                  </a:lnTo>
                  <a:lnTo>
                    <a:pt x="2237" y="5042"/>
                  </a:lnTo>
                  <a:lnTo>
                    <a:pt x="3434" y="3813"/>
                  </a:lnTo>
                  <a:cubicBezTo>
                    <a:pt x="4096" y="4207"/>
                    <a:pt x="4844" y="4404"/>
                    <a:pt x="5600" y="4404"/>
                  </a:cubicBezTo>
                  <a:cubicBezTo>
                    <a:pt x="6356" y="4404"/>
                    <a:pt x="7120" y="4207"/>
                    <a:pt x="7813" y="3813"/>
                  </a:cubicBezTo>
                  <a:close/>
                  <a:moveTo>
                    <a:pt x="5576" y="8302"/>
                  </a:moveTo>
                  <a:cubicBezTo>
                    <a:pt x="6285" y="8302"/>
                    <a:pt x="6994" y="8507"/>
                    <a:pt x="7593" y="8917"/>
                  </a:cubicBezTo>
                  <a:cubicBezTo>
                    <a:pt x="7687" y="8980"/>
                    <a:pt x="7719" y="8980"/>
                    <a:pt x="7813" y="8980"/>
                  </a:cubicBezTo>
                  <a:lnTo>
                    <a:pt x="8916" y="8980"/>
                  </a:lnTo>
                  <a:cubicBezTo>
                    <a:pt x="8758" y="10649"/>
                    <a:pt x="7341" y="11973"/>
                    <a:pt x="5608" y="11973"/>
                  </a:cubicBezTo>
                  <a:cubicBezTo>
                    <a:pt x="3875" y="11973"/>
                    <a:pt x="2457" y="10649"/>
                    <a:pt x="2237" y="8980"/>
                  </a:cubicBezTo>
                  <a:lnTo>
                    <a:pt x="3340" y="8980"/>
                  </a:lnTo>
                  <a:cubicBezTo>
                    <a:pt x="3434" y="8980"/>
                    <a:pt x="3466" y="8980"/>
                    <a:pt x="3560" y="8917"/>
                  </a:cubicBezTo>
                  <a:cubicBezTo>
                    <a:pt x="4159" y="8507"/>
                    <a:pt x="4868" y="8302"/>
                    <a:pt x="5576" y="8302"/>
                  </a:cubicBezTo>
                  <a:close/>
                  <a:moveTo>
                    <a:pt x="5608" y="1"/>
                  </a:moveTo>
                  <a:cubicBezTo>
                    <a:pt x="5041" y="1"/>
                    <a:pt x="4568" y="316"/>
                    <a:pt x="4285" y="725"/>
                  </a:cubicBezTo>
                  <a:cubicBezTo>
                    <a:pt x="4231" y="720"/>
                    <a:pt x="4178" y="717"/>
                    <a:pt x="4125" y="717"/>
                  </a:cubicBezTo>
                  <a:cubicBezTo>
                    <a:pt x="3560" y="717"/>
                    <a:pt x="3063" y="1020"/>
                    <a:pt x="2804" y="1482"/>
                  </a:cubicBezTo>
                  <a:cubicBezTo>
                    <a:pt x="2048" y="1608"/>
                    <a:pt x="1512" y="2238"/>
                    <a:pt x="1512" y="3025"/>
                  </a:cubicBezTo>
                  <a:lnTo>
                    <a:pt x="1512" y="5231"/>
                  </a:lnTo>
                  <a:cubicBezTo>
                    <a:pt x="662" y="5231"/>
                    <a:pt x="0" y="5892"/>
                    <a:pt x="0" y="6711"/>
                  </a:cubicBezTo>
                  <a:cubicBezTo>
                    <a:pt x="0" y="7562"/>
                    <a:pt x="662" y="8224"/>
                    <a:pt x="1512" y="8224"/>
                  </a:cubicBezTo>
                  <a:lnTo>
                    <a:pt x="1512" y="8570"/>
                  </a:lnTo>
                  <a:cubicBezTo>
                    <a:pt x="1512" y="10807"/>
                    <a:pt x="3340" y="12666"/>
                    <a:pt x="5608" y="12666"/>
                  </a:cubicBezTo>
                  <a:cubicBezTo>
                    <a:pt x="7845" y="12666"/>
                    <a:pt x="9704" y="10807"/>
                    <a:pt x="9704" y="8570"/>
                  </a:cubicBezTo>
                  <a:lnTo>
                    <a:pt x="9704" y="8224"/>
                  </a:lnTo>
                  <a:cubicBezTo>
                    <a:pt x="10523" y="8224"/>
                    <a:pt x="11184" y="7562"/>
                    <a:pt x="11184" y="6711"/>
                  </a:cubicBezTo>
                  <a:cubicBezTo>
                    <a:pt x="11184" y="5892"/>
                    <a:pt x="10523" y="5231"/>
                    <a:pt x="9704" y="5231"/>
                  </a:cubicBezTo>
                  <a:lnTo>
                    <a:pt x="9704" y="3025"/>
                  </a:lnTo>
                  <a:cubicBezTo>
                    <a:pt x="9704" y="2238"/>
                    <a:pt x="9137" y="1608"/>
                    <a:pt x="8380" y="1482"/>
                  </a:cubicBezTo>
                  <a:cubicBezTo>
                    <a:pt x="8150" y="1020"/>
                    <a:pt x="7629" y="717"/>
                    <a:pt x="7060" y="717"/>
                  </a:cubicBezTo>
                  <a:cubicBezTo>
                    <a:pt x="7007" y="717"/>
                    <a:pt x="6953" y="720"/>
                    <a:pt x="6900" y="725"/>
                  </a:cubicBezTo>
                  <a:cubicBezTo>
                    <a:pt x="6616" y="253"/>
                    <a:pt x="6144"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04" name="Google Shape;7204;p74"/>
          <p:cNvGrpSpPr/>
          <p:nvPr/>
        </p:nvGrpSpPr>
        <p:grpSpPr>
          <a:xfrm>
            <a:off x="6477619" y="3279877"/>
            <a:ext cx="481151" cy="480281"/>
            <a:chOff x="-57969675" y="2687750"/>
            <a:chExt cx="318025" cy="317450"/>
          </a:xfrm>
        </p:grpSpPr>
        <p:sp>
          <p:nvSpPr>
            <p:cNvPr id="7205" name="Google Shape;7205;p74"/>
            <p:cNvSpPr/>
            <p:nvPr/>
          </p:nvSpPr>
          <p:spPr>
            <a:xfrm>
              <a:off x="-57856250" y="2856300"/>
              <a:ext cx="18150" cy="17350"/>
            </a:xfrm>
            <a:custGeom>
              <a:avLst/>
              <a:gdLst/>
              <a:ahLst/>
              <a:cxnLst/>
              <a:rect l="l" t="t" r="r" b="b"/>
              <a:pathLst>
                <a:path w="726" h="694" extrusionOk="0">
                  <a:moveTo>
                    <a:pt x="379" y="1"/>
                  </a:moveTo>
                  <a:cubicBezTo>
                    <a:pt x="158" y="1"/>
                    <a:pt x="1" y="158"/>
                    <a:pt x="1" y="347"/>
                  </a:cubicBezTo>
                  <a:cubicBezTo>
                    <a:pt x="1"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6" name="Google Shape;7206;p74"/>
            <p:cNvSpPr/>
            <p:nvPr/>
          </p:nvSpPr>
          <p:spPr>
            <a:xfrm>
              <a:off x="-578460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7" name="Google Shape;7207;p74"/>
            <p:cNvSpPr/>
            <p:nvPr/>
          </p:nvSpPr>
          <p:spPr>
            <a:xfrm>
              <a:off x="-57969675" y="2687750"/>
              <a:ext cx="318025" cy="317450"/>
            </a:xfrm>
            <a:custGeom>
              <a:avLst/>
              <a:gdLst/>
              <a:ahLst/>
              <a:cxnLst/>
              <a:rect l="l" t="t" r="r" b="b"/>
              <a:pathLst>
                <a:path w="12721" h="12698" extrusionOk="0">
                  <a:moveTo>
                    <a:pt x="6365" y="757"/>
                  </a:moveTo>
                  <a:cubicBezTo>
                    <a:pt x="7090" y="757"/>
                    <a:pt x="7783" y="1072"/>
                    <a:pt x="8255" y="1576"/>
                  </a:cubicBezTo>
                  <a:cubicBezTo>
                    <a:pt x="8888" y="2274"/>
                    <a:pt x="9792" y="2670"/>
                    <a:pt x="10717" y="2670"/>
                  </a:cubicBezTo>
                  <a:cubicBezTo>
                    <a:pt x="11128" y="2670"/>
                    <a:pt x="11544" y="2591"/>
                    <a:pt x="11941" y="2427"/>
                  </a:cubicBezTo>
                  <a:lnTo>
                    <a:pt x="11941" y="3183"/>
                  </a:lnTo>
                  <a:lnTo>
                    <a:pt x="11973" y="3183"/>
                  </a:lnTo>
                  <a:cubicBezTo>
                    <a:pt x="11973" y="4348"/>
                    <a:pt x="11028" y="5231"/>
                    <a:pt x="9925" y="5231"/>
                  </a:cubicBezTo>
                  <a:cubicBezTo>
                    <a:pt x="9358" y="5231"/>
                    <a:pt x="9043" y="5041"/>
                    <a:pt x="8192" y="4600"/>
                  </a:cubicBezTo>
                  <a:cubicBezTo>
                    <a:pt x="8066" y="4537"/>
                    <a:pt x="7877" y="4506"/>
                    <a:pt x="7688" y="4506"/>
                  </a:cubicBezTo>
                  <a:lnTo>
                    <a:pt x="5042" y="4506"/>
                  </a:lnTo>
                  <a:cubicBezTo>
                    <a:pt x="4916" y="4506"/>
                    <a:pt x="4695" y="4537"/>
                    <a:pt x="4538" y="4600"/>
                  </a:cubicBezTo>
                  <a:cubicBezTo>
                    <a:pt x="3687" y="5041"/>
                    <a:pt x="3403" y="5231"/>
                    <a:pt x="2805" y="5231"/>
                  </a:cubicBezTo>
                  <a:cubicBezTo>
                    <a:pt x="1671" y="5231"/>
                    <a:pt x="757" y="4348"/>
                    <a:pt x="757" y="3183"/>
                  </a:cubicBezTo>
                  <a:lnTo>
                    <a:pt x="757" y="2490"/>
                  </a:lnTo>
                  <a:cubicBezTo>
                    <a:pt x="1150" y="2639"/>
                    <a:pt x="1556" y="2711"/>
                    <a:pt x="1958" y="2711"/>
                  </a:cubicBezTo>
                  <a:cubicBezTo>
                    <a:pt x="2909" y="2711"/>
                    <a:pt x="3832" y="2307"/>
                    <a:pt x="4475" y="1576"/>
                  </a:cubicBezTo>
                  <a:cubicBezTo>
                    <a:pt x="4947" y="1072"/>
                    <a:pt x="5640" y="757"/>
                    <a:pt x="6365" y="757"/>
                  </a:cubicBezTo>
                  <a:close/>
                  <a:moveTo>
                    <a:pt x="7846" y="6743"/>
                  </a:moveTo>
                  <a:cubicBezTo>
                    <a:pt x="8035" y="6743"/>
                    <a:pt x="8192" y="6900"/>
                    <a:pt x="8192" y="7089"/>
                  </a:cubicBezTo>
                  <a:cubicBezTo>
                    <a:pt x="8192" y="7278"/>
                    <a:pt x="8035" y="7436"/>
                    <a:pt x="7846" y="7436"/>
                  </a:cubicBezTo>
                  <a:cubicBezTo>
                    <a:pt x="7657" y="7436"/>
                    <a:pt x="7499" y="7278"/>
                    <a:pt x="7499" y="7089"/>
                  </a:cubicBezTo>
                  <a:cubicBezTo>
                    <a:pt x="7499" y="6900"/>
                    <a:pt x="7657" y="6743"/>
                    <a:pt x="7846" y="6743"/>
                  </a:cubicBezTo>
                  <a:close/>
                  <a:moveTo>
                    <a:pt x="7720" y="5231"/>
                  </a:moveTo>
                  <a:cubicBezTo>
                    <a:pt x="7783" y="5231"/>
                    <a:pt x="7846" y="5231"/>
                    <a:pt x="7877" y="5294"/>
                  </a:cubicBezTo>
                  <a:cubicBezTo>
                    <a:pt x="8759" y="5703"/>
                    <a:pt x="9074" y="5955"/>
                    <a:pt x="9767" y="5987"/>
                  </a:cubicBezTo>
                  <a:lnTo>
                    <a:pt x="9767" y="7656"/>
                  </a:lnTo>
                  <a:lnTo>
                    <a:pt x="9736" y="7656"/>
                  </a:lnTo>
                  <a:lnTo>
                    <a:pt x="8980" y="7278"/>
                  </a:lnTo>
                  <a:cubicBezTo>
                    <a:pt x="9106" y="6617"/>
                    <a:pt x="8570" y="5987"/>
                    <a:pt x="7877" y="5987"/>
                  </a:cubicBezTo>
                  <a:cubicBezTo>
                    <a:pt x="7562" y="5987"/>
                    <a:pt x="7247" y="6144"/>
                    <a:pt x="7058" y="6333"/>
                  </a:cubicBezTo>
                  <a:lnTo>
                    <a:pt x="4884" y="5294"/>
                  </a:lnTo>
                  <a:lnTo>
                    <a:pt x="4947" y="5294"/>
                  </a:lnTo>
                  <a:cubicBezTo>
                    <a:pt x="4979" y="5231"/>
                    <a:pt x="5042" y="5231"/>
                    <a:pt x="5105" y="5231"/>
                  </a:cubicBezTo>
                  <a:close/>
                  <a:moveTo>
                    <a:pt x="4065" y="5672"/>
                  </a:moveTo>
                  <a:cubicBezTo>
                    <a:pt x="4065" y="5672"/>
                    <a:pt x="4128" y="5672"/>
                    <a:pt x="4128" y="5703"/>
                  </a:cubicBezTo>
                  <a:lnTo>
                    <a:pt x="6806" y="7026"/>
                  </a:lnTo>
                  <a:cubicBezTo>
                    <a:pt x="6743" y="7656"/>
                    <a:pt x="7279" y="8192"/>
                    <a:pt x="7909" y="8192"/>
                  </a:cubicBezTo>
                  <a:cubicBezTo>
                    <a:pt x="8161" y="8192"/>
                    <a:pt x="8444" y="8066"/>
                    <a:pt x="8633" y="7908"/>
                  </a:cubicBezTo>
                  <a:lnTo>
                    <a:pt x="9767" y="8476"/>
                  </a:lnTo>
                  <a:lnTo>
                    <a:pt x="9767" y="8602"/>
                  </a:lnTo>
                  <a:lnTo>
                    <a:pt x="9736" y="8602"/>
                  </a:lnTo>
                  <a:cubicBezTo>
                    <a:pt x="9736" y="10429"/>
                    <a:pt x="8255" y="11973"/>
                    <a:pt x="6396" y="11973"/>
                  </a:cubicBezTo>
                  <a:cubicBezTo>
                    <a:pt x="4538" y="11973"/>
                    <a:pt x="3057" y="10429"/>
                    <a:pt x="3057" y="8602"/>
                  </a:cubicBezTo>
                  <a:lnTo>
                    <a:pt x="3057" y="5955"/>
                  </a:lnTo>
                  <a:cubicBezTo>
                    <a:pt x="3403" y="5924"/>
                    <a:pt x="3750" y="5829"/>
                    <a:pt x="4065" y="5672"/>
                  </a:cubicBezTo>
                  <a:close/>
                  <a:moveTo>
                    <a:pt x="6365" y="1"/>
                  </a:moveTo>
                  <a:cubicBezTo>
                    <a:pt x="5420" y="1"/>
                    <a:pt x="4506" y="410"/>
                    <a:pt x="3908" y="1072"/>
                  </a:cubicBezTo>
                  <a:cubicBezTo>
                    <a:pt x="3408" y="1648"/>
                    <a:pt x="2687" y="1943"/>
                    <a:pt x="1957" y="1943"/>
                  </a:cubicBezTo>
                  <a:cubicBezTo>
                    <a:pt x="1489" y="1943"/>
                    <a:pt x="1018" y="1822"/>
                    <a:pt x="600" y="1576"/>
                  </a:cubicBezTo>
                  <a:lnTo>
                    <a:pt x="568" y="1544"/>
                  </a:lnTo>
                  <a:cubicBezTo>
                    <a:pt x="505" y="1505"/>
                    <a:pt x="438" y="1487"/>
                    <a:pt x="373" y="1487"/>
                  </a:cubicBezTo>
                  <a:cubicBezTo>
                    <a:pt x="178" y="1487"/>
                    <a:pt x="1" y="1647"/>
                    <a:pt x="1" y="1860"/>
                  </a:cubicBezTo>
                  <a:lnTo>
                    <a:pt x="1" y="3151"/>
                  </a:lnTo>
                  <a:cubicBezTo>
                    <a:pt x="1" y="4506"/>
                    <a:pt x="1009" y="5640"/>
                    <a:pt x="2269" y="5861"/>
                  </a:cubicBezTo>
                  <a:lnTo>
                    <a:pt x="2269" y="8539"/>
                  </a:lnTo>
                  <a:cubicBezTo>
                    <a:pt x="2269" y="10838"/>
                    <a:pt x="4097" y="12697"/>
                    <a:pt x="6365" y="12697"/>
                  </a:cubicBezTo>
                  <a:cubicBezTo>
                    <a:pt x="8602" y="12697"/>
                    <a:pt x="10461" y="10838"/>
                    <a:pt x="10461" y="8539"/>
                  </a:cubicBezTo>
                  <a:lnTo>
                    <a:pt x="10461" y="5861"/>
                  </a:lnTo>
                  <a:cubicBezTo>
                    <a:pt x="11752" y="5640"/>
                    <a:pt x="12697" y="4506"/>
                    <a:pt x="12697" y="3151"/>
                  </a:cubicBezTo>
                  <a:lnTo>
                    <a:pt x="12697" y="1860"/>
                  </a:lnTo>
                  <a:cubicBezTo>
                    <a:pt x="12721" y="1647"/>
                    <a:pt x="12550" y="1487"/>
                    <a:pt x="12370" y="1487"/>
                  </a:cubicBezTo>
                  <a:cubicBezTo>
                    <a:pt x="12310" y="1487"/>
                    <a:pt x="12249" y="1505"/>
                    <a:pt x="12193" y="1544"/>
                  </a:cubicBezTo>
                  <a:lnTo>
                    <a:pt x="12130" y="1576"/>
                  </a:lnTo>
                  <a:cubicBezTo>
                    <a:pt x="11721" y="1824"/>
                    <a:pt x="11253" y="1945"/>
                    <a:pt x="10785" y="1945"/>
                  </a:cubicBezTo>
                  <a:cubicBezTo>
                    <a:pt x="10063" y="1945"/>
                    <a:pt x="9338" y="1657"/>
                    <a:pt x="8822" y="1103"/>
                  </a:cubicBezTo>
                  <a:cubicBezTo>
                    <a:pt x="8192" y="442"/>
                    <a:pt x="7342" y="1"/>
                    <a:pt x="63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08" name="Google Shape;7208;p74"/>
            <p:cNvSpPr/>
            <p:nvPr/>
          </p:nvSpPr>
          <p:spPr>
            <a:xfrm>
              <a:off x="-57838125" y="2724975"/>
              <a:ext cx="56725" cy="55550"/>
            </a:xfrm>
            <a:custGeom>
              <a:avLst/>
              <a:gdLst/>
              <a:ahLst/>
              <a:cxnLst/>
              <a:rect l="l" t="t" r="r" b="b"/>
              <a:pathLst>
                <a:path w="2269" h="2222" extrusionOk="0">
                  <a:moveTo>
                    <a:pt x="386" y="0"/>
                  </a:moveTo>
                  <a:cubicBezTo>
                    <a:pt x="292" y="0"/>
                    <a:pt x="205" y="40"/>
                    <a:pt x="158" y="118"/>
                  </a:cubicBezTo>
                  <a:cubicBezTo>
                    <a:pt x="0" y="276"/>
                    <a:pt x="0" y="528"/>
                    <a:pt x="158" y="654"/>
                  </a:cubicBezTo>
                  <a:lnTo>
                    <a:pt x="630" y="1127"/>
                  </a:lnTo>
                  <a:lnTo>
                    <a:pt x="158" y="1599"/>
                  </a:lnTo>
                  <a:cubicBezTo>
                    <a:pt x="0" y="1757"/>
                    <a:pt x="0" y="1977"/>
                    <a:pt x="158" y="2103"/>
                  </a:cubicBezTo>
                  <a:cubicBezTo>
                    <a:pt x="237" y="2182"/>
                    <a:pt x="331" y="2221"/>
                    <a:pt x="422" y="2221"/>
                  </a:cubicBezTo>
                  <a:cubicBezTo>
                    <a:pt x="512" y="2221"/>
                    <a:pt x="599" y="2182"/>
                    <a:pt x="662" y="2103"/>
                  </a:cubicBezTo>
                  <a:lnTo>
                    <a:pt x="1134" y="1631"/>
                  </a:lnTo>
                  <a:lnTo>
                    <a:pt x="1607" y="2103"/>
                  </a:lnTo>
                  <a:cubicBezTo>
                    <a:pt x="1686" y="2182"/>
                    <a:pt x="1780" y="2221"/>
                    <a:pt x="1871" y="2221"/>
                  </a:cubicBezTo>
                  <a:cubicBezTo>
                    <a:pt x="1961" y="2221"/>
                    <a:pt x="2048" y="2182"/>
                    <a:pt x="2111" y="2103"/>
                  </a:cubicBezTo>
                  <a:cubicBezTo>
                    <a:pt x="2269" y="1946"/>
                    <a:pt x="2269" y="1694"/>
                    <a:pt x="2111" y="1599"/>
                  </a:cubicBezTo>
                  <a:lnTo>
                    <a:pt x="1639" y="1127"/>
                  </a:lnTo>
                  <a:lnTo>
                    <a:pt x="2111" y="654"/>
                  </a:lnTo>
                  <a:cubicBezTo>
                    <a:pt x="2269" y="497"/>
                    <a:pt x="2269" y="244"/>
                    <a:pt x="2111" y="118"/>
                  </a:cubicBezTo>
                  <a:cubicBezTo>
                    <a:pt x="2032" y="40"/>
                    <a:pt x="1938" y="0"/>
                    <a:pt x="1847" y="0"/>
                  </a:cubicBezTo>
                  <a:cubicBezTo>
                    <a:pt x="1757" y="0"/>
                    <a:pt x="1670" y="40"/>
                    <a:pt x="1607" y="118"/>
                  </a:cubicBezTo>
                  <a:lnTo>
                    <a:pt x="1134" y="591"/>
                  </a:lnTo>
                  <a:lnTo>
                    <a:pt x="662" y="118"/>
                  </a:lnTo>
                  <a:cubicBezTo>
                    <a:pt x="583" y="40"/>
                    <a:pt x="481"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09" name="Google Shape;7209;p74"/>
          <p:cNvGrpSpPr/>
          <p:nvPr/>
        </p:nvGrpSpPr>
        <p:grpSpPr>
          <a:xfrm>
            <a:off x="9423197" y="2043032"/>
            <a:ext cx="485047" cy="481453"/>
            <a:chOff x="-56012425" y="1903275"/>
            <a:chExt cx="320600" cy="318225"/>
          </a:xfrm>
        </p:grpSpPr>
        <p:sp>
          <p:nvSpPr>
            <p:cNvPr id="7210" name="Google Shape;7210;p74"/>
            <p:cNvSpPr/>
            <p:nvPr/>
          </p:nvSpPr>
          <p:spPr>
            <a:xfrm>
              <a:off x="-55897425" y="2015125"/>
              <a:ext cx="17350" cy="18150"/>
            </a:xfrm>
            <a:custGeom>
              <a:avLst/>
              <a:gdLst/>
              <a:ahLst/>
              <a:cxnLst/>
              <a:rect l="l" t="t" r="r" b="b"/>
              <a:pathLst>
                <a:path w="694" h="726" extrusionOk="0">
                  <a:moveTo>
                    <a:pt x="347" y="1"/>
                  </a:moveTo>
                  <a:cubicBezTo>
                    <a:pt x="158" y="1"/>
                    <a:pt x="1" y="158"/>
                    <a:pt x="1" y="379"/>
                  </a:cubicBezTo>
                  <a:cubicBezTo>
                    <a:pt x="1"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1" name="Google Shape;7211;p74"/>
            <p:cNvSpPr/>
            <p:nvPr/>
          </p:nvSpPr>
          <p:spPr>
            <a:xfrm>
              <a:off x="-56012425" y="1903275"/>
              <a:ext cx="320600" cy="318225"/>
            </a:xfrm>
            <a:custGeom>
              <a:avLst/>
              <a:gdLst/>
              <a:ahLst/>
              <a:cxnLst/>
              <a:rect l="l" t="t" r="r" b="b"/>
              <a:pathLst>
                <a:path w="12824" h="12729" extrusionOk="0">
                  <a:moveTo>
                    <a:pt x="5262" y="946"/>
                  </a:moveTo>
                  <a:lnTo>
                    <a:pt x="5262" y="946"/>
                  </a:lnTo>
                  <a:cubicBezTo>
                    <a:pt x="5010" y="1923"/>
                    <a:pt x="4254" y="2679"/>
                    <a:pt x="3277" y="2899"/>
                  </a:cubicBezTo>
                  <a:cubicBezTo>
                    <a:pt x="3592" y="2017"/>
                    <a:pt x="4348" y="1293"/>
                    <a:pt x="5262" y="946"/>
                  </a:cubicBezTo>
                  <a:close/>
                  <a:moveTo>
                    <a:pt x="2301" y="5231"/>
                  </a:moveTo>
                  <a:lnTo>
                    <a:pt x="2301" y="6333"/>
                  </a:lnTo>
                  <a:lnTo>
                    <a:pt x="2301" y="6680"/>
                  </a:lnTo>
                  <a:cubicBezTo>
                    <a:pt x="1891" y="6680"/>
                    <a:pt x="1545" y="6365"/>
                    <a:pt x="1545" y="5955"/>
                  </a:cubicBezTo>
                  <a:cubicBezTo>
                    <a:pt x="1545" y="5514"/>
                    <a:pt x="1891" y="5231"/>
                    <a:pt x="2301" y="5231"/>
                  </a:cubicBezTo>
                  <a:close/>
                  <a:moveTo>
                    <a:pt x="10555" y="5231"/>
                  </a:moveTo>
                  <a:cubicBezTo>
                    <a:pt x="10965" y="5231"/>
                    <a:pt x="11311" y="5546"/>
                    <a:pt x="11311" y="5987"/>
                  </a:cubicBezTo>
                  <a:cubicBezTo>
                    <a:pt x="11311" y="6365"/>
                    <a:pt x="10965" y="6743"/>
                    <a:pt x="10555" y="6743"/>
                  </a:cubicBezTo>
                  <a:lnTo>
                    <a:pt x="10555" y="5231"/>
                  </a:lnTo>
                  <a:close/>
                  <a:moveTo>
                    <a:pt x="1103" y="6837"/>
                  </a:moveTo>
                  <a:cubicBezTo>
                    <a:pt x="1387" y="7216"/>
                    <a:pt x="1828" y="7436"/>
                    <a:pt x="2301" y="7436"/>
                  </a:cubicBezTo>
                  <a:cubicBezTo>
                    <a:pt x="2301" y="7877"/>
                    <a:pt x="1986" y="8192"/>
                    <a:pt x="1545" y="8192"/>
                  </a:cubicBezTo>
                  <a:cubicBezTo>
                    <a:pt x="1166" y="8192"/>
                    <a:pt x="788" y="7877"/>
                    <a:pt x="788" y="7436"/>
                  </a:cubicBezTo>
                  <a:cubicBezTo>
                    <a:pt x="788" y="7216"/>
                    <a:pt x="914" y="6963"/>
                    <a:pt x="1103" y="6837"/>
                  </a:cubicBezTo>
                  <a:close/>
                  <a:moveTo>
                    <a:pt x="11752" y="6837"/>
                  </a:moveTo>
                  <a:cubicBezTo>
                    <a:pt x="11941" y="6995"/>
                    <a:pt x="12067" y="7216"/>
                    <a:pt x="12067" y="7436"/>
                  </a:cubicBezTo>
                  <a:cubicBezTo>
                    <a:pt x="12067" y="7877"/>
                    <a:pt x="11721" y="8192"/>
                    <a:pt x="11311" y="8192"/>
                  </a:cubicBezTo>
                  <a:cubicBezTo>
                    <a:pt x="10933" y="8192"/>
                    <a:pt x="10555" y="7877"/>
                    <a:pt x="10555" y="7436"/>
                  </a:cubicBezTo>
                  <a:cubicBezTo>
                    <a:pt x="11028" y="7436"/>
                    <a:pt x="11469" y="7216"/>
                    <a:pt x="11752" y="6837"/>
                  </a:cubicBezTo>
                  <a:close/>
                  <a:moveTo>
                    <a:pt x="5325" y="2490"/>
                  </a:moveTo>
                  <a:lnTo>
                    <a:pt x="5325" y="2647"/>
                  </a:lnTo>
                  <a:cubicBezTo>
                    <a:pt x="5325" y="3529"/>
                    <a:pt x="5955" y="4286"/>
                    <a:pt x="6837" y="4443"/>
                  </a:cubicBezTo>
                  <a:lnTo>
                    <a:pt x="6837" y="7405"/>
                  </a:lnTo>
                  <a:cubicBezTo>
                    <a:pt x="6711" y="7436"/>
                    <a:pt x="6585" y="7468"/>
                    <a:pt x="6491" y="7468"/>
                  </a:cubicBezTo>
                  <a:cubicBezTo>
                    <a:pt x="6176" y="7468"/>
                    <a:pt x="5892" y="7373"/>
                    <a:pt x="5703" y="7153"/>
                  </a:cubicBezTo>
                  <a:cubicBezTo>
                    <a:pt x="5624" y="7074"/>
                    <a:pt x="5522" y="7034"/>
                    <a:pt x="5424" y="7034"/>
                  </a:cubicBezTo>
                  <a:cubicBezTo>
                    <a:pt x="5325" y="7034"/>
                    <a:pt x="5231" y="7074"/>
                    <a:pt x="5168" y="7153"/>
                  </a:cubicBezTo>
                  <a:cubicBezTo>
                    <a:pt x="5010" y="7310"/>
                    <a:pt x="5010" y="7562"/>
                    <a:pt x="5168" y="7688"/>
                  </a:cubicBezTo>
                  <a:cubicBezTo>
                    <a:pt x="5514" y="8035"/>
                    <a:pt x="6018" y="8224"/>
                    <a:pt x="6491" y="8224"/>
                  </a:cubicBezTo>
                  <a:cubicBezTo>
                    <a:pt x="6585" y="8224"/>
                    <a:pt x="6711" y="8224"/>
                    <a:pt x="6837" y="8192"/>
                  </a:cubicBezTo>
                  <a:lnTo>
                    <a:pt x="6837" y="9326"/>
                  </a:lnTo>
                  <a:lnTo>
                    <a:pt x="6837" y="9673"/>
                  </a:lnTo>
                  <a:cubicBezTo>
                    <a:pt x="6711" y="9673"/>
                    <a:pt x="6554" y="9736"/>
                    <a:pt x="6428" y="9736"/>
                  </a:cubicBezTo>
                  <a:cubicBezTo>
                    <a:pt x="4569" y="9673"/>
                    <a:pt x="3057" y="8192"/>
                    <a:pt x="3057" y="6333"/>
                  </a:cubicBezTo>
                  <a:cubicBezTo>
                    <a:pt x="3057" y="3908"/>
                    <a:pt x="3057" y="3971"/>
                    <a:pt x="3088" y="3687"/>
                  </a:cubicBezTo>
                  <a:cubicBezTo>
                    <a:pt x="3939" y="3592"/>
                    <a:pt x="4790" y="3151"/>
                    <a:pt x="5325" y="2490"/>
                  </a:cubicBezTo>
                  <a:close/>
                  <a:moveTo>
                    <a:pt x="6459" y="694"/>
                  </a:moveTo>
                  <a:cubicBezTo>
                    <a:pt x="8287" y="757"/>
                    <a:pt x="9830" y="2238"/>
                    <a:pt x="9830" y="4097"/>
                  </a:cubicBezTo>
                  <a:lnTo>
                    <a:pt x="9830" y="11941"/>
                  </a:lnTo>
                  <a:cubicBezTo>
                    <a:pt x="8570" y="11721"/>
                    <a:pt x="7562" y="10618"/>
                    <a:pt x="7562" y="9295"/>
                  </a:cubicBezTo>
                  <a:lnTo>
                    <a:pt x="7562" y="4065"/>
                  </a:lnTo>
                  <a:cubicBezTo>
                    <a:pt x="7562" y="3845"/>
                    <a:pt x="7404" y="3687"/>
                    <a:pt x="7215" y="3687"/>
                  </a:cubicBezTo>
                  <a:cubicBezTo>
                    <a:pt x="6585" y="3687"/>
                    <a:pt x="6113" y="3183"/>
                    <a:pt x="6113" y="2584"/>
                  </a:cubicBezTo>
                  <a:lnTo>
                    <a:pt x="6113" y="757"/>
                  </a:lnTo>
                  <a:cubicBezTo>
                    <a:pt x="6239" y="757"/>
                    <a:pt x="6365" y="694"/>
                    <a:pt x="6459" y="694"/>
                  </a:cubicBezTo>
                  <a:close/>
                  <a:moveTo>
                    <a:pt x="3057" y="8665"/>
                  </a:moveTo>
                  <a:cubicBezTo>
                    <a:pt x="3781" y="9704"/>
                    <a:pt x="5010" y="10429"/>
                    <a:pt x="6428" y="10429"/>
                  </a:cubicBezTo>
                  <a:cubicBezTo>
                    <a:pt x="6617" y="10429"/>
                    <a:pt x="6774" y="10429"/>
                    <a:pt x="6995" y="10398"/>
                  </a:cubicBezTo>
                  <a:cubicBezTo>
                    <a:pt x="7184" y="11028"/>
                    <a:pt x="7562" y="11563"/>
                    <a:pt x="8098" y="11973"/>
                  </a:cubicBezTo>
                  <a:lnTo>
                    <a:pt x="3057" y="11973"/>
                  </a:lnTo>
                  <a:lnTo>
                    <a:pt x="3057" y="8665"/>
                  </a:lnTo>
                  <a:close/>
                  <a:moveTo>
                    <a:pt x="6396" y="1"/>
                  </a:moveTo>
                  <a:cubicBezTo>
                    <a:pt x="4096" y="1"/>
                    <a:pt x="2269" y="1860"/>
                    <a:pt x="2269" y="4097"/>
                  </a:cubicBezTo>
                  <a:lnTo>
                    <a:pt x="2269" y="4443"/>
                  </a:lnTo>
                  <a:cubicBezTo>
                    <a:pt x="1356" y="4443"/>
                    <a:pt x="631" y="5231"/>
                    <a:pt x="757" y="6144"/>
                  </a:cubicBezTo>
                  <a:cubicBezTo>
                    <a:pt x="284" y="6428"/>
                    <a:pt x="1" y="6900"/>
                    <a:pt x="1" y="7436"/>
                  </a:cubicBezTo>
                  <a:cubicBezTo>
                    <a:pt x="1" y="8255"/>
                    <a:pt x="694" y="8948"/>
                    <a:pt x="1513" y="8948"/>
                  </a:cubicBezTo>
                  <a:cubicBezTo>
                    <a:pt x="1797" y="8948"/>
                    <a:pt x="2017" y="8854"/>
                    <a:pt x="2269" y="8728"/>
                  </a:cubicBezTo>
                  <a:lnTo>
                    <a:pt x="2269" y="12351"/>
                  </a:lnTo>
                  <a:cubicBezTo>
                    <a:pt x="2269" y="12571"/>
                    <a:pt x="2427" y="12729"/>
                    <a:pt x="2616" y="12729"/>
                  </a:cubicBezTo>
                  <a:lnTo>
                    <a:pt x="10145" y="12729"/>
                  </a:lnTo>
                  <a:cubicBezTo>
                    <a:pt x="10334" y="12729"/>
                    <a:pt x="10492" y="12571"/>
                    <a:pt x="10492" y="12351"/>
                  </a:cubicBezTo>
                  <a:lnTo>
                    <a:pt x="10492" y="8728"/>
                  </a:lnTo>
                  <a:cubicBezTo>
                    <a:pt x="10712" y="8854"/>
                    <a:pt x="10965" y="8948"/>
                    <a:pt x="11248" y="8948"/>
                  </a:cubicBezTo>
                  <a:cubicBezTo>
                    <a:pt x="12067" y="8948"/>
                    <a:pt x="12729" y="8255"/>
                    <a:pt x="12729" y="7436"/>
                  </a:cubicBezTo>
                  <a:cubicBezTo>
                    <a:pt x="12823" y="6932"/>
                    <a:pt x="12508" y="6428"/>
                    <a:pt x="12036" y="6144"/>
                  </a:cubicBezTo>
                  <a:cubicBezTo>
                    <a:pt x="12130" y="5231"/>
                    <a:pt x="11437" y="4443"/>
                    <a:pt x="10523" y="4443"/>
                  </a:cubicBezTo>
                  <a:lnTo>
                    <a:pt x="10523" y="4097"/>
                  </a:lnTo>
                  <a:cubicBezTo>
                    <a:pt x="10523" y="1860"/>
                    <a:pt x="8665"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12" name="Google Shape;7212;p74"/>
          <p:cNvGrpSpPr/>
          <p:nvPr/>
        </p:nvGrpSpPr>
        <p:grpSpPr>
          <a:xfrm>
            <a:off x="9424387" y="2675257"/>
            <a:ext cx="482664" cy="482664"/>
            <a:chOff x="-56010850" y="2294725"/>
            <a:chExt cx="319025" cy="319025"/>
          </a:xfrm>
        </p:grpSpPr>
        <p:sp>
          <p:nvSpPr>
            <p:cNvPr id="7213" name="Google Shape;7213;p74"/>
            <p:cNvSpPr/>
            <p:nvPr/>
          </p:nvSpPr>
          <p:spPr>
            <a:xfrm>
              <a:off x="-55906875" y="2527275"/>
              <a:ext cx="73275" cy="29750"/>
            </a:xfrm>
            <a:custGeom>
              <a:avLst/>
              <a:gdLst/>
              <a:ahLst/>
              <a:cxnLst/>
              <a:rect l="l" t="t" r="r" b="b"/>
              <a:pathLst>
                <a:path w="2931" h="1190" extrusionOk="0">
                  <a:moveTo>
                    <a:pt x="398" y="1"/>
                  </a:moveTo>
                  <a:cubicBezTo>
                    <a:pt x="308" y="1"/>
                    <a:pt x="221" y="40"/>
                    <a:pt x="158" y="119"/>
                  </a:cubicBezTo>
                  <a:cubicBezTo>
                    <a:pt x="0" y="276"/>
                    <a:pt x="0" y="528"/>
                    <a:pt x="158" y="623"/>
                  </a:cubicBezTo>
                  <a:cubicBezTo>
                    <a:pt x="505" y="1001"/>
                    <a:pt x="977" y="1190"/>
                    <a:pt x="1450" y="1190"/>
                  </a:cubicBezTo>
                  <a:cubicBezTo>
                    <a:pt x="1922" y="1190"/>
                    <a:pt x="2458" y="1001"/>
                    <a:pt x="2773" y="623"/>
                  </a:cubicBezTo>
                  <a:cubicBezTo>
                    <a:pt x="2930" y="465"/>
                    <a:pt x="2930" y="245"/>
                    <a:pt x="2773" y="119"/>
                  </a:cubicBezTo>
                  <a:cubicBezTo>
                    <a:pt x="2694" y="40"/>
                    <a:pt x="2592" y="1"/>
                    <a:pt x="2493" y="1"/>
                  </a:cubicBezTo>
                  <a:cubicBezTo>
                    <a:pt x="2395" y="1"/>
                    <a:pt x="2300" y="40"/>
                    <a:pt x="2237" y="119"/>
                  </a:cubicBezTo>
                  <a:cubicBezTo>
                    <a:pt x="2048" y="308"/>
                    <a:pt x="1733" y="434"/>
                    <a:pt x="1450" y="434"/>
                  </a:cubicBezTo>
                  <a:cubicBezTo>
                    <a:pt x="1135" y="434"/>
                    <a:pt x="883"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4" name="Google Shape;7214;p74"/>
            <p:cNvSpPr/>
            <p:nvPr/>
          </p:nvSpPr>
          <p:spPr>
            <a:xfrm>
              <a:off x="-5591632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5" name="Google Shape;7215;p74"/>
            <p:cNvSpPr/>
            <p:nvPr/>
          </p:nvSpPr>
          <p:spPr>
            <a:xfrm>
              <a:off x="-55842300"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6" name="Google Shape;7216;p74"/>
            <p:cNvSpPr/>
            <p:nvPr/>
          </p:nvSpPr>
          <p:spPr>
            <a:xfrm>
              <a:off x="-56010850" y="2294725"/>
              <a:ext cx="319025" cy="319025"/>
            </a:xfrm>
            <a:custGeom>
              <a:avLst/>
              <a:gdLst/>
              <a:ahLst/>
              <a:cxnLst/>
              <a:rect l="l" t="t" r="r" b="b"/>
              <a:pathLst>
                <a:path w="12761" h="12761" extrusionOk="0">
                  <a:moveTo>
                    <a:pt x="6333" y="4506"/>
                  </a:moveTo>
                  <a:cubicBezTo>
                    <a:pt x="6522" y="4506"/>
                    <a:pt x="6680" y="4664"/>
                    <a:pt x="6680" y="4853"/>
                  </a:cubicBezTo>
                  <a:lnTo>
                    <a:pt x="6680" y="5199"/>
                  </a:lnTo>
                  <a:lnTo>
                    <a:pt x="4475" y="5199"/>
                  </a:lnTo>
                  <a:lnTo>
                    <a:pt x="4475" y="4853"/>
                  </a:lnTo>
                  <a:cubicBezTo>
                    <a:pt x="4475" y="4664"/>
                    <a:pt x="4632" y="4506"/>
                    <a:pt x="4821" y="4506"/>
                  </a:cubicBezTo>
                  <a:close/>
                  <a:moveTo>
                    <a:pt x="5577" y="757"/>
                  </a:moveTo>
                  <a:cubicBezTo>
                    <a:pt x="7814" y="757"/>
                    <a:pt x="9673" y="2616"/>
                    <a:pt x="9673" y="4853"/>
                  </a:cubicBezTo>
                  <a:lnTo>
                    <a:pt x="9673" y="5199"/>
                  </a:lnTo>
                  <a:lnTo>
                    <a:pt x="7436" y="5199"/>
                  </a:lnTo>
                  <a:lnTo>
                    <a:pt x="7436" y="4853"/>
                  </a:lnTo>
                  <a:cubicBezTo>
                    <a:pt x="7436" y="4222"/>
                    <a:pt x="6932" y="3750"/>
                    <a:pt x="6333" y="3750"/>
                  </a:cubicBezTo>
                  <a:lnTo>
                    <a:pt x="4821" y="3750"/>
                  </a:lnTo>
                  <a:cubicBezTo>
                    <a:pt x="4191" y="3750"/>
                    <a:pt x="3718" y="4254"/>
                    <a:pt x="3718" y="4853"/>
                  </a:cubicBezTo>
                  <a:lnTo>
                    <a:pt x="3718" y="5199"/>
                  </a:lnTo>
                  <a:lnTo>
                    <a:pt x="1482" y="5199"/>
                  </a:lnTo>
                  <a:lnTo>
                    <a:pt x="1482" y="4853"/>
                  </a:lnTo>
                  <a:cubicBezTo>
                    <a:pt x="1482" y="2616"/>
                    <a:pt x="3340" y="757"/>
                    <a:pt x="5577" y="757"/>
                  </a:cubicBezTo>
                  <a:close/>
                  <a:moveTo>
                    <a:pt x="1482" y="5955"/>
                  </a:moveTo>
                  <a:lnTo>
                    <a:pt x="1482" y="7467"/>
                  </a:lnTo>
                  <a:cubicBezTo>
                    <a:pt x="1103" y="7467"/>
                    <a:pt x="725" y="7152"/>
                    <a:pt x="725" y="6711"/>
                  </a:cubicBezTo>
                  <a:cubicBezTo>
                    <a:pt x="725" y="6302"/>
                    <a:pt x="1103" y="5955"/>
                    <a:pt x="1482" y="5955"/>
                  </a:cubicBezTo>
                  <a:close/>
                  <a:moveTo>
                    <a:pt x="9704" y="5955"/>
                  </a:moveTo>
                  <a:cubicBezTo>
                    <a:pt x="10114" y="5955"/>
                    <a:pt x="10460" y="6302"/>
                    <a:pt x="10460" y="6711"/>
                  </a:cubicBezTo>
                  <a:cubicBezTo>
                    <a:pt x="10460" y="7089"/>
                    <a:pt x="10145" y="7467"/>
                    <a:pt x="9704" y="7467"/>
                  </a:cubicBezTo>
                  <a:lnTo>
                    <a:pt x="9704" y="5955"/>
                  </a:lnTo>
                  <a:close/>
                  <a:moveTo>
                    <a:pt x="9011" y="5955"/>
                  </a:moveTo>
                  <a:cubicBezTo>
                    <a:pt x="8980" y="6270"/>
                    <a:pt x="8980" y="8318"/>
                    <a:pt x="8980" y="8633"/>
                  </a:cubicBezTo>
                  <a:cubicBezTo>
                    <a:pt x="8980" y="10492"/>
                    <a:pt x="7467" y="11973"/>
                    <a:pt x="5609" y="11973"/>
                  </a:cubicBezTo>
                  <a:cubicBezTo>
                    <a:pt x="3781" y="11973"/>
                    <a:pt x="2269" y="10492"/>
                    <a:pt x="2269" y="8633"/>
                  </a:cubicBezTo>
                  <a:lnTo>
                    <a:pt x="2269" y="5955"/>
                  </a:lnTo>
                  <a:close/>
                  <a:moveTo>
                    <a:pt x="5577" y="1"/>
                  </a:moveTo>
                  <a:cubicBezTo>
                    <a:pt x="2899" y="1"/>
                    <a:pt x="725" y="2175"/>
                    <a:pt x="725" y="4853"/>
                  </a:cubicBezTo>
                  <a:lnTo>
                    <a:pt x="725" y="5451"/>
                  </a:lnTo>
                  <a:cubicBezTo>
                    <a:pt x="316" y="5703"/>
                    <a:pt x="1" y="6207"/>
                    <a:pt x="1" y="6743"/>
                  </a:cubicBezTo>
                  <a:cubicBezTo>
                    <a:pt x="1" y="7562"/>
                    <a:pt x="662" y="8255"/>
                    <a:pt x="1482" y="8255"/>
                  </a:cubicBezTo>
                  <a:lnTo>
                    <a:pt x="1482" y="8665"/>
                  </a:lnTo>
                  <a:cubicBezTo>
                    <a:pt x="1482" y="10933"/>
                    <a:pt x="3340" y="12760"/>
                    <a:pt x="5577" y="12760"/>
                  </a:cubicBezTo>
                  <a:cubicBezTo>
                    <a:pt x="7814" y="12760"/>
                    <a:pt x="9673" y="10933"/>
                    <a:pt x="9673" y="8665"/>
                  </a:cubicBezTo>
                  <a:lnTo>
                    <a:pt x="9673" y="8255"/>
                  </a:lnTo>
                  <a:cubicBezTo>
                    <a:pt x="10492" y="8255"/>
                    <a:pt x="11185" y="7562"/>
                    <a:pt x="11185" y="6743"/>
                  </a:cubicBezTo>
                  <a:cubicBezTo>
                    <a:pt x="11185" y="6459"/>
                    <a:pt x="11091" y="6239"/>
                    <a:pt x="10965" y="5987"/>
                  </a:cubicBezTo>
                  <a:lnTo>
                    <a:pt x="12351" y="5987"/>
                  </a:lnTo>
                  <a:cubicBezTo>
                    <a:pt x="12540" y="5987"/>
                    <a:pt x="12697" y="5829"/>
                    <a:pt x="12697" y="5640"/>
                  </a:cubicBezTo>
                  <a:cubicBezTo>
                    <a:pt x="12760" y="5420"/>
                    <a:pt x="12540" y="5199"/>
                    <a:pt x="12351" y="5199"/>
                  </a:cubicBezTo>
                  <a:lnTo>
                    <a:pt x="10429" y="5199"/>
                  </a:lnTo>
                  <a:lnTo>
                    <a:pt x="10429" y="4853"/>
                  </a:lnTo>
                  <a:cubicBezTo>
                    <a:pt x="10429" y="2175"/>
                    <a:pt x="825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17" name="Google Shape;7217;p74"/>
          <p:cNvGrpSpPr/>
          <p:nvPr/>
        </p:nvGrpSpPr>
        <p:grpSpPr>
          <a:xfrm>
            <a:off x="9424408" y="3278703"/>
            <a:ext cx="482625" cy="481453"/>
            <a:chOff x="-56010050" y="2686975"/>
            <a:chExt cx="319000" cy="318225"/>
          </a:xfrm>
        </p:grpSpPr>
        <p:sp>
          <p:nvSpPr>
            <p:cNvPr id="7218" name="Google Shape;7218;p74"/>
            <p:cNvSpPr/>
            <p:nvPr/>
          </p:nvSpPr>
          <p:spPr>
            <a:xfrm>
              <a:off x="-55887975" y="2917925"/>
              <a:ext cx="72475" cy="29775"/>
            </a:xfrm>
            <a:custGeom>
              <a:avLst/>
              <a:gdLst/>
              <a:ahLst/>
              <a:cxnLst/>
              <a:rect l="l" t="t" r="r" b="b"/>
              <a:pathLst>
                <a:path w="2899" h="1191" extrusionOk="0">
                  <a:moveTo>
                    <a:pt x="398" y="1"/>
                  </a:moveTo>
                  <a:cubicBezTo>
                    <a:pt x="308" y="1"/>
                    <a:pt x="221" y="40"/>
                    <a:pt x="158" y="119"/>
                  </a:cubicBezTo>
                  <a:cubicBezTo>
                    <a:pt x="1" y="277"/>
                    <a:pt x="1" y="529"/>
                    <a:pt x="158" y="655"/>
                  </a:cubicBezTo>
                  <a:cubicBezTo>
                    <a:pt x="505" y="1001"/>
                    <a:pt x="977" y="1190"/>
                    <a:pt x="1450" y="1190"/>
                  </a:cubicBezTo>
                  <a:cubicBezTo>
                    <a:pt x="1922" y="1190"/>
                    <a:pt x="2426" y="1001"/>
                    <a:pt x="2742" y="655"/>
                  </a:cubicBezTo>
                  <a:cubicBezTo>
                    <a:pt x="2899" y="497"/>
                    <a:pt x="2899" y="245"/>
                    <a:pt x="2742" y="119"/>
                  </a:cubicBezTo>
                  <a:cubicBezTo>
                    <a:pt x="2694" y="72"/>
                    <a:pt x="2608" y="48"/>
                    <a:pt x="2513" y="48"/>
                  </a:cubicBezTo>
                  <a:cubicBezTo>
                    <a:pt x="2419" y="48"/>
                    <a:pt x="2316" y="72"/>
                    <a:pt x="2237" y="119"/>
                  </a:cubicBezTo>
                  <a:cubicBezTo>
                    <a:pt x="2048" y="340"/>
                    <a:pt x="1733" y="434"/>
                    <a:pt x="1450" y="434"/>
                  </a:cubicBezTo>
                  <a:cubicBezTo>
                    <a:pt x="1135" y="434"/>
                    <a:pt x="851" y="340"/>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19" name="Google Shape;7219;p74"/>
            <p:cNvSpPr/>
            <p:nvPr/>
          </p:nvSpPr>
          <p:spPr>
            <a:xfrm>
              <a:off x="-5589742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0" name="Google Shape;7220;p74"/>
            <p:cNvSpPr/>
            <p:nvPr/>
          </p:nvSpPr>
          <p:spPr>
            <a:xfrm>
              <a:off x="-55822600" y="2854725"/>
              <a:ext cx="17350" cy="18150"/>
            </a:xfrm>
            <a:custGeom>
              <a:avLst/>
              <a:gdLst/>
              <a:ahLst/>
              <a:cxnLst/>
              <a:rect l="l" t="t" r="r" b="b"/>
              <a:pathLst>
                <a:path w="694" h="726" extrusionOk="0">
                  <a:moveTo>
                    <a:pt x="347" y="1"/>
                  </a:moveTo>
                  <a:cubicBezTo>
                    <a:pt x="158" y="1"/>
                    <a:pt x="0" y="190"/>
                    <a:pt x="0" y="379"/>
                  </a:cubicBezTo>
                  <a:cubicBezTo>
                    <a:pt x="0"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1" name="Google Shape;7221;p74"/>
            <p:cNvSpPr/>
            <p:nvPr/>
          </p:nvSpPr>
          <p:spPr>
            <a:xfrm>
              <a:off x="-56010050" y="2686975"/>
              <a:ext cx="319000" cy="318225"/>
            </a:xfrm>
            <a:custGeom>
              <a:avLst/>
              <a:gdLst/>
              <a:ahLst/>
              <a:cxnLst/>
              <a:rect l="l" t="t" r="r" b="b"/>
              <a:pathLst>
                <a:path w="12760" h="12729" extrusionOk="0">
                  <a:moveTo>
                    <a:pt x="2962" y="756"/>
                  </a:moveTo>
                  <a:cubicBezTo>
                    <a:pt x="3686" y="756"/>
                    <a:pt x="4285" y="1260"/>
                    <a:pt x="4443" y="1954"/>
                  </a:cubicBezTo>
                  <a:cubicBezTo>
                    <a:pt x="4096" y="2174"/>
                    <a:pt x="3749" y="2395"/>
                    <a:pt x="3434" y="2710"/>
                  </a:cubicBezTo>
                  <a:cubicBezTo>
                    <a:pt x="3119" y="3025"/>
                    <a:pt x="2867" y="3340"/>
                    <a:pt x="2678" y="3686"/>
                  </a:cubicBezTo>
                  <a:cubicBezTo>
                    <a:pt x="1954" y="3592"/>
                    <a:pt x="1450" y="2962"/>
                    <a:pt x="1450" y="2237"/>
                  </a:cubicBezTo>
                  <a:cubicBezTo>
                    <a:pt x="1450" y="1418"/>
                    <a:pt x="2111" y="756"/>
                    <a:pt x="2962" y="756"/>
                  </a:cubicBezTo>
                  <a:close/>
                  <a:moveTo>
                    <a:pt x="9735" y="756"/>
                  </a:moveTo>
                  <a:cubicBezTo>
                    <a:pt x="10554" y="756"/>
                    <a:pt x="11216" y="1418"/>
                    <a:pt x="11216" y="2237"/>
                  </a:cubicBezTo>
                  <a:cubicBezTo>
                    <a:pt x="11216" y="2993"/>
                    <a:pt x="10712" y="3592"/>
                    <a:pt x="9987" y="3686"/>
                  </a:cubicBezTo>
                  <a:cubicBezTo>
                    <a:pt x="9798" y="3340"/>
                    <a:pt x="9578" y="2993"/>
                    <a:pt x="9263" y="2710"/>
                  </a:cubicBezTo>
                  <a:cubicBezTo>
                    <a:pt x="8948" y="2395"/>
                    <a:pt x="8570" y="2174"/>
                    <a:pt x="8223" y="1954"/>
                  </a:cubicBezTo>
                  <a:cubicBezTo>
                    <a:pt x="8381" y="1260"/>
                    <a:pt x="8979" y="756"/>
                    <a:pt x="9735" y="756"/>
                  </a:cubicBezTo>
                  <a:close/>
                  <a:moveTo>
                    <a:pt x="5986" y="2237"/>
                  </a:moveTo>
                  <a:lnTo>
                    <a:pt x="5986" y="2584"/>
                  </a:lnTo>
                  <a:cubicBezTo>
                    <a:pt x="5986" y="4064"/>
                    <a:pt x="4789" y="5230"/>
                    <a:pt x="3340" y="5230"/>
                  </a:cubicBezTo>
                  <a:lnTo>
                    <a:pt x="2993" y="5230"/>
                  </a:lnTo>
                  <a:cubicBezTo>
                    <a:pt x="3151" y="3655"/>
                    <a:pt x="4411" y="2395"/>
                    <a:pt x="5986" y="2237"/>
                  </a:cubicBezTo>
                  <a:close/>
                  <a:moveTo>
                    <a:pt x="6742" y="2237"/>
                  </a:moveTo>
                  <a:cubicBezTo>
                    <a:pt x="8318" y="2395"/>
                    <a:pt x="9578" y="3655"/>
                    <a:pt x="9735" y="5230"/>
                  </a:cubicBezTo>
                  <a:lnTo>
                    <a:pt x="9357" y="5230"/>
                  </a:lnTo>
                  <a:cubicBezTo>
                    <a:pt x="7908" y="5230"/>
                    <a:pt x="6742" y="4064"/>
                    <a:pt x="6742" y="2584"/>
                  </a:cubicBezTo>
                  <a:lnTo>
                    <a:pt x="6742" y="2237"/>
                  </a:lnTo>
                  <a:close/>
                  <a:moveTo>
                    <a:pt x="2206" y="5986"/>
                  </a:moveTo>
                  <a:lnTo>
                    <a:pt x="2206" y="7467"/>
                  </a:lnTo>
                  <a:cubicBezTo>
                    <a:pt x="1796" y="7467"/>
                    <a:pt x="1450" y="7152"/>
                    <a:pt x="1450" y="6742"/>
                  </a:cubicBezTo>
                  <a:cubicBezTo>
                    <a:pt x="1450" y="6301"/>
                    <a:pt x="1796" y="5986"/>
                    <a:pt x="2206" y="5986"/>
                  </a:cubicBezTo>
                  <a:close/>
                  <a:moveTo>
                    <a:pt x="10460" y="5986"/>
                  </a:moveTo>
                  <a:cubicBezTo>
                    <a:pt x="10870" y="5986"/>
                    <a:pt x="11216" y="6301"/>
                    <a:pt x="11216" y="6742"/>
                  </a:cubicBezTo>
                  <a:cubicBezTo>
                    <a:pt x="11216" y="7120"/>
                    <a:pt x="10870" y="7467"/>
                    <a:pt x="10460" y="7467"/>
                  </a:cubicBezTo>
                  <a:lnTo>
                    <a:pt x="10460" y="5986"/>
                  </a:lnTo>
                  <a:close/>
                  <a:moveTo>
                    <a:pt x="1008" y="7624"/>
                  </a:moveTo>
                  <a:cubicBezTo>
                    <a:pt x="1292" y="8002"/>
                    <a:pt x="1733" y="8223"/>
                    <a:pt x="2206" y="8223"/>
                  </a:cubicBezTo>
                  <a:cubicBezTo>
                    <a:pt x="2206" y="8633"/>
                    <a:pt x="1891" y="8979"/>
                    <a:pt x="1450" y="8979"/>
                  </a:cubicBezTo>
                  <a:cubicBezTo>
                    <a:pt x="1071" y="8979"/>
                    <a:pt x="693" y="8664"/>
                    <a:pt x="693" y="8223"/>
                  </a:cubicBezTo>
                  <a:cubicBezTo>
                    <a:pt x="693" y="8002"/>
                    <a:pt x="819" y="7750"/>
                    <a:pt x="1008" y="7624"/>
                  </a:cubicBezTo>
                  <a:close/>
                  <a:moveTo>
                    <a:pt x="11657" y="7624"/>
                  </a:moveTo>
                  <a:cubicBezTo>
                    <a:pt x="11846" y="7782"/>
                    <a:pt x="11972" y="8002"/>
                    <a:pt x="11972" y="8223"/>
                  </a:cubicBezTo>
                  <a:cubicBezTo>
                    <a:pt x="11972" y="8633"/>
                    <a:pt x="11626" y="8979"/>
                    <a:pt x="11216" y="8979"/>
                  </a:cubicBezTo>
                  <a:cubicBezTo>
                    <a:pt x="10838" y="8979"/>
                    <a:pt x="10460" y="8664"/>
                    <a:pt x="10460" y="8223"/>
                  </a:cubicBezTo>
                  <a:cubicBezTo>
                    <a:pt x="10933" y="8223"/>
                    <a:pt x="11374" y="8002"/>
                    <a:pt x="11657" y="7624"/>
                  </a:cubicBezTo>
                  <a:close/>
                  <a:moveTo>
                    <a:pt x="6333" y="4127"/>
                  </a:moveTo>
                  <a:cubicBezTo>
                    <a:pt x="6490" y="4442"/>
                    <a:pt x="6679" y="4726"/>
                    <a:pt x="6963" y="5009"/>
                  </a:cubicBezTo>
                  <a:cubicBezTo>
                    <a:pt x="7593" y="5640"/>
                    <a:pt x="8475" y="5986"/>
                    <a:pt x="9357" y="5986"/>
                  </a:cubicBezTo>
                  <a:lnTo>
                    <a:pt x="9735" y="5986"/>
                  </a:lnTo>
                  <a:lnTo>
                    <a:pt x="9735" y="8570"/>
                  </a:lnTo>
                  <a:cubicBezTo>
                    <a:pt x="9735" y="10428"/>
                    <a:pt x="8192" y="11972"/>
                    <a:pt x="6333" y="11972"/>
                  </a:cubicBezTo>
                  <a:cubicBezTo>
                    <a:pt x="4474" y="11972"/>
                    <a:pt x="2962" y="10428"/>
                    <a:pt x="2962" y="8570"/>
                  </a:cubicBezTo>
                  <a:lnTo>
                    <a:pt x="2962" y="5986"/>
                  </a:lnTo>
                  <a:lnTo>
                    <a:pt x="3308" y="5986"/>
                  </a:lnTo>
                  <a:cubicBezTo>
                    <a:pt x="4222" y="5986"/>
                    <a:pt x="5041" y="5640"/>
                    <a:pt x="5703" y="5009"/>
                  </a:cubicBezTo>
                  <a:cubicBezTo>
                    <a:pt x="5955" y="4757"/>
                    <a:pt x="6175" y="4442"/>
                    <a:pt x="6333" y="4127"/>
                  </a:cubicBezTo>
                  <a:close/>
                  <a:moveTo>
                    <a:pt x="2962" y="0"/>
                  </a:moveTo>
                  <a:cubicBezTo>
                    <a:pt x="1733" y="0"/>
                    <a:pt x="693" y="977"/>
                    <a:pt x="693" y="2237"/>
                  </a:cubicBezTo>
                  <a:cubicBezTo>
                    <a:pt x="693" y="3277"/>
                    <a:pt x="1418" y="4159"/>
                    <a:pt x="2395" y="4411"/>
                  </a:cubicBezTo>
                  <a:cubicBezTo>
                    <a:pt x="2332" y="4694"/>
                    <a:pt x="2237" y="4946"/>
                    <a:pt x="2237" y="5230"/>
                  </a:cubicBezTo>
                  <a:cubicBezTo>
                    <a:pt x="1355" y="5230"/>
                    <a:pt x="630" y="6018"/>
                    <a:pt x="756" y="6931"/>
                  </a:cubicBezTo>
                  <a:cubicBezTo>
                    <a:pt x="284" y="7215"/>
                    <a:pt x="0" y="7687"/>
                    <a:pt x="0" y="8223"/>
                  </a:cubicBezTo>
                  <a:cubicBezTo>
                    <a:pt x="0" y="9042"/>
                    <a:pt x="662" y="9735"/>
                    <a:pt x="1513" y="9735"/>
                  </a:cubicBezTo>
                  <a:cubicBezTo>
                    <a:pt x="1828" y="9735"/>
                    <a:pt x="2080" y="9641"/>
                    <a:pt x="2332" y="9452"/>
                  </a:cubicBezTo>
                  <a:cubicBezTo>
                    <a:pt x="2710" y="11310"/>
                    <a:pt x="4379" y="12728"/>
                    <a:pt x="6396" y="12728"/>
                  </a:cubicBezTo>
                  <a:cubicBezTo>
                    <a:pt x="8381" y="12728"/>
                    <a:pt x="10050" y="11310"/>
                    <a:pt x="10428" y="9452"/>
                  </a:cubicBezTo>
                  <a:cubicBezTo>
                    <a:pt x="10680" y="9609"/>
                    <a:pt x="10964" y="9735"/>
                    <a:pt x="11279" y="9735"/>
                  </a:cubicBezTo>
                  <a:cubicBezTo>
                    <a:pt x="12098" y="9735"/>
                    <a:pt x="12760" y="9042"/>
                    <a:pt x="12760" y="8223"/>
                  </a:cubicBezTo>
                  <a:cubicBezTo>
                    <a:pt x="12728" y="7687"/>
                    <a:pt x="12413" y="7152"/>
                    <a:pt x="11941" y="6931"/>
                  </a:cubicBezTo>
                  <a:cubicBezTo>
                    <a:pt x="12035" y="6018"/>
                    <a:pt x="11342" y="5230"/>
                    <a:pt x="10428" y="5230"/>
                  </a:cubicBezTo>
                  <a:cubicBezTo>
                    <a:pt x="10397" y="4946"/>
                    <a:pt x="10365" y="4694"/>
                    <a:pt x="10271" y="4411"/>
                  </a:cubicBezTo>
                  <a:cubicBezTo>
                    <a:pt x="11248" y="4159"/>
                    <a:pt x="11972" y="3277"/>
                    <a:pt x="11972" y="2237"/>
                  </a:cubicBezTo>
                  <a:cubicBezTo>
                    <a:pt x="11972" y="1008"/>
                    <a:pt x="10996" y="0"/>
                    <a:pt x="9735" y="0"/>
                  </a:cubicBezTo>
                  <a:cubicBezTo>
                    <a:pt x="8664" y="0"/>
                    <a:pt x="7814" y="693"/>
                    <a:pt x="7530" y="1638"/>
                  </a:cubicBezTo>
                  <a:cubicBezTo>
                    <a:pt x="7120" y="1544"/>
                    <a:pt x="6742" y="1481"/>
                    <a:pt x="6333" y="1481"/>
                  </a:cubicBezTo>
                  <a:cubicBezTo>
                    <a:pt x="5955" y="1481"/>
                    <a:pt x="5514" y="1575"/>
                    <a:pt x="5167" y="1638"/>
                  </a:cubicBezTo>
                  <a:cubicBezTo>
                    <a:pt x="4915" y="693"/>
                    <a:pt x="4033" y="0"/>
                    <a:pt x="29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22" name="Google Shape;7222;p74"/>
          <p:cNvGrpSpPr/>
          <p:nvPr/>
        </p:nvGrpSpPr>
        <p:grpSpPr>
          <a:xfrm>
            <a:off x="7671735" y="3882582"/>
            <a:ext cx="482664" cy="481453"/>
            <a:chOff x="-54081175" y="1903275"/>
            <a:chExt cx="319025" cy="318225"/>
          </a:xfrm>
        </p:grpSpPr>
        <p:sp>
          <p:nvSpPr>
            <p:cNvPr id="7223" name="Google Shape;7223;p74"/>
            <p:cNvSpPr/>
            <p:nvPr/>
          </p:nvSpPr>
          <p:spPr>
            <a:xfrm>
              <a:off x="-53959075" y="2135825"/>
              <a:ext cx="72475" cy="28975"/>
            </a:xfrm>
            <a:custGeom>
              <a:avLst/>
              <a:gdLst/>
              <a:ahLst/>
              <a:cxnLst/>
              <a:rect l="l" t="t" r="r" b="b"/>
              <a:pathLst>
                <a:path w="2899" h="1159" extrusionOk="0">
                  <a:moveTo>
                    <a:pt x="386" y="1"/>
                  </a:moveTo>
                  <a:cubicBezTo>
                    <a:pt x="292" y="1"/>
                    <a:pt x="205"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4" name="Google Shape;7224;p74"/>
            <p:cNvSpPr/>
            <p:nvPr/>
          </p:nvSpPr>
          <p:spPr>
            <a:xfrm>
              <a:off x="-54081175" y="1903275"/>
              <a:ext cx="319025" cy="318225"/>
            </a:xfrm>
            <a:custGeom>
              <a:avLst/>
              <a:gdLst/>
              <a:ahLst/>
              <a:cxnLst/>
              <a:rect l="l" t="t" r="r" b="b"/>
              <a:pathLst>
                <a:path w="12761" h="12729" extrusionOk="0">
                  <a:moveTo>
                    <a:pt x="6365" y="757"/>
                  </a:moveTo>
                  <a:cubicBezTo>
                    <a:pt x="7594" y="757"/>
                    <a:pt x="8728" y="1324"/>
                    <a:pt x="9515" y="2238"/>
                  </a:cubicBezTo>
                  <a:lnTo>
                    <a:pt x="8570" y="2238"/>
                  </a:lnTo>
                  <a:cubicBezTo>
                    <a:pt x="7436" y="2238"/>
                    <a:pt x="6396" y="1702"/>
                    <a:pt x="5829" y="789"/>
                  </a:cubicBezTo>
                  <a:cubicBezTo>
                    <a:pt x="5987" y="757"/>
                    <a:pt x="6176" y="757"/>
                    <a:pt x="6365" y="757"/>
                  </a:cubicBezTo>
                  <a:close/>
                  <a:moveTo>
                    <a:pt x="5042" y="946"/>
                  </a:moveTo>
                  <a:cubicBezTo>
                    <a:pt x="5357" y="1482"/>
                    <a:pt x="5829" y="1954"/>
                    <a:pt x="6365" y="2332"/>
                  </a:cubicBezTo>
                  <a:cubicBezTo>
                    <a:pt x="7027" y="2742"/>
                    <a:pt x="7783" y="2962"/>
                    <a:pt x="8570" y="2962"/>
                  </a:cubicBezTo>
                  <a:lnTo>
                    <a:pt x="9988" y="2962"/>
                  </a:lnTo>
                  <a:cubicBezTo>
                    <a:pt x="10272" y="3498"/>
                    <a:pt x="10461" y="4160"/>
                    <a:pt x="10461" y="4853"/>
                  </a:cubicBezTo>
                  <a:lnTo>
                    <a:pt x="10461" y="5199"/>
                  </a:lnTo>
                  <a:lnTo>
                    <a:pt x="10429" y="5199"/>
                  </a:lnTo>
                  <a:cubicBezTo>
                    <a:pt x="10272" y="4380"/>
                    <a:pt x="9484" y="3687"/>
                    <a:pt x="8570" y="3687"/>
                  </a:cubicBezTo>
                  <a:cubicBezTo>
                    <a:pt x="7657" y="3687"/>
                    <a:pt x="6932" y="4317"/>
                    <a:pt x="6775" y="5199"/>
                  </a:cubicBezTo>
                  <a:lnTo>
                    <a:pt x="5924" y="5199"/>
                  </a:lnTo>
                  <a:cubicBezTo>
                    <a:pt x="5766" y="4317"/>
                    <a:pt x="4979" y="3687"/>
                    <a:pt x="4128" y="3687"/>
                  </a:cubicBezTo>
                  <a:cubicBezTo>
                    <a:pt x="3214" y="3687"/>
                    <a:pt x="2427" y="4380"/>
                    <a:pt x="2269" y="5199"/>
                  </a:cubicBezTo>
                  <a:lnTo>
                    <a:pt x="2238" y="5199"/>
                  </a:lnTo>
                  <a:lnTo>
                    <a:pt x="2238" y="4853"/>
                  </a:lnTo>
                  <a:cubicBezTo>
                    <a:pt x="2206" y="3025"/>
                    <a:pt x="3372" y="1482"/>
                    <a:pt x="5042" y="946"/>
                  </a:cubicBezTo>
                  <a:close/>
                  <a:moveTo>
                    <a:pt x="1450" y="5231"/>
                  </a:moveTo>
                  <a:lnTo>
                    <a:pt x="1450" y="6711"/>
                  </a:lnTo>
                  <a:cubicBezTo>
                    <a:pt x="1431" y="6713"/>
                    <a:pt x="1413" y="6714"/>
                    <a:pt x="1394" y="6714"/>
                  </a:cubicBezTo>
                  <a:cubicBezTo>
                    <a:pt x="1009" y="6714"/>
                    <a:pt x="694" y="6408"/>
                    <a:pt x="694" y="5987"/>
                  </a:cubicBezTo>
                  <a:cubicBezTo>
                    <a:pt x="694" y="5577"/>
                    <a:pt x="1009" y="5231"/>
                    <a:pt x="1450" y="5231"/>
                  </a:cubicBezTo>
                  <a:close/>
                  <a:moveTo>
                    <a:pt x="4097" y="4538"/>
                  </a:moveTo>
                  <a:cubicBezTo>
                    <a:pt x="4727" y="4538"/>
                    <a:pt x="5199" y="5042"/>
                    <a:pt x="5199" y="5640"/>
                  </a:cubicBezTo>
                  <a:cubicBezTo>
                    <a:pt x="5199" y="6270"/>
                    <a:pt x="4664" y="6743"/>
                    <a:pt x="4097" y="6743"/>
                  </a:cubicBezTo>
                  <a:cubicBezTo>
                    <a:pt x="3467" y="6743"/>
                    <a:pt x="2931" y="6207"/>
                    <a:pt x="2931" y="5640"/>
                  </a:cubicBezTo>
                  <a:cubicBezTo>
                    <a:pt x="2931" y="5042"/>
                    <a:pt x="3467" y="4538"/>
                    <a:pt x="4097" y="4538"/>
                  </a:cubicBezTo>
                  <a:close/>
                  <a:moveTo>
                    <a:pt x="8539" y="4538"/>
                  </a:moveTo>
                  <a:cubicBezTo>
                    <a:pt x="9169" y="4538"/>
                    <a:pt x="9673" y="5042"/>
                    <a:pt x="9673" y="5640"/>
                  </a:cubicBezTo>
                  <a:cubicBezTo>
                    <a:pt x="9673" y="6207"/>
                    <a:pt x="9169" y="6743"/>
                    <a:pt x="8539" y="6743"/>
                  </a:cubicBezTo>
                  <a:cubicBezTo>
                    <a:pt x="7940" y="6743"/>
                    <a:pt x="7436" y="6207"/>
                    <a:pt x="7436" y="5640"/>
                  </a:cubicBezTo>
                  <a:cubicBezTo>
                    <a:pt x="7436" y="5010"/>
                    <a:pt x="7940" y="4538"/>
                    <a:pt x="8539" y="4538"/>
                  </a:cubicBezTo>
                  <a:close/>
                  <a:moveTo>
                    <a:pt x="11217" y="5231"/>
                  </a:moveTo>
                  <a:cubicBezTo>
                    <a:pt x="11595" y="5231"/>
                    <a:pt x="11973" y="5577"/>
                    <a:pt x="11973" y="5987"/>
                  </a:cubicBezTo>
                  <a:cubicBezTo>
                    <a:pt x="11973" y="6428"/>
                    <a:pt x="11595" y="6743"/>
                    <a:pt x="11217" y="6743"/>
                  </a:cubicBezTo>
                  <a:lnTo>
                    <a:pt x="11217" y="5231"/>
                  </a:lnTo>
                  <a:close/>
                  <a:moveTo>
                    <a:pt x="10461" y="5987"/>
                  </a:moveTo>
                  <a:lnTo>
                    <a:pt x="10461" y="7877"/>
                  </a:lnTo>
                  <a:lnTo>
                    <a:pt x="10461" y="8224"/>
                  </a:lnTo>
                  <a:lnTo>
                    <a:pt x="8696" y="8224"/>
                  </a:lnTo>
                  <a:cubicBezTo>
                    <a:pt x="7972" y="7767"/>
                    <a:pt x="7153" y="7538"/>
                    <a:pt x="6337" y="7538"/>
                  </a:cubicBezTo>
                  <a:cubicBezTo>
                    <a:pt x="5522" y="7538"/>
                    <a:pt x="4711" y="7767"/>
                    <a:pt x="4002" y="8224"/>
                  </a:cubicBezTo>
                  <a:lnTo>
                    <a:pt x="2238" y="8224"/>
                  </a:lnTo>
                  <a:lnTo>
                    <a:pt x="2238" y="7877"/>
                  </a:lnTo>
                  <a:lnTo>
                    <a:pt x="2238" y="5987"/>
                  </a:lnTo>
                  <a:lnTo>
                    <a:pt x="2269" y="5987"/>
                  </a:lnTo>
                  <a:cubicBezTo>
                    <a:pt x="2427" y="6806"/>
                    <a:pt x="3214" y="7468"/>
                    <a:pt x="4128" y="7468"/>
                  </a:cubicBezTo>
                  <a:cubicBezTo>
                    <a:pt x="5042" y="7468"/>
                    <a:pt x="5766" y="6837"/>
                    <a:pt x="5955" y="5987"/>
                  </a:cubicBezTo>
                  <a:lnTo>
                    <a:pt x="6775" y="5987"/>
                  </a:lnTo>
                  <a:cubicBezTo>
                    <a:pt x="6932" y="6837"/>
                    <a:pt x="7720" y="7468"/>
                    <a:pt x="8570" y="7468"/>
                  </a:cubicBezTo>
                  <a:cubicBezTo>
                    <a:pt x="9106" y="7468"/>
                    <a:pt x="9578" y="7279"/>
                    <a:pt x="9925" y="6932"/>
                  </a:cubicBezTo>
                  <a:cubicBezTo>
                    <a:pt x="10209" y="6648"/>
                    <a:pt x="10366" y="6333"/>
                    <a:pt x="10429" y="5987"/>
                  </a:cubicBezTo>
                  <a:close/>
                  <a:moveTo>
                    <a:pt x="6318" y="8271"/>
                  </a:moveTo>
                  <a:cubicBezTo>
                    <a:pt x="7027" y="8271"/>
                    <a:pt x="7735" y="8476"/>
                    <a:pt x="8350" y="8885"/>
                  </a:cubicBezTo>
                  <a:cubicBezTo>
                    <a:pt x="8413" y="8948"/>
                    <a:pt x="8444" y="8980"/>
                    <a:pt x="8539" y="8980"/>
                  </a:cubicBezTo>
                  <a:lnTo>
                    <a:pt x="10272" y="8980"/>
                  </a:lnTo>
                  <a:cubicBezTo>
                    <a:pt x="9799" y="10713"/>
                    <a:pt x="8224" y="11973"/>
                    <a:pt x="6333" y="11973"/>
                  </a:cubicBezTo>
                  <a:cubicBezTo>
                    <a:pt x="4443" y="11973"/>
                    <a:pt x="2868" y="10713"/>
                    <a:pt x="2364" y="8980"/>
                  </a:cubicBezTo>
                  <a:lnTo>
                    <a:pt x="4097" y="8980"/>
                  </a:lnTo>
                  <a:cubicBezTo>
                    <a:pt x="4160" y="8980"/>
                    <a:pt x="4254" y="8948"/>
                    <a:pt x="4286" y="8885"/>
                  </a:cubicBezTo>
                  <a:cubicBezTo>
                    <a:pt x="4900" y="8476"/>
                    <a:pt x="5609" y="8271"/>
                    <a:pt x="6318" y="8271"/>
                  </a:cubicBezTo>
                  <a:close/>
                  <a:moveTo>
                    <a:pt x="6333" y="1"/>
                  </a:moveTo>
                  <a:cubicBezTo>
                    <a:pt x="3782" y="1"/>
                    <a:pt x="1639" y="1986"/>
                    <a:pt x="1482" y="4475"/>
                  </a:cubicBezTo>
                  <a:cubicBezTo>
                    <a:pt x="663" y="4475"/>
                    <a:pt x="1" y="5168"/>
                    <a:pt x="1" y="5987"/>
                  </a:cubicBezTo>
                  <a:cubicBezTo>
                    <a:pt x="1" y="6806"/>
                    <a:pt x="663" y="7468"/>
                    <a:pt x="1482" y="7468"/>
                  </a:cubicBezTo>
                  <a:lnTo>
                    <a:pt x="1482" y="7877"/>
                  </a:lnTo>
                  <a:cubicBezTo>
                    <a:pt x="1482" y="10555"/>
                    <a:pt x="3656" y="12729"/>
                    <a:pt x="6365" y="12729"/>
                  </a:cubicBezTo>
                  <a:cubicBezTo>
                    <a:pt x="9043" y="12729"/>
                    <a:pt x="11248" y="10555"/>
                    <a:pt x="11248" y="7877"/>
                  </a:cubicBezTo>
                  <a:lnTo>
                    <a:pt x="11248" y="7468"/>
                  </a:lnTo>
                  <a:cubicBezTo>
                    <a:pt x="12067" y="7468"/>
                    <a:pt x="12760" y="6806"/>
                    <a:pt x="12760" y="5987"/>
                  </a:cubicBezTo>
                  <a:cubicBezTo>
                    <a:pt x="12697" y="5168"/>
                    <a:pt x="12036" y="4475"/>
                    <a:pt x="11217" y="4475"/>
                  </a:cubicBezTo>
                  <a:cubicBezTo>
                    <a:pt x="11028" y="1954"/>
                    <a:pt x="8885"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25" name="Google Shape;7225;p74"/>
          <p:cNvGrpSpPr/>
          <p:nvPr/>
        </p:nvGrpSpPr>
        <p:grpSpPr>
          <a:xfrm>
            <a:off x="7701539" y="4487200"/>
            <a:ext cx="423053" cy="480281"/>
            <a:chOff x="-54063050" y="2296300"/>
            <a:chExt cx="279625" cy="317450"/>
          </a:xfrm>
        </p:grpSpPr>
        <p:sp>
          <p:nvSpPr>
            <p:cNvPr id="7226" name="Google Shape;7226;p74"/>
            <p:cNvSpPr/>
            <p:nvPr/>
          </p:nvSpPr>
          <p:spPr>
            <a:xfrm>
              <a:off x="-53959075" y="2527275"/>
              <a:ext cx="72475" cy="29750"/>
            </a:xfrm>
            <a:custGeom>
              <a:avLst/>
              <a:gdLst/>
              <a:ahLst/>
              <a:cxnLst/>
              <a:rect l="l" t="t" r="r" b="b"/>
              <a:pathLst>
                <a:path w="2899" h="1190" extrusionOk="0">
                  <a:moveTo>
                    <a:pt x="386" y="1"/>
                  </a:moveTo>
                  <a:cubicBezTo>
                    <a:pt x="292" y="1"/>
                    <a:pt x="205" y="40"/>
                    <a:pt x="158" y="119"/>
                  </a:cubicBezTo>
                  <a:cubicBezTo>
                    <a:pt x="0" y="276"/>
                    <a:pt x="0" y="528"/>
                    <a:pt x="158" y="623"/>
                  </a:cubicBezTo>
                  <a:cubicBezTo>
                    <a:pt x="504" y="1001"/>
                    <a:pt x="977" y="1190"/>
                    <a:pt x="1449" y="1190"/>
                  </a:cubicBezTo>
                  <a:cubicBezTo>
                    <a:pt x="1922" y="1190"/>
                    <a:pt x="2426" y="1001"/>
                    <a:pt x="2741" y="623"/>
                  </a:cubicBezTo>
                  <a:cubicBezTo>
                    <a:pt x="2899" y="465"/>
                    <a:pt x="2899" y="245"/>
                    <a:pt x="2741" y="119"/>
                  </a:cubicBezTo>
                  <a:cubicBezTo>
                    <a:pt x="2678" y="40"/>
                    <a:pt x="2592"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7" name="Google Shape;7227;p74"/>
            <p:cNvSpPr/>
            <p:nvPr/>
          </p:nvSpPr>
          <p:spPr>
            <a:xfrm>
              <a:off x="-53969325" y="2482975"/>
              <a:ext cx="18150" cy="17350"/>
            </a:xfrm>
            <a:custGeom>
              <a:avLst/>
              <a:gdLst/>
              <a:ahLst/>
              <a:cxnLst/>
              <a:rect l="l" t="t" r="r" b="b"/>
              <a:pathLst>
                <a:path w="726" h="694" extrusionOk="0">
                  <a:moveTo>
                    <a:pt x="347" y="0"/>
                  </a:moveTo>
                  <a:cubicBezTo>
                    <a:pt x="158" y="0"/>
                    <a:pt x="1" y="158"/>
                    <a:pt x="1" y="347"/>
                  </a:cubicBezTo>
                  <a:cubicBezTo>
                    <a:pt x="1" y="536"/>
                    <a:pt x="158" y="694"/>
                    <a:pt x="347" y="694"/>
                  </a:cubicBezTo>
                  <a:cubicBezTo>
                    <a:pt x="568" y="694"/>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8" name="Google Shape;7228;p74"/>
            <p:cNvSpPr/>
            <p:nvPr/>
          </p:nvSpPr>
          <p:spPr>
            <a:xfrm>
              <a:off x="-53894500" y="2482975"/>
              <a:ext cx="18125" cy="17350"/>
            </a:xfrm>
            <a:custGeom>
              <a:avLst/>
              <a:gdLst/>
              <a:ahLst/>
              <a:cxnLst/>
              <a:rect l="l" t="t" r="r" b="b"/>
              <a:pathLst>
                <a:path w="725" h="694" extrusionOk="0">
                  <a:moveTo>
                    <a:pt x="379" y="0"/>
                  </a:moveTo>
                  <a:cubicBezTo>
                    <a:pt x="158" y="0"/>
                    <a:pt x="1" y="158"/>
                    <a:pt x="1" y="347"/>
                  </a:cubicBezTo>
                  <a:cubicBezTo>
                    <a:pt x="1" y="536"/>
                    <a:pt x="158"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29" name="Google Shape;7229;p74"/>
            <p:cNvSpPr/>
            <p:nvPr/>
          </p:nvSpPr>
          <p:spPr>
            <a:xfrm>
              <a:off x="-54063050" y="2296300"/>
              <a:ext cx="279625" cy="317450"/>
            </a:xfrm>
            <a:custGeom>
              <a:avLst/>
              <a:gdLst/>
              <a:ahLst/>
              <a:cxnLst/>
              <a:rect l="l" t="t" r="r" b="b"/>
              <a:pathLst>
                <a:path w="11185" h="12698" extrusionOk="0">
                  <a:moveTo>
                    <a:pt x="5640" y="694"/>
                  </a:moveTo>
                  <a:cubicBezTo>
                    <a:pt x="7026" y="694"/>
                    <a:pt x="8286" y="883"/>
                    <a:pt x="9232" y="1198"/>
                  </a:cubicBezTo>
                  <a:cubicBezTo>
                    <a:pt x="10177" y="1576"/>
                    <a:pt x="10523" y="1923"/>
                    <a:pt x="10523" y="2206"/>
                  </a:cubicBezTo>
                  <a:cubicBezTo>
                    <a:pt x="10523" y="2427"/>
                    <a:pt x="10114" y="2647"/>
                    <a:pt x="9358" y="2931"/>
                  </a:cubicBezTo>
                  <a:lnTo>
                    <a:pt x="2017" y="2931"/>
                  </a:lnTo>
                  <a:cubicBezTo>
                    <a:pt x="1198" y="2679"/>
                    <a:pt x="757" y="2427"/>
                    <a:pt x="757" y="2206"/>
                  </a:cubicBezTo>
                  <a:cubicBezTo>
                    <a:pt x="757" y="1954"/>
                    <a:pt x="1103" y="1576"/>
                    <a:pt x="2048" y="1198"/>
                  </a:cubicBezTo>
                  <a:cubicBezTo>
                    <a:pt x="2994" y="851"/>
                    <a:pt x="4254" y="694"/>
                    <a:pt x="5640" y="694"/>
                  </a:cubicBezTo>
                  <a:close/>
                  <a:moveTo>
                    <a:pt x="8948" y="3687"/>
                  </a:moveTo>
                  <a:lnTo>
                    <a:pt x="8948" y="4475"/>
                  </a:lnTo>
                  <a:lnTo>
                    <a:pt x="2206" y="4475"/>
                  </a:lnTo>
                  <a:lnTo>
                    <a:pt x="2206" y="3687"/>
                  </a:lnTo>
                  <a:close/>
                  <a:moveTo>
                    <a:pt x="8633" y="5231"/>
                  </a:moveTo>
                  <a:cubicBezTo>
                    <a:pt x="8192" y="5703"/>
                    <a:pt x="7562" y="5987"/>
                    <a:pt x="6932" y="5987"/>
                  </a:cubicBezTo>
                  <a:lnTo>
                    <a:pt x="4317" y="5987"/>
                  </a:lnTo>
                  <a:cubicBezTo>
                    <a:pt x="3624" y="5987"/>
                    <a:pt x="3057" y="5703"/>
                    <a:pt x="2615" y="5231"/>
                  </a:cubicBezTo>
                  <a:close/>
                  <a:moveTo>
                    <a:pt x="9704" y="6680"/>
                  </a:moveTo>
                  <a:cubicBezTo>
                    <a:pt x="10082" y="6680"/>
                    <a:pt x="10460" y="6995"/>
                    <a:pt x="10460" y="7436"/>
                  </a:cubicBezTo>
                  <a:cubicBezTo>
                    <a:pt x="10460" y="7877"/>
                    <a:pt x="10145" y="8192"/>
                    <a:pt x="9704" y="8192"/>
                  </a:cubicBezTo>
                  <a:lnTo>
                    <a:pt x="9704" y="6680"/>
                  </a:lnTo>
                  <a:close/>
                  <a:moveTo>
                    <a:pt x="1513" y="6711"/>
                  </a:moveTo>
                  <a:lnTo>
                    <a:pt x="1513" y="8224"/>
                  </a:lnTo>
                  <a:cubicBezTo>
                    <a:pt x="1072" y="8192"/>
                    <a:pt x="757" y="7877"/>
                    <a:pt x="757" y="7467"/>
                  </a:cubicBezTo>
                  <a:cubicBezTo>
                    <a:pt x="757" y="7089"/>
                    <a:pt x="1103" y="6711"/>
                    <a:pt x="1513" y="6711"/>
                  </a:cubicBezTo>
                  <a:close/>
                  <a:moveTo>
                    <a:pt x="8979" y="5924"/>
                  </a:moveTo>
                  <a:lnTo>
                    <a:pt x="8979" y="8570"/>
                  </a:lnTo>
                  <a:cubicBezTo>
                    <a:pt x="8948" y="10429"/>
                    <a:pt x="7467" y="11910"/>
                    <a:pt x="5608" y="11910"/>
                  </a:cubicBezTo>
                  <a:cubicBezTo>
                    <a:pt x="3750" y="11910"/>
                    <a:pt x="2269" y="10429"/>
                    <a:pt x="2269" y="8570"/>
                  </a:cubicBezTo>
                  <a:lnTo>
                    <a:pt x="2269" y="5924"/>
                  </a:lnTo>
                  <a:cubicBezTo>
                    <a:pt x="2805" y="6459"/>
                    <a:pt x="3561" y="6711"/>
                    <a:pt x="4317" y="6711"/>
                  </a:cubicBezTo>
                  <a:lnTo>
                    <a:pt x="6932" y="6711"/>
                  </a:lnTo>
                  <a:cubicBezTo>
                    <a:pt x="7688" y="6711"/>
                    <a:pt x="8444" y="6459"/>
                    <a:pt x="8979" y="5924"/>
                  </a:cubicBezTo>
                  <a:close/>
                  <a:moveTo>
                    <a:pt x="5608" y="1"/>
                  </a:moveTo>
                  <a:cubicBezTo>
                    <a:pt x="4191" y="1"/>
                    <a:pt x="2805" y="190"/>
                    <a:pt x="1796" y="536"/>
                  </a:cubicBezTo>
                  <a:cubicBezTo>
                    <a:pt x="316" y="1040"/>
                    <a:pt x="1" y="1734"/>
                    <a:pt x="1" y="2206"/>
                  </a:cubicBezTo>
                  <a:cubicBezTo>
                    <a:pt x="1" y="2931"/>
                    <a:pt x="788" y="3309"/>
                    <a:pt x="1513" y="3561"/>
                  </a:cubicBezTo>
                  <a:lnTo>
                    <a:pt x="1513" y="5955"/>
                  </a:lnTo>
                  <a:cubicBezTo>
                    <a:pt x="694" y="5955"/>
                    <a:pt x="1" y="6648"/>
                    <a:pt x="1" y="7467"/>
                  </a:cubicBezTo>
                  <a:cubicBezTo>
                    <a:pt x="1" y="8287"/>
                    <a:pt x="694" y="8980"/>
                    <a:pt x="1513" y="8980"/>
                  </a:cubicBezTo>
                  <a:cubicBezTo>
                    <a:pt x="1702" y="11059"/>
                    <a:pt x="3466" y="12697"/>
                    <a:pt x="5608" y="12697"/>
                  </a:cubicBezTo>
                  <a:cubicBezTo>
                    <a:pt x="7719" y="12697"/>
                    <a:pt x="9515" y="11059"/>
                    <a:pt x="9704" y="8980"/>
                  </a:cubicBezTo>
                  <a:cubicBezTo>
                    <a:pt x="10523" y="8980"/>
                    <a:pt x="11185" y="8287"/>
                    <a:pt x="11185" y="7467"/>
                  </a:cubicBezTo>
                  <a:cubicBezTo>
                    <a:pt x="11185" y="6648"/>
                    <a:pt x="10523" y="5955"/>
                    <a:pt x="9704" y="5955"/>
                  </a:cubicBezTo>
                  <a:lnTo>
                    <a:pt x="9704" y="3561"/>
                  </a:lnTo>
                  <a:cubicBezTo>
                    <a:pt x="10397" y="3309"/>
                    <a:pt x="11185" y="2931"/>
                    <a:pt x="11185" y="2206"/>
                  </a:cubicBezTo>
                  <a:cubicBezTo>
                    <a:pt x="11185" y="1734"/>
                    <a:pt x="10870" y="1040"/>
                    <a:pt x="9421" y="536"/>
                  </a:cubicBezTo>
                  <a:cubicBezTo>
                    <a:pt x="8412" y="190"/>
                    <a:pt x="7058"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30" name="Google Shape;7230;p74"/>
          <p:cNvGrpSpPr/>
          <p:nvPr/>
        </p:nvGrpSpPr>
        <p:grpSpPr>
          <a:xfrm>
            <a:off x="7701539" y="5105949"/>
            <a:ext cx="423053" cy="481377"/>
            <a:chOff x="-54061475" y="2685450"/>
            <a:chExt cx="279625" cy="318175"/>
          </a:xfrm>
        </p:grpSpPr>
        <p:sp>
          <p:nvSpPr>
            <p:cNvPr id="7231" name="Google Shape;7231;p74"/>
            <p:cNvSpPr/>
            <p:nvPr/>
          </p:nvSpPr>
          <p:spPr>
            <a:xfrm>
              <a:off x="-53959075" y="2919525"/>
              <a:ext cx="72475" cy="28950"/>
            </a:xfrm>
            <a:custGeom>
              <a:avLst/>
              <a:gdLst/>
              <a:ahLst/>
              <a:cxnLst/>
              <a:rect l="l" t="t" r="r" b="b"/>
              <a:pathLst>
                <a:path w="2899" h="1158" extrusionOk="0">
                  <a:moveTo>
                    <a:pt x="386" y="0"/>
                  </a:moveTo>
                  <a:cubicBezTo>
                    <a:pt x="292" y="0"/>
                    <a:pt x="205" y="39"/>
                    <a:pt x="158" y="118"/>
                  </a:cubicBezTo>
                  <a:cubicBezTo>
                    <a:pt x="0" y="276"/>
                    <a:pt x="0" y="496"/>
                    <a:pt x="158" y="622"/>
                  </a:cubicBezTo>
                  <a:cubicBezTo>
                    <a:pt x="504" y="969"/>
                    <a:pt x="977" y="1158"/>
                    <a:pt x="1449" y="1158"/>
                  </a:cubicBezTo>
                  <a:cubicBezTo>
                    <a:pt x="1922" y="1158"/>
                    <a:pt x="2426" y="969"/>
                    <a:pt x="2741" y="622"/>
                  </a:cubicBezTo>
                  <a:cubicBezTo>
                    <a:pt x="2899" y="465"/>
                    <a:pt x="2899" y="213"/>
                    <a:pt x="2741" y="118"/>
                  </a:cubicBezTo>
                  <a:cubicBezTo>
                    <a:pt x="2678" y="39"/>
                    <a:pt x="2592" y="0"/>
                    <a:pt x="2501" y="0"/>
                  </a:cubicBezTo>
                  <a:cubicBezTo>
                    <a:pt x="2410" y="0"/>
                    <a:pt x="2316" y="39"/>
                    <a:pt x="2237" y="118"/>
                  </a:cubicBezTo>
                  <a:cubicBezTo>
                    <a:pt x="2048" y="307"/>
                    <a:pt x="1733" y="433"/>
                    <a:pt x="1449" y="433"/>
                  </a:cubicBezTo>
                  <a:cubicBezTo>
                    <a:pt x="1134" y="433"/>
                    <a:pt x="851" y="307"/>
                    <a:pt x="662" y="118"/>
                  </a:cubicBezTo>
                  <a:cubicBezTo>
                    <a:pt x="583" y="39"/>
                    <a:pt x="481"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2" name="Google Shape;7232;p74"/>
            <p:cNvSpPr/>
            <p:nvPr/>
          </p:nvSpPr>
          <p:spPr>
            <a:xfrm>
              <a:off x="-53969325" y="2854725"/>
              <a:ext cx="18150" cy="18150"/>
            </a:xfrm>
            <a:custGeom>
              <a:avLst/>
              <a:gdLst/>
              <a:ahLst/>
              <a:cxnLst/>
              <a:rect l="l" t="t" r="r" b="b"/>
              <a:pathLst>
                <a:path w="726" h="726" extrusionOk="0">
                  <a:moveTo>
                    <a:pt x="347" y="1"/>
                  </a:moveTo>
                  <a:cubicBezTo>
                    <a:pt x="158" y="1"/>
                    <a:pt x="1" y="190"/>
                    <a:pt x="1" y="379"/>
                  </a:cubicBezTo>
                  <a:cubicBezTo>
                    <a:pt x="1" y="568"/>
                    <a:pt x="158" y="725"/>
                    <a:pt x="347" y="725"/>
                  </a:cubicBezTo>
                  <a:cubicBezTo>
                    <a:pt x="568" y="725"/>
                    <a:pt x="725" y="568"/>
                    <a:pt x="725" y="379"/>
                  </a:cubicBezTo>
                  <a:cubicBezTo>
                    <a:pt x="725" y="190"/>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3" name="Google Shape;7233;p74"/>
            <p:cNvSpPr/>
            <p:nvPr/>
          </p:nvSpPr>
          <p:spPr>
            <a:xfrm>
              <a:off x="-53894500" y="2854725"/>
              <a:ext cx="18125" cy="18150"/>
            </a:xfrm>
            <a:custGeom>
              <a:avLst/>
              <a:gdLst/>
              <a:ahLst/>
              <a:cxnLst/>
              <a:rect l="l" t="t" r="r" b="b"/>
              <a:pathLst>
                <a:path w="725" h="726" extrusionOk="0">
                  <a:moveTo>
                    <a:pt x="379" y="1"/>
                  </a:moveTo>
                  <a:cubicBezTo>
                    <a:pt x="158" y="1"/>
                    <a:pt x="1" y="190"/>
                    <a:pt x="1" y="379"/>
                  </a:cubicBezTo>
                  <a:cubicBezTo>
                    <a:pt x="1" y="568"/>
                    <a:pt x="158" y="725"/>
                    <a:pt x="379" y="725"/>
                  </a:cubicBezTo>
                  <a:cubicBezTo>
                    <a:pt x="568" y="725"/>
                    <a:pt x="725" y="568"/>
                    <a:pt x="725" y="379"/>
                  </a:cubicBezTo>
                  <a:cubicBezTo>
                    <a:pt x="725" y="190"/>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4" name="Google Shape;7234;p74"/>
            <p:cNvSpPr/>
            <p:nvPr/>
          </p:nvSpPr>
          <p:spPr>
            <a:xfrm>
              <a:off x="-54061475" y="2685450"/>
              <a:ext cx="279625" cy="318175"/>
            </a:xfrm>
            <a:custGeom>
              <a:avLst/>
              <a:gdLst/>
              <a:ahLst/>
              <a:cxnLst/>
              <a:rect l="l" t="t" r="r" b="b"/>
              <a:pathLst>
                <a:path w="11185" h="12727" extrusionOk="0">
                  <a:moveTo>
                    <a:pt x="4096" y="1699"/>
                  </a:moveTo>
                  <a:cubicBezTo>
                    <a:pt x="4348" y="1699"/>
                    <a:pt x="4537" y="1762"/>
                    <a:pt x="4726" y="1794"/>
                  </a:cubicBezTo>
                  <a:cubicBezTo>
                    <a:pt x="4254" y="2235"/>
                    <a:pt x="3970" y="2897"/>
                    <a:pt x="3844" y="3527"/>
                  </a:cubicBezTo>
                  <a:cubicBezTo>
                    <a:pt x="3813" y="3716"/>
                    <a:pt x="3970" y="3905"/>
                    <a:pt x="4159" y="3968"/>
                  </a:cubicBezTo>
                  <a:cubicBezTo>
                    <a:pt x="4178" y="3971"/>
                    <a:pt x="4197" y="3972"/>
                    <a:pt x="4216" y="3972"/>
                  </a:cubicBezTo>
                  <a:cubicBezTo>
                    <a:pt x="4411" y="3972"/>
                    <a:pt x="4572" y="3825"/>
                    <a:pt x="4600" y="3653"/>
                  </a:cubicBezTo>
                  <a:cubicBezTo>
                    <a:pt x="4695" y="3117"/>
                    <a:pt x="4915" y="2645"/>
                    <a:pt x="5199" y="2330"/>
                  </a:cubicBezTo>
                  <a:cubicBezTo>
                    <a:pt x="5335" y="2194"/>
                    <a:pt x="5588" y="1964"/>
                    <a:pt x="5877" y="1964"/>
                  </a:cubicBezTo>
                  <a:cubicBezTo>
                    <a:pt x="5923" y="1964"/>
                    <a:pt x="5970" y="1970"/>
                    <a:pt x="6018" y="1983"/>
                  </a:cubicBezTo>
                  <a:cubicBezTo>
                    <a:pt x="6365" y="2046"/>
                    <a:pt x="6585" y="2361"/>
                    <a:pt x="6648" y="2613"/>
                  </a:cubicBezTo>
                  <a:cubicBezTo>
                    <a:pt x="6806" y="2991"/>
                    <a:pt x="6900" y="3527"/>
                    <a:pt x="6774" y="4031"/>
                  </a:cubicBezTo>
                  <a:cubicBezTo>
                    <a:pt x="6743" y="4251"/>
                    <a:pt x="6900" y="4472"/>
                    <a:pt x="7121" y="4472"/>
                  </a:cubicBezTo>
                  <a:cubicBezTo>
                    <a:pt x="7310" y="4472"/>
                    <a:pt x="7467" y="4346"/>
                    <a:pt x="7467" y="4157"/>
                  </a:cubicBezTo>
                  <a:cubicBezTo>
                    <a:pt x="7593" y="3527"/>
                    <a:pt x="7562" y="2802"/>
                    <a:pt x="7247" y="2204"/>
                  </a:cubicBezTo>
                  <a:lnTo>
                    <a:pt x="7247" y="2204"/>
                  </a:lnTo>
                  <a:lnTo>
                    <a:pt x="7404" y="2267"/>
                  </a:lnTo>
                  <a:cubicBezTo>
                    <a:pt x="8822" y="2487"/>
                    <a:pt x="9767" y="3873"/>
                    <a:pt x="9515" y="5291"/>
                  </a:cubicBezTo>
                  <a:cubicBezTo>
                    <a:pt x="9486" y="5464"/>
                    <a:pt x="9326" y="5610"/>
                    <a:pt x="9130" y="5610"/>
                  </a:cubicBezTo>
                  <a:cubicBezTo>
                    <a:pt x="9112" y="5610"/>
                    <a:pt x="9093" y="5609"/>
                    <a:pt x="9074" y="5606"/>
                  </a:cubicBezTo>
                  <a:lnTo>
                    <a:pt x="1733" y="4314"/>
                  </a:lnTo>
                  <a:cubicBezTo>
                    <a:pt x="1639" y="4283"/>
                    <a:pt x="1481" y="4062"/>
                    <a:pt x="1513" y="3873"/>
                  </a:cubicBezTo>
                  <a:cubicBezTo>
                    <a:pt x="1765" y="2613"/>
                    <a:pt x="2868" y="1699"/>
                    <a:pt x="4096" y="1699"/>
                  </a:cubicBezTo>
                  <a:close/>
                  <a:moveTo>
                    <a:pt x="1450" y="6740"/>
                  </a:moveTo>
                  <a:lnTo>
                    <a:pt x="1450" y="8252"/>
                  </a:lnTo>
                  <a:cubicBezTo>
                    <a:pt x="1009" y="8252"/>
                    <a:pt x="694" y="7937"/>
                    <a:pt x="694" y="7496"/>
                  </a:cubicBezTo>
                  <a:cubicBezTo>
                    <a:pt x="694" y="7118"/>
                    <a:pt x="1040" y="6740"/>
                    <a:pt x="1450" y="6740"/>
                  </a:cubicBezTo>
                  <a:close/>
                  <a:moveTo>
                    <a:pt x="9641" y="6740"/>
                  </a:moveTo>
                  <a:cubicBezTo>
                    <a:pt x="10019" y="6740"/>
                    <a:pt x="10397" y="7118"/>
                    <a:pt x="10397" y="7496"/>
                  </a:cubicBezTo>
                  <a:cubicBezTo>
                    <a:pt x="10397" y="7937"/>
                    <a:pt x="10082" y="8252"/>
                    <a:pt x="9641" y="8252"/>
                  </a:cubicBezTo>
                  <a:lnTo>
                    <a:pt x="9641" y="6740"/>
                  </a:lnTo>
                  <a:close/>
                  <a:moveTo>
                    <a:pt x="2206" y="5102"/>
                  </a:moveTo>
                  <a:lnTo>
                    <a:pt x="8916" y="6268"/>
                  </a:lnTo>
                  <a:lnTo>
                    <a:pt x="8916" y="8599"/>
                  </a:lnTo>
                  <a:cubicBezTo>
                    <a:pt x="8885" y="10489"/>
                    <a:pt x="7404" y="12033"/>
                    <a:pt x="5545" y="12033"/>
                  </a:cubicBezTo>
                  <a:cubicBezTo>
                    <a:pt x="3687" y="12033"/>
                    <a:pt x="2206" y="10489"/>
                    <a:pt x="2206" y="8599"/>
                  </a:cubicBezTo>
                  <a:lnTo>
                    <a:pt x="2206" y="5102"/>
                  </a:lnTo>
                  <a:close/>
                  <a:moveTo>
                    <a:pt x="7575" y="1"/>
                  </a:moveTo>
                  <a:cubicBezTo>
                    <a:pt x="6800" y="1"/>
                    <a:pt x="6137" y="473"/>
                    <a:pt x="5861" y="1164"/>
                  </a:cubicBezTo>
                  <a:lnTo>
                    <a:pt x="4726" y="975"/>
                  </a:lnTo>
                  <a:cubicBezTo>
                    <a:pt x="4530" y="941"/>
                    <a:pt x="4334" y="925"/>
                    <a:pt x="4141" y="925"/>
                  </a:cubicBezTo>
                  <a:cubicBezTo>
                    <a:pt x="2536" y="925"/>
                    <a:pt x="1101" y="2053"/>
                    <a:pt x="820" y="3684"/>
                  </a:cubicBezTo>
                  <a:cubicBezTo>
                    <a:pt x="757" y="4188"/>
                    <a:pt x="1009" y="4692"/>
                    <a:pt x="1481" y="4913"/>
                  </a:cubicBezTo>
                  <a:lnTo>
                    <a:pt x="1481" y="5953"/>
                  </a:lnTo>
                  <a:cubicBezTo>
                    <a:pt x="662" y="5953"/>
                    <a:pt x="1" y="6614"/>
                    <a:pt x="1" y="7465"/>
                  </a:cubicBezTo>
                  <a:cubicBezTo>
                    <a:pt x="1" y="8284"/>
                    <a:pt x="662" y="8946"/>
                    <a:pt x="1481" y="8946"/>
                  </a:cubicBezTo>
                  <a:cubicBezTo>
                    <a:pt x="1702" y="11056"/>
                    <a:pt x="3403" y="12726"/>
                    <a:pt x="5577" y="12726"/>
                  </a:cubicBezTo>
                  <a:cubicBezTo>
                    <a:pt x="7751" y="12726"/>
                    <a:pt x="9484" y="11056"/>
                    <a:pt x="9673" y="8946"/>
                  </a:cubicBezTo>
                  <a:cubicBezTo>
                    <a:pt x="10492" y="8946"/>
                    <a:pt x="11185" y="8284"/>
                    <a:pt x="11185" y="7465"/>
                  </a:cubicBezTo>
                  <a:cubicBezTo>
                    <a:pt x="11122" y="6803"/>
                    <a:pt x="10649" y="6205"/>
                    <a:pt x="9988" y="6047"/>
                  </a:cubicBezTo>
                  <a:cubicBezTo>
                    <a:pt x="10177" y="5890"/>
                    <a:pt x="10303" y="5638"/>
                    <a:pt x="10334" y="5417"/>
                  </a:cubicBezTo>
                  <a:cubicBezTo>
                    <a:pt x="10649" y="3590"/>
                    <a:pt x="9452" y="1825"/>
                    <a:pt x="7625" y="1510"/>
                  </a:cubicBezTo>
                  <a:lnTo>
                    <a:pt x="6617" y="1321"/>
                  </a:lnTo>
                  <a:cubicBezTo>
                    <a:pt x="6812" y="958"/>
                    <a:pt x="7206" y="744"/>
                    <a:pt x="7622" y="744"/>
                  </a:cubicBezTo>
                  <a:cubicBezTo>
                    <a:pt x="7675" y="744"/>
                    <a:pt x="7729" y="747"/>
                    <a:pt x="7782" y="754"/>
                  </a:cubicBezTo>
                  <a:cubicBezTo>
                    <a:pt x="7811" y="764"/>
                    <a:pt x="7840" y="768"/>
                    <a:pt x="7869" y="768"/>
                  </a:cubicBezTo>
                  <a:cubicBezTo>
                    <a:pt x="8034" y="768"/>
                    <a:pt x="8197" y="627"/>
                    <a:pt x="8223" y="439"/>
                  </a:cubicBezTo>
                  <a:cubicBezTo>
                    <a:pt x="8255" y="250"/>
                    <a:pt x="8097" y="61"/>
                    <a:pt x="7908" y="30"/>
                  </a:cubicBezTo>
                  <a:cubicBezTo>
                    <a:pt x="7796" y="10"/>
                    <a:pt x="7684" y="1"/>
                    <a:pt x="757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35" name="Google Shape;7235;p74"/>
          <p:cNvGrpSpPr/>
          <p:nvPr/>
        </p:nvGrpSpPr>
        <p:grpSpPr>
          <a:xfrm>
            <a:off x="10706254" y="3895708"/>
            <a:ext cx="367037" cy="482625"/>
            <a:chOff x="-52074300" y="1911950"/>
            <a:chExt cx="242600" cy="319000"/>
          </a:xfrm>
        </p:grpSpPr>
        <p:sp>
          <p:nvSpPr>
            <p:cNvPr id="7236" name="Google Shape;7236;p74"/>
            <p:cNvSpPr/>
            <p:nvPr/>
          </p:nvSpPr>
          <p:spPr>
            <a:xfrm>
              <a:off x="-51989225" y="2125600"/>
              <a:ext cx="72475" cy="29750"/>
            </a:xfrm>
            <a:custGeom>
              <a:avLst/>
              <a:gdLst/>
              <a:ahLst/>
              <a:cxnLst/>
              <a:rect l="l" t="t" r="r" b="b"/>
              <a:pathLst>
                <a:path w="2899" h="1190" extrusionOk="0">
                  <a:moveTo>
                    <a:pt x="398" y="0"/>
                  </a:moveTo>
                  <a:cubicBezTo>
                    <a:pt x="307" y="0"/>
                    <a:pt x="221" y="40"/>
                    <a:pt x="158" y="118"/>
                  </a:cubicBezTo>
                  <a:cubicBezTo>
                    <a:pt x="0" y="276"/>
                    <a:pt x="0" y="528"/>
                    <a:pt x="158" y="622"/>
                  </a:cubicBezTo>
                  <a:cubicBezTo>
                    <a:pt x="504" y="1000"/>
                    <a:pt x="977" y="1189"/>
                    <a:pt x="1449" y="1189"/>
                  </a:cubicBezTo>
                  <a:cubicBezTo>
                    <a:pt x="1922" y="1189"/>
                    <a:pt x="2426" y="1000"/>
                    <a:pt x="2741" y="622"/>
                  </a:cubicBezTo>
                  <a:cubicBezTo>
                    <a:pt x="2899" y="465"/>
                    <a:pt x="2899" y="244"/>
                    <a:pt x="2741" y="118"/>
                  </a:cubicBezTo>
                  <a:cubicBezTo>
                    <a:pt x="2662" y="40"/>
                    <a:pt x="2568" y="0"/>
                    <a:pt x="2477" y="0"/>
                  </a:cubicBezTo>
                  <a:cubicBezTo>
                    <a:pt x="2387" y="0"/>
                    <a:pt x="2300" y="40"/>
                    <a:pt x="2237" y="118"/>
                  </a:cubicBezTo>
                  <a:cubicBezTo>
                    <a:pt x="2048" y="307"/>
                    <a:pt x="1733" y="433"/>
                    <a:pt x="1449" y="433"/>
                  </a:cubicBezTo>
                  <a:cubicBezTo>
                    <a:pt x="1134" y="433"/>
                    <a:pt x="851" y="307"/>
                    <a:pt x="662" y="118"/>
                  </a:cubicBezTo>
                  <a:cubicBezTo>
                    <a:pt x="583" y="40"/>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7" name="Google Shape;7237;p74"/>
            <p:cNvSpPr/>
            <p:nvPr/>
          </p:nvSpPr>
          <p:spPr>
            <a:xfrm>
              <a:off x="-51998675" y="2062375"/>
              <a:ext cx="17325" cy="18150"/>
            </a:xfrm>
            <a:custGeom>
              <a:avLst/>
              <a:gdLst/>
              <a:ahLst/>
              <a:cxnLst/>
              <a:rect l="l" t="t" r="r" b="b"/>
              <a:pathLst>
                <a:path w="693" h="726" extrusionOk="0">
                  <a:moveTo>
                    <a:pt x="347" y="1"/>
                  </a:moveTo>
                  <a:cubicBezTo>
                    <a:pt x="158" y="1"/>
                    <a:pt x="0" y="158"/>
                    <a:pt x="0" y="347"/>
                  </a:cubicBezTo>
                  <a:cubicBezTo>
                    <a:pt x="0" y="568"/>
                    <a:pt x="158" y="726"/>
                    <a:pt x="347" y="726"/>
                  </a:cubicBezTo>
                  <a:cubicBezTo>
                    <a:pt x="536" y="726"/>
                    <a:pt x="693" y="568"/>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8" name="Google Shape;7238;p74"/>
            <p:cNvSpPr/>
            <p:nvPr/>
          </p:nvSpPr>
          <p:spPr>
            <a:xfrm>
              <a:off x="-51925450" y="2062375"/>
              <a:ext cx="18150" cy="18150"/>
            </a:xfrm>
            <a:custGeom>
              <a:avLst/>
              <a:gdLst/>
              <a:ahLst/>
              <a:cxnLst/>
              <a:rect l="l" t="t" r="r" b="b"/>
              <a:pathLst>
                <a:path w="726" h="726" extrusionOk="0">
                  <a:moveTo>
                    <a:pt x="379" y="1"/>
                  </a:moveTo>
                  <a:cubicBezTo>
                    <a:pt x="158" y="1"/>
                    <a:pt x="1" y="158"/>
                    <a:pt x="1" y="347"/>
                  </a:cubicBezTo>
                  <a:cubicBezTo>
                    <a:pt x="1" y="568"/>
                    <a:pt x="158" y="726"/>
                    <a:pt x="379" y="726"/>
                  </a:cubicBezTo>
                  <a:cubicBezTo>
                    <a:pt x="568" y="726"/>
                    <a:pt x="726" y="568"/>
                    <a:pt x="726" y="347"/>
                  </a:cubicBezTo>
                  <a:cubicBezTo>
                    <a:pt x="726"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39" name="Google Shape;7239;p74"/>
            <p:cNvSpPr/>
            <p:nvPr/>
          </p:nvSpPr>
          <p:spPr>
            <a:xfrm>
              <a:off x="-52074300" y="1911950"/>
              <a:ext cx="242600" cy="319000"/>
            </a:xfrm>
            <a:custGeom>
              <a:avLst/>
              <a:gdLst/>
              <a:ahLst/>
              <a:cxnLst/>
              <a:rect l="l" t="t" r="r" b="b"/>
              <a:pathLst>
                <a:path w="9704" h="12760" extrusionOk="0">
                  <a:moveTo>
                    <a:pt x="6743" y="694"/>
                  </a:moveTo>
                  <a:cubicBezTo>
                    <a:pt x="7940" y="757"/>
                    <a:pt x="8948" y="1733"/>
                    <a:pt x="8948" y="2993"/>
                  </a:cubicBezTo>
                  <a:lnTo>
                    <a:pt x="8948" y="5293"/>
                  </a:lnTo>
                  <a:lnTo>
                    <a:pt x="8601" y="5293"/>
                  </a:lnTo>
                  <a:cubicBezTo>
                    <a:pt x="6743" y="5293"/>
                    <a:pt x="5262" y="3750"/>
                    <a:pt x="5262" y="1859"/>
                  </a:cubicBezTo>
                  <a:lnTo>
                    <a:pt x="5262" y="1292"/>
                  </a:lnTo>
                  <a:cubicBezTo>
                    <a:pt x="5640" y="946"/>
                    <a:pt x="6207" y="694"/>
                    <a:pt x="6743" y="694"/>
                  </a:cubicBezTo>
                  <a:close/>
                  <a:moveTo>
                    <a:pt x="2962" y="757"/>
                  </a:moveTo>
                  <a:cubicBezTo>
                    <a:pt x="3529" y="757"/>
                    <a:pt x="4033" y="946"/>
                    <a:pt x="4474" y="1355"/>
                  </a:cubicBezTo>
                  <a:lnTo>
                    <a:pt x="4474" y="1891"/>
                  </a:lnTo>
                  <a:cubicBezTo>
                    <a:pt x="4474" y="3781"/>
                    <a:pt x="2962" y="5325"/>
                    <a:pt x="1103" y="5325"/>
                  </a:cubicBezTo>
                  <a:lnTo>
                    <a:pt x="757" y="5325"/>
                  </a:lnTo>
                  <a:lnTo>
                    <a:pt x="757" y="3025"/>
                  </a:lnTo>
                  <a:cubicBezTo>
                    <a:pt x="725" y="1733"/>
                    <a:pt x="1733" y="757"/>
                    <a:pt x="2962" y="757"/>
                  </a:cubicBezTo>
                  <a:close/>
                  <a:moveTo>
                    <a:pt x="1103" y="6018"/>
                  </a:moveTo>
                  <a:cubicBezTo>
                    <a:pt x="1324" y="6018"/>
                    <a:pt x="1481" y="6175"/>
                    <a:pt x="1481" y="6396"/>
                  </a:cubicBezTo>
                  <a:cubicBezTo>
                    <a:pt x="1481" y="6585"/>
                    <a:pt x="1324" y="6743"/>
                    <a:pt x="1103" y="6743"/>
                  </a:cubicBezTo>
                  <a:cubicBezTo>
                    <a:pt x="914" y="6743"/>
                    <a:pt x="757" y="6585"/>
                    <a:pt x="757" y="6396"/>
                  </a:cubicBezTo>
                  <a:cubicBezTo>
                    <a:pt x="757" y="6175"/>
                    <a:pt x="914" y="6018"/>
                    <a:pt x="1103" y="6018"/>
                  </a:cubicBezTo>
                  <a:close/>
                  <a:moveTo>
                    <a:pt x="8570" y="6018"/>
                  </a:moveTo>
                  <a:cubicBezTo>
                    <a:pt x="8759" y="6018"/>
                    <a:pt x="8916" y="6175"/>
                    <a:pt x="8916" y="6396"/>
                  </a:cubicBezTo>
                  <a:cubicBezTo>
                    <a:pt x="8916" y="6585"/>
                    <a:pt x="8759" y="6743"/>
                    <a:pt x="8570" y="6743"/>
                  </a:cubicBezTo>
                  <a:cubicBezTo>
                    <a:pt x="8349" y="6743"/>
                    <a:pt x="8192" y="6585"/>
                    <a:pt x="8192" y="6396"/>
                  </a:cubicBezTo>
                  <a:cubicBezTo>
                    <a:pt x="8192" y="6175"/>
                    <a:pt x="8349" y="6018"/>
                    <a:pt x="8570" y="6018"/>
                  </a:cubicBezTo>
                  <a:close/>
                  <a:moveTo>
                    <a:pt x="1072" y="7530"/>
                  </a:moveTo>
                  <a:cubicBezTo>
                    <a:pt x="1261" y="7530"/>
                    <a:pt x="1418" y="7688"/>
                    <a:pt x="1418" y="7877"/>
                  </a:cubicBezTo>
                  <a:cubicBezTo>
                    <a:pt x="1418" y="8066"/>
                    <a:pt x="1261" y="8223"/>
                    <a:pt x="1072" y="8223"/>
                  </a:cubicBezTo>
                  <a:cubicBezTo>
                    <a:pt x="914" y="8223"/>
                    <a:pt x="725" y="8066"/>
                    <a:pt x="725" y="7877"/>
                  </a:cubicBezTo>
                  <a:cubicBezTo>
                    <a:pt x="725" y="7688"/>
                    <a:pt x="883" y="7530"/>
                    <a:pt x="1072" y="7530"/>
                  </a:cubicBezTo>
                  <a:close/>
                  <a:moveTo>
                    <a:pt x="8601" y="7530"/>
                  </a:moveTo>
                  <a:cubicBezTo>
                    <a:pt x="8790" y="7530"/>
                    <a:pt x="8948" y="7688"/>
                    <a:pt x="8948" y="7877"/>
                  </a:cubicBezTo>
                  <a:cubicBezTo>
                    <a:pt x="8948" y="8066"/>
                    <a:pt x="8790" y="8223"/>
                    <a:pt x="8601" y="8223"/>
                  </a:cubicBezTo>
                  <a:cubicBezTo>
                    <a:pt x="8412" y="8223"/>
                    <a:pt x="8255" y="8066"/>
                    <a:pt x="8255" y="7877"/>
                  </a:cubicBezTo>
                  <a:cubicBezTo>
                    <a:pt x="8255" y="7688"/>
                    <a:pt x="8412" y="7530"/>
                    <a:pt x="8601" y="7530"/>
                  </a:cubicBezTo>
                  <a:close/>
                  <a:moveTo>
                    <a:pt x="1072" y="9011"/>
                  </a:moveTo>
                  <a:cubicBezTo>
                    <a:pt x="1261" y="9011"/>
                    <a:pt x="1418" y="9168"/>
                    <a:pt x="1418" y="9389"/>
                  </a:cubicBezTo>
                  <a:cubicBezTo>
                    <a:pt x="1418" y="9578"/>
                    <a:pt x="1261" y="9735"/>
                    <a:pt x="1072" y="9735"/>
                  </a:cubicBezTo>
                  <a:cubicBezTo>
                    <a:pt x="914" y="9735"/>
                    <a:pt x="725" y="9578"/>
                    <a:pt x="725" y="9389"/>
                  </a:cubicBezTo>
                  <a:cubicBezTo>
                    <a:pt x="725" y="9168"/>
                    <a:pt x="883" y="9011"/>
                    <a:pt x="1072" y="9011"/>
                  </a:cubicBezTo>
                  <a:close/>
                  <a:moveTo>
                    <a:pt x="8601" y="9011"/>
                  </a:moveTo>
                  <a:cubicBezTo>
                    <a:pt x="8790" y="9011"/>
                    <a:pt x="8948" y="9168"/>
                    <a:pt x="8948" y="9389"/>
                  </a:cubicBezTo>
                  <a:cubicBezTo>
                    <a:pt x="8948" y="9578"/>
                    <a:pt x="8790" y="9735"/>
                    <a:pt x="8601" y="9735"/>
                  </a:cubicBezTo>
                  <a:cubicBezTo>
                    <a:pt x="8412" y="9735"/>
                    <a:pt x="8255" y="9578"/>
                    <a:pt x="8255" y="9389"/>
                  </a:cubicBezTo>
                  <a:cubicBezTo>
                    <a:pt x="8255" y="9168"/>
                    <a:pt x="8412" y="9011"/>
                    <a:pt x="8601" y="9011"/>
                  </a:cubicBezTo>
                  <a:close/>
                  <a:moveTo>
                    <a:pt x="4852" y="3592"/>
                  </a:moveTo>
                  <a:cubicBezTo>
                    <a:pt x="5041" y="4002"/>
                    <a:pt x="5325" y="4411"/>
                    <a:pt x="5703" y="4758"/>
                  </a:cubicBezTo>
                  <a:cubicBezTo>
                    <a:pt x="6239" y="5325"/>
                    <a:pt x="6869" y="5671"/>
                    <a:pt x="7593" y="5860"/>
                  </a:cubicBezTo>
                  <a:cubicBezTo>
                    <a:pt x="7499" y="6018"/>
                    <a:pt x="7467" y="6175"/>
                    <a:pt x="7467" y="6364"/>
                  </a:cubicBezTo>
                  <a:cubicBezTo>
                    <a:pt x="7467" y="6648"/>
                    <a:pt x="7593" y="6932"/>
                    <a:pt x="7751" y="7121"/>
                  </a:cubicBezTo>
                  <a:cubicBezTo>
                    <a:pt x="7530" y="7341"/>
                    <a:pt x="7467" y="7593"/>
                    <a:pt x="7467" y="7877"/>
                  </a:cubicBezTo>
                  <a:cubicBezTo>
                    <a:pt x="7467" y="8160"/>
                    <a:pt x="7593" y="8444"/>
                    <a:pt x="7751" y="8633"/>
                  </a:cubicBezTo>
                  <a:cubicBezTo>
                    <a:pt x="7530" y="8822"/>
                    <a:pt x="7467" y="9105"/>
                    <a:pt x="7467" y="9389"/>
                  </a:cubicBezTo>
                  <a:cubicBezTo>
                    <a:pt x="7467" y="9546"/>
                    <a:pt x="7499" y="9704"/>
                    <a:pt x="7593" y="9861"/>
                  </a:cubicBezTo>
                  <a:cubicBezTo>
                    <a:pt x="6932" y="10712"/>
                    <a:pt x="5923" y="11216"/>
                    <a:pt x="4852" y="11216"/>
                  </a:cubicBezTo>
                  <a:cubicBezTo>
                    <a:pt x="3750" y="11216"/>
                    <a:pt x="2773" y="10712"/>
                    <a:pt x="2143" y="9861"/>
                  </a:cubicBezTo>
                  <a:cubicBezTo>
                    <a:pt x="2206" y="9704"/>
                    <a:pt x="2269" y="9515"/>
                    <a:pt x="2269" y="9389"/>
                  </a:cubicBezTo>
                  <a:cubicBezTo>
                    <a:pt x="2269" y="9105"/>
                    <a:pt x="2143" y="8822"/>
                    <a:pt x="1985" y="8633"/>
                  </a:cubicBezTo>
                  <a:cubicBezTo>
                    <a:pt x="2174" y="8444"/>
                    <a:pt x="2269" y="8160"/>
                    <a:pt x="2269" y="7877"/>
                  </a:cubicBezTo>
                  <a:cubicBezTo>
                    <a:pt x="2269" y="7593"/>
                    <a:pt x="2143" y="7341"/>
                    <a:pt x="1985" y="7121"/>
                  </a:cubicBezTo>
                  <a:cubicBezTo>
                    <a:pt x="2174" y="6932"/>
                    <a:pt x="2269" y="6648"/>
                    <a:pt x="2269" y="6364"/>
                  </a:cubicBezTo>
                  <a:cubicBezTo>
                    <a:pt x="2269" y="6175"/>
                    <a:pt x="2206" y="6018"/>
                    <a:pt x="2143" y="5860"/>
                  </a:cubicBezTo>
                  <a:cubicBezTo>
                    <a:pt x="2836" y="5671"/>
                    <a:pt x="3529" y="5325"/>
                    <a:pt x="4033" y="4758"/>
                  </a:cubicBezTo>
                  <a:cubicBezTo>
                    <a:pt x="4380" y="4411"/>
                    <a:pt x="4663" y="4002"/>
                    <a:pt x="4852" y="3592"/>
                  </a:cubicBezTo>
                  <a:close/>
                  <a:moveTo>
                    <a:pt x="1103" y="10523"/>
                  </a:moveTo>
                  <a:cubicBezTo>
                    <a:pt x="1324" y="10523"/>
                    <a:pt x="1481" y="10681"/>
                    <a:pt x="1481" y="10870"/>
                  </a:cubicBezTo>
                  <a:cubicBezTo>
                    <a:pt x="1481" y="10996"/>
                    <a:pt x="1481" y="10996"/>
                    <a:pt x="1103" y="11626"/>
                  </a:cubicBezTo>
                  <a:cubicBezTo>
                    <a:pt x="757" y="10996"/>
                    <a:pt x="757" y="10996"/>
                    <a:pt x="757" y="10870"/>
                  </a:cubicBezTo>
                  <a:cubicBezTo>
                    <a:pt x="757" y="10681"/>
                    <a:pt x="914" y="10523"/>
                    <a:pt x="1103" y="10523"/>
                  </a:cubicBezTo>
                  <a:close/>
                  <a:moveTo>
                    <a:pt x="8570" y="10523"/>
                  </a:moveTo>
                  <a:cubicBezTo>
                    <a:pt x="8759" y="10523"/>
                    <a:pt x="8916" y="10681"/>
                    <a:pt x="8916" y="10870"/>
                  </a:cubicBezTo>
                  <a:cubicBezTo>
                    <a:pt x="8948" y="10996"/>
                    <a:pt x="8916" y="10996"/>
                    <a:pt x="8570" y="11626"/>
                  </a:cubicBezTo>
                  <a:cubicBezTo>
                    <a:pt x="8192" y="10996"/>
                    <a:pt x="8192" y="10996"/>
                    <a:pt x="8192" y="10870"/>
                  </a:cubicBezTo>
                  <a:cubicBezTo>
                    <a:pt x="8192" y="10681"/>
                    <a:pt x="8349" y="10523"/>
                    <a:pt x="8570" y="10523"/>
                  </a:cubicBezTo>
                  <a:close/>
                  <a:moveTo>
                    <a:pt x="3025" y="0"/>
                  </a:moveTo>
                  <a:cubicBezTo>
                    <a:pt x="1355" y="0"/>
                    <a:pt x="1" y="1355"/>
                    <a:pt x="1" y="2993"/>
                  </a:cubicBezTo>
                  <a:lnTo>
                    <a:pt x="1" y="6427"/>
                  </a:lnTo>
                  <a:cubicBezTo>
                    <a:pt x="1" y="6711"/>
                    <a:pt x="127" y="6963"/>
                    <a:pt x="284" y="7184"/>
                  </a:cubicBezTo>
                  <a:cubicBezTo>
                    <a:pt x="95" y="7373"/>
                    <a:pt x="1" y="7656"/>
                    <a:pt x="1" y="7908"/>
                  </a:cubicBezTo>
                  <a:cubicBezTo>
                    <a:pt x="1" y="8192"/>
                    <a:pt x="127" y="8475"/>
                    <a:pt x="284" y="8664"/>
                  </a:cubicBezTo>
                  <a:cubicBezTo>
                    <a:pt x="95" y="8853"/>
                    <a:pt x="1" y="9137"/>
                    <a:pt x="1" y="9420"/>
                  </a:cubicBezTo>
                  <a:cubicBezTo>
                    <a:pt x="1" y="9704"/>
                    <a:pt x="127" y="9956"/>
                    <a:pt x="284" y="10177"/>
                  </a:cubicBezTo>
                  <a:cubicBezTo>
                    <a:pt x="95" y="10366"/>
                    <a:pt x="1" y="10649"/>
                    <a:pt x="1" y="10901"/>
                  </a:cubicBezTo>
                  <a:cubicBezTo>
                    <a:pt x="1" y="11122"/>
                    <a:pt x="64" y="11311"/>
                    <a:pt x="127" y="11374"/>
                  </a:cubicBezTo>
                  <a:lnTo>
                    <a:pt x="788" y="12571"/>
                  </a:lnTo>
                  <a:cubicBezTo>
                    <a:pt x="883" y="12697"/>
                    <a:pt x="1009" y="12760"/>
                    <a:pt x="1103" y="12760"/>
                  </a:cubicBezTo>
                  <a:cubicBezTo>
                    <a:pt x="1229" y="12760"/>
                    <a:pt x="1387" y="12697"/>
                    <a:pt x="1450" y="12571"/>
                  </a:cubicBezTo>
                  <a:lnTo>
                    <a:pt x="2111" y="11437"/>
                  </a:lnTo>
                  <a:lnTo>
                    <a:pt x="2237" y="11059"/>
                  </a:lnTo>
                  <a:cubicBezTo>
                    <a:pt x="2930" y="11657"/>
                    <a:pt x="3876" y="12004"/>
                    <a:pt x="4852" y="12004"/>
                  </a:cubicBezTo>
                  <a:cubicBezTo>
                    <a:pt x="5829" y="12004"/>
                    <a:pt x="6743" y="11657"/>
                    <a:pt x="7499" y="11059"/>
                  </a:cubicBezTo>
                  <a:cubicBezTo>
                    <a:pt x="7499" y="11153"/>
                    <a:pt x="7530" y="11279"/>
                    <a:pt x="7562" y="11342"/>
                  </a:cubicBezTo>
                  <a:cubicBezTo>
                    <a:pt x="7562" y="11374"/>
                    <a:pt x="7530" y="11279"/>
                    <a:pt x="8286" y="12571"/>
                  </a:cubicBezTo>
                  <a:cubicBezTo>
                    <a:pt x="8349" y="12665"/>
                    <a:pt x="8475" y="12760"/>
                    <a:pt x="8601" y="12760"/>
                  </a:cubicBezTo>
                  <a:cubicBezTo>
                    <a:pt x="8727" y="12760"/>
                    <a:pt x="8885" y="12665"/>
                    <a:pt x="8916" y="12571"/>
                  </a:cubicBezTo>
                  <a:lnTo>
                    <a:pt x="9578" y="11405"/>
                  </a:lnTo>
                  <a:cubicBezTo>
                    <a:pt x="9673" y="11248"/>
                    <a:pt x="9704" y="11059"/>
                    <a:pt x="9704" y="10901"/>
                  </a:cubicBezTo>
                  <a:cubicBezTo>
                    <a:pt x="9704" y="10618"/>
                    <a:pt x="9578" y="10366"/>
                    <a:pt x="9421" y="10145"/>
                  </a:cubicBezTo>
                  <a:cubicBezTo>
                    <a:pt x="9641" y="9956"/>
                    <a:pt x="9704" y="9672"/>
                    <a:pt x="9704" y="9420"/>
                  </a:cubicBezTo>
                  <a:cubicBezTo>
                    <a:pt x="9704" y="9137"/>
                    <a:pt x="9578" y="8853"/>
                    <a:pt x="9421" y="8664"/>
                  </a:cubicBezTo>
                  <a:cubicBezTo>
                    <a:pt x="9641" y="8475"/>
                    <a:pt x="9704" y="8192"/>
                    <a:pt x="9704" y="7908"/>
                  </a:cubicBezTo>
                  <a:cubicBezTo>
                    <a:pt x="9704" y="7625"/>
                    <a:pt x="9578" y="7373"/>
                    <a:pt x="9421" y="7152"/>
                  </a:cubicBezTo>
                  <a:cubicBezTo>
                    <a:pt x="9641" y="6963"/>
                    <a:pt x="9704" y="6680"/>
                    <a:pt x="9704" y="6427"/>
                  </a:cubicBezTo>
                  <a:lnTo>
                    <a:pt x="9704" y="2993"/>
                  </a:lnTo>
                  <a:cubicBezTo>
                    <a:pt x="9704" y="1355"/>
                    <a:pt x="8349" y="0"/>
                    <a:pt x="6711" y="0"/>
                  </a:cubicBezTo>
                  <a:cubicBezTo>
                    <a:pt x="6049" y="0"/>
                    <a:pt x="5388" y="253"/>
                    <a:pt x="4852" y="662"/>
                  </a:cubicBezTo>
                  <a:cubicBezTo>
                    <a:pt x="4348" y="253"/>
                    <a:pt x="3687" y="0"/>
                    <a:pt x="30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40" name="Google Shape;7240;p74"/>
          <p:cNvGrpSpPr/>
          <p:nvPr/>
        </p:nvGrpSpPr>
        <p:grpSpPr>
          <a:xfrm>
            <a:off x="7050252" y="2044243"/>
            <a:ext cx="482664" cy="481453"/>
            <a:chOff x="-57578225" y="1904075"/>
            <a:chExt cx="319025" cy="318225"/>
          </a:xfrm>
        </p:grpSpPr>
        <p:sp>
          <p:nvSpPr>
            <p:cNvPr id="7241" name="Google Shape;7241;p74"/>
            <p:cNvSpPr/>
            <p:nvPr/>
          </p:nvSpPr>
          <p:spPr>
            <a:xfrm>
              <a:off x="-57578225" y="1904075"/>
              <a:ext cx="319025" cy="318225"/>
            </a:xfrm>
            <a:custGeom>
              <a:avLst/>
              <a:gdLst/>
              <a:ahLst/>
              <a:cxnLst/>
              <a:rect l="l" t="t" r="r" b="b"/>
              <a:pathLst>
                <a:path w="12761" h="12729" extrusionOk="0">
                  <a:moveTo>
                    <a:pt x="4601" y="1418"/>
                  </a:moveTo>
                  <a:cubicBezTo>
                    <a:pt x="4632" y="1702"/>
                    <a:pt x="4727" y="1922"/>
                    <a:pt x="4790" y="2206"/>
                  </a:cubicBezTo>
                  <a:cubicBezTo>
                    <a:pt x="3687" y="2962"/>
                    <a:pt x="2994" y="4254"/>
                    <a:pt x="2994" y="5640"/>
                  </a:cubicBezTo>
                  <a:lnTo>
                    <a:pt x="2994" y="5986"/>
                  </a:lnTo>
                  <a:cubicBezTo>
                    <a:pt x="2710" y="5986"/>
                    <a:pt x="2458" y="6081"/>
                    <a:pt x="2238" y="6175"/>
                  </a:cubicBezTo>
                  <a:lnTo>
                    <a:pt x="2238" y="5608"/>
                  </a:lnTo>
                  <a:cubicBezTo>
                    <a:pt x="2238" y="3876"/>
                    <a:pt x="3183" y="2300"/>
                    <a:pt x="4601" y="1418"/>
                  </a:cubicBezTo>
                  <a:close/>
                  <a:moveTo>
                    <a:pt x="7121" y="757"/>
                  </a:moveTo>
                  <a:cubicBezTo>
                    <a:pt x="9799" y="757"/>
                    <a:pt x="12004" y="2930"/>
                    <a:pt x="12004" y="5640"/>
                  </a:cubicBezTo>
                  <a:lnTo>
                    <a:pt x="12004" y="6238"/>
                  </a:lnTo>
                  <a:cubicBezTo>
                    <a:pt x="11752" y="6112"/>
                    <a:pt x="11532" y="6018"/>
                    <a:pt x="11248" y="6018"/>
                  </a:cubicBezTo>
                  <a:lnTo>
                    <a:pt x="10902" y="6018"/>
                  </a:lnTo>
                  <a:cubicBezTo>
                    <a:pt x="8098" y="6018"/>
                    <a:pt x="5703" y="3907"/>
                    <a:pt x="5325" y="1103"/>
                  </a:cubicBezTo>
                  <a:cubicBezTo>
                    <a:pt x="5861" y="883"/>
                    <a:pt x="6491" y="757"/>
                    <a:pt x="7121" y="757"/>
                  </a:cubicBezTo>
                  <a:close/>
                  <a:moveTo>
                    <a:pt x="2994" y="6742"/>
                  </a:moveTo>
                  <a:lnTo>
                    <a:pt x="2994" y="8223"/>
                  </a:lnTo>
                  <a:cubicBezTo>
                    <a:pt x="2616" y="8223"/>
                    <a:pt x="2238" y="7971"/>
                    <a:pt x="2238" y="7436"/>
                  </a:cubicBezTo>
                  <a:cubicBezTo>
                    <a:pt x="2269" y="7058"/>
                    <a:pt x="2584" y="6742"/>
                    <a:pt x="2994" y="6742"/>
                  </a:cubicBezTo>
                  <a:close/>
                  <a:moveTo>
                    <a:pt x="11248" y="6742"/>
                  </a:moveTo>
                  <a:cubicBezTo>
                    <a:pt x="11658" y="6742"/>
                    <a:pt x="12004" y="7058"/>
                    <a:pt x="12004" y="7499"/>
                  </a:cubicBezTo>
                  <a:cubicBezTo>
                    <a:pt x="12004" y="7908"/>
                    <a:pt x="11658" y="8223"/>
                    <a:pt x="11248" y="8223"/>
                  </a:cubicBezTo>
                  <a:lnTo>
                    <a:pt x="11248" y="6742"/>
                  </a:lnTo>
                  <a:close/>
                  <a:moveTo>
                    <a:pt x="1828" y="8444"/>
                  </a:moveTo>
                  <a:cubicBezTo>
                    <a:pt x="2112" y="8790"/>
                    <a:pt x="2553" y="8979"/>
                    <a:pt x="3025" y="8979"/>
                  </a:cubicBezTo>
                  <a:cubicBezTo>
                    <a:pt x="3088" y="9830"/>
                    <a:pt x="3466" y="10681"/>
                    <a:pt x="4034" y="11311"/>
                  </a:cubicBezTo>
                  <a:cubicBezTo>
                    <a:pt x="3656" y="11752"/>
                    <a:pt x="3183" y="11972"/>
                    <a:pt x="2616" y="11972"/>
                  </a:cubicBezTo>
                  <a:cubicBezTo>
                    <a:pt x="1608" y="11972"/>
                    <a:pt x="789" y="11153"/>
                    <a:pt x="789" y="10113"/>
                  </a:cubicBezTo>
                  <a:cubicBezTo>
                    <a:pt x="789" y="9420"/>
                    <a:pt x="1198" y="8759"/>
                    <a:pt x="1828" y="8444"/>
                  </a:cubicBezTo>
                  <a:close/>
                  <a:moveTo>
                    <a:pt x="5042" y="2962"/>
                  </a:moveTo>
                  <a:cubicBezTo>
                    <a:pt x="5987" y="5073"/>
                    <a:pt x="8066" y="6616"/>
                    <a:pt x="10461" y="6774"/>
                  </a:cubicBezTo>
                  <a:lnTo>
                    <a:pt x="10461" y="8664"/>
                  </a:lnTo>
                  <a:cubicBezTo>
                    <a:pt x="10492" y="10492"/>
                    <a:pt x="8980" y="11972"/>
                    <a:pt x="7121" y="11972"/>
                  </a:cubicBezTo>
                  <a:cubicBezTo>
                    <a:pt x="5262" y="11972"/>
                    <a:pt x="3719" y="10460"/>
                    <a:pt x="3719" y="8633"/>
                  </a:cubicBezTo>
                  <a:lnTo>
                    <a:pt x="3719" y="5640"/>
                  </a:lnTo>
                  <a:cubicBezTo>
                    <a:pt x="3719" y="4600"/>
                    <a:pt x="4254" y="3592"/>
                    <a:pt x="5042" y="2962"/>
                  </a:cubicBezTo>
                  <a:close/>
                  <a:moveTo>
                    <a:pt x="7121" y="0"/>
                  </a:moveTo>
                  <a:cubicBezTo>
                    <a:pt x="5577" y="0"/>
                    <a:pt x="4191" y="631"/>
                    <a:pt x="3151" y="1670"/>
                  </a:cubicBezTo>
                  <a:cubicBezTo>
                    <a:pt x="2080" y="2710"/>
                    <a:pt x="1482" y="4128"/>
                    <a:pt x="1482" y="5640"/>
                  </a:cubicBezTo>
                  <a:lnTo>
                    <a:pt x="1482" y="7751"/>
                  </a:lnTo>
                  <a:cubicBezTo>
                    <a:pt x="568" y="8192"/>
                    <a:pt x="1" y="9105"/>
                    <a:pt x="1" y="10113"/>
                  </a:cubicBezTo>
                  <a:cubicBezTo>
                    <a:pt x="1" y="11594"/>
                    <a:pt x="1167" y="12728"/>
                    <a:pt x="2584" y="12728"/>
                  </a:cubicBezTo>
                  <a:cubicBezTo>
                    <a:pt x="3340" y="12728"/>
                    <a:pt x="4034" y="12413"/>
                    <a:pt x="4569" y="11846"/>
                  </a:cubicBezTo>
                  <a:cubicBezTo>
                    <a:pt x="5262" y="12413"/>
                    <a:pt x="6176" y="12728"/>
                    <a:pt x="7121" y="12728"/>
                  </a:cubicBezTo>
                  <a:cubicBezTo>
                    <a:pt x="8224" y="12728"/>
                    <a:pt x="9232" y="12287"/>
                    <a:pt x="10020" y="11500"/>
                  </a:cubicBezTo>
                  <a:cubicBezTo>
                    <a:pt x="10744" y="10838"/>
                    <a:pt x="11122" y="9924"/>
                    <a:pt x="11217" y="8979"/>
                  </a:cubicBezTo>
                  <a:cubicBezTo>
                    <a:pt x="12036" y="8979"/>
                    <a:pt x="12697" y="8318"/>
                    <a:pt x="12697" y="7499"/>
                  </a:cubicBezTo>
                  <a:lnTo>
                    <a:pt x="12697" y="5640"/>
                  </a:lnTo>
                  <a:cubicBezTo>
                    <a:pt x="12760" y="4128"/>
                    <a:pt x="12162" y="2710"/>
                    <a:pt x="11091" y="1670"/>
                  </a:cubicBezTo>
                  <a:cubicBezTo>
                    <a:pt x="10020" y="599"/>
                    <a:pt x="8602" y="0"/>
                    <a:pt x="71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2" name="Google Shape;7242;p74"/>
            <p:cNvSpPr/>
            <p:nvPr/>
          </p:nvSpPr>
          <p:spPr>
            <a:xfrm>
              <a:off x="-57446675" y="2073400"/>
              <a:ext cx="18125" cy="18150"/>
            </a:xfrm>
            <a:custGeom>
              <a:avLst/>
              <a:gdLst/>
              <a:ahLst/>
              <a:cxnLst/>
              <a:rect l="l" t="t" r="r" b="b"/>
              <a:pathLst>
                <a:path w="725" h="726" extrusionOk="0">
                  <a:moveTo>
                    <a:pt x="347" y="1"/>
                  </a:moveTo>
                  <a:cubicBezTo>
                    <a:pt x="158" y="1"/>
                    <a:pt x="0" y="158"/>
                    <a:pt x="0" y="348"/>
                  </a:cubicBezTo>
                  <a:cubicBezTo>
                    <a:pt x="0" y="568"/>
                    <a:pt x="158" y="726"/>
                    <a:pt x="347" y="726"/>
                  </a:cubicBezTo>
                  <a:cubicBezTo>
                    <a:pt x="567" y="726"/>
                    <a:pt x="725" y="568"/>
                    <a:pt x="725" y="348"/>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3" name="Google Shape;7243;p74"/>
            <p:cNvSpPr/>
            <p:nvPr/>
          </p:nvSpPr>
          <p:spPr>
            <a:xfrm>
              <a:off x="-57371850" y="2073400"/>
              <a:ext cx="18125" cy="18150"/>
            </a:xfrm>
            <a:custGeom>
              <a:avLst/>
              <a:gdLst/>
              <a:ahLst/>
              <a:cxnLst/>
              <a:rect l="l" t="t" r="r" b="b"/>
              <a:pathLst>
                <a:path w="725" h="726" extrusionOk="0">
                  <a:moveTo>
                    <a:pt x="347" y="1"/>
                  </a:moveTo>
                  <a:cubicBezTo>
                    <a:pt x="158" y="1"/>
                    <a:pt x="0" y="158"/>
                    <a:pt x="0" y="348"/>
                  </a:cubicBezTo>
                  <a:cubicBezTo>
                    <a:pt x="0" y="537"/>
                    <a:pt x="158" y="726"/>
                    <a:pt x="347" y="726"/>
                  </a:cubicBezTo>
                  <a:cubicBezTo>
                    <a:pt x="567" y="726"/>
                    <a:pt x="725" y="537"/>
                    <a:pt x="725" y="348"/>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4" name="Google Shape;7244;p74"/>
            <p:cNvSpPr/>
            <p:nvPr/>
          </p:nvSpPr>
          <p:spPr>
            <a:xfrm>
              <a:off x="-57436450" y="2136625"/>
              <a:ext cx="72500" cy="29750"/>
            </a:xfrm>
            <a:custGeom>
              <a:avLst/>
              <a:gdLst/>
              <a:ahLst/>
              <a:cxnLst/>
              <a:rect l="l" t="t" r="r" b="b"/>
              <a:pathLst>
                <a:path w="2900" h="1190" extrusionOk="0">
                  <a:moveTo>
                    <a:pt x="387" y="0"/>
                  </a:moveTo>
                  <a:cubicBezTo>
                    <a:pt x="292" y="0"/>
                    <a:pt x="206" y="40"/>
                    <a:pt x="158" y="118"/>
                  </a:cubicBezTo>
                  <a:cubicBezTo>
                    <a:pt x="1" y="276"/>
                    <a:pt x="1" y="496"/>
                    <a:pt x="158" y="622"/>
                  </a:cubicBezTo>
                  <a:cubicBezTo>
                    <a:pt x="505" y="969"/>
                    <a:pt x="977" y="1190"/>
                    <a:pt x="1450" y="1190"/>
                  </a:cubicBezTo>
                  <a:cubicBezTo>
                    <a:pt x="1923" y="1190"/>
                    <a:pt x="2427" y="969"/>
                    <a:pt x="2742" y="622"/>
                  </a:cubicBezTo>
                  <a:cubicBezTo>
                    <a:pt x="2899" y="465"/>
                    <a:pt x="2899" y="244"/>
                    <a:pt x="2742" y="118"/>
                  </a:cubicBezTo>
                  <a:cubicBezTo>
                    <a:pt x="2679" y="40"/>
                    <a:pt x="2592" y="0"/>
                    <a:pt x="2502" y="0"/>
                  </a:cubicBezTo>
                  <a:cubicBezTo>
                    <a:pt x="2411" y="0"/>
                    <a:pt x="2316" y="40"/>
                    <a:pt x="2238" y="118"/>
                  </a:cubicBezTo>
                  <a:cubicBezTo>
                    <a:pt x="2049" y="307"/>
                    <a:pt x="1734" y="433"/>
                    <a:pt x="1450" y="433"/>
                  </a:cubicBezTo>
                  <a:cubicBezTo>
                    <a:pt x="1167" y="433"/>
                    <a:pt x="851" y="307"/>
                    <a:pt x="662" y="118"/>
                  </a:cubicBezTo>
                  <a:cubicBezTo>
                    <a:pt x="584" y="40"/>
                    <a:pt x="481" y="0"/>
                    <a:pt x="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45" name="Google Shape;7245;p74"/>
          <p:cNvGrpSpPr/>
          <p:nvPr/>
        </p:nvGrpSpPr>
        <p:grpSpPr>
          <a:xfrm>
            <a:off x="7080056" y="2675258"/>
            <a:ext cx="423053" cy="481453"/>
            <a:chOff x="-57558525" y="2294725"/>
            <a:chExt cx="279625" cy="318225"/>
          </a:xfrm>
        </p:grpSpPr>
        <p:sp>
          <p:nvSpPr>
            <p:cNvPr id="7246" name="Google Shape;7246;p74"/>
            <p:cNvSpPr/>
            <p:nvPr/>
          </p:nvSpPr>
          <p:spPr>
            <a:xfrm>
              <a:off x="-57455350" y="2498925"/>
              <a:ext cx="72475" cy="29750"/>
            </a:xfrm>
            <a:custGeom>
              <a:avLst/>
              <a:gdLst/>
              <a:ahLst/>
              <a:cxnLst/>
              <a:rect l="l" t="t" r="r" b="b"/>
              <a:pathLst>
                <a:path w="2899" h="1190" extrusionOk="0">
                  <a:moveTo>
                    <a:pt x="398" y="0"/>
                  </a:moveTo>
                  <a:cubicBezTo>
                    <a:pt x="308" y="0"/>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0"/>
                    <a:pt x="2513" y="0"/>
                  </a:cubicBezTo>
                  <a:cubicBezTo>
                    <a:pt x="2419" y="0"/>
                    <a:pt x="2316" y="40"/>
                    <a:pt x="2238" y="119"/>
                  </a:cubicBezTo>
                  <a:cubicBezTo>
                    <a:pt x="2049" y="308"/>
                    <a:pt x="1733" y="434"/>
                    <a:pt x="1450" y="434"/>
                  </a:cubicBezTo>
                  <a:cubicBezTo>
                    <a:pt x="1135" y="434"/>
                    <a:pt x="851" y="308"/>
                    <a:pt x="662" y="119"/>
                  </a:cubicBezTo>
                  <a:cubicBezTo>
                    <a:pt x="584" y="40"/>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7" name="Google Shape;7247;p74"/>
            <p:cNvSpPr/>
            <p:nvPr/>
          </p:nvSpPr>
          <p:spPr>
            <a:xfrm>
              <a:off x="-57465575" y="242705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8" name="Google Shape;7248;p74"/>
            <p:cNvSpPr/>
            <p:nvPr/>
          </p:nvSpPr>
          <p:spPr>
            <a:xfrm>
              <a:off x="-57389975" y="24270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49" name="Google Shape;7249;p74"/>
            <p:cNvSpPr/>
            <p:nvPr/>
          </p:nvSpPr>
          <p:spPr>
            <a:xfrm>
              <a:off x="-57558525" y="2294725"/>
              <a:ext cx="279625" cy="318225"/>
            </a:xfrm>
            <a:custGeom>
              <a:avLst/>
              <a:gdLst/>
              <a:ahLst/>
              <a:cxnLst/>
              <a:rect l="l" t="t" r="r" b="b"/>
              <a:pathLst>
                <a:path w="11185" h="12729" extrusionOk="0">
                  <a:moveTo>
                    <a:pt x="5577" y="788"/>
                  </a:moveTo>
                  <a:cubicBezTo>
                    <a:pt x="8255" y="788"/>
                    <a:pt x="10429" y="2962"/>
                    <a:pt x="10429" y="5640"/>
                  </a:cubicBezTo>
                  <a:lnTo>
                    <a:pt x="10429" y="12036"/>
                  </a:lnTo>
                  <a:lnTo>
                    <a:pt x="725" y="12036"/>
                  </a:lnTo>
                  <a:lnTo>
                    <a:pt x="725" y="5640"/>
                  </a:lnTo>
                  <a:cubicBezTo>
                    <a:pt x="725" y="2962"/>
                    <a:pt x="2899" y="788"/>
                    <a:pt x="5577" y="788"/>
                  </a:cubicBezTo>
                  <a:close/>
                  <a:moveTo>
                    <a:pt x="5577" y="1"/>
                  </a:moveTo>
                  <a:cubicBezTo>
                    <a:pt x="2458" y="1"/>
                    <a:pt x="1" y="2521"/>
                    <a:pt x="1" y="5609"/>
                  </a:cubicBezTo>
                  <a:lnTo>
                    <a:pt x="1" y="12382"/>
                  </a:lnTo>
                  <a:cubicBezTo>
                    <a:pt x="1" y="12571"/>
                    <a:pt x="158" y="12729"/>
                    <a:pt x="347" y="12729"/>
                  </a:cubicBezTo>
                  <a:lnTo>
                    <a:pt x="10775" y="12729"/>
                  </a:lnTo>
                  <a:cubicBezTo>
                    <a:pt x="10964" y="12729"/>
                    <a:pt x="11122" y="12571"/>
                    <a:pt x="11122" y="12382"/>
                  </a:cubicBezTo>
                  <a:lnTo>
                    <a:pt x="11122" y="5609"/>
                  </a:lnTo>
                  <a:cubicBezTo>
                    <a:pt x="11185" y="2521"/>
                    <a:pt x="8696"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0" name="Google Shape;7250;p74"/>
            <p:cNvSpPr/>
            <p:nvPr/>
          </p:nvSpPr>
          <p:spPr>
            <a:xfrm>
              <a:off x="-57521500" y="2332550"/>
              <a:ext cx="204800" cy="241825"/>
            </a:xfrm>
            <a:custGeom>
              <a:avLst/>
              <a:gdLst/>
              <a:ahLst/>
              <a:cxnLst/>
              <a:rect l="l" t="t" r="r" b="b"/>
              <a:pathLst>
                <a:path w="8192" h="9673" extrusionOk="0">
                  <a:moveTo>
                    <a:pt x="4096" y="756"/>
                  </a:moveTo>
                  <a:cubicBezTo>
                    <a:pt x="5230" y="756"/>
                    <a:pt x="6301" y="1323"/>
                    <a:pt x="6900" y="2237"/>
                  </a:cubicBezTo>
                  <a:lnTo>
                    <a:pt x="1292" y="2237"/>
                  </a:lnTo>
                  <a:cubicBezTo>
                    <a:pt x="1891" y="1323"/>
                    <a:pt x="2930" y="756"/>
                    <a:pt x="4096" y="756"/>
                  </a:cubicBezTo>
                  <a:close/>
                  <a:moveTo>
                    <a:pt x="7278" y="3025"/>
                  </a:moveTo>
                  <a:cubicBezTo>
                    <a:pt x="7404" y="3371"/>
                    <a:pt x="7498" y="3718"/>
                    <a:pt x="7498" y="4127"/>
                  </a:cubicBezTo>
                  <a:lnTo>
                    <a:pt x="7498" y="5230"/>
                  </a:lnTo>
                  <a:lnTo>
                    <a:pt x="756" y="5230"/>
                  </a:lnTo>
                  <a:lnTo>
                    <a:pt x="756" y="4127"/>
                  </a:lnTo>
                  <a:cubicBezTo>
                    <a:pt x="756" y="3718"/>
                    <a:pt x="819" y="3340"/>
                    <a:pt x="945" y="3025"/>
                  </a:cubicBezTo>
                  <a:close/>
                  <a:moveTo>
                    <a:pt x="7404" y="5986"/>
                  </a:moveTo>
                  <a:cubicBezTo>
                    <a:pt x="7246" y="7624"/>
                    <a:pt x="5829" y="8979"/>
                    <a:pt x="4096" y="8979"/>
                  </a:cubicBezTo>
                  <a:cubicBezTo>
                    <a:pt x="2363" y="8979"/>
                    <a:pt x="945" y="7687"/>
                    <a:pt x="756" y="5986"/>
                  </a:cubicBezTo>
                  <a:close/>
                  <a:moveTo>
                    <a:pt x="4096" y="0"/>
                  </a:moveTo>
                  <a:cubicBezTo>
                    <a:pt x="1859" y="0"/>
                    <a:pt x="0" y="1827"/>
                    <a:pt x="0" y="4096"/>
                  </a:cubicBezTo>
                  <a:lnTo>
                    <a:pt x="0" y="5576"/>
                  </a:lnTo>
                  <a:cubicBezTo>
                    <a:pt x="0" y="7845"/>
                    <a:pt x="1859" y="9672"/>
                    <a:pt x="4096" y="9672"/>
                  </a:cubicBezTo>
                  <a:cubicBezTo>
                    <a:pt x="6333" y="9672"/>
                    <a:pt x="8192" y="7845"/>
                    <a:pt x="8192" y="5576"/>
                  </a:cubicBezTo>
                  <a:lnTo>
                    <a:pt x="8192" y="4096"/>
                  </a:lnTo>
                  <a:cubicBezTo>
                    <a:pt x="8192" y="1859"/>
                    <a:pt x="6333" y="0"/>
                    <a:pt x="40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51" name="Google Shape;7251;p74"/>
          <p:cNvGrpSpPr/>
          <p:nvPr/>
        </p:nvGrpSpPr>
        <p:grpSpPr>
          <a:xfrm>
            <a:off x="7047868" y="3278704"/>
            <a:ext cx="487429" cy="482625"/>
            <a:chOff x="-57579800" y="2686975"/>
            <a:chExt cx="322175" cy="319000"/>
          </a:xfrm>
        </p:grpSpPr>
        <p:sp>
          <p:nvSpPr>
            <p:cNvPr id="7252" name="Google Shape;7252;p74"/>
            <p:cNvSpPr/>
            <p:nvPr/>
          </p:nvSpPr>
          <p:spPr>
            <a:xfrm>
              <a:off x="-57455350" y="2920300"/>
              <a:ext cx="72475" cy="29750"/>
            </a:xfrm>
            <a:custGeom>
              <a:avLst/>
              <a:gdLst/>
              <a:ahLst/>
              <a:cxnLst/>
              <a:rect l="l" t="t" r="r" b="b"/>
              <a:pathLst>
                <a:path w="2899" h="1190" extrusionOk="0">
                  <a:moveTo>
                    <a:pt x="398" y="1"/>
                  </a:moveTo>
                  <a:cubicBezTo>
                    <a:pt x="308" y="1"/>
                    <a:pt x="221" y="40"/>
                    <a:pt x="158" y="119"/>
                  </a:cubicBezTo>
                  <a:cubicBezTo>
                    <a:pt x="1" y="276"/>
                    <a:pt x="1" y="497"/>
                    <a:pt x="158" y="623"/>
                  </a:cubicBezTo>
                  <a:cubicBezTo>
                    <a:pt x="505" y="969"/>
                    <a:pt x="977" y="1190"/>
                    <a:pt x="1450" y="1190"/>
                  </a:cubicBezTo>
                  <a:cubicBezTo>
                    <a:pt x="1923" y="1190"/>
                    <a:pt x="2427" y="969"/>
                    <a:pt x="2742" y="623"/>
                  </a:cubicBezTo>
                  <a:cubicBezTo>
                    <a:pt x="2899" y="465"/>
                    <a:pt x="2899" y="245"/>
                    <a:pt x="2742" y="119"/>
                  </a:cubicBezTo>
                  <a:cubicBezTo>
                    <a:pt x="2694" y="40"/>
                    <a:pt x="2608" y="1"/>
                    <a:pt x="2513" y="1"/>
                  </a:cubicBezTo>
                  <a:cubicBezTo>
                    <a:pt x="2419" y="1"/>
                    <a:pt x="2316" y="40"/>
                    <a:pt x="2238" y="119"/>
                  </a:cubicBezTo>
                  <a:cubicBezTo>
                    <a:pt x="2049" y="308"/>
                    <a:pt x="1733" y="434"/>
                    <a:pt x="1450" y="434"/>
                  </a:cubicBezTo>
                  <a:cubicBezTo>
                    <a:pt x="1135" y="434"/>
                    <a:pt x="851" y="308"/>
                    <a:pt x="662" y="119"/>
                  </a:cubicBezTo>
                  <a:cubicBezTo>
                    <a:pt x="584"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3" name="Google Shape;7253;p74"/>
            <p:cNvSpPr/>
            <p:nvPr/>
          </p:nvSpPr>
          <p:spPr>
            <a:xfrm>
              <a:off x="-57579800" y="2686975"/>
              <a:ext cx="322175" cy="319000"/>
            </a:xfrm>
            <a:custGeom>
              <a:avLst/>
              <a:gdLst/>
              <a:ahLst/>
              <a:cxnLst/>
              <a:rect l="l" t="t" r="r" b="b"/>
              <a:pathLst>
                <a:path w="12887" h="12760" extrusionOk="0">
                  <a:moveTo>
                    <a:pt x="6428" y="756"/>
                  </a:moveTo>
                  <a:cubicBezTo>
                    <a:pt x="6680" y="756"/>
                    <a:pt x="6901" y="945"/>
                    <a:pt x="6932" y="1166"/>
                  </a:cubicBezTo>
                  <a:lnTo>
                    <a:pt x="7153" y="2080"/>
                  </a:lnTo>
                  <a:lnTo>
                    <a:pt x="7247" y="2710"/>
                  </a:lnTo>
                  <a:cubicBezTo>
                    <a:pt x="7373" y="3214"/>
                    <a:pt x="6932" y="3749"/>
                    <a:pt x="6428" y="3749"/>
                  </a:cubicBezTo>
                  <a:cubicBezTo>
                    <a:pt x="5892" y="3749"/>
                    <a:pt x="5483" y="3277"/>
                    <a:pt x="5609" y="2710"/>
                  </a:cubicBezTo>
                  <a:lnTo>
                    <a:pt x="5735" y="2080"/>
                  </a:lnTo>
                  <a:lnTo>
                    <a:pt x="5924" y="1166"/>
                  </a:lnTo>
                  <a:cubicBezTo>
                    <a:pt x="5955" y="945"/>
                    <a:pt x="6144" y="756"/>
                    <a:pt x="6428" y="756"/>
                  </a:cubicBezTo>
                  <a:close/>
                  <a:moveTo>
                    <a:pt x="8003" y="2647"/>
                  </a:moveTo>
                  <a:lnTo>
                    <a:pt x="8003" y="2647"/>
                  </a:lnTo>
                  <a:cubicBezTo>
                    <a:pt x="9106" y="3214"/>
                    <a:pt x="9830" y="4379"/>
                    <a:pt x="9830" y="5577"/>
                  </a:cubicBezTo>
                  <a:lnTo>
                    <a:pt x="9830" y="6049"/>
                  </a:lnTo>
                  <a:cubicBezTo>
                    <a:pt x="9704" y="6018"/>
                    <a:pt x="9578" y="5986"/>
                    <a:pt x="9452" y="5986"/>
                  </a:cubicBezTo>
                  <a:lnTo>
                    <a:pt x="7940" y="5986"/>
                  </a:lnTo>
                  <a:cubicBezTo>
                    <a:pt x="7468" y="5986"/>
                    <a:pt x="7027" y="6301"/>
                    <a:pt x="6869" y="6742"/>
                  </a:cubicBezTo>
                  <a:lnTo>
                    <a:pt x="6018" y="6742"/>
                  </a:lnTo>
                  <a:cubicBezTo>
                    <a:pt x="5861" y="6301"/>
                    <a:pt x="5451" y="5986"/>
                    <a:pt x="4947" y="5986"/>
                  </a:cubicBezTo>
                  <a:lnTo>
                    <a:pt x="3403" y="5986"/>
                  </a:lnTo>
                  <a:cubicBezTo>
                    <a:pt x="3277" y="5986"/>
                    <a:pt x="3120" y="6018"/>
                    <a:pt x="3057" y="6049"/>
                  </a:cubicBezTo>
                  <a:lnTo>
                    <a:pt x="3057" y="5577"/>
                  </a:lnTo>
                  <a:cubicBezTo>
                    <a:pt x="3057" y="4379"/>
                    <a:pt x="3750" y="3214"/>
                    <a:pt x="4853" y="2647"/>
                  </a:cubicBezTo>
                  <a:lnTo>
                    <a:pt x="4853" y="2647"/>
                  </a:lnTo>
                  <a:cubicBezTo>
                    <a:pt x="4695" y="3623"/>
                    <a:pt x="5451" y="4474"/>
                    <a:pt x="6428" y="4474"/>
                  </a:cubicBezTo>
                  <a:cubicBezTo>
                    <a:pt x="7405" y="4474"/>
                    <a:pt x="8161" y="3623"/>
                    <a:pt x="8003" y="2647"/>
                  </a:cubicBezTo>
                  <a:close/>
                  <a:moveTo>
                    <a:pt x="2301" y="6774"/>
                  </a:moveTo>
                  <a:lnTo>
                    <a:pt x="2301" y="8254"/>
                  </a:lnTo>
                  <a:cubicBezTo>
                    <a:pt x="1891" y="8254"/>
                    <a:pt x="1545" y="7939"/>
                    <a:pt x="1545" y="7530"/>
                  </a:cubicBezTo>
                  <a:cubicBezTo>
                    <a:pt x="1545" y="7120"/>
                    <a:pt x="1891" y="6774"/>
                    <a:pt x="2301" y="6774"/>
                  </a:cubicBezTo>
                  <a:close/>
                  <a:moveTo>
                    <a:pt x="4947" y="6805"/>
                  </a:moveTo>
                  <a:cubicBezTo>
                    <a:pt x="5136" y="6805"/>
                    <a:pt x="5294" y="6963"/>
                    <a:pt x="5294" y="7152"/>
                  </a:cubicBezTo>
                  <a:cubicBezTo>
                    <a:pt x="5294" y="7782"/>
                    <a:pt x="4790" y="8254"/>
                    <a:pt x="4191" y="8254"/>
                  </a:cubicBezTo>
                  <a:lnTo>
                    <a:pt x="3403" y="8254"/>
                  </a:lnTo>
                  <a:cubicBezTo>
                    <a:pt x="3214" y="8254"/>
                    <a:pt x="3057" y="8097"/>
                    <a:pt x="3057" y="7908"/>
                  </a:cubicBezTo>
                  <a:lnTo>
                    <a:pt x="3057" y="7152"/>
                  </a:lnTo>
                  <a:cubicBezTo>
                    <a:pt x="3057" y="6963"/>
                    <a:pt x="3214" y="6805"/>
                    <a:pt x="3403" y="6805"/>
                  </a:cubicBezTo>
                  <a:close/>
                  <a:moveTo>
                    <a:pt x="9452" y="6805"/>
                  </a:moveTo>
                  <a:cubicBezTo>
                    <a:pt x="9673" y="6805"/>
                    <a:pt x="9830" y="6963"/>
                    <a:pt x="9830" y="7152"/>
                  </a:cubicBezTo>
                  <a:lnTo>
                    <a:pt x="9830" y="7908"/>
                  </a:lnTo>
                  <a:cubicBezTo>
                    <a:pt x="9830" y="8097"/>
                    <a:pt x="9673" y="8254"/>
                    <a:pt x="9452" y="8254"/>
                  </a:cubicBezTo>
                  <a:lnTo>
                    <a:pt x="8665" y="8254"/>
                  </a:lnTo>
                  <a:cubicBezTo>
                    <a:pt x="8035" y="8254"/>
                    <a:pt x="7562" y="7750"/>
                    <a:pt x="7562" y="7152"/>
                  </a:cubicBezTo>
                  <a:cubicBezTo>
                    <a:pt x="7562" y="6963"/>
                    <a:pt x="7720" y="6805"/>
                    <a:pt x="7940" y="6805"/>
                  </a:cubicBezTo>
                  <a:close/>
                  <a:moveTo>
                    <a:pt x="10587" y="6774"/>
                  </a:moveTo>
                  <a:cubicBezTo>
                    <a:pt x="10965" y="6774"/>
                    <a:pt x="11311" y="7120"/>
                    <a:pt x="11311" y="7530"/>
                  </a:cubicBezTo>
                  <a:cubicBezTo>
                    <a:pt x="11311" y="7908"/>
                    <a:pt x="10996" y="8254"/>
                    <a:pt x="10587" y="8254"/>
                  </a:cubicBezTo>
                  <a:lnTo>
                    <a:pt x="10587" y="6774"/>
                  </a:lnTo>
                  <a:close/>
                  <a:moveTo>
                    <a:pt x="1135" y="8412"/>
                  </a:moveTo>
                  <a:cubicBezTo>
                    <a:pt x="1387" y="8790"/>
                    <a:pt x="1828" y="9011"/>
                    <a:pt x="2301" y="9011"/>
                  </a:cubicBezTo>
                  <a:cubicBezTo>
                    <a:pt x="2301" y="9420"/>
                    <a:pt x="1986" y="9767"/>
                    <a:pt x="1545" y="9767"/>
                  </a:cubicBezTo>
                  <a:cubicBezTo>
                    <a:pt x="1167" y="9767"/>
                    <a:pt x="789" y="9452"/>
                    <a:pt x="789" y="9011"/>
                  </a:cubicBezTo>
                  <a:cubicBezTo>
                    <a:pt x="789" y="8790"/>
                    <a:pt x="915" y="8538"/>
                    <a:pt x="1135" y="8412"/>
                  </a:cubicBezTo>
                  <a:close/>
                  <a:moveTo>
                    <a:pt x="11752" y="8412"/>
                  </a:moveTo>
                  <a:cubicBezTo>
                    <a:pt x="11941" y="8570"/>
                    <a:pt x="12067" y="8790"/>
                    <a:pt x="12067" y="9011"/>
                  </a:cubicBezTo>
                  <a:cubicBezTo>
                    <a:pt x="12067" y="9420"/>
                    <a:pt x="11752" y="9767"/>
                    <a:pt x="11311" y="9767"/>
                  </a:cubicBezTo>
                  <a:cubicBezTo>
                    <a:pt x="10870" y="9767"/>
                    <a:pt x="10555" y="9420"/>
                    <a:pt x="10555" y="9011"/>
                  </a:cubicBezTo>
                  <a:cubicBezTo>
                    <a:pt x="11028" y="9011"/>
                    <a:pt x="11469" y="8790"/>
                    <a:pt x="11752" y="8412"/>
                  </a:cubicBezTo>
                  <a:close/>
                  <a:moveTo>
                    <a:pt x="6837" y="7561"/>
                  </a:moveTo>
                  <a:cubicBezTo>
                    <a:pt x="6995" y="8412"/>
                    <a:pt x="7783" y="9042"/>
                    <a:pt x="8633" y="9042"/>
                  </a:cubicBezTo>
                  <a:lnTo>
                    <a:pt x="9421" y="9042"/>
                  </a:lnTo>
                  <a:cubicBezTo>
                    <a:pt x="9547" y="9042"/>
                    <a:pt x="9673" y="9011"/>
                    <a:pt x="9767" y="8979"/>
                  </a:cubicBezTo>
                  <a:lnTo>
                    <a:pt x="9767" y="8979"/>
                  </a:lnTo>
                  <a:cubicBezTo>
                    <a:pt x="9610" y="10680"/>
                    <a:pt x="8192" y="12004"/>
                    <a:pt x="6428" y="12004"/>
                  </a:cubicBezTo>
                  <a:cubicBezTo>
                    <a:pt x="4664" y="12004"/>
                    <a:pt x="3246" y="10680"/>
                    <a:pt x="3057" y="8979"/>
                  </a:cubicBezTo>
                  <a:lnTo>
                    <a:pt x="3057" y="8979"/>
                  </a:lnTo>
                  <a:cubicBezTo>
                    <a:pt x="3151" y="9011"/>
                    <a:pt x="3277" y="9042"/>
                    <a:pt x="3403" y="9042"/>
                  </a:cubicBezTo>
                  <a:lnTo>
                    <a:pt x="4191" y="9042"/>
                  </a:lnTo>
                  <a:cubicBezTo>
                    <a:pt x="5105" y="9042"/>
                    <a:pt x="5829" y="8412"/>
                    <a:pt x="5987" y="7561"/>
                  </a:cubicBezTo>
                  <a:close/>
                  <a:moveTo>
                    <a:pt x="6428" y="0"/>
                  </a:moveTo>
                  <a:cubicBezTo>
                    <a:pt x="5798" y="0"/>
                    <a:pt x="5294" y="410"/>
                    <a:pt x="5168" y="1008"/>
                  </a:cubicBezTo>
                  <a:lnTo>
                    <a:pt x="5010" y="1733"/>
                  </a:lnTo>
                  <a:cubicBezTo>
                    <a:pt x="4286" y="1985"/>
                    <a:pt x="3592" y="2458"/>
                    <a:pt x="3120" y="3088"/>
                  </a:cubicBezTo>
                  <a:cubicBezTo>
                    <a:pt x="2584" y="3812"/>
                    <a:pt x="2301" y="4663"/>
                    <a:pt x="2301" y="5577"/>
                  </a:cubicBezTo>
                  <a:lnTo>
                    <a:pt x="2301" y="6018"/>
                  </a:lnTo>
                  <a:cubicBezTo>
                    <a:pt x="1387" y="6018"/>
                    <a:pt x="694" y="6805"/>
                    <a:pt x="789" y="7719"/>
                  </a:cubicBezTo>
                  <a:cubicBezTo>
                    <a:pt x="316" y="7971"/>
                    <a:pt x="64" y="8475"/>
                    <a:pt x="64" y="9011"/>
                  </a:cubicBezTo>
                  <a:cubicBezTo>
                    <a:pt x="64" y="9420"/>
                    <a:pt x="221" y="9767"/>
                    <a:pt x="442" y="9987"/>
                  </a:cubicBezTo>
                  <a:lnTo>
                    <a:pt x="95" y="10712"/>
                  </a:lnTo>
                  <a:cubicBezTo>
                    <a:pt x="1" y="10901"/>
                    <a:pt x="95" y="11090"/>
                    <a:pt x="253" y="11216"/>
                  </a:cubicBezTo>
                  <a:cubicBezTo>
                    <a:pt x="305" y="11242"/>
                    <a:pt x="357" y="11254"/>
                    <a:pt x="408" y="11254"/>
                  </a:cubicBezTo>
                  <a:cubicBezTo>
                    <a:pt x="541" y="11254"/>
                    <a:pt x="666" y="11173"/>
                    <a:pt x="757" y="11058"/>
                  </a:cubicBezTo>
                  <a:lnTo>
                    <a:pt x="1072" y="10428"/>
                  </a:lnTo>
                  <a:cubicBezTo>
                    <a:pt x="1230" y="10460"/>
                    <a:pt x="1387" y="10523"/>
                    <a:pt x="1545" y="10523"/>
                  </a:cubicBezTo>
                  <a:cubicBezTo>
                    <a:pt x="1954" y="10523"/>
                    <a:pt x="2301" y="10365"/>
                    <a:pt x="2584" y="10113"/>
                  </a:cubicBezTo>
                  <a:cubicBezTo>
                    <a:pt x="3151" y="11657"/>
                    <a:pt x="4664" y="12760"/>
                    <a:pt x="6428" y="12760"/>
                  </a:cubicBezTo>
                  <a:cubicBezTo>
                    <a:pt x="8224" y="12760"/>
                    <a:pt x="9704" y="11657"/>
                    <a:pt x="10303" y="10113"/>
                  </a:cubicBezTo>
                  <a:cubicBezTo>
                    <a:pt x="10587" y="10365"/>
                    <a:pt x="10933" y="10523"/>
                    <a:pt x="11311" y="10523"/>
                  </a:cubicBezTo>
                  <a:cubicBezTo>
                    <a:pt x="11469" y="10523"/>
                    <a:pt x="11626" y="10460"/>
                    <a:pt x="11784" y="10428"/>
                  </a:cubicBezTo>
                  <a:lnTo>
                    <a:pt x="12099" y="11058"/>
                  </a:lnTo>
                  <a:cubicBezTo>
                    <a:pt x="12164" y="11188"/>
                    <a:pt x="12288" y="11273"/>
                    <a:pt x="12431" y="11273"/>
                  </a:cubicBezTo>
                  <a:cubicBezTo>
                    <a:pt x="12496" y="11273"/>
                    <a:pt x="12565" y="11255"/>
                    <a:pt x="12634" y="11216"/>
                  </a:cubicBezTo>
                  <a:cubicBezTo>
                    <a:pt x="12823" y="11153"/>
                    <a:pt x="12886" y="10901"/>
                    <a:pt x="12792" y="10712"/>
                  </a:cubicBezTo>
                  <a:lnTo>
                    <a:pt x="12414" y="9987"/>
                  </a:lnTo>
                  <a:cubicBezTo>
                    <a:pt x="12666" y="9735"/>
                    <a:pt x="12823" y="9357"/>
                    <a:pt x="12823" y="9011"/>
                  </a:cubicBezTo>
                  <a:cubicBezTo>
                    <a:pt x="12823" y="8475"/>
                    <a:pt x="12508" y="8002"/>
                    <a:pt x="12067" y="7719"/>
                  </a:cubicBezTo>
                  <a:cubicBezTo>
                    <a:pt x="12193" y="6805"/>
                    <a:pt x="11469" y="6018"/>
                    <a:pt x="10555" y="6018"/>
                  </a:cubicBezTo>
                  <a:lnTo>
                    <a:pt x="10555" y="5577"/>
                  </a:lnTo>
                  <a:cubicBezTo>
                    <a:pt x="10555" y="4663"/>
                    <a:pt x="10303" y="3812"/>
                    <a:pt x="9736" y="3088"/>
                  </a:cubicBezTo>
                  <a:cubicBezTo>
                    <a:pt x="9263" y="2458"/>
                    <a:pt x="8602" y="1985"/>
                    <a:pt x="7846" y="1733"/>
                  </a:cubicBezTo>
                  <a:lnTo>
                    <a:pt x="7688" y="1008"/>
                  </a:lnTo>
                  <a:cubicBezTo>
                    <a:pt x="7562" y="410"/>
                    <a:pt x="7058" y="0"/>
                    <a:pt x="64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54" name="Google Shape;7254;p74"/>
          <p:cNvGrpSpPr/>
          <p:nvPr/>
        </p:nvGrpSpPr>
        <p:grpSpPr>
          <a:xfrm>
            <a:off x="10014243" y="2675258"/>
            <a:ext cx="489812" cy="481453"/>
            <a:chOff x="-55620975" y="2294725"/>
            <a:chExt cx="323750" cy="318225"/>
          </a:xfrm>
        </p:grpSpPr>
        <p:sp>
          <p:nvSpPr>
            <p:cNvPr id="7255" name="Google Shape;7255;p74"/>
            <p:cNvSpPr/>
            <p:nvPr/>
          </p:nvSpPr>
          <p:spPr>
            <a:xfrm>
              <a:off x="-55496525" y="2527275"/>
              <a:ext cx="73275" cy="29750"/>
            </a:xfrm>
            <a:custGeom>
              <a:avLst/>
              <a:gdLst/>
              <a:ahLst/>
              <a:cxnLst/>
              <a:rect l="l" t="t" r="r" b="b"/>
              <a:pathLst>
                <a:path w="2931" h="1190" extrusionOk="0">
                  <a:moveTo>
                    <a:pt x="414" y="1"/>
                  </a:moveTo>
                  <a:cubicBezTo>
                    <a:pt x="316" y="1"/>
                    <a:pt x="221" y="40"/>
                    <a:pt x="158" y="119"/>
                  </a:cubicBezTo>
                  <a:cubicBezTo>
                    <a:pt x="1" y="276"/>
                    <a:pt x="1" y="528"/>
                    <a:pt x="158" y="623"/>
                  </a:cubicBezTo>
                  <a:cubicBezTo>
                    <a:pt x="536" y="1001"/>
                    <a:pt x="1009" y="1190"/>
                    <a:pt x="1481" y="1190"/>
                  </a:cubicBezTo>
                  <a:cubicBezTo>
                    <a:pt x="1954" y="1190"/>
                    <a:pt x="2458" y="1001"/>
                    <a:pt x="2773" y="623"/>
                  </a:cubicBezTo>
                  <a:cubicBezTo>
                    <a:pt x="2931" y="465"/>
                    <a:pt x="2931" y="245"/>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6" name="Google Shape;7256;p74"/>
            <p:cNvSpPr/>
            <p:nvPr/>
          </p:nvSpPr>
          <p:spPr>
            <a:xfrm>
              <a:off x="-55505975"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7" name="Google Shape;7257;p74"/>
            <p:cNvSpPr/>
            <p:nvPr/>
          </p:nvSpPr>
          <p:spPr>
            <a:xfrm>
              <a:off x="-55431150" y="2444375"/>
              <a:ext cx="17350" cy="18150"/>
            </a:xfrm>
            <a:custGeom>
              <a:avLst/>
              <a:gdLst/>
              <a:ahLst/>
              <a:cxnLst/>
              <a:rect l="l" t="t" r="r" b="b"/>
              <a:pathLst>
                <a:path w="694" h="726" extrusionOk="0">
                  <a:moveTo>
                    <a:pt x="347" y="1"/>
                  </a:moveTo>
                  <a:cubicBezTo>
                    <a:pt x="158" y="1"/>
                    <a:pt x="0" y="158"/>
                    <a:pt x="0" y="379"/>
                  </a:cubicBezTo>
                  <a:cubicBezTo>
                    <a:pt x="0" y="568"/>
                    <a:pt x="158" y="725"/>
                    <a:pt x="347" y="725"/>
                  </a:cubicBezTo>
                  <a:cubicBezTo>
                    <a:pt x="536" y="725"/>
                    <a:pt x="694" y="568"/>
                    <a:pt x="694" y="379"/>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8" name="Google Shape;7258;p74"/>
            <p:cNvSpPr/>
            <p:nvPr/>
          </p:nvSpPr>
          <p:spPr>
            <a:xfrm>
              <a:off x="-55620975" y="2294725"/>
              <a:ext cx="323750" cy="318225"/>
            </a:xfrm>
            <a:custGeom>
              <a:avLst/>
              <a:gdLst/>
              <a:ahLst/>
              <a:cxnLst/>
              <a:rect l="l" t="t" r="r" b="b"/>
              <a:pathLst>
                <a:path w="12950" h="12729" extrusionOk="0">
                  <a:moveTo>
                    <a:pt x="6459" y="851"/>
                  </a:moveTo>
                  <a:lnTo>
                    <a:pt x="11343" y="4506"/>
                  </a:lnTo>
                  <a:lnTo>
                    <a:pt x="1576" y="4506"/>
                  </a:lnTo>
                  <a:lnTo>
                    <a:pt x="6459" y="851"/>
                  </a:lnTo>
                  <a:close/>
                  <a:moveTo>
                    <a:pt x="2364" y="5987"/>
                  </a:moveTo>
                  <a:lnTo>
                    <a:pt x="2364" y="7499"/>
                  </a:lnTo>
                  <a:cubicBezTo>
                    <a:pt x="1923" y="7499"/>
                    <a:pt x="1608" y="7152"/>
                    <a:pt x="1608" y="6743"/>
                  </a:cubicBezTo>
                  <a:cubicBezTo>
                    <a:pt x="1608" y="6365"/>
                    <a:pt x="1923" y="5987"/>
                    <a:pt x="2364" y="5987"/>
                  </a:cubicBezTo>
                  <a:close/>
                  <a:moveTo>
                    <a:pt x="10555" y="5987"/>
                  </a:moveTo>
                  <a:cubicBezTo>
                    <a:pt x="10964" y="5987"/>
                    <a:pt x="11280" y="6365"/>
                    <a:pt x="11280" y="6743"/>
                  </a:cubicBezTo>
                  <a:cubicBezTo>
                    <a:pt x="11280" y="7152"/>
                    <a:pt x="10964" y="7499"/>
                    <a:pt x="10555" y="7499"/>
                  </a:cubicBezTo>
                  <a:lnTo>
                    <a:pt x="10555" y="5987"/>
                  </a:lnTo>
                  <a:close/>
                  <a:moveTo>
                    <a:pt x="9830" y="5262"/>
                  </a:moveTo>
                  <a:cubicBezTo>
                    <a:pt x="9799" y="5798"/>
                    <a:pt x="9799" y="8287"/>
                    <a:pt x="9799" y="8633"/>
                  </a:cubicBezTo>
                  <a:cubicBezTo>
                    <a:pt x="9799" y="10492"/>
                    <a:pt x="8287" y="11973"/>
                    <a:pt x="6459" y="11973"/>
                  </a:cubicBezTo>
                  <a:cubicBezTo>
                    <a:pt x="4600" y="11973"/>
                    <a:pt x="3088" y="10492"/>
                    <a:pt x="3088" y="8633"/>
                  </a:cubicBezTo>
                  <a:lnTo>
                    <a:pt x="3088" y="5262"/>
                  </a:lnTo>
                  <a:close/>
                  <a:moveTo>
                    <a:pt x="6459" y="1"/>
                  </a:moveTo>
                  <a:cubicBezTo>
                    <a:pt x="6381" y="1"/>
                    <a:pt x="6302" y="32"/>
                    <a:pt x="6239" y="95"/>
                  </a:cubicBezTo>
                  <a:lnTo>
                    <a:pt x="253" y="4569"/>
                  </a:lnTo>
                  <a:cubicBezTo>
                    <a:pt x="1" y="4790"/>
                    <a:pt x="158" y="5231"/>
                    <a:pt x="505" y="5231"/>
                  </a:cubicBezTo>
                  <a:lnTo>
                    <a:pt x="2395" y="5231"/>
                  </a:lnTo>
                  <a:cubicBezTo>
                    <a:pt x="1576" y="5231"/>
                    <a:pt x="883" y="5924"/>
                    <a:pt x="883" y="6743"/>
                  </a:cubicBezTo>
                  <a:cubicBezTo>
                    <a:pt x="883" y="7562"/>
                    <a:pt x="1576" y="8255"/>
                    <a:pt x="2395" y="8255"/>
                  </a:cubicBezTo>
                  <a:lnTo>
                    <a:pt x="2395" y="8633"/>
                  </a:lnTo>
                  <a:cubicBezTo>
                    <a:pt x="2395" y="10870"/>
                    <a:pt x="4254" y="12729"/>
                    <a:pt x="6491" y="12729"/>
                  </a:cubicBezTo>
                  <a:cubicBezTo>
                    <a:pt x="8728" y="12729"/>
                    <a:pt x="10586" y="10870"/>
                    <a:pt x="10586" y="8633"/>
                  </a:cubicBezTo>
                  <a:lnTo>
                    <a:pt x="10586" y="8255"/>
                  </a:lnTo>
                  <a:cubicBezTo>
                    <a:pt x="11406" y="8255"/>
                    <a:pt x="12067" y="7562"/>
                    <a:pt x="12067" y="6743"/>
                  </a:cubicBezTo>
                  <a:cubicBezTo>
                    <a:pt x="12067" y="5924"/>
                    <a:pt x="11406" y="5231"/>
                    <a:pt x="10586" y="5231"/>
                  </a:cubicBezTo>
                  <a:lnTo>
                    <a:pt x="12477" y="5231"/>
                  </a:lnTo>
                  <a:cubicBezTo>
                    <a:pt x="12792" y="5231"/>
                    <a:pt x="12949" y="4790"/>
                    <a:pt x="12666" y="4569"/>
                  </a:cubicBezTo>
                  <a:lnTo>
                    <a:pt x="6680" y="95"/>
                  </a:lnTo>
                  <a:cubicBezTo>
                    <a:pt x="6617" y="32"/>
                    <a:pt x="6538" y="1"/>
                    <a:pt x="64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59" name="Google Shape;7259;p74"/>
            <p:cNvSpPr/>
            <p:nvPr/>
          </p:nvSpPr>
          <p:spPr>
            <a:xfrm>
              <a:off x="-55450850" y="2482375"/>
              <a:ext cx="39400" cy="38225"/>
            </a:xfrm>
            <a:custGeom>
              <a:avLst/>
              <a:gdLst/>
              <a:ahLst/>
              <a:cxnLst/>
              <a:rect l="l" t="t" r="r" b="b"/>
              <a:pathLst>
                <a:path w="1576" h="1529" extrusionOk="0">
                  <a:moveTo>
                    <a:pt x="399" y="1"/>
                  </a:moveTo>
                  <a:cubicBezTo>
                    <a:pt x="308" y="1"/>
                    <a:pt x="221" y="40"/>
                    <a:pt x="158" y="119"/>
                  </a:cubicBezTo>
                  <a:cubicBezTo>
                    <a:pt x="1" y="277"/>
                    <a:pt x="1" y="497"/>
                    <a:pt x="158" y="623"/>
                  </a:cubicBezTo>
                  <a:lnTo>
                    <a:pt x="914" y="1411"/>
                  </a:lnTo>
                  <a:cubicBezTo>
                    <a:pt x="993" y="1489"/>
                    <a:pt x="1088" y="1529"/>
                    <a:pt x="1178" y="1529"/>
                  </a:cubicBezTo>
                  <a:cubicBezTo>
                    <a:pt x="1269" y="1529"/>
                    <a:pt x="1356" y="1489"/>
                    <a:pt x="1419" y="1411"/>
                  </a:cubicBezTo>
                  <a:cubicBezTo>
                    <a:pt x="1576" y="1253"/>
                    <a:pt x="1576" y="1001"/>
                    <a:pt x="1419" y="907"/>
                  </a:cubicBezTo>
                  <a:lnTo>
                    <a:pt x="662" y="119"/>
                  </a:lnTo>
                  <a:cubicBezTo>
                    <a:pt x="584" y="40"/>
                    <a:pt x="489" y="1"/>
                    <a:pt x="3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0" name="Google Shape;7260;p74"/>
            <p:cNvSpPr/>
            <p:nvPr/>
          </p:nvSpPr>
          <p:spPr>
            <a:xfrm>
              <a:off x="-55506775" y="2482375"/>
              <a:ext cx="39400" cy="38225"/>
            </a:xfrm>
            <a:custGeom>
              <a:avLst/>
              <a:gdLst/>
              <a:ahLst/>
              <a:cxnLst/>
              <a:rect l="l" t="t" r="r" b="b"/>
              <a:pathLst>
                <a:path w="1576" h="1529" extrusionOk="0">
                  <a:moveTo>
                    <a:pt x="1139" y="1"/>
                  </a:moveTo>
                  <a:cubicBezTo>
                    <a:pt x="1041" y="1"/>
                    <a:pt x="946" y="40"/>
                    <a:pt x="883" y="119"/>
                  </a:cubicBezTo>
                  <a:lnTo>
                    <a:pt x="159" y="907"/>
                  </a:lnTo>
                  <a:cubicBezTo>
                    <a:pt x="1" y="1064"/>
                    <a:pt x="1" y="1285"/>
                    <a:pt x="159" y="1411"/>
                  </a:cubicBezTo>
                  <a:cubicBezTo>
                    <a:pt x="237" y="1489"/>
                    <a:pt x="332" y="1529"/>
                    <a:pt x="422" y="1529"/>
                  </a:cubicBezTo>
                  <a:cubicBezTo>
                    <a:pt x="513" y="1529"/>
                    <a:pt x="600" y="1489"/>
                    <a:pt x="663" y="1411"/>
                  </a:cubicBezTo>
                  <a:lnTo>
                    <a:pt x="1419" y="623"/>
                  </a:lnTo>
                  <a:cubicBezTo>
                    <a:pt x="1576" y="466"/>
                    <a:pt x="1576" y="213"/>
                    <a:pt x="1419" y="119"/>
                  </a:cubicBezTo>
                  <a:cubicBezTo>
                    <a:pt x="1340" y="40"/>
                    <a:pt x="1238" y="1"/>
                    <a:pt x="11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61" name="Google Shape;7261;p74"/>
          <p:cNvGrpSpPr/>
          <p:nvPr/>
        </p:nvGrpSpPr>
        <p:grpSpPr>
          <a:xfrm>
            <a:off x="10017231" y="3278590"/>
            <a:ext cx="483836" cy="481567"/>
            <a:chOff x="-55620175" y="2686900"/>
            <a:chExt cx="319800" cy="318300"/>
          </a:xfrm>
        </p:grpSpPr>
        <p:sp>
          <p:nvSpPr>
            <p:cNvPr id="7262" name="Google Shape;7262;p74"/>
            <p:cNvSpPr/>
            <p:nvPr/>
          </p:nvSpPr>
          <p:spPr>
            <a:xfrm>
              <a:off x="-55514650" y="2917925"/>
              <a:ext cx="72500" cy="29775"/>
            </a:xfrm>
            <a:custGeom>
              <a:avLst/>
              <a:gdLst/>
              <a:ahLst/>
              <a:cxnLst/>
              <a:rect l="l" t="t" r="r" b="b"/>
              <a:pathLst>
                <a:path w="2900" h="1191" extrusionOk="0">
                  <a:moveTo>
                    <a:pt x="387" y="1"/>
                  </a:moveTo>
                  <a:cubicBezTo>
                    <a:pt x="292" y="1"/>
                    <a:pt x="206" y="40"/>
                    <a:pt x="158" y="119"/>
                  </a:cubicBezTo>
                  <a:cubicBezTo>
                    <a:pt x="1" y="277"/>
                    <a:pt x="1" y="529"/>
                    <a:pt x="158" y="655"/>
                  </a:cubicBezTo>
                  <a:cubicBezTo>
                    <a:pt x="505" y="1001"/>
                    <a:pt x="978" y="1190"/>
                    <a:pt x="1450" y="1190"/>
                  </a:cubicBezTo>
                  <a:cubicBezTo>
                    <a:pt x="1954" y="1190"/>
                    <a:pt x="2427" y="1001"/>
                    <a:pt x="2742" y="655"/>
                  </a:cubicBezTo>
                  <a:cubicBezTo>
                    <a:pt x="2899" y="497"/>
                    <a:pt x="2899" y="245"/>
                    <a:pt x="2742" y="119"/>
                  </a:cubicBezTo>
                  <a:cubicBezTo>
                    <a:pt x="2679" y="72"/>
                    <a:pt x="2592" y="48"/>
                    <a:pt x="2502" y="48"/>
                  </a:cubicBezTo>
                  <a:cubicBezTo>
                    <a:pt x="2411" y="48"/>
                    <a:pt x="2317" y="72"/>
                    <a:pt x="2238" y="119"/>
                  </a:cubicBezTo>
                  <a:cubicBezTo>
                    <a:pt x="2049" y="340"/>
                    <a:pt x="1734" y="434"/>
                    <a:pt x="1450" y="434"/>
                  </a:cubicBezTo>
                  <a:cubicBezTo>
                    <a:pt x="1135" y="434"/>
                    <a:pt x="852" y="340"/>
                    <a:pt x="663" y="119"/>
                  </a:cubicBezTo>
                  <a:cubicBezTo>
                    <a:pt x="584" y="40"/>
                    <a:pt x="481" y="1"/>
                    <a:pt x="3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3" name="Google Shape;7263;p74"/>
            <p:cNvSpPr/>
            <p:nvPr/>
          </p:nvSpPr>
          <p:spPr>
            <a:xfrm>
              <a:off x="-5545005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4" name="Google Shape;7264;p74"/>
            <p:cNvSpPr/>
            <p:nvPr/>
          </p:nvSpPr>
          <p:spPr>
            <a:xfrm>
              <a:off x="-55524875" y="2855525"/>
              <a:ext cx="18925" cy="17450"/>
            </a:xfrm>
            <a:custGeom>
              <a:avLst/>
              <a:gdLst/>
              <a:ahLst/>
              <a:cxnLst/>
              <a:rect l="l" t="t" r="r" b="b"/>
              <a:pathLst>
                <a:path w="757" h="698" extrusionOk="0">
                  <a:moveTo>
                    <a:pt x="410" y="0"/>
                  </a:moveTo>
                  <a:cubicBezTo>
                    <a:pt x="189" y="0"/>
                    <a:pt x="0" y="158"/>
                    <a:pt x="0" y="347"/>
                  </a:cubicBezTo>
                  <a:cubicBezTo>
                    <a:pt x="0" y="536"/>
                    <a:pt x="189" y="693"/>
                    <a:pt x="410" y="693"/>
                  </a:cubicBezTo>
                  <a:cubicBezTo>
                    <a:pt x="423" y="696"/>
                    <a:pt x="437" y="697"/>
                    <a:pt x="451" y="697"/>
                  </a:cubicBezTo>
                  <a:cubicBezTo>
                    <a:pt x="598" y="697"/>
                    <a:pt x="756" y="548"/>
                    <a:pt x="756" y="347"/>
                  </a:cubicBezTo>
                  <a:cubicBezTo>
                    <a:pt x="756" y="158"/>
                    <a:pt x="599"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5" name="Google Shape;7265;p74"/>
            <p:cNvSpPr/>
            <p:nvPr/>
          </p:nvSpPr>
          <p:spPr>
            <a:xfrm>
              <a:off x="-55620175" y="2686900"/>
              <a:ext cx="319800" cy="318300"/>
            </a:xfrm>
            <a:custGeom>
              <a:avLst/>
              <a:gdLst/>
              <a:ahLst/>
              <a:cxnLst/>
              <a:rect l="l" t="t" r="r" b="b"/>
              <a:pathLst>
                <a:path w="12792" h="12732" extrusionOk="0">
                  <a:moveTo>
                    <a:pt x="5671" y="2240"/>
                  </a:moveTo>
                  <a:cubicBezTo>
                    <a:pt x="6333" y="2240"/>
                    <a:pt x="6931" y="2429"/>
                    <a:pt x="7435" y="2744"/>
                  </a:cubicBezTo>
                  <a:cubicBezTo>
                    <a:pt x="7057" y="4225"/>
                    <a:pt x="5703" y="5233"/>
                    <a:pt x="4159" y="5233"/>
                  </a:cubicBezTo>
                  <a:lnTo>
                    <a:pt x="2332" y="5233"/>
                  </a:lnTo>
                  <a:cubicBezTo>
                    <a:pt x="2489" y="3532"/>
                    <a:pt x="3938" y="2240"/>
                    <a:pt x="5671" y="2240"/>
                  </a:cubicBezTo>
                  <a:close/>
                  <a:moveTo>
                    <a:pt x="8318" y="732"/>
                  </a:moveTo>
                  <a:cubicBezTo>
                    <a:pt x="8434" y="732"/>
                    <a:pt x="8549" y="741"/>
                    <a:pt x="8664" y="759"/>
                  </a:cubicBezTo>
                  <a:cubicBezTo>
                    <a:pt x="9735" y="917"/>
                    <a:pt x="10523" y="1925"/>
                    <a:pt x="10523" y="3059"/>
                  </a:cubicBezTo>
                  <a:lnTo>
                    <a:pt x="10523" y="6147"/>
                  </a:lnTo>
                  <a:cubicBezTo>
                    <a:pt x="10271" y="6021"/>
                    <a:pt x="10050" y="5958"/>
                    <a:pt x="9767" y="5958"/>
                  </a:cubicBezTo>
                  <a:lnTo>
                    <a:pt x="9767" y="5580"/>
                  </a:lnTo>
                  <a:cubicBezTo>
                    <a:pt x="9767" y="3626"/>
                    <a:pt x="8349" y="1957"/>
                    <a:pt x="6490" y="1578"/>
                  </a:cubicBezTo>
                  <a:cubicBezTo>
                    <a:pt x="6975" y="1040"/>
                    <a:pt x="7643" y="732"/>
                    <a:pt x="8318" y="732"/>
                  </a:cubicBezTo>
                  <a:close/>
                  <a:moveTo>
                    <a:pt x="1544" y="6745"/>
                  </a:moveTo>
                  <a:lnTo>
                    <a:pt x="1544" y="8226"/>
                  </a:lnTo>
                  <a:cubicBezTo>
                    <a:pt x="1134" y="8226"/>
                    <a:pt x="788" y="7879"/>
                    <a:pt x="788" y="7470"/>
                  </a:cubicBezTo>
                  <a:cubicBezTo>
                    <a:pt x="788" y="7092"/>
                    <a:pt x="1134" y="6745"/>
                    <a:pt x="1544" y="6745"/>
                  </a:cubicBezTo>
                  <a:close/>
                  <a:moveTo>
                    <a:pt x="9798" y="6745"/>
                  </a:moveTo>
                  <a:cubicBezTo>
                    <a:pt x="10208" y="6745"/>
                    <a:pt x="10554" y="7060"/>
                    <a:pt x="10554" y="7470"/>
                  </a:cubicBezTo>
                  <a:cubicBezTo>
                    <a:pt x="10554" y="7879"/>
                    <a:pt x="10208" y="8226"/>
                    <a:pt x="9798" y="8226"/>
                  </a:cubicBezTo>
                  <a:lnTo>
                    <a:pt x="9798" y="6745"/>
                  </a:lnTo>
                  <a:close/>
                  <a:moveTo>
                    <a:pt x="10712" y="8667"/>
                  </a:moveTo>
                  <a:cubicBezTo>
                    <a:pt x="10775" y="8888"/>
                    <a:pt x="10869" y="9108"/>
                    <a:pt x="11027" y="9297"/>
                  </a:cubicBezTo>
                  <a:cubicBezTo>
                    <a:pt x="11090" y="9455"/>
                    <a:pt x="11216" y="9549"/>
                    <a:pt x="11342" y="9707"/>
                  </a:cubicBezTo>
                  <a:lnTo>
                    <a:pt x="9652" y="9707"/>
                  </a:lnTo>
                  <a:cubicBezTo>
                    <a:pt x="9738" y="9468"/>
                    <a:pt x="9768" y="9254"/>
                    <a:pt x="9798" y="8982"/>
                  </a:cubicBezTo>
                  <a:cubicBezTo>
                    <a:pt x="10145" y="8982"/>
                    <a:pt x="10460" y="8856"/>
                    <a:pt x="10712" y="8667"/>
                  </a:cubicBezTo>
                  <a:close/>
                  <a:moveTo>
                    <a:pt x="8066" y="3280"/>
                  </a:moveTo>
                  <a:cubicBezTo>
                    <a:pt x="8664" y="3847"/>
                    <a:pt x="9042" y="4729"/>
                    <a:pt x="9042" y="5643"/>
                  </a:cubicBezTo>
                  <a:lnTo>
                    <a:pt x="9042" y="8636"/>
                  </a:lnTo>
                  <a:cubicBezTo>
                    <a:pt x="9042" y="10463"/>
                    <a:pt x="7530" y="11975"/>
                    <a:pt x="5671" y="11975"/>
                  </a:cubicBezTo>
                  <a:cubicBezTo>
                    <a:pt x="3812" y="11975"/>
                    <a:pt x="2269" y="10431"/>
                    <a:pt x="2269" y="8573"/>
                  </a:cubicBezTo>
                  <a:lnTo>
                    <a:pt x="2269" y="5989"/>
                  </a:lnTo>
                  <a:lnTo>
                    <a:pt x="4159" y="5989"/>
                  </a:lnTo>
                  <a:cubicBezTo>
                    <a:pt x="5104" y="5989"/>
                    <a:pt x="6049" y="5643"/>
                    <a:pt x="6805" y="5044"/>
                  </a:cubicBezTo>
                  <a:cubicBezTo>
                    <a:pt x="7404" y="4571"/>
                    <a:pt x="7782" y="3941"/>
                    <a:pt x="8066" y="3280"/>
                  </a:cubicBezTo>
                  <a:close/>
                  <a:moveTo>
                    <a:pt x="8329" y="0"/>
                  </a:moveTo>
                  <a:cubicBezTo>
                    <a:pt x="7237" y="0"/>
                    <a:pt x="6224" y="580"/>
                    <a:pt x="5671" y="1547"/>
                  </a:cubicBezTo>
                  <a:lnTo>
                    <a:pt x="5640" y="1547"/>
                  </a:lnTo>
                  <a:cubicBezTo>
                    <a:pt x="3340" y="1547"/>
                    <a:pt x="1481" y="3374"/>
                    <a:pt x="1481" y="5643"/>
                  </a:cubicBezTo>
                  <a:lnTo>
                    <a:pt x="1481" y="5989"/>
                  </a:lnTo>
                  <a:cubicBezTo>
                    <a:pt x="662" y="5989"/>
                    <a:pt x="0" y="6651"/>
                    <a:pt x="0" y="7470"/>
                  </a:cubicBezTo>
                  <a:cubicBezTo>
                    <a:pt x="0" y="8320"/>
                    <a:pt x="662" y="8982"/>
                    <a:pt x="1481" y="8982"/>
                  </a:cubicBezTo>
                  <a:cubicBezTo>
                    <a:pt x="1702" y="11061"/>
                    <a:pt x="3466" y="12731"/>
                    <a:pt x="5577" y="12731"/>
                  </a:cubicBezTo>
                  <a:cubicBezTo>
                    <a:pt x="7215" y="12731"/>
                    <a:pt x="8570" y="11818"/>
                    <a:pt x="9263" y="10463"/>
                  </a:cubicBezTo>
                  <a:lnTo>
                    <a:pt x="12319" y="10463"/>
                  </a:lnTo>
                  <a:cubicBezTo>
                    <a:pt x="12476" y="10463"/>
                    <a:pt x="12634" y="10368"/>
                    <a:pt x="12665" y="10211"/>
                  </a:cubicBezTo>
                  <a:cubicBezTo>
                    <a:pt x="12791" y="9990"/>
                    <a:pt x="12728" y="9833"/>
                    <a:pt x="12571" y="9770"/>
                  </a:cubicBezTo>
                  <a:cubicBezTo>
                    <a:pt x="11783" y="9360"/>
                    <a:pt x="11248" y="8573"/>
                    <a:pt x="11248" y="7690"/>
                  </a:cubicBezTo>
                  <a:lnTo>
                    <a:pt x="11248" y="3122"/>
                  </a:lnTo>
                  <a:cubicBezTo>
                    <a:pt x="11248" y="1578"/>
                    <a:pt x="10208" y="287"/>
                    <a:pt x="8790" y="35"/>
                  </a:cubicBezTo>
                  <a:cubicBezTo>
                    <a:pt x="8636" y="12"/>
                    <a:pt x="8481" y="0"/>
                    <a:pt x="83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66" name="Google Shape;7266;p74"/>
          <p:cNvGrpSpPr/>
          <p:nvPr/>
        </p:nvGrpSpPr>
        <p:grpSpPr>
          <a:xfrm>
            <a:off x="8265184" y="3882582"/>
            <a:ext cx="482625" cy="481453"/>
            <a:chOff x="-53690500" y="1903275"/>
            <a:chExt cx="319000" cy="318225"/>
          </a:xfrm>
        </p:grpSpPr>
        <p:sp>
          <p:nvSpPr>
            <p:cNvPr id="7267" name="Google Shape;7267;p74"/>
            <p:cNvSpPr/>
            <p:nvPr/>
          </p:nvSpPr>
          <p:spPr>
            <a:xfrm>
              <a:off x="-53567625" y="2136625"/>
              <a:ext cx="71675" cy="29750"/>
            </a:xfrm>
            <a:custGeom>
              <a:avLst/>
              <a:gdLst/>
              <a:ahLst/>
              <a:cxnLst/>
              <a:rect l="l" t="t" r="r" b="b"/>
              <a:pathLst>
                <a:path w="2867" h="1190" extrusionOk="0">
                  <a:moveTo>
                    <a:pt x="366" y="0"/>
                  </a:moveTo>
                  <a:cubicBezTo>
                    <a:pt x="276" y="0"/>
                    <a:pt x="189" y="40"/>
                    <a:pt x="126" y="118"/>
                  </a:cubicBezTo>
                  <a:cubicBezTo>
                    <a:pt x="0" y="244"/>
                    <a:pt x="0" y="465"/>
                    <a:pt x="126" y="622"/>
                  </a:cubicBezTo>
                  <a:cubicBezTo>
                    <a:pt x="473" y="969"/>
                    <a:pt x="945" y="1190"/>
                    <a:pt x="1418" y="1190"/>
                  </a:cubicBezTo>
                  <a:cubicBezTo>
                    <a:pt x="1890" y="1190"/>
                    <a:pt x="2395" y="969"/>
                    <a:pt x="2710" y="622"/>
                  </a:cubicBezTo>
                  <a:cubicBezTo>
                    <a:pt x="2867" y="465"/>
                    <a:pt x="2867" y="244"/>
                    <a:pt x="2710" y="118"/>
                  </a:cubicBezTo>
                  <a:cubicBezTo>
                    <a:pt x="2631" y="40"/>
                    <a:pt x="2536" y="0"/>
                    <a:pt x="2446" y="0"/>
                  </a:cubicBezTo>
                  <a:cubicBezTo>
                    <a:pt x="2355" y="0"/>
                    <a:pt x="2269" y="40"/>
                    <a:pt x="2206" y="118"/>
                  </a:cubicBezTo>
                  <a:cubicBezTo>
                    <a:pt x="2017" y="307"/>
                    <a:pt x="1701" y="433"/>
                    <a:pt x="1418" y="433"/>
                  </a:cubicBezTo>
                  <a:cubicBezTo>
                    <a:pt x="1103" y="433"/>
                    <a:pt x="819" y="307"/>
                    <a:pt x="630" y="118"/>
                  </a:cubicBezTo>
                  <a:cubicBezTo>
                    <a:pt x="552" y="40"/>
                    <a:pt x="457" y="0"/>
                    <a:pt x="3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8" name="Google Shape;7268;p74"/>
            <p:cNvSpPr/>
            <p:nvPr/>
          </p:nvSpPr>
          <p:spPr>
            <a:xfrm>
              <a:off x="-535022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69" name="Google Shape;7269;p74"/>
            <p:cNvSpPr/>
            <p:nvPr/>
          </p:nvSpPr>
          <p:spPr>
            <a:xfrm>
              <a:off x="-53577075"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0" name="Google Shape;7270;p74"/>
            <p:cNvSpPr/>
            <p:nvPr/>
          </p:nvSpPr>
          <p:spPr>
            <a:xfrm>
              <a:off x="-53690500" y="1903275"/>
              <a:ext cx="319000" cy="318225"/>
            </a:xfrm>
            <a:custGeom>
              <a:avLst/>
              <a:gdLst/>
              <a:ahLst/>
              <a:cxnLst/>
              <a:rect l="l" t="t" r="r" b="b"/>
              <a:pathLst>
                <a:path w="12760" h="12729" extrusionOk="0">
                  <a:moveTo>
                    <a:pt x="9735" y="4475"/>
                  </a:moveTo>
                  <a:lnTo>
                    <a:pt x="9735" y="5262"/>
                  </a:lnTo>
                  <a:lnTo>
                    <a:pt x="2993" y="5262"/>
                  </a:lnTo>
                  <a:lnTo>
                    <a:pt x="2993" y="4475"/>
                  </a:lnTo>
                  <a:close/>
                  <a:moveTo>
                    <a:pt x="9767" y="6018"/>
                  </a:moveTo>
                  <a:lnTo>
                    <a:pt x="9767" y="8633"/>
                  </a:lnTo>
                  <a:cubicBezTo>
                    <a:pt x="9767" y="10461"/>
                    <a:pt x="8255" y="11973"/>
                    <a:pt x="6427" y="11973"/>
                  </a:cubicBezTo>
                  <a:cubicBezTo>
                    <a:pt x="4569" y="11973"/>
                    <a:pt x="3088" y="10461"/>
                    <a:pt x="3088" y="8633"/>
                  </a:cubicBezTo>
                  <a:lnTo>
                    <a:pt x="3088" y="6018"/>
                  </a:lnTo>
                  <a:close/>
                  <a:moveTo>
                    <a:pt x="6459" y="757"/>
                  </a:moveTo>
                  <a:cubicBezTo>
                    <a:pt x="9578" y="757"/>
                    <a:pt x="12098" y="3277"/>
                    <a:pt x="12098" y="6365"/>
                  </a:cubicBezTo>
                  <a:lnTo>
                    <a:pt x="12098" y="11973"/>
                  </a:lnTo>
                  <a:lnTo>
                    <a:pt x="8727" y="11973"/>
                  </a:lnTo>
                  <a:cubicBezTo>
                    <a:pt x="9798" y="11217"/>
                    <a:pt x="10460" y="9988"/>
                    <a:pt x="10460" y="8633"/>
                  </a:cubicBezTo>
                  <a:lnTo>
                    <a:pt x="10460" y="4097"/>
                  </a:lnTo>
                  <a:cubicBezTo>
                    <a:pt x="10460" y="3908"/>
                    <a:pt x="10303" y="3750"/>
                    <a:pt x="10114" y="3750"/>
                  </a:cubicBezTo>
                  <a:lnTo>
                    <a:pt x="6774" y="3750"/>
                  </a:lnTo>
                  <a:lnTo>
                    <a:pt x="6774" y="2994"/>
                  </a:lnTo>
                  <a:lnTo>
                    <a:pt x="7121" y="2994"/>
                  </a:lnTo>
                  <a:cubicBezTo>
                    <a:pt x="7310" y="2994"/>
                    <a:pt x="7467" y="2836"/>
                    <a:pt x="7467" y="2616"/>
                  </a:cubicBezTo>
                  <a:cubicBezTo>
                    <a:pt x="7467" y="2427"/>
                    <a:pt x="7310" y="2269"/>
                    <a:pt x="7121" y="2269"/>
                  </a:cubicBezTo>
                  <a:lnTo>
                    <a:pt x="6774" y="2269"/>
                  </a:lnTo>
                  <a:lnTo>
                    <a:pt x="6774" y="1923"/>
                  </a:lnTo>
                  <a:cubicBezTo>
                    <a:pt x="6774" y="1734"/>
                    <a:pt x="6616" y="1576"/>
                    <a:pt x="6427" y="1576"/>
                  </a:cubicBezTo>
                  <a:cubicBezTo>
                    <a:pt x="6207" y="1576"/>
                    <a:pt x="6049" y="1734"/>
                    <a:pt x="6049" y="1923"/>
                  </a:cubicBezTo>
                  <a:lnTo>
                    <a:pt x="6049" y="2269"/>
                  </a:lnTo>
                  <a:lnTo>
                    <a:pt x="5703" y="2269"/>
                  </a:lnTo>
                  <a:cubicBezTo>
                    <a:pt x="5514" y="2269"/>
                    <a:pt x="5356" y="2427"/>
                    <a:pt x="5356" y="2616"/>
                  </a:cubicBezTo>
                  <a:cubicBezTo>
                    <a:pt x="5356" y="2836"/>
                    <a:pt x="5514" y="2994"/>
                    <a:pt x="5703" y="2994"/>
                  </a:cubicBezTo>
                  <a:lnTo>
                    <a:pt x="6049" y="2994"/>
                  </a:lnTo>
                  <a:lnTo>
                    <a:pt x="6049" y="3750"/>
                  </a:lnTo>
                  <a:lnTo>
                    <a:pt x="2710" y="3750"/>
                  </a:lnTo>
                  <a:cubicBezTo>
                    <a:pt x="2521" y="3750"/>
                    <a:pt x="2363" y="3908"/>
                    <a:pt x="2363" y="4097"/>
                  </a:cubicBezTo>
                  <a:lnTo>
                    <a:pt x="2363" y="8633"/>
                  </a:lnTo>
                  <a:cubicBezTo>
                    <a:pt x="2363" y="9988"/>
                    <a:pt x="3088" y="11217"/>
                    <a:pt x="4096" y="11973"/>
                  </a:cubicBezTo>
                  <a:lnTo>
                    <a:pt x="820" y="11973"/>
                  </a:lnTo>
                  <a:lnTo>
                    <a:pt x="820" y="6365"/>
                  </a:lnTo>
                  <a:cubicBezTo>
                    <a:pt x="820" y="3277"/>
                    <a:pt x="3340" y="757"/>
                    <a:pt x="6459" y="757"/>
                  </a:cubicBezTo>
                  <a:close/>
                  <a:moveTo>
                    <a:pt x="6364" y="1"/>
                  </a:moveTo>
                  <a:cubicBezTo>
                    <a:pt x="2867" y="1"/>
                    <a:pt x="0" y="2868"/>
                    <a:pt x="0" y="6365"/>
                  </a:cubicBezTo>
                  <a:lnTo>
                    <a:pt x="0" y="12351"/>
                  </a:lnTo>
                  <a:cubicBezTo>
                    <a:pt x="0" y="12571"/>
                    <a:pt x="158" y="12729"/>
                    <a:pt x="347" y="12729"/>
                  </a:cubicBezTo>
                  <a:lnTo>
                    <a:pt x="12319" y="12729"/>
                  </a:lnTo>
                  <a:cubicBezTo>
                    <a:pt x="12508" y="12729"/>
                    <a:pt x="12665" y="12571"/>
                    <a:pt x="12665" y="12351"/>
                  </a:cubicBezTo>
                  <a:lnTo>
                    <a:pt x="12665" y="6365"/>
                  </a:lnTo>
                  <a:cubicBezTo>
                    <a:pt x="12760" y="2868"/>
                    <a:pt x="9893" y="1"/>
                    <a:pt x="63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71" name="Google Shape;7271;p74"/>
          <p:cNvGrpSpPr/>
          <p:nvPr/>
        </p:nvGrpSpPr>
        <p:grpSpPr>
          <a:xfrm>
            <a:off x="8294968" y="4487199"/>
            <a:ext cx="423053" cy="479071"/>
            <a:chOff x="-53670800" y="2296300"/>
            <a:chExt cx="279625" cy="316650"/>
          </a:xfrm>
        </p:grpSpPr>
        <p:sp>
          <p:nvSpPr>
            <p:cNvPr id="7272" name="Google Shape;7272;p74"/>
            <p:cNvSpPr/>
            <p:nvPr/>
          </p:nvSpPr>
          <p:spPr>
            <a:xfrm>
              <a:off x="-53567625" y="2527275"/>
              <a:ext cx="73250" cy="29750"/>
            </a:xfrm>
            <a:custGeom>
              <a:avLst/>
              <a:gdLst/>
              <a:ahLst/>
              <a:cxnLst/>
              <a:rect l="l" t="t" r="r" b="b"/>
              <a:pathLst>
                <a:path w="2930" h="1190" extrusionOk="0">
                  <a:moveTo>
                    <a:pt x="410" y="1"/>
                  </a:moveTo>
                  <a:cubicBezTo>
                    <a:pt x="315" y="1"/>
                    <a:pt x="221" y="40"/>
                    <a:pt x="158" y="119"/>
                  </a:cubicBezTo>
                  <a:cubicBezTo>
                    <a:pt x="0" y="276"/>
                    <a:pt x="0" y="528"/>
                    <a:pt x="158" y="623"/>
                  </a:cubicBezTo>
                  <a:cubicBezTo>
                    <a:pt x="504" y="1001"/>
                    <a:pt x="977" y="1190"/>
                    <a:pt x="1449" y="1190"/>
                  </a:cubicBezTo>
                  <a:cubicBezTo>
                    <a:pt x="1922" y="1190"/>
                    <a:pt x="2458" y="1001"/>
                    <a:pt x="2773" y="623"/>
                  </a:cubicBezTo>
                  <a:cubicBezTo>
                    <a:pt x="2930" y="465"/>
                    <a:pt x="2930" y="245"/>
                    <a:pt x="2773" y="119"/>
                  </a:cubicBezTo>
                  <a:cubicBezTo>
                    <a:pt x="2710" y="40"/>
                    <a:pt x="2615" y="1"/>
                    <a:pt x="2517" y="1"/>
                  </a:cubicBezTo>
                  <a:cubicBezTo>
                    <a:pt x="2418" y="1"/>
                    <a:pt x="2316" y="40"/>
                    <a:pt x="2237" y="119"/>
                  </a:cubicBezTo>
                  <a:cubicBezTo>
                    <a:pt x="2048" y="308"/>
                    <a:pt x="1733" y="434"/>
                    <a:pt x="1449" y="434"/>
                  </a:cubicBezTo>
                  <a:cubicBezTo>
                    <a:pt x="1134" y="434"/>
                    <a:pt x="882" y="308"/>
                    <a:pt x="662" y="119"/>
                  </a:cubicBezTo>
                  <a:cubicBezTo>
                    <a:pt x="599" y="40"/>
                    <a:pt x="504"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3" name="Google Shape;7273;p74"/>
            <p:cNvSpPr/>
            <p:nvPr/>
          </p:nvSpPr>
          <p:spPr>
            <a:xfrm>
              <a:off x="-53502250"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4" name="Google Shape;7274;p74"/>
            <p:cNvSpPr/>
            <p:nvPr/>
          </p:nvSpPr>
          <p:spPr>
            <a:xfrm>
              <a:off x="-53577075" y="2463275"/>
              <a:ext cx="17325" cy="17350"/>
            </a:xfrm>
            <a:custGeom>
              <a:avLst/>
              <a:gdLst/>
              <a:ahLst/>
              <a:cxnLst/>
              <a:rect l="l" t="t" r="r" b="b"/>
              <a:pathLst>
                <a:path w="693"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5" name="Google Shape;7275;p74"/>
            <p:cNvSpPr/>
            <p:nvPr/>
          </p:nvSpPr>
          <p:spPr>
            <a:xfrm>
              <a:off x="-53670800" y="2296300"/>
              <a:ext cx="279625" cy="316650"/>
            </a:xfrm>
            <a:custGeom>
              <a:avLst/>
              <a:gdLst/>
              <a:ahLst/>
              <a:cxnLst/>
              <a:rect l="l" t="t" r="r" b="b"/>
              <a:pathLst>
                <a:path w="11185" h="12666" extrusionOk="0">
                  <a:moveTo>
                    <a:pt x="1481" y="6680"/>
                  </a:moveTo>
                  <a:lnTo>
                    <a:pt x="1481" y="7026"/>
                  </a:lnTo>
                  <a:lnTo>
                    <a:pt x="1481" y="8129"/>
                  </a:lnTo>
                  <a:cubicBezTo>
                    <a:pt x="1450" y="8134"/>
                    <a:pt x="1421" y="8136"/>
                    <a:pt x="1391" y="8136"/>
                  </a:cubicBezTo>
                  <a:cubicBezTo>
                    <a:pt x="1026" y="8136"/>
                    <a:pt x="756" y="7786"/>
                    <a:pt x="756" y="7436"/>
                  </a:cubicBezTo>
                  <a:cubicBezTo>
                    <a:pt x="756" y="7026"/>
                    <a:pt x="1103" y="6680"/>
                    <a:pt x="1481" y="6680"/>
                  </a:cubicBezTo>
                  <a:close/>
                  <a:moveTo>
                    <a:pt x="9672" y="6711"/>
                  </a:moveTo>
                  <a:cubicBezTo>
                    <a:pt x="10082" y="6711"/>
                    <a:pt x="10428" y="7026"/>
                    <a:pt x="10428" y="7467"/>
                  </a:cubicBezTo>
                  <a:cubicBezTo>
                    <a:pt x="10428" y="7814"/>
                    <a:pt x="10113" y="8192"/>
                    <a:pt x="9672" y="8192"/>
                  </a:cubicBezTo>
                  <a:lnTo>
                    <a:pt x="9672" y="7089"/>
                  </a:lnTo>
                  <a:lnTo>
                    <a:pt x="9672" y="6711"/>
                  </a:lnTo>
                  <a:close/>
                  <a:moveTo>
                    <a:pt x="5576" y="3718"/>
                  </a:moveTo>
                  <a:cubicBezTo>
                    <a:pt x="7435" y="3718"/>
                    <a:pt x="8947" y="5231"/>
                    <a:pt x="8947" y="7089"/>
                  </a:cubicBezTo>
                  <a:lnTo>
                    <a:pt x="8947" y="9326"/>
                  </a:lnTo>
                  <a:cubicBezTo>
                    <a:pt x="8947" y="10775"/>
                    <a:pt x="7750" y="11910"/>
                    <a:pt x="6333" y="11910"/>
                  </a:cubicBezTo>
                  <a:lnTo>
                    <a:pt x="4852" y="11910"/>
                  </a:lnTo>
                  <a:cubicBezTo>
                    <a:pt x="3371" y="11910"/>
                    <a:pt x="2237" y="10744"/>
                    <a:pt x="2237" y="9326"/>
                  </a:cubicBezTo>
                  <a:lnTo>
                    <a:pt x="2237" y="7089"/>
                  </a:lnTo>
                  <a:cubicBezTo>
                    <a:pt x="2237" y="5231"/>
                    <a:pt x="3749" y="3718"/>
                    <a:pt x="5576" y="3718"/>
                  </a:cubicBezTo>
                  <a:close/>
                  <a:moveTo>
                    <a:pt x="7089" y="1"/>
                  </a:moveTo>
                  <a:cubicBezTo>
                    <a:pt x="6080" y="1"/>
                    <a:pt x="5230" y="820"/>
                    <a:pt x="5230" y="1828"/>
                  </a:cubicBezTo>
                  <a:lnTo>
                    <a:pt x="5230" y="2994"/>
                  </a:lnTo>
                  <a:cubicBezTo>
                    <a:pt x="3560" y="3151"/>
                    <a:pt x="2142" y="4348"/>
                    <a:pt x="1670" y="5924"/>
                  </a:cubicBezTo>
                  <a:lnTo>
                    <a:pt x="1512" y="5924"/>
                  </a:lnTo>
                  <a:cubicBezTo>
                    <a:pt x="662" y="5924"/>
                    <a:pt x="0" y="6585"/>
                    <a:pt x="0" y="7436"/>
                  </a:cubicBezTo>
                  <a:cubicBezTo>
                    <a:pt x="0" y="8255"/>
                    <a:pt x="662" y="8917"/>
                    <a:pt x="1512" y="8917"/>
                  </a:cubicBezTo>
                  <a:lnTo>
                    <a:pt x="1512" y="9326"/>
                  </a:lnTo>
                  <a:cubicBezTo>
                    <a:pt x="1512" y="11185"/>
                    <a:pt x="2993" y="12666"/>
                    <a:pt x="4852" y="12666"/>
                  </a:cubicBezTo>
                  <a:lnTo>
                    <a:pt x="6333" y="12666"/>
                  </a:lnTo>
                  <a:cubicBezTo>
                    <a:pt x="8191" y="12666"/>
                    <a:pt x="9704" y="11185"/>
                    <a:pt x="9704" y="9326"/>
                  </a:cubicBezTo>
                  <a:lnTo>
                    <a:pt x="9704" y="8917"/>
                  </a:lnTo>
                  <a:cubicBezTo>
                    <a:pt x="10523" y="8917"/>
                    <a:pt x="11184" y="8255"/>
                    <a:pt x="11184" y="7436"/>
                  </a:cubicBezTo>
                  <a:cubicBezTo>
                    <a:pt x="11184" y="6617"/>
                    <a:pt x="10523" y="5924"/>
                    <a:pt x="9672" y="5924"/>
                  </a:cubicBezTo>
                  <a:lnTo>
                    <a:pt x="9515" y="5924"/>
                  </a:lnTo>
                  <a:cubicBezTo>
                    <a:pt x="9042" y="4317"/>
                    <a:pt x="7687" y="3151"/>
                    <a:pt x="5954" y="2994"/>
                  </a:cubicBezTo>
                  <a:lnTo>
                    <a:pt x="5954" y="1828"/>
                  </a:lnTo>
                  <a:cubicBezTo>
                    <a:pt x="5954" y="1198"/>
                    <a:pt x="6459" y="725"/>
                    <a:pt x="7057" y="725"/>
                  </a:cubicBezTo>
                  <a:cubicBezTo>
                    <a:pt x="7687" y="725"/>
                    <a:pt x="8160" y="1230"/>
                    <a:pt x="8160" y="1828"/>
                  </a:cubicBezTo>
                  <a:cubicBezTo>
                    <a:pt x="8160" y="2017"/>
                    <a:pt x="8002" y="2206"/>
                    <a:pt x="7813" y="2206"/>
                  </a:cubicBezTo>
                  <a:cubicBezTo>
                    <a:pt x="7593" y="2206"/>
                    <a:pt x="7435" y="2017"/>
                    <a:pt x="7435" y="1828"/>
                  </a:cubicBezTo>
                  <a:cubicBezTo>
                    <a:pt x="7435" y="1639"/>
                    <a:pt x="7278" y="1482"/>
                    <a:pt x="7089" y="1482"/>
                  </a:cubicBezTo>
                  <a:cubicBezTo>
                    <a:pt x="6900" y="1482"/>
                    <a:pt x="6742" y="1639"/>
                    <a:pt x="6742" y="1828"/>
                  </a:cubicBezTo>
                  <a:cubicBezTo>
                    <a:pt x="6742" y="2458"/>
                    <a:pt x="7246" y="2931"/>
                    <a:pt x="7845" y="2931"/>
                  </a:cubicBezTo>
                  <a:cubicBezTo>
                    <a:pt x="8475" y="2931"/>
                    <a:pt x="8947" y="2427"/>
                    <a:pt x="8947" y="1828"/>
                  </a:cubicBezTo>
                  <a:cubicBezTo>
                    <a:pt x="8947" y="820"/>
                    <a:pt x="8128" y="1"/>
                    <a:pt x="70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76" name="Google Shape;7276;p74"/>
          <p:cNvGrpSpPr/>
          <p:nvPr/>
        </p:nvGrpSpPr>
        <p:grpSpPr>
          <a:xfrm>
            <a:off x="8265184" y="5107651"/>
            <a:ext cx="482625" cy="482059"/>
            <a:chOff x="-53690500" y="2686575"/>
            <a:chExt cx="319000" cy="318625"/>
          </a:xfrm>
        </p:grpSpPr>
        <p:sp>
          <p:nvSpPr>
            <p:cNvPr id="7277" name="Google Shape;7277;p74"/>
            <p:cNvSpPr/>
            <p:nvPr/>
          </p:nvSpPr>
          <p:spPr>
            <a:xfrm>
              <a:off x="-53567625" y="2917925"/>
              <a:ext cx="73250" cy="29775"/>
            </a:xfrm>
            <a:custGeom>
              <a:avLst/>
              <a:gdLst/>
              <a:ahLst/>
              <a:cxnLst/>
              <a:rect l="l" t="t" r="r" b="b"/>
              <a:pathLst>
                <a:path w="2930" h="1191" extrusionOk="0">
                  <a:moveTo>
                    <a:pt x="410" y="1"/>
                  </a:moveTo>
                  <a:cubicBezTo>
                    <a:pt x="315" y="1"/>
                    <a:pt x="221" y="40"/>
                    <a:pt x="158" y="119"/>
                  </a:cubicBezTo>
                  <a:cubicBezTo>
                    <a:pt x="0" y="277"/>
                    <a:pt x="0" y="529"/>
                    <a:pt x="158" y="655"/>
                  </a:cubicBezTo>
                  <a:cubicBezTo>
                    <a:pt x="504" y="1001"/>
                    <a:pt x="977" y="1190"/>
                    <a:pt x="1449" y="1190"/>
                  </a:cubicBezTo>
                  <a:cubicBezTo>
                    <a:pt x="1922" y="1190"/>
                    <a:pt x="2458" y="1001"/>
                    <a:pt x="2773" y="655"/>
                  </a:cubicBezTo>
                  <a:cubicBezTo>
                    <a:pt x="2930" y="497"/>
                    <a:pt x="2930" y="245"/>
                    <a:pt x="2773" y="119"/>
                  </a:cubicBezTo>
                  <a:cubicBezTo>
                    <a:pt x="2710" y="72"/>
                    <a:pt x="2615" y="48"/>
                    <a:pt x="2517" y="48"/>
                  </a:cubicBezTo>
                  <a:cubicBezTo>
                    <a:pt x="2418" y="48"/>
                    <a:pt x="2316" y="72"/>
                    <a:pt x="2237" y="119"/>
                  </a:cubicBezTo>
                  <a:cubicBezTo>
                    <a:pt x="2048" y="340"/>
                    <a:pt x="1733" y="434"/>
                    <a:pt x="1449" y="434"/>
                  </a:cubicBezTo>
                  <a:cubicBezTo>
                    <a:pt x="1134" y="434"/>
                    <a:pt x="882" y="340"/>
                    <a:pt x="662" y="119"/>
                  </a:cubicBezTo>
                  <a:cubicBezTo>
                    <a:pt x="599" y="40"/>
                    <a:pt x="504"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8" name="Google Shape;7278;p74"/>
            <p:cNvSpPr/>
            <p:nvPr/>
          </p:nvSpPr>
          <p:spPr>
            <a:xfrm>
              <a:off x="-535770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79" name="Google Shape;7279;p74"/>
            <p:cNvSpPr/>
            <p:nvPr/>
          </p:nvSpPr>
          <p:spPr>
            <a:xfrm>
              <a:off x="-5350225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0" name="Google Shape;7280;p74"/>
            <p:cNvSpPr/>
            <p:nvPr/>
          </p:nvSpPr>
          <p:spPr>
            <a:xfrm>
              <a:off x="-53690500" y="2686575"/>
              <a:ext cx="319000" cy="318625"/>
            </a:xfrm>
            <a:custGeom>
              <a:avLst/>
              <a:gdLst/>
              <a:ahLst/>
              <a:cxnLst/>
              <a:rect l="l" t="t" r="r" b="b"/>
              <a:pathLst>
                <a:path w="12760" h="12745" extrusionOk="0">
                  <a:moveTo>
                    <a:pt x="6364" y="804"/>
                  </a:moveTo>
                  <a:lnTo>
                    <a:pt x="11059" y="3765"/>
                  </a:lnTo>
                  <a:lnTo>
                    <a:pt x="1702" y="3765"/>
                  </a:lnTo>
                  <a:lnTo>
                    <a:pt x="6364" y="804"/>
                  </a:lnTo>
                  <a:close/>
                  <a:moveTo>
                    <a:pt x="5797" y="4490"/>
                  </a:moveTo>
                  <a:cubicBezTo>
                    <a:pt x="5262" y="5404"/>
                    <a:pt x="4285" y="6002"/>
                    <a:pt x="3214" y="6002"/>
                  </a:cubicBezTo>
                  <a:lnTo>
                    <a:pt x="2237" y="6002"/>
                  </a:lnTo>
                  <a:cubicBezTo>
                    <a:pt x="1954" y="6002"/>
                    <a:pt x="1733" y="6065"/>
                    <a:pt x="1513" y="6191"/>
                  </a:cubicBezTo>
                  <a:lnTo>
                    <a:pt x="1513" y="4490"/>
                  </a:lnTo>
                  <a:close/>
                  <a:moveTo>
                    <a:pt x="11248" y="4490"/>
                  </a:moveTo>
                  <a:lnTo>
                    <a:pt x="11248" y="6191"/>
                  </a:lnTo>
                  <a:cubicBezTo>
                    <a:pt x="11027" y="6065"/>
                    <a:pt x="10775" y="6002"/>
                    <a:pt x="10523" y="6002"/>
                  </a:cubicBezTo>
                  <a:lnTo>
                    <a:pt x="9515" y="6002"/>
                  </a:lnTo>
                  <a:cubicBezTo>
                    <a:pt x="8475" y="6002"/>
                    <a:pt x="7467" y="5404"/>
                    <a:pt x="6963" y="4490"/>
                  </a:cubicBezTo>
                  <a:close/>
                  <a:moveTo>
                    <a:pt x="2237" y="6758"/>
                  </a:moveTo>
                  <a:lnTo>
                    <a:pt x="2237" y="8239"/>
                  </a:lnTo>
                  <a:cubicBezTo>
                    <a:pt x="1859" y="8239"/>
                    <a:pt x="1481" y="7892"/>
                    <a:pt x="1481" y="7483"/>
                  </a:cubicBezTo>
                  <a:cubicBezTo>
                    <a:pt x="1481" y="7105"/>
                    <a:pt x="1796" y="6758"/>
                    <a:pt x="2237" y="6758"/>
                  </a:cubicBezTo>
                  <a:close/>
                  <a:moveTo>
                    <a:pt x="10523" y="6758"/>
                  </a:moveTo>
                  <a:cubicBezTo>
                    <a:pt x="10901" y="6758"/>
                    <a:pt x="11248" y="7073"/>
                    <a:pt x="11248" y="7483"/>
                  </a:cubicBezTo>
                  <a:cubicBezTo>
                    <a:pt x="11248" y="7892"/>
                    <a:pt x="10933" y="8239"/>
                    <a:pt x="10523" y="8239"/>
                  </a:cubicBezTo>
                  <a:lnTo>
                    <a:pt x="10523" y="6758"/>
                  </a:lnTo>
                  <a:close/>
                  <a:moveTo>
                    <a:pt x="1481" y="8806"/>
                  </a:moveTo>
                  <a:cubicBezTo>
                    <a:pt x="1733" y="8901"/>
                    <a:pt x="1954" y="8995"/>
                    <a:pt x="2237" y="8995"/>
                  </a:cubicBezTo>
                  <a:cubicBezTo>
                    <a:pt x="2363" y="10224"/>
                    <a:pt x="2993" y="11326"/>
                    <a:pt x="4002" y="11988"/>
                  </a:cubicBezTo>
                  <a:lnTo>
                    <a:pt x="1481" y="11988"/>
                  </a:lnTo>
                  <a:lnTo>
                    <a:pt x="1481" y="8806"/>
                  </a:lnTo>
                  <a:close/>
                  <a:moveTo>
                    <a:pt x="6333" y="5025"/>
                  </a:moveTo>
                  <a:cubicBezTo>
                    <a:pt x="6585" y="5404"/>
                    <a:pt x="6932" y="5750"/>
                    <a:pt x="7310" y="6065"/>
                  </a:cubicBezTo>
                  <a:cubicBezTo>
                    <a:pt x="7940" y="6506"/>
                    <a:pt x="8696" y="6758"/>
                    <a:pt x="9452" y="6758"/>
                  </a:cubicBezTo>
                  <a:lnTo>
                    <a:pt x="9672" y="6758"/>
                  </a:lnTo>
                  <a:lnTo>
                    <a:pt x="9672" y="8586"/>
                  </a:lnTo>
                  <a:lnTo>
                    <a:pt x="9767" y="8586"/>
                  </a:lnTo>
                  <a:cubicBezTo>
                    <a:pt x="9767" y="10444"/>
                    <a:pt x="8223" y="11988"/>
                    <a:pt x="6364" y="11988"/>
                  </a:cubicBezTo>
                  <a:cubicBezTo>
                    <a:pt x="4537" y="11988"/>
                    <a:pt x="2993" y="10444"/>
                    <a:pt x="2993" y="8586"/>
                  </a:cubicBezTo>
                  <a:lnTo>
                    <a:pt x="2993" y="6758"/>
                  </a:lnTo>
                  <a:lnTo>
                    <a:pt x="3214" y="6758"/>
                  </a:lnTo>
                  <a:cubicBezTo>
                    <a:pt x="4002" y="6758"/>
                    <a:pt x="4726" y="6506"/>
                    <a:pt x="5356" y="6065"/>
                  </a:cubicBezTo>
                  <a:cubicBezTo>
                    <a:pt x="5734" y="5813"/>
                    <a:pt x="6112" y="5435"/>
                    <a:pt x="6333" y="5025"/>
                  </a:cubicBezTo>
                  <a:close/>
                  <a:moveTo>
                    <a:pt x="11248" y="8806"/>
                  </a:moveTo>
                  <a:lnTo>
                    <a:pt x="11248" y="12020"/>
                  </a:lnTo>
                  <a:lnTo>
                    <a:pt x="8727" y="12020"/>
                  </a:lnTo>
                  <a:lnTo>
                    <a:pt x="8727" y="11988"/>
                  </a:lnTo>
                  <a:cubicBezTo>
                    <a:pt x="9735" y="11326"/>
                    <a:pt x="10397" y="10224"/>
                    <a:pt x="10523" y="8995"/>
                  </a:cubicBezTo>
                  <a:cubicBezTo>
                    <a:pt x="10775" y="8995"/>
                    <a:pt x="11027" y="8901"/>
                    <a:pt x="11248" y="8806"/>
                  </a:cubicBezTo>
                  <a:close/>
                  <a:moveTo>
                    <a:pt x="6380" y="0"/>
                  </a:moveTo>
                  <a:cubicBezTo>
                    <a:pt x="6309" y="0"/>
                    <a:pt x="6238" y="16"/>
                    <a:pt x="6175" y="48"/>
                  </a:cubicBezTo>
                  <a:lnTo>
                    <a:pt x="189" y="3797"/>
                  </a:lnTo>
                  <a:cubicBezTo>
                    <a:pt x="32" y="3860"/>
                    <a:pt x="0" y="4080"/>
                    <a:pt x="32" y="4238"/>
                  </a:cubicBezTo>
                  <a:cubicBezTo>
                    <a:pt x="95" y="4395"/>
                    <a:pt x="252" y="4490"/>
                    <a:pt x="378" y="4490"/>
                  </a:cubicBezTo>
                  <a:lnTo>
                    <a:pt x="757" y="4490"/>
                  </a:lnTo>
                  <a:lnTo>
                    <a:pt x="757" y="12366"/>
                  </a:lnTo>
                  <a:cubicBezTo>
                    <a:pt x="757" y="12587"/>
                    <a:pt x="914" y="12744"/>
                    <a:pt x="1103" y="12744"/>
                  </a:cubicBezTo>
                  <a:lnTo>
                    <a:pt x="11626" y="12744"/>
                  </a:lnTo>
                  <a:cubicBezTo>
                    <a:pt x="11815" y="12744"/>
                    <a:pt x="11972" y="12587"/>
                    <a:pt x="11972" y="12366"/>
                  </a:cubicBezTo>
                  <a:lnTo>
                    <a:pt x="11972" y="4490"/>
                  </a:lnTo>
                  <a:lnTo>
                    <a:pt x="12319" y="4490"/>
                  </a:lnTo>
                  <a:cubicBezTo>
                    <a:pt x="12476" y="4490"/>
                    <a:pt x="12634" y="4395"/>
                    <a:pt x="12665" y="4238"/>
                  </a:cubicBezTo>
                  <a:cubicBezTo>
                    <a:pt x="12760" y="4080"/>
                    <a:pt x="12728" y="3923"/>
                    <a:pt x="12571" y="3797"/>
                  </a:cubicBezTo>
                  <a:lnTo>
                    <a:pt x="6585" y="48"/>
                  </a:lnTo>
                  <a:cubicBezTo>
                    <a:pt x="6522" y="16"/>
                    <a:pt x="6451" y="0"/>
                    <a:pt x="63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81" name="Google Shape;7281;p74"/>
          <p:cNvGrpSpPr/>
          <p:nvPr/>
        </p:nvGrpSpPr>
        <p:grpSpPr>
          <a:xfrm>
            <a:off x="10678226" y="4498131"/>
            <a:ext cx="423092" cy="481264"/>
            <a:chOff x="-52092425" y="2303525"/>
            <a:chExt cx="279650" cy="318100"/>
          </a:xfrm>
        </p:grpSpPr>
        <p:sp>
          <p:nvSpPr>
            <p:cNvPr id="7282" name="Google Shape;7282;p74"/>
            <p:cNvSpPr/>
            <p:nvPr/>
          </p:nvSpPr>
          <p:spPr>
            <a:xfrm>
              <a:off x="-51989225" y="2535950"/>
              <a:ext cx="72475" cy="29750"/>
            </a:xfrm>
            <a:custGeom>
              <a:avLst/>
              <a:gdLst/>
              <a:ahLst/>
              <a:cxnLst/>
              <a:rect l="l" t="t" r="r" b="b"/>
              <a:pathLst>
                <a:path w="2899" h="1190" extrusionOk="0">
                  <a:moveTo>
                    <a:pt x="398" y="0"/>
                  </a:moveTo>
                  <a:cubicBezTo>
                    <a:pt x="307" y="0"/>
                    <a:pt x="221" y="40"/>
                    <a:pt x="158" y="118"/>
                  </a:cubicBezTo>
                  <a:cubicBezTo>
                    <a:pt x="0" y="276"/>
                    <a:pt x="0" y="528"/>
                    <a:pt x="158" y="654"/>
                  </a:cubicBezTo>
                  <a:cubicBezTo>
                    <a:pt x="504" y="1000"/>
                    <a:pt x="977" y="1189"/>
                    <a:pt x="1449" y="1189"/>
                  </a:cubicBezTo>
                  <a:cubicBezTo>
                    <a:pt x="1922" y="1189"/>
                    <a:pt x="2426" y="1000"/>
                    <a:pt x="2741" y="654"/>
                  </a:cubicBezTo>
                  <a:cubicBezTo>
                    <a:pt x="2899" y="496"/>
                    <a:pt x="2899" y="244"/>
                    <a:pt x="2741" y="118"/>
                  </a:cubicBezTo>
                  <a:cubicBezTo>
                    <a:pt x="2662" y="40"/>
                    <a:pt x="2568" y="0"/>
                    <a:pt x="2477" y="0"/>
                  </a:cubicBezTo>
                  <a:cubicBezTo>
                    <a:pt x="2387" y="0"/>
                    <a:pt x="2300" y="40"/>
                    <a:pt x="2237" y="118"/>
                  </a:cubicBezTo>
                  <a:cubicBezTo>
                    <a:pt x="2048" y="339"/>
                    <a:pt x="1733" y="433"/>
                    <a:pt x="1449" y="433"/>
                  </a:cubicBezTo>
                  <a:cubicBezTo>
                    <a:pt x="1134" y="433"/>
                    <a:pt x="851" y="339"/>
                    <a:pt x="662" y="118"/>
                  </a:cubicBezTo>
                  <a:cubicBezTo>
                    <a:pt x="583" y="40"/>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3" name="Google Shape;7283;p74"/>
            <p:cNvSpPr/>
            <p:nvPr/>
          </p:nvSpPr>
          <p:spPr>
            <a:xfrm>
              <a:off x="-52092425" y="2303525"/>
              <a:ext cx="279650" cy="318100"/>
            </a:xfrm>
            <a:custGeom>
              <a:avLst/>
              <a:gdLst/>
              <a:ahLst/>
              <a:cxnLst/>
              <a:rect l="l" t="t" r="r" b="b"/>
              <a:pathLst>
                <a:path w="11186" h="12724" extrusionOk="0">
                  <a:moveTo>
                    <a:pt x="9610" y="878"/>
                  </a:moveTo>
                  <a:lnTo>
                    <a:pt x="9295" y="2957"/>
                  </a:lnTo>
                  <a:cubicBezTo>
                    <a:pt x="8381" y="2957"/>
                    <a:pt x="7625" y="2327"/>
                    <a:pt x="7468" y="1476"/>
                  </a:cubicBezTo>
                  <a:lnTo>
                    <a:pt x="9610" y="878"/>
                  </a:lnTo>
                  <a:close/>
                  <a:moveTo>
                    <a:pt x="3719" y="1476"/>
                  </a:moveTo>
                  <a:cubicBezTo>
                    <a:pt x="4128" y="1476"/>
                    <a:pt x="4475" y="1791"/>
                    <a:pt x="4475" y="2201"/>
                  </a:cubicBezTo>
                  <a:cubicBezTo>
                    <a:pt x="4475" y="2610"/>
                    <a:pt x="4128" y="2957"/>
                    <a:pt x="3719" y="2957"/>
                  </a:cubicBezTo>
                  <a:cubicBezTo>
                    <a:pt x="3624" y="2957"/>
                    <a:pt x="3498" y="2925"/>
                    <a:pt x="3403" y="2894"/>
                  </a:cubicBezTo>
                  <a:cubicBezTo>
                    <a:pt x="3349" y="2861"/>
                    <a:pt x="3294" y="2847"/>
                    <a:pt x="3241" y="2847"/>
                  </a:cubicBezTo>
                  <a:cubicBezTo>
                    <a:pt x="3144" y="2847"/>
                    <a:pt x="3055" y="2895"/>
                    <a:pt x="2994" y="2957"/>
                  </a:cubicBezTo>
                  <a:cubicBezTo>
                    <a:pt x="2868" y="3083"/>
                    <a:pt x="2836" y="3240"/>
                    <a:pt x="2899" y="3398"/>
                  </a:cubicBezTo>
                  <a:cubicBezTo>
                    <a:pt x="2931" y="3524"/>
                    <a:pt x="2994" y="3618"/>
                    <a:pt x="2994" y="3713"/>
                  </a:cubicBezTo>
                  <a:cubicBezTo>
                    <a:pt x="2994" y="4091"/>
                    <a:pt x="2616" y="4469"/>
                    <a:pt x="2238" y="4469"/>
                  </a:cubicBezTo>
                  <a:cubicBezTo>
                    <a:pt x="1828" y="4469"/>
                    <a:pt x="1482" y="4154"/>
                    <a:pt x="1482" y="3713"/>
                  </a:cubicBezTo>
                  <a:cubicBezTo>
                    <a:pt x="1482" y="3492"/>
                    <a:pt x="1608" y="3303"/>
                    <a:pt x="1671" y="3209"/>
                  </a:cubicBezTo>
                  <a:cubicBezTo>
                    <a:pt x="1797" y="3083"/>
                    <a:pt x="1797" y="2894"/>
                    <a:pt x="1639" y="2736"/>
                  </a:cubicBezTo>
                  <a:cubicBezTo>
                    <a:pt x="1576" y="2610"/>
                    <a:pt x="1450" y="2453"/>
                    <a:pt x="1450" y="2201"/>
                  </a:cubicBezTo>
                  <a:cubicBezTo>
                    <a:pt x="1450" y="1823"/>
                    <a:pt x="1765" y="1476"/>
                    <a:pt x="2206" y="1476"/>
                  </a:cubicBezTo>
                  <a:cubicBezTo>
                    <a:pt x="2427" y="1476"/>
                    <a:pt x="2584" y="1571"/>
                    <a:pt x="2710" y="1665"/>
                  </a:cubicBezTo>
                  <a:cubicBezTo>
                    <a:pt x="2789" y="1728"/>
                    <a:pt x="2876" y="1760"/>
                    <a:pt x="2962" y="1760"/>
                  </a:cubicBezTo>
                  <a:cubicBezTo>
                    <a:pt x="3049" y="1760"/>
                    <a:pt x="3136" y="1728"/>
                    <a:pt x="3214" y="1665"/>
                  </a:cubicBezTo>
                  <a:cubicBezTo>
                    <a:pt x="3340" y="1571"/>
                    <a:pt x="3498" y="1476"/>
                    <a:pt x="3719" y="1476"/>
                  </a:cubicBezTo>
                  <a:close/>
                  <a:moveTo>
                    <a:pt x="6774" y="1697"/>
                  </a:moveTo>
                  <a:cubicBezTo>
                    <a:pt x="7027" y="2862"/>
                    <a:pt x="8035" y="3681"/>
                    <a:pt x="9200" y="3713"/>
                  </a:cubicBezTo>
                  <a:lnTo>
                    <a:pt x="9011" y="5225"/>
                  </a:lnTo>
                  <a:cubicBezTo>
                    <a:pt x="7247" y="5099"/>
                    <a:pt x="5735" y="3839"/>
                    <a:pt x="5294" y="2138"/>
                  </a:cubicBezTo>
                  <a:lnTo>
                    <a:pt x="6774" y="1697"/>
                  </a:lnTo>
                  <a:close/>
                  <a:moveTo>
                    <a:pt x="1450" y="6737"/>
                  </a:moveTo>
                  <a:lnTo>
                    <a:pt x="1450" y="8250"/>
                  </a:lnTo>
                  <a:cubicBezTo>
                    <a:pt x="1041" y="8250"/>
                    <a:pt x="694" y="7935"/>
                    <a:pt x="694" y="7494"/>
                  </a:cubicBezTo>
                  <a:cubicBezTo>
                    <a:pt x="694" y="7115"/>
                    <a:pt x="1009" y="6737"/>
                    <a:pt x="1450" y="6737"/>
                  </a:cubicBezTo>
                  <a:close/>
                  <a:moveTo>
                    <a:pt x="9673" y="6737"/>
                  </a:moveTo>
                  <a:cubicBezTo>
                    <a:pt x="10083" y="6737"/>
                    <a:pt x="10429" y="7052"/>
                    <a:pt x="10429" y="7494"/>
                  </a:cubicBezTo>
                  <a:cubicBezTo>
                    <a:pt x="10429" y="7935"/>
                    <a:pt x="10083" y="8250"/>
                    <a:pt x="9673" y="8250"/>
                  </a:cubicBezTo>
                  <a:lnTo>
                    <a:pt x="9673" y="6737"/>
                  </a:lnTo>
                  <a:close/>
                  <a:moveTo>
                    <a:pt x="4884" y="3209"/>
                  </a:moveTo>
                  <a:cubicBezTo>
                    <a:pt x="5609" y="4784"/>
                    <a:pt x="7184" y="5824"/>
                    <a:pt x="8917" y="5981"/>
                  </a:cubicBezTo>
                  <a:lnTo>
                    <a:pt x="8917" y="6422"/>
                  </a:lnTo>
                  <a:lnTo>
                    <a:pt x="8917" y="8659"/>
                  </a:lnTo>
                  <a:cubicBezTo>
                    <a:pt x="8917" y="10486"/>
                    <a:pt x="7436" y="11999"/>
                    <a:pt x="5577" y="11999"/>
                  </a:cubicBezTo>
                  <a:cubicBezTo>
                    <a:pt x="3719" y="11999"/>
                    <a:pt x="2238" y="10486"/>
                    <a:pt x="2238" y="8628"/>
                  </a:cubicBezTo>
                  <a:lnTo>
                    <a:pt x="2238" y="5603"/>
                  </a:lnTo>
                  <a:cubicBezTo>
                    <a:pt x="2238" y="5477"/>
                    <a:pt x="2238" y="5383"/>
                    <a:pt x="2269" y="5257"/>
                  </a:cubicBezTo>
                  <a:cubicBezTo>
                    <a:pt x="3088" y="5257"/>
                    <a:pt x="3719" y="4595"/>
                    <a:pt x="3719" y="3744"/>
                  </a:cubicBezTo>
                  <a:cubicBezTo>
                    <a:pt x="4191" y="3744"/>
                    <a:pt x="4601" y="3555"/>
                    <a:pt x="4884" y="3209"/>
                  </a:cubicBezTo>
                  <a:close/>
                  <a:moveTo>
                    <a:pt x="10072" y="1"/>
                  </a:moveTo>
                  <a:cubicBezTo>
                    <a:pt x="10033" y="1"/>
                    <a:pt x="9993" y="8"/>
                    <a:pt x="9956" y="27"/>
                  </a:cubicBezTo>
                  <a:lnTo>
                    <a:pt x="4979" y="1445"/>
                  </a:lnTo>
                  <a:cubicBezTo>
                    <a:pt x="4727" y="1004"/>
                    <a:pt x="4254" y="720"/>
                    <a:pt x="3719" y="720"/>
                  </a:cubicBezTo>
                  <a:cubicBezTo>
                    <a:pt x="3466" y="720"/>
                    <a:pt x="3214" y="783"/>
                    <a:pt x="2994" y="909"/>
                  </a:cubicBezTo>
                  <a:cubicBezTo>
                    <a:pt x="2742" y="783"/>
                    <a:pt x="2521" y="720"/>
                    <a:pt x="2238" y="720"/>
                  </a:cubicBezTo>
                  <a:cubicBezTo>
                    <a:pt x="1419" y="720"/>
                    <a:pt x="726" y="1382"/>
                    <a:pt x="726" y="2232"/>
                  </a:cubicBezTo>
                  <a:cubicBezTo>
                    <a:pt x="726" y="2484"/>
                    <a:pt x="820" y="2736"/>
                    <a:pt x="946" y="2957"/>
                  </a:cubicBezTo>
                  <a:cubicBezTo>
                    <a:pt x="820" y="3209"/>
                    <a:pt x="726" y="3429"/>
                    <a:pt x="726" y="3713"/>
                  </a:cubicBezTo>
                  <a:cubicBezTo>
                    <a:pt x="726" y="4280"/>
                    <a:pt x="1041" y="4784"/>
                    <a:pt x="1513" y="5005"/>
                  </a:cubicBezTo>
                  <a:cubicBezTo>
                    <a:pt x="1482" y="5225"/>
                    <a:pt x="1482" y="5383"/>
                    <a:pt x="1482" y="5572"/>
                  </a:cubicBezTo>
                  <a:lnTo>
                    <a:pt x="1482" y="6013"/>
                  </a:lnTo>
                  <a:cubicBezTo>
                    <a:pt x="663" y="6013"/>
                    <a:pt x="1" y="6674"/>
                    <a:pt x="1" y="7494"/>
                  </a:cubicBezTo>
                  <a:cubicBezTo>
                    <a:pt x="1" y="8313"/>
                    <a:pt x="663" y="9006"/>
                    <a:pt x="1482" y="9006"/>
                  </a:cubicBezTo>
                  <a:cubicBezTo>
                    <a:pt x="1671" y="11085"/>
                    <a:pt x="3466" y="12723"/>
                    <a:pt x="5577" y="12723"/>
                  </a:cubicBezTo>
                  <a:cubicBezTo>
                    <a:pt x="7720" y="12723"/>
                    <a:pt x="9484" y="11085"/>
                    <a:pt x="9673" y="9006"/>
                  </a:cubicBezTo>
                  <a:cubicBezTo>
                    <a:pt x="10492" y="9006"/>
                    <a:pt x="11185" y="8313"/>
                    <a:pt x="11185" y="7494"/>
                  </a:cubicBezTo>
                  <a:cubicBezTo>
                    <a:pt x="11185" y="6674"/>
                    <a:pt x="10492" y="6013"/>
                    <a:pt x="9673" y="6013"/>
                  </a:cubicBezTo>
                  <a:lnTo>
                    <a:pt x="9673" y="5603"/>
                  </a:lnTo>
                  <a:cubicBezTo>
                    <a:pt x="9704" y="5414"/>
                    <a:pt x="10398" y="594"/>
                    <a:pt x="10429" y="405"/>
                  </a:cubicBezTo>
                  <a:cubicBezTo>
                    <a:pt x="10429" y="279"/>
                    <a:pt x="10398" y="184"/>
                    <a:pt x="10303" y="90"/>
                  </a:cubicBezTo>
                  <a:cubicBezTo>
                    <a:pt x="10258" y="45"/>
                    <a:pt x="10167" y="1"/>
                    <a:pt x="10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4" name="Google Shape;7284;p74"/>
            <p:cNvSpPr/>
            <p:nvPr/>
          </p:nvSpPr>
          <p:spPr>
            <a:xfrm>
              <a:off x="-51998675" y="2454625"/>
              <a:ext cx="17325" cy="17350"/>
            </a:xfrm>
            <a:custGeom>
              <a:avLst/>
              <a:gdLst/>
              <a:ahLst/>
              <a:cxnLst/>
              <a:rect l="l" t="t" r="r" b="b"/>
              <a:pathLst>
                <a:path w="693"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5" name="Google Shape;7285;p74"/>
            <p:cNvSpPr/>
            <p:nvPr/>
          </p:nvSpPr>
          <p:spPr>
            <a:xfrm>
              <a:off x="-51925450" y="2454625"/>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6" y="536"/>
                    <a:pt x="726" y="347"/>
                  </a:cubicBezTo>
                  <a:cubicBezTo>
                    <a:pt x="726"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6" name="Google Shape;7286;p74"/>
            <p:cNvSpPr/>
            <p:nvPr/>
          </p:nvSpPr>
          <p:spPr>
            <a:xfrm>
              <a:off x="-51981350" y="2472725"/>
              <a:ext cx="55925" cy="55950"/>
            </a:xfrm>
            <a:custGeom>
              <a:avLst/>
              <a:gdLst/>
              <a:ahLst/>
              <a:cxnLst/>
              <a:rect l="l" t="t" r="r" b="b"/>
              <a:pathLst>
                <a:path w="2237" h="2238" extrusionOk="0">
                  <a:moveTo>
                    <a:pt x="1134" y="726"/>
                  </a:moveTo>
                  <a:cubicBezTo>
                    <a:pt x="1323" y="726"/>
                    <a:pt x="1481" y="883"/>
                    <a:pt x="1481" y="1072"/>
                  </a:cubicBezTo>
                  <a:cubicBezTo>
                    <a:pt x="1481" y="1293"/>
                    <a:pt x="1323" y="1450"/>
                    <a:pt x="1134" y="1450"/>
                  </a:cubicBezTo>
                  <a:cubicBezTo>
                    <a:pt x="945" y="1450"/>
                    <a:pt x="788" y="1293"/>
                    <a:pt x="788" y="1072"/>
                  </a:cubicBezTo>
                  <a:cubicBezTo>
                    <a:pt x="756" y="915"/>
                    <a:pt x="914" y="726"/>
                    <a:pt x="1134" y="726"/>
                  </a:cubicBezTo>
                  <a:close/>
                  <a:moveTo>
                    <a:pt x="1134" y="1"/>
                  </a:moveTo>
                  <a:cubicBezTo>
                    <a:pt x="504" y="1"/>
                    <a:pt x="32" y="536"/>
                    <a:pt x="32" y="1135"/>
                  </a:cubicBezTo>
                  <a:cubicBezTo>
                    <a:pt x="0" y="1765"/>
                    <a:pt x="504" y="2238"/>
                    <a:pt x="1134" y="2238"/>
                  </a:cubicBezTo>
                  <a:cubicBezTo>
                    <a:pt x="1764" y="2238"/>
                    <a:pt x="2237" y="1702"/>
                    <a:pt x="2237" y="1135"/>
                  </a:cubicBezTo>
                  <a:cubicBezTo>
                    <a:pt x="2237" y="505"/>
                    <a:pt x="1733" y="1"/>
                    <a:pt x="11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87" name="Google Shape;7287;p74"/>
          <p:cNvGrpSpPr/>
          <p:nvPr/>
        </p:nvGrpSpPr>
        <p:grpSpPr>
          <a:xfrm>
            <a:off x="7636971" y="2045415"/>
            <a:ext cx="485008" cy="481453"/>
            <a:chOff x="-57189125" y="1904850"/>
            <a:chExt cx="320575" cy="318225"/>
          </a:xfrm>
        </p:grpSpPr>
        <p:sp>
          <p:nvSpPr>
            <p:cNvPr id="7288" name="Google Shape;7288;p74"/>
            <p:cNvSpPr/>
            <p:nvPr/>
          </p:nvSpPr>
          <p:spPr>
            <a:xfrm>
              <a:off x="-57073350" y="2072625"/>
              <a:ext cx="18125" cy="17350"/>
            </a:xfrm>
            <a:custGeom>
              <a:avLst/>
              <a:gdLst/>
              <a:ahLst/>
              <a:cxnLst/>
              <a:rect l="l" t="t" r="r" b="b"/>
              <a:pathLst>
                <a:path w="725" h="694" extrusionOk="0">
                  <a:moveTo>
                    <a:pt x="347" y="0"/>
                  </a:moveTo>
                  <a:cubicBezTo>
                    <a:pt x="158" y="0"/>
                    <a:pt x="1" y="158"/>
                    <a:pt x="1" y="347"/>
                  </a:cubicBezTo>
                  <a:cubicBezTo>
                    <a:pt x="1" y="536"/>
                    <a:pt x="158" y="694"/>
                    <a:pt x="347" y="694"/>
                  </a:cubicBezTo>
                  <a:cubicBezTo>
                    <a:pt x="536" y="694"/>
                    <a:pt x="725" y="536"/>
                    <a:pt x="725" y="347"/>
                  </a:cubicBezTo>
                  <a:cubicBezTo>
                    <a:pt x="725"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89" name="Google Shape;7289;p74"/>
            <p:cNvSpPr/>
            <p:nvPr/>
          </p:nvSpPr>
          <p:spPr>
            <a:xfrm>
              <a:off x="-569985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0" name="Google Shape;7290;p74"/>
            <p:cNvSpPr/>
            <p:nvPr/>
          </p:nvSpPr>
          <p:spPr>
            <a:xfrm>
              <a:off x="-57035550" y="200725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1" name="Google Shape;7291;p74"/>
            <p:cNvSpPr/>
            <p:nvPr/>
          </p:nvSpPr>
          <p:spPr>
            <a:xfrm>
              <a:off x="-57063900" y="2135825"/>
              <a:ext cx="73275" cy="28975"/>
            </a:xfrm>
            <a:custGeom>
              <a:avLst/>
              <a:gdLst/>
              <a:ahLst/>
              <a:cxnLst/>
              <a:rect l="l" t="t" r="r" b="b"/>
              <a:pathLst>
                <a:path w="2931" h="1159" extrusionOk="0">
                  <a:moveTo>
                    <a:pt x="414" y="1"/>
                  </a:moveTo>
                  <a:cubicBezTo>
                    <a:pt x="316" y="1"/>
                    <a:pt x="221" y="40"/>
                    <a:pt x="158" y="119"/>
                  </a:cubicBezTo>
                  <a:cubicBezTo>
                    <a:pt x="1" y="276"/>
                    <a:pt x="1" y="497"/>
                    <a:pt x="158" y="623"/>
                  </a:cubicBezTo>
                  <a:cubicBezTo>
                    <a:pt x="536" y="970"/>
                    <a:pt x="1009" y="1159"/>
                    <a:pt x="1481" y="1159"/>
                  </a:cubicBezTo>
                  <a:cubicBezTo>
                    <a:pt x="1954" y="1159"/>
                    <a:pt x="2458" y="970"/>
                    <a:pt x="2773" y="623"/>
                  </a:cubicBezTo>
                  <a:cubicBezTo>
                    <a:pt x="2931" y="465"/>
                    <a:pt x="2931" y="213"/>
                    <a:pt x="2773" y="119"/>
                  </a:cubicBezTo>
                  <a:cubicBezTo>
                    <a:pt x="2710" y="40"/>
                    <a:pt x="2623" y="1"/>
                    <a:pt x="2533" y="1"/>
                  </a:cubicBezTo>
                  <a:cubicBezTo>
                    <a:pt x="2442" y="1"/>
                    <a:pt x="2348" y="40"/>
                    <a:pt x="2269" y="119"/>
                  </a:cubicBezTo>
                  <a:cubicBezTo>
                    <a:pt x="2048" y="308"/>
                    <a:pt x="1733" y="434"/>
                    <a:pt x="1481" y="434"/>
                  </a:cubicBezTo>
                  <a:cubicBezTo>
                    <a:pt x="1166" y="434"/>
                    <a:pt x="883" y="308"/>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2" name="Google Shape;7292;p74"/>
            <p:cNvSpPr/>
            <p:nvPr/>
          </p:nvSpPr>
          <p:spPr>
            <a:xfrm>
              <a:off x="-57189125" y="1904850"/>
              <a:ext cx="320575" cy="318225"/>
            </a:xfrm>
            <a:custGeom>
              <a:avLst/>
              <a:gdLst/>
              <a:ahLst/>
              <a:cxnLst/>
              <a:rect l="l" t="t" r="r" b="b"/>
              <a:pathLst>
                <a:path w="12823" h="12729" extrusionOk="0">
                  <a:moveTo>
                    <a:pt x="6490" y="726"/>
                  </a:moveTo>
                  <a:cubicBezTo>
                    <a:pt x="6994" y="726"/>
                    <a:pt x="7467" y="1104"/>
                    <a:pt x="7593" y="1639"/>
                  </a:cubicBezTo>
                  <a:cubicBezTo>
                    <a:pt x="7215" y="1545"/>
                    <a:pt x="6868" y="1450"/>
                    <a:pt x="6490" y="1450"/>
                  </a:cubicBezTo>
                  <a:cubicBezTo>
                    <a:pt x="6081" y="1450"/>
                    <a:pt x="5734" y="1513"/>
                    <a:pt x="5388" y="1639"/>
                  </a:cubicBezTo>
                  <a:cubicBezTo>
                    <a:pt x="5482" y="1104"/>
                    <a:pt x="5923" y="726"/>
                    <a:pt x="6490" y="726"/>
                  </a:cubicBezTo>
                  <a:close/>
                  <a:moveTo>
                    <a:pt x="6081" y="2269"/>
                  </a:moveTo>
                  <a:lnTo>
                    <a:pt x="6081" y="2301"/>
                  </a:lnTo>
                  <a:cubicBezTo>
                    <a:pt x="5860" y="2364"/>
                    <a:pt x="5608" y="2584"/>
                    <a:pt x="5482" y="2805"/>
                  </a:cubicBezTo>
                  <a:cubicBezTo>
                    <a:pt x="5104" y="2805"/>
                    <a:pt x="4695" y="2994"/>
                    <a:pt x="4506" y="3372"/>
                  </a:cubicBezTo>
                  <a:cubicBezTo>
                    <a:pt x="4317" y="3719"/>
                    <a:pt x="4317" y="4160"/>
                    <a:pt x="4506" y="4475"/>
                  </a:cubicBezTo>
                  <a:cubicBezTo>
                    <a:pt x="4474" y="4538"/>
                    <a:pt x="4443" y="4664"/>
                    <a:pt x="4380" y="4727"/>
                  </a:cubicBezTo>
                  <a:cubicBezTo>
                    <a:pt x="4002" y="4979"/>
                    <a:pt x="3529" y="5136"/>
                    <a:pt x="3088" y="5168"/>
                  </a:cubicBezTo>
                  <a:cubicBezTo>
                    <a:pt x="3277" y="3624"/>
                    <a:pt x="4537" y="2427"/>
                    <a:pt x="6081" y="2269"/>
                  </a:cubicBezTo>
                  <a:close/>
                  <a:moveTo>
                    <a:pt x="6837" y="2269"/>
                  </a:moveTo>
                  <a:cubicBezTo>
                    <a:pt x="8412" y="2427"/>
                    <a:pt x="9641" y="3624"/>
                    <a:pt x="9830" y="5168"/>
                  </a:cubicBezTo>
                  <a:cubicBezTo>
                    <a:pt x="9357" y="5136"/>
                    <a:pt x="8916" y="4979"/>
                    <a:pt x="8538" y="4727"/>
                  </a:cubicBezTo>
                  <a:cubicBezTo>
                    <a:pt x="8475" y="4632"/>
                    <a:pt x="8444" y="4538"/>
                    <a:pt x="8412" y="4475"/>
                  </a:cubicBezTo>
                  <a:cubicBezTo>
                    <a:pt x="8601" y="4097"/>
                    <a:pt x="8633" y="3719"/>
                    <a:pt x="8412" y="3372"/>
                  </a:cubicBezTo>
                  <a:cubicBezTo>
                    <a:pt x="8223" y="2994"/>
                    <a:pt x="7814" y="2805"/>
                    <a:pt x="7436" y="2805"/>
                  </a:cubicBezTo>
                  <a:cubicBezTo>
                    <a:pt x="7310" y="2584"/>
                    <a:pt x="7057" y="2364"/>
                    <a:pt x="6837" y="2301"/>
                  </a:cubicBezTo>
                  <a:lnTo>
                    <a:pt x="6837" y="2269"/>
                  </a:lnTo>
                  <a:close/>
                  <a:moveTo>
                    <a:pt x="6490" y="2962"/>
                  </a:moveTo>
                  <a:cubicBezTo>
                    <a:pt x="6648" y="2962"/>
                    <a:pt x="6805" y="3088"/>
                    <a:pt x="6837" y="3277"/>
                  </a:cubicBezTo>
                  <a:cubicBezTo>
                    <a:pt x="6863" y="3460"/>
                    <a:pt x="7039" y="3577"/>
                    <a:pt x="7224" y="3577"/>
                  </a:cubicBezTo>
                  <a:cubicBezTo>
                    <a:pt x="7263" y="3577"/>
                    <a:pt x="7303" y="3572"/>
                    <a:pt x="7341" y="3561"/>
                  </a:cubicBezTo>
                  <a:cubicBezTo>
                    <a:pt x="7384" y="3535"/>
                    <a:pt x="7430" y="3523"/>
                    <a:pt x="7476" y="3523"/>
                  </a:cubicBezTo>
                  <a:cubicBezTo>
                    <a:pt x="7595" y="3523"/>
                    <a:pt x="7714" y="3604"/>
                    <a:pt x="7782" y="3719"/>
                  </a:cubicBezTo>
                  <a:cubicBezTo>
                    <a:pt x="7845" y="3876"/>
                    <a:pt x="7814" y="4065"/>
                    <a:pt x="7688" y="4191"/>
                  </a:cubicBezTo>
                  <a:cubicBezTo>
                    <a:pt x="7562" y="4349"/>
                    <a:pt x="7562" y="4601"/>
                    <a:pt x="7688" y="4727"/>
                  </a:cubicBezTo>
                  <a:cubicBezTo>
                    <a:pt x="7845" y="4853"/>
                    <a:pt x="7908" y="5042"/>
                    <a:pt x="7782" y="5199"/>
                  </a:cubicBezTo>
                  <a:cubicBezTo>
                    <a:pt x="7712" y="5316"/>
                    <a:pt x="7590" y="5381"/>
                    <a:pt x="7467" y="5381"/>
                  </a:cubicBezTo>
                  <a:cubicBezTo>
                    <a:pt x="7425" y="5381"/>
                    <a:pt x="7382" y="5373"/>
                    <a:pt x="7341" y="5357"/>
                  </a:cubicBezTo>
                  <a:cubicBezTo>
                    <a:pt x="7303" y="5346"/>
                    <a:pt x="7264" y="5341"/>
                    <a:pt x="7227" y="5341"/>
                  </a:cubicBezTo>
                  <a:cubicBezTo>
                    <a:pt x="7048" y="5341"/>
                    <a:pt x="6889" y="5458"/>
                    <a:pt x="6837" y="5640"/>
                  </a:cubicBezTo>
                  <a:cubicBezTo>
                    <a:pt x="6805" y="5829"/>
                    <a:pt x="6648" y="5955"/>
                    <a:pt x="6490" y="5955"/>
                  </a:cubicBezTo>
                  <a:cubicBezTo>
                    <a:pt x="6333" y="5955"/>
                    <a:pt x="6175" y="5829"/>
                    <a:pt x="6112" y="5640"/>
                  </a:cubicBezTo>
                  <a:cubicBezTo>
                    <a:pt x="6086" y="5458"/>
                    <a:pt x="5931" y="5341"/>
                    <a:pt x="5736" y="5341"/>
                  </a:cubicBezTo>
                  <a:cubicBezTo>
                    <a:pt x="5695" y="5341"/>
                    <a:pt x="5652" y="5346"/>
                    <a:pt x="5608" y="5357"/>
                  </a:cubicBezTo>
                  <a:cubicBezTo>
                    <a:pt x="5565" y="5383"/>
                    <a:pt x="5519" y="5394"/>
                    <a:pt x="5474" y="5394"/>
                  </a:cubicBezTo>
                  <a:cubicBezTo>
                    <a:pt x="5354" y="5394"/>
                    <a:pt x="5236" y="5313"/>
                    <a:pt x="5167" y="5199"/>
                  </a:cubicBezTo>
                  <a:cubicBezTo>
                    <a:pt x="5104" y="5042"/>
                    <a:pt x="5136" y="4853"/>
                    <a:pt x="5262" y="4727"/>
                  </a:cubicBezTo>
                  <a:cubicBezTo>
                    <a:pt x="5419" y="4569"/>
                    <a:pt x="5419" y="4317"/>
                    <a:pt x="5262" y="4191"/>
                  </a:cubicBezTo>
                  <a:cubicBezTo>
                    <a:pt x="5104" y="4065"/>
                    <a:pt x="5073" y="3876"/>
                    <a:pt x="5167" y="3719"/>
                  </a:cubicBezTo>
                  <a:cubicBezTo>
                    <a:pt x="5237" y="3602"/>
                    <a:pt x="5359" y="3537"/>
                    <a:pt x="5482" y="3537"/>
                  </a:cubicBezTo>
                  <a:cubicBezTo>
                    <a:pt x="5525" y="3537"/>
                    <a:pt x="5568" y="3545"/>
                    <a:pt x="5608" y="3561"/>
                  </a:cubicBezTo>
                  <a:cubicBezTo>
                    <a:pt x="5652" y="3572"/>
                    <a:pt x="5694" y="3577"/>
                    <a:pt x="5734" y="3577"/>
                  </a:cubicBezTo>
                  <a:cubicBezTo>
                    <a:pt x="5922" y="3577"/>
                    <a:pt x="6060" y="3460"/>
                    <a:pt x="6112" y="3277"/>
                  </a:cubicBezTo>
                  <a:cubicBezTo>
                    <a:pt x="6175" y="3088"/>
                    <a:pt x="6333" y="2962"/>
                    <a:pt x="6490" y="2962"/>
                  </a:cubicBezTo>
                  <a:close/>
                  <a:moveTo>
                    <a:pt x="2332" y="6711"/>
                  </a:moveTo>
                  <a:lnTo>
                    <a:pt x="2332" y="8192"/>
                  </a:lnTo>
                  <a:cubicBezTo>
                    <a:pt x="1954" y="8192"/>
                    <a:pt x="1607" y="7877"/>
                    <a:pt x="1607" y="7436"/>
                  </a:cubicBezTo>
                  <a:cubicBezTo>
                    <a:pt x="1607" y="7027"/>
                    <a:pt x="1954" y="6711"/>
                    <a:pt x="2332" y="6711"/>
                  </a:cubicBezTo>
                  <a:close/>
                  <a:moveTo>
                    <a:pt x="10618" y="6711"/>
                  </a:moveTo>
                  <a:cubicBezTo>
                    <a:pt x="10996" y="6711"/>
                    <a:pt x="11374" y="7027"/>
                    <a:pt x="11374" y="7468"/>
                  </a:cubicBezTo>
                  <a:cubicBezTo>
                    <a:pt x="11374" y="7846"/>
                    <a:pt x="11059" y="8192"/>
                    <a:pt x="10618" y="8192"/>
                  </a:cubicBezTo>
                  <a:lnTo>
                    <a:pt x="10618" y="6711"/>
                  </a:lnTo>
                  <a:close/>
                  <a:moveTo>
                    <a:pt x="1166" y="8350"/>
                  </a:moveTo>
                  <a:cubicBezTo>
                    <a:pt x="1450" y="8728"/>
                    <a:pt x="1891" y="8948"/>
                    <a:pt x="2363" y="8948"/>
                  </a:cubicBezTo>
                  <a:cubicBezTo>
                    <a:pt x="2332" y="9358"/>
                    <a:pt x="1985" y="9704"/>
                    <a:pt x="1607" y="9704"/>
                  </a:cubicBezTo>
                  <a:cubicBezTo>
                    <a:pt x="1198" y="9704"/>
                    <a:pt x="851" y="9389"/>
                    <a:pt x="851" y="8948"/>
                  </a:cubicBezTo>
                  <a:cubicBezTo>
                    <a:pt x="851" y="8728"/>
                    <a:pt x="977" y="8476"/>
                    <a:pt x="1166" y="8350"/>
                  </a:cubicBezTo>
                  <a:close/>
                  <a:moveTo>
                    <a:pt x="11783" y="8350"/>
                  </a:moveTo>
                  <a:cubicBezTo>
                    <a:pt x="12004" y="8507"/>
                    <a:pt x="12098" y="8728"/>
                    <a:pt x="12098" y="8948"/>
                  </a:cubicBezTo>
                  <a:cubicBezTo>
                    <a:pt x="12098" y="9358"/>
                    <a:pt x="11752" y="9704"/>
                    <a:pt x="11374" y="9704"/>
                  </a:cubicBezTo>
                  <a:cubicBezTo>
                    <a:pt x="10964" y="9704"/>
                    <a:pt x="10618" y="9389"/>
                    <a:pt x="10618" y="8948"/>
                  </a:cubicBezTo>
                  <a:cubicBezTo>
                    <a:pt x="11090" y="8948"/>
                    <a:pt x="11531" y="8728"/>
                    <a:pt x="11783" y="8350"/>
                  </a:cubicBezTo>
                  <a:close/>
                  <a:moveTo>
                    <a:pt x="8381" y="5514"/>
                  </a:moveTo>
                  <a:cubicBezTo>
                    <a:pt x="8790" y="5735"/>
                    <a:pt x="9326" y="5892"/>
                    <a:pt x="9798" y="5924"/>
                  </a:cubicBezTo>
                  <a:lnTo>
                    <a:pt x="9798" y="8570"/>
                  </a:lnTo>
                  <a:cubicBezTo>
                    <a:pt x="9861" y="10398"/>
                    <a:pt x="8318" y="11941"/>
                    <a:pt x="6490" y="11941"/>
                  </a:cubicBezTo>
                  <a:cubicBezTo>
                    <a:pt x="4632" y="11941"/>
                    <a:pt x="3088" y="10398"/>
                    <a:pt x="3088" y="8570"/>
                  </a:cubicBezTo>
                  <a:lnTo>
                    <a:pt x="3088" y="5924"/>
                  </a:lnTo>
                  <a:cubicBezTo>
                    <a:pt x="3592" y="5892"/>
                    <a:pt x="4065" y="5735"/>
                    <a:pt x="4506" y="5514"/>
                  </a:cubicBezTo>
                  <a:lnTo>
                    <a:pt x="4506" y="5577"/>
                  </a:lnTo>
                  <a:cubicBezTo>
                    <a:pt x="4695" y="5924"/>
                    <a:pt x="5104" y="6113"/>
                    <a:pt x="5482" y="6113"/>
                  </a:cubicBezTo>
                  <a:cubicBezTo>
                    <a:pt x="5703" y="6459"/>
                    <a:pt x="6049" y="6711"/>
                    <a:pt x="6427" y="6711"/>
                  </a:cubicBezTo>
                  <a:cubicBezTo>
                    <a:pt x="6837" y="6711"/>
                    <a:pt x="7215" y="6459"/>
                    <a:pt x="7373" y="6113"/>
                  </a:cubicBezTo>
                  <a:cubicBezTo>
                    <a:pt x="7782" y="6113"/>
                    <a:pt x="8160" y="5924"/>
                    <a:pt x="8381" y="5577"/>
                  </a:cubicBezTo>
                  <a:lnTo>
                    <a:pt x="8381" y="5514"/>
                  </a:lnTo>
                  <a:close/>
                  <a:moveTo>
                    <a:pt x="6396" y="1"/>
                  </a:moveTo>
                  <a:cubicBezTo>
                    <a:pt x="5892" y="1"/>
                    <a:pt x="5419" y="221"/>
                    <a:pt x="5073" y="568"/>
                  </a:cubicBezTo>
                  <a:cubicBezTo>
                    <a:pt x="4726" y="915"/>
                    <a:pt x="4506" y="1419"/>
                    <a:pt x="4506" y="1954"/>
                  </a:cubicBezTo>
                  <a:cubicBezTo>
                    <a:pt x="3182" y="2616"/>
                    <a:pt x="2237" y="4002"/>
                    <a:pt x="2237" y="5609"/>
                  </a:cubicBezTo>
                  <a:lnTo>
                    <a:pt x="2237" y="5955"/>
                  </a:lnTo>
                  <a:cubicBezTo>
                    <a:pt x="1324" y="5955"/>
                    <a:pt x="599" y="6743"/>
                    <a:pt x="725" y="7657"/>
                  </a:cubicBezTo>
                  <a:cubicBezTo>
                    <a:pt x="252" y="7940"/>
                    <a:pt x="0" y="8413"/>
                    <a:pt x="0" y="8948"/>
                  </a:cubicBezTo>
                  <a:cubicBezTo>
                    <a:pt x="0" y="9767"/>
                    <a:pt x="662" y="10461"/>
                    <a:pt x="1481" y="10461"/>
                  </a:cubicBezTo>
                  <a:cubicBezTo>
                    <a:pt x="1891" y="10461"/>
                    <a:pt x="2237" y="10303"/>
                    <a:pt x="2521" y="10051"/>
                  </a:cubicBezTo>
                  <a:cubicBezTo>
                    <a:pt x="3088" y="11563"/>
                    <a:pt x="4569" y="12729"/>
                    <a:pt x="6364" y="12729"/>
                  </a:cubicBezTo>
                  <a:cubicBezTo>
                    <a:pt x="8129" y="12729"/>
                    <a:pt x="9641" y="11595"/>
                    <a:pt x="10239" y="10051"/>
                  </a:cubicBezTo>
                  <a:cubicBezTo>
                    <a:pt x="10492" y="10303"/>
                    <a:pt x="10870" y="10461"/>
                    <a:pt x="11248" y="10461"/>
                  </a:cubicBezTo>
                  <a:cubicBezTo>
                    <a:pt x="12067" y="10461"/>
                    <a:pt x="12760" y="9767"/>
                    <a:pt x="12760" y="8948"/>
                  </a:cubicBezTo>
                  <a:cubicBezTo>
                    <a:pt x="12823" y="8413"/>
                    <a:pt x="12539" y="7877"/>
                    <a:pt x="12067" y="7657"/>
                  </a:cubicBezTo>
                  <a:cubicBezTo>
                    <a:pt x="12193" y="6743"/>
                    <a:pt x="11468" y="5955"/>
                    <a:pt x="10586" y="5955"/>
                  </a:cubicBezTo>
                  <a:lnTo>
                    <a:pt x="10586" y="5609"/>
                  </a:lnTo>
                  <a:cubicBezTo>
                    <a:pt x="10586" y="4002"/>
                    <a:pt x="9672" y="2616"/>
                    <a:pt x="8286" y="1954"/>
                  </a:cubicBezTo>
                  <a:cubicBezTo>
                    <a:pt x="8286" y="1419"/>
                    <a:pt x="8097" y="915"/>
                    <a:pt x="7751" y="568"/>
                  </a:cubicBezTo>
                  <a:cubicBezTo>
                    <a:pt x="7373" y="221"/>
                    <a:pt x="6900"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3" name="Google Shape;7293;p74"/>
          <p:cNvGrpSpPr/>
          <p:nvPr/>
        </p:nvGrpSpPr>
        <p:grpSpPr>
          <a:xfrm>
            <a:off x="7638162" y="2705064"/>
            <a:ext cx="482625" cy="421881"/>
            <a:chOff x="-57187550" y="2314425"/>
            <a:chExt cx="319000" cy="278850"/>
          </a:xfrm>
        </p:grpSpPr>
        <p:sp>
          <p:nvSpPr>
            <p:cNvPr id="7294" name="Google Shape;7294;p74"/>
            <p:cNvSpPr/>
            <p:nvPr/>
          </p:nvSpPr>
          <p:spPr>
            <a:xfrm>
              <a:off x="-57073350" y="2445950"/>
              <a:ext cx="18125" cy="17350"/>
            </a:xfrm>
            <a:custGeom>
              <a:avLst/>
              <a:gdLst/>
              <a:ahLst/>
              <a:cxnLst/>
              <a:rect l="l" t="t" r="r" b="b"/>
              <a:pathLst>
                <a:path w="725" h="694" extrusionOk="0">
                  <a:moveTo>
                    <a:pt x="347" y="1"/>
                  </a:moveTo>
                  <a:cubicBezTo>
                    <a:pt x="158" y="1"/>
                    <a:pt x="1" y="158"/>
                    <a:pt x="1" y="347"/>
                  </a:cubicBezTo>
                  <a:cubicBezTo>
                    <a:pt x="1" y="536"/>
                    <a:pt x="158" y="694"/>
                    <a:pt x="347" y="694"/>
                  </a:cubicBezTo>
                  <a:cubicBezTo>
                    <a:pt x="536" y="694"/>
                    <a:pt x="725" y="536"/>
                    <a:pt x="725" y="347"/>
                  </a:cubicBezTo>
                  <a:cubicBezTo>
                    <a:pt x="725"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5" name="Google Shape;7295;p74"/>
            <p:cNvSpPr/>
            <p:nvPr/>
          </p:nvSpPr>
          <p:spPr>
            <a:xfrm>
              <a:off x="-56998525" y="2445175"/>
              <a:ext cx="17350" cy="18125"/>
            </a:xfrm>
            <a:custGeom>
              <a:avLst/>
              <a:gdLst/>
              <a:ahLst/>
              <a:cxnLst/>
              <a:rect l="l" t="t" r="r" b="b"/>
              <a:pathLst>
                <a:path w="694" h="725" extrusionOk="0">
                  <a:moveTo>
                    <a:pt x="347" y="0"/>
                  </a:moveTo>
                  <a:cubicBezTo>
                    <a:pt x="158" y="0"/>
                    <a:pt x="1" y="189"/>
                    <a:pt x="1" y="378"/>
                  </a:cubicBezTo>
                  <a:cubicBezTo>
                    <a:pt x="1" y="567"/>
                    <a:pt x="158" y="725"/>
                    <a:pt x="347" y="725"/>
                  </a:cubicBezTo>
                  <a:cubicBezTo>
                    <a:pt x="536" y="725"/>
                    <a:pt x="694" y="567"/>
                    <a:pt x="694" y="378"/>
                  </a:cubicBezTo>
                  <a:cubicBezTo>
                    <a:pt x="694" y="189"/>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6" name="Google Shape;7296;p74"/>
            <p:cNvSpPr/>
            <p:nvPr/>
          </p:nvSpPr>
          <p:spPr>
            <a:xfrm>
              <a:off x="-57063900" y="2508375"/>
              <a:ext cx="73275" cy="29750"/>
            </a:xfrm>
            <a:custGeom>
              <a:avLst/>
              <a:gdLst/>
              <a:ahLst/>
              <a:cxnLst/>
              <a:rect l="l" t="t" r="r" b="b"/>
              <a:pathLst>
                <a:path w="2931" h="1190" extrusionOk="0">
                  <a:moveTo>
                    <a:pt x="414" y="0"/>
                  </a:moveTo>
                  <a:cubicBezTo>
                    <a:pt x="316" y="0"/>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40"/>
                    <a:pt x="2623" y="0"/>
                    <a:pt x="2533" y="0"/>
                  </a:cubicBezTo>
                  <a:cubicBezTo>
                    <a:pt x="2442" y="0"/>
                    <a:pt x="2348" y="40"/>
                    <a:pt x="2269" y="119"/>
                  </a:cubicBezTo>
                  <a:cubicBezTo>
                    <a:pt x="2048" y="339"/>
                    <a:pt x="1733" y="434"/>
                    <a:pt x="1481" y="434"/>
                  </a:cubicBezTo>
                  <a:cubicBezTo>
                    <a:pt x="1166" y="434"/>
                    <a:pt x="883" y="339"/>
                    <a:pt x="694" y="119"/>
                  </a:cubicBezTo>
                  <a:cubicBezTo>
                    <a:pt x="615" y="40"/>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297" name="Google Shape;7297;p74"/>
            <p:cNvSpPr/>
            <p:nvPr/>
          </p:nvSpPr>
          <p:spPr>
            <a:xfrm>
              <a:off x="-57187550" y="2314425"/>
              <a:ext cx="319000" cy="278850"/>
            </a:xfrm>
            <a:custGeom>
              <a:avLst/>
              <a:gdLst/>
              <a:ahLst/>
              <a:cxnLst/>
              <a:rect l="l" t="t" r="r" b="b"/>
              <a:pathLst>
                <a:path w="12760" h="11154" extrusionOk="0">
                  <a:moveTo>
                    <a:pt x="6427" y="757"/>
                  </a:moveTo>
                  <a:cubicBezTo>
                    <a:pt x="7593" y="757"/>
                    <a:pt x="8633" y="1355"/>
                    <a:pt x="9200" y="2269"/>
                  </a:cubicBezTo>
                  <a:lnTo>
                    <a:pt x="3592" y="2269"/>
                  </a:lnTo>
                  <a:cubicBezTo>
                    <a:pt x="4222" y="1355"/>
                    <a:pt x="5230" y="757"/>
                    <a:pt x="6427" y="757"/>
                  </a:cubicBezTo>
                  <a:close/>
                  <a:moveTo>
                    <a:pt x="5829" y="2993"/>
                  </a:moveTo>
                  <a:cubicBezTo>
                    <a:pt x="5325" y="3907"/>
                    <a:pt x="4317" y="4506"/>
                    <a:pt x="3277" y="4506"/>
                  </a:cubicBezTo>
                  <a:lnTo>
                    <a:pt x="3025" y="4506"/>
                  </a:lnTo>
                  <a:lnTo>
                    <a:pt x="3025" y="4159"/>
                  </a:lnTo>
                  <a:cubicBezTo>
                    <a:pt x="3025" y="3750"/>
                    <a:pt x="3119" y="3371"/>
                    <a:pt x="3214" y="2993"/>
                  </a:cubicBezTo>
                  <a:close/>
                  <a:moveTo>
                    <a:pt x="10555" y="5230"/>
                  </a:moveTo>
                  <a:cubicBezTo>
                    <a:pt x="10933" y="5230"/>
                    <a:pt x="11311" y="5577"/>
                    <a:pt x="11311" y="5986"/>
                  </a:cubicBezTo>
                  <a:cubicBezTo>
                    <a:pt x="11311" y="6396"/>
                    <a:pt x="10996" y="6742"/>
                    <a:pt x="10555" y="6742"/>
                  </a:cubicBezTo>
                  <a:lnTo>
                    <a:pt x="10555" y="5230"/>
                  </a:lnTo>
                  <a:close/>
                  <a:moveTo>
                    <a:pt x="1859" y="5419"/>
                  </a:moveTo>
                  <a:lnTo>
                    <a:pt x="1859" y="5419"/>
                  </a:lnTo>
                  <a:cubicBezTo>
                    <a:pt x="1702" y="5766"/>
                    <a:pt x="1544" y="6238"/>
                    <a:pt x="1544" y="6711"/>
                  </a:cubicBezTo>
                  <a:cubicBezTo>
                    <a:pt x="1544" y="6837"/>
                    <a:pt x="1544" y="6931"/>
                    <a:pt x="1576" y="7058"/>
                  </a:cubicBezTo>
                  <a:cubicBezTo>
                    <a:pt x="1324" y="7247"/>
                    <a:pt x="1072" y="7373"/>
                    <a:pt x="788" y="7467"/>
                  </a:cubicBezTo>
                  <a:lnTo>
                    <a:pt x="788" y="7089"/>
                  </a:lnTo>
                  <a:cubicBezTo>
                    <a:pt x="788" y="6364"/>
                    <a:pt x="1229" y="5734"/>
                    <a:pt x="1859" y="5419"/>
                  </a:cubicBezTo>
                  <a:close/>
                  <a:moveTo>
                    <a:pt x="2647" y="5514"/>
                  </a:moveTo>
                  <a:cubicBezTo>
                    <a:pt x="2804" y="5829"/>
                    <a:pt x="2993" y="6270"/>
                    <a:pt x="2993" y="6742"/>
                  </a:cubicBezTo>
                  <a:cubicBezTo>
                    <a:pt x="2993" y="7215"/>
                    <a:pt x="2804" y="7656"/>
                    <a:pt x="2647" y="7971"/>
                  </a:cubicBezTo>
                  <a:cubicBezTo>
                    <a:pt x="2489" y="7656"/>
                    <a:pt x="2269" y="7215"/>
                    <a:pt x="2269" y="6742"/>
                  </a:cubicBezTo>
                  <a:cubicBezTo>
                    <a:pt x="2269" y="6270"/>
                    <a:pt x="2489" y="5829"/>
                    <a:pt x="2647" y="5514"/>
                  </a:cubicBezTo>
                  <a:close/>
                  <a:moveTo>
                    <a:pt x="11720" y="6868"/>
                  </a:moveTo>
                  <a:cubicBezTo>
                    <a:pt x="11941" y="7026"/>
                    <a:pt x="12035" y="7215"/>
                    <a:pt x="12035" y="7467"/>
                  </a:cubicBezTo>
                  <a:cubicBezTo>
                    <a:pt x="12035" y="7877"/>
                    <a:pt x="11689" y="8192"/>
                    <a:pt x="11311" y="8192"/>
                  </a:cubicBezTo>
                  <a:cubicBezTo>
                    <a:pt x="10901" y="8192"/>
                    <a:pt x="10555" y="7845"/>
                    <a:pt x="10555" y="7467"/>
                  </a:cubicBezTo>
                  <a:cubicBezTo>
                    <a:pt x="11027" y="7467"/>
                    <a:pt x="11468" y="7215"/>
                    <a:pt x="11720" y="6868"/>
                  </a:cubicBezTo>
                  <a:close/>
                  <a:moveTo>
                    <a:pt x="9578" y="2962"/>
                  </a:moveTo>
                  <a:cubicBezTo>
                    <a:pt x="9672" y="3308"/>
                    <a:pt x="9767" y="3687"/>
                    <a:pt x="9767" y="4065"/>
                  </a:cubicBezTo>
                  <a:lnTo>
                    <a:pt x="9767" y="7058"/>
                  </a:lnTo>
                  <a:cubicBezTo>
                    <a:pt x="9798" y="8948"/>
                    <a:pt x="8255" y="10460"/>
                    <a:pt x="6427" y="10460"/>
                  </a:cubicBezTo>
                  <a:cubicBezTo>
                    <a:pt x="5041" y="10460"/>
                    <a:pt x="3781" y="9609"/>
                    <a:pt x="3277" y="8349"/>
                  </a:cubicBezTo>
                  <a:cubicBezTo>
                    <a:pt x="3497" y="7971"/>
                    <a:pt x="3781" y="7373"/>
                    <a:pt x="3781" y="6711"/>
                  </a:cubicBezTo>
                  <a:cubicBezTo>
                    <a:pt x="3781" y="6112"/>
                    <a:pt x="3592" y="5608"/>
                    <a:pt x="3340" y="5199"/>
                  </a:cubicBezTo>
                  <a:cubicBezTo>
                    <a:pt x="4789" y="5167"/>
                    <a:pt x="6112" y="4254"/>
                    <a:pt x="6648" y="2962"/>
                  </a:cubicBezTo>
                  <a:close/>
                  <a:moveTo>
                    <a:pt x="6364" y="0"/>
                  </a:moveTo>
                  <a:cubicBezTo>
                    <a:pt x="4096" y="0"/>
                    <a:pt x="2237" y="1859"/>
                    <a:pt x="2237" y="4096"/>
                  </a:cubicBezTo>
                  <a:lnTo>
                    <a:pt x="2237" y="4506"/>
                  </a:lnTo>
                  <a:cubicBezTo>
                    <a:pt x="977" y="4695"/>
                    <a:pt x="0" y="5766"/>
                    <a:pt x="0" y="7089"/>
                  </a:cubicBezTo>
                  <a:lnTo>
                    <a:pt x="0" y="7845"/>
                  </a:lnTo>
                  <a:cubicBezTo>
                    <a:pt x="0" y="8034"/>
                    <a:pt x="158" y="8192"/>
                    <a:pt x="347" y="8192"/>
                  </a:cubicBezTo>
                  <a:cubicBezTo>
                    <a:pt x="820" y="8192"/>
                    <a:pt x="1292" y="8066"/>
                    <a:pt x="1702" y="7814"/>
                  </a:cubicBezTo>
                  <a:cubicBezTo>
                    <a:pt x="1922" y="8412"/>
                    <a:pt x="2269" y="8790"/>
                    <a:pt x="2269" y="8790"/>
                  </a:cubicBezTo>
                  <a:cubicBezTo>
                    <a:pt x="2350" y="8845"/>
                    <a:pt x="2455" y="8923"/>
                    <a:pt x="2584" y="8923"/>
                  </a:cubicBezTo>
                  <a:cubicBezTo>
                    <a:pt x="2604" y="8923"/>
                    <a:pt x="2625" y="8921"/>
                    <a:pt x="2647" y="8916"/>
                  </a:cubicBezTo>
                  <a:cubicBezTo>
                    <a:pt x="2899" y="9515"/>
                    <a:pt x="3340" y="9987"/>
                    <a:pt x="3907" y="10366"/>
                  </a:cubicBezTo>
                  <a:cubicBezTo>
                    <a:pt x="4600" y="10870"/>
                    <a:pt x="5419" y="11153"/>
                    <a:pt x="6301" y="11153"/>
                  </a:cubicBezTo>
                  <a:cubicBezTo>
                    <a:pt x="8066" y="11153"/>
                    <a:pt x="9578" y="10050"/>
                    <a:pt x="10145" y="8507"/>
                  </a:cubicBezTo>
                  <a:cubicBezTo>
                    <a:pt x="10429" y="8759"/>
                    <a:pt x="10775" y="8916"/>
                    <a:pt x="11185" y="8916"/>
                  </a:cubicBezTo>
                  <a:cubicBezTo>
                    <a:pt x="12004" y="8916"/>
                    <a:pt x="12665" y="8255"/>
                    <a:pt x="12665" y="7404"/>
                  </a:cubicBezTo>
                  <a:cubicBezTo>
                    <a:pt x="12760" y="6931"/>
                    <a:pt x="12476" y="6427"/>
                    <a:pt x="12004" y="6144"/>
                  </a:cubicBezTo>
                  <a:cubicBezTo>
                    <a:pt x="12130" y="5230"/>
                    <a:pt x="11405" y="4443"/>
                    <a:pt x="10523" y="4443"/>
                  </a:cubicBezTo>
                  <a:lnTo>
                    <a:pt x="10523" y="4096"/>
                  </a:lnTo>
                  <a:cubicBezTo>
                    <a:pt x="10523" y="1859"/>
                    <a:pt x="8664" y="0"/>
                    <a:pt x="6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298" name="Google Shape;7298;p74"/>
          <p:cNvGrpSpPr/>
          <p:nvPr/>
        </p:nvGrpSpPr>
        <p:grpSpPr>
          <a:xfrm>
            <a:off x="7660780" y="3277796"/>
            <a:ext cx="437389" cy="482361"/>
            <a:chOff x="-57172600" y="2686375"/>
            <a:chExt cx="289100" cy="318825"/>
          </a:xfrm>
        </p:grpSpPr>
        <p:sp>
          <p:nvSpPr>
            <p:cNvPr id="7299" name="Google Shape;7299;p74"/>
            <p:cNvSpPr/>
            <p:nvPr/>
          </p:nvSpPr>
          <p:spPr>
            <a:xfrm>
              <a:off x="-57063900" y="2937625"/>
              <a:ext cx="73275" cy="29750"/>
            </a:xfrm>
            <a:custGeom>
              <a:avLst/>
              <a:gdLst/>
              <a:ahLst/>
              <a:cxnLst/>
              <a:rect l="l" t="t" r="r" b="b"/>
              <a:pathLst>
                <a:path w="2931" h="1190" extrusionOk="0">
                  <a:moveTo>
                    <a:pt x="414" y="1"/>
                  </a:moveTo>
                  <a:cubicBezTo>
                    <a:pt x="316" y="1"/>
                    <a:pt x="221" y="40"/>
                    <a:pt x="158" y="119"/>
                  </a:cubicBezTo>
                  <a:cubicBezTo>
                    <a:pt x="1" y="276"/>
                    <a:pt x="1" y="528"/>
                    <a:pt x="158" y="654"/>
                  </a:cubicBezTo>
                  <a:cubicBezTo>
                    <a:pt x="536" y="1001"/>
                    <a:pt x="1009" y="1190"/>
                    <a:pt x="1481" y="1190"/>
                  </a:cubicBezTo>
                  <a:cubicBezTo>
                    <a:pt x="1954" y="1190"/>
                    <a:pt x="2458" y="1001"/>
                    <a:pt x="2773" y="654"/>
                  </a:cubicBezTo>
                  <a:cubicBezTo>
                    <a:pt x="2931" y="497"/>
                    <a:pt x="2931" y="245"/>
                    <a:pt x="2773" y="119"/>
                  </a:cubicBezTo>
                  <a:cubicBezTo>
                    <a:pt x="2710" y="72"/>
                    <a:pt x="2623" y="48"/>
                    <a:pt x="2533" y="48"/>
                  </a:cubicBezTo>
                  <a:cubicBezTo>
                    <a:pt x="2442" y="48"/>
                    <a:pt x="2348" y="72"/>
                    <a:pt x="2269" y="119"/>
                  </a:cubicBezTo>
                  <a:cubicBezTo>
                    <a:pt x="2048" y="339"/>
                    <a:pt x="1733" y="434"/>
                    <a:pt x="1481" y="434"/>
                  </a:cubicBezTo>
                  <a:cubicBezTo>
                    <a:pt x="1166" y="434"/>
                    <a:pt x="883" y="339"/>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0" name="Google Shape;7300;p74"/>
            <p:cNvSpPr/>
            <p:nvPr/>
          </p:nvSpPr>
          <p:spPr>
            <a:xfrm>
              <a:off x="-57172600" y="2686375"/>
              <a:ext cx="289100" cy="318825"/>
            </a:xfrm>
            <a:custGeom>
              <a:avLst/>
              <a:gdLst/>
              <a:ahLst/>
              <a:cxnLst/>
              <a:rect l="l" t="t" r="r" b="b"/>
              <a:pathLst>
                <a:path w="11564" h="12753" extrusionOk="0">
                  <a:moveTo>
                    <a:pt x="5798" y="788"/>
                  </a:moveTo>
                  <a:cubicBezTo>
                    <a:pt x="6160" y="788"/>
                    <a:pt x="6523" y="922"/>
                    <a:pt x="6806" y="1190"/>
                  </a:cubicBezTo>
                  <a:cubicBezTo>
                    <a:pt x="6853" y="1261"/>
                    <a:pt x="6954" y="1296"/>
                    <a:pt x="7054" y="1296"/>
                  </a:cubicBezTo>
                  <a:cubicBezTo>
                    <a:pt x="7088" y="1296"/>
                    <a:pt x="7121" y="1292"/>
                    <a:pt x="7153" y="1284"/>
                  </a:cubicBezTo>
                  <a:cubicBezTo>
                    <a:pt x="7276" y="1253"/>
                    <a:pt x="7401" y="1239"/>
                    <a:pt x="7523" y="1239"/>
                  </a:cubicBezTo>
                  <a:cubicBezTo>
                    <a:pt x="8150" y="1239"/>
                    <a:pt x="8727" y="1629"/>
                    <a:pt x="8885" y="2261"/>
                  </a:cubicBezTo>
                  <a:cubicBezTo>
                    <a:pt x="8917" y="2387"/>
                    <a:pt x="9011" y="2513"/>
                    <a:pt x="9169" y="2545"/>
                  </a:cubicBezTo>
                  <a:cubicBezTo>
                    <a:pt x="9925" y="2734"/>
                    <a:pt x="10335" y="3521"/>
                    <a:pt x="10146" y="4277"/>
                  </a:cubicBezTo>
                  <a:cubicBezTo>
                    <a:pt x="10114" y="4403"/>
                    <a:pt x="10146" y="4561"/>
                    <a:pt x="10240" y="4624"/>
                  </a:cubicBezTo>
                  <a:cubicBezTo>
                    <a:pt x="10776" y="5191"/>
                    <a:pt x="10776" y="6073"/>
                    <a:pt x="10240" y="6640"/>
                  </a:cubicBezTo>
                  <a:cubicBezTo>
                    <a:pt x="10177" y="6672"/>
                    <a:pt x="10146" y="6703"/>
                    <a:pt x="10146" y="6798"/>
                  </a:cubicBezTo>
                  <a:cubicBezTo>
                    <a:pt x="9988" y="6766"/>
                    <a:pt x="9925" y="6766"/>
                    <a:pt x="9515" y="6766"/>
                  </a:cubicBezTo>
                  <a:cubicBezTo>
                    <a:pt x="9169" y="6325"/>
                    <a:pt x="8665" y="6010"/>
                    <a:pt x="8035" y="6010"/>
                  </a:cubicBezTo>
                  <a:cubicBezTo>
                    <a:pt x="6523" y="6010"/>
                    <a:pt x="5199" y="4970"/>
                    <a:pt x="4790" y="3553"/>
                  </a:cubicBezTo>
                  <a:cubicBezTo>
                    <a:pt x="4766" y="3408"/>
                    <a:pt x="4612" y="3300"/>
                    <a:pt x="4442" y="3300"/>
                  </a:cubicBezTo>
                  <a:cubicBezTo>
                    <a:pt x="4391" y="3300"/>
                    <a:pt x="4337" y="3310"/>
                    <a:pt x="4286" y="3332"/>
                  </a:cubicBezTo>
                  <a:cubicBezTo>
                    <a:pt x="3530" y="3647"/>
                    <a:pt x="2868" y="4151"/>
                    <a:pt x="2395" y="4813"/>
                  </a:cubicBezTo>
                  <a:cubicBezTo>
                    <a:pt x="1986" y="5412"/>
                    <a:pt x="1734" y="6073"/>
                    <a:pt x="1671" y="6798"/>
                  </a:cubicBezTo>
                  <a:cubicBezTo>
                    <a:pt x="1608" y="6798"/>
                    <a:pt x="1513" y="6798"/>
                    <a:pt x="1450" y="6829"/>
                  </a:cubicBezTo>
                  <a:cubicBezTo>
                    <a:pt x="1450" y="6703"/>
                    <a:pt x="1419" y="6672"/>
                    <a:pt x="1356" y="6640"/>
                  </a:cubicBezTo>
                  <a:cubicBezTo>
                    <a:pt x="820" y="6073"/>
                    <a:pt x="820" y="5191"/>
                    <a:pt x="1356" y="4624"/>
                  </a:cubicBezTo>
                  <a:cubicBezTo>
                    <a:pt x="1450" y="4561"/>
                    <a:pt x="1482" y="4403"/>
                    <a:pt x="1450" y="4277"/>
                  </a:cubicBezTo>
                  <a:cubicBezTo>
                    <a:pt x="1261" y="3521"/>
                    <a:pt x="1671" y="2734"/>
                    <a:pt x="2427" y="2545"/>
                  </a:cubicBezTo>
                  <a:cubicBezTo>
                    <a:pt x="2553" y="2513"/>
                    <a:pt x="2679" y="2419"/>
                    <a:pt x="2710" y="2261"/>
                  </a:cubicBezTo>
                  <a:cubicBezTo>
                    <a:pt x="2869" y="1629"/>
                    <a:pt x="3445" y="1239"/>
                    <a:pt x="4072" y="1239"/>
                  </a:cubicBezTo>
                  <a:cubicBezTo>
                    <a:pt x="4195" y="1239"/>
                    <a:pt x="4320" y="1253"/>
                    <a:pt x="4443" y="1284"/>
                  </a:cubicBezTo>
                  <a:cubicBezTo>
                    <a:pt x="4475" y="1292"/>
                    <a:pt x="4508" y="1296"/>
                    <a:pt x="4542" y="1296"/>
                  </a:cubicBezTo>
                  <a:cubicBezTo>
                    <a:pt x="4642" y="1296"/>
                    <a:pt x="4742" y="1261"/>
                    <a:pt x="4790" y="1190"/>
                  </a:cubicBezTo>
                  <a:cubicBezTo>
                    <a:pt x="5073" y="922"/>
                    <a:pt x="5436" y="788"/>
                    <a:pt x="5798" y="788"/>
                  </a:cubicBezTo>
                  <a:close/>
                  <a:moveTo>
                    <a:pt x="4254" y="4151"/>
                  </a:moveTo>
                  <a:cubicBezTo>
                    <a:pt x="4664" y="5286"/>
                    <a:pt x="5609" y="6168"/>
                    <a:pt x="6775" y="6514"/>
                  </a:cubicBezTo>
                  <a:cubicBezTo>
                    <a:pt x="6491" y="6766"/>
                    <a:pt x="6333" y="7113"/>
                    <a:pt x="6239" y="7459"/>
                  </a:cubicBezTo>
                  <a:lnTo>
                    <a:pt x="5388" y="7459"/>
                  </a:lnTo>
                  <a:lnTo>
                    <a:pt x="5388" y="7491"/>
                  </a:lnTo>
                  <a:cubicBezTo>
                    <a:pt x="5231" y="6640"/>
                    <a:pt x="4443" y="6010"/>
                    <a:pt x="3561" y="6010"/>
                  </a:cubicBezTo>
                  <a:cubicBezTo>
                    <a:pt x="3183" y="6010"/>
                    <a:pt x="2868" y="6136"/>
                    <a:pt x="2553" y="6325"/>
                  </a:cubicBezTo>
                  <a:cubicBezTo>
                    <a:pt x="2773" y="5412"/>
                    <a:pt x="3372" y="4624"/>
                    <a:pt x="4254" y="4151"/>
                  </a:cubicBezTo>
                  <a:close/>
                  <a:moveTo>
                    <a:pt x="3561" y="6766"/>
                  </a:moveTo>
                  <a:cubicBezTo>
                    <a:pt x="4191" y="6766"/>
                    <a:pt x="4664" y="7270"/>
                    <a:pt x="4664" y="7869"/>
                  </a:cubicBezTo>
                  <a:cubicBezTo>
                    <a:pt x="4664" y="8436"/>
                    <a:pt x="4160" y="8972"/>
                    <a:pt x="3561" y="8972"/>
                  </a:cubicBezTo>
                  <a:cubicBezTo>
                    <a:pt x="2931" y="8972"/>
                    <a:pt x="2458" y="8436"/>
                    <a:pt x="2458" y="7869"/>
                  </a:cubicBezTo>
                  <a:cubicBezTo>
                    <a:pt x="2458" y="7270"/>
                    <a:pt x="2931" y="6766"/>
                    <a:pt x="3561" y="6766"/>
                  </a:cubicBezTo>
                  <a:close/>
                  <a:moveTo>
                    <a:pt x="8066" y="6766"/>
                  </a:moveTo>
                  <a:cubicBezTo>
                    <a:pt x="8696" y="6766"/>
                    <a:pt x="9169" y="7270"/>
                    <a:pt x="9169" y="7869"/>
                  </a:cubicBezTo>
                  <a:cubicBezTo>
                    <a:pt x="9169" y="8436"/>
                    <a:pt x="8665" y="8972"/>
                    <a:pt x="8066" y="8972"/>
                  </a:cubicBezTo>
                  <a:cubicBezTo>
                    <a:pt x="7436" y="8972"/>
                    <a:pt x="6964" y="8436"/>
                    <a:pt x="6964" y="7869"/>
                  </a:cubicBezTo>
                  <a:cubicBezTo>
                    <a:pt x="6964" y="7270"/>
                    <a:pt x="7436" y="6766"/>
                    <a:pt x="8066" y="6766"/>
                  </a:cubicBezTo>
                  <a:close/>
                  <a:moveTo>
                    <a:pt x="1734" y="7491"/>
                  </a:moveTo>
                  <a:lnTo>
                    <a:pt x="1734" y="9003"/>
                  </a:lnTo>
                  <a:cubicBezTo>
                    <a:pt x="1293" y="9003"/>
                    <a:pt x="978" y="8657"/>
                    <a:pt x="978" y="8247"/>
                  </a:cubicBezTo>
                  <a:cubicBezTo>
                    <a:pt x="978" y="7869"/>
                    <a:pt x="1324" y="7491"/>
                    <a:pt x="1734" y="7491"/>
                  </a:cubicBezTo>
                  <a:close/>
                  <a:moveTo>
                    <a:pt x="9925" y="7491"/>
                  </a:moveTo>
                  <a:cubicBezTo>
                    <a:pt x="10303" y="7491"/>
                    <a:pt x="10650" y="7806"/>
                    <a:pt x="10650" y="8247"/>
                  </a:cubicBezTo>
                  <a:cubicBezTo>
                    <a:pt x="10650" y="8657"/>
                    <a:pt x="10303" y="9003"/>
                    <a:pt x="9925" y="9003"/>
                  </a:cubicBezTo>
                  <a:lnTo>
                    <a:pt x="9925" y="7491"/>
                  </a:lnTo>
                  <a:close/>
                  <a:moveTo>
                    <a:pt x="6207" y="8215"/>
                  </a:moveTo>
                  <a:cubicBezTo>
                    <a:pt x="6365" y="9066"/>
                    <a:pt x="7153" y="9696"/>
                    <a:pt x="8035" y="9696"/>
                  </a:cubicBezTo>
                  <a:cubicBezTo>
                    <a:pt x="8476" y="9696"/>
                    <a:pt x="8822" y="9539"/>
                    <a:pt x="9137" y="9350"/>
                  </a:cubicBezTo>
                  <a:lnTo>
                    <a:pt x="9137" y="10137"/>
                  </a:lnTo>
                  <a:lnTo>
                    <a:pt x="9169" y="10137"/>
                  </a:lnTo>
                  <a:cubicBezTo>
                    <a:pt x="9169" y="11177"/>
                    <a:pt x="8350" y="11996"/>
                    <a:pt x="7310" y="11996"/>
                  </a:cubicBezTo>
                  <a:lnTo>
                    <a:pt x="4317" y="11996"/>
                  </a:lnTo>
                  <a:cubicBezTo>
                    <a:pt x="3309" y="11996"/>
                    <a:pt x="2458" y="11177"/>
                    <a:pt x="2458" y="10137"/>
                  </a:cubicBezTo>
                  <a:lnTo>
                    <a:pt x="2458" y="9350"/>
                  </a:lnTo>
                  <a:cubicBezTo>
                    <a:pt x="2773" y="9602"/>
                    <a:pt x="3183" y="9696"/>
                    <a:pt x="3561" y="9696"/>
                  </a:cubicBezTo>
                  <a:cubicBezTo>
                    <a:pt x="4475" y="9696"/>
                    <a:pt x="5231" y="9066"/>
                    <a:pt x="5388" y="8215"/>
                  </a:cubicBezTo>
                  <a:close/>
                  <a:moveTo>
                    <a:pt x="5794" y="1"/>
                  </a:moveTo>
                  <a:cubicBezTo>
                    <a:pt x="5310" y="1"/>
                    <a:pt x="4821" y="166"/>
                    <a:pt x="4412" y="497"/>
                  </a:cubicBezTo>
                  <a:cubicBezTo>
                    <a:pt x="4291" y="479"/>
                    <a:pt x="4172" y="470"/>
                    <a:pt x="4054" y="470"/>
                  </a:cubicBezTo>
                  <a:cubicBezTo>
                    <a:pt x="3154" y="470"/>
                    <a:pt x="2355" y="992"/>
                    <a:pt x="2049" y="1883"/>
                  </a:cubicBezTo>
                  <a:cubicBezTo>
                    <a:pt x="1104" y="2230"/>
                    <a:pt x="505" y="3238"/>
                    <a:pt x="663" y="4246"/>
                  </a:cubicBezTo>
                  <a:cubicBezTo>
                    <a:pt x="1" y="5033"/>
                    <a:pt x="1" y="6168"/>
                    <a:pt x="663" y="6987"/>
                  </a:cubicBezTo>
                  <a:cubicBezTo>
                    <a:pt x="663" y="7018"/>
                    <a:pt x="663" y="7113"/>
                    <a:pt x="631" y="7144"/>
                  </a:cubicBezTo>
                  <a:cubicBezTo>
                    <a:pt x="348" y="7428"/>
                    <a:pt x="159" y="7806"/>
                    <a:pt x="159" y="8215"/>
                  </a:cubicBezTo>
                  <a:cubicBezTo>
                    <a:pt x="159" y="9035"/>
                    <a:pt x="820" y="9696"/>
                    <a:pt x="1639" y="9696"/>
                  </a:cubicBezTo>
                  <a:lnTo>
                    <a:pt x="1639" y="10137"/>
                  </a:lnTo>
                  <a:cubicBezTo>
                    <a:pt x="1639" y="11586"/>
                    <a:pt x="2836" y="12752"/>
                    <a:pt x="4254" y="12752"/>
                  </a:cubicBezTo>
                  <a:lnTo>
                    <a:pt x="7247" y="12752"/>
                  </a:lnTo>
                  <a:cubicBezTo>
                    <a:pt x="8696" y="12752"/>
                    <a:pt x="9831" y="11555"/>
                    <a:pt x="9831" y="10137"/>
                  </a:cubicBezTo>
                  <a:lnTo>
                    <a:pt x="9831" y="9696"/>
                  </a:lnTo>
                  <a:cubicBezTo>
                    <a:pt x="10681" y="9696"/>
                    <a:pt x="11343" y="9035"/>
                    <a:pt x="11343" y="8215"/>
                  </a:cubicBezTo>
                  <a:cubicBezTo>
                    <a:pt x="11406" y="7806"/>
                    <a:pt x="11217" y="7428"/>
                    <a:pt x="10933" y="7144"/>
                  </a:cubicBezTo>
                  <a:cubicBezTo>
                    <a:pt x="10933" y="7113"/>
                    <a:pt x="10933" y="7018"/>
                    <a:pt x="10902" y="6987"/>
                  </a:cubicBezTo>
                  <a:cubicBezTo>
                    <a:pt x="11563" y="6199"/>
                    <a:pt x="11563" y="5065"/>
                    <a:pt x="10902" y="4246"/>
                  </a:cubicBezTo>
                  <a:cubicBezTo>
                    <a:pt x="11059" y="3206"/>
                    <a:pt x="10492" y="2230"/>
                    <a:pt x="9515" y="1883"/>
                  </a:cubicBezTo>
                  <a:cubicBezTo>
                    <a:pt x="9206" y="1039"/>
                    <a:pt x="8344" y="472"/>
                    <a:pt x="7468" y="472"/>
                  </a:cubicBezTo>
                  <a:cubicBezTo>
                    <a:pt x="7363" y="472"/>
                    <a:pt x="7257" y="480"/>
                    <a:pt x="7153" y="497"/>
                  </a:cubicBezTo>
                  <a:cubicBezTo>
                    <a:pt x="6759" y="166"/>
                    <a:pt x="6278" y="1"/>
                    <a:pt x="57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01" name="Google Shape;7301;p74"/>
          <p:cNvGrpSpPr/>
          <p:nvPr/>
        </p:nvGrpSpPr>
        <p:grpSpPr>
          <a:xfrm>
            <a:off x="10611246" y="2043033"/>
            <a:ext cx="481453" cy="479071"/>
            <a:chOff x="-55225575" y="1903275"/>
            <a:chExt cx="318225" cy="316650"/>
          </a:xfrm>
        </p:grpSpPr>
        <p:sp>
          <p:nvSpPr>
            <p:cNvPr id="7302" name="Google Shape;7302;p74"/>
            <p:cNvSpPr/>
            <p:nvPr/>
          </p:nvSpPr>
          <p:spPr>
            <a:xfrm>
              <a:off x="-55104275" y="2116925"/>
              <a:ext cx="72475" cy="29750"/>
            </a:xfrm>
            <a:custGeom>
              <a:avLst/>
              <a:gdLst/>
              <a:ahLst/>
              <a:cxnLst/>
              <a:rect l="l" t="t" r="r" b="b"/>
              <a:pathLst>
                <a:path w="2899" h="1190" extrusionOk="0">
                  <a:moveTo>
                    <a:pt x="398" y="1"/>
                  </a:moveTo>
                  <a:cubicBezTo>
                    <a:pt x="307" y="1"/>
                    <a:pt x="221" y="40"/>
                    <a:pt x="158" y="119"/>
                  </a:cubicBezTo>
                  <a:cubicBezTo>
                    <a:pt x="0" y="276"/>
                    <a:pt x="0" y="497"/>
                    <a:pt x="158" y="623"/>
                  </a:cubicBezTo>
                  <a:cubicBezTo>
                    <a:pt x="504" y="969"/>
                    <a:pt x="977" y="1190"/>
                    <a:pt x="1449" y="1190"/>
                  </a:cubicBezTo>
                  <a:cubicBezTo>
                    <a:pt x="1953" y="1190"/>
                    <a:pt x="2426" y="969"/>
                    <a:pt x="2741" y="623"/>
                  </a:cubicBezTo>
                  <a:cubicBezTo>
                    <a:pt x="2898" y="465"/>
                    <a:pt x="2898" y="245"/>
                    <a:pt x="2741" y="119"/>
                  </a:cubicBezTo>
                  <a:cubicBezTo>
                    <a:pt x="2694" y="56"/>
                    <a:pt x="2607" y="24"/>
                    <a:pt x="2513" y="24"/>
                  </a:cubicBezTo>
                  <a:cubicBezTo>
                    <a:pt x="2418" y="24"/>
                    <a:pt x="2316" y="56"/>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3" name="Google Shape;7303;p74"/>
            <p:cNvSpPr/>
            <p:nvPr/>
          </p:nvSpPr>
          <p:spPr>
            <a:xfrm>
              <a:off x="-55113750" y="2053725"/>
              <a:ext cx="17350" cy="18125"/>
            </a:xfrm>
            <a:custGeom>
              <a:avLst/>
              <a:gdLst/>
              <a:ahLst/>
              <a:cxnLst/>
              <a:rect l="l" t="t" r="r" b="b"/>
              <a:pathLst>
                <a:path w="694" h="725" extrusionOk="0">
                  <a:moveTo>
                    <a:pt x="348" y="0"/>
                  </a:moveTo>
                  <a:cubicBezTo>
                    <a:pt x="158" y="0"/>
                    <a:pt x="1" y="158"/>
                    <a:pt x="1" y="347"/>
                  </a:cubicBezTo>
                  <a:cubicBezTo>
                    <a:pt x="1" y="536"/>
                    <a:pt x="158" y="725"/>
                    <a:pt x="348" y="725"/>
                  </a:cubicBezTo>
                  <a:cubicBezTo>
                    <a:pt x="537" y="725"/>
                    <a:pt x="694" y="536"/>
                    <a:pt x="694" y="347"/>
                  </a:cubicBezTo>
                  <a:cubicBezTo>
                    <a:pt x="694" y="158"/>
                    <a:pt x="537"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4" name="Google Shape;7304;p74"/>
            <p:cNvSpPr/>
            <p:nvPr/>
          </p:nvSpPr>
          <p:spPr>
            <a:xfrm>
              <a:off x="-55039700" y="2053725"/>
              <a:ext cx="18125" cy="18125"/>
            </a:xfrm>
            <a:custGeom>
              <a:avLst/>
              <a:gdLst/>
              <a:ahLst/>
              <a:cxnLst/>
              <a:rect l="l" t="t" r="r" b="b"/>
              <a:pathLst>
                <a:path w="725" h="725" extrusionOk="0">
                  <a:moveTo>
                    <a:pt x="378" y="0"/>
                  </a:moveTo>
                  <a:cubicBezTo>
                    <a:pt x="189" y="0"/>
                    <a:pt x="0" y="158"/>
                    <a:pt x="0" y="347"/>
                  </a:cubicBezTo>
                  <a:cubicBezTo>
                    <a:pt x="0" y="536"/>
                    <a:pt x="189" y="725"/>
                    <a:pt x="378" y="725"/>
                  </a:cubicBezTo>
                  <a:cubicBezTo>
                    <a:pt x="568" y="725"/>
                    <a:pt x="725" y="536"/>
                    <a:pt x="725" y="347"/>
                  </a:cubicBez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5" name="Google Shape;7305;p74"/>
            <p:cNvSpPr/>
            <p:nvPr/>
          </p:nvSpPr>
          <p:spPr>
            <a:xfrm>
              <a:off x="-55225575" y="1903275"/>
              <a:ext cx="318225" cy="316650"/>
            </a:xfrm>
            <a:custGeom>
              <a:avLst/>
              <a:gdLst/>
              <a:ahLst/>
              <a:cxnLst/>
              <a:rect l="l" t="t" r="r" b="b"/>
              <a:pathLst>
                <a:path w="12729" h="12666" extrusionOk="0">
                  <a:moveTo>
                    <a:pt x="6333" y="757"/>
                  </a:moveTo>
                  <a:cubicBezTo>
                    <a:pt x="8790" y="757"/>
                    <a:pt x="10932" y="2679"/>
                    <a:pt x="11185" y="5105"/>
                  </a:cubicBezTo>
                  <a:cubicBezTo>
                    <a:pt x="11185" y="5231"/>
                    <a:pt x="11279" y="5357"/>
                    <a:pt x="11374" y="5388"/>
                  </a:cubicBezTo>
                  <a:cubicBezTo>
                    <a:pt x="11752" y="5577"/>
                    <a:pt x="11972" y="5987"/>
                    <a:pt x="11972" y="6365"/>
                  </a:cubicBezTo>
                  <a:cubicBezTo>
                    <a:pt x="11972" y="6680"/>
                    <a:pt x="11815" y="7058"/>
                    <a:pt x="11594" y="7247"/>
                  </a:cubicBezTo>
                  <a:cubicBezTo>
                    <a:pt x="11342" y="7373"/>
                    <a:pt x="11342" y="7625"/>
                    <a:pt x="11531" y="7783"/>
                  </a:cubicBezTo>
                  <a:cubicBezTo>
                    <a:pt x="11783" y="8035"/>
                    <a:pt x="11941" y="8318"/>
                    <a:pt x="11941" y="8633"/>
                  </a:cubicBezTo>
                  <a:cubicBezTo>
                    <a:pt x="11941" y="8948"/>
                    <a:pt x="11815" y="9263"/>
                    <a:pt x="11531" y="9452"/>
                  </a:cubicBezTo>
                  <a:cubicBezTo>
                    <a:pt x="11374" y="9610"/>
                    <a:pt x="11374" y="9830"/>
                    <a:pt x="11531" y="9988"/>
                  </a:cubicBezTo>
                  <a:cubicBezTo>
                    <a:pt x="11783" y="10240"/>
                    <a:pt x="11941" y="10524"/>
                    <a:pt x="11941" y="10839"/>
                  </a:cubicBezTo>
                  <a:cubicBezTo>
                    <a:pt x="11941" y="11437"/>
                    <a:pt x="11437" y="11941"/>
                    <a:pt x="10838" y="11941"/>
                  </a:cubicBezTo>
                  <a:lnTo>
                    <a:pt x="1828" y="11941"/>
                  </a:lnTo>
                  <a:cubicBezTo>
                    <a:pt x="1197" y="11941"/>
                    <a:pt x="725" y="11406"/>
                    <a:pt x="725" y="10839"/>
                  </a:cubicBezTo>
                  <a:cubicBezTo>
                    <a:pt x="725" y="10492"/>
                    <a:pt x="819" y="10208"/>
                    <a:pt x="1103" y="9988"/>
                  </a:cubicBezTo>
                  <a:cubicBezTo>
                    <a:pt x="1260" y="9830"/>
                    <a:pt x="1260" y="9610"/>
                    <a:pt x="1103" y="9452"/>
                  </a:cubicBezTo>
                  <a:cubicBezTo>
                    <a:pt x="882" y="9200"/>
                    <a:pt x="725" y="8917"/>
                    <a:pt x="725" y="8633"/>
                  </a:cubicBezTo>
                  <a:cubicBezTo>
                    <a:pt x="725" y="8318"/>
                    <a:pt x="819" y="8003"/>
                    <a:pt x="1103" y="7783"/>
                  </a:cubicBezTo>
                  <a:cubicBezTo>
                    <a:pt x="1260" y="7625"/>
                    <a:pt x="1260" y="7405"/>
                    <a:pt x="1103" y="7247"/>
                  </a:cubicBezTo>
                  <a:cubicBezTo>
                    <a:pt x="882" y="7058"/>
                    <a:pt x="725" y="6680"/>
                    <a:pt x="725" y="6365"/>
                  </a:cubicBezTo>
                  <a:cubicBezTo>
                    <a:pt x="725" y="5987"/>
                    <a:pt x="945" y="5577"/>
                    <a:pt x="1292" y="5388"/>
                  </a:cubicBezTo>
                  <a:cubicBezTo>
                    <a:pt x="1418" y="5357"/>
                    <a:pt x="1512" y="5231"/>
                    <a:pt x="1512" y="5105"/>
                  </a:cubicBezTo>
                  <a:cubicBezTo>
                    <a:pt x="1765" y="2679"/>
                    <a:pt x="3907" y="757"/>
                    <a:pt x="6333" y="757"/>
                  </a:cubicBezTo>
                  <a:close/>
                  <a:moveTo>
                    <a:pt x="6333" y="1"/>
                  </a:moveTo>
                  <a:cubicBezTo>
                    <a:pt x="3497" y="1"/>
                    <a:pt x="1134" y="2112"/>
                    <a:pt x="788" y="4853"/>
                  </a:cubicBezTo>
                  <a:cubicBezTo>
                    <a:pt x="284" y="5199"/>
                    <a:pt x="0" y="5735"/>
                    <a:pt x="0" y="6365"/>
                  </a:cubicBezTo>
                  <a:cubicBezTo>
                    <a:pt x="0" y="6774"/>
                    <a:pt x="158" y="7216"/>
                    <a:pt x="410" y="7531"/>
                  </a:cubicBezTo>
                  <a:cubicBezTo>
                    <a:pt x="158" y="7846"/>
                    <a:pt x="0" y="8224"/>
                    <a:pt x="0" y="8633"/>
                  </a:cubicBezTo>
                  <a:cubicBezTo>
                    <a:pt x="0" y="9011"/>
                    <a:pt x="126" y="9421"/>
                    <a:pt x="410" y="9736"/>
                  </a:cubicBezTo>
                  <a:cubicBezTo>
                    <a:pt x="158" y="10051"/>
                    <a:pt x="0" y="10429"/>
                    <a:pt x="0" y="10839"/>
                  </a:cubicBezTo>
                  <a:cubicBezTo>
                    <a:pt x="0" y="11847"/>
                    <a:pt x="819" y="12666"/>
                    <a:pt x="1859" y="12666"/>
                  </a:cubicBezTo>
                  <a:lnTo>
                    <a:pt x="10869" y="12666"/>
                  </a:lnTo>
                  <a:cubicBezTo>
                    <a:pt x="11909" y="12666"/>
                    <a:pt x="12728" y="11847"/>
                    <a:pt x="12728" y="10839"/>
                  </a:cubicBezTo>
                  <a:cubicBezTo>
                    <a:pt x="12728" y="10429"/>
                    <a:pt x="12602" y="10051"/>
                    <a:pt x="12319" y="9736"/>
                  </a:cubicBezTo>
                  <a:cubicBezTo>
                    <a:pt x="12571" y="9421"/>
                    <a:pt x="12728" y="9011"/>
                    <a:pt x="12728" y="8633"/>
                  </a:cubicBezTo>
                  <a:cubicBezTo>
                    <a:pt x="12634" y="8224"/>
                    <a:pt x="12539" y="7846"/>
                    <a:pt x="12287" y="7531"/>
                  </a:cubicBezTo>
                  <a:cubicBezTo>
                    <a:pt x="12539" y="7216"/>
                    <a:pt x="12697" y="6774"/>
                    <a:pt x="12697" y="6365"/>
                  </a:cubicBezTo>
                  <a:cubicBezTo>
                    <a:pt x="12697" y="5798"/>
                    <a:pt x="12382" y="5199"/>
                    <a:pt x="11909" y="4853"/>
                  </a:cubicBezTo>
                  <a:cubicBezTo>
                    <a:pt x="11500" y="2112"/>
                    <a:pt x="9137" y="1"/>
                    <a:pt x="63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6" name="Google Shape;7306;p74"/>
            <p:cNvSpPr/>
            <p:nvPr/>
          </p:nvSpPr>
          <p:spPr>
            <a:xfrm>
              <a:off x="-55170450" y="1959200"/>
              <a:ext cx="204800" cy="225300"/>
            </a:xfrm>
            <a:custGeom>
              <a:avLst/>
              <a:gdLst/>
              <a:ahLst/>
              <a:cxnLst/>
              <a:rect l="l" t="t" r="r" b="b"/>
              <a:pathLst>
                <a:path w="8192" h="9012" extrusionOk="0">
                  <a:moveTo>
                    <a:pt x="4128" y="1450"/>
                  </a:moveTo>
                  <a:cubicBezTo>
                    <a:pt x="4411" y="2017"/>
                    <a:pt x="4821" y="2490"/>
                    <a:pt x="5293" y="2836"/>
                  </a:cubicBezTo>
                  <a:cubicBezTo>
                    <a:pt x="5924" y="3340"/>
                    <a:pt x="6711" y="3624"/>
                    <a:pt x="7499" y="3687"/>
                  </a:cubicBezTo>
                  <a:cubicBezTo>
                    <a:pt x="7499" y="3813"/>
                    <a:pt x="7530" y="3970"/>
                    <a:pt x="7530" y="4096"/>
                  </a:cubicBezTo>
                  <a:lnTo>
                    <a:pt x="7530" y="5640"/>
                  </a:lnTo>
                  <a:lnTo>
                    <a:pt x="7436" y="5640"/>
                  </a:lnTo>
                  <a:cubicBezTo>
                    <a:pt x="7436" y="7089"/>
                    <a:pt x="6270" y="8224"/>
                    <a:pt x="4852" y="8224"/>
                  </a:cubicBezTo>
                  <a:lnTo>
                    <a:pt x="3340" y="8224"/>
                  </a:lnTo>
                  <a:cubicBezTo>
                    <a:pt x="1891" y="8224"/>
                    <a:pt x="757" y="7058"/>
                    <a:pt x="757" y="5640"/>
                  </a:cubicBezTo>
                  <a:lnTo>
                    <a:pt x="757" y="4096"/>
                  </a:lnTo>
                  <a:cubicBezTo>
                    <a:pt x="757" y="3970"/>
                    <a:pt x="757" y="3813"/>
                    <a:pt x="788" y="3687"/>
                  </a:cubicBezTo>
                  <a:cubicBezTo>
                    <a:pt x="1576" y="3624"/>
                    <a:pt x="2363" y="3340"/>
                    <a:pt x="2994" y="2836"/>
                  </a:cubicBezTo>
                  <a:cubicBezTo>
                    <a:pt x="3466" y="2427"/>
                    <a:pt x="3876" y="1954"/>
                    <a:pt x="4128" y="1450"/>
                  </a:cubicBezTo>
                  <a:close/>
                  <a:moveTo>
                    <a:pt x="4096" y="1"/>
                  </a:moveTo>
                  <a:cubicBezTo>
                    <a:pt x="3939" y="1"/>
                    <a:pt x="3781" y="127"/>
                    <a:pt x="3750" y="284"/>
                  </a:cubicBezTo>
                  <a:lnTo>
                    <a:pt x="3718" y="442"/>
                  </a:lnTo>
                  <a:cubicBezTo>
                    <a:pt x="3309" y="1923"/>
                    <a:pt x="1985" y="2994"/>
                    <a:pt x="442" y="2994"/>
                  </a:cubicBezTo>
                  <a:cubicBezTo>
                    <a:pt x="253" y="2994"/>
                    <a:pt x="127" y="3120"/>
                    <a:pt x="95" y="3309"/>
                  </a:cubicBezTo>
                  <a:cubicBezTo>
                    <a:pt x="32" y="3592"/>
                    <a:pt x="1" y="3876"/>
                    <a:pt x="1" y="4128"/>
                  </a:cubicBezTo>
                  <a:lnTo>
                    <a:pt x="1" y="5672"/>
                  </a:lnTo>
                  <a:cubicBezTo>
                    <a:pt x="1" y="7530"/>
                    <a:pt x="1513" y="9011"/>
                    <a:pt x="3340" y="9011"/>
                  </a:cubicBezTo>
                  <a:lnTo>
                    <a:pt x="4852" y="9011"/>
                  </a:lnTo>
                  <a:cubicBezTo>
                    <a:pt x="6711" y="9011"/>
                    <a:pt x="8192" y="7530"/>
                    <a:pt x="8192" y="5672"/>
                  </a:cubicBezTo>
                  <a:lnTo>
                    <a:pt x="8192" y="4128"/>
                  </a:lnTo>
                  <a:cubicBezTo>
                    <a:pt x="8192" y="3844"/>
                    <a:pt x="8160" y="3592"/>
                    <a:pt x="8129" y="3309"/>
                  </a:cubicBezTo>
                  <a:cubicBezTo>
                    <a:pt x="8066" y="3120"/>
                    <a:pt x="7908" y="2994"/>
                    <a:pt x="7751" y="2994"/>
                  </a:cubicBezTo>
                  <a:cubicBezTo>
                    <a:pt x="6239" y="2994"/>
                    <a:pt x="4884" y="1923"/>
                    <a:pt x="4506" y="442"/>
                  </a:cubicBezTo>
                  <a:lnTo>
                    <a:pt x="4443" y="284"/>
                  </a:lnTo>
                  <a:cubicBezTo>
                    <a:pt x="4411" y="127"/>
                    <a:pt x="4254" y="1"/>
                    <a:pt x="40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07" name="Google Shape;7307;p74"/>
          <p:cNvGrpSpPr/>
          <p:nvPr/>
        </p:nvGrpSpPr>
        <p:grpSpPr>
          <a:xfrm>
            <a:off x="10626148" y="2677642"/>
            <a:ext cx="451648" cy="479071"/>
            <a:chOff x="-55217700" y="2296300"/>
            <a:chExt cx="298525" cy="316650"/>
          </a:xfrm>
        </p:grpSpPr>
        <p:sp>
          <p:nvSpPr>
            <p:cNvPr id="7308" name="Google Shape;7308;p74"/>
            <p:cNvSpPr/>
            <p:nvPr/>
          </p:nvSpPr>
          <p:spPr>
            <a:xfrm>
              <a:off x="-55105075" y="2426275"/>
              <a:ext cx="17350" cy="17350"/>
            </a:xfrm>
            <a:custGeom>
              <a:avLst/>
              <a:gdLst/>
              <a:ahLst/>
              <a:cxnLst/>
              <a:rect l="l" t="t" r="r" b="b"/>
              <a:pathLst>
                <a:path w="694" h="694" extrusionOk="0">
                  <a:moveTo>
                    <a:pt x="347" y="0"/>
                  </a:moveTo>
                  <a:cubicBezTo>
                    <a:pt x="158" y="0"/>
                    <a:pt x="1" y="158"/>
                    <a:pt x="1" y="347"/>
                  </a:cubicBezTo>
                  <a:cubicBezTo>
                    <a:pt x="1"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09" name="Google Shape;7309;p74"/>
            <p:cNvSpPr/>
            <p:nvPr/>
          </p:nvSpPr>
          <p:spPr>
            <a:xfrm>
              <a:off x="-55030250" y="24262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0" name="Google Shape;7310;p74"/>
            <p:cNvSpPr/>
            <p:nvPr/>
          </p:nvSpPr>
          <p:spPr>
            <a:xfrm>
              <a:off x="-55095625" y="2488675"/>
              <a:ext cx="73275" cy="29775"/>
            </a:xfrm>
            <a:custGeom>
              <a:avLst/>
              <a:gdLst/>
              <a:ahLst/>
              <a:cxnLst/>
              <a:rect l="l" t="t" r="r" b="b"/>
              <a:pathLst>
                <a:path w="2931" h="1191" extrusionOk="0">
                  <a:moveTo>
                    <a:pt x="398" y="1"/>
                  </a:moveTo>
                  <a:cubicBezTo>
                    <a:pt x="308" y="1"/>
                    <a:pt x="221" y="40"/>
                    <a:pt x="158" y="119"/>
                  </a:cubicBezTo>
                  <a:cubicBezTo>
                    <a:pt x="1" y="277"/>
                    <a:pt x="1" y="529"/>
                    <a:pt x="158" y="655"/>
                  </a:cubicBezTo>
                  <a:cubicBezTo>
                    <a:pt x="505" y="1001"/>
                    <a:pt x="977" y="1190"/>
                    <a:pt x="1450" y="1190"/>
                  </a:cubicBezTo>
                  <a:cubicBezTo>
                    <a:pt x="1985" y="1190"/>
                    <a:pt x="2458" y="1001"/>
                    <a:pt x="2773" y="655"/>
                  </a:cubicBezTo>
                  <a:cubicBezTo>
                    <a:pt x="2931" y="497"/>
                    <a:pt x="2931" y="245"/>
                    <a:pt x="2773" y="119"/>
                  </a:cubicBezTo>
                  <a:cubicBezTo>
                    <a:pt x="2685" y="66"/>
                    <a:pt x="2577" y="23"/>
                    <a:pt x="2471" y="23"/>
                  </a:cubicBezTo>
                  <a:cubicBezTo>
                    <a:pt x="2388" y="23"/>
                    <a:pt x="2307" y="50"/>
                    <a:pt x="2237" y="119"/>
                  </a:cubicBezTo>
                  <a:cubicBezTo>
                    <a:pt x="2048" y="340"/>
                    <a:pt x="1733" y="434"/>
                    <a:pt x="1450" y="434"/>
                  </a:cubicBezTo>
                  <a:cubicBezTo>
                    <a:pt x="1135" y="434"/>
                    <a:pt x="883" y="340"/>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1" name="Google Shape;7311;p74"/>
            <p:cNvSpPr/>
            <p:nvPr/>
          </p:nvSpPr>
          <p:spPr>
            <a:xfrm>
              <a:off x="-55217700" y="2296300"/>
              <a:ext cx="298525" cy="316650"/>
            </a:xfrm>
            <a:custGeom>
              <a:avLst/>
              <a:gdLst/>
              <a:ahLst/>
              <a:cxnLst/>
              <a:rect l="l" t="t" r="r" b="b"/>
              <a:pathLst>
                <a:path w="11941" h="12666" extrusionOk="0">
                  <a:moveTo>
                    <a:pt x="8601" y="694"/>
                  </a:moveTo>
                  <a:cubicBezTo>
                    <a:pt x="9105" y="694"/>
                    <a:pt x="9578" y="1040"/>
                    <a:pt x="9704" y="1545"/>
                  </a:cubicBezTo>
                  <a:lnTo>
                    <a:pt x="2993" y="3561"/>
                  </a:lnTo>
                  <a:lnTo>
                    <a:pt x="2993" y="1797"/>
                  </a:lnTo>
                  <a:cubicBezTo>
                    <a:pt x="2993" y="1167"/>
                    <a:pt x="3497" y="694"/>
                    <a:pt x="4096" y="694"/>
                  </a:cubicBezTo>
                  <a:close/>
                  <a:moveTo>
                    <a:pt x="9735" y="2301"/>
                  </a:moveTo>
                  <a:lnTo>
                    <a:pt x="9735" y="3687"/>
                  </a:lnTo>
                  <a:lnTo>
                    <a:pt x="5199" y="3687"/>
                  </a:lnTo>
                  <a:lnTo>
                    <a:pt x="9735" y="2301"/>
                  </a:lnTo>
                  <a:close/>
                  <a:moveTo>
                    <a:pt x="10428" y="4380"/>
                  </a:moveTo>
                  <a:cubicBezTo>
                    <a:pt x="10838" y="4380"/>
                    <a:pt x="11185" y="4727"/>
                    <a:pt x="11185" y="5136"/>
                  </a:cubicBezTo>
                  <a:cubicBezTo>
                    <a:pt x="11185" y="5577"/>
                    <a:pt x="10870" y="5892"/>
                    <a:pt x="10428" y="5892"/>
                  </a:cubicBezTo>
                  <a:lnTo>
                    <a:pt x="10428" y="4380"/>
                  </a:lnTo>
                  <a:close/>
                  <a:moveTo>
                    <a:pt x="9767" y="4443"/>
                  </a:moveTo>
                  <a:cubicBezTo>
                    <a:pt x="9735" y="4664"/>
                    <a:pt x="9735" y="6774"/>
                    <a:pt x="9735" y="7026"/>
                  </a:cubicBezTo>
                  <a:cubicBezTo>
                    <a:pt x="9735" y="8885"/>
                    <a:pt x="8223" y="10397"/>
                    <a:pt x="6396" y="10397"/>
                  </a:cubicBezTo>
                  <a:cubicBezTo>
                    <a:pt x="4537" y="10397"/>
                    <a:pt x="3025" y="8885"/>
                    <a:pt x="3025" y="7026"/>
                  </a:cubicBezTo>
                  <a:lnTo>
                    <a:pt x="3025" y="4443"/>
                  </a:lnTo>
                  <a:close/>
                  <a:moveTo>
                    <a:pt x="2237" y="3309"/>
                  </a:moveTo>
                  <a:lnTo>
                    <a:pt x="2237" y="6995"/>
                  </a:lnTo>
                  <a:lnTo>
                    <a:pt x="2237" y="11910"/>
                  </a:lnTo>
                  <a:lnTo>
                    <a:pt x="756" y="11910"/>
                  </a:lnTo>
                  <a:lnTo>
                    <a:pt x="756" y="6711"/>
                  </a:lnTo>
                  <a:cubicBezTo>
                    <a:pt x="756" y="5420"/>
                    <a:pt x="1292" y="4159"/>
                    <a:pt x="2237" y="3309"/>
                  </a:cubicBezTo>
                  <a:close/>
                  <a:moveTo>
                    <a:pt x="4096" y="1"/>
                  </a:moveTo>
                  <a:cubicBezTo>
                    <a:pt x="3088" y="1"/>
                    <a:pt x="2269" y="820"/>
                    <a:pt x="2269" y="1828"/>
                  </a:cubicBezTo>
                  <a:lnTo>
                    <a:pt x="2269" y="2395"/>
                  </a:lnTo>
                  <a:cubicBezTo>
                    <a:pt x="819" y="3403"/>
                    <a:pt x="0" y="5042"/>
                    <a:pt x="0" y="6774"/>
                  </a:cubicBezTo>
                  <a:lnTo>
                    <a:pt x="0" y="12319"/>
                  </a:lnTo>
                  <a:cubicBezTo>
                    <a:pt x="0" y="12508"/>
                    <a:pt x="158" y="12666"/>
                    <a:pt x="378" y="12666"/>
                  </a:cubicBezTo>
                  <a:lnTo>
                    <a:pt x="2615" y="12666"/>
                  </a:lnTo>
                  <a:cubicBezTo>
                    <a:pt x="2804" y="12666"/>
                    <a:pt x="2962" y="12508"/>
                    <a:pt x="2962" y="12319"/>
                  </a:cubicBezTo>
                  <a:lnTo>
                    <a:pt x="2962" y="9389"/>
                  </a:lnTo>
                  <a:cubicBezTo>
                    <a:pt x="3718" y="10460"/>
                    <a:pt x="4915" y="11122"/>
                    <a:pt x="6301" y="11122"/>
                  </a:cubicBezTo>
                  <a:cubicBezTo>
                    <a:pt x="8538" y="11122"/>
                    <a:pt x="10397" y="9295"/>
                    <a:pt x="10397" y="7026"/>
                  </a:cubicBezTo>
                  <a:lnTo>
                    <a:pt x="10397" y="6680"/>
                  </a:lnTo>
                  <a:cubicBezTo>
                    <a:pt x="11216" y="6680"/>
                    <a:pt x="11909" y="6018"/>
                    <a:pt x="11909" y="5168"/>
                  </a:cubicBezTo>
                  <a:cubicBezTo>
                    <a:pt x="11941" y="4348"/>
                    <a:pt x="11279" y="3687"/>
                    <a:pt x="10428" y="3687"/>
                  </a:cubicBezTo>
                  <a:lnTo>
                    <a:pt x="10428" y="1828"/>
                  </a:lnTo>
                  <a:cubicBezTo>
                    <a:pt x="10428" y="820"/>
                    <a:pt x="9609"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12" name="Google Shape;7312;p74"/>
          <p:cNvGrpSpPr/>
          <p:nvPr/>
        </p:nvGrpSpPr>
        <p:grpSpPr>
          <a:xfrm>
            <a:off x="10610055" y="3281086"/>
            <a:ext cx="483836" cy="479071"/>
            <a:chOff x="-55229525" y="2688550"/>
            <a:chExt cx="319800" cy="316650"/>
          </a:xfrm>
        </p:grpSpPr>
        <p:sp>
          <p:nvSpPr>
            <p:cNvPr id="7313" name="Google Shape;7313;p74"/>
            <p:cNvSpPr/>
            <p:nvPr/>
          </p:nvSpPr>
          <p:spPr>
            <a:xfrm>
              <a:off x="-55104275" y="2919525"/>
              <a:ext cx="72475" cy="28950"/>
            </a:xfrm>
            <a:custGeom>
              <a:avLst/>
              <a:gdLst/>
              <a:ahLst/>
              <a:cxnLst/>
              <a:rect l="l" t="t" r="r" b="b"/>
              <a:pathLst>
                <a:path w="2899" h="1158" extrusionOk="0">
                  <a:moveTo>
                    <a:pt x="398" y="0"/>
                  </a:moveTo>
                  <a:cubicBezTo>
                    <a:pt x="307" y="0"/>
                    <a:pt x="221" y="39"/>
                    <a:pt x="158" y="118"/>
                  </a:cubicBezTo>
                  <a:cubicBezTo>
                    <a:pt x="0" y="276"/>
                    <a:pt x="0" y="496"/>
                    <a:pt x="158" y="622"/>
                  </a:cubicBezTo>
                  <a:cubicBezTo>
                    <a:pt x="504" y="969"/>
                    <a:pt x="977" y="1158"/>
                    <a:pt x="1449" y="1158"/>
                  </a:cubicBezTo>
                  <a:cubicBezTo>
                    <a:pt x="1953" y="1158"/>
                    <a:pt x="2426" y="969"/>
                    <a:pt x="2741" y="622"/>
                  </a:cubicBezTo>
                  <a:cubicBezTo>
                    <a:pt x="2898" y="465"/>
                    <a:pt x="2898" y="213"/>
                    <a:pt x="2741" y="118"/>
                  </a:cubicBezTo>
                  <a:cubicBezTo>
                    <a:pt x="2694" y="39"/>
                    <a:pt x="2607" y="0"/>
                    <a:pt x="2513" y="0"/>
                  </a:cubicBezTo>
                  <a:cubicBezTo>
                    <a:pt x="2418" y="0"/>
                    <a:pt x="2316" y="39"/>
                    <a:pt x="2237" y="118"/>
                  </a:cubicBezTo>
                  <a:cubicBezTo>
                    <a:pt x="2048" y="307"/>
                    <a:pt x="1733" y="433"/>
                    <a:pt x="1449" y="433"/>
                  </a:cubicBezTo>
                  <a:cubicBezTo>
                    <a:pt x="1134" y="433"/>
                    <a:pt x="851" y="307"/>
                    <a:pt x="662" y="118"/>
                  </a:cubicBezTo>
                  <a:cubicBezTo>
                    <a:pt x="583" y="39"/>
                    <a:pt x="48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4" name="Google Shape;7314;p74"/>
            <p:cNvSpPr/>
            <p:nvPr/>
          </p:nvSpPr>
          <p:spPr>
            <a:xfrm>
              <a:off x="-55039700" y="2856300"/>
              <a:ext cx="18125" cy="17350"/>
            </a:xfrm>
            <a:custGeom>
              <a:avLst/>
              <a:gdLst/>
              <a:ahLst/>
              <a:cxnLst/>
              <a:rect l="l" t="t" r="r" b="b"/>
              <a:pathLst>
                <a:path w="725" h="694" extrusionOk="0">
                  <a:moveTo>
                    <a:pt x="378" y="1"/>
                  </a:moveTo>
                  <a:cubicBezTo>
                    <a:pt x="189" y="1"/>
                    <a:pt x="0" y="158"/>
                    <a:pt x="0" y="347"/>
                  </a:cubicBezTo>
                  <a:cubicBezTo>
                    <a:pt x="0" y="536"/>
                    <a:pt x="189" y="694"/>
                    <a:pt x="378" y="694"/>
                  </a:cubicBezTo>
                  <a:cubicBezTo>
                    <a:pt x="568" y="694"/>
                    <a:pt x="725" y="536"/>
                    <a:pt x="725" y="347"/>
                  </a:cubicBezTo>
                  <a:cubicBezTo>
                    <a:pt x="725" y="158"/>
                    <a:pt x="568"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5" name="Google Shape;7315;p74"/>
            <p:cNvSpPr/>
            <p:nvPr/>
          </p:nvSpPr>
          <p:spPr>
            <a:xfrm>
              <a:off x="-55113750" y="2856300"/>
              <a:ext cx="17350" cy="17350"/>
            </a:xfrm>
            <a:custGeom>
              <a:avLst/>
              <a:gdLst/>
              <a:ahLst/>
              <a:cxnLst/>
              <a:rect l="l" t="t" r="r" b="b"/>
              <a:pathLst>
                <a:path w="694" h="694" extrusionOk="0">
                  <a:moveTo>
                    <a:pt x="348" y="1"/>
                  </a:moveTo>
                  <a:cubicBezTo>
                    <a:pt x="158" y="1"/>
                    <a:pt x="1" y="158"/>
                    <a:pt x="1" y="347"/>
                  </a:cubicBezTo>
                  <a:cubicBezTo>
                    <a:pt x="1" y="536"/>
                    <a:pt x="158" y="694"/>
                    <a:pt x="348" y="694"/>
                  </a:cubicBezTo>
                  <a:cubicBezTo>
                    <a:pt x="537" y="694"/>
                    <a:pt x="694" y="536"/>
                    <a:pt x="694" y="347"/>
                  </a:cubicBezTo>
                  <a:cubicBezTo>
                    <a:pt x="694" y="158"/>
                    <a:pt x="537"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6" name="Google Shape;7316;p74"/>
            <p:cNvSpPr/>
            <p:nvPr/>
          </p:nvSpPr>
          <p:spPr>
            <a:xfrm>
              <a:off x="-55229525" y="2688550"/>
              <a:ext cx="319800" cy="316650"/>
            </a:xfrm>
            <a:custGeom>
              <a:avLst/>
              <a:gdLst/>
              <a:ahLst/>
              <a:cxnLst/>
              <a:rect l="l" t="t" r="r" b="b"/>
              <a:pathLst>
                <a:path w="12792" h="12666" extrusionOk="0">
                  <a:moveTo>
                    <a:pt x="6648" y="693"/>
                  </a:moveTo>
                  <a:cubicBezTo>
                    <a:pt x="6806" y="693"/>
                    <a:pt x="6963" y="788"/>
                    <a:pt x="7026" y="914"/>
                  </a:cubicBezTo>
                  <a:cubicBezTo>
                    <a:pt x="7089" y="1197"/>
                    <a:pt x="7184" y="1386"/>
                    <a:pt x="7247" y="1670"/>
                  </a:cubicBezTo>
                  <a:cubicBezTo>
                    <a:pt x="7341" y="1891"/>
                    <a:pt x="7121" y="2143"/>
                    <a:pt x="6900" y="2143"/>
                  </a:cubicBezTo>
                  <a:lnTo>
                    <a:pt x="5987" y="2143"/>
                  </a:lnTo>
                  <a:cubicBezTo>
                    <a:pt x="5766" y="2143"/>
                    <a:pt x="5546" y="1891"/>
                    <a:pt x="5640" y="1670"/>
                  </a:cubicBezTo>
                  <a:cubicBezTo>
                    <a:pt x="5703" y="1418"/>
                    <a:pt x="5798" y="1197"/>
                    <a:pt x="5892" y="914"/>
                  </a:cubicBezTo>
                  <a:cubicBezTo>
                    <a:pt x="5955" y="756"/>
                    <a:pt x="6081" y="693"/>
                    <a:pt x="6239" y="693"/>
                  </a:cubicBezTo>
                  <a:close/>
                  <a:moveTo>
                    <a:pt x="7845" y="2332"/>
                  </a:moveTo>
                  <a:cubicBezTo>
                    <a:pt x="10271" y="2962"/>
                    <a:pt x="12004" y="5199"/>
                    <a:pt x="12004" y="7813"/>
                  </a:cubicBezTo>
                  <a:cubicBezTo>
                    <a:pt x="12067" y="8444"/>
                    <a:pt x="11595" y="8916"/>
                    <a:pt x="10964" y="8916"/>
                  </a:cubicBezTo>
                  <a:lnTo>
                    <a:pt x="10523" y="8916"/>
                  </a:lnTo>
                  <a:lnTo>
                    <a:pt x="10523" y="8570"/>
                  </a:lnTo>
                  <a:lnTo>
                    <a:pt x="10523" y="7057"/>
                  </a:lnTo>
                  <a:cubicBezTo>
                    <a:pt x="10523" y="5608"/>
                    <a:pt x="9326" y="4474"/>
                    <a:pt x="7908" y="4474"/>
                  </a:cubicBezTo>
                  <a:lnTo>
                    <a:pt x="4915" y="4474"/>
                  </a:lnTo>
                  <a:cubicBezTo>
                    <a:pt x="3466" y="4474"/>
                    <a:pt x="2332" y="5640"/>
                    <a:pt x="2332" y="7057"/>
                  </a:cubicBezTo>
                  <a:lnTo>
                    <a:pt x="2332" y="8570"/>
                  </a:lnTo>
                  <a:lnTo>
                    <a:pt x="2332" y="8916"/>
                  </a:lnTo>
                  <a:lnTo>
                    <a:pt x="1891" y="8916"/>
                  </a:lnTo>
                  <a:cubicBezTo>
                    <a:pt x="1261" y="8916"/>
                    <a:pt x="788" y="8412"/>
                    <a:pt x="788" y="7813"/>
                  </a:cubicBezTo>
                  <a:cubicBezTo>
                    <a:pt x="788" y="5262"/>
                    <a:pt x="2521" y="2993"/>
                    <a:pt x="4979" y="2332"/>
                  </a:cubicBezTo>
                  <a:cubicBezTo>
                    <a:pt x="5168" y="2678"/>
                    <a:pt x="5514" y="2899"/>
                    <a:pt x="5955" y="2899"/>
                  </a:cubicBezTo>
                  <a:lnTo>
                    <a:pt x="6869" y="2899"/>
                  </a:lnTo>
                  <a:cubicBezTo>
                    <a:pt x="7247" y="2899"/>
                    <a:pt x="7593" y="2678"/>
                    <a:pt x="7845" y="2332"/>
                  </a:cubicBezTo>
                  <a:close/>
                  <a:moveTo>
                    <a:pt x="7971" y="5199"/>
                  </a:moveTo>
                  <a:cubicBezTo>
                    <a:pt x="8980" y="5199"/>
                    <a:pt x="9799" y="6049"/>
                    <a:pt x="9799" y="7057"/>
                  </a:cubicBezTo>
                  <a:lnTo>
                    <a:pt x="9799" y="8570"/>
                  </a:lnTo>
                  <a:cubicBezTo>
                    <a:pt x="9799" y="10397"/>
                    <a:pt x="8318" y="11909"/>
                    <a:pt x="6459" y="11909"/>
                  </a:cubicBezTo>
                  <a:cubicBezTo>
                    <a:pt x="4600" y="11909"/>
                    <a:pt x="3120" y="10397"/>
                    <a:pt x="3120" y="8570"/>
                  </a:cubicBezTo>
                  <a:lnTo>
                    <a:pt x="3120" y="7057"/>
                  </a:lnTo>
                  <a:cubicBezTo>
                    <a:pt x="3120" y="6049"/>
                    <a:pt x="3939" y="5199"/>
                    <a:pt x="4979" y="5199"/>
                  </a:cubicBezTo>
                  <a:close/>
                  <a:moveTo>
                    <a:pt x="6176" y="0"/>
                  </a:moveTo>
                  <a:cubicBezTo>
                    <a:pt x="5703" y="0"/>
                    <a:pt x="5294" y="315"/>
                    <a:pt x="5136" y="756"/>
                  </a:cubicBezTo>
                  <a:lnTo>
                    <a:pt x="3403" y="756"/>
                  </a:lnTo>
                  <a:cubicBezTo>
                    <a:pt x="3183" y="756"/>
                    <a:pt x="3025" y="914"/>
                    <a:pt x="3025" y="1103"/>
                  </a:cubicBezTo>
                  <a:cubicBezTo>
                    <a:pt x="3025" y="1323"/>
                    <a:pt x="3183" y="1481"/>
                    <a:pt x="3403" y="1481"/>
                  </a:cubicBezTo>
                  <a:lnTo>
                    <a:pt x="4852" y="1481"/>
                  </a:lnTo>
                  <a:cubicBezTo>
                    <a:pt x="4852" y="1512"/>
                    <a:pt x="4821" y="1575"/>
                    <a:pt x="4821" y="1638"/>
                  </a:cubicBezTo>
                  <a:cubicBezTo>
                    <a:pt x="3498" y="1954"/>
                    <a:pt x="2332" y="2678"/>
                    <a:pt x="1450" y="3749"/>
                  </a:cubicBezTo>
                  <a:cubicBezTo>
                    <a:pt x="505" y="4883"/>
                    <a:pt x="1" y="6364"/>
                    <a:pt x="1" y="7813"/>
                  </a:cubicBezTo>
                  <a:cubicBezTo>
                    <a:pt x="1" y="8822"/>
                    <a:pt x="820" y="9672"/>
                    <a:pt x="1860" y="9672"/>
                  </a:cubicBezTo>
                  <a:lnTo>
                    <a:pt x="2395" y="9672"/>
                  </a:lnTo>
                  <a:cubicBezTo>
                    <a:pt x="2868" y="11405"/>
                    <a:pt x="4506" y="12665"/>
                    <a:pt x="6333" y="12665"/>
                  </a:cubicBezTo>
                  <a:cubicBezTo>
                    <a:pt x="8224" y="12665"/>
                    <a:pt x="9799" y="11405"/>
                    <a:pt x="10271" y="9672"/>
                  </a:cubicBezTo>
                  <a:lnTo>
                    <a:pt x="10838" y="9672"/>
                  </a:lnTo>
                  <a:cubicBezTo>
                    <a:pt x="11847" y="9672"/>
                    <a:pt x="12697" y="8822"/>
                    <a:pt x="12697" y="7813"/>
                  </a:cubicBezTo>
                  <a:cubicBezTo>
                    <a:pt x="12792" y="6301"/>
                    <a:pt x="12288" y="4883"/>
                    <a:pt x="11343" y="3749"/>
                  </a:cubicBezTo>
                  <a:cubicBezTo>
                    <a:pt x="10492" y="2678"/>
                    <a:pt x="9295" y="1954"/>
                    <a:pt x="8003" y="1638"/>
                  </a:cubicBezTo>
                  <a:cubicBezTo>
                    <a:pt x="8003" y="1575"/>
                    <a:pt x="7971" y="1512"/>
                    <a:pt x="7971" y="1481"/>
                  </a:cubicBezTo>
                  <a:lnTo>
                    <a:pt x="9421" y="1481"/>
                  </a:lnTo>
                  <a:cubicBezTo>
                    <a:pt x="9610" y="1481"/>
                    <a:pt x="9767" y="1323"/>
                    <a:pt x="9767" y="1103"/>
                  </a:cubicBezTo>
                  <a:cubicBezTo>
                    <a:pt x="9767" y="914"/>
                    <a:pt x="9610" y="756"/>
                    <a:pt x="9421" y="756"/>
                  </a:cubicBezTo>
                  <a:lnTo>
                    <a:pt x="7688" y="756"/>
                  </a:lnTo>
                  <a:cubicBezTo>
                    <a:pt x="7530" y="315"/>
                    <a:pt x="7089" y="0"/>
                    <a:pt x="66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17" name="Google Shape;7317;p74"/>
          <p:cNvGrpSpPr/>
          <p:nvPr/>
        </p:nvGrpSpPr>
        <p:grpSpPr>
          <a:xfrm>
            <a:off x="8871681" y="3882582"/>
            <a:ext cx="451687" cy="481453"/>
            <a:chOff x="-53288825" y="1903275"/>
            <a:chExt cx="298550" cy="318225"/>
          </a:xfrm>
        </p:grpSpPr>
        <p:sp>
          <p:nvSpPr>
            <p:cNvPr id="7318" name="Google Shape;7318;p74"/>
            <p:cNvSpPr/>
            <p:nvPr/>
          </p:nvSpPr>
          <p:spPr>
            <a:xfrm>
              <a:off x="-53214000" y="2052925"/>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7" y="694"/>
                    <a:pt x="726" y="536"/>
                    <a:pt x="726" y="347"/>
                  </a:cubicBezTo>
                  <a:cubicBezTo>
                    <a:pt x="726"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19" name="Google Shape;7319;p74"/>
            <p:cNvSpPr/>
            <p:nvPr/>
          </p:nvSpPr>
          <p:spPr>
            <a:xfrm>
              <a:off x="-53139175" y="205292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0" name="Google Shape;7320;p74"/>
            <p:cNvSpPr/>
            <p:nvPr/>
          </p:nvSpPr>
          <p:spPr>
            <a:xfrm>
              <a:off x="-53288825" y="1903275"/>
              <a:ext cx="298550" cy="318225"/>
            </a:xfrm>
            <a:custGeom>
              <a:avLst/>
              <a:gdLst/>
              <a:ahLst/>
              <a:cxnLst/>
              <a:rect l="l" t="t" r="r" b="b"/>
              <a:pathLst>
                <a:path w="11942" h="12729" extrusionOk="0">
                  <a:moveTo>
                    <a:pt x="4853" y="757"/>
                  </a:moveTo>
                  <a:cubicBezTo>
                    <a:pt x="6428" y="757"/>
                    <a:pt x="7846" y="1639"/>
                    <a:pt x="8507" y="2994"/>
                  </a:cubicBezTo>
                  <a:lnTo>
                    <a:pt x="1167" y="2994"/>
                  </a:lnTo>
                  <a:cubicBezTo>
                    <a:pt x="1891" y="1639"/>
                    <a:pt x="3277" y="757"/>
                    <a:pt x="4853" y="757"/>
                  </a:cubicBezTo>
                  <a:close/>
                  <a:moveTo>
                    <a:pt x="11185" y="2994"/>
                  </a:moveTo>
                  <a:lnTo>
                    <a:pt x="11185" y="3340"/>
                  </a:lnTo>
                  <a:cubicBezTo>
                    <a:pt x="11185" y="3971"/>
                    <a:pt x="10681" y="4443"/>
                    <a:pt x="10083" y="4443"/>
                  </a:cubicBezTo>
                  <a:lnTo>
                    <a:pt x="9736" y="4443"/>
                  </a:lnTo>
                  <a:lnTo>
                    <a:pt x="9736" y="4097"/>
                  </a:lnTo>
                  <a:cubicBezTo>
                    <a:pt x="9736" y="3466"/>
                    <a:pt x="10240" y="2994"/>
                    <a:pt x="10839" y="2994"/>
                  </a:cubicBezTo>
                  <a:close/>
                  <a:moveTo>
                    <a:pt x="3151" y="3750"/>
                  </a:moveTo>
                  <a:lnTo>
                    <a:pt x="3498" y="4475"/>
                  </a:lnTo>
                  <a:lnTo>
                    <a:pt x="789" y="4475"/>
                  </a:lnTo>
                  <a:cubicBezTo>
                    <a:pt x="820" y="4223"/>
                    <a:pt x="852" y="3971"/>
                    <a:pt x="946" y="3750"/>
                  </a:cubicBezTo>
                  <a:close/>
                  <a:moveTo>
                    <a:pt x="5735" y="3750"/>
                  </a:moveTo>
                  <a:lnTo>
                    <a:pt x="5357" y="4475"/>
                  </a:lnTo>
                  <a:lnTo>
                    <a:pt x="4317" y="4475"/>
                  </a:lnTo>
                  <a:lnTo>
                    <a:pt x="3971" y="3750"/>
                  </a:lnTo>
                  <a:close/>
                  <a:moveTo>
                    <a:pt x="8822" y="3750"/>
                  </a:moveTo>
                  <a:cubicBezTo>
                    <a:pt x="8885" y="3971"/>
                    <a:pt x="8948" y="4223"/>
                    <a:pt x="8980" y="4475"/>
                  </a:cubicBezTo>
                  <a:lnTo>
                    <a:pt x="6270" y="4475"/>
                  </a:lnTo>
                  <a:lnTo>
                    <a:pt x="6617" y="3750"/>
                  </a:lnTo>
                  <a:close/>
                  <a:moveTo>
                    <a:pt x="10083" y="5231"/>
                  </a:moveTo>
                  <a:cubicBezTo>
                    <a:pt x="10713" y="5231"/>
                    <a:pt x="11185" y="5703"/>
                    <a:pt x="11185" y="6333"/>
                  </a:cubicBezTo>
                  <a:lnTo>
                    <a:pt x="11185" y="6680"/>
                  </a:lnTo>
                  <a:lnTo>
                    <a:pt x="10839" y="6680"/>
                  </a:lnTo>
                  <a:cubicBezTo>
                    <a:pt x="10209" y="6680"/>
                    <a:pt x="9736" y="6176"/>
                    <a:pt x="9736" y="5577"/>
                  </a:cubicBezTo>
                  <a:lnTo>
                    <a:pt x="9736" y="5231"/>
                  </a:lnTo>
                  <a:close/>
                  <a:moveTo>
                    <a:pt x="8980" y="5231"/>
                  </a:moveTo>
                  <a:lnTo>
                    <a:pt x="8980" y="7531"/>
                  </a:lnTo>
                  <a:lnTo>
                    <a:pt x="789" y="7531"/>
                  </a:lnTo>
                  <a:lnTo>
                    <a:pt x="789" y="5231"/>
                  </a:lnTo>
                  <a:close/>
                  <a:moveTo>
                    <a:pt x="8948" y="8224"/>
                  </a:moveTo>
                  <a:cubicBezTo>
                    <a:pt x="8728" y="10366"/>
                    <a:pt x="6995" y="11973"/>
                    <a:pt x="4853" y="11973"/>
                  </a:cubicBezTo>
                  <a:cubicBezTo>
                    <a:pt x="2710" y="11973"/>
                    <a:pt x="946" y="10303"/>
                    <a:pt x="757" y="8224"/>
                  </a:cubicBezTo>
                  <a:close/>
                  <a:moveTo>
                    <a:pt x="4853" y="1"/>
                  </a:moveTo>
                  <a:cubicBezTo>
                    <a:pt x="2175" y="1"/>
                    <a:pt x="1" y="2175"/>
                    <a:pt x="1" y="4853"/>
                  </a:cubicBezTo>
                  <a:lnTo>
                    <a:pt x="1" y="7877"/>
                  </a:lnTo>
                  <a:cubicBezTo>
                    <a:pt x="1" y="10555"/>
                    <a:pt x="2175" y="12729"/>
                    <a:pt x="4853" y="12729"/>
                  </a:cubicBezTo>
                  <a:cubicBezTo>
                    <a:pt x="7531" y="12729"/>
                    <a:pt x="9704" y="10555"/>
                    <a:pt x="9704" y="7877"/>
                  </a:cubicBezTo>
                  <a:lnTo>
                    <a:pt x="9704" y="7090"/>
                  </a:lnTo>
                  <a:cubicBezTo>
                    <a:pt x="10020" y="7310"/>
                    <a:pt x="10398" y="7436"/>
                    <a:pt x="10807" y="7436"/>
                  </a:cubicBezTo>
                  <a:lnTo>
                    <a:pt x="11532" y="7436"/>
                  </a:lnTo>
                  <a:cubicBezTo>
                    <a:pt x="11752" y="7436"/>
                    <a:pt x="11878" y="7279"/>
                    <a:pt x="11878" y="7090"/>
                  </a:cubicBezTo>
                  <a:lnTo>
                    <a:pt x="11878" y="6333"/>
                  </a:lnTo>
                  <a:cubicBezTo>
                    <a:pt x="11878" y="5735"/>
                    <a:pt x="11626" y="5199"/>
                    <a:pt x="11154" y="4853"/>
                  </a:cubicBezTo>
                  <a:cubicBezTo>
                    <a:pt x="11658" y="4475"/>
                    <a:pt x="11941" y="3971"/>
                    <a:pt x="11941" y="3340"/>
                  </a:cubicBezTo>
                  <a:lnTo>
                    <a:pt x="11941" y="2584"/>
                  </a:lnTo>
                  <a:cubicBezTo>
                    <a:pt x="11941" y="2395"/>
                    <a:pt x="11784" y="2238"/>
                    <a:pt x="11563" y="2238"/>
                  </a:cubicBezTo>
                  <a:lnTo>
                    <a:pt x="10839" y="2238"/>
                  </a:lnTo>
                  <a:cubicBezTo>
                    <a:pt x="10240" y="2238"/>
                    <a:pt x="9704" y="2521"/>
                    <a:pt x="9326" y="2994"/>
                  </a:cubicBezTo>
                  <a:cubicBezTo>
                    <a:pt x="8602" y="1261"/>
                    <a:pt x="6838" y="1"/>
                    <a:pt x="48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21" name="Google Shape;7321;p74"/>
          <p:cNvGrpSpPr/>
          <p:nvPr/>
        </p:nvGrpSpPr>
        <p:grpSpPr>
          <a:xfrm>
            <a:off x="8856191" y="4484816"/>
            <a:ext cx="482664" cy="481453"/>
            <a:chOff x="-53299850" y="2294725"/>
            <a:chExt cx="319025" cy="318225"/>
          </a:xfrm>
        </p:grpSpPr>
        <p:sp>
          <p:nvSpPr>
            <p:cNvPr id="7322" name="Google Shape;7322;p74"/>
            <p:cNvSpPr/>
            <p:nvPr/>
          </p:nvSpPr>
          <p:spPr>
            <a:xfrm>
              <a:off x="-53175400" y="2526500"/>
              <a:ext cx="72475" cy="29750"/>
            </a:xfrm>
            <a:custGeom>
              <a:avLst/>
              <a:gdLst/>
              <a:ahLst/>
              <a:cxnLst/>
              <a:rect l="l" t="t" r="r" b="b"/>
              <a:pathLst>
                <a:path w="2899" h="1190" extrusionOk="0">
                  <a:moveTo>
                    <a:pt x="387" y="0"/>
                  </a:moveTo>
                  <a:cubicBezTo>
                    <a:pt x="292" y="0"/>
                    <a:pt x="205" y="39"/>
                    <a:pt x="158" y="118"/>
                  </a:cubicBezTo>
                  <a:cubicBezTo>
                    <a:pt x="1" y="276"/>
                    <a:pt x="1" y="496"/>
                    <a:pt x="158" y="622"/>
                  </a:cubicBezTo>
                  <a:cubicBezTo>
                    <a:pt x="505" y="969"/>
                    <a:pt x="977" y="1189"/>
                    <a:pt x="1450" y="1189"/>
                  </a:cubicBezTo>
                  <a:cubicBezTo>
                    <a:pt x="1922" y="1189"/>
                    <a:pt x="2427" y="969"/>
                    <a:pt x="2742" y="622"/>
                  </a:cubicBezTo>
                  <a:cubicBezTo>
                    <a:pt x="2899" y="465"/>
                    <a:pt x="2899" y="244"/>
                    <a:pt x="2742" y="118"/>
                  </a:cubicBezTo>
                  <a:cubicBezTo>
                    <a:pt x="2679" y="55"/>
                    <a:pt x="2592" y="24"/>
                    <a:pt x="2501" y="24"/>
                  </a:cubicBezTo>
                  <a:cubicBezTo>
                    <a:pt x="2411" y="24"/>
                    <a:pt x="2316" y="55"/>
                    <a:pt x="2238" y="118"/>
                  </a:cubicBezTo>
                  <a:cubicBezTo>
                    <a:pt x="2048" y="307"/>
                    <a:pt x="1733" y="433"/>
                    <a:pt x="1450" y="433"/>
                  </a:cubicBezTo>
                  <a:cubicBezTo>
                    <a:pt x="1166" y="433"/>
                    <a:pt x="851" y="307"/>
                    <a:pt x="662" y="118"/>
                  </a:cubicBezTo>
                  <a:cubicBezTo>
                    <a:pt x="584" y="39"/>
                    <a:pt x="481" y="0"/>
                    <a:pt x="3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3" name="Google Shape;7323;p74"/>
            <p:cNvSpPr/>
            <p:nvPr/>
          </p:nvSpPr>
          <p:spPr>
            <a:xfrm>
              <a:off x="-53299850" y="2294725"/>
              <a:ext cx="319025" cy="318225"/>
            </a:xfrm>
            <a:custGeom>
              <a:avLst/>
              <a:gdLst/>
              <a:ahLst/>
              <a:cxnLst/>
              <a:rect l="l" t="t" r="r" b="b"/>
              <a:pathLst>
                <a:path w="12761" h="12729" extrusionOk="0">
                  <a:moveTo>
                    <a:pt x="6428" y="757"/>
                  </a:moveTo>
                  <a:cubicBezTo>
                    <a:pt x="8539" y="757"/>
                    <a:pt x="10335" y="2364"/>
                    <a:pt x="10524" y="4475"/>
                  </a:cubicBezTo>
                  <a:cubicBezTo>
                    <a:pt x="10492" y="4475"/>
                    <a:pt x="10398" y="4411"/>
                    <a:pt x="10366" y="4411"/>
                  </a:cubicBezTo>
                  <a:cubicBezTo>
                    <a:pt x="9090" y="4207"/>
                    <a:pt x="7759" y="4104"/>
                    <a:pt x="6428" y="4104"/>
                  </a:cubicBezTo>
                  <a:cubicBezTo>
                    <a:pt x="5097" y="4104"/>
                    <a:pt x="3766" y="4207"/>
                    <a:pt x="2490" y="4411"/>
                  </a:cubicBezTo>
                  <a:cubicBezTo>
                    <a:pt x="2458" y="4411"/>
                    <a:pt x="2364" y="4475"/>
                    <a:pt x="2332" y="4475"/>
                  </a:cubicBezTo>
                  <a:cubicBezTo>
                    <a:pt x="2521" y="2364"/>
                    <a:pt x="4286" y="757"/>
                    <a:pt x="6428" y="757"/>
                  </a:cubicBezTo>
                  <a:close/>
                  <a:moveTo>
                    <a:pt x="6404" y="4837"/>
                  </a:moveTo>
                  <a:cubicBezTo>
                    <a:pt x="7688" y="4837"/>
                    <a:pt x="8980" y="4947"/>
                    <a:pt x="10240" y="5168"/>
                  </a:cubicBezTo>
                  <a:cubicBezTo>
                    <a:pt x="10429" y="5199"/>
                    <a:pt x="10555" y="5357"/>
                    <a:pt x="10555" y="5514"/>
                  </a:cubicBezTo>
                  <a:lnTo>
                    <a:pt x="10555" y="6396"/>
                  </a:lnTo>
                  <a:cubicBezTo>
                    <a:pt x="10555" y="6995"/>
                    <a:pt x="10051" y="7499"/>
                    <a:pt x="9421" y="7499"/>
                  </a:cubicBezTo>
                  <a:lnTo>
                    <a:pt x="7436" y="7499"/>
                  </a:lnTo>
                  <a:cubicBezTo>
                    <a:pt x="7342" y="7499"/>
                    <a:pt x="7247" y="7467"/>
                    <a:pt x="7184" y="7373"/>
                  </a:cubicBezTo>
                  <a:lnTo>
                    <a:pt x="6648" y="6869"/>
                  </a:lnTo>
                  <a:cubicBezTo>
                    <a:pt x="6570" y="6790"/>
                    <a:pt x="6475" y="6751"/>
                    <a:pt x="6385" y="6751"/>
                  </a:cubicBezTo>
                  <a:cubicBezTo>
                    <a:pt x="6294" y="6751"/>
                    <a:pt x="6207" y="6790"/>
                    <a:pt x="6144" y="6869"/>
                  </a:cubicBezTo>
                  <a:lnTo>
                    <a:pt x="5640" y="7373"/>
                  </a:lnTo>
                  <a:cubicBezTo>
                    <a:pt x="5546" y="7467"/>
                    <a:pt x="5483" y="7499"/>
                    <a:pt x="5357" y="7499"/>
                  </a:cubicBezTo>
                  <a:lnTo>
                    <a:pt x="3403" y="7499"/>
                  </a:lnTo>
                  <a:cubicBezTo>
                    <a:pt x="2773" y="7499"/>
                    <a:pt x="2301" y="6995"/>
                    <a:pt x="2301" y="6396"/>
                  </a:cubicBezTo>
                  <a:lnTo>
                    <a:pt x="2301" y="5514"/>
                  </a:lnTo>
                  <a:cubicBezTo>
                    <a:pt x="2301" y="5325"/>
                    <a:pt x="2395" y="5168"/>
                    <a:pt x="2616" y="5168"/>
                  </a:cubicBezTo>
                  <a:cubicBezTo>
                    <a:pt x="3844" y="4947"/>
                    <a:pt x="5120" y="4837"/>
                    <a:pt x="6404" y="4837"/>
                  </a:cubicBezTo>
                  <a:close/>
                  <a:moveTo>
                    <a:pt x="1545" y="5451"/>
                  </a:moveTo>
                  <a:lnTo>
                    <a:pt x="1545" y="5483"/>
                  </a:lnTo>
                  <a:lnTo>
                    <a:pt x="1545" y="6333"/>
                  </a:lnTo>
                  <a:cubicBezTo>
                    <a:pt x="1545" y="6932"/>
                    <a:pt x="1828" y="7499"/>
                    <a:pt x="2301" y="7846"/>
                  </a:cubicBezTo>
                  <a:lnTo>
                    <a:pt x="2301" y="8192"/>
                  </a:lnTo>
                  <a:cubicBezTo>
                    <a:pt x="1450" y="8192"/>
                    <a:pt x="789" y="7530"/>
                    <a:pt x="789" y="6711"/>
                  </a:cubicBezTo>
                  <a:cubicBezTo>
                    <a:pt x="789" y="6207"/>
                    <a:pt x="1104" y="5735"/>
                    <a:pt x="1545" y="5451"/>
                  </a:cubicBezTo>
                  <a:close/>
                  <a:moveTo>
                    <a:pt x="11311" y="5483"/>
                  </a:moveTo>
                  <a:cubicBezTo>
                    <a:pt x="11752" y="5766"/>
                    <a:pt x="12067" y="6239"/>
                    <a:pt x="12067" y="6774"/>
                  </a:cubicBezTo>
                  <a:cubicBezTo>
                    <a:pt x="12004" y="7562"/>
                    <a:pt x="11343" y="8255"/>
                    <a:pt x="10555" y="8255"/>
                  </a:cubicBezTo>
                  <a:lnTo>
                    <a:pt x="10555" y="7877"/>
                  </a:lnTo>
                  <a:cubicBezTo>
                    <a:pt x="10996" y="7530"/>
                    <a:pt x="11311" y="7026"/>
                    <a:pt x="11311" y="6396"/>
                  </a:cubicBezTo>
                  <a:lnTo>
                    <a:pt x="11311" y="5514"/>
                  </a:lnTo>
                  <a:lnTo>
                    <a:pt x="11311" y="5483"/>
                  </a:lnTo>
                  <a:close/>
                  <a:moveTo>
                    <a:pt x="1545" y="8885"/>
                  </a:moveTo>
                  <a:cubicBezTo>
                    <a:pt x="1765" y="8948"/>
                    <a:pt x="2017" y="8980"/>
                    <a:pt x="2301" y="8980"/>
                  </a:cubicBezTo>
                  <a:cubicBezTo>
                    <a:pt x="2332" y="9515"/>
                    <a:pt x="2490" y="10019"/>
                    <a:pt x="2710" y="10492"/>
                  </a:cubicBezTo>
                  <a:lnTo>
                    <a:pt x="1891" y="10492"/>
                  </a:lnTo>
                  <a:cubicBezTo>
                    <a:pt x="1702" y="10492"/>
                    <a:pt x="1545" y="10334"/>
                    <a:pt x="1545" y="10145"/>
                  </a:cubicBezTo>
                  <a:lnTo>
                    <a:pt x="1545" y="8885"/>
                  </a:lnTo>
                  <a:close/>
                  <a:moveTo>
                    <a:pt x="6428" y="7688"/>
                  </a:moveTo>
                  <a:lnTo>
                    <a:pt x="6711" y="7972"/>
                  </a:lnTo>
                  <a:cubicBezTo>
                    <a:pt x="6900" y="8161"/>
                    <a:pt x="7216" y="8287"/>
                    <a:pt x="7499" y="8287"/>
                  </a:cubicBezTo>
                  <a:lnTo>
                    <a:pt x="9452" y="8287"/>
                  </a:lnTo>
                  <a:cubicBezTo>
                    <a:pt x="9578" y="8287"/>
                    <a:pt x="9704" y="8287"/>
                    <a:pt x="9799" y="8255"/>
                  </a:cubicBezTo>
                  <a:lnTo>
                    <a:pt x="9799" y="8633"/>
                  </a:lnTo>
                  <a:cubicBezTo>
                    <a:pt x="9799" y="10492"/>
                    <a:pt x="8287" y="11973"/>
                    <a:pt x="6428" y="11973"/>
                  </a:cubicBezTo>
                  <a:cubicBezTo>
                    <a:pt x="5609" y="11973"/>
                    <a:pt x="4853" y="11721"/>
                    <a:pt x="4254" y="11185"/>
                  </a:cubicBezTo>
                  <a:lnTo>
                    <a:pt x="4916" y="11185"/>
                  </a:lnTo>
                  <a:cubicBezTo>
                    <a:pt x="5136" y="11185"/>
                    <a:pt x="5294" y="11028"/>
                    <a:pt x="5294" y="10838"/>
                  </a:cubicBezTo>
                  <a:cubicBezTo>
                    <a:pt x="5294" y="10649"/>
                    <a:pt x="5136" y="10492"/>
                    <a:pt x="4916" y="10492"/>
                  </a:cubicBezTo>
                  <a:lnTo>
                    <a:pt x="3592" y="10492"/>
                  </a:lnTo>
                  <a:cubicBezTo>
                    <a:pt x="3246" y="9925"/>
                    <a:pt x="3025" y="9295"/>
                    <a:pt x="3025" y="8633"/>
                  </a:cubicBezTo>
                  <a:lnTo>
                    <a:pt x="3025" y="8255"/>
                  </a:lnTo>
                  <a:cubicBezTo>
                    <a:pt x="3151" y="8287"/>
                    <a:pt x="3277" y="8287"/>
                    <a:pt x="3403" y="8287"/>
                  </a:cubicBezTo>
                  <a:lnTo>
                    <a:pt x="5357" y="8287"/>
                  </a:lnTo>
                  <a:cubicBezTo>
                    <a:pt x="5672" y="8287"/>
                    <a:pt x="5955" y="8161"/>
                    <a:pt x="6144" y="7972"/>
                  </a:cubicBezTo>
                  <a:lnTo>
                    <a:pt x="6428" y="7688"/>
                  </a:lnTo>
                  <a:close/>
                  <a:moveTo>
                    <a:pt x="6396" y="1"/>
                  </a:moveTo>
                  <a:cubicBezTo>
                    <a:pt x="3781" y="1"/>
                    <a:pt x="1671" y="2112"/>
                    <a:pt x="1513" y="4632"/>
                  </a:cubicBezTo>
                  <a:cubicBezTo>
                    <a:pt x="631" y="4947"/>
                    <a:pt x="1" y="5766"/>
                    <a:pt x="1" y="6743"/>
                  </a:cubicBezTo>
                  <a:cubicBezTo>
                    <a:pt x="1" y="7404"/>
                    <a:pt x="284" y="8003"/>
                    <a:pt x="757" y="8413"/>
                  </a:cubicBezTo>
                  <a:lnTo>
                    <a:pt x="757" y="10082"/>
                  </a:lnTo>
                  <a:cubicBezTo>
                    <a:pt x="757" y="10712"/>
                    <a:pt x="1261" y="11185"/>
                    <a:pt x="1860" y="11185"/>
                  </a:cubicBezTo>
                  <a:lnTo>
                    <a:pt x="3151" y="11185"/>
                  </a:lnTo>
                  <a:cubicBezTo>
                    <a:pt x="3939" y="12130"/>
                    <a:pt x="5073" y="12729"/>
                    <a:pt x="6365" y="12729"/>
                  </a:cubicBezTo>
                  <a:cubicBezTo>
                    <a:pt x="8507" y="12729"/>
                    <a:pt x="10303" y="11028"/>
                    <a:pt x="10429" y="8980"/>
                  </a:cubicBezTo>
                  <a:cubicBezTo>
                    <a:pt x="11658" y="8980"/>
                    <a:pt x="12697" y="8003"/>
                    <a:pt x="12697" y="6743"/>
                  </a:cubicBezTo>
                  <a:cubicBezTo>
                    <a:pt x="12760" y="5798"/>
                    <a:pt x="12162" y="4947"/>
                    <a:pt x="11280" y="4632"/>
                  </a:cubicBezTo>
                  <a:cubicBezTo>
                    <a:pt x="11154" y="2049"/>
                    <a:pt x="9011" y="1"/>
                    <a:pt x="63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24" name="Google Shape;7324;p74"/>
          <p:cNvGrpSpPr/>
          <p:nvPr/>
        </p:nvGrpSpPr>
        <p:grpSpPr>
          <a:xfrm>
            <a:off x="8886582" y="5109429"/>
            <a:ext cx="421881" cy="480281"/>
            <a:chOff x="-53278575" y="2687750"/>
            <a:chExt cx="278850" cy="317450"/>
          </a:xfrm>
        </p:grpSpPr>
        <p:sp>
          <p:nvSpPr>
            <p:cNvPr id="7325" name="Google Shape;7325;p74"/>
            <p:cNvSpPr/>
            <p:nvPr/>
          </p:nvSpPr>
          <p:spPr>
            <a:xfrm>
              <a:off x="-53175400" y="2919525"/>
              <a:ext cx="71700" cy="28950"/>
            </a:xfrm>
            <a:custGeom>
              <a:avLst/>
              <a:gdLst/>
              <a:ahLst/>
              <a:cxnLst/>
              <a:rect l="l" t="t" r="r" b="b"/>
              <a:pathLst>
                <a:path w="2868" h="1158" extrusionOk="0">
                  <a:moveTo>
                    <a:pt x="351" y="0"/>
                  </a:moveTo>
                  <a:cubicBezTo>
                    <a:pt x="253" y="0"/>
                    <a:pt x="158" y="39"/>
                    <a:pt x="95" y="118"/>
                  </a:cubicBezTo>
                  <a:cubicBezTo>
                    <a:pt x="1" y="213"/>
                    <a:pt x="1" y="465"/>
                    <a:pt x="95" y="622"/>
                  </a:cubicBezTo>
                  <a:cubicBezTo>
                    <a:pt x="473" y="969"/>
                    <a:pt x="946" y="1158"/>
                    <a:pt x="1418" y="1158"/>
                  </a:cubicBezTo>
                  <a:cubicBezTo>
                    <a:pt x="1891" y="1158"/>
                    <a:pt x="2395" y="969"/>
                    <a:pt x="2710" y="622"/>
                  </a:cubicBezTo>
                  <a:cubicBezTo>
                    <a:pt x="2868" y="465"/>
                    <a:pt x="2868" y="213"/>
                    <a:pt x="2710" y="118"/>
                  </a:cubicBezTo>
                  <a:cubicBezTo>
                    <a:pt x="2631" y="39"/>
                    <a:pt x="2529" y="0"/>
                    <a:pt x="2434" y="0"/>
                  </a:cubicBezTo>
                  <a:cubicBezTo>
                    <a:pt x="2340" y="0"/>
                    <a:pt x="2253" y="39"/>
                    <a:pt x="2206" y="118"/>
                  </a:cubicBezTo>
                  <a:cubicBezTo>
                    <a:pt x="1985" y="307"/>
                    <a:pt x="1670" y="433"/>
                    <a:pt x="1418" y="433"/>
                  </a:cubicBezTo>
                  <a:cubicBezTo>
                    <a:pt x="1135" y="433"/>
                    <a:pt x="820" y="307"/>
                    <a:pt x="631" y="118"/>
                  </a:cubicBezTo>
                  <a:cubicBezTo>
                    <a:pt x="552" y="39"/>
                    <a:pt x="450"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6" name="Google Shape;7326;p74"/>
            <p:cNvSpPr/>
            <p:nvPr/>
          </p:nvSpPr>
          <p:spPr>
            <a:xfrm>
              <a:off x="-53185625"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7" name="Google Shape;7327;p74"/>
            <p:cNvSpPr/>
            <p:nvPr/>
          </p:nvSpPr>
          <p:spPr>
            <a:xfrm>
              <a:off x="-53110800" y="2854725"/>
              <a:ext cx="18125" cy="18150"/>
            </a:xfrm>
            <a:custGeom>
              <a:avLst/>
              <a:gdLst/>
              <a:ahLst/>
              <a:cxnLst/>
              <a:rect l="l" t="t" r="r" b="b"/>
              <a:pathLst>
                <a:path w="725" h="726" extrusionOk="0">
                  <a:moveTo>
                    <a:pt x="378" y="1"/>
                  </a:moveTo>
                  <a:cubicBezTo>
                    <a:pt x="158" y="1"/>
                    <a:pt x="0" y="190"/>
                    <a:pt x="0" y="379"/>
                  </a:cubicBezTo>
                  <a:cubicBezTo>
                    <a:pt x="0" y="568"/>
                    <a:pt x="158" y="725"/>
                    <a:pt x="378" y="725"/>
                  </a:cubicBezTo>
                  <a:cubicBezTo>
                    <a:pt x="567" y="725"/>
                    <a:pt x="725" y="568"/>
                    <a:pt x="725" y="379"/>
                  </a:cubicBezTo>
                  <a:cubicBezTo>
                    <a:pt x="725" y="190"/>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28" name="Google Shape;7328;p74"/>
            <p:cNvSpPr/>
            <p:nvPr/>
          </p:nvSpPr>
          <p:spPr>
            <a:xfrm>
              <a:off x="-53278575" y="2687750"/>
              <a:ext cx="278850" cy="317450"/>
            </a:xfrm>
            <a:custGeom>
              <a:avLst/>
              <a:gdLst/>
              <a:ahLst/>
              <a:cxnLst/>
              <a:rect l="l" t="t" r="r" b="b"/>
              <a:pathLst>
                <a:path w="11154" h="12698" extrusionOk="0">
                  <a:moveTo>
                    <a:pt x="5577" y="725"/>
                  </a:moveTo>
                  <a:cubicBezTo>
                    <a:pt x="6112" y="725"/>
                    <a:pt x="6554" y="1103"/>
                    <a:pt x="6680" y="1607"/>
                  </a:cubicBezTo>
                  <a:cubicBezTo>
                    <a:pt x="6333" y="1544"/>
                    <a:pt x="5955" y="1450"/>
                    <a:pt x="5577" y="1450"/>
                  </a:cubicBezTo>
                  <a:cubicBezTo>
                    <a:pt x="5167" y="1450"/>
                    <a:pt x="4821" y="1513"/>
                    <a:pt x="4474" y="1607"/>
                  </a:cubicBezTo>
                  <a:cubicBezTo>
                    <a:pt x="4600" y="1072"/>
                    <a:pt x="5010" y="725"/>
                    <a:pt x="5577" y="725"/>
                  </a:cubicBezTo>
                  <a:close/>
                  <a:moveTo>
                    <a:pt x="5577" y="2206"/>
                  </a:moveTo>
                  <a:cubicBezTo>
                    <a:pt x="7373" y="2206"/>
                    <a:pt x="8853" y="3624"/>
                    <a:pt x="8916" y="5451"/>
                  </a:cubicBezTo>
                  <a:lnTo>
                    <a:pt x="8066" y="4569"/>
                  </a:lnTo>
                  <a:cubicBezTo>
                    <a:pt x="7995" y="4498"/>
                    <a:pt x="7904" y="4457"/>
                    <a:pt x="7811" y="4457"/>
                  </a:cubicBezTo>
                  <a:cubicBezTo>
                    <a:pt x="7737" y="4457"/>
                    <a:pt x="7662" y="4482"/>
                    <a:pt x="7593" y="4537"/>
                  </a:cubicBezTo>
                  <a:cubicBezTo>
                    <a:pt x="6979" y="4947"/>
                    <a:pt x="6270" y="5152"/>
                    <a:pt x="5561" y="5152"/>
                  </a:cubicBezTo>
                  <a:cubicBezTo>
                    <a:pt x="4852" y="5152"/>
                    <a:pt x="4143" y="4947"/>
                    <a:pt x="3529" y="4537"/>
                  </a:cubicBezTo>
                  <a:cubicBezTo>
                    <a:pt x="3460" y="4482"/>
                    <a:pt x="3385" y="4457"/>
                    <a:pt x="3312" y="4457"/>
                  </a:cubicBezTo>
                  <a:cubicBezTo>
                    <a:pt x="3218" y="4457"/>
                    <a:pt x="3127" y="4498"/>
                    <a:pt x="3056" y="4569"/>
                  </a:cubicBezTo>
                  <a:lnTo>
                    <a:pt x="2174" y="5451"/>
                  </a:lnTo>
                  <a:cubicBezTo>
                    <a:pt x="2300" y="3624"/>
                    <a:pt x="3750" y="2206"/>
                    <a:pt x="5577" y="2206"/>
                  </a:cubicBezTo>
                  <a:close/>
                  <a:moveTo>
                    <a:pt x="1481" y="6711"/>
                  </a:moveTo>
                  <a:lnTo>
                    <a:pt x="1481" y="8192"/>
                  </a:lnTo>
                  <a:cubicBezTo>
                    <a:pt x="1040" y="8192"/>
                    <a:pt x="725" y="7845"/>
                    <a:pt x="725" y="7436"/>
                  </a:cubicBezTo>
                  <a:cubicBezTo>
                    <a:pt x="725" y="7058"/>
                    <a:pt x="1072" y="6711"/>
                    <a:pt x="1481" y="6711"/>
                  </a:cubicBezTo>
                  <a:close/>
                  <a:moveTo>
                    <a:pt x="9673" y="6711"/>
                  </a:moveTo>
                  <a:cubicBezTo>
                    <a:pt x="10051" y="6711"/>
                    <a:pt x="10429" y="7026"/>
                    <a:pt x="10429" y="7436"/>
                  </a:cubicBezTo>
                  <a:cubicBezTo>
                    <a:pt x="10429" y="7845"/>
                    <a:pt x="10051" y="8192"/>
                    <a:pt x="9673" y="8192"/>
                  </a:cubicBezTo>
                  <a:lnTo>
                    <a:pt x="9673" y="6711"/>
                  </a:lnTo>
                  <a:close/>
                  <a:moveTo>
                    <a:pt x="1576" y="9452"/>
                  </a:moveTo>
                  <a:cubicBezTo>
                    <a:pt x="1796" y="10460"/>
                    <a:pt x="2395" y="11342"/>
                    <a:pt x="3214" y="11941"/>
                  </a:cubicBezTo>
                  <a:lnTo>
                    <a:pt x="725" y="11941"/>
                  </a:lnTo>
                  <a:cubicBezTo>
                    <a:pt x="788" y="11027"/>
                    <a:pt x="1072" y="10208"/>
                    <a:pt x="1576" y="9452"/>
                  </a:cubicBezTo>
                  <a:close/>
                  <a:moveTo>
                    <a:pt x="7751" y="5294"/>
                  </a:moveTo>
                  <a:lnTo>
                    <a:pt x="8916" y="6459"/>
                  </a:lnTo>
                  <a:lnTo>
                    <a:pt x="8916" y="8539"/>
                  </a:lnTo>
                  <a:cubicBezTo>
                    <a:pt x="8916" y="10397"/>
                    <a:pt x="7436" y="11941"/>
                    <a:pt x="5577" y="11941"/>
                  </a:cubicBezTo>
                  <a:cubicBezTo>
                    <a:pt x="3718" y="11941"/>
                    <a:pt x="2237" y="10397"/>
                    <a:pt x="2237" y="8539"/>
                  </a:cubicBezTo>
                  <a:lnTo>
                    <a:pt x="2237" y="6459"/>
                  </a:lnTo>
                  <a:lnTo>
                    <a:pt x="2174" y="6459"/>
                  </a:lnTo>
                  <a:lnTo>
                    <a:pt x="3372" y="5294"/>
                  </a:lnTo>
                  <a:cubicBezTo>
                    <a:pt x="4033" y="5687"/>
                    <a:pt x="4781" y="5884"/>
                    <a:pt x="5538" y="5884"/>
                  </a:cubicBezTo>
                  <a:cubicBezTo>
                    <a:pt x="6294" y="5884"/>
                    <a:pt x="7058" y="5687"/>
                    <a:pt x="7751" y="5294"/>
                  </a:cubicBezTo>
                  <a:close/>
                  <a:moveTo>
                    <a:pt x="9547" y="9452"/>
                  </a:moveTo>
                  <a:cubicBezTo>
                    <a:pt x="10051" y="10177"/>
                    <a:pt x="10334" y="11027"/>
                    <a:pt x="10366" y="11941"/>
                  </a:cubicBezTo>
                  <a:lnTo>
                    <a:pt x="7908" y="11941"/>
                  </a:lnTo>
                  <a:cubicBezTo>
                    <a:pt x="8727" y="11342"/>
                    <a:pt x="9326" y="10492"/>
                    <a:pt x="9547" y="9452"/>
                  </a:cubicBezTo>
                  <a:close/>
                  <a:moveTo>
                    <a:pt x="5577" y="1"/>
                  </a:moveTo>
                  <a:cubicBezTo>
                    <a:pt x="4506" y="1"/>
                    <a:pt x="3687" y="851"/>
                    <a:pt x="3718" y="1923"/>
                  </a:cubicBezTo>
                  <a:cubicBezTo>
                    <a:pt x="2395" y="2584"/>
                    <a:pt x="1481" y="4002"/>
                    <a:pt x="1481" y="5577"/>
                  </a:cubicBezTo>
                  <a:lnTo>
                    <a:pt x="1481" y="5955"/>
                  </a:lnTo>
                  <a:cubicBezTo>
                    <a:pt x="662" y="5955"/>
                    <a:pt x="1" y="6617"/>
                    <a:pt x="1" y="7436"/>
                  </a:cubicBezTo>
                  <a:cubicBezTo>
                    <a:pt x="1" y="8097"/>
                    <a:pt x="442" y="8696"/>
                    <a:pt x="1103" y="8885"/>
                  </a:cubicBezTo>
                  <a:cubicBezTo>
                    <a:pt x="379" y="9862"/>
                    <a:pt x="1" y="11027"/>
                    <a:pt x="1" y="12225"/>
                  </a:cubicBezTo>
                  <a:lnTo>
                    <a:pt x="1" y="12319"/>
                  </a:lnTo>
                  <a:cubicBezTo>
                    <a:pt x="1" y="12540"/>
                    <a:pt x="127" y="12697"/>
                    <a:pt x="347" y="12697"/>
                  </a:cubicBezTo>
                  <a:lnTo>
                    <a:pt x="10775" y="12697"/>
                  </a:lnTo>
                  <a:cubicBezTo>
                    <a:pt x="10964" y="12697"/>
                    <a:pt x="11122" y="12540"/>
                    <a:pt x="11122" y="12319"/>
                  </a:cubicBezTo>
                  <a:lnTo>
                    <a:pt x="11122" y="12225"/>
                  </a:lnTo>
                  <a:cubicBezTo>
                    <a:pt x="11122" y="11027"/>
                    <a:pt x="10744" y="9862"/>
                    <a:pt x="10019" y="8885"/>
                  </a:cubicBezTo>
                  <a:cubicBezTo>
                    <a:pt x="10681" y="8696"/>
                    <a:pt x="11153" y="8129"/>
                    <a:pt x="11153" y="7436"/>
                  </a:cubicBezTo>
                  <a:cubicBezTo>
                    <a:pt x="11153" y="6617"/>
                    <a:pt x="10492" y="5955"/>
                    <a:pt x="9673" y="5955"/>
                  </a:cubicBezTo>
                  <a:lnTo>
                    <a:pt x="9673" y="5577"/>
                  </a:lnTo>
                  <a:cubicBezTo>
                    <a:pt x="9673" y="3970"/>
                    <a:pt x="8759" y="2584"/>
                    <a:pt x="7436" y="1923"/>
                  </a:cubicBezTo>
                  <a:cubicBezTo>
                    <a:pt x="7467" y="851"/>
                    <a:pt x="658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29" name="Google Shape;7329;p74"/>
          <p:cNvGrpSpPr/>
          <p:nvPr/>
        </p:nvGrpSpPr>
        <p:grpSpPr>
          <a:xfrm>
            <a:off x="10648440" y="5109012"/>
            <a:ext cx="482664" cy="483080"/>
            <a:chOff x="-52101875" y="2687475"/>
            <a:chExt cx="319025" cy="319300"/>
          </a:xfrm>
        </p:grpSpPr>
        <p:sp>
          <p:nvSpPr>
            <p:cNvPr id="7330" name="Google Shape;7330;p74"/>
            <p:cNvSpPr/>
            <p:nvPr/>
          </p:nvSpPr>
          <p:spPr>
            <a:xfrm>
              <a:off x="-51978200" y="2920300"/>
              <a:ext cx="72475" cy="29750"/>
            </a:xfrm>
            <a:custGeom>
              <a:avLst/>
              <a:gdLst/>
              <a:ahLst/>
              <a:cxnLst/>
              <a:rect l="l" t="t" r="r" b="b"/>
              <a:pathLst>
                <a:path w="2899" h="1190" extrusionOk="0">
                  <a:moveTo>
                    <a:pt x="386" y="1"/>
                  </a:moveTo>
                  <a:cubicBezTo>
                    <a:pt x="292" y="1"/>
                    <a:pt x="205" y="40"/>
                    <a:pt x="158" y="119"/>
                  </a:cubicBezTo>
                  <a:cubicBezTo>
                    <a:pt x="0" y="276"/>
                    <a:pt x="0" y="497"/>
                    <a:pt x="158" y="623"/>
                  </a:cubicBezTo>
                  <a:cubicBezTo>
                    <a:pt x="504" y="969"/>
                    <a:pt x="977" y="1190"/>
                    <a:pt x="1449" y="1190"/>
                  </a:cubicBezTo>
                  <a:cubicBezTo>
                    <a:pt x="1922" y="1190"/>
                    <a:pt x="2426" y="969"/>
                    <a:pt x="2741" y="623"/>
                  </a:cubicBezTo>
                  <a:cubicBezTo>
                    <a:pt x="2899" y="465"/>
                    <a:pt x="2899" y="245"/>
                    <a:pt x="2741" y="119"/>
                  </a:cubicBezTo>
                  <a:cubicBezTo>
                    <a:pt x="2678" y="40"/>
                    <a:pt x="2591" y="1"/>
                    <a:pt x="2501" y="1"/>
                  </a:cubicBezTo>
                  <a:cubicBezTo>
                    <a:pt x="2410" y="1"/>
                    <a:pt x="2316" y="40"/>
                    <a:pt x="2237" y="119"/>
                  </a:cubicBezTo>
                  <a:cubicBezTo>
                    <a:pt x="2048" y="308"/>
                    <a:pt x="1733" y="434"/>
                    <a:pt x="1449" y="434"/>
                  </a:cubicBezTo>
                  <a:cubicBezTo>
                    <a:pt x="1134" y="434"/>
                    <a:pt x="851" y="308"/>
                    <a:pt x="662" y="119"/>
                  </a:cubicBezTo>
                  <a:cubicBezTo>
                    <a:pt x="583" y="40"/>
                    <a:pt x="481"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1" name="Google Shape;7331;p74"/>
            <p:cNvSpPr/>
            <p:nvPr/>
          </p:nvSpPr>
          <p:spPr>
            <a:xfrm>
              <a:off x="-51988450" y="285710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2" name="Google Shape;7332;p74"/>
            <p:cNvSpPr/>
            <p:nvPr/>
          </p:nvSpPr>
          <p:spPr>
            <a:xfrm>
              <a:off x="-51913625" y="28571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3" name="Google Shape;7333;p74"/>
            <p:cNvSpPr/>
            <p:nvPr/>
          </p:nvSpPr>
          <p:spPr>
            <a:xfrm>
              <a:off x="-52101875" y="2687475"/>
              <a:ext cx="319025" cy="319300"/>
            </a:xfrm>
            <a:custGeom>
              <a:avLst/>
              <a:gdLst/>
              <a:ahLst/>
              <a:cxnLst/>
              <a:rect l="l" t="t" r="r" b="b"/>
              <a:pathLst>
                <a:path w="12761" h="12772" extrusionOk="0">
                  <a:moveTo>
                    <a:pt x="788" y="1398"/>
                  </a:moveTo>
                  <a:cubicBezTo>
                    <a:pt x="1324" y="1902"/>
                    <a:pt x="1954" y="2312"/>
                    <a:pt x="2616" y="2564"/>
                  </a:cubicBezTo>
                  <a:cubicBezTo>
                    <a:pt x="2458" y="2942"/>
                    <a:pt x="2364" y="3288"/>
                    <a:pt x="2332" y="3666"/>
                  </a:cubicBezTo>
                  <a:cubicBezTo>
                    <a:pt x="1419" y="3572"/>
                    <a:pt x="788" y="2784"/>
                    <a:pt x="788" y="1871"/>
                  </a:cubicBezTo>
                  <a:lnTo>
                    <a:pt x="788" y="1398"/>
                  </a:lnTo>
                  <a:close/>
                  <a:moveTo>
                    <a:pt x="5294" y="957"/>
                  </a:moveTo>
                  <a:lnTo>
                    <a:pt x="5294" y="3761"/>
                  </a:lnTo>
                  <a:lnTo>
                    <a:pt x="3088" y="3761"/>
                  </a:lnTo>
                  <a:cubicBezTo>
                    <a:pt x="3214" y="2469"/>
                    <a:pt x="4097" y="1366"/>
                    <a:pt x="5294" y="957"/>
                  </a:cubicBezTo>
                  <a:close/>
                  <a:moveTo>
                    <a:pt x="7531" y="957"/>
                  </a:moveTo>
                  <a:cubicBezTo>
                    <a:pt x="8728" y="1366"/>
                    <a:pt x="9578" y="2469"/>
                    <a:pt x="9736" y="3761"/>
                  </a:cubicBezTo>
                  <a:lnTo>
                    <a:pt x="7531" y="3761"/>
                  </a:lnTo>
                  <a:lnTo>
                    <a:pt x="7531" y="957"/>
                  </a:lnTo>
                  <a:close/>
                  <a:moveTo>
                    <a:pt x="12036" y="1429"/>
                  </a:moveTo>
                  <a:lnTo>
                    <a:pt x="12036" y="1902"/>
                  </a:lnTo>
                  <a:cubicBezTo>
                    <a:pt x="12036" y="2816"/>
                    <a:pt x="11343" y="3572"/>
                    <a:pt x="10492" y="3761"/>
                  </a:cubicBezTo>
                  <a:cubicBezTo>
                    <a:pt x="10461" y="3351"/>
                    <a:pt x="10366" y="3005"/>
                    <a:pt x="10208" y="2658"/>
                  </a:cubicBezTo>
                  <a:cubicBezTo>
                    <a:pt x="10870" y="2343"/>
                    <a:pt x="11500" y="1902"/>
                    <a:pt x="12036" y="1429"/>
                  </a:cubicBezTo>
                  <a:close/>
                  <a:moveTo>
                    <a:pt x="6302" y="736"/>
                  </a:moveTo>
                  <a:cubicBezTo>
                    <a:pt x="6428" y="736"/>
                    <a:pt x="6680" y="768"/>
                    <a:pt x="6774" y="768"/>
                  </a:cubicBezTo>
                  <a:lnTo>
                    <a:pt x="6774" y="4107"/>
                  </a:lnTo>
                  <a:cubicBezTo>
                    <a:pt x="6774" y="4296"/>
                    <a:pt x="6932" y="4454"/>
                    <a:pt x="7152" y="4454"/>
                  </a:cubicBezTo>
                  <a:lnTo>
                    <a:pt x="9736" y="4454"/>
                  </a:lnTo>
                  <a:lnTo>
                    <a:pt x="9736" y="5242"/>
                  </a:lnTo>
                  <a:lnTo>
                    <a:pt x="2994" y="5242"/>
                  </a:lnTo>
                  <a:lnTo>
                    <a:pt x="2994" y="4454"/>
                  </a:lnTo>
                  <a:lnTo>
                    <a:pt x="5609" y="4454"/>
                  </a:lnTo>
                  <a:cubicBezTo>
                    <a:pt x="5798" y="4454"/>
                    <a:pt x="5955" y="4296"/>
                    <a:pt x="5955" y="4107"/>
                  </a:cubicBezTo>
                  <a:lnTo>
                    <a:pt x="5955" y="768"/>
                  </a:lnTo>
                  <a:cubicBezTo>
                    <a:pt x="6081" y="768"/>
                    <a:pt x="6207" y="736"/>
                    <a:pt x="6302" y="736"/>
                  </a:cubicBezTo>
                  <a:close/>
                  <a:moveTo>
                    <a:pt x="2301" y="6785"/>
                  </a:moveTo>
                  <a:lnTo>
                    <a:pt x="2301" y="8297"/>
                  </a:lnTo>
                  <a:cubicBezTo>
                    <a:pt x="1891" y="8297"/>
                    <a:pt x="1545" y="7919"/>
                    <a:pt x="1545" y="7541"/>
                  </a:cubicBezTo>
                  <a:cubicBezTo>
                    <a:pt x="1545" y="7132"/>
                    <a:pt x="1891" y="6785"/>
                    <a:pt x="2301" y="6785"/>
                  </a:cubicBezTo>
                  <a:close/>
                  <a:moveTo>
                    <a:pt x="9767" y="6029"/>
                  </a:moveTo>
                  <a:lnTo>
                    <a:pt x="9767" y="8297"/>
                  </a:lnTo>
                  <a:lnTo>
                    <a:pt x="8759" y="8297"/>
                  </a:lnTo>
                  <a:cubicBezTo>
                    <a:pt x="8035" y="7841"/>
                    <a:pt x="7215" y="7612"/>
                    <a:pt x="6400" y="7612"/>
                  </a:cubicBezTo>
                  <a:cubicBezTo>
                    <a:pt x="5585" y="7612"/>
                    <a:pt x="4774" y="7841"/>
                    <a:pt x="4065" y="8297"/>
                  </a:cubicBezTo>
                  <a:lnTo>
                    <a:pt x="3057" y="8297"/>
                  </a:lnTo>
                  <a:lnTo>
                    <a:pt x="3057" y="6029"/>
                  </a:lnTo>
                  <a:close/>
                  <a:moveTo>
                    <a:pt x="10524" y="6785"/>
                  </a:moveTo>
                  <a:cubicBezTo>
                    <a:pt x="10933" y="6785"/>
                    <a:pt x="11280" y="7100"/>
                    <a:pt x="11280" y="7541"/>
                  </a:cubicBezTo>
                  <a:cubicBezTo>
                    <a:pt x="11280" y="7919"/>
                    <a:pt x="10933" y="8297"/>
                    <a:pt x="10524" y="8297"/>
                  </a:cubicBezTo>
                  <a:lnTo>
                    <a:pt x="10524" y="6785"/>
                  </a:lnTo>
                  <a:close/>
                  <a:moveTo>
                    <a:pt x="6381" y="8290"/>
                  </a:moveTo>
                  <a:cubicBezTo>
                    <a:pt x="7089" y="8290"/>
                    <a:pt x="7798" y="8502"/>
                    <a:pt x="8413" y="8928"/>
                  </a:cubicBezTo>
                  <a:cubicBezTo>
                    <a:pt x="8476" y="8959"/>
                    <a:pt x="8507" y="8991"/>
                    <a:pt x="8602" y="8991"/>
                  </a:cubicBezTo>
                  <a:lnTo>
                    <a:pt x="9704" y="8991"/>
                  </a:lnTo>
                  <a:cubicBezTo>
                    <a:pt x="9547" y="10692"/>
                    <a:pt x="8129" y="11984"/>
                    <a:pt x="6396" y="11984"/>
                  </a:cubicBezTo>
                  <a:cubicBezTo>
                    <a:pt x="4664" y="11984"/>
                    <a:pt x="3246" y="10692"/>
                    <a:pt x="3057" y="8991"/>
                  </a:cubicBezTo>
                  <a:lnTo>
                    <a:pt x="4160" y="8991"/>
                  </a:lnTo>
                  <a:cubicBezTo>
                    <a:pt x="4223" y="8991"/>
                    <a:pt x="4317" y="8959"/>
                    <a:pt x="4349" y="8928"/>
                  </a:cubicBezTo>
                  <a:cubicBezTo>
                    <a:pt x="4963" y="8502"/>
                    <a:pt x="5672" y="8290"/>
                    <a:pt x="6381" y="8290"/>
                  </a:cubicBezTo>
                  <a:close/>
                  <a:moveTo>
                    <a:pt x="12402" y="1"/>
                  </a:moveTo>
                  <a:cubicBezTo>
                    <a:pt x="12282" y="1"/>
                    <a:pt x="12165" y="47"/>
                    <a:pt x="12067" y="169"/>
                  </a:cubicBezTo>
                  <a:cubicBezTo>
                    <a:pt x="11563" y="957"/>
                    <a:pt x="10776" y="1587"/>
                    <a:pt x="9862" y="1934"/>
                  </a:cubicBezTo>
                  <a:cubicBezTo>
                    <a:pt x="9106" y="768"/>
                    <a:pt x="7814" y="12"/>
                    <a:pt x="6396" y="12"/>
                  </a:cubicBezTo>
                  <a:cubicBezTo>
                    <a:pt x="4979" y="12"/>
                    <a:pt x="3687" y="768"/>
                    <a:pt x="2931" y="1934"/>
                  </a:cubicBezTo>
                  <a:cubicBezTo>
                    <a:pt x="2017" y="1587"/>
                    <a:pt x="1230" y="957"/>
                    <a:pt x="725" y="169"/>
                  </a:cubicBezTo>
                  <a:cubicBezTo>
                    <a:pt x="647" y="65"/>
                    <a:pt x="504" y="4"/>
                    <a:pt x="368" y="4"/>
                  </a:cubicBezTo>
                  <a:cubicBezTo>
                    <a:pt x="339" y="4"/>
                    <a:pt x="311" y="6"/>
                    <a:pt x="284" y="12"/>
                  </a:cubicBezTo>
                  <a:cubicBezTo>
                    <a:pt x="127" y="43"/>
                    <a:pt x="1" y="201"/>
                    <a:pt x="1" y="358"/>
                  </a:cubicBezTo>
                  <a:lnTo>
                    <a:pt x="1" y="1871"/>
                  </a:lnTo>
                  <a:cubicBezTo>
                    <a:pt x="1" y="3162"/>
                    <a:pt x="1009" y="4265"/>
                    <a:pt x="2269" y="4454"/>
                  </a:cubicBezTo>
                  <a:lnTo>
                    <a:pt x="2269" y="6029"/>
                  </a:lnTo>
                  <a:cubicBezTo>
                    <a:pt x="1419" y="6029"/>
                    <a:pt x="757" y="6722"/>
                    <a:pt x="757" y="7541"/>
                  </a:cubicBezTo>
                  <a:cubicBezTo>
                    <a:pt x="757" y="8360"/>
                    <a:pt x="1419" y="9022"/>
                    <a:pt x="2269" y="9022"/>
                  </a:cubicBezTo>
                  <a:cubicBezTo>
                    <a:pt x="2458" y="11133"/>
                    <a:pt x="4223" y="12771"/>
                    <a:pt x="6365" y="12771"/>
                  </a:cubicBezTo>
                  <a:cubicBezTo>
                    <a:pt x="8476" y="12771"/>
                    <a:pt x="10240" y="11133"/>
                    <a:pt x="10461" y="9022"/>
                  </a:cubicBezTo>
                  <a:cubicBezTo>
                    <a:pt x="11280" y="9022"/>
                    <a:pt x="11941" y="8360"/>
                    <a:pt x="11941" y="7541"/>
                  </a:cubicBezTo>
                  <a:cubicBezTo>
                    <a:pt x="11941" y="6722"/>
                    <a:pt x="11280" y="6029"/>
                    <a:pt x="10461" y="6029"/>
                  </a:cubicBezTo>
                  <a:cubicBezTo>
                    <a:pt x="10524" y="5840"/>
                    <a:pt x="10524" y="4611"/>
                    <a:pt x="10524" y="4454"/>
                  </a:cubicBezTo>
                  <a:cubicBezTo>
                    <a:pt x="11784" y="4265"/>
                    <a:pt x="12760" y="3194"/>
                    <a:pt x="12760" y="1871"/>
                  </a:cubicBezTo>
                  <a:lnTo>
                    <a:pt x="12760" y="358"/>
                  </a:lnTo>
                  <a:cubicBezTo>
                    <a:pt x="12760" y="201"/>
                    <a:pt x="12666" y="43"/>
                    <a:pt x="12508" y="12"/>
                  </a:cubicBezTo>
                  <a:cubicBezTo>
                    <a:pt x="12473" y="5"/>
                    <a:pt x="12438" y="1"/>
                    <a:pt x="124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34" name="Google Shape;7334;p74"/>
          <p:cNvGrpSpPr/>
          <p:nvPr/>
        </p:nvGrpSpPr>
        <p:grpSpPr>
          <a:xfrm>
            <a:off x="8268106" y="2044243"/>
            <a:ext cx="423053" cy="481453"/>
            <a:chOff x="-56774050" y="1904075"/>
            <a:chExt cx="279625" cy="318225"/>
          </a:xfrm>
        </p:grpSpPr>
        <p:sp>
          <p:nvSpPr>
            <p:cNvPr id="7335" name="Google Shape;7335;p74"/>
            <p:cNvSpPr/>
            <p:nvPr/>
          </p:nvSpPr>
          <p:spPr>
            <a:xfrm>
              <a:off x="-56671650" y="2135825"/>
              <a:ext cx="72475" cy="28975"/>
            </a:xfrm>
            <a:custGeom>
              <a:avLst/>
              <a:gdLst/>
              <a:ahLst/>
              <a:cxnLst/>
              <a:rect l="l" t="t" r="r" b="b"/>
              <a:pathLst>
                <a:path w="2899" h="1159" extrusionOk="0">
                  <a:moveTo>
                    <a:pt x="398" y="1"/>
                  </a:moveTo>
                  <a:cubicBezTo>
                    <a:pt x="307" y="1"/>
                    <a:pt x="221" y="40"/>
                    <a:pt x="158" y="119"/>
                  </a:cubicBezTo>
                  <a:cubicBezTo>
                    <a:pt x="0" y="276"/>
                    <a:pt x="0" y="497"/>
                    <a:pt x="158" y="623"/>
                  </a:cubicBezTo>
                  <a:cubicBezTo>
                    <a:pt x="504" y="970"/>
                    <a:pt x="977" y="1159"/>
                    <a:pt x="1449" y="1159"/>
                  </a:cubicBezTo>
                  <a:cubicBezTo>
                    <a:pt x="1922" y="1159"/>
                    <a:pt x="2426" y="970"/>
                    <a:pt x="2741" y="623"/>
                  </a:cubicBezTo>
                  <a:cubicBezTo>
                    <a:pt x="2899" y="465"/>
                    <a:pt x="2899"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8"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6" name="Google Shape;7336;p74"/>
            <p:cNvSpPr/>
            <p:nvPr/>
          </p:nvSpPr>
          <p:spPr>
            <a:xfrm>
              <a:off x="-56774050" y="1904075"/>
              <a:ext cx="279625" cy="318225"/>
            </a:xfrm>
            <a:custGeom>
              <a:avLst/>
              <a:gdLst/>
              <a:ahLst/>
              <a:cxnLst/>
              <a:rect l="l" t="t" r="r" b="b"/>
              <a:pathLst>
                <a:path w="11185" h="12729" extrusionOk="0">
                  <a:moveTo>
                    <a:pt x="5545" y="757"/>
                  </a:moveTo>
                  <a:cubicBezTo>
                    <a:pt x="7278" y="757"/>
                    <a:pt x="8696" y="2048"/>
                    <a:pt x="8885" y="3750"/>
                  </a:cubicBezTo>
                  <a:lnTo>
                    <a:pt x="4789" y="3750"/>
                  </a:lnTo>
                  <a:cubicBezTo>
                    <a:pt x="3056" y="3750"/>
                    <a:pt x="1639" y="2395"/>
                    <a:pt x="1450" y="757"/>
                  </a:cubicBezTo>
                  <a:close/>
                  <a:moveTo>
                    <a:pt x="2710" y="3844"/>
                  </a:moveTo>
                  <a:cubicBezTo>
                    <a:pt x="3277" y="4254"/>
                    <a:pt x="4002" y="4506"/>
                    <a:pt x="4789" y="4506"/>
                  </a:cubicBezTo>
                  <a:lnTo>
                    <a:pt x="8885" y="4506"/>
                  </a:lnTo>
                  <a:lnTo>
                    <a:pt x="8885" y="5608"/>
                  </a:lnTo>
                  <a:cubicBezTo>
                    <a:pt x="8570" y="5356"/>
                    <a:pt x="8192" y="5230"/>
                    <a:pt x="7782" y="5230"/>
                  </a:cubicBezTo>
                  <a:cubicBezTo>
                    <a:pt x="6900" y="5230"/>
                    <a:pt x="6144" y="5860"/>
                    <a:pt x="5986" y="6742"/>
                  </a:cubicBezTo>
                  <a:lnTo>
                    <a:pt x="5167" y="6742"/>
                  </a:lnTo>
                  <a:cubicBezTo>
                    <a:pt x="5010" y="5860"/>
                    <a:pt x="4222" y="5230"/>
                    <a:pt x="3340" y="5230"/>
                  </a:cubicBezTo>
                  <a:cubicBezTo>
                    <a:pt x="2899" y="5230"/>
                    <a:pt x="2552" y="5388"/>
                    <a:pt x="2237" y="5608"/>
                  </a:cubicBezTo>
                  <a:cubicBezTo>
                    <a:pt x="2237" y="4978"/>
                    <a:pt x="2395" y="4380"/>
                    <a:pt x="2710" y="3844"/>
                  </a:cubicBezTo>
                  <a:close/>
                  <a:moveTo>
                    <a:pt x="1450" y="5986"/>
                  </a:moveTo>
                  <a:lnTo>
                    <a:pt x="1450" y="7467"/>
                  </a:lnTo>
                  <a:cubicBezTo>
                    <a:pt x="1432" y="7468"/>
                    <a:pt x="1415" y="7469"/>
                    <a:pt x="1398" y="7469"/>
                  </a:cubicBezTo>
                  <a:cubicBezTo>
                    <a:pt x="984" y="7469"/>
                    <a:pt x="694" y="7106"/>
                    <a:pt x="694" y="6742"/>
                  </a:cubicBezTo>
                  <a:cubicBezTo>
                    <a:pt x="694" y="6333"/>
                    <a:pt x="1009" y="5986"/>
                    <a:pt x="1450" y="5986"/>
                  </a:cubicBezTo>
                  <a:close/>
                  <a:moveTo>
                    <a:pt x="9641" y="5986"/>
                  </a:moveTo>
                  <a:cubicBezTo>
                    <a:pt x="10051" y="5986"/>
                    <a:pt x="10397" y="6301"/>
                    <a:pt x="10397" y="6742"/>
                  </a:cubicBezTo>
                  <a:cubicBezTo>
                    <a:pt x="10397" y="7184"/>
                    <a:pt x="10051" y="7499"/>
                    <a:pt x="9641" y="7499"/>
                  </a:cubicBezTo>
                  <a:lnTo>
                    <a:pt x="9641" y="5986"/>
                  </a:lnTo>
                  <a:close/>
                  <a:moveTo>
                    <a:pt x="3309" y="5986"/>
                  </a:moveTo>
                  <a:cubicBezTo>
                    <a:pt x="3939" y="5986"/>
                    <a:pt x="4411" y="6490"/>
                    <a:pt x="4411" y="7089"/>
                  </a:cubicBezTo>
                  <a:cubicBezTo>
                    <a:pt x="4411" y="7719"/>
                    <a:pt x="3907" y="8192"/>
                    <a:pt x="3309" y="8192"/>
                  </a:cubicBezTo>
                  <a:cubicBezTo>
                    <a:pt x="2678" y="8192"/>
                    <a:pt x="2206" y="7688"/>
                    <a:pt x="2206" y="7089"/>
                  </a:cubicBezTo>
                  <a:cubicBezTo>
                    <a:pt x="2206" y="6459"/>
                    <a:pt x="2710" y="5986"/>
                    <a:pt x="3309" y="5986"/>
                  </a:cubicBezTo>
                  <a:close/>
                  <a:moveTo>
                    <a:pt x="7782" y="6018"/>
                  </a:moveTo>
                  <a:cubicBezTo>
                    <a:pt x="8412" y="6018"/>
                    <a:pt x="8885" y="6553"/>
                    <a:pt x="8885" y="7121"/>
                  </a:cubicBezTo>
                  <a:cubicBezTo>
                    <a:pt x="8885" y="7719"/>
                    <a:pt x="8381" y="8223"/>
                    <a:pt x="7782" y="8223"/>
                  </a:cubicBezTo>
                  <a:cubicBezTo>
                    <a:pt x="7152" y="8223"/>
                    <a:pt x="6680" y="7719"/>
                    <a:pt x="6680" y="7121"/>
                  </a:cubicBezTo>
                  <a:cubicBezTo>
                    <a:pt x="6680" y="6490"/>
                    <a:pt x="7215" y="6018"/>
                    <a:pt x="7782" y="6018"/>
                  </a:cubicBezTo>
                  <a:close/>
                  <a:moveTo>
                    <a:pt x="5955" y="7436"/>
                  </a:moveTo>
                  <a:cubicBezTo>
                    <a:pt x="6112" y="8318"/>
                    <a:pt x="6900" y="8948"/>
                    <a:pt x="7751" y="8948"/>
                  </a:cubicBezTo>
                  <a:cubicBezTo>
                    <a:pt x="8192" y="8948"/>
                    <a:pt x="8538" y="8790"/>
                    <a:pt x="8853" y="8601"/>
                  </a:cubicBezTo>
                  <a:lnTo>
                    <a:pt x="8853" y="8601"/>
                  </a:lnTo>
                  <a:cubicBezTo>
                    <a:pt x="8885" y="10334"/>
                    <a:pt x="7593" y="11783"/>
                    <a:pt x="5892" y="11941"/>
                  </a:cubicBezTo>
                  <a:lnTo>
                    <a:pt x="5892" y="11594"/>
                  </a:lnTo>
                  <a:cubicBezTo>
                    <a:pt x="5892" y="11374"/>
                    <a:pt x="5734" y="11216"/>
                    <a:pt x="5545" y="11216"/>
                  </a:cubicBezTo>
                  <a:cubicBezTo>
                    <a:pt x="5356" y="11216"/>
                    <a:pt x="5199" y="11374"/>
                    <a:pt x="5199" y="11594"/>
                  </a:cubicBezTo>
                  <a:lnTo>
                    <a:pt x="5199" y="11941"/>
                  </a:lnTo>
                  <a:cubicBezTo>
                    <a:pt x="3498" y="11752"/>
                    <a:pt x="2206" y="10334"/>
                    <a:pt x="2206" y="8601"/>
                  </a:cubicBezTo>
                  <a:lnTo>
                    <a:pt x="2206" y="8601"/>
                  </a:lnTo>
                  <a:cubicBezTo>
                    <a:pt x="2521" y="8822"/>
                    <a:pt x="2899" y="8948"/>
                    <a:pt x="3309" y="8948"/>
                  </a:cubicBezTo>
                  <a:cubicBezTo>
                    <a:pt x="4222" y="8948"/>
                    <a:pt x="4947" y="8318"/>
                    <a:pt x="5136" y="7436"/>
                  </a:cubicBezTo>
                  <a:close/>
                  <a:moveTo>
                    <a:pt x="1072" y="0"/>
                  </a:moveTo>
                  <a:cubicBezTo>
                    <a:pt x="851" y="0"/>
                    <a:pt x="725" y="158"/>
                    <a:pt x="725" y="347"/>
                  </a:cubicBezTo>
                  <a:cubicBezTo>
                    <a:pt x="725" y="1576"/>
                    <a:pt x="1229" y="2678"/>
                    <a:pt x="2080" y="3434"/>
                  </a:cubicBezTo>
                  <a:cubicBezTo>
                    <a:pt x="1733" y="3970"/>
                    <a:pt x="1544" y="4569"/>
                    <a:pt x="1513" y="5230"/>
                  </a:cubicBezTo>
                  <a:cubicBezTo>
                    <a:pt x="662" y="5230"/>
                    <a:pt x="0" y="5923"/>
                    <a:pt x="0" y="6742"/>
                  </a:cubicBezTo>
                  <a:cubicBezTo>
                    <a:pt x="0" y="7562"/>
                    <a:pt x="662" y="8223"/>
                    <a:pt x="1513" y="8223"/>
                  </a:cubicBezTo>
                  <a:lnTo>
                    <a:pt x="1513" y="8601"/>
                  </a:lnTo>
                  <a:cubicBezTo>
                    <a:pt x="1513" y="10870"/>
                    <a:pt x="3340" y="12728"/>
                    <a:pt x="5577" y="12728"/>
                  </a:cubicBezTo>
                  <a:cubicBezTo>
                    <a:pt x="7845" y="12728"/>
                    <a:pt x="9673" y="10870"/>
                    <a:pt x="9673" y="8601"/>
                  </a:cubicBezTo>
                  <a:lnTo>
                    <a:pt x="9673" y="8223"/>
                  </a:lnTo>
                  <a:cubicBezTo>
                    <a:pt x="10523" y="8223"/>
                    <a:pt x="11185" y="7562"/>
                    <a:pt x="11185" y="6742"/>
                  </a:cubicBezTo>
                  <a:cubicBezTo>
                    <a:pt x="11153" y="5923"/>
                    <a:pt x="10460" y="5230"/>
                    <a:pt x="9641" y="5230"/>
                  </a:cubicBezTo>
                  <a:lnTo>
                    <a:pt x="9641" y="4128"/>
                  </a:lnTo>
                  <a:cubicBezTo>
                    <a:pt x="9641" y="1859"/>
                    <a:pt x="7782" y="0"/>
                    <a:pt x="554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37" name="Google Shape;7337;p74"/>
          <p:cNvGrpSpPr/>
          <p:nvPr/>
        </p:nvGrpSpPr>
        <p:grpSpPr>
          <a:xfrm>
            <a:off x="8268106" y="2675258"/>
            <a:ext cx="423053" cy="481453"/>
            <a:chOff x="-56774850" y="2294725"/>
            <a:chExt cx="279625" cy="318225"/>
          </a:xfrm>
        </p:grpSpPr>
        <p:sp>
          <p:nvSpPr>
            <p:cNvPr id="7338" name="Google Shape;7338;p74"/>
            <p:cNvSpPr/>
            <p:nvPr/>
          </p:nvSpPr>
          <p:spPr>
            <a:xfrm>
              <a:off x="-56681100"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39" name="Google Shape;7339;p74"/>
            <p:cNvSpPr/>
            <p:nvPr/>
          </p:nvSpPr>
          <p:spPr>
            <a:xfrm>
              <a:off x="-56606275" y="2464075"/>
              <a:ext cx="17325" cy="18125"/>
            </a:xfrm>
            <a:custGeom>
              <a:avLst/>
              <a:gdLst/>
              <a:ahLst/>
              <a:cxnLst/>
              <a:rect l="l" t="t" r="r" b="b"/>
              <a:pathLst>
                <a:path w="693"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0" name="Google Shape;7340;p74"/>
            <p:cNvSpPr/>
            <p:nvPr/>
          </p:nvSpPr>
          <p:spPr>
            <a:xfrm>
              <a:off x="-56774850" y="2294725"/>
              <a:ext cx="279625" cy="318225"/>
            </a:xfrm>
            <a:custGeom>
              <a:avLst/>
              <a:gdLst/>
              <a:ahLst/>
              <a:cxnLst/>
              <a:rect l="l" t="t" r="r" b="b"/>
              <a:pathLst>
                <a:path w="11185" h="12729" extrusionOk="0">
                  <a:moveTo>
                    <a:pt x="5577" y="788"/>
                  </a:moveTo>
                  <a:cubicBezTo>
                    <a:pt x="6775" y="788"/>
                    <a:pt x="7783" y="1198"/>
                    <a:pt x="8665" y="1891"/>
                  </a:cubicBezTo>
                  <a:cubicBezTo>
                    <a:pt x="8098" y="2553"/>
                    <a:pt x="6932" y="3057"/>
                    <a:pt x="5577" y="3057"/>
                  </a:cubicBezTo>
                  <a:cubicBezTo>
                    <a:pt x="4254" y="3057"/>
                    <a:pt x="3057" y="2584"/>
                    <a:pt x="2521" y="1891"/>
                  </a:cubicBezTo>
                  <a:cubicBezTo>
                    <a:pt x="3341" y="1198"/>
                    <a:pt x="4412" y="788"/>
                    <a:pt x="5577" y="788"/>
                  </a:cubicBezTo>
                  <a:close/>
                  <a:moveTo>
                    <a:pt x="5577" y="5325"/>
                  </a:moveTo>
                  <a:lnTo>
                    <a:pt x="8917" y="7341"/>
                  </a:lnTo>
                  <a:lnTo>
                    <a:pt x="8917" y="8633"/>
                  </a:lnTo>
                  <a:cubicBezTo>
                    <a:pt x="8917" y="9830"/>
                    <a:pt x="8350" y="10838"/>
                    <a:pt x="7436" y="11437"/>
                  </a:cubicBezTo>
                  <a:lnTo>
                    <a:pt x="7436" y="9673"/>
                  </a:lnTo>
                  <a:cubicBezTo>
                    <a:pt x="7436" y="9547"/>
                    <a:pt x="7342" y="9421"/>
                    <a:pt x="7247" y="9358"/>
                  </a:cubicBezTo>
                  <a:cubicBezTo>
                    <a:pt x="6727" y="9090"/>
                    <a:pt x="6152" y="8956"/>
                    <a:pt x="5581" y="8956"/>
                  </a:cubicBezTo>
                  <a:cubicBezTo>
                    <a:pt x="5010" y="8956"/>
                    <a:pt x="4443" y="9090"/>
                    <a:pt x="3939" y="9358"/>
                  </a:cubicBezTo>
                  <a:cubicBezTo>
                    <a:pt x="3813" y="9421"/>
                    <a:pt x="3719" y="9547"/>
                    <a:pt x="3719" y="9673"/>
                  </a:cubicBezTo>
                  <a:lnTo>
                    <a:pt x="3719" y="11437"/>
                  </a:lnTo>
                  <a:cubicBezTo>
                    <a:pt x="2836" y="10838"/>
                    <a:pt x="2238" y="9767"/>
                    <a:pt x="2238" y="8633"/>
                  </a:cubicBezTo>
                  <a:lnTo>
                    <a:pt x="2238" y="7341"/>
                  </a:lnTo>
                  <a:lnTo>
                    <a:pt x="5577" y="5325"/>
                  </a:lnTo>
                  <a:close/>
                  <a:moveTo>
                    <a:pt x="5562" y="9736"/>
                  </a:moveTo>
                  <a:cubicBezTo>
                    <a:pt x="5948" y="9736"/>
                    <a:pt x="6333" y="9799"/>
                    <a:pt x="6680" y="9925"/>
                  </a:cubicBezTo>
                  <a:lnTo>
                    <a:pt x="6680" y="11815"/>
                  </a:lnTo>
                  <a:cubicBezTo>
                    <a:pt x="6333" y="11941"/>
                    <a:pt x="5987" y="12036"/>
                    <a:pt x="5577" y="12036"/>
                  </a:cubicBezTo>
                  <a:cubicBezTo>
                    <a:pt x="5199" y="12036"/>
                    <a:pt x="4790" y="11941"/>
                    <a:pt x="4443" y="11815"/>
                  </a:cubicBezTo>
                  <a:lnTo>
                    <a:pt x="4443" y="9925"/>
                  </a:lnTo>
                  <a:cubicBezTo>
                    <a:pt x="4790" y="9799"/>
                    <a:pt x="5176" y="9736"/>
                    <a:pt x="5562" y="9736"/>
                  </a:cubicBezTo>
                  <a:close/>
                  <a:moveTo>
                    <a:pt x="9200" y="2427"/>
                  </a:moveTo>
                  <a:cubicBezTo>
                    <a:pt x="9988" y="3277"/>
                    <a:pt x="10429" y="4411"/>
                    <a:pt x="10429" y="5640"/>
                  </a:cubicBezTo>
                  <a:lnTo>
                    <a:pt x="10429" y="12036"/>
                  </a:lnTo>
                  <a:lnTo>
                    <a:pt x="7940" y="12036"/>
                  </a:lnTo>
                  <a:cubicBezTo>
                    <a:pt x="9011" y="11280"/>
                    <a:pt x="9705" y="10051"/>
                    <a:pt x="9705" y="8633"/>
                  </a:cubicBezTo>
                  <a:lnTo>
                    <a:pt x="9705" y="7152"/>
                  </a:lnTo>
                  <a:cubicBezTo>
                    <a:pt x="9705" y="7026"/>
                    <a:pt x="9642" y="6900"/>
                    <a:pt x="9515" y="6837"/>
                  </a:cubicBezTo>
                  <a:lnTo>
                    <a:pt x="5766" y="4569"/>
                  </a:lnTo>
                  <a:cubicBezTo>
                    <a:pt x="5719" y="4538"/>
                    <a:pt x="5656" y="4522"/>
                    <a:pt x="5589" y="4522"/>
                  </a:cubicBezTo>
                  <a:cubicBezTo>
                    <a:pt x="5522" y="4522"/>
                    <a:pt x="5451" y="4538"/>
                    <a:pt x="5388" y="4569"/>
                  </a:cubicBezTo>
                  <a:lnTo>
                    <a:pt x="1639" y="6837"/>
                  </a:lnTo>
                  <a:cubicBezTo>
                    <a:pt x="1513" y="6900"/>
                    <a:pt x="1450" y="7026"/>
                    <a:pt x="1450" y="7152"/>
                  </a:cubicBezTo>
                  <a:lnTo>
                    <a:pt x="1450" y="8633"/>
                  </a:lnTo>
                  <a:cubicBezTo>
                    <a:pt x="1450" y="10019"/>
                    <a:pt x="2143" y="11280"/>
                    <a:pt x="3214" y="12036"/>
                  </a:cubicBezTo>
                  <a:lnTo>
                    <a:pt x="726" y="12036"/>
                  </a:lnTo>
                  <a:lnTo>
                    <a:pt x="726" y="5640"/>
                  </a:lnTo>
                  <a:cubicBezTo>
                    <a:pt x="726" y="4380"/>
                    <a:pt x="1198" y="3246"/>
                    <a:pt x="1954" y="2427"/>
                  </a:cubicBezTo>
                  <a:cubicBezTo>
                    <a:pt x="2679" y="3246"/>
                    <a:pt x="4034" y="3750"/>
                    <a:pt x="5577" y="3750"/>
                  </a:cubicBezTo>
                  <a:cubicBezTo>
                    <a:pt x="7121" y="3750"/>
                    <a:pt x="8507" y="3246"/>
                    <a:pt x="9200" y="2427"/>
                  </a:cubicBezTo>
                  <a:close/>
                  <a:moveTo>
                    <a:pt x="5577" y="1"/>
                  </a:moveTo>
                  <a:cubicBezTo>
                    <a:pt x="2521" y="1"/>
                    <a:pt x="1" y="2521"/>
                    <a:pt x="1" y="5640"/>
                  </a:cubicBezTo>
                  <a:lnTo>
                    <a:pt x="1" y="12382"/>
                  </a:lnTo>
                  <a:cubicBezTo>
                    <a:pt x="1" y="12571"/>
                    <a:pt x="159" y="12729"/>
                    <a:pt x="348" y="12729"/>
                  </a:cubicBezTo>
                  <a:lnTo>
                    <a:pt x="10776" y="12729"/>
                  </a:lnTo>
                  <a:cubicBezTo>
                    <a:pt x="10965" y="12729"/>
                    <a:pt x="11122" y="12571"/>
                    <a:pt x="11122" y="12382"/>
                  </a:cubicBezTo>
                  <a:lnTo>
                    <a:pt x="11122" y="5640"/>
                  </a:lnTo>
                  <a:cubicBezTo>
                    <a:pt x="11185" y="2584"/>
                    <a:pt x="8665"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41" name="Google Shape;7341;p74"/>
          <p:cNvGrpSpPr/>
          <p:nvPr/>
        </p:nvGrpSpPr>
        <p:grpSpPr>
          <a:xfrm>
            <a:off x="8296115" y="3278703"/>
            <a:ext cx="367037" cy="480243"/>
            <a:chOff x="-56756725" y="2686975"/>
            <a:chExt cx="242600" cy="317425"/>
          </a:xfrm>
        </p:grpSpPr>
        <p:sp>
          <p:nvSpPr>
            <p:cNvPr id="7342" name="Google Shape;7342;p74"/>
            <p:cNvSpPr/>
            <p:nvPr/>
          </p:nvSpPr>
          <p:spPr>
            <a:xfrm>
              <a:off x="-56681100"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3" name="Google Shape;7343;p74"/>
            <p:cNvSpPr/>
            <p:nvPr/>
          </p:nvSpPr>
          <p:spPr>
            <a:xfrm>
              <a:off x="-56606275" y="2854725"/>
              <a:ext cx="17325" cy="18150"/>
            </a:xfrm>
            <a:custGeom>
              <a:avLst/>
              <a:gdLst/>
              <a:ahLst/>
              <a:cxnLst/>
              <a:rect l="l" t="t" r="r" b="b"/>
              <a:pathLst>
                <a:path w="693" h="726" extrusionOk="0">
                  <a:moveTo>
                    <a:pt x="347" y="1"/>
                  </a:moveTo>
                  <a:cubicBezTo>
                    <a:pt x="158" y="1"/>
                    <a:pt x="0" y="190"/>
                    <a:pt x="0" y="379"/>
                  </a:cubicBezTo>
                  <a:cubicBezTo>
                    <a:pt x="0" y="568"/>
                    <a:pt x="158" y="725"/>
                    <a:pt x="347" y="725"/>
                  </a:cubicBezTo>
                  <a:cubicBezTo>
                    <a:pt x="536" y="725"/>
                    <a:pt x="693" y="568"/>
                    <a:pt x="693" y="379"/>
                  </a:cubicBezTo>
                  <a:cubicBezTo>
                    <a:pt x="693"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4" name="Google Shape;7344;p74"/>
            <p:cNvSpPr/>
            <p:nvPr/>
          </p:nvSpPr>
          <p:spPr>
            <a:xfrm>
              <a:off x="-56756725" y="2686975"/>
              <a:ext cx="242600" cy="317425"/>
            </a:xfrm>
            <a:custGeom>
              <a:avLst/>
              <a:gdLst/>
              <a:ahLst/>
              <a:cxnLst/>
              <a:rect l="l" t="t" r="r" b="b"/>
              <a:pathLst>
                <a:path w="9704" h="12697" extrusionOk="0">
                  <a:moveTo>
                    <a:pt x="5955" y="4442"/>
                  </a:moveTo>
                  <a:lnTo>
                    <a:pt x="7058" y="5199"/>
                  </a:lnTo>
                  <a:lnTo>
                    <a:pt x="5798" y="5199"/>
                  </a:lnTo>
                  <a:cubicBezTo>
                    <a:pt x="5924" y="5009"/>
                    <a:pt x="5955" y="4757"/>
                    <a:pt x="5955" y="4442"/>
                  </a:cubicBezTo>
                  <a:close/>
                  <a:moveTo>
                    <a:pt x="3750" y="4127"/>
                  </a:moveTo>
                  <a:lnTo>
                    <a:pt x="3750" y="4127"/>
                  </a:lnTo>
                  <a:cubicBezTo>
                    <a:pt x="3718" y="4253"/>
                    <a:pt x="3718" y="4379"/>
                    <a:pt x="3718" y="4474"/>
                  </a:cubicBezTo>
                  <a:cubicBezTo>
                    <a:pt x="3718" y="4757"/>
                    <a:pt x="3781" y="5009"/>
                    <a:pt x="3876" y="5230"/>
                  </a:cubicBezTo>
                  <a:lnTo>
                    <a:pt x="2363" y="5230"/>
                  </a:lnTo>
                  <a:lnTo>
                    <a:pt x="3750" y="4127"/>
                  </a:lnTo>
                  <a:close/>
                  <a:moveTo>
                    <a:pt x="4821" y="3749"/>
                  </a:moveTo>
                  <a:cubicBezTo>
                    <a:pt x="4947" y="3749"/>
                    <a:pt x="5167" y="4001"/>
                    <a:pt x="5167" y="4474"/>
                  </a:cubicBezTo>
                  <a:cubicBezTo>
                    <a:pt x="5167" y="4946"/>
                    <a:pt x="4947" y="5230"/>
                    <a:pt x="4821" y="5230"/>
                  </a:cubicBezTo>
                  <a:cubicBezTo>
                    <a:pt x="4695" y="5230"/>
                    <a:pt x="4474" y="4946"/>
                    <a:pt x="4474" y="4474"/>
                  </a:cubicBezTo>
                  <a:cubicBezTo>
                    <a:pt x="4474" y="4001"/>
                    <a:pt x="4695" y="3749"/>
                    <a:pt x="4821" y="3749"/>
                  </a:cubicBezTo>
                  <a:close/>
                  <a:moveTo>
                    <a:pt x="6806" y="756"/>
                  </a:moveTo>
                  <a:lnTo>
                    <a:pt x="757" y="5545"/>
                  </a:lnTo>
                  <a:lnTo>
                    <a:pt x="757" y="2584"/>
                  </a:lnTo>
                  <a:cubicBezTo>
                    <a:pt x="725" y="1607"/>
                    <a:pt x="1576" y="756"/>
                    <a:pt x="2616" y="756"/>
                  </a:cubicBezTo>
                  <a:close/>
                  <a:moveTo>
                    <a:pt x="7814" y="914"/>
                  </a:moveTo>
                  <a:cubicBezTo>
                    <a:pt x="8475" y="1166"/>
                    <a:pt x="8948" y="1859"/>
                    <a:pt x="8948" y="2647"/>
                  </a:cubicBezTo>
                  <a:lnTo>
                    <a:pt x="8948" y="5640"/>
                  </a:lnTo>
                  <a:lnTo>
                    <a:pt x="5167" y="2993"/>
                  </a:lnTo>
                  <a:lnTo>
                    <a:pt x="7814" y="914"/>
                  </a:lnTo>
                  <a:close/>
                  <a:moveTo>
                    <a:pt x="8160" y="5955"/>
                  </a:moveTo>
                  <a:lnTo>
                    <a:pt x="8255" y="5986"/>
                  </a:lnTo>
                  <a:lnTo>
                    <a:pt x="8255" y="8633"/>
                  </a:lnTo>
                  <a:lnTo>
                    <a:pt x="8192" y="8633"/>
                  </a:lnTo>
                  <a:cubicBezTo>
                    <a:pt x="8192" y="9767"/>
                    <a:pt x="7625" y="10838"/>
                    <a:pt x="6711" y="11405"/>
                  </a:cubicBezTo>
                  <a:lnTo>
                    <a:pt x="6711" y="9357"/>
                  </a:lnTo>
                  <a:cubicBezTo>
                    <a:pt x="6711" y="9200"/>
                    <a:pt x="6617" y="9105"/>
                    <a:pt x="6522" y="9042"/>
                  </a:cubicBezTo>
                  <a:cubicBezTo>
                    <a:pt x="6002" y="8790"/>
                    <a:pt x="5427" y="8664"/>
                    <a:pt x="4856" y="8664"/>
                  </a:cubicBezTo>
                  <a:cubicBezTo>
                    <a:pt x="4285" y="8664"/>
                    <a:pt x="3718" y="8790"/>
                    <a:pt x="3214" y="9042"/>
                  </a:cubicBezTo>
                  <a:cubicBezTo>
                    <a:pt x="3088" y="9137"/>
                    <a:pt x="2994" y="9263"/>
                    <a:pt x="2994" y="9357"/>
                  </a:cubicBezTo>
                  <a:lnTo>
                    <a:pt x="2994" y="11405"/>
                  </a:lnTo>
                  <a:cubicBezTo>
                    <a:pt x="2111" y="10838"/>
                    <a:pt x="1513" y="9798"/>
                    <a:pt x="1513" y="8633"/>
                  </a:cubicBezTo>
                  <a:lnTo>
                    <a:pt x="1513" y="5955"/>
                  </a:lnTo>
                  <a:close/>
                  <a:moveTo>
                    <a:pt x="4837" y="9428"/>
                  </a:moveTo>
                  <a:cubicBezTo>
                    <a:pt x="5223" y="9428"/>
                    <a:pt x="5608" y="9499"/>
                    <a:pt x="5955" y="9641"/>
                  </a:cubicBezTo>
                  <a:lnTo>
                    <a:pt x="5955" y="11815"/>
                  </a:lnTo>
                  <a:cubicBezTo>
                    <a:pt x="5608" y="11941"/>
                    <a:pt x="5262" y="12004"/>
                    <a:pt x="4852" y="12004"/>
                  </a:cubicBezTo>
                  <a:cubicBezTo>
                    <a:pt x="4474" y="12004"/>
                    <a:pt x="4065" y="11941"/>
                    <a:pt x="3718" y="11815"/>
                  </a:cubicBezTo>
                  <a:lnTo>
                    <a:pt x="3718" y="9641"/>
                  </a:lnTo>
                  <a:cubicBezTo>
                    <a:pt x="4065" y="9499"/>
                    <a:pt x="4451" y="9428"/>
                    <a:pt x="4837" y="9428"/>
                  </a:cubicBezTo>
                  <a:close/>
                  <a:moveTo>
                    <a:pt x="2616" y="0"/>
                  </a:moveTo>
                  <a:cubicBezTo>
                    <a:pt x="1166" y="0"/>
                    <a:pt x="1" y="1166"/>
                    <a:pt x="1" y="2584"/>
                  </a:cubicBezTo>
                  <a:lnTo>
                    <a:pt x="1" y="6333"/>
                  </a:lnTo>
                  <a:cubicBezTo>
                    <a:pt x="1" y="6554"/>
                    <a:pt x="188" y="6698"/>
                    <a:pt x="375" y="6698"/>
                  </a:cubicBezTo>
                  <a:cubicBezTo>
                    <a:pt x="454" y="6698"/>
                    <a:pt x="534" y="6672"/>
                    <a:pt x="599" y="6616"/>
                  </a:cubicBezTo>
                  <a:lnTo>
                    <a:pt x="757" y="6490"/>
                  </a:lnTo>
                  <a:lnTo>
                    <a:pt x="757" y="8601"/>
                  </a:lnTo>
                  <a:cubicBezTo>
                    <a:pt x="757" y="10869"/>
                    <a:pt x="2616" y="12697"/>
                    <a:pt x="4852" y="12697"/>
                  </a:cubicBezTo>
                  <a:cubicBezTo>
                    <a:pt x="7089" y="12697"/>
                    <a:pt x="8948" y="10869"/>
                    <a:pt x="8948" y="8601"/>
                  </a:cubicBezTo>
                  <a:lnTo>
                    <a:pt x="8948" y="6522"/>
                  </a:lnTo>
                  <a:lnTo>
                    <a:pt x="9106" y="6648"/>
                  </a:lnTo>
                  <a:cubicBezTo>
                    <a:pt x="9173" y="6690"/>
                    <a:pt x="9247" y="6710"/>
                    <a:pt x="9320" y="6710"/>
                  </a:cubicBezTo>
                  <a:cubicBezTo>
                    <a:pt x="9518" y="6710"/>
                    <a:pt x="9704" y="6563"/>
                    <a:pt x="9704" y="6333"/>
                  </a:cubicBezTo>
                  <a:lnTo>
                    <a:pt x="9704" y="2584"/>
                  </a:lnTo>
                  <a:cubicBezTo>
                    <a:pt x="9704" y="1166"/>
                    <a:pt x="8507" y="0"/>
                    <a:pt x="70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45" name="Google Shape;7345;p74"/>
          <p:cNvGrpSpPr/>
          <p:nvPr/>
        </p:nvGrpSpPr>
        <p:grpSpPr>
          <a:xfrm>
            <a:off x="6494024" y="3882581"/>
            <a:ext cx="449795" cy="482664"/>
            <a:chOff x="-54826975" y="1903275"/>
            <a:chExt cx="297300" cy="319025"/>
          </a:xfrm>
        </p:grpSpPr>
        <p:sp>
          <p:nvSpPr>
            <p:cNvPr id="7346" name="Google Shape;7346;p74"/>
            <p:cNvSpPr/>
            <p:nvPr/>
          </p:nvSpPr>
          <p:spPr>
            <a:xfrm>
              <a:off x="-54712850" y="2135825"/>
              <a:ext cx="73275" cy="28975"/>
            </a:xfrm>
            <a:custGeom>
              <a:avLst/>
              <a:gdLst/>
              <a:ahLst/>
              <a:cxnLst/>
              <a:rect l="l" t="t" r="r" b="b"/>
              <a:pathLst>
                <a:path w="2931" h="1159" extrusionOk="0">
                  <a:moveTo>
                    <a:pt x="414" y="1"/>
                  </a:moveTo>
                  <a:cubicBezTo>
                    <a:pt x="316" y="1"/>
                    <a:pt x="222" y="40"/>
                    <a:pt x="159" y="119"/>
                  </a:cubicBezTo>
                  <a:cubicBezTo>
                    <a:pt x="1" y="276"/>
                    <a:pt x="1" y="497"/>
                    <a:pt x="159" y="623"/>
                  </a:cubicBezTo>
                  <a:cubicBezTo>
                    <a:pt x="537" y="970"/>
                    <a:pt x="1009" y="1159"/>
                    <a:pt x="1482" y="1159"/>
                  </a:cubicBezTo>
                  <a:cubicBezTo>
                    <a:pt x="1986" y="1159"/>
                    <a:pt x="2458" y="970"/>
                    <a:pt x="2773" y="623"/>
                  </a:cubicBezTo>
                  <a:cubicBezTo>
                    <a:pt x="2931" y="465"/>
                    <a:pt x="2931" y="213"/>
                    <a:pt x="2773" y="119"/>
                  </a:cubicBezTo>
                  <a:cubicBezTo>
                    <a:pt x="2695" y="40"/>
                    <a:pt x="2592" y="1"/>
                    <a:pt x="2498" y="1"/>
                  </a:cubicBezTo>
                  <a:cubicBezTo>
                    <a:pt x="2403" y="1"/>
                    <a:pt x="2317" y="40"/>
                    <a:pt x="2269" y="119"/>
                  </a:cubicBezTo>
                  <a:cubicBezTo>
                    <a:pt x="2049" y="308"/>
                    <a:pt x="1734" y="434"/>
                    <a:pt x="1482" y="434"/>
                  </a:cubicBezTo>
                  <a:cubicBezTo>
                    <a:pt x="1167" y="434"/>
                    <a:pt x="883" y="308"/>
                    <a:pt x="694" y="119"/>
                  </a:cubicBezTo>
                  <a:cubicBezTo>
                    <a:pt x="615" y="40"/>
                    <a:pt x="513"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7" name="Google Shape;7347;p74"/>
            <p:cNvSpPr/>
            <p:nvPr/>
          </p:nvSpPr>
          <p:spPr>
            <a:xfrm>
              <a:off x="-54826975" y="1903275"/>
              <a:ext cx="297300" cy="319025"/>
            </a:xfrm>
            <a:custGeom>
              <a:avLst/>
              <a:gdLst/>
              <a:ahLst/>
              <a:cxnLst/>
              <a:rect l="l" t="t" r="r" b="b"/>
              <a:pathLst>
                <a:path w="11892" h="12761" extrusionOk="0">
                  <a:moveTo>
                    <a:pt x="3400" y="694"/>
                  </a:moveTo>
                  <a:cubicBezTo>
                    <a:pt x="3715" y="694"/>
                    <a:pt x="3999" y="915"/>
                    <a:pt x="4093" y="1167"/>
                  </a:cubicBezTo>
                  <a:cubicBezTo>
                    <a:pt x="2928" y="1797"/>
                    <a:pt x="2046" y="3025"/>
                    <a:pt x="1951" y="4443"/>
                  </a:cubicBezTo>
                  <a:cubicBezTo>
                    <a:pt x="1932" y="4444"/>
                    <a:pt x="1914" y="4445"/>
                    <a:pt x="1895" y="4445"/>
                  </a:cubicBezTo>
                  <a:cubicBezTo>
                    <a:pt x="1481" y="4445"/>
                    <a:pt x="1163" y="4112"/>
                    <a:pt x="1163" y="3750"/>
                  </a:cubicBezTo>
                  <a:cubicBezTo>
                    <a:pt x="1163" y="3498"/>
                    <a:pt x="1258" y="3340"/>
                    <a:pt x="1352" y="3214"/>
                  </a:cubicBezTo>
                  <a:cubicBezTo>
                    <a:pt x="1478" y="3057"/>
                    <a:pt x="1478" y="2868"/>
                    <a:pt x="1352" y="2710"/>
                  </a:cubicBezTo>
                  <a:cubicBezTo>
                    <a:pt x="1258" y="2584"/>
                    <a:pt x="1163" y="2427"/>
                    <a:pt x="1163" y="2206"/>
                  </a:cubicBezTo>
                  <a:cubicBezTo>
                    <a:pt x="1163" y="1797"/>
                    <a:pt x="1478" y="1450"/>
                    <a:pt x="1888" y="1450"/>
                  </a:cubicBezTo>
                  <a:cubicBezTo>
                    <a:pt x="1983" y="1450"/>
                    <a:pt x="2109" y="1450"/>
                    <a:pt x="2172" y="1482"/>
                  </a:cubicBezTo>
                  <a:cubicBezTo>
                    <a:pt x="2216" y="1504"/>
                    <a:pt x="2263" y="1514"/>
                    <a:pt x="2311" y="1514"/>
                  </a:cubicBezTo>
                  <a:cubicBezTo>
                    <a:pt x="2468" y="1514"/>
                    <a:pt x="2627" y="1406"/>
                    <a:pt x="2676" y="1261"/>
                  </a:cubicBezTo>
                  <a:cubicBezTo>
                    <a:pt x="2770" y="946"/>
                    <a:pt x="3085" y="694"/>
                    <a:pt x="3400" y="694"/>
                  </a:cubicBezTo>
                  <a:close/>
                  <a:moveTo>
                    <a:pt x="8504" y="757"/>
                  </a:moveTo>
                  <a:cubicBezTo>
                    <a:pt x="8819" y="757"/>
                    <a:pt x="9166" y="978"/>
                    <a:pt x="9229" y="1293"/>
                  </a:cubicBezTo>
                  <a:cubicBezTo>
                    <a:pt x="9255" y="1448"/>
                    <a:pt x="9430" y="1561"/>
                    <a:pt x="9614" y="1561"/>
                  </a:cubicBezTo>
                  <a:cubicBezTo>
                    <a:pt x="9654" y="1561"/>
                    <a:pt x="9694" y="1556"/>
                    <a:pt x="9733" y="1545"/>
                  </a:cubicBezTo>
                  <a:cubicBezTo>
                    <a:pt x="9827" y="1482"/>
                    <a:pt x="9953" y="1482"/>
                    <a:pt x="10016" y="1482"/>
                  </a:cubicBezTo>
                  <a:cubicBezTo>
                    <a:pt x="10394" y="1482"/>
                    <a:pt x="10772" y="1797"/>
                    <a:pt x="10772" y="2238"/>
                  </a:cubicBezTo>
                  <a:cubicBezTo>
                    <a:pt x="10772" y="2490"/>
                    <a:pt x="10646" y="2647"/>
                    <a:pt x="10552" y="2742"/>
                  </a:cubicBezTo>
                  <a:cubicBezTo>
                    <a:pt x="10457" y="2899"/>
                    <a:pt x="10457" y="3120"/>
                    <a:pt x="10552" y="3277"/>
                  </a:cubicBezTo>
                  <a:cubicBezTo>
                    <a:pt x="10646" y="3372"/>
                    <a:pt x="10772" y="3529"/>
                    <a:pt x="10772" y="3782"/>
                  </a:cubicBezTo>
                  <a:cubicBezTo>
                    <a:pt x="10772" y="4160"/>
                    <a:pt x="10489" y="4475"/>
                    <a:pt x="10079" y="4538"/>
                  </a:cubicBezTo>
                  <a:cubicBezTo>
                    <a:pt x="9985" y="3057"/>
                    <a:pt x="9071" y="1860"/>
                    <a:pt x="7842" y="1230"/>
                  </a:cubicBezTo>
                  <a:cubicBezTo>
                    <a:pt x="7969" y="915"/>
                    <a:pt x="8252" y="757"/>
                    <a:pt x="8504" y="757"/>
                  </a:cubicBezTo>
                  <a:close/>
                  <a:moveTo>
                    <a:pt x="6078" y="1482"/>
                  </a:moveTo>
                  <a:cubicBezTo>
                    <a:pt x="7874" y="1482"/>
                    <a:pt x="9386" y="2994"/>
                    <a:pt x="9386" y="4853"/>
                  </a:cubicBezTo>
                  <a:lnTo>
                    <a:pt x="9386" y="5640"/>
                  </a:lnTo>
                  <a:cubicBezTo>
                    <a:pt x="9071" y="5388"/>
                    <a:pt x="8662" y="5262"/>
                    <a:pt x="8284" y="5262"/>
                  </a:cubicBezTo>
                  <a:cubicBezTo>
                    <a:pt x="7370" y="5262"/>
                    <a:pt x="6614" y="5892"/>
                    <a:pt x="6456" y="6774"/>
                  </a:cubicBezTo>
                  <a:lnTo>
                    <a:pt x="5637" y="6774"/>
                  </a:lnTo>
                  <a:cubicBezTo>
                    <a:pt x="5480" y="5892"/>
                    <a:pt x="4692" y="5262"/>
                    <a:pt x="3841" y="5262"/>
                  </a:cubicBezTo>
                  <a:cubicBezTo>
                    <a:pt x="3400" y="5262"/>
                    <a:pt x="3054" y="5420"/>
                    <a:pt x="2739" y="5640"/>
                  </a:cubicBezTo>
                  <a:lnTo>
                    <a:pt x="2739" y="4853"/>
                  </a:lnTo>
                  <a:cubicBezTo>
                    <a:pt x="2739" y="2994"/>
                    <a:pt x="4219" y="1482"/>
                    <a:pt x="6078" y="1482"/>
                  </a:cubicBezTo>
                  <a:close/>
                  <a:moveTo>
                    <a:pt x="1888" y="6743"/>
                  </a:moveTo>
                  <a:lnTo>
                    <a:pt x="1888" y="7058"/>
                  </a:lnTo>
                  <a:lnTo>
                    <a:pt x="1857" y="7216"/>
                  </a:lnTo>
                  <a:cubicBezTo>
                    <a:pt x="1794" y="7531"/>
                    <a:pt x="1731" y="7877"/>
                    <a:pt x="1699" y="8192"/>
                  </a:cubicBezTo>
                  <a:cubicBezTo>
                    <a:pt x="1384" y="8098"/>
                    <a:pt x="1163" y="7783"/>
                    <a:pt x="1163" y="7468"/>
                  </a:cubicBezTo>
                  <a:cubicBezTo>
                    <a:pt x="1163" y="7090"/>
                    <a:pt x="1478" y="6743"/>
                    <a:pt x="1888" y="6743"/>
                  </a:cubicBezTo>
                  <a:close/>
                  <a:moveTo>
                    <a:pt x="3778" y="5987"/>
                  </a:moveTo>
                  <a:cubicBezTo>
                    <a:pt x="4440" y="5987"/>
                    <a:pt x="4881" y="6491"/>
                    <a:pt x="4881" y="7090"/>
                  </a:cubicBezTo>
                  <a:cubicBezTo>
                    <a:pt x="4881" y="7688"/>
                    <a:pt x="4377" y="8192"/>
                    <a:pt x="3778" y="8192"/>
                  </a:cubicBezTo>
                  <a:cubicBezTo>
                    <a:pt x="3211" y="8192"/>
                    <a:pt x="2676" y="7688"/>
                    <a:pt x="2676" y="7090"/>
                  </a:cubicBezTo>
                  <a:cubicBezTo>
                    <a:pt x="2676" y="6491"/>
                    <a:pt x="3148" y="5987"/>
                    <a:pt x="3778" y="5987"/>
                  </a:cubicBezTo>
                  <a:close/>
                  <a:moveTo>
                    <a:pt x="10142" y="6743"/>
                  </a:moveTo>
                  <a:cubicBezTo>
                    <a:pt x="10520" y="6743"/>
                    <a:pt x="10867" y="7058"/>
                    <a:pt x="10867" y="7468"/>
                  </a:cubicBezTo>
                  <a:cubicBezTo>
                    <a:pt x="10867" y="7846"/>
                    <a:pt x="10646" y="8098"/>
                    <a:pt x="10331" y="8192"/>
                  </a:cubicBezTo>
                  <a:cubicBezTo>
                    <a:pt x="10331" y="7877"/>
                    <a:pt x="10237" y="7531"/>
                    <a:pt x="10174" y="7216"/>
                  </a:cubicBezTo>
                  <a:lnTo>
                    <a:pt x="10142" y="7058"/>
                  </a:lnTo>
                  <a:lnTo>
                    <a:pt x="10142" y="6743"/>
                  </a:lnTo>
                  <a:close/>
                  <a:moveTo>
                    <a:pt x="8337" y="6017"/>
                  </a:moveTo>
                  <a:cubicBezTo>
                    <a:pt x="8912" y="6017"/>
                    <a:pt x="9386" y="6510"/>
                    <a:pt x="9386" y="7121"/>
                  </a:cubicBezTo>
                  <a:cubicBezTo>
                    <a:pt x="9386" y="7751"/>
                    <a:pt x="8882" y="8224"/>
                    <a:pt x="8284" y="8224"/>
                  </a:cubicBezTo>
                  <a:cubicBezTo>
                    <a:pt x="7653" y="8224"/>
                    <a:pt x="7181" y="7720"/>
                    <a:pt x="7181" y="7121"/>
                  </a:cubicBezTo>
                  <a:cubicBezTo>
                    <a:pt x="7181" y="6522"/>
                    <a:pt x="7685" y="6018"/>
                    <a:pt x="8284" y="6018"/>
                  </a:cubicBezTo>
                  <a:cubicBezTo>
                    <a:pt x="8301" y="6017"/>
                    <a:pt x="8319" y="6017"/>
                    <a:pt x="8337" y="6017"/>
                  </a:cubicBezTo>
                  <a:close/>
                  <a:moveTo>
                    <a:pt x="6456" y="7436"/>
                  </a:moveTo>
                  <a:cubicBezTo>
                    <a:pt x="6614" y="8318"/>
                    <a:pt x="7401" y="8948"/>
                    <a:pt x="8284" y="8948"/>
                  </a:cubicBezTo>
                  <a:cubicBezTo>
                    <a:pt x="8788" y="8948"/>
                    <a:pt x="9260" y="8728"/>
                    <a:pt x="9607" y="8381"/>
                  </a:cubicBezTo>
                  <a:lnTo>
                    <a:pt x="9607" y="8381"/>
                  </a:lnTo>
                  <a:cubicBezTo>
                    <a:pt x="9575" y="8476"/>
                    <a:pt x="9575" y="8507"/>
                    <a:pt x="9575" y="8539"/>
                  </a:cubicBezTo>
                  <a:lnTo>
                    <a:pt x="9575" y="8570"/>
                  </a:lnTo>
                  <a:cubicBezTo>
                    <a:pt x="9449" y="10398"/>
                    <a:pt x="7969" y="11973"/>
                    <a:pt x="6047" y="11973"/>
                  </a:cubicBezTo>
                  <a:cubicBezTo>
                    <a:pt x="4062" y="11973"/>
                    <a:pt x="2581" y="10398"/>
                    <a:pt x="2487" y="8570"/>
                  </a:cubicBezTo>
                  <a:lnTo>
                    <a:pt x="2487" y="8539"/>
                  </a:lnTo>
                  <a:lnTo>
                    <a:pt x="2487" y="8381"/>
                  </a:lnTo>
                  <a:cubicBezTo>
                    <a:pt x="2833" y="8728"/>
                    <a:pt x="3306" y="8948"/>
                    <a:pt x="3841" y="8948"/>
                  </a:cubicBezTo>
                  <a:cubicBezTo>
                    <a:pt x="4724" y="8948"/>
                    <a:pt x="5480" y="8318"/>
                    <a:pt x="5637" y="7436"/>
                  </a:cubicBezTo>
                  <a:close/>
                  <a:moveTo>
                    <a:pt x="3400" y="1"/>
                  </a:moveTo>
                  <a:cubicBezTo>
                    <a:pt x="2833" y="1"/>
                    <a:pt x="2361" y="316"/>
                    <a:pt x="2109" y="726"/>
                  </a:cubicBezTo>
                  <a:cubicBezTo>
                    <a:pt x="2041" y="717"/>
                    <a:pt x="1974" y="713"/>
                    <a:pt x="1909" y="713"/>
                  </a:cubicBezTo>
                  <a:cubicBezTo>
                    <a:pt x="784" y="713"/>
                    <a:pt x="1" y="1948"/>
                    <a:pt x="596" y="2931"/>
                  </a:cubicBezTo>
                  <a:cubicBezTo>
                    <a:pt x="470" y="3183"/>
                    <a:pt x="407" y="3403"/>
                    <a:pt x="407" y="3687"/>
                  </a:cubicBezTo>
                  <a:cubicBezTo>
                    <a:pt x="407" y="4506"/>
                    <a:pt x="1069" y="5199"/>
                    <a:pt x="1888" y="5199"/>
                  </a:cubicBezTo>
                  <a:lnTo>
                    <a:pt x="1888" y="5987"/>
                  </a:lnTo>
                  <a:cubicBezTo>
                    <a:pt x="1069" y="5987"/>
                    <a:pt x="407" y="6648"/>
                    <a:pt x="407" y="7468"/>
                  </a:cubicBezTo>
                  <a:cubicBezTo>
                    <a:pt x="407" y="8224"/>
                    <a:pt x="1006" y="8854"/>
                    <a:pt x="1699" y="8980"/>
                  </a:cubicBezTo>
                  <a:cubicBezTo>
                    <a:pt x="1983" y="11028"/>
                    <a:pt x="3715" y="12760"/>
                    <a:pt x="5984" y="12760"/>
                  </a:cubicBezTo>
                  <a:cubicBezTo>
                    <a:pt x="8252" y="12760"/>
                    <a:pt x="10016" y="11028"/>
                    <a:pt x="10300" y="8980"/>
                  </a:cubicBezTo>
                  <a:cubicBezTo>
                    <a:pt x="11024" y="8885"/>
                    <a:pt x="11592" y="8255"/>
                    <a:pt x="11592" y="7468"/>
                  </a:cubicBezTo>
                  <a:cubicBezTo>
                    <a:pt x="11623" y="6648"/>
                    <a:pt x="10961" y="5987"/>
                    <a:pt x="10142" y="5987"/>
                  </a:cubicBezTo>
                  <a:lnTo>
                    <a:pt x="10142" y="5199"/>
                  </a:lnTo>
                  <a:cubicBezTo>
                    <a:pt x="10930" y="5168"/>
                    <a:pt x="11497" y="4475"/>
                    <a:pt x="11497" y="3687"/>
                  </a:cubicBezTo>
                  <a:cubicBezTo>
                    <a:pt x="11497" y="3435"/>
                    <a:pt x="11434" y="3183"/>
                    <a:pt x="11308" y="2962"/>
                  </a:cubicBezTo>
                  <a:cubicBezTo>
                    <a:pt x="11892" y="1970"/>
                    <a:pt x="11150" y="733"/>
                    <a:pt x="10085" y="733"/>
                  </a:cubicBezTo>
                  <a:cubicBezTo>
                    <a:pt x="10001" y="733"/>
                    <a:pt x="9915" y="741"/>
                    <a:pt x="9827" y="757"/>
                  </a:cubicBezTo>
                  <a:cubicBezTo>
                    <a:pt x="9544" y="284"/>
                    <a:pt x="9071" y="1"/>
                    <a:pt x="8504" y="1"/>
                  </a:cubicBezTo>
                  <a:cubicBezTo>
                    <a:pt x="8126" y="1"/>
                    <a:pt x="7779" y="158"/>
                    <a:pt x="7496" y="379"/>
                  </a:cubicBezTo>
                  <a:cubicBezTo>
                    <a:pt x="7338" y="537"/>
                    <a:pt x="7212" y="694"/>
                    <a:pt x="7149" y="915"/>
                  </a:cubicBezTo>
                  <a:cubicBezTo>
                    <a:pt x="6771" y="789"/>
                    <a:pt x="6393" y="726"/>
                    <a:pt x="5984" y="726"/>
                  </a:cubicBezTo>
                  <a:cubicBezTo>
                    <a:pt x="5574" y="726"/>
                    <a:pt x="5165" y="820"/>
                    <a:pt x="4787" y="946"/>
                  </a:cubicBezTo>
                  <a:cubicBezTo>
                    <a:pt x="4534" y="379"/>
                    <a:pt x="4030" y="1"/>
                    <a:pt x="340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48" name="Google Shape;7348;p74"/>
            <p:cNvSpPr/>
            <p:nvPr/>
          </p:nvSpPr>
          <p:spPr>
            <a:xfrm>
              <a:off x="-54722300" y="1997800"/>
              <a:ext cx="92175" cy="17350"/>
            </a:xfrm>
            <a:custGeom>
              <a:avLst/>
              <a:gdLst/>
              <a:ahLst/>
              <a:cxnLst/>
              <a:rect l="l" t="t" r="r" b="b"/>
              <a:pathLst>
                <a:path w="3687" h="694" extrusionOk="0">
                  <a:moveTo>
                    <a:pt x="347" y="1"/>
                  </a:moveTo>
                  <a:cubicBezTo>
                    <a:pt x="158" y="1"/>
                    <a:pt x="1" y="158"/>
                    <a:pt x="1" y="347"/>
                  </a:cubicBezTo>
                  <a:cubicBezTo>
                    <a:pt x="1" y="536"/>
                    <a:pt x="158" y="694"/>
                    <a:pt x="347" y="694"/>
                  </a:cubicBezTo>
                  <a:lnTo>
                    <a:pt x="3340" y="694"/>
                  </a:lnTo>
                  <a:cubicBezTo>
                    <a:pt x="3529" y="694"/>
                    <a:pt x="3687" y="536"/>
                    <a:pt x="3687" y="347"/>
                  </a:cubicBezTo>
                  <a:cubicBezTo>
                    <a:pt x="3687" y="158"/>
                    <a:pt x="3529" y="1"/>
                    <a:pt x="33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49" name="Google Shape;7349;p74"/>
          <p:cNvGrpSpPr/>
          <p:nvPr/>
        </p:nvGrpSpPr>
        <p:grpSpPr>
          <a:xfrm>
            <a:off x="6477609" y="4487199"/>
            <a:ext cx="482625" cy="479032"/>
            <a:chOff x="-54836500" y="2296300"/>
            <a:chExt cx="319000" cy="316625"/>
          </a:xfrm>
        </p:grpSpPr>
        <p:sp>
          <p:nvSpPr>
            <p:cNvPr id="7350" name="Google Shape;7350;p74"/>
            <p:cNvSpPr/>
            <p:nvPr/>
          </p:nvSpPr>
          <p:spPr>
            <a:xfrm>
              <a:off x="-54722300" y="244595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1" name="Google Shape;7351;p74"/>
            <p:cNvSpPr/>
            <p:nvPr/>
          </p:nvSpPr>
          <p:spPr>
            <a:xfrm>
              <a:off x="-54647475" y="244595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2" name="Google Shape;7352;p74"/>
            <p:cNvSpPr/>
            <p:nvPr/>
          </p:nvSpPr>
          <p:spPr>
            <a:xfrm>
              <a:off x="-54712850" y="2508375"/>
              <a:ext cx="73275" cy="29750"/>
            </a:xfrm>
            <a:custGeom>
              <a:avLst/>
              <a:gdLst/>
              <a:ahLst/>
              <a:cxnLst/>
              <a:rect l="l" t="t" r="r" b="b"/>
              <a:pathLst>
                <a:path w="2931" h="1190" extrusionOk="0">
                  <a:moveTo>
                    <a:pt x="414" y="0"/>
                  </a:moveTo>
                  <a:cubicBezTo>
                    <a:pt x="316" y="0"/>
                    <a:pt x="222" y="40"/>
                    <a:pt x="159" y="119"/>
                  </a:cubicBezTo>
                  <a:cubicBezTo>
                    <a:pt x="1" y="276"/>
                    <a:pt x="1" y="528"/>
                    <a:pt x="159" y="654"/>
                  </a:cubicBezTo>
                  <a:cubicBezTo>
                    <a:pt x="537" y="1001"/>
                    <a:pt x="1009" y="1190"/>
                    <a:pt x="1482" y="1190"/>
                  </a:cubicBezTo>
                  <a:cubicBezTo>
                    <a:pt x="1986" y="1190"/>
                    <a:pt x="2458" y="1001"/>
                    <a:pt x="2773" y="654"/>
                  </a:cubicBezTo>
                  <a:cubicBezTo>
                    <a:pt x="2931" y="497"/>
                    <a:pt x="2931" y="245"/>
                    <a:pt x="2773" y="119"/>
                  </a:cubicBezTo>
                  <a:cubicBezTo>
                    <a:pt x="2695" y="40"/>
                    <a:pt x="2592" y="0"/>
                    <a:pt x="2498" y="0"/>
                  </a:cubicBezTo>
                  <a:cubicBezTo>
                    <a:pt x="2403" y="0"/>
                    <a:pt x="2317" y="40"/>
                    <a:pt x="2269" y="119"/>
                  </a:cubicBezTo>
                  <a:cubicBezTo>
                    <a:pt x="2049" y="339"/>
                    <a:pt x="1734" y="434"/>
                    <a:pt x="1482" y="434"/>
                  </a:cubicBezTo>
                  <a:cubicBezTo>
                    <a:pt x="1167" y="434"/>
                    <a:pt x="883" y="339"/>
                    <a:pt x="694" y="119"/>
                  </a:cubicBezTo>
                  <a:cubicBezTo>
                    <a:pt x="615" y="40"/>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3" name="Google Shape;7353;p74"/>
            <p:cNvSpPr/>
            <p:nvPr/>
          </p:nvSpPr>
          <p:spPr>
            <a:xfrm>
              <a:off x="-54836500" y="2296300"/>
              <a:ext cx="319000" cy="316625"/>
            </a:xfrm>
            <a:custGeom>
              <a:avLst/>
              <a:gdLst/>
              <a:ahLst/>
              <a:cxnLst/>
              <a:rect l="l" t="t" r="r" b="b"/>
              <a:pathLst>
                <a:path w="12760" h="12665" extrusionOk="0">
                  <a:moveTo>
                    <a:pt x="5672" y="694"/>
                  </a:moveTo>
                  <a:cubicBezTo>
                    <a:pt x="5577" y="883"/>
                    <a:pt x="5483" y="1167"/>
                    <a:pt x="5388" y="1450"/>
                  </a:cubicBezTo>
                  <a:lnTo>
                    <a:pt x="2742" y="1450"/>
                  </a:lnTo>
                  <a:lnTo>
                    <a:pt x="2427" y="694"/>
                  </a:lnTo>
                  <a:close/>
                  <a:moveTo>
                    <a:pt x="10303" y="694"/>
                  </a:moveTo>
                  <a:lnTo>
                    <a:pt x="10051" y="1450"/>
                  </a:lnTo>
                  <a:lnTo>
                    <a:pt x="7404" y="1450"/>
                  </a:lnTo>
                  <a:cubicBezTo>
                    <a:pt x="7310" y="1167"/>
                    <a:pt x="7215" y="883"/>
                    <a:pt x="7089" y="694"/>
                  </a:cubicBezTo>
                  <a:close/>
                  <a:moveTo>
                    <a:pt x="6428" y="977"/>
                  </a:moveTo>
                  <a:cubicBezTo>
                    <a:pt x="6585" y="1293"/>
                    <a:pt x="6774" y="1734"/>
                    <a:pt x="6774" y="2206"/>
                  </a:cubicBezTo>
                  <a:cubicBezTo>
                    <a:pt x="6774" y="2647"/>
                    <a:pt x="6585" y="3088"/>
                    <a:pt x="6428" y="3403"/>
                  </a:cubicBezTo>
                  <a:cubicBezTo>
                    <a:pt x="6270" y="3088"/>
                    <a:pt x="6050" y="2647"/>
                    <a:pt x="6050" y="2206"/>
                  </a:cubicBezTo>
                  <a:cubicBezTo>
                    <a:pt x="6018" y="1671"/>
                    <a:pt x="6207" y="1230"/>
                    <a:pt x="6428" y="977"/>
                  </a:cubicBezTo>
                  <a:close/>
                  <a:moveTo>
                    <a:pt x="5325" y="2206"/>
                  </a:moveTo>
                  <a:cubicBezTo>
                    <a:pt x="5325" y="2773"/>
                    <a:pt x="5514" y="3309"/>
                    <a:pt x="5735" y="3687"/>
                  </a:cubicBezTo>
                  <a:lnTo>
                    <a:pt x="3655" y="3687"/>
                  </a:lnTo>
                  <a:lnTo>
                    <a:pt x="3057" y="2206"/>
                  </a:lnTo>
                  <a:close/>
                  <a:moveTo>
                    <a:pt x="9799" y="2206"/>
                  </a:moveTo>
                  <a:lnTo>
                    <a:pt x="9169" y="3687"/>
                  </a:lnTo>
                  <a:lnTo>
                    <a:pt x="7121" y="3687"/>
                  </a:lnTo>
                  <a:cubicBezTo>
                    <a:pt x="7310" y="3309"/>
                    <a:pt x="7562" y="2773"/>
                    <a:pt x="7562" y="2206"/>
                  </a:cubicBezTo>
                  <a:close/>
                  <a:moveTo>
                    <a:pt x="9043" y="4380"/>
                  </a:moveTo>
                  <a:lnTo>
                    <a:pt x="9043" y="5136"/>
                  </a:lnTo>
                  <a:cubicBezTo>
                    <a:pt x="9043" y="6837"/>
                    <a:pt x="9515" y="7436"/>
                    <a:pt x="9736" y="8602"/>
                  </a:cubicBezTo>
                  <a:cubicBezTo>
                    <a:pt x="9326" y="10114"/>
                    <a:pt x="7940" y="11185"/>
                    <a:pt x="6428" y="11185"/>
                  </a:cubicBezTo>
                  <a:cubicBezTo>
                    <a:pt x="4852" y="11185"/>
                    <a:pt x="3498" y="10114"/>
                    <a:pt x="3120" y="8602"/>
                  </a:cubicBezTo>
                  <a:cubicBezTo>
                    <a:pt x="3309" y="7436"/>
                    <a:pt x="3781" y="6837"/>
                    <a:pt x="3781" y="5136"/>
                  </a:cubicBezTo>
                  <a:lnTo>
                    <a:pt x="3781" y="4380"/>
                  </a:lnTo>
                  <a:close/>
                  <a:moveTo>
                    <a:pt x="2301" y="2238"/>
                  </a:moveTo>
                  <a:lnTo>
                    <a:pt x="3025" y="4096"/>
                  </a:lnTo>
                  <a:lnTo>
                    <a:pt x="3025" y="5105"/>
                  </a:lnTo>
                  <a:cubicBezTo>
                    <a:pt x="3025" y="6711"/>
                    <a:pt x="2584" y="7184"/>
                    <a:pt x="2364" y="8539"/>
                  </a:cubicBezTo>
                  <a:cubicBezTo>
                    <a:pt x="2301" y="8917"/>
                    <a:pt x="2301" y="9326"/>
                    <a:pt x="2301" y="9704"/>
                  </a:cubicBezTo>
                  <a:lnTo>
                    <a:pt x="2301" y="11595"/>
                  </a:lnTo>
                  <a:lnTo>
                    <a:pt x="2269" y="11595"/>
                  </a:lnTo>
                  <a:lnTo>
                    <a:pt x="1733" y="11217"/>
                  </a:lnTo>
                  <a:cubicBezTo>
                    <a:pt x="1135" y="10807"/>
                    <a:pt x="788" y="10177"/>
                    <a:pt x="788" y="9484"/>
                  </a:cubicBezTo>
                  <a:cubicBezTo>
                    <a:pt x="788" y="8444"/>
                    <a:pt x="1040" y="7404"/>
                    <a:pt x="1513" y="6491"/>
                  </a:cubicBezTo>
                  <a:cubicBezTo>
                    <a:pt x="2017" y="5451"/>
                    <a:pt x="2301" y="4285"/>
                    <a:pt x="2301" y="3088"/>
                  </a:cubicBezTo>
                  <a:lnTo>
                    <a:pt x="2301" y="2238"/>
                  </a:lnTo>
                  <a:close/>
                  <a:moveTo>
                    <a:pt x="10555" y="2269"/>
                  </a:moveTo>
                  <a:lnTo>
                    <a:pt x="10555" y="3151"/>
                  </a:lnTo>
                  <a:cubicBezTo>
                    <a:pt x="10555" y="4317"/>
                    <a:pt x="10838" y="5514"/>
                    <a:pt x="11342" y="6522"/>
                  </a:cubicBezTo>
                  <a:cubicBezTo>
                    <a:pt x="11815" y="7436"/>
                    <a:pt x="12036" y="8507"/>
                    <a:pt x="12036" y="9515"/>
                  </a:cubicBezTo>
                  <a:cubicBezTo>
                    <a:pt x="12004" y="10177"/>
                    <a:pt x="11689" y="10870"/>
                    <a:pt x="11090" y="11217"/>
                  </a:cubicBezTo>
                  <a:lnTo>
                    <a:pt x="10555" y="11595"/>
                  </a:lnTo>
                  <a:lnTo>
                    <a:pt x="10555" y="9767"/>
                  </a:lnTo>
                  <a:cubicBezTo>
                    <a:pt x="10555" y="9358"/>
                    <a:pt x="10523" y="8980"/>
                    <a:pt x="10460" y="8570"/>
                  </a:cubicBezTo>
                  <a:cubicBezTo>
                    <a:pt x="10271" y="7247"/>
                    <a:pt x="9799" y="6774"/>
                    <a:pt x="9799" y="5136"/>
                  </a:cubicBezTo>
                  <a:lnTo>
                    <a:pt x="9799" y="4128"/>
                  </a:lnTo>
                  <a:lnTo>
                    <a:pt x="10555" y="2269"/>
                  </a:lnTo>
                  <a:close/>
                  <a:moveTo>
                    <a:pt x="1859" y="1"/>
                  </a:moveTo>
                  <a:cubicBezTo>
                    <a:pt x="1639" y="1"/>
                    <a:pt x="1481" y="158"/>
                    <a:pt x="1481" y="347"/>
                  </a:cubicBezTo>
                  <a:lnTo>
                    <a:pt x="1481" y="3151"/>
                  </a:lnTo>
                  <a:cubicBezTo>
                    <a:pt x="1481" y="4191"/>
                    <a:pt x="1261" y="5262"/>
                    <a:pt x="788" y="6176"/>
                  </a:cubicBezTo>
                  <a:cubicBezTo>
                    <a:pt x="284" y="7184"/>
                    <a:pt x="1" y="8350"/>
                    <a:pt x="1" y="9484"/>
                  </a:cubicBezTo>
                  <a:cubicBezTo>
                    <a:pt x="1" y="10429"/>
                    <a:pt x="473" y="11280"/>
                    <a:pt x="1261" y="11847"/>
                  </a:cubicBezTo>
                  <a:lnTo>
                    <a:pt x="2395" y="12603"/>
                  </a:lnTo>
                  <a:cubicBezTo>
                    <a:pt x="2463" y="12645"/>
                    <a:pt x="2537" y="12665"/>
                    <a:pt x="2610" y="12665"/>
                  </a:cubicBezTo>
                  <a:cubicBezTo>
                    <a:pt x="2808" y="12665"/>
                    <a:pt x="2994" y="12518"/>
                    <a:pt x="2994" y="12288"/>
                  </a:cubicBezTo>
                  <a:lnTo>
                    <a:pt x="2994" y="10145"/>
                  </a:lnTo>
                  <a:cubicBezTo>
                    <a:pt x="3781" y="11248"/>
                    <a:pt x="5041" y="11878"/>
                    <a:pt x="6365" y="11878"/>
                  </a:cubicBezTo>
                  <a:cubicBezTo>
                    <a:pt x="7719" y="11878"/>
                    <a:pt x="8980" y="11248"/>
                    <a:pt x="9767" y="10145"/>
                  </a:cubicBezTo>
                  <a:lnTo>
                    <a:pt x="9767" y="12288"/>
                  </a:lnTo>
                  <a:cubicBezTo>
                    <a:pt x="9767" y="12521"/>
                    <a:pt x="9941" y="12651"/>
                    <a:pt x="10146" y="12651"/>
                  </a:cubicBezTo>
                  <a:cubicBezTo>
                    <a:pt x="10217" y="12651"/>
                    <a:pt x="10293" y="12635"/>
                    <a:pt x="10366" y="12603"/>
                  </a:cubicBezTo>
                  <a:lnTo>
                    <a:pt x="11500" y="11847"/>
                  </a:lnTo>
                  <a:cubicBezTo>
                    <a:pt x="12288" y="11343"/>
                    <a:pt x="12760" y="10429"/>
                    <a:pt x="12760" y="9484"/>
                  </a:cubicBezTo>
                  <a:cubicBezTo>
                    <a:pt x="12760" y="8350"/>
                    <a:pt x="12477" y="7184"/>
                    <a:pt x="11973" y="6176"/>
                  </a:cubicBezTo>
                  <a:cubicBezTo>
                    <a:pt x="11500" y="5262"/>
                    <a:pt x="11248" y="4159"/>
                    <a:pt x="11248" y="3151"/>
                  </a:cubicBezTo>
                  <a:lnTo>
                    <a:pt x="11248" y="347"/>
                  </a:lnTo>
                  <a:cubicBezTo>
                    <a:pt x="11248" y="158"/>
                    <a:pt x="11090" y="1"/>
                    <a:pt x="109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54" name="Google Shape;7354;p74"/>
          <p:cNvGrpSpPr/>
          <p:nvPr/>
        </p:nvGrpSpPr>
        <p:grpSpPr>
          <a:xfrm>
            <a:off x="6506203" y="5109428"/>
            <a:ext cx="425437" cy="481453"/>
            <a:chOff x="-54817600" y="2687750"/>
            <a:chExt cx="281200" cy="318225"/>
          </a:xfrm>
        </p:grpSpPr>
        <p:sp>
          <p:nvSpPr>
            <p:cNvPr id="7355" name="Google Shape;7355;p74"/>
            <p:cNvSpPr/>
            <p:nvPr/>
          </p:nvSpPr>
          <p:spPr>
            <a:xfrm>
              <a:off x="-54712850" y="2919525"/>
              <a:ext cx="73275" cy="28950"/>
            </a:xfrm>
            <a:custGeom>
              <a:avLst/>
              <a:gdLst/>
              <a:ahLst/>
              <a:cxnLst/>
              <a:rect l="l" t="t" r="r" b="b"/>
              <a:pathLst>
                <a:path w="2931" h="1158" extrusionOk="0">
                  <a:moveTo>
                    <a:pt x="414" y="0"/>
                  </a:moveTo>
                  <a:cubicBezTo>
                    <a:pt x="316" y="0"/>
                    <a:pt x="222" y="39"/>
                    <a:pt x="159" y="118"/>
                  </a:cubicBezTo>
                  <a:cubicBezTo>
                    <a:pt x="1" y="276"/>
                    <a:pt x="1" y="496"/>
                    <a:pt x="159" y="622"/>
                  </a:cubicBezTo>
                  <a:cubicBezTo>
                    <a:pt x="537" y="969"/>
                    <a:pt x="1009" y="1158"/>
                    <a:pt x="1482" y="1158"/>
                  </a:cubicBezTo>
                  <a:cubicBezTo>
                    <a:pt x="1986" y="1158"/>
                    <a:pt x="2458" y="969"/>
                    <a:pt x="2773" y="622"/>
                  </a:cubicBezTo>
                  <a:cubicBezTo>
                    <a:pt x="2931" y="465"/>
                    <a:pt x="2931" y="213"/>
                    <a:pt x="2773" y="118"/>
                  </a:cubicBezTo>
                  <a:cubicBezTo>
                    <a:pt x="2695" y="39"/>
                    <a:pt x="2592" y="0"/>
                    <a:pt x="2498" y="0"/>
                  </a:cubicBezTo>
                  <a:cubicBezTo>
                    <a:pt x="2403" y="0"/>
                    <a:pt x="2317" y="39"/>
                    <a:pt x="2269" y="118"/>
                  </a:cubicBezTo>
                  <a:cubicBezTo>
                    <a:pt x="2049" y="307"/>
                    <a:pt x="1734" y="433"/>
                    <a:pt x="1482" y="433"/>
                  </a:cubicBezTo>
                  <a:cubicBezTo>
                    <a:pt x="1167" y="433"/>
                    <a:pt x="883" y="307"/>
                    <a:pt x="694" y="118"/>
                  </a:cubicBezTo>
                  <a:cubicBezTo>
                    <a:pt x="615" y="39"/>
                    <a:pt x="513" y="0"/>
                    <a:pt x="4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6" name="Google Shape;7356;p74"/>
            <p:cNvSpPr/>
            <p:nvPr/>
          </p:nvSpPr>
          <p:spPr>
            <a:xfrm>
              <a:off x="-54722300" y="28563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7" y="694"/>
                    <a:pt x="694" y="536"/>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7" name="Google Shape;7357;p74"/>
            <p:cNvSpPr/>
            <p:nvPr/>
          </p:nvSpPr>
          <p:spPr>
            <a:xfrm>
              <a:off x="-54647475" y="28563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36" y="694"/>
                    <a:pt x="726" y="536"/>
                    <a:pt x="726" y="347"/>
                  </a:cubicBezTo>
                  <a:cubicBezTo>
                    <a:pt x="726"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58" name="Google Shape;7358;p74"/>
            <p:cNvSpPr/>
            <p:nvPr/>
          </p:nvSpPr>
          <p:spPr>
            <a:xfrm>
              <a:off x="-54817600" y="2687750"/>
              <a:ext cx="281200" cy="318225"/>
            </a:xfrm>
            <a:custGeom>
              <a:avLst/>
              <a:gdLst/>
              <a:ahLst/>
              <a:cxnLst/>
              <a:rect l="l" t="t" r="r" b="b"/>
              <a:pathLst>
                <a:path w="11248" h="12729" extrusionOk="0">
                  <a:moveTo>
                    <a:pt x="5231" y="757"/>
                  </a:moveTo>
                  <a:lnTo>
                    <a:pt x="5231" y="4380"/>
                  </a:lnTo>
                  <a:lnTo>
                    <a:pt x="3782" y="4380"/>
                  </a:lnTo>
                  <a:cubicBezTo>
                    <a:pt x="3817" y="3414"/>
                    <a:pt x="4006" y="2482"/>
                    <a:pt x="4349" y="1765"/>
                  </a:cubicBezTo>
                  <a:cubicBezTo>
                    <a:pt x="4601" y="1261"/>
                    <a:pt x="4916" y="914"/>
                    <a:pt x="5231" y="757"/>
                  </a:cubicBezTo>
                  <a:close/>
                  <a:moveTo>
                    <a:pt x="3970" y="1072"/>
                  </a:moveTo>
                  <a:lnTo>
                    <a:pt x="3970" y="1072"/>
                  </a:lnTo>
                  <a:cubicBezTo>
                    <a:pt x="3876" y="1198"/>
                    <a:pt x="3813" y="1355"/>
                    <a:pt x="3718" y="1450"/>
                  </a:cubicBezTo>
                  <a:cubicBezTo>
                    <a:pt x="3340" y="2238"/>
                    <a:pt x="3088" y="3309"/>
                    <a:pt x="3057" y="4411"/>
                  </a:cubicBezTo>
                  <a:lnTo>
                    <a:pt x="1576" y="4411"/>
                  </a:lnTo>
                  <a:cubicBezTo>
                    <a:pt x="1671" y="2931"/>
                    <a:pt x="2616" y="1670"/>
                    <a:pt x="3970" y="1072"/>
                  </a:cubicBezTo>
                  <a:close/>
                  <a:moveTo>
                    <a:pt x="7310" y="1072"/>
                  </a:moveTo>
                  <a:cubicBezTo>
                    <a:pt x="8665" y="1670"/>
                    <a:pt x="9610" y="2931"/>
                    <a:pt x="9704" y="4411"/>
                  </a:cubicBezTo>
                  <a:lnTo>
                    <a:pt x="8224" y="4411"/>
                  </a:lnTo>
                  <a:cubicBezTo>
                    <a:pt x="8192" y="3309"/>
                    <a:pt x="7940" y="2238"/>
                    <a:pt x="7562" y="1450"/>
                  </a:cubicBezTo>
                  <a:cubicBezTo>
                    <a:pt x="7467" y="1292"/>
                    <a:pt x="7404" y="1198"/>
                    <a:pt x="7310" y="1072"/>
                  </a:cubicBezTo>
                  <a:close/>
                  <a:moveTo>
                    <a:pt x="6018" y="788"/>
                  </a:moveTo>
                  <a:cubicBezTo>
                    <a:pt x="6333" y="946"/>
                    <a:pt x="6648" y="1292"/>
                    <a:pt x="6869" y="1828"/>
                  </a:cubicBezTo>
                  <a:cubicBezTo>
                    <a:pt x="7247" y="2521"/>
                    <a:pt x="7436" y="3435"/>
                    <a:pt x="7467" y="4443"/>
                  </a:cubicBezTo>
                  <a:lnTo>
                    <a:pt x="5987" y="4443"/>
                  </a:lnTo>
                  <a:lnTo>
                    <a:pt x="5987" y="788"/>
                  </a:lnTo>
                  <a:close/>
                  <a:moveTo>
                    <a:pt x="1513" y="6711"/>
                  </a:moveTo>
                  <a:lnTo>
                    <a:pt x="1513" y="8192"/>
                  </a:lnTo>
                  <a:cubicBezTo>
                    <a:pt x="1135" y="8192"/>
                    <a:pt x="788" y="7877"/>
                    <a:pt x="788" y="7436"/>
                  </a:cubicBezTo>
                  <a:cubicBezTo>
                    <a:pt x="788" y="7058"/>
                    <a:pt x="1103" y="6711"/>
                    <a:pt x="1513" y="6711"/>
                  </a:cubicBezTo>
                  <a:close/>
                  <a:moveTo>
                    <a:pt x="9767" y="6711"/>
                  </a:moveTo>
                  <a:cubicBezTo>
                    <a:pt x="10145" y="6711"/>
                    <a:pt x="10492" y="7058"/>
                    <a:pt x="10492" y="7436"/>
                  </a:cubicBezTo>
                  <a:cubicBezTo>
                    <a:pt x="10492" y="7877"/>
                    <a:pt x="10145" y="8192"/>
                    <a:pt x="9767" y="8192"/>
                  </a:cubicBezTo>
                  <a:lnTo>
                    <a:pt x="9767" y="6711"/>
                  </a:lnTo>
                  <a:close/>
                  <a:moveTo>
                    <a:pt x="9043" y="5168"/>
                  </a:moveTo>
                  <a:lnTo>
                    <a:pt x="9043" y="8602"/>
                  </a:lnTo>
                  <a:cubicBezTo>
                    <a:pt x="9011" y="10429"/>
                    <a:pt x="7499" y="11941"/>
                    <a:pt x="5672" y="11941"/>
                  </a:cubicBezTo>
                  <a:cubicBezTo>
                    <a:pt x="3813" y="11941"/>
                    <a:pt x="2301" y="10429"/>
                    <a:pt x="2301" y="8602"/>
                  </a:cubicBezTo>
                  <a:lnTo>
                    <a:pt x="2301" y="5168"/>
                  </a:lnTo>
                  <a:close/>
                  <a:moveTo>
                    <a:pt x="5609" y="1"/>
                  </a:moveTo>
                  <a:cubicBezTo>
                    <a:pt x="2931" y="1"/>
                    <a:pt x="788" y="2175"/>
                    <a:pt x="788" y="4852"/>
                  </a:cubicBezTo>
                  <a:cubicBezTo>
                    <a:pt x="788" y="5041"/>
                    <a:pt x="946" y="5199"/>
                    <a:pt x="1135" y="5199"/>
                  </a:cubicBezTo>
                  <a:lnTo>
                    <a:pt x="1482" y="5199"/>
                  </a:lnTo>
                  <a:lnTo>
                    <a:pt x="1482" y="5987"/>
                  </a:lnTo>
                  <a:cubicBezTo>
                    <a:pt x="662" y="5987"/>
                    <a:pt x="1" y="6648"/>
                    <a:pt x="1" y="7499"/>
                  </a:cubicBezTo>
                  <a:cubicBezTo>
                    <a:pt x="1" y="8318"/>
                    <a:pt x="662" y="8980"/>
                    <a:pt x="1482" y="8980"/>
                  </a:cubicBezTo>
                  <a:cubicBezTo>
                    <a:pt x="1671" y="11059"/>
                    <a:pt x="3466" y="12729"/>
                    <a:pt x="5577" y="12729"/>
                  </a:cubicBezTo>
                  <a:cubicBezTo>
                    <a:pt x="7720" y="12729"/>
                    <a:pt x="9484" y="11059"/>
                    <a:pt x="9673" y="8980"/>
                  </a:cubicBezTo>
                  <a:cubicBezTo>
                    <a:pt x="10492" y="8980"/>
                    <a:pt x="11185" y="8318"/>
                    <a:pt x="11185" y="7499"/>
                  </a:cubicBezTo>
                  <a:cubicBezTo>
                    <a:pt x="11248" y="6648"/>
                    <a:pt x="10586" y="5987"/>
                    <a:pt x="9767" y="5987"/>
                  </a:cubicBezTo>
                  <a:lnTo>
                    <a:pt x="9767" y="5199"/>
                  </a:lnTo>
                  <a:lnTo>
                    <a:pt x="10114" y="5199"/>
                  </a:lnTo>
                  <a:cubicBezTo>
                    <a:pt x="10303" y="5199"/>
                    <a:pt x="10460" y="5041"/>
                    <a:pt x="10460" y="4852"/>
                  </a:cubicBezTo>
                  <a:cubicBezTo>
                    <a:pt x="10460" y="2175"/>
                    <a:pt x="8287" y="1"/>
                    <a:pt x="56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59" name="Google Shape;7359;p74"/>
          <p:cNvGrpSpPr/>
          <p:nvPr/>
        </p:nvGrpSpPr>
        <p:grpSpPr>
          <a:xfrm>
            <a:off x="9480635" y="3882582"/>
            <a:ext cx="423053" cy="479071"/>
            <a:chOff x="-52887125" y="1903275"/>
            <a:chExt cx="279625" cy="316650"/>
          </a:xfrm>
        </p:grpSpPr>
        <p:sp>
          <p:nvSpPr>
            <p:cNvPr id="7360" name="Google Shape;7360;p74"/>
            <p:cNvSpPr/>
            <p:nvPr/>
          </p:nvSpPr>
          <p:spPr>
            <a:xfrm>
              <a:off x="-52783950" y="2135825"/>
              <a:ext cx="73275" cy="28975"/>
            </a:xfrm>
            <a:custGeom>
              <a:avLst/>
              <a:gdLst/>
              <a:ahLst/>
              <a:cxnLst/>
              <a:rect l="l" t="t" r="r" b="b"/>
              <a:pathLst>
                <a:path w="2931" h="1159" extrusionOk="0">
                  <a:moveTo>
                    <a:pt x="398" y="1"/>
                  </a:moveTo>
                  <a:cubicBezTo>
                    <a:pt x="308" y="1"/>
                    <a:pt x="221" y="40"/>
                    <a:pt x="158" y="119"/>
                  </a:cubicBezTo>
                  <a:cubicBezTo>
                    <a:pt x="1" y="276"/>
                    <a:pt x="1" y="497"/>
                    <a:pt x="158" y="623"/>
                  </a:cubicBezTo>
                  <a:cubicBezTo>
                    <a:pt x="505" y="970"/>
                    <a:pt x="977" y="1159"/>
                    <a:pt x="1450" y="1159"/>
                  </a:cubicBezTo>
                  <a:cubicBezTo>
                    <a:pt x="1922" y="1159"/>
                    <a:pt x="2458" y="970"/>
                    <a:pt x="2773" y="623"/>
                  </a:cubicBezTo>
                  <a:cubicBezTo>
                    <a:pt x="2931" y="465"/>
                    <a:pt x="2931" y="213"/>
                    <a:pt x="2773" y="119"/>
                  </a:cubicBezTo>
                  <a:cubicBezTo>
                    <a:pt x="2694" y="40"/>
                    <a:pt x="2592" y="1"/>
                    <a:pt x="2493" y="1"/>
                  </a:cubicBezTo>
                  <a:cubicBezTo>
                    <a:pt x="2395" y="1"/>
                    <a:pt x="2300" y="40"/>
                    <a:pt x="2237" y="119"/>
                  </a:cubicBezTo>
                  <a:cubicBezTo>
                    <a:pt x="2048" y="308"/>
                    <a:pt x="1733" y="434"/>
                    <a:pt x="1450" y="434"/>
                  </a:cubicBezTo>
                  <a:cubicBezTo>
                    <a:pt x="1198" y="434"/>
                    <a:pt x="883"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1" name="Google Shape;7361;p74"/>
            <p:cNvSpPr/>
            <p:nvPr/>
          </p:nvSpPr>
          <p:spPr>
            <a:xfrm>
              <a:off x="-52887125" y="1903275"/>
              <a:ext cx="279625" cy="316650"/>
            </a:xfrm>
            <a:custGeom>
              <a:avLst/>
              <a:gdLst/>
              <a:ahLst/>
              <a:cxnLst/>
              <a:rect l="l" t="t" r="r" b="b"/>
              <a:pathLst>
                <a:path w="11185" h="12666" extrusionOk="0">
                  <a:moveTo>
                    <a:pt x="5545" y="2238"/>
                  </a:moveTo>
                  <a:cubicBezTo>
                    <a:pt x="5986" y="2238"/>
                    <a:pt x="6427" y="2332"/>
                    <a:pt x="6806" y="2490"/>
                  </a:cubicBezTo>
                  <a:cubicBezTo>
                    <a:pt x="6049" y="3687"/>
                    <a:pt x="4726" y="4443"/>
                    <a:pt x="3308" y="4443"/>
                  </a:cubicBezTo>
                  <a:lnTo>
                    <a:pt x="2407" y="4443"/>
                  </a:lnTo>
                  <a:cubicBezTo>
                    <a:pt x="2887" y="3168"/>
                    <a:pt x="4108" y="2238"/>
                    <a:pt x="5545" y="2238"/>
                  </a:cubicBezTo>
                  <a:close/>
                  <a:moveTo>
                    <a:pt x="5577" y="757"/>
                  </a:moveTo>
                  <a:cubicBezTo>
                    <a:pt x="7877" y="757"/>
                    <a:pt x="9799" y="2364"/>
                    <a:pt x="10303" y="4475"/>
                  </a:cubicBezTo>
                  <a:cubicBezTo>
                    <a:pt x="10240" y="4475"/>
                    <a:pt x="10145" y="4443"/>
                    <a:pt x="10082" y="4443"/>
                  </a:cubicBezTo>
                  <a:cubicBezTo>
                    <a:pt x="9893" y="4443"/>
                    <a:pt x="9736" y="4475"/>
                    <a:pt x="9578" y="4569"/>
                  </a:cubicBezTo>
                  <a:cubicBezTo>
                    <a:pt x="9137" y="2742"/>
                    <a:pt x="7467" y="1450"/>
                    <a:pt x="5577" y="1450"/>
                  </a:cubicBezTo>
                  <a:cubicBezTo>
                    <a:pt x="3655" y="1450"/>
                    <a:pt x="2048" y="2805"/>
                    <a:pt x="1607" y="4569"/>
                  </a:cubicBezTo>
                  <a:cubicBezTo>
                    <a:pt x="1450" y="4475"/>
                    <a:pt x="1292" y="4443"/>
                    <a:pt x="1103" y="4443"/>
                  </a:cubicBezTo>
                  <a:cubicBezTo>
                    <a:pt x="1009" y="4443"/>
                    <a:pt x="946" y="4443"/>
                    <a:pt x="851" y="4475"/>
                  </a:cubicBezTo>
                  <a:cubicBezTo>
                    <a:pt x="1324" y="2364"/>
                    <a:pt x="3277" y="757"/>
                    <a:pt x="5577" y="757"/>
                  </a:cubicBezTo>
                  <a:close/>
                  <a:moveTo>
                    <a:pt x="7530" y="2868"/>
                  </a:moveTo>
                  <a:cubicBezTo>
                    <a:pt x="8381" y="3466"/>
                    <a:pt x="8948" y="4475"/>
                    <a:pt x="8948" y="5640"/>
                  </a:cubicBezTo>
                  <a:lnTo>
                    <a:pt x="8948" y="6050"/>
                  </a:lnTo>
                  <a:lnTo>
                    <a:pt x="2206" y="6050"/>
                  </a:lnTo>
                  <a:lnTo>
                    <a:pt x="2206" y="6018"/>
                  </a:lnTo>
                  <a:lnTo>
                    <a:pt x="2206" y="5577"/>
                  </a:lnTo>
                  <a:cubicBezTo>
                    <a:pt x="2206" y="5483"/>
                    <a:pt x="2206" y="5357"/>
                    <a:pt x="2237" y="5231"/>
                  </a:cubicBezTo>
                  <a:lnTo>
                    <a:pt x="3340" y="5231"/>
                  </a:lnTo>
                  <a:cubicBezTo>
                    <a:pt x="4285" y="5231"/>
                    <a:pt x="5167" y="4947"/>
                    <a:pt x="5955" y="4475"/>
                  </a:cubicBezTo>
                  <a:cubicBezTo>
                    <a:pt x="6585" y="4097"/>
                    <a:pt x="7121" y="3529"/>
                    <a:pt x="7530" y="2868"/>
                  </a:cubicBezTo>
                  <a:close/>
                  <a:moveTo>
                    <a:pt x="10082" y="5231"/>
                  </a:moveTo>
                  <a:cubicBezTo>
                    <a:pt x="10271" y="5231"/>
                    <a:pt x="10429" y="5388"/>
                    <a:pt x="10429" y="5577"/>
                  </a:cubicBezTo>
                  <a:lnTo>
                    <a:pt x="10429" y="7877"/>
                  </a:lnTo>
                  <a:cubicBezTo>
                    <a:pt x="10429" y="8066"/>
                    <a:pt x="10271" y="8224"/>
                    <a:pt x="10082" y="8224"/>
                  </a:cubicBezTo>
                  <a:cubicBezTo>
                    <a:pt x="9893" y="8224"/>
                    <a:pt x="9736" y="8066"/>
                    <a:pt x="9736" y="7877"/>
                  </a:cubicBezTo>
                  <a:lnTo>
                    <a:pt x="9736" y="5577"/>
                  </a:lnTo>
                  <a:cubicBezTo>
                    <a:pt x="9736" y="5388"/>
                    <a:pt x="9893" y="5231"/>
                    <a:pt x="10082" y="5231"/>
                  </a:cubicBezTo>
                  <a:close/>
                  <a:moveTo>
                    <a:pt x="1103" y="5262"/>
                  </a:moveTo>
                  <a:cubicBezTo>
                    <a:pt x="1292" y="5262"/>
                    <a:pt x="1450" y="5420"/>
                    <a:pt x="1450" y="5640"/>
                  </a:cubicBezTo>
                  <a:lnTo>
                    <a:pt x="1450" y="7909"/>
                  </a:lnTo>
                  <a:cubicBezTo>
                    <a:pt x="1450" y="8066"/>
                    <a:pt x="1292" y="8255"/>
                    <a:pt x="1103" y="8255"/>
                  </a:cubicBezTo>
                  <a:cubicBezTo>
                    <a:pt x="914" y="8255"/>
                    <a:pt x="757" y="8098"/>
                    <a:pt x="757" y="7909"/>
                  </a:cubicBezTo>
                  <a:lnTo>
                    <a:pt x="757" y="5640"/>
                  </a:lnTo>
                  <a:cubicBezTo>
                    <a:pt x="757" y="5420"/>
                    <a:pt x="914" y="5262"/>
                    <a:pt x="1103" y="5262"/>
                  </a:cubicBezTo>
                  <a:close/>
                  <a:moveTo>
                    <a:pt x="5199" y="6774"/>
                  </a:moveTo>
                  <a:cubicBezTo>
                    <a:pt x="5199" y="7594"/>
                    <a:pt x="4537" y="8255"/>
                    <a:pt x="3687" y="8255"/>
                  </a:cubicBezTo>
                  <a:cubicBezTo>
                    <a:pt x="2867" y="8255"/>
                    <a:pt x="2206" y="7594"/>
                    <a:pt x="2206" y="6774"/>
                  </a:cubicBezTo>
                  <a:close/>
                  <a:moveTo>
                    <a:pt x="8948" y="6774"/>
                  </a:moveTo>
                  <a:cubicBezTo>
                    <a:pt x="8948" y="7594"/>
                    <a:pt x="8255" y="8255"/>
                    <a:pt x="7436" y="8255"/>
                  </a:cubicBezTo>
                  <a:cubicBezTo>
                    <a:pt x="6617" y="8255"/>
                    <a:pt x="5955" y="7594"/>
                    <a:pt x="5955" y="6774"/>
                  </a:cubicBezTo>
                  <a:close/>
                  <a:moveTo>
                    <a:pt x="5545" y="8035"/>
                  </a:moveTo>
                  <a:cubicBezTo>
                    <a:pt x="5955" y="8633"/>
                    <a:pt x="6648" y="9011"/>
                    <a:pt x="7404" y="9011"/>
                  </a:cubicBezTo>
                  <a:cubicBezTo>
                    <a:pt x="8003" y="9011"/>
                    <a:pt x="8507" y="8822"/>
                    <a:pt x="8885" y="8413"/>
                  </a:cubicBezTo>
                  <a:lnTo>
                    <a:pt x="8885" y="8476"/>
                  </a:lnTo>
                  <a:cubicBezTo>
                    <a:pt x="8948" y="10272"/>
                    <a:pt x="7593" y="11815"/>
                    <a:pt x="5892" y="11973"/>
                  </a:cubicBezTo>
                  <a:cubicBezTo>
                    <a:pt x="5782" y="11983"/>
                    <a:pt x="5673" y="11988"/>
                    <a:pt x="5565" y="11988"/>
                  </a:cubicBezTo>
                  <a:cubicBezTo>
                    <a:pt x="3672" y="11988"/>
                    <a:pt x="2206" y="10452"/>
                    <a:pt x="2206" y="8633"/>
                  </a:cubicBezTo>
                  <a:lnTo>
                    <a:pt x="2206" y="8413"/>
                  </a:lnTo>
                  <a:cubicBezTo>
                    <a:pt x="2584" y="8791"/>
                    <a:pt x="3119" y="9011"/>
                    <a:pt x="3687" y="9011"/>
                  </a:cubicBezTo>
                  <a:cubicBezTo>
                    <a:pt x="4474" y="9011"/>
                    <a:pt x="5167" y="8633"/>
                    <a:pt x="5545" y="8035"/>
                  </a:cubicBezTo>
                  <a:close/>
                  <a:moveTo>
                    <a:pt x="5577" y="1"/>
                  </a:moveTo>
                  <a:cubicBezTo>
                    <a:pt x="2489" y="1"/>
                    <a:pt x="0" y="2521"/>
                    <a:pt x="0" y="5577"/>
                  </a:cubicBezTo>
                  <a:lnTo>
                    <a:pt x="0" y="7877"/>
                  </a:lnTo>
                  <a:cubicBezTo>
                    <a:pt x="0" y="8507"/>
                    <a:pt x="505" y="8980"/>
                    <a:pt x="1103" y="8980"/>
                  </a:cubicBezTo>
                  <a:cubicBezTo>
                    <a:pt x="1229" y="8980"/>
                    <a:pt x="1387" y="8948"/>
                    <a:pt x="1481" y="8885"/>
                  </a:cubicBezTo>
                  <a:cubicBezTo>
                    <a:pt x="1639" y="10996"/>
                    <a:pt x="3372" y="12666"/>
                    <a:pt x="5577" y="12666"/>
                  </a:cubicBezTo>
                  <a:lnTo>
                    <a:pt x="5986" y="12666"/>
                  </a:lnTo>
                  <a:cubicBezTo>
                    <a:pt x="7940" y="12477"/>
                    <a:pt x="9452" y="10870"/>
                    <a:pt x="9641" y="8885"/>
                  </a:cubicBezTo>
                  <a:cubicBezTo>
                    <a:pt x="9767" y="8948"/>
                    <a:pt x="9925" y="8980"/>
                    <a:pt x="10051" y="8980"/>
                  </a:cubicBezTo>
                  <a:cubicBezTo>
                    <a:pt x="10681" y="8980"/>
                    <a:pt x="11153" y="8476"/>
                    <a:pt x="11153" y="7877"/>
                  </a:cubicBezTo>
                  <a:lnTo>
                    <a:pt x="11153" y="5577"/>
                  </a:lnTo>
                  <a:cubicBezTo>
                    <a:pt x="11185" y="2521"/>
                    <a:pt x="8664" y="1"/>
                    <a:pt x="557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62" name="Google Shape;7362;p74"/>
          <p:cNvGrpSpPr/>
          <p:nvPr/>
        </p:nvGrpSpPr>
        <p:grpSpPr>
          <a:xfrm>
            <a:off x="9452040" y="4483645"/>
            <a:ext cx="480243" cy="482625"/>
            <a:chOff x="-52906025" y="2293950"/>
            <a:chExt cx="317425" cy="319000"/>
          </a:xfrm>
        </p:grpSpPr>
        <p:sp>
          <p:nvSpPr>
            <p:cNvPr id="7363" name="Google Shape;7363;p74"/>
            <p:cNvSpPr/>
            <p:nvPr/>
          </p:nvSpPr>
          <p:spPr>
            <a:xfrm>
              <a:off x="-52783950" y="2526500"/>
              <a:ext cx="73275" cy="29750"/>
            </a:xfrm>
            <a:custGeom>
              <a:avLst/>
              <a:gdLst/>
              <a:ahLst/>
              <a:cxnLst/>
              <a:rect l="l" t="t" r="r" b="b"/>
              <a:pathLst>
                <a:path w="2931" h="1190" extrusionOk="0">
                  <a:moveTo>
                    <a:pt x="398" y="0"/>
                  </a:moveTo>
                  <a:cubicBezTo>
                    <a:pt x="308" y="0"/>
                    <a:pt x="221" y="39"/>
                    <a:pt x="158" y="118"/>
                  </a:cubicBezTo>
                  <a:cubicBezTo>
                    <a:pt x="1" y="276"/>
                    <a:pt x="1" y="496"/>
                    <a:pt x="158" y="622"/>
                  </a:cubicBezTo>
                  <a:cubicBezTo>
                    <a:pt x="505" y="969"/>
                    <a:pt x="977" y="1189"/>
                    <a:pt x="1450" y="1189"/>
                  </a:cubicBezTo>
                  <a:cubicBezTo>
                    <a:pt x="1922" y="1189"/>
                    <a:pt x="2458" y="969"/>
                    <a:pt x="2773" y="622"/>
                  </a:cubicBezTo>
                  <a:cubicBezTo>
                    <a:pt x="2931" y="465"/>
                    <a:pt x="2931" y="244"/>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4" name="Google Shape;7364;p74"/>
            <p:cNvSpPr/>
            <p:nvPr/>
          </p:nvSpPr>
          <p:spPr>
            <a:xfrm>
              <a:off x="-52718575" y="2463275"/>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5" name="Google Shape;7365;p74"/>
            <p:cNvSpPr/>
            <p:nvPr/>
          </p:nvSpPr>
          <p:spPr>
            <a:xfrm>
              <a:off x="-52906025" y="2293950"/>
              <a:ext cx="317425" cy="319000"/>
            </a:xfrm>
            <a:custGeom>
              <a:avLst/>
              <a:gdLst/>
              <a:ahLst/>
              <a:cxnLst/>
              <a:rect l="l" t="t" r="r" b="b"/>
              <a:pathLst>
                <a:path w="12697" h="12760" extrusionOk="0">
                  <a:moveTo>
                    <a:pt x="6333" y="788"/>
                  </a:moveTo>
                  <a:cubicBezTo>
                    <a:pt x="7877" y="788"/>
                    <a:pt x="9231" y="1607"/>
                    <a:pt x="9609" y="2773"/>
                  </a:cubicBezTo>
                  <a:cubicBezTo>
                    <a:pt x="8633" y="2458"/>
                    <a:pt x="7530" y="2300"/>
                    <a:pt x="6333" y="2300"/>
                  </a:cubicBezTo>
                  <a:cubicBezTo>
                    <a:pt x="5167" y="2300"/>
                    <a:pt x="4064" y="2458"/>
                    <a:pt x="3088" y="2773"/>
                  </a:cubicBezTo>
                  <a:cubicBezTo>
                    <a:pt x="3434" y="1607"/>
                    <a:pt x="4758" y="788"/>
                    <a:pt x="6333" y="788"/>
                  </a:cubicBezTo>
                  <a:close/>
                  <a:moveTo>
                    <a:pt x="6301" y="3025"/>
                  </a:moveTo>
                  <a:cubicBezTo>
                    <a:pt x="9515" y="3025"/>
                    <a:pt x="11941" y="4285"/>
                    <a:pt x="11941" y="5640"/>
                  </a:cubicBezTo>
                  <a:cubicBezTo>
                    <a:pt x="11941" y="5986"/>
                    <a:pt x="11783" y="6270"/>
                    <a:pt x="11594" y="6553"/>
                  </a:cubicBezTo>
                  <a:cubicBezTo>
                    <a:pt x="11311" y="6238"/>
                    <a:pt x="10901" y="6018"/>
                    <a:pt x="10429" y="6018"/>
                  </a:cubicBezTo>
                  <a:lnTo>
                    <a:pt x="10429" y="5671"/>
                  </a:lnTo>
                  <a:cubicBezTo>
                    <a:pt x="10429" y="5514"/>
                    <a:pt x="10365" y="5388"/>
                    <a:pt x="10208" y="5325"/>
                  </a:cubicBezTo>
                  <a:cubicBezTo>
                    <a:pt x="10113" y="5262"/>
                    <a:pt x="8444" y="4537"/>
                    <a:pt x="6301" y="4537"/>
                  </a:cubicBezTo>
                  <a:cubicBezTo>
                    <a:pt x="4254" y="4537"/>
                    <a:pt x="2552" y="5230"/>
                    <a:pt x="2426" y="5325"/>
                  </a:cubicBezTo>
                  <a:cubicBezTo>
                    <a:pt x="2269" y="5356"/>
                    <a:pt x="2174" y="5514"/>
                    <a:pt x="2174" y="5671"/>
                  </a:cubicBezTo>
                  <a:lnTo>
                    <a:pt x="2174" y="6018"/>
                  </a:lnTo>
                  <a:cubicBezTo>
                    <a:pt x="1733" y="6018"/>
                    <a:pt x="1292" y="6238"/>
                    <a:pt x="1040" y="6553"/>
                  </a:cubicBezTo>
                  <a:cubicBezTo>
                    <a:pt x="851" y="6301"/>
                    <a:pt x="693" y="5986"/>
                    <a:pt x="693" y="5640"/>
                  </a:cubicBezTo>
                  <a:cubicBezTo>
                    <a:pt x="693" y="4285"/>
                    <a:pt x="3119" y="3025"/>
                    <a:pt x="6301" y="3025"/>
                  </a:cubicBezTo>
                  <a:close/>
                  <a:moveTo>
                    <a:pt x="6364" y="5230"/>
                  </a:moveTo>
                  <a:cubicBezTo>
                    <a:pt x="6585" y="5230"/>
                    <a:pt x="6805" y="5230"/>
                    <a:pt x="7026" y="5262"/>
                  </a:cubicBezTo>
                  <a:cubicBezTo>
                    <a:pt x="6270" y="6616"/>
                    <a:pt x="4821" y="7498"/>
                    <a:pt x="3245" y="7498"/>
                  </a:cubicBezTo>
                  <a:lnTo>
                    <a:pt x="2930" y="7498"/>
                  </a:lnTo>
                  <a:cubicBezTo>
                    <a:pt x="2962" y="7341"/>
                    <a:pt x="2962" y="6049"/>
                    <a:pt x="2962" y="5860"/>
                  </a:cubicBezTo>
                  <a:cubicBezTo>
                    <a:pt x="3466" y="5671"/>
                    <a:pt x="4821" y="5230"/>
                    <a:pt x="6364" y="5230"/>
                  </a:cubicBezTo>
                  <a:close/>
                  <a:moveTo>
                    <a:pt x="2206" y="6742"/>
                  </a:moveTo>
                  <a:lnTo>
                    <a:pt x="2206" y="8223"/>
                  </a:lnTo>
                  <a:cubicBezTo>
                    <a:pt x="1765" y="8223"/>
                    <a:pt x="1450" y="7908"/>
                    <a:pt x="1450" y="7498"/>
                  </a:cubicBezTo>
                  <a:cubicBezTo>
                    <a:pt x="1450" y="7089"/>
                    <a:pt x="1765" y="6742"/>
                    <a:pt x="2206" y="6742"/>
                  </a:cubicBezTo>
                  <a:close/>
                  <a:moveTo>
                    <a:pt x="10429" y="6742"/>
                  </a:moveTo>
                  <a:cubicBezTo>
                    <a:pt x="10838" y="6742"/>
                    <a:pt x="11185" y="7057"/>
                    <a:pt x="11185" y="7498"/>
                  </a:cubicBezTo>
                  <a:cubicBezTo>
                    <a:pt x="11185" y="7908"/>
                    <a:pt x="10870" y="8223"/>
                    <a:pt x="10429" y="8223"/>
                  </a:cubicBezTo>
                  <a:lnTo>
                    <a:pt x="10429" y="6742"/>
                  </a:lnTo>
                  <a:close/>
                  <a:moveTo>
                    <a:pt x="7845" y="5356"/>
                  </a:moveTo>
                  <a:cubicBezTo>
                    <a:pt x="8696" y="5514"/>
                    <a:pt x="9420" y="5766"/>
                    <a:pt x="9767" y="5860"/>
                  </a:cubicBezTo>
                  <a:lnTo>
                    <a:pt x="9767" y="8601"/>
                  </a:lnTo>
                  <a:cubicBezTo>
                    <a:pt x="9735" y="10491"/>
                    <a:pt x="8160" y="12004"/>
                    <a:pt x="6333" y="12004"/>
                  </a:cubicBezTo>
                  <a:cubicBezTo>
                    <a:pt x="4506" y="12004"/>
                    <a:pt x="2962" y="10428"/>
                    <a:pt x="2962" y="8601"/>
                  </a:cubicBezTo>
                  <a:lnTo>
                    <a:pt x="2962" y="8223"/>
                  </a:lnTo>
                  <a:lnTo>
                    <a:pt x="3277" y="8223"/>
                  </a:lnTo>
                  <a:cubicBezTo>
                    <a:pt x="5293" y="8223"/>
                    <a:pt x="7026" y="7057"/>
                    <a:pt x="7845" y="5356"/>
                  </a:cubicBezTo>
                  <a:close/>
                  <a:moveTo>
                    <a:pt x="6364" y="0"/>
                  </a:moveTo>
                  <a:cubicBezTo>
                    <a:pt x="4254" y="0"/>
                    <a:pt x="2458" y="1292"/>
                    <a:pt x="2269" y="3025"/>
                  </a:cubicBezTo>
                  <a:cubicBezTo>
                    <a:pt x="1103" y="3560"/>
                    <a:pt x="0" y="4379"/>
                    <a:pt x="0" y="5640"/>
                  </a:cubicBezTo>
                  <a:cubicBezTo>
                    <a:pt x="0" y="6238"/>
                    <a:pt x="284" y="6774"/>
                    <a:pt x="756" y="7246"/>
                  </a:cubicBezTo>
                  <a:cubicBezTo>
                    <a:pt x="599" y="8160"/>
                    <a:pt x="1292" y="8979"/>
                    <a:pt x="2206" y="8979"/>
                  </a:cubicBezTo>
                  <a:cubicBezTo>
                    <a:pt x="2426" y="11059"/>
                    <a:pt x="4191" y="12760"/>
                    <a:pt x="6301" y="12760"/>
                  </a:cubicBezTo>
                  <a:cubicBezTo>
                    <a:pt x="8475" y="12760"/>
                    <a:pt x="10239" y="11059"/>
                    <a:pt x="10397" y="8979"/>
                  </a:cubicBezTo>
                  <a:cubicBezTo>
                    <a:pt x="11216" y="8979"/>
                    <a:pt x="11909" y="8318"/>
                    <a:pt x="11909" y="7498"/>
                  </a:cubicBezTo>
                  <a:lnTo>
                    <a:pt x="11909" y="7246"/>
                  </a:lnTo>
                  <a:cubicBezTo>
                    <a:pt x="12445" y="6774"/>
                    <a:pt x="12697" y="6238"/>
                    <a:pt x="12697" y="5640"/>
                  </a:cubicBezTo>
                  <a:cubicBezTo>
                    <a:pt x="12697" y="4411"/>
                    <a:pt x="11531" y="3529"/>
                    <a:pt x="10429" y="3025"/>
                  </a:cubicBezTo>
                  <a:cubicBezTo>
                    <a:pt x="10239" y="1292"/>
                    <a:pt x="8444" y="0"/>
                    <a:pt x="63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66" name="Google Shape;7366;p74"/>
          <p:cNvGrpSpPr/>
          <p:nvPr/>
        </p:nvGrpSpPr>
        <p:grpSpPr>
          <a:xfrm>
            <a:off x="9480635" y="5108256"/>
            <a:ext cx="423053" cy="481453"/>
            <a:chOff x="-52887125" y="2686975"/>
            <a:chExt cx="279625" cy="318225"/>
          </a:xfrm>
        </p:grpSpPr>
        <p:sp>
          <p:nvSpPr>
            <p:cNvPr id="7367" name="Google Shape;7367;p74"/>
            <p:cNvSpPr/>
            <p:nvPr/>
          </p:nvSpPr>
          <p:spPr>
            <a:xfrm>
              <a:off x="-52783950" y="2919525"/>
              <a:ext cx="73275" cy="28950"/>
            </a:xfrm>
            <a:custGeom>
              <a:avLst/>
              <a:gdLst/>
              <a:ahLst/>
              <a:cxnLst/>
              <a:rect l="l" t="t" r="r" b="b"/>
              <a:pathLst>
                <a:path w="2931" h="1158" extrusionOk="0">
                  <a:moveTo>
                    <a:pt x="398" y="0"/>
                  </a:moveTo>
                  <a:cubicBezTo>
                    <a:pt x="308" y="0"/>
                    <a:pt x="221" y="39"/>
                    <a:pt x="158" y="118"/>
                  </a:cubicBezTo>
                  <a:cubicBezTo>
                    <a:pt x="1" y="276"/>
                    <a:pt x="1" y="496"/>
                    <a:pt x="158" y="622"/>
                  </a:cubicBezTo>
                  <a:cubicBezTo>
                    <a:pt x="505" y="969"/>
                    <a:pt x="977" y="1158"/>
                    <a:pt x="1450" y="1158"/>
                  </a:cubicBezTo>
                  <a:cubicBezTo>
                    <a:pt x="1922" y="1158"/>
                    <a:pt x="2458" y="969"/>
                    <a:pt x="2773" y="622"/>
                  </a:cubicBezTo>
                  <a:cubicBezTo>
                    <a:pt x="2931" y="465"/>
                    <a:pt x="2931" y="213"/>
                    <a:pt x="2773" y="118"/>
                  </a:cubicBezTo>
                  <a:cubicBezTo>
                    <a:pt x="2694" y="39"/>
                    <a:pt x="2592" y="0"/>
                    <a:pt x="2493" y="0"/>
                  </a:cubicBezTo>
                  <a:cubicBezTo>
                    <a:pt x="2395" y="0"/>
                    <a:pt x="2300" y="39"/>
                    <a:pt x="2237" y="118"/>
                  </a:cubicBezTo>
                  <a:cubicBezTo>
                    <a:pt x="2048" y="307"/>
                    <a:pt x="1733" y="433"/>
                    <a:pt x="1450" y="433"/>
                  </a:cubicBezTo>
                  <a:cubicBezTo>
                    <a:pt x="1198"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8" name="Google Shape;7368;p74"/>
            <p:cNvSpPr/>
            <p:nvPr/>
          </p:nvSpPr>
          <p:spPr>
            <a:xfrm>
              <a:off x="-52793400"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69" name="Google Shape;7369;p74"/>
            <p:cNvSpPr/>
            <p:nvPr/>
          </p:nvSpPr>
          <p:spPr>
            <a:xfrm>
              <a:off x="-52718575" y="28547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0" name="Google Shape;7370;p74"/>
            <p:cNvSpPr/>
            <p:nvPr/>
          </p:nvSpPr>
          <p:spPr>
            <a:xfrm>
              <a:off x="-52887125" y="2686975"/>
              <a:ext cx="279625" cy="318225"/>
            </a:xfrm>
            <a:custGeom>
              <a:avLst/>
              <a:gdLst/>
              <a:ahLst/>
              <a:cxnLst/>
              <a:rect l="l" t="t" r="r" b="b"/>
              <a:pathLst>
                <a:path w="11185" h="12729" extrusionOk="0">
                  <a:moveTo>
                    <a:pt x="5577" y="756"/>
                  </a:moveTo>
                  <a:cubicBezTo>
                    <a:pt x="7404" y="756"/>
                    <a:pt x="8885" y="2206"/>
                    <a:pt x="8948" y="3970"/>
                  </a:cubicBezTo>
                  <a:cubicBezTo>
                    <a:pt x="8192" y="2899"/>
                    <a:pt x="6963" y="2206"/>
                    <a:pt x="5577" y="2206"/>
                  </a:cubicBezTo>
                  <a:cubicBezTo>
                    <a:pt x="4222" y="2206"/>
                    <a:pt x="2993" y="2899"/>
                    <a:pt x="2237" y="3970"/>
                  </a:cubicBezTo>
                  <a:cubicBezTo>
                    <a:pt x="2269" y="2174"/>
                    <a:pt x="3781" y="756"/>
                    <a:pt x="5577" y="756"/>
                  </a:cubicBezTo>
                  <a:close/>
                  <a:moveTo>
                    <a:pt x="5604" y="2993"/>
                  </a:moveTo>
                  <a:cubicBezTo>
                    <a:pt x="7435" y="2993"/>
                    <a:pt x="8886" y="4462"/>
                    <a:pt x="8948" y="6270"/>
                  </a:cubicBezTo>
                  <a:cubicBezTo>
                    <a:pt x="8696" y="5860"/>
                    <a:pt x="8412" y="5514"/>
                    <a:pt x="8066" y="5199"/>
                  </a:cubicBezTo>
                  <a:cubicBezTo>
                    <a:pt x="7089" y="4253"/>
                    <a:pt x="5797" y="3749"/>
                    <a:pt x="4443" y="3749"/>
                  </a:cubicBezTo>
                  <a:cubicBezTo>
                    <a:pt x="4065" y="3749"/>
                    <a:pt x="3687" y="3781"/>
                    <a:pt x="3308" y="3844"/>
                  </a:cubicBezTo>
                  <a:cubicBezTo>
                    <a:pt x="3907" y="3308"/>
                    <a:pt x="4695" y="2993"/>
                    <a:pt x="5545" y="2993"/>
                  </a:cubicBezTo>
                  <a:cubicBezTo>
                    <a:pt x="5565" y="2993"/>
                    <a:pt x="5584" y="2993"/>
                    <a:pt x="5604" y="2993"/>
                  </a:cubicBezTo>
                  <a:close/>
                  <a:moveTo>
                    <a:pt x="1450" y="6742"/>
                  </a:moveTo>
                  <a:lnTo>
                    <a:pt x="1450" y="8223"/>
                  </a:lnTo>
                  <a:cubicBezTo>
                    <a:pt x="1072" y="8223"/>
                    <a:pt x="694" y="7876"/>
                    <a:pt x="694" y="7467"/>
                  </a:cubicBezTo>
                  <a:cubicBezTo>
                    <a:pt x="694" y="7089"/>
                    <a:pt x="1072" y="6742"/>
                    <a:pt x="1450" y="6742"/>
                  </a:cubicBezTo>
                  <a:close/>
                  <a:moveTo>
                    <a:pt x="9673" y="6742"/>
                  </a:moveTo>
                  <a:cubicBezTo>
                    <a:pt x="10082" y="6742"/>
                    <a:pt x="10429" y="7057"/>
                    <a:pt x="10429" y="7467"/>
                  </a:cubicBezTo>
                  <a:cubicBezTo>
                    <a:pt x="10429" y="7876"/>
                    <a:pt x="10082" y="8223"/>
                    <a:pt x="9673" y="8223"/>
                  </a:cubicBezTo>
                  <a:lnTo>
                    <a:pt x="9673" y="6742"/>
                  </a:lnTo>
                  <a:close/>
                  <a:moveTo>
                    <a:pt x="4443" y="4442"/>
                  </a:moveTo>
                  <a:cubicBezTo>
                    <a:pt x="6837" y="4442"/>
                    <a:pt x="8822" y="6333"/>
                    <a:pt x="8948" y="8727"/>
                  </a:cubicBezTo>
                  <a:cubicBezTo>
                    <a:pt x="8822" y="10554"/>
                    <a:pt x="7373" y="11972"/>
                    <a:pt x="5577" y="11972"/>
                  </a:cubicBezTo>
                  <a:cubicBezTo>
                    <a:pt x="3750" y="11972"/>
                    <a:pt x="2237" y="10428"/>
                    <a:pt x="2237" y="8570"/>
                  </a:cubicBezTo>
                  <a:lnTo>
                    <a:pt x="2237" y="6333"/>
                  </a:lnTo>
                  <a:cubicBezTo>
                    <a:pt x="2237" y="5829"/>
                    <a:pt x="2363" y="5325"/>
                    <a:pt x="2552" y="4883"/>
                  </a:cubicBezTo>
                  <a:cubicBezTo>
                    <a:pt x="3151" y="4600"/>
                    <a:pt x="3781" y="4442"/>
                    <a:pt x="4443" y="4442"/>
                  </a:cubicBezTo>
                  <a:close/>
                  <a:moveTo>
                    <a:pt x="5608" y="0"/>
                  </a:moveTo>
                  <a:cubicBezTo>
                    <a:pt x="3340" y="0"/>
                    <a:pt x="1513" y="1827"/>
                    <a:pt x="1513" y="4096"/>
                  </a:cubicBezTo>
                  <a:lnTo>
                    <a:pt x="1513" y="5986"/>
                  </a:lnTo>
                  <a:cubicBezTo>
                    <a:pt x="662" y="5986"/>
                    <a:pt x="0" y="6648"/>
                    <a:pt x="0" y="7467"/>
                  </a:cubicBezTo>
                  <a:cubicBezTo>
                    <a:pt x="0" y="8317"/>
                    <a:pt x="662" y="8979"/>
                    <a:pt x="1513" y="8979"/>
                  </a:cubicBezTo>
                  <a:cubicBezTo>
                    <a:pt x="1702" y="11058"/>
                    <a:pt x="3435" y="12728"/>
                    <a:pt x="5608" y="12728"/>
                  </a:cubicBezTo>
                  <a:cubicBezTo>
                    <a:pt x="7751" y="12728"/>
                    <a:pt x="9483" y="11058"/>
                    <a:pt x="9673" y="8979"/>
                  </a:cubicBezTo>
                  <a:cubicBezTo>
                    <a:pt x="10523" y="8979"/>
                    <a:pt x="11185" y="8317"/>
                    <a:pt x="11185" y="7467"/>
                  </a:cubicBezTo>
                  <a:cubicBezTo>
                    <a:pt x="11185" y="6648"/>
                    <a:pt x="10523" y="5986"/>
                    <a:pt x="9673" y="5986"/>
                  </a:cubicBezTo>
                  <a:lnTo>
                    <a:pt x="9673" y="4096"/>
                  </a:lnTo>
                  <a:cubicBezTo>
                    <a:pt x="9673" y="1859"/>
                    <a:pt x="7845" y="0"/>
                    <a:pt x="56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71" name="Google Shape;7371;p74"/>
          <p:cNvGrpSpPr/>
          <p:nvPr/>
        </p:nvGrpSpPr>
        <p:grpSpPr>
          <a:xfrm>
            <a:off x="8294464" y="5721081"/>
            <a:ext cx="424227" cy="479071"/>
            <a:chOff x="-51722225" y="1915100"/>
            <a:chExt cx="280400" cy="316650"/>
          </a:xfrm>
        </p:grpSpPr>
        <p:sp>
          <p:nvSpPr>
            <p:cNvPr id="7372" name="Google Shape;7372;p74"/>
            <p:cNvSpPr/>
            <p:nvPr/>
          </p:nvSpPr>
          <p:spPr>
            <a:xfrm>
              <a:off x="-51618275" y="2146075"/>
              <a:ext cx="73275" cy="29750"/>
            </a:xfrm>
            <a:custGeom>
              <a:avLst/>
              <a:gdLst/>
              <a:ahLst/>
              <a:cxnLst/>
              <a:rect l="l" t="t" r="r" b="b"/>
              <a:pathLst>
                <a:path w="2931" h="1190" extrusionOk="0">
                  <a:moveTo>
                    <a:pt x="410" y="0"/>
                  </a:moveTo>
                  <a:cubicBezTo>
                    <a:pt x="316" y="0"/>
                    <a:pt x="221" y="40"/>
                    <a:pt x="158" y="118"/>
                  </a:cubicBezTo>
                  <a:cubicBezTo>
                    <a:pt x="1" y="276"/>
                    <a:pt x="1" y="528"/>
                    <a:pt x="158" y="654"/>
                  </a:cubicBezTo>
                  <a:cubicBezTo>
                    <a:pt x="505" y="1001"/>
                    <a:pt x="978" y="1190"/>
                    <a:pt x="1450" y="1190"/>
                  </a:cubicBezTo>
                  <a:cubicBezTo>
                    <a:pt x="1923" y="1190"/>
                    <a:pt x="2458" y="1001"/>
                    <a:pt x="2773" y="654"/>
                  </a:cubicBezTo>
                  <a:cubicBezTo>
                    <a:pt x="2931" y="496"/>
                    <a:pt x="2931" y="244"/>
                    <a:pt x="2773" y="118"/>
                  </a:cubicBezTo>
                  <a:cubicBezTo>
                    <a:pt x="2710" y="40"/>
                    <a:pt x="2616" y="0"/>
                    <a:pt x="2517" y="0"/>
                  </a:cubicBezTo>
                  <a:cubicBezTo>
                    <a:pt x="2419" y="0"/>
                    <a:pt x="2317" y="40"/>
                    <a:pt x="2238" y="118"/>
                  </a:cubicBezTo>
                  <a:cubicBezTo>
                    <a:pt x="2049" y="339"/>
                    <a:pt x="1734" y="433"/>
                    <a:pt x="1450" y="433"/>
                  </a:cubicBezTo>
                  <a:cubicBezTo>
                    <a:pt x="1198" y="433"/>
                    <a:pt x="883" y="339"/>
                    <a:pt x="663" y="118"/>
                  </a:cubicBezTo>
                  <a:cubicBezTo>
                    <a:pt x="600" y="40"/>
                    <a:pt x="505"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3" name="Google Shape;7373;p74"/>
            <p:cNvSpPr/>
            <p:nvPr/>
          </p:nvSpPr>
          <p:spPr>
            <a:xfrm>
              <a:off x="-51627725"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4" name="Google Shape;7374;p74"/>
            <p:cNvSpPr/>
            <p:nvPr/>
          </p:nvSpPr>
          <p:spPr>
            <a:xfrm>
              <a:off x="-51552900" y="2082075"/>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5" name="Google Shape;7375;p74"/>
            <p:cNvSpPr/>
            <p:nvPr/>
          </p:nvSpPr>
          <p:spPr>
            <a:xfrm>
              <a:off x="-51722225" y="1915100"/>
              <a:ext cx="280400" cy="316650"/>
            </a:xfrm>
            <a:custGeom>
              <a:avLst/>
              <a:gdLst/>
              <a:ahLst/>
              <a:cxnLst/>
              <a:rect l="l" t="t" r="r" b="b"/>
              <a:pathLst>
                <a:path w="11216" h="12666" extrusionOk="0">
                  <a:moveTo>
                    <a:pt x="5608" y="662"/>
                  </a:moveTo>
                  <a:cubicBezTo>
                    <a:pt x="5766" y="662"/>
                    <a:pt x="6081" y="914"/>
                    <a:pt x="6333" y="1544"/>
                  </a:cubicBezTo>
                  <a:cubicBezTo>
                    <a:pt x="6585" y="2111"/>
                    <a:pt x="6679" y="2867"/>
                    <a:pt x="6711" y="3655"/>
                  </a:cubicBezTo>
                  <a:lnTo>
                    <a:pt x="4505" y="3655"/>
                  </a:lnTo>
                  <a:cubicBezTo>
                    <a:pt x="4568" y="2836"/>
                    <a:pt x="4663" y="2080"/>
                    <a:pt x="4915" y="1544"/>
                  </a:cubicBezTo>
                  <a:cubicBezTo>
                    <a:pt x="5199" y="914"/>
                    <a:pt x="5451" y="662"/>
                    <a:pt x="5608" y="662"/>
                  </a:cubicBezTo>
                  <a:close/>
                  <a:moveTo>
                    <a:pt x="4411" y="946"/>
                  </a:moveTo>
                  <a:lnTo>
                    <a:pt x="4411" y="946"/>
                  </a:lnTo>
                  <a:cubicBezTo>
                    <a:pt x="4348" y="1072"/>
                    <a:pt x="4285" y="1166"/>
                    <a:pt x="4253" y="1292"/>
                  </a:cubicBezTo>
                  <a:cubicBezTo>
                    <a:pt x="3970" y="1954"/>
                    <a:pt x="3812" y="2804"/>
                    <a:pt x="3781" y="3687"/>
                  </a:cubicBezTo>
                  <a:lnTo>
                    <a:pt x="2269" y="3687"/>
                  </a:lnTo>
                  <a:cubicBezTo>
                    <a:pt x="2426" y="2426"/>
                    <a:pt x="3245" y="1387"/>
                    <a:pt x="4411" y="946"/>
                  </a:cubicBezTo>
                  <a:close/>
                  <a:moveTo>
                    <a:pt x="6837" y="946"/>
                  </a:moveTo>
                  <a:cubicBezTo>
                    <a:pt x="8034" y="1387"/>
                    <a:pt x="8853" y="2426"/>
                    <a:pt x="8979" y="3687"/>
                  </a:cubicBezTo>
                  <a:lnTo>
                    <a:pt x="7467" y="3687"/>
                  </a:lnTo>
                  <a:cubicBezTo>
                    <a:pt x="7435" y="2804"/>
                    <a:pt x="7278" y="1954"/>
                    <a:pt x="6994" y="1292"/>
                  </a:cubicBezTo>
                  <a:cubicBezTo>
                    <a:pt x="6963" y="1166"/>
                    <a:pt x="6868" y="1072"/>
                    <a:pt x="6837" y="946"/>
                  </a:cubicBezTo>
                  <a:close/>
                  <a:moveTo>
                    <a:pt x="9357" y="4443"/>
                  </a:moveTo>
                  <a:cubicBezTo>
                    <a:pt x="9830" y="4443"/>
                    <a:pt x="10271" y="4758"/>
                    <a:pt x="10428" y="5199"/>
                  </a:cubicBezTo>
                  <a:lnTo>
                    <a:pt x="851" y="5199"/>
                  </a:lnTo>
                  <a:cubicBezTo>
                    <a:pt x="1008" y="4758"/>
                    <a:pt x="1418" y="4443"/>
                    <a:pt x="1922" y="4443"/>
                  </a:cubicBezTo>
                  <a:close/>
                  <a:moveTo>
                    <a:pt x="1512" y="6680"/>
                  </a:moveTo>
                  <a:lnTo>
                    <a:pt x="1512" y="8192"/>
                  </a:lnTo>
                  <a:cubicBezTo>
                    <a:pt x="1134" y="8192"/>
                    <a:pt x="788" y="7814"/>
                    <a:pt x="788" y="7436"/>
                  </a:cubicBezTo>
                  <a:cubicBezTo>
                    <a:pt x="788" y="7058"/>
                    <a:pt x="1134" y="6680"/>
                    <a:pt x="1512" y="6680"/>
                  </a:cubicBezTo>
                  <a:close/>
                  <a:moveTo>
                    <a:pt x="9767" y="6680"/>
                  </a:moveTo>
                  <a:cubicBezTo>
                    <a:pt x="10145" y="6680"/>
                    <a:pt x="10491" y="6995"/>
                    <a:pt x="10491" y="7436"/>
                  </a:cubicBezTo>
                  <a:cubicBezTo>
                    <a:pt x="10460" y="7814"/>
                    <a:pt x="10145" y="8192"/>
                    <a:pt x="9767" y="8192"/>
                  </a:cubicBezTo>
                  <a:lnTo>
                    <a:pt x="9767" y="6680"/>
                  </a:lnTo>
                  <a:close/>
                  <a:moveTo>
                    <a:pt x="9011" y="5955"/>
                  </a:moveTo>
                  <a:lnTo>
                    <a:pt x="9011" y="8538"/>
                  </a:lnTo>
                  <a:cubicBezTo>
                    <a:pt x="9011" y="10397"/>
                    <a:pt x="7467" y="11941"/>
                    <a:pt x="5608" y="11941"/>
                  </a:cubicBezTo>
                  <a:cubicBezTo>
                    <a:pt x="3781" y="11941"/>
                    <a:pt x="2269" y="10397"/>
                    <a:pt x="2269" y="8538"/>
                  </a:cubicBezTo>
                  <a:lnTo>
                    <a:pt x="2269" y="5955"/>
                  </a:lnTo>
                  <a:close/>
                  <a:moveTo>
                    <a:pt x="5608" y="1"/>
                  </a:moveTo>
                  <a:cubicBezTo>
                    <a:pt x="3466" y="1"/>
                    <a:pt x="1733" y="1639"/>
                    <a:pt x="1544" y="3781"/>
                  </a:cubicBezTo>
                  <a:cubicBezTo>
                    <a:pt x="662" y="3939"/>
                    <a:pt x="32" y="4695"/>
                    <a:pt x="32" y="5577"/>
                  </a:cubicBezTo>
                  <a:cubicBezTo>
                    <a:pt x="32" y="5797"/>
                    <a:pt x="189" y="5955"/>
                    <a:pt x="378" y="5955"/>
                  </a:cubicBezTo>
                  <a:lnTo>
                    <a:pt x="1481" y="5955"/>
                  </a:lnTo>
                  <a:cubicBezTo>
                    <a:pt x="662" y="5955"/>
                    <a:pt x="0" y="6617"/>
                    <a:pt x="0" y="7436"/>
                  </a:cubicBezTo>
                  <a:cubicBezTo>
                    <a:pt x="0" y="8255"/>
                    <a:pt x="662" y="8948"/>
                    <a:pt x="1481" y="8948"/>
                  </a:cubicBezTo>
                  <a:cubicBezTo>
                    <a:pt x="1670" y="11027"/>
                    <a:pt x="3403" y="12665"/>
                    <a:pt x="5577" y="12665"/>
                  </a:cubicBezTo>
                  <a:cubicBezTo>
                    <a:pt x="7750" y="12665"/>
                    <a:pt x="9483" y="11027"/>
                    <a:pt x="9672" y="8948"/>
                  </a:cubicBezTo>
                  <a:cubicBezTo>
                    <a:pt x="10491" y="8948"/>
                    <a:pt x="11185" y="8255"/>
                    <a:pt x="11185" y="7436"/>
                  </a:cubicBezTo>
                  <a:cubicBezTo>
                    <a:pt x="11216" y="6617"/>
                    <a:pt x="10554" y="5955"/>
                    <a:pt x="9767" y="5955"/>
                  </a:cubicBezTo>
                  <a:lnTo>
                    <a:pt x="10869" y="5955"/>
                  </a:lnTo>
                  <a:cubicBezTo>
                    <a:pt x="11058" y="5955"/>
                    <a:pt x="11216" y="5797"/>
                    <a:pt x="11216" y="5577"/>
                  </a:cubicBezTo>
                  <a:cubicBezTo>
                    <a:pt x="11216" y="4695"/>
                    <a:pt x="10586" y="3939"/>
                    <a:pt x="9704" y="3781"/>
                  </a:cubicBezTo>
                  <a:cubicBezTo>
                    <a:pt x="9546" y="1639"/>
                    <a:pt x="7782" y="1"/>
                    <a:pt x="56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76" name="Google Shape;7376;p74"/>
          <p:cNvGrpSpPr/>
          <p:nvPr/>
        </p:nvGrpSpPr>
        <p:grpSpPr>
          <a:xfrm>
            <a:off x="8822238" y="2042011"/>
            <a:ext cx="494540" cy="481301"/>
            <a:chOff x="-56407800" y="1902600"/>
            <a:chExt cx="326875" cy="318125"/>
          </a:xfrm>
        </p:grpSpPr>
        <p:sp>
          <p:nvSpPr>
            <p:cNvPr id="7377" name="Google Shape;7377;p74"/>
            <p:cNvSpPr/>
            <p:nvPr/>
          </p:nvSpPr>
          <p:spPr>
            <a:xfrm>
              <a:off x="-56289650" y="2072625"/>
              <a:ext cx="17325" cy="17350"/>
            </a:xfrm>
            <a:custGeom>
              <a:avLst/>
              <a:gdLst/>
              <a:ahLst/>
              <a:cxnLst/>
              <a:rect l="l" t="t" r="r" b="b"/>
              <a:pathLst>
                <a:path w="693"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8" name="Google Shape;7378;p74"/>
            <p:cNvSpPr/>
            <p:nvPr/>
          </p:nvSpPr>
          <p:spPr>
            <a:xfrm>
              <a:off x="-56215625" y="2072625"/>
              <a:ext cx="17350" cy="17350"/>
            </a:xfrm>
            <a:custGeom>
              <a:avLst/>
              <a:gdLst/>
              <a:ahLst/>
              <a:cxnLst/>
              <a:rect l="l" t="t" r="r" b="b"/>
              <a:pathLst>
                <a:path w="694" h="694" extrusionOk="0">
                  <a:moveTo>
                    <a:pt x="347" y="0"/>
                  </a:moveTo>
                  <a:cubicBezTo>
                    <a:pt x="158" y="0"/>
                    <a:pt x="1" y="158"/>
                    <a:pt x="1" y="347"/>
                  </a:cubicBezTo>
                  <a:cubicBezTo>
                    <a:pt x="1"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79" name="Google Shape;7379;p74"/>
            <p:cNvSpPr/>
            <p:nvPr/>
          </p:nvSpPr>
          <p:spPr>
            <a:xfrm>
              <a:off x="-56407800" y="1902600"/>
              <a:ext cx="326875" cy="318125"/>
            </a:xfrm>
            <a:custGeom>
              <a:avLst/>
              <a:gdLst/>
              <a:ahLst/>
              <a:cxnLst/>
              <a:rect l="l" t="t" r="r" b="b"/>
              <a:pathLst>
                <a:path w="13075" h="12725" extrusionOk="0">
                  <a:moveTo>
                    <a:pt x="8371" y="824"/>
                  </a:moveTo>
                  <a:cubicBezTo>
                    <a:pt x="8854" y="824"/>
                    <a:pt x="9303" y="1142"/>
                    <a:pt x="9420" y="1635"/>
                  </a:cubicBezTo>
                  <a:lnTo>
                    <a:pt x="9924" y="3714"/>
                  </a:lnTo>
                  <a:cubicBezTo>
                    <a:pt x="9641" y="3777"/>
                    <a:pt x="9420" y="3809"/>
                    <a:pt x="9137" y="3809"/>
                  </a:cubicBezTo>
                  <a:lnTo>
                    <a:pt x="3907" y="3809"/>
                  </a:lnTo>
                  <a:cubicBezTo>
                    <a:pt x="3623" y="3809"/>
                    <a:pt x="3340" y="3777"/>
                    <a:pt x="3119" y="3714"/>
                  </a:cubicBezTo>
                  <a:lnTo>
                    <a:pt x="3655" y="1635"/>
                  </a:lnTo>
                  <a:cubicBezTo>
                    <a:pt x="3772" y="1142"/>
                    <a:pt x="4239" y="824"/>
                    <a:pt x="4717" y="824"/>
                  </a:cubicBezTo>
                  <a:cubicBezTo>
                    <a:pt x="4881" y="824"/>
                    <a:pt x="5046" y="861"/>
                    <a:pt x="5199" y="942"/>
                  </a:cubicBezTo>
                  <a:lnTo>
                    <a:pt x="6364" y="1509"/>
                  </a:lnTo>
                  <a:cubicBezTo>
                    <a:pt x="6427" y="1540"/>
                    <a:pt x="6490" y="1556"/>
                    <a:pt x="6545" y="1556"/>
                  </a:cubicBezTo>
                  <a:cubicBezTo>
                    <a:pt x="6601" y="1556"/>
                    <a:pt x="6648" y="1540"/>
                    <a:pt x="6679" y="1509"/>
                  </a:cubicBezTo>
                  <a:lnTo>
                    <a:pt x="7877" y="942"/>
                  </a:lnTo>
                  <a:cubicBezTo>
                    <a:pt x="8037" y="861"/>
                    <a:pt x="8206" y="824"/>
                    <a:pt x="8371" y="824"/>
                  </a:cubicBezTo>
                  <a:close/>
                  <a:moveTo>
                    <a:pt x="1299" y="3783"/>
                  </a:moveTo>
                  <a:cubicBezTo>
                    <a:pt x="1359" y="3783"/>
                    <a:pt x="1422" y="3800"/>
                    <a:pt x="1481" y="3840"/>
                  </a:cubicBezTo>
                  <a:lnTo>
                    <a:pt x="2017" y="4092"/>
                  </a:lnTo>
                  <a:cubicBezTo>
                    <a:pt x="2584" y="4344"/>
                    <a:pt x="3308" y="4565"/>
                    <a:pt x="3970" y="4565"/>
                  </a:cubicBezTo>
                  <a:lnTo>
                    <a:pt x="9200" y="4565"/>
                  </a:lnTo>
                  <a:cubicBezTo>
                    <a:pt x="9893" y="4565"/>
                    <a:pt x="10586" y="4376"/>
                    <a:pt x="11185" y="4092"/>
                  </a:cubicBezTo>
                  <a:lnTo>
                    <a:pt x="11689" y="3840"/>
                  </a:lnTo>
                  <a:cubicBezTo>
                    <a:pt x="11737" y="3824"/>
                    <a:pt x="11788" y="3816"/>
                    <a:pt x="11839" y="3816"/>
                  </a:cubicBezTo>
                  <a:cubicBezTo>
                    <a:pt x="11983" y="3816"/>
                    <a:pt x="12123" y="3881"/>
                    <a:pt x="12193" y="3998"/>
                  </a:cubicBezTo>
                  <a:cubicBezTo>
                    <a:pt x="12256" y="4187"/>
                    <a:pt x="12161" y="4439"/>
                    <a:pt x="11972" y="4502"/>
                  </a:cubicBezTo>
                  <a:lnTo>
                    <a:pt x="11468" y="4754"/>
                  </a:lnTo>
                  <a:cubicBezTo>
                    <a:pt x="10743" y="5100"/>
                    <a:pt x="9924" y="5289"/>
                    <a:pt x="9168" y="5289"/>
                  </a:cubicBezTo>
                  <a:lnTo>
                    <a:pt x="3938" y="5289"/>
                  </a:lnTo>
                  <a:cubicBezTo>
                    <a:pt x="3182" y="5289"/>
                    <a:pt x="2363" y="5100"/>
                    <a:pt x="1639" y="4754"/>
                  </a:cubicBezTo>
                  <a:lnTo>
                    <a:pt x="1134" y="4502"/>
                  </a:lnTo>
                  <a:cubicBezTo>
                    <a:pt x="945" y="4439"/>
                    <a:pt x="851" y="4187"/>
                    <a:pt x="977" y="3998"/>
                  </a:cubicBezTo>
                  <a:cubicBezTo>
                    <a:pt x="1042" y="3868"/>
                    <a:pt x="1166" y="3783"/>
                    <a:pt x="1299" y="3783"/>
                  </a:cubicBezTo>
                  <a:close/>
                  <a:moveTo>
                    <a:pt x="2426" y="6801"/>
                  </a:moveTo>
                  <a:lnTo>
                    <a:pt x="2426" y="8282"/>
                  </a:lnTo>
                  <a:cubicBezTo>
                    <a:pt x="2048" y="8282"/>
                    <a:pt x="1702" y="7936"/>
                    <a:pt x="1702" y="7558"/>
                  </a:cubicBezTo>
                  <a:cubicBezTo>
                    <a:pt x="1702" y="7148"/>
                    <a:pt x="2017" y="6801"/>
                    <a:pt x="2426" y="6801"/>
                  </a:cubicBezTo>
                  <a:close/>
                  <a:moveTo>
                    <a:pt x="10680" y="6801"/>
                  </a:moveTo>
                  <a:cubicBezTo>
                    <a:pt x="11059" y="6801"/>
                    <a:pt x="11405" y="7117"/>
                    <a:pt x="11405" y="7558"/>
                  </a:cubicBezTo>
                  <a:cubicBezTo>
                    <a:pt x="11405" y="7936"/>
                    <a:pt x="11059" y="8282"/>
                    <a:pt x="10680" y="8282"/>
                  </a:cubicBezTo>
                  <a:lnTo>
                    <a:pt x="10680" y="6801"/>
                  </a:lnTo>
                  <a:close/>
                  <a:moveTo>
                    <a:pt x="3214" y="5982"/>
                  </a:moveTo>
                  <a:cubicBezTo>
                    <a:pt x="3466" y="6014"/>
                    <a:pt x="3686" y="6014"/>
                    <a:pt x="3970" y="6014"/>
                  </a:cubicBezTo>
                  <a:lnTo>
                    <a:pt x="9200" y="6014"/>
                  </a:lnTo>
                  <a:cubicBezTo>
                    <a:pt x="9452" y="6014"/>
                    <a:pt x="9672" y="6014"/>
                    <a:pt x="9956" y="5982"/>
                  </a:cubicBezTo>
                  <a:lnTo>
                    <a:pt x="9956" y="5982"/>
                  </a:lnTo>
                  <a:cubicBezTo>
                    <a:pt x="9924" y="6297"/>
                    <a:pt x="9924" y="8219"/>
                    <a:pt x="9924" y="8503"/>
                  </a:cubicBezTo>
                  <a:lnTo>
                    <a:pt x="9924" y="8849"/>
                  </a:lnTo>
                  <a:lnTo>
                    <a:pt x="6742" y="7558"/>
                  </a:lnTo>
                  <a:cubicBezTo>
                    <a:pt x="6695" y="7526"/>
                    <a:pt x="6640" y="7510"/>
                    <a:pt x="6589" y="7510"/>
                  </a:cubicBezTo>
                  <a:cubicBezTo>
                    <a:pt x="6538" y="7510"/>
                    <a:pt x="6490" y="7526"/>
                    <a:pt x="6459" y="7558"/>
                  </a:cubicBezTo>
                  <a:lnTo>
                    <a:pt x="3214" y="8849"/>
                  </a:lnTo>
                  <a:lnTo>
                    <a:pt x="3214" y="8660"/>
                  </a:lnTo>
                  <a:lnTo>
                    <a:pt x="3214" y="5982"/>
                  </a:lnTo>
                  <a:close/>
                  <a:moveTo>
                    <a:pt x="6585" y="8282"/>
                  </a:moveTo>
                  <a:lnTo>
                    <a:pt x="9767" y="9542"/>
                  </a:lnTo>
                  <a:cubicBezTo>
                    <a:pt x="9262" y="11157"/>
                    <a:pt x="7905" y="12034"/>
                    <a:pt x="6522" y="12034"/>
                  </a:cubicBezTo>
                  <a:cubicBezTo>
                    <a:pt x="5746" y="12034"/>
                    <a:pt x="4962" y="11758"/>
                    <a:pt x="4316" y="11181"/>
                  </a:cubicBezTo>
                  <a:cubicBezTo>
                    <a:pt x="3844" y="10740"/>
                    <a:pt x="3529" y="10172"/>
                    <a:pt x="3340" y="9605"/>
                  </a:cubicBezTo>
                  <a:lnTo>
                    <a:pt x="6585" y="8282"/>
                  </a:lnTo>
                  <a:close/>
                  <a:moveTo>
                    <a:pt x="8390" y="1"/>
                  </a:moveTo>
                  <a:cubicBezTo>
                    <a:pt x="8109" y="1"/>
                    <a:pt x="7824" y="69"/>
                    <a:pt x="7561" y="217"/>
                  </a:cubicBezTo>
                  <a:lnTo>
                    <a:pt x="6522" y="721"/>
                  </a:lnTo>
                  <a:lnTo>
                    <a:pt x="5514" y="217"/>
                  </a:lnTo>
                  <a:cubicBezTo>
                    <a:pt x="5240" y="88"/>
                    <a:pt x="4955" y="27"/>
                    <a:pt x="4676" y="27"/>
                  </a:cubicBezTo>
                  <a:cubicBezTo>
                    <a:pt x="3863" y="27"/>
                    <a:pt x="3110" y="546"/>
                    <a:pt x="2899" y="1414"/>
                  </a:cubicBezTo>
                  <a:lnTo>
                    <a:pt x="2395" y="3462"/>
                  </a:lnTo>
                  <a:lnTo>
                    <a:pt x="1765" y="3147"/>
                  </a:lnTo>
                  <a:cubicBezTo>
                    <a:pt x="1607" y="3063"/>
                    <a:pt x="1435" y="3024"/>
                    <a:pt x="1265" y="3024"/>
                  </a:cubicBezTo>
                  <a:cubicBezTo>
                    <a:pt x="859" y="3024"/>
                    <a:pt x="462" y="3251"/>
                    <a:pt x="284" y="3651"/>
                  </a:cubicBezTo>
                  <a:cubicBezTo>
                    <a:pt x="0" y="4187"/>
                    <a:pt x="221" y="4880"/>
                    <a:pt x="788" y="5132"/>
                  </a:cubicBezTo>
                  <a:lnTo>
                    <a:pt x="1292" y="5384"/>
                  </a:lnTo>
                  <a:cubicBezTo>
                    <a:pt x="1639" y="5573"/>
                    <a:pt x="2048" y="5699"/>
                    <a:pt x="2426" y="5793"/>
                  </a:cubicBezTo>
                  <a:lnTo>
                    <a:pt x="2426" y="6014"/>
                  </a:lnTo>
                  <a:cubicBezTo>
                    <a:pt x="1607" y="6014"/>
                    <a:pt x="945" y="6675"/>
                    <a:pt x="945" y="7495"/>
                  </a:cubicBezTo>
                  <a:cubicBezTo>
                    <a:pt x="945" y="8282"/>
                    <a:pt x="1576" y="9007"/>
                    <a:pt x="2426" y="9007"/>
                  </a:cubicBezTo>
                  <a:cubicBezTo>
                    <a:pt x="2521" y="10015"/>
                    <a:pt x="3025" y="10992"/>
                    <a:pt x="3781" y="11685"/>
                  </a:cubicBezTo>
                  <a:cubicBezTo>
                    <a:pt x="4537" y="12378"/>
                    <a:pt x="5514" y="12724"/>
                    <a:pt x="6522" y="12724"/>
                  </a:cubicBezTo>
                  <a:cubicBezTo>
                    <a:pt x="8696" y="12724"/>
                    <a:pt x="10365" y="11055"/>
                    <a:pt x="10586" y="9007"/>
                  </a:cubicBezTo>
                  <a:cubicBezTo>
                    <a:pt x="11500" y="9007"/>
                    <a:pt x="12130" y="8282"/>
                    <a:pt x="12130" y="7495"/>
                  </a:cubicBezTo>
                  <a:cubicBezTo>
                    <a:pt x="12130" y="6675"/>
                    <a:pt x="11468" y="6014"/>
                    <a:pt x="10617" y="6014"/>
                  </a:cubicBezTo>
                  <a:lnTo>
                    <a:pt x="10617" y="5793"/>
                  </a:lnTo>
                  <a:cubicBezTo>
                    <a:pt x="11027" y="5699"/>
                    <a:pt x="11405" y="5573"/>
                    <a:pt x="11783" y="5384"/>
                  </a:cubicBezTo>
                  <a:lnTo>
                    <a:pt x="12287" y="5132"/>
                  </a:lnTo>
                  <a:cubicBezTo>
                    <a:pt x="12886" y="4911"/>
                    <a:pt x="13075" y="4250"/>
                    <a:pt x="12791" y="3682"/>
                  </a:cubicBezTo>
                  <a:cubicBezTo>
                    <a:pt x="12588" y="3299"/>
                    <a:pt x="12191" y="3061"/>
                    <a:pt x="11785" y="3061"/>
                  </a:cubicBezTo>
                  <a:cubicBezTo>
                    <a:pt x="11625" y="3061"/>
                    <a:pt x="11462" y="3098"/>
                    <a:pt x="11311" y="3178"/>
                  </a:cubicBezTo>
                  <a:lnTo>
                    <a:pt x="10775" y="3399"/>
                  </a:lnTo>
                  <a:cubicBezTo>
                    <a:pt x="10743" y="3399"/>
                    <a:pt x="10712" y="3462"/>
                    <a:pt x="10680" y="3462"/>
                  </a:cubicBezTo>
                  <a:lnTo>
                    <a:pt x="10145" y="1414"/>
                  </a:lnTo>
                  <a:cubicBezTo>
                    <a:pt x="9959" y="552"/>
                    <a:pt x="9187" y="1"/>
                    <a:pt x="83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80" name="Google Shape;7380;p74"/>
          <p:cNvGrpSpPr/>
          <p:nvPr/>
        </p:nvGrpSpPr>
        <p:grpSpPr>
          <a:xfrm>
            <a:off x="8829973" y="2690765"/>
            <a:ext cx="479071" cy="451648"/>
            <a:chOff x="-56401500" y="2304975"/>
            <a:chExt cx="316650" cy="298525"/>
          </a:xfrm>
        </p:grpSpPr>
        <p:sp>
          <p:nvSpPr>
            <p:cNvPr id="7381" name="Google Shape;7381;p74"/>
            <p:cNvSpPr/>
            <p:nvPr/>
          </p:nvSpPr>
          <p:spPr>
            <a:xfrm>
              <a:off x="-56289650" y="2436500"/>
              <a:ext cx="17325" cy="18150"/>
            </a:xfrm>
            <a:custGeom>
              <a:avLst/>
              <a:gdLst/>
              <a:ahLst/>
              <a:cxnLst/>
              <a:rect l="l" t="t" r="r" b="b"/>
              <a:pathLst>
                <a:path w="693" h="726" extrusionOk="0">
                  <a:moveTo>
                    <a:pt x="347" y="1"/>
                  </a:moveTo>
                  <a:cubicBezTo>
                    <a:pt x="158" y="1"/>
                    <a:pt x="0" y="158"/>
                    <a:pt x="0" y="347"/>
                  </a:cubicBezTo>
                  <a:cubicBezTo>
                    <a:pt x="0" y="568"/>
                    <a:pt x="158" y="725"/>
                    <a:pt x="347" y="725"/>
                  </a:cubicBezTo>
                  <a:cubicBezTo>
                    <a:pt x="536" y="725"/>
                    <a:pt x="693" y="568"/>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2" name="Google Shape;7382;p74"/>
            <p:cNvSpPr/>
            <p:nvPr/>
          </p:nvSpPr>
          <p:spPr>
            <a:xfrm>
              <a:off x="-56215625" y="2436500"/>
              <a:ext cx="17350" cy="18150"/>
            </a:xfrm>
            <a:custGeom>
              <a:avLst/>
              <a:gdLst/>
              <a:ahLst/>
              <a:cxnLst/>
              <a:rect l="l" t="t" r="r" b="b"/>
              <a:pathLst>
                <a:path w="694" h="726" extrusionOk="0">
                  <a:moveTo>
                    <a:pt x="347" y="1"/>
                  </a:moveTo>
                  <a:cubicBezTo>
                    <a:pt x="158" y="1"/>
                    <a:pt x="1" y="158"/>
                    <a:pt x="1" y="347"/>
                  </a:cubicBezTo>
                  <a:cubicBezTo>
                    <a:pt x="1" y="568"/>
                    <a:pt x="158" y="725"/>
                    <a:pt x="347" y="725"/>
                  </a:cubicBezTo>
                  <a:cubicBezTo>
                    <a:pt x="536" y="725"/>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3" name="Google Shape;7383;p74"/>
            <p:cNvSpPr/>
            <p:nvPr/>
          </p:nvSpPr>
          <p:spPr>
            <a:xfrm>
              <a:off x="-56280200" y="2499700"/>
              <a:ext cx="73250" cy="29775"/>
            </a:xfrm>
            <a:custGeom>
              <a:avLst/>
              <a:gdLst/>
              <a:ahLst/>
              <a:cxnLst/>
              <a:rect l="l" t="t" r="r" b="b"/>
              <a:pathLst>
                <a:path w="2930" h="1191" extrusionOk="0">
                  <a:moveTo>
                    <a:pt x="414" y="1"/>
                  </a:moveTo>
                  <a:cubicBezTo>
                    <a:pt x="315" y="1"/>
                    <a:pt x="221" y="40"/>
                    <a:pt x="158" y="119"/>
                  </a:cubicBezTo>
                  <a:cubicBezTo>
                    <a:pt x="0" y="277"/>
                    <a:pt x="0" y="529"/>
                    <a:pt x="158" y="623"/>
                  </a:cubicBezTo>
                  <a:cubicBezTo>
                    <a:pt x="536" y="1001"/>
                    <a:pt x="1008" y="1190"/>
                    <a:pt x="1481" y="1190"/>
                  </a:cubicBezTo>
                  <a:cubicBezTo>
                    <a:pt x="1953" y="1190"/>
                    <a:pt x="2457" y="1001"/>
                    <a:pt x="2773" y="623"/>
                  </a:cubicBezTo>
                  <a:cubicBezTo>
                    <a:pt x="2930" y="466"/>
                    <a:pt x="2930" y="245"/>
                    <a:pt x="2773" y="119"/>
                  </a:cubicBezTo>
                  <a:cubicBezTo>
                    <a:pt x="2694" y="40"/>
                    <a:pt x="2591" y="1"/>
                    <a:pt x="2497" y="1"/>
                  </a:cubicBezTo>
                  <a:cubicBezTo>
                    <a:pt x="2402" y="1"/>
                    <a:pt x="2316" y="40"/>
                    <a:pt x="2268" y="119"/>
                  </a:cubicBezTo>
                  <a:cubicBezTo>
                    <a:pt x="2048" y="308"/>
                    <a:pt x="1733" y="434"/>
                    <a:pt x="1481" y="434"/>
                  </a:cubicBezTo>
                  <a:cubicBezTo>
                    <a:pt x="1166" y="434"/>
                    <a:pt x="882" y="308"/>
                    <a:pt x="693" y="119"/>
                  </a:cubicBezTo>
                  <a:cubicBezTo>
                    <a:pt x="614" y="40"/>
                    <a:pt x="512" y="1"/>
                    <a:pt x="4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4" name="Google Shape;7384;p74"/>
            <p:cNvSpPr/>
            <p:nvPr/>
          </p:nvSpPr>
          <p:spPr>
            <a:xfrm>
              <a:off x="-56401500" y="2304975"/>
              <a:ext cx="316650" cy="298525"/>
            </a:xfrm>
            <a:custGeom>
              <a:avLst/>
              <a:gdLst/>
              <a:ahLst/>
              <a:cxnLst/>
              <a:rect l="l" t="t" r="r" b="b"/>
              <a:pathLst>
                <a:path w="12666" h="11941" extrusionOk="0">
                  <a:moveTo>
                    <a:pt x="6411" y="785"/>
                  </a:moveTo>
                  <a:cubicBezTo>
                    <a:pt x="7105" y="785"/>
                    <a:pt x="7692" y="1003"/>
                    <a:pt x="8223" y="1387"/>
                  </a:cubicBezTo>
                  <a:lnTo>
                    <a:pt x="6270" y="2899"/>
                  </a:lnTo>
                  <a:lnTo>
                    <a:pt x="4348" y="1387"/>
                  </a:lnTo>
                  <a:cubicBezTo>
                    <a:pt x="4915" y="977"/>
                    <a:pt x="5577" y="788"/>
                    <a:pt x="6270" y="788"/>
                  </a:cubicBezTo>
                  <a:cubicBezTo>
                    <a:pt x="6317" y="786"/>
                    <a:pt x="6365" y="785"/>
                    <a:pt x="6411" y="785"/>
                  </a:cubicBezTo>
                  <a:close/>
                  <a:moveTo>
                    <a:pt x="2174" y="4474"/>
                  </a:moveTo>
                  <a:lnTo>
                    <a:pt x="2174" y="5986"/>
                  </a:lnTo>
                  <a:cubicBezTo>
                    <a:pt x="1796" y="5986"/>
                    <a:pt x="1450" y="5640"/>
                    <a:pt x="1450" y="5230"/>
                  </a:cubicBezTo>
                  <a:cubicBezTo>
                    <a:pt x="1450" y="4821"/>
                    <a:pt x="1765" y="4474"/>
                    <a:pt x="2174" y="4474"/>
                  </a:cubicBezTo>
                  <a:close/>
                  <a:moveTo>
                    <a:pt x="10428" y="4474"/>
                  </a:moveTo>
                  <a:cubicBezTo>
                    <a:pt x="10838" y="4474"/>
                    <a:pt x="11153" y="4821"/>
                    <a:pt x="11153" y="5230"/>
                  </a:cubicBezTo>
                  <a:cubicBezTo>
                    <a:pt x="11153" y="5608"/>
                    <a:pt x="10807" y="5986"/>
                    <a:pt x="10428" y="5986"/>
                  </a:cubicBezTo>
                  <a:lnTo>
                    <a:pt x="10428" y="4474"/>
                  </a:lnTo>
                  <a:close/>
                  <a:moveTo>
                    <a:pt x="1008" y="6144"/>
                  </a:moveTo>
                  <a:cubicBezTo>
                    <a:pt x="1292" y="6490"/>
                    <a:pt x="1702" y="6742"/>
                    <a:pt x="2174" y="6742"/>
                  </a:cubicBezTo>
                  <a:cubicBezTo>
                    <a:pt x="2174" y="7152"/>
                    <a:pt x="1828" y="7467"/>
                    <a:pt x="1450" y="7467"/>
                  </a:cubicBezTo>
                  <a:cubicBezTo>
                    <a:pt x="1040" y="7467"/>
                    <a:pt x="693" y="7120"/>
                    <a:pt x="693" y="6742"/>
                  </a:cubicBezTo>
                  <a:cubicBezTo>
                    <a:pt x="693" y="6490"/>
                    <a:pt x="819" y="6270"/>
                    <a:pt x="1008" y="6144"/>
                  </a:cubicBezTo>
                  <a:close/>
                  <a:moveTo>
                    <a:pt x="11594" y="6144"/>
                  </a:moveTo>
                  <a:cubicBezTo>
                    <a:pt x="11783" y="6301"/>
                    <a:pt x="11909" y="6490"/>
                    <a:pt x="11909" y="6742"/>
                  </a:cubicBezTo>
                  <a:cubicBezTo>
                    <a:pt x="11909" y="7152"/>
                    <a:pt x="11594" y="7467"/>
                    <a:pt x="11153" y="7467"/>
                  </a:cubicBezTo>
                  <a:cubicBezTo>
                    <a:pt x="10775" y="7467"/>
                    <a:pt x="10428" y="7120"/>
                    <a:pt x="10428" y="6742"/>
                  </a:cubicBezTo>
                  <a:cubicBezTo>
                    <a:pt x="10901" y="6742"/>
                    <a:pt x="11311" y="6490"/>
                    <a:pt x="11594" y="6144"/>
                  </a:cubicBezTo>
                  <a:close/>
                  <a:moveTo>
                    <a:pt x="8759" y="1859"/>
                  </a:moveTo>
                  <a:cubicBezTo>
                    <a:pt x="9326" y="2426"/>
                    <a:pt x="9672" y="3214"/>
                    <a:pt x="9672" y="4128"/>
                  </a:cubicBezTo>
                  <a:lnTo>
                    <a:pt x="9672" y="7120"/>
                  </a:lnTo>
                  <a:cubicBezTo>
                    <a:pt x="9672" y="8507"/>
                    <a:pt x="8853" y="9735"/>
                    <a:pt x="7562" y="10239"/>
                  </a:cubicBezTo>
                  <a:cubicBezTo>
                    <a:pt x="7215" y="9924"/>
                    <a:pt x="6774" y="9735"/>
                    <a:pt x="6301" y="9735"/>
                  </a:cubicBezTo>
                  <a:cubicBezTo>
                    <a:pt x="5829" y="9735"/>
                    <a:pt x="5356" y="9924"/>
                    <a:pt x="5041" y="10239"/>
                  </a:cubicBezTo>
                  <a:cubicBezTo>
                    <a:pt x="3781" y="9735"/>
                    <a:pt x="2899" y="8507"/>
                    <a:pt x="2899" y="7120"/>
                  </a:cubicBezTo>
                  <a:lnTo>
                    <a:pt x="2899" y="4128"/>
                  </a:lnTo>
                  <a:cubicBezTo>
                    <a:pt x="2899" y="3277"/>
                    <a:pt x="3245" y="2489"/>
                    <a:pt x="3812" y="1859"/>
                  </a:cubicBezTo>
                  <a:lnTo>
                    <a:pt x="6049" y="3655"/>
                  </a:lnTo>
                  <a:cubicBezTo>
                    <a:pt x="6112" y="3718"/>
                    <a:pt x="6191" y="3749"/>
                    <a:pt x="6274" y="3749"/>
                  </a:cubicBezTo>
                  <a:cubicBezTo>
                    <a:pt x="6356" y="3749"/>
                    <a:pt x="6443" y="3718"/>
                    <a:pt x="6522" y="3655"/>
                  </a:cubicBezTo>
                  <a:lnTo>
                    <a:pt x="8759" y="1859"/>
                  </a:lnTo>
                  <a:close/>
                  <a:moveTo>
                    <a:pt x="6333" y="10460"/>
                  </a:moveTo>
                  <a:cubicBezTo>
                    <a:pt x="6805" y="10460"/>
                    <a:pt x="7215" y="10775"/>
                    <a:pt x="7373" y="11216"/>
                  </a:cubicBezTo>
                  <a:lnTo>
                    <a:pt x="5262" y="11216"/>
                  </a:lnTo>
                  <a:cubicBezTo>
                    <a:pt x="5419" y="10775"/>
                    <a:pt x="5797" y="10460"/>
                    <a:pt x="6333" y="10460"/>
                  </a:cubicBezTo>
                  <a:close/>
                  <a:moveTo>
                    <a:pt x="6333" y="0"/>
                  </a:moveTo>
                  <a:cubicBezTo>
                    <a:pt x="4159" y="0"/>
                    <a:pt x="2395" y="1639"/>
                    <a:pt x="2237" y="3718"/>
                  </a:cubicBezTo>
                  <a:cubicBezTo>
                    <a:pt x="1324" y="3718"/>
                    <a:pt x="599" y="4506"/>
                    <a:pt x="725" y="5419"/>
                  </a:cubicBezTo>
                  <a:cubicBezTo>
                    <a:pt x="252" y="5703"/>
                    <a:pt x="0" y="6175"/>
                    <a:pt x="0" y="6742"/>
                  </a:cubicBezTo>
                  <a:cubicBezTo>
                    <a:pt x="0" y="7562"/>
                    <a:pt x="662" y="8223"/>
                    <a:pt x="1481" y="8223"/>
                  </a:cubicBezTo>
                  <a:cubicBezTo>
                    <a:pt x="1796" y="8223"/>
                    <a:pt x="2080" y="8160"/>
                    <a:pt x="2300" y="7940"/>
                  </a:cubicBezTo>
                  <a:cubicBezTo>
                    <a:pt x="2584" y="9263"/>
                    <a:pt x="3497" y="10271"/>
                    <a:pt x="4632" y="10838"/>
                  </a:cubicBezTo>
                  <a:cubicBezTo>
                    <a:pt x="4506" y="11059"/>
                    <a:pt x="4474" y="11311"/>
                    <a:pt x="4474" y="11563"/>
                  </a:cubicBezTo>
                  <a:cubicBezTo>
                    <a:pt x="4474" y="11783"/>
                    <a:pt x="4632" y="11941"/>
                    <a:pt x="4821" y="11941"/>
                  </a:cubicBezTo>
                  <a:lnTo>
                    <a:pt x="7814" y="11941"/>
                  </a:lnTo>
                  <a:cubicBezTo>
                    <a:pt x="8034" y="11941"/>
                    <a:pt x="8192" y="11783"/>
                    <a:pt x="8192" y="11563"/>
                  </a:cubicBezTo>
                  <a:cubicBezTo>
                    <a:pt x="8192" y="11311"/>
                    <a:pt x="8129" y="11059"/>
                    <a:pt x="8034" y="10838"/>
                  </a:cubicBezTo>
                  <a:cubicBezTo>
                    <a:pt x="9168" y="10302"/>
                    <a:pt x="10082" y="9263"/>
                    <a:pt x="10334" y="7940"/>
                  </a:cubicBezTo>
                  <a:cubicBezTo>
                    <a:pt x="10586" y="8097"/>
                    <a:pt x="10870" y="8223"/>
                    <a:pt x="11185" y="8223"/>
                  </a:cubicBezTo>
                  <a:cubicBezTo>
                    <a:pt x="12004" y="8223"/>
                    <a:pt x="12665" y="7562"/>
                    <a:pt x="12665" y="6742"/>
                  </a:cubicBezTo>
                  <a:cubicBezTo>
                    <a:pt x="12665" y="6175"/>
                    <a:pt x="12382" y="5703"/>
                    <a:pt x="11909" y="5419"/>
                  </a:cubicBezTo>
                  <a:cubicBezTo>
                    <a:pt x="12035" y="4506"/>
                    <a:pt x="11311" y="3718"/>
                    <a:pt x="10428" y="3718"/>
                  </a:cubicBezTo>
                  <a:cubicBezTo>
                    <a:pt x="10208" y="1639"/>
                    <a:pt x="8444" y="0"/>
                    <a:pt x="6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85" name="Google Shape;7385;p74"/>
          <p:cNvGrpSpPr/>
          <p:nvPr/>
        </p:nvGrpSpPr>
        <p:grpSpPr>
          <a:xfrm>
            <a:off x="7105151" y="3880199"/>
            <a:ext cx="426647" cy="481453"/>
            <a:chOff x="-54426150" y="1901700"/>
            <a:chExt cx="282000" cy="318225"/>
          </a:xfrm>
        </p:grpSpPr>
        <p:sp>
          <p:nvSpPr>
            <p:cNvPr id="7386" name="Google Shape;7386;p74"/>
            <p:cNvSpPr/>
            <p:nvPr/>
          </p:nvSpPr>
          <p:spPr>
            <a:xfrm>
              <a:off x="-54330850" y="2072625"/>
              <a:ext cx="18150" cy="17350"/>
            </a:xfrm>
            <a:custGeom>
              <a:avLst/>
              <a:gdLst/>
              <a:ahLst/>
              <a:cxnLst/>
              <a:rect l="l" t="t" r="r" b="b"/>
              <a:pathLst>
                <a:path w="726" h="694" extrusionOk="0">
                  <a:moveTo>
                    <a:pt x="379" y="0"/>
                  </a:moveTo>
                  <a:cubicBezTo>
                    <a:pt x="190" y="0"/>
                    <a:pt x="1" y="158"/>
                    <a:pt x="1" y="347"/>
                  </a:cubicBezTo>
                  <a:cubicBezTo>
                    <a:pt x="1" y="536"/>
                    <a:pt x="190" y="694"/>
                    <a:pt x="379" y="694"/>
                  </a:cubicBezTo>
                  <a:cubicBezTo>
                    <a:pt x="568" y="694"/>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7" name="Google Shape;7387;p74"/>
            <p:cNvSpPr/>
            <p:nvPr/>
          </p:nvSpPr>
          <p:spPr>
            <a:xfrm>
              <a:off x="-54256800" y="2072625"/>
              <a:ext cx="18125" cy="17350"/>
            </a:xfrm>
            <a:custGeom>
              <a:avLst/>
              <a:gdLst/>
              <a:ahLst/>
              <a:cxnLst/>
              <a:rect l="l" t="t" r="r" b="b"/>
              <a:pathLst>
                <a:path w="725" h="694" extrusionOk="0">
                  <a:moveTo>
                    <a:pt x="347" y="0"/>
                  </a:moveTo>
                  <a:cubicBezTo>
                    <a:pt x="158" y="0"/>
                    <a:pt x="0" y="158"/>
                    <a:pt x="0" y="347"/>
                  </a:cubicBezTo>
                  <a:cubicBezTo>
                    <a:pt x="0" y="536"/>
                    <a:pt x="158" y="694"/>
                    <a:pt x="347" y="694"/>
                  </a:cubicBezTo>
                  <a:cubicBezTo>
                    <a:pt x="567" y="694"/>
                    <a:pt x="725" y="536"/>
                    <a:pt x="725" y="347"/>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8" name="Google Shape;7388;p74"/>
            <p:cNvSpPr/>
            <p:nvPr/>
          </p:nvSpPr>
          <p:spPr>
            <a:xfrm>
              <a:off x="-54320600" y="2135825"/>
              <a:ext cx="72475" cy="28975"/>
            </a:xfrm>
            <a:custGeom>
              <a:avLst/>
              <a:gdLst/>
              <a:ahLst/>
              <a:cxnLst/>
              <a:rect l="l" t="t" r="r" b="b"/>
              <a:pathLst>
                <a:path w="2899" h="1159" extrusionOk="0">
                  <a:moveTo>
                    <a:pt x="398" y="1"/>
                  </a:moveTo>
                  <a:cubicBezTo>
                    <a:pt x="308" y="1"/>
                    <a:pt x="221" y="40"/>
                    <a:pt x="158" y="119"/>
                  </a:cubicBezTo>
                  <a:cubicBezTo>
                    <a:pt x="0" y="276"/>
                    <a:pt x="0" y="497"/>
                    <a:pt x="158" y="623"/>
                  </a:cubicBezTo>
                  <a:cubicBezTo>
                    <a:pt x="505" y="970"/>
                    <a:pt x="977" y="1159"/>
                    <a:pt x="1450" y="1159"/>
                  </a:cubicBezTo>
                  <a:cubicBezTo>
                    <a:pt x="1922" y="1159"/>
                    <a:pt x="2426" y="970"/>
                    <a:pt x="2741" y="623"/>
                  </a:cubicBezTo>
                  <a:cubicBezTo>
                    <a:pt x="2899" y="465"/>
                    <a:pt x="2899" y="213"/>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89" name="Google Shape;7389;p74"/>
            <p:cNvSpPr/>
            <p:nvPr/>
          </p:nvSpPr>
          <p:spPr>
            <a:xfrm>
              <a:off x="-54426150" y="1901700"/>
              <a:ext cx="282000" cy="318225"/>
            </a:xfrm>
            <a:custGeom>
              <a:avLst/>
              <a:gdLst/>
              <a:ahLst/>
              <a:cxnLst/>
              <a:rect l="l" t="t" r="r" b="b"/>
              <a:pathLst>
                <a:path w="11280" h="12729" extrusionOk="0">
                  <a:moveTo>
                    <a:pt x="5672" y="820"/>
                  </a:moveTo>
                  <a:cubicBezTo>
                    <a:pt x="6648" y="820"/>
                    <a:pt x="7562" y="1072"/>
                    <a:pt x="8381" y="1639"/>
                  </a:cubicBezTo>
                  <a:cubicBezTo>
                    <a:pt x="8350" y="1828"/>
                    <a:pt x="8318" y="2049"/>
                    <a:pt x="8318" y="2301"/>
                  </a:cubicBezTo>
                  <a:cubicBezTo>
                    <a:pt x="8318" y="2584"/>
                    <a:pt x="8350" y="2805"/>
                    <a:pt x="8444" y="3057"/>
                  </a:cubicBezTo>
                  <a:lnTo>
                    <a:pt x="1671" y="3057"/>
                  </a:lnTo>
                  <a:cubicBezTo>
                    <a:pt x="2458" y="1702"/>
                    <a:pt x="3939" y="820"/>
                    <a:pt x="5672" y="820"/>
                  </a:cubicBezTo>
                  <a:close/>
                  <a:moveTo>
                    <a:pt x="9389" y="1072"/>
                  </a:moveTo>
                  <a:cubicBezTo>
                    <a:pt x="9547" y="1387"/>
                    <a:pt x="9736" y="1828"/>
                    <a:pt x="9736" y="2301"/>
                  </a:cubicBezTo>
                  <a:cubicBezTo>
                    <a:pt x="9736" y="2773"/>
                    <a:pt x="9547" y="3214"/>
                    <a:pt x="9389" y="3529"/>
                  </a:cubicBezTo>
                  <a:cubicBezTo>
                    <a:pt x="9232" y="3214"/>
                    <a:pt x="9011" y="2773"/>
                    <a:pt x="9011" y="2301"/>
                  </a:cubicBezTo>
                  <a:cubicBezTo>
                    <a:pt x="9011" y="1828"/>
                    <a:pt x="9232" y="1356"/>
                    <a:pt x="9389" y="1072"/>
                  </a:cubicBezTo>
                  <a:close/>
                  <a:moveTo>
                    <a:pt x="5262" y="3750"/>
                  </a:moveTo>
                  <a:cubicBezTo>
                    <a:pt x="5136" y="4065"/>
                    <a:pt x="4853" y="4443"/>
                    <a:pt x="4474" y="4695"/>
                  </a:cubicBezTo>
                  <a:cubicBezTo>
                    <a:pt x="3907" y="5105"/>
                    <a:pt x="3246" y="5325"/>
                    <a:pt x="2742" y="5325"/>
                  </a:cubicBezTo>
                  <a:lnTo>
                    <a:pt x="1923" y="5325"/>
                  </a:lnTo>
                  <a:cubicBezTo>
                    <a:pt x="1734" y="5325"/>
                    <a:pt x="1576" y="5483"/>
                    <a:pt x="1576" y="5703"/>
                  </a:cubicBezTo>
                  <a:lnTo>
                    <a:pt x="1576" y="6806"/>
                  </a:lnTo>
                  <a:lnTo>
                    <a:pt x="851" y="6806"/>
                  </a:lnTo>
                  <a:lnTo>
                    <a:pt x="851" y="5703"/>
                  </a:lnTo>
                  <a:cubicBezTo>
                    <a:pt x="851" y="5010"/>
                    <a:pt x="946" y="4349"/>
                    <a:pt x="1229" y="3750"/>
                  </a:cubicBezTo>
                  <a:close/>
                  <a:moveTo>
                    <a:pt x="10177" y="3750"/>
                  </a:moveTo>
                  <a:cubicBezTo>
                    <a:pt x="10397" y="4349"/>
                    <a:pt x="10555" y="5042"/>
                    <a:pt x="10555" y="5735"/>
                  </a:cubicBezTo>
                  <a:lnTo>
                    <a:pt x="10555" y="6837"/>
                  </a:lnTo>
                  <a:lnTo>
                    <a:pt x="9767" y="6837"/>
                  </a:lnTo>
                  <a:lnTo>
                    <a:pt x="9767" y="5735"/>
                  </a:lnTo>
                  <a:cubicBezTo>
                    <a:pt x="9767" y="5546"/>
                    <a:pt x="9610" y="5388"/>
                    <a:pt x="9421" y="5388"/>
                  </a:cubicBezTo>
                  <a:lnTo>
                    <a:pt x="8665" y="5388"/>
                  </a:lnTo>
                  <a:cubicBezTo>
                    <a:pt x="8129" y="5388"/>
                    <a:pt x="7436" y="5136"/>
                    <a:pt x="6932" y="4758"/>
                  </a:cubicBezTo>
                  <a:cubicBezTo>
                    <a:pt x="6554" y="4475"/>
                    <a:pt x="6270" y="4160"/>
                    <a:pt x="6144" y="3813"/>
                  </a:cubicBezTo>
                  <a:lnTo>
                    <a:pt x="8759" y="3813"/>
                  </a:lnTo>
                  <a:cubicBezTo>
                    <a:pt x="8948" y="4160"/>
                    <a:pt x="9137" y="4380"/>
                    <a:pt x="9200" y="4412"/>
                  </a:cubicBezTo>
                  <a:cubicBezTo>
                    <a:pt x="9279" y="4506"/>
                    <a:pt x="9374" y="4553"/>
                    <a:pt x="9468" y="4553"/>
                  </a:cubicBezTo>
                  <a:cubicBezTo>
                    <a:pt x="9563" y="4553"/>
                    <a:pt x="9657" y="4506"/>
                    <a:pt x="9736" y="4412"/>
                  </a:cubicBezTo>
                  <a:cubicBezTo>
                    <a:pt x="9736" y="4412"/>
                    <a:pt x="9988" y="4160"/>
                    <a:pt x="10177" y="3750"/>
                  </a:cubicBezTo>
                  <a:close/>
                  <a:moveTo>
                    <a:pt x="1545" y="7562"/>
                  </a:moveTo>
                  <a:lnTo>
                    <a:pt x="1545" y="8318"/>
                  </a:lnTo>
                  <a:lnTo>
                    <a:pt x="788" y="8318"/>
                  </a:lnTo>
                  <a:lnTo>
                    <a:pt x="788" y="7562"/>
                  </a:lnTo>
                  <a:close/>
                  <a:moveTo>
                    <a:pt x="10523" y="7562"/>
                  </a:moveTo>
                  <a:lnTo>
                    <a:pt x="10523" y="8318"/>
                  </a:lnTo>
                  <a:lnTo>
                    <a:pt x="9767" y="8318"/>
                  </a:lnTo>
                  <a:lnTo>
                    <a:pt x="9767" y="7562"/>
                  </a:lnTo>
                  <a:close/>
                  <a:moveTo>
                    <a:pt x="1576" y="9074"/>
                  </a:moveTo>
                  <a:lnTo>
                    <a:pt x="1576" y="9421"/>
                  </a:lnTo>
                  <a:lnTo>
                    <a:pt x="1545" y="9421"/>
                  </a:lnTo>
                  <a:cubicBezTo>
                    <a:pt x="1545" y="9641"/>
                    <a:pt x="1387" y="9799"/>
                    <a:pt x="1198" y="9799"/>
                  </a:cubicBezTo>
                  <a:cubicBezTo>
                    <a:pt x="1009" y="9799"/>
                    <a:pt x="851" y="9641"/>
                    <a:pt x="851" y="9421"/>
                  </a:cubicBezTo>
                  <a:lnTo>
                    <a:pt x="851" y="9074"/>
                  </a:lnTo>
                  <a:close/>
                  <a:moveTo>
                    <a:pt x="10555" y="9074"/>
                  </a:moveTo>
                  <a:lnTo>
                    <a:pt x="10555" y="9421"/>
                  </a:lnTo>
                  <a:lnTo>
                    <a:pt x="10523" y="9421"/>
                  </a:lnTo>
                  <a:cubicBezTo>
                    <a:pt x="10523" y="9641"/>
                    <a:pt x="10366" y="9799"/>
                    <a:pt x="10177" y="9799"/>
                  </a:cubicBezTo>
                  <a:cubicBezTo>
                    <a:pt x="9956" y="9799"/>
                    <a:pt x="9799" y="9641"/>
                    <a:pt x="9799" y="9421"/>
                  </a:cubicBezTo>
                  <a:lnTo>
                    <a:pt x="9799" y="9074"/>
                  </a:lnTo>
                  <a:close/>
                  <a:moveTo>
                    <a:pt x="1198" y="10555"/>
                  </a:moveTo>
                  <a:cubicBezTo>
                    <a:pt x="1387" y="10555"/>
                    <a:pt x="1545" y="10713"/>
                    <a:pt x="1545" y="10933"/>
                  </a:cubicBezTo>
                  <a:cubicBezTo>
                    <a:pt x="1545" y="11059"/>
                    <a:pt x="1545" y="11059"/>
                    <a:pt x="1198" y="11689"/>
                  </a:cubicBezTo>
                  <a:cubicBezTo>
                    <a:pt x="820" y="11059"/>
                    <a:pt x="820" y="11059"/>
                    <a:pt x="820" y="10933"/>
                  </a:cubicBezTo>
                  <a:cubicBezTo>
                    <a:pt x="820" y="10713"/>
                    <a:pt x="977" y="10555"/>
                    <a:pt x="1198" y="10555"/>
                  </a:cubicBezTo>
                  <a:close/>
                  <a:moveTo>
                    <a:pt x="10114" y="10618"/>
                  </a:moveTo>
                  <a:cubicBezTo>
                    <a:pt x="10334" y="10618"/>
                    <a:pt x="10492" y="10776"/>
                    <a:pt x="10492" y="10965"/>
                  </a:cubicBezTo>
                  <a:cubicBezTo>
                    <a:pt x="10523" y="10965"/>
                    <a:pt x="10492" y="11059"/>
                    <a:pt x="10492" y="11091"/>
                  </a:cubicBezTo>
                  <a:lnTo>
                    <a:pt x="10177" y="11689"/>
                  </a:lnTo>
                  <a:lnTo>
                    <a:pt x="9799" y="11091"/>
                  </a:lnTo>
                  <a:cubicBezTo>
                    <a:pt x="9799" y="11059"/>
                    <a:pt x="9767" y="10996"/>
                    <a:pt x="9767" y="10965"/>
                  </a:cubicBezTo>
                  <a:cubicBezTo>
                    <a:pt x="9767" y="10776"/>
                    <a:pt x="9925" y="10618"/>
                    <a:pt x="10114" y="10618"/>
                  </a:cubicBezTo>
                  <a:close/>
                  <a:moveTo>
                    <a:pt x="5672" y="4538"/>
                  </a:moveTo>
                  <a:cubicBezTo>
                    <a:pt x="5861" y="4821"/>
                    <a:pt x="6144" y="5105"/>
                    <a:pt x="6522" y="5325"/>
                  </a:cubicBezTo>
                  <a:cubicBezTo>
                    <a:pt x="7184" y="5798"/>
                    <a:pt x="7972" y="6081"/>
                    <a:pt x="8665" y="6081"/>
                  </a:cubicBezTo>
                  <a:lnTo>
                    <a:pt x="9011" y="6081"/>
                  </a:lnTo>
                  <a:lnTo>
                    <a:pt x="9011" y="8696"/>
                  </a:lnTo>
                  <a:cubicBezTo>
                    <a:pt x="9011" y="10524"/>
                    <a:pt x="7530" y="12036"/>
                    <a:pt x="5672" y="12036"/>
                  </a:cubicBezTo>
                  <a:cubicBezTo>
                    <a:pt x="3813" y="12036"/>
                    <a:pt x="2332" y="10524"/>
                    <a:pt x="2332" y="8696"/>
                  </a:cubicBezTo>
                  <a:lnTo>
                    <a:pt x="2332" y="6081"/>
                  </a:lnTo>
                  <a:lnTo>
                    <a:pt x="2679" y="6081"/>
                  </a:lnTo>
                  <a:cubicBezTo>
                    <a:pt x="3403" y="6081"/>
                    <a:pt x="4191" y="5798"/>
                    <a:pt x="4853" y="5325"/>
                  </a:cubicBezTo>
                  <a:cubicBezTo>
                    <a:pt x="5199" y="5105"/>
                    <a:pt x="5483" y="4821"/>
                    <a:pt x="5672" y="4538"/>
                  </a:cubicBezTo>
                  <a:close/>
                  <a:moveTo>
                    <a:pt x="5672" y="1"/>
                  </a:moveTo>
                  <a:cubicBezTo>
                    <a:pt x="2584" y="1"/>
                    <a:pt x="95" y="2584"/>
                    <a:pt x="95" y="5640"/>
                  </a:cubicBezTo>
                  <a:lnTo>
                    <a:pt x="95" y="9389"/>
                  </a:lnTo>
                  <a:cubicBezTo>
                    <a:pt x="95" y="9673"/>
                    <a:pt x="221" y="9925"/>
                    <a:pt x="347" y="10145"/>
                  </a:cubicBezTo>
                  <a:cubicBezTo>
                    <a:pt x="1" y="10524"/>
                    <a:pt x="1" y="11091"/>
                    <a:pt x="221" y="11343"/>
                  </a:cubicBezTo>
                  <a:lnTo>
                    <a:pt x="883" y="12540"/>
                  </a:lnTo>
                  <a:cubicBezTo>
                    <a:pt x="946" y="12666"/>
                    <a:pt x="1072" y="12729"/>
                    <a:pt x="1198" y="12729"/>
                  </a:cubicBezTo>
                  <a:cubicBezTo>
                    <a:pt x="1324" y="12729"/>
                    <a:pt x="1450" y="12666"/>
                    <a:pt x="1513" y="12540"/>
                  </a:cubicBezTo>
                  <a:cubicBezTo>
                    <a:pt x="2175" y="11343"/>
                    <a:pt x="2238" y="11311"/>
                    <a:pt x="2301" y="10965"/>
                  </a:cubicBezTo>
                  <a:cubicBezTo>
                    <a:pt x="3025" y="12036"/>
                    <a:pt x="4254" y="12729"/>
                    <a:pt x="5640" y="12729"/>
                  </a:cubicBezTo>
                  <a:cubicBezTo>
                    <a:pt x="7026" y="12729"/>
                    <a:pt x="8287" y="12036"/>
                    <a:pt x="8980" y="10965"/>
                  </a:cubicBezTo>
                  <a:cubicBezTo>
                    <a:pt x="8980" y="11091"/>
                    <a:pt x="9043" y="11185"/>
                    <a:pt x="9074" y="11311"/>
                  </a:cubicBezTo>
                  <a:lnTo>
                    <a:pt x="9074" y="11343"/>
                  </a:lnTo>
                  <a:lnTo>
                    <a:pt x="9736" y="12540"/>
                  </a:lnTo>
                  <a:cubicBezTo>
                    <a:pt x="9799" y="12666"/>
                    <a:pt x="9925" y="12729"/>
                    <a:pt x="10051" y="12729"/>
                  </a:cubicBezTo>
                  <a:cubicBezTo>
                    <a:pt x="10177" y="12729"/>
                    <a:pt x="10334" y="12666"/>
                    <a:pt x="10366" y="12540"/>
                  </a:cubicBezTo>
                  <a:lnTo>
                    <a:pt x="11028" y="11406"/>
                  </a:lnTo>
                  <a:cubicBezTo>
                    <a:pt x="11122" y="11248"/>
                    <a:pt x="11154" y="11028"/>
                    <a:pt x="11154" y="10870"/>
                  </a:cubicBezTo>
                  <a:cubicBezTo>
                    <a:pt x="11154" y="10618"/>
                    <a:pt x="11028" y="10335"/>
                    <a:pt x="10870" y="10145"/>
                  </a:cubicBezTo>
                  <a:cubicBezTo>
                    <a:pt x="11091" y="9925"/>
                    <a:pt x="11154" y="9673"/>
                    <a:pt x="11154" y="9389"/>
                  </a:cubicBezTo>
                  <a:cubicBezTo>
                    <a:pt x="11280" y="4979"/>
                    <a:pt x="11280" y="5294"/>
                    <a:pt x="11217" y="5168"/>
                  </a:cubicBezTo>
                  <a:cubicBezTo>
                    <a:pt x="11154" y="4317"/>
                    <a:pt x="10870" y="3498"/>
                    <a:pt x="10429" y="2773"/>
                  </a:cubicBezTo>
                  <a:cubicBezTo>
                    <a:pt x="10492" y="2616"/>
                    <a:pt x="10492" y="2458"/>
                    <a:pt x="10492" y="2301"/>
                  </a:cubicBezTo>
                  <a:cubicBezTo>
                    <a:pt x="10492" y="1167"/>
                    <a:pt x="9704" y="221"/>
                    <a:pt x="9641" y="190"/>
                  </a:cubicBezTo>
                  <a:cubicBezTo>
                    <a:pt x="9578" y="95"/>
                    <a:pt x="9484" y="64"/>
                    <a:pt x="9389" y="64"/>
                  </a:cubicBezTo>
                  <a:cubicBezTo>
                    <a:pt x="9263" y="64"/>
                    <a:pt x="9169" y="95"/>
                    <a:pt x="9106" y="190"/>
                  </a:cubicBezTo>
                  <a:cubicBezTo>
                    <a:pt x="9106" y="221"/>
                    <a:pt x="8822" y="473"/>
                    <a:pt x="8633" y="883"/>
                  </a:cubicBezTo>
                  <a:cubicBezTo>
                    <a:pt x="7719" y="316"/>
                    <a:pt x="6743" y="1"/>
                    <a:pt x="56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90" name="Google Shape;7390;p74"/>
          <p:cNvGrpSpPr/>
          <p:nvPr/>
        </p:nvGrpSpPr>
        <p:grpSpPr>
          <a:xfrm>
            <a:off x="7105151" y="4484816"/>
            <a:ext cx="426647" cy="482664"/>
            <a:chOff x="-54426150" y="2294725"/>
            <a:chExt cx="282000" cy="319025"/>
          </a:xfrm>
        </p:grpSpPr>
        <p:sp>
          <p:nvSpPr>
            <p:cNvPr id="7391" name="Google Shape;7391;p74"/>
            <p:cNvSpPr/>
            <p:nvPr/>
          </p:nvSpPr>
          <p:spPr>
            <a:xfrm>
              <a:off x="-54320600" y="2527275"/>
              <a:ext cx="72475" cy="29750"/>
            </a:xfrm>
            <a:custGeom>
              <a:avLst/>
              <a:gdLst/>
              <a:ahLst/>
              <a:cxnLst/>
              <a:rect l="l" t="t" r="r" b="b"/>
              <a:pathLst>
                <a:path w="2899" h="1190" extrusionOk="0">
                  <a:moveTo>
                    <a:pt x="398" y="1"/>
                  </a:moveTo>
                  <a:cubicBezTo>
                    <a:pt x="308" y="1"/>
                    <a:pt x="221" y="40"/>
                    <a:pt x="158" y="119"/>
                  </a:cubicBezTo>
                  <a:cubicBezTo>
                    <a:pt x="0" y="276"/>
                    <a:pt x="0" y="528"/>
                    <a:pt x="158" y="623"/>
                  </a:cubicBezTo>
                  <a:cubicBezTo>
                    <a:pt x="505" y="1001"/>
                    <a:pt x="977" y="1190"/>
                    <a:pt x="1450" y="1190"/>
                  </a:cubicBezTo>
                  <a:cubicBezTo>
                    <a:pt x="1922" y="1190"/>
                    <a:pt x="2426" y="1001"/>
                    <a:pt x="2741" y="623"/>
                  </a:cubicBezTo>
                  <a:cubicBezTo>
                    <a:pt x="2899" y="465"/>
                    <a:pt x="2899" y="245"/>
                    <a:pt x="2741" y="119"/>
                  </a:cubicBezTo>
                  <a:cubicBezTo>
                    <a:pt x="2663" y="40"/>
                    <a:pt x="2568" y="1"/>
                    <a:pt x="2478" y="1"/>
                  </a:cubicBezTo>
                  <a:cubicBezTo>
                    <a:pt x="2387" y="1"/>
                    <a:pt x="2300" y="40"/>
                    <a:pt x="2237" y="119"/>
                  </a:cubicBezTo>
                  <a:cubicBezTo>
                    <a:pt x="2048" y="308"/>
                    <a:pt x="1733" y="434"/>
                    <a:pt x="1450" y="434"/>
                  </a:cubicBezTo>
                  <a:cubicBezTo>
                    <a:pt x="1135" y="434"/>
                    <a:pt x="851" y="308"/>
                    <a:pt x="662" y="119"/>
                  </a:cubicBezTo>
                  <a:cubicBezTo>
                    <a:pt x="583" y="40"/>
                    <a:pt x="489" y="1"/>
                    <a:pt x="3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2" name="Google Shape;7392;p74"/>
            <p:cNvSpPr/>
            <p:nvPr/>
          </p:nvSpPr>
          <p:spPr>
            <a:xfrm>
              <a:off x="-54330850" y="2464075"/>
              <a:ext cx="18150" cy="18125"/>
            </a:xfrm>
            <a:custGeom>
              <a:avLst/>
              <a:gdLst/>
              <a:ahLst/>
              <a:cxnLst/>
              <a:rect l="l" t="t" r="r" b="b"/>
              <a:pathLst>
                <a:path w="726" h="725" extrusionOk="0">
                  <a:moveTo>
                    <a:pt x="379" y="0"/>
                  </a:moveTo>
                  <a:cubicBezTo>
                    <a:pt x="190" y="0"/>
                    <a:pt x="1" y="158"/>
                    <a:pt x="1" y="378"/>
                  </a:cubicBezTo>
                  <a:cubicBezTo>
                    <a:pt x="1" y="567"/>
                    <a:pt x="190" y="725"/>
                    <a:pt x="379" y="725"/>
                  </a:cubicBezTo>
                  <a:cubicBezTo>
                    <a:pt x="568" y="725"/>
                    <a:pt x="725" y="567"/>
                    <a:pt x="725" y="378"/>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3" name="Google Shape;7393;p74"/>
            <p:cNvSpPr/>
            <p:nvPr/>
          </p:nvSpPr>
          <p:spPr>
            <a:xfrm>
              <a:off x="-54256800" y="2464075"/>
              <a:ext cx="18125" cy="18125"/>
            </a:xfrm>
            <a:custGeom>
              <a:avLst/>
              <a:gdLst/>
              <a:ahLst/>
              <a:cxnLst/>
              <a:rect l="l" t="t" r="r" b="b"/>
              <a:pathLst>
                <a:path w="725" h="725" extrusionOk="0">
                  <a:moveTo>
                    <a:pt x="347" y="0"/>
                  </a:moveTo>
                  <a:cubicBezTo>
                    <a:pt x="158" y="0"/>
                    <a:pt x="0" y="158"/>
                    <a:pt x="0" y="378"/>
                  </a:cubicBezTo>
                  <a:cubicBezTo>
                    <a:pt x="0" y="567"/>
                    <a:pt x="158" y="725"/>
                    <a:pt x="347" y="725"/>
                  </a:cubicBezTo>
                  <a:cubicBezTo>
                    <a:pt x="567" y="725"/>
                    <a:pt x="725" y="567"/>
                    <a:pt x="725" y="378"/>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4" name="Google Shape;7394;p74"/>
            <p:cNvSpPr/>
            <p:nvPr/>
          </p:nvSpPr>
          <p:spPr>
            <a:xfrm>
              <a:off x="-54426150" y="2294725"/>
              <a:ext cx="282000" cy="319025"/>
            </a:xfrm>
            <a:custGeom>
              <a:avLst/>
              <a:gdLst/>
              <a:ahLst/>
              <a:cxnLst/>
              <a:rect l="l" t="t" r="r" b="b"/>
              <a:pathLst>
                <a:path w="11280" h="12761" extrusionOk="0">
                  <a:moveTo>
                    <a:pt x="8381" y="757"/>
                  </a:moveTo>
                  <a:cubicBezTo>
                    <a:pt x="9106" y="757"/>
                    <a:pt x="9610" y="1387"/>
                    <a:pt x="9484" y="2049"/>
                  </a:cubicBezTo>
                  <a:lnTo>
                    <a:pt x="9106" y="4538"/>
                  </a:lnTo>
                  <a:lnTo>
                    <a:pt x="2301" y="4538"/>
                  </a:lnTo>
                  <a:lnTo>
                    <a:pt x="1891" y="2049"/>
                  </a:lnTo>
                  <a:cubicBezTo>
                    <a:pt x="1734" y="1387"/>
                    <a:pt x="2238" y="757"/>
                    <a:pt x="2962" y="757"/>
                  </a:cubicBezTo>
                  <a:close/>
                  <a:moveTo>
                    <a:pt x="2962" y="5294"/>
                  </a:moveTo>
                  <a:cubicBezTo>
                    <a:pt x="2836" y="5609"/>
                    <a:pt x="2616" y="5829"/>
                    <a:pt x="2301" y="5955"/>
                  </a:cubicBezTo>
                  <a:lnTo>
                    <a:pt x="2301" y="5294"/>
                  </a:lnTo>
                  <a:close/>
                  <a:moveTo>
                    <a:pt x="9011" y="5294"/>
                  </a:moveTo>
                  <a:lnTo>
                    <a:pt x="9011" y="5955"/>
                  </a:lnTo>
                  <a:cubicBezTo>
                    <a:pt x="8696" y="5829"/>
                    <a:pt x="8476" y="5609"/>
                    <a:pt x="8350" y="5294"/>
                  </a:cubicBezTo>
                  <a:close/>
                  <a:moveTo>
                    <a:pt x="9767" y="6743"/>
                  </a:moveTo>
                  <a:cubicBezTo>
                    <a:pt x="10177" y="6743"/>
                    <a:pt x="10523" y="7058"/>
                    <a:pt x="10523" y="7499"/>
                  </a:cubicBezTo>
                  <a:cubicBezTo>
                    <a:pt x="10523" y="7940"/>
                    <a:pt x="10177" y="8255"/>
                    <a:pt x="9767" y="8255"/>
                  </a:cubicBezTo>
                  <a:lnTo>
                    <a:pt x="9767" y="6743"/>
                  </a:lnTo>
                  <a:close/>
                  <a:moveTo>
                    <a:pt x="1545" y="6774"/>
                  </a:moveTo>
                  <a:lnTo>
                    <a:pt x="1545" y="8287"/>
                  </a:lnTo>
                  <a:cubicBezTo>
                    <a:pt x="1135" y="8255"/>
                    <a:pt x="788" y="7940"/>
                    <a:pt x="788" y="7530"/>
                  </a:cubicBezTo>
                  <a:cubicBezTo>
                    <a:pt x="788" y="7152"/>
                    <a:pt x="1103" y="6774"/>
                    <a:pt x="1545" y="6774"/>
                  </a:cubicBezTo>
                  <a:close/>
                  <a:moveTo>
                    <a:pt x="7593" y="5294"/>
                  </a:moveTo>
                  <a:cubicBezTo>
                    <a:pt x="7751" y="6050"/>
                    <a:pt x="8318" y="6585"/>
                    <a:pt x="9074" y="6743"/>
                  </a:cubicBezTo>
                  <a:lnTo>
                    <a:pt x="9074" y="8633"/>
                  </a:lnTo>
                  <a:cubicBezTo>
                    <a:pt x="9011" y="10492"/>
                    <a:pt x="7530" y="11973"/>
                    <a:pt x="5672" y="11973"/>
                  </a:cubicBezTo>
                  <a:cubicBezTo>
                    <a:pt x="3813" y="11973"/>
                    <a:pt x="2332" y="10492"/>
                    <a:pt x="2332" y="8633"/>
                  </a:cubicBezTo>
                  <a:lnTo>
                    <a:pt x="2332" y="6743"/>
                  </a:lnTo>
                  <a:cubicBezTo>
                    <a:pt x="3088" y="6585"/>
                    <a:pt x="3624" y="6018"/>
                    <a:pt x="3781" y="5294"/>
                  </a:cubicBezTo>
                  <a:close/>
                  <a:moveTo>
                    <a:pt x="2931" y="1"/>
                  </a:moveTo>
                  <a:cubicBezTo>
                    <a:pt x="1797" y="1"/>
                    <a:pt x="883" y="1040"/>
                    <a:pt x="1072" y="2175"/>
                  </a:cubicBezTo>
                  <a:lnTo>
                    <a:pt x="1513" y="4916"/>
                  </a:lnTo>
                  <a:lnTo>
                    <a:pt x="1513" y="6018"/>
                  </a:lnTo>
                  <a:cubicBezTo>
                    <a:pt x="662" y="6018"/>
                    <a:pt x="1" y="6711"/>
                    <a:pt x="1" y="7530"/>
                  </a:cubicBezTo>
                  <a:cubicBezTo>
                    <a:pt x="1" y="8350"/>
                    <a:pt x="662" y="9043"/>
                    <a:pt x="1513" y="9043"/>
                  </a:cubicBezTo>
                  <a:cubicBezTo>
                    <a:pt x="1702" y="11122"/>
                    <a:pt x="3466" y="12760"/>
                    <a:pt x="5609" y="12760"/>
                  </a:cubicBezTo>
                  <a:cubicBezTo>
                    <a:pt x="7719" y="12760"/>
                    <a:pt x="9484" y="11122"/>
                    <a:pt x="9704" y="9043"/>
                  </a:cubicBezTo>
                  <a:cubicBezTo>
                    <a:pt x="10523" y="9043"/>
                    <a:pt x="11185" y="8350"/>
                    <a:pt x="11185" y="7530"/>
                  </a:cubicBezTo>
                  <a:cubicBezTo>
                    <a:pt x="11280" y="6711"/>
                    <a:pt x="10586" y="6018"/>
                    <a:pt x="9767" y="6018"/>
                  </a:cubicBezTo>
                  <a:lnTo>
                    <a:pt x="9767" y="4916"/>
                  </a:lnTo>
                  <a:lnTo>
                    <a:pt x="10208" y="2175"/>
                  </a:lnTo>
                  <a:cubicBezTo>
                    <a:pt x="10397" y="1040"/>
                    <a:pt x="9547" y="1"/>
                    <a:pt x="83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5" name="Google Shape;7395;p74"/>
            <p:cNvSpPr/>
            <p:nvPr/>
          </p:nvSpPr>
          <p:spPr>
            <a:xfrm>
              <a:off x="-54312725" y="2334125"/>
              <a:ext cx="54375" cy="53575"/>
            </a:xfrm>
            <a:custGeom>
              <a:avLst/>
              <a:gdLst/>
              <a:ahLst/>
              <a:cxnLst/>
              <a:rect l="l" t="t" r="r" b="b"/>
              <a:pathLst>
                <a:path w="2175" h="2143" extrusionOk="0">
                  <a:moveTo>
                    <a:pt x="1103" y="0"/>
                  </a:moveTo>
                  <a:cubicBezTo>
                    <a:pt x="914" y="0"/>
                    <a:pt x="757" y="158"/>
                    <a:pt x="757" y="347"/>
                  </a:cubicBezTo>
                  <a:lnTo>
                    <a:pt x="757" y="725"/>
                  </a:lnTo>
                  <a:lnTo>
                    <a:pt x="379" y="725"/>
                  </a:lnTo>
                  <a:cubicBezTo>
                    <a:pt x="190" y="725"/>
                    <a:pt x="32" y="882"/>
                    <a:pt x="32" y="1071"/>
                  </a:cubicBezTo>
                  <a:cubicBezTo>
                    <a:pt x="0" y="1229"/>
                    <a:pt x="158" y="1418"/>
                    <a:pt x="379" y="1418"/>
                  </a:cubicBezTo>
                  <a:lnTo>
                    <a:pt x="757" y="1418"/>
                  </a:lnTo>
                  <a:lnTo>
                    <a:pt x="757" y="1796"/>
                  </a:lnTo>
                  <a:cubicBezTo>
                    <a:pt x="757" y="1985"/>
                    <a:pt x="914" y="2142"/>
                    <a:pt x="1103" y="2142"/>
                  </a:cubicBezTo>
                  <a:cubicBezTo>
                    <a:pt x="1292" y="2142"/>
                    <a:pt x="1450" y="1985"/>
                    <a:pt x="1450" y="1796"/>
                  </a:cubicBezTo>
                  <a:lnTo>
                    <a:pt x="1450" y="1418"/>
                  </a:lnTo>
                  <a:lnTo>
                    <a:pt x="1796" y="1418"/>
                  </a:lnTo>
                  <a:cubicBezTo>
                    <a:pt x="2017" y="1418"/>
                    <a:pt x="2174" y="1260"/>
                    <a:pt x="2174" y="1071"/>
                  </a:cubicBezTo>
                  <a:cubicBezTo>
                    <a:pt x="2174" y="882"/>
                    <a:pt x="2017" y="725"/>
                    <a:pt x="1796" y="725"/>
                  </a:cubicBezTo>
                  <a:lnTo>
                    <a:pt x="1450" y="725"/>
                  </a:lnTo>
                  <a:lnTo>
                    <a:pt x="1450" y="347"/>
                  </a:lnTo>
                  <a:cubicBezTo>
                    <a:pt x="1450" y="158"/>
                    <a:pt x="1292"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396" name="Google Shape;7396;p74"/>
          <p:cNvGrpSpPr/>
          <p:nvPr/>
        </p:nvGrpSpPr>
        <p:grpSpPr>
          <a:xfrm>
            <a:off x="7102768" y="5108257"/>
            <a:ext cx="431413" cy="482625"/>
            <a:chOff x="-54427725" y="2686975"/>
            <a:chExt cx="285150" cy="319000"/>
          </a:xfrm>
        </p:grpSpPr>
        <p:sp>
          <p:nvSpPr>
            <p:cNvPr id="7397" name="Google Shape;7397;p74"/>
            <p:cNvSpPr/>
            <p:nvPr/>
          </p:nvSpPr>
          <p:spPr>
            <a:xfrm>
              <a:off x="-54320600" y="2919525"/>
              <a:ext cx="72475" cy="28950"/>
            </a:xfrm>
            <a:custGeom>
              <a:avLst/>
              <a:gdLst/>
              <a:ahLst/>
              <a:cxnLst/>
              <a:rect l="l" t="t" r="r" b="b"/>
              <a:pathLst>
                <a:path w="2899" h="1158" extrusionOk="0">
                  <a:moveTo>
                    <a:pt x="398" y="0"/>
                  </a:moveTo>
                  <a:cubicBezTo>
                    <a:pt x="308" y="0"/>
                    <a:pt x="221" y="39"/>
                    <a:pt x="158" y="118"/>
                  </a:cubicBezTo>
                  <a:cubicBezTo>
                    <a:pt x="0" y="276"/>
                    <a:pt x="0" y="496"/>
                    <a:pt x="158" y="622"/>
                  </a:cubicBezTo>
                  <a:cubicBezTo>
                    <a:pt x="505" y="969"/>
                    <a:pt x="977" y="1158"/>
                    <a:pt x="1450" y="1158"/>
                  </a:cubicBezTo>
                  <a:cubicBezTo>
                    <a:pt x="1922" y="1158"/>
                    <a:pt x="2426" y="969"/>
                    <a:pt x="2741" y="622"/>
                  </a:cubicBezTo>
                  <a:cubicBezTo>
                    <a:pt x="2899" y="465"/>
                    <a:pt x="2899" y="213"/>
                    <a:pt x="2741" y="118"/>
                  </a:cubicBezTo>
                  <a:cubicBezTo>
                    <a:pt x="2663" y="39"/>
                    <a:pt x="2568" y="0"/>
                    <a:pt x="2478" y="0"/>
                  </a:cubicBezTo>
                  <a:cubicBezTo>
                    <a:pt x="2387" y="0"/>
                    <a:pt x="2300" y="39"/>
                    <a:pt x="2237" y="118"/>
                  </a:cubicBezTo>
                  <a:cubicBezTo>
                    <a:pt x="2048" y="307"/>
                    <a:pt x="1733" y="433"/>
                    <a:pt x="1450" y="433"/>
                  </a:cubicBezTo>
                  <a:cubicBezTo>
                    <a:pt x="1135" y="433"/>
                    <a:pt x="851"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8" name="Google Shape;7398;p74"/>
            <p:cNvSpPr/>
            <p:nvPr/>
          </p:nvSpPr>
          <p:spPr>
            <a:xfrm>
              <a:off x="-54256800" y="28563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399" name="Google Shape;7399;p74"/>
            <p:cNvSpPr/>
            <p:nvPr/>
          </p:nvSpPr>
          <p:spPr>
            <a:xfrm>
              <a:off x="-54330850" y="2856300"/>
              <a:ext cx="18150" cy="17350"/>
            </a:xfrm>
            <a:custGeom>
              <a:avLst/>
              <a:gdLst/>
              <a:ahLst/>
              <a:cxnLst/>
              <a:rect l="l" t="t" r="r" b="b"/>
              <a:pathLst>
                <a:path w="726" h="694" extrusionOk="0">
                  <a:moveTo>
                    <a:pt x="379" y="1"/>
                  </a:moveTo>
                  <a:cubicBezTo>
                    <a:pt x="190" y="1"/>
                    <a:pt x="1" y="158"/>
                    <a:pt x="1" y="347"/>
                  </a:cubicBezTo>
                  <a:cubicBezTo>
                    <a:pt x="1" y="536"/>
                    <a:pt x="190"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0" name="Google Shape;7400;p74"/>
            <p:cNvSpPr/>
            <p:nvPr/>
          </p:nvSpPr>
          <p:spPr>
            <a:xfrm>
              <a:off x="-54427725" y="2686975"/>
              <a:ext cx="285150" cy="319000"/>
            </a:xfrm>
            <a:custGeom>
              <a:avLst/>
              <a:gdLst/>
              <a:ahLst/>
              <a:cxnLst/>
              <a:rect l="l" t="t" r="r" b="b"/>
              <a:pathLst>
                <a:path w="11406" h="12760" extrusionOk="0">
                  <a:moveTo>
                    <a:pt x="8696" y="756"/>
                  </a:moveTo>
                  <a:cubicBezTo>
                    <a:pt x="9326" y="756"/>
                    <a:pt x="9799" y="1260"/>
                    <a:pt x="9799" y="1859"/>
                  </a:cubicBezTo>
                  <a:lnTo>
                    <a:pt x="9799" y="4883"/>
                  </a:lnTo>
                  <a:cubicBezTo>
                    <a:pt x="9799" y="5072"/>
                    <a:pt x="9641" y="5230"/>
                    <a:pt x="9452" y="5230"/>
                  </a:cubicBezTo>
                  <a:lnTo>
                    <a:pt x="2017" y="5230"/>
                  </a:lnTo>
                  <a:cubicBezTo>
                    <a:pt x="1797" y="5230"/>
                    <a:pt x="1639" y="5072"/>
                    <a:pt x="1639" y="4883"/>
                  </a:cubicBezTo>
                  <a:cubicBezTo>
                    <a:pt x="1608" y="4852"/>
                    <a:pt x="1608" y="1922"/>
                    <a:pt x="1608" y="1859"/>
                  </a:cubicBezTo>
                  <a:cubicBezTo>
                    <a:pt x="1608" y="1229"/>
                    <a:pt x="2112" y="756"/>
                    <a:pt x="2710" y="756"/>
                  </a:cubicBezTo>
                  <a:close/>
                  <a:moveTo>
                    <a:pt x="1608" y="5955"/>
                  </a:moveTo>
                  <a:cubicBezTo>
                    <a:pt x="1734" y="5986"/>
                    <a:pt x="1860" y="6018"/>
                    <a:pt x="1954" y="6018"/>
                  </a:cubicBezTo>
                  <a:lnTo>
                    <a:pt x="2301" y="6018"/>
                  </a:lnTo>
                  <a:lnTo>
                    <a:pt x="2301" y="8317"/>
                  </a:lnTo>
                  <a:cubicBezTo>
                    <a:pt x="2301" y="9105"/>
                    <a:pt x="1986" y="9798"/>
                    <a:pt x="1450" y="10334"/>
                  </a:cubicBezTo>
                  <a:cubicBezTo>
                    <a:pt x="1401" y="10433"/>
                    <a:pt x="1317" y="10480"/>
                    <a:pt x="1225" y="10480"/>
                  </a:cubicBezTo>
                  <a:cubicBezTo>
                    <a:pt x="1142" y="10480"/>
                    <a:pt x="1053" y="10440"/>
                    <a:pt x="977" y="10365"/>
                  </a:cubicBezTo>
                  <a:cubicBezTo>
                    <a:pt x="820" y="10208"/>
                    <a:pt x="820" y="9956"/>
                    <a:pt x="977" y="9830"/>
                  </a:cubicBezTo>
                  <a:cubicBezTo>
                    <a:pt x="1355" y="9452"/>
                    <a:pt x="1608" y="8853"/>
                    <a:pt x="1608" y="8317"/>
                  </a:cubicBezTo>
                  <a:lnTo>
                    <a:pt x="1608" y="5955"/>
                  </a:lnTo>
                  <a:close/>
                  <a:moveTo>
                    <a:pt x="9799" y="5955"/>
                  </a:moveTo>
                  <a:lnTo>
                    <a:pt x="9799" y="6805"/>
                  </a:lnTo>
                  <a:cubicBezTo>
                    <a:pt x="9799" y="8853"/>
                    <a:pt x="9988" y="9420"/>
                    <a:pt x="10429" y="9830"/>
                  </a:cubicBezTo>
                  <a:cubicBezTo>
                    <a:pt x="10618" y="9987"/>
                    <a:pt x="10618" y="10239"/>
                    <a:pt x="10460" y="10365"/>
                  </a:cubicBezTo>
                  <a:cubicBezTo>
                    <a:pt x="10382" y="10444"/>
                    <a:pt x="10287" y="10483"/>
                    <a:pt x="10197" y="10483"/>
                  </a:cubicBezTo>
                  <a:cubicBezTo>
                    <a:pt x="10106" y="10483"/>
                    <a:pt x="10019" y="10444"/>
                    <a:pt x="9956" y="10365"/>
                  </a:cubicBezTo>
                  <a:cubicBezTo>
                    <a:pt x="9389" y="9798"/>
                    <a:pt x="9074" y="9042"/>
                    <a:pt x="9074" y="8317"/>
                  </a:cubicBezTo>
                  <a:lnTo>
                    <a:pt x="9074" y="6018"/>
                  </a:lnTo>
                  <a:lnTo>
                    <a:pt x="9452" y="6018"/>
                  </a:lnTo>
                  <a:cubicBezTo>
                    <a:pt x="9547" y="6018"/>
                    <a:pt x="9704" y="5986"/>
                    <a:pt x="9799" y="5955"/>
                  </a:cubicBezTo>
                  <a:close/>
                  <a:moveTo>
                    <a:pt x="8381" y="6018"/>
                  </a:moveTo>
                  <a:lnTo>
                    <a:pt x="8381" y="8317"/>
                  </a:lnTo>
                  <a:cubicBezTo>
                    <a:pt x="8381" y="8948"/>
                    <a:pt x="8539" y="9515"/>
                    <a:pt x="8822" y="10050"/>
                  </a:cubicBezTo>
                  <a:cubicBezTo>
                    <a:pt x="8224" y="11216"/>
                    <a:pt x="7026" y="11972"/>
                    <a:pt x="5735" y="11972"/>
                  </a:cubicBezTo>
                  <a:cubicBezTo>
                    <a:pt x="4443" y="11972"/>
                    <a:pt x="3246" y="11216"/>
                    <a:pt x="2710" y="10050"/>
                  </a:cubicBezTo>
                  <a:cubicBezTo>
                    <a:pt x="2994" y="9515"/>
                    <a:pt x="3151" y="8916"/>
                    <a:pt x="3151" y="8317"/>
                  </a:cubicBezTo>
                  <a:lnTo>
                    <a:pt x="3151" y="6018"/>
                  </a:lnTo>
                  <a:close/>
                  <a:moveTo>
                    <a:pt x="2710" y="0"/>
                  </a:moveTo>
                  <a:cubicBezTo>
                    <a:pt x="1671" y="0"/>
                    <a:pt x="851" y="819"/>
                    <a:pt x="851" y="1859"/>
                  </a:cubicBezTo>
                  <a:lnTo>
                    <a:pt x="851" y="8317"/>
                  </a:lnTo>
                  <a:cubicBezTo>
                    <a:pt x="851" y="8696"/>
                    <a:pt x="694" y="9042"/>
                    <a:pt x="410" y="9326"/>
                  </a:cubicBezTo>
                  <a:cubicBezTo>
                    <a:pt x="1" y="9767"/>
                    <a:pt x="1" y="10460"/>
                    <a:pt x="410" y="10901"/>
                  </a:cubicBezTo>
                  <a:cubicBezTo>
                    <a:pt x="631" y="11121"/>
                    <a:pt x="922" y="11232"/>
                    <a:pt x="1210" y="11232"/>
                  </a:cubicBezTo>
                  <a:cubicBezTo>
                    <a:pt x="1497" y="11232"/>
                    <a:pt x="1781" y="11121"/>
                    <a:pt x="1986" y="10901"/>
                  </a:cubicBezTo>
                  <a:lnTo>
                    <a:pt x="2143" y="10743"/>
                  </a:lnTo>
                  <a:cubicBezTo>
                    <a:pt x="2868" y="11972"/>
                    <a:pt x="4191" y="12760"/>
                    <a:pt x="5672" y="12760"/>
                  </a:cubicBezTo>
                  <a:cubicBezTo>
                    <a:pt x="7152" y="12760"/>
                    <a:pt x="8444" y="11972"/>
                    <a:pt x="9169" y="10743"/>
                  </a:cubicBezTo>
                  <a:cubicBezTo>
                    <a:pt x="9200" y="10838"/>
                    <a:pt x="9295" y="10869"/>
                    <a:pt x="9326" y="10901"/>
                  </a:cubicBezTo>
                  <a:cubicBezTo>
                    <a:pt x="9547" y="11121"/>
                    <a:pt x="9830" y="11232"/>
                    <a:pt x="10114" y="11232"/>
                  </a:cubicBezTo>
                  <a:cubicBezTo>
                    <a:pt x="10397" y="11232"/>
                    <a:pt x="10681" y="11121"/>
                    <a:pt x="10901" y="10901"/>
                  </a:cubicBezTo>
                  <a:cubicBezTo>
                    <a:pt x="11406" y="10460"/>
                    <a:pt x="11406" y="9767"/>
                    <a:pt x="10964" y="9326"/>
                  </a:cubicBezTo>
                  <a:cubicBezTo>
                    <a:pt x="10744" y="9105"/>
                    <a:pt x="10555" y="8727"/>
                    <a:pt x="10555" y="6805"/>
                  </a:cubicBezTo>
                  <a:lnTo>
                    <a:pt x="10555" y="1859"/>
                  </a:lnTo>
                  <a:cubicBezTo>
                    <a:pt x="10555" y="819"/>
                    <a:pt x="9704" y="0"/>
                    <a:pt x="86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1" name="Google Shape;7401;p74"/>
            <p:cNvSpPr/>
            <p:nvPr/>
          </p:nvSpPr>
          <p:spPr>
            <a:xfrm>
              <a:off x="-54330850" y="2717875"/>
              <a:ext cx="93750" cy="85425"/>
            </a:xfrm>
            <a:custGeom>
              <a:avLst/>
              <a:gdLst/>
              <a:ahLst/>
              <a:cxnLst/>
              <a:rect l="l" t="t" r="r" b="b"/>
              <a:pathLst>
                <a:path w="3750" h="3417" extrusionOk="0">
                  <a:moveTo>
                    <a:pt x="1828" y="1285"/>
                  </a:moveTo>
                  <a:lnTo>
                    <a:pt x="1891" y="1474"/>
                  </a:lnTo>
                  <a:cubicBezTo>
                    <a:pt x="1954" y="1600"/>
                    <a:pt x="2049" y="1663"/>
                    <a:pt x="2175" y="1663"/>
                  </a:cubicBezTo>
                  <a:lnTo>
                    <a:pt x="2364" y="1726"/>
                  </a:lnTo>
                  <a:lnTo>
                    <a:pt x="2206" y="1883"/>
                  </a:lnTo>
                  <a:cubicBezTo>
                    <a:pt x="2143" y="1946"/>
                    <a:pt x="2112" y="2072"/>
                    <a:pt x="2112" y="2198"/>
                  </a:cubicBezTo>
                  <a:lnTo>
                    <a:pt x="2143" y="2387"/>
                  </a:lnTo>
                  <a:lnTo>
                    <a:pt x="1954" y="2293"/>
                  </a:lnTo>
                  <a:cubicBezTo>
                    <a:pt x="1891" y="2277"/>
                    <a:pt x="1828" y="2269"/>
                    <a:pt x="1765" y="2269"/>
                  </a:cubicBezTo>
                  <a:cubicBezTo>
                    <a:pt x="1702" y="2269"/>
                    <a:pt x="1639" y="2277"/>
                    <a:pt x="1576" y="2293"/>
                  </a:cubicBezTo>
                  <a:lnTo>
                    <a:pt x="1387" y="2387"/>
                  </a:lnTo>
                  <a:lnTo>
                    <a:pt x="1450" y="2198"/>
                  </a:lnTo>
                  <a:cubicBezTo>
                    <a:pt x="1482" y="2072"/>
                    <a:pt x="1450" y="1946"/>
                    <a:pt x="1324" y="1883"/>
                  </a:cubicBezTo>
                  <a:lnTo>
                    <a:pt x="1167" y="1726"/>
                  </a:lnTo>
                  <a:lnTo>
                    <a:pt x="1482" y="1663"/>
                  </a:lnTo>
                  <a:cubicBezTo>
                    <a:pt x="1576" y="1663"/>
                    <a:pt x="1702" y="1600"/>
                    <a:pt x="1734" y="1474"/>
                  </a:cubicBezTo>
                  <a:lnTo>
                    <a:pt x="1828" y="1285"/>
                  </a:lnTo>
                  <a:close/>
                  <a:moveTo>
                    <a:pt x="1887" y="1"/>
                  </a:moveTo>
                  <a:cubicBezTo>
                    <a:pt x="1749" y="1"/>
                    <a:pt x="1608" y="72"/>
                    <a:pt x="1545" y="213"/>
                  </a:cubicBezTo>
                  <a:lnTo>
                    <a:pt x="1198" y="938"/>
                  </a:lnTo>
                  <a:lnTo>
                    <a:pt x="442" y="1033"/>
                  </a:lnTo>
                  <a:cubicBezTo>
                    <a:pt x="127" y="1096"/>
                    <a:pt x="1" y="1474"/>
                    <a:pt x="253" y="1663"/>
                  </a:cubicBezTo>
                  <a:lnTo>
                    <a:pt x="757" y="2230"/>
                  </a:lnTo>
                  <a:lnTo>
                    <a:pt x="631" y="2986"/>
                  </a:lnTo>
                  <a:cubicBezTo>
                    <a:pt x="607" y="3229"/>
                    <a:pt x="789" y="3416"/>
                    <a:pt x="1004" y="3416"/>
                  </a:cubicBezTo>
                  <a:cubicBezTo>
                    <a:pt x="1067" y="3416"/>
                    <a:pt x="1133" y="3400"/>
                    <a:pt x="1198" y="3364"/>
                  </a:cubicBezTo>
                  <a:lnTo>
                    <a:pt x="1860" y="3017"/>
                  </a:lnTo>
                  <a:lnTo>
                    <a:pt x="2521" y="3364"/>
                  </a:lnTo>
                  <a:cubicBezTo>
                    <a:pt x="2586" y="3400"/>
                    <a:pt x="2652" y="3416"/>
                    <a:pt x="2715" y="3416"/>
                  </a:cubicBezTo>
                  <a:cubicBezTo>
                    <a:pt x="2930" y="3416"/>
                    <a:pt x="3113" y="3229"/>
                    <a:pt x="3088" y="2986"/>
                  </a:cubicBezTo>
                  <a:lnTo>
                    <a:pt x="2962" y="2230"/>
                  </a:lnTo>
                  <a:lnTo>
                    <a:pt x="3529" y="1663"/>
                  </a:lnTo>
                  <a:cubicBezTo>
                    <a:pt x="3750" y="1474"/>
                    <a:pt x="3624" y="1096"/>
                    <a:pt x="3309" y="1033"/>
                  </a:cubicBezTo>
                  <a:lnTo>
                    <a:pt x="2584" y="938"/>
                  </a:lnTo>
                  <a:lnTo>
                    <a:pt x="2206" y="213"/>
                  </a:lnTo>
                  <a:cubicBezTo>
                    <a:pt x="2159" y="72"/>
                    <a:pt x="2025" y="1"/>
                    <a:pt x="18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02" name="Google Shape;7402;p74"/>
          <p:cNvGrpSpPr/>
          <p:nvPr/>
        </p:nvGrpSpPr>
        <p:grpSpPr>
          <a:xfrm>
            <a:off x="10044846" y="3882884"/>
            <a:ext cx="479071" cy="479979"/>
            <a:chOff x="-52513800" y="1903475"/>
            <a:chExt cx="316650" cy="317250"/>
          </a:xfrm>
        </p:grpSpPr>
        <p:sp>
          <p:nvSpPr>
            <p:cNvPr id="7403" name="Google Shape;7403;p74"/>
            <p:cNvSpPr/>
            <p:nvPr/>
          </p:nvSpPr>
          <p:spPr>
            <a:xfrm>
              <a:off x="-52391700" y="2135825"/>
              <a:ext cx="72475" cy="28975"/>
            </a:xfrm>
            <a:custGeom>
              <a:avLst/>
              <a:gdLst/>
              <a:ahLst/>
              <a:cxnLst/>
              <a:rect l="l" t="t" r="r" b="b"/>
              <a:pathLst>
                <a:path w="2899" h="1159" extrusionOk="0">
                  <a:moveTo>
                    <a:pt x="386" y="1"/>
                  </a:moveTo>
                  <a:cubicBezTo>
                    <a:pt x="291" y="1"/>
                    <a:pt x="205" y="40"/>
                    <a:pt x="158" y="119"/>
                  </a:cubicBezTo>
                  <a:cubicBezTo>
                    <a:pt x="0" y="276"/>
                    <a:pt x="0" y="497"/>
                    <a:pt x="158" y="623"/>
                  </a:cubicBezTo>
                  <a:cubicBezTo>
                    <a:pt x="504" y="970"/>
                    <a:pt x="977" y="1159"/>
                    <a:pt x="1449" y="1159"/>
                  </a:cubicBezTo>
                  <a:cubicBezTo>
                    <a:pt x="1922" y="1159"/>
                    <a:pt x="2426" y="970"/>
                    <a:pt x="2741" y="623"/>
                  </a:cubicBezTo>
                  <a:cubicBezTo>
                    <a:pt x="2898" y="465"/>
                    <a:pt x="2898" y="213"/>
                    <a:pt x="2741" y="119"/>
                  </a:cubicBezTo>
                  <a:cubicBezTo>
                    <a:pt x="2662" y="40"/>
                    <a:pt x="2568" y="1"/>
                    <a:pt x="2477" y="1"/>
                  </a:cubicBezTo>
                  <a:cubicBezTo>
                    <a:pt x="2387" y="1"/>
                    <a:pt x="2300" y="40"/>
                    <a:pt x="2237" y="119"/>
                  </a:cubicBezTo>
                  <a:cubicBezTo>
                    <a:pt x="2048" y="308"/>
                    <a:pt x="1733" y="434"/>
                    <a:pt x="1449" y="434"/>
                  </a:cubicBezTo>
                  <a:cubicBezTo>
                    <a:pt x="1134" y="434"/>
                    <a:pt x="851" y="308"/>
                    <a:pt x="662" y="119"/>
                  </a:cubicBezTo>
                  <a:cubicBezTo>
                    <a:pt x="583" y="40"/>
                    <a:pt x="480" y="1"/>
                    <a:pt x="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4" name="Google Shape;7404;p74"/>
            <p:cNvSpPr/>
            <p:nvPr/>
          </p:nvSpPr>
          <p:spPr>
            <a:xfrm>
              <a:off x="-52513800" y="1903475"/>
              <a:ext cx="316650" cy="317250"/>
            </a:xfrm>
            <a:custGeom>
              <a:avLst/>
              <a:gdLst/>
              <a:ahLst/>
              <a:cxnLst/>
              <a:rect l="l" t="t" r="r" b="b"/>
              <a:pathLst>
                <a:path w="12666" h="12690" extrusionOk="0">
                  <a:moveTo>
                    <a:pt x="6333" y="781"/>
                  </a:moveTo>
                  <a:lnTo>
                    <a:pt x="11500" y="3332"/>
                  </a:lnTo>
                  <a:lnTo>
                    <a:pt x="10082" y="4057"/>
                  </a:lnTo>
                  <a:lnTo>
                    <a:pt x="9641" y="3175"/>
                  </a:lnTo>
                  <a:cubicBezTo>
                    <a:pt x="9547" y="3049"/>
                    <a:pt x="9452" y="2986"/>
                    <a:pt x="9326" y="2986"/>
                  </a:cubicBezTo>
                  <a:lnTo>
                    <a:pt x="3309" y="2986"/>
                  </a:lnTo>
                  <a:cubicBezTo>
                    <a:pt x="3151" y="2986"/>
                    <a:pt x="3025" y="3049"/>
                    <a:pt x="2994" y="3175"/>
                  </a:cubicBezTo>
                  <a:lnTo>
                    <a:pt x="2553" y="4057"/>
                  </a:lnTo>
                  <a:lnTo>
                    <a:pt x="1167" y="3332"/>
                  </a:lnTo>
                  <a:lnTo>
                    <a:pt x="6333" y="781"/>
                  </a:lnTo>
                  <a:close/>
                  <a:moveTo>
                    <a:pt x="9043" y="3742"/>
                  </a:moveTo>
                  <a:lnTo>
                    <a:pt x="9389" y="4467"/>
                  </a:lnTo>
                  <a:lnTo>
                    <a:pt x="3151" y="4467"/>
                  </a:lnTo>
                  <a:lnTo>
                    <a:pt x="3498" y="3742"/>
                  </a:lnTo>
                  <a:close/>
                  <a:moveTo>
                    <a:pt x="9673" y="5223"/>
                  </a:moveTo>
                  <a:lnTo>
                    <a:pt x="9673" y="6105"/>
                  </a:lnTo>
                  <a:cubicBezTo>
                    <a:pt x="9547" y="6042"/>
                    <a:pt x="9452" y="6010"/>
                    <a:pt x="9326" y="6010"/>
                  </a:cubicBezTo>
                  <a:lnTo>
                    <a:pt x="7782" y="6010"/>
                  </a:lnTo>
                  <a:cubicBezTo>
                    <a:pt x="7310" y="6010"/>
                    <a:pt x="6869" y="6325"/>
                    <a:pt x="6743" y="6766"/>
                  </a:cubicBezTo>
                  <a:lnTo>
                    <a:pt x="5861" y="6766"/>
                  </a:lnTo>
                  <a:cubicBezTo>
                    <a:pt x="5703" y="6325"/>
                    <a:pt x="5325" y="6010"/>
                    <a:pt x="4790" y="6010"/>
                  </a:cubicBezTo>
                  <a:lnTo>
                    <a:pt x="3277" y="6010"/>
                  </a:lnTo>
                  <a:cubicBezTo>
                    <a:pt x="3151" y="6010"/>
                    <a:pt x="2994" y="6042"/>
                    <a:pt x="2899" y="6105"/>
                  </a:cubicBezTo>
                  <a:lnTo>
                    <a:pt x="2899" y="5223"/>
                  </a:lnTo>
                  <a:close/>
                  <a:moveTo>
                    <a:pt x="4821" y="6766"/>
                  </a:moveTo>
                  <a:cubicBezTo>
                    <a:pt x="5042" y="6766"/>
                    <a:pt x="5199" y="6924"/>
                    <a:pt x="5199" y="7113"/>
                  </a:cubicBezTo>
                  <a:cubicBezTo>
                    <a:pt x="5199" y="7743"/>
                    <a:pt x="4664" y="8216"/>
                    <a:pt x="4096" y="8216"/>
                  </a:cubicBezTo>
                  <a:lnTo>
                    <a:pt x="3309" y="8216"/>
                  </a:lnTo>
                  <a:cubicBezTo>
                    <a:pt x="3088" y="8216"/>
                    <a:pt x="2931" y="8058"/>
                    <a:pt x="2931" y="7869"/>
                  </a:cubicBezTo>
                  <a:lnTo>
                    <a:pt x="2931" y="7113"/>
                  </a:lnTo>
                  <a:cubicBezTo>
                    <a:pt x="2931" y="6924"/>
                    <a:pt x="3088" y="6766"/>
                    <a:pt x="3309" y="6766"/>
                  </a:cubicBezTo>
                  <a:close/>
                  <a:moveTo>
                    <a:pt x="9326" y="6766"/>
                  </a:moveTo>
                  <a:cubicBezTo>
                    <a:pt x="9515" y="6766"/>
                    <a:pt x="9673" y="6924"/>
                    <a:pt x="9673" y="7113"/>
                  </a:cubicBezTo>
                  <a:lnTo>
                    <a:pt x="9673" y="7869"/>
                  </a:lnTo>
                  <a:cubicBezTo>
                    <a:pt x="9673" y="8058"/>
                    <a:pt x="9515" y="8216"/>
                    <a:pt x="9326" y="8216"/>
                  </a:cubicBezTo>
                  <a:lnTo>
                    <a:pt x="8570" y="8216"/>
                  </a:lnTo>
                  <a:cubicBezTo>
                    <a:pt x="7940" y="8216"/>
                    <a:pt x="7436" y="7712"/>
                    <a:pt x="7436" y="7113"/>
                  </a:cubicBezTo>
                  <a:cubicBezTo>
                    <a:pt x="7436" y="6924"/>
                    <a:pt x="7593" y="6766"/>
                    <a:pt x="7782" y="6766"/>
                  </a:cubicBezTo>
                  <a:close/>
                  <a:moveTo>
                    <a:pt x="2206" y="6766"/>
                  </a:moveTo>
                  <a:lnTo>
                    <a:pt x="2206" y="8247"/>
                  </a:lnTo>
                  <a:cubicBezTo>
                    <a:pt x="1765" y="8247"/>
                    <a:pt x="1450" y="7901"/>
                    <a:pt x="1450" y="7523"/>
                  </a:cubicBezTo>
                  <a:cubicBezTo>
                    <a:pt x="1450" y="7113"/>
                    <a:pt x="1765" y="6766"/>
                    <a:pt x="2206" y="6766"/>
                  </a:cubicBezTo>
                  <a:close/>
                  <a:moveTo>
                    <a:pt x="10429" y="6766"/>
                  </a:moveTo>
                  <a:cubicBezTo>
                    <a:pt x="10870" y="6766"/>
                    <a:pt x="11185" y="7082"/>
                    <a:pt x="11185" y="7523"/>
                  </a:cubicBezTo>
                  <a:cubicBezTo>
                    <a:pt x="11185" y="7901"/>
                    <a:pt x="10807" y="8247"/>
                    <a:pt x="10429" y="8247"/>
                  </a:cubicBezTo>
                  <a:lnTo>
                    <a:pt x="10429" y="6766"/>
                  </a:lnTo>
                  <a:close/>
                  <a:moveTo>
                    <a:pt x="6680" y="7523"/>
                  </a:moveTo>
                  <a:cubicBezTo>
                    <a:pt x="6774" y="7869"/>
                    <a:pt x="6932" y="8184"/>
                    <a:pt x="7184" y="8468"/>
                  </a:cubicBezTo>
                  <a:cubicBezTo>
                    <a:pt x="7562" y="8814"/>
                    <a:pt x="8035" y="9003"/>
                    <a:pt x="8539" y="9003"/>
                  </a:cubicBezTo>
                  <a:lnTo>
                    <a:pt x="9295" y="9003"/>
                  </a:lnTo>
                  <a:cubicBezTo>
                    <a:pt x="9389" y="9003"/>
                    <a:pt x="9515" y="8972"/>
                    <a:pt x="9641" y="8940"/>
                  </a:cubicBezTo>
                  <a:lnTo>
                    <a:pt x="9641" y="8940"/>
                  </a:lnTo>
                  <a:cubicBezTo>
                    <a:pt x="9515" y="10610"/>
                    <a:pt x="8066" y="11965"/>
                    <a:pt x="6302" y="11965"/>
                  </a:cubicBezTo>
                  <a:cubicBezTo>
                    <a:pt x="4506" y="11965"/>
                    <a:pt x="3088" y="10610"/>
                    <a:pt x="2899" y="8940"/>
                  </a:cubicBezTo>
                  <a:lnTo>
                    <a:pt x="2899" y="8940"/>
                  </a:lnTo>
                  <a:cubicBezTo>
                    <a:pt x="3025" y="8972"/>
                    <a:pt x="3151" y="9003"/>
                    <a:pt x="3246" y="9003"/>
                  </a:cubicBezTo>
                  <a:lnTo>
                    <a:pt x="4033" y="9003"/>
                  </a:lnTo>
                  <a:cubicBezTo>
                    <a:pt x="4947" y="9003"/>
                    <a:pt x="5703" y="8373"/>
                    <a:pt x="5861" y="7523"/>
                  </a:cubicBezTo>
                  <a:close/>
                  <a:moveTo>
                    <a:pt x="6310" y="1"/>
                  </a:moveTo>
                  <a:cubicBezTo>
                    <a:pt x="6255" y="1"/>
                    <a:pt x="6207" y="9"/>
                    <a:pt x="6176" y="24"/>
                  </a:cubicBezTo>
                  <a:lnTo>
                    <a:pt x="190" y="3017"/>
                  </a:lnTo>
                  <a:cubicBezTo>
                    <a:pt x="64" y="3112"/>
                    <a:pt x="1" y="3206"/>
                    <a:pt x="1" y="3332"/>
                  </a:cubicBezTo>
                  <a:cubicBezTo>
                    <a:pt x="1" y="3490"/>
                    <a:pt x="64" y="3616"/>
                    <a:pt x="190" y="3647"/>
                  </a:cubicBezTo>
                  <a:lnTo>
                    <a:pt x="2238" y="4656"/>
                  </a:lnTo>
                  <a:cubicBezTo>
                    <a:pt x="2238" y="4719"/>
                    <a:pt x="2206" y="4750"/>
                    <a:pt x="2206" y="4782"/>
                  </a:cubicBezTo>
                  <a:lnTo>
                    <a:pt x="2206" y="5979"/>
                  </a:lnTo>
                  <a:cubicBezTo>
                    <a:pt x="1356" y="5979"/>
                    <a:pt x="694" y="6640"/>
                    <a:pt x="694" y="7460"/>
                  </a:cubicBezTo>
                  <a:cubicBezTo>
                    <a:pt x="694" y="8279"/>
                    <a:pt x="1356" y="8972"/>
                    <a:pt x="2206" y="8972"/>
                  </a:cubicBezTo>
                  <a:cubicBezTo>
                    <a:pt x="2395" y="11051"/>
                    <a:pt x="4159" y="12689"/>
                    <a:pt x="6302" y="12689"/>
                  </a:cubicBezTo>
                  <a:cubicBezTo>
                    <a:pt x="8413" y="12689"/>
                    <a:pt x="10240" y="11051"/>
                    <a:pt x="10397" y="8972"/>
                  </a:cubicBezTo>
                  <a:cubicBezTo>
                    <a:pt x="11217" y="8972"/>
                    <a:pt x="11878" y="8279"/>
                    <a:pt x="11878" y="7460"/>
                  </a:cubicBezTo>
                  <a:cubicBezTo>
                    <a:pt x="11878" y="6640"/>
                    <a:pt x="11217" y="5979"/>
                    <a:pt x="10397" y="5979"/>
                  </a:cubicBezTo>
                  <a:lnTo>
                    <a:pt x="10397" y="4782"/>
                  </a:lnTo>
                  <a:cubicBezTo>
                    <a:pt x="10397" y="4750"/>
                    <a:pt x="10397" y="4719"/>
                    <a:pt x="10334" y="4656"/>
                  </a:cubicBezTo>
                  <a:lnTo>
                    <a:pt x="11847" y="3931"/>
                  </a:lnTo>
                  <a:lnTo>
                    <a:pt x="11847" y="6357"/>
                  </a:lnTo>
                  <a:cubicBezTo>
                    <a:pt x="11847" y="6546"/>
                    <a:pt x="12004" y="6703"/>
                    <a:pt x="12193" y="6703"/>
                  </a:cubicBezTo>
                  <a:cubicBezTo>
                    <a:pt x="12382" y="6703"/>
                    <a:pt x="12540" y="6546"/>
                    <a:pt x="12540" y="6357"/>
                  </a:cubicBezTo>
                  <a:lnTo>
                    <a:pt x="12540" y="3332"/>
                  </a:lnTo>
                  <a:lnTo>
                    <a:pt x="12666" y="3332"/>
                  </a:lnTo>
                  <a:cubicBezTo>
                    <a:pt x="12666" y="3206"/>
                    <a:pt x="12603" y="3049"/>
                    <a:pt x="12477" y="3017"/>
                  </a:cubicBezTo>
                  <a:lnTo>
                    <a:pt x="6491" y="24"/>
                  </a:lnTo>
                  <a:cubicBezTo>
                    <a:pt x="6428" y="9"/>
                    <a:pt x="6365" y="1"/>
                    <a:pt x="63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05" name="Google Shape;7405;p74"/>
          <p:cNvGrpSpPr/>
          <p:nvPr/>
        </p:nvGrpSpPr>
        <p:grpSpPr>
          <a:xfrm>
            <a:off x="10057952" y="4486027"/>
            <a:ext cx="452859" cy="480243"/>
            <a:chOff x="-52505925" y="2295525"/>
            <a:chExt cx="299325" cy="317425"/>
          </a:xfrm>
        </p:grpSpPr>
        <p:sp>
          <p:nvSpPr>
            <p:cNvPr id="7406" name="Google Shape;7406;p74"/>
            <p:cNvSpPr/>
            <p:nvPr/>
          </p:nvSpPr>
          <p:spPr>
            <a:xfrm>
              <a:off x="-52401950" y="2526500"/>
              <a:ext cx="73275" cy="29750"/>
            </a:xfrm>
            <a:custGeom>
              <a:avLst/>
              <a:gdLst/>
              <a:ahLst/>
              <a:cxnLst/>
              <a:rect l="l" t="t" r="r" b="b"/>
              <a:pathLst>
                <a:path w="2931" h="1190" extrusionOk="0">
                  <a:moveTo>
                    <a:pt x="398" y="0"/>
                  </a:moveTo>
                  <a:cubicBezTo>
                    <a:pt x="308" y="0"/>
                    <a:pt x="221" y="39"/>
                    <a:pt x="158" y="118"/>
                  </a:cubicBezTo>
                  <a:cubicBezTo>
                    <a:pt x="0" y="276"/>
                    <a:pt x="0" y="496"/>
                    <a:pt x="158" y="622"/>
                  </a:cubicBezTo>
                  <a:cubicBezTo>
                    <a:pt x="505" y="969"/>
                    <a:pt x="977" y="1189"/>
                    <a:pt x="1450" y="1189"/>
                  </a:cubicBezTo>
                  <a:cubicBezTo>
                    <a:pt x="1922" y="1189"/>
                    <a:pt x="2458" y="969"/>
                    <a:pt x="2773" y="622"/>
                  </a:cubicBezTo>
                  <a:cubicBezTo>
                    <a:pt x="2930" y="465"/>
                    <a:pt x="2930" y="244"/>
                    <a:pt x="2773" y="118"/>
                  </a:cubicBezTo>
                  <a:cubicBezTo>
                    <a:pt x="2710" y="55"/>
                    <a:pt x="2615" y="24"/>
                    <a:pt x="2517" y="24"/>
                  </a:cubicBezTo>
                  <a:cubicBezTo>
                    <a:pt x="2418" y="24"/>
                    <a:pt x="2316" y="55"/>
                    <a:pt x="2237" y="118"/>
                  </a:cubicBezTo>
                  <a:cubicBezTo>
                    <a:pt x="2048" y="307"/>
                    <a:pt x="1733" y="433"/>
                    <a:pt x="1450" y="433"/>
                  </a:cubicBezTo>
                  <a:cubicBezTo>
                    <a:pt x="1135" y="433"/>
                    <a:pt x="883" y="307"/>
                    <a:pt x="662" y="118"/>
                  </a:cubicBezTo>
                  <a:cubicBezTo>
                    <a:pt x="583" y="39"/>
                    <a:pt x="489"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7" name="Google Shape;7407;p74"/>
            <p:cNvSpPr/>
            <p:nvPr/>
          </p:nvSpPr>
          <p:spPr>
            <a:xfrm>
              <a:off x="-52411400"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8" name="Google Shape;7408;p74"/>
            <p:cNvSpPr/>
            <p:nvPr/>
          </p:nvSpPr>
          <p:spPr>
            <a:xfrm>
              <a:off x="-52336575" y="2463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09" name="Google Shape;7409;p74"/>
            <p:cNvSpPr/>
            <p:nvPr/>
          </p:nvSpPr>
          <p:spPr>
            <a:xfrm>
              <a:off x="-52505925" y="2295525"/>
              <a:ext cx="299325" cy="317425"/>
            </a:xfrm>
            <a:custGeom>
              <a:avLst/>
              <a:gdLst/>
              <a:ahLst/>
              <a:cxnLst/>
              <a:rect l="l" t="t" r="r" b="b"/>
              <a:pathLst>
                <a:path w="11973" h="12697" extrusionOk="0">
                  <a:moveTo>
                    <a:pt x="8046" y="1489"/>
                  </a:moveTo>
                  <a:cubicBezTo>
                    <a:pt x="8121" y="1489"/>
                    <a:pt x="8192" y="1497"/>
                    <a:pt x="8255" y="1513"/>
                  </a:cubicBezTo>
                  <a:cubicBezTo>
                    <a:pt x="8224" y="1639"/>
                    <a:pt x="8224" y="1765"/>
                    <a:pt x="8224" y="1859"/>
                  </a:cubicBezTo>
                  <a:lnTo>
                    <a:pt x="8224" y="2080"/>
                  </a:lnTo>
                  <a:cubicBezTo>
                    <a:pt x="7909" y="1828"/>
                    <a:pt x="7499" y="1670"/>
                    <a:pt x="7121" y="1607"/>
                  </a:cubicBezTo>
                  <a:cubicBezTo>
                    <a:pt x="7341" y="1513"/>
                    <a:pt x="7594" y="1513"/>
                    <a:pt x="7814" y="1513"/>
                  </a:cubicBezTo>
                  <a:cubicBezTo>
                    <a:pt x="7893" y="1497"/>
                    <a:pt x="7972" y="1489"/>
                    <a:pt x="8046" y="1489"/>
                  </a:cubicBezTo>
                  <a:close/>
                  <a:moveTo>
                    <a:pt x="9326" y="914"/>
                  </a:moveTo>
                  <a:cubicBezTo>
                    <a:pt x="9484" y="1071"/>
                    <a:pt x="9610" y="1261"/>
                    <a:pt x="9673" y="1544"/>
                  </a:cubicBezTo>
                  <a:cubicBezTo>
                    <a:pt x="9452" y="1796"/>
                    <a:pt x="9232" y="2111"/>
                    <a:pt x="9137" y="2458"/>
                  </a:cubicBezTo>
                  <a:cubicBezTo>
                    <a:pt x="9043" y="2269"/>
                    <a:pt x="8980" y="2080"/>
                    <a:pt x="8980" y="1859"/>
                  </a:cubicBezTo>
                  <a:cubicBezTo>
                    <a:pt x="8980" y="1513"/>
                    <a:pt x="9137" y="1198"/>
                    <a:pt x="9326" y="914"/>
                  </a:cubicBezTo>
                  <a:close/>
                  <a:moveTo>
                    <a:pt x="11122" y="1513"/>
                  </a:moveTo>
                  <a:lnTo>
                    <a:pt x="11122" y="1513"/>
                  </a:lnTo>
                  <a:cubicBezTo>
                    <a:pt x="11028" y="2174"/>
                    <a:pt x="10460" y="2741"/>
                    <a:pt x="9767" y="2899"/>
                  </a:cubicBezTo>
                  <a:cubicBezTo>
                    <a:pt x="9925" y="2174"/>
                    <a:pt x="10460" y="1670"/>
                    <a:pt x="11122" y="1513"/>
                  </a:cubicBezTo>
                  <a:close/>
                  <a:moveTo>
                    <a:pt x="6365" y="2237"/>
                  </a:moveTo>
                  <a:cubicBezTo>
                    <a:pt x="7404" y="2237"/>
                    <a:pt x="8287" y="2836"/>
                    <a:pt x="8728" y="3718"/>
                  </a:cubicBezTo>
                  <a:lnTo>
                    <a:pt x="8602" y="3718"/>
                  </a:lnTo>
                  <a:cubicBezTo>
                    <a:pt x="7972" y="3718"/>
                    <a:pt x="7499" y="4222"/>
                    <a:pt x="7499" y="4821"/>
                  </a:cubicBezTo>
                  <a:lnTo>
                    <a:pt x="7499" y="5167"/>
                  </a:lnTo>
                  <a:lnTo>
                    <a:pt x="3025" y="5167"/>
                  </a:lnTo>
                  <a:cubicBezTo>
                    <a:pt x="2206" y="5167"/>
                    <a:pt x="1513" y="4506"/>
                    <a:pt x="1513" y="3686"/>
                  </a:cubicBezTo>
                  <a:cubicBezTo>
                    <a:pt x="1513" y="2899"/>
                    <a:pt x="2206" y="2237"/>
                    <a:pt x="3025" y="2237"/>
                  </a:cubicBezTo>
                  <a:close/>
                  <a:moveTo>
                    <a:pt x="10397" y="3497"/>
                  </a:moveTo>
                  <a:cubicBezTo>
                    <a:pt x="10429" y="3686"/>
                    <a:pt x="10460" y="3875"/>
                    <a:pt x="10460" y="4064"/>
                  </a:cubicBezTo>
                  <a:cubicBezTo>
                    <a:pt x="10460" y="4537"/>
                    <a:pt x="10334" y="4978"/>
                    <a:pt x="10114" y="5388"/>
                  </a:cubicBezTo>
                  <a:cubicBezTo>
                    <a:pt x="9956" y="5608"/>
                    <a:pt x="10145" y="5923"/>
                    <a:pt x="10429" y="5923"/>
                  </a:cubicBezTo>
                  <a:lnTo>
                    <a:pt x="10460" y="5923"/>
                  </a:lnTo>
                  <a:cubicBezTo>
                    <a:pt x="10870" y="5923"/>
                    <a:pt x="11217" y="6238"/>
                    <a:pt x="11217" y="6679"/>
                  </a:cubicBezTo>
                  <a:cubicBezTo>
                    <a:pt x="11217" y="7120"/>
                    <a:pt x="10902" y="7435"/>
                    <a:pt x="10460" y="7435"/>
                  </a:cubicBezTo>
                  <a:lnTo>
                    <a:pt x="9704" y="7435"/>
                  </a:lnTo>
                  <a:lnTo>
                    <a:pt x="9704" y="4821"/>
                  </a:lnTo>
                  <a:cubicBezTo>
                    <a:pt x="9704" y="4443"/>
                    <a:pt x="9641" y="4033"/>
                    <a:pt x="9515" y="3686"/>
                  </a:cubicBezTo>
                  <a:cubicBezTo>
                    <a:pt x="9830" y="3655"/>
                    <a:pt x="10114" y="3592"/>
                    <a:pt x="10397" y="3497"/>
                  </a:cubicBezTo>
                  <a:close/>
                  <a:moveTo>
                    <a:pt x="1513" y="6679"/>
                  </a:moveTo>
                  <a:lnTo>
                    <a:pt x="1513" y="8160"/>
                  </a:lnTo>
                  <a:cubicBezTo>
                    <a:pt x="1104" y="8160"/>
                    <a:pt x="789" y="7845"/>
                    <a:pt x="789" y="7435"/>
                  </a:cubicBezTo>
                  <a:cubicBezTo>
                    <a:pt x="789" y="7026"/>
                    <a:pt x="1135" y="6679"/>
                    <a:pt x="1513" y="6679"/>
                  </a:cubicBezTo>
                  <a:close/>
                  <a:moveTo>
                    <a:pt x="8570" y="4474"/>
                  </a:moveTo>
                  <a:cubicBezTo>
                    <a:pt x="8759" y="4474"/>
                    <a:pt x="8917" y="4632"/>
                    <a:pt x="8917" y="4821"/>
                  </a:cubicBezTo>
                  <a:cubicBezTo>
                    <a:pt x="8980" y="4978"/>
                    <a:pt x="8980" y="8412"/>
                    <a:pt x="8980" y="8570"/>
                  </a:cubicBezTo>
                  <a:cubicBezTo>
                    <a:pt x="8980" y="10460"/>
                    <a:pt x="7467" y="11972"/>
                    <a:pt x="5609" y="11972"/>
                  </a:cubicBezTo>
                  <a:cubicBezTo>
                    <a:pt x="3781" y="11972"/>
                    <a:pt x="2269" y="10460"/>
                    <a:pt x="2269" y="8570"/>
                  </a:cubicBezTo>
                  <a:lnTo>
                    <a:pt x="2269" y="5797"/>
                  </a:lnTo>
                  <a:cubicBezTo>
                    <a:pt x="2521" y="5892"/>
                    <a:pt x="2742" y="5923"/>
                    <a:pt x="3025" y="5923"/>
                  </a:cubicBezTo>
                  <a:lnTo>
                    <a:pt x="7877" y="5923"/>
                  </a:lnTo>
                  <a:cubicBezTo>
                    <a:pt x="8066" y="5923"/>
                    <a:pt x="8224" y="5766"/>
                    <a:pt x="8224" y="5577"/>
                  </a:cubicBezTo>
                  <a:lnTo>
                    <a:pt x="8224" y="4821"/>
                  </a:lnTo>
                  <a:cubicBezTo>
                    <a:pt x="8224" y="4632"/>
                    <a:pt x="8381" y="4474"/>
                    <a:pt x="8570" y="4474"/>
                  </a:cubicBezTo>
                  <a:close/>
                  <a:moveTo>
                    <a:pt x="9358" y="0"/>
                  </a:moveTo>
                  <a:cubicBezTo>
                    <a:pt x="9271" y="0"/>
                    <a:pt x="9185" y="32"/>
                    <a:pt x="9106" y="95"/>
                  </a:cubicBezTo>
                  <a:cubicBezTo>
                    <a:pt x="9043" y="95"/>
                    <a:pt x="8791" y="378"/>
                    <a:pt x="8539" y="819"/>
                  </a:cubicBezTo>
                  <a:cubicBezTo>
                    <a:pt x="8318" y="756"/>
                    <a:pt x="8098" y="725"/>
                    <a:pt x="7877" y="725"/>
                  </a:cubicBezTo>
                  <a:cubicBezTo>
                    <a:pt x="7089" y="725"/>
                    <a:pt x="6365" y="1008"/>
                    <a:pt x="5735" y="1481"/>
                  </a:cubicBezTo>
                  <a:lnTo>
                    <a:pt x="2994" y="1481"/>
                  </a:lnTo>
                  <a:cubicBezTo>
                    <a:pt x="1765" y="1481"/>
                    <a:pt x="757" y="2458"/>
                    <a:pt x="757" y="3718"/>
                  </a:cubicBezTo>
                  <a:cubicBezTo>
                    <a:pt x="757" y="4379"/>
                    <a:pt x="1072" y="5010"/>
                    <a:pt x="1545" y="5419"/>
                  </a:cubicBezTo>
                  <a:cubicBezTo>
                    <a:pt x="1482" y="5451"/>
                    <a:pt x="1482" y="5545"/>
                    <a:pt x="1482" y="5577"/>
                  </a:cubicBezTo>
                  <a:lnTo>
                    <a:pt x="1482" y="5923"/>
                  </a:lnTo>
                  <a:cubicBezTo>
                    <a:pt x="662" y="5923"/>
                    <a:pt x="1" y="6585"/>
                    <a:pt x="1" y="7435"/>
                  </a:cubicBezTo>
                  <a:cubicBezTo>
                    <a:pt x="1" y="8255"/>
                    <a:pt x="662" y="8916"/>
                    <a:pt x="1482" y="8916"/>
                  </a:cubicBezTo>
                  <a:cubicBezTo>
                    <a:pt x="1702" y="10996"/>
                    <a:pt x="3435" y="12697"/>
                    <a:pt x="5577" y="12697"/>
                  </a:cubicBezTo>
                  <a:cubicBezTo>
                    <a:pt x="7877" y="12697"/>
                    <a:pt x="9673" y="10806"/>
                    <a:pt x="9673" y="8570"/>
                  </a:cubicBezTo>
                  <a:lnTo>
                    <a:pt x="9673" y="8223"/>
                  </a:lnTo>
                  <a:lnTo>
                    <a:pt x="10429" y="8223"/>
                  </a:lnTo>
                  <a:cubicBezTo>
                    <a:pt x="11248" y="8223"/>
                    <a:pt x="11941" y="7530"/>
                    <a:pt x="11941" y="6711"/>
                  </a:cubicBezTo>
                  <a:cubicBezTo>
                    <a:pt x="11973" y="6049"/>
                    <a:pt x="11563" y="5482"/>
                    <a:pt x="10965" y="5293"/>
                  </a:cubicBezTo>
                  <a:cubicBezTo>
                    <a:pt x="11122" y="4915"/>
                    <a:pt x="11217" y="4506"/>
                    <a:pt x="11217" y="4064"/>
                  </a:cubicBezTo>
                  <a:cubicBezTo>
                    <a:pt x="11217" y="3718"/>
                    <a:pt x="11185" y="3403"/>
                    <a:pt x="11059" y="3056"/>
                  </a:cubicBezTo>
                  <a:cubicBezTo>
                    <a:pt x="11626" y="2584"/>
                    <a:pt x="11973" y="1859"/>
                    <a:pt x="11973" y="1071"/>
                  </a:cubicBezTo>
                  <a:cubicBezTo>
                    <a:pt x="11973" y="882"/>
                    <a:pt x="11815" y="725"/>
                    <a:pt x="11626" y="725"/>
                  </a:cubicBezTo>
                  <a:cubicBezTo>
                    <a:pt x="11154" y="725"/>
                    <a:pt x="10713" y="851"/>
                    <a:pt x="10303" y="1071"/>
                  </a:cubicBezTo>
                  <a:cubicBezTo>
                    <a:pt x="10082" y="504"/>
                    <a:pt x="9641" y="95"/>
                    <a:pt x="9610" y="95"/>
                  </a:cubicBezTo>
                  <a:cubicBezTo>
                    <a:pt x="9531" y="32"/>
                    <a:pt x="9444" y="0"/>
                    <a:pt x="93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10" name="Google Shape;7410;p74"/>
          <p:cNvGrpSpPr/>
          <p:nvPr/>
        </p:nvGrpSpPr>
        <p:grpSpPr>
          <a:xfrm>
            <a:off x="10072855" y="5108256"/>
            <a:ext cx="423053" cy="481453"/>
            <a:chOff x="-52494100" y="2686975"/>
            <a:chExt cx="279625" cy="318225"/>
          </a:xfrm>
        </p:grpSpPr>
        <p:sp>
          <p:nvSpPr>
            <p:cNvPr id="7411" name="Google Shape;7411;p74"/>
            <p:cNvSpPr/>
            <p:nvPr/>
          </p:nvSpPr>
          <p:spPr>
            <a:xfrm>
              <a:off x="-52391700" y="2919525"/>
              <a:ext cx="72475" cy="28950"/>
            </a:xfrm>
            <a:custGeom>
              <a:avLst/>
              <a:gdLst/>
              <a:ahLst/>
              <a:cxnLst/>
              <a:rect l="l" t="t" r="r" b="b"/>
              <a:pathLst>
                <a:path w="2899" h="1158" extrusionOk="0">
                  <a:moveTo>
                    <a:pt x="386" y="0"/>
                  </a:moveTo>
                  <a:cubicBezTo>
                    <a:pt x="291" y="0"/>
                    <a:pt x="205" y="39"/>
                    <a:pt x="158" y="118"/>
                  </a:cubicBezTo>
                  <a:cubicBezTo>
                    <a:pt x="0" y="276"/>
                    <a:pt x="0" y="496"/>
                    <a:pt x="158" y="622"/>
                  </a:cubicBezTo>
                  <a:cubicBezTo>
                    <a:pt x="504" y="969"/>
                    <a:pt x="977" y="1158"/>
                    <a:pt x="1449" y="1158"/>
                  </a:cubicBezTo>
                  <a:cubicBezTo>
                    <a:pt x="1922" y="1158"/>
                    <a:pt x="2426" y="969"/>
                    <a:pt x="2741" y="622"/>
                  </a:cubicBezTo>
                  <a:cubicBezTo>
                    <a:pt x="2898" y="465"/>
                    <a:pt x="2898" y="213"/>
                    <a:pt x="2741" y="118"/>
                  </a:cubicBezTo>
                  <a:cubicBezTo>
                    <a:pt x="2662" y="39"/>
                    <a:pt x="2568" y="0"/>
                    <a:pt x="2477" y="0"/>
                  </a:cubicBezTo>
                  <a:cubicBezTo>
                    <a:pt x="2387" y="0"/>
                    <a:pt x="2300" y="39"/>
                    <a:pt x="2237" y="118"/>
                  </a:cubicBezTo>
                  <a:cubicBezTo>
                    <a:pt x="2048" y="307"/>
                    <a:pt x="1733" y="433"/>
                    <a:pt x="1449" y="433"/>
                  </a:cubicBezTo>
                  <a:cubicBezTo>
                    <a:pt x="1134" y="433"/>
                    <a:pt x="851" y="307"/>
                    <a:pt x="662" y="118"/>
                  </a:cubicBezTo>
                  <a:cubicBezTo>
                    <a:pt x="583" y="39"/>
                    <a:pt x="480" y="0"/>
                    <a:pt x="3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2" name="Google Shape;7412;p74"/>
            <p:cNvSpPr/>
            <p:nvPr/>
          </p:nvSpPr>
          <p:spPr>
            <a:xfrm>
              <a:off x="-52401950" y="2856300"/>
              <a:ext cx="18125" cy="17350"/>
            </a:xfrm>
            <a:custGeom>
              <a:avLst/>
              <a:gdLst/>
              <a:ahLst/>
              <a:cxnLst/>
              <a:rect l="l" t="t" r="r" b="b"/>
              <a:pathLst>
                <a:path w="725" h="694" extrusionOk="0">
                  <a:moveTo>
                    <a:pt x="379" y="1"/>
                  </a:moveTo>
                  <a:cubicBezTo>
                    <a:pt x="158" y="1"/>
                    <a:pt x="0" y="158"/>
                    <a:pt x="0" y="347"/>
                  </a:cubicBezTo>
                  <a:cubicBezTo>
                    <a:pt x="0" y="536"/>
                    <a:pt x="158" y="694"/>
                    <a:pt x="379" y="694"/>
                  </a:cubicBezTo>
                  <a:cubicBezTo>
                    <a:pt x="568" y="694"/>
                    <a:pt x="725" y="536"/>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3" name="Google Shape;7413;p74"/>
            <p:cNvSpPr/>
            <p:nvPr/>
          </p:nvSpPr>
          <p:spPr>
            <a:xfrm>
              <a:off x="-52327925" y="2855525"/>
              <a:ext cx="18925" cy="17350"/>
            </a:xfrm>
            <a:custGeom>
              <a:avLst/>
              <a:gdLst/>
              <a:ahLst/>
              <a:cxnLst/>
              <a:rect l="l" t="t" r="r" b="b"/>
              <a:pathLst>
                <a:path w="757" h="694" extrusionOk="0">
                  <a:moveTo>
                    <a:pt x="347" y="0"/>
                  </a:moveTo>
                  <a:cubicBezTo>
                    <a:pt x="158" y="0"/>
                    <a:pt x="1" y="158"/>
                    <a:pt x="1" y="347"/>
                  </a:cubicBezTo>
                  <a:cubicBezTo>
                    <a:pt x="1" y="536"/>
                    <a:pt x="158" y="693"/>
                    <a:pt x="347" y="693"/>
                  </a:cubicBezTo>
                  <a:cubicBezTo>
                    <a:pt x="537" y="693"/>
                    <a:pt x="694" y="536"/>
                    <a:pt x="694" y="347"/>
                  </a:cubicBezTo>
                  <a:cubicBezTo>
                    <a:pt x="757" y="189"/>
                    <a:pt x="600"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4" name="Google Shape;7414;p74"/>
            <p:cNvSpPr/>
            <p:nvPr/>
          </p:nvSpPr>
          <p:spPr>
            <a:xfrm>
              <a:off x="-52494100" y="2686975"/>
              <a:ext cx="279625" cy="318225"/>
            </a:xfrm>
            <a:custGeom>
              <a:avLst/>
              <a:gdLst/>
              <a:ahLst/>
              <a:cxnLst/>
              <a:rect l="l" t="t" r="r" b="b"/>
              <a:pathLst>
                <a:path w="11185" h="12729" extrusionOk="0">
                  <a:moveTo>
                    <a:pt x="8538" y="756"/>
                  </a:moveTo>
                  <a:cubicBezTo>
                    <a:pt x="8727" y="756"/>
                    <a:pt x="8885" y="914"/>
                    <a:pt x="8885" y="1103"/>
                  </a:cubicBezTo>
                  <a:lnTo>
                    <a:pt x="8885" y="2269"/>
                  </a:lnTo>
                  <a:lnTo>
                    <a:pt x="2143" y="2269"/>
                  </a:lnTo>
                  <a:lnTo>
                    <a:pt x="2143" y="1103"/>
                  </a:lnTo>
                  <a:cubicBezTo>
                    <a:pt x="2143" y="914"/>
                    <a:pt x="2300" y="756"/>
                    <a:pt x="2552" y="756"/>
                  </a:cubicBezTo>
                  <a:close/>
                  <a:moveTo>
                    <a:pt x="5545" y="3025"/>
                  </a:moveTo>
                  <a:cubicBezTo>
                    <a:pt x="5734" y="3025"/>
                    <a:pt x="5892" y="3182"/>
                    <a:pt x="5892" y="3371"/>
                  </a:cubicBezTo>
                  <a:cubicBezTo>
                    <a:pt x="5892" y="3592"/>
                    <a:pt x="5734" y="3749"/>
                    <a:pt x="5545" y="3749"/>
                  </a:cubicBezTo>
                  <a:cubicBezTo>
                    <a:pt x="5356" y="3749"/>
                    <a:pt x="5199" y="3592"/>
                    <a:pt x="5199" y="3371"/>
                  </a:cubicBezTo>
                  <a:cubicBezTo>
                    <a:pt x="5199" y="3182"/>
                    <a:pt x="5356" y="3025"/>
                    <a:pt x="5545" y="3025"/>
                  </a:cubicBezTo>
                  <a:close/>
                  <a:moveTo>
                    <a:pt x="4474" y="3025"/>
                  </a:moveTo>
                  <a:cubicBezTo>
                    <a:pt x="4443" y="3151"/>
                    <a:pt x="4411" y="3277"/>
                    <a:pt x="4411" y="3434"/>
                  </a:cubicBezTo>
                  <a:cubicBezTo>
                    <a:pt x="4411" y="3529"/>
                    <a:pt x="4443" y="3655"/>
                    <a:pt x="4474" y="3781"/>
                  </a:cubicBezTo>
                  <a:lnTo>
                    <a:pt x="2206" y="3781"/>
                  </a:lnTo>
                  <a:lnTo>
                    <a:pt x="2206" y="3025"/>
                  </a:lnTo>
                  <a:close/>
                  <a:moveTo>
                    <a:pt x="8853" y="3056"/>
                  </a:moveTo>
                  <a:lnTo>
                    <a:pt x="8853" y="3812"/>
                  </a:lnTo>
                  <a:lnTo>
                    <a:pt x="6553" y="3812"/>
                  </a:lnTo>
                  <a:lnTo>
                    <a:pt x="6553" y="3781"/>
                  </a:lnTo>
                  <a:cubicBezTo>
                    <a:pt x="6616" y="3655"/>
                    <a:pt x="6648" y="3529"/>
                    <a:pt x="6648" y="3434"/>
                  </a:cubicBezTo>
                  <a:cubicBezTo>
                    <a:pt x="6648" y="3308"/>
                    <a:pt x="6616" y="3151"/>
                    <a:pt x="6553" y="3056"/>
                  </a:cubicBezTo>
                  <a:close/>
                  <a:moveTo>
                    <a:pt x="9601" y="4568"/>
                  </a:moveTo>
                  <a:cubicBezTo>
                    <a:pt x="9503" y="4903"/>
                    <a:pt x="9317" y="5207"/>
                    <a:pt x="9042" y="5482"/>
                  </a:cubicBezTo>
                  <a:cubicBezTo>
                    <a:pt x="8763" y="5736"/>
                    <a:pt x="8382" y="5887"/>
                    <a:pt x="7997" y="5887"/>
                  </a:cubicBezTo>
                  <a:cubicBezTo>
                    <a:pt x="7904" y="5887"/>
                    <a:pt x="7811" y="5878"/>
                    <a:pt x="7719" y="5860"/>
                  </a:cubicBezTo>
                  <a:cubicBezTo>
                    <a:pt x="6207" y="5640"/>
                    <a:pt x="4758" y="5199"/>
                    <a:pt x="3434" y="4568"/>
                  </a:cubicBezTo>
                  <a:close/>
                  <a:moveTo>
                    <a:pt x="1418" y="6742"/>
                  </a:moveTo>
                  <a:lnTo>
                    <a:pt x="1418" y="8223"/>
                  </a:lnTo>
                  <a:cubicBezTo>
                    <a:pt x="1009" y="8223"/>
                    <a:pt x="662" y="7908"/>
                    <a:pt x="662" y="7467"/>
                  </a:cubicBezTo>
                  <a:cubicBezTo>
                    <a:pt x="662" y="7089"/>
                    <a:pt x="1009" y="6742"/>
                    <a:pt x="1418" y="6742"/>
                  </a:cubicBezTo>
                  <a:close/>
                  <a:moveTo>
                    <a:pt x="9641" y="6742"/>
                  </a:moveTo>
                  <a:cubicBezTo>
                    <a:pt x="10019" y="6742"/>
                    <a:pt x="10397" y="7057"/>
                    <a:pt x="10397" y="7467"/>
                  </a:cubicBezTo>
                  <a:cubicBezTo>
                    <a:pt x="10397" y="7908"/>
                    <a:pt x="10019" y="8223"/>
                    <a:pt x="9641" y="8223"/>
                  </a:cubicBezTo>
                  <a:lnTo>
                    <a:pt x="9641" y="6742"/>
                  </a:lnTo>
                  <a:close/>
                  <a:moveTo>
                    <a:pt x="2143" y="4757"/>
                  </a:moveTo>
                  <a:lnTo>
                    <a:pt x="2741" y="5072"/>
                  </a:lnTo>
                  <a:cubicBezTo>
                    <a:pt x="4254" y="5829"/>
                    <a:pt x="5860" y="6333"/>
                    <a:pt x="7562" y="6616"/>
                  </a:cubicBezTo>
                  <a:cubicBezTo>
                    <a:pt x="7667" y="6633"/>
                    <a:pt x="7777" y="6640"/>
                    <a:pt x="7889" y="6640"/>
                  </a:cubicBezTo>
                  <a:cubicBezTo>
                    <a:pt x="8211" y="6640"/>
                    <a:pt x="8550" y="6576"/>
                    <a:pt x="8853" y="6459"/>
                  </a:cubicBezTo>
                  <a:lnTo>
                    <a:pt x="8853" y="8664"/>
                  </a:lnTo>
                  <a:cubicBezTo>
                    <a:pt x="8885" y="10460"/>
                    <a:pt x="7341" y="11972"/>
                    <a:pt x="5514" y="11972"/>
                  </a:cubicBezTo>
                  <a:cubicBezTo>
                    <a:pt x="3655" y="11972"/>
                    <a:pt x="2143" y="10460"/>
                    <a:pt x="2143" y="8633"/>
                  </a:cubicBezTo>
                  <a:lnTo>
                    <a:pt x="2143" y="4757"/>
                  </a:lnTo>
                  <a:close/>
                  <a:moveTo>
                    <a:pt x="2584" y="0"/>
                  </a:moveTo>
                  <a:cubicBezTo>
                    <a:pt x="1954" y="0"/>
                    <a:pt x="1481" y="504"/>
                    <a:pt x="1481" y="1103"/>
                  </a:cubicBezTo>
                  <a:lnTo>
                    <a:pt x="1481" y="5986"/>
                  </a:lnTo>
                  <a:cubicBezTo>
                    <a:pt x="662" y="5986"/>
                    <a:pt x="0" y="6648"/>
                    <a:pt x="0" y="7467"/>
                  </a:cubicBezTo>
                  <a:cubicBezTo>
                    <a:pt x="0" y="8317"/>
                    <a:pt x="662" y="8979"/>
                    <a:pt x="1481" y="8979"/>
                  </a:cubicBezTo>
                  <a:cubicBezTo>
                    <a:pt x="1670" y="11058"/>
                    <a:pt x="3466" y="12728"/>
                    <a:pt x="5577" y="12728"/>
                  </a:cubicBezTo>
                  <a:cubicBezTo>
                    <a:pt x="7719" y="12728"/>
                    <a:pt x="9483" y="11058"/>
                    <a:pt x="9672" y="8979"/>
                  </a:cubicBezTo>
                  <a:cubicBezTo>
                    <a:pt x="10492" y="8979"/>
                    <a:pt x="11185" y="8317"/>
                    <a:pt x="11185" y="7467"/>
                  </a:cubicBezTo>
                  <a:cubicBezTo>
                    <a:pt x="11122" y="6679"/>
                    <a:pt x="10460" y="6018"/>
                    <a:pt x="9641" y="6018"/>
                  </a:cubicBezTo>
                  <a:lnTo>
                    <a:pt x="9641" y="5892"/>
                  </a:lnTo>
                  <a:cubicBezTo>
                    <a:pt x="10113" y="5419"/>
                    <a:pt x="10397" y="4789"/>
                    <a:pt x="10397" y="4127"/>
                  </a:cubicBezTo>
                  <a:cubicBezTo>
                    <a:pt x="10397" y="3938"/>
                    <a:pt x="10240" y="3781"/>
                    <a:pt x="10019" y="3781"/>
                  </a:cubicBezTo>
                  <a:lnTo>
                    <a:pt x="9672" y="3781"/>
                  </a:lnTo>
                  <a:lnTo>
                    <a:pt x="9672" y="1103"/>
                  </a:lnTo>
                  <a:cubicBezTo>
                    <a:pt x="9672" y="473"/>
                    <a:pt x="9168" y="0"/>
                    <a:pt x="8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15" name="Google Shape;7415;p74"/>
          <p:cNvGrpSpPr/>
          <p:nvPr/>
        </p:nvGrpSpPr>
        <p:grpSpPr>
          <a:xfrm>
            <a:off x="8887217" y="5722847"/>
            <a:ext cx="420671" cy="481453"/>
            <a:chOff x="-51708850" y="2305750"/>
            <a:chExt cx="278050" cy="318225"/>
          </a:xfrm>
        </p:grpSpPr>
        <p:sp>
          <p:nvSpPr>
            <p:cNvPr id="7416" name="Google Shape;7416;p74"/>
            <p:cNvSpPr/>
            <p:nvPr/>
          </p:nvSpPr>
          <p:spPr>
            <a:xfrm>
              <a:off x="-51617475" y="2455400"/>
              <a:ext cx="18125" cy="18150"/>
            </a:xfrm>
            <a:custGeom>
              <a:avLst/>
              <a:gdLst/>
              <a:ahLst/>
              <a:cxnLst/>
              <a:rect l="l" t="t" r="r" b="b"/>
              <a:pathLst>
                <a:path w="725" h="726" extrusionOk="0">
                  <a:moveTo>
                    <a:pt x="378" y="1"/>
                  </a:moveTo>
                  <a:cubicBezTo>
                    <a:pt x="189" y="1"/>
                    <a:pt x="0" y="158"/>
                    <a:pt x="0" y="347"/>
                  </a:cubicBezTo>
                  <a:cubicBezTo>
                    <a:pt x="0" y="536"/>
                    <a:pt x="189" y="725"/>
                    <a:pt x="378" y="725"/>
                  </a:cubicBezTo>
                  <a:cubicBezTo>
                    <a:pt x="568" y="725"/>
                    <a:pt x="725" y="536"/>
                    <a:pt x="725" y="347"/>
                  </a:cubicBezTo>
                  <a:cubicBezTo>
                    <a:pt x="725" y="158"/>
                    <a:pt x="568"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7" name="Google Shape;7417;p74"/>
            <p:cNvSpPr/>
            <p:nvPr/>
          </p:nvSpPr>
          <p:spPr>
            <a:xfrm>
              <a:off x="-51541875" y="2455400"/>
              <a:ext cx="17350" cy="18150"/>
            </a:xfrm>
            <a:custGeom>
              <a:avLst/>
              <a:gdLst/>
              <a:ahLst/>
              <a:cxnLst/>
              <a:rect l="l" t="t" r="r" b="b"/>
              <a:pathLst>
                <a:path w="694" h="726" extrusionOk="0">
                  <a:moveTo>
                    <a:pt x="347" y="1"/>
                  </a:moveTo>
                  <a:cubicBezTo>
                    <a:pt x="158" y="1"/>
                    <a:pt x="1" y="158"/>
                    <a:pt x="1" y="347"/>
                  </a:cubicBezTo>
                  <a:cubicBezTo>
                    <a:pt x="1" y="536"/>
                    <a:pt x="158" y="725"/>
                    <a:pt x="347" y="725"/>
                  </a:cubicBezTo>
                  <a:cubicBezTo>
                    <a:pt x="536" y="725"/>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18" name="Google Shape;7418;p74"/>
            <p:cNvSpPr/>
            <p:nvPr/>
          </p:nvSpPr>
          <p:spPr>
            <a:xfrm>
              <a:off x="-51708850" y="2305750"/>
              <a:ext cx="278050" cy="318225"/>
            </a:xfrm>
            <a:custGeom>
              <a:avLst/>
              <a:gdLst/>
              <a:ahLst/>
              <a:cxnLst/>
              <a:rect l="l" t="t" r="r" b="b"/>
              <a:pathLst>
                <a:path w="11122" h="12729" extrusionOk="0">
                  <a:moveTo>
                    <a:pt x="1765" y="725"/>
                  </a:moveTo>
                  <a:cubicBezTo>
                    <a:pt x="1986" y="725"/>
                    <a:pt x="2143" y="883"/>
                    <a:pt x="2143" y="1072"/>
                  </a:cubicBezTo>
                  <a:cubicBezTo>
                    <a:pt x="2143" y="1261"/>
                    <a:pt x="1986" y="1419"/>
                    <a:pt x="1765" y="1419"/>
                  </a:cubicBezTo>
                  <a:cubicBezTo>
                    <a:pt x="1576" y="1419"/>
                    <a:pt x="1419" y="1261"/>
                    <a:pt x="1419" y="1072"/>
                  </a:cubicBezTo>
                  <a:cubicBezTo>
                    <a:pt x="1419" y="915"/>
                    <a:pt x="1576" y="725"/>
                    <a:pt x="1765" y="725"/>
                  </a:cubicBezTo>
                  <a:close/>
                  <a:moveTo>
                    <a:pt x="5514" y="725"/>
                  </a:moveTo>
                  <a:cubicBezTo>
                    <a:pt x="5703" y="725"/>
                    <a:pt x="5861" y="883"/>
                    <a:pt x="5861" y="1072"/>
                  </a:cubicBezTo>
                  <a:cubicBezTo>
                    <a:pt x="5861" y="1261"/>
                    <a:pt x="5703" y="1419"/>
                    <a:pt x="5514" y="1419"/>
                  </a:cubicBezTo>
                  <a:cubicBezTo>
                    <a:pt x="5325" y="1419"/>
                    <a:pt x="5168" y="1261"/>
                    <a:pt x="5168" y="1072"/>
                  </a:cubicBezTo>
                  <a:cubicBezTo>
                    <a:pt x="5136" y="915"/>
                    <a:pt x="5294" y="725"/>
                    <a:pt x="5514" y="725"/>
                  </a:cubicBezTo>
                  <a:close/>
                  <a:moveTo>
                    <a:pt x="9232" y="725"/>
                  </a:moveTo>
                  <a:cubicBezTo>
                    <a:pt x="9421" y="725"/>
                    <a:pt x="9578" y="883"/>
                    <a:pt x="9578" y="1072"/>
                  </a:cubicBezTo>
                  <a:cubicBezTo>
                    <a:pt x="9578" y="1261"/>
                    <a:pt x="9421" y="1419"/>
                    <a:pt x="9232" y="1419"/>
                  </a:cubicBezTo>
                  <a:cubicBezTo>
                    <a:pt x="9011" y="1419"/>
                    <a:pt x="8885" y="1261"/>
                    <a:pt x="8885" y="1072"/>
                  </a:cubicBezTo>
                  <a:cubicBezTo>
                    <a:pt x="8854" y="915"/>
                    <a:pt x="9011" y="725"/>
                    <a:pt x="9232" y="725"/>
                  </a:cubicBezTo>
                  <a:close/>
                  <a:moveTo>
                    <a:pt x="5483" y="3277"/>
                  </a:moveTo>
                  <a:lnTo>
                    <a:pt x="5987" y="3781"/>
                  </a:lnTo>
                  <a:lnTo>
                    <a:pt x="5483" y="4286"/>
                  </a:lnTo>
                  <a:lnTo>
                    <a:pt x="4979" y="3781"/>
                  </a:lnTo>
                  <a:lnTo>
                    <a:pt x="5483" y="3277"/>
                  </a:lnTo>
                  <a:close/>
                  <a:moveTo>
                    <a:pt x="8602" y="2049"/>
                  </a:moveTo>
                  <a:lnTo>
                    <a:pt x="8822" y="2175"/>
                  </a:lnTo>
                  <a:lnTo>
                    <a:pt x="8822" y="4443"/>
                  </a:lnTo>
                  <a:lnTo>
                    <a:pt x="6396" y="4443"/>
                  </a:lnTo>
                  <a:lnTo>
                    <a:pt x="6837" y="4034"/>
                  </a:lnTo>
                  <a:cubicBezTo>
                    <a:pt x="6995" y="3876"/>
                    <a:pt x="6995" y="3624"/>
                    <a:pt x="6837" y="3498"/>
                  </a:cubicBezTo>
                  <a:lnTo>
                    <a:pt x="5766" y="2458"/>
                  </a:lnTo>
                  <a:cubicBezTo>
                    <a:pt x="5687" y="2380"/>
                    <a:pt x="5585" y="2340"/>
                    <a:pt x="5491" y="2340"/>
                  </a:cubicBezTo>
                  <a:cubicBezTo>
                    <a:pt x="5396" y="2340"/>
                    <a:pt x="5309" y="2380"/>
                    <a:pt x="5262" y="2458"/>
                  </a:cubicBezTo>
                  <a:lnTo>
                    <a:pt x="4191" y="3498"/>
                  </a:lnTo>
                  <a:cubicBezTo>
                    <a:pt x="4033" y="3655"/>
                    <a:pt x="4033" y="3907"/>
                    <a:pt x="4191" y="4034"/>
                  </a:cubicBezTo>
                  <a:lnTo>
                    <a:pt x="4632" y="4443"/>
                  </a:lnTo>
                  <a:lnTo>
                    <a:pt x="2175" y="4443"/>
                  </a:lnTo>
                  <a:lnTo>
                    <a:pt x="2175" y="2175"/>
                  </a:lnTo>
                  <a:lnTo>
                    <a:pt x="2427" y="2049"/>
                  </a:lnTo>
                  <a:lnTo>
                    <a:pt x="3435" y="2868"/>
                  </a:lnTo>
                  <a:cubicBezTo>
                    <a:pt x="3498" y="2931"/>
                    <a:pt x="3577" y="2962"/>
                    <a:pt x="3655" y="2962"/>
                  </a:cubicBezTo>
                  <a:cubicBezTo>
                    <a:pt x="3734" y="2962"/>
                    <a:pt x="3813" y="2931"/>
                    <a:pt x="3876" y="2868"/>
                  </a:cubicBezTo>
                  <a:lnTo>
                    <a:pt x="4884" y="2049"/>
                  </a:lnTo>
                  <a:cubicBezTo>
                    <a:pt x="5042" y="2175"/>
                    <a:pt x="5231" y="2206"/>
                    <a:pt x="5483" y="2206"/>
                  </a:cubicBezTo>
                  <a:cubicBezTo>
                    <a:pt x="5672" y="2206"/>
                    <a:pt x="5924" y="2143"/>
                    <a:pt x="6081" y="2049"/>
                  </a:cubicBezTo>
                  <a:lnTo>
                    <a:pt x="7089" y="2868"/>
                  </a:lnTo>
                  <a:cubicBezTo>
                    <a:pt x="7152" y="2931"/>
                    <a:pt x="7231" y="2962"/>
                    <a:pt x="7314" y="2962"/>
                  </a:cubicBezTo>
                  <a:cubicBezTo>
                    <a:pt x="7397" y="2962"/>
                    <a:pt x="7483" y="2931"/>
                    <a:pt x="7562" y="2868"/>
                  </a:cubicBezTo>
                  <a:lnTo>
                    <a:pt x="8602" y="2049"/>
                  </a:lnTo>
                  <a:close/>
                  <a:moveTo>
                    <a:pt x="1419" y="5199"/>
                  </a:moveTo>
                  <a:lnTo>
                    <a:pt x="1419" y="6711"/>
                  </a:lnTo>
                  <a:cubicBezTo>
                    <a:pt x="977" y="6711"/>
                    <a:pt x="662" y="6396"/>
                    <a:pt x="662" y="5955"/>
                  </a:cubicBezTo>
                  <a:cubicBezTo>
                    <a:pt x="662" y="5546"/>
                    <a:pt x="1041" y="5199"/>
                    <a:pt x="1419" y="5199"/>
                  </a:cubicBezTo>
                  <a:close/>
                  <a:moveTo>
                    <a:pt x="9610" y="5199"/>
                  </a:moveTo>
                  <a:cubicBezTo>
                    <a:pt x="10019" y="5199"/>
                    <a:pt x="10366" y="5546"/>
                    <a:pt x="10366" y="5955"/>
                  </a:cubicBezTo>
                  <a:cubicBezTo>
                    <a:pt x="10366" y="6333"/>
                    <a:pt x="10019" y="6711"/>
                    <a:pt x="9610" y="6711"/>
                  </a:cubicBezTo>
                  <a:lnTo>
                    <a:pt x="9610" y="5199"/>
                  </a:lnTo>
                  <a:close/>
                  <a:moveTo>
                    <a:pt x="8822" y="5199"/>
                  </a:moveTo>
                  <a:lnTo>
                    <a:pt x="8822" y="8602"/>
                  </a:lnTo>
                  <a:lnTo>
                    <a:pt x="8224" y="8791"/>
                  </a:lnTo>
                  <a:cubicBezTo>
                    <a:pt x="8167" y="8807"/>
                    <a:pt x="8105" y="8815"/>
                    <a:pt x="8043" y="8815"/>
                  </a:cubicBezTo>
                  <a:cubicBezTo>
                    <a:pt x="7863" y="8815"/>
                    <a:pt x="7671" y="8750"/>
                    <a:pt x="7531" y="8633"/>
                  </a:cubicBezTo>
                  <a:cubicBezTo>
                    <a:pt x="7239" y="8342"/>
                    <a:pt x="6873" y="8200"/>
                    <a:pt x="6512" y="8200"/>
                  </a:cubicBezTo>
                  <a:cubicBezTo>
                    <a:pt x="6132" y="8200"/>
                    <a:pt x="5758" y="8358"/>
                    <a:pt x="5483" y="8665"/>
                  </a:cubicBezTo>
                  <a:cubicBezTo>
                    <a:pt x="5217" y="8382"/>
                    <a:pt x="4828" y="8222"/>
                    <a:pt x="4432" y="8222"/>
                  </a:cubicBezTo>
                  <a:cubicBezTo>
                    <a:pt x="4078" y="8222"/>
                    <a:pt x="3718" y="8350"/>
                    <a:pt x="3435" y="8633"/>
                  </a:cubicBezTo>
                  <a:cubicBezTo>
                    <a:pt x="3303" y="8765"/>
                    <a:pt x="3141" y="8820"/>
                    <a:pt x="2958" y="8820"/>
                  </a:cubicBezTo>
                  <a:cubicBezTo>
                    <a:pt x="2879" y="8820"/>
                    <a:pt x="2796" y="8810"/>
                    <a:pt x="2710" y="8791"/>
                  </a:cubicBezTo>
                  <a:lnTo>
                    <a:pt x="2080" y="8602"/>
                  </a:lnTo>
                  <a:lnTo>
                    <a:pt x="2080" y="5199"/>
                  </a:lnTo>
                  <a:close/>
                  <a:moveTo>
                    <a:pt x="4442" y="8945"/>
                  </a:moveTo>
                  <a:cubicBezTo>
                    <a:pt x="4678" y="8945"/>
                    <a:pt x="4913" y="9062"/>
                    <a:pt x="5042" y="9263"/>
                  </a:cubicBezTo>
                  <a:cubicBezTo>
                    <a:pt x="4853" y="9484"/>
                    <a:pt x="4601" y="9767"/>
                    <a:pt x="4096" y="9925"/>
                  </a:cubicBezTo>
                  <a:cubicBezTo>
                    <a:pt x="3889" y="10000"/>
                    <a:pt x="3677" y="10035"/>
                    <a:pt x="3468" y="10035"/>
                  </a:cubicBezTo>
                  <a:cubicBezTo>
                    <a:pt x="2882" y="10035"/>
                    <a:pt x="2317" y="9759"/>
                    <a:pt x="1923" y="9295"/>
                  </a:cubicBezTo>
                  <a:lnTo>
                    <a:pt x="1923" y="9295"/>
                  </a:lnTo>
                  <a:lnTo>
                    <a:pt x="2521" y="9484"/>
                  </a:lnTo>
                  <a:cubicBezTo>
                    <a:pt x="2673" y="9531"/>
                    <a:pt x="2831" y="9556"/>
                    <a:pt x="2987" y="9556"/>
                  </a:cubicBezTo>
                  <a:cubicBezTo>
                    <a:pt x="3350" y="9556"/>
                    <a:pt x="3706" y="9423"/>
                    <a:pt x="3970" y="9137"/>
                  </a:cubicBezTo>
                  <a:cubicBezTo>
                    <a:pt x="4102" y="9006"/>
                    <a:pt x="4273" y="8945"/>
                    <a:pt x="4442" y="8945"/>
                  </a:cubicBezTo>
                  <a:close/>
                  <a:moveTo>
                    <a:pt x="6546" y="9022"/>
                  </a:moveTo>
                  <a:cubicBezTo>
                    <a:pt x="6718" y="9022"/>
                    <a:pt x="6892" y="9080"/>
                    <a:pt x="7026" y="9200"/>
                  </a:cubicBezTo>
                  <a:cubicBezTo>
                    <a:pt x="7299" y="9496"/>
                    <a:pt x="7671" y="9644"/>
                    <a:pt x="8046" y="9644"/>
                  </a:cubicBezTo>
                  <a:cubicBezTo>
                    <a:pt x="8191" y="9644"/>
                    <a:pt x="8336" y="9622"/>
                    <a:pt x="8476" y="9578"/>
                  </a:cubicBezTo>
                  <a:lnTo>
                    <a:pt x="9074" y="9326"/>
                  </a:lnTo>
                  <a:lnTo>
                    <a:pt x="9074" y="9326"/>
                  </a:lnTo>
                  <a:cubicBezTo>
                    <a:pt x="8677" y="9794"/>
                    <a:pt x="8107" y="10053"/>
                    <a:pt x="7517" y="10053"/>
                  </a:cubicBezTo>
                  <a:cubicBezTo>
                    <a:pt x="7312" y="10053"/>
                    <a:pt x="7104" y="10022"/>
                    <a:pt x="6900" y="9956"/>
                  </a:cubicBezTo>
                  <a:cubicBezTo>
                    <a:pt x="6428" y="9799"/>
                    <a:pt x="6144" y="9547"/>
                    <a:pt x="5955" y="9326"/>
                  </a:cubicBezTo>
                  <a:cubicBezTo>
                    <a:pt x="6082" y="9127"/>
                    <a:pt x="6313" y="9022"/>
                    <a:pt x="6546" y="9022"/>
                  </a:cubicBezTo>
                  <a:close/>
                  <a:moveTo>
                    <a:pt x="5514" y="9893"/>
                  </a:moveTo>
                  <a:cubicBezTo>
                    <a:pt x="5640" y="10019"/>
                    <a:pt x="5798" y="10177"/>
                    <a:pt x="6081" y="10334"/>
                  </a:cubicBezTo>
                  <a:cubicBezTo>
                    <a:pt x="5924" y="10397"/>
                    <a:pt x="5703" y="10492"/>
                    <a:pt x="5514" y="10492"/>
                  </a:cubicBezTo>
                  <a:cubicBezTo>
                    <a:pt x="5325" y="10492"/>
                    <a:pt x="5136" y="10429"/>
                    <a:pt x="4979" y="10334"/>
                  </a:cubicBezTo>
                  <a:cubicBezTo>
                    <a:pt x="5231" y="10177"/>
                    <a:pt x="5388" y="10019"/>
                    <a:pt x="5514" y="9893"/>
                  </a:cubicBezTo>
                  <a:close/>
                  <a:moveTo>
                    <a:pt x="6774" y="10681"/>
                  </a:moveTo>
                  <a:cubicBezTo>
                    <a:pt x="7011" y="10749"/>
                    <a:pt x="7247" y="10780"/>
                    <a:pt x="7484" y="10780"/>
                  </a:cubicBezTo>
                  <a:cubicBezTo>
                    <a:pt x="7688" y="10780"/>
                    <a:pt x="7893" y="10756"/>
                    <a:pt x="8098" y="10713"/>
                  </a:cubicBezTo>
                  <a:lnTo>
                    <a:pt x="8098" y="10713"/>
                  </a:lnTo>
                  <a:cubicBezTo>
                    <a:pt x="7499" y="11500"/>
                    <a:pt x="6554" y="11973"/>
                    <a:pt x="5514" y="11973"/>
                  </a:cubicBezTo>
                  <a:cubicBezTo>
                    <a:pt x="4506" y="11973"/>
                    <a:pt x="3498" y="11500"/>
                    <a:pt x="2868" y="10713"/>
                  </a:cubicBezTo>
                  <a:lnTo>
                    <a:pt x="2868" y="10713"/>
                  </a:lnTo>
                  <a:cubicBezTo>
                    <a:pt x="3072" y="10756"/>
                    <a:pt x="3277" y="10780"/>
                    <a:pt x="3482" y="10780"/>
                  </a:cubicBezTo>
                  <a:cubicBezTo>
                    <a:pt x="3718" y="10780"/>
                    <a:pt x="3955" y="10749"/>
                    <a:pt x="4191" y="10681"/>
                  </a:cubicBezTo>
                  <a:cubicBezTo>
                    <a:pt x="4538" y="11028"/>
                    <a:pt x="5010" y="11217"/>
                    <a:pt x="5483" y="11217"/>
                  </a:cubicBezTo>
                  <a:cubicBezTo>
                    <a:pt x="5955" y="11217"/>
                    <a:pt x="6459" y="11028"/>
                    <a:pt x="6774" y="10681"/>
                  </a:cubicBezTo>
                  <a:close/>
                  <a:moveTo>
                    <a:pt x="1860" y="1"/>
                  </a:moveTo>
                  <a:cubicBezTo>
                    <a:pt x="1261" y="1"/>
                    <a:pt x="757" y="505"/>
                    <a:pt x="757" y="1104"/>
                  </a:cubicBezTo>
                  <a:cubicBezTo>
                    <a:pt x="757" y="1576"/>
                    <a:pt x="1072" y="2017"/>
                    <a:pt x="1513" y="2175"/>
                  </a:cubicBezTo>
                  <a:lnTo>
                    <a:pt x="1513" y="4443"/>
                  </a:lnTo>
                  <a:cubicBezTo>
                    <a:pt x="662" y="4443"/>
                    <a:pt x="1" y="5105"/>
                    <a:pt x="1" y="5955"/>
                  </a:cubicBezTo>
                  <a:cubicBezTo>
                    <a:pt x="1" y="6774"/>
                    <a:pt x="662" y="7436"/>
                    <a:pt x="1513" y="7436"/>
                  </a:cubicBezTo>
                  <a:lnTo>
                    <a:pt x="1513" y="8350"/>
                  </a:lnTo>
                  <a:lnTo>
                    <a:pt x="1261" y="8287"/>
                  </a:lnTo>
                  <a:cubicBezTo>
                    <a:pt x="1214" y="8270"/>
                    <a:pt x="1168" y="8262"/>
                    <a:pt x="1124" y="8262"/>
                  </a:cubicBezTo>
                  <a:cubicBezTo>
                    <a:pt x="846" y="8262"/>
                    <a:pt x="657" y="8577"/>
                    <a:pt x="820" y="8822"/>
                  </a:cubicBezTo>
                  <a:cubicBezTo>
                    <a:pt x="1356" y="9610"/>
                    <a:pt x="1450" y="9799"/>
                    <a:pt x="1765" y="10082"/>
                  </a:cubicBezTo>
                  <a:cubicBezTo>
                    <a:pt x="2364" y="11658"/>
                    <a:pt x="3907" y="12729"/>
                    <a:pt x="5609" y="12729"/>
                  </a:cubicBezTo>
                  <a:cubicBezTo>
                    <a:pt x="7278" y="12729"/>
                    <a:pt x="8822" y="11658"/>
                    <a:pt x="9421" y="10082"/>
                  </a:cubicBezTo>
                  <a:cubicBezTo>
                    <a:pt x="9736" y="9799"/>
                    <a:pt x="9862" y="9610"/>
                    <a:pt x="10366" y="8822"/>
                  </a:cubicBezTo>
                  <a:cubicBezTo>
                    <a:pt x="10529" y="8577"/>
                    <a:pt x="10340" y="8262"/>
                    <a:pt x="10062" y="8262"/>
                  </a:cubicBezTo>
                  <a:cubicBezTo>
                    <a:pt x="10018" y="8262"/>
                    <a:pt x="9972" y="8270"/>
                    <a:pt x="9925" y="8287"/>
                  </a:cubicBezTo>
                  <a:lnTo>
                    <a:pt x="9704" y="8350"/>
                  </a:lnTo>
                  <a:lnTo>
                    <a:pt x="9704" y="7436"/>
                  </a:lnTo>
                  <a:cubicBezTo>
                    <a:pt x="10429" y="7436"/>
                    <a:pt x="11122" y="6774"/>
                    <a:pt x="11122" y="5955"/>
                  </a:cubicBezTo>
                  <a:cubicBezTo>
                    <a:pt x="11122" y="5136"/>
                    <a:pt x="10429" y="4443"/>
                    <a:pt x="9610" y="4443"/>
                  </a:cubicBezTo>
                  <a:lnTo>
                    <a:pt x="9610" y="2175"/>
                  </a:lnTo>
                  <a:cubicBezTo>
                    <a:pt x="10051" y="2017"/>
                    <a:pt x="10366" y="1608"/>
                    <a:pt x="10366" y="1104"/>
                  </a:cubicBezTo>
                  <a:cubicBezTo>
                    <a:pt x="10366" y="473"/>
                    <a:pt x="9862" y="1"/>
                    <a:pt x="9263" y="1"/>
                  </a:cubicBezTo>
                  <a:cubicBezTo>
                    <a:pt x="8633" y="1"/>
                    <a:pt x="8161" y="505"/>
                    <a:pt x="8161" y="1104"/>
                  </a:cubicBezTo>
                  <a:cubicBezTo>
                    <a:pt x="8161" y="1230"/>
                    <a:pt x="8192" y="1324"/>
                    <a:pt x="8224" y="1450"/>
                  </a:cubicBezTo>
                  <a:lnTo>
                    <a:pt x="7405" y="2080"/>
                  </a:lnTo>
                  <a:lnTo>
                    <a:pt x="6585" y="1450"/>
                  </a:lnTo>
                  <a:cubicBezTo>
                    <a:pt x="6617" y="1324"/>
                    <a:pt x="6648" y="1230"/>
                    <a:pt x="6648" y="1104"/>
                  </a:cubicBezTo>
                  <a:cubicBezTo>
                    <a:pt x="6648" y="473"/>
                    <a:pt x="6144" y="1"/>
                    <a:pt x="5546" y="1"/>
                  </a:cubicBezTo>
                  <a:cubicBezTo>
                    <a:pt x="4916" y="1"/>
                    <a:pt x="4443" y="505"/>
                    <a:pt x="4443" y="1104"/>
                  </a:cubicBezTo>
                  <a:cubicBezTo>
                    <a:pt x="4443" y="1230"/>
                    <a:pt x="4506" y="1324"/>
                    <a:pt x="4538" y="1450"/>
                  </a:cubicBezTo>
                  <a:lnTo>
                    <a:pt x="3718" y="2080"/>
                  </a:lnTo>
                  <a:lnTo>
                    <a:pt x="2868" y="1450"/>
                  </a:lnTo>
                  <a:cubicBezTo>
                    <a:pt x="2931" y="1324"/>
                    <a:pt x="2962" y="1230"/>
                    <a:pt x="2962" y="1104"/>
                  </a:cubicBezTo>
                  <a:cubicBezTo>
                    <a:pt x="2962" y="473"/>
                    <a:pt x="2458" y="1"/>
                    <a:pt x="18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19" name="Google Shape;7419;p74"/>
          <p:cNvGrpSpPr/>
          <p:nvPr/>
        </p:nvGrpSpPr>
        <p:grpSpPr>
          <a:xfrm>
            <a:off x="10049077" y="2045230"/>
            <a:ext cx="425452" cy="482764"/>
            <a:chOff x="1044400" y="2917425"/>
            <a:chExt cx="248125" cy="281550"/>
          </a:xfrm>
        </p:grpSpPr>
        <p:sp>
          <p:nvSpPr>
            <p:cNvPr id="7420" name="Google Shape;7420;p74"/>
            <p:cNvSpPr/>
            <p:nvPr/>
          </p:nvSpPr>
          <p:spPr>
            <a:xfrm>
              <a:off x="1136400" y="3123175"/>
              <a:ext cx="64125" cy="26325"/>
            </a:xfrm>
            <a:custGeom>
              <a:avLst/>
              <a:gdLst/>
              <a:ahLst/>
              <a:cxnLst/>
              <a:rect l="l" t="t" r="r" b="b"/>
              <a:pathLst>
                <a:path w="2565" h="1053" extrusionOk="0">
                  <a:moveTo>
                    <a:pt x="352" y="0"/>
                  </a:moveTo>
                  <a:cubicBezTo>
                    <a:pt x="272" y="0"/>
                    <a:pt x="195" y="35"/>
                    <a:pt x="140" y="105"/>
                  </a:cubicBezTo>
                  <a:cubicBezTo>
                    <a:pt x="0" y="244"/>
                    <a:pt x="0" y="439"/>
                    <a:pt x="140" y="551"/>
                  </a:cubicBezTo>
                  <a:cubicBezTo>
                    <a:pt x="446" y="858"/>
                    <a:pt x="864" y="1053"/>
                    <a:pt x="1283" y="1053"/>
                  </a:cubicBezTo>
                  <a:cubicBezTo>
                    <a:pt x="1729" y="1053"/>
                    <a:pt x="2147" y="858"/>
                    <a:pt x="2425" y="551"/>
                  </a:cubicBezTo>
                  <a:cubicBezTo>
                    <a:pt x="2565" y="412"/>
                    <a:pt x="2565" y="216"/>
                    <a:pt x="2425" y="105"/>
                  </a:cubicBezTo>
                  <a:cubicBezTo>
                    <a:pt x="2356" y="35"/>
                    <a:pt x="2272" y="0"/>
                    <a:pt x="2192" y="0"/>
                  </a:cubicBezTo>
                  <a:cubicBezTo>
                    <a:pt x="2112" y="0"/>
                    <a:pt x="2035" y="35"/>
                    <a:pt x="1979" y="105"/>
                  </a:cubicBezTo>
                  <a:cubicBezTo>
                    <a:pt x="1812" y="272"/>
                    <a:pt x="1533" y="384"/>
                    <a:pt x="1283" y="384"/>
                  </a:cubicBezTo>
                  <a:cubicBezTo>
                    <a:pt x="1004" y="384"/>
                    <a:pt x="753" y="272"/>
                    <a:pt x="586" y="105"/>
                  </a:cubicBezTo>
                  <a:cubicBezTo>
                    <a:pt x="516" y="35"/>
                    <a:pt x="432" y="0"/>
                    <a:pt x="35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1" name="Google Shape;7421;p74"/>
            <p:cNvSpPr/>
            <p:nvPr/>
          </p:nvSpPr>
          <p:spPr>
            <a:xfrm>
              <a:off x="1127325" y="3050525"/>
              <a:ext cx="16075" cy="16050"/>
            </a:xfrm>
            <a:custGeom>
              <a:avLst/>
              <a:gdLst/>
              <a:ahLst/>
              <a:cxnLst/>
              <a:rect l="l" t="t" r="r" b="b"/>
              <a:pathLst>
                <a:path w="643" h="642" extrusionOk="0">
                  <a:moveTo>
                    <a:pt x="335" y="0"/>
                  </a:moveTo>
                  <a:cubicBezTo>
                    <a:pt x="140" y="0"/>
                    <a:pt x="1" y="140"/>
                    <a:pt x="1" y="335"/>
                  </a:cubicBezTo>
                  <a:cubicBezTo>
                    <a:pt x="1" y="502"/>
                    <a:pt x="140" y="642"/>
                    <a:pt x="335" y="642"/>
                  </a:cubicBezTo>
                  <a:cubicBezTo>
                    <a:pt x="503" y="642"/>
                    <a:pt x="642" y="502"/>
                    <a:pt x="642" y="335"/>
                  </a:cubicBezTo>
                  <a:cubicBezTo>
                    <a:pt x="642" y="140"/>
                    <a:pt x="503" y="0"/>
                    <a:pt x="3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2" name="Google Shape;7422;p74"/>
            <p:cNvSpPr/>
            <p:nvPr/>
          </p:nvSpPr>
          <p:spPr>
            <a:xfrm>
              <a:off x="1192850" y="3050525"/>
              <a:ext cx="15350" cy="16050"/>
            </a:xfrm>
            <a:custGeom>
              <a:avLst/>
              <a:gdLst/>
              <a:ahLst/>
              <a:cxnLst/>
              <a:rect l="l" t="t" r="r" b="b"/>
              <a:pathLst>
                <a:path w="614" h="642" extrusionOk="0">
                  <a:moveTo>
                    <a:pt x="307" y="0"/>
                  </a:moveTo>
                  <a:cubicBezTo>
                    <a:pt x="140" y="0"/>
                    <a:pt x="0" y="140"/>
                    <a:pt x="0" y="335"/>
                  </a:cubicBezTo>
                  <a:cubicBezTo>
                    <a:pt x="0" y="502"/>
                    <a:pt x="140" y="642"/>
                    <a:pt x="307" y="642"/>
                  </a:cubicBezTo>
                  <a:cubicBezTo>
                    <a:pt x="474" y="642"/>
                    <a:pt x="613" y="502"/>
                    <a:pt x="613" y="335"/>
                  </a:cubicBezTo>
                  <a:cubicBezTo>
                    <a:pt x="613" y="140"/>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3" name="Google Shape;7423;p74"/>
            <p:cNvSpPr/>
            <p:nvPr/>
          </p:nvSpPr>
          <p:spPr>
            <a:xfrm>
              <a:off x="1044400" y="2917425"/>
              <a:ext cx="248125" cy="281550"/>
            </a:xfrm>
            <a:custGeom>
              <a:avLst/>
              <a:gdLst/>
              <a:ahLst/>
              <a:cxnLst/>
              <a:rect l="l" t="t" r="r" b="b"/>
              <a:pathLst>
                <a:path w="9925" h="11262" extrusionOk="0">
                  <a:moveTo>
                    <a:pt x="7332" y="669"/>
                  </a:moveTo>
                  <a:cubicBezTo>
                    <a:pt x="7499" y="669"/>
                    <a:pt x="7639" y="809"/>
                    <a:pt x="7639" y="976"/>
                  </a:cubicBezTo>
                  <a:lnTo>
                    <a:pt x="7639" y="2816"/>
                  </a:lnTo>
                  <a:lnTo>
                    <a:pt x="6886" y="2063"/>
                  </a:lnTo>
                  <a:cubicBezTo>
                    <a:pt x="6823" y="2000"/>
                    <a:pt x="6743" y="1964"/>
                    <a:pt x="6660" y="1964"/>
                  </a:cubicBezTo>
                  <a:cubicBezTo>
                    <a:pt x="6595" y="1964"/>
                    <a:pt x="6529" y="1986"/>
                    <a:pt x="6468" y="2035"/>
                  </a:cubicBezTo>
                  <a:cubicBezTo>
                    <a:pt x="5924" y="2398"/>
                    <a:pt x="5297" y="2579"/>
                    <a:pt x="4670" y="2579"/>
                  </a:cubicBezTo>
                  <a:cubicBezTo>
                    <a:pt x="4043" y="2579"/>
                    <a:pt x="3415" y="2398"/>
                    <a:pt x="2872" y="2035"/>
                  </a:cubicBezTo>
                  <a:cubicBezTo>
                    <a:pt x="2811" y="1986"/>
                    <a:pt x="2744" y="1964"/>
                    <a:pt x="2680" y="1964"/>
                  </a:cubicBezTo>
                  <a:cubicBezTo>
                    <a:pt x="2597" y="1964"/>
                    <a:pt x="2516" y="2000"/>
                    <a:pt x="2454" y="2063"/>
                  </a:cubicBezTo>
                  <a:lnTo>
                    <a:pt x="1701" y="2816"/>
                  </a:lnTo>
                  <a:lnTo>
                    <a:pt x="1701" y="976"/>
                  </a:lnTo>
                  <a:cubicBezTo>
                    <a:pt x="1980" y="809"/>
                    <a:pt x="2147" y="669"/>
                    <a:pt x="2314" y="669"/>
                  </a:cubicBezTo>
                  <a:cubicBezTo>
                    <a:pt x="2482" y="669"/>
                    <a:pt x="2621" y="809"/>
                    <a:pt x="2621" y="976"/>
                  </a:cubicBezTo>
                  <a:cubicBezTo>
                    <a:pt x="2621" y="1143"/>
                    <a:pt x="2760" y="1283"/>
                    <a:pt x="2956" y="1283"/>
                  </a:cubicBezTo>
                  <a:cubicBezTo>
                    <a:pt x="3123" y="1283"/>
                    <a:pt x="3262" y="1143"/>
                    <a:pt x="3262" y="976"/>
                  </a:cubicBezTo>
                  <a:cubicBezTo>
                    <a:pt x="3262" y="809"/>
                    <a:pt x="3402" y="669"/>
                    <a:pt x="3569" y="669"/>
                  </a:cubicBezTo>
                  <a:cubicBezTo>
                    <a:pt x="3736" y="669"/>
                    <a:pt x="3875" y="809"/>
                    <a:pt x="3875" y="976"/>
                  </a:cubicBezTo>
                  <a:cubicBezTo>
                    <a:pt x="3875" y="1143"/>
                    <a:pt x="4015" y="1283"/>
                    <a:pt x="4210" y="1283"/>
                  </a:cubicBezTo>
                  <a:cubicBezTo>
                    <a:pt x="4377" y="1283"/>
                    <a:pt x="4517" y="1143"/>
                    <a:pt x="4517" y="976"/>
                  </a:cubicBezTo>
                  <a:cubicBezTo>
                    <a:pt x="4517" y="809"/>
                    <a:pt x="4656" y="669"/>
                    <a:pt x="4823" y="669"/>
                  </a:cubicBezTo>
                  <a:cubicBezTo>
                    <a:pt x="4990" y="669"/>
                    <a:pt x="5130" y="809"/>
                    <a:pt x="5130" y="976"/>
                  </a:cubicBezTo>
                  <a:cubicBezTo>
                    <a:pt x="5130" y="1143"/>
                    <a:pt x="5269" y="1283"/>
                    <a:pt x="5464" y="1283"/>
                  </a:cubicBezTo>
                  <a:cubicBezTo>
                    <a:pt x="5632" y="1283"/>
                    <a:pt x="5771" y="1143"/>
                    <a:pt x="5771" y="976"/>
                  </a:cubicBezTo>
                  <a:cubicBezTo>
                    <a:pt x="5771" y="809"/>
                    <a:pt x="5910" y="669"/>
                    <a:pt x="6078" y="669"/>
                  </a:cubicBezTo>
                  <a:cubicBezTo>
                    <a:pt x="6245" y="669"/>
                    <a:pt x="6384" y="809"/>
                    <a:pt x="6384" y="976"/>
                  </a:cubicBezTo>
                  <a:cubicBezTo>
                    <a:pt x="6384" y="1143"/>
                    <a:pt x="6524" y="1283"/>
                    <a:pt x="6719" y="1283"/>
                  </a:cubicBezTo>
                  <a:cubicBezTo>
                    <a:pt x="6886" y="1283"/>
                    <a:pt x="7025" y="1143"/>
                    <a:pt x="7025" y="976"/>
                  </a:cubicBezTo>
                  <a:cubicBezTo>
                    <a:pt x="7025" y="809"/>
                    <a:pt x="7165" y="669"/>
                    <a:pt x="7332" y="669"/>
                  </a:cubicBezTo>
                  <a:close/>
                  <a:moveTo>
                    <a:pt x="1311" y="5297"/>
                  </a:moveTo>
                  <a:lnTo>
                    <a:pt x="1311" y="6635"/>
                  </a:lnTo>
                  <a:cubicBezTo>
                    <a:pt x="949" y="6635"/>
                    <a:pt x="642" y="6356"/>
                    <a:pt x="642" y="5966"/>
                  </a:cubicBezTo>
                  <a:cubicBezTo>
                    <a:pt x="642" y="5603"/>
                    <a:pt x="921" y="5297"/>
                    <a:pt x="1311" y="5297"/>
                  </a:cubicBezTo>
                  <a:close/>
                  <a:moveTo>
                    <a:pt x="8586" y="5297"/>
                  </a:moveTo>
                  <a:cubicBezTo>
                    <a:pt x="8949" y="5297"/>
                    <a:pt x="9255" y="5575"/>
                    <a:pt x="9255" y="5966"/>
                  </a:cubicBezTo>
                  <a:cubicBezTo>
                    <a:pt x="9255" y="6356"/>
                    <a:pt x="8949" y="6635"/>
                    <a:pt x="8586" y="6635"/>
                  </a:cubicBezTo>
                  <a:lnTo>
                    <a:pt x="8586" y="5297"/>
                  </a:lnTo>
                  <a:close/>
                  <a:moveTo>
                    <a:pt x="6914" y="2732"/>
                  </a:moveTo>
                  <a:lnTo>
                    <a:pt x="7973" y="3763"/>
                  </a:lnTo>
                  <a:cubicBezTo>
                    <a:pt x="7917" y="4265"/>
                    <a:pt x="7917" y="7248"/>
                    <a:pt x="7917" y="7638"/>
                  </a:cubicBezTo>
                  <a:cubicBezTo>
                    <a:pt x="7917" y="9255"/>
                    <a:pt x="6607" y="10593"/>
                    <a:pt x="4963" y="10593"/>
                  </a:cubicBezTo>
                  <a:cubicBezTo>
                    <a:pt x="3318" y="10593"/>
                    <a:pt x="2008" y="9255"/>
                    <a:pt x="2008" y="7638"/>
                  </a:cubicBezTo>
                  <a:lnTo>
                    <a:pt x="2008" y="3763"/>
                  </a:lnTo>
                  <a:lnTo>
                    <a:pt x="3039" y="2732"/>
                  </a:lnTo>
                  <a:cubicBezTo>
                    <a:pt x="3638" y="3080"/>
                    <a:pt x="4301" y="3255"/>
                    <a:pt x="4966" y="3255"/>
                  </a:cubicBezTo>
                  <a:cubicBezTo>
                    <a:pt x="5632" y="3255"/>
                    <a:pt x="6301" y="3080"/>
                    <a:pt x="6914" y="2732"/>
                  </a:cubicBezTo>
                  <a:close/>
                  <a:moveTo>
                    <a:pt x="2314" y="0"/>
                  </a:moveTo>
                  <a:cubicBezTo>
                    <a:pt x="1757" y="0"/>
                    <a:pt x="1339" y="446"/>
                    <a:pt x="1339" y="976"/>
                  </a:cubicBezTo>
                  <a:lnTo>
                    <a:pt x="1339" y="4628"/>
                  </a:lnTo>
                  <a:cubicBezTo>
                    <a:pt x="614" y="4628"/>
                    <a:pt x="1" y="5241"/>
                    <a:pt x="1" y="5966"/>
                  </a:cubicBezTo>
                  <a:cubicBezTo>
                    <a:pt x="1" y="6690"/>
                    <a:pt x="614" y="7276"/>
                    <a:pt x="1339" y="7276"/>
                  </a:cubicBezTo>
                  <a:lnTo>
                    <a:pt x="1339" y="7638"/>
                  </a:lnTo>
                  <a:cubicBezTo>
                    <a:pt x="1339" y="9617"/>
                    <a:pt x="2983" y="11262"/>
                    <a:pt x="4963" y="11262"/>
                  </a:cubicBezTo>
                  <a:cubicBezTo>
                    <a:pt x="6942" y="11262"/>
                    <a:pt x="8586" y="9617"/>
                    <a:pt x="8586" y="7638"/>
                  </a:cubicBezTo>
                  <a:lnTo>
                    <a:pt x="8586" y="7276"/>
                  </a:lnTo>
                  <a:cubicBezTo>
                    <a:pt x="9311" y="7276"/>
                    <a:pt x="9896" y="6690"/>
                    <a:pt x="9896" y="5966"/>
                  </a:cubicBezTo>
                  <a:cubicBezTo>
                    <a:pt x="9924" y="5241"/>
                    <a:pt x="9311" y="4628"/>
                    <a:pt x="8586" y="4628"/>
                  </a:cubicBezTo>
                  <a:lnTo>
                    <a:pt x="8586" y="976"/>
                  </a:lnTo>
                  <a:cubicBezTo>
                    <a:pt x="8586" y="418"/>
                    <a:pt x="8140" y="0"/>
                    <a:pt x="7611" y="0"/>
                  </a:cubicBezTo>
                  <a:cubicBezTo>
                    <a:pt x="7360" y="0"/>
                    <a:pt x="7137" y="112"/>
                    <a:pt x="6942" y="251"/>
                  </a:cubicBezTo>
                  <a:cubicBezTo>
                    <a:pt x="6774" y="56"/>
                    <a:pt x="6524" y="0"/>
                    <a:pt x="6301" y="0"/>
                  </a:cubicBezTo>
                  <a:cubicBezTo>
                    <a:pt x="6050" y="0"/>
                    <a:pt x="5799" y="112"/>
                    <a:pt x="5632" y="251"/>
                  </a:cubicBezTo>
                  <a:cubicBezTo>
                    <a:pt x="5436" y="56"/>
                    <a:pt x="5213" y="0"/>
                    <a:pt x="4963" y="0"/>
                  </a:cubicBezTo>
                  <a:cubicBezTo>
                    <a:pt x="4712" y="0"/>
                    <a:pt x="4461" y="112"/>
                    <a:pt x="4294" y="251"/>
                  </a:cubicBezTo>
                  <a:cubicBezTo>
                    <a:pt x="4126" y="56"/>
                    <a:pt x="3875" y="0"/>
                    <a:pt x="3625" y="0"/>
                  </a:cubicBezTo>
                  <a:cubicBezTo>
                    <a:pt x="3402" y="0"/>
                    <a:pt x="3151" y="112"/>
                    <a:pt x="2983" y="251"/>
                  </a:cubicBezTo>
                  <a:cubicBezTo>
                    <a:pt x="2788" y="56"/>
                    <a:pt x="2565" y="0"/>
                    <a:pt x="23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4" name="Google Shape;7424;p74"/>
            <p:cNvSpPr/>
            <p:nvPr/>
          </p:nvSpPr>
          <p:spPr>
            <a:xfrm>
              <a:off x="1086125" y="2932961"/>
              <a:ext cx="11427" cy="58241"/>
            </a:xfrm>
            <a:custGeom>
              <a:avLst/>
              <a:gdLst/>
              <a:ahLst/>
              <a:cxnLst/>
              <a:rect l="l" t="t" r="r" b="b"/>
              <a:pathLst>
                <a:path w="500" h="2548" extrusionOk="0">
                  <a:moveTo>
                    <a:pt x="500" y="2238"/>
                  </a:moveTo>
                  <a:lnTo>
                    <a:pt x="500" y="0"/>
                  </a:lnTo>
                  <a:lnTo>
                    <a:pt x="72" y="214"/>
                  </a:lnTo>
                  <a:lnTo>
                    <a:pt x="0" y="1547"/>
                  </a:lnTo>
                  <a:lnTo>
                    <a:pt x="0" y="2548"/>
                  </a:lnTo>
                  <a:close/>
                </a:path>
              </a:pathLst>
            </a:custGeom>
            <a:solidFill>
              <a:srgbClr val="5F7D95"/>
            </a:solidFill>
            <a:ln>
              <a:noFill/>
            </a:ln>
          </p:spPr>
        </p:sp>
        <p:sp>
          <p:nvSpPr>
            <p:cNvPr id="7425" name="Google Shape;7425;p74"/>
            <p:cNvSpPr/>
            <p:nvPr/>
          </p:nvSpPr>
          <p:spPr>
            <a:xfrm>
              <a:off x="1090922" y="2925900"/>
              <a:ext cx="29209" cy="38629"/>
            </a:xfrm>
            <a:custGeom>
              <a:avLst/>
              <a:gdLst/>
              <a:ahLst/>
              <a:cxnLst/>
              <a:rect l="l" t="t" r="r" b="b"/>
              <a:pathLst>
                <a:path w="1278" h="1690" extrusionOk="0">
                  <a:moveTo>
                    <a:pt x="288" y="737"/>
                  </a:moveTo>
                  <a:cubicBezTo>
                    <a:pt x="296" y="689"/>
                    <a:pt x="288" y="519"/>
                    <a:pt x="336" y="451"/>
                  </a:cubicBezTo>
                  <a:cubicBezTo>
                    <a:pt x="384" y="384"/>
                    <a:pt x="471" y="340"/>
                    <a:pt x="574" y="332"/>
                  </a:cubicBezTo>
                  <a:cubicBezTo>
                    <a:pt x="677" y="324"/>
                    <a:pt x="840" y="412"/>
                    <a:pt x="955" y="404"/>
                  </a:cubicBezTo>
                  <a:cubicBezTo>
                    <a:pt x="1070" y="396"/>
                    <a:pt x="1320" y="349"/>
                    <a:pt x="1264" y="285"/>
                  </a:cubicBezTo>
                  <a:cubicBezTo>
                    <a:pt x="1208" y="222"/>
                    <a:pt x="816" y="51"/>
                    <a:pt x="621" y="23"/>
                  </a:cubicBezTo>
                  <a:cubicBezTo>
                    <a:pt x="427" y="-5"/>
                    <a:pt x="200" y="-13"/>
                    <a:pt x="97" y="118"/>
                  </a:cubicBezTo>
                  <a:cubicBezTo>
                    <a:pt x="-6" y="249"/>
                    <a:pt x="2" y="547"/>
                    <a:pt x="2" y="809"/>
                  </a:cubicBezTo>
                  <a:cubicBezTo>
                    <a:pt x="2" y="1071"/>
                    <a:pt x="81" y="1543"/>
                    <a:pt x="97" y="1690"/>
                  </a:cubicBezTo>
                </a:path>
              </a:pathLst>
            </a:custGeom>
            <a:solidFill>
              <a:srgbClr val="5F7D95"/>
            </a:solidFill>
            <a:ln>
              <a:noFill/>
            </a:ln>
          </p:spPr>
        </p:sp>
        <p:sp>
          <p:nvSpPr>
            <p:cNvPr id="7426" name="Google Shape;7426;p74"/>
            <p:cNvSpPr/>
            <p:nvPr/>
          </p:nvSpPr>
          <p:spPr>
            <a:xfrm>
              <a:off x="1222775" y="2966925"/>
              <a:ext cx="28574" cy="36325"/>
            </a:xfrm>
            <a:custGeom>
              <a:avLst/>
              <a:gdLst/>
              <a:ahLst/>
              <a:cxnLst/>
              <a:rect l="l" t="t" r="r" b="b"/>
              <a:pathLst>
                <a:path w="1048" h="1453" extrusionOk="0">
                  <a:moveTo>
                    <a:pt x="0" y="0"/>
                  </a:moveTo>
                  <a:lnTo>
                    <a:pt x="1048" y="1072"/>
                  </a:lnTo>
                  <a:lnTo>
                    <a:pt x="905" y="1453"/>
                  </a:lnTo>
                  <a:lnTo>
                    <a:pt x="0" y="667"/>
                  </a:lnTo>
                  <a:close/>
                </a:path>
              </a:pathLst>
            </a:custGeom>
            <a:solidFill>
              <a:srgbClr val="5F7D95"/>
            </a:solidFill>
            <a:ln>
              <a:noFill/>
            </a:ln>
          </p:spPr>
        </p:sp>
        <p:sp>
          <p:nvSpPr>
            <p:cNvPr id="7427" name="Google Shape;7427;p74"/>
            <p:cNvSpPr/>
            <p:nvPr/>
          </p:nvSpPr>
          <p:spPr>
            <a:xfrm>
              <a:off x="1205975" y="2965750"/>
              <a:ext cx="21000" cy="16200"/>
            </a:xfrm>
            <a:prstGeom prst="ellipse">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28" name="Google Shape;7428;p74"/>
            <p:cNvSpPr/>
            <p:nvPr/>
          </p:nvSpPr>
          <p:spPr>
            <a:xfrm>
              <a:off x="1082225" y="2937250"/>
              <a:ext cx="11400" cy="26400"/>
            </a:xfrm>
            <a:prstGeom prst="rect">
              <a:avLst/>
            </a:pr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429" name="Google Shape;7429;p74"/>
          <p:cNvSpPr/>
          <p:nvPr/>
        </p:nvSpPr>
        <p:spPr>
          <a:xfrm>
            <a:off x="8844880" y="3279820"/>
            <a:ext cx="457624" cy="482872"/>
          </a:xfrm>
          <a:custGeom>
            <a:avLst/>
            <a:gdLst/>
            <a:ahLst/>
            <a:cxnLst/>
            <a:rect l="l" t="t" r="r" b="b"/>
            <a:pathLst>
              <a:path w="10621" h="11207" extrusionOk="0">
                <a:moveTo>
                  <a:pt x="6412" y="614"/>
                </a:moveTo>
                <a:lnTo>
                  <a:pt x="6690" y="1980"/>
                </a:lnTo>
                <a:cubicBezTo>
                  <a:pt x="6384" y="2063"/>
                  <a:pt x="6105" y="2203"/>
                  <a:pt x="5854" y="2426"/>
                </a:cubicBezTo>
                <a:cubicBezTo>
                  <a:pt x="5548" y="2119"/>
                  <a:pt x="5129" y="1952"/>
                  <a:pt x="4711" y="1952"/>
                </a:cubicBezTo>
                <a:cubicBezTo>
                  <a:pt x="4265" y="1952"/>
                  <a:pt x="3875" y="2119"/>
                  <a:pt x="3568" y="2426"/>
                </a:cubicBezTo>
                <a:cubicBezTo>
                  <a:pt x="3345" y="2231"/>
                  <a:pt x="3039" y="2063"/>
                  <a:pt x="2732" y="1980"/>
                </a:cubicBezTo>
                <a:lnTo>
                  <a:pt x="3011" y="614"/>
                </a:lnTo>
                <a:close/>
                <a:moveTo>
                  <a:pt x="7192" y="1088"/>
                </a:moveTo>
                <a:lnTo>
                  <a:pt x="8530" y="2147"/>
                </a:lnTo>
                <a:cubicBezTo>
                  <a:pt x="8447" y="2259"/>
                  <a:pt x="8335" y="2370"/>
                  <a:pt x="8251" y="2482"/>
                </a:cubicBezTo>
                <a:cubicBezTo>
                  <a:pt x="8028" y="2231"/>
                  <a:pt x="7750" y="2008"/>
                  <a:pt x="7359" y="1952"/>
                </a:cubicBezTo>
                <a:lnTo>
                  <a:pt x="7192" y="1088"/>
                </a:lnTo>
                <a:close/>
                <a:moveTo>
                  <a:pt x="9339" y="2565"/>
                </a:moveTo>
                <a:cubicBezTo>
                  <a:pt x="9729" y="2565"/>
                  <a:pt x="10008" y="2844"/>
                  <a:pt x="10008" y="3234"/>
                </a:cubicBezTo>
                <a:cubicBezTo>
                  <a:pt x="9980" y="3624"/>
                  <a:pt x="9701" y="3903"/>
                  <a:pt x="9339" y="3903"/>
                </a:cubicBezTo>
                <a:cubicBezTo>
                  <a:pt x="9004" y="3903"/>
                  <a:pt x="8670" y="3624"/>
                  <a:pt x="8670" y="3234"/>
                </a:cubicBezTo>
                <a:cubicBezTo>
                  <a:pt x="8670" y="2900"/>
                  <a:pt x="8948" y="2565"/>
                  <a:pt x="9339" y="2565"/>
                </a:cubicBezTo>
                <a:close/>
                <a:moveTo>
                  <a:pt x="7081" y="2565"/>
                </a:moveTo>
                <a:cubicBezTo>
                  <a:pt x="7638" y="2565"/>
                  <a:pt x="8056" y="3039"/>
                  <a:pt x="8056" y="3541"/>
                </a:cubicBezTo>
                <a:cubicBezTo>
                  <a:pt x="8056" y="4070"/>
                  <a:pt x="7610" y="4516"/>
                  <a:pt x="7081" y="4516"/>
                </a:cubicBezTo>
                <a:cubicBezTo>
                  <a:pt x="6718" y="4516"/>
                  <a:pt x="6384" y="4321"/>
                  <a:pt x="6217" y="4015"/>
                </a:cubicBezTo>
                <a:cubicBezTo>
                  <a:pt x="6147" y="3889"/>
                  <a:pt x="6028" y="3827"/>
                  <a:pt x="5910" y="3827"/>
                </a:cubicBezTo>
                <a:cubicBezTo>
                  <a:pt x="5791" y="3827"/>
                  <a:pt x="5673" y="3889"/>
                  <a:pt x="5603" y="4015"/>
                </a:cubicBezTo>
                <a:cubicBezTo>
                  <a:pt x="5436" y="4321"/>
                  <a:pt x="5102" y="4516"/>
                  <a:pt x="4739" y="4516"/>
                </a:cubicBezTo>
                <a:cubicBezTo>
                  <a:pt x="4405" y="4516"/>
                  <a:pt x="4042" y="4321"/>
                  <a:pt x="3875" y="4015"/>
                </a:cubicBezTo>
                <a:cubicBezTo>
                  <a:pt x="3805" y="3889"/>
                  <a:pt x="3694" y="3827"/>
                  <a:pt x="3582" y="3827"/>
                </a:cubicBezTo>
                <a:cubicBezTo>
                  <a:pt x="3471" y="3827"/>
                  <a:pt x="3359" y="3889"/>
                  <a:pt x="3290" y="4015"/>
                </a:cubicBezTo>
                <a:cubicBezTo>
                  <a:pt x="3094" y="4321"/>
                  <a:pt x="2760" y="4516"/>
                  <a:pt x="2398" y="4516"/>
                </a:cubicBezTo>
                <a:cubicBezTo>
                  <a:pt x="1840" y="4516"/>
                  <a:pt x="1422" y="4070"/>
                  <a:pt x="1422" y="3541"/>
                </a:cubicBezTo>
                <a:cubicBezTo>
                  <a:pt x="1422" y="3039"/>
                  <a:pt x="1840" y="2565"/>
                  <a:pt x="2398" y="2565"/>
                </a:cubicBezTo>
                <a:cubicBezTo>
                  <a:pt x="2760" y="2565"/>
                  <a:pt x="3094" y="2788"/>
                  <a:pt x="3290" y="3095"/>
                </a:cubicBezTo>
                <a:cubicBezTo>
                  <a:pt x="3359" y="3220"/>
                  <a:pt x="3471" y="3283"/>
                  <a:pt x="3582" y="3283"/>
                </a:cubicBezTo>
                <a:cubicBezTo>
                  <a:pt x="3694" y="3283"/>
                  <a:pt x="3805" y="3220"/>
                  <a:pt x="3875" y="3095"/>
                </a:cubicBezTo>
                <a:cubicBezTo>
                  <a:pt x="4042" y="2788"/>
                  <a:pt x="4405" y="2565"/>
                  <a:pt x="4739" y="2565"/>
                </a:cubicBezTo>
                <a:cubicBezTo>
                  <a:pt x="5102" y="2565"/>
                  <a:pt x="5436" y="2788"/>
                  <a:pt x="5603" y="3095"/>
                </a:cubicBezTo>
                <a:cubicBezTo>
                  <a:pt x="5673" y="3220"/>
                  <a:pt x="5791" y="3283"/>
                  <a:pt x="5910" y="3283"/>
                </a:cubicBezTo>
                <a:cubicBezTo>
                  <a:pt x="6028" y="3283"/>
                  <a:pt x="6147" y="3220"/>
                  <a:pt x="6217" y="3095"/>
                </a:cubicBezTo>
                <a:cubicBezTo>
                  <a:pt x="6384" y="2788"/>
                  <a:pt x="6718" y="2565"/>
                  <a:pt x="7081" y="2565"/>
                </a:cubicBezTo>
                <a:close/>
                <a:moveTo>
                  <a:pt x="5798" y="4767"/>
                </a:moveTo>
                <a:cubicBezTo>
                  <a:pt x="6105" y="5074"/>
                  <a:pt x="6523" y="5269"/>
                  <a:pt x="6941" y="5269"/>
                </a:cubicBezTo>
                <a:cubicBezTo>
                  <a:pt x="7192" y="5269"/>
                  <a:pt x="7387" y="5213"/>
                  <a:pt x="7610" y="5130"/>
                </a:cubicBezTo>
                <a:lnTo>
                  <a:pt x="7610" y="6273"/>
                </a:lnTo>
                <a:lnTo>
                  <a:pt x="7109" y="6440"/>
                </a:lnTo>
                <a:cubicBezTo>
                  <a:pt x="7055" y="6463"/>
                  <a:pt x="6997" y="6473"/>
                  <a:pt x="6938" y="6473"/>
                </a:cubicBezTo>
                <a:cubicBezTo>
                  <a:pt x="6782" y="6473"/>
                  <a:pt x="6616" y="6402"/>
                  <a:pt x="6495" y="6301"/>
                </a:cubicBezTo>
                <a:cubicBezTo>
                  <a:pt x="6241" y="6046"/>
                  <a:pt x="5923" y="5927"/>
                  <a:pt x="5608" y="5927"/>
                </a:cubicBezTo>
                <a:cubicBezTo>
                  <a:pt x="5267" y="5927"/>
                  <a:pt x="4930" y="6067"/>
                  <a:pt x="4683" y="6328"/>
                </a:cubicBezTo>
                <a:cubicBezTo>
                  <a:pt x="4433" y="6078"/>
                  <a:pt x="4082" y="5937"/>
                  <a:pt x="3733" y="5937"/>
                </a:cubicBezTo>
                <a:cubicBezTo>
                  <a:pt x="3420" y="5937"/>
                  <a:pt x="3109" y="6050"/>
                  <a:pt x="2871" y="6301"/>
                </a:cubicBezTo>
                <a:cubicBezTo>
                  <a:pt x="2737" y="6416"/>
                  <a:pt x="2602" y="6478"/>
                  <a:pt x="2449" y="6478"/>
                </a:cubicBezTo>
                <a:cubicBezTo>
                  <a:pt x="2380" y="6478"/>
                  <a:pt x="2308" y="6466"/>
                  <a:pt x="2230" y="6440"/>
                </a:cubicBezTo>
                <a:lnTo>
                  <a:pt x="1673" y="6273"/>
                </a:lnTo>
                <a:lnTo>
                  <a:pt x="1673" y="5130"/>
                </a:lnTo>
                <a:cubicBezTo>
                  <a:pt x="1896" y="5213"/>
                  <a:pt x="2091" y="5269"/>
                  <a:pt x="2342" y="5269"/>
                </a:cubicBezTo>
                <a:cubicBezTo>
                  <a:pt x="2788" y="5269"/>
                  <a:pt x="3178" y="5074"/>
                  <a:pt x="3485" y="4767"/>
                </a:cubicBezTo>
                <a:cubicBezTo>
                  <a:pt x="3791" y="5074"/>
                  <a:pt x="4209" y="5269"/>
                  <a:pt x="4628" y="5269"/>
                </a:cubicBezTo>
                <a:cubicBezTo>
                  <a:pt x="5102" y="5269"/>
                  <a:pt x="5464" y="5074"/>
                  <a:pt x="5798" y="4767"/>
                </a:cubicBezTo>
                <a:close/>
                <a:moveTo>
                  <a:pt x="3791" y="6577"/>
                </a:moveTo>
                <a:cubicBezTo>
                  <a:pt x="4000" y="6577"/>
                  <a:pt x="4207" y="6680"/>
                  <a:pt x="4321" y="6858"/>
                </a:cubicBezTo>
                <a:lnTo>
                  <a:pt x="4182" y="6997"/>
                </a:lnTo>
                <a:cubicBezTo>
                  <a:pt x="3826" y="7340"/>
                  <a:pt x="3371" y="7508"/>
                  <a:pt x="2920" y="7508"/>
                </a:cubicBezTo>
                <a:cubicBezTo>
                  <a:pt x="2415" y="7508"/>
                  <a:pt x="1914" y="7298"/>
                  <a:pt x="1561" y="6886"/>
                </a:cubicBezTo>
                <a:lnTo>
                  <a:pt x="1561" y="6886"/>
                </a:lnTo>
                <a:lnTo>
                  <a:pt x="2091" y="7081"/>
                </a:lnTo>
                <a:cubicBezTo>
                  <a:pt x="2215" y="7120"/>
                  <a:pt x="2343" y="7139"/>
                  <a:pt x="2471" y="7139"/>
                </a:cubicBezTo>
                <a:cubicBezTo>
                  <a:pt x="2803" y="7139"/>
                  <a:pt x="3132" y="7008"/>
                  <a:pt x="3373" y="6747"/>
                </a:cubicBezTo>
                <a:cubicBezTo>
                  <a:pt x="3490" y="6630"/>
                  <a:pt x="3641" y="6577"/>
                  <a:pt x="3791" y="6577"/>
                </a:cubicBezTo>
                <a:close/>
                <a:moveTo>
                  <a:pt x="5591" y="6621"/>
                </a:moveTo>
                <a:cubicBezTo>
                  <a:pt x="5743" y="6621"/>
                  <a:pt x="5898" y="6679"/>
                  <a:pt x="6021" y="6802"/>
                </a:cubicBezTo>
                <a:cubicBezTo>
                  <a:pt x="6282" y="7042"/>
                  <a:pt x="6599" y="7168"/>
                  <a:pt x="6933" y="7168"/>
                </a:cubicBezTo>
                <a:cubicBezTo>
                  <a:pt x="7064" y="7168"/>
                  <a:pt x="7198" y="7148"/>
                  <a:pt x="7332" y="7109"/>
                </a:cubicBezTo>
                <a:lnTo>
                  <a:pt x="7833" y="6886"/>
                </a:lnTo>
                <a:lnTo>
                  <a:pt x="7833" y="6886"/>
                </a:lnTo>
                <a:cubicBezTo>
                  <a:pt x="7503" y="7299"/>
                  <a:pt x="7003" y="7529"/>
                  <a:pt x="6483" y="7529"/>
                </a:cubicBezTo>
                <a:cubicBezTo>
                  <a:pt x="6302" y="7529"/>
                  <a:pt x="6118" y="7501"/>
                  <a:pt x="5938" y="7443"/>
                </a:cubicBezTo>
                <a:cubicBezTo>
                  <a:pt x="5464" y="7304"/>
                  <a:pt x="5269" y="7025"/>
                  <a:pt x="5102" y="6886"/>
                </a:cubicBezTo>
                <a:cubicBezTo>
                  <a:pt x="5211" y="6714"/>
                  <a:pt x="5398" y="6621"/>
                  <a:pt x="5591" y="6621"/>
                </a:cubicBezTo>
                <a:close/>
                <a:moveTo>
                  <a:pt x="4628" y="7416"/>
                </a:moveTo>
                <a:cubicBezTo>
                  <a:pt x="4906" y="7694"/>
                  <a:pt x="5185" y="7945"/>
                  <a:pt x="5659" y="8085"/>
                </a:cubicBezTo>
                <a:cubicBezTo>
                  <a:pt x="5882" y="8140"/>
                  <a:pt x="6161" y="8224"/>
                  <a:pt x="6412" y="8224"/>
                </a:cubicBezTo>
                <a:cubicBezTo>
                  <a:pt x="7053" y="8224"/>
                  <a:pt x="7666" y="7973"/>
                  <a:pt x="8112" y="7527"/>
                </a:cubicBezTo>
                <a:cubicBezTo>
                  <a:pt x="8224" y="7639"/>
                  <a:pt x="8251" y="7806"/>
                  <a:pt x="8251" y="7945"/>
                </a:cubicBezTo>
                <a:cubicBezTo>
                  <a:pt x="8335" y="8280"/>
                  <a:pt x="8056" y="8558"/>
                  <a:pt x="7666" y="8558"/>
                </a:cubicBezTo>
                <a:cubicBezTo>
                  <a:pt x="7555" y="8558"/>
                  <a:pt x="7471" y="8531"/>
                  <a:pt x="7387" y="8503"/>
                </a:cubicBezTo>
                <a:cubicBezTo>
                  <a:pt x="7339" y="8479"/>
                  <a:pt x="7291" y="8468"/>
                  <a:pt x="7243" y="8468"/>
                </a:cubicBezTo>
                <a:cubicBezTo>
                  <a:pt x="7016" y="8468"/>
                  <a:pt x="6826" y="8718"/>
                  <a:pt x="6941" y="8949"/>
                </a:cubicBezTo>
                <a:cubicBezTo>
                  <a:pt x="6969" y="9060"/>
                  <a:pt x="6997" y="9172"/>
                  <a:pt x="6997" y="9227"/>
                </a:cubicBezTo>
                <a:cubicBezTo>
                  <a:pt x="6997" y="9590"/>
                  <a:pt x="6718" y="9896"/>
                  <a:pt x="6356" y="9896"/>
                </a:cubicBezTo>
                <a:cubicBezTo>
                  <a:pt x="6161" y="9896"/>
                  <a:pt x="6021" y="9813"/>
                  <a:pt x="5882" y="9729"/>
                </a:cubicBezTo>
                <a:cubicBezTo>
                  <a:pt x="5815" y="9662"/>
                  <a:pt x="5734" y="9631"/>
                  <a:pt x="5655" y="9631"/>
                </a:cubicBezTo>
                <a:cubicBezTo>
                  <a:pt x="5505" y="9631"/>
                  <a:pt x="5361" y="9742"/>
                  <a:pt x="5325" y="9924"/>
                </a:cubicBezTo>
                <a:cubicBezTo>
                  <a:pt x="5297" y="10287"/>
                  <a:pt x="5018" y="10565"/>
                  <a:pt x="4683" y="10565"/>
                </a:cubicBezTo>
                <a:cubicBezTo>
                  <a:pt x="4321" y="10565"/>
                  <a:pt x="4042" y="10287"/>
                  <a:pt x="4014" y="9924"/>
                </a:cubicBezTo>
                <a:cubicBezTo>
                  <a:pt x="3996" y="9741"/>
                  <a:pt x="3846" y="9619"/>
                  <a:pt x="3690" y="9619"/>
                </a:cubicBezTo>
                <a:cubicBezTo>
                  <a:pt x="3608" y="9619"/>
                  <a:pt x="3524" y="9652"/>
                  <a:pt x="3457" y="9729"/>
                </a:cubicBezTo>
                <a:cubicBezTo>
                  <a:pt x="3317" y="9813"/>
                  <a:pt x="3178" y="9896"/>
                  <a:pt x="3011" y="9896"/>
                </a:cubicBezTo>
                <a:cubicBezTo>
                  <a:pt x="2648" y="9896"/>
                  <a:pt x="2342" y="9618"/>
                  <a:pt x="2342" y="9227"/>
                </a:cubicBezTo>
                <a:cubicBezTo>
                  <a:pt x="2342" y="9116"/>
                  <a:pt x="2370" y="9032"/>
                  <a:pt x="2398" y="8949"/>
                </a:cubicBezTo>
                <a:cubicBezTo>
                  <a:pt x="2513" y="8718"/>
                  <a:pt x="2323" y="8468"/>
                  <a:pt x="2095" y="8468"/>
                </a:cubicBezTo>
                <a:cubicBezTo>
                  <a:pt x="2048" y="8468"/>
                  <a:pt x="2000" y="8479"/>
                  <a:pt x="1952" y="8503"/>
                </a:cubicBezTo>
                <a:cubicBezTo>
                  <a:pt x="1859" y="8555"/>
                  <a:pt x="1755" y="8583"/>
                  <a:pt x="1653" y="8583"/>
                </a:cubicBezTo>
                <a:cubicBezTo>
                  <a:pt x="1538" y="8583"/>
                  <a:pt x="1427" y="8548"/>
                  <a:pt x="1338" y="8475"/>
                </a:cubicBezTo>
                <a:cubicBezTo>
                  <a:pt x="1115" y="8335"/>
                  <a:pt x="1004" y="8112"/>
                  <a:pt x="1004" y="7917"/>
                </a:cubicBezTo>
                <a:cubicBezTo>
                  <a:pt x="1004" y="7722"/>
                  <a:pt x="1087" y="7583"/>
                  <a:pt x="1143" y="7499"/>
                </a:cubicBezTo>
                <a:cubicBezTo>
                  <a:pt x="1617" y="7945"/>
                  <a:pt x="2230" y="8196"/>
                  <a:pt x="2871" y="8196"/>
                </a:cubicBezTo>
                <a:cubicBezTo>
                  <a:pt x="3485" y="8196"/>
                  <a:pt x="4126" y="7945"/>
                  <a:pt x="4572" y="7499"/>
                </a:cubicBezTo>
                <a:lnTo>
                  <a:pt x="4628" y="7416"/>
                </a:lnTo>
                <a:close/>
                <a:moveTo>
                  <a:pt x="2732" y="1"/>
                </a:moveTo>
                <a:cubicBezTo>
                  <a:pt x="2537" y="1"/>
                  <a:pt x="2453" y="112"/>
                  <a:pt x="2398" y="279"/>
                </a:cubicBezTo>
                <a:lnTo>
                  <a:pt x="2063" y="2008"/>
                </a:lnTo>
                <a:cubicBezTo>
                  <a:pt x="1310" y="2203"/>
                  <a:pt x="753" y="2844"/>
                  <a:pt x="753" y="3624"/>
                </a:cubicBezTo>
                <a:cubicBezTo>
                  <a:pt x="753" y="4015"/>
                  <a:pt x="892" y="4321"/>
                  <a:pt x="1087" y="4600"/>
                </a:cubicBezTo>
                <a:lnTo>
                  <a:pt x="1087" y="6050"/>
                </a:lnTo>
                <a:lnTo>
                  <a:pt x="864" y="5994"/>
                </a:lnTo>
                <a:cubicBezTo>
                  <a:pt x="832" y="5987"/>
                  <a:pt x="799" y="5984"/>
                  <a:pt x="766" y="5984"/>
                </a:cubicBezTo>
                <a:cubicBezTo>
                  <a:pt x="662" y="5984"/>
                  <a:pt x="566" y="6020"/>
                  <a:pt x="502" y="6105"/>
                </a:cubicBezTo>
                <a:cubicBezTo>
                  <a:pt x="418" y="6189"/>
                  <a:pt x="391" y="6384"/>
                  <a:pt x="502" y="6468"/>
                </a:cubicBezTo>
                <a:lnTo>
                  <a:pt x="837" y="6997"/>
                </a:lnTo>
                <a:cubicBezTo>
                  <a:pt x="0" y="7806"/>
                  <a:pt x="558" y="9255"/>
                  <a:pt x="1756" y="9255"/>
                </a:cubicBezTo>
                <a:cubicBezTo>
                  <a:pt x="1756" y="10001"/>
                  <a:pt x="2361" y="10582"/>
                  <a:pt x="3036" y="10582"/>
                </a:cubicBezTo>
                <a:cubicBezTo>
                  <a:pt x="3193" y="10582"/>
                  <a:pt x="3354" y="10550"/>
                  <a:pt x="3513" y="10482"/>
                </a:cubicBezTo>
                <a:cubicBezTo>
                  <a:pt x="3736" y="10928"/>
                  <a:pt x="4182" y="11207"/>
                  <a:pt x="4711" y="11207"/>
                </a:cubicBezTo>
                <a:cubicBezTo>
                  <a:pt x="5241" y="11207"/>
                  <a:pt x="5687" y="10900"/>
                  <a:pt x="5882" y="10482"/>
                </a:cubicBezTo>
                <a:cubicBezTo>
                  <a:pt x="6040" y="10536"/>
                  <a:pt x="6198" y="10562"/>
                  <a:pt x="6351" y="10562"/>
                </a:cubicBezTo>
                <a:cubicBezTo>
                  <a:pt x="7062" y="10562"/>
                  <a:pt x="7666" y="10012"/>
                  <a:pt x="7666" y="9255"/>
                </a:cubicBezTo>
                <a:cubicBezTo>
                  <a:pt x="8865" y="9255"/>
                  <a:pt x="9450" y="7806"/>
                  <a:pt x="8586" y="6997"/>
                </a:cubicBezTo>
                <a:lnTo>
                  <a:pt x="8920" y="6468"/>
                </a:lnTo>
                <a:cubicBezTo>
                  <a:pt x="9066" y="6273"/>
                  <a:pt x="8894" y="5973"/>
                  <a:pt x="8645" y="5973"/>
                </a:cubicBezTo>
                <a:cubicBezTo>
                  <a:pt x="8608" y="5973"/>
                  <a:pt x="8570" y="5980"/>
                  <a:pt x="8530" y="5994"/>
                </a:cubicBezTo>
                <a:lnTo>
                  <a:pt x="8335" y="6050"/>
                </a:lnTo>
                <a:lnTo>
                  <a:pt x="8335" y="4600"/>
                </a:lnTo>
                <a:cubicBezTo>
                  <a:pt x="8391" y="4489"/>
                  <a:pt x="8474" y="4433"/>
                  <a:pt x="8502" y="4321"/>
                </a:cubicBezTo>
                <a:cubicBezTo>
                  <a:pt x="8725" y="4489"/>
                  <a:pt x="9032" y="4600"/>
                  <a:pt x="9311" y="4600"/>
                </a:cubicBezTo>
                <a:cubicBezTo>
                  <a:pt x="10035" y="4600"/>
                  <a:pt x="10621" y="4015"/>
                  <a:pt x="10621" y="3262"/>
                </a:cubicBezTo>
                <a:cubicBezTo>
                  <a:pt x="10621" y="2537"/>
                  <a:pt x="10035" y="1924"/>
                  <a:pt x="9339" y="1924"/>
                </a:cubicBezTo>
                <a:lnTo>
                  <a:pt x="9311" y="1924"/>
                </a:lnTo>
                <a:lnTo>
                  <a:pt x="6941"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433"/>
        <p:cNvGrpSpPr/>
        <p:nvPr/>
      </p:nvGrpSpPr>
      <p:grpSpPr>
        <a:xfrm>
          <a:off x="0" y="0"/>
          <a:ext cx="0" cy="0"/>
          <a:chOff x="0" y="0"/>
          <a:chExt cx="0" cy="0"/>
        </a:xfrm>
      </p:grpSpPr>
      <p:sp>
        <p:nvSpPr>
          <p:cNvPr id="7434" name="Google Shape;7434;p75"/>
          <p:cNvSpPr txBox="1">
            <a:spLocks noGrp="1"/>
          </p:cNvSpPr>
          <p:nvPr>
            <p:ph type="title" idx="4294967295"/>
          </p:nvPr>
        </p:nvSpPr>
        <p:spPr>
          <a:xfrm>
            <a:off x="1132900"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Creative Process I</a:t>
            </a:r>
            <a:r>
              <a:rPr lang="en">
                <a:solidFill>
                  <a:srgbClr val="FFFFFF"/>
                </a:solidFill>
                <a:latin typeface="Arial"/>
                <a:ea typeface="Arial"/>
                <a:cs typeface="Arial"/>
                <a:sym typeface="Arial"/>
              </a:rPr>
              <a:t>cons</a:t>
            </a:r>
            <a:endParaRPr>
              <a:solidFill>
                <a:srgbClr val="FFFFFF"/>
              </a:solidFill>
              <a:latin typeface="Arial"/>
              <a:ea typeface="Arial"/>
              <a:cs typeface="Arial"/>
              <a:sym typeface="Arial"/>
            </a:endParaRPr>
          </a:p>
        </p:txBody>
      </p:sp>
      <p:sp>
        <p:nvSpPr>
          <p:cNvPr id="7435" name="Google Shape;7435;p75"/>
          <p:cNvSpPr txBox="1">
            <a:spLocks noGrp="1"/>
          </p:cNvSpPr>
          <p:nvPr>
            <p:ph type="title" idx="4294967295"/>
          </p:nvPr>
        </p:nvSpPr>
        <p:spPr>
          <a:xfrm>
            <a:off x="6477867" y="1258400"/>
            <a:ext cx="4642800" cy="643200"/>
          </a:xfrm>
          <a:prstGeom prst="rect">
            <a:avLst/>
          </a:prstGeom>
        </p:spPr>
        <p:txBody>
          <a:bodyPr spcFirstLastPara="1" wrap="square" lIns="121900" tIns="121900" rIns="121900" bIns="121900" anchor="t" anchorCtr="0">
            <a:noAutofit/>
          </a:bodyPr>
          <a:lstStyle/>
          <a:p>
            <a:pPr>
              <a:buClr>
                <a:srgbClr val="000000"/>
              </a:buClr>
              <a:buSzPts val="1100"/>
            </a:pPr>
            <a:r>
              <a:rPr lang="en">
                <a:latin typeface="Arial"/>
                <a:ea typeface="Arial"/>
                <a:cs typeface="Arial"/>
                <a:sym typeface="Arial"/>
              </a:rPr>
              <a:t>Performing Arts Icons</a:t>
            </a:r>
            <a:endParaRPr>
              <a:solidFill>
                <a:srgbClr val="FFFFFF"/>
              </a:solidFill>
              <a:latin typeface="Arial"/>
              <a:ea typeface="Arial"/>
              <a:cs typeface="Arial"/>
              <a:sym typeface="Arial"/>
            </a:endParaRPr>
          </a:p>
        </p:txBody>
      </p:sp>
      <p:grpSp>
        <p:nvGrpSpPr>
          <p:cNvPr id="7436" name="Google Shape;7436;p75"/>
          <p:cNvGrpSpPr/>
          <p:nvPr/>
        </p:nvGrpSpPr>
        <p:grpSpPr>
          <a:xfrm>
            <a:off x="1185479" y="2042137"/>
            <a:ext cx="371051" cy="476048"/>
            <a:chOff x="-50489600" y="1947400"/>
            <a:chExt cx="233150" cy="299125"/>
          </a:xfrm>
        </p:grpSpPr>
        <p:sp>
          <p:nvSpPr>
            <p:cNvPr id="7437" name="Google Shape;7437;p75"/>
            <p:cNvSpPr/>
            <p:nvPr/>
          </p:nvSpPr>
          <p:spPr>
            <a:xfrm>
              <a:off x="-50382475" y="2018275"/>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38" name="Google Shape;7438;p75"/>
            <p:cNvSpPr/>
            <p:nvPr/>
          </p:nvSpPr>
          <p:spPr>
            <a:xfrm>
              <a:off x="-50489600" y="1947400"/>
              <a:ext cx="233150" cy="299125"/>
            </a:xfrm>
            <a:custGeom>
              <a:avLst/>
              <a:gdLst/>
              <a:ahLst/>
              <a:cxnLst/>
              <a:rect l="l" t="t" r="r" b="b"/>
              <a:pathLst>
                <a:path w="9326" h="11965" extrusionOk="0">
                  <a:moveTo>
                    <a:pt x="4632" y="725"/>
                  </a:moveTo>
                  <a:cubicBezTo>
                    <a:pt x="4821" y="725"/>
                    <a:pt x="4978" y="882"/>
                    <a:pt x="4978" y="1071"/>
                  </a:cubicBezTo>
                  <a:lnTo>
                    <a:pt x="4978" y="1449"/>
                  </a:lnTo>
                  <a:cubicBezTo>
                    <a:pt x="4884" y="1418"/>
                    <a:pt x="4758" y="1418"/>
                    <a:pt x="4632" y="1418"/>
                  </a:cubicBezTo>
                  <a:cubicBezTo>
                    <a:pt x="4506" y="1418"/>
                    <a:pt x="4411" y="1418"/>
                    <a:pt x="4285" y="1449"/>
                  </a:cubicBezTo>
                  <a:lnTo>
                    <a:pt x="4285" y="1071"/>
                  </a:lnTo>
                  <a:cubicBezTo>
                    <a:pt x="4285" y="882"/>
                    <a:pt x="4443" y="725"/>
                    <a:pt x="4632" y="725"/>
                  </a:cubicBezTo>
                  <a:close/>
                  <a:moveTo>
                    <a:pt x="4632" y="2143"/>
                  </a:moveTo>
                  <a:cubicBezTo>
                    <a:pt x="5230" y="2143"/>
                    <a:pt x="5703" y="2615"/>
                    <a:pt x="5703" y="3182"/>
                  </a:cubicBezTo>
                  <a:cubicBezTo>
                    <a:pt x="5703" y="3781"/>
                    <a:pt x="5230" y="4253"/>
                    <a:pt x="4632" y="4253"/>
                  </a:cubicBezTo>
                  <a:cubicBezTo>
                    <a:pt x="4033" y="4253"/>
                    <a:pt x="3592" y="3781"/>
                    <a:pt x="3592" y="3182"/>
                  </a:cubicBezTo>
                  <a:cubicBezTo>
                    <a:pt x="3592" y="2615"/>
                    <a:pt x="4033" y="2143"/>
                    <a:pt x="4632" y="2143"/>
                  </a:cubicBezTo>
                  <a:close/>
                  <a:moveTo>
                    <a:pt x="4632" y="5356"/>
                  </a:moveTo>
                  <a:lnTo>
                    <a:pt x="6018" y="8191"/>
                  </a:lnTo>
                  <a:cubicBezTo>
                    <a:pt x="5671" y="8349"/>
                    <a:pt x="5356" y="8443"/>
                    <a:pt x="4978" y="8443"/>
                  </a:cubicBezTo>
                  <a:lnTo>
                    <a:pt x="4978" y="8065"/>
                  </a:lnTo>
                  <a:cubicBezTo>
                    <a:pt x="4978" y="7876"/>
                    <a:pt x="4821" y="7719"/>
                    <a:pt x="4632" y="7719"/>
                  </a:cubicBezTo>
                  <a:cubicBezTo>
                    <a:pt x="4443" y="7719"/>
                    <a:pt x="4285" y="7876"/>
                    <a:pt x="4285" y="8065"/>
                  </a:cubicBezTo>
                  <a:lnTo>
                    <a:pt x="4285" y="8443"/>
                  </a:lnTo>
                  <a:cubicBezTo>
                    <a:pt x="3939" y="8380"/>
                    <a:pt x="3592" y="8317"/>
                    <a:pt x="3246" y="8191"/>
                  </a:cubicBezTo>
                  <a:lnTo>
                    <a:pt x="4632" y="5356"/>
                  </a:lnTo>
                  <a:close/>
                  <a:moveTo>
                    <a:pt x="3466" y="4505"/>
                  </a:moveTo>
                  <a:cubicBezTo>
                    <a:pt x="3624" y="4663"/>
                    <a:pt x="3844" y="4757"/>
                    <a:pt x="4096" y="4852"/>
                  </a:cubicBezTo>
                  <a:cubicBezTo>
                    <a:pt x="4033" y="5009"/>
                    <a:pt x="1481" y="10271"/>
                    <a:pt x="1450" y="10365"/>
                  </a:cubicBezTo>
                  <a:cubicBezTo>
                    <a:pt x="1381" y="10504"/>
                    <a:pt x="1261" y="10591"/>
                    <a:pt x="1127" y="10591"/>
                  </a:cubicBezTo>
                  <a:cubicBezTo>
                    <a:pt x="1078" y="10591"/>
                    <a:pt x="1028" y="10580"/>
                    <a:pt x="977" y="10554"/>
                  </a:cubicBezTo>
                  <a:cubicBezTo>
                    <a:pt x="820" y="10491"/>
                    <a:pt x="694" y="10271"/>
                    <a:pt x="788" y="10082"/>
                  </a:cubicBezTo>
                  <a:lnTo>
                    <a:pt x="3466" y="4505"/>
                  </a:lnTo>
                  <a:close/>
                  <a:moveTo>
                    <a:pt x="5829" y="4537"/>
                  </a:moveTo>
                  <a:lnTo>
                    <a:pt x="8507" y="10113"/>
                  </a:lnTo>
                  <a:cubicBezTo>
                    <a:pt x="8570" y="10271"/>
                    <a:pt x="8507" y="10523"/>
                    <a:pt x="8318" y="10586"/>
                  </a:cubicBezTo>
                  <a:cubicBezTo>
                    <a:pt x="8271" y="10599"/>
                    <a:pt x="8225" y="10606"/>
                    <a:pt x="8181" y="10606"/>
                  </a:cubicBezTo>
                  <a:cubicBezTo>
                    <a:pt x="8021" y="10606"/>
                    <a:pt x="7888" y="10521"/>
                    <a:pt x="7814" y="10397"/>
                  </a:cubicBezTo>
                  <a:cubicBezTo>
                    <a:pt x="7719" y="10176"/>
                    <a:pt x="5293" y="5167"/>
                    <a:pt x="5199" y="4883"/>
                  </a:cubicBezTo>
                  <a:cubicBezTo>
                    <a:pt x="5419" y="4820"/>
                    <a:pt x="5608" y="4694"/>
                    <a:pt x="5829" y="4537"/>
                  </a:cubicBezTo>
                  <a:close/>
                  <a:moveTo>
                    <a:pt x="4632" y="0"/>
                  </a:moveTo>
                  <a:cubicBezTo>
                    <a:pt x="4033" y="0"/>
                    <a:pt x="3592" y="473"/>
                    <a:pt x="3592" y="1071"/>
                  </a:cubicBezTo>
                  <a:lnTo>
                    <a:pt x="3592" y="1764"/>
                  </a:lnTo>
                  <a:cubicBezTo>
                    <a:pt x="3151" y="2080"/>
                    <a:pt x="2867" y="2584"/>
                    <a:pt x="2867" y="3182"/>
                  </a:cubicBezTo>
                  <a:cubicBezTo>
                    <a:pt x="2867" y="3434"/>
                    <a:pt x="2899" y="3655"/>
                    <a:pt x="3025" y="3875"/>
                  </a:cubicBezTo>
                  <a:lnTo>
                    <a:pt x="1576" y="6900"/>
                  </a:lnTo>
                  <a:cubicBezTo>
                    <a:pt x="1355" y="6648"/>
                    <a:pt x="1229" y="6396"/>
                    <a:pt x="1103" y="6081"/>
                  </a:cubicBezTo>
                  <a:cubicBezTo>
                    <a:pt x="1032" y="5914"/>
                    <a:pt x="906" y="5837"/>
                    <a:pt x="767" y="5837"/>
                  </a:cubicBezTo>
                  <a:cubicBezTo>
                    <a:pt x="722" y="5837"/>
                    <a:pt x="676" y="5845"/>
                    <a:pt x="631" y="5860"/>
                  </a:cubicBezTo>
                  <a:cubicBezTo>
                    <a:pt x="442" y="5955"/>
                    <a:pt x="347" y="6144"/>
                    <a:pt x="442" y="6333"/>
                  </a:cubicBezTo>
                  <a:cubicBezTo>
                    <a:pt x="631" y="6805"/>
                    <a:pt x="883" y="7215"/>
                    <a:pt x="1229" y="7593"/>
                  </a:cubicBezTo>
                  <a:lnTo>
                    <a:pt x="158" y="9798"/>
                  </a:lnTo>
                  <a:cubicBezTo>
                    <a:pt x="1" y="10208"/>
                    <a:pt x="64" y="10649"/>
                    <a:pt x="347" y="10964"/>
                  </a:cubicBezTo>
                  <a:lnTo>
                    <a:pt x="95" y="11468"/>
                  </a:lnTo>
                  <a:cubicBezTo>
                    <a:pt x="32" y="11625"/>
                    <a:pt x="95" y="11846"/>
                    <a:pt x="253" y="11941"/>
                  </a:cubicBezTo>
                  <a:cubicBezTo>
                    <a:pt x="293" y="11957"/>
                    <a:pt x="340" y="11965"/>
                    <a:pt x="389" y="11965"/>
                  </a:cubicBezTo>
                  <a:cubicBezTo>
                    <a:pt x="528" y="11965"/>
                    <a:pt x="678" y="11900"/>
                    <a:pt x="725" y="11783"/>
                  </a:cubicBezTo>
                  <a:lnTo>
                    <a:pt x="977" y="11247"/>
                  </a:lnTo>
                  <a:cubicBezTo>
                    <a:pt x="1027" y="11255"/>
                    <a:pt x="1077" y="11258"/>
                    <a:pt x="1127" y="11258"/>
                  </a:cubicBezTo>
                  <a:cubicBezTo>
                    <a:pt x="1521" y="11258"/>
                    <a:pt x="1912" y="11040"/>
                    <a:pt x="2080" y="10649"/>
                  </a:cubicBezTo>
                  <a:lnTo>
                    <a:pt x="2930" y="8822"/>
                  </a:lnTo>
                  <a:cubicBezTo>
                    <a:pt x="3372" y="8979"/>
                    <a:pt x="3813" y="9105"/>
                    <a:pt x="4285" y="9137"/>
                  </a:cubicBezTo>
                  <a:lnTo>
                    <a:pt x="4285" y="9483"/>
                  </a:lnTo>
                  <a:cubicBezTo>
                    <a:pt x="4285" y="9704"/>
                    <a:pt x="4443" y="9861"/>
                    <a:pt x="4632" y="9861"/>
                  </a:cubicBezTo>
                  <a:cubicBezTo>
                    <a:pt x="4821" y="9861"/>
                    <a:pt x="4978" y="9704"/>
                    <a:pt x="4978" y="9483"/>
                  </a:cubicBezTo>
                  <a:lnTo>
                    <a:pt x="4978" y="9137"/>
                  </a:lnTo>
                  <a:cubicBezTo>
                    <a:pt x="5451" y="9105"/>
                    <a:pt x="5892" y="9011"/>
                    <a:pt x="6333" y="8822"/>
                  </a:cubicBezTo>
                  <a:lnTo>
                    <a:pt x="7184" y="10649"/>
                  </a:lnTo>
                  <a:cubicBezTo>
                    <a:pt x="7382" y="11016"/>
                    <a:pt x="7732" y="11257"/>
                    <a:pt x="8143" y="11257"/>
                  </a:cubicBezTo>
                  <a:cubicBezTo>
                    <a:pt x="8190" y="11257"/>
                    <a:pt x="8238" y="11254"/>
                    <a:pt x="8286" y="11247"/>
                  </a:cubicBezTo>
                  <a:lnTo>
                    <a:pt x="8538" y="11783"/>
                  </a:lnTo>
                  <a:cubicBezTo>
                    <a:pt x="8585" y="11900"/>
                    <a:pt x="8718" y="11965"/>
                    <a:pt x="8861" y="11965"/>
                  </a:cubicBezTo>
                  <a:cubicBezTo>
                    <a:pt x="8911" y="11965"/>
                    <a:pt x="8962" y="11957"/>
                    <a:pt x="9011" y="11941"/>
                  </a:cubicBezTo>
                  <a:cubicBezTo>
                    <a:pt x="9168" y="11846"/>
                    <a:pt x="9231" y="11657"/>
                    <a:pt x="9168" y="11468"/>
                  </a:cubicBezTo>
                  <a:lnTo>
                    <a:pt x="8916" y="10964"/>
                  </a:lnTo>
                  <a:cubicBezTo>
                    <a:pt x="9200" y="10649"/>
                    <a:pt x="9326" y="10208"/>
                    <a:pt x="9137" y="9798"/>
                  </a:cubicBezTo>
                  <a:lnTo>
                    <a:pt x="8066" y="7593"/>
                  </a:lnTo>
                  <a:cubicBezTo>
                    <a:pt x="8381" y="7246"/>
                    <a:pt x="8664" y="6805"/>
                    <a:pt x="8853" y="6333"/>
                  </a:cubicBezTo>
                  <a:cubicBezTo>
                    <a:pt x="8916" y="6144"/>
                    <a:pt x="8853" y="5955"/>
                    <a:pt x="8664" y="5860"/>
                  </a:cubicBezTo>
                  <a:cubicBezTo>
                    <a:pt x="8611" y="5845"/>
                    <a:pt x="8559" y="5837"/>
                    <a:pt x="8511" y="5837"/>
                  </a:cubicBezTo>
                  <a:cubicBezTo>
                    <a:pt x="8360" y="5837"/>
                    <a:pt x="8240" y="5914"/>
                    <a:pt x="8192" y="6081"/>
                  </a:cubicBezTo>
                  <a:cubicBezTo>
                    <a:pt x="8066" y="6333"/>
                    <a:pt x="7908" y="6616"/>
                    <a:pt x="7719" y="6900"/>
                  </a:cubicBezTo>
                  <a:lnTo>
                    <a:pt x="6270" y="3875"/>
                  </a:lnTo>
                  <a:cubicBezTo>
                    <a:pt x="6333" y="3655"/>
                    <a:pt x="6396" y="3434"/>
                    <a:pt x="6396" y="3182"/>
                  </a:cubicBezTo>
                  <a:cubicBezTo>
                    <a:pt x="6396" y="2584"/>
                    <a:pt x="6144" y="2080"/>
                    <a:pt x="5703" y="1764"/>
                  </a:cubicBezTo>
                  <a:lnTo>
                    <a:pt x="5703" y="1071"/>
                  </a:lnTo>
                  <a:cubicBezTo>
                    <a:pt x="5703" y="473"/>
                    <a:pt x="5230" y="0"/>
                    <a:pt x="46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39" name="Google Shape;7439;p75"/>
          <p:cNvGrpSpPr/>
          <p:nvPr/>
        </p:nvGrpSpPr>
        <p:grpSpPr>
          <a:xfrm>
            <a:off x="1132822" y="2648747"/>
            <a:ext cx="476365" cy="477599"/>
            <a:chOff x="-50523475" y="2316000"/>
            <a:chExt cx="299325" cy="300100"/>
          </a:xfrm>
        </p:grpSpPr>
        <p:sp>
          <p:nvSpPr>
            <p:cNvPr id="7440" name="Google Shape;7440;p75"/>
            <p:cNvSpPr/>
            <p:nvPr/>
          </p:nvSpPr>
          <p:spPr>
            <a:xfrm>
              <a:off x="-50453375" y="2387675"/>
              <a:ext cx="158350" cy="228425"/>
            </a:xfrm>
            <a:custGeom>
              <a:avLst/>
              <a:gdLst/>
              <a:ahLst/>
              <a:cxnLst/>
              <a:rect l="l" t="t" r="r" b="b"/>
              <a:pathLst>
                <a:path w="6334" h="9137" extrusionOk="0">
                  <a:moveTo>
                    <a:pt x="3183" y="4222"/>
                  </a:moveTo>
                  <a:cubicBezTo>
                    <a:pt x="3372" y="4222"/>
                    <a:pt x="3529" y="4380"/>
                    <a:pt x="3529" y="4569"/>
                  </a:cubicBezTo>
                  <a:cubicBezTo>
                    <a:pt x="3529" y="4758"/>
                    <a:pt x="3372" y="4915"/>
                    <a:pt x="3183" y="4915"/>
                  </a:cubicBezTo>
                  <a:cubicBezTo>
                    <a:pt x="2994" y="4915"/>
                    <a:pt x="2836" y="4758"/>
                    <a:pt x="2836" y="4569"/>
                  </a:cubicBezTo>
                  <a:cubicBezTo>
                    <a:pt x="2836" y="4380"/>
                    <a:pt x="2994" y="4222"/>
                    <a:pt x="3183" y="4222"/>
                  </a:cubicBezTo>
                  <a:close/>
                  <a:moveTo>
                    <a:pt x="3183" y="1009"/>
                  </a:moveTo>
                  <a:lnTo>
                    <a:pt x="5609" y="5230"/>
                  </a:lnTo>
                  <a:lnTo>
                    <a:pt x="4411" y="6994"/>
                  </a:lnTo>
                  <a:lnTo>
                    <a:pt x="3529" y="6994"/>
                  </a:lnTo>
                  <a:lnTo>
                    <a:pt x="3529" y="5545"/>
                  </a:lnTo>
                  <a:cubicBezTo>
                    <a:pt x="3939" y="5388"/>
                    <a:pt x="4254" y="5010"/>
                    <a:pt x="4254" y="4569"/>
                  </a:cubicBezTo>
                  <a:cubicBezTo>
                    <a:pt x="4254" y="3970"/>
                    <a:pt x="3781" y="3497"/>
                    <a:pt x="3183" y="3497"/>
                  </a:cubicBezTo>
                  <a:cubicBezTo>
                    <a:pt x="2584" y="3497"/>
                    <a:pt x="2143" y="3970"/>
                    <a:pt x="2143" y="4569"/>
                  </a:cubicBezTo>
                  <a:cubicBezTo>
                    <a:pt x="2143" y="5041"/>
                    <a:pt x="2395" y="5419"/>
                    <a:pt x="2836" y="5545"/>
                  </a:cubicBezTo>
                  <a:lnTo>
                    <a:pt x="2836" y="6994"/>
                  </a:lnTo>
                  <a:lnTo>
                    <a:pt x="1986" y="6994"/>
                  </a:lnTo>
                  <a:lnTo>
                    <a:pt x="788" y="5230"/>
                  </a:lnTo>
                  <a:lnTo>
                    <a:pt x="3183" y="1009"/>
                  </a:lnTo>
                  <a:close/>
                  <a:moveTo>
                    <a:pt x="4600" y="7688"/>
                  </a:moveTo>
                  <a:cubicBezTo>
                    <a:pt x="4821" y="7688"/>
                    <a:pt x="4947" y="7845"/>
                    <a:pt x="4947" y="8034"/>
                  </a:cubicBezTo>
                  <a:lnTo>
                    <a:pt x="4947" y="8412"/>
                  </a:lnTo>
                  <a:lnTo>
                    <a:pt x="1450" y="8412"/>
                  </a:lnTo>
                  <a:lnTo>
                    <a:pt x="1450" y="8034"/>
                  </a:lnTo>
                  <a:cubicBezTo>
                    <a:pt x="1450" y="7845"/>
                    <a:pt x="1607" y="7688"/>
                    <a:pt x="1797" y="7688"/>
                  </a:cubicBezTo>
                  <a:close/>
                  <a:moveTo>
                    <a:pt x="3183" y="0"/>
                  </a:moveTo>
                  <a:cubicBezTo>
                    <a:pt x="3057" y="0"/>
                    <a:pt x="2962" y="63"/>
                    <a:pt x="2868" y="158"/>
                  </a:cubicBezTo>
                  <a:lnTo>
                    <a:pt x="64" y="5073"/>
                  </a:lnTo>
                  <a:cubicBezTo>
                    <a:pt x="1" y="5199"/>
                    <a:pt x="1" y="5356"/>
                    <a:pt x="64" y="5419"/>
                  </a:cubicBezTo>
                  <a:lnTo>
                    <a:pt x="1229" y="7152"/>
                  </a:lnTo>
                  <a:cubicBezTo>
                    <a:pt x="914" y="7373"/>
                    <a:pt x="694" y="7688"/>
                    <a:pt x="694" y="8066"/>
                  </a:cubicBezTo>
                  <a:lnTo>
                    <a:pt x="694" y="8790"/>
                  </a:lnTo>
                  <a:cubicBezTo>
                    <a:pt x="694" y="8979"/>
                    <a:pt x="851" y="9137"/>
                    <a:pt x="1072" y="9137"/>
                  </a:cubicBezTo>
                  <a:lnTo>
                    <a:pt x="5262" y="9137"/>
                  </a:lnTo>
                  <a:cubicBezTo>
                    <a:pt x="5483" y="9137"/>
                    <a:pt x="5640" y="8979"/>
                    <a:pt x="5640" y="8790"/>
                  </a:cubicBezTo>
                  <a:lnTo>
                    <a:pt x="5640" y="8066"/>
                  </a:lnTo>
                  <a:cubicBezTo>
                    <a:pt x="5640" y="7688"/>
                    <a:pt x="5420" y="7373"/>
                    <a:pt x="5105" y="7152"/>
                  </a:cubicBezTo>
                  <a:lnTo>
                    <a:pt x="6270" y="5419"/>
                  </a:lnTo>
                  <a:cubicBezTo>
                    <a:pt x="6333" y="5325"/>
                    <a:pt x="6333" y="5199"/>
                    <a:pt x="6270" y="5073"/>
                  </a:cubicBezTo>
                  <a:lnTo>
                    <a:pt x="3498" y="158"/>
                  </a:lnTo>
                  <a:cubicBezTo>
                    <a:pt x="3435" y="32"/>
                    <a:pt x="3309"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1" name="Google Shape;7441;p75"/>
            <p:cNvSpPr/>
            <p:nvPr/>
          </p:nvSpPr>
          <p:spPr>
            <a:xfrm>
              <a:off x="-50523475" y="2316000"/>
              <a:ext cx="299325" cy="178025"/>
            </a:xfrm>
            <a:custGeom>
              <a:avLst/>
              <a:gdLst/>
              <a:ahLst/>
              <a:cxnLst/>
              <a:rect l="l" t="t" r="r" b="b"/>
              <a:pathLst>
                <a:path w="11973" h="7121" extrusionOk="0">
                  <a:moveTo>
                    <a:pt x="1072" y="694"/>
                  </a:moveTo>
                  <a:cubicBezTo>
                    <a:pt x="1261" y="694"/>
                    <a:pt x="1419" y="851"/>
                    <a:pt x="1419" y="1040"/>
                  </a:cubicBezTo>
                  <a:cubicBezTo>
                    <a:pt x="1419" y="1229"/>
                    <a:pt x="1261" y="1418"/>
                    <a:pt x="1072" y="1418"/>
                  </a:cubicBezTo>
                  <a:cubicBezTo>
                    <a:pt x="883" y="1418"/>
                    <a:pt x="725" y="1229"/>
                    <a:pt x="725" y="1040"/>
                  </a:cubicBezTo>
                  <a:cubicBezTo>
                    <a:pt x="725" y="851"/>
                    <a:pt x="883" y="694"/>
                    <a:pt x="1072" y="694"/>
                  </a:cubicBezTo>
                  <a:close/>
                  <a:moveTo>
                    <a:pt x="6333" y="694"/>
                  </a:moveTo>
                  <a:lnTo>
                    <a:pt x="6333" y="1418"/>
                  </a:lnTo>
                  <a:lnTo>
                    <a:pt x="5640" y="1418"/>
                  </a:lnTo>
                  <a:lnTo>
                    <a:pt x="5640" y="694"/>
                  </a:lnTo>
                  <a:close/>
                  <a:moveTo>
                    <a:pt x="10902" y="725"/>
                  </a:moveTo>
                  <a:cubicBezTo>
                    <a:pt x="11122" y="725"/>
                    <a:pt x="11280" y="883"/>
                    <a:pt x="11280" y="1103"/>
                  </a:cubicBezTo>
                  <a:cubicBezTo>
                    <a:pt x="11280" y="1292"/>
                    <a:pt x="11122" y="1450"/>
                    <a:pt x="10902" y="1450"/>
                  </a:cubicBezTo>
                  <a:cubicBezTo>
                    <a:pt x="10712" y="1450"/>
                    <a:pt x="10555" y="1292"/>
                    <a:pt x="10555" y="1103"/>
                  </a:cubicBezTo>
                  <a:cubicBezTo>
                    <a:pt x="10586" y="883"/>
                    <a:pt x="10744" y="725"/>
                    <a:pt x="10902" y="725"/>
                  </a:cubicBezTo>
                  <a:close/>
                  <a:moveTo>
                    <a:pt x="2143" y="5640"/>
                  </a:moveTo>
                  <a:lnTo>
                    <a:pt x="2143" y="6364"/>
                  </a:lnTo>
                  <a:lnTo>
                    <a:pt x="1419" y="6364"/>
                  </a:lnTo>
                  <a:lnTo>
                    <a:pt x="1419" y="5640"/>
                  </a:lnTo>
                  <a:close/>
                  <a:moveTo>
                    <a:pt x="10555" y="5640"/>
                  </a:moveTo>
                  <a:lnTo>
                    <a:pt x="10555" y="6364"/>
                  </a:lnTo>
                  <a:lnTo>
                    <a:pt x="9862" y="6364"/>
                  </a:lnTo>
                  <a:lnTo>
                    <a:pt x="9862" y="5640"/>
                  </a:lnTo>
                  <a:close/>
                  <a:moveTo>
                    <a:pt x="10902" y="0"/>
                  </a:moveTo>
                  <a:cubicBezTo>
                    <a:pt x="10460" y="0"/>
                    <a:pt x="10051" y="252"/>
                    <a:pt x="9925" y="694"/>
                  </a:cubicBezTo>
                  <a:lnTo>
                    <a:pt x="7058" y="694"/>
                  </a:lnTo>
                  <a:lnTo>
                    <a:pt x="7058" y="379"/>
                  </a:lnTo>
                  <a:cubicBezTo>
                    <a:pt x="7058" y="189"/>
                    <a:pt x="6900" y="32"/>
                    <a:pt x="6711" y="32"/>
                  </a:cubicBezTo>
                  <a:lnTo>
                    <a:pt x="5294" y="32"/>
                  </a:lnTo>
                  <a:cubicBezTo>
                    <a:pt x="5073" y="32"/>
                    <a:pt x="4947" y="189"/>
                    <a:pt x="4947" y="379"/>
                  </a:cubicBezTo>
                  <a:lnTo>
                    <a:pt x="4947" y="725"/>
                  </a:lnTo>
                  <a:lnTo>
                    <a:pt x="2049" y="725"/>
                  </a:lnTo>
                  <a:cubicBezTo>
                    <a:pt x="1891" y="347"/>
                    <a:pt x="1513" y="32"/>
                    <a:pt x="1072" y="32"/>
                  </a:cubicBezTo>
                  <a:cubicBezTo>
                    <a:pt x="473" y="32"/>
                    <a:pt x="1" y="505"/>
                    <a:pt x="1" y="1072"/>
                  </a:cubicBezTo>
                  <a:cubicBezTo>
                    <a:pt x="1" y="1670"/>
                    <a:pt x="473" y="2143"/>
                    <a:pt x="1072" y="2143"/>
                  </a:cubicBezTo>
                  <a:cubicBezTo>
                    <a:pt x="1545" y="2143"/>
                    <a:pt x="1923" y="1828"/>
                    <a:pt x="2049" y="1450"/>
                  </a:cubicBezTo>
                  <a:lnTo>
                    <a:pt x="3592" y="1450"/>
                  </a:lnTo>
                  <a:cubicBezTo>
                    <a:pt x="3183" y="1670"/>
                    <a:pt x="2836" y="1985"/>
                    <a:pt x="2521" y="2332"/>
                  </a:cubicBezTo>
                  <a:cubicBezTo>
                    <a:pt x="1891" y="3088"/>
                    <a:pt x="1545" y="4002"/>
                    <a:pt x="1450" y="4978"/>
                  </a:cubicBezTo>
                  <a:lnTo>
                    <a:pt x="1103" y="4978"/>
                  </a:lnTo>
                  <a:cubicBezTo>
                    <a:pt x="914" y="4978"/>
                    <a:pt x="757" y="5136"/>
                    <a:pt x="757" y="5325"/>
                  </a:cubicBezTo>
                  <a:lnTo>
                    <a:pt x="757" y="6742"/>
                  </a:lnTo>
                  <a:cubicBezTo>
                    <a:pt x="757" y="6963"/>
                    <a:pt x="914" y="7121"/>
                    <a:pt x="1103" y="7121"/>
                  </a:cubicBezTo>
                  <a:lnTo>
                    <a:pt x="2521" y="7121"/>
                  </a:lnTo>
                  <a:cubicBezTo>
                    <a:pt x="2742" y="7121"/>
                    <a:pt x="2899" y="6963"/>
                    <a:pt x="2899" y="6742"/>
                  </a:cubicBezTo>
                  <a:lnTo>
                    <a:pt x="2899" y="5325"/>
                  </a:lnTo>
                  <a:cubicBezTo>
                    <a:pt x="2899" y="5136"/>
                    <a:pt x="2742" y="4978"/>
                    <a:pt x="2521" y="4978"/>
                  </a:cubicBezTo>
                  <a:lnTo>
                    <a:pt x="2175" y="4978"/>
                  </a:lnTo>
                  <a:cubicBezTo>
                    <a:pt x="2332" y="3403"/>
                    <a:pt x="3435" y="2017"/>
                    <a:pt x="4979" y="1607"/>
                  </a:cubicBezTo>
                  <a:lnTo>
                    <a:pt x="4979" y="1796"/>
                  </a:lnTo>
                  <a:cubicBezTo>
                    <a:pt x="4979" y="1985"/>
                    <a:pt x="5136" y="2143"/>
                    <a:pt x="5325" y="2143"/>
                  </a:cubicBezTo>
                  <a:lnTo>
                    <a:pt x="6743" y="2143"/>
                  </a:lnTo>
                  <a:cubicBezTo>
                    <a:pt x="6932" y="2143"/>
                    <a:pt x="7089" y="1985"/>
                    <a:pt x="7089" y="1796"/>
                  </a:cubicBezTo>
                  <a:lnTo>
                    <a:pt x="7089" y="1576"/>
                  </a:lnTo>
                  <a:cubicBezTo>
                    <a:pt x="8633" y="1985"/>
                    <a:pt x="9736" y="3371"/>
                    <a:pt x="9893" y="4947"/>
                  </a:cubicBezTo>
                  <a:lnTo>
                    <a:pt x="9547" y="4947"/>
                  </a:lnTo>
                  <a:cubicBezTo>
                    <a:pt x="9358" y="4947"/>
                    <a:pt x="9200" y="5104"/>
                    <a:pt x="9200" y="5293"/>
                  </a:cubicBezTo>
                  <a:lnTo>
                    <a:pt x="9200" y="6711"/>
                  </a:lnTo>
                  <a:cubicBezTo>
                    <a:pt x="9200" y="6932"/>
                    <a:pt x="9358" y="7089"/>
                    <a:pt x="9547" y="7089"/>
                  </a:cubicBezTo>
                  <a:lnTo>
                    <a:pt x="10965" y="7089"/>
                  </a:lnTo>
                  <a:cubicBezTo>
                    <a:pt x="11154" y="7089"/>
                    <a:pt x="11311" y="6932"/>
                    <a:pt x="11311" y="6711"/>
                  </a:cubicBezTo>
                  <a:lnTo>
                    <a:pt x="11311" y="5293"/>
                  </a:lnTo>
                  <a:cubicBezTo>
                    <a:pt x="11311" y="5104"/>
                    <a:pt x="11154" y="4947"/>
                    <a:pt x="10965" y="4947"/>
                  </a:cubicBezTo>
                  <a:lnTo>
                    <a:pt x="10618" y="4947"/>
                  </a:lnTo>
                  <a:cubicBezTo>
                    <a:pt x="10523" y="4002"/>
                    <a:pt x="10177" y="3056"/>
                    <a:pt x="9547" y="2300"/>
                  </a:cubicBezTo>
                  <a:cubicBezTo>
                    <a:pt x="9232" y="1954"/>
                    <a:pt x="8885" y="1639"/>
                    <a:pt x="8476" y="1418"/>
                  </a:cubicBezTo>
                  <a:lnTo>
                    <a:pt x="10019" y="1418"/>
                  </a:lnTo>
                  <a:cubicBezTo>
                    <a:pt x="10082" y="1828"/>
                    <a:pt x="10492" y="2111"/>
                    <a:pt x="10902" y="2111"/>
                  </a:cubicBezTo>
                  <a:cubicBezTo>
                    <a:pt x="11500" y="2111"/>
                    <a:pt x="11973" y="1639"/>
                    <a:pt x="11973" y="1040"/>
                  </a:cubicBezTo>
                  <a:cubicBezTo>
                    <a:pt x="11973" y="473"/>
                    <a:pt x="11500" y="0"/>
                    <a:pt x="109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42" name="Google Shape;7442;p75"/>
          <p:cNvGrpSpPr/>
          <p:nvPr/>
        </p:nvGrpSpPr>
        <p:grpSpPr>
          <a:xfrm>
            <a:off x="1130952" y="3247826"/>
            <a:ext cx="480105" cy="476405"/>
            <a:chOff x="-50524250" y="2686150"/>
            <a:chExt cx="301675" cy="299350"/>
          </a:xfrm>
        </p:grpSpPr>
        <p:sp>
          <p:nvSpPr>
            <p:cNvPr id="7443" name="Google Shape;7443;p75"/>
            <p:cNvSpPr/>
            <p:nvPr/>
          </p:nvSpPr>
          <p:spPr>
            <a:xfrm>
              <a:off x="-50488025" y="2792500"/>
              <a:ext cx="18150" cy="52800"/>
            </a:xfrm>
            <a:custGeom>
              <a:avLst/>
              <a:gdLst/>
              <a:ahLst/>
              <a:cxnLst/>
              <a:rect l="l" t="t" r="r" b="b"/>
              <a:pathLst>
                <a:path w="726" h="2112" extrusionOk="0">
                  <a:moveTo>
                    <a:pt x="379" y="1"/>
                  </a:moveTo>
                  <a:cubicBezTo>
                    <a:pt x="158" y="1"/>
                    <a:pt x="1" y="158"/>
                    <a:pt x="1" y="347"/>
                  </a:cubicBezTo>
                  <a:lnTo>
                    <a:pt x="1" y="1765"/>
                  </a:lnTo>
                  <a:cubicBezTo>
                    <a:pt x="1" y="1954"/>
                    <a:pt x="158" y="2112"/>
                    <a:pt x="379" y="2112"/>
                  </a:cubicBezTo>
                  <a:cubicBezTo>
                    <a:pt x="568" y="2112"/>
                    <a:pt x="725" y="1954"/>
                    <a:pt x="725" y="1765"/>
                  </a:cubicBezTo>
                  <a:lnTo>
                    <a:pt x="725" y="347"/>
                  </a:ln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4" name="Google Shape;7444;p75"/>
            <p:cNvSpPr/>
            <p:nvPr/>
          </p:nvSpPr>
          <p:spPr>
            <a:xfrm>
              <a:off x="-50488025" y="2897250"/>
              <a:ext cx="18150" cy="53600"/>
            </a:xfrm>
            <a:custGeom>
              <a:avLst/>
              <a:gdLst/>
              <a:ahLst/>
              <a:cxnLst/>
              <a:rect l="l" t="t" r="r" b="b"/>
              <a:pathLst>
                <a:path w="726" h="2144" extrusionOk="0">
                  <a:moveTo>
                    <a:pt x="379" y="1"/>
                  </a:moveTo>
                  <a:cubicBezTo>
                    <a:pt x="158" y="1"/>
                    <a:pt x="1" y="159"/>
                    <a:pt x="1" y="379"/>
                  </a:cubicBezTo>
                  <a:lnTo>
                    <a:pt x="1" y="1797"/>
                  </a:lnTo>
                  <a:cubicBezTo>
                    <a:pt x="1" y="1986"/>
                    <a:pt x="158" y="2143"/>
                    <a:pt x="379" y="2143"/>
                  </a:cubicBezTo>
                  <a:cubicBezTo>
                    <a:pt x="568" y="2143"/>
                    <a:pt x="725" y="1986"/>
                    <a:pt x="725" y="1797"/>
                  </a:cubicBezTo>
                  <a:lnTo>
                    <a:pt x="725" y="379"/>
                  </a:lnTo>
                  <a:cubicBezTo>
                    <a:pt x="725" y="159"/>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5" name="Google Shape;7445;p75"/>
            <p:cNvSpPr/>
            <p:nvPr/>
          </p:nvSpPr>
          <p:spPr>
            <a:xfrm>
              <a:off x="-50488025" y="2861825"/>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6" name="Google Shape;7446;p75"/>
            <p:cNvSpPr/>
            <p:nvPr/>
          </p:nvSpPr>
          <p:spPr>
            <a:xfrm>
              <a:off x="-50524250" y="2686150"/>
              <a:ext cx="301675" cy="52825"/>
            </a:xfrm>
            <a:custGeom>
              <a:avLst/>
              <a:gdLst/>
              <a:ahLst/>
              <a:cxnLst/>
              <a:rect l="l" t="t" r="r" b="b"/>
              <a:pathLst>
                <a:path w="12067" h="2113" extrusionOk="0">
                  <a:moveTo>
                    <a:pt x="2143" y="695"/>
                  </a:moveTo>
                  <a:lnTo>
                    <a:pt x="2143" y="1419"/>
                  </a:lnTo>
                  <a:lnTo>
                    <a:pt x="1891" y="1419"/>
                  </a:lnTo>
                  <a:lnTo>
                    <a:pt x="1166" y="1041"/>
                  </a:lnTo>
                  <a:lnTo>
                    <a:pt x="1891" y="695"/>
                  </a:lnTo>
                  <a:close/>
                  <a:moveTo>
                    <a:pt x="9924" y="695"/>
                  </a:moveTo>
                  <a:lnTo>
                    <a:pt x="9924" y="1419"/>
                  </a:lnTo>
                  <a:lnTo>
                    <a:pt x="2836" y="1419"/>
                  </a:lnTo>
                  <a:lnTo>
                    <a:pt x="2836" y="695"/>
                  </a:lnTo>
                  <a:close/>
                  <a:moveTo>
                    <a:pt x="10996" y="695"/>
                  </a:moveTo>
                  <a:cubicBezTo>
                    <a:pt x="11185" y="695"/>
                    <a:pt x="11342" y="852"/>
                    <a:pt x="11342" y="1041"/>
                  </a:cubicBezTo>
                  <a:cubicBezTo>
                    <a:pt x="11342" y="1262"/>
                    <a:pt x="11185" y="1419"/>
                    <a:pt x="10996" y="1419"/>
                  </a:cubicBezTo>
                  <a:lnTo>
                    <a:pt x="10649" y="1419"/>
                  </a:lnTo>
                  <a:lnTo>
                    <a:pt x="10649" y="695"/>
                  </a:lnTo>
                  <a:close/>
                  <a:moveTo>
                    <a:pt x="1782" y="1"/>
                  </a:moveTo>
                  <a:cubicBezTo>
                    <a:pt x="1689" y="1"/>
                    <a:pt x="1556" y="47"/>
                    <a:pt x="252" y="726"/>
                  </a:cubicBezTo>
                  <a:cubicBezTo>
                    <a:pt x="0" y="852"/>
                    <a:pt x="0" y="1199"/>
                    <a:pt x="252" y="1356"/>
                  </a:cubicBezTo>
                  <a:cubicBezTo>
                    <a:pt x="1765" y="2113"/>
                    <a:pt x="1702" y="2113"/>
                    <a:pt x="1828" y="2113"/>
                  </a:cubicBezTo>
                  <a:lnTo>
                    <a:pt x="10996" y="2113"/>
                  </a:lnTo>
                  <a:cubicBezTo>
                    <a:pt x="11594" y="2113"/>
                    <a:pt x="12067" y="1640"/>
                    <a:pt x="12067" y="1041"/>
                  </a:cubicBezTo>
                  <a:cubicBezTo>
                    <a:pt x="12067" y="474"/>
                    <a:pt x="11594" y="2"/>
                    <a:pt x="10996" y="2"/>
                  </a:cubicBezTo>
                  <a:lnTo>
                    <a:pt x="1828" y="2"/>
                  </a:lnTo>
                  <a:cubicBezTo>
                    <a:pt x="1810" y="2"/>
                    <a:pt x="1796" y="1"/>
                    <a:pt x="178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7" name="Google Shape;7447;p75"/>
            <p:cNvSpPr/>
            <p:nvPr/>
          </p:nvSpPr>
          <p:spPr>
            <a:xfrm>
              <a:off x="-50523475" y="2757075"/>
              <a:ext cx="300900" cy="228425"/>
            </a:xfrm>
            <a:custGeom>
              <a:avLst/>
              <a:gdLst/>
              <a:ahLst/>
              <a:cxnLst/>
              <a:rect l="l" t="t" r="r" b="b"/>
              <a:pathLst>
                <a:path w="12036" h="9137" extrusionOk="0">
                  <a:moveTo>
                    <a:pt x="10965" y="725"/>
                  </a:moveTo>
                  <a:cubicBezTo>
                    <a:pt x="11154" y="725"/>
                    <a:pt x="11311" y="882"/>
                    <a:pt x="11311" y="1103"/>
                  </a:cubicBezTo>
                  <a:lnTo>
                    <a:pt x="11311" y="8097"/>
                  </a:lnTo>
                  <a:cubicBezTo>
                    <a:pt x="11311" y="8286"/>
                    <a:pt x="11154" y="8443"/>
                    <a:pt x="10965" y="8443"/>
                  </a:cubicBezTo>
                  <a:lnTo>
                    <a:pt x="1072" y="8443"/>
                  </a:lnTo>
                  <a:cubicBezTo>
                    <a:pt x="883" y="8443"/>
                    <a:pt x="725" y="8286"/>
                    <a:pt x="725" y="8097"/>
                  </a:cubicBezTo>
                  <a:lnTo>
                    <a:pt x="725" y="1103"/>
                  </a:lnTo>
                  <a:cubicBezTo>
                    <a:pt x="725" y="882"/>
                    <a:pt x="883" y="725"/>
                    <a:pt x="1072" y="725"/>
                  </a:cubicBezTo>
                  <a:close/>
                  <a:moveTo>
                    <a:pt x="1072" y="0"/>
                  </a:moveTo>
                  <a:cubicBezTo>
                    <a:pt x="473" y="0"/>
                    <a:pt x="1" y="473"/>
                    <a:pt x="1" y="1040"/>
                  </a:cubicBezTo>
                  <a:lnTo>
                    <a:pt x="1" y="8065"/>
                  </a:lnTo>
                  <a:cubicBezTo>
                    <a:pt x="1" y="8664"/>
                    <a:pt x="473" y="9137"/>
                    <a:pt x="1072" y="9137"/>
                  </a:cubicBezTo>
                  <a:lnTo>
                    <a:pt x="10965" y="9137"/>
                  </a:lnTo>
                  <a:cubicBezTo>
                    <a:pt x="11532" y="9137"/>
                    <a:pt x="12004" y="8664"/>
                    <a:pt x="12004" y="8065"/>
                  </a:cubicBezTo>
                  <a:lnTo>
                    <a:pt x="12004" y="1040"/>
                  </a:lnTo>
                  <a:cubicBezTo>
                    <a:pt x="12036" y="473"/>
                    <a:pt x="11532" y="0"/>
                    <a:pt x="109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48" name="Google Shape;7448;p75"/>
            <p:cNvSpPr/>
            <p:nvPr/>
          </p:nvSpPr>
          <p:spPr>
            <a:xfrm>
              <a:off x="-50453375" y="2792500"/>
              <a:ext cx="194575" cy="158350"/>
            </a:xfrm>
            <a:custGeom>
              <a:avLst/>
              <a:gdLst/>
              <a:ahLst/>
              <a:cxnLst/>
              <a:rect l="l" t="t" r="r" b="b"/>
              <a:pathLst>
                <a:path w="7783" h="6334" extrusionOk="0">
                  <a:moveTo>
                    <a:pt x="7089" y="694"/>
                  </a:moveTo>
                  <a:lnTo>
                    <a:pt x="7089" y="5609"/>
                  </a:lnTo>
                  <a:lnTo>
                    <a:pt x="694" y="5609"/>
                  </a:lnTo>
                  <a:lnTo>
                    <a:pt x="694" y="694"/>
                  </a:lnTo>
                  <a:close/>
                  <a:moveTo>
                    <a:pt x="347" y="1"/>
                  </a:moveTo>
                  <a:cubicBezTo>
                    <a:pt x="158" y="1"/>
                    <a:pt x="1" y="158"/>
                    <a:pt x="1" y="347"/>
                  </a:cubicBezTo>
                  <a:lnTo>
                    <a:pt x="1" y="5987"/>
                  </a:lnTo>
                  <a:cubicBezTo>
                    <a:pt x="1" y="6176"/>
                    <a:pt x="158" y="6333"/>
                    <a:pt x="347" y="6333"/>
                  </a:cubicBezTo>
                  <a:lnTo>
                    <a:pt x="7436" y="6333"/>
                  </a:lnTo>
                  <a:cubicBezTo>
                    <a:pt x="7656" y="6333"/>
                    <a:pt x="7782" y="6176"/>
                    <a:pt x="7782" y="5987"/>
                  </a:cubicBezTo>
                  <a:lnTo>
                    <a:pt x="7782" y="347"/>
                  </a:lnTo>
                  <a:cubicBezTo>
                    <a:pt x="7782" y="158"/>
                    <a:pt x="7656" y="1"/>
                    <a:pt x="74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49" name="Google Shape;7449;p75"/>
          <p:cNvGrpSpPr/>
          <p:nvPr/>
        </p:nvGrpSpPr>
        <p:grpSpPr>
          <a:xfrm>
            <a:off x="4094635" y="2082243"/>
            <a:ext cx="477599" cy="478872"/>
            <a:chOff x="-48633950" y="1972600"/>
            <a:chExt cx="300100" cy="300900"/>
          </a:xfrm>
        </p:grpSpPr>
        <p:sp>
          <p:nvSpPr>
            <p:cNvPr id="7450" name="Google Shape;7450;p75"/>
            <p:cNvSpPr/>
            <p:nvPr/>
          </p:nvSpPr>
          <p:spPr>
            <a:xfrm>
              <a:off x="-48633950" y="1972600"/>
              <a:ext cx="300100" cy="300900"/>
            </a:xfrm>
            <a:custGeom>
              <a:avLst/>
              <a:gdLst/>
              <a:ahLst/>
              <a:cxnLst/>
              <a:rect l="l" t="t" r="r" b="b"/>
              <a:pathLst>
                <a:path w="12004" h="12036" extrusionOk="0">
                  <a:moveTo>
                    <a:pt x="1418" y="756"/>
                  </a:moveTo>
                  <a:lnTo>
                    <a:pt x="1418" y="1481"/>
                  </a:lnTo>
                  <a:lnTo>
                    <a:pt x="693" y="1481"/>
                  </a:lnTo>
                  <a:lnTo>
                    <a:pt x="693" y="756"/>
                  </a:lnTo>
                  <a:close/>
                  <a:moveTo>
                    <a:pt x="11310" y="756"/>
                  </a:moveTo>
                  <a:lnTo>
                    <a:pt x="11310" y="1481"/>
                  </a:lnTo>
                  <a:lnTo>
                    <a:pt x="10586" y="1481"/>
                  </a:lnTo>
                  <a:lnTo>
                    <a:pt x="10586" y="756"/>
                  </a:lnTo>
                  <a:close/>
                  <a:moveTo>
                    <a:pt x="9893" y="1418"/>
                  </a:moveTo>
                  <a:lnTo>
                    <a:pt x="9893" y="1796"/>
                  </a:lnTo>
                  <a:cubicBezTo>
                    <a:pt x="9893" y="1985"/>
                    <a:pt x="10050" y="2143"/>
                    <a:pt x="10239" y="2143"/>
                  </a:cubicBezTo>
                  <a:lnTo>
                    <a:pt x="10586" y="2143"/>
                  </a:lnTo>
                  <a:lnTo>
                    <a:pt x="10586" y="5293"/>
                  </a:lnTo>
                  <a:cubicBezTo>
                    <a:pt x="10365" y="5104"/>
                    <a:pt x="10050" y="4915"/>
                    <a:pt x="9672" y="4663"/>
                  </a:cubicBezTo>
                  <a:cubicBezTo>
                    <a:pt x="8822" y="4159"/>
                    <a:pt x="7530" y="3560"/>
                    <a:pt x="6018" y="3560"/>
                  </a:cubicBezTo>
                  <a:cubicBezTo>
                    <a:pt x="4537" y="3560"/>
                    <a:pt x="3214" y="4159"/>
                    <a:pt x="2363" y="4663"/>
                  </a:cubicBezTo>
                  <a:cubicBezTo>
                    <a:pt x="2017" y="4852"/>
                    <a:pt x="1701" y="5104"/>
                    <a:pt x="1449" y="5293"/>
                  </a:cubicBezTo>
                  <a:lnTo>
                    <a:pt x="1449" y="2143"/>
                  </a:lnTo>
                  <a:lnTo>
                    <a:pt x="1764" y="2143"/>
                  </a:lnTo>
                  <a:cubicBezTo>
                    <a:pt x="1954" y="2143"/>
                    <a:pt x="2111" y="1985"/>
                    <a:pt x="2111" y="1796"/>
                  </a:cubicBezTo>
                  <a:lnTo>
                    <a:pt x="2111" y="1418"/>
                  </a:lnTo>
                  <a:close/>
                  <a:moveTo>
                    <a:pt x="8065" y="4695"/>
                  </a:moveTo>
                  <a:cubicBezTo>
                    <a:pt x="8538" y="4915"/>
                    <a:pt x="8979" y="5104"/>
                    <a:pt x="9326" y="5293"/>
                  </a:cubicBezTo>
                  <a:cubicBezTo>
                    <a:pt x="9798" y="5577"/>
                    <a:pt x="10208" y="5860"/>
                    <a:pt x="10428" y="6049"/>
                  </a:cubicBezTo>
                  <a:cubicBezTo>
                    <a:pt x="10208" y="6238"/>
                    <a:pt x="9798" y="6522"/>
                    <a:pt x="9326" y="6805"/>
                  </a:cubicBezTo>
                  <a:cubicBezTo>
                    <a:pt x="8979" y="6994"/>
                    <a:pt x="8570" y="7215"/>
                    <a:pt x="8065" y="7372"/>
                  </a:cubicBezTo>
                  <a:cubicBezTo>
                    <a:pt x="8349" y="6994"/>
                    <a:pt x="8475" y="6522"/>
                    <a:pt x="8475" y="6049"/>
                  </a:cubicBezTo>
                  <a:cubicBezTo>
                    <a:pt x="8475" y="5514"/>
                    <a:pt x="8318" y="5104"/>
                    <a:pt x="8065" y="4695"/>
                  </a:cubicBezTo>
                  <a:close/>
                  <a:moveTo>
                    <a:pt x="3970" y="4726"/>
                  </a:moveTo>
                  <a:cubicBezTo>
                    <a:pt x="3718" y="5136"/>
                    <a:pt x="3592" y="5608"/>
                    <a:pt x="3592" y="6081"/>
                  </a:cubicBezTo>
                  <a:cubicBezTo>
                    <a:pt x="3529" y="6553"/>
                    <a:pt x="3686" y="7026"/>
                    <a:pt x="3970" y="7435"/>
                  </a:cubicBezTo>
                  <a:cubicBezTo>
                    <a:pt x="3497" y="7215"/>
                    <a:pt x="3056" y="7026"/>
                    <a:pt x="2710" y="6837"/>
                  </a:cubicBezTo>
                  <a:cubicBezTo>
                    <a:pt x="2237" y="6553"/>
                    <a:pt x="1859" y="6270"/>
                    <a:pt x="1607" y="6081"/>
                  </a:cubicBezTo>
                  <a:cubicBezTo>
                    <a:pt x="1859" y="5892"/>
                    <a:pt x="2237" y="5608"/>
                    <a:pt x="2710" y="5325"/>
                  </a:cubicBezTo>
                  <a:cubicBezTo>
                    <a:pt x="3056" y="5136"/>
                    <a:pt x="3466" y="4915"/>
                    <a:pt x="3970" y="4726"/>
                  </a:cubicBezTo>
                  <a:close/>
                  <a:moveTo>
                    <a:pt x="6018" y="4285"/>
                  </a:moveTo>
                  <a:cubicBezTo>
                    <a:pt x="6994" y="4285"/>
                    <a:pt x="7782" y="5073"/>
                    <a:pt x="7782" y="6049"/>
                  </a:cubicBezTo>
                  <a:cubicBezTo>
                    <a:pt x="7782" y="7026"/>
                    <a:pt x="6994" y="7814"/>
                    <a:pt x="6018" y="7814"/>
                  </a:cubicBezTo>
                  <a:cubicBezTo>
                    <a:pt x="5041" y="7814"/>
                    <a:pt x="4253" y="7026"/>
                    <a:pt x="4253" y="6049"/>
                  </a:cubicBezTo>
                  <a:cubicBezTo>
                    <a:pt x="4253" y="5073"/>
                    <a:pt x="5041" y="4285"/>
                    <a:pt x="6018" y="4285"/>
                  </a:cubicBezTo>
                  <a:close/>
                  <a:moveTo>
                    <a:pt x="10554" y="6805"/>
                  </a:moveTo>
                  <a:lnTo>
                    <a:pt x="10554" y="9956"/>
                  </a:lnTo>
                  <a:lnTo>
                    <a:pt x="10239" y="9956"/>
                  </a:lnTo>
                  <a:cubicBezTo>
                    <a:pt x="10050" y="9956"/>
                    <a:pt x="9893" y="10113"/>
                    <a:pt x="9893" y="10302"/>
                  </a:cubicBezTo>
                  <a:lnTo>
                    <a:pt x="9893" y="10649"/>
                  </a:lnTo>
                  <a:lnTo>
                    <a:pt x="2143" y="10649"/>
                  </a:lnTo>
                  <a:lnTo>
                    <a:pt x="2143" y="10302"/>
                  </a:lnTo>
                  <a:cubicBezTo>
                    <a:pt x="2143" y="10113"/>
                    <a:pt x="1985" y="9956"/>
                    <a:pt x="1764" y="9956"/>
                  </a:cubicBezTo>
                  <a:lnTo>
                    <a:pt x="1418" y="9956"/>
                  </a:lnTo>
                  <a:lnTo>
                    <a:pt x="1418" y="6805"/>
                  </a:lnTo>
                  <a:cubicBezTo>
                    <a:pt x="1670" y="6994"/>
                    <a:pt x="1985" y="7183"/>
                    <a:pt x="2332" y="7435"/>
                  </a:cubicBezTo>
                  <a:cubicBezTo>
                    <a:pt x="3182" y="7940"/>
                    <a:pt x="4505" y="8538"/>
                    <a:pt x="5986" y="8538"/>
                  </a:cubicBezTo>
                  <a:cubicBezTo>
                    <a:pt x="7498" y="8538"/>
                    <a:pt x="8790" y="7940"/>
                    <a:pt x="9641" y="7435"/>
                  </a:cubicBezTo>
                  <a:cubicBezTo>
                    <a:pt x="10019" y="7215"/>
                    <a:pt x="10334" y="6994"/>
                    <a:pt x="10554" y="6805"/>
                  </a:cubicBezTo>
                  <a:close/>
                  <a:moveTo>
                    <a:pt x="1418" y="10617"/>
                  </a:moveTo>
                  <a:lnTo>
                    <a:pt x="1418" y="11311"/>
                  </a:lnTo>
                  <a:lnTo>
                    <a:pt x="693" y="11311"/>
                  </a:lnTo>
                  <a:lnTo>
                    <a:pt x="693" y="10617"/>
                  </a:lnTo>
                  <a:close/>
                  <a:moveTo>
                    <a:pt x="11310" y="10617"/>
                  </a:moveTo>
                  <a:lnTo>
                    <a:pt x="11310" y="11311"/>
                  </a:lnTo>
                  <a:lnTo>
                    <a:pt x="10586" y="11311"/>
                  </a:lnTo>
                  <a:lnTo>
                    <a:pt x="10586" y="10617"/>
                  </a:lnTo>
                  <a:close/>
                  <a:moveTo>
                    <a:pt x="347" y="0"/>
                  </a:moveTo>
                  <a:cubicBezTo>
                    <a:pt x="158" y="0"/>
                    <a:pt x="0" y="189"/>
                    <a:pt x="0" y="378"/>
                  </a:cubicBezTo>
                  <a:lnTo>
                    <a:pt x="0" y="1796"/>
                  </a:lnTo>
                  <a:cubicBezTo>
                    <a:pt x="0" y="1985"/>
                    <a:pt x="158" y="2143"/>
                    <a:pt x="347" y="2143"/>
                  </a:cubicBezTo>
                  <a:lnTo>
                    <a:pt x="693" y="2143"/>
                  </a:lnTo>
                  <a:lnTo>
                    <a:pt x="693" y="9893"/>
                  </a:lnTo>
                  <a:lnTo>
                    <a:pt x="347" y="9893"/>
                  </a:lnTo>
                  <a:cubicBezTo>
                    <a:pt x="158" y="9893"/>
                    <a:pt x="0" y="10050"/>
                    <a:pt x="0" y="10239"/>
                  </a:cubicBezTo>
                  <a:lnTo>
                    <a:pt x="0" y="11657"/>
                  </a:lnTo>
                  <a:cubicBezTo>
                    <a:pt x="0" y="11878"/>
                    <a:pt x="158" y="12035"/>
                    <a:pt x="347" y="12035"/>
                  </a:cubicBezTo>
                  <a:lnTo>
                    <a:pt x="1764" y="12035"/>
                  </a:lnTo>
                  <a:cubicBezTo>
                    <a:pt x="1954" y="12035"/>
                    <a:pt x="2111" y="11878"/>
                    <a:pt x="2111" y="11657"/>
                  </a:cubicBezTo>
                  <a:lnTo>
                    <a:pt x="2111" y="11311"/>
                  </a:lnTo>
                  <a:lnTo>
                    <a:pt x="9893" y="11311"/>
                  </a:lnTo>
                  <a:lnTo>
                    <a:pt x="9893" y="11657"/>
                  </a:lnTo>
                  <a:cubicBezTo>
                    <a:pt x="9893" y="11878"/>
                    <a:pt x="10050" y="12035"/>
                    <a:pt x="10239" y="12035"/>
                  </a:cubicBezTo>
                  <a:lnTo>
                    <a:pt x="11657" y="12035"/>
                  </a:lnTo>
                  <a:cubicBezTo>
                    <a:pt x="11846" y="12035"/>
                    <a:pt x="12004" y="11878"/>
                    <a:pt x="12004" y="11657"/>
                  </a:cubicBezTo>
                  <a:lnTo>
                    <a:pt x="12004" y="10239"/>
                  </a:lnTo>
                  <a:cubicBezTo>
                    <a:pt x="12004" y="10050"/>
                    <a:pt x="11846" y="9893"/>
                    <a:pt x="11657" y="9893"/>
                  </a:cubicBezTo>
                  <a:lnTo>
                    <a:pt x="11310" y="9893"/>
                  </a:lnTo>
                  <a:lnTo>
                    <a:pt x="11310" y="2143"/>
                  </a:lnTo>
                  <a:lnTo>
                    <a:pt x="11657" y="2143"/>
                  </a:lnTo>
                  <a:cubicBezTo>
                    <a:pt x="11846" y="2143"/>
                    <a:pt x="12004" y="1985"/>
                    <a:pt x="12004" y="1796"/>
                  </a:cubicBezTo>
                  <a:lnTo>
                    <a:pt x="12004" y="378"/>
                  </a:lnTo>
                  <a:cubicBezTo>
                    <a:pt x="12004" y="189"/>
                    <a:pt x="11846" y="0"/>
                    <a:pt x="11657" y="0"/>
                  </a:cubicBezTo>
                  <a:lnTo>
                    <a:pt x="10239" y="0"/>
                  </a:lnTo>
                  <a:cubicBezTo>
                    <a:pt x="10050" y="0"/>
                    <a:pt x="9893" y="189"/>
                    <a:pt x="9893" y="378"/>
                  </a:cubicBezTo>
                  <a:lnTo>
                    <a:pt x="9893" y="725"/>
                  </a:lnTo>
                  <a:lnTo>
                    <a:pt x="2111" y="725"/>
                  </a:lnTo>
                  <a:lnTo>
                    <a:pt x="2111" y="378"/>
                  </a:lnTo>
                  <a:cubicBezTo>
                    <a:pt x="2111" y="189"/>
                    <a:pt x="1954"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1" name="Google Shape;7451;p75"/>
            <p:cNvSpPr/>
            <p:nvPr/>
          </p:nvSpPr>
          <p:spPr>
            <a:xfrm>
              <a:off x="-48509525" y="2097050"/>
              <a:ext cx="52800" cy="52775"/>
            </a:xfrm>
            <a:custGeom>
              <a:avLst/>
              <a:gdLst/>
              <a:ahLst/>
              <a:cxnLst/>
              <a:rect l="l" t="t" r="r" b="b"/>
              <a:pathLst>
                <a:path w="2112" h="2111" extrusionOk="0">
                  <a:moveTo>
                    <a:pt x="1041" y="725"/>
                  </a:moveTo>
                  <a:cubicBezTo>
                    <a:pt x="1230" y="725"/>
                    <a:pt x="1387" y="882"/>
                    <a:pt x="1387" y="1071"/>
                  </a:cubicBezTo>
                  <a:cubicBezTo>
                    <a:pt x="1387" y="1260"/>
                    <a:pt x="1230" y="1418"/>
                    <a:pt x="1041" y="1418"/>
                  </a:cubicBezTo>
                  <a:cubicBezTo>
                    <a:pt x="852" y="1418"/>
                    <a:pt x="694" y="1260"/>
                    <a:pt x="694" y="1071"/>
                  </a:cubicBezTo>
                  <a:cubicBezTo>
                    <a:pt x="694" y="882"/>
                    <a:pt x="852" y="725"/>
                    <a:pt x="1041" y="725"/>
                  </a:cubicBezTo>
                  <a:close/>
                  <a:moveTo>
                    <a:pt x="1041" y="0"/>
                  </a:moveTo>
                  <a:cubicBezTo>
                    <a:pt x="442" y="0"/>
                    <a:pt x="1" y="473"/>
                    <a:pt x="1" y="1071"/>
                  </a:cubicBezTo>
                  <a:cubicBezTo>
                    <a:pt x="1" y="1670"/>
                    <a:pt x="442" y="2111"/>
                    <a:pt x="1041" y="2111"/>
                  </a:cubicBezTo>
                  <a:cubicBezTo>
                    <a:pt x="1639" y="2111"/>
                    <a:pt x="2112" y="1670"/>
                    <a:pt x="2112" y="1071"/>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52" name="Google Shape;7452;p75"/>
          <p:cNvGrpSpPr/>
          <p:nvPr/>
        </p:nvGrpSpPr>
        <p:grpSpPr>
          <a:xfrm>
            <a:off x="4093999" y="2690124"/>
            <a:ext cx="478872" cy="481339"/>
            <a:chOff x="-48634750" y="2342000"/>
            <a:chExt cx="300900" cy="302450"/>
          </a:xfrm>
        </p:grpSpPr>
        <p:sp>
          <p:nvSpPr>
            <p:cNvPr id="7453" name="Google Shape;7453;p75"/>
            <p:cNvSpPr/>
            <p:nvPr/>
          </p:nvSpPr>
          <p:spPr>
            <a:xfrm>
              <a:off x="-48545750" y="2342000"/>
              <a:ext cx="211900" cy="300875"/>
            </a:xfrm>
            <a:custGeom>
              <a:avLst/>
              <a:gdLst/>
              <a:ahLst/>
              <a:cxnLst/>
              <a:rect l="l" t="t" r="r" b="b"/>
              <a:pathLst>
                <a:path w="8476" h="12035" extrusionOk="0">
                  <a:moveTo>
                    <a:pt x="6711" y="725"/>
                  </a:moveTo>
                  <a:cubicBezTo>
                    <a:pt x="7310" y="725"/>
                    <a:pt x="7782" y="1197"/>
                    <a:pt x="7782" y="1764"/>
                  </a:cubicBezTo>
                  <a:lnTo>
                    <a:pt x="7782" y="10239"/>
                  </a:lnTo>
                  <a:cubicBezTo>
                    <a:pt x="7782" y="10838"/>
                    <a:pt x="7310" y="11310"/>
                    <a:pt x="6711" y="11310"/>
                  </a:cubicBezTo>
                  <a:lnTo>
                    <a:pt x="1797" y="11310"/>
                  </a:lnTo>
                  <a:cubicBezTo>
                    <a:pt x="1198" y="11310"/>
                    <a:pt x="725" y="10838"/>
                    <a:pt x="725" y="10239"/>
                  </a:cubicBezTo>
                  <a:lnTo>
                    <a:pt x="725" y="1764"/>
                  </a:lnTo>
                  <a:cubicBezTo>
                    <a:pt x="725" y="1197"/>
                    <a:pt x="1198" y="725"/>
                    <a:pt x="1797" y="725"/>
                  </a:cubicBezTo>
                  <a:close/>
                  <a:moveTo>
                    <a:pt x="1797" y="0"/>
                  </a:moveTo>
                  <a:cubicBezTo>
                    <a:pt x="788" y="0"/>
                    <a:pt x="1" y="788"/>
                    <a:pt x="1" y="1764"/>
                  </a:cubicBezTo>
                  <a:lnTo>
                    <a:pt x="1" y="10239"/>
                  </a:lnTo>
                  <a:cubicBezTo>
                    <a:pt x="1" y="11247"/>
                    <a:pt x="788" y="12035"/>
                    <a:pt x="1797" y="12035"/>
                  </a:cubicBezTo>
                  <a:lnTo>
                    <a:pt x="6711" y="12035"/>
                  </a:lnTo>
                  <a:cubicBezTo>
                    <a:pt x="7688" y="12035"/>
                    <a:pt x="8476" y="11247"/>
                    <a:pt x="8476" y="10239"/>
                  </a:cubicBezTo>
                  <a:lnTo>
                    <a:pt x="8476" y="1764"/>
                  </a:lnTo>
                  <a:cubicBezTo>
                    <a:pt x="8476" y="788"/>
                    <a:pt x="7688" y="0"/>
                    <a:pt x="67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4" name="Google Shape;7454;p75"/>
            <p:cNvSpPr/>
            <p:nvPr/>
          </p:nvSpPr>
          <p:spPr>
            <a:xfrm>
              <a:off x="-48509525" y="2395550"/>
              <a:ext cx="52800" cy="52800"/>
            </a:xfrm>
            <a:custGeom>
              <a:avLst/>
              <a:gdLst/>
              <a:ahLst/>
              <a:cxnLst/>
              <a:rect l="l" t="t" r="r" b="b"/>
              <a:pathLst>
                <a:path w="2112" h="2112" extrusionOk="0">
                  <a:moveTo>
                    <a:pt x="1041" y="694"/>
                  </a:moveTo>
                  <a:cubicBezTo>
                    <a:pt x="1230" y="694"/>
                    <a:pt x="1387" y="851"/>
                    <a:pt x="1387" y="1040"/>
                  </a:cubicBezTo>
                  <a:cubicBezTo>
                    <a:pt x="1387" y="1261"/>
                    <a:pt x="1230" y="1418"/>
                    <a:pt x="1041" y="1418"/>
                  </a:cubicBezTo>
                  <a:cubicBezTo>
                    <a:pt x="852" y="1418"/>
                    <a:pt x="694" y="1261"/>
                    <a:pt x="694" y="1040"/>
                  </a:cubicBezTo>
                  <a:cubicBezTo>
                    <a:pt x="694" y="851"/>
                    <a:pt x="852" y="694"/>
                    <a:pt x="1041" y="694"/>
                  </a:cubicBezTo>
                  <a:close/>
                  <a:moveTo>
                    <a:pt x="1041" y="0"/>
                  </a:moveTo>
                  <a:cubicBezTo>
                    <a:pt x="442" y="0"/>
                    <a:pt x="1" y="473"/>
                    <a:pt x="1" y="1040"/>
                  </a:cubicBezTo>
                  <a:cubicBezTo>
                    <a:pt x="1" y="1639"/>
                    <a:pt x="442" y="2111"/>
                    <a:pt x="1041" y="2111"/>
                  </a:cubicBezTo>
                  <a:cubicBezTo>
                    <a:pt x="1639" y="2111"/>
                    <a:pt x="2112" y="1639"/>
                    <a:pt x="2112" y="1040"/>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5" name="Google Shape;7455;p75"/>
            <p:cNvSpPr/>
            <p:nvPr/>
          </p:nvSpPr>
          <p:spPr>
            <a:xfrm>
              <a:off x="-48509525" y="2466425"/>
              <a:ext cx="52800" cy="52800"/>
            </a:xfrm>
            <a:custGeom>
              <a:avLst/>
              <a:gdLst/>
              <a:ahLst/>
              <a:cxnLst/>
              <a:rect l="l" t="t" r="r" b="b"/>
              <a:pathLst>
                <a:path w="2112" h="2112" extrusionOk="0">
                  <a:moveTo>
                    <a:pt x="1041" y="694"/>
                  </a:moveTo>
                  <a:cubicBezTo>
                    <a:pt x="1230" y="694"/>
                    <a:pt x="1387" y="851"/>
                    <a:pt x="1387" y="1072"/>
                  </a:cubicBezTo>
                  <a:cubicBezTo>
                    <a:pt x="1387" y="1261"/>
                    <a:pt x="1230" y="1419"/>
                    <a:pt x="1041" y="1419"/>
                  </a:cubicBezTo>
                  <a:cubicBezTo>
                    <a:pt x="852" y="1419"/>
                    <a:pt x="694" y="1261"/>
                    <a:pt x="694" y="1072"/>
                  </a:cubicBezTo>
                  <a:cubicBezTo>
                    <a:pt x="694" y="851"/>
                    <a:pt x="852" y="694"/>
                    <a:pt x="1041" y="694"/>
                  </a:cubicBezTo>
                  <a:close/>
                  <a:moveTo>
                    <a:pt x="1041" y="1"/>
                  </a:moveTo>
                  <a:cubicBezTo>
                    <a:pt x="442" y="1"/>
                    <a:pt x="1" y="473"/>
                    <a:pt x="1" y="1072"/>
                  </a:cubicBezTo>
                  <a:cubicBezTo>
                    <a:pt x="1" y="1639"/>
                    <a:pt x="442" y="2112"/>
                    <a:pt x="1041" y="2112"/>
                  </a:cubicBezTo>
                  <a:cubicBezTo>
                    <a:pt x="1639" y="2112"/>
                    <a:pt x="2112" y="1639"/>
                    <a:pt x="2112" y="1072"/>
                  </a:cubicBezTo>
                  <a:cubicBezTo>
                    <a:pt x="2112" y="473"/>
                    <a:pt x="1639"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6" name="Google Shape;7456;p75"/>
            <p:cNvSpPr/>
            <p:nvPr/>
          </p:nvSpPr>
          <p:spPr>
            <a:xfrm>
              <a:off x="-48509525" y="2537325"/>
              <a:ext cx="52800" cy="52800"/>
            </a:xfrm>
            <a:custGeom>
              <a:avLst/>
              <a:gdLst/>
              <a:ahLst/>
              <a:cxnLst/>
              <a:rect l="l" t="t" r="r" b="b"/>
              <a:pathLst>
                <a:path w="2112" h="2112" extrusionOk="0">
                  <a:moveTo>
                    <a:pt x="1041" y="693"/>
                  </a:moveTo>
                  <a:cubicBezTo>
                    <a:pt x="1230" y="693"/>
                    <a:pt x="1387" y="851"/>
                    <a:pt x="1387" y="1071"/>
                  </a:cubicBezTo>
                  <a:cubicBezTo>
                    <a:pt x="1387" y="1260"/>
                    <a:pt x="1230" y="1418"/>
                    <a:pt x="1041" y="1418"/>
                  </a:cubicBezTo>
                  <a:cubicBezTo>
                    <a:pt x="852" y="1418"/>
                    <a:pt x="694" y="1260"/>
                    <a:pt x="694" y="1071"/>
                  </a:cubicBezTo>
                  <a:cubicBezTo>
                    <a:pt x="694" y="851"/>
                    <a:pt x="852" y="693"/>
                    <a:pt x="1041" y="693"/>
                  </a:cubicBezTo>
                  <a:close/>
                  <a:moveTo>
                    <a:pt x="1041" y="0"/>
                  </a:moveTo>
                  <a:cubicBezTo>
                    <a:pt x="442" y="0"/>
                    <a:pt x="1" y="473"/>
                    <a:pt x="1" y="1071"/>
                  </a:cubicBezTo>
                  <a:cubicBezTo>
                    <a:pt x="1" y="1639"/>
                    <a:pt x="442" y="2111"/>
                    <a:pt x="1041" y="2111"/>
                  </a:cubicBezTo>
                  <a:cubicBezTo>
                    <a:pt x="1639" y="2111"/>
                    <a:pt x="2112" y="1639"/>
                    <a:pt x="2112" y="1071"/>
                  </a:cubicBezTo>
                  <a:cubicBezTo>
                    <a:pt x="2112" y="473"/>
                    <a:pt x="1639"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7" name="Google Shape;7457;p75"/>
            <p:cNvSpPr/>
            <p:nvPr/>
          </p:nvSpPr>
          <p:spPr>
            <a:xfrm>
              <a:off x="-48421300" y="2395550"/>
              <a:ext cx="52800" cy="52800"/>
            </a:xfrm>
            <a:custGeom>
              <a:avLst/>
              <a:gdLst/>
              <a:ahLst/>
              <a:cxnLst/>
              <a:rect l="l" t="t" r="r" b="b"/>
              <a:pathLst>
                <a:path w="2112" h="2112" extrusionOk="0">
                  <a:moveTo>
                    <a:pt x="1072" y="694"/>
                  </a:moveTo>
                  <a:cubicBezTo>
                    <a:pt x="1261" y="694"/>
                    <a:pt x="1418" y="851"/>
                    <a:pt x="1418" y="1040"/>
                  </a:cubicBezTo>
                  <a:cubicBezTo>
                    <a:pt x="1387" y="1261"/>
                    <a:pt x="1229" y="1418"/>
                    <a:pt x="1072" y="1418"/>
                  </a:cubicBezTo>
                  <a:cubicBezTo>
                    <a:pt x="851" y="1418"/>
                    <a:pt x="725" y="1261"/>
                    <a:pt x="725" y="1040"/>
                  </a:cubicBezTo>
                  <a:cubicBezTo>
                    <a:pt x="725" y="851"/>
                    <a:pt x="851" y="694"/>
                    <a:pt x="1072" y="694"/>
                  </a:cubicBezTo>
                  <a:close/>
                  <a:moveTo>
                    <a:pt x="1072" y="0"/>
                  </a:moveTo>
                  <a:cubicBezTo>
                    <a:pt x="473" y="0"/>
                    <a:pt x="1" y="473"/>
                    <a:pt x="1" y="1040"/>
                  </a:cubicBezTo>
                  <a:cubicBezTo>
                    <a:pt x="1" y="1639"/>
                    <a:pt x="473" y="2111"/>
                    <a:pt x="1072" y="2111"/>
                  </a:cubicBezTo>
                  <a:cubicBezTo>
                    <a:pt x="1639" y="2111"/>
                    <a:pt x="2111" y="1639"/>
                    <a:pt x="2111" y="1040"/>
                  </a:cubicBezTo>
                  <a:cubicBezTo>
                    <a:pt x="2080" y="473"/>
                    <a:pt x="1607"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8" name="Google Shape;7458;p75"/>
            <p:cNvSpPr/>
            <p:nvPr/>
          </p:nvSpPr>
          <p:spPr>
            <a:xfrm>
              <a:off x="-48421300" y="2466425"/>
              <a:ext cx="52800" cy="52800"/>
            </a:xfrm>
            <a:custGeom>
              <a:avLst/>
              <a:gdLst/>
              <a:ahLst/>
              <a:cxnLst/>
              <a:rect l="l" t="t" r="r" b="b"/>
              <a:pathLst>
                <a:path w="2112" h="2112" extrusionOk="0">
                  <a:moveTo>
                    <a:pt x="1072" y="694"/>
                  </a:moveTo>
                  <a:cubicBezTo>
                    <a:pt x="1261" y="694"/>
                    <a:pt x="1418" y="851"/>
                    <a:pt x="1418" y="1072"/>
                  </a:cubicBezTo>
                  <a:cubicBezTo>
                    <a:pt x="1387" y="1261"/>
                    <a:pt x="1229" y="1419"/>
                    <a:pt x="1072" y="1419"/>
                  </a:cubicBezTo>
                  <a:cubicBezTo>
                    <a:pt x="851" y="1419"/>
                    <a:pt x="725" y="1261"/>
                    <a:pt x="725" y="1072"/>
                  </a:cubicBezTo>
                  <a:cubicBezTo>
                    <a:pt x="725" y="851"/>
                    <a:pt x="851" y="694"/>
                    <a:pt x="1072" y="694"/>
                  </a:cubicBezTo>
                  <a:close/>
                  <a:moveTo>
                    <a:pt x="1072" y="1"/>
                  </a:moveTo>
                  <a:cubicBezTo>
                    <a:pt x="473" y="1"/>
                    <a:pt x="1" y="473"/>
                    <a:pt x="1" y="1072"/>
                  </a:cubicBezTo>
                  <a:cubicBezTo>
                    <a:pt x="1" y="1639"/>
                    <a:pt x="473" y="2112"/>
                    <a:pt x="1072" y="2112"/>
                  </a:cubicBezTo>
                  <a:cubicBezTo>
                    <a:pt x="1639" y="2112"/>
                    <a:pt x="2111" y="1639"/>
                    <a:pt x="2111" y="1072"/>
                  </a:cubicBezTo>
                  <a:cubicBezTo>
                    <a:pt x="2080" y="473"/>
                    <a:pt x="1607"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59" name="Google Shape;7459;p75"/>
            <p:cNvSpPr/>
            <p:nvPr/>
          </p:nvSpPr>
          <p:spPr>
            <a:xfrm>
              <a:off x="-48421300" y="2537325"/>
              <a:ext cx="52800" cy="52800"/>
            </a:xfrm>
            <a:custGeom>
              <a:avLst/>
              <a:gdLst/>
              <a:ahLst/>
              <a:cxnLst/>
              <a:rect l="l" t="t" r="r" b="b"/>
              <a:pathLst>
                <a:path w="2112" h="2112" extrusionOk="0">
                  <a:moveTo>
                    <a:pt x="1072" y="693"/>
                  </a:moveTo>
                  <a:cubicBezTo>
                    <a:pt x="1261" y="693"/>
                    <a:pt x="1418" y="851"/>
                    <a:pt x="1418" y="1071"/>
                  </a:cubicBezTo>
                  <a:cubicBezTo>
                    <a:pt x="1418" y="1260"/>
                    <a:pt x="1229" y="1418"/>
                    <a:pt x="1072" y="1418"/>
                  </a:cubicBezTo>
                  <a:cubicBezTo>
                    <a:pt x="851" y="1418"/>
                    <a:pt x="725" y="1260"/>
                    <a:pt x="725" y="1071"/>
                  </a:cubicBezTo>
                  <a:cubicBezTo>
                    <a:pt x="725" y="851"/>
                    <a:pt x="851" y="693"/>
                    <a:pt x="1072" y="693"/>
                  </a:cubicBezTo>
                  <a:close/>
                  <a:moveTo>
                    <a:pt x="1072" y="0"/>
                  </a:moveTo>
                  <a:cubicBezTo>
                    <a:pt x="473" y="0"/>
                    <a:pt x="1" y="473"/>
                    <a:pt x="1" y="1071"/>
                  </a:cubicBezTo>
                  <a:cubicBezTo>
                    <a:pt x="1" y="1639"/>
                    <a:pt x="473" y="2111"/>
                    <a:pt x="1072" y="2111"/>
                  </a:cubicBezTo>
                  <a:cubicBezTo>
                    <a:pt x="1639" y="2111"/>
                    <a:pt x="2111" y="1639"/>
                    <a:pt x="2111" y="1071"/>
                  </a:cubicBezTo>
                  <a:cubicBezTo>
                    <a:pt x="2080" y="473"/>
                    <a:pt x="1607"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0" name="Google Shape;7460;p75"/>
            <p:cNvSpPr/>
            <p:nvPr/>
          </p:nvSpPr>
          <p:spPr>
            <a:xfrm>
              <a:off x="-48634750" y="2342775"/>
              <a:ext cx="71700" cy="301675"/>
            </a:xfrm>
            <a:custGeom>
              <a:avLst/>
              <a:gdLst/>
              <a:ahLst/>
              <a:cxnLst/>
              <a:rect l="l" t="t" r="r" b="b"/>
              <a:pathLst>
                <a:path w="2868" h="12067" extrusionOk="0">
                  <a:moveTo>
                    <a:pt x="1891" y="725"/>
                  </a:moveTo>
                  <a:lnTo>
                    <a:pt x="1891" y="725"/>
                  </a:lnTo>
                  <a:cubicBezTo>
                    <a:pt x="1828" y="851"/>
                    <a:pt x="1796" y="946"/>
                    <a:pt x="1796" y="1072"/>
                  </a:cubicBezTo>
                  <a:cubicBezTo>
                    <a:pt x="1765" y="1450"/>
                    <a:pt x="1859" y="1796"/>
                    <a:pt x="2112" y="2143"/>
                  </a:cubicBezTo>
                  <a:cubicBezTo>
                    <a:pt x="2175" y="2174"/>
                    <a:pt x="2206" y="2269"/>
                    <a:pt x="2175" y="2332"/>
                  </a:cubicBezTo>
                  <a:cubicBezTo>
                    <a:pt x="2049" y="2616"/>
                    <a:pt x="1796" y="2805"/>
                    <a:pt x="1481" y="2805"/>
                  </a:cubicBezTo>
                  <a:cubicBezTo>
                    <a:pt x="1103" y="2805"/>
                    <a:pt x="788" y="2489"/>
                    <a:pt x="788" y="2111"/>
                  </a:cubicBezTo>
                  <a:cubicBezTo>
                    <a:pt x="725" y="1702"/>
                    <a:pt x="883" y="1355"/>
                    <a:pt x="1166" y="1135"/>
                  </a:cubicBezTo>
                  <a:cubicBezTo>
                    <a:pt x="1418" y="883"/>
                    <a:pt x="1607" y="788"/>
                    <a:pt x="1891" y="725"/>
                  </a:cubicBezTo>
                  <a:close/>
                  <a:moveTo>
                    <a:pt x="1481" y="3529"/>
                  </a:moveTo>
                  <a:cubicBezTo>
                    <a:pt x="1733" y="3750"/>
                    <a:pt x="1891" y="4600"/>
                    <a:pt x="1954" y="4947"/>
                  </a:cubicBezTo>
                  <a:lnTo>
                    <a:pt x="977" y="4947"/>
                  </a:lnTo>
                  <a:cubicBezTo>
                    <a:pt x="1040" y="4600"/>
                    <a:pt x="1198" y="3750"/>
                    <a:pt x="1481" y="3529"/>
                  </a:cubicBezTo>
                  <a:close/>
                  <a:moveTo>
                    <a:pt x="2049" y="5608"/>
                  </a:moveTo>
                  <a:cubicBezTo>
                    <a:pt x="2112" y="6176"/>
                    <a:pt x="2112" y="6743"/>
                    <a:pt x="2112" y="7373"/>
                  </a:cubicBezTo>
                  <a:cubicBezTo>
                    <a:pt x="2143" y="9421"/>
                    <a:pt x="1796" y="10933"/>
                    <a:pt x="1450" y="11279"/>
                  </a:cubicBezTo>
                  <a:cubicBezTo>
                    <a:pt x="1387" y="11216"/>
                    <a:pt x="1166" y="10964"/>
                    <a:pt x="1009" y="10145"/>
                  </a:cubicBezTo>
                  <a:cubicBezTo>
                    <a:pt x="851" y="9389"/>
                    <a:pt x="725" y="8412"/>
                    <a:pt x="725" y="7373"/>
                  </a:cubicBezTo>
                  <a:cubicBezTo>
                    <a:pt x="725" y="6743"/>
                    <a:pt x="788" y="6176"/>
                    <a:pt x="820" y="5608"/>
                  </a:cubicBezTo>
                  <a:close/>
                  <a:moveTo>
                    <a:pt x="2458" y="1"/>
                  </a:moveTo>
                  <a:cubicBezTo>
                    <a:pt x="1765" y="1"/>
                    <a:pt x="1198" y="64"/>
                    <a:pt x="631" y="631"/>
                  </a:cubicBezTo>
                  <a:cubicBezTo>
                    <a:pt x="221" y="1040"/>
                    <a:pt x="1" y="1576"/>
                    <a:pt x="1" y="2143"/>
                  </a:cubicBezTo>
                  <a:cubicBezTo>
                    <a:pt x="1" y="2647"/>
                    <a:pt x="253" y="3120"/>
                    <a:pt x="694" y="3372"/>
                  </a:cubicBezTo>
                  <a:cubicBezTo>
                    <a:pt x="158" y="4317"/>
                    <a:pt x="1" y="6333"/>
                    <a:pt x="1" y="7467"/>
                  </a:cubicBezTo>
                  <a:cubicBezTo>
                    <a:pt x="1" y="8570"/>
                    <a:pt x="95" y="10586"/>
                    <a:pt x="694" y="11563"/>
                  </a:cubicBezTo>
                  <a:cubicBezTo>
                    <a:pt x="883" y="11909"/>
                    <a:pt x="1135" y="12067"/>
                    <a:pt x="1418" y="12067"/>
                  </a:cubicBezTo>
                  <a:cubicBezTo>
                    <a:pt x="1670" y="12067"/>
                    <a:pt x="1923" y="11909"/>
                    <a:pt x="2112" y="11563"/>
                  </a:cubicBezTo>
                  <a:cubicBezTo>
                    <a:pt x="2679" y="10618"/>
                    <a:pt x="2836" y="8601"/>
                    <a:pt x="2836" y="7467"/>
                  </a:cubicBezTo>
                  <a:cubicBezTo>
                    <a:pt x="2868" y="6270"/>
                    <a:pt x="2742" y="4285"/>
                    <a:pt x="2143" y="3309"/>
                  </a:cubicBezTo>
                  <a:cubicBezTo>
                    <a:pt x="2427" y="3151"/>
                    <a:pt x="2679" y="2899"/>
                    <a:pt x="2742" y="2584"/>
                  </a:cubicBezTo>
                  <a:cubicBezTo>
                    <a:pt x="2868" y="2269"/>
                    <a:pt x="2773" y="1954"/>
                    <a:pt x="2584" y="1702"/>
                  </a:cubicBezTo>
                  <a:cubicBezTo>
                    <a:pt x="2395" y="1481"/>
                    <a:pt x="2269" y="1166"/>
                    <a:pt x="2742" y="568"/>
                  </a:cubicBezTo>
                  <a:cubicBezTo>
                    <a:pt x="2836" y="442"/>
                    <a:pt x="2868" y="347"/>
                    <a:pt x="2773" y="221"/>
                  </a:cubicBezTo>
                  <a:cubicBezTo>
                    <a:pt x="2742" y="95"/>
                    <a:pt x="2584" y="1"/>
                    <a:pt x="2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1" name="Google Shape;7461;p75"/>
          <p:cNvGrpSpPr/>
          <p:nvPr/>
        </p:nvGrpSpPr>
        <p:grpSpPr>
          <a:xfrm>
            <a:off x="4095252" y="3287970"/>
            <a:ext cx="476365" cy="476365"/>
            <a:chOff x="-48633175" y="2711375"/>
            <a:chExt cx="299325" cy="299325"/>
          </a:xfrm>
        </p:grpSpPr>
        <p:sp>
          <p:nvSpPr>
            <p:cNvPr id="7462" name="Google Shape;7462;p75"/>
            <p:cNvSpPr/>
            <p:nvPr/>
          </p:nvSpPr>
          <p:spPr>
            <a:xfrm>
              <a:off x="-48633175" y="2711375"/>
              <a:ext cx="299325" cy="299325"/>
            </a:xfrm>
            <a:custGeom>
              <a:avLst/>
              <a:gdLst/>
              <a:ahLst/>
              <a:cxnLst/>
              <a:rect l="l" t="t" r="r" b="b"/>
              <a:pathLst>
                <a:path w="11973" h="11973" extrusionOk="0">
                  <a:moveTo>
                    <a:pt x="6459" y="662"/>
                  </a:moveTo>
                  <a:lnTo>
                    <a:pt x="6774" y="1356"/>
                  </a:lnTo>
                  <a:cubicBezTo>
                    <a:pt x="6837" y="1419"/>
                    <a:pt x="6900" y="1513"/>
                    <a:pt x="7026" y="1545"/>
                  </a:cubicBezTo>
                  <a:cubicBezTo>
                    <a:pt x="7499" y="1671"/>
                    <a:pt x="7971" y="1860"/>
                    <a:pt x="8413" y="2080"/>
                  </a:cubicBezTo>
                  <a:cubicBezTo>
                    <a:pt x="8459" y="2126"/>
                    <a:pt x="8539" y="2156"/>
                    <a:pt x="8627" y="2156"/>
                  </a:cubicBezTo>
                  <a:cubicBezTo>
                    <a:pt x="8660" y="2156"/>
                    <a:pt x="8694" y="2152"/>
                    <a:pt x="8728" y="2143"/>
                  </a:cubicBezTo>
                  <a:lnTo>
                    <a:pt x="9389" y="1891"/>
                  </a:lnTo>
                  <a:lnTo>
                    <a:pt x="10051" y="2553"/>
                  </a:lnTo>
                  <a:lnTo>
                    <a:pt x="9799" y="3214"/>
                  </a:lnTo>
                  <a:cubicBezTo>
                    <a:pt x="9767" y="3340"/>
                    <a:pt x="9767" y="3435"/>
                    <a:pt x="9862" y="3561"/>
                  </a:cubicBezTo>
                  <a:cubicBezTo>
                    <a:pt x="10114" y="3970"/>
                    <a:pt x="10334" y="4412"/>
                    <a:pt x="10397" y="4916"/>
                  </a:cubicBezTo>
                  <a:cubicBezTo>
                    <a:pt x="10460" y="5042"/>
                    <a:pt x="10492" y="5136"/>
                    <a:pt x="10586" y="5168"/>
                  </a:cubicBezTo>
                  <a:lnTo>
                    <a:pt x="11279" y="5483"/>
                  </a:lnTo>
                  <a:lnTo>
                    <a:pt x="11279" y="6459"/>
                  </a:lnTo>
                  <a:lnTo>
                    <a:pt x="10586" y="6774"/>
                  </a:lnTo>
                  <a:cubicBezTo>
                    <a:pt x="10523" y="6806"/>
                    <a:pt x="10460" y="6900"/>
                    <a:pt x="10397" y="7026"/>
                  </a:cubicBezTo>
                  <a:cubicBezTo>
                    <a:pt x="10271" y="7499"/>
                    <a:pt x="10082" y="7972"/>
                    <a:pt x="9862" y="8381"/>
                  </a:cubicBezTo>
                  <a:cubicBezTo>
                    <a:pt x="9799" y="8476"/>
                    <a:pt x="9767" y="8602"/>
                    <a:pt x="9799" y="8696"/>
                  </a:cubicBezTo>
                  <a:lnTo>
                    <a:pt x="10051" y="9389"/>
                  </a:lnTo>
                  <a:lnTo>
                    <a:pt x="9389" y="10051"/>
                  </a:lnTo>
                  <a:lnTo>
                    <a:pt x="8728" y="9799"/>
                  </a:lnTo>
                  <a:cubicBezTo>
                    <a:pt x="8681" y="9787"/>
                    <a:pt x="8640" y="9780"/>
                    <a:pt x="8600" y="9780"/>
                  </a:cubicBezTo>
                  <a:cubicBezTo>
                    <a:pt x="8532" y="9780"/>
                    <a:pt x="8472" y="9802"/>
                    <a:pt x="8413" y="9862"/>
                  </a:cubicBezTo>
                  <a:cubicBezTo>
                    <a:pt x="7971" y="10114"/>
                    <a:pt x="7530" y="10303"/>
                    <a:pt x="7026" y="10397"/>
                  </a:cubicBezTo>
                  <a:cubicBezTo>
                    <a:pt x="6900" y="10429"/>
                    <a:pt x="6837" y="10492"/>
                    <a:pt x="6774" y="10586"/>
                  </a:cubicBezTo>
                  <a:lnTo>
                    <a:pt x="6459" y="11280"/>
                  </a:lnTo>
                  <a:lnTo>
                    <a:pt x="5483" y="11280"/>
                  </a:lnTo>
                  <a:lnTo>
                    <a:pt x="5168" y="10586"/>
                  </a:lnTo>
                  <a:cubicBezTo>
                    <a:pt x="5136" y="10523"/>
                    <a:pt x="5042" y="10429"/>
                    <a:pt x="4915" y="10397"/>
                  </a:cubicBezTo>
                  <a:cubicBezTo>
                    <a:pt x="4443" y="10271"/>
                    <a:pt x="3970" y="10082"/>
                    <a:pt x="3561" y="9862"/>
                  </a:cubicBezTo>
                  <a:cubicBezTo>
                    <a:pt x="3492" y="9816"/>
                    <a:pt x="3406" y="9786"/>
                    <a:pt x="3327" y="9786"/>
                  </a:cubicBezTo>
                  <a:cubicBezTo>
                    <a:pt x="3299" y="9786"/>
                    <a:pt x="3271" y="9790"/>
                    <a:pt x="3246" y="9799"/>
                  </a:cubicBezTo>
                  <a:lnTo>
                    <a:pt x="2553" y="10051"/>
                  </a:lnTo>
                  <a:lnTo>
                    <a:pt x="1891" y="9389"/>
                  </a:lnTo>
                  <a:lnTo>
                    <a:pt x="2143" y="8696"/>
                  </a:lnTo>
                  <a:cubicBezTo>
                    <a:pt x="2175" y="8602"/>
                    <a:pt x="2175" y="8507"/>
                    <a:pt x="2080" y="8381"/>
                  </a:cubicBezTo>
                  <a:cubicBezTo>
                    <a:pt x="1828" y="7972"/>
                    <a:pt x="1607" y="7531"/>
                    <a:pt x="1544" y="7026"/>
                  </a:cubicBezTo>
                  <a:cubicBezTo>
                    <a:pt x="1513" y="6900"/>
                    <a:pt x="1450" y="6806"/>
                    <a:pt x="1355" y="6774"/>
                  </a:cubicBezTo>
                  <a:lnTo>
                    <a:pt x="662" y="6459"/>
                  </a:lnTo>
                  <a:lnTo>
                    <a:pt x="662" y="5483"/>
                  </a:lnTo>
                  <a:lnTo>
                    <a:pt x="1355" y="5168"/>
                  </a:lnTo>
                  <a:cubicBezTo>
                    <a:pt x="1418" y="5136"/>
                    <a:pt x="1513" y="5042"/>
                    <a:pt x="1544" y="4916"/>
                  </a:cubicBezTo>
                  <a:cubicBezTo>
                    <a:pt x="1670" y="4443"/>
                    <a:pt x="1860" y="3970"/>
                    <a:pt x="2080" y="3561"/>
                  </a:cubicBezTo>
                  <a:cubicBezTo>
                    <a:pt x="2143" y="3466"/>
                    <a:pt x="2175" y="3340"/>
                    <a:pt x="2143" y="3214"/>
                  </a:cubicBezTo>
                  <a:lnTo>
                    <a:pt x="1891" y="2553"/>
                  </a:lnTo>
                  <a:lnTo>
                    <a:pt x="2553" y="1891"/>
                  </a:lnTo>
                  <a:lnTo>
                    <a:pt x="3246" y="2143"/>
                  </a:lnTo>
                  <a:cubicBezTo>
                    <a:pt x="3280" y="2155"/>
                    <a:pt x="3315" y="2162"/>
                    <a:pt x="3351" y="2162"/>
                  </a:cubicBezTo>
                  <a:cubicBezTo>
                    <a:pt x="3414" y="2162"/>
                    <a:pt x="3481" y="2140"/>
                    <a:pt x="3561" y="2080"/>
                  </a:cubicBezTo>
                  <a:cubicBezTo>
                    <a:pt x="3970" y="1828"/>
                    <a:pt x="4411" y="1608"/>
                    <a:pt x="4915" y="1545"/>
                  </a:cubicBezTo>
                  <a:cubicBezTo>
                    <a:pt x="5042" y="1513"/>
                    <a:pt x="5136" y="1450"/>
                    <a:pt x="5168" y="1356"/>
                  </a:cubicBezTo>
                  <a:lnTo>
                    <a:pt x="5483" y="662"/>
                  </a:lnTo>
                  <a:close/>
                  <a:moveTo>
                    <a:pt x="5294" y="1"/>
                  </a:moveTo>
                  <a:cubicBezTo>
                    <a:pt x="5168" y="1"/>
                    <a:pt x="5010" y="64"/>
                    <a:pt x="4978" y="190"/>
                  </a:cubicBezTo>
                  <a:lnTo>
                    <a:pt x="4632" y="915"/>
                  </a:lnTo>
                  <a:cubicBezTo>
                    <a:pt x="4191" y="1041"/>
                    <a:pt x="3750" y="1198"/>
                    <a:pt x="3372" y="1419"/>
                  </a:cubicBezTo>
                  <a:lnTo>
                    <a:pt x="2616" y="1198"/>
                  </a:lnTo>
                  <a:cubicBezTo>
                    <a:pt x="2579" y="1180"/>
                    <a:pt x="2539" y="1172"/>
                    <a:pt x="2500" y="1172"/>
                  </a:cubicBezTo>
                  <a:cubicBezTo>
                    <a:pt x="2405" y="1172"/>
                    <a:pt x="2314" y="1217"/>
                    <a:pt x="2269" y="1261"/>
                  </a:cubicBezTo>
                  <a:lnTo>
                    <a:pt x="1261" y="2238"/>
                  </a:lnTo>
                  <a:cubicBezTo>
                    <a:pt x="1198" y="2332"/>
                    <a:pt x="1166" y="2490"/>
                    <a:pt x="1198" y="2616"/>
                  </a:cubicBezTo>
                  <a:lnTo>
                    <a:pt x="1418" y="3340"/>
                  </a:lnTo>
                  <a:cubicBezTo>
                    <a:pt x="1198" y="3750"/>
                    <a:pt x="1040" y="4191"/>
                    <a:pt x="914" y="4601"/>
                  </a:cubicBezTo>
                  <a:lnTo>
                    <a:pt x="221" y="4979"/>
                  </a:lnTo>
                  <a:cubicBezTo>
                    <a:pt x="95" y="5010"/>
                    <a:pt x="1" y="5168"/>
                    <a:pt x="1" y="5294"/>
                  </a:cubicBezTo>
                  <a:lnTo>
                    <a:pt x="1" y="6711"/>
                  </a:lnTo>
                  <a:cubicBezTo>
                    <a:pt x="1" y="6806"/>
                    <a:pt x="95" y="6963"/>
                    <a:pt x="221" y="7026"/>
                  </a:cubicBezTo>
                  <a:lnTo>
                    <a:pt x="914" y="7373"/>
                  </a:lnTo>
                  <a:cubicBezTo>
                    <a:pt x="1040" y="7814"/>
                    <a:pt x="1198" y="8224"/>
                    <a:pt x="1418" y="8633"/>
                  </a:cubicBezTo>
                  <a:lnTo>
                    <a:pt x="1198" y="9389"/>
                  </a:lnTo>
                  <a:cubicBezTo>
                    <a:pt x="1166" y="9484"/>
                    <a:pt x="1198" y="9641"/>
                    <a:pt x="1261" y="9736"/>
                  </a:cubicBezTo>
                  <a:lnTo>
                    <a:pt x="2269" y="10712"/>
                  </a:lnTo>
                  <a:cubicBezTo>
                    <a:pt x="2316" y="10783"/>
                    <a:pt x="2417" y="10819"/>
                    <a:pt x="2517" y="10819"/>
                  </a:cubicBezTo>
                  <a:cubicBezTo>
                    <a:pt x="2551" y="10819"/>
                    <a:pt x="2584" y="10815"/>
                    <a:pt x="2616" y="10807"/>
                  </a:cubicBezTo>
                  <a:lnTo>
                    <a:pt x="3372" y="10555"/>
                  </a:lnTo>
                  <a:cubicBezTo>
                    <a:pt x="3750" y="10807"/>
                    <a:pt x="4191" y="10965"/>
                    <a:pt x="4632" y="11059"/>
                  </a:cubicBezTo>
                  <a:lnTo>
                    <a:pt x="4978" y="11784"/>
                  </a:lnTo>
                  <a:cubicBezTo>
                    <a:pt x="5010" y="11910"/>
                    <a:pt x="5168" y="11973"/>
                    <a:pt x="5294" y="11973"/>
                  </a:cubicBezTo>
                  <a:lnTo>
                    <a:pt x="6711" y="11973"/>
                  </a:lnTo>
                  <a:cubicBezTo>
                    <a:pt x="6837" y="11973"/>
                    <a:pt x="6995" y="11910"/>
                    <a:pt x="7026" y="11784"/>
                  </a:cubicBezTo>
                  <a:lnTo>
                    <a:pt x="7373" y="11059"/>
                  </a:lnTo>
                  <a:cubicBezTo>
                    <a:pt x="7814" y="10965"/>
                    <a:pt x="8255" y="10807"/>
                    <a:pt x="8633" y="10555"/>
                  </a:cubicBezTo>
                  <a:lnTo>
                    <a:pt x="9389" y="10807"/>
                  </a:lnTo>
                  <a:cubicBezTo>
                    <a:pt x="9421" y="10815"/>
                    <a:pt x="9454" y="10819"/>
                    <a:pt x="9488" y="10819"/>
                  </a:cubicBezTo>
                  <a:cubicBezTo>
                    <a:pt x="9588" y="10819"/>
                    <a:pt x="9688" y="10783"/>
                    <a:pt x="9736" y="10712"/>
                  </a:cubicBezTo>
                  <a:lnTo>
                    <a:pt x="10712" y="9736"/>
                  </a:lnTo>
                  <a:cubicBezTo>
                    <a:pt x="10807" y="9641"/>
                    <a:pt x="10838" y="9484"/>
                    <a:pt x="10807" y="9389"/>
                  </a:cubicBezTo>
                  <a:lnTo>
                    <a:pt x="10555" y="8633"/>
                  </a:lnTo>
                  <a:cubicBezTo>
                    <a:pt x="10807" y="8224"/>
                    <a:pt x="10964" y="7814"/>
                    <a:pt x="11059" y="7373"/>
                  </a:cubicBezTo>
                  <a:lnTo>
                    <a:pt x="11784" y="7026"/>
                  </a:lnTo>
                  <a:cubicBezTo>
                    <a:pt x="11910" y="6963"/>
                    <a:pt x="11973" y="6806"/>
                    <a:pt x="11973" y="6711"/>
                  </a:cubicBezTo>
                  <a:lnTo>
                    <a:pt x="11973" y="5294"/>
                  </a:lnTo>
                  <a:cubicBezTo>
                    <a:pt x="11973" y="5168"/>
                    <a:pt x="11910" y="5042"/>
                    <a:pt x="11784" y="4979"/>
                  </a:cubicBezTo>
                  <a:lnTo>
                    <a:pt x="11059" y="4601"/>
                  </a:lnTo>
                  <a:cubicBezTo>
                    <a:pt x="10964" y="4191"/>
                    <a:pt x="10807" y="3750"/>
                    <a:pt x="10555" y="3340"/>
                  </a:cubicBezTo>
                  <a:lnTo>
                    <a:pt x="10807" y="2616"/>
                  </a:lnTo>
                  <a:cubicBezTo>
                    <a:pt x="10838" y="2490"/>
                    <a:pt x="10807" y="2332"/>
                    <a:pt x="10712" y="2238"/>
                  </a:cubicBezTo>
                  <a:lnTo>
                    <a:pt x="9736" y="1261"/>
                  </a:lnTo>
                  <a:cubicBezTo>
                    <a:pt x="9691" y="1217"/>
                    <a:pt x="9584" y="1172"/>
                    <a:pt x="9491" y="1172"/>
                  </a:cubicBezTo>
                  <a:cubicBezTo>
                    <a:pt x="9453" y="1172"/>
                    <a:pt x="9417" y="1180"/>
                    <a:pt x="9389" y="1198"/>
                  </a:cubicBezTo>
                  <a:lnTo>
                    <a:pt x="8633" y="1419"/>
                  </a:lnTo>
                  <a:cubicBezTo>
                    <a:pt x="8255" y="1198"/>
                    <a:pt x="7814" y="1041"/>
                    <a:pt x="7373" y="915"/>
                  </a:cubicBezTo>
                  <a:lnTo>
                    <a:pt x="7026" y="190"/>
                  </a:lnTo>
                  <a:cubicBezTo>
                    <a:pt x="6995" y="64"/>
                    <a:pt x="6837" y="1"/>
                    <a:pt x="67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3" name="Google Shape;7463;p75"/>
            <p:cNvSpPr/>
            <p:nvPr/>
          </p:nvSpPr>
          <p:spPr>
            <a:xfrm>
              <a:off x="-48579600" y="2764950"/>
              <a:ext cx="192975" cy="191400"/>
            </a:xfrm>
            <a:custGeom>
              <a:avLst/>
              <a:gdLst/>
              <a:ahLst/>
              <a:cxnLst/>
              <a:rect l="l" t="t" r="r" b="b"/>
              <a:pathLst>
                <a:path w="7719" h="7656" extrusionOk="0">
                  <a:moveTo>
                    <a:pt x="3844" y="3214"/>
                  </a:moveTo>
                  <a:lnTo>
                    <a:pt x="4442" y="4411"/>
                  </a:lnTo>
                  <a:cubicBezTo>
                    <a:pt x="4237" y="4490"/>
                    <a:pt x="4033" y="4529"/>
                    <a:pt x="3832" y="4529"/>
                  </a:cubicBezTo>
                  <a:cubicBezTo>
                    <a:pt x="3631" y="4529"/>
                    <a:pt x="3434" y="4490"/>
                    <a:pt x="3245" y="4411"/>
                  </a:cubicBezTo>
                  <a:lnTo>
                    <a:pt x="3844" y="3214"/>
                  </a:lnTo>
                  <a:close/>
                  <a:moveTo>
                    <a:pt x="3781" y="693"/>
                  </a:moveTo>
                  <a:cubicBezTo>
                    <a:pt x="5513" y="693"/>
                    <a:pt x="6931" y="2111"/>
                    <a:pt x="6931" y="3844"/>
                  </a:cubicBezTo>
                  <a:cubicBezTo>
                    <a:pt x="6994" y="5104"/>
                    <a:pt x="6301" y="6175"/>
                    <a:pt x="5230" y="6679"/>
                  </a:cubicBezTo>
                  <a:lnTo>
                    <a:pt x="5230" y="4568"/>
                  </a:lnTo>
                  <a:cubicBezTo>
                    <a:pt x="5230" y="4411"/>
                    <a:pt x="5230" y="4442"/>
                    <a:pt x="4127" y="2300"/>
                  </a:cubicBezTo>
                  <a:cubicBezTo>
                    <a:pt x="4033" y="2206"/>
                    <a:pt x="3938" y="2111"/>
                    <a:pt x="3812" y="2111"/>
                  </a:cubicBezTo>
                  <a:cubicBezTo>
                    <a:pt x="3686" y="2111"/>
                    <a:pt x="3560" y="2206"/>
                    <a:pt x="3497" y="2300"/>
                  </a:cubicBezTo>
                  <a:cubicBezTo>
                    <a:pt x="2363" y="4600"/>
                    <a:pt x="2394" y="4442"/>
                    <a:pt x="2394" y="4568"/>
                  </a:cubicBezTo>
                  <a:lnTo>
                    <a:pt x="2394" y="6679"/>
                  </a:lnTo>
                  <a:cubicBezTo>
                    <a:pt x="1355" y="6175"/>
                    <a:pt x="630" y="5104"/>
                    <a:pt x="630" y="3844"/>
                  </a:cubicBezTo>
                  <a:cubicBezTo>
                    <a:pt x="630" y="2111"/>
                    <a:pt x="2048" y="693"/>
                    <a:pt x="3781" y="693"/>
                  </a:cubicBezTo>
                  <a:close/>
                  <a:moveTo>
                    <a:pt x="4568" y="5104"/>
                  </a:moveTo>
                  <a:lnTo>
                    <a:pt x="4568" y="6931"/>
                  </a:lnTo>
                  <a:cubicBezTo>
                    <a:pt x="4316" y="6963"/>
                    <a:pt x="4096" y="6994"/>
                    <a:pt x="3844" y="6994"/>
                  </a:cubicBezTo>
                  <a:cubicBezTo>
                    <a:pt x="3623" y="6994"/>
                    <a:pt x="3371" y="6994"/>
                    <a:pt x="3151" y="6931"/>
                  </a:cubicBezTo>
                  <a:lnTo>
                    <a:pt x="3151" y="5104"/>
                  </a:lnTo>
                  <a:cubicBezTo>
                    <a:pt x="3371" y="5198"/>
                    <a:pt x="3623" y="5230"/>
                    <a:pt x="3844" y="5230"/>
                  </a:cubicBezTo>
                  <a:cubicBezTo>
                    <a:pt x="4096" y="5230"/>
                    <a:pt x="4316" y="5198"/>
                    <a:pt x="4568" y="5104"/>
                  </a:cubicBezTo>
                  <a:close/>
                  <a:moveTo>
                    <a:pt x="3844" y="0"/>
                  </a:moveTo>
                  <a:cubicBezTo>
                    <a:pt x="1733" y="0"/>
                    <a:pt x="0" y="1733"/>
                    <a:pt x="0" y="3844"/>
                  </a:cubicBezTo>
                  <a:cubicBezTo>
                    <a:pt x="0" y="5577"/>
                    <a:pt x="1134" y="7026"/>
                    <a:pt x="2678" y="7498"/>
                  </a:cubicBezTo>
                  <a:lnTo>
                    <a:pt x="2709" y="7498"/>
                  </a:lnTo>
                  <a:cubicBezTo>
                    <a:pt x="3056" y="7624"/>
                    <a:pt x="3466" y="7656"/>
                    <a:pt x="3844" y="7656"/>
                  </a:cubicBezTo>
                  <a:cubicBezTo>
                    <a:pt x="4253" y="7656"/>
                    <a:pt x="4631" y="7593"/>
                    <a:pt x="4978" y="7498"/>
                  </a:cubicBezTo>
                  <a:lnTo>
                    <a:pt x="5041" y="7498"/>
                  </a:lnTo>
                  <a:cubicBezTo>
                    <a:pt x="6616" y="6994"/>
                    <a:pt x="7719" y="5545"/>
                    <a:pt x="7719" y="3844"/>
                  </a:cubicBezTo>
                  <a:cubicBezTo>
                    <a:pt x="7719" y="1733"/>
                    <a:pt x="5986" y="0"/>
                    <a:pt x="38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4" name="Google Shape;7464;p75"/>
          <p:cNvGrpSpPr/>
          <p:nvPr/>
        </p:nvGrpSpPr>
        <p:grpSpPr>
          <a:xfrm>
            <a:off x="2343904" y="3890573"/>
            <a:ext cx="418675" cy="477639"/>
            <a:chOff x="-46753100" y="1965500"/>
            <a:chExt cx="263075" cy="300125"/>
          </a:xfrm>
        </p:grpSpPr>
        <p:sp>
          <p:nvSpPr>
            <p:cNvPr id="7465" name="Google Shape;7465;p75"/>
            <p:cNvSpPr/>
            <p:nvPr/>
          </p:nvSpPr>
          <p:spPr>
            <a:xfrm>
              <a:off x="-46647575" y="2034825"/>
              <a:ext cx="53575" cy="53575"/>
            </a:xfrm>
            <a:custGeom>
              <a:avLst/>
              <a:gdLst/>
              <a:ahLst/>
              <a:cxnLst/>
              <a:rect l="l" t="t" r="r" b="b"/>
              <a:pathLst>
                <a:path w="2143" h="2143" extrusionOk="0">
                  <a:moveTo>
                    <a:pt x="1072" y="756"/>
                  </a:moveTo>
                  <a:cubicBezTo>
                    <a:pt x="1261" y="756"/>
                    <a:pt x="1418" y="914"/>
                    <a:pt x="1418" y="1103"/>
                  </a:cubicBezTo>
                  <a:cubicBezTo>
                    <a:pt x="1418" y="1323"/>
                    <a:pt x="1261" y="1481"/>
                    <a:pt x="1072" y="1481"/>
                  </a:cubicBezTo>
                  <a:cubicBezTo>
                    <a:pt x="883" y="1481"/>
                    <a:pt x="725" y="1323"/>
                    <a:pt x="725" y="1103"/>
                  </a:cubicBezTo>
                  <a:cubicBezTo>
                    <a:pt x="725" y="914"/>
                    <a:pt x="883" y="756"/>
                    <a:pt x="1072" y="756"/>
                  </a:cubicBezTo>
                  <a:close/>
                  <a:moveTo>
                    <a:pt x="1072" y="0"/>
                  </a:moveTo>
                  <a:cubicBezTo>
                    <a:pt x="473" y="0"/>
                    <a:pt x="1" y="473"/>
                    <a:pt x="1" y="1071"/>
                  </a:cubicBezTo>
                  <a:cubicBezTo>
                    <a:pt x="1" y="1670"/>
                    <a:pt x="473" y="2143"/>
                    <a:pt x="1072" y="2143"/>
                  </a:cubicBezTo>
                  <a:cubicBezTo>
                    <a:pt x="1670" y="2143"/>
                    <a:pt x="2143" y="1670"/>
                    <a:pt x="2143" y="1071"/>
                  </a:cubicBezTo>
                  <a:cubicBezTo>
                    <a:pt x="2143" y="473"/>
                    <a:pt x="1670"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6" name="Google Shape;7466;p75"/>
            <p:cNvSpPr/>
            <p:nvPr/>
          </p:nvSpPr>
          <p:spPr>
            <a:xfrm>
              <a:off x="-46753100" y="1965500"/>
              <a:ext cx="263075" cy="300125"/>
            </a:xfrm>
            <a:custGeom>
              <a:avLst/>
              <a:gdLst/>
              <a:ahLst/>
              <a:cxnLst/>
              <a:rect l="l" t="t" r="r" b="b"/>
              <a:pathLst>
                <a:path w="10523" h="12005" extrusionOk="0">
                  <a:moveTo>
                    <a:pt x="5293" y="694"/>
                  </a:moveTo>
                  <a:cubicBezTo>
                    <a:pt x="5765" y="694"/>
                    <a:pt x="6175" y="977"/>
                    <a:pt x="6270" y="1419"/>
                  </a:cubicBezTo>
                  <a:lnTo>
                    <a:pt x="4316" y="1419"/>
                  </a:lnTo>
                  <a:cubicBezTo>
                    <a:pt x="4442" y="977"/>
                    <a:pt x="4820" y="694"/>
                    <a:pt x="5293" y="694"/>
                  </a:cubicBezTo>
                  <a:close/>
                  <a:moveTo>
                    <a:pt x="3875" y="5766"/>
                  </a:moveTo>
                  <a:lnTo>
                    <a:pt x="5135" y="7026"/>
                  </a:lnTo>
                  <a:lnTo>
                    <a:pt x="2615" y="7026"/>
                  </a:lnTo>
                  <a:lnTo>
                    <a:pt x="3875" y="5766"/>
                  </a:lnTo>
                  <a:close/>
                  <a:moveTo>
                    <a:pt x="6679" y="5766"/>
                  </a:moveTo>
                  <a:lnTo>
                    <a:pt x="7939" y="7026"/>
                  </a:lnTo>
                  <a:lnTo>
                    <a:pt x="6144" y="7026"/>
                  </a:lnTo>
                  <a:lnTo>
                    <a:pt x="5797" y="6711"/>
                  </a:lnTo>
                  <a:lnTo>
                    <a:pt x="6679" y="5766"/>
                  </a:lnTo>
                  <a:close/>
                  <a:moveTo>
                    <a:pt x="8758" y="2112"/>
                  </a:moveTo>
                  <a:cubicBezTo>
                    <a:pt x="8947" y="2112"/>
                    <a:pt x="9105" y="2269"/>
                    <a:pt x="9105" y="2458"/>
                  </a:cubicBezTo>
                  <a:lnTo>
                    <a:pt x="9105" y="7089"/>
                  </a:lnTo>
                  <a:lnTo>
                    <a:pt x="8916" y="7089"/>
                  </a:lnTo>
                  <a:lnTo>
                    <a:pt x="6900" y="5073"/>
                  </a:lnTo>
                  <a:cubicBezTo>
                    <a:pt x="6825" y="4999"/>
                    <a:pt x="6744" y="4966"/>
                    <a:pt x="6662" y="4966"/>
                  </a:cubicBezTo>
                  <a:cubicBezTo>
                    <a:pt x="6571" y="4966"/>
                    <a:pt x="6479" y="5007"/>
                    <a:pt x="6396" y="5073"/>
                  </a:cubicBezTo>
                  <a:lnTo>
                    <a:pt x="5293" y="6239"/>
                  </a:lnTo>
                  <a:lnTo>
                    <a:pt x="4127" y="5073"/>
                  </a:lnTo>
                  <a:cubicBezTo>
                    <a:pt x="4064" y="5010"/>
                    <a:pt x="3970" y="4979"/>
                    <a:pt x="3871" y="4979"/>
                  </a:cubicBezTo>
                  <a:cubicBezTo>
                    <a:pt x="3773" y="4979"/>
                    <a:pt x="3670" y="5010"/>
                    <a:pt x="3592" y="5073"/>
                  </a:cubicBezTo>
                  <a:lnTo>
                    <a:pt x="1607" y="7089"/>
                  </a:lnTo>
                  <a:lnTo>
                    <a:pt x="1386" y="7089"/>
                  </a:lnTo>
                  <a:lnTo>
                    <a:pt x="1386" y="2458"/>
                  </a:lnTo>
                  <a:cubicBezTo>
                    <a:pt x="1449" y="2269"/>
                    <a:pt x="1607" y="2112"/>
                    <a:pt x="1764" y="2112"/>
                  </a:cubicBezTo>
                  <a:close/>
                  <a:moveTo>
                    <a:pt x="9168" y="7751"/>
                  </a:moveTo>
                  <a:lnTo>
                    <a:pt x="9168" y="8444"/>
                  </a:lnTo>
                  <a:lnTo>
                    <a:pt x="1449" y="8444"/>
                  </a:lnTo>
                  <a:lnTo>
                    <a:pt x="1449" y="7751"/>
                  </a:lnTo>
                  <a:close/>
                  <a:moveTo>
                    <a:pt x="7782" y="9137"/>
                  </a:moveTo>
                  <a:lnTo>
                    <a:pt x="7971" y="9830"/>
                  </a:lnTo>
                  <a:lnTo>
                    <a:pt x="2552" y="9830"/>
                  </a:lnTo>
                  <a:lnTo>
                    <a:pt x="2709" y="9137"/>
                  </a:lnTo>
                  <a:close/>
                  <a:moveTo>
                    <a:pt x="5261" y="1"/>
                  </a:moveTo>
                  <a:cubicBezTo>
                    <a:pt x="4411" y="1"/>
                    <a:pt x="3686" y="568"/>
                    <a:pt x="3529" y="1419"/>
                  </a:cubicBezTo>
                  <a:lnTo>
                    <a:pt x="1764" y="1419"/>
                  </a:lnTo>
                  <a:cubicBezTo>
                    <a:pt x="1166" y="1419"/>
                    <a:pt x="693" y="1891"/>
                    <a:pt x="693" y="2458"/>
                  </a:cubicBezTo>
                  <a:lnTo>
                    <a:pt x="693" y="8444"/>
                  </a:lnTo>
                  <a:lnTo>
                    <a:pt x="347" y="8444"/>
                  </a:lnTo>
                  <a:cubicBezTo>
                    <a:pt x="158" y="8444"/>
                    <a:pt x="0" y="8602"/>
                    <a:pt x="0" y="8822"/>
                  </a:cubicBezTo>
                  <a:cubicBezTo>
                    <a:pt x="0" y="9011"/>
                    <a:pt x="158" y="9169"/>
                    <a:pt x="347" y="9169"/>
                  </a:cubicBezTo>
                  <a:lnTo>
                    <a:pt x="1985" y="9169"/>
                  </a:lnTo>
                  <a:cubicBezTo>
                    <a:pt x="1922" y="9484"/>
                    <a:pt x="1481" y="11217"/>
                    <a:pt x="1418" y="11563"/>
                  </a:cubicBezTo>
                  <a:cubicBezTo>
                    <a:pt x="1355" y="11752"/>
                    <a:pt x="1481" y="11973"/>
                    <a:pt x="1670" y="12004"/>
                  </a:cubicBezTo>
                  <a:lnTo>
                    <a:pt x="1764" y="12004"/>
                  </a:lnTo>
                  <a:cubicBezTo>
                    <a:pt x="1922" y="12004"/>
                    <a:pt x="2079" y="11878"/>
                    <a:pt x="2111" y="11721"/>
                  </a:cubicBezTo>
                  <a:lnTo>
                    <a:pt x="2394" y="10586"/>
                  </a:lnTo>
                  <a:lnTo>
                    <a:pt x="8128" y="10586"/>
                  </a:lnTo>
                  <a:lnTo>
                    <a:pt x="8412" y="11721"/>
                  </a:lnTo>
                  <a:cubicBezTo>
                    <a:pt x="8443" y="11878"/>
                    <a:pt x="8601" y="12004"/>
                    <a:pt x="8758" y="12004"/>
                  </a:cubicBezTo>
                  <a:lnTo>
                    <a:pt x="8853" y="12004"/>
                  </a:lnTo>
                  <a:cubicBezTo>
                    <a:pt x="9042" y="11973"/>
                    <a:pt x="9168" y="11752"/>
                    <a:pt x="9105" y="11563"/>
                  </a:cubicBezTo>
                  <a:cubicBezTo>
                    <a:pt x="9042" y="11217"/>
                    <a:pt x="8601" y="9484"/>
                    <a:pt x="8538" y="9169"/>
                  </a:cubicBezTo>
                  <a:lnTo>
                    <a:pt x="10176" y="9169"/>
                  </a:lnTo>
                  <a:cubicBezTo>
                    <a:pt x="10365" y="9169"/>
                    <a:pt x="10523" y="9011"/>
                    <a:pt x="10523" y="8822"/>
                  </a:cubicBezTo>
                  <a:cubicBezTo>
                    <a:pt x="10523" y="8602"/>
                    <a:pt x="10365" y="8444"/>
                    <a:pt x="10176" y="8444"/>
                  </a:cubicBezTo>
                  <a:lnTo>
                    <a:pt x="9830" y="8444"/>
                  </a:lnTo>
                  <a:lnTo>
                    <a:pt x="9830" y="2458"/>
                  </a:lnTo>
                  <a:cubicBezTo>
                    <a:pt x="9830" y="1891"/>
                    <a:pt x="9357" y="1419"/>
                    <a:pt x="8758" y="1419"/>
                  </a:cubicBezTo>
                  <a:lnTo>
                    <a:pt x="6994" y="1419"/>
                  </a:lnTo>
                  <a:cubicBezTo>
                    <a:pt x="6837" y="631"/>
                    <a:pt x="6144" y="1"/>
                    <a:pt x="5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67" name="Google Shape;7467;p75"/>
          <p:cNvGrpSpPr/>
          <p:nvPr/>
        </p:nvGrpSpPr>
        <p:grpSpPr>
          <a:xfrm>
            <a:off x="2313805" y="4513523"/>
            <a:ext cx="478872" cy="421221"/>
            <a:chOff x="-46772025" y="2350650"/>
            <a:chExt cx="300900" cy="264675"/>
          </a:xfrm>
        </p:grpSpPr>
        <p:sp>
          <p:nvSpPr>
            <p:cNvPr id="7468" name="Google Shape;7468;p75"/>
            <p:cNvSpPr/>
            <p:nvPr/>
          </p:nvSpPr>
          <p:spPr>
            <a:xfrm>
              <a:off x="-46772025" y="2350650"/>
              <a:ext cx="300900" cy="264675"/>
            </a:xfrm>
            <a:custGeom>
              <a:avLst/>
              <a:gdLst/>
              <a:ahLst/>
              <a:cxnLst/>
              <a:rect l="l" t="t" r="r" b="b"/>
              <a:pathLst>
                <a:path w="12036" h="10587" extrusionOk="0">
                  <a:moveTo>
                    <a:pt x="6050" y="820"/>
                  </a:moveTo>
                  <a:cubicBezTo>
                    <a:pt x="7184" y="820"/>
                    <a:pt x="8287" y="1229"/>
                    <a:pt x="9169" y="1985"/>
                  </a:cubicBezTo>
                  <a:cubicBezTo>
                    <a:pt x="9326" y="2111"/>
                    <a:pt x="9326" y="2332"/>
                    <a:pt x="9169" y="2458"/>
                  </a:cubicBezTo>
                  <a:lnTo>
                    <a:pt x="9137" y="2490"/>
                  </a:lnTo>
                  <a:cubicBezTo>
                    <a:pt x="9064" y="2533"/>
                    <a:pt x="8978" y="2557"/>
                    <a:pt x="8896" y="2557"/>
                  </a:cubicBezTo>
                  <a:cubicBezTo>
                    <a:pt x="8802" y="2557"/>
                    <a:pt x="8715" y="2526"/>
                    <a:pt x="8665" y="2458"/>
                  </a:cubicBezTo>
                  <a:cubicBezTo>
                    <a:pt x="7940" y="1828"/>
                    <a:pt x="7027" y="1481"/>
                    <a:pt x="6050" y="1481"/>
                  </a:cubicBezTo>
                  <a:cubicBezTo>
                    <a:pt x="5073" y="1481"/>
                    <a:pt x="4160" y="1828"/>
                    <a:pt x="3466" y="2458"/>
                  </a:cubicBezTo>
                  <a:cubicBezTo>
                    <a:pt x="3378" y="2529"/>
                    <a:pt x="3270" y="2570"/>
                    <a:pt x="3175" y="2570"/>
                  </a:cubicBezTo>
                  <a:cubicBezTo>
                    <a:pt x="3101" y="2570"/>
                    <a:pt x="3035" y="2545"/>
                    <a:pt x="2994" y="2490"/>
                  </a:cubicBezTo>
                  <a:lnTo>
                    <a:pt x="2931" y="2458"/>
                  </a:lnTo>
                  <a:cubicBezTo>
                    <a:pt x="2836" y="2301"/>
                    <a:pt x="2836" y="2111"/>
                    <a:pt x="2931" y="1985"/>
                  </a:cubicBezTo>
                  <a:cubicBezTo>
                    <a:pt x="3782" y="1198"/>
                    <a:pt x="4884" y="820"/>
                    <a:pt x="6050" y="820"/>
                  </a:cubicBezTo>
                  <a:close/>
                  <a:moveTo>
                    <a:pt x="1450" y="7152"/>
                  </a:moveTo>
                  <a:lnTo>
                    <a:pt x="1450" y="9106"/>
                  </a:lnTo>
                  <a:cubicBezTo>
                    <a:pt x="1041" y="9011"/>
                    <a:pt x="726" y="8601"/>
                    <a:pt x="726" y="8129"/>
                  </a:cubicBezTo>
                  <a:cubicBezTo>
                    <a:pt x="726" y="7656"/>
                    <a:pt x="1009" y="7278"/>
                    <a:pt x="1450" y="7152"/>
                  </a:cubicBezTo>
                  <a:close/>
                  <a:moveTo>
                    <a:pt x="10618" y="7152"/>
                  </a:moveTo>
                  <a:cubicBezTo>
                    <a:pt x="11028" y="7310"/>
                    <a:pt x="11343" y="7688"/>
                    <a:pt x="11343" y="8129"/>
                  </a:cubicBezTo>
                  <a:cubicBezTo>
                    <a:pt x="11343" y="8601"/>
                    <a:pt x="11059" y="9011"/>
                    <a:pt x="10618" y="9106"/>
                  </a:cubicBezTo>
                  <a:lnTo>
                    <a:pt x="10618" y="7152"/>
                  </a:lnTo>
                  <a:close/>
                  <a:moveTo>
                    <a:pt x="2521" y="6396"/>
                  </a:moveTo>
                  <a:cubicBezTo>
                    <a:pt x="2710" y="6396"/>
                    <a:pt x="2868" y="6554"/>
                    <a:pt x="2868" y="6743"/>
                  </a:cubicBezTo>
                  <a:lnTo>
                    <a:pt x="2868" y="9547"/>
                  </a:lnTo>
                  <a:cubicBezTo>
                    <a:pt x="2868" y="9736"/>
                    <a:pt x="2710" y="9893"/>
                    <a:pt x="2521" y="9893"/>
                  </a:cubicBezTo>
                  <a:cubicBezTo>
                    <a:pt x="2301" y="9893"/>
                    <a:pt x="2175" y="9736"/>
                    <a:pt x="2175" y="9547"/>
                  </a:cubicBezTo>
                  <a:lnTo>
                    <a:pt x="2175" y="6743"/>
                  </a:lnTo>
                  <a:cubicBezTo>
                    <a:pt x="2175" y="6554"/>
                    <a:pt x="2301" y="6396"/>
                    <a:pt x="2521" y="6396"/>
                  </a:cubicBezTo>
                  <a:close/>
                  <a:moveTo>
                    <a:pt x="9547" y="6396"/>
                  </a:moveTo>
                  <a:cubicBezTo>
                    <a:pt x="9767" y="6396"/>
                    <a:pt x="9925" y="6554"/>
                    <a:pt x="9925" y="6743"/>
                  </a:cubicBezTo>
                  <a:lnTo>
                    <a:pt x="9925" y="9547"/>
                  </a:lnTo>
                  <a:cubicBezTo>
                    <a:pt x="9925" y="9736"/>
                    <a:pt x="9767" y="9893"/>
                    <a:pt x="9547" y="9893"/>
                  </a:cubicBezTo>
                  <a:cubicBezTo>
                    <a:pt x="9358" y="9893"/>
                    <a:pt x="9200" y="9736"/>
                    <a:pt x="9200" y="9547"/>
                  </a:cubicBezTo>
                  <a:lnTo>
                    <a:pt x="9200" y="6743"/>
                  </a:lnTo>
                  <a:cubicBezTo>
                    <a:pt x="9200" y="6554"/>
                    <a:pt x="9358" y="6396"/>
                    <a:pt x="9547" y="6396"/>
                  </a:cubicBezTo>
                  <a:close/>
                  <a:moveTo>
                    <a:pt x="6018" y="1"/>
                  </a:moveTo>
                  <a:cubicBezTo>
                    <a:pt x="4664" y="1"/>
                    <a:pt x="3403" y="473"/>
                    <a:pt x="2427" y="1387"/>
                  </a:cubicBezTo>
                  <a:cubicBezTo>
                    <a:pt x="2080" y="1733"/>
                    <a:pt x="1986" y="2269"/>
                    <a:pt x="2238" y="2679"/>
                  </a:cubicBezTo>
                  <a:cubicBezTo>
                    <a:pt x="1671" y="3435"/>
                    <a:pt x="1419" y="4348"/>
                    <a:pt x="1419" y="5293"/>
                  </a:cubicBezTo>
                  <a:lnTo>
                    <a:pt x="1419" y="6396"/>
                  </a:lnTo>
                  <a:cubicBezTo>
                    <a:pt x="631" y="6554"/>
                    <a:pt x="1" y="7247"/>
                    <a:pt x="1" y="8129"/>
                  </a:cubicBezTo>
                  <a:cubicBezTo>
                    <a:pt x="1" y="8980"/>
                    <a:pt x="631" y="9704"/>
                    <a:pt x="1450" y="9862"/>
                  </a:cubicBezTo>
                  <a:cubicBezTo>
                    <a:pt x="1576" y="10303"/>
                    <a:pt x="1986" y="10586"/>
                    <a:pt x="2427" y="10586"/>
                  </a:cubicBezTo>
                  <a:cubicBezTo>
                    <a:pt x="3025" y="10586"/>
                    <a:pt x="3498" y="10114"/>
                    <a:pt x="3498" y="9515"/>
                  </a:cubicBezTo>
                  <a:lnTo>
                    <a:pt x="3498" y="6711"/>
                  </a:lnTo>
                  <a:cubicBezTo>
                    <a:pt x="3498" y="6113"/>
                    <a:pt x="3025" y="5640"/>
                    <a:pt x="2427" y="5640"/>
                  </a:cubicBezTo>
                  <a:cubicBezTo>
                    <a:pt x="2301" y="5640"/>
                    <a:pt x="2206" y="5703"/>
                    <a:pt x="2080" y="5735"/>
                  </a:cubicBezTo>
                  <a:lnTo>
                    <a:pt x="2080" y="5325"/>
                  </a:lnTo>
                  <a:cubicBezTo>
                    <a:pt x="2080" y="4537"/>
                    <a:pt x="2301" y="3844"/>
                    <a:pt x="2710" y="3214"/>
                  </a:cubicBezTo>
                  <a:cubicBezTo>
                    <a:pt x="2827" y="3263"/>
                    <a:pt x="2948" y="3285"/>
                    <a:pt x="3067" y="3285"/>
                  </a:cubicBezTo>
                  <a:cubicBezTo>
                    <a:pt x="3333" y="3285"/>
                    <a:pt x="3596" y="3177"/>
                    <a:pt x="3813" y="3025"/>
                  </a:cubicBezTo>
                  <a:cubicBezTo>
                    <a:pt x="4412" y="2490"/>
                    <a:pt x="5136" y="2238"/>
                    <a:pt x="5924" y="2238"/>
                  </a:cubicBezTo>
                  <a:cubicBezTo>
                    <a:pt x="6711" y="2238"/>
                    <a:pt x="7499" y="2490"/>
                    <a:pt x="8066" y="3025"/>
                  </a:cubicBezTo>
                  <a:cubicBezTo>
                    <a:pt x="8276" y="3193"/>
                    <a:pt x="8542" y="3291"/>
                    <a:pt x="8799" y="3291"/>
                  </a:cubicBezTo>
                  <a:cubicBezTo>
                    <a:pt x="8927" y="3291"/>
                    <a:pt x="9053" y="3267"/>
                    <a:pt x="9169" y="3214"/>
                  </a:cubicBezTo>
                  <a:cubicBezTo>
                    <a:pt x="9610" y="3844"/>
                    <a:pt x="9799" y="4600"/>
                    <a:pt x="9799" y="5325"/>
                  </a:cubicBezTo>
                  <a:lnTo>
                    <a:pt x="9799" y="5735"/>
                  </a:lnTo>
                  <a:cubicBezTo>
                    <a:pt x="9673" y="5703"/>
                    <a:pt x="9547" y="5640"/>
                    <a:pt x="9452" y="5640"/>
                  </a:cubicBezTo>
                  <a:cubicBezTo>
                    <a:pt x="8854" y="5640"/>
                    <a:pt x="8381" y="6113"/>
                    <a:pt x="8381" y="6711"/>
                  </a:cubicBezTo>
                  <a:lnTo>
                    <a:pt x="8381" y="9515"/>
                  </a:lnTo>
                  <a:cubicBezTo>
                    <a:pt x="8381" y="10114"/>
                    <a:pt x="8854" y="10586"/>
                    <a:pt x="9452" y="10586"/>
                  </a:cubicBezTo>
                  <a:cubicBezTo>
                    <a:pt x="9925" y="10586"/>
                    <a:pt x="10303" y="10271"/>
                    <a:pt x="10429" y="9862"/>
                  </a:cubicBezTo>
                  <a:cubicBezTo>
                    <a:pt x="11406" y="9704"/>
                    <a:pt x="12036" y="9011"/>
                    <a:pt x="12036" y="8129"/>
                  </a:cubicBezTo>
                  <a:cubicBezTo>
                    <a:pt x="12036" y="7278"/>
                    <a:pt x="11437" y="6554"/>
                    <a:pt x="10618" y="6396"/>
                  </a:cubicBezTo>
                  <a:lnTo>
                    <a:pt x="10618" y="5293"/>
                  </a:lnTo>
                  <a:cubicBezTo>
                    <a:pt x="10618" y="4348"/>
                    <a:pt x="10335" y="3435"/>
                    <a:pt x="9799" y="2679"/>
                  </a:cubicBezTo>
                  <a:cubicBezTo>
                    <a:pt x="10020" y="2269"/>
                    <a:pt x="9957" y="1733"/>
                    <a:pt x="9610" y="1387"/>
                  </a:cubicBezTo>
                  <a:cubicBezTo>
                    <a:pt x="8602" y="473"/>
                    <a:pt x="7342"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69" name="Google Shape;7469;p75"/>
            <p:cNvSpPr/>
            <p:nvPr/>
          </p:nvSpPr>
          <p:spPr>
            <a:xfrm>
              <a:off x="-46664900" y="2475100"/>
              <a:ext cx="92175" cy="122900"/>
            </a:xfrm>
            <a:custGeom>
              <a:avLst/>
              <a:gdLst/>
              <a:ahLst/>
              <a:cxnLst/>
              <a:rect l="l" t="t" r="r" b="b"/>
              <a:pathLst>
                <a:path w="3687" h="4916" extrusionOk="0">
                  <a:moveTo>
                    <a:pt x="1072" y="3497"/>
                  </a:moveTo>
                  <a:cubicBezTo>
                    <a:pt x="1261" y="3497"/>
                    <a:pt x="1418" y="3655"/>
                    <a:pt x="1418" y="3876"/>
                  </a:cubicBezTo>
                  <a:cubicBezTo>
                    <a:pt x="1418" y="4065"/>
                    <a:pt x="1261" y="4222"/>
                    <a:pt x="1072" y="4222"/>
                  </a:cubicBezTo>
                  <a:cubicBezTo>
                    <a:pt x="851" y="4222"/>
                    <a:pt x="694" y="4065"/>
                    <a:pt x="694" y="3876"/>
                  </a:cubicBezTo>
                  <a:cubicBezTo>
                    <a:pt x="694" y="3655"/>
                    <a:pt x="851" y="3497"/>
                    <a:pt x="1072" y="3497"/>
                  </a:cubicBezTo>
                  <a:close/>
                  <a:moveTo>
                    <a:pt x="1765" y="0"/>
                  </a:moveTo>
                  <a:cubicBezTo>
                    <a:pt x="1576" y="0"/>
                    <a:pt x="1418" y="158"/>
                    <a:pt x="1418" y="347"/>
                  </a:cubicBezTo>
                  <a:lnTo>
                    <a:pt x="1418" y="2867"/>
                  </a:lnTo>
                  <a:cubicBezTo>
                    <a:pt x="1292" y="2836"/>
                    <a:pt x="1166" y="2804"/>
                    <a:pt x="1072" y="2804"/>
                  </a:cubicBezTo>
                  <a:cubicBezTo>
                    <a:pt x="473" y="2804"/>
                    <a:pt x="1" y="3277"/>
                    <a:pt x="1" y="3876"/>
                  </a:cubicBezTo>
                  <a:cubicBezTo>
                    <a:pt x="1" y="4443"/>
                    <a:pt x="473" y="4915"/>
                    <a:pt x="1072" y="4915"/>
                  </a:cubicBezTo>
                  <a:cubicBezTo>
                    <a:pt x="1670" y="4915"/>
                    <a:pt x="2143" y="4443"/>
                    <a:pt x="2143" y="3876"/>
                  </a:cubicBezTo>
                  <a:lnTo>
                    <a:pt x="2143" y="1450"/>
                  </a:lnTo>
                  <a:cubicBezTo>
                    <a:pt x="2363" y="1544"/>
                    <a:pt x="2521" y="1702"/>
                    <a:pt x="2616" y="1828"/>
                  </a:cubicBezTo>
                  <a:cubicBezTo>
                    <a:pt x="2868" y="2143"/>
                    <a:pt x="2962" y="2615"/>
                    <a:pt x="2836" y="3088"/>
                  </a:cubicBezTo>
                  <a:cubicBezTo>
                    <a:pt x="2805" y="3308"/>
                    <a:pt x="2962" y="3497"/>
                    <a:pt x="3183" y="3497"/>
                  </a:cubicBezTo>
                  <a:cubicBezTo>
                    <a:pt x="3340" y="3497"/>
                    <a:pt x="3498" y="3403"/>
                    <a:pt x="3529" y="3245"/>
                  </a:cubicBezTo>
                  <a:cubicBezTo>
                    <a:pt x="3687" y="2552"/>
                    <a:pt x="3592" y="1859"/>
                    <a:pt x="3183" y="1355"/>
                  </a:cubicBezTo>
                  <a:cubicBezTo>
                    <a:pt x="2868" y="1040"/>
                    <a:pt x="2521" y="820"/>
                    <a:pt x="2111" y="757"/>
                  </a:cubicBezTo>
                  <a:lnTo>
                    <a:pt x="2111" y="347"/>
                  </a:ln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70" name="Google Shape;7470;p75"/>
          <p:cNvGrpSpPr/>
          <p:nvPr/>
        </p:nvGrpSpPr>
        <p:grpSpPr>
          <a:xfrm>
            <a:off x="2313805" y="5092560"/>
            <a:ext cx="478872" cy="478872"/>
            <a:chOff x="-46772025" y="2701925"/>
            <a:chExt cx="300900" cy="300900"/>
          </a:xfrm>
        </p:grpSpPr>
        <p:sp>
          <p:nvSpPr>
            <p:cNvPr id="7471" name="Google Shape;7471;p75"/>
            <p:cNvSpPr/>
            <p:nvPr/>
          </p:nvSpPr>
          <p:spPr>
            <a:xfrm>
              <a:off x="-46647575" y="2826375"/>
              <a:ext cx="53575" cy="53575"/>
            </a:xfrm>
            <a:custGeom>
              <a:avLst/>
              <a:gdLst/>
              <a:ahLst/>
              <a:cxnLst/>
              <a:rect l="l" t="t" r="r" b="b"/>
              <a:pathLst>
                <a:path w="2143" h="2143" extrusionOk="0">
                  <a:moveTo>
                    <a:pt x="1072" y="694"/>
                  </a:moveTo>
                  <a:cubicBezTo>
                    <a:pt x="1261" y="694"/>
                    <a:pt x="1418" y="851"/>
                    <a:pt x="1418" y="1040"/>
                  </a:cubicBezTo>
                  <a:cubicBezTo>
                    <a:pt x="1418" y="1229"/>
                    <a:pt x="1261" y="1387"/>
                    <a:pt x="1072" y="1387"/>
                  </a:cubicBezTo>
                  <a:cubicBezTo>
                    <a:pt x="883" y="1387"/>
                    <a:pt x="725" y="1229"/>
                    <a:pt x="725" y="1040"/>
                  </a:cubicBezTo>
                  <a:cubicBezTo>
                    <a:pt x="725" y="851"/>
                    <a:pt x="883" y="694"/>
                    <a:pt x="1072" y="694"/>
                  </a:cubicBezTo>
                  <a:close/>
                  <a:moveTo>
                    <a:pt x="1072" y="1"/>
                  </a:moveTo>
                  <a:cubicBezTo>
                    <a:pt x="473" y="1"/>
                    <a:pt x="1" y="473"/>
                    <a:pt x="1" y="1072"/>
                  </a:cubicBezTo>
                  <a:cubicBezTo>
                    <a:pt x="1" y="1670"/>
                    <a:pt x="473" y="2143"/>
                    <a:pt x="1072" y="2143"/>
                  </a:cubicBezTo>
                  <a:cubicBezTo>
                    <a:pt x="1670" y="2143"/>
                    <a:pt x="2143" y="1670"/>
                    <a:pt x="2143" y="1072"/>
                  </a:cubicBezTo>
                  <a:cubicBezTo>
                    <a:pt x="2112" y="473"/>
                    <a:pt x="1639"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2" name="Google Shape;7472;p75"/>
            <p:cNvSpPr/>
            <p:nvPr/>
          </p:nvSpPr>
          <p:spPr>
            <a:xfrm>
              <a:off x="-46772025" y="2701925"/>
              <a:ext cx="300900" cy="300900"/>
            </a:xfrm>
            <a:custGeom>
              <a:avLst/>
              <a:gdLst/>
              <a:ahLst/>
              <a:cxnLst/>
              <a:rect l="l" t="t" r="r" b="b"/>
              <a:pathLst>
                <a:path w="12036" h="12036" extrusionOk="0">
                  <a:moveTo>
                    <a:pt x="6365" y="1482"/>
                  </a:moveTo>
                  <a:cubicBezTo>
                    <a:pt x="8602" y="1639"/>
                    <a:pt x="10429" y="3466"/>
                    <a:pt x="10587" y="5672"/>
                  </a:cubicBezTo>
                  <a:lnTo>
                    <a:pt x="9862" y="5672"/>
                  </a:lnTo>
                  <a:cubicBezTo>
                    <a:pt x="9704" y="3813"/>
                    <a:pt x="8224" y="2301"/>
                    <a:pt x="6365" y="2143"/>
                  </a:cubicBezTo>
                  <a:lnTo>
                    <a:pt x="6365" y="1482"/>
                  </a:lnTo>
                  <a:close/>
                  <a:moveTo>
                    <a:pt x="5703" y="1482"/>
                  </a:moveTo>
                  <a:lnTo>
                    <a:pt x="5703" y="2206"/>
                  </a:lnTo>
                  <a:cubicBezTo>
                    <a:pt x="3845" y="2364"/>
                    <a:pt x="2364" y="3844"/>
                    <a:pt x="2206" y="5703"/>
                  </a:cubicBezTo>
                  <a:lnTo>
                    <a:pt x="1482" y="5703"/>
                  </a:lnTo>
                  <a:cubicBezTo>
                    <a:pt x="1639" y="3466"/>
                    <a:pt x="3466" y="1639"/>
                    <a:pt x="5703" y="1482"/>
                  </a:cubicBezTo>
                  <a:close/>
                  <a:moveTo>
                    <a:pt x="6365" y="2868"/>
                  </a:moveTo>
                  <a:cubicBezTo>
                    <a:pt x="7814" y="3025"/>
                    <a:pt x="9011" y="4191"/>
                    <a:pt x="9169" y="5672"/>
                  </a:cubicBezTo>
                  <a:lnTo>
                    <a:pt x="8854" y="5672"/>
                  </a:lnTo>
                  <a:cubicBezTo>
                    <a:pt x="8665" y="5672"/>
                    <a:pt x="8507" y="5829"/>
                    <a:pt x="8507" y="6018"/>
                  </a:cubicBezTo>
                  <a:cubicBezTo>
                    <a:pt x="8507" y="6207"/>
                    <a:pt x="8665" y="6365"/>
                    <a:pt x="8854" y="6365"/>
                  </a:cubicBezTo>
                  <a:lnTo>
                    <a:pt x="9169" y="6365"/>
                  </a:lnTo>
                  <a:cubicBezTo>
                    <a:pt x="9011" y="7814"/>
                    <a:pt x="7846" y="9011"/>
                    <a:pt x="6365" y="9169"/>
                  </a:cubicBezTo>
                  <a:lnTo>
                    <a:pt x="6365" y="8854"/>
                  </a:lnTo>
                  <a:cubicBezTo>
                    <a:pt x="6365" y="8665"/>
                    <a:pt x="6207" y="8507"/>
                    <a:pt x="6018" y="8507"/>
                  </a:cubicBezTo>
                  <a:cubicBezTo>
                    <a:pt x="5829" y="8507"/>
                    <a:pt x="5672" y="8665"/>
                    <a:pt x="5672" y="8854"/>
                  </a:cubicBezTo>
                  <a:lnTo>
                    <a:pt x="5672" y="9169"/>
                  </a:lnTo>
                  <a:cubicBezTo>
                    <a:pt x="4223" y="9011"/>
                    <a:pt x="3025" y="7814"/>
                    <a:pt x="2868" y="6365"/>
                  </a:cubicBezTo>
                  <a:lnTo>
                    <a:pt x="3183" y="6365"/>
                  </a:lnTo>
                  <a:cubicBezTo>
                    <a:pt x="3372" y="6365"/>
                    <a:pt x="3529" y="6207"/>
                    <a:pt x="3529" y="6018"/>
                  </a:cubicBezTo>
                  <a:cubicBezTo>
                    <a:pt x="3529" y="5829"/>
                    <a:pt x="3372" y="5672"/>
                    <a:pt x="3183" y="5672"/>
                  </a:cubicBezTo>
                  <a:lnTo>
                    <a:pt x="2868" y="5672"/>
                  </a:lnTo>
                  <a:cubicBezTo>
                    <a:pt x="3025" y="4191"/>
                    <a:pt x="4191" y="3025"/>
                    <a:pt x="5672" y="2868"/>
                  </a:cubicBezTo>
                  <a:lnTo>
                    <a:pt x="5672" y="3183"/>
                  </a:lnTo>
                  <a:cubicBezTo>
                    <a:pt x="5672" y="3372"/>
                    <a:pt x="5829" y="3529"/>
                    <a:pt x="6018" y="3529"/>
                  </a:cubicBezTo>
                  <a:cubicBezTo>
                    <a:pt x="6207" y="3529"/>
                    <a:pt x="6365" y="3372"/>
                    <a:pt x="6365" y="3183"/>
                  </a:cubicBezTo>
                  <a:lnTo>
                    <a:pt x="6365" y="2868"/>
                  </a:lnTo>
                  <a:close/>
                  <a:moveTo>
                    <a:pt x="2206" y="6365"/>
                  </a:moveTo>
                  <a:cubicBezTo>
                    <a:pt x="2364" y="8224"/>
                    <a:pt x="3845" y="9704"/>
                    <a:pt x="5703" y="9862"/>
                  </a:cubicBezTo>
                  <a:lnTo>
                    <a:pt x="5703" y="10586"/>
                  </a:lnTo>
                  <a:cubicBezTo>
                    <a:pt x="3466" y="10429"/>
                    <a:pt x="1639" y="8602"/>
                    <a:pt x="1482" y="6365"/>
                  </a:cubicBezTo>
                  <a:close/>
                  <a:moveTo>
                    <a:pt x="10618" y="6365"/>
                  </a:moveTo>
                  <a:cubicBezTo>
                    <a:pt x="10429" y="8602"/>
                    <a:pt x="8602" y="10429"/>
                    <a:pt x="6396" y="10586"/>
                  </a:cubicBezTo>
                  <a:lnTo>
                    <a:pt x="6396" y="9862"/>
                  </a:lnTo>
                  <a:cubicBezTo>
                    <a:pt x="8255" y="9704"/>
                    <a:pt x="9767" y="8224"/>
                    <a:pt x="9925" y="6365"/>
                  </a:cubicBezTo>
                  <a:close/>
                  <a:moveTo>
                    <a:pt x="6018" y="1"/>
                  </a:moveTo>
                  <a:cubicBezTo>
                    <a:pt x="5829" y="1"/>
                    <a:pt x="5672" y="158"/>
                    <a:pt x="5672" y="347"/>
                  </a:cubicBezTo>
                  <a:lnTo>
                    <a:pt x="5672" y="725"/>
                  </a:lnTo>
                  <a:cubicBezTo>
                    <a:pt x="4412" y="820"/>
                    <a:pt x="3183" y="1356"/>
                    <a:pt x="2269" y="2269"/>
                  </a:cubicBezTo>
                  <a:cubicBezTo>
                    <a:pt x="1387" y="3183"/>
                    <a:pt x="820" y="4348"/>
                    <a:pt x="757" y="5672"/>
                  </a:cubicBezTo>
                  <a:lnTo>
                    <a:pt x="347" y="5672"/>
                  </a:lnTo>
                  <a:cubicBezTo>
                    <a:pt x="158" y="5672"/>
                    <a:pt x="1" y="5829"/>
                    <a:pt x="1" y="6018"/>
                  </a:cubicBezTo>
                  <a:cubicBezTo>
                    <a:pt x="1" y="6207"/>
                    <a:pt x="158" y="6365"/>
                    <a:pt x="347" y="6365"/>
                  </a:cubicBezTo>
                  <a:lnTo>
                    <a:pt x="757" y="6365"/>
                  </a:lnTo>
                  <a:cubicBezTo>
                    <a:pt x="820" y="7625"/>
                    <a:pt x="1387" y="8854"/>
                    <a:pt x="2269" y="9767"/>
                  </a:cubicBezTo>
                  <a:cubicBezTo>
                    <a:pt x="3183" y="10649"/>
                    <a:pt x="4380" y="11217"/>
                    <a:pt x="5672" y="11280"/>
                  </a:cubicBezTo>
                  <a:lnTo>
                    <a:pt x="5672" y="11689"/>
                  </a:lnTo>
                  <a:cubicBezTo>
                    <a:pt x="5672" y="11878"/>
                    <a:pt x="5829" y="12036"/>
                    <a:pt x="6018" y="12036"/>
                  </a:cubicBezTo>
                  <a:cubicBezTo>
                    <a:pt x="6207" y="12036"/>
                    <a:pt x="6365" y="11878"/>
                    <a:pt x="6365" y="11689"/>
                  </a:cubicBezTo>
                  <a:lnTo>
                    <a:pt x="6365" y="11280"/>
                  </a:lnTo>
                  <a:cubicBezTo>
                    <a:pt x="7625" y="11217"/>
                    <a:pt x="8854" y="10649"/>
                    <a:pt x="9767" y="9767"/>
                  </a:cubicBezTo>
                  <a:cubicBezTo>
                    <a:pt x="10681" y="8854"/>
                    <a:pt x="11217" y="7656"/>
                    <a:pt x="11280" y="6365"/>
                  </a:cubicBezTo>
                  <a:lnTo>
                    <a:pt x="11689" y="6365"/>
                  </a:lnTo>
                  <a:cubicBezTo>
                    <a:pt x="11878" y="6365"/>
                    <a:pt x="12036" y="6207"/>
                    <a:pt x="12036" y="6018"/>
                  </a:cubicBezTo>
                  <a:cubicBezTo>
                    <a:pt x="12036" y="5829"/>
                    <a:pt x="11878" y="5672"/>
                    <a:pt x="11689" y="5672"/>
                  </a:cubicBezTo>
                  <a:lnTo>
                    <a:pt x="11280" y="5672"/>
                  </a:lnTo>
                  <a:cubicBezTo>
                    <a:pt x="11217" y="4411"/>
                    <a:pt x="10650" y="3183"/>
                    <a:pt x="9767" y="2269"/>
                  </a:cubicBezTo>
                  <a:cubicBezTo>
                    <a:pt x="8854" y="1356"/>
                    <a:pt x="7688" y="820"/>
                    <a:pt x="6365" y="725"/>
                  </a:cubicBezTo>
                  <a:lnTo>
                    <a:pt x="6365" y="347"/>
                  </a:lnTo>
                  <a:cubicBezTo>
                    <a:pt x="6365" y="158"/>
                    <a:pt x="6207"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473" name="Google Shape;7473;p75"/>
          <p:cNvSpPr/>
          <p:nvPr/>
        </p:nvSpPr>
        <p:spPr>
          <a:xfrm>
            <a:off x="5286482" y="3946815"/>
            <a:ext cx="477599" cy="478872"/>
          </a:xfrm>
          <a:custGeom>
            <a:avLst/>
            <a:gdLst/>
            <a:ahLst/>
            <a:cxnLst/>
            <a:rect l="l" t="t" r="r" b="b"/>
            <a:pathLst>
              <a:path w="12004" h="12036" extrusionOk="0">
                <a:moveTo>
                  <a:pt x="10933" y="4947"/>
                </a:moveTo>
                <a:cubicBezTo>
                  <a:pt x="11122" y="4947"/>
                  <a:pt x="11279" y="5104"/>
                  <a:pt x="11279" y="5293"/>
                </a:cubicBezTo>
                <a:lnTo>
                  <a:pt x="11279" y="5671"/>
                </a:lnTo>
                <a:lnTo>
                  <a:pt x="7782" y="5671"/>
                </a:lnTo>
                <a:lnTo>
                  <a:pt x="7782" y="5293"/>
                </a:lnTo>
                <a:cubicBezTo>
                  <a:pt x="7782" y="5104"/>
                  <a:pt x="7940" y="4947"/>
                  <a:pt x="8129" y="4947"/>
                </a:cubicBezTo>
                <a:close/>
                <a:moveTo>
                  <a:pt x="9547" y="694"/>
                </a:moveTo>
                <a:cubicBezTo>
                  <a:pt x="9736" y="694"/>
                  <a:pt x="9893" y="851"/>
                  <a:pt x="9893" y="1040"/>
                </a:cubicBezTo>
                <a:lnTo>
                  <a:pt x="9893" y="4254"/>
                </a:lnTo>
                <a:lnTo>
                  <a:pt x="8129" y="4254"/>
                </a:lnTo>
                <a:cubicBezTo>
                  <a:pt x="7530" y="4254"/>
                  <a:pt x="7058" y="4726"/>
                  <a:pt x="7058" y="5293"/>
                </a:cubicBezTo>
                <a:lnTo>
                  <a:pt x="7058" y="6365"/>
                </a:lnTo>
                <a:lnTo>
                  <a:pt x="694" y="6365"/>
                </a:lnTo>
                <a:lnTo>
                  <a:pt x="694" y="1040"/>
                </a:lnTo>
                <a:cubicBezTo>
                  <a:pt x="725" y="851"/>
                  <a:pt x="883" y="694"/>
                  <a:pt x="1072" y="694"/>
                </a:cubicBezTo>
                <a:close/>
                <a:moveTo>
                  <a:pt x="7121" y="7026"/>
                </a:moveTo>
                <a:lnTo>
                  <a:pt x="7121" y="7751"/>
                </a:lnTo>
                <a:lnTo>
                  <a:pt x="1072" y="7751"/>
                </a:lnTo>
                <a:cubicBezTo>
                  <a:pt x="883" y="7751"/>
                  <a:pt x="725" y="7593"/>
                  <a:pt x="725" y="7404"/>
                </a:cubicBezTo>
                <a:lnTo>
                  <a:pt x="725" y="7026"/>
                </a:lnTo>
                <a:close/>
                <a:moveTo>
                  <a:pt x="5703" y="8444"/>
                </a:moveTo>
                <a:lnTo>
                  <a:pt x="5703" y="9168"/>
                </a:lnTo>
                <a:lnTo>
                  <a:pt x="4947" y="9168"/>
                </a:lnTo>
                <a:lnTo>
                  <a:pt x="4947" y="8444"/>
                </a:lnTo>
                <a:close/>
                <a:moveTo>
                  <a:pt x="7089" y="8444"/>
                </a:moveTo>
                <a:lnTo>
                  <a:pt x="7089" y="9168"/>
                </a:lnTo>
                <a:lnTo>
                  <a:pt x="6365" y="9168"/>
                </a:lnTo>
                <a:lnTo>
                  <a:pt x="6365" y="8444"/>
                </a:lnTo>
                <a:close/>
                <a:moveTo>
                  <a:pt x="11279" y="6333"/>
                </a:moveTo>
                <a:lnTo>
                  <a:pt x="11279" y="9830"/>
                </a:lnTo>
                <a:lnTo>
                  <a:pt x="7782" y="9830"/>
                </a:lnTo>
                <a:lnTo>
                  <a:pt x="7782" y="6333"/>
                </a:lnTo>
                <a:close/>
                <a:moveTo>
                  <a:pt x="11279" y="10523"/>
                </a:moveTo>
                <a:lnTo>
                  <a:pt x="11279" y="10901"/>
                </a:lnTo>
                <a:cubicBezTo>
                  <a:pt x="11279" y="11090"/>
                  <a:pt x="11122" y="11248"/>
                  <a:pt x="10933" y="11248"/>
                </a:cubicBezTo>
                <a:lnTo>
                  <a:pt x="8129" y="11248"/>
                </a:lnTo>
                <a:cubicBezTo>
                  <a:pt x="7940" y="11248"/>
                  <a:pt x="7782" y="11090"/>
                  <a:pt x="7782" y="10901"/>
                </a:cubicBezTo>
                <a:lnTo>
                  <a:pt x="7782" y="10523"/>
                </a:lnTo>
                <a:close/>
                <a:moveTo>
                  <a:pt x="1040" y="1"/>
                </a:moveTo>
                <a:cubicBezTo>
                  <a:pt x="442" y="1"/>
                  <a:pt x="1" y="473"/>
                  <a:pt x="1" y="1040"/>
                </a:cubicBezTo>
                <a:lnTo>
                  <a:pt x="1" y="7436"/>
                </a:lnTo>
                <a:cubicBezTo>
                  <a:pt x="1" y="8034"/>
                  <a:pt x="442" y="8507"/>
                  <a:pt x="1040" y="8507"/>
                </a:cubicBezTo>
                <a:lnTo>
                  <a:pt x="4191" y="8507"/>
                </a:lnTo>
                <a:lnTo>
                  <a:pt x="4191" y="9200"/>
                </a:lnTo>
                <a:lnTo>
                  <a:pt x="3151" y="9200"/>
                </a:lnTo>
                <a:cubicBezTo>
                  <a:pt x="2931" y="9200"/>
                  <a:pt x="2773" y="9357"/>
                  <a:pt x="2773" y="9546"/>
                </a:cubicBezTo>
                <a:cubicBezTo>
                  <a:pt x="2773" y="9767"/>
                  <a:pt x="2931" y="9925"/>
                  <a:pt x="3151" y="9925"/>
                </a:cubicBezTo>
                <a:lnTo>
                  <a:pt x="7026" y="9925"/>
                </a:lnTo>
                <a:lnTo>
                  <a:pt x="7026" y="10964"/>
                </a:lnTo>
                <a:cubicBezTo>
                  <a:pt x="7026" y="11563"/>
                  <a:pt x="7499" y="12035"/>
                  <a:pt x="8097" y="12035"/>
                </a:cubicBezTo>
                <a:lnTo>
                  <a:pt x="10901" y="12035"/>
                </a:lnTo>
                <a:cubicBezTo>
                  <a:pt x="11468" y="12035"/>
                  <a:pt x="11941" y="11563"/>
                  <a:pt x="11941" y="10964"/>
                </a:cubicBezTo>
                <a:lnTo>
                  <a:pt x="11941" y="5356"/>
                </a:lnTo>
                <a:cubicBezTo>
                  <a:pt x="12004" y="4726"/>
                  <a:pt x="11531" y="4254"/>
                  <a:pt x="10933" y="4254"/>
                </a:cubicBezTo>
                <a:lnTo>
                  <a:pt x="10586" y="4254"/>
                </a:lnTo>
                <a:lnTo>
                  <a:pt x="10586" y="1040"/>
                </a:lnTo>
                <a:cubicBezTo>
                  <a:pt x="10586" y="473"/>
                  <a:pt x="10114" y="1"/>
                  <a:pt x="95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474" name="Google Shape;7474;p75"/>
          <p:cNvGrpSpPr/>
          <p:nvPr/>
        </p:nvGrpSpPr>
        <p:grpSpPr>
          <a:xfrm>
            <a:off x="1724047" y="2043371"/>
            <a:ext cx="477599" cy="478872"/>
            <a:chOff x="-50154075" y="1948175"/>
            <a:chExt cx="300100" cy="300900"/>
          </a:xfrm>
        </p:grpSpPr>
        <p:sp>
          <p:nvSpPr>
            <p:cNvPr id="7475" name="Google Shape;7475;p75"/>
            <p:cNvSpPr/>
            <p:nvPr/>
          </p:nvSpPr>
          <p:spPr>
            <a:xfrm>
              <a:off x="-50154075" y="1948175"/>
              <a:ext cx="300100" cy="300900"/>
            </a:xfrm>
            <a:custGeom>
              <a:avLst/>
              <a:gdLst/>
              <a:ahLst/>
              <a:cxnLst/>
              <a:rect l="l" t="t" r="r" b="b"/>
              <a:pathLst>
                <a:path w="12004" h="12036" extrusionOk="0">
                  <a:moveTo>
                    <a:pt x="2805" y="694"/>
                  </a:moveTo>
                  <a:lnTo>
                    <a:pt x="2805" y="2805"/>
                  </a:lnTo>
                  <a:lnTo>
                    <a:pt x="662" y="2805"/>
                  </a:lnTo>
                  <a:lnTo>
                    <a:pt x="662" y="694"/>
                  </a:lnTo>
                  <a:close/>
                  <a:moveTo>
                    <a:pt x="2805" y="3466"/>
                  </a:moveTo>
                  <a:lnTo>
                    <a:pt x="2805" y="5609"/>
                  </a:lnTo>
                  <a:lnTo>
                    <a:pt x="662" y="5609"/>
                  </a:lnTo>
                  <a:lnTo>
                    <a:pt x="662" y="3466"/>
                  </a:lnTo>
                  <a:close/>
                  <a:moveTo>
                    <a:pt x="7908" y="2521"/>
                  </a:moveTo>
                  <a:lnTo>
                    <a:pt x="9421" y="4033"/>
                  </a:lnTo>
                  <a:lnTo>
                    <a:pt x="7782" y="5640"/>
                  </a:lnTo>
                  <a:lnTo>
                    <a:pt x="6302" y="4128"/>
                  </a:lnTo>
                  <a:lnTo>
                    <a:pt x="7908" y="2521"/>
                  </a:lnTo>
                  <a:close/>
                  <a:moveTo>
                    <a:pt x="5798" y="4663"/>
                  </a:moveTo>
                  <a:lnTo>
                    <a:pt x="7278" y="6144"/>
                  </a:lnTo>
                  <a:lnTo>
                    <a:pt x="5766" y="7688"/>
                  </a:lnTo>
                  <a:lnTo>
                    <a:pt x="4254" y="6207"/>
                  </a:lnTo>
                  <a:lnTo>
                    <a:pt x="5798" y="4663"/>
                  </a:lnTo>
                  <a:close/>
                  <a:moveTo>
                    <a:pt x="2805" y="6302"/>
                  </a:moveTo>
                  <a:lnTo>
                    <a:pt x="2805" y="8791"/>
                  </a:lnTo>
                  <a:cubicBezTo>
                    <a:pt x="2521" y="8570"/>
                    <a:pt x="2111" y="8444"/>
                    <a:pt x="1733" y="8444"/>
                  </a:cubicBezTo>
                  <a:cubicBezTo>
                    <a:pt x="1324" y="8444"/>
                    <a:pt x="977" y="8570"/>
                    <a:pt x="662" y="8791"/>
                  </a:cubicBezTo>
                  <a:lnTo>
                    <a:pt x="662" y="6302"/>
                  </a:lnTo>
                  <a:close/>
                  <a:moveTo>
                    <a:pt x="3750" y="6711"/>
                  </a:moveTo>
                  <a:lnTo>
                    <a:pt x="5230" y="8192"/>
                  </a:lnTo>
                  <a:lnTo>
                    <a:pt x="3498" y="9925"/>
                  </a:lnTo>
                  <a:lnTo>
                    <a:pt x="3498" y="6932"/>
                  </a:lnTo>
                  <a:lnTo>
                    <a:pt x="3750" y="6711"/>
                  </a:lnTo>
                  <a:close/>
                  <a:moveTo>
                    <a:pt x="1733" y="9137"/>
                  </a:moveTo>
                  <a:cubicBezTo>
                    <a:pt x="2332" y="9137"/>
                    <a:pt x="2805" y="9610"/>
                    <a:pt x="2805" y="10208"/>
                  </a:cubicBezTo>
                  <a:cubicBezTo>
                    <a:pt x="2805" y="10807"/>
                    <a:pt x="2332" y="11279"/>
                    <a:pt x="1733" y="11279"/>
                  </a:cubicBezTo>
                  <a:cubicBezTo>
                    <a:pt x="1135" y="11279"/>
                    <a:pt x="662" y="10807"/>
                    <a:pt x="662" y="10208"/>
                  </a:cubicBezTo>
                  <a:cubicBezTo>
                    <a:pt x="662" y="9610"/>
                    <a:pt x="1135" y="9137"/>
                    <a:pt x="1733" y="9137"/>
                  </a:cubicBezTo>
                  <a:close/>
                  <a:moveTo>
                    <a:pt x="5640" y="9137"/>
                  </a:moveTo>
                  <a:lnTo>
                    <a:pt x="5640" y="11279"/>
                  </a:lnTo>
                  <a:lnTo>
                    <a:pt x="3183" y="11279"/>
                  </a:lnTo>
                  <a:lnTo>
                    <a:pt x="5262" y="9137"/>
                  </a:lnTo>
                  <a:close/>
                  <a:moveTo>
                    <a:pt x="8412" y="9137"/>
                  </a:moveTo>
                  <a:lnTo>
                    <a:pt x="8412" y="11279"/>
                  </a:lnTo>
                  <a:lnTo>
                    <a:pt x="6333" y="11279"/>
                  </a:lnTo>
                  <a:lnTo>
                    <a:pt x="6333" y="9137"/>
                  </a:lnTo>
                  <a:close/>
                  <a:moveTo>
                    <a:pt x="11248" y="9137"/>
                  </a:moveTo>
                  <a:lnTo>
                    <a:pt x="11248" y="11279"/>
                  </a:lnTo>
                  <a:lnTo>
                    <a:pt x="9106" y="11279"/>
                  </a:lnTo>
                  <a:lnTo>
                    <a:pt x="9106" y="9137"/>
                  </a:lnTo>
                  <a:close/>
                  <a:moveTo>
                    <a:pt x="347" y="1"/>
                  </a:moveTo>
                  <a:cubicBezTo>
                    <a:pt x="158" y="1"/>
                    <a:pt x="1" y="158"/>
                    <a:pt x="1" y="379"/>
                  </a:cubicBezTo>
                  <a:lnTo>
                    <a:pt x="1" y="10240"/>
                  </a:lnTo>
                  <a:cubicBezTo>
                    <a:pt x="1" y="11248"/>
                    <a:pt x="788" y="12036"/>
                    <a:pt x="1765" y="12036"/>
                  </a:cubicBezTo>
                  <a:lnTo>
                    <a:pt x="11657" y="12036"/>
                  </a:lnTo>
                  <a:cubicBezTo>
                    <a:pt x="11846" y="12036"/>
                    <a:pt x="12004" y="11878"/>
                    <a:pt x="12004" y="11657"/>
                  </a:cubicBezTo>
                  <a:lnTo>
                    <a:pt x="12004" y="8791"/>
                  </a:lnTo>
                  <a:cubicBezTo>
                    <a:pt x="11973" y="8602"/>
                    <a:pt x="11815" y="8444"/>
                    <a:pt x="11626" y="8444"/>
                  </a:cubicBezTo>
                  <a:lnTo>
                    <a:pt x="5987" y="8444"/>
                  </a:lnTo>
                  <a:lnTo>
                    <a:pt x="10177" y="4254"/>
                  </a:lnTo>
                  <a:cubicBezTo>
                    <a:pt x="10240" y="4191"/>
                    <a:pt x="10271" y="4096"/>
                    <a:pt x="10271" y="4033"/>
                  </a:cubicBezTo>
                  <a:cubicBezTo>
                    <a:pt x="10271" y="3939"/>
                    <a:pt x="10240" y="3844"/>
                    <a:pt x="10177" y="3781"/>
                  </a:cubicBezTo>
                  <a:lnTo>
                    <a:pt x="8192" y="1828"/>
                  </a:lnTo>
                  <a:cubicBezTo>
                    <a:pt x="8129" y="1765"/>
                    <a:pt x="8042" y="1733"/>
                    <a:pt x="7952" y="1733"/>
                  </a:cubicBezTo>
                  <a:cubicBezTo>
                    <a:pt x="7861" y="1733"/>
                    <a:pt x="7767" y="1765"/>
                    <a:pt x="7688" y="1828"/>
                  </a:cubicBezTo>
                  <a:lnTo>
                    <a:pt x="3498" y="5987"/>
                  </a:lnTo>
                  <a:lnTo>
                    <a:pt x="3498" y="379"/>
                  </a:ln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6" name="Google Shape;7476;p75"/>
            <p:cNvSpPr/>
            <p:nvPr/>
          </p:nvSpPr>
          <p:spPr>
            <a:xfrm>
              <a:off x="-50119425" y="21947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77" name="Google Shape;7477;p75"/>
          <p:cNvGrpSpPr/>
          <p:nvPr/>
        </p:nvGrpSpPr>
        <p:grpSpPr>
          <a:xfrm>
            <a:off x="1724047" y="2649981"/>
            <a:ext cx="477599" cy="477639"/>
            <a:chOff x="-50154850" y="2316775"/>
            <a:chExt cx="300100" cy="300125"/>
          </a:xfrm>
        </p:grpSpPr>
        <p:sp>
          <p:nvSpPr>
            <p:cNvPr id="7478" name="Google Shape;7478;p75"/>
            <p:cNvSpPr/>
            <p:nvPr/>
          </p:nvSpPr>
          <p:spPr>
            <a:xfrm>
              <a:off x="-50154850" y="2316775"/>
              <a:ext cx="300100" cy="300125"/>
            </a:xfrm>
            <a:custGeom>
              <a:avLst/>
              <a:gdLst/>
              <a:ahLst/>
              <a:cxnLst/>
              <a:rect l="l" t="t" r="r" b="b"/>
              <a:pathLst>
                <a:path w="12004" h="12005" extrusionOk="0">
                  <a:moveTo>
                    <a:pt x="1418" y="694"/>
                  </a:moveTo>
                  <a:lnTo>
                    <a:pt x="1418" y="1419"/>
                  </a:lnTo>
                  <a:lnTo>
                    <a:pt x="693" y="1419"/>
                  </a:lnTo>
                  <a:lnTo>
                    <a:pt x="693" y="694"/>
                  </a:lnTo>
                  <a:close/>
                  <a:moveTo>
                    <a:pt x="11279" y="694"/>
                  </a:moveTo>
                  <a:lnTo>
                    <a:pt x="11279" y="1419"/>
                  </a:lnTo>
                  <a:lnTo>
                    <a:pt x="10586" y="1419"/>
                  </a:lnTo>
                  <a:lnTo>
                    <a:pt x="10586" y="694"/>
                  </a:lnTo>
                  <a:close/>
                  <a:moveTo>
                    <a:pt x="9893" y="1419"/>
                  </a:moveTo>
                  <a:lnTo>
                    <a:pt x="9893" y="1765"/>
                  </a:lnTo>
                  <a:cubicBezTo>
                    <a:pt x="9893" y="1954"/>
                    <a:pt x="10019" y="2112"/>
                    <a:pt x="10239" y="2112"/>
                  </a:cubicBezTo>
                  <a:lnTo>
                    <a:pt x="10586" y="2112"/>
                  </a:lnTo>
                  <a:lnTo>
                    <a:pt x="10586" y="9893"/>
                  </a:lnTo>
                  <a:lnTo>
                    <a:pt x="10239" y="9893"/>
                  </a:lnTo>
                  <a:cubicBezTo>
                    <a:pt x="10019" y="9893"/>
                    <a:pt x="9893" y="10051"/>
                    <a:pt x="9893" y="10240"/>
                  </a:cubicBezTo>
                  <a:lnTo>
                    <a:pt x="9893" y="10587"/>
                  </a:lnTo>
                  <a:lnTo>
                    <a:pt x="2111" y="10587"/>
                  </a:lnTo>
                  <a:lnTo>
                    <a:pt x="2111" y="10240"/>
                  </a:lnTo>
                  <a:cubicBezTo>
                    <a:pt x="2111" y="10051"/>
                    <a:pt x="1953" y="9893"/>
                    <a:pt x="1764" y="9893"/>
                  </a:cubicBezTo>
                  <a:lnTo>
                    <a:pt x="1418" y="9893"/>
                  </a:lnTo>
                  <a:lnTo>
                    <a:pt x="1418" y="2112"/>
                  </a:lnTo>
                  <a:lnTo>
                    <a:pt x="1764" y="2112"/>
                  </a:lnTo>
                  <a:cubicBezTo>
                    <a:pt x="1953" y="2112"/>
                    <a:pt x="2111" y="1954"/>
                    <a:pt x="2111" y="1765"/>
                  </a:cubicBezTo>
                  <a:lnTo>
                    <a:pt x="2111" y="1419"/>
                  </a:lnTo>
                  <a:close/>
                  <a:moveTo>
                    <a:pt x="1418" y="10555"/>
                  </a:moveTo>
                  <a:lnTo>
                    <a:pt x="1418" y="11248"/>
                  </a:lnTo>
                  <a:lnTo>
                    <a:pt x="693" y="11248"/>
                  </a:lnTo>
                  <a:lnTo>
                    <a:pt x="693" y="10555"/>
                  </a:lnTo>
                  <a:close/>
                  <a:moveTo>
                    <a:pt x="11279" y="10555"/>
                  </a:moveTo>
                  <a:lnTo>
                    <a:pt x="11279" y="11248"/>
                  </a:lnTo>
                  <a:lnTo>
                    <a:pt x="10586" y="11248"/>
                  </a:lnTo>
                  <a:lnTo>
                    <a:pt x="10586" y="10555"/>
                  </a:lnTo>
                  <a:close/>
                  <a:moveTo>
                    <a:pt x="347" y="1"/>
                  </a:moveTo>
                  <a:cubicBezTo>
                    <a:pt x="158" y="1"/>
                    <a:pt x="0" y="158"/>
                    <a:pt x="0" y="348"/>
                  </a:cubicBezTo>
                  <a:lnTo>
                    <a:pt x="0" y="1765"/>
                  </a:lnTo>
                  <a:cubicBezTo>
                    <a:pt x="0" y="1954"/>
                    <a:pt x="158" y="2112"/>
                    <a:pt x="347" y="2112"/>
                  </a:cubicBezTo>
                  <a:lnTo>
                    <a:pt x="693" y="2112"/>
                  </a:lnTo>
                  <a:lnTo>
                    <a:pt x="693" y="9893"/>
                  </a:lnTo>
                  <a:lnTo>
                    <a:pt x="347" y="9893"/>
                  </a:lnTo>
                  <a:cubicBezTo>
                    <a:pt x="158" y="9893"/>
                    <a:pt x="0" y="10051"/>
                    <a:pt x="0" y="10240"/>
                  </a:cubicBezTo>
                  <a:lnTo>
                    <a:pt x="0" y="11658"/>
                  </a:lnTo>
                  <a:cubicBezTo>
                    <a:pt x="0" y="11847"/>
                    <a:pt x="158" y="12004"/>
                    <a:pt x="347" y="12004"/>
                  </a:cubicBezTo>
                  <a:lnTo>
                    <a:pt x="1764" y="12004"/>
                  </a:lnTo>
                  <a:cubicBezTo>
                    <a:pt x="1953" y="12004"/>
                    <a:pt x="2111" y="11847"/>
                    <a:pt x="2111" y="11658"/>
                  </a:cubicBezTo>
                  <a:lnTo>
                    <a:pt x="2111" y="11311"/>
                  </a:lnTo>
                  <a:lnTo>
                    <a:pt x="9893" y="11311"/>
                  </a:lnTo>
                  <a:lnTo>
                    <a:pt x="9893" y="11658"/>
                  </a:lnTo>
                  <a:cubicBezTo>
                    <a:pt x="9893" y="11847"/>
                    <a:pt x="10019" y="12004"/>
                    <a:pt x="10239" y="12004"/>
                  </a:cubicBezTo>
                  <a:lnTo>
                    <a:pt x="11657" y="12004"/>
                  </a:lnTo>
                  <a:cubicBezTo>
                    <a:pt x="11846" y="12004"/>
                    <a:pt x="12004" y="11847"/>
                    <a:pt x="12004" y="11658"/>
                  </a:cubicBezTo>
                  <a:lnTo>
                    <a:pt x="12004" y="10240"/>
                  </a:lnTo>
                  <a:cubicBezTo>
                    <a:pt x="12004" y="10051"/>
                    <a:pt x="11846" y="9893"/>
                    <a:pt x="11657" y="9893"/>
                  </a:cubicBezTo>
                  <a:lnTo>
                    <a:pt x="11310" y="9893"/>
                  </a:lnTo>
                  <a:lnTo>
                    <a:pt x="11310" y="2112"/>
                  </a:lnTo>
                  <a:lnTo>
                    <a:pt x="11657" y="2112"/>
                  </a:lnTo>
                  <a:lnTo>
                    <a:pt x="11657" y="2080"/>
                  </a:lnTo>
                  <a:cubicBezTo>
                    <a:pt x="11846" y="2080"/>
                    <a:pt x="12004" y="1923"/>
                    <a:pt x="12004" y="1734"/>
                  </a:cubicBezTo>
                  <a:lnTo>
                    <a:pt x="12004" y="348"/>
                  </a:lnTo>
                  <a:cubicBezTo>
                    <a:pt x="12004" y="158"/>
                    <a:pt x="11846" y="1"/>
                    <a:pt x="11657" y="1"/>
                  </a:cubicBezTo>
                  <a:lnTo>
                    <a:pt x="10239" y="1"/>
                  </a:lnTo>
                  <a:cubicBezTo>
                    <a:pt x="10019" y="1"/>
                    <a:pt x="9893" y="158"/>
                    <a:pt x="9893" y="348"/>
                  </a:cubicBezTo>
                  <a:lnTo>
                    <a:pt x="9893" y="694"/>
                  </a:lnTo>
                  <a:lnTo>
                    <a:pt x="2111" y="694"/>
                  </a:lnTo>
                  <a:lnTo>
                    <a:pt x="2111" y="348"/>
                  </a:lnTo>
                  <a:cubicBezTo>
                    <a:pt x="2111" y="158"/>
                    <a:pt x="1953" y="1"/>
                    <a:pt x="176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79" name="Google Shape;7479;p75"/>
            <p:cNvSpPr/>
            <p:nvPr/>
          </p:nvSpPr>
          <p:spPr>
            <a:xfrm>
              <a:off x="-50083975" y="2368775"/>
              <a:ext cx="158325" cy="193775"/>
            </a:xfrm>
            <a:custGeom>
              <a:avLst/>
              <a:gdLst/>
              <a:ahLst/>
              <a:cxnLst/>
              <a:rect l="l" t="t" r="r" b="b"/>
              <a:pathLst>
                <a:path w="6333" h="7751" extrusionOk="0">
                  <a:moveTo>
                    <a:pt x="5577" y="693"/>
                  </a:moveTo>
                  <a:lnTo>
                    <a:pt x="5577" y="1567"/>
                  </a:lnTo>
                  <a:lnTo>
                    <a:pt x="5577" y="1567"/>
                  </a:lnTo>
                  <a:cubicBezTo>
                    <a:pt x="5492" y="1468"/>
                    <a:pt x="5402" y="1418"/>
                    <a:pt x="5262" y="1418"/>
                  </a:cubicBezTo>
                  <a:lnTo>
                    <a:pt x="3844" y="1418"/>
                  </a:lnTo>
                  <a:cubicBezTo>
                    <a:pt x="3655" y="1418"/>
                    <a:pt x="3498" y="1576"/>
                    <a:pt x="3498" y="1765"/>
                  </a:cubicBezTo>
                  <a:lnTo>
                    <a:pt x="3498" y="6742"/>
                  </a:lnTo>
                  <a:cubicBezTo>
                    <a:pt x="3498" y="6900"/>
                    <a:pt x="3624" y="6963"/>
                    <a:pt x="3687" y="7089"/>
                  </a:cubicBezTo>
                  <a:lnTo>
                    <a:pt x="2584" y="7089"/>
                  </a:lnTo>
                  <a:cubicBezTo>
                    <a:pt x="2710" y="6963"/>
                    <a:pt x="2773" y="6900"/>
                    <a:pt x="2773" y="6742"/>
                  </a:cubicBezTo>
                  <a:lnTo>
                    <a:pt x="2773" y="1765"/>
                  </a:lnTo>
                  <a:cubicBezTo>
                    <a:pt x="2773" y="1576"/>
                    <a:pt x="2647" y="1418"/>
                    <a:pt x="2426" y="1418"/>
                  </a:cubicBezTo>
                  <a:lnTo>
                    <a:pt x="1009" y="1418"/>
                  </a:lnTo>
                  <a:cubicBezTo>
                    <a:pt x="851" y="1418"/>
                    <a:pt x="788" y="1544"/>
                    <a:pt x="662" y="1607"/>
                  </a:cubicBezTo>
                  <a:lnTo>
                    <a:pt x="662" y="693"/>
                  </a:lnTo>
                  <a:close/>
                  <a:moveTo>
                    <a:pt x="347" y="0"/>
                  </a:moveTo>
                  <a:cubicBezTo>
                    <a:pt x="158" y="0"/>
                    <a:pt x="1" y="158"/>
                    <a:pt x="1" y="347"/>
                  </a:cubicBezTo>
                  <a:lnTo>
                    <a:pt x="1" y="2489"/>
                  </a:lnTo>
                  <a:cubicBezTo>
                    <a:pt x="1" y="2696"/>
                    <a:pt x="163" y="2835"/>
                    <a:pt x="328" y="2835"/>
                  </a:cubicBezTo>
                  <a:cubicBezTo>
                    <a:pt x="415" y="2835"/>
                    <a:pt x="503" y="2796"/>
                    <a:pt x="568" y="2710"/>
                  </a:cubicBezTo>
                  <a:lnTo>
                    <a:pt x="1166" y="2143"/>
                  </a:lnTo>
                  <a:lnTo>
                    <a:pt x="2080" y="2143"/>
                  </a:lnTo>
                  <a:lnTo>
                    <a:pt x="2080" y="6585"/>
                  </a:lnTo>
                  <a:lnTo>
                    <a:pt x="1481" y="7183"/>
                  </a:lnTo>
                  <a:cubicBezTo>
                    <a:pt x="1261" y="7404"/>
                    <a:pt x="1418" y="7750"/>
                    <a:pt x="1733" y="7750"/>
                  </a:cubicBezTo>
                  <a:lnTo>
                    <a:pt x="4537" y="7750"/>
                  </a:lnTo>
                  <a:cubicBezTo>
                    <a:pt x="4852" y="7750"/>
                    <a:pt x="5010" y="7372"/>
                    <a:pt x="4758" y="7183"/>
                  </a:cubicBezTo>
                  <a:lnTo>
                    <a:pt x="4159" y="6585"/>
                  </a:lnTo>
                  <a:lnTo>
                    <a:pt x="4159" y="2143"/>
                  </a:lnTo>
                  <a:lnTo>
                    <a:pt x="5073" y="2143"/>
                  </a:lnTo>
                  <a:lnTo>
                    <a:pt x="5671" y="2710"/>
                  </a:lnTo>
                  <a:cubicBezTo>
                    <a:pt x="5747" y="2796"/>
                    <a:pt x="5842" y="2835"/>
                    <a:pt x="5933" y="2835"/>
                  </a:cubicBezTo>
                  <a:cubicBezTo>
                    <a:pt x="6107" y="2835"/>
                    <a:pt x="6270" y="2696"/>
                    <a:pt x="6270" y="2489"/>
                  </a:cubicBezTo>
                  <a:lnTo>
                    <a:pt x="6270" y="347"/>
                  </a:lnTo>
                  <a:cubicBezTo>
                    <a:pt x="6333" y="158"/>
                    <a:pt x="6176" y="0"/>
                    <a:pt x="598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80" name="Google Shape;7480;p75"/>
          <p:cNvGrpSpPr/>
          <p:nvPr/>
        </p:nvGrpSpPr>
        <p:grpSpPr>
          <a:xfrm>
            <a:off x="1718417" y="3245995"/>
            <a:ext cx="488859" cy="475411"/>
            <a:chOff x="-50158000" y="2685000"/>
            <a:chExt cx="307175" cy="298725"/>
          </a:xfrm>
        </p:grpSpPr>
        <p:sp>
          <p:nvSpPr>
            <p:cNvPr id="7481" name="Google Shape;7481;p75"/>
            <p:cNvSpPr/>
            <p:nvPr/>
          </p:nvSpPr>
          <p:spPr>
            <a:xfrm>
              <a:off x="-50158000" y="2685000"/>
              <a:ext cx="307175" cy="298725"/>
            </a:xfrm>
            <a:custGeom>
              <a:avLst/>
              <a:gdLst/>
              <a:ahLst/>
              <a:cxnLst/>
              <a:rect l="l" t="t" r="r" b="b"/>
              <a:pathLst>
                <a:path w="12287" h="11949" extrusionOk="0">
                  <a:moveTo>
                    <a:pt x="8054" y="717"/>
                  </a:moveTo>
                  <a:cubicBezTo>
                    <a:pt x="8325" y="717"/>
                    <a:pt x="8601" y="820"/>
                    <a:pt x="8821" y="1024"/>
                  </a:cubicBezTo>
                  <a:lnTo>
                    <a:pt x="11090" y="3293"/>
                  </a:lnTo>
                  <a:cubicBezTo>
                    <a:pt x="11531" y="3702"/>
                    <a:pt x="11531" y="4364"/>
                    <a:pt x="11090" y="4805"/>
                  </a:cubicBezTo>
                  <a:lnTo>
                    <a:pt x="10302" y="5593"/>
                  </a:lnTo>
                  <a:lnTo>
                    <a:pt x="6522" y="1812"/>
                  </a:lnTo>
                  <a:lnTo>
                    <a:pt x="7309" y="1024"/>
                  </a:lnTo>
                  <a:cubicBezTo>
                    <a:pt x="7514" y="820"/>
                    <a:pt x="7782" y="717"/>
                    <a:pt x="8054" y="717"/>
                  </a:cubicBezTo>
                  <a:close/>
                  <a:moveTo>
                    <a:pt x="6018" y="2285"/>
                  </a:moveTo>
                  <a:lnTo>
                    <a:pt x="9798" y="6065"/>
                  </a:lnTo>
                  <a:lnTo>
                    <a:pt x="6144" y="9720"/>
                  </a:lnTo>
                  <a:lnTo>
                    <a:pt x="2363" y="5939"/>
                  </a:lnTo>
                  <a:lnTo>
                    <a:pt x="6018" y="2285"/>
                  </a:lnTo>
                  <a:close/>
                  <a:moveTo>
                    <a:pt x="1890" y="6443"/>
                  </a:moveTo>
                  <a:lnTo>
                    <a:pt x="5671" y="10224"/>
                  </a:lnTo>
                  <a:lnTo>
                    <a:pt x="4915" y="10980"/>
                  </a:lnTo>
                  <a:cubicBezTo>
                    <a:pt x="4726" y="11185"/>
                    <a:pt x="4458" y="11287"/>
                    <a:pt x="4186" y="11287"/>
                  </a:cubicBezTo>
                  <a:cubicBezTo>
                    <a:pt x="3915" y="11287"/>
                    <a:pt x="3639" y="11185"/>
                    <a:pt x="3434" y="10980"/>
                  </a:cubicBezTo>
                  <a:lnTo>
                    <a:pt x="1134" y="8712"/>
                  </a:lnTo>
                  <a:cubicBezTo>
                    <a:pt x="756" y="8302"/>
                    <a:pt x="756" y="7640"/>
                    <a:pt x="1134" y="7199"/>
                  </a:cubicBezTo>
                  <a:lnTo>
                    <a:pt x="1890" y="6443"/>
                  </a:lnTo>
                  <a:close/>
                  <a:moveTo>
                    <a:pt x="8093" y="0"/>
                  </a:moveTo>
                  <a:cubicBezTo>
                    <a:pt x="7640" y="0"/>
                    <a:pt x="7183" y="174"/>
                    <a:pt x="6837" y="520"/>
                  </a:cubicBezTo>
                  <a:lnTo>
                    <a:pt x="662" y="6695"/>
                  </a:lnTo>
                  <a:cubicBezTo>
                    <a:pt x="0" y="7357"/>
                    <a:pt x="0" y="8491"/>
                    <a:pt x="662" y="9184"/>
                  </a:cubicBezTo>
                  <a:lnTo>
                    <a:pt x="2962" y="11452"/>
                  </a:lnTo>
                  <a:cubicBezTo>
                    <a:pt x="3292" y="11783"/>
                    <a:pt x="3741" y="11949"/>
                    <a:pt x="4190" y="11949"/>
                  </a:cubicBezTo>
                  <a:cubicBezTo>
                    <a:pt x="4639" y="11949"/>
                    <a:pt x="5088" y="11783"/>
                    <a:pt x="5419" y="11452"/>
                  </a:cubicBezTo>
                  <a:lnTo>
                    <a:pt x="11625" y="5278"/>
                  </a:lnTo>
                  <a:cubicBezTo>
                    <a:pt x="12287" y="4616"/>
                    <a:pt x="12287" y="3513"/>
                    <a:pt x="11625" y="2789"/>
                  </a:cubicBezTo>
                  <a:lnTo>
                    <a:pt x="9326" y="520"/>
                  </a:lnTo>
                  <a:cubicBezTo>
                    <a:pt x="8995" y="174"/>
                    <a:pt x="8546" y="0"/>
                    <a:pt x="809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2" name="Google Shape;7482;p75"/>
            <p:cNvSpPr/>
            <p:nvPr/>
          </p:nvSpPr>
          <p:spPr>
            <a:xfrm>
              <a:off x="-50058775" y="2838200"/>
              <a:ext cx="51225" cy="49625"/>
            </a:xfrm>
            <a:custGeom>
              <a:avLst/>
              <a:gdLst/>
              <a:ahLst/>
              <a:cxnLst/>
              <a:rect l="l" t="t" r="r" b="b"/>
              <a:pathLst>
                <a:path w="2049" h="1985" extrusionOk="0">
                  <a:moveTo>
                    <a:pt x="391" y="0"/>
                  </a:moveTo>
                  <a:cubicBezTo>
                    <a:pt x="300" y="0"/>
                    <a:pt x="206" y="32"/>
                    <a:pt x="127" y="95"/>
                  </a:cubicBezTo>
                  <a:cubicBezTo>
                    <a:pt x="1" y="221"/>
                    <a:pt x="1" y="441"/>
                    <a:pt x="127" y="599"/>
                  </a:cubicBezTo>
                  <a:lnTo>
                    <a:pt x="1418" y="1890"/>
                  </a:lnTo>
                  <a:cubicBezTo>
                    <a:pt x="1481" y="1953"/>
                    <a:pt x="1568" y="1985"/>
                    <a:pt x="1659" y="1985"/>
                  </a:cubicBezTo>
                  <a:cubicBezTo>
                    <a:pt x="1749" y="1985"/>
                    <a:pt x="1844" y="1953"/>
                    <a:pt x="1923" y="1890"/>
                  </a:cubicBezTo>
                  <a:cubicBezTo>
                    <a:pt x="2049" y="1733"/>
                    <a:pt x="2049" y="1512"/>
                    <a:pt x="1923" y="1386"/>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83" name="Google Shape;7483;p75"/>
          <p:cNvGrpSpPr/>
          <p:nvPr/>
        </p:nvGrpSpPr>
        <p:grpSpPr>
          <a:xfrm>
            <a:off x="4695465" y="2083477"/>
            <a:ext cx="481339" cy="477639"/>
            <a:chOff x="-48266125" y="1973375"/>
            <a:chExt cx="302450" cy="300125"/>
          </a:xfrm>
        </p:grpSpPr>
        <p:sp>
          <p:nvSpPr>
            <p:cNvPr id="7484" name="Google Shape;7484;p75"/>
            <p:cNvSpPr/>
            <p:nvPr/>
          </p:nvSpPr>
          <p:spPr>
            <a:xfrm>
              <a:off x="-48212575" y="2045050"/>
              <a:ext cx="122900" cy="123700"/>
            </a:xfrm>
            <a:custGeom>
              <a:avLst/>
              <a:gdLst/>
              <a:ahLst/>
              <a:cxnLst/>
              <a:rect l="l" t="t" r="r" b="b"/>
              <a:pathLst>
                <a:path w="4916" h="4948" extrusionOk="0">
                  <a:moveTo>
                    <a:pt x="1765" y="662"/>
                  </a:moveTo>
                  <a:cubicBezTo>
                    <a:pt x="2237" y="662"/>
                    <a:pt x="2647" y="946"/>
                    <a:pt x="2741" y="1387"/>
                  </a:cubicBezTo>
                  <a:lnTo>
                    <a:pt x="1765" y="1387"/>
                  </a:lnTo>
                  <a:cubicBezTo>
                    <a:pt x="1576" y="1387"/>
                    <a:pt x="1418" y="1545"/>
                    <a:pt x="1418" y="1734"/>
                  </a:cubicBezTo>
                  <a:lnTo>
                    <a:pt x="1418" y="2710"/>
                  </a:lnTo>
                  <a:cubicBezTo>
                    <a:pt x="1009" y="2584"/>
                    <a:pt x="725" y="2206"/>
                    <a:pt x="725" y="1734"/>
                  </a:cubicBezTo>
                  <a:cubicBezTo>
                    <a:pt x="725" y="1135"/>
                    <a:pt x="1166" y="662"/>
                    <a:pt x="1765" y="662"/>
                  </a:cubicBezTo>
                  <a:close/>
                  <a:moveTo>
                    <a:pt x="2741" y="2080"/>
                  </a:moveTo>
                  <a:cubicBezTo>
                    <a:pt x="2647" y="2395"/>
                    <a:pt x="2395" y="2616"/>
                    <a:pt x="2111" y="2710"/>
                  </a:cubicBezTo>
                  <a:lnTo>
                    <a:pt x="2111" y="2080"/>
                  </a:lnTo>
                  <a:close/>
                  <a:moveTo>
                    <a:pt x="4254" y="2080"/>
                  </a:moveTo>
                  <a:lnTo>
                    <a:pt x="4254" y="4191"/>
                  </a:lnTo>
                  <a:lnTo>
                    <a:pt x="2143" y="4191"/>
                  </a:lnTo>
                  <a:lnTo>
                    <a:pt x="2143" y="3466"/>
                  </a:lnTo>
                  <a:cubicBezTo>
                    <a:pt x="2804" y="3309"/>
                    <a:pt x="3340" y="2805"/>
                    <a:pt x="3497" y="2080"/>
                  </a:cubicBezTo>
                  <a:close/>
                  <a:moveTo>
                    <a:pt x="1765" y="1"/>
                  </a:moveTo>
                  <a:cubicBezTo>
                    <a:pt x="788" y="1"/>
                    <a:pt x="0" y="788"/>
                    <a:pt x="0" y="1765"/>
                  </a:cubicBezTo>
                  <a:cubicBezTo>
                    <a:pt x="0" y="2616"/>
                    <a:pt x="599" y="3340"/>
                    <a:pt x="1418" y="3498"/>
                  </a:cubicBezTo>
                  <a:lnTo>
                    <a:pt x="1418" y="4601"/>
                  </a:lnTo>
                  <a:cubicBezTo>
                    <a:pt x="1418" y="4790"/>
                    <a:pt x="1576" y="4947"/>
                    <a:pt x="1765" y="4947"/>
                  </a:cubicBezTo>
                  <a:lnTo>
                    <a:pt x="4569" y="4947"/>
                  </a:lnTo>
                  <a:cubicBezTo>
                    <a:pt x="4758" y="4947"/>
                    <a:pt x="4915" y="4790"/>
                    <a:pt x="4915" y="4601"/>
                  </a:cubicBezTo>
                  <a:lnTo>
                    <a:pt x="4915" y="1797"/>
                  </a:lnTo>
                  <a:cubicBezTo>
                    <a:pt x="4915" y="1576"/>
                    <a:pt x="4758" y="1419"/>
                    <a:pt x="4600" y="1419"/>
                  </a:cubicBezTo>
                  <a:lnTo>
                    <a:pt x="3497" y="1419"/>
                  </a:lnTo>
                  <a:cubicBezTo>
                    <a:pt x="3340" y="631"/>
                    <a:pt x="2647"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5" name="Google Shape;7485;p75"/>
            <p:cNvSpPr/>
            <p:nvPr/>
          </p:nvSpPr>
          <p:spPr>
            <a:xfrm>
              <a:off x="-48266125" y="1973375"/>
              <a:ext cx="230000" cy="300125"/>
            </a:xfrm>
            <a:custGeom>
              <a:avLst/>
              <a:gdLst/>
              <a:ahLst/>
              <a:cxnLst/>
              <a:rect l="l" t="t" r="r" b="b"/>
              <a:pathLst>
                <a:path w="9200" h="12005" extrusionOk="0">
                  <a:moveTo>
                    <a:pt x="7057" y="1198"/>
                  </a:moveTo>
                  <a:lnTo>
                    <a:pt x="7971" y="2112"/>
                  </a:lnTo>
                  <a:lnTo>
                    <a:pt x="7057" y="2112"/>
                  </a:lnTo>
                  <a:lnTo>
                    <a:pt x="7057" y="1198"/>
                  </a:lnTo>
                  <a:close/>
                  <a:moveTo>
                    <a:pt x="6396" y="694"/>
                  </a:moveTo>
                  <a:lnTo>
                    <a:pt x="6396" y="2458"/>
                  </a:lnTo>
                  <a:cubicBezTo>
                    <a:pt x="6396" y="2679"/>
                    <a:pt x="6553" y="2836"/>
                    <a:pt x="6742" y="2836"/>
                  </a:cubicBezTo>
                  <a:lnTo>
                    <a:pt x="8506" y="2836"/>
                  </a:lnTo>
                  <a:lnTo>
                    <a:pt x="8506" y="11280"/>
                  </a:lnTo>
                  <a:lnTo>
                    <a:pt x="756" y="11280"/>
                  </a:lnTo>
                  <a:lnTo>
                    <a:pt x="756" y="694"/>
                  </a:lnTo>
                  <a:close/>
                  <a:moveTo>
                    <a:pt x="378" y="1"/>
                  </a:moveTo>
                  <a:cubicBezTo>
                    <a:pt x="158" y="1"/>
                    <a:pt x="0" y="158"/>
                    <a:pt x="0" y="347"/>
                  </a:cubicBezTo>
                  <a:lnTo>
                    <a:pt x="0" y="11658"/>
                  </a:lnTo>
                  <a:cubicBezTo>
                    <a:pt x="0" y="11847"/>
                    <a:pt x="158" y="12004"/>
                    <a:pt x="378" y="12004"/>
                  </a:cubicBezTo>
                  <a:lnTo>
                    <a:pt x="8790" y="12004"/>
                  </a:lnTo>
                  <a:cubicBezTo>
                    <a:pt x="8979" y="12004"/>
                    <a:pt x="9136" y="11847"/>
                    <a:pt x="9136" y="11658"/>
                  </a:cubicBezTo>
                  <a:lnTo>
                    <a:pt x="9136" y="2458"/>
                  </a:lnTo>
                  <a:cubicBezTo>
                    <a:pt x="9199" y="2395"/>
                    <a:pt x="9168" y="2301"/>
                    <a:pt x="9073" y="2238"/>
                  </a:cubicBezTo>
                  <a:lnTo>
                    <a:pt x="6931" y="95"/>
                  </a:lnTo>
                  <a:cubicBezTo>
                    <a:pt x="6868" y="32"/>
                    <a:pt x="6805" y="1"/>
                    <a:pt x="67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6" name="Google Shape;7486;p75"/>
            <p:cNvSpPr/>
            <p:nvPr/>
          </p:nvSpPr>
          <p:spPr>
            <a:xfrm>
              <a:off x="-48018025" y="1991500"/>
              <a:ext cx="54350" cy="282000"/>
            </a:xfrm>
            <a:custGeom>
              <a:avLst/>
              <a:gdLst/>
              <a:ahLst/>
              <a:cxnLst/>
              <a:rect l="l" t="t" r="r" b="b"/>
              <a:pathLst>
                <a:path w="2174" h="11280" extrusionOk="0">
                  <a:moveTo>
                    <a:pt x="1071" y="1481"/>
                  </a:moveTo>
                  <a:lnTo>
                    <a:pt x="1260" y="2111"/>
                  </a:lnTo>
                  <a:lnTo>
                    <a:pt x="851" y="2111"/>
                  </a:lnTo>
                  <a:lnTo>
                    <a:pt x="1071" y="1481"/>
                  </a:lnTo>
                  <a:close/>
                  <a:moveTo>
                    <a:pt x="1418" y="2836"/>
                  </a:moveTo>
                  <a:lnTo>
                    <a:pt x="1418" y="7247"/>
                  </a:lnTo>
                  <a:lnTo>
                    <a:pt x="725" y="7247"/>
                  </a:lnTo>
                  <a:lnTo>
                    <a:pt x="725" y="2836"/>
                  </a:lnTo>
                  <a:close/>
                  <a:moveTo>
                    <a:pt x="1418" y="7971"/>
                  </a:moveTo>
                  <a:lnTo>
                    <a:pt x="1418" y="8664"/>
                  </a:lnTo>
                  <a:lnTo>
                    <a:pt x="725" y="8664"/>
                  </a:lnTo>
                  <a:lnTo>
                    <a:pt x="725" y="7971"/>
                  </a:lnTo>
                  <a:close/>
                  <a:moveTo>
                    <a:pt x="1449" y="9357"/>
                  </a:moveTo>
                  <a:lnTo>
                    <a:pt x="1449" y="10208"/>
                  </a:lnTo>
                  <a:cubicBezTo>
                    <a:pt x="1418" y="10397"/>
                    <a:pt x="1260" y="10555"/>
                    <a:pt x="1071" y="10555"/>
                  </a:cubicBezTo>
                  <a:cubicBezTo>
                    <a:pt x="882" y="10555"/>
                    <a:pt x="725" y="10397"/>
                    <a:pt x="725" y="10208"/>
                  </a:cubicBezTo>
                  <a:lnTo>
                    <a:pt x="725" y="9357"/>
                  </a:lnTo>
                  <a:close/>
                  <a:moveTo>
                    <a:pt x="1071" y="0"/>
                  </a:moveTo>
                  <a:cubicBezTo>
                    <a:pt x="945" y="0"/>
                    <a:pt x="788" y="95"/>
                    <a:pt x="756" y="253"/>
                  </a:cubicBezTo>
                  <a:cubicBezTo>
                    <a:pt x="0" y="2489"/>
                    <a:pt x="63" y="2363"/>
                    <a:pt x="63" y="2458"/>
                  </a:cubicBezTo>
                  <a:lnTo>
                    <a:pt x="63" y="10208"/>
                  </a:lnTo>
                  <a:cubicBezTo>
                    <a:pt x="63" y="10807"/>
                    <a:pt x="536" y="11279"/>
                    <a:pt x="1103" y="11279"/>
                  </a:cubicBezTo>
                  <a:cubicBezTo>
                    <a:pt x="1701" y="11279"/>
                    <a:pt x="2174" y="10807"/>
                    <a:pt x="2174" y="10208"/>
                  </a:cubicBezTo>
                  <a:lnTo>
                    <a:pt x="2111" y="2458"/>
                  </a:lnTo>
                  <a:lnTo>
                    <a:pt x="2111" y="2458"/>
                  </a:lnTo>
                  <a:cubicBezTo>
                    <a:pt x="2121" y="2468"/>
                    <a:pt x="2128" y="2472"/>
                    <a:pt x="2132" y="2472"/>
                  </a:cubicBezTo>
                  <a:cubicBezTo>
                    <a:pt x="2139" y="2472"/>
                    <a:pt x="2132" y="2458"/>
                    <a:pt x="2111" y="2458"/>
                  </a:cubicBezTo>
                  <a:lnTo>
                    <a:pt x="2111" y="2458"/>
                  </a:lnTo>
                  <a:lnTo>
                    <a:pt x="2111" y="2458"/>
                  </a:lnTo>
                  <a:cubicBezTo>
                    <a:pt x="2111" y="2363"/>
                    <a:pt x="2142" y="2584"/>
                    <a:pt x="1386" y="253"/>
                  </a:cubicBezTo>
                  <a:cubicBezTo>
                    <a:pt x="1355" y="95"/>
                    <a:pt x="1197"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7" name="Google Shape;7487;p75"/>
            <p:cNvSpPr/>
            <p:nvPr/>
          </p:nvSpPr>
          <p:spPr>
            <a:xfrm>
              <a:off x="-48211800" y="2221475"/>
              <a:ext cx="122900" cy="17350"/>
            </a:xfrm>
            <a:custGeom>
              <a:avLst/>
              <a:gdLst/>
              <a:ahLst/>
              <a:cxnLst/>
              <a:rect l="l" t="t" r="r" b="b"/>
              <a:pathLst>
                <a:path w="4916" h="694" extrusionOk="0">
                  <a:moveTo>
                    <a:pt x="347" y="1"/>
                  </a:moveTo>
                  <a:cubicBezTo>
                    <a:pt x="158" y="1"/>
                    <a:pt x="1" y="158"/>
                    <a:pt x="1" y="347"/>
                  </a:cubicBezTo>
                  <a:cubicBezTo>
                    <a:pt x="1" y="536"/>
                    <a:pt x="158" y="694"/>
                    <a:pt x="347" y="694"/>
                  </a:cubicBezTo>
                  <a:lnTo>
                    <a:pt x="4569" y="694"/>
                  </a:lnTo>
                  <a:cubicBezTo>
                    <a:pt x="4758" y="694"/>
                    <a:pt x="4916" y="536"/>
                    <a:pt x="4916" y="347"/>
                  </a:cubicBezTo>
                  <a:cubicBezTo>
                    <a:pt x="4884" y="158"/>
                    <a:pt x="4727" y="1"/>
                    <a:pt x="4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8" name="Google Shape;7488;p75"/>
            <p:cNvSpPr/>
            <p:nvPr/>
          </p:nvSpPr>
          <p:spPr>
            <a:xfrm>
              <a:off x="-48211800" y="2185250"/>
              <a:ext cx="87450" cy="18150"/>
            </a:xfrm>
            <a:custGeom>
              <a:avLst/>
              <a:gdLst/>
              <a:ahLst/>
              <a:cxnLst/>
              <a:rect l="l" t="t" r="r" b="b"/>
              <a:pathLst>
                <a:path w="3498" h="726" extrusionOk="0">
                  <a:moveTo>
                    <a:pt x="347" y="1"/>
                  </a:moveTo>
                  <a:cubicBezTo>
                    <a:pt x="158" y="1"/>
                    <a:pt x="1" y="158"/>
                    <a:pt x="1" y="379"/>
                  </a:cubicBezTo>
                  <a:cubicBezTo>
                    <a:pt x="1" y="568"/>
                    <a:pt x="158" y="725"/>
                    <a:pt x="347" y="725"/>
                  </a:cubicBezTo>
                  <a:lnTo>
                    <a:pt x="3151" y="725"/>
                  </a:lnTo>
                  <a:cubicBezTo>
                    <a:pt x="3372" y="725"/>
                    <a:pt x="3498" y="568"/>
                    <a:pt x="3498" y="379"/>
                  </a:cubicBezTo>
                  <a:cubicBezTo>
                    <a:pt x="3498" y="158"/>
                    <a:pt x="3372"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89" name="Google Shape;7489;p75"/>
            <p:cNvSpPr/>
            <p:nvPr/>
          </p:nvSpPr>
          <p:spPr>
            <a:xfrm>
              <a:off x="-48106250" y="2185250"/>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0" name="Google Shape;7490;p75"/>
          <p:cNvGrpSpPr/>
          <p:nvPr/>
        </p:nvGrpSpPr>
        <p:grpSpPr>
          <a:xfrm>
            <a:off x="4731792" y="2691159"/>
            <a:ext cx="408688" cy="477799"/>
            <a:chOff x="-48237000" y="2342650"/>
            <a:chExt cx="256800" cy="300225"/>
          </a:xfrm>
        </p:grpSpPr>
        <p:sp>
          <p:nvSpPr>
            <p:cNvPr id="7491" name="Google Shape;7491;p75"/>
            <p:cNvSpPr/>
            <p:nvPr/>
          </p:nvSpPr>
          <p:spPr>
            <a:xfrm>
              <a:off x="-48237000" y="2342650"/>
              <a:ext cx="256800" cy="300225"/>
            </a:xfrm>
            <a:custGeom>
              <a:avLst/>
              <a:gdLst/>
              <a:ahLst/>
              <a:cxnLst/>
              <a:rect l="l" t="t" r="r" b="b"/>
              <a:pathLst>
                <a:path w="10272" h="12009" extrusionOk="0">
                  <a:moveTo>
                    <a:pt x="4507" y="679"/>
                  </a:moveTo>
                  <a:cubicBezTo>
                    <a:pt x="4774" y="679"/>
                    <a:pt x="5048" y="706"/>
                    <a:pt x="5325" y="762"/>
                  </a:cubicBezTo>
                  <a:cubicBezTo>
                    <a:pt x="6774" y="1077"/>
                    <a:pt x="7940" y="2274"/>
                    <a:pt x="8255" y="3723"/>
                  </a:cubicBezTo>
                  <a:cubicBezTo>
                    <a:pt x="8381" y="4227"/>
                    <a:pt x="8381" y="4763"/>
                    <a:pt x="8318" y="5267"/>
                  </a:cubicBezTo>
                  <a:cubicBezTo>
                    <a:pt x="8318" y="5330"/>
                    <a:pt x="8318" y="5424"/>
                    <a:pt x="8350" y="5487"/>
                  </a:cubicBezTo>
                  <a:lnTo>
                    <a:pt x="9263" y="7220"/>
                  </a:lnTo>
                  <a:cubicBezTo>
                    <a:pt x="9389" y="7441"/>
                    <a:pt x="9232" y="7756"/>
                    <a:pt x="8980" y="7756"/>
                  </a:cubicBezTo>
                  <a:lnTo>
                    <a:pt x="8034" y="7756"/>
                  </a:lnTo>
                  <a:cubicBezTo>
                    <a:pt x="7845" y="7756"/>
                    <a:pt x="7688" y="7913"/>
                    <a:pt x="7688" y="8102"/>
                  </a:cubicBezTo>
                  <a:lnTo>
                    <a:pt x="7688" y="9867"/>
                  </a:lnTo>
                  <a:lnTo>
                    <a:pt x="5892" y="9867"/>
                  </a:lnTo>
                  <a:cubicBezTo>
                    <a:pt x="5703" y="9867"/>
                    <a:pt x="5546" y="10024"/>
                    <a:pt x="5546" y="10213"/>
                  </a:cubicBezTo>
                  <a:lnTo>
                    <a:pt x="5546" y="11284"/>
                  </a:lnTo>
                  <a:lnTo>
                    <a:pt x="2049" y="11284"/>
                  </a:lnTo>
                  <a:lnTo>
                    <a:pt x="2049" y="7693"/>
                  </a:lnTo>
                  <a:cubicBezTo>
                    <a:pt x="2049" y="7598"/>
                    <a:pt x="2017" y="7504"/>
                    <a:pt x="1923" y="7441"/>
                  </a:cubicBezTo>
                  <a:cubicBezTo>
                    <a:pt x="1103" y="6685"/>
                    <a:pt x="631" y="5645"/>
                    <a:pt x="631" y="4542"/>
                  </a:cubicBezTo>
                  <a:cubicBezTo>
                    <a:pt x="631" y="2387"/>
                    <a:pt x="2372" y="679"/>
                    <a:pt x="4507" y="679"/>
                  </a:cubicBezTo>
                  <a:close/>
                  <a:moveTo>
                    <a:pt x="4570" y="0"/>
                  </a:moveTo>
                  <a:cubicBezTo>
                    <a:pt x="2059" y="0"/>
                    <a:pt x="1" y="1999"/>
                    <a:pt x="1" y="4542"/>
                  </a:cubicBezTo>
                  <a:cubicBezTo>
                    <a:pt x="1" y="5802"/>
                    <a:pt x="505" y="7000"/>
                    <a:pt x="1418" y="7850"/>
                  </a:cubicBezTo>
                  <a:lnTo>
                    <a:pt x="1418" y="11631"/>
                  </a:lnTo>
                  <a:cubicBezTo>
                    <a:pt x="1418" y="11851"/>
                    <a:pt x="1576" y="12009"/>
                    <a:pt x="1765" y="12009"/>
                  </a:cubicBezTo>
                  <a:lnTo>
                    <a:pt x="5987" y="12009"/>
                  </a:lnTo>
                  <a:cubicBezTo>
                    <a:pt x="6176" y="12009"/>
                    <a:pt x="6333" y="11851"/>
                    <a:pt x="6333" y="11631"/>
                  </a:cubicBezTo>
                  <a:lnTo>
                    <a:pt x="6333" y="10591"/>
                  </a:lnTo>
                  <a:lnTo>
                    <a:pt x="8097" y="10591"/>
                  </a:lnTo>
                  <a:cubicBezTo>
                    <a:pt x="8287" y="10591"/>
                    <a:pt x="8444" y="10434"/>
                    <a:pt x="8444" y="10213"/>
                  </a:cubicBezTo>
                  <a:lnTo>
                    <a:pt x="8444" y="8449"/>
                  </a:lnTo>
                  <a:lnTo>
                    <a:pt x="9043" y="8449"/>
                  </a:lnTo>
                  <a:cubicBezTo>
                    <a:pt x="9799" y="8417"/>
                    <a:pt x="10271" y="7598"/>
                    <a:pt x="9925" y="6874"/>
                  </a:cubicBezTo>
                  <a:lnTo>
                    <a:pt x="9043" y="5267"/>
                  </a:lnTo>
                  <a:cubicBezTo>
                    <a:pt x="9137" y="4700"/>
                    <a:pt x="9137" y="4164"/>
                    <a:pt x="9011" y="3597"/>
                  </a:cubicBezTo>
                  <a:cubicBezTo>
                    <a:pt x="8665" y="1864"/>
                    <a:pt x="7247" y="510"/>
                    <a:pt x="5546" y="100"/>
                  </a:cubicBezTo>
                  <a:cubicBezTo>
                    <a:pt x="5215" y="33"/>
                    <a:pt x="4889" y="0"/>
                    <a:pt x="45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2" name="Google Shape;7492;p75"/>
            <p:cNvSpPr/>
            <p:nvPr/>
          </p:nvSpPr>
          <p:spPr>
            <a:xfrm>
              <a:off x="-48195250" y="2377425"/>
              <a:ext cx="144150" cy="140225"/>
            </a:xfrm>
            <a:custGeom>
              <a:avLst/>
              <a:gdLst/>
              <a:ahLst/>
              <a:cxnLst/>
              <a:rect l="l" t="t" r="r" b="b"/>
              <a:pathLst>
                <a:path w="5766" h="5609" extrusionOk="0">
                  <a:moveTo>
                    <a:pt x="3214" y="757"/>
                  </a:moveTo>
                  <a:lnTo>
                    <a:pt x="3214" y="883"/>
                  </a:lnTo>
                  <a:cubicBezTo>
                    <a:pt x="3214" y="1040"/>
                    <a:pt x="3277" y="1135"/>
                    <a:pt x="3435" y="1198"/>
                  </a:cubicBezTo>
                  <a:cubicBezTo>
                    <a:pt x="3624" y="1261"/>
                    <a:pt x="3844" y="1387"/>
                    <a:pt x="4002" y="1513"/>
                  </a:cubicBezTo>
                  <a:cubicBezTo>
                    <a:pt x="4061" y="1553"/>
                    <a:pt x="4146" y="1593"/>
                    <a:pt x="4233" y="1593"/>
                  </a:cubicBezTo>
                  <a:cubicBezTo>
                    <a:pt x="4283" y="1593"/>
                    <a:pt x="4333" y="1579"/>
                    <a:pt x="4380" y="1545"/>
                  </a:cubicBezTo>
                  <a:lnTo>
                    <a:pt x="4506" y="1482"/>
                  </a:lnTo>
                  <a:lnTo>
                    <a:pt x="4852" y="2049"/>
                  </a:lnTo>
                  <a:lnTo>
                    <a:pt x="4726" y="2143"/>
                  </a:lnTo>
                  <a:cubicBezTo>
                    <a:pt x="4632" y="2206"/>
                    <a:pt x="4537" y="2364"/>
                    <a:pt x="4569" y="2490"/>
                  </a:cubicBezTo>
                  <a:cubicBezTo>
                    <a:pt x="4632" y="2710"/>
                    <a:pt x="4632" y="2899"/>
                    <a:pt x="4569" y="3120"/>
                  </a:cubicBezTo>
                  <a:cubicBezTo>
                    <a:pt x="4537" y="3277"/>
                    <a:pt x="4632" y="3403"/>
                    <a:pt x="4726" y="3466"/>
                  </a:cubicBezTo>
                  <a:lnTo>
                    <a:pt x="4852" y="3561"/>
                  </a:lnTo>
                  <a:lnTo>
                    <a:pt x="4506" y="4159"/>
                  </a:lnTo>
                  <a:lnTo>
                    <a:pt x="4380" y="4065"/>
                  </a:lnTo>
                  <a:cubicBezTo>
                    <a:pt x="4323" y="4037"/>
                    <a:pt x="4260" y="4021"/>
                    <a:pt x="4199" y="4021"/>
                  </a:cubicBezTo>
                  <a:cubicBezTo>
                    <a:pt x="4125" y="4021"/>
                    <a:pt x="4054" y="4044"/>
                    <a:pt x="4002" y="4096"/>
                  </a:cubicBezTo>
                  <a:cubicBezTo>
                    <a:pt x="3844" y="4254"/>
                    <a:pt x="3624" y="4348"/>
                    <a:pt x="3435" y="4411"/>
                  </a:cubicBezTo>
                  <a:cubicBezTo>
                    <a:pt x="3277" y="4475"/>
                    <a:pt x="3214" y="4632"/>
                    <a:pt x="3214" y="4727"/>
                  </a:cubicBezTo>
                  <a:lnTo>
                    <a:pt x="3214" y="4853"/>
                  </a:lnTo>
                  <a:lnTo>
                    <a:pt x="2489" y="4853"/>
                  </a:lnTo>
                  <a:lnTo>
                    <a:pt x="2489" y="4727"/>
                  </a:lnTo>
                  <a:cubicBezTo>
                    <a:pt x="2489" y="4569"/>
                    <a:pt x="2426" y="4475"/>
                    <a:pt x="2269" y="4411"/>
                  </a:cubicBezTo>
                  <a:cubicBezTo>
                    <a:pt x="2048" y="4348"/>
                    <a:pt x="1859" y="4222"/>
                    <a:pt x="1702" y="4096"/>
                  </a:cubicBezTo>
                  <a:cubicBezTo>
                    <a:pt x="1622" y="4057"/>
                    <a:pt x="1530" y="4017"/>
                    <a:pt x="1449" y="4017"/>
                  </a:cubicBezTo>
                  <a:cubicBezTo>
                    <a:pt x="1402" y="4017"/>
                    <a:pt x="1358" y="4030"/>
                    <a:pt x="1324" y="4065"/>
                  </a:cubicBezTo>
                  <a:lnTo>
                    <a:pt x="1198" y="4159"/>
                  </a:lnTo>
                  <a:lnTo>
                    <a:pt x="851" y="3561"/>
                  </a:lnTo>
                  <a:lnTo>
                    <a:pt x="946" y="3466"/>
                  </a:lnTo>
                  <a:cubicBezTo>
                    <a:pt x="1072" y="3403"/>
                    <a:pt x="1166" y="3246"/>
                    <a:pt x="1103" y="3120"/>
                  </a:cubicBezTo>
                  <a:cubicBezTo>
                    <a:pt x="1072" y="2899"/>
                    <a:pt x="1072" y="2710"/>
                    <a:pt x="1103" y="2490"/>
                  </a:cubicBezTo>
                  <a:cubicBezTo>
                    <a:pt x="1166" y="2332"/>
                    <a:pt x="1072" y="2206"/>
                    <a:pt x="946" y="2143"/>
                  </a:cubicBezTo>
                  <a:lnTo>
                    <a:pt x="851" y="2049"/>
                  </a:lnTo>
                  <a:lnTo>
                    <a:pt x="1198" y="1482"/>
                  </a:lnTo>
                  <a:lnTo>
                    <a:pt x="1324" y="1545"/>
                  </a:lnTo>
                  <a:cubicBezTo>
                    <a:pt x="1366" y="1573"/>
                    <a:pt x="1421" y="1588"/>
                    <a:pt x="1481" y="1588"/>
                  </a:cubicBezTo>
                  <a:cubicBezTo>
                    <a:pt x="1553" y="1588"/>
                    <a:pt x="1632" y="1565"/>
                    <a:pt x="1702" y="1513"/>
                  </a:cubicBezTo>
                  <a:cubicBezTo>
                    <a:pt x="1859" y="1356"/>
                    <a:pt x="2048" y="1261"/>
                    <a:pt x="2269" y="1198"/>
                  </a:cubicBezTo>
                  <a:cubicBezTo>
                    <a:pt x="2426" y="1135"/>
                    <a:pt x="2489" y="977"/>
                    <a:pt x="2489" y="883"/>
                  </a:cubicBezTo>
                  <a:lnTo>
                    <a:pt x="2489" y="757"/>
                  </a:lnTo>
                  <a:close/>
                  <a:moveTo>
                    <a:pt x="2174" y="1"/>
                  </a:moveTo>
                  <a:cubicBezTo>
                    <a:pt x="1985" y="1"/>
                    <a:pt x="1828" y="158"/>
                    <a:pt x="1828" y="379"/>
                  </a:cubicBezTo>
                  <a:lnTo>
                    <a:pt x="1828" y="599"/>
                  </a:lnTo>
                  <a:cubicBezTo>
                    <a:pt x="1702" y="631"/>
                    <a:pt x="1576" y="725"/>
                    <a:pt x="1513" y="788"/>
                  </a:cubicBezTo>
                  <a:lnTo>
                    <a:pt x="1324" y="694"/>
                  </a:lnTo>
                  <a:cubicBezTo>
                    <a:pt x="1265" y="658"/>
                    <a:pt x="1192" y="641"/>
                    <a:pt x="1122" y="641"/>
                  </a:cubicBezTo>
                  <a:cubicBezTo>
                    <a:pt x="1004" y="641"/>
                    <a:pt x="890" y="690"/>
                    <a:pt x="851" y="788"/>
                  </a:cubicBezTo>
                  <a:lnTo>
                    <a:pt x="126" y="2017"/>
                  </a:lnTo>
                  <a:cubicBezTo>
                    <a:pt x="63" y="2175"/>
                    <a:pt x="95" y="2427"/>
                    <a:pt x="253" y="2490"/>
                  </a:cubicBezTo>
                  <a:lnTo>
                    <a:pt x="442" y="2616"/>
                  </a:lnTo>
                  <a:lnTo>
                    <a:pt x="442" y="2994"/>
                  </a:lnTo>
                  <a:lnTo>
                    <a:pt x="253" y="3120"/>
                  </a:lnTo>
                  <a:cubicBezTo>
                    <a:pt x="95" y="3214"/>
                    <a:pt x="0" y="3435"/>
                    <a:pt x="126" y="3592"/>
                  </a:cubicBezTo>
                  <a:lnTo>
                    <a:pt x="851" y="4821"/>
                  </a:lnTo>
                  <a:cubicBezTo>
                    <a:pt x="894" y="4928"/>
                    <a:pt x="1024" y="4991"/>
                    <a:pt x="1152" y="4991"/>
                  </a:cubicBezTo>
                  <a:cubicBezTo>
                    <a:pt x="1213" y="4991"/>
                    <a:pt x="1273" y="4977"/>
                    <a:pt x="1324" y="4947"/>
                  </a:cubicBezTo>
                  <a:lnTo>
                    <a:pt x="1513" y="4821"/>
                  </a:lnTo>
                  <a:cubicBezTo>
                    <a:pt x="1639" y="4884"/>
                    <a:pt x="1733" y="4979"/>
                    <a:pt x="1828" y="5010"/>
                  </a:cubicBezTo>
                  <a:lnTo>
                    <a:pt x="1828" y="5262"/>
                  </a:lnTo>
                  <a:cubicBezTo>
                    <a:pt x="1828" y="5451"/>
                    <a:pt x="1985" y="5609"/>
                    <a:pt x="2174" y="5609"/>
                  </a:cubicBezTo>
                  <a:lnTo>
                    <a:pt x="3592" y="5609"/>
                  </a:lnTo>
                  <a:cubicBezTo>
                    <a:pt x="3781" y="5609"/>
                    <a:pt x="3939" y="5451"/>
                    <a:pt x="3939" y="5262"/>
                  </a:cubicBezTo>
                  <a:lnTo>
                    <a:pt x="3939" y="5010"/>
                  </a:lnTo>
                  <a:cubicBezTo>
                    <a:pt x="4065" y="4979"/>
                    <a:pt x="4191" y="4884"/>
                    <a:pt x="4254" y="4821"/>
                  </a:cubicBezTo>
                  <a:lnTo>
                    <a:pt x="4474" y="4947"/>
                  </a:lnTo>
                  <a:cubicBezTo>
                    <a:pt x="4524" y="4967"/>
                    <a:pt x="4580" y="4978"/>
                    <a:pt x="4637" y="4978"/>
                  </a:cubicBezTo>
                  <a:cubicBezTo>
                    <a:pt x="4759" y="4978"/>
                    <a:pt x="4882" y="4929"/>
                    <a:pt x="4947" y="4821"/>
                  </a:cubicBezTo>
                  <a:lnTo>
                    <a:pt x="5640" y="3592"/>
                  </a:lnTo>
                  <a:cubicBezTo>
                    <a:pt x="5734" y="3435"/>
                    <a:pt x="5671" y="3214"/>
                    <a:pt x="5514" y="3120"/>
                  </a:cubicBezTo>
                  <a:lnTo>
                    <a:pt x="5325" y="2994"/>
                  </a:lnTo>
                  <a:lnTo>
                    <a:pt x="5325" y="2616"/>
                  </a:lnTo>
                  <a:lnTo>
                    <a:pt x="5514" y="2490"/>
                  </a:lnTo>
                  <a:cubicBezTo>
                    <a:pt x="5671" y="2427"/>
                    <a:pt x="5766" y="2206"/>
                    <a:pt x="5640" y="2017"/>
                  </a:cubicBezTo>
                  <a:lnTo>
                    <a:pt x="4947" y="788"/>
                  </a:lnTo>
                  <a:cubicBezTo>
                    <a:pt x="4887" y="689"/>
                    <a:pt x="4777" y="627"/>
                    <a:pt x="4664" y="627"/>
                  </a:cubicBezTo>
                  <a:cubicBezTo>
                    <a:pt x="4598" y="627"/>
                    <a:pt x="4532" y="648"/>
                    <a:pt x="4474" y="694"/>
                  </a:cubicBezTo>
                  <a:lnTo>
                    <a:pt x="4254" y="788"/>
                  </a:lnTo>
                  <a:cubicBezTo>
                    <a:pt x="4159" y="725"/>
                    <a:pt x="4033" y="631"/>
                    <a:pt x="3939" y="599"/>
                  </a:cubicBezTo>
                  <a:lnTo>
                    <a:pt x="3939" y="379"/>
                  </a:lnTo>
                  <a:cubicBezTo>
                    <a:pt x="3939" y="158"/>
                    <a:pt x="3781" y="1"/>
                    <a:pt x="3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3" name="Google Shape;7493;p75"/>
            <p:cNvSpPr/>
            <p:nvPr/>
          </p:nvSpPr>
          <p:spPr>
            <a:xfrm>
              <a:off x="-48150350" y="2422325"/>
              <a:ext cx="52775" cy="52800"/>
            </a:xfrm>
            <a:custGeom>
              <a:avLst/>
              <a:gdLst/>
              <a:ahLst/>
              <a:cxnLst/>
              <a:rect l="l" t="t" r="r" b="b"/>
              <a:pathLst>
                <a:path w="2111" h="2112" extrusionOk="0">
                  <a:moveTo>
                    <a:pt x="1040" y="662"/>
                  </a:moveTo>
                  <a:cubicBezTo>
                    <a:pt x="1260" y="662"/>
                    <a:pt x="1418" y="820"/>
                    <a:pt x="1418" y="1009"/>
                  </a:cubicBezTo>
                  <a:cubicBezTo>
                    <a:pt x="1418" y="1198"/>
                    <a:pt x="1260" y="1355"/>
                    <a:pt x="1040" y="1355"/>
                  </a:cubicBezTo>
                  <a:cubicBezTo>
                    <a:pt x="851" y="1355"/>
                    <a:pt x="693" y="1198"/>
                    <a:pt x="693" y="1009"/>
                  </a:cubicBezTo>
                  <a:cubicBezTo>
                    <a:pt x="693" y="820"/>
                    <a:pt x="851" y="662"/>
                    <a:pt x="1040" y="662"/>
                  </a:cubicBezTo>
                  <a:close/>
                  <a:moveTo>
                    <a:pt x="1040" y="1"/>
                  </a:moveTo>
                  <a:cubicBezTo>
                    <a:pt x="473" y="1"/>
                    <a:pt x="0" y="473"/>
                    <a:pt x="0" y="1040"/>
                  </a:cubicBezTo>
                  <a:cubicBezTo>
                    <a:pt x="0" y="1639"/>
                    <a:pt x="473" y="2111"/>
                    <a:pt x="1040" y="2111"/>
                  </a:cubicBezTo>
                  <a:cubicBezTo>
                    <a:pt x="1639" y="2111"/>
                    <a:pt x="2111" y="1639"/>
                    <a:pt x="2111" y="1040"/>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4" name="Google Shape;7494;p75"/>
          <p:cNvGrpSpPr/>
          <p:nvPr/>
        </p:nvGrpSpPr>
        <p:grpSpPr>
          <a:xfrm>
            <a:off x="2907117" y="3891529"/>
            <a:ext cx="481379" cy="474177"/>
            <a:chOff x="-46404975" y="1966100"/>
            <a:chExt cx="302475" cy="297950"/>
          </a:xfrm>
        </p:grpSpPr>
        <p:sp>
          <p:nvSpPr>
            <p:cNvPr id="7495" name="Google Shape;7495;p75"/>
            <p:cNvSpPr/>
            <p:nvPr/>
          </p:nvSpPr>
          <p:spPr>
            <a:xfrm>
              <a:off x="-46349850" y="1966100"/>
              <a:ext cx="38625" cy="86850"/>
            </a:xfrm>
            <a:custGeom>
              <a:avLst/>
              <a:gdLst/>
              <a:ahLst/>
              <a:cxnLst/>
              <a:rect l="l" t="t" r="r" b="b"/>
              <a:pathLst>
                <a:path w="1545" h="3474" extrusionOk="0">
                  <a:moveTo>
                    <a:pt x="784" y="0"/>
                  </a:moveTo>
                  <a:cubicBezTo>
                    <a:pt x="686" y="0"/>
                    <a:pt x="583" y="24"/>
                    <a:pt x="505" y="71"/>
                  </a:cubicBezTo>
                  <a:cubicBezTo>
                    <a:pt x="1" y="607"/>
                    <a:pt x="1" y="1458"/>
                    <a:pt x="505" y="1962"/>
                  </a:cubicBezTo>
                  <a:cubicBezTo>
                    <a:pt x="757" y="2214"/>
                    <a:pt x="757" y="2655"/>
                    <a:pt x="505" y="2875"/>
                  </a:cubicBezTo>
                  <a:cubicBezTo>
                    <a:pt x="379" y="3001"/>
                    <a:pt x="379" y="3222"/>
                    <a:pt x="505" y="3379"/>
                  </a:cubicBezTo>
                  <a:cubicBezTo>
                    <a:pt x="568" y="3442"/>
                    <a:pt x="654" y="3474"/>
                    <a:pt x="749" y="3474"/>
                  </a:cubicBezTo>
                  <a:cubicBezTo>
                    <a:pt x="843" y="3474"/>
                    <a:pt x="946" y="3442"/>
                    <a:pt x="1040" y="3379"/>
                  </a:cubicBezTo>
                  <a:cubicBezTo>
                    <a:pt x="1544" y="2875"/>
                    <a:pt x="1544" y="2025"/>
                    <a:pt x="1040" y="1489"/>
                  </a:cubicBezTo>
                  <a:cubicBezTo>
                    <a:pt x="788" y="1269"/>
                    <a:pt x="788" y="827"/>
                    <a:pt x="1040" y="607"/>
                  </a:cubicBezTo>
                  <a:cubicBezTo>
                    <a:pt x="1135" y="481"/>
                    <a:pt x="1135" y="229"/>
                    <a:pt x="1040" y="71"/>
                  </a:cubicBezTo>
                  <a:cubicBezTo>
                    <a:pt x="977" y="24"/>
                    <a:pt x="883" y="0"/>
                    <a:pt x="78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6" name="Google Shape;7496;p75"/>
            <p:cNvSpPr/>
            <p:nvPr/>
          </p:nvSpPr>
          <p:spPr>
            <a:xfrm>
              <a:off x="-46297875" y="1966100"/>
              <a:ext cx="38625" cy="86850"/>
            </a:xfrm>
            <a:custGeom>
              <a:avLst/>
              <a:gdLst/>
              <a:ahLst/>
              <a:cxnLst/>
              <a:rect l="l" t="t" r="r" b="b"/>
              <a:pathLst>
                <a:path w="1545" h="3474" extrusionOk="0">
                  <a:moveTo>
                    <a:pt x="800" y="0"/>
                  </a:moveTo>
                  <a:cubicBezTo>
                    <a:pt x="710" y="0"/>
                    <a:pt x="615" y="24"/>
                    <a:pt x="537" y="71"/>
                  </a:cubicBezTo>
                  <a:cubicBezTo>
                    <a:pt x="1" y="607"/>
                    <a:pt x="1" y="1458"/>
                    <a:pt x="537" y="1962"/>
                  </a:cubicBezTo>
                  <a:cubicBezTo>
                    <a:pt x="757" y="2214"/>
                    <a:pt x="757" y="2655"/>
                    <a:pt x="537" y="2875"/>
                  </a:cubicBezTo>
                  <a:cubicBezTo>
                    <a:pt x="410" y="3001"/>
                    <a:pt x="410" y="3222"/>
                    <a:pt x="537" y="3379"/>
                  </a:cubicBezTo>
                  <a:cubicBezTo>
                    <a:pt x="584" y="3442"/>
                    <a:pt x="670" y="3474"/>
                    <a:pt x="765" y="3474"/>
                  </a:cubicBezTo>
                  <a:cubicBezTo>
                    <a:pt x="859" y="3474"/>
                    <a:pt x="962" y="3442"/>
                    <a:pt x="1041" y="3379"/>
                  </a:cubicBezTo>
                  <a:cubicBezTo>
                    <a:pt x="1545" y="2875"/>
                    <a:pt x="1545" y="2025"/>
                    <a:pt x="1041" y="1489"/>
                  </a:cubicBezTo>
                  <a:cubicBezTo>
                    <a:pt x="789" y="1269"/>
                    <a:pt x="789" y="827"/>
                    <a:pt x="1041" y="607"/>
                  </a:cubicBezTo>
                  <a:cubicBezTo>
                    <a:pt x="1167" y="481"/>
                    <a:pt x="1167" y="229"/>
                    <a:pt x="1041" y="71"/>
                  </a:cubicBezTo>
                  <a:cubicBezTo>
                    <a:pt x="978" y="24"/>
                    <a:pt x="891" y="0"/>
                    <a:pt x="8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7" name="Google Shape;7497;p75"/>
            <p:cNvSpPr/>
            <p:nvPr/>
          </p:nvSpPr>
          <p:spPr>
            <a:xfrm>
              <a:off x="-46244300" y="1966100"/>
              <a:ext cx="38600" cy="86850"/>
            </a:xfrm>
            <a:custGeom>
              <a:avLst/>
              <a:gdLst/>
              <a:ahLst/>
              <a:cxnLst/>
              <a:rect l="l" t="t" r="r" b="b"/>
              <a:pathLst>
                <a:path w="1544" h="3474" extrusionOk="0">
                  <a:moveTo>
                    <a:pt x="768" y="0"/>
                  </a:moveTo>
                  <a:cubicBezTo>
                    <a:pt x="678" y="0"/>
                    <a:pt x="583" y="24"/>
                    <a:pt x="504" y="71"/>
                  </a:cubicBezTo>
                  <a:cubicBezTo>
                    <a:pt x="0" y="607"/>
                    <a:pt x="0" y="1458"/>
                    <a:pt x="504" y="1962"/>
                  </a:cubicBezTo>
                  <a:cubicBezTo>
                    <a:pt x="756" y="2214"/>
                    <a:pt x="756" y="2655"/>
                    <a:pt x="504" y="2875"/>
                  </a:cubicBezTo>
                  <a:cubicBezTo>
                    <a:pt x="378" y="3001"/>
                    <a:pt x="378" y="3222"/>
                    <a:pt x="504" y="3379"/>
                  </a:cubicBezTo>
                  <a:cubicBezTo>
                    <a:pt x="567" y="3442"/>
                    <a:pt x="654" y="3474"/>
                    <a:pt x="745" y="3474"/>
                  </a:cubicBezTo>
                  <a:cubicBezTo>
                    <a:pt x="835" y="3474"/>
                    <a:pt x="930" y="3442"/>
                    <a:pt x="1008" y="3379"/>
                  </a:cubicBezTo>
                  <a:cubicBezTo>
                    <a:pt x="1544" y="2875"/>
                    <a:pt x="1544" y="2025"/>
                    <a:pt x="1008" y="1489"/>
                  </a:cubicBezTo>
                  <a:cubicBezTo>
                    <a:pt x="788" y="1269"/>
                    <a:pt x="788" y="827"/>
                    <a:pt x="1008" y="607"/>
                  </a:cubicBezTo>
                  <a:cubicBezTo>
                    <a:pt x="1134" y="481"/>
                    <a:pt x="1134" y="229"/>
                    <a:pt x="1008" y="71"/>
                  </a:cubicBezTo>
                  <a:cubicBezTo>
                    <a:pt x="945" y="24"/>
                    <a:pt x="859" y="0"/>
                    <a:pt x="7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498" name="Google Shape;7498;p75"/>
            <p:cNvSpPr/>
            <p:nvPr/>
          </p:nvSpPr>
          <p:spPr>
            <a:xfrm>
              <a:off x="-46404975" y="2070250"/>
              <a:ext cx="302475" cy="193800"/>
            </a:xfrm>
            <a:custGeom>
              <a:avLst/>
              <a:gdLst/>
              <a:ahLst/>
              <a:cxnLst/>
              <a:rect l="l" t="t" r="r" b="b"/>
              <a:pathLst>
                <a:path w="12099" h="7752" extrusionOk="0">
                  <a:moveTo>
                    <a:pt x="11058" y="1419"/>
                  </a:moveTo>
                  <a:cubicBezTo>
                    <a:pt x="11248" y="1419"/>
                    <a:pt x="11405" y="1576"/>
                    <a:pt x="11405" y="1797"/>
                  </a:cubicBezTo>
                  <a:cubicBezTo>
                    <a:pt x="11405" y="3088"/>
                    <a:pt x="10397" y="4160"/>
                    <a:pt x="9137" y="4223"/>
                  </a:cubicBezTo>
                  <a:cubicBezTo>
                    <a:pt x="9578" y="3372"/>
                    <a:pt x="9830" y="2395"/>
                    <a:pt x="9956" y="1419"/>
                  </a:cubicBezTo>
                  <a:close/>
                  <a:moveTo>
                    <a:pt x="9294" y="726"/>
                  </a:moveTo>
                  <a:cubicBezTo>
                    <a:pt x="9200" y="2521"/>
                    <a:pt x="8507" y="4569"/>
                    <a:pt x="7057" y="5640"/>
                  </a:cubicBezTo>
                  <a:lnTo>
                    <a:pt x="3056" y="5640"/>
                  </a:lnTo>
                  <a:lnTo>
                    <a:pt x="3056" y="5672"/>
                  </a:lnTo>
                  <a:cubicBezTo>
                    <a:pt x="1765" y="4695"/>
                    <a:pt x="914" y="2805"/>
                    <a:pt x="819" y="726"/>
                  </a:cubicBezTo>
                  <a:close/>
                  <a:moveTo>
                    <a:pt x="8948" y="6396"/>
                  </a:moveTo>
                  <a:cubicBezTo>
                    <a:pt x="8570" y="6837"/>
                    <a:pt x="8003" y="7090"/>
                    <a:pt x="7372" y="7090"/>
                  </a:cubicBezTo>
                  <a:lnTo>
                    <a:pt x="2710" y="7090"/>
                  </a:lnTo>
                  <a:cubicBezTo>
                    <a:pt x="2080" y="7090"/>
                    <a:pt x="1481" y="6837"/>
                    <a:pt x="1103" y="6396"/>
                  </a:cubicBezTo>
                  <a:close/>
                  <a:moveTo>
                    <a:pt x="441" y="1"/>
                  </a:moveTo>
                  <a:cubicBezTo>
                    <a:pt x="252" y="1"/>
                    <a:pt x="95" y="158"/>
                    <a:pt x="95" y="348"/>
                  </a:cubicBezTo>
                  <a:cubicBezTo>
                    <a:pt x="95" y="2301"/>
                    <a:pt x="725" y="4317"/>
                    <a:pt x="1985" y="5640"/>
                  </a:cubicBezTo>
                  <a:lnTo>
                    <a:pt x="441" y="5640"/>
                  </a:lnTo>
                  <a:cubicBezTo>
                    <a:pt x="158" y="5640"/>
                    <a:pt x="0" y="5924"/>
                    <a:pt x="126" y="6144"/>
                  </a:cubicBezTo>
                  <a:cubicBezTo>
                    <a:pt x="347" y="6617"/>
                    <a:pt x="725" y="7027"/>
                    <a:pt x="1197" y="7342"/>
                  </a:cubicBezTo>
                  <a:cubicBezTo>
                    <a:pt x="1670" y="7594"/>
                    <a:pt x="2174" y="7751"/>
                    <a:pt x="2710" y="7751"/>
                  </a:cubicBezTo>
                  <a:lnTo>
                    <a:pt x="7372" y="7751"/>
                  </a:lnTo>
                  <a:cubicBezTo>
                    <a:pt x="8475" y="7751"/>
                    <a:pt x="9452" y="7121"/>
                    <a:pt x="9956" y="6144"/>
                  </a:cubicBezTo>
                  <a:cubicBezTo>
                    <a:pt x="10082" y="5924"/>
                    <a:pt x="9924" y="5640"/>
                    <a:pt x="9641" y="5640"/>
                  </a:cubicBezTo>
                  <a:lnTo>
                    <a:pt x="8129" y="5640"/>
                  </a:lnTo>
                  <a:lnTo>
                    <a:pt x="8696" y="4916"/>
                  </a:lnTo>
                  <a:lnTo>
                    <a:pt x="8948" y="4916"/>
                  </a:lnTo>
                  <a:lnTo>
                    <a:pt x="8948" y="4947"/>
                  </a:lnTo>
                  <a:cubicBezTo>
                    <a:pt x="10680" y="4947"/>
                    <a:pt x="12098" y="3529"/>
                    <a:pt x="12098" y="1797"/>
                  </a:cubicBezTo>
                  <a:cubicBezTo>
                    <a:pt x="12098" y="1198"/>
                    <a:pt x="11626" y="726"/>
                    <a:pt x="11027" y="726"/>
                  </a:cubicBezTo>
                  <a:lnTo>
                    <a:pt x="9956" y="726"/>
                  </a:lnTo>
                  <a:lnTo>
                    <a:pt x="9956" y="348"/>
                  </a:lnTo>
                  <a:cubicBezTo>
                    <a:pt x="9956" y="158"/>
                    <a:pt x="9798" y="1"/>
                    <a:pt x="96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499" name="Google Shape;7499;p75"/>
          <p:cNvGrpSpPr/>
          <p:nvPr/>
        </p:nvGrpSpPr>
        <p:grpSpPr>
          <a:xfrm>
            <a:off x="2908987" y="4485951"/>
            <a:ext cx="477639" cy="477599"/>
            <a:chOff x="-46401050" y="2333325"/>
            <a:chExt cx="300125" cy="300100"/>
          </a:xfrm>
        </p:grpSpPr>
        <p:sp>
          <p:nvSpPr>
            <p:cNvPr id="7500" name="Google Shape;7500;p75"/>
            <p:cNvSpPr/>
            <p:nvPr/>
          </p:nvSpPr>
          <p:spPr>
            <a:xfrm>
              <a:off x="-46401050" y="2333325"/>
              <a:ext cx="300125" cy="300100"/>
            </a:xfrm>
            <a:custGeom>
              <a:avLst/>
              <a:gdLst/>
              <a:ahLst/>
              <a:cxnLst/>
              <a:rect l="l" t="t" r="r" b="b"/>
              <a:pathLst>
                <a:path w="12005" h="12004" extrusionOk="0">
                  <a:moveTo>
                    <a:pt x="7719" y="725"/>
                  </a:moveTo>
                  <a:lnTo>
                    <a:pt x="7719" y="2111"/>
                  </a:lnTo>
                  <a:lnTo>
                    <a:pt x="7026" y="2111"/>
                  </a:lnTo>
                  <a:lnTo>
                    <a:pt x="7026" y="725"/>
                  </a:lnTo>
                  <a:close/>
                  <a:moveTo>
                    <a:pt x="9137" y="725"/>
                  </a:moveTo>
                  <a:lnTo>
                    <a:pt x="9137" y="3498"/>
                  </a:lnTo>
                  <a:lnTo>
                    <a:pt x="2805" y="3498"/>
                  </a:lnTo>
                  <a:lnTo>
                    <a:pt x="2805" y="725"/>
                  </a:lnTo>
                  <a:lnTo>
                    <a:pt x="6302" y="725"/>
                  </a:lnTo>
                  <a:lnTo>
                    <a:pt x="6302" y="2489"/>
                  </a:lnTo>
                  <a:cubicBezTo>
                    <a:pt x="6302" y="2678"/>
                    <a:pt x="6459" y="2836"/>
                    <a:pt x="6648" y="2836"/>
                  </a:cubicBezTo>
                  <a:lnTo>
                    <a:pt x="8066" y="2836"/>
                  </a:lnTo>
                  <a:cubicBezTo>
                    <a:pt x="8255" y="2836"/>
                    <a:pt x="8413" y="2678"/>
                    <a:pt x="8413" y="2489"/>
                  </a:cubicBezTo>
                  <a:lnTo>
                    <a:pt x="8413" y="725"/>
                  </a:lnTo>
                  <a:close/>
                  <a:moveTo>
                    <a:pt x="2080" y="725"/>
                  </a:moveTo>
                  <a:lnTo>
                    <a:pt x="2080" y="3876"/>
                  </a:lnTo>
                  <a:cubicBezTo>
                    <a:pt x="2080" y="4065"/>
                    <a:pt x="2238" y="4222"/>
                    <a:pt x="2427" y="4222"/>
                  </a:cubicBezTo>
                  <a:lnTo>
                    <a:pt x="9452" y="4222"/>
                  </a:lnTo>
                  <a:cubicBezTo>
                    <a:pt x="9641" y="4222"/>
                    <a:pt x="9799" y="4065"/>
                    <a:pt x="9799" y="3876"/>
                  </a:cubicBezTo>
                  <a:lnTo>
                    <a:pt x="9799" y="1166"/>
                  </a:lnTo>
                  <a:lnTo>
                    <a:pt x="11217" y="2584"/>
                  </a:lnTo>
                  <a:lnTo>
                    <a:pt x="11217" y="11311"/>
                  </a:lnTo>
                  <a:lnTo>
                    <a:pt x="662" y="11311"/>
                  </a:lnTo>
                  <a:lnTo>
                    <a:pt x="662" y="725"/>
                  </a:lnTo>
                  <a:close/>
                  <a:moveTo>
                    <a:pt x="347" y="1"/>
                  </a:moveTo>
                  <a:cubicBezTo>
                    <a:pt x="158" y="1"/>
                    <a:pt x="1" y="158"/>
                    <a:pt x="1" y="347"/>
                  </a:cubicBezTo>
                  <a:lnTo>
                    <a:pt x="1" y="11657"/>
                  </a:lnTo>
                  <a:cubicBezTo>
                    <a:pt x="1" y="11846"/>
                    <a:pt x="158" y="12004"/>
                    <a:pt x="347" y="12004"/>
                  </a:cubicBezTo>
                  <a:lnTo>
                    <a:pt x="11658" y="12004"/>
                  </a:lnTo>
                  <a:cubicBezTo>
                    <a:pt x="11847" y="12004"/>
                    <a:pt x="12004" y="11846"/>
                    <a:pt x="12004" y="11657"/>
                  </a:cubicBezTo>
                  <a:lnTo>
                    <a:pt x="12004" y="2489"/>
                  </a:lnTo>
                  <a:cubicBezTo>
                    <a:pt x="11941" y="2395"/>
                    <a:pt x="11878" y="2300"/>
                    <a:pt x="11847" y="2237"/>
                  </a:cubicBezTo>
                  <a:lnTo>
                    <a:pt x="9736" y="127"/>
                  </a:lnTo>
                  <a:cubicBezTo>
                    <a:pt x="9641" y="32"/>
                    <a:pt x="9578" y="1"/>
                    <a:pt x="948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1" name="Google Shape;7501;p75"/>
            <p:cNvSpPr/>
            <p:nvPr/>
          </p:nvSpPr>
          <p:spPr>
            <a:xfrm>
              <a:off x="-46366400" y="2580650"/>
              <a:ext cx="35475" cy="17350"/>
            </a:xfrm>
            <a:custGeom>
              <a:avLst/>
              <a:gdLst/>
              <a:ahLst/>
              <a:cxnLst/>
              <a:rect l="l" t="t" r="r" b="b"/>
              <a:pathLst>
                <a:path w="1419" h="694" extrusionOk="0">
                  <a:moveTo>
                    <a:pt x="348" y="0"/>
                  </a:moveTo>
                  <a:cubicBezTo>
                    <a:pt x="159" y="0"/>
                    <a:pt x="1" y="158"/>
                    <a:pt x="1" y="347"/>
                  </a:cubicBezTo>
                  <a:cubicBezTo>
                    <a:pt x="1" y="536"/>
                    <a:pt x="159" y="693"/>
                    <a:pt x="348" y="693"/>
                  </a:cubicBezTo>
                  <a:lnTo>
                    <a:pt x="1041" y="693"/>
                  </a:lnTo>
                  <a:cubicBezTo>
                    <a:pt x="1261" y="693"/>
                    <a:pt x="1419" y="536"/>
                    <a:pt x="1419" y="347"/>
                  </a:cubicBezTo>
                  <a:cubicBezTo>
                    <a:pt x="1419" y="158"/>
                    <a:pt x="1261"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2" name="Google Shape;7502;p75"/>
            <p:cNvSpPr/>
            <p:nvPr/>
          </p:nvSpPr>
          <p:spPr>
            <a:xfrm>
              <a:off x="-46313625" y="2457775"/>
              <a:ext cx="122900" cy="122100"/>
            </a:xfrm>
            <a:custGeom>
              <a:avLst/>
              <a:gdLst/>
              <a:ahLst/>
              <a:cxnLst/>
              <a:rect l="l" t="t" r="r" b="b"/>
              <a:pathLst>
                <a:path w="4916" h="4884" extrusionOk="0">
                  <a:moveTo>
                    <a:pt x="2458" y="662"/>
                  </a:moveTo>
                  <a:cubicBezTo>
                    <a:pt x="3435" y="662"/>
                    <a:pt x="4222" y="1450"/>
                    <a:pt x="4222" y="2426"/>
                  </a:cubicBezTo>
                  <a:cubicBezTo>
                    <a:pt x="4222" y="3403"/>
                    <a:pt x="3435" y="4190"/>
                    <a:pt x="2458" y="4190"/>
                  </a:cubicBezTo>
                  <a:cubicBezTo>
                    <a:pt x="1450" y="4190"/>
                    <a:pt x="662" y="3403"/>
                    <a:pt x="662" y="2426"/>
                  </a:cubicBezTo>
                  <a:cubicBezTo>
                    <a:pt x="662" y="1450"/>
                    <a:pt x="1450" y="662"/>
                    <a:pt x="2458" y="662"/>
                  </a:cubicBezTo>
                  <a:close/>
                  <a:moveTo>
                    <a:pt x="2458" y="0"/>
                  </a:moveTo>
                  <a:cubicBezTo>
                    <a:pt x="1103" y="0"/>
                    <a:pt x="1" y="1103"/>
                    <a:pt x="1" y="2426"/>
                  </a:cubicBezTo>
                  <a:cubicBezTo>
                    <a:pt x="1" y="3781"/>
                    <a:pt x="1103" y="4884"/>
                    <a:pt x="2458" y="4884"/>
                  </a:cubicBezTo>
                  <a:cubicBezTo>
                    <a:pt x="3781" y="4884"/>
                    <a:pt x="4884" y="3749"/>
                    <a:pt x="4884" y="2426"/>
                  </a:cubicBezTo>
                  <a:cubicBezTo>
                    <a:pt x="4916" y="1103"/>
                    <a:pt x="3813"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3" name="Google Shape;7503;p75"/>
            <p:cNvSpPr/>
            <p:nvPr/>
          </p:nvSpPr>
          <p:spPr>
            <a:xfrm>
              <a:off x="-46278950" y="2493225"/>
              <a:ext cx="53575" cy="52775"/>
            </a:xfrm>
            <a:custGeom>
              <a:avLst/>
              <a:gdLst/>
              <a:ahLst/>
              <a:cxnLst/>
              <a:rect l="l" t="t" r="r" b="b"/>
              <a:pathLst>
                <a:path w="2143" h="2111" extrusionOk="0">
                  <a:moveTo>
                    <a:pt x="1071" y="662"/>
                  </a:moveTo>
                  <a:cubicBezTo>
                    <a:pt x="1260" y="662"/>
                    <a:pt x="1418" y="819"/>
                    <a:pt x="1418" y="1008"/>
                  </a:cubicBezTo>
                  <a:cubicBezTo>
                    <a:pt x="1418" y="1197"/>
                    <a:pt x="1260" y="1355"/>
                    <a:pt x="1071" y="1355"/>
                  </a:cubicBezTo>
                  <a:cubicBezTo>
                    <a:pt x="851" y="1355"/>
                    <a:pt x="693" y="1197"/>
                    <a:pt x="693" y="1008"/>
                  </a:cubicBezTo>
                  <a:cubicBezTo>
                    <a:pt x="693" y="819"/>
                    <a:pt x="851" y="662"/>
                    <a:pt x="1071" y="662"/>
                  </a:cubicBezTo>
                  <a:close/>
                  <a:moveTo>
                    <a:pt x="1071" y="0"/>
                  </a:moveTo>
                  <a:cubicBezTo>
                    <a:pt x="473" y="0"/>
                    <a:pt x="0" y="473"/>
                    <a:pt x="0" y="1040"/>
                  </a:cubicBezTo>
                  <a:cubicBezTo>
                    <a:pt x="0" y="1638"/>
                    <a:pt x="473" y="2111"/>
                    <a:pt x="1071" y="2111"/>
                  </a:cubicBezTo>
                  <a:cubicBezTo>
                    <a:pt x="1638" y="2111"/>
                    <a:pt x="2111" y="1638"/>
                    <a:pt x="2111" y="1040"/>
                  </a:cubicBezTo>
                  <a:cubicBezTo>
                    <a:pt x="2142" y="473"/>
                    <a:pt x="1638"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04" name="Google Shape;7504;p75"/>
          <p:cNvSpPr/>
          <p:nvPr/>
        </p:nvSpPr>
        <p:spPr>
          <a:xfrm>
            <a:off x="2911252" y="5093596"/>
            <a:ext cx="480145" cy="478872"/>
          </a:xfrm>
          <a:custGeom>
            <a:avLst/>
            <a:gdLst/>
            <a:ahLst/>
            <a:cxnLst/>
            <a:rect l="l" t="t" r="r" b="b"/>
            <a:pathLst>
              <a:path w="12068" h="12036" extrusionOk="0">
                <a:moveTo>
                  <a:pt x="4222" y="630"/>
                </a:moveTo>
                <a:cubicBezTo>
                  <a:pt x="5010" y="630"/>
                  <a:pt x="5640" y="1292"/>
                  <a:pt x="5640" y="2048"/>
                </a:cubicBezTo>
                <a:lnTo>
                  <a:pt x="5640" y="9767"/>
                </a:lnTo>
                <a:cubicBezTo>
                  <a:pt x="5703" y="10617"/>
                  <a:pt x="5073" y="11311"/>
                  <a:pt x="4285" y="11311"/>
                </a:cubicBezTo>
                <a:cubicBezTo>
                  <a:pt x="3498" y="11311"/>
                  <a:pt x="2868" y="10680"/>
                  <a:pt x="2868" y="9893"/>
                </a:cubicBezTo>
                <a:lnTo>
                  <a:pt x="2868" y="9830"/>
                </a:lnTo>
                <a:cubicBezTo>
                  <a:pt x="3403" y="9767"/>
                  <a:pt x="3907" y="9515"/>
                  <a:pt x="4254" y="9137"/>
                </a:cubicBezTo>
                <a:cubicBezTo>
                  <a:pt x="4380" y="9011"/>
                  <a:pt x="4380" y="8790"/>
                  <a:pt x="4254" y="8633"/>
                </a:cubicBezTo>
                <a:cubicBezTo>
                  <a:pt x="4191" y="8570"/>
                  <a:pt x="4104" y="8538"/>
                  <a:pt x="4014" y="8538"/>
                </a:cubicBezTo>
                <a:cubicBezTo>
                  <a:pt x="3923" y="8538"/>
                  <a:pt x="3829" y="8570"/>
                  <a:pt x="3750" y="8633"/>
                </a:cubicBezTo>
                <a:cubicBezTo>
                  <a:pt x="3435" y="8948"/>
                  <a:pt x="2962" y="9137"/>
                  <a:pt x="2490" y="9137"/>
                </a:cubicBezTo>
                <a:cubicBezTo>
                  <a:pt x="1513" y="9137"/>
                  <a:pt x="725" y="8349"/>
                  <a:pt x="725" y="7372"/>
                </a:cubicBezTo>
                <a:cubicBezTo>
                  <a:pt x="725" y="7057"/>
                  <a:pt x="788" y="6742"/>
                  <a:pt x="946" y="6490"/>
                </a:cubicBezTo>
                <a:cubicBezTo>
                  <a:pt x="1387" y="6805"/>
                  <a:pt x="1891" y="6994"/>
                  <a:pt x="2490" y="6994"/>
                </a:cubicBezTo>
                <a:cubicBezTo>
                  <a:pt x="2679" y="6994"/>
                  <a:pt x="2836" y="6837"/>
                  <a:pt x="2836" y="6648"/>
                </a:cubicBezTo>
                <a:cubicBezTo>
                  <a:pt x="2836" y="6459"/>
                  <a:pt x="2679" y="6301"/>
                  <a:pt x="2490" y="6301"/>
                </a:cubicBezTo>
                <a:cubicBezTo>
                  <a:pt x="1513" y="6301"/>
                  <a:pt x="725" y="5514"/>
                  <a:pt x="725" y="4537"/>
                </a:cubicBezTo>
                <a:cubicBezTo>
                  <a:pt x="725" y="3623"/>
                  <a:pt x="1387" y="2899"/>
                  <a:pt x="2238" y="2804"/>
                </a:cubicBezTo>
                <a:cubicBezTo>
                  <a:pt x="2521" y="3623"/>
                  <a:pt x="3309" y="4159"/>
                  <a:pt x="4222" y="4159"/>
                </a:cubicBezTo>
                <a:cubicBezTo>
                  <a:pt x="4411" y="4159"/>
                  <a:pt x="4569" y="4001"/>
                  <a:pt x="4569" y="3812"/>
                </a:cubicBezTo>
                <a:cubicBezTo>
                  <a:pt x="4569" y="3623"/>
                  <a:pt x="4411" y="3466"/>
                  <a:pt x="4222" y="3466"/>
                </a:cubicBezTo>
                <a:cubicBezTo>
                  <a:pt x="3435" y="3466"/>
                  <a:pt x="2805" y="2836"/>
                  <a:pt x="2805" y="2048"/>
                </a:cubicBezTo>
                <a:cubicBezTo>
                  <a:pt x="2805" y="1261"/>
                  <a:pt x="3435" y="630"/>
                  <a:pt x="4222" y="630"/>
                </a:cubicBezTo>
                <a:close/>
                <a:moveTo>
                  <a:pt x="7814" y="788"/>
                </a:moveTo>
                <a:cubicBezTo>
                  <a:pt x="8602" y="788"/>
                  <a:pt x="9232" y="1418"/>
                  <a:pt x="9232" y="2206"/>
                </a:cubicBezTo>
                <a:cubicBezTo>
                  <a:pt x="9232" y="2993"/>
                  <a:pt x="8602" y="3623"/>
                  <a:pt x="7814" y="3623"/>
                </a:cubicBezTo>
                <a:cubicBezTo>
                  <a:pt x="7593" y="3623"/>
                  <a:pt x="7436" y="3781"/>
                  <a:pt x="7436" y="3970"/>
                </a:cubicBezTo>
                <a:cubicBezTo>
                  <a:pt x="7436" y="4159"/>
                  <a:pt x="7593" y="4316"/>
                  <a:pt x="7814" y="4316"/>
                </a:cubicBezTo>
                <a:cubicBezTo>
                  <a:pt x="8696" y="4316"/>
                  <a:pt x="9484" y="3749"/>
                  <a:pt x="9767" y="2962"/>
                </a:cubicBezTo>
                <a:cubicBezTo>
                  <a:pt x="10649" y="3056"/>
                  <a:pt x="11311" y="3812"/>
                  <a:pt x="11311" y="4695"/>
                </a:cubicBezTo>
                <a:cubicBezTo>
                  <a:pt x="11311" y="5671"/>
                  <a:pt x="10523" y="6459"/>
                  <a:pt x="9547" y="6459"/>
                </a:cubicBezTo>
                <a:cubicBezTo>
                  <a:pt x="9326" y="6459"/>
                  <a:pt x="9169" y="6616"/>
                  <a:pt x="9169" y="6805"/>
                </a:cubicBezTo>
                <a:cubicBezTo>
                  <a:pt x="9169" y="6994"/>
                  <a:pt x="9326" y="7152"/>
                  <a:pt x="9547" y="7152"/>
                </a:cubicBezTo>
                <a:cubicBezTo>
                  <a:pt x="10114" y="7152"/>
                  <a:pt x="10649" y="6963"/>
                  <a:pt x="11059" y="6648"/>
                </a:cubicBezTo>
                <a:cubicBezTo>
                  <a:pt x="11217" y="6931"/>
                  <a:pt x="11311" y="7215"/>
                  <a:pt x="11311" y="7530"/>
                </a:cubicBezTo>
                <a:cubicBezTo>
                  <a:pt x="11374" y="8381"/>
                  <a:pt x="10586" y="9168"/>
                  <a:pt x="9610" y="9168"/>
                </a:cubicBezTo>
                <a:cubicBezTo>
                  <a:pt x="9137" y="9168"/>
                  <a:pt x="8696" y="8979"/>
                  <a:pt x="8350" y="8664"/>
                </a:cubicBezTo>
                <a:cubicBezTo>
                  <a:pt x="8287" y="8601"/>
                  <a:pt x="8200" y="8570"/>
                  <a:pt x="8109" y="8570"/>
                </a:cubicBezTo>
                <a:cubicBezTo>
                  <a:pt x="8019" y="8570"/>
                  <a:pt x="7924" y="8601"/>
                  <a:pt x="7845" y="8664"/>
                </a:cubicBezTo>
                <a:cubicBezTo>
                  <a:pt x="7719" y="8790"/>
                  <a:pt x="7719" y="9011"/>
                  <a:pt x="7845" y="9168"/>
                </a:cubicBezTo>
                <a:cubicBezTo>
                  <a:pt x="8224" y="9578"/>
                  <a:pt x="8696" y="9798"/>
                  <a:pt x="9232" y="9893"/>
                </a:cubicBezTo>
                <a:lnTo>
                  <a:pt x="9232" y="9924"/>
                </a:lnTo>
                <a:cubicBezTo>
                  <a:pt x="9232" y="10712"/>
                  <a:pt x="8602" y="11342"/>
                  <a:pt x="7814" y="11342"/>
                </a:cubicBezTo>
                <a:cubicBezTo>
                  <a:pt x="7026" y="11342"/>
                  <a:pt x="6396" y="10680"/>
                  <a:pt x="6396" y="9924"/>
                </a:cubicBezTo>
                <a:lnTo>
                  <a:pt x="6396" y="2206"/>
                </a:lnTo>
                <a:cubicBezTo>
                  <a:pt x="6396" y="1418"/>
                  <a:pt x="7058" y="788"/>
                  <a:pt x="7814" y="788"/>
                </a:cubicBezTo>
                <a:close/>
                <a:moveTo>
                  <a:pt x="4254" y="0"/>
                </a:moveTo>
                <a:cubicBezTo>
                  <a:pt x="3088" y="0"/>
                  <a:pt x="2143" y="977"/>
                  <a:pt x="2143" y="2111"/>
                </a:cubicBezTo>
                <a:lnTo>
                  <a:pt x="2143" y="2174"/>
                </a:lnTo>
                <a:cubicBezTo>
                  <a:pt x="946" y="2332"/>
                  <a:pt x="1" y="3340"/>
                  <a:pt x="1" y="4600"/>
                </a:cubicBezTo>
                <a:cubicBezTo>
                  <a:pt x="1" y="5104"/>
                  <a:pt x="158" y="5640"/>
                  <a:pt x="442" y="6018"/>
                </a:cubicBezTo>
                <a:cubicBezTo>
                  <a:pt x="158" y="6427"/>
                  <a:pt x="1" y="6931"/>
                  <a:pt x="1" y="7435"/>
                </a:cubicBezTo>
                <a:cubicBezTo>
                  <a:pt x="1" y="8696"/>
                  <a:pt x="946" y="9735"/>
                  <a:pt x="2143" y="9861"/>
                </a:cubicBezTo>
                <a:lnTo>
                  <a:pt x="2143" y="9924"/>
                </a:lnTo>
                <a:cubicBezTo>
                  <a:pt x="2143" y="11090"/>
                  <a:pt x="3088" y="12035"/>
                  <a:pt x="4254" y="12035"/>
                </a:cubicBezTo>
                <a:cubicBezTo>
                  <a:pt x="5010" y="12035"/>
                  <a:pt x="5640" y="11657"/>
                  <a:pt x="6050" y="11058"/>
                </a:cubicBezTo>
                <a:cubicBezTo>
                  <a:pt x="6428" y="11657"/>
                  <a:pt x="7089" y="12035"/>
                  <a:pt x="7814" y="12035"/>
                </a:cubicBezTo>
                <a:cubicBezTo>
                  <a:pt x="8980" y="12035"/>
                  <a:pt x="9925" y="11058"/>
                  <a:pt x="9925" y="9924"/>
                </a:cubicBezTo>
                <a:lnTo>
                  <a:pt x="9925" y="9861"/>
                </a:lnTo>
                <a:cubicBezTo>
                  <a:pt x="11122" y="9704"/>
                  <a:pt x="12067" y="8696"/>
                  <a:pt x="12067" y="7435"/>
                </a:cubicBezTo>
                <a:cubicBezTo>
                  <a:pt x="12067" y="6931"/>
                  <a:pt x="11910" y="6459"/>
                  <a:pt x="11626" y="6018"/>
                </a:cubicBezTo>
                <a:cubicBezTo>
                  <a:pt x="11910" y="5577"/>
                  <a:pt x="12067" y="5104"/>
                  <a:pt x="12067" y="4600"/>
                </a:cubicBezTo>
                <a:cubicBezTo>
                  <a:pt x="12067" y="3371"/>
                  <a:pt x="11154" y="2363"/>
                  <a:pt x="9925" y="2174"/>
                </a:cubicBezTo>
                <a:lnTo>
                  <a:pt x="9925" y="2111"/>
                </a:lnTo>
                <a:cubicBezTo>
                  <a:pt x="9925" y="945"/>
                  <a:pt x="8980" y="0"/>
                  <a:pt x="7814" y="0"/>
                </a:cubicBezTo>
                <a:cubicBezTo>
                  <a:pt x="7089" y="0"/>
                  <a:pt x="6428" y="378"/>
                  <a:pt x="6050" y="977"/>
                </a:cubicBezTo>
                <a:cubicBezTo>
                  <a:pt x="5640" y="378"/>
                  <a:pt x="4979" y="0"/>
                  <a:pt x="42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05" name="Google Shape;7505;p75"/>
          <p:cNvGrpSpPr/>
          <p:nvPr/>
        </p:nvGrpSpPr>
        <p:grpSpPr>
          <a:xfrm>
            <a:off x="5282440" y="4499757"/>
            <a:ext cx="478872" cy="478832"/>
            <a:chOff x="-44914800" y="2342000"/>
            <a:chExt cx="300900" cy="300875"/>
          </a:xfrm>
        </p:grpSpPr>
        <p:sp>
          <p:nvSpPr>
            <p:cNvPr id="7506" name="Google Shape;7506;p75"/>
            <p:cNvSpPr/>
            <p:nvPr/>
          </p:nvSpPr>
          <p:spPr>
            <a:xfrm>
              <a:off x="-44914800" y="2342000"/>
              <a:ext cx="300900" cy="300875"/>
            </a:xfrm>
            <a:custGeom>
              <a:avLst/>
              <a:gdLst/>
              <a:ahLst/>
              <a:cxnLst/>
              <a:rect l="l" t="t" r="r" b="b"/>
              <a:pathLst>
                <a:path w="12036" h="12035" extrusionOk="0">
                  <a:moveTo>
                    <a:pt x="1450" y="725"/>
                  </a:moveTo>
                  <a:lnTo>
                    <a:pt x="1450" y="1418"/>
                  </a:lnTo>
                  <a:lnTo>
                    <a:pt x="725" y="1418"/>
                  </a:lnTo>
                  <a:lnTo>
                    <a:pt x="725" y="725"/>
                  </a:lnTo>
                  <a:close/>
                  <a:moveTo>
                    <a:pt x="11311" y="725"/>
                  </a:moveTo>
                  <a:lnTo>
                    <a:pt x="11311" y="1418"/>
                  </a:lnTo>
                  <a:lnTo>
                    <a:pt x="10618" y="1418"/>
                  </a:lnTo>
                  <a:lnTo>
                    <a:pt x="10618" y="725"/>
                  </a:lnTo>
                  <a:close/>
                  <a:moveTo>
                    <a:pt x="9893" y="1418"/>
                  </a:moveTo>
                  <a:lnTo>
                    <a:pt x="9893" y="1796"/>
                  </a:lnTo>
                  <a:cubicBezTo>
                    <a:pt x="9893" y="1985"/>
                    <a:pt x="10051" y="2142"/>
                    <a:pt x="10240" y="2142"/>
                  </a:cubicBezTo>
                  <a:lnTo>
                    <a:pt x="10618" y="2142"/>
                  </a:lnTo>
                  <a:lnTo>
                    <a:pt x="10618" y="9893"/>
                  </a:lnTo>
                  <a:lnTo>
                    <a:pt x="10240" y="9893"/>
                  </a:lnTo>
                  <a:cubicBezTo>
                    <a:pt x="10051" y="9893"/>
                    <a:pt x="9893" y="10050"/>
                    <a:pt x="9893" y="10239"/>
                  </a:cubicBezTo>
                  <a:lnTo>
                    <a:pt x="9893" y="10617"/>
                  </a:lnTo>
                  <a:lnTo>
                    <a:pt x="2143" y="10617"/>
                  </a:lnTo>
                  <a:lnTo>
                    <a:pt x="2143" y="10239"/>
                  </a:lnTo>
                  <a:cubicBezTo>
                    <a:pt x="2143" y="10050"/>
                    <a:pt x="1985" y="9893"/>
                    <a:pt x="1796" y="9893"/>
                  </a:cubicBezTo>
                  <a:lnTo>
                    <a:pt x="1450" y="9893"/>
                  </a:lnTo>
                  <a:lnTo>
                    <a:pt x="1450" y="2142"/>
                  </a:lnTo>
                  <a:lnTo>
                    <a:pt x="1796" y="2142"/>
                  </a:lnTo>
                  <a:cubicBezTo>
                    <a:pt x="1985" y="2142"/>
                    <a:pt x="2143" y="1985"/>
                    <a:pt x="2143" y="1796"/>
                  </a:cubicBezTo>
                  <a:lnTo>
                    <a:pt x="2143" y="1418"/>
                  </a:lnTo>
                  <a:close/>
                  <a:moveTo>
                    <a:pt x="1418" y="10617"/>
                  </a:moveTo>
                  <a:lnTo>
                    <a:pt x="1418" y="11310"/>
                  </a:lnTo>
                  <a:lnTo>
                    <a:pt x="725" y="11310"/>
                  </a:lnTo>
                  <a:lnTo>
                    <a:pt x="725" y="10617"/>
                  </a:lnTo>
                  <a:close/>
                  <a:moveTo>
                    <a:pt x="11311" y="10617"/>
                  </a:moveTo>
                  <a:lnTo>
                    <a:pt x="11311" y="11310"/>
                  </a:lnTo>
                  <a:lnTo>
                    <a:pt x="10618" y="11310"/>
                  </a:lnTo>
                  <a:lnTo>
                    <a:pt x="10618" y="10617"/>
                  </a:lnTo>
                  <a:close/>
                  <a:moveTo>
                    <a:pt x="379" y="0"/>
                  </a:moveTo>
                  <a:cubicBezTo>
                    <a:pt x="158" y="0"/>
                    <a:pt x="1" y="158"/>
                    <a:pt x="1" y="378"/>
                  </a:cubicBezTo>
                  <a:lnTo>
                    <a:pt x="1" y="1764"/>
                  </a:lnTo>
                  <a:cubicBezTo>
                    <a:pt x="1" y="1985"/>
                    <a:pt x="158" y="2142"/>
                    <a:pt x="379" y="2142"/>
                  </a:cubicBezTo>
                  <a:lnTo>
                    <a:pt x="725" y="2142"/>
                  </a:lnTo>
                  <a:lnTo>
                    <a:pt x="725" y="9893"/>
                  </a:lnTo>
                  <a:lnTo>
                    <a:pt x="379" y="9893"/>
                  </a:lnTo>
                  <a:cubicBezTo>
                    <a:pt x="158" y="9893"/>
                    <a:pt x="1" y="10050"/>
                    <a:pt x="1" y="10239"/>
                  </a:cubicBezTo>
                  <a:lnTo>
                    <a:pt x="1" y="11657"/>
                  </a:lnTo>
                  <a:cubicBezTo>
                    <a:pt x="1" y="11877"/>
                    <a:pt x="158" y="12035"/>
                    <a:pt x="379" y="12035"/>
                  </a:cubicBezTo>
                  <a:lnTo>
                    <a:pt x="1796" y="12035"/>
                  </a:lnTo>
                  <a:cubicBezTo>
                    <a:pt x="1985" y="12035"/>
                    <a:pt x="2143" y="11877"/>
                    <a:pt x="2143" y="11657"/>
                  </a:cubicBezTo>
                  <a:lnTo>
                    <a:pt x="2143" y="11310"/>
                  </a:lnTo>
                  <a:lnTo>
                    <a:pt x="9893" y="11310"/>
                  </a:lnTo>
                  <a:lnTo>
                    <a:pt x="9893" y="11657"/>
                  </a:lnTo>
                  <a:cubicBezTo>
                    <a:pt x="9893" y="11877"/>
                    <a:pt x="10051" y="12035"/>
                    <a:pt x="10240" y="12035"/>
                  </a:cubicBezTo>
                  <a:lnTo>
                    <a:pt x="11657" y="12035"/>
                  </a:lnTo>
                  <a:cubicBezTo>
                    <a:pt x="11878" y="12035"/>
                    <a:pt x="12036" y="11877"/>
                    <a:pt x="12036" y="11657"/>
                  </a:cubicBezTo>
                  <a:lnTo>
                    <a:pt x="12036" y="10239"/>
                  </a:lnTo>
                  <a:cubicBezTo>
                    <a:pt x="12036" y="10050"/>
                    <a:pt x="11878" y="9893"/>
                    <a:pt x="11657" y="9893"/>
                  </a:cubicBezTo>
                  <a:lnTo>
                    <a:pt x="11311" y="9893"/>
                  </a:lnTo>
                  <a:lnTo>
                    <a:pt x="11311" y="2142"/>
                  </a:lnTo>
                  <a:lnTo>
                    <a:pt x="11657" y="2142"/>
                  </a:lnTo>
                  <a:cubicBezTo>
                    <a:pt x="11878" y="2142"/>
                    <a:pt x="12036" y="1985"/>
                    <a:pt x="12036" y="1764"/>
                  </a:cubicBezTo>
                  <a:lnTo>
                    <a:pt x="12036" y="378"/>
                  </a:lnTo>
                  <a:cubicBezTo>
                    <a:pt x="12036" y="158"/>
                    <a:pt x="11878" y="0"/>
                    <a:pt x="11657" y="0"/>
                  </a:cubicBezTo>
                  <a:lnTo>
                    <a:pt x="10240" y="0"/>
                  </a:lnTo>
                  <a:cubicBezTo>
                    <a:pt x="10051" y="0"/>
                    <a:pt x="9893" y="158"/>
                    <a:pt x="9893" y="378"/>
                  </a:cubicBezTo>
                  <a:lnTo>
                    <a:pt x="9893" y="725"/>
                  </a:lnTo>
                  <a:lnTo>
                    <a:pt x="2143" y="725"/>
                  </a:lnTo>
                  <a:lnTo>
                    <a:pt x="2143" y="378"/>
                  </a:lnTo>
                  <a:cubicBezTo>
                    <a:pt x="2143" y="158"/>
                    <a:pt x="1985"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7" name="Google Shape;7507;p75"/>
            <p:cNvSpPr/>
            <p:nvPr/>
          </p:nvSpPr>
          <p:spPr>
            <a:xfrm>
              <a:off x="-44860450" y="2412875"/>
              <a:ext cx="193000" cy="159125"/>
            </a:xfrm>
            <a:custGeom>
              <a:avLst/>
              <a:gdLst/>
              <a:ahLst/>
              <a:cxnLst/>
              <a:rect l="l" t="t" r="r" b="b"/>
              <a:pathLst>
                <a:path w="7720" h="6365" extrusionOk="0">
                  <a:moveTo>
                    <a:pt x="7026" y="694"/>
                  </a:moveTo>
                  <a:lnTo>
                    <a:pt x="7026" y="725"/>
                  </a:lnTo>
                  <a:lnTo>
                    <a:pt x="7026" y="5136"/>
                  </a:lnTo>
                  <a:lnTo>
                    <a:pt x="5514" y="3624"/>
                  </a:lnTo>
                  <a:cubicBezTo>
                    <a:pt x="5451" y="3561"/>
                    <a:pt x="5356" y="3498"/>
                    <a:pt x="5262" y="3498"/>
                  </a:cubicBezTo>
                  <a:cubicBezTo>
                    <a:pt x="5167" y="3498"/>
                    <a:pt x="5041" y="3561"/>
                    <a:pt x="5010" y="3624"/>
                  </a:cubicBezTo>
                  <a:lnTo>
                    <a:pt x="3907" y="4821"/>
                  </a:lnTo>
                  <a:lnTo>
                    <a:pt x="2678" y="3592"/>
                  </a:lnTo>
                  <a:cubicBezTo>
                    <a:pt x="2615" y="3529"/>
                    <a:pt x="2529" y="3498"/>
                    <a:pt x="2438" y="3498"/>
                  </a:cubicBezTo>
                  <a:cubicBezTo>
                    <a:pt x="2348" y="3498"/>
                    <a:pt x="2253" y="3529"/>
                    <a:pt x="2174" y="3592"/>
                  </a:cubicBezTo>
                  <a:lnTo>
                    <a:pt x="662" y="5104"/>
                  </a:lnTo>
                  <a:lnTo>
                    <a:pt x="662" y="694"/>
                  </a:lnTo>
                  <a:close/>
                  <a:moveTo>
                    <a:pt x="2458" y="4380"/>
                  </a:moveTo>
                  <a:lnTo>
                    <a:pt x="3718" y="5640"/>
                  </a:lnTo>
                  <a:lnTo>
                    <a:pt x="1198" y="5640"/>
                  </a:lnTo>
                  <a:lnTo>
                    <a:pt x="2458" y="4380"/>
                  </a:lnTo>
                  <a:close/>
                  <a:moveTo>
                    <a:pt x="5293" y="4411"/>
                  </a:moveTo>
                  <a:lnTo>
                    <a:pt x="6554" y="5671"/>
                  </a:lnTo>
                  <a:lnTo>
                    <a:pt x="4695" y="5671"/>
                  </a:lnTo>
                  <a:lnTo>
                    <a:pt x="4695" y="5640"/>
                  </a:lnTo>
                  <a:lnTo>
                    <a:pt x="4411" y="5356"/>
                  </a:lnTo>
                  <a:lnTo>
                    <a:pt x="5293" y="4411"/>
                  </a:lnTo>
                  <a:close/>
                  <a:moveTo>
                    <a:pt x="347" y="1"/>
                  </a:moveTo>
                  <a:cubicBezTo>
                    <a:pt x="158" y="1"/>
                    <a:pt x="0" y="158"/>
                    <a:pt x="0" y="379"/>
                  </a:cubicBezTo>
                  <a:lnTo>
                    <a:pt x="0" y="5986"/>
                  </a:lnTo>
                  <a:cubicBezTo>
                    <a:pt x="0" y="6207"/>
                    <a:pt x="158" y="6365"/>
                    <a:pt x="347" y="6365"/>
                  </a:cubicBezTo>
                  <a:lnTo>
                    <a:pt x="7373" y="6365"/>
                  </a:lnTo>
                  <a:cubicBezTo>
                    <a:pt x="7562" y="6365"/>
                    <a:pt x="7719" y="6207"/>
                    <a:pt x="7719" y="5986"/>
                  </a:cubicBezTo>
                  <a:lnTo>
                    <a:pt x="7719" y="379"/>
                  </a:lnTo>
                  <a:cubicBezTo>
                    <a:pt x="7719" y="158"/>
                    <a:pt x="7562" y="1"/>
                    <a:pt x="73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08" name="Google Shape;7508;p75"/>
            <p:cNvSpPr/>
            <p:nvPr/>
          </p:nvSpPr>
          <p:spPr>
            <a:xfrm>
              <a:off x="-44791150" y="2439650"/>
              <a:ext cx="52800" cy="53600"/>
            </a:xfrm>
            <a:custGeom>
              <a:avLst/>
              <a:gdLst/>
              <a:ahLst/>
              <a:cxnLst/>
              <a:rect l="l" t="t" r="r" b="b"/>
              <a:pathLst>
                <a:path w="2112" h="2144" extrusionOk="0">
                  <a:moveTo>
                    <a:pt x="1041" y="725"/>
                  </a:moveTo>
                  <a:cubicBezTo>
                    <a:pt x="1261" y="725"/>
                    <a:pt x="1419" y="883"/>
                    <a:pt x="1419" y="1072"/>
                  </a:cubicBezTo>
                  <a:cubicBezTo>
                    <a:pt x="1419" y="1261"/>
                    <a:pt x="1261" y="1418"/>
                    <a:pt x="1041" y="1418"/>
                  </a:cubicBezTo>
                  <a:cubicBezTo>
                    <a:pt x="852" y="1418"/>
                    <a:pt x="694" y="1261"/>
                    <a:pt x="694" y="1072"/>
                  </a:cubicBezTo>
                  <a:cubicBezTo>
                    <a:pt x="694" y="883"/>
                    <a:pt x="852" y="725"/>
                    <a:pt x="1041" y="725"/>
                  </a:cubicBezTo>
                  <a:close/>
                  <a:moveTo>
                    <a:pt x="1041" y="1"/>
                  </a:moveTo>
                  <a:cubicBezTo>
                    <a:pt x="473" y="1"/>
                    <a:pt x="1" y="473"/>
                    <a:pt x="1" y="1072"/>
                  </a:cubicBezTo>
                  <a:cubicBezTo>
                    <a:pt x="32" y="1670"/>
                    <a:pt x="505" y="2143"/>
                    <a:pt x="1041" y="2143"/>
                  </a:cubicBezTo>
                  <a:cubicBezTo>
                    <a:pt x="1639" y="2143"/>
                    <a:pt x="2112" y="1670"/>
                    <a:pt x="2112" y="1072"/>
                  </a:cubicBezTo>
                  <a:cubicBezTo>
                    <a:pt x="2112" y="473"/>
                    <a:pt x="1639"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09" name="Google Shape;7509;p75"/>
          <p:cNvSpPr/>
          <p:nvPr/>
        </p:nvSpPr>
        <p:spPr>
          <a:xfrm>
            <a:off x="2319448" y="2042286"/>
            <a:ext cx="476365" cy="475729"/>
          </a:xfrm>
          <a:custGeom>
            <a:avLst/>
            <a:gdLst/>
            <a:ahLst/>
            <a:cxnLst/>
            <a:rect l="l" t="t" r="r" b="b"/>
            <a:pathLst>
              <a:path w="11973" h="11957" extrusionOk="0">
                <a:moveTo>
                  <a:pt x="5986" y="748"/>
                </a:moveTo>
                <a:lnTo>
                  <a:pt x="8003" y="1756"/>
                </a:lnTo>
                <a:lnTo>
                  <a:pt x="5986" y="2796"/>
                </a:lnTo>
                <a:lnTo>
                  <a:pt x="4002" y="1756"/>
                </a:lnTo>
                <a:lnTo>
                  <a:pt x="5986" y="748"/>
                </a:lnTo>
                <a:close/>
                <a:moveTo>
                  <a:pt x="3561" y="2324"/>
                </a:moveTo>
                <a:lnTo>
                  <a:pt x="5671" y="3395"/>
                </a:lnTo>
                <a:lnTo>
                  <a:pt x="5671" y="6136"/>
                </a:lnTo>
                <a:lnTo>
                  <a:pt x="3561" y="5064"/>
                </a:lnTo>
                <a:lnTo>
                  <a:pt x="3561" y="2324"/>
                </a:lnTo>
                <a:close/>
                <a:moveTo>
                  <a:pt x="8475" y="2324"/>
                </a:moveTo>
                <a:lnTo>
                  <a:pt x="8475" y="5064"/>
                </a:lnTo>
                <a:lnTo>
                  <a:pt x="6364" y="6136"/>
                </a:lnTo>
                <a:lnTo>
                  <a:pt x="6364" y="3395"/>
                </a:lnTo>
                <a:lnTo>
                  <a:pt x="8475" y="2324"/>
                </a:lnTo>
                <a:close/>
                <a:moveTo>
                  <a:pt x="3214" y="5663"/>
                </a:moveTo>
                <a:lnTo>
                  <a:pt x="5230" y="6703"/>
                </a:lnTo>
                <a:lnTo>
                  <a:pt x="3214" y="7711"/>
                </a:lnTo>
                <a:lnTo>
                  <a:pt x="1166" y="6703"/>
                </a:lnTo>
                <a:lnTo>
                  <a:pt x="3214" y="5663"/>
                </a:lnTo>
                <a:close/>
                <a:moveTo>
                  <a:pt x="8822" y="5663"/>
                </a:moveTo>
                <a:lnTo>
                  <a:pt x="10870" y="6703"/>
                </a:lnTo>
                <a:lnTo>
                  <a:pt x="8822" y="7711"/>
                </a:lnTo>
                <a:lnTo>
                  <a:pt x="6837" y="6703"/>
                </a:lnTo>
                <a:lnTo>
                  <a:pt x="8822" y="5663"/>
                </a:lnTo>
                <a:close/>
                <a:moveTo>
                  <a:pt x="5671" y="7238"/>
                </a:moveTo>
                <a:lnTo>
                  <a:pt x="5671" y="9948"/>
                </a:lnTo>
                <a:lnTo>
                  <a:pt x="3561" y="11019"/>
                </a:lnTo>
                <a:lnTo>
                  <a:pt x="3561" y="8309"/>
                </a:lnTo>
                <a:lnTo>
                  <a:pt x="5671" y="7238"/>
                </a:lnTo>
                <a:close/>
                <a:moveTo>
                  <a:pt x="11311" y="7238"/>
                </a:moveTo>
                <a:lnTo>
                  <a:pt x="11311" y="10011"/>
                </a:lnTo>
                <a:lnTo>
                  <a:pt x="9200" y="11050"/>
                </a:lnTo>
                <a:lnTo>
                  <a:pt x="9200" y="8309"/>
                </a:lnTo>
                <a:lnTo>
                  <a:pt x="11311" y="7238"/>
                </a:lnTo>
                <a:close/>
                <a:moveTo>
                  <a:pt x="725" y="7270"/>
                </a:moveTo>
                <a:lnTo>
                  <a:pt x="2836" y="8341"/>
                </a:lnTo>
                <a:lnTo>
                  <a:pt x="2836" y="11082"/>
                </a:lnTo>
                <a:lnTo>
                  <a:pt x="725" y="10042"/>
                </a:lnTo>
                <a:lnTo>
                  <a:pt x="725" y="7270"/>
                </a:lnTo>
                <a:close/>
                <a:moveTo>
                  <a:pt x="6364" y="7270"/>
                </a:moveTo>
                <a:lnTo>
                  <a:pt x="8475" y="8341"/>
                </a:lnTo>
                <a:lnTo>
                  <a:pt x="8475" y="11082"/>
                </a:lnTo>
                <a:lnTo>
                  <a:pt x="6364" y="10042"/>
                </a:lnTo>
                <a:lnTo>
                  <a:pt x="6364" y="7270"/>
                </a:lnTo>
                <a:close/>
                <a:moveTo>
                  <a:pt x="5998" y="0"/>
                </a:moveTo>
                <a:cubicBezTo>
                  <a:pt x="5947" y="0"/>
                  <a:pt x="5892" y="8"/>
                  <a:pt x="5829" y="24"/>
                </a:cubicBezTo>
                <a:lnTo>
                  <a:pt x="3056" y="1441"/>
                </a:lnTo>
                <a:cubicBezTo>
                  <a:pt x="2930" y="1536"/>
                  <a:pt x="2836" y="1662"/>
                  <a:pt x="2836" y="1756"/>
                </a:cubicBezTo>
                <a:lnTo>
                  <a:pt x="2836" y="5064"/>
                </a:lnTo>
                <a:lnTo>
                  <a:pt x="221" y="6388"/>
                </a:lnTo>
                <a:cubicBezTo>
                  <a:pt x="95" y="6451"/>
                  <a:pt x="0" y="6577"/>
                  <a:pt x="0" y="6703"/>
                </a:cubicBezTo>
                <a:lnTo>
                  <a:pt x="0" y="10200"/>
                </a:lnTo>
                <a:cubicBezTo>
                  <a:pt x="0" y="10326"/>
                  <a:pt x="95" y="10420"/>
                  <a:pt x="221" y="10515"/>
                </a:cubicBezTo>
                <a:lnTo>
                  <a:pt x="3056" y="11933"/>
                </a:lnTo>
                <a:cubicBezTo>
                  <a:pt x="3088" y="11948"/>
                  <a:pt x="3135" y="11956"/>
                  <a:pt x="3190" y="11956"/>
                </a:cubicBezTo>
                <a:cubicBezTo>
                  <a:pt x="3245" y="11956"/>
                  <a:pt x="3308" y="11948"/>
                  <a:pt x="3371" y="11933"/>
                </a:cubicBezTo>
                <a:lnTo>
                  <a:pt x="5986" y="10578"/>
                </a:lnTo>
                <a:lnTo>
                  <a:pt x="8633" y="11933"/>
                </a:lnTo>
                <a:cubicBezTo>
                  <a:pt x="8680" y="11948"/>
                  <a:pt x="8727" y="11956"/>
                  <a:pt x="8779" y="11956"/>
                </a:cubicBezTo>
                <a:cubicBezTo>
                  <a:pt x="8830" y="11956"/>
                  <a:pt x="8885" y="11948"/>
                  <a:pt x="8948" y="11933"/>
                </a:cubicBezTo>
                <a:lnTo>
                  <a:pt x="11783" y="10515"/>
                </a:lnTo>
                <a:cubicBezTo>
                  <a:pt x="11909" y="10420"/>
                  <a:pt x="11972" y="10326"/>
                  <a:pt x="11972" y="10200"/>
                </a:cubicBezTo>
                <a:lnTo>
                  <a:pt x="11972" y="6703"/>
                </a:lnTo>
                <a:cubicBezTo>
                  <a:pt x="11972" y="6577"/>
                  <a:pt x="11941" y="6451"/>
                  <a:pt x="11783" y="6388"/>
                </a:cubicBezTo>
                <a:lnTo>
                  <a:pt x="9137" y="5064"/>
                </a:lnTo>
                <a:lnTo>
                  <a:pt x="9137" y="1756"/>
                </a:lnTo>
                <a:cubicBezTo>
                  <a:pt x="9137" y="1662"/>
                  <a:pt x="9074" y="1536"/>
                  <a:pt x="8948" y="1441"/>
                </a:cubicBezTo>
                <a:lnTo>
                  <a:pt x="6144" y="24"/>
                </a:lnTo>
                <a:cubicBezTo>
                  <a:pt x="6097" y="8"/>
                  <a:pt x="6049" y="0"/>
                  <a:pt x="59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10" name="Google Shape;7510;p75"/>
          <p:cNvGrpSpPr/>
          <p:nvPr/>
        </p:nvGrpSpPr>
        <p:grpSpPr>
          <a:xfrm>
            <a:off x="2314421" y="2649782"/>
            <a:ext cx="478872" cy="476565"/>
            <a:chOff x="-49786250" y="2316650"/>
            <a:chExt cx="300900" cy="299450"/>
          </a:xfrm>
        </p:grpSpPr>
        <p:sp>
          <p:nvSpPr>
            <p:cNvPr id="7511" name="Google Shape;7511;p75"/>
            <p:cNvSpPr/>
            <p:nvPr/>
          </p:nvSpPr>
          <p:spPr>
            <a:xfrm>
              <a:off x="-49746875" y="2316650"/>
              <a:ext cx="217400" cy="299450"/>
            </a:xfrm>
            <a:custGeom>
              <a:avLst/>
              <a:gdLst/>
              <a:ahLst/>
              <a:cxnLst/>
              <a:rect l="l" t="t" r="r" b="b"/>
              <a:pathLst>
                <a:path w="8696" h="11978" extrusionOk="0">
                  <a:moveTo>
                    <a:pt x="4411" y="3944"/>
                  </a:moveTo>
                  <a:lnTo>
                    <a:pt x="5010" y="5110"/>
                  </a:lnTo>
                  <a:cubicBezTo>
                    <a:pt x="4837" y="5188"/>
                    <a:pt x="4640" y="5228"/>
                    <a:pt x="4439" y="5228"/>
                  </a:cubicBezTo>
                  <a:cubicBezTo>
                    <a:pt x="4238" y="5228"/>
                    <a:pt x="4033" y="5188"/>
                    <a:pt x="3844" y="5110"/>
                  </a:cubicBezTo>
                  <a:lnTo>
                    <a:pt x="4411" y="3944"/>
                  </a:lnTo>
                  <a:close/>
                  <a:moveTo>
                    <a:pt x="5136" y="5834"/>
                  </a:moveTo>
                  <a:lnTo>
                    <a:pt x="5136" y="8418"/>
                  </a:lnTo>
                  <a:lnTo>
                    <a:pt x="3718" y="8418"/>
                  </a:lnTo>
                  <a:lnTo>
                    <a:pt x="3718" y="5834"/>
                  </a:lnTo>
                  <a:cubicBezTo>
                    <a:pt x="3939" y="5897"/>
                    <a:pt x="4191" y="5960"/>
                    <a:pt x="4411" y="5960"/>
                  </a:cubicBezTo>
                  <a:cubicBezTo>
                    <a:pt x="4663" y="5960"/>
                    <a:pt x="4884" y="5897"/>
                    <a:pt x="5136" y="5834"/>
                  </a:cubicBezTo>
                  <a:close/>
                  <a:moveTo>
                    <a:pt x="4390" y="657"/>
                  </a:moveTo>
                  <a:cubicBezTo>
                    <a:pt x="5196" y="657"/>
                    <a:pt x="5982" y="942"/>
                    <a:pt x="6617" y="1455"/>
                  </a:cubicBezTo>
                  <a:cubicBezTo>
                    <a:pt x="7467" y="2117"/>
                    <a:pt x="7940" y="3156"/>
                    <a:pt x="7940" y="4196"/>
                  </a:cubicBezTo>
                  <a:cubicBezTo>
                    <a:pt x="7940" y="5078"/>
                    <a:pt x="7625" y="5897"/>
                    <a:pt x="7058" y="6527"/>
                  </a:cubicBezTo>
                  <a:cubicBezTo>
                    <a:pt x="6585" y="7095"/>
                    <a:pt x="6270" y="7756"/>
                    <a:pt x="6207" y="8418"/>
                  </a:cubicBezTo>
                  <a:lnTo>
                    <a:pt x="5829" y="8418"/>
                  </a:lnTo>
                  <a:lnTo>
                    <a:pt x="5829" y="5267"/>
                  </a:lnTo>
                  <a:cubicBezTo>
                    <a:pt x="5829" y="5236"/>
                    <a:pt x="5829" y="5141"/>
                    <a:pt x="5798" y="5110"/>
                  </a:cubicBezTo>
                  <a:lnTo>
                    <a:pt x="4726" y="2999"/>
                  </a:lnTo>
                  <a:cubicBezTo>
                    <a:pt x="4663" y="2873"/>
                    <a:pt x="4537" y="2778"/>
                    <a:pt x="4411" y="2778"/>
                  </a:cubicBezTo>
                  <a:cubicBezTo>
                    <a:pt x="4317" y="2778"/>
                    <a:pt x="4191" y="2873"/>
                    <a:pt x="4096" y="2999"/>
                  </a:cubicBezTo>
                  <a:lnTo>
                    <a:pt x="3057" y="5110"/>
                  </a:lnTo>
                  <a:cubicBezTo>
                    <a:pt x="2994" y="5141"/>
                    <a:pt x="2994" y="5236"/>
                    <a:pt x="2994" y="5267"/>
                  </a:cubicBezTo>
                  <a:lnTo>
                    <a:pt x="2994" y="8418"/>
                  </a:lnTo>
                  <a:lnTo>
                    <a:pt x="2647" y="8418"/>
                  </a:lnTo>
                  <a:cubicBezTo>
                    <a:pt x="2584" y="7756"/>
                    <a:pt x="2301" y="7095"/>
                    <a:pt x="1796" y="6527"/>
                  </a:cubicBezTo>
                  <a:cubicBezTo>
                    <a:pt x="1040" y="5708"/>
                    <a:pt x="757" y="4574"/>
                    <a:pt x="1009" y="3408"/>
                  </a:cubicBezTo>
                  <a:cubicBezTo>
                    <a:pt x="1261" y="2085"/>
                    <a:pt x="2332" y="1014"/>
                    <a:pt x="3687" y="731"/>
                  </a:cubicBezTo>
                  <a:cubicBezTo>
                    <a:pt x="3921" y="681"/>
                    <a:pt x="4156" y="657"/>
                    <a:pt x="4390" y="657"/>
                  </a:cubicBezTo>
                  <a:close/>
                  <a:moveTo>
                    <a:pt x="6207" y="9142"/>
                  </a:moveTo>
                  <a:lnTo>
                    <a:pt x="6207" y="9489"/>
                  </a:lnTo>
                  <a:cubicBezTo>
                    <a:pt x="6207" y="9678"/>
                    <a:pt x="6050" y="9835"/>
                    <a:pt x="5829" y="9835"/>
                  </a:cubicBezTo>
                  <a:lnTo>
                    <a:pt x="3057" y="9835"/>
                  </a:lnTo>
                  <a:cubicBezTo>
                    <a:pt x="2836" y="9835"/>
                    <a:pt x="2679" y="9678"/>
                    <a:pt x="2679" y="9489"/>
                  </a:cubicBezTo>
                  <a:lnTo>
                    <a:pt x="2679" y="9142"/>
                  </a:lnTo>
                  <a:close/>
                  <a:moveTo>
                    <a:pt x="5483" y="10529"/>
                  </a:moveTo>
                  <a:lnTo>
                    <a:pt x="5483" y="10907"/>
                  </a:lnTo>
                  <a:cubicBezTo>
                    <a:pt x="5483" y="11096"/>
                    <a:pt x="5325" y="11253"/>
                    <a:pt x="5136" y="11253"/>
                  </a:cubicBezTo>
                  <a:lnTo>
                    <a:pt x="3718" y="11253"/>
                  </a:lnTo>
                  <a:cubicBezTo>
                    <a:pt x="3529" y="11253"/>
                    <a:pt x="3372" y="11096"/>
                    <a:pt x="3372" y="10907"/>
                  </a:cubicBezTo>
                  <a:lnTo>
                    <a:pt x="3372" y="10529"/>
                  </a:lnTo>
                  <a:close/>
                  <a:moveTo>
                    <a:pt x="4318" y="0"/>
                  </a:moveTo>
                  <a:cubicBezTo>
                    <a:pt x="4056" y="0"/>
                    <a:pt x="3792" y="23"/>
                    <a:pt x="3529" y="69"/>
                  </a:cubicBezTo>
                  <a:cubicBezTo>
                    <a:pt x="1954" y="384"/>
                    <a:pt x="631" y="1707"/>
                    <a:pt x="284" y="3314"/>
                  </a:cubicBezTo>
                  <a:cubicBezTo>
                    <a:pt x="1" y="4637"/>
                    <a:pt x="379" y="6023"/>
                    <a:pt x="1261" y="7000"/>
                  </a:cubicBezTo>
                  <a:cubicBezTo>
                    <a:pt x="1702" y="7536"/>
                    <a:pt x="1986" y="8166"/>
                    <a:pt x="1986" y="8796"/>
                  </a:cubicBezTo>
                  <a:lnTo>
                    <a:pt x="1986" y="9489"/>
                  </a:lnTo>
                  <a:cubicBezTo>
                    <a:pt x="1986" y="9961"/>
                    <a:pt x="2269" y="10371"/>
                    <a:pt x="2679" y="10466"/>
                  </a:cubicBezTo>
                  <a:lnTo>
                    <a:pt x="2679" y="10907"/>
                  </a:lnTo>
                  <a:cubicBezTo>
                    <a:pt x="2679" y="11505"/>
                    <a:pt x="3151" y="11978"/>
                    <a:pt x="3750" y="11978"/>
                  </a:cubicBezTo>
                  <a:lnTo>
                    <a:pt x="5168" y="11978"/>
                  </a:lnTo>
                  <a:cubicBezTo>
                    <a:pt x="5766" y="11978"/>
                    <a:pt x="6239" y="11505"/>
                    <a:pt x="6239" y="10907"/>
                  </a:cubicBezTo>
                  <a:lnTo>
                    <a:pt x="6239" y="10466"/>
                  </a:lnTo>
                  <a:cubicBezTo>
                    <a:pt x="6617" y="10308"/>
                    <a:pt x="6963" y="9930"/>
                    <a:pt x="6963" y="9489"/>
                  </a:cubicBezTo>
                  <a:lnTo>
                    <a:pt x="6963" y="8796"/>
                  </a:lnTo>
                  <a:cubicBezTo>
                    <a:pt x="6963" y="8166"/>
                    <a:pt x="7184" y="7536"/>
                    <a:pt x="7656" y="6969"/>
                  </a:cubicBezTo>
                  <a:cubicBezTo>
                    <a:pt x="8318" y="6212"/>
                    <a:pt x="8696" y="5236"/>
                    <a:pt x="8696" y="4228"/>
                  </a:cubicBezTo>
                  <a:cubicBezTo>
                    <a:pt x="8633" y="2967"/>
                    <a:pt x="8097" y="1739"/>
                    <a:pt x="7058" y="951"/>
                  </a:cubicBezTo>
                  <a:cubicBezTo>
                    <a:pt x="6285" y="328"/>
                    <a:pt x="5314" y="0"/>
                    <a:pt x="43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2" name="Google Shape;7512;p75"/>
            <p:cNvSpPr/>
            <p:nvPr/>
          </p:nvSpPr>
          <p:spPr>
            <a:xfrm>
              <a:off x="-49786250" y="2422325"/>
              <a:ext cx="36250" cy="17350"/>
            </a:xfrm>
            <a:custGeom>
              <a:avLst/>
              <a:gdLst/>
              <a:ahLst/>
              <a:cxnLst/>
              <a:rect l="l" t="t" r="r" b="b"/>
              <a:pathLst>
                <a:path w="1450" h="694" extrusionOk="0">
                  <a:moveTo>
                    <a:pt x="379" y="1"/>
                  </a:moveTo>
                  <a:cubicBezTo>
                    <a:pt x="158" y="1"/>
                    <a:pt x="0" y="158"/>
                    <a:pt x="0" y="347"/>
                  </a:cubicBezTo>
                  <a:cubicBezTo>
                    <a:pt x="0" y="536"/>
                    <a:pt x="158" y="694"/>
                    <a:pt x="379" y="694"/>
                  </a:cubicBezTo>
                  <a:lnTo>
                    <a:pt x="1072" y="694"/>
                  </a:lnTo>
                  <a:cubicBezTo>
                    <a:pt x="1261" y="694"/>
                    <a:pt x="1418" y="536"/>
                    <a:pt x="1418" y="347"/>
                  </a:cubicBezTo>
                  <a:cubicBezTo>
                    <a:pt x="1450" y="127"/>
                    <a:pt x="1261"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3" name="Google Shape;7513;p75"/>
            <p:cNvSpPr/>
            <p:nvPr/>
          </p:nvSpPr>
          <p:spPr>
            <a:xfrm>
              <a:off x="-49783900" y="2362475"/>
              <a:ext cx="31550" cy="30150"/>
            </a:xfrm>
            <a:custGeom>
              <a:avLst/>
              <a:gdLst/>
              <a:ahLst/>
              <a:cxnLst/>
              <a:rect l="l" t="t" r="r" b="b"/>
              <a:pathLst>
                <a:path w="1262" h="1206" extrusionOk="0">
                  <a:moveTo>
                    <a:pt x="391" y="0"/>
                  </a:moveTo>
                  <a:cubicBezTo>
                    <a:pt x="300" y="0"/>
                    <a:pt x="206" y="32"/>
                    <a:pt x="127" y="95"/>
                  </a:cubicBezTo>
                  <a:cubicBezTo>
                    <a:pt x="1" y="221"/>
                    <a:pt x="1" y="441"/>
                    <a:pt x="127" y="599"/>
                  </a:cubicBezTo>
                  <a:lnTo>
                    <a:pt x="631" y="1134"/>
                  </a:lnTo>
                  <a:cubicBezTo>
                    <a:pt x="694" y="1182"/>
                    <a:pt x="781" y="1205"/>
                    <a:pt x="871" y="1205"/>
                  </a:cubicBezTo>
                  <a:cubicBezTo>
                    <a:pt x="962" y="1205"/>
                    <a:pt x="1056" y="1182"/>
                    <a:pt x="1135" y="1134"/>
                  </a:cubicBezTo>
                  <a:cubicBezTo>
                    <a:pt x="1261" y="1008"/>
                    <a:pt x="1261" y="756"/>
                    <a:pt x="1135" y="599"/>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4" name="Google Shape;7514;p75"/>
            <p:cNvSpPr/>
            <p:nvPr/>
          </p:nvSpPr>
          <p:spPr>
            <a:xfrm>
              <a:off x="-49783900" y="2468800"/>
              <a:ext cx="31550" cy="30150"/>
            </a:xfrm>
            <a:custGeom>
              <a:avLst/>
              <a:gdLst/>
              <a:ahLst/>
              <a:cxnLst/>
              <a:rect l="l" t="t" r="r" b="b"/>
              <a:pathLst>
                <a:path w="1262" h="1206" extrusionOk="0">
                  <a:moveTo>
                    <a:pt x="871" y="0"/>
                  </a:moveTo>
                  <a:cubicBezTo>
                    <a:pt x="781" y="0"/>
                    <a:pt x="694" y="32"/>
                    <a:pt x="631" y="95"/>
                  </a:cubicBezTo>
                  <a:lnTo>
                    <a:pt x="127" y="599"/>
                  </a:lnTo>
                  <a:cubicBezTo>
                    <a:pt x="1" y="725"/>
                    <a:pt x="1" y="977"/>
                    <a:pt x="127" y="1135"/>
                  </a:cubicBezTo>
                  <a:cubicBezTo>
                    <a:pt x="174" y="1182"/>
                    <a:pt x="261" y="1205"/>
                    <a:pt x="355" y="1205"/>
                  </a:cubicBezTo>
                  <a:cubicBezTo>
                    <a:pt x="450" y="1205"/>
                    <a:pt x="552" y="1182"/>
                    <a:pt x="631" y="1135"/>
                  </a:cubicBezTo>
                  <a:lnTo>
                    <a:pt x="1135" y="599"/>
                  </a:lnTo>
                  <a:cubicBezTo>
                    <a:pt x="1261" y="504"/>
                    <a:pt x="1261" y="252"/>
                    <a:pt x="1135" y="95"/>
                  </a:cubicBezTo>
                  <a:cubicBezTo>
                    <a:pt x="1056" y="32"/>
                    <a:pt x="962" y="0"/>
                    <a:pt x="8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5" name="Google Shape;7515;p75"/>
            <p:cNvSpPr/>
            <p:nvPr/>
          </p:nvSpPr>
          <p:spPr>
            <a:xfrm>
              <a:off x="-49520825" y="2421550"/>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6" name="Google Shape;7516;p75"/>
            <p:cNvSpPr/>
            <p:nvPr/>
          </p:nvSpPr>
          <p:spPr>
            <a:xfrm>
              <a:off x="-49519250" y="2362475"/>
              <a:ext cx="31525" cy="31325"/>
            </a:xfrm>
            <a:custGeom>
              <a:avLst/>
              <a:gdLst/>
              <a:ahLst/>
              <a:cxnLst/>
              <a:rect l="l" t="t" r="r" b="b"/>
              <a:pathLst>
                <a:path w="1261" h="1253" extrusionOk="0">
                  <a:moveTo>
                    <a:pt x="906" y="0"/>
                  </a:moveTo>
                  <a:cubicBezTo>
                    <a:pt x="812" y="0"/>
                    <a:pt x="709" y="32"/>
                    <a:pt x="631" y="95"/>
                  </a:cubicBezTo>
                  <a:lnTo>
                    <a:pt x="127" y="599"/>
                  </a:lnTo>
                  <a:cubicBezTo>
                    <a:pt x="1" y="725"/>
                    <a:pt x="1" y="945"/>
                    <a:pt x="127" y="1134"/>
                  </a:cubicBezTo>
                  <a:cubicBezTo>
                    <a:pt x="190" y="1213"/>
                    <a:pt x="276" y="1253"/>
                    <a:pt x="367" y="1253"/>
                  </a:cubicBezTo>
                  <a:cubicBezTo>
                    <a:pt x="457" y="1253"/>
                    <a:pt x="552" y="1213"/>
                    <a:pt x="631" y="1134"/>
                  </a:cubicBezTo>
                  <a:lnTo>
                    <a:pt x="1135" y="599"/>
                  </a:lnTo>
                  <a:cubicBezTo>
                    <a:pt x="1261" y="473"/>
                    <a:pt x="1261" y="252"/>
                    <a:pt x="1135" y="95"/>
                  </a:cubicBezTo>
                  <a:cubicBezTo>
                    <a:pt x="1088" y="32"/>
                    <a:pt x="1001" y="0"/>
                    <a:pt x="9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7" name="Google Shape;7517;p75"/>
            <p:cNvSpPr/>
            <p:nvPr/>
          </p:nvSpPr>
          <p:spPr>
            <a:xfrm>
              <a:off x="-49519250" y="2468800"/>
              <a:ext cx="31525" cy="30150"/>
            </a:xfrm>
            <a:custGeom>
              <a:avLst/>
              <a:gdLst/>
              <a:ahLst/>
              <a:cxnLst/>
              <a:rect l="l" t="t" r="r" b="b"/>
              <a:pathLst>
                <a:path w="1261" h="1206" extrusionOk="0">
                  <a:moveTo>
                    <a:pt x="391" y="0"/>
                  </a:moveTo>
                  <a:cubicBezTo>
                    <a:pt x="300" y="0"/>
                    <a:pt x="205" y="32"/>
                    <a:pt x="127" y="95"/>
                  </a:cubicBezTo>
                  <a:cubicBezTo>
                    <a:pt x="1" y="221"/>
                    <a:pt x="1" y="441"/>
                    <a:pt x="127" y="599"/>
                  </a:cubicBezTo>
                  <a:lnTo>
                    <a:pt x="631" y="1135"/>
                  </a:lnTo>
                  <a:cubicBezTo>
                    <a:pt x="694" y="1182"/>
                    <a:pt x="780" y="1205"/>
                    <a:pt x="871" y="1205"/>
                  </a:cubicBezTo>
                  <a:cubicBezTo>
                    <a:pt x="962" y="1205"/>
                    <a:pt x="1056" y="1182"/>
                    <a:pt x="1135" y="1135"/>
                  </a:cubicBezTo>
                  <a:cubicBezTo>
                    <a:pt x="1261" y="1009"/>
                    <a:pt x="1261" y="756"/>
                    <a:pt x="1135" y="599"/>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18" name="Google Shape;7518;p75"/>
          <p:cNvSpPr/>
          <p:nvPr/>
        </p:nvSpPr>
        <p:spPr>
          <a:xfrm>
            <a:off x="2308806" y="3245123"/>
            <a:ext cx="497652" cy="478872"/>
          </a:xfrm>
          <a:custGeom>
            <a:avLst/>
            <a:gdLst/>
            <a:ahLst/>
            <a:cxnLst/>
            <a:rect l="l" t="t" r="r" b="b"/>
            <a:pathLst>
              <a:path w="12508" h="12036" extrusionOk="0">
                <a:moveTo>
                  <a:pt x="4600" y="725"/>
                </a:moveTo>
                <a:cubicBezTo>
                  <a:pt x="7026" y="725"/>
                  <a:pt x="8475" y="1387"/>
                  <a:pt x="8475" y="1796"/>
                </a:cubicBezTo>
                <a:cubicBezTo>
                  <a:pt x="8475" y="2143"/>
                  <a:pt x="7058" y="2836"/>
                  <a:pt x="4600" y="2836"/>
                </a:cubicBezTo>
                <a:cubicBezTo>
                  <a:pt x="2111" y="2836"/>
                  <a:pt x="725" y="2143"/>
                  <a:pt x="725" y="1796"/>
                </a:cubicBezTo>
                <a:cubicBezTo>
                  <a:pt x="725" y="1387"/>
                  <a:pt x="2143" y="725"/>
                  <a:pt x="4600" y="725"/>
                </a:cubicBezTo>
                <a:close/>
                <a:moveTo>
                  <a:pt x="694" y="2805"/>
                </a:moveTo>
                <a:cubicBezTo>
                  <a:pt x="1670" y="3403"/>
                  <a:pt x="3371" y="3592"/>
                  <a:pt x="4537" y="3592"/>
                </a:cubicBezTo>
                <a:cubicBezTo>
                  <a:pt x="4915" y="3592"/>
                  <a:pt x="5262" y="3592"/>
                  <a:pt x="5608" y="3561"/>
                </a:cubicBezTo>
                <a:lnTo>
                  <a:pt x="5608" y="4002"/>
                </a:lnTo>
                <a:cubicBezTo>
                  <a:pt x="5608" y="4191"/>
                  <a:pt x="5451" y="4348"/>
                  <a:pt x="5262" y="4348"/>
                </a:cubicBezTo>
                <a:cubicBezTo>
                  <a:pt x="4663" y="4348"/>
                  <a:pt x="4191" y="4821"/>
                  <a:pt x="4191" y="5420"/>
                </a:cubicBezTo>
                <a:lnTo>
                  <a:pt x="4191" y="6113"/>
                </a:lnTo>
                <a:cubicBezTo>
                  <a:pt x="4191" y="6302"/>
                  <a:pt x="4033" y="6459"/>
                  <a:pt x="3844" y="6459"/>
                </a:cubicBezTo>
                <a:cubicBezTo>
                  <a:pt x="3655" y="6459"/>
                  <a:pt x="3497" y="6302"/>
                  <a:pt x="3497" y="6113"/>
                </a:cubicBezTo>
                <a:lnTo>
                  <a:pt x="3497" y="5325"/>
                </a:lnTo>
                <a:cubicBezTo>
                  <a:pt x="3529" y="4726"/>
                  <a:pt x="3056" y="4254"/>
                  <a:pt x="2458" y="4254"/>
                </a:cubicBezTo>
                <a:cubicBezTo>
                  <a:pt x="1859" y="4254"/>
                  <a:pt x="1387" y="4726"/>
                  <a:pt x="1387" y="5325"/>
                </a:cubicBezTo>
                <a:lnTo>
                  <a:pt x="1387" y="6743"/>
                </a:lnTo>
                <a:cubicBezTo>
                  <a:pt x="1387" y="6932"/>
                  <a:pt x="1229" y="7089"/>
                  <a:pt x="1040" y="7089"/>
                </a:cubicBezTo>
                <a:cubicBezTo>
                  <a:pt x="851" y="7089"/>
                  <a:pt x="694" y="6932"/>
                  <a:pt x="694" y="6743"/>
                </a:cubicBezTo>
                <a:lnTo>
                  <a:pt x="694" y="2805"/>
                </a:lnTo>
                <a:close/>
                <a:moveTo>
                  <a:pt x="8475" y="2742"/>
                </a:moveTo>
                <a:lnTo>
                  <a:pt x="8475" y="8192"/>
                </a:lnTo>
                <a:cubicBezTo>
                  <a:pt x="7719" y="8034"/>
                  <a:pt x="7026" y="7625"/>
                  <a:pt x="6553" y="6995"/>
                </a:cubicBezTo>
                <a:lnTo>
                  <a:pt x="5104" y="5010"/>
                </a:lnTo>
                <a:cubicBezTo>
                  <a:pt x="5104" y="5010"/>
                  <a:pt x="5167" y="4978"/>
                  <a:pt x="5293" y="4978"/>
                </a:cubicBezTo>
                <a:cubicBezTo>
                  <a:pt x="5892" y="4978"/>
                  <a:pt x="6364" y="4506"/>
                  <a:pt x="6364" y="3907"/>
                </a:cubicBezTo>
                <a:lnTo>
                  <a:pt x="6364" y="3403"/>
                </a:lnTo>
                <a:cubicBezTo>
                  <a:pt x="7215" y="3277"/>
                  <a:pt x="7971" y="3057"/>
                  <a:pt x="8475" y="2742"/>
                </a:cubicBezTo>
                <a:close/>
                <a:moveTo>
                  <a:pt x="9200" y="3844"/>
                </a:moveTo>
                <a:cubicBezTo>
                  <a:pt x="9925" y="4159"/>
                  <a:pt x="10555" y="4695"/>
                  <a:pt x="10996" y="5325"/>
                </a:cubicBezTo>
                <a:cubicBezTo>
                  <a:pt x="11689" y="6302"/>
                  <a:pt x="11153" y="7782"/>
                  <a:pt x="10019" y="8160"/>
                </a:cubicBezTo>
                <a:cubicBezTo>
                  <a:pt x="9735" y="8223"/>
                  <a:pt x="9452" y="8318"/>
                  <a:pt x="9200" y="8318"/>
                </a:cubicBezTo>
                <a:lnTo>
                  <a:pt x="9200" y="3844"/>
                </a:lnTo>
                <a:close/>
                <a:moveTo>
                  <a:pt x="2489" y="4978"/>
                </a:moveTo>
                <a:cubicBezTo>
                  <a:pt x="2678" y="4978"/>
                  <a:pt x="2836" y="5136"/>
                  <a:pt x="2836" y="5325"/>
                </a:cubicBezTo>
                <a:lnTo>
                  <a:pt x="2836" y="6050"/>
                </a:lnTo>
                <a:cubicBezTo>
                  <a:pt x="2836" y="6617"/>
                  <a:pt x="3308" y="7089"/>
                  <a:pt x="3907" y="7089"/>
                </a:cubicBezTo>
                <a:cubicBezTo>
                  <a:pt x="4474" y="7089"/>
                  <a:pt x="4947" y="6680"/>
                  <a:pt x="4978" y="6081"/>
                </a:cubicBezTo>
                <a:lnTo>
                  <a:pt x="5986" y="7467"/>
                </a:lnTo>
                <a:cubicBezTo>
                  <a:pt x="6459" y="8097"/>
                  <a:pt x="7152" y="8570"/>
                  <a:pt x="7877" y="8822"/>
                </a:cubicBezTo>
                <a:cubicBezTo>
                  <a:pt x="8097" y="8917"/>
                  <a:pt x="8286" y="8948"/>
                  <a:pt x="8507" y="8980"/>
                </a:cubicBezTo>
                <a:lnTo>
                  <a:pt x="8507" y="10303"/>
                </a:lnTo>
                <a:cubicBezTo>
                  <a:pt x="8475" y="10618"/>
                  <a:pt x="7058" y="11311"/>
                  <a:pt x="4600" y="11311"/>
                </a:cubicBezTo>
                <a:cubicBezTo>
                  <a:pt x="2111" y="11311"/>
                  <a:pt x="725" y="10586"/>
                  <a:pt x="725" y="10240"/>
                </a:cubicBezTo>
                <a:lnTo>
                  <a:pt x="725" y="7688"/>
                </a:lnTo>
                <a:cubicBezTo>
                  <a:pt x="851" y="7719"/>
                  <a:pt x="977" y="7782"/>
                  <a:pt x="1072" y="7782"/>
                </a:cubicBezTo>
                <a:cubicBezTo>
                  <a:pt x="1670" y="7782"/>
                  <a:pt x="2143" y="7310"/>
                  <a:pt x="2143" y="6711"/>
                </a:cubicBezTo>
                <a:lnTo>
                  <a:pt x="2143" y="5325"/>
                </a:lnTo>
                <a:cubicBezTo>
                  <a:pt x="2143" y="5136"/>
                  <a:pt x="2300" y="4978"/>
                  <a:pt x="2489" y="4978"/>
                </a:cubicBezTo>
                <a:close/>
                <a:moveTo>
                  <a:pt x="4537" y="1"/>
                </a:moveTo>
                <a:cubicBezTo>
                  <a:pt x="3371" y="1"/>
                  <a:pt x="2300" y="158"/>
                  <a:pt x="1481" y="442"/>
                </a:cubicBezTo>
                <a:cubicBezTo>
                  <a:pt x="252" y="851"/>
                  <a:pt x="0" y="1387"/>
                  <a:pt x="0" y="1796"/>
                </a:cubicBezTo>
                <a:lnTo>
                  <a:pt x="0" y="10240"/>
                </a:lnTo>
                <a:cubicBezTo>
                  <a:pt x="0" y="10649"/>
                  <a:pt x="252" y="11153"/>
                  <a:pt x="1481" y="11594"/>
                </a:cubicBezTo>
                <a:cubicBezTo>
                  <a:pt x="2300" y="11878"/>
                  <a:pt x="3403" y="12036"/>
                  <a:pt x="4537" y="12036"/>
                </a:cubicBezTo>
                <a:cubicBezTo>
                  <a:pt x="6837" y="12036"/>
                  <a:pt x="9137" y="11437"/>
                  <a:pt x="9137" y="10240"/>
                </a:cubicBezTo>
                <a:lnTo>
                  <a:pt x="9137" y="8980"/>
                </a:lnTo>
                <a:cubicBezTo>
                  <a:pt x="9515" y="8980"/>
                  <a:pt x="9862" y="8917"/>
                  <a:pt x="10208" y="8791"/>
                </a:cubicBezTo>
                <a:cubicBezTo>
                  <a:pt x="11815" y="8286"/>
                  <a:pt x="12508" y="6302"/>
                  <a:pt x="11563" y="4884"/>
                </a:cubicBezTo>
                <a:cubicBezTo>
                  <a:pt x="10996" y="4096"/>
                  <a:pt x="10208" y="3435"/>
                  <a:pt x="9137" y="2994"/>
                </a:cubicBezTo>
                <a:lnTo>
                  <a:pt x="9137" y="1796"/>
                </a:lnTo>
                <a:cubicBezTo>
                  <a:pt x="9137" y="631"/>
                  <a:pt x="6837"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19" name="Google Shape;7519;p75"/>
          <p:cNvSpPr/>
          <p:nvPr/>
        </p:nvSpPr>
        <p:spPr>
          <a:xfrm>
            <a:off x="5295296" y="2084577"/>
            <a:ext cx="478872" cy="477599"/>
          </a:xfrm>
          <a:custGeom>
            <a:avLst/>
            <a:gdLst/>
            <a:ahLst/>
            <a:cxnLst/>
            <a:rect l="l" t="t" r="r" b="b"/>
            <a:pathLst>
              <a:path w="12036" h="12004" extrusionOk="0">
                <a:moveTo>
                  <a:pt x="1450" y="693"/>
                </a:moveTo>
                <a:lnTo>
                  <a:pt x="1450" y="1418"/>
                </a:lnTo>
                <a:lnTo>
                  <a:pt x="756" y="1418"/>
                </a:lnTo>
                <a:lnTo>
                  <a:pt x="756" y="693"/>
                </a:lnTo>
                <a:close/>
                <a:moveTo>
                  <a:pt x="11342" y="693"/>
                </a:moveTo>
                <a:lnTo>
                  <a:pt x="11342" y="1418"/>
                </a:lnTo>
                <a:lnTo>
                  <a:pt x="10618" y="1418"/>
                </a:lnTo>
                <a:lnTo>
                  <a:pt x="10618" y="693"/>
                </a:lnTo>
                <a:close/>
                <a:moveTo>
                  <a:pt x="6049" y="4191"/>
                </a:moveTo>
                <a:cubicBezTo>
                  <a:pt x="6270" y="4191"/>
                  <a:pt x="6427" y="4380"/>
                  <a:pt x="6427" y="4569"/>
                </a:cubicBezTo>
                <a:cubicBezTo>
                  <a:pt x="6427" y="4758"/>
                  <a:pt x="6270" y="4915"/>
                  <a:pt x="6049" y="4915"/>
                </a:cubicBezTo>
                <a:cubicBezTo>
                  <a:pt x="5860" y="4915"/>
                  <a:pt x="5703" y="4758"/>
                  <a:pt x="5703" y="4569"/>
                </a:cubicBezTo>
                <a:cubicBezTo>
                  <a:pt x="5703" y="4380"/>
                  <a:pt x="5860" y="4191"/>
                  <a:pt x="6049" y="4191"/>
                </a:cubicBezTo>
                <a:close/>
                <a:moveTo>
                  <a:pt x="6081" y="1040"/>
                </a:moveTo>
                <a:cubicBezTo>
                  <a:pt x="6144" y="1166"/>
                  <a:pt x="8381" y="5167"/>
                  <a:pt x="8475" y="5262"/>
                </a:cubicBezTo>
                <a:lnTo>
                  <a:pt x="7278" y="7026"/>
                </a:lnTo>
                <a:lnTo>
                  <a:pt x="6427" y="7026"/>
                </a:lnTo>
                <a:lnTo>
                  <a:pt x="6427" y="5577"/>
                </a:lnTo>
                <a:cubicBezTo>
                  <a:pt x="6805" y="5419"/>
                  <a:pt x="7120" y="5041"/>
                  <a:pt x="7120" y="4600"/>
                </a:cubicBezTo>
                <a:cubicBezTo>
                  <a:pt x="7120" y="4001"/>
                  <a:pt x="6648" y="3529"/>
                  <a:pt x="6081" y="3529"/>
                </a:cubicBezTo>
                <a:cubicBezTo>
                  <a:pt x="5482" y="3529"/>
                  <a:pt x="5010" y="4001"/>
                  <a:pt x="5010" y="4600"/>
                </a:cubicBezTo>
                <a:cubicBezTo>
                  <a:pt x="5010" y="5073"/>
                  <a:pt x="5293" y="5451"/>
                  <a:pt x="5703" y="5577"/>
                </a:cubicBezTo>
                <a:lnTo>
                  <a:pt x="5703" y="7026"/>
                </a:lnTo>
                <a:lnTo>
                  <a:pt x="4852" y="7026"/>
                </a:lnTo>
                <a:lnTo>
                  <a:pt x="3655" y="5262"/>
                </a:lnTo>
                <a:cubicBezTo>
                  <a:pt x="3749" y="5167"/>
                  <a:pt x="5986" y="1166"/>
                  <a:pt x="6081" y="1040"/>
                </a:cubicBezTo>
                <a:close/>
                <a:moveTo>
                  <a:pt x="3812" y="3529"/>
                </a:moveTo>
                <a:lnTo>
                  <a:pt x="2899" y="5104"/>
                </a:lnTo>
                <a:cubicBezTo>
                  <a:pt x="2836" y="5230"/>
                  <a:pt x="2836" y="5388"/>
                  <a:pt x="2899" y="5451"/>
                </a:cubicBezTo>
                <a:lnTo>
                  <a:pt x="4064" y="7215"/>
                </a:lnTo>
                <a:cubicBezTo>
                  <a:pt x="3749" y="7404"/>
                  <a:pt x="3529" y="7719"/>
                  <a:pt x="3529" y="8097"/>
                </a:cubicBezTo>
                <a:lnTo>
                  <a:pt x="3529" y="8475"/>
                </a:lnTo>
                <a:lnTo>
                  <a:pt x="693" y="8475"/>
                </a:lnTo>
                <a:lnTo>
                  <a:pt x="693" y="3907"/>
                </a:lnTo>
                <a:cubicBezTo>
                  <a:pt x="788" y="3686"/>
                  <a:pt x="945" y="3529"/>
                  <a:pt x="1103" y="3529"/>
                </a:cubicBezTo>
                <a:close/>
                <a:moveTo>
                  <a:pt x="7436" y="7751"/>
                </a:moveTo>
                <a:cubicBezTo>
                  <a:pt x="7625" y="7751"/>
                  <a:pt x="7782" y="7908"/>
                  <a:pt x="7782" y="8097"/>
                </a:cubicBezTo>
                <a:lnTo>
                  <a:pt x="7782" y="8475"/>
                </a:lnTo>
                <a:lnTo>
                  <a:pt x="4285" y="8475"/>
                </a:lnTo>
                <a:lnTo>
                  <a:pt x="4285" y="8097"/>
                </a:lnTo>
                <a:cubicBezTo>
                  <a:pt x="4285" y="7908"/>
                  <a:pt x="4443" y="7751"/>
                  <a:pt x="4632" y="7751"/>
                </a:cubicBezTo>
                <a:close/>
                <a:moveTo>
                  <a:pt x="10996" y="3529"/>
                </a:moveTo>
                <a:cubicBezTo>
                  <a:pt x="11185" y="3529"/>
                  <a:pt x="11342" y="3686"/>
                  <a:pt x="11342" y="3907"/>
                </a:cubicBezTo>
                <a:lnTo>
                  <a:pt x="11342" y="8475"/>
                </a:lnTo>
                <a:lnTo>
                  <a:pt x="8507" y="8475"/>
                </a:lnTo>
                <a:lnTo>
                  <a:pt x="8507" y="8097"/>
                </a:lnTo>
                <a:cubicBezTo>
                  <a:pt x="8507" y="7719"/>
                  <a:pt x="8318" y="7404"/>
                  <a:pt x="8003" y="7215"/>
                </a:cubicBezTo>
                <a:lnTo>
                  <a:pt x="9137" y="5451"/>
                </a:lnTo>
                <a:cubicBezTo>
                  <a:pt x="9200" y="5356"/>
                  <a:pt x="9200" y="5230"/>
                  <a:pt x="9137" y="5104"/>
                </a:cubicBezTo>
                <a:lnTo>
                  <a:pt x="8223" y="3529"/>
                </a:lnTo>
                <a:close/>
                <a:moveTo>
                  <a:pt x="11342" y="9137"/>
                </a:moveTo>
                <a:lnTo>
                  <a:pt x="11342" y="9483"/>
                </a:lnTo>
                <a:cubicBezTo>
                  <a:pt x="11342" y="9672"/>
                  <a:pt x="11185" y="9830"/>
                  <a:pt x="10996" y="9830"/>
                </a:cubicBezTo>
                <a:lnTo>
                  <a:pt x="1103" y="9830"/>
                </a:lnTo>
                <a:cubicBezTo>
                  <a:pt x="914" y="9830"/>
                  <a:pt x="756" y="9672"/>
                  <a:pt x="756" y="9483"/>
                </a:cubicBezTo>
                <a:lnTo>
                  <a:pt x="756" y="9137"/>
                </a:lnTo>
                <a:close/>
                <a:moveTo>
                  <a:pt x="6427" y="10554"/>
                </a:moveTo>
                <a:lnTo>
                  <a:pt x="6427" y="11248"/>
                </a:lnTo>
                <a:lnTo>
                  <a:pt x="5703" y="11248"/>
                </a:lnTo>
                <a:lnTo>
                  <a:pt x="5703" y="10554"/>
                </a:lnTo>
                <a:close/>
                <a:moveTo>
                  <a:pt x="347" y="0"/>
                </a:moveTo>
                <a:cubicBezTo>
                  <a:pt x="158" y="0"/>
                  <a:pt x="0" y="158"/>
                  <a:pt x="0" y="347"/>
                </a:cubicBezTo>
                <a:lnTo>
                  <a:pt x="0" y="1765"/>
                </a:lnTo>
                <a:cubicBezTo>
                  <a:pt x="0" y="1954"/>
                  <a:pt x="158" y="2111"/>
                  <a:pt x="347" y="2111"/>
                </a:cubicBezTo>
                <a:lnTo>
                  <a:pt x="1765" y="2111"/>
                </a:lnTo>
                <a:cubicBezTo>
                  <a:pt x="1954" y="2111"/>
                  <a:pt x="2111" y="1954"/>
                  <a:pt x="2111" y="1765"/>
                </a:cubicBezTo>
                <a:lnTo>
                  <a:pt x="2111" y="1418"/>
                </a:lnTo>
                <a:lnTo>
                  <a:pt x="5010" y="1418"/>
                </a:lnTo>
                <a:lnTo>
                  <a:pt x="4159" y="2836"/>
                </a:lnTo>
                <a:lnTo>
                  <a:pt x="1072" y="2836"/>
                </a:lnTo>
                <a:cubicBezTo>
                  <a:pt x="473" y="2836"/>
                  <a:pt x="0" y="3308"/>
                  <a:pt x="0" y="3907"/>
                </a:cubicBezTo>
                <a:lnTo>
                  <a:pt x="0" y="9515"/>
                </a:lnTo>
                <a:cubicBezTo>
                  <a:pt x="0" y="10113"/>
                  <a:pt x="473" y="10586"/>
                  <a:pt x="1072" y="10586"/>
                </a:cubicBezTo>
                <a:lnTo>
                  <a:pt x="4947" y="10586"/>
                </a:lnTo>
                <a:lnTo>
                  <a:pt x="4947" y="11311"/>
                </a:lnTo>
                <a:lnTo>
                  <a:pt x="3907" y="11311"/>
                </a:lnTo>
                <a:cubicBezTo>
                  <a:pt x="3686" y="11311"/>
                  <a:pt x="3529" y="11468"/>
                  <a:pt x="3529" y="11657"/>
                </a:cubicBezTo>
                <a:cubicBezTo>
                  <a:pt x="3529" y="11846"/>
                  <a:pt x="3686" y="12004"/>
                  <a:pt x="3907" y="12004"/>
                </a:cubicBezTo>
                <a:lnTo>
                  <a:pt x="8097" y="12004"/>
                </a:lnTo>
                <a:cubicBezTo>
                  <a:pt x="8318" y="12004"/>
                  <a:pt x="8475" y="11846"/>
                  <a:pt x="8475" y="11657"/>
                </a:cubicBezTo>
                <a:cubicBezTo>
                  <a:pt x="8475" y="11468"/>
                  <a:pt x="8318" y="11311"/>
                  <a:pt x="8097" y="11311"/>
                </a:cubicBezTo>
                <a:lnTo>
                  <a:pt x="7057" y="11311"/>
                </a:lnTo>
                <a:lnTo>
                  <a:pt x="7057" y="10586"/>
                </a:lnTo>
                <a:lnTo>
                  <a:pt x="10933" y="10586"/>
                </a:lnTo>
                <a:cubicBezTo>
                  <a:pt x="11531" y="10586"/>
                  <a:pt x="12004" y="10113"/>
                  <a:pt x="12004" y="9515"/>
                </a:cubicBezTo>
                <a:lnTo>
                  <a:pt x="12004" y="3907"/>
                </a:lnTo>
                <a:cubicBezTo>
                  <a:pt x="12035" y="3308"/>
                  <a:pt x="11563" y="2836"/>
                  <a:pt x="10996" y="2836"/>
                </a:cubicBezTo>
                <a:lnTo>
                  <a:pt x="7877" y="2836"/>
                </a:lnTo>
                <a:lnTo>
                  <a:pt x="7057" y="1418"/>
                </a:lnTo>
                <a:lnTo>
                  <a:pt x="9924" y="1418"/>
                </a:lnTo>
                <a:lnTo>
                  <a:pt x="9924" y="1765"/>
                </a:lnTo>
                <a:cubicBezTo>
                  <a:pt x="9924" y="1954"/>
                  <a:pt x="10082" y="2111"/>
                  <a:pt x="10271" y="2111"/>
                </a:cubicBezTo>
                <a:lnTo>
                  <a:pt x="11689" y="2111"/>
                </a:lnTo>
                <a:cubicBezTo>
                  <a:pt x="11878" y="2111"/>
                  <a:pt x="12035" y="1954"/>
                  <a:pt x="12035" y="1765"/>
                </a:cubicBezTo>
                <a:lnTo>
                  <a:pt x="12035" y="347"/>
                </a:lnTo>
                <a:cubicBezTo>
                  <a:pt x="12035" y="158"/>
                  <a:pt x="11878" y="0"/>
                  <a:pt x="11689" y="0"/>
                </a:cubicBezTo>
                <a:lnTo>
                  <a:pt x="10271" y="0"/>
                </a:lnTo>
                <a:cubicBezTo>
                  <a:pt x="10082" y="0"/>
                  <a:pt x="9924" y="158"/>
                  <a:pt x="9924" y="347"/>
                </a:cubicBezTo>
                <a:lnTo>
                  <a:pt x="9924" y="693"/>
                </a:lnTo>
                <a:lnTo>
                  <a:pt x="6648" y="693"/>
                </a:lnTo>
                <a:lnTo>
                  <a:pt x="6333" y="189"/>
                </a:lnTo>
                <a:cubicBezTo>
                  <a:pt x="6270" y="63"/>
                  <a:pt x="6144" y="0"/>
                  <a:pt x="6018" y="0"/>
                </a:cubicBezTo>
                <a:cubicBezTo>
                  <a:pt x="5892" y="0"/>
                  <a:pt x="5797" y="63"/>
                  <a:pt x="5703" y="189"/>
                </a:cubicBezTo>
                <a:lnTo>
                  <a:pt x="5388" y="693"/>
                </a:lnTo>
                <a:lnTo>
                  <a:pt x="2111" y="693"/>
                </a:lnTo>
                <a:lnTo>
                  <a:pt x="2111" y="347"/>
                </a:ln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20" name="Google Shape;7520;p75"/>
          <p:cNvGrpSpPr/>
          <p:nvPr/>
        </p:nvGrpSpPr>
        <p:grpSpPr>
          <a:xfrm>
            <a:off x="5377526" y="2690124"/>
            <a:ext cx="307153" cy="478832"/>
            <a:chOff x="-47842400" y="2342000"/>
            <a:chExt cx="193000" cy="300875"/>
          </a:xfrm>
        </p:grpSpPr>
        <p:sp>
          <p:nvSpPr>
            <p:cNvPr id="7521" name="Google Shape;7521;p75"/>
            <p:cNvSpPr/>
            <p:nvPr/>
          </p:nvSpPr>
          <p:spPr>
            <a:xfrm>
              <a:off x="-47809325" y="2412875"/>
              <a:ext cx="124475" cy="124475"/>
            </a:xfrm>
            <a:custGeom>
              <a:avLst/>
              <a:gdLst/>
              <a:ahLst/>
              <a:cxnLst/>
              <a:rect l="l" t="t" r="r" b="b"/>
              <a:pathLst>
                <a:path w="4979" h="4979" extrusionOk="0">
                  <a:moveTo>
                    <a:pt x="1828" y="725"/>
                  </a:moveTo>
                  <a:cubicBezTo>
                    <a:pt x="2301" y="725"/>
                    <a:pt x="2679" y="1009"/>
                    <a:pt x="2805" y="1418"/>
                  </a:cubicBezTo>
                  <a:lnTo>
                    <a:pt x="1828" y="1418"/>
                  </a:lnTo>
                  <a:cubicBezTo>
                    <a:pt x="1639" y="1418"/>
                    <a:pt x="1482" y="1576"/>
                    <a:pt x="1482" y="1796"/>
                  </a:cubicBezTo>
                  <a:lnTo>
                    <a:pt x="1482" y="2773"/>
                  </a:lnTo>
                  <a:cubicBezTo>
                    <a:pt x="1072" y="2647"/>
                    <a:pt x="757" y="2269"/>
                    <a:pt x="757" y="1796"/>
                  </a:cubicBezTo>
                  <a:cubicBezTo>
                    <a:pt x="757" y="1198"/>
                    <a:pt x="1230" y="725"/>
                    <a:pt x="1828" y="725"/>
                  </a:cubicBezTo>
                  <a:close/>
                  <a:moveTo>
                    <a:pt x="2805" y="2143"/>
                  </a:moveTo>
                  <a:cubicBezTo>
                    <a:pt x="2679" y="2458"/>
                    <a:pt x="2458" y="2678"/>
                    <a:pt x="2175" y="2773"/>
                  </a:cubicBezTo>
                  <a:lnTo>
                    <a:pt x="2175" y="2143"/>
                  </a:lnTo>
                  <a:close/>
                  <a:moveTo>
                    <a:pt x="4286" y="2111"/>
                  </a:moveTo>
                  <a:lnTo>
                    <a:pt x="4286" y="4222"/>
                  </a:lnTo>
                  <a:lnTo>
                    <a:pt x="2143" y="4222"/>
                  </a:lnTo>
                  <a:lnTo>
                    <a:pt x="2143" y="3466"/>
                  </a:lnTo>
                  <a:cubicBezTo>
                    <a:pt x="2805" y="3309"/>
                    <a:pt x="3372" y="2804"/>
                    <a:pt x="3529" y="2111"/>
                  </a:cubicBezTo>
                  <a:close/>
                  <a:moveTo>
                    <a:pt x="1797" y="1"/>
                  </a:moveTo>
                  <a:cubicBezTo>
                    <a:pt x="789" y="1"/>
                    <a:pt x="1" y="788"/>
                    <a:pt x="1" y="1796"/>
                  </a:cubicBezTo>
                  <a:cubicBezTo>
                    <a:pt x="1" y="2647"/>
                    <a:pt x="599" y="3372"/>
                    <a:pt x="1450" y="3529"/>
                  </a:cubicBezTo>
                  <a:lnTo>
                    <a:pt x="1450" y="4632"/>
                  </a:lnTo>
                  <a:cubicBezTo>
                    <a:pt x="1450" y="4821"/>
                    <a:pt x="1576" y="4978"/>
                    <a:pt x="1797" y="4978"/>
                  </a:cubicBezTo>
                  <a:lnTo>
                    <a:pt x="4601" y="4978"/>
                  </a:lnTo>
                  <a:cubicBezTo>
                    <a:pt x="4790" y="4978"/>
                    <a:pt x="4947" y="4821"/>
                    <a:pt x="4947" y="4632"/>
                  </a:cubicBezTo>
                  <a:lnTo>
                    <a:pt x="4947" y="1828"/>
                  </a:lnTo>
                  <a:cubicBezTo>
                    <a:pt x="4979" y="1576"/>
                    <a:pt x="4821" y="1418"/>
                    <a:pt x="4632" y="1418"/>
                  </a:cubicBezTo>
                  <a:lnTo>
                    <a:pt x="3529" y="1418"/>
                  </a:lnTo>
                  <a:cubicBezTo>
                    <a:pt x="3372" y="631"/>
                    <a:pt x="2647" y="1"/>
                    <a:pt x="1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2" name="Google Shape;7522;p75"/>
            <p:cNvSpPr/>
            <p:nvPr/>
          </p:nvSpPr>
          <p:spPr>
            <a:xfrm>
              <a:off x="-47842400" y="2342000"/>
              <a:ext cx="193000" cy="300875"/>
            </a:xfrm>
            <a:custGeom>
              <a:avLst/>
              <a:gdLst/>
              <a:ahLst/>
              <a:cxnLst/>
              <a:rect l="l" t="t" r="r" b="b"/>
              <a:pathLst>
                <a:path w="7720" h="12035" extrusionOk="0">
                  <a:moveTo>
                    <a:pt x="6995" y="725"/>
                  </a:moveTo>
                  <a:lnTo>
                    <a:pt x="6995" y="1418"/>
                  </a:lnTo>
                  <a:lnTo>
                    <a:pt x="662" y="1418"/>
                  </a:lnTo>
                  <a:lnTo>
                    <a:pt x="662" y="725"/>
                  </a:lnTo>
                  <a:close/>
                  <a:moveTo>
                    <a:pt x="7058" y="2142"/>
                  </a:moveTo>
                  <a:lnTo>
                    <a:pt x="7058" y="8506"/>
                  </a:lnTo>
                  <a:lnTo>
                    <a:pt x="694" y="8506"/>
                  </a:lnTo>
                  <a:lnTo>
                    <a:pt x="694" y="2142"/>
                  </a:lnTo>
                  <a:close/>
                  <a:moveTo>
                    <a:pt x="7058" y="9200"/>
                  </a:moveTo>
                  <a:lnTo>
                    <a:pt x="7058" y="11310"/>
                  </a:lnTo>
                  <a:lnTo>
                    <a:pt x="694" y="11310"/>
                  </a:lnTo>
                  <a:lnTo>
                    <a:pt x="694" y="9200"/>
                  </a:lnTo>
                  <a:close/>
                  <a:moveTo>
                    <a:pt x="347" y="0"/>
                  </a:moveTo>
                  <a:cubicBezTo>
                    <a:pt x="158" y="0"/>
                    <a:pt x="1" y="158"/>
                    <a:pt x="1" y="378"/>
                  </a:cubicBezTo>
                  <a:lnTo>
                    <a:pt x="1" y="11657"/>
                  </a:lnTo>
                  <a:cubicBezTo>
                    <a:pt x="1" y="11877"/>
                    <a:pt x="158" y="12035"/>
                    <a:pt x="347" y="12035"/>
                  </a:cubicBezTo>
                  <a:lnTo>
                    <a:pt x="7373" y="12035"/>
                  </a:lnTo>
                  <a:cubicBezTo>
                    <a:pt x="7562" y="12035"/>
                    <a:pt x="7719" y="11877"/>
                    <a:pt x="7719" y="11657"/>
                  </a:cubicBezTo>
                  <a:lnTo>
                    <a:pt x="7719" y="378"/>
                  </a:lnTo>
                  <a:cubicBezTo>
                    <a:pt x="7719" y="158"/>
                    <a:pt x="7562" y="0"/>
                    <a:pt x="737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3" name="Google Shape;7523;p75"/>
            <p:cNvSpPr/>
            <p:nvPr/>
          </p:nvSpPr>
          <p:spPr>
            <a:xfrm>
              <a:off x="-47772300" y="2589300"/>
              <a:ext cx="52800" cy="18150"/>
            </a:xfrm>
            <a:custGeom>
              <a:avLst/>
              <a:gdLst/>
              <a:ahLst/>
              <a:cxnLst/>
              <a:rect l="l" t="t" r="r" b="b"/>
              <a:pathLst>
                <a:path w="2112" h="726" extrusionOk="0">
                  <a:moveTo>
                    <a:pt x="347" y="1"/>
                  </a:moveTo>
                  <a:cubicBezTo>
                    <a:pt x="158" y="1"/>
                    <a:pt x="1" y="158"/>
                    <a:pt x="1" y="347"/>
                  </a:cubicBezTo>
                  <a:cubicBezTo>
                    <a:pt x="1" y="568"/>
                    <a:pt x="158" y="725"/>
                    <a:pt x="347" y="725"/>
                  </a:cubicBezTo>
                  <a:lnTo>
                    <a:pt x="1765" y="725"/>
                  </a:lnTo>
                  <a:cubicBezTo>
                    <a:pt x="1954" y="725"/>
                    <a:pt x="2111" y="568"/>
                    <a:pt x="2111" y="347"/>
                  </a:cubicBezTo>
                  <a:cubicBezTo>
                    <a:pt x="2111" y="158"/>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4" name="Google Shape;7524;p75"/>
          <p:cNvGrpSpPr/>
          <p:nvPr/>
        </p:nvGrpSpPr>
        <p:grpSpPr>
          <a:xfrm>
            <a:off x="5292283" y="3286736"/>
            <a:ext cx="477639" cy="478872"/>
            <a:chOff x="-47896750" y="2710600"/>
            <a:chExt cx="300125" cy="300900"/>
          </a:xfrm>
        </p:grpSpPr>
        <p:sp>
          <p:nvSpPr>
            <p:cNvPr id="7525" name="Google Shape;7525;p75"/>
            <p:cNvSpPr/>
            <p:nvPr/>
          </p:nvSpPr>
          <p:spPr>
            <a:xfrm>
              <a:off x="-47896750" y="2710600"/>
              <a:ext cx="300125" cy="300900"/>
            </a:xfrm>
            <a:custGeom>
              <a:avLst/>
              <a:gdLst/>
              <a:ahLst/>
              <a:cxnLst/>
              <a:rect l="l" t="t" r="r" b="b"/>
              <a:pathLst>
                <a:path w="12005" h="12036" extrusionOk="0">
                  <a:moveTo>
                    <a:pt x="2836" y="756"/>
                  </a:moveTo>
                  <a:cubicBezTo>
                    <a:pt x="3246" y="756"/>
                    <a:pt x="3561" y="1072"/>
                    <a:pt x="3561" y="1450"/>
                  </a:cubicBezTo>
                  <a:lnTo>
                    <a:pt x="3561" y="2237"/>
                  </a:lnTo>
                  <a:cubicBezTo>
                    <a:pt x="3309" y="2206"/>
                    <a:pt x="3088" y="2174"/>
                    <a:pt x="2836" y="2174"/>
                  </a:cubicBezTo>
                  <a:cubicBezTo>
                    <a:pt x="2616" y="2174"/>
                    <a:pt x="2364" y="2206"/>
                    <a:pt x="2143" y="2237"/>
                  </a:cubicBezTo>
                  <a:lnTo>
                    <a:pt x="2143" y="1450"/>
                  </a:lnTo>
                  <a:cubicBezTo>
                    <a:pt x="2143" y="1072"/>
                    <a:pt x="2458" y="756"/>
                    <a:pt x="2836" y="756"/>
                  </a:cubicBezTo>
                  <a:close/>
                  <a:moveTo>
                    <a:pt x="5231" y="1450"/>
                  </a:moveTo>
                  <a:cubicBezTo>
                    <a:pt x="7026" y="1450"/>
                    <a:pt x="8539" y="2584"/>
                    <a:pt x="9106" y="4254"/>
                  </a:cubicBezTo>
                  <a:cubicBezTo>
                    <a:pt x="8854" y="4254"/>
                    <a:pt x="8633" y="4317"/>
                    <a:pt x="8444" y="4474"/>
                  </a:cubicBezTo>
                  <a:cubicBezTo>
                    <a:pt x="8003" y="3119"/>
                    <a:pt x="6743" y="2174"/>
                    <a:pt x="5231" y="2174"/>
                  </a:cubicBezTo>
                  <a:lnTo>
                    <a:pt x="4254" y="2174"/>
                  </a:lnTo>
                  <a:lnTo>
                    <a:pt x="4254" y="1450"/>
                  </a:lnTo>
                  <a:close/>
                  <a:moveTo>
                    <a:pt x="2868" y="2836"/>
                  </a:moveTo>
                  <a:cubicBezTo>
                    <a:pt x="4033" y="2836"/>
                    <a:pt x="4979" y="3781"/>
                    <a:pt x="4979" y="4947"/>
                  </a:cubicBezTo>
                  <a:lnTo>
                    <a:pt x="4979" y="5671"/>
                  </a:lnTo>
                  <a:lnTo>
                    <a:pt x="757" y="5671"/>
                  </a:lnTo>
                  <a:lnTo>
                    <a:pt x="757" y="4947"/>
                  </a:lnTo>
                  <a:cubicBezTo>
                    <a:pt x="757" y="3781"/>
                    <a:pt x="1702" y="2836"/>
                    <a:pt x="2868" y="2836"/>
                  </a:cubicBezTo>
                  <a:close/>
                  <a:moveTo>
                    <a:pt x="9169" y="4947"/>
                  </a:moveTo>
                  <a:cubicBezTo>
                    <a:pt x="9578" y="4947"/>
                    <a:pt x="9893" y="5262"/>
                    <a:pt x="9893" y="5671"/>
                  </a:cubicBezTo>
                  <a:cubicBezTo>
                    <a:pt x="9893" y="6049"/>
                    <a:pt x="9578" y="6364"/>
                    <a:pt x="9169" y="6364"/>
                  </a:cubicBezTo>
                  <a:cubicBezTo>
                    <a:pt x="8791" y="6364"/>
                    <a:pt x="8476" y="6049"/>
                    <a:pt x="8476" y="5671"/>
                  </a:cubicBezTo>
                  <a:cubicBezTo>
                    <a:pt x="8476" y="5262"/>
                    <a:pt x="8791" y="4947"/>
                    <a:pt x="9169" y="4947"/>
                  </a:cubicBezTo>
                  <a:close/>
                  <a:moveTo>
                    <a:pt x="9547" y="6994"/>
                  </a:moveTo>
                  <a:lnTo>
                    <a:pt x="9547" y="9924"/>
                  </a:lnTo>
                  <a:lnTo>
                    <a:pt x="8822" y="9924"/>
                  </a:lnTo>
                  <a:lnTo>
                    <a:pt x="8822" y="6994"/>
                  </a:lnTo>
                  <a:cubicBezTo>
                    <a:pt x="8948" y="7057"/>
                    <a:pt x="9074" y="7057"/>
                    <a:pt x="9169" y="7057"/>
                  </a:cubicBezTo>
                  <a:cubicBezTo>
                    <a:pt x="9295" y="7057"/>
                    <a:pt x="9421" y="7057"/>
                    <a:pt x="9547" y="6994"/>
                  </a:cubicBezTo>
                  <a:close/>
                  <a:moveTo>
                    <a:pt x="10208" y="10617"/>
                  </a:moveTo>
                  <a:cubicBezTo>
                    <a:pt x="10681" y="10617"/>
                    <a:pt x="11059" y="10933"/>
                    <a:pt x="11217" y="11342"/>
                  </a:cubicBezTo>
                  <a:lnTo>
                    <a:pt x="5703" y="11342"/>
                  </a:lnTo>
                  <a:cubicBezTo>
                    <a:pt x="5861" y="10933"/>
                    <a:pt x="6270" y="10617"/>
                    <a:pt x="6711" y="10617"/>
                  </a:cubicBezTo>
                  <a:close/>
                  <a:moveTo>
                    <a:pt x="2836" y="0"/>
                  </a:moveTo>
                  <a:cubicBezTo>
                    <a:pt x="2049" y="0"/>
                    <a:pt x="1419" y="630"/>
                    <a:pt x="1419" y="1418"/>
                  </a:cubicBezTo>
                  <a:lnTo>
                    <a:pt x="1419" y="2458"/>
                  </a:lnTo>
                  <a:cubicBezTo>
                    <a:pt x="599" y="2930"/>
                    <a:pt x="1" y="3844"/>
                    <a:pt x="1" y="4915"/>
                  </a:cubicBezTo>
                  <a:lnTo>
                    <a:pt x="1" y="5986"/>
                  </a:lnTo>
                  <a:cubicBezTo>
                    <a:pt x="1" y="6175"/>
                    <a:pt x="158" y="6333"/>
                    <a:pt x="347" y="6333"/>
                  </a:cubicBezTo>
                  <a:lnTo>
                    <a:pt x="5294" y="6333"/>
                  </a:lnTo>
                  <a:cubicBezTo>
                    <a:pt x="5483" y="6333"/>
                    <a:pt x="5640" y="6175"/>
                    <a:pt x="5640" y="5986"/>
                  </a:cubicBezTo>
                  <a:lnTo>
                    <a:pt x="5640" y="4915"/>
                  </a:lnTo>
                  <a:cubicBezTo>
                    <a:pt x="5640" y="4096"/>
                    <a:pt x="5294" y="3340"/>
                    <a:pt x="4695" y="2773"/>
                  </a:cubicBezTo>
                  <a:lnTo>
                    <a:pt x="5231" y="2773"/>
                  </a:lnTo>
                  <a:cubicBezTo>
                    <a:pt x="6585" y="2773"/>
                    <a:pt x="7688" y="3781"/>
                    <a:pt x="7877" y="5104"/>
                  </a:cubicBezTo>
                  <a:cubicBezTo>
                    <a:pt x="7846" y="5262"/>
                    <a:pt x="7814" y="5419"/>
                    <a:pt x="7814" y="5608"/>
                  </a:cubicBezTo>
                  <a:cubicBezTo>
                    <a:pt x="7814" y="5986"/>
                    <a:pt x="7909" y="6301"/>
                    <a:pt x="8161" y="6553"/>
                  </a:cubicBezTo>
                  <a:lnTo>
                    <a:pt x="8161" y="9924"/>
                  </a:lnTo>
                  <a:lnTo>
                    <a:pt x="7436" y="9924"/>
                  </a:lnTo>
                  <a:lnTo>
                    <a:pt x="7436" y="9546"/>
                  </a:lnTo>
                  <a:cubicBezTo>
                    <a:pt x="7436" y="9357"/>
                    <a:pt x="7278" y="9200"/>
                    <a:pt x="7089" y="9200"/>
                  </a:cubicBezTo>
                  <a:cubicBezTo>
                    <a:pt x="6900" y="9200"/>
                    <a:pt x="6743" y="9357"/>
                    <a:pt x="6743" y="9546"/>
                  </a:cubicBezTo>
                  <a:lnTo>
                    <a:pt x="6743" y="9924"/>
                  </a:lnTo>
                  <a:cubicBezTo>
                    <a:pt x="5766" y="9924"/>
                    <a:pt x="4979" y="10712"/>
                    <a:pt x="4979" y="11689"/>
                  </a:cubicBezTo>
                  <a:cubicBezTo>
                    <a:pt x="4979" y="11878"/>
                    <a:pt x="5136" y="12035"/>
                    <a:pt x="5325" y="12035"/>
                  </a:cubicBezTo>
                  <a:lnTo>
                    <a:pt x="11658" y="12035"/>
                  </a:lnTo>
                  <a:cubicBezTo>
                    <a:pt x="11847" y="12035"/>
                    <a:pt x="12004" y="11878"/>
                    <a:pt x="12004" y="11689"/>
                  </a:cubicBezTo>
                  <a:cubicBezTo>
                    <a:pt x="12004" y="11216"/>
                    <a:pt x="11815" y="10743"/>
                    <a:pt x="11500" y="10428"/>
                  </a:cubicBezTo>
                  <a:cubicBezTo>
                    <a:pt x="11154" y="10113"/>
                    <a:pt x="10713" y="9924"/>
                    <a:pt x="10240" y="9924"/>
                  </a:cubicBezTo>
                  <a:lnTo>
                    <a:pt x="10240" y="6585"/>
                  </a:lnTo>
                  <a:cubicBezTo>
                    <a:pt x="10492" y="6333"/>
                    <a:pt x="10587" y="5986"/>
                    <a:pt x="10587" y="5608"/>
                  </a:cubicBezTo>
                  <a:cubicBezTo>
                    <a:pt x="10587" y="5104"/>
                    <a:pt x="10334" y="4632"/>
                    <a:pt x="9893" y="4411"/>
                  </a:cubicBezTo>
                  <a:cubicBezTo>
                    <a:pt x="9641" y="3371"/>
                    <a:pt x="9106" y="2458"/>
                    <a:pt x="8287" y="1796"/>
                  </a:cubicBezTo>
                  <a:cubicBezTo>
                    <a:pt x="7405" y="1103"/>
                    <a:pt x="6333" y="693"/>
                    <a:pt x="5231" y="693"/>
                  </a:cubicBezTo>
                  <a:lnTo>
                    <a:pt x="4065" y="693"/>
                  </a:lnTo>
                  <a:cubicBezTo>
                    <a:pt x="3813" y="284"/>
                    <a:pt x="3340" y="0"/>
                    <a:pt x="28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6" name="Google Shape;7526;p75"/>
            <p:cNvSpPr/>
            <p:nvPr/>
          </p:nvSpPr>
          <p:spPr>
            <a:xfrm>
              <a:off x="-47834525" y="2904350"/>
              <a:ext cx="17350" cy="44125"/>
            </a:xfrm>
            <a:custGeom>
              <a:avLst/>
              <a:gdLst/>
              <a:ahLst/>
              <a:cxnLst/>
              <a:rect l="l" t="t" r="r" b="b"/>
              <a:pathLst>
                <a:path w="694" h="1765" extrusionOk="0">
                  <a:moveTo>
                    <a:pt x="347" y="1"/>
                  </a:moveTo>
                  <a:cubicBezTo>
                    <a:pt x="158" y="1"/>
                    <a:pt x="1" y="158"/>
                    <a:pt x="1" y="347"/>
                  </a:cubicBezTo>
                  <a:lnTo>
                    <a:pt x="1" y="1418"/>
                  </a:lnTo>
                  <a:cubicBezTo>
                    <a:pt x="1" y="1607"/>
                    <a:pt x="158" y="1765"/>
                    <a:pt x="347" y="1765"/>
                  </a:cubicBezTo>
                  <a:cubicBezTo>
                    <a:pt x="568" y="1765"/>
                    <a:pt x="694" y="1607"/>
                    <a:pt x="694" y="1418"/>
                  </a:cubicBezTo>
                  <a:lnTo>
                    <a:pt x="694" y="347"/>
                  </a:lnTo>
                  <a:cubicBezTo>
                    <a:pt x="694"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7" name="Google Shape;7527;p75"/>
            <p:cNvSpPr/>
            <p:nvPr/>
          </p:nvSpPr>
          <p:spPr>
            <a:xfrm>
              <a:off x="-47790400" y="2884475"/>
              <a:ext cx="38600" cy="36450"/>
            </a:xfrm>
            <a:custGeom>
              <a:avLst/>
              <a:gdLst/>
              <a:ahLst/>
              <a:cxnLst/>
              <a:rect l="l" t="t" r="r" b="b"/>
              <a:pathLst>
                <a:path w="1544" h="1458" extrusionOk="0">
                  <a:moveTo>
                    <a:pt x="437" y="0"/>
                  </a:moveTo>
                  <a:cubicBezTo>
                    <a:pt x="339" y="0"/>
                    <a:pt x="236" y="24"/>
                    <a:pt x="158" y="71"/>
                  </a:cubicBezTo>
                  <a:cubicBezTo>
                    <a:pt x="0" y="197"/>
                    <a:pt x="32" y="449"/>
                    <a:pt x="158" y="607"/>
                  </a:cubicBezTo>
                  <a:lnTo>
                    <a:pt x="914" y="1363"/>
                  </a:lnTo>
                  <a:cubicBezTo>
                    <a:pt x="1040" y="1457"/>
                    <a:pt x="1103" y="1457"/>
                    <a:pt x="1197" y="1457"/>
                  </a:cubicBezTo>
                  <a:cubicBezTo>
                    <a:pt x="1260" y="1457"/>
                    <a:pt x="1386" y="1426"/>
                    <a:pt x="1418" y="1363"/>
                  </a:cubicBezTo>
                  <a:cubicBezTo>
                    <a:pt x="1544" y="1237"/>
                    <a:pt x="1544" y="985"/>
                    <a:pt x="1418" y="827"/>
                  </a:cubicBezTo>
                  <a:lnTo>
                    <a:pt x="693" y="71"/>
                  </a:lnTo>
                  <a:cubicBezTo>
                    <a:pt x="630" y="24"/>
                    <a:pt x="536" y="0"/>
                    <a:pt x="4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28" name="Google Shape;7528;p75"/>
            <p:cNvSpPr/>
            <p:nvPr/>
          </p:nvSpPr>
          <p:spPr>
            <a:xfrm>
              <a:off x="-47896750" y="2885150"/>
              <a:ext cx="37050" cy="37350"/>
            </a:xfrm>
            <a:custGeom>
              <a:avLst/>
              <a:gdLst/>
              <a:ahLst/>
              <a:cxnLst/>
              <a:rect l="l" t="t" r="r" b="b"/>
              <a:pathLst>
                <a:path w="1482" h="1494" extrusionOk="0">
                  <a:moveTo>
                    <a:pt x="1122" y="0"/>
                  </a:moveTo>
                  <a:cubicBezTo>
                    <a:pt x="1027" y="0"/>
                    <a:pt x="933" y="40"/>
                    <a:pt x="883" y="107"/>
                  </a:cubicBezTo>
                  <a:lnTo>
                    <a:pt x="127" y="863"/>
                  </a:lnTo>
                  <a:cubicBezTo>
                    <a:pt x="1" y="958"/>
                    <a:pt x="1" y="1210"/>
                    <a:pt x="127" y="1367"/>
                  </a:cubicBezTo>
                  <a:cubicBezTo>
                    <a:pt x="221" y="1430"/>
                    <a:pt x="284" y="1493"/>
                    <a:pt x="379" y="1493"/>
                  </a:cubicBezTo>
                  <a:cubicBezTo>
                    <a:pt x="442" y="1493"/>
                    <a:pt x="568" y="1430"/>
                    <a:pt x="599" y="1367"/>
                  </a:cubicBezTo>
                  <a:lnTo>
                    <a:pt x="1356" y="611"/>
                  </a:lnTo>
                  <a:cubicBezTo>
                    <a:pt x="1482" y="485"/>
                    <a:pt x="1482" y="264"/>
                    <a:pt x="1356" y="107"/>
                  </a:cubicBezTo>
                  <a:cubicBezTo>
                    <a:pt x="1296" y="33"/>
                    <a:pt x="1208" y="0"/>
                    <a:pt x="11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29" name="Google Shape;7529;p75"/>
          <p:cNvGrpSpPr/>
          <p:nvPr/>
        </p:nvGrpSpPr>
        <p:grpSpPr>
          <a:xfrm>
            <a:off x="3499803" y="3918146"/>
            <a:ext cx="478872" cy="419988"/>
            <a:chOff x="-46033225" y="1982825"/>
            <a:chExt cx="300900" cy="263900"/>
          </a:xfrm>
        </p:grpSpPr>
        <p:sp>
          <p:nvSpPr>
            <p:cNvPr id="7530" name="Google Shape;7530;p75"/>
            <p:cNvSpPr/>
            <p:nvPr/>
          </p:nvSpPr>
          <p:spPr>
            <a:xfrm>
              <a:off x="-45962325" y="2053725"/>
              <a:ext cx="157525" cy="157550"/>
            </a:xfrm>
            <a:custGeom>
              <a:avLst/>
              <a:gdLst/>
              <a:ahLst/>
              <a:cxnLst/>
              <a:rect l="l" t="t" r="r" b="b"/>
              <a:pathLst>
                <a:path w="6301" h="6302" extrusionOk="0">
                  <a:moveTo>
                    <a:pt x="3151" y="725"/>
                  </a:moveTo>
                  <a:cubicBezTo>
                    <a:pt x="4505" y="725"/>
                    <a:pt x="5608" y="1828"/>
                    <a:pt x="5608" y="3151"/>
                  </a:cubicBezTo>
                  <a:cubicBezTo>
                    <a:pt x="5608" y="4506"/>
                    <a:pt x="4505" y="5608"/>
                    <a:pt x="3151" y="5608"/>
                  </a:cubicBezTo>
                  <a:cubicBezTo>
                    <a:pt x="1827" y="5608"/>
                    <a:pt x="725" y="4474"/>
                    <a:pt x="725" y="3151"/>
                  </a:cubicBezTo>
                  <a:cubicBezTo>
                    <a:pt x="725" y="1828"/>
                    <a:pt x="1827" y="725"/>
                    <a:pt x="3151" y="725"/>
                  </a:cubicBezTo>
                  <a:close/>
                  <a:moveTo>
                    <a:pt x="3151" y="0"/>
                  </a:moveTo>
                  <a:cubicBezTo>
                    <a:pt x="1418" y="0"/>
                    <a:pt x="0" y="1418"/>
                    <a:pt x="0" y="3151"/>
                  </a:cubicBezTo>
                  <a:cubicBezTo>
                    <a:pt x="0" y="4884"/>
                    <a:pt x="1418" y="6301"/>
                    <a:pt x="3151" y="6301"/>
                  </a:cubicBezTo>
                  <a:cubicBezTo>
                    <a:pt x="4883" y="6301"/>
                    <a:pt x="6301" y="4884"/>
                    <a:pt x="6301" y="3151"/>
                  </a:cubicBezTo>
                  <a:cubicBezTo>
                    <a:pt x="6301" y="1418"/>
                    <a:pt x="4883"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1" name="Google Shape;7531;p75"/>
            <p:cNvSpPr/>
            <p:nvPr/>
          </p:nvSpPr>
          <p:spPr>
            <a:xfrm>
              <a:off x="-45927675" y="2088375"/>
              <a:ext cx="89025" cy="88250"/>
            </a:xfrm>
            <a:custGeom>
              <a:avLst/>
              <a:gdLst/>
              <a:ahLst/>
              <a:cxnLst/>
              <a:rect l="l" t="t" r="r" b="b"/>
              <a:pathLst>
                <a:path w="3561" h="3530" extrusionOk="0">
                  <a:moveTo>
                    <a:pt x="1765" y="694"/>
                  </a:moveTo>
                  <a:cubicBezTo>
                    <a:pt x="2363" y="694"/>
                    <a:pt x="2836" y="1166"/>
                    <a:pt x="2836" y="1765"/>
                  </a:cubicBezTo>
                  <a:cubicBezTo>
                    <a:pt x="2804" y="2363"/>
                    <a:pt x="2332" y="2836"/>
                    <a:pt x="1765" y="2836"/>
                  </a:cubicBezTo>
                  <a:cubicBezTo>
                    <a:pt x="1197" y="2836"/>
                    <a:pt x="725" y="2363"/>
                    <a:pt x="725" y="1765"/>
                  </a:cubicBezTo>
                  <a:cubicBezTo>
                    <a:pt x="725" y="1166"/>
                    <a:pt x="1197" y="694"/>
                    <a:pt x="1765" y="694"/>
                  </a:cubicBezTo>
                  <a:close/>
                  <a:moveTo>
                    <a:pt x="1765" y="1"/>
                  </a:moveTo>
                  <a:cubicBezTo>
                    <a:pt x="788" y="1"/>
                    <a:pt x="0" y="788"/>
                    <a:pt x="0" y="1765"/>
                  </a:cubicBezTo>
                  <a:cubicBezTo>
                    <a:pt x="0" y="2741"/>
                    <a:pt x="788" y="3529"/>
                    <a:pt x="1765" y="3529"/>
                  </a:cubicBezTo>
                  <a:cubicBezTo>
                    <a:pt x="2773" y="3529"/>
                    <a:pt x="3560" y="2741"/>
                    <a:pt x="3560" y="1765"/>
                  </a:cubicBezTo>
                  <a:cubicBezTo>
                    <a:pt x="3497" y="788"/>
                    <a:pt x="2710"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2" name="Google Shape;7532;p75"/>
            <p:cNvSpPr/>
            <p:nvPr/>
          </p:nvSpPr>
          <p:spPr>
            <a:xfrm>
              <a:off x="-46033225" y="1982825"/>
              <a:ext cx="300900" cy="263900"/>
            </a:xfrm>
            <a:custGeom>
              <a:avLst/>
              <a:gdLst/>
              <a:ahLst/>
              <a:cxnLst/>
              <a:rect l="l" t="t" r="r" b="b"/>
              <a:pathLst>
                <a:path w="12036" h="10556" extrusionOk="0">
                  <a:moveTo>
                    <a:pt x="7184" y="726"/>
                  </a:moveTo>
                  <a:lnTo>
                    <a:pt x="7530" y="1419"/>
                  </a:lnTo>
                  <a:lnTo>
                    <a:pt x="4474" y="1419"/>
                  </a:lnTo>
                  <a:lnTo>
                    <a:pt x="4821" y="726"/>
                  </a:lnTo>
                  <a:close/>
                  <a:moveTo>
                    <a:pt x="694" y="3750"/>
                  </a:moveTo>
                  <a:lnTo>
                    <a:pt x="1387" y="4097"/>
                  </a:lnTo>
                  <a:lnTo>
                    <a:pt x="1387" y="7877"/>
                  </a:lnTo>
                  <a:lnTo>
                    <a:pt x="694" y="8224"/>
                  </a:lnTo>
                  <a:lnTo>
                    <a:pt x="694" y="3750"/>
                  </a:lnTo>
                  <a:close/>
                  <a:moveTo>
                    <a:pt x="11279" y="3750"/>
                  </a:moveTo>
                  <a:lnTo>
                    <a:pt x="11279" y="8224"/>
                  </a:lnTo>
                  <a:lnTo>
                    <a:pt x="10555" y="7877"/>
                  </a:lnTo>
                  <a:lnTo>
                    <a:pt x="10555" y="4097"/>
                  </a:lnTo>
                  <a:lnTo>
                    <a:pt x="11279" y="3750"/>
                  </a:lnTo>
                  <a:close/>
                  <a:moveTo>
                    <a:pt x="10933" y="2175"/>
                  </a:moveTo>
                  <a:cubicBezTo>
                    <a:pt x="11122" y="2175"/>
                    <a:pt x="11279" y="2332"/>
                    <a:pt x="11279" y="2521"/>
                  </a:cubicBezTo>
                  <a:lnTo>
                    <a:pt x="11279" y="2994"/>
                  </a:lnTo>
                  <a:lnTo>
                    <a:pt x="10051" y="3592"/>
                  </a:lnTo>
                  <a:cubicBezTo>
                    <a:pt x="9925" y="3655"/>
                    <a:pt x="9862" y="3781"/>
                    <a:pt x="9862" y="3908"/>
                  </a:cubicBezTo>
                  <a:lnTo>
                    <a:pt x="9862" y="8098"/>
                  </a:lnTo>
                  <a:cubicBezTo>
                    <a:pt x="9862" y="8224"/>
                    <a:pt x="9925" y="8350"/>
                    <a:pt x="10051" y="8444"/>
                  </a:cubicBezTo>
                  <a:lnTo>
                    <a:pt x="11279" y="9011"/>
                  </a:lnTo>
                  <a:lnTo>
                    <a:pt x="11279" y="9484"/>
                  </a:lnTo>
                  <a:cubicBezTo>
                    <a:pt x="11279" y="9704"/>
                    <a:pt x="11122" y="9830"/>
                    <a:pt x="10933" y="9830"/>
                  </a:cubicBezTo>
                  <a:lnTo>
                    <a:pt x="1040" y="9830"/>
                  </a:lnTo>
                  <a:cubicBezTo>
                    <a:pt x="851" y="9830"/>
                    <a:pt x="694" y="9673"/>
                    <a:pt x="694" y="9484"/>
                  </a:cubicBezTo>
                  <a:lnTo>
                    <a:pt x="694" y="9011"/>
                  </a:lnTo>
                  <a:lnTo>
                    <a:pt x="1891" y="8444"/>
                  </a:lnTo>
                  <a:cubicBezTo>
                    <a:pt x="2017" y="8350"/>
                    <a:pt x="2111" y="8224"/>
                    <a:pt x="2111" y="8098"/>
                  </a:cubicBezTo>
                  <a:lnTo>
                    <a:pt x="2111" y="3908"/>
                  </a:lnTo>
                  <a:cubicBezTo>
                    <a:pt x="2111" y="3781"/>
                    <a:pt x="2017" y="3655"/>
                    <a:pt x="1891" y="3592"/>
                  </a:cubicBezTo>
                  <a:lnTo>
                    <a:pt x="694" y="2994"/>
                  </a:lnTo>
                  <a:lnTo>
                    <a:pt x="694" y="2521"/>
                  </a:lnTo>
                  <a:cubicBezTo>
                    <a:pt x="694" y="2332"/>
                    <a:pt x="851" y="2175"/>
                    <a:pt x="1040" y="2175"/>
                  </a:cubicBezTo>
                  <a:close/>
                  <a:moveTo>
                    <a:pt x="4632" y="1"/>
                  </a:moveTo>
                  <a:cubicBezTo>
                    <a:pt x="4506" y="1"/>
                    <a:pt x="4380" y="95"/>
                    <a:pt x="4317" y="190"/>
                  </a:cubicBezTo>
                  <a:lnTo>
                    <a:pt x="3718" y="1419"/>
                  </a:lnTo>
                  <a:lnTo>
                    <a:pt x="2143" y="1419"/>
                  </a:lnTo>
                  <a:lnTo>
                    <a:pt x="2143" y="1072"/>
                  </a:lnTo>
                  <a:cubicBezTo>
                    <a:pt x="2143" y="883"/>
                    <a:pt x="1985" y="694"/>
                    <a:pt x="1796" y="694"/>
                  </a:cubicBezTo>
                  <a:cubicBezTo>
                    <a:pt x="1576" y="694"/>
                    <a:pt x="1418" y="883"/>
                    <a:pt x="1418" y="1072"/>
                  </a:cubicBezTo>
                  <a:lnTo>
                    <a:pt x="1418" y="1419"/>
                  </a:lnTo>
                  <a:lnTo>
                    <a:pt x="1072" y="1419"/>
                  </a:lnTo>
                  <a:cubicBezTo>
                    <a:pt x="473" y="1419"/>
                    <a:pt x="1" y="1891"/>
                    <a:pt x="1" y="2490"/>
                  </a:cubicBezTo>
                  <a:lnTo>
                    <a:pt x="1" y="9484"/>
                  </a:lnTo>
                  <a:cubicBezTo>
                    <a:pt x="1" y="10082"/>
                    <a:pt x="473" y="10555"/>
                    <a:pt x="1072" y="10555"/>
                  </a:cubicBezTo>
                  <a:lnTo>
                    <a:pt x="10964" y="10555"/>
                  </a:lnTo>
                  <a:cubicBezTo>
                    <a:pt x="11563" y="10555"/>
                    <a:pt x="12035" y="10082"/>
                    <a:pt x="12035" y="9484"/>
                  </a:cubicBezTo>
                  <a:lnTo>
                    <a:pt x="12035" y="2490"/>
                  </a:lnTo>
                  <a:cubicBezTo>
                    <a:pt x="12004" y="1891"/>
                    <a:pt x="11500" y="1419"/>
                    <a:pt x="10933" y="1419"/>
                  </a:cubicBezTo>
                  <a:lnTo>
                    <a:pt x="8318" y="1419"/>
                  </a:lnTo>
                  <a:lnTo>
                    <a:pt x="7719" y="190"/>
                  </a:lnTo>
                  <a:cubicBezTo>
                    <a:pt x="7656" y="95"/>
                    <a:pt x="7530" y="1"/>
                    <a:pt x="74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33" name="Google Shape;7533;p75"/>
          <p:cNvGrpSpPr/>
          <p:nvPr/>
        </p:nvGrpSpPr>
        <p:grpSpPr>
          <a:xfrm>
            <a:off x="3495426" y="4487822"/>
            <a:ext cx="487625" cy="434868"/>
            <a:chOff x="-46034000" y="2334500"/>
            <a:chExt cx="306400" cy="273250"/>
          </a:xfrm>
        </p:grpSpPr>
        <p:sp>
          <p:nvSpPr>
            <p:cNvPr id="7534" name="Google Shape;7534;p75"/>
            <p:cNvSpPr/>
            <p:nvPr/>
          </p:nvSpPr>
          <p:spPr>
            <a:xfrm>
              <a:off x="-46034000" y="2334500"/>
              <a:ext cx="306400" cy="273250"/>
            </a:xfrm>
            <a:custGeom>
              <a:avLst/>
              <a:gdLst/>
              <a:ahLst/>
              <a:cxnLst/>
              <a:rect l="l" t="t" r="r" b="b"/>
              <a:pathLst>
                <a:path w="12256" h="10930" extrusionOk="0">
                  <a:moveTo>
                    <a:pt x="9519" y="718"/>
                  </a:moveTo>
                  <a:cubicBezTo>
                    <a:pt x="9971" y="718"/>
                    <a:pt x="10428" y="883"/>
                    <a:pt x="10775" y="1214"/>
                  </a:cubicBezTo>
                  <a:cubicBezTo>
                    <a:pt x="11499" y="1875"/>
                    <a:pt x="11499" y="2978"/>
                    <a:pt x="10806" y="3640"/>
                  </a:cubicBezTo>
                  <a:lnTo>
                    <a:pt x="5734" y="8743"/>
                  </a:lnTo>
                  <a:lnTo>
                    <a:pt x="3403" y="8113"/>
                  </a:lnTo>
                  <a:lnTo>
                    <a:pt x="3214" y="6286"/>
                  </a:lnTo>
                  <a:lnTo>
                    <a:pt x="8286" y="1214"/>
                  </a:lnTo>
                  <a:cubicBezTo>
                    <a:pt x="8617" y="883"/>
                    <a:pt x="9066" y="718"/>
                    <a:pt x="9519" y="718"/>
                  </a:cubicBezTo>
                  <a:close/>
                  <a:moveTo>
                    <a:pt x="2678" y="7830"/>
                  </a:moveTo>
                  <a:lnTo>
                    <a:pt x="2773" y="8460"/>
                  </a:lnTo>
                  <a:cubicBezTo>
                    <a:pt x="2773" y="8617"/>
                    <a:pt x="2867" y="8743"/>
                    <a:pt x="3025" y="8775"/>
                  </a:cubicBezTo>
                  <a:lnTo>
                    <a:pt x="4411" y="9121"/>
                  </a:lnTo>
                  <a:lnTo>
                    <a:pt x="3277" y="10224"/>
                  </a:lnTo>
                  <a:lnTo>
                    <a:pt x="1040" y="9500"/>
                  </a:lnTo>
                  <a:lnTo>
                    <a:pt x="2678" y="7830"/>
                  </a:lnTo>
                  <a:close/>
                  <a:moveTo>
                    <a:pt x="9578" y="1"/>
                  </a:moveTo>
                  <a:cubicBezTo>
                    <a:pt x="8947" y="1"/>
                    <a:pt x="8317" y="237"/>
                    <a:pt x="7845" y="710"/>
                  </a:cubicBezTo>
                  <a:lnTo>
                    <a:pt x="2647" y="5908"/>
                  </a:lnTo>
                  <a:cubicBezTo>
                    <a:pt x="2583" y="5971"/>
                    <a:pt x="2520" y="6097"/>
                    <a:pt x="2520" y="6160"/>
                  </a:cubicBezTo>
                  <a:lnTo>
                    <a:pt x="2615" y="6885"/>
                  </a:lnTo>
                  <a:lnTo>
                    <a:pt x="126" y="9373"/>
                  </a:lnTo>
                  <a:cubicBezTo>
                    <a:pt x="32" y="9437"/>
                    <a:pt x="0" y="9563"/>
                    <a:pt x="32" y="9689"/>
                  </a:cubicBezTo>
                  <a:cubicBezTo>
                    <a:pt x="95" y="9815"/>
                    <a:pt x="158" y="9878"/>
                    <a:pt x="284" y="9909"/>
                  </a:cubicBezTo>
                  <a:lnTo>
                    <a:pt x="3277" y="10917"/>
                  </a:lnTo>
                  <a:cubicBezTo>
                    <a:pt x="3308" y="10925"/>
                    <a:pt x="3342" y="10929"/>
                    <a:pt x="3375" y="10929"/>
                  </a:cubicBezTo>
                  <a:cubicBezTo>
                    <a:pt x="3475" y="10929"/>
                    <a:pt x="3576" y="10894"/>
                    <a:pt x="3623" y="10823"/>
                  </a:cubicBezTo>
                  <a:lnTo>
                    <a:pt x="5198" y="9247"/>
                  </a:lnTo>
                  <a:lnTo>
                    <a:pt x="5797" y="9405"/>
                  </a:lnTo>
                  <a:cubicBezTo>
                    <a:pt x="5831" y="9413"/>
                    <a:pt x="5865" y="9417"/>
                    <a:pt x="5898" y="9417"/>
                  </a:cubicBezTo>
                  <a:cubicBezTo>
                    <a:pt x="5988" y="9417"/>
                    <a:pt x="6074" y="9388"/>
                    <a:pt x="6144" y="9342"/>
                  </a:cubicBezTo>
                  <a:lnTo>
                    <a:pt x="11342" y="4144"/>
                  </a:lnTo>
                  <a:cubicBezTo>
                    <a:pt x="12256" y="3230"/>
                    <a:pt x="12256" y="1655"/>
                    <a:pt x="11310" y="710"/>
                  </a:cubicBezTo>
                  <a:cubicBezTo>
                    <a:pt x="10838" y="237"/>
                    <a:pt x="10208" y="1"/>
                    <a:pt x="95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5" name="Google Shape;7535;p75"/>
            <p:cNvSpPr/>
            <p:nvPr/>
          </p:nvSpPr>
          <p:spPr>
            <a:xfrm>
              <a:off x="-45879625" y="2374275"/>
              <a:ext cx="105550" cy="104000"/>
            </a:xfrm>
            <a:custGeom>
              <a:avLst/>
              <a:gdLst/>
              <a:ahLst/>
              <a:cxnLst/>
              <a:rect l="l" t="t" r="r" b="b"/>
              <a:pathLst>
                <a:path w="4222" h="4160" extrusionOk="0">
                  <a:moveTo>
                    <a:pt x="2899" y="788"/>
                  </a:moveTo>
                  <a:lnTo>
                    <a:pt x="3403" y="1324"/>
                  </a:lnTo>
                  <a:lnTo>
                    <a:pt x="2899" y="1828"/>
                  </a:lnTo>
                  <a:lnTo>
                    <a:pt x="2363" y="1324"/>
                  </a:lnTo>
                  <a:lnTo>
                    <a:pt x="2899" y="788"/>
                  </a:lnTo>
                  <a:close/>
                  <a:moveTo>
                    <a:pt x="1859" y="1828"/>
                  </a:moveTo>
                  <a:lnTo>
                    <a:pt x="2363" y="2332"/>
                  </a:lnTo>
                  <a:lnTo>
                    <a:pt x="1386" y="3340"/>
                  </a:lnTo>
                  <a:lnTo>
                    <a:pt x="882" y="2805"/>
                  </a:lnTo>
                  <a:lnTo>
                    <a:pt x="1859" y="1828"/>
                  </a:lnTo>
                  <a:close/>
                  <a:moveTo>
                    <a:pt x="2879" y="1"/>
                  </a:moveTo>
                  <a:cubicBezTo>
                    <a:pt x="2788" y="1"/>
                    <a:pt x="2694" y="32"/>
                    <a:pt x="2615" y="95"/>
                  </a:cubicBezTo>
                  <a:lnTo>
                    <a:pt x="126" y="2584"/>
                  </a:lnTo>
                  <a:cubicBezTo>
                    <a:pt x="0" y="2710"/>
                    <a:pt x="0" y="2931"/>
                    <a:pt x="126" y="3088"/>
                  </a:cubicBezTo>
                  <a:lnTo>
                    <a:pt x="1103" y="4065"/>
                  </a:lnTo>
                  <a:cubicBezTo>
                    <a:pt x="1166" y="4128"/>
                    <a:pt x="1260" y="4159"/>
                    <a:pt x="1359" y="4159"/>
                  </a:cubicBezTo>
                  <a:cubicBezTo>
                    <a:pt x="1457" y="4159"/>
                    <a:pt x="1560" y="4128"/>
                    <a:pt x="1638" y="4065"/>
                  </a:cubicBezTo>
                  <a:lnTo>
                    <a:pt x="4096" y="1608"/>
                  </a:lnTo>
                  <a:cubicBezTo>
                    <a:pt x="4222" y="1482"/>
                    <a:pt x="4222" y="1229"/>
                    <a:pt x="4096" y="1072"/>
                  </a:cubicBezTo>
                  <a:lnTo>
                    <a:pt x="3119" y="95"/>
                  </a:lnTo>
                  <a:cubicBezTo>
                    <a:pt x="3056" y="32"/>
                    <a:pt x="2969" y="1"/>
                    <a:pt x="28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6" name="Google Shape;7536;p75"/>
            <p:cNvSpPr/>
            <p:nvPr/>
          </p:nvSpPr>
          <p:spPr>
            <a:xfrm>
              <a:off x="-45922950" y="2474125"/>
              <a:ext cx="49625" cy="47475"/>
            </a:xfrm>
            <a:custGeom>
              <a:avLst/>
              <a:gdLst/>
              <a:ahLst/>
              <a:cxnLst/>
              <a:rect l="l" t="t" r="r" b="b"/>
              <a:pathLst>
                <a:path w="1985" h="1899" extrusionOk="0">
                  <a:moveTo>
                    <a:pt x="1607" y="0"/>
                  </a:moveTo>
                  <a:cubicBezTo>
                    <a:pt x="1520" y="0"/>
                    <a:pt x="1434" y="24"/>
                    <a:pt x="1355" y="71"/>
                  </a:cubicBezTo>
                  <a:lnTo>
                    <a:pt x="126" y="1300"/>
                  </a:lnTo>
                  <a:cubicBezTo>
                    <a:pt x="0" y="1426"/>
                    <a:pt x="0" y="1646"/>
                    <a:pt x="126" y="1804"/>
                  </a:cubicBezTo>
                  <a:cubicBezTo>
                    <a:pt x="189" y="1867"/>
                    <a:pt x="276" y="1898"/>
                    <a:pt x="367" y="1898"/>
                  </a:cubicBezTo>
                  <a:cubicBezTo>
                    <a:pt x="457" y="1898"/>
                    <a:pt x="552" y="1867"/>
                    <a:pt x="630" y="1804"/>
                  </a:cubicBezTo>
                  <a:lnTo>
                    <a:pt x="1859" y="607"/>
                  </a:lnTo>
                  <a:cubicBezTo>
                    <a:pt x="1985" y="480"/>
                    <a:pt x="1985" y="228"/>
                    <a:pt x="1859" y="71"/>
                  </a:cubicBezTo>
                  <a:cubicBezTo>
                    <a:pt x="1780" y="24"/>
                    <a:pt x="1694" y="0"/>
                    <a:pt x="16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37" name="Google Shape;7537;p75"/>
          <p:cNvGrpSpPr/>
          <p:nvPr/>
        </p:nvGrpSpPr>
        <p:grpSpPr>
          <a:xfrm>
            <a:off x="3556837" y="5093674"/>
            <a:ext cx="364804" cy="475252"/>
            <a:chOff x="-45998575" y="2702625"/>
            <a:chExt cx="229225" cy="298625"/>
          </a:xfrm>
        </p:grpSpPr>
        <p:sp>
          <p:nvSpPr>
            <p:cNvPr id="7538" name="Google Shape;7538;p75"/>
            <p:cNvSpPr/>
            <p:nvPr/>
          </p:nvSpPr>
          <p:spPr>
            <a:xfrm>
              <a:off x="-45944225" y="2702625"/>
              <a:ext cx="125250" cy="298625"/>
            </a:xfrm>
            <a:custGeom>
              <a:avLst/>
              <a:gdLst/>
              <a:ahLst/>
              <a:cxnLst/>
              <a:rect l="l" t="t" r="r" b="b"/>
              <a:pathLst>
                <a:path w="5010" h="11945" extrusionOk="0">
                  <a:moveTo>
                    <a:pt x="2427" y="682"/>
                  </a:moveTo>
                  <a:cubicBezTo>
                    <a:pt x="2860" y="682"/>
                    <a:pt x="3308" y="817"/>
                    <a:pt x="3624" y="1107"/>
                  </a:cubicBezTo>
                  <a:cubicBezTo>
                    <a:pt x="4033" y="1454"/>
                    <a:pt x="4254" y="1926"/>
                    <a:pt x="4254" y="2430"/>
                  </a:cubicBezTo>
                  <a:cubicBezTo>
                    <a:pt x="4159" y="2745"/>
                    <a:pt x="4096" y="3060"/>
                    <a:pt x="3939" y="3344"/>
                  </a:cubicBezTo>
                  <a:cubicBezTo>
                    <a:pt x="3844" y="3470"/>
                    <a:pt x="3813" y="3533"/>
                    <a:pt x="3750" y="3659"/>
                  </a:cubicBezTo>
                  <a:cubicBezTo>
                    <a:pt x="3498" y="4005"/>
                    <a:pt x="3214" y="4446"/>
                    <a:pt x="3151" y="4919"/>
                  </a:cubicBezTo>
                  <a:lnTo>
                    <a:pt x="2805" y="4919"/>
                  </a:lnTo>
                  <a:lnTo>
                    <a:pt x="2805" y="2808"/>
                  </a:lnTo>
                  <a:lnTo>
                    <a:pt x="3151" y="2808"/>
                  </a:lnTo>
                  <a:cubicBezTo>
                    <a:pt x="3340" y="2808"/>
                    <a:pt x="3498" y="2651"/>
                    <a:pt x="3498" y="2430"/>
                  </a:cubicBezTo>
                  <a:cubicBezTo>
                    <a:pt x="3498" y="2241"/>
                    <a:pt x="3340" y="2084"/>
                    <a:pt x="3151" y="2084"/>
                  </a:cubicBezTo>
                  <a:lnTo>
                    <a:pt x="1733" y="2084"/>
                  </a:lnTo>
                  <a:cubicBezTo>
                    <a:pt x="1544" y="2084"/>
                    <a:pt x="1387" y="2241"/>
                    <a:pt x="1387" y="2430"/>
                  </a:cubicBezTo>
                  <a:cubicBezTo>
                    <a:pt x="1387" y="2651"/>
                    <a:pt x="1544" y="2808"/>
                    <a:pt x="1733" y="2808"/>
                  </a:cubicBezTo>
                  <a:lnTo>
                    <a:pt x="2080" y="2808"/>
                  </a:lnTo>
                  <a:lnTo>
                    <a:pt x="2080" y="4919"/>
                  </a:lnTo>
                  <a:lnTo>
                    <a:pt x="1733" y="4919"/>
                  </a:lnTo>
                  <a:cubicBezTo>
                    <a:pt x="1639" y="4478"/>
                    <a:pt x="1418" y="4100"/>
                    <a:pt x="1166" y="3690"/>
                  </a:cubicBezTo>
                  <a:cubicBezTo>
                    <a:pt x="1072" y="3533"/>
                    <a:pt x="977" y="3375"/>
                    <a:pt x="914" y="3218"/>
                  </a:cubicBezTo>
                  <a:cubicBezTo>
                    <a:pt x="757" y="2871"/>
                    <a:pt x="662" y="2525"/>
                    <a:pt x="757" y="2115"/>
                  </a:cubicBezTo>
                  <a:cubicBezTo>
                    <a:pt x="883" y="1422"/>
                    <a:pt x="1450" y="823"/>
                    <a:pt x="2174" y="697"/>
                  </a:cubicBezTo>
                  <a:cubicBezTo>
                    <a:pt x="2257" y="687"/>
                    <a:pt x="2342" y="682"/>
                    <a:pt x="2427" y="682"/>
                  </a:cubicBezTo>
                  <a:close/>
                  <a:moveTo>
                    <a:pt x="3151" y="5644"/>
                  </a:moveTo>
                  <a:lnTo>
                    <a:pt x="3151" y="6337"/>
                  </a:lnTo>
                  <a:lnTo>
                    <a:pt x="1733" y="6337"/>
                  </a:lnTo>
                  <a:lnTo>
                    <a:pt x="1733" y="5644"/>
                  </a:lnTo>
                  <a:close/>
                  <a:moveTo>
                    <a:pt x="3151" y="7061"/>
                  </a:moveTo>
                  <a:lnTo>
                    <a:pt x="3151" y="8983"/>
                  </a:lnTo>
                  <a:cubicBezTo>
                    <a:pt x="2915" y="8904"/>
                    <a:pt x="2671" y="8865"/>
                    <a:pt x="2430" y="8865"/>
                  </a:cubicBezTo>
                  <a:cubicBezTo>
                    <a:pt x="2190" y="8865"/>
                    <a:pt x="1954" y="8904"/>
                    <a:pt x="1733" y="8983"/>
                  </a:cubicBezTo>
                  <a:lnTo>
                    <a:pt x="1733" y="7061"/>
                  </a:lnTo>
                  <a:close/>
                  <a:moveTo>
                    <a:pt x="2442" y="9558"/>
                  </a:moveTo>
                  <a:cubicBezTo>
                    <a:pt x="2639" y="9558"/>
                    <a:pt x="2836" y="9598"/>
                    <a:pt x="3025" y="9676"/>
                  </a:cubicBezTo>
                  <a:lnTo>
                    <a:pt x="2427" y="10873"/>
                  </a:lnTo>
                  <a:lnTo>
                    <a:pt x="1859" y="9676"/>
                  </a:lnTo>
                  <a:cubicBezTo>
                    <a:pt x="2048" y="9598"/>
                    <a:pt x="2245" y="9558"/>
                    <a:pt x="2442" y="9558"/>
                  </a:cubicBezTo>
                  <a:close/>
                  <a:moveTo>
                    <a:pt x="2441" y="1"/>
                  </a:moveTo>
                  <a:cubicBezTo>
                    <a:pt x="2309" y="1"/>
                    <a:pt x="2178" y="12"/>
                    <a:pt x="2048" y="36"/>
                  </a:cubicBezTo>
                  <a:cubicBezTo>
                    <a:pt x="1072" y="193"/>
                    <a:pt x="221" y="1012"/>
                    <a:pt x="64" y="1989"/>
                  </a:cubicBezTo>
                  <a:cubicBezTo>
                    <a:pt x="1" y="2556"/>
                    <a:pt x="64" y="3060"/>
                    <a:pt x="316" y="3533"/>
                  </a:cubicBezTo>
                  <a:cubicBezTo>
                    <a:pt x="379" y="3753"/>
                    <a:pt x="505" y="3911"/>
                    <a:pt x="631" y="4068"/>
                  </a:cubicBezTo>
                  <a:cubicBezTo>
                    <a:pt x="820" y="4320"/>
                    <a:pt x="977" y="4604"/>
                    <a:pt x="1072" y="4888"/>
                  </a:cubicBezTo>
                  <a:lnTo>
                    <a:pt x="410" y="4888"/>
                  </a:lnTo>
                  <a:cubicBezTo>
                    <a:pt x="190" y="4888"/>
                    <a:pt x="32" y="5045"/>
                    <a:pt x="32" y="5234"/>
                  </a:cubicBezTo>
                  <a:cubicBezTo>
                    <a:pt x="32" y="5423"/>
                    <a:pt x="190" y="5581"/>
                    <a:pt x="410" y="5581"/>
                  </a:cubicBezTo>
                  <a:lnTo>
                    <a:pt x="1103" y="5581"/>
                  </a:lnTo>
                  <a:lnTo>
                    <a:pt x="1103" y="9487"/>
                  </a:lnTo>
                  <a:cubicBezTo>
                    <a:pt x="1103" y="9645"/>
                    <a:pt x="1103" y="9582"/>
                    <a:pt x="2206" y="11724"/>
                  </a:cubicBezTo>
                  <a:cubicBezTo>
                    <a:pt x="2301" y="11850"/>
                    <a:pt x="2395" y="11945"/>
                    <a:pt x="2521" y="11945"/>
                  </a:cubicBezTo>
                  <a:cubicBezTo>
                    <a:pt x="2647" y="11945"/>
                    <a:pt x="2773" y="11850"/>
                    <a:pt x="2836" y="11724"/>
                  </a:cubicBezTo>
                  <a:cubicBezTo>
                    <a:pt x="3939" y="9519"/>
                    <a:pt x="3939" y="9613"/>
                    <a:pt x="3939" y="9487"/>
                  </a:cubicBezTo>
                  <a:lnTo>
                    <a:pt x="3939" y="5581"/>
                  </a:lnTo>
                  <a:lnTo>
                    <a:pt x="4663" y="5581"/>
                  </a:lnTo>
                  <a:cubicBezTo>
                    <a:pt x="4852" y="5581"/>
                    <a:pt x="5010" y="5423"/>
                    <a:pt x="5010" y="5234"/>
                  </a:cubicBezTo>
                  <a:cubicBezTo>
                    <a:pt x="5010" y="5045"/>
                    <a:pt x="4852" y="4888"/>
                    <a:pt x="4663" y="4888"/>
                  </a:cubicBezTo>
                  <a:lnTo>
                    <a:pt x="3970" y="4888"/>
                  </a:lnTo>
                  <a:cubicBezTo>
                    <a:pt x="4065" y="4604"/>
                    <a:pt x="4254" y="4289"/>
                    <a:pt x="4443" y="4005"/>
                  </a:cubicBezTo>
                  <a:cubicBezTo>
                    <a:pt x="4411" y="3942"/>
                    <a:pt x="4506" y="3816"/>
                    <a:pt x="4569" y="3690"/>
                  </a:cubicBezTo>
                  <a:cubicBezTo>
                    <a:pt x="4821" y="3344"/>
                    <a:pt x="4915" y="2903"/>
                    <a:pt x="4915" y="2493"/>
                  </a:cubicBezTo>
                  <a:cubicBezTo>
                    <a:pt x="4915" y="1769"/>
                    <a:pt x="4600" y="1075"/>
                    <a:pt x="4065" y="603"/>
                  </a:cubicBezTo>
                  <a:cubicBezTo>
                    <a:pt x="3603" y="218"/>
                    <a:pt x="3017" y="1"/>
                    <a:pt x="24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39" name="Google Shape;7539;p75"/>
            <p:cNvSpPr/>
            <p:nvPr/>
          </p:nvSpPr>
          <p:spPr>
            <a:xfrm>
              <a:off x="-45804025" y="2755500"/>
              <a:ext cx="34675" cy="18125"/>
            </a:xfrm>
            <a:custGeom>
              <a:avLst/>
              <a:gdLst/>
              <a:ahLst/>
              <a:cxnLst/>
              <a:rect l="l" t="t" r="r" b="b"/>
              <a:pathLst>
                <a:path w="1387" h="725" extrusionOk="0">
                  <a:moveTo>
                    <a:pt x="347" y="0"/>
                  </a:moveTo>
                  <a:cubicBezTo>
                    <a:pt x="127" y="0"/>
                    <a:pt x="1" y="158"/>
                    <a:pt x="1" y="378"/>
                  </a:cubicBezTo>
                  <a:cubicBezTo>
                    <a:pt x="1" y="567"/>
                    <a:pt x="127" y="725"/>
                    <a:pt x="347" y="725"/>
                  </a:cubicBezTo>
                  <a:lnTo>
                    <a:pt x="1040" y="725"/>
                  </a:lnTo>
                  <a:cubicBezTo>
                    <a:pt x="1261" y="725"/>
                    <a:pt x="1387" y="567"/>
                    <a:pt x="1387" y="378"/>
                  </a:cubicBezTo>
                  <a:cubicBezTo>
                    <a:pt x="1387" y="158"/>
                    <a:pt x="1261"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0" name="Google Shape;7540;p75"/>
            <p:cNvSpPr/>
            <p:nvPr/>
          </p:nvSpPr>
          <p:spPr>
            <a:xfrm>
              <a:off x="-45998575" y="2755500"/>
              <a:ext cx="35475" cy="18125"/>
            </a:xfrm>
            <a:custGeom>
              <a:avLst/>
              <a:gdLst/>
              <a:ahLst/>
              <a:cxnLst/>
              <a:rect l="l" t="t" r="r" b="b"/>
              <a:pathLst>
                <a:path w="1419" h="725" extrusionOk="0">
                  <a:moveTo>
                    <a:pt x="379" y="0"/>
                  </a:moveTo>
                  <a:cubicBezTo>
                    <a:pt x="158" y="0"/>
                    <a:pt x="1" y="158"/>
                    <a:pt x="1" y="378"/>
                  </a:cubicBezTo>
                  <a:cubicBezTo>
                    <a:pt x="1" y="567"/>
                    <a:pt x="158" y="725"/>
                    <a:pt x="379" y="725"/>
                  </a:cubicBezTo>
                  <a:lnTo>
                    <a:pt x="1072" y="725"/>
                  </a:lnTo>
                  <a:cubicBezTo>
                    <a:pt x="1261" y="693"/>
                    <a:pt x="1419" y="536"/>
                    <a:pt x="1419" y="378"/>
                  </a:cubicBezTo>
                  <a:cubicBezTo>
                    <a:pt x="1419"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1" name="Google Shape;7541;p75"/>
            <p:cNvSpPr/>
            <p:nvPr/>
          </p:nvSpPr>
          <p:spPr>
            <a:xfrm>
              <a:off x="-45818200" y="2703175"/>
              <a:ext cx="35475" cy="26100"/>
            </a:xfrm>
            <a:custGeom>
              <a:avLst/>
              <a:gdLst/>
              <a:ahLst/>
              <a:cxnLst/>
              <a:rect l="l" t="t" r="r" b="b"/>
              <a:pathLst>
                <a:path w="1419" h="1044" extrusionOk="0">
                  <a:moveTo>
                    <a:pt x="991" y="1"/>
                  </a:moveTo>
                  <a:cubicBezTo>
                    <a:pt x="930" y="1"/>
                    <a:pt x="870" y="15"/>
                    <a:pt x="820" y="45"/>
                  </a:cubicBezTo>
                  <a:lnTo>
                    <a:pt x="252" y="423"/>
                  </a:lnTo>
                  <a:cubicBezTo>
                    <a:pt x="95" y="486"/>
                    <a:pt x="0" y="738"/>
                    <a:pt x="126" y="896"/>
                  </a:cubicBezTo>
                  <a:cubicBezTo>
                    <a:pt x="205" y="994"/>
                    <a:pt x="309" y="1044"/>
                    <a:pt x="414" y="1044"/>
                  </a:cubicBezTo>
                  <a:cubicBezTo>
                    <a:pt x="476" y="1044"/>
                    <a:pt x="540" y="1026"/>
                    <a:pt x="599" y="990"/>
                  </a:cubicBezTo>
                  <a:lnTo>
                    <a:pt x="1166" y="644"/>
                  </a:lnTo>
                  <a:cubicBezTo>
                    <a:pt x="1324" y="581"/>
                    <a:pt x="1418" y="329"/>
                    <a:pt x="1292" y="171"/>
                  </a:cubicBezTo>
                  <a:cubicBezTo>
                    <a:pt x="1249" y="64"/>
                    <a:pt x="1119" y="1"/>
                    <a:pt x="9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2" name="Google Shape;7542;p75"/>
            <p:cNvSpPr/>
            <p:nvPr/>
          </p:nvSpPr>
          <p:spPr>
            <a:xfrm>
              <a:off x="-45984400" y="2799050"/>
              <a:ext cx="35475" cy="26100"/>
            </a:xfrm>
            <a:custGeom>
              <a:avLst/>
              <a:gdLst/>
              <a:ahLst/>
              <a:cxnLst/>
              <a:rect l="l" t="t" r="r" b="b"/>
              <a:pathLst>
                <a:path w="1419" h="1044" extrusionOk="0">
                  <a:moveTo>
                    <a:pt x="1014" y="1"/>
                  </a:moveTo>
                  <a:cubicBezTo>
                    <a:pt x="947" y="1"/>
                    <a:pt x="879" y="18"/>
                    <a:pt x="820" y="54"/>
                  </a:cubicBezTo>
                  <a:lnTo>
                    <a:pt x="221" y="400"/>
                  </a:lnTo>
                  <a:cubicBezTo>
                    <a:pt x="64" y="463"/>
                    <a:pt x="1" y="716"/>
                    <a:pt x="95" y="873"/>
                  </a:cubicBezTo>
                  <a:cubicBezTo>
                    <a:pt x="160" y="980"/>
                    <a:pt x="282" y="1043"/>
                    <a:pt x="403" y="1043"/>
                  </a:cubicBezTo>
                  <a:cubicBezTo>
                    <a:pt x="461" y="1043"/>
                    <a:pt x="517" y="1029"/>
                    <a:pt x="568" y="999"/>
                  </a:cubicBezTo>
                  <a:lnTo>
                    <a:pt x="1167" y="621"/>
                  </a:lnTo>
                  <a:cubicBezTo>
                    <a:pt x="1324" y="558"/>
                    <a:pt x="1419" y="306"/>
                    <a:pt x="1293" y="148"/>
                  </a:cubicBezTo>
                  <a:cubicBezTo>
                    <a:pt x="1234" y="50"/>
                    <a:pt x="1125" y="1"/>
                    <a:pt x="10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3" name="Google Shape;7543;p75"/>
            <p:cNvSpPr/>
            <p:nvPr/>
          </p:nvSpPr>
          <p:spPr>
            <a:xfrm>
              <a:off x="-45815850" y="2799050"/>
              <a:ext cx="33900" cy="25750"/>
            </a:xfrm>
            <a:custGeom>
              <a:avLst/>
              <a:gdLst/>
              <a:ahLst/>
              <a:cxnLst/>
              <a:rect l="l" t="t" r="r" b="b"/>
              <a:pathLst>
                <a:path w="1356" h="1030" extrusionOk="0">
                  <a:moveTo>
                    <a:pt x="343" y="1"/>
                  </a:moveTo>
                  <a:cubicBezTo>
                    <a:pt x="231" y="1"/>
                    <a:pt x="123" y="50"/>
                    <a:pt x="64" y="148"/>
                  </a:cubicBezTo>
                  <a:cubicBezTo>
                    <a:pt x="1" y="306"/>
                    <a:pt x="32" y="558"/>
                    <a:pt x="190" y="621"/>
                  </a:cubicBezTo>
                  <a:lnTo>
                    <a:pt x="789" y="999"/>
                  </a:lnTo>
                  <a:cubicBezTo>
                    <a:pt x="838" y="1019"/>
                    <a:pt x="895" y="1029"/>
                    <a:pt x="951" y="1029"/>
                  </a:cubicBezTo>
                  <a:cubicBezTo>
                    <a:pt x="1073" y="1029"/>
                    <a:pt x="1197" y="981"/>
                    <a:pt x="1261" y="873"/>
                  </a:cubicBezTo>
                  <a:cubicBezTo>
                    <a:pt x="1356" y="716"/>
                    <a:pt x="1293" y="526"/>
                    <a:pt x="1135" y="400"/>
                  </a:cubicBezTo>
                  <a:lnTo>
                    <a:pt x="537" y="54"/>
                  </a:lnTo>
                  <a:cubicBezTo>
                    <a:pt x="477" y="18"/>
                    <a:pt x="410"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4" name="Google Shape;7544;p75"/>
            <p:cNvSpPr/>
            <p:nvPr/>
          </p:nvSpPr>
          <p:spPr>
            <a:xfrm>
              <a:off x="-45983600" y="2702750"/>
              <a:ext cx="34675" cy="25525"/>
            </a:xfrm>
            <a:custGeom>
              <a:avLst/>
              <a:gdLst/>
              <a:ahLst/>
              <a:cxnLst/>
              <a:rect l="l" t="t" r="r" b="b"/>
              <a:pathLst>
                <a:path w="1387" h="1021" extrusionOk="0">
                  <a:moveTo>
                    <a:pt x="398" y="0"/>
                  </a:moveTo>
                  <a:cubicBezTo>
                    <a:pt x="269" y="0"/>
                    <a:pt x="138" y="49"/>
                    <a:pt x="95" y="157"/>
                  </a:cubicBezTo>
                  <a:cubicBezTo>
                    <a:pt x="0" y="314"/>
                    <a:pt x="32" y="535"/>
                    <a:pt x="189" y="629"/>
                  </a:cubicBezTo>
                  <a:lnTo>
                    <a:pt x="788" y="976"/>
                  </a:lnTo>
                  <a:cubicBezTo>
                    <a:pt x="839" y="1006"/>
                    <a:pt x="899" y="1020"/>
                    <a:pt x="959" y="1020"/>
                  </a:cubicBezTo>
                  <a:cubicBezTo>
                    <a:pt x="1088" y="1020"/>
                    <a:pt x="1218" y="957"/>
                    <a:pt x="1261" y="850"/>
                  </a:cubicBezTo>
                  <a:cubicBezTo>
                    <a:pt x="1387" y="692"/>
                    <a:pt x="1292" y="503"/>
                    <a:pt x="1135" y="377"/>
                  </a:cubicBezTo>
                  <a:lnTo>
                    <a:pt x="567" y="31"/>
                  </a:lnTo>
                  <a:cubicBezTo>
                    <a:pt x="518" y="11"/>
                    <a:pt x="458"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45" name="Google Shape;7545;p75"/>
          <p:cNvSpPr/>
          <p:nvPr/>
        </p:nvSpPr>
        <p:spPr>
          <a:xfrm>
            <a:off x="5315306" y="5121803"/>
            <a:ext cx="419948" cy="477599"/>
          </a:xfrm>
          <a:custGeom>
            <a:avLst/>
            <a:gdLst/>
            <a:ahLst/>
            <a:cxnLst/>
            <a:rect l="l" t="t" r="r" b="b"/>
            <a:pathLst>
              <a:path w="10555" h="12004" extrusionOk="0">
                <a:moveTo>
                  <a:pt x="5262" y="709"/>
                </a:moveTo>
                <a:lnTo>
                  <a:pt x="9420" y="2788"/>
                </a:lnTo>
                <a:lnTo>
                  <a:pt x="8066" y="3450"/>
                </a:lnTo>
                <a:lnTo>
                  <a:pt x="5451" y="2127"/>
                </a:lnTo>
                <a:cubicBezTo>
                  <a:pt x="5403" y="2111"/>
                  <a:pt x="5348" y="2103"/>
                  <a:pt x="5293" y="2103"/>
                </a:cubicBezTo>
                <a:cubicBezTo>
                  <a:pt x="5238" y="2103"/>
                  <a:pt x="5183" y="2111"/>
                  <a:pt x="5136" y="2127"/>
                </a:cubicBezTo>
                <a:lnTo>
                  <a:pt x="2489" y="3450"/>
                </a:lnTo>
                <a:lnTo>
                  <a:pt x="1197" y="2788"/>
                </a:lnTo>
                <a:lnTo>
                  <a:pt x="5262" y="709"/>
                </a:lnTo>
                <a:close/>
                <a:moveTo>
                  <a:pt x="4915" y="3040"/>
                </a:moveTo>
                <a:lnTo>
                  <a:pt x="4915" y="6222"/>
                </a:lnTo>
                <a:lnTo>
                  <a:pt x="2804" y="7294"/>
                </a:lnTo>
                <a:lnTo>
                  <a:pt x="2804" y="4080"/>
                </a:lnTo>
                <a:lnTo>
                  <a:pt x="4915" y="3040"/>
                </a:lnTo>
                <a:close/>
                <a:moveTo>
                  <a:pt x="5640" y="3040"/>
                </a:moveTo>
                <a:lnTo>
                  <a:pt x="7750" y="4080"/>
                </a:lnTo>
                <a:lnTo>
                  <a:pt x="7750" y="7294"/>
                </a:lnTo>
                <a:lnTo>
                  <a:pt x="5640" y="6222"/>
                </a:lnTo>
                <a:lnTo>
                  <a:pt x="5640" y="3040"/>
                </a:lnTo>
                <a:close/>
                <a:moveTo>
                  <a:pt x="5262" y="6758"/>
                </a:moveTo>
                <a:lnTo>
                  <a:pt x="7278" y="7798"/>
                </a:lnTo>
                <a:lnTo>
                  <a:pt x="5262" y="8806"/>
                </a:lnTo>
                <a:lnTo>
                  <a:pt x="3277" y="7798"/>
                </a:lnTo>
                <a:lnTo>
                  <a:pt x="5262" y="6758"/>
                </a:lnTo>
                <a:close/>
                <a:moveTo>
                  <a:pt x="725" y="3372"/>
                </a:moveTo>
                <a:lnTo>
                  <a:pt x="2111" y="4080"/>
                </a:lnTo>
                <a:lnTo>
                  <a:pt x="2111" y="7829"/>
                </a:lnTo>
                <a:cubicBezTo>
                  <a:pt x="2111" y="7955"/>
                  <a:pt x="2206" y="8081"/>
                  <a:pt x="2332" y="8113"/>
                </a:cubicBezTo>
                <a:lnTo>
                  <a:pt x="4915" y="9404"/>
                </a:lnTo>
                <a:lnTo>
                  <a:pt x="4915" y="10980"/>
                </a:lnTo>
                <a:lnTo>
                  <a:pt x="725" y="8869"/>
                </a:lnTo>
                <a:lnTo>
                  <a:pt x="725" y="3372"/>
                </a:lnTo>
                <a:close/>
                <a:moveTo>
                  <a:pt x="9861" y="3387"/>
                </a:moveTo>
                <a:lnTo>
                  <a:pt x="9861" y="8932"/>
                </a:lnTo>
                <a:lnTo>
                  <a:pt x="5640" y="11011"/>
                </a:lnTo>
                <a:lnTo>
                  <a:pt x="5640" y="9436"/>
                </a:lnTo>
                <a:lnTo>
                  <a:pt x="8223" y="8144"/>
                </a:lnTo>
                <a:cubicBezTo>
                  <a:pt x="8349" y="8113"/>
                  <a:pt x="8412" y="7987"/>
                  <a:pt x="8412" y="7829"/>
                </a:cubicBezTo>
                <a:lnTo>
                  <a:pt x="8412" y="4080"/>
                </a:lnTo>
                <a:lnTo>
                  <a:pt x="9861" y="3387"/>
                </a:lnTo>
                <a:close/>
                <a:moveTo>
                  <a:pt x="5262" y="0"/>
                </a:moveTo>
                <a:cubicBezTo>
                  <a:pt x="5206" y="0"/>
                  <a:pt x="5151" y="16"/>
                  <a:pt x="5104" y="47"/>
                </a:cubicBezTo>
                <a:lnTo>
                  <a:pt x="284" y="2473"/>
                </a:lnTo>
                <a:cubicBezTo>
                  <a:pt x="63" y="2536"/>
                  <a:pt x="0" y="2662"/>
                  <a:pt x="0" y="2820"/>
                </a:cubicBezTo>
                <a:lnTo>
                  <a:pt x="0" y="9152"/>
                </a:lnTo>
                <a:cubicBezTo>
                  <a:pt x="0" y="9278"/>
                  <a:pt x="63" y="9404"/>
                  <a:pt x="189" y="9499"/>
                </a:cubicBezTo>
                <a:lnTo>
                  <a:pt x="5104" y="11956"/>
                </a:lnTo>
                <a:cubicBezTo>
                  <a:pt x="5151" y="11988"/>
                  <a:pt x="5206" y="12003"/>
                  <a:pt x="5262" y="12003"/>
                </a:cubicBezTo>
                <a:cubicBezTo>
                  <a:pt x="5317" y="12003"/>
                  <a:pt x="5372" y="11988"/>
                  <a:pt x="5419" y="11956"/>
                </a:cubicBezTo>
                <a:lnTo>
                  <a:pt x="10365" y="9499"/>
                </a:lnTo>
                <a:cubicBezTo>
                  <a:pt x="10460" y="9404"/>
                  <a:pt x="10554" y="9278"/>
                  <a:pt x="10554" y="9152"/>
                </a:cubicBezTo>
                <a:lnTo>
                  <a:pt x="10554" y="2788"/>
                </a:lnTo>
                <a:cubicBezTo>
                  <a:pt x="10554" y="2662"/>
                  <a:pt x="10460" y="2568"/>
                  <a:pt x="10365" y="2505"/>
                </a:cubicBezTo>
                <a:lnTo>
                  <a:pt x="5419" y="47"/>
                </a:lnTo>
                <a:cubicBezTo>
                  <a:pt x="5372" y="16"/>
                  <a:pt x="5317" y="0"/>
                  <a:pt x="526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6" name="Google Shape;7546;p75"/>
          <p:cNvSpPr/>
          <p:nvPr/>
        </p:nvSpPr>
        <p:spPr>
          <a:xfrm>
            <a:off x="2911264" y="2055733"/>
            <a:ext cx="480105" cy="448793"/>
          </a:xfrm>
          <a:custGeom>
            <a:avLst/>
            <a:gdLst/>
            <a:ahLst/>
            <a:cxnLst/>
            <a:rect l="l" t="t" r="r" b="b"/>
            <a:pathLst>
              <a:path w="12067" h="11280" extrusionOk="0">
                <a:moveTo>
                  <a:pt x="5986" y="757"/>
                </a:moveTo>
                <a:cubicBezTo>
                  <a:pt x="7656" y="757"/>
                  <a:pt x="9011" y="2049"/>
                  <a:pt x="9137" y="3718"/>
                </a:cubicBezTo>
                <a:cubicBezTo>
                  <a:pt x="8822" y="3624"/>
                  <a:pt x="8475" y="3561"/>
                  <a:pt x="8066" y="3561"/>
                </a:cubicBezTo>
                <a:cubicBezTo>
                  <a:pt x="7278" y="3561"/>
                  <a:pt x="6585" y="3781"/>
                  <a:pt x="5955" y="4191"/>
                </a:cubicBezTo>
                <a:cubicBezTo>
                  <a:pt x="5356" y="3781"/>
                  <a:pt x="4632" y="3561"/>
                  <a:pt x="3844" y="3561"/>
                </a:cubicBezTo>
                <a:cubicBezTo>
                  <a:pt x="3466" y="3561"/>
                  <a:pt x="3119" y="3592"/>
                  <a:pt x="2773" y="3718"/>
                </a:cubicBezTo>
                <a:cubicBezTo>
                  <a:pt x="2930" y="2049"/>
                  <a:pt x="4285" y="757"/>
                  <a:pt x="5986" y="757"/>
                </a:cubicBezTo>
                <a:close/>
                <a:moveTo>
                  <a:pt x="3875" y="4254"/>
                </a:moveTo>
                <a:cubicBezTo>
                  <a:pt x="4411" y="4254"/>
                  <a:pt x="4915" y="4411"/>
                  <a:pt x="5388" y="4663"/>
                </a:cubicBezTo>
                <a:cubicBezTo>
                  <a:pt x="4852" y="5168"/>
                  <a:pt x="4505" y="5829"/>
                  <a:pt x="4285" y="6585"/>
                </a:cubicBezTo>
                <a:cubicBezTo>
                  <a:pt x="3560" y="6113"/>
                  <a:pt x="2993" y="5325"/>
                  <a:pt x="2836" y="4411"/>
                </a:cubicBezTo>
                <a:cubicBezTo>
                  <a:pt x="3151" y="4317"/>
                  <a:pt x="3497" y="4254"/>
                  <a:pt x="3875" y="4254"/>
                </a:cubicBezTo>
                <a:close/>
                <a:moveTo>
                  <a:pt x="8129" y="4254"/>
                </a:moveTo>
                <a:cubicBezTo>
                  <a:pt x="8475" y="4254"/>
                  <a:pt x="8822" y="4317"/>
                  <a:pt x="9137" y="4411"/>
                </a:cubicBezTo>
                <a:cubicBezTo>
                  <a:pt x="8979" y="5325"/>
                  <a:pt x="8444" y="6113"/>
                  <a:pt x="7687" y="6585"/>
                </a:cubicBezTo>
                <a:cubicBezTo>
                  <a:pt x="7498" y="5829"/>
                  <a:pt x="7089" y="5168"/>
                  <a:pt x="6585" y="4663"/>
                </a:cubicBezTo>
                <a:cubicBezTo>
                  <a:pt x="7026" y="4411"/>
                  <a:pt x="7561" y="4254"/>
                  <a:pt x="8129" y="4254"/>
                </a:cubicBezTo>
                <a:close/>
                <a:moveTo>
                  <a:pt x="5986" y="5042"/>
                </a:moveTo>
                <a:cubicBezTo>
                  <a:pt x="6490" y="5514"/>
                  <a:pt x="6900" y="6144"/>
                  <a:pt x="7026" y="6900"/>
                </a:cubicBezTo>
                <a:cubicBezTo>
                  <a:pt x="6648" y="7026"/>
                  <a:pt x="6364" y="7058"/>
                  <a:pt x="5986" y="7058"/>
                </a:cubicBezTo>
                <a:cubicBezTo>
                  <a:pt x="5640" y="7058"/>
                  <a:pt x="5293" y="7026"/>
                  <a:pt x="4978" y="6900"/>
                </a:cubicBezTo>
                <a:cubicBezTo>
                  <a:pt x="5073" y="6176"/>
                  <a:pt x="5451" y="5514"/>
                  <a:pt x="5986" y="5042"/>
                </a:cubicBezTo>
                <a:close/>
                <a:moveTo>
                  <a:pt x="4915" y="7625"/>
                </a:moveTo>
                <a:lnTo>
                  <a:pt x="4915" y="7625"/>
                </a:lnTo>
                <a:cubicBezTo>
                  <a:pt x="5230" y="7688"/>
                  <a:pt x="5608" y="7782"/>
                  <a:pt x="5986" y="7782"/>
                </a:cubicBezTo>
                <a:cubicBezTo>
                  <a:pt x="6333" y="7782"/>
                  <a:pt x="6711" y="7719"/>
                  <a:pt x="7057" y="7625"/>
                </a:cubicBezTo>
                <a:lnTo>
                  <a:pt x="7057" y="7625"/>
                </a:lnTo>
                <a:cubicBezTo>
                  <a:pt x="6963" y="8476"/>
                  <a:pt x="6585" y="9232"/>
                  <a:pt x="5986" y="9767"/>
                </a:cubicBezTo>
                <a:cubicBezTo>
                  <a:pt x="5388" y="9232"/>
                  <a:pt x="5010" y="8476"/>
                  <a:pt x="4915" y="7625"/>
                </a:cubicBezTo>
                <a:close/>
                <a:moveTo>
                  <a:pt x="2206" y="4726"/>
                </a:moveTo>
                <a:cubicBezTo>
                  <a:pt x="2458" y="5892"/>
                  <a:pt x="3245" y="6837"/>
                  <a:pt x="4222" y="7373"/>
                </a:cubicBezTo>
                <a:lnTo>
                  <a:pt x="4222" y="7467"/>
                </a:lnTo>
                <a:cubicBezTo>
                  <a:pt x="4222" y="8570"/>
                  <a:pt x="4663" y="9515"/>
                  <a:pt x="5388" y="10208"/>
                </a:cubicBezTo>
                <a:cubicBezTo>
                  <a:pt x="4915" y="10460"/>
                  <a:pt x="4411" y="10555"/>
                  <a:pt x="3875" y="10555"/>
                </a:cubicBezTo>
                <a:cubicBezTo>
                  <a:pt x="2080" y="10555"/>
                  <a:pt x="662" y="9137"/>
                  <a:pt x="662" y="7404"/>
                </a:cubicBezTo>
                <a:cubicBezTo>
                  <a:pt x="662" y="6270"/>
                  <a:pt x="1260" y="5294"/>
                  <a:pt x="2206" y="4726"/>
                </a:cubicBezTo>
                <a:close/>
                <a:moveTo>
                  <a:pt x="9735" y="4695"/>
                </a:moveTo>
                <a:cubicBezTo>
                  <a:pt x="10649" y="5262"/>
                  <a:pt x="11279" y="6239"/>
                  <a:pt x="11279" y="7373"/>
                </a:cubicBezTo>
                <a:cubicBezTo>
                  <a:pt x="11279" y="9137"/>
                  <a:pt x="9861" y="10555"/>
                  <a:pt x="8066" y="10555"/>
                </a:cubicBezTo>
                <a:cubicBezTo>
                  <a:pt x="7530" y="10555"/>
                  <a:pt x="7026" y="10397"/>
                  <a:pt x="6553" y="10177"/>
                </a:cubicBezTo>
                <a:cubicBezTo>
                  <a:pt x="7246" y="9452"/>
                  <a:pt x="7719" y="8476"/>
                  <a:pt x="7719" y="7404"/>
                </a:cubicBezTo>
                <a:lnTo>
                  <a:pt x="7719" y="7341"/>
                </a:lnTo>
                <a:cubicBezTo>
                  <a:pt x="8759" y="6837"/>
                  <a:pt x="9515" y="5892"/>
                  <a:pt x="9735" y="4695"/>
                </a:cubicBezTo>
                <a:close/>
                <a:moveTo>
                  <a:pt x="5986" y="1"/>
                </a:moveTo>
                <a:cubicBezTo>
                  <a:pt x="3875" y="1"/>
                  <a:pt x="2143" y="1734"/>
                  <a:pt x="2143" y="3876"/>
                </a:cubicBezTo>
                <a:lnTo>
                  <a:pt x="2143" y="3939"/>
                </a:lnTo>
                <a:cubicBezTo>
                  <a:pt x="882" y="4569"/>
                  <a:pt x="0" y="5892"/>
                  <a:pt x="0" y="7404"/>
                </a:cubicBezTo>
                <a:cubicBezTo>
                  <a:pt x="0" y="9547"/>
                  <a:pt x="1733" y="11279"/>
                  <a:pt x="3907" y="11279"/>
                </a:cubicBezTo>
                <a:cubicBezTo>
                  <a:pt x="4695" y="11279"/>
                  <a:pt x="5388" y="11027"/>
                  <a:pt x="6018" y="10649"/>
                </a:cubicBezTo>
                <a:cubicBezTo>
                  <a:pt x="6616" y="11027"/>
                  <a:pt x="7372" y="11279"/>
                  <a:pt x="8160" y="11279"/>
                </a:cubicBezTo>
                <a:cubicBezTo>
                  <a:pt x="10271" y="11279"/>
                  <a:pt x="12067" y="9547"/>
                  <a:pt x="12067" y="7404"/>
                </a:cubicBezTo>
                <a:cubicBezTo>
                  <a:pt x="11972" y="5924"/>
                  <a:pt x="11122" y="4632"/>
                  <a:pt x="9861" y="3939"/>
                </a:cubicBezTo>
                <a:lnTo>
                  <a:pt x="9861" y="3876"/>
                </a:lnTo>
                <a:cubicBezTo>
                  <a:pt x="9861" y="1734"/>
                  <a:pt x="8129" y="1"/>
                  <a:pt x="59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7" name="Google Shape;7547;p75"/>
          <p:cNvSpPr/>
          <p:nvPr/>
        </p:nvSpPr>
        <p:spPr>
          <a:xfrm>
            <a:off x="3126858" y="2629783"/>
            <a:ext cx="27612" cy="82796"/>
          </a:xfrm>
          <a:custGeom>
            <a:avLst/>
            <a:gdLst/>
            <a:ahLst/>
            <a:cxnLst/>
            <a:rect l="l" t="t" r="r" b="b"/>
            <a:pathLst>
              <a:path w="694" h="2081" extrusionOk="0">
                <a:moveTo>
                  <a:pt x="347" y="1"/>
                </a:moveTo>
                <a:cubicBezTo>
                  <a:pt x="158" y="1"/>
                  <a:pt x="1" y="158"/>
                  <a:pt x="1" y="348"/>
                </a:cubicBezTo>
                <a:lnTo>
                  <a:pt x="1" y="1765"/>
                </a:lnTo>
                <a:cubicBezTo>
                  <a:pt x="1" y="1923"/>
                  <a:pt x="158" y="2080"/>
                  <a:pt x="347" y="2080"/>
                </a:cubicBezTo>
                <a:cubicBezTo>
                  <a:pt x="536" y="2080"/>
                  <a:pt x="694" y="1923"/>
                  <a:pt x="694" y="1734"/>
                </a:cubicBezTo>
                <a:lnTo>
                  <a:pt x="694" y="348"/>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8" name="Google Shape;7548;p75"/>
          <p:cNvSpPr/>
          <p:nvPr/>
        </p:nvSpPr>
        <p:spPr>
          <a:xfrm>
            <a:off x="3020313" y="2665071"/>
            <a:ext cx="74003" cy="52519"/>
          </a:xfrm>
          <a:custGeom>
            <a:avLst/>
            <a:gdLst/>
            <a:ahLst/>
            <a:cxnLst/>
            <a:rect l="l" t="t" r="r" b="b"/>
            <a:pathLst>
              <a:path w="1860" h="1320" extrusionOk="0">
                <a:moveTo>
                  <a:pt x="465" y="1"/>
                </a:moveTo>
                <a:cubicBezTo>
                  <a:pt x="344" y="1"/>
                  <a:pt x="222" y="78"/>
                  <a:pt x="158" y="185"/>
                </a:cubicBezTo>
                <a:cubicBezTo>
                  <a:pt x="1" y="311"/>
                  <a:pt x="64" y="563"/>
                  <a:pt x="253" y="658"/>
                </a:cubicBezTo>
                <a:lnTo>
                  <a:pt x="1229" y="1288"/>
                </a:lnTo>
                <a:cubicBezTo>
                  <a:pt x="1261" y="1319"/>
                  <a:pt x="1355" y="1319"/>
                  <a:pt x="1418" y="1319"/>
                </a:cubicBezTo>
                <a:cubicBezTo>
                  <a:pt x="1544" y="1319"/>
                  <a:pt x="1671" y="1288"/>
                  <a:pt x="1734" y="1162"/>
                </a:cubicBezTo>
                <a:cubicBezTo>
                  <a:pt x="1860" y="1004"/>
                  <a:pt x="1765" y="752"/>
                  <a:pt x="1607" y="689"/>
                </a:cubicBezTo>
                <a:lnTo>
                  <a:pt x="631" y="59"/>
                </a:lnTo>
                <a:cubicBezTo>
                  <a:pt x="580" y="18"/>
                  <a:pt x="523" y="1"/>
                  <a:pt x="4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49" name="Google Shape;7549;p75"/>
          <p:cNvSpPr/>
          <p:nvPr/>
        </p:nvSpPr>
        <p:spPr>
          <a:xfrm>
            <a:off x="3190791" y="2667459"/>
            <a:ext cx="68991" cy="51364"/>
          </a:xfrm>
          <a:custGeom>
            <a:avLst/>
            <a:gdLst/>
            <a:ahLst/>
            <a:cxnLst/>
            <a:rect l="l" t="t" r="r" b="b"/>
            <a:pathLst>
              <a:path w="1734" h="1291" extrusionOk="0">
                <a:moveTo>
                  <a:pt x="1354" y="0"/>
                </a:moveTo>
                <a:cubicBezTo>
                  <a:pt x="1301" y="0"/>
                  <a:pt x="1247" y="11"/>
                  <a:pt x="1198" y="31"/>
                </a:cubicBezTo>
                <a:lnTo>
                  <a:pt x="221" y="661"/>
                </a:lnTo>
                <a:cubicBezTo>
                  <a:pt x="63" y="787"/>
                  <a:pt x="0" y="976"/>
                  <a:pt x="95" y="1133"/>
                </a:cubicBezTo>
                <a:cubicBezTo>
                  <a:pt x="126" y="1228"/>
                  <a:pt x="252" y="1291"/>
                  <a:pt x="347" y="1291"/>
                </a:cubicBezTo>
                <a:cubicBezTo>
                  <a:pt x="441" y="1291"/>
                  <a:pt x="473" y="1291"/>
                  <a:pt x="568" y="1259"/>
                </a:cubicBezTo>
                <a:lnTo>
                  <a:pt x="1544" y="629"/>
                </a:lnTo>
                <a:cubicBezTo>
                  <a:pt x="1702" y="503"/>
                  <a:pt x="1733" y="314"/>
                  <a:pt x="1670" y="157"/>
                </a:cubicBezTo>
                <a:cubicBezTo>
                  <a:pt x="1584" y="49"/>
                  <a:pt x="1469" y="0"/>
                  <a:pt x="13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50" name="Google Shape;7550;p75"/>
          <p:cNvGrpSpPr/>
          <p:nvPr/>
        </p:nvGrpSpPr>
        <p:grpSpPr>
          <a:xfrm>
            <a:off x="2937597" y="3245359"/>
            <a:ext cx="419948" cy="481379"/>
            <a:chOff x="-49398750" y="2684600"/>
            <a:chExt cx="263875" cy="302475"/>
          </a:xfrm>
        </p:grpSpPr>
        <p:sp>
          <p:nvSpPr>
            <p:cNvPr id="7551" name="Google Shape;7551;p75"/>
            <p:cNvSpPr/>
            <p:nvPr/>
          </p:nvSpPr>
          <p:spPr>
            <a:xfrm>
              <a:off x="-49294775" y="2684600"/>
              <a:ext cx="73275" cy="299325"/>
            </a:xfrm>
            <a:custGeom>
              <a:avLst/>
              <a:gdLst/>
              <a:ahLst/>
              <a:cxnLst/>
              <a:rect l="l" t="t" r="r" b="b"/>
              <a:pathLst>
                <a:path w="2931" h="11973" extrusionOk="0">
                  <a:moveTo>
                    <a:pt x="1481" y="1387"/>
                  </a:moveTo>
                  <a:lnTo>
                    <a:pt x="2017" y="2836"/>
                  </a:lnTo>
                  <a:lnTo>
                    <a:pt x="914" y="2836"/>
                  </a:lnTo>
                  <a:lnTo>
                    <a:pt x="1481" y="1387"/>
                  </a:lnTo>
                  <a:close/>
                  <a:moveTo>
                    <a:pt x="2174" y="3529"/>
                  </a:moveTo>
                  <a:lnTo>
                    <a:pt x="2174" y="9893"/>
                  </a:lnTo>
                  <a:lnTo>
                    <a:pt x="757" y="9893"/>
                  </a:lnTo>
                  <a:lnTo>
                    <a:pt x="757" y="3529"/>
                  </a:lnTo>
                  <a:close/>
                  <a:moveTo>
                    <a:pt x="2174" y="10586"/>
                  </a:moveTo>
                  <a:lnTo>
                    <a:pt x="2174" y="10964"/>
                  </a:lnTo>
                  <a:cubicBezTo>
                    <a:pt x="2143" y="11153"/>
                    <a:pt x="1985" y="11311"/>
                    <a:pt x="1828" y="11311"/>
                  </a:cubicBezTo>
                  <a:lnTo>
                    <a:pt x="1103" y="11311"/>
                  </a:lnTo>
                  <a:cubicBezTo>
                    <a:pt x="914" y="11311"/>
                    <a:pt x="757" y="11153"/>
                    <a:pt x="757" y="10964"/>
                  </a:cubicBezTo>
                  <a:lnTo>
                    <a:pt x="757" y="10586"/>
                  </a:lnTo>
                  <a:close/>
                  <a:moveTo>
                    <a:pt x="1450" y="1"/>
                  </a:moveTo>
                  <a:cubicBezTo>
                    <a:pt x="1355" y="1"/>
                    <a:pt x="1198" y="95"/>
                    <a:pt x="1135" y="253"/>
                  </a:cubicBezTo>
                  <a:cubicBezTo>
                    <a:pt x="1" y="3246"/>
                    <a:pt x="95" y="3088"/>
                    <a:pt x="95" y="3151"/>
                  </a:cubicBezTo>
                  <a:lnTo>
                    <a:pt x="95" y="10933"/>
                  </a:lnTo>
                  <a:cubicBezTo>
                    <a:pt x="95" y="11500"/>
                    <a:pt x="568" y="11973"/>
                    <a:pt x="1135" y="11973"/>
                  </a:cubicBezTo>
                  <a:lnTo>
                    <a:pt x="1859" y="11973"/>
                  </a:lnTo>
                  <a:cubicBezTo>
                    <a:pt x="2458" y="11973"/>
                    <a:pt x="2931" y="11500"/>
                    <a:pt x="2931" y="10933"/>
                  </a:cubicBezTo>
                  <a:lnTo>
                    <a:pt x="2931" y="3120"/>
                  </a:lnTo>
                  <a:cubicBezTo>
                    <a:pt x="2836" y="3088"/>
                    <a:pt x="2931" y="3277"/>
                    <a:pt x="1765" y="253"/>
                  </a:cubicBezTo>
                  <a:cubicBezTo>
                    <a:pt x="1733" y="127"/>
                    <a:pt x="1576" y="1"/>
                    <a:pt x="14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2" name="Google Shape;7552;p75"/>
            <p:cNvSpPr/>
            <p:nvPr/>
          </p:nvSpPr>
          <p:spPr>
            <a:xfrm>
              <a:off x="-49398750" y="2684600"/>
              <a:ext cx="87450" cy="300900"/>
            </a:xfrm>
            <a:custGeom>
              <a:avLst/>
              <a:gdLst/>
              <a:ahLst/>
              <a:cxnLst/>
              <a:rect l="l" t="t" r="r" b="b"/>
              <a:pathLst>
                <a:path w="3498" h="12036" extrusionOk="0">
                  <a:moveTo>
                    <a:pt x="2773" y="662"/>
                  </a:moveTo>
                  <a:lnTo>
                    <a:pt x="2773" y="11311"/>
                  </a:lnTo>
                  <a:lnTo>
                    <a:pt x="662" y="11311"/>
                  </a:lnTo>
                  <a:lnTo>
                    <a:pt x="662" y="10586"/>
                  </a:lnTo>
                  <a:lnTo>
                    <a:pt x="1734" y="10586"/>
                  </a:lnTo>
                  <a:cubicBezTo>
                    <a:pt x="1923" y="10586"/>
                    <a:pt x="2080" y="10429"/>
                    <a:pt x="2080" y="10240"/>
                  </a:cubicBezTo>
                  <a:cubicBezTo>
                    <a:pt x="2080" y="10051"/>
                    <a:pt x="1923" y="9893"/>
                    <a:pt x="1734" y="9893"/>
                  </a:cubicBezTo>
                  <a:lnTo>
                    <a:pt x="662" y="9893"/>
                  </a:lnTo>
                  <a:lnTo>
                    <a:pt x="662" y="9169"/>
                  </a:lnTo>
                  <a:lnTo>
                    <a:pt x="1009" y="9169"/>
                  </a:lnTo>
                  <a:cubicBezTo>
                    <a:pt x="1198" y="9169"/>
                    <a:pt x="1356" y="9011"/>
                    <a:pt x="1356" y="8822"/>
                  </a:cubicBezTo>
                  <a:cubicBezTo>
                    <a:pt x="1356" y="8633"/>
                    <a:pt x="1198" y="8475"/>
                    <a:pt x="1009" y="8475"/>
                  </a:cubicBezTo>
                  <a:lnTo>
                    <a:pt x="662" y="8475"/>
                  </a:lnTo>
                  <a:lnTo>
                    <a:pt x="662" y="7751"/>
                  </a:lnTo>
                  <a:lnTo>
                    <a:pt x="1734" y="7751"/>
                  </a:lnTo>
                  <a:cubicBezTo>
                    <a:pt x="1923" y="7751"/>
                    <a:pt x="2080" y="7593"/>
                    <a:pt x="2080" y="7404"/>
                  </a:cubicBezTo>
                  <a:cubicBezTo>
                    <a:pt x="2080" y="7215"/>
                    <a:pt x="1923" y="7058"/>
                    <a:pt x="1734" y="7058"/>
                  </a:cubicBezTo>
                  <a:lnTo>
                    <a:pt x="662" y="7058"/>
                  </a:lnTo>
                  <a:lnTo>
                    <a:pt x="662" y="6333"/>
                  </a:lnTo>
                  <a:lnTo>
                    <a:pt x="1009" y="6333"/>
                  </a:lnTo>
                  <a:cubicBezTo>
                    <a:pt x="1198" y="6333"/>
                    <a:pt x="1356" y="6176"/>
                    <a:pt x="1356" y="5987"/>
                  </a:cubicBezTo>
                  <a:cubicBezTo>
                    <a:pt x="1356" y="5798"/>
                    <a:pt x="1198" y="5640"/>
                    <a:pt x="1009" y="5640"/>
                  </a:cubicBezTo>
                  <a:lnTo>
                    <a:pt x="662" y="5640"/>
                  </a:lnTo>
                  <a:lnTo>
                    <a:pt x="662" y="4947"/>
                  </a:lnTo>
                  <a:lnTo>
                    <a:pt x="1734" y="4947"/>
                  </a:lnTo>
                  <a:cubicBezTo>
                    <a:pt x="1923" y="4947"/>
                    <a:pt x="2080" y="4789"/>
                    <a:pt x="2080" y="4569"/>
                  </a:cubicBezTo>
                  <a:cubicBezTo>
                    <a:pt x="2080" y="4380"/>
                    <a:pt x="1923" y="4222"/>
                    <a:pt x="1734" y="4222"/>
                  </a:cubicBezTo>
                  <a:lnTo>
                    <a:pt x="662" y="4222"/>
                  </a:lnTo>
                  <a:lnTo>
                    <a:pt x="662" y="3498"/>
                  </a:lnTo>
                  <a:lnTo>
                    <a:pt x="1009" y="3498"/>
                  </a:lnTo>
                  <a:cubicBezTo>
                    <a:pt x="1198" y="3498"/>
                    <a:pt x="1356" y="3340"/>
                    <a:pt x="1356" y="3151"/>
                  </a:cubicBezTo>
                  <a:cubicBezTo>
                    <a:pt x="1356" y="2962"/>
                    <a:pt x="1198" y="2805"/>
                    <a:pt x="1009" y="2805"/>
                  </a:cubicBezTo>
                  <a:lnTo>
                    <a:pt x="662" y="2805"/>
                  </a:lnTo>
                  <a:lnTo>
                    <a:pt x="662" y="2080"/>
                  </a:lnTo>
                  <a:lnTo>
                    <a:pt x="1734" y="2080"/>
                  </a:lnTo>
                  <a:cubicBezTo>
                    <a:pt x="1923" y="2080"/>
                    <a:pt x="2080" y="1922"/>
                    <a:pt x="2080" y="1733"/>
                  </a:cubicBezTo>
                  <a:cubicBezTo>
                    <a:pt x="2080" y="1544"/>
                    <a:pt x="1923" y="1387"/>
                    <a:pt x="1734" y="1387"/>
                  </a:cubicBezTo>
                  <a:lnTo>
                    <a:pt x="662" y="1387"/>
                  </a:lnTo>
                  <a:lnTo>
                    <a:pt x="662" y="662"/>
                  </a:lnTo>
                  <a:close/>
                  <a:moveTo>
                    <a:pt x="347" y="1"/>
                  </a:moveTo>
                  <a:cubicBezTo>
                    <a:pt x="158" y="1"/>
                    <a:pt x="1" y="158"/>
                    <a:pt x="1" y="379"/>
                  </a:cubicBezTo>
                  <a:lnTo>
                    <a:pt x="1" y="11657"/>
                  </a:lnTo>
                  <a:cubicBezTo>
                    <a:pt x="1" y="11878"/>
                    <a:pt x="158" y="12036"/>
                    <a:pt x="347" y="12036"/>
                  </a:cubicBezTo>
                  <a:lnTo>
                    <a:pt x="3151" y="12036"/>
                  </a:lnTo>
                  <a:cubicBezTo>
                    <a:pt x="3340" y="12036"/>
                    <a:pt x="3498" y="11878"/>
                    <a:pt x="3498" y="11657"/>
                  </a:cubicBezTo>
                  <a:lnTo>
                    <a:pt x="3498" y="379"/>
                  </a:ln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3" name="Google Shape;7553;p75"/>
            <p:cNvSpPr/>
            <p:nvPr/>
          </p:nvSpPr>
          <p:spPr>
            <a:xfrm>
              <a:off x="-49207350" y="2686175"/>
              <a:ext cx="72475" cy="300900"/>
            </a:xfrm>
            <a:custGeom>
              <a:avLst/>
              <a:gdLst/>
              <a:ahLst/>
              <a:cxnLst/>
              <a:rect l="l" t="t" r="r" b="b"/>
              <a:pathLst>
                <a:path w="2899" h="12036" extrusionOk="0">
                  <a:moveTo>
                    <a:pt x="1859" y="694"/>
                  </a:moveTo>
                  <a:lnTo>
                    <a:pt x="1859" y="694"/>
                  </a:lnTo>
                  <a:cubicBezTo>
                    <a:pt x="1828" y="820"/>
                    <a:pt x="1796" y="946"/>
                    <a:pt x="1796" y="1040"/>
                  </a:cubicBezTo>
                  <a:cubicBezTo>
                    <a:pt x="1733" y="1418"/>
                    <a:pt x="1828" y="1765"/>
                    <a:pt x="2111" y="2112"/>
                  </a:cubicBezTo>
                  <a:cubicBezTo>
                    <a:pt x="2143" y="2143"/>
                    <a:pt x="2174" y="2238"/>
                    <a:pt x="2143" y="2301"/>
                  </a:cubicBezTo>
                  <a:cubicBezTo>
                    <a:pt x="2017" y="2584"/>
                    <a:pt x="1796" y="2773"/>
                    <a:pt x="1481" y="2773"/>
                  </a:cubicBezTo>
                  <a:cubicBezTo>
                    <a:pt x="1072" y="2773"/>
                    <a:pt x="757" y="2458"/>
                    <a:pt x="757" y="2080"/>
                  </a:cubicBezTo>
                  <a:cubicBezTo>
                    <a:pt x="757" y="1670"/>
                    <a:pt x="914" y="1324"/>
                    <a:pt x="1166" y="1103"/>
                  </a:cubicBezTo>
                  <a:cubicBezTo>
                    <a:pt x="1387" y="851"/>
                    <a:pt x="1576" y="788"/>
                    <a:pt x="1859" y="694"/>
                  </a:cubicBezTo>
                  <a:close/>
                  <a:moveTo>
                    <a:pt x="1450" y="3466"/>
                  </a:moveTo>
                  <a:cubicBezTo>
                    <a:pt x="1513" y="3529"/>
                    <a:pt x="1702" y="3781"/>
                    <a:pt x="1859" y="4600"/>
                  </a:cubicBezTo>
                  <a:cubicBezTo>
                    <a:pt x="1954" y="4726"/>
                    <a:pt x="1954" y="4789"/>
                    <a:pt x="1954" y="4884"/>
                  </a:cubicBezTo>
                  <a:lnTo>
                    <a:pt x="946" y="4884"/>
                  </a:lnTo>
                  <a:cubicBezTo>
                    <a:pt x="946" y="4789"/>
                    <a:pt x="1009" y="4726"/>
                    <a:pt x="1009" y="4600"/>
                  </a:cubicBezTo>
                  <a:cubicBezTo>
                    <a:pt x="1198" y="3781"/>
                    <a:pt x="1355" y="3529"/>
                    <a:pt x="1450" y="3466"/>
                  </a:cubicBezTo>
                  <a:close/>
                  <a:moveTo>
                    <a:pt x="2111" y="5546"/>
                  </a:moveTo>
                  <a:cubicBezTo>
                    <a:pt x="2174" y="6081"/>
                    <a:pt x="2237" y="6680"/>
                    <a:pt x="2237" y="7310"/>
                  </a:cubicBezTo>
                  <a:cubicBezTo>
                    <a:pt x="2174" y="9389"/>
                    <a:pt x="1796" y="10901"/>
                    <a:pt x="1481" y="11216"/>
                  </a:cubicBezTo>
                  <a:cubicBezTo>
                    <a:pt x="1387" y="11122"/>
                    <a:pt x="1198" y="10901"/>
                    <a:pt x="1040" y="10082"/>
                  </a:cubicBezTo>
                  <a:cubicBezTo>
                    <a:pt x="883" y="9326"/>
                    <a:pt x="757" y="8349"/>
                    <a:pt x="757" y="7310"/>
                  </a:cubicBezTo>
                  <a:cubicBezTo>
                    <a:pt x="757" y="6680"/>
                    <a:pt x="788" y="6081"/>
                    <a:pt x="883" y="5546"/>
                  </a:cubicBezTo>
                  <a:close/>
                  <a:moveTo>
                    <a:pt x="2489" y="1"/>
                  </a:moveTo>
                  <a:cubicBezTo>
                    <a:pt x="1796" y="1"/>
                    <a:pt x="1229" y="32"/>
                    <a:pt x="662" y="631"/>
                  </a:cubicBezTo>
                  <a:cubicBezTo>
                    <a:pt x="253" y="1009"/>
                    <a:pt x="1" y="1576"/>
                    <a:pt x="1" y="2112"/>
                  </a:cubicBezTo>
                  <a:cubicBezTo>
                    <a:pt x="1" y="2616"/>
                    <a:pt x="284" y="3088"/>
                    <a:pt x="725" y="3340"/>
                  </a:cubicBezTo>
                  <a:cubicBezTo>
                    <a:pt x="190" y="4285"/>
                    <a:pt x="1" y="6302"/>
                    <a:pt x="1" y="7436"/>
                  </a:cubicBezTo>
                  <a:cubicBezTo>
                    <a:pt x="1" y="8539"/>
                    <a:pt x="127" y="10555"/>
                    <a:pt x="725" y="11531"/>
                  </a:cubicBezTo>
                  <a:cubicBezTo>
                    <a:pt x="914" y="11878"/>
                    <a:pt x="1166" y="12036"/>
                    <a:pt x="1450" y="12036"/>
                  </a:cubicBezTo>
                  <a:cubicBezTo>
                    <a:pt x="1702" y="12036"/>
                    <a:pt x="1954" y="11878"/>
                    <a:pt x="2143" y="11531"/>
                  </a:cubicBezTo>
                  <a:cubicBezTo>
                    <a:pt x="2710" y="10586"/>
                    <a:pt x="2868" y="8570"/>
                    <a:pt x="2868" y="7436"/>
                  </a:cubicBezTo>
                  <a:cubicBezTo>
                    <a:pt x="2836" y="6239"/>
                    <a:pt x="2742" y="4254"/>
                    <a:pt x="2174" y="3309"/>
                  </a:cubicBezTo>
                  <a:cubicBezTo>
                    <a:pt x="2458" y="3151"/>
                    <a:pt x="2710" y="2868"/>
                    <a:pt x="2773" y="2553"/>
                  </a:cubicBezTo>
                  <a:cubicBezTo>
                    <a:pt x="2899" y="2238"/>
                    <a:pt x="2805" y="1923"/>
                    <a:pt x="2616" y="1670"/>
                  </a:cubicBezTo>
                  <a:cubicBezTo>
                    <a:pt x="2426" y="1450"/>
                    <a:pt x="2300" y="1135"/>
                    <a:pt x="2773" y="536"/>
                  </a:cubicBezTo>
                  <a:cubicBezTo>
                    <a:pt x="2836" y="410"/>
                    <a:pt x="2899" y="316"/>
                    <a:pt x="2805" y="190"/>
                  </a:cubicBezTo>
                  <a:cubicBezTo>
                    <a:pt x="2773" y="64"/>
                    <a:pt x="2616" y="1"/>
                    <a:pt x="24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54" name="Google Shape;7554;p75"/>
          <p:cNvGrpSpPr/>
          <p:nvPr/>
        </p:nvGrpSpPr>
        <p:grpSpPr>
          <a:xfrm>
            <a:off x="1164161" y="3904379"/>
            <a:ext cx="418675" cy="478872"/>
            <a:chOff x="-47509225" y="1974175"/>
            <a:chExt cx="263075" cy="300900"/>
          </a:xfrm>
        </p:grpSpPr>
        <p:sp>
          <p:nvSpPr>
            <p:cNvPr id="7555" name="Google Shape;7555;p75"/>
            <p:cNvSpPr/>
            <p:nvPr/>
          </p:nvSpPr>
          <p:spPr>
            <a:xfrm>
              <a:off x="-47439925" y="2026950"/>
              <a:ext cx="124475" cy="124450"/>
            </a:xfrm>
            <a:custGeom>
              <a:avLst/>
              <a:gdLst/>
              <a:ahLst/>
              <a:cxnLst/>
              <a:rect l="l" t="t" r="r" b="b"/>
              <a:pathLst>
                <a:path w="4979" h="4978" extrusionOk="0">
                  <a:moveTo>
                    <a:pt x="1828" y="725"/>
                  </a:moveTo>
                  <a:cubicBezTo>
                    <a:pt x="2301" y="725"/>
                    <a:pt x="2679" y="1008"/>
                    <a:pt x="2805" y="1418"/>
                  </a:cubicBezTo>
                  <a:lnTo>
                    <a:pt x="1828" y="1418"/>
                  </a:lnTo>
                  <a:cubicBezTo>
                    <a:pt x="1607" y="1418"/>
                    <a:pt x="1450" y="1575"/>
                    <a:pt x="1450" y="1796"/>
                  </a:cubicBezTo>
                  <a:lnTo>
                    <a:pt x="1450" y="2773"/>
                  </a:lnTo>
                  <a:cubicBezTo>
                    <a:pt x="1040" y="2615"/>
                    <a:pt x="757" y="2206"/>
                    <a:pt x="757" y="1796"/>
                  </a:cubicBezTo>
                  <a:cubicBezTo>
                    <a:pt x="757" y="1197"/>
                    <a:pt x="1229" y="725"/>
                    <a:pt x="1828" y="725"/>
                  </a:cubicBezTo>
                  <a:close/>
                  <a:moveTo>
                    <a:pt x="2805" y="2143"/>
                  </a:moveTo>
                  <a:cubicBezTo>
                    <a:pt x="2679" y="2458"/>
                    <a:pt x="2458" y="2678"/>
                    <a:pt x="2175" y="2773"/>
                  </a:cubicBezTo>
                  <a:lnTo>
                    <a:pt x="2175" y="2143"/>
                  </a:lnTo>
                  <a:close/>
                  <a:moveTo>
                    <a:pt x="4254" y="2111"/>
                  </a:moveTo>
                  <a:lnTo>
                    <a:pt x="4254" y="4222"/>
                  </a:lnTo>
                  <a:lnTo>
                    <a:pt x="2143" y="4222"/>
                  </a:lnTo>
                  <a:lnTo>
                    <a:pt x="2143" y="3466"/>
                  </a:lnTo>
                  <a:cubicBezTo>
                    <a:pt x="2805" y="3308"/>
                    <a:pt x="3372" y="2804"/>
                    <a:pt x="3529" y="2111"/>
                  </a:cubicBezTo>
                  <a:close/>
                  <a:moveTo>
                    <a:pt x="1765" y="0"/>
                  </a:moveTo>
                  <a:cubicBezTo>
                    <a:pt x="788" y="0"/>
                    <a:pt x="1" y="788"/>
                    <a:pt x="1" y="1796"/>
                  </a:cubicBezTo>
                  <a:cubicBezTo>
                    <a:pt x="1" y="2647"/>
                    <a:pt x="599" y="3340"/>
                    <a:pt x="1418" y="3529"/>
                  </a:cubicBezTo>
                  <a:lnTo>
                    <a:pt x="1418" y="4631"/>
                  </a:lnTo>
                  <a:cubicBezTo>
                    <a:pt x="1418" y="4820"/>
                    <a:pt x="1576" y="4978"/>
                    <a:pt x="1765" y="4978"/>
                  </a:cubicBezTo>
                  <a:lnTo>
                    <a:pt x="4569" y="4978"/>
                  </a:lnTo>
                  <a:cubicBezTo>
                    <a:pt x="4789" y="4978"/>
                    <a:pt x="4916" y="4820"/>
                    <a:pt x="4916" y="4631"/>
                  </a:cubicBezTo>
                  <a:lnTo>
                    <a:pt x="4916" y="1827"/>
                  </a:lnTo>
                  <a:cubicBezTo>
                    <a:pt x="4979" y="1575"/>
                    <a:pt x="4821" y="1418"/>
                    <a:pt x="4600" y="1418"/>
                  </a:cubicBezTo>
                  <a:lnTo>
                    <a:pt x="3498" y="1418"/>
                  </a:lnTo>
                  <a:cubicBezTo>
                    <a:pt x="3340" y="630"/>
                    <a:pt x="2647"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6" name="Google Shape;7556;p75"/>
            <p:cNvSpPr/>
            <p:nvPr/>
          </p:nvSpPr>
          <p:spPr>
            <a:xfrm>
              <a:off x="-47439125" y="2184475"/>
              <a:ext cx="88225" cy="18125"/>
            </a:xfrm>
            <a:custGeom>
              <a:avLst/>
              <a:gdLst/>
              <a:ahLst/>
              <a:cxnLst/>
              <a:rect l="l" t="t" r="r" b="b"/>
              <a:pathLst>
                <a:path w="3529" h="725" extrusionOk="0">
                  <a:moveTo>
                    <a:pt x="378" y="0"/>
                  </a:moveTo>
                  <a:cubicBezTo>
                    <a:pt x="158" y="0"/>
                    <a:pt x="32" y="158"/>
                    <a:pt x="32" y="378"/>
                  </a:cubicBezTo>
                  <a:cubicBezTo>
                    <a:pt x="0" y="567"/>
                    <a:pt x="158" y="725"/>
                    <a:pt x="378" y="725"/>
                  </a:cubicBezTo>
                  <a:lnTo>
                    <a:pt x="3182" y="725"/>
                  </a:lnTo>
                  <a:cubicBezTo>
                    <a:pt x="3371" y="725"/>
                    <a:pt x="3529" y="567"/>
                    <a:pt x="3529" y="378"/>
                  </a:cubicBezTo>
                  <a:cubicBezTo>
                    <a:pt x="3529" y="158"/>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7" name="Google Shape;7557;p75"/>
            <p:cNvSpPr/>
            <p:nvPr/>
          </p:nvSpPr>
          <p:spPr>
            <a:xfrm>
              <a:off x="-47438350" y="2219900"/>
              <a:ext cx="122900" cy="18150"/>
            </a:xfrm>
            <a:custGeom>
              <a:avLst/>
              <a:gdLst/>
              <a:ahLst/>
              <a:cxnLst/>
              <a:rect l="l" t="t" r="r" b="b"/>
              <a:pathLst>
                <a:path w="4916" h="726" extrusionOk="0">
                  <a:moveTo>
                    <a:pt x="347" y="1"/>
                  </a:moveTo>
                  <a:cubicBezTo>
                    <a:pt x="127" y="1"/>
                    <a:pt x="1" y="158"/>
                    <a:pt x="1" y="379"/>
                  </a:cubicBezTo>
                  <a:cubicBezTo>
                    <a:pt x="1" y="568"/>
                    <a:pt x="127" y="725"/>
                    <a:pt x="347" y="725"/>
                  </a:cubicBezTo>
                  <a:lnTo>
                    <a:pt x="4537" y="725"/>
                  </a:lnTo>
                  <a:cubicBezTo>
                    <a:pt x="4758" y="725"/>
                    <a:pt x="4916" y="568"/>
                    <a:pt x="4916" y="379"/>
                  </a:cubicBezTo>
                  <a:cubicBezTo>
                    <a:pt x="4916" y="158"/>
                    <a:pt x="4758" y="1"/>
                    <a:pt x="45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8" name="Google Shape;7558;p75"/>
            <p:cNvSpPr/>
            <p:nvPr/>
          </p:nvSpPr>
          <p:spPr>
            <a:xfrm>
              <a:off x="-47333600" y="218605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6" y="536"/>
                    <a:pt x="726" y="347"/>
                  </a:cubicBezTo>
                  <a:cubicBezTo>
                    <a:pt x="726" y="126"/>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59" name="Google Shape;7559;p75"/>
            <p:cNvSpPr/>
            <p:nvPr/>
          </p:nvSpPr>
          <p:spPr>
            <a:xfrm>
              <a:off x="-47509225" y="1974175"/>
              <a:ext cx="263075" cy="300900"/>
            </a:xfrm>
            <a:custGeom>
              <a:avLst/>
              <a:gdLst/>
              <a:ahLst/>
              <a:cxnLst/>
              <a:rect l="l" t="t" r="r" b="b"/>
              <a:pathLst>
                <a:path w="10523" h="12036" extrusionOk="0">
                  <a:moveTo>
                    <a:pt x="9483" y="2111"/>
                  </a:moveTo>
                  <a:cubicBezTo>
                    <a:pt x="9672" y="2111"/>
                    <a:pt x="9830" y="2269"/>
                    <a:pt x="9830" y="2489"/>
                  </a:cubicBezTo>
                  <a:lnTo>
                    <a:pt x="9830" y="3529"/>
                  </a:lnTo>
                  <a:lnTo>
                    <a:pt x="9105" y="3529"/>
                  </a:lnTo>
                  <a:lnTo>
                    <a:pt x="9105" y="2111"/>
                  </a:lnTo>
                  <a:close/>
                  <a:moveTo>
                    <a:pt x="9830" y="4222"/>
                  </a:moveTo>
                  <a:lnTo>
                    <a:pt x="9830" y="5640"/>
                  </a:lnTo>
                  <a:lnTo>
                    <a:pt x="9105" y="5640"/>
                  </a:lnTo>
                  <a:lnTo>
                    <a:pt x="9105" y="4222"/>
                  </a:lnTo>
                  <a:close/>
                  <a:moveTo>
                    <a:pt x="9861" y="6333"/>
                  </a:moveTo>
                  <a:lnTo>
                    <a:pt x="9861" y="7751"/>
                  </a:lnTo>
                  <a:lnTo>
                    <a:pt x="9168" y="7751"/>
                  </a:lnTo>
                  <a:lnTo>
                    <a:pt x="9168" y="6333"/>
                  </a:lnTo>
                  <a:close/>
                  <a:moveTo>
                    <a:pt x="9830" y="8412"/>
                  </a:moveTo>
                  <a:lnTo>
                    <a:pt x="9830" y="9483"/>
                  </a:lnTo>
                  <a:cubicBezTo>
                    <a:pt x="9830" y="9672"/>
                    <a:pt x="9672" y="9830"/>
                    <a:pt x="9483" y="9830"/>
                  </a:cubicBezTo>
                  <a:lnTo>
                    <a:pt x="9137" y="9830"/>
                  </a:lnTo>
                  <a:lnTo>
                    <a:pt x="9137" y="8412"/>
                  </a:lnTo>
                  <a:close/>
                  <a:moveTo>
                    <a:pt x="8444" y="630"/>
                  </a:moveTo>
                  <a:lnTo>
                    <a:pt x="8444" y="11248"/>
                  </a:lnTo>
                  <a:lnTo>
                    <a:pt x="1450" y="11248"/>
                  </a:lnTo>
                  <a:lnTo>
                    <a:pt x="1450" y="10554"/>
                  </a:lnTo>
                  <a:lnTo>
                    <a:pt x="1796" y="10554"/>
                  </a:lnTo>
                  <a:cubicBezTo>
                    <a:pt x="1985" y="10554"/>
                    <a:pt x="2143" y="10397"/>
                    <a:pt x="2143" y="10176"/>
                  </a:cubicBezTo>
                  <a:cubicBezTo>
                    <a:pt x="2143" y="9987"/>
                    <a:pt x="1985" y="9830"/>
                    <a:pt x="1796" y="9830"/>
                  </a:cubicBezTo>
                  <a:lnTo>
                    <a:pt x="1450" y="9830"/>
                  </a:lnTo>
                  <a:lnTo>
                    <a:pt x="1450" y="8412"/>
                  </a:lnTo>
                  <a:lnTo>
                    <a:pt x="1796" y="8412"/>
                  </a:lnTo>
                  <a:cubicBezTo>
                    <a:pt x="1985" y="8412"/>
                    <a:pt x="2143" y="8255"/>
                    <a:pt x="2143" y="8066"/>
                  </a:cubicBezTo>
                  <a:cubicBezTo>
                    <a:pt x="2143" y="7877"/>
                    <a:pt x="1985" y="7719"/>
                    <a:pt x="1796" y="7719"/>
                  </a:cubicBezTo>
                  <a:lnTo>
                    <a:pt x="1450" y="7719"/>
                  </a:lnTo>
                  <a:lnTo>
                    <a:pt x="1450" y="6301"/>
                  </a:lnTo>
                  <a:lnTo>
                    <a:pt x="1796" y="6301"/>
                  </a:lnTo>
                  <a:cubicBezTo>
                    <a:pt x="1985" y="6301"/>
                    <a:pt x="2143" y="6144"/>
                    <a:pt x="2143" y="5923"/>
                  </a:cubicBezTo>
                  <a:cubicBezTo>
                    <a:pt x="2143" y="5734"/>
                    <a:pt x="1985" y="5577"/>
                    <a:pt x="1796" y="5577"/>
                  </a:cubicBezTo>
                  <a:lnTo>
                    <a:pt x="1450" y="5577"/>
                  </a:lnTo>
                  <a:lnTo>
                    <a:pt x="1450" y="4159"/>
                  </a:lnTo>
                  <a:lnTo>
                    <a:pt x="1796" y="4159"/>
                  </a:lnTo>
                  <a:cubicBezTo>
                    <a:pt x="1985" y="4159"/>
                    <a:pt x="2143" y="4001"/>
                    <a:pt x="2143" y="3812"/>
                  </a:cubicBezTo>
                  <a:cubicBezTo>
                    <a:pt x="2143" y="3623"/>
                    <a:pt x="1985" y="3466"/>
                    <a:pt x="1796" y="3466"/>
                  </a:cubicBezTo>
                  <a:lnTo>
                    <a:pt x="1450" y="3466"/>
                  </a:lnTo>
                  <a:lnTo>
                    <a:pt x="1450" y="2048"/>
                  </a:lnTo>
                  <a:lnTo>
                    <a:pt x="1796" y="2048"/>
                  </a:lnTo>
                  <a:cubicBezTo>
                    <a:pt x="1985" y="2048"/>
                    <a:pt x="2143" y="1891"/>
                    <a:pt x="2143" y="1670"/>
                  </a:cubicBezTo>
                  <a:cubicBezTo>
                    <a:pt x="2143" y="1481"/>
                    <a:pt x="1985" y="1324"/>
                    <a:pt x="1796" y="1324"/>
                  </a:cubicBezTo>
                  <a:lnTo>
                    <a:pt x="1450" y="1324"/>
                  </a:lnTo>
                  <a:lnTo>
                    <a:pt x="1450" y="630"/>
                  </a:lnTo>
                  <a:close/>
                  <a:moveTo>
                    <a:pt x="1040" y="0"/>
                  </a:moveTo>
                  <a:cubicBezTo>
                    <a:pt x="851" y="0"/>
                    <a:pt x="693" y="158"/>
                    <a:pt x="693" y="347"/>
                  </a:cubicBezTo>
                  <a:lnTo>
                    <a:pt x="693" y="1418"/>
                  </a:lnTo>
                  <a:lnTo>
                    <a:pt x="347" y="1418"/>
                  </a:lnTo>
                  <a:cubicBezTo>
                    <a:pt x="158" y="1418"/>
                    <a:pt x="0" y="1576"/>
                    <a:pt x="0" y="1765"/>
                  </a:cubicBezTo>
                  <a:cubicBezTo>
                    <a:pt x="0" y="1954"/>
                    <a:pt x="158" y="2111"/>
                    <a:pt x="347" y="2111"/>
                  </a:cubicBezTo>
                  <a:lnTo>
                    <a:pt x="693" y="2111"/>
                  </a:lnTo>
                  <a:lnTo>
                    <a:pt x="693" y="3529"/>
                  </a:lnTo>
                  <a:lnTo>
                    <a:pt x="347" y="3529"/>
                  </a:lnTo>
                  <a:cubicBezTo>
                    <a:pt x="158" y="3529"/>
                    <a:pt x="0" y="3686"/>
                    <a:pt x="0" y="3907"/>
                  </a:cubicBezTo>
                  <a:cubicBezTo>
                    <a:pt x="0" y="4096"/>
                    <a:pt x="158" y="4254"/>
                    <a:pt x="347" y="4254"/>
                  </a:cubicBezTo>
                  <a:lnTo>
                    <a:pt x="693" y="4254"/>
                  </a:lnTo>
                  <a:lnTo>
                    <a:pt x="693" y="5671"/>
                  </a:lnTo>
                  <a:lnTo>
                    <a:pt x="347" y="5671"/>
                  </a:lnTo>
                  <a:cubicBezTo>
                    <a:pt x="158" y="5671"/>
                    <a:pt x="0" y="5829"/>
                    <a:pt x="0" y="6018"/>
                  </a:cubicBezTo>
                  <a:cubicBezTo>
                    <a:pt x="0" y="6207"/>
                    <a:pt x="158" y="6364"/>
                    <a:pt x="347" y="6364"/>
                  </a:cubicBezTo>
                  <a:lnTo>
                    <a:pt x="693" y="6364"/>
                  </a:lnTo>
                  <a:lnTo>
                    <a:pt x="693" y="7782"/>
                  </a:lnTo>
                  <a:lnTo>
                    <a:pt x="347" y="7782"/>
                  </a:lnTo>
                  <a:cubicBezTo>
                    <a:pt x="158" y="7782"/>
                    <a:pt x="0" y="7940"/>
                    <a:pt x="0" y="8160"/>
                  </a:cubicBezTo>
                  <a:cubicBezTo>
                    <a:pt x="0" y="8349"/>
                    <a:pt x="158" y="8507"/>
                    <a:pt x="347" y="8507"/>
                  </a:cubicBezTo>
                  <a:lnTo>
                    <a:pt x="693" y="8507"/>
                  </a:lnTo>
                  <a:lnTo>
                    <a:pt x="693" y="9924"/>
                  </a:lnTo>
                  <a:lnTo>
                    <a:pt x="347" y="9924"/>
                  </a:lnTo>
                  <a:cubicBezTo>
                    <a:pt x="158" y="9924"/>
                    <a:pt x="0" y="10082"/>
                    <a:pt x="0" y="10271"/>
                  </a:cubicBezTo>
                  <a:cubicBezTo>
                    <a:pt x="0" y="10460"/>
                    <a:pt x="158" y="10617"/>
                    <a:pt x="347" y="10617"/>
                  </a:cubicBezTo>
                  <a:lnTo>
                    <a:pt x="693" y="10617"/>
                  </a:lnTo>
                  <a:lnTo>
                    <a:pt x="693" y="11689"/>
                  </a:lnTo>
                  <a:cubicBezTo>
                    <a:pt x="693" y="11878"/>
                    <a:pt x="851" y="12035"/>
                    <a:pt x="1040" y="12035"/>
                  </a:cubicBezTo>
                  <a:lnTo>
                    <a:pt x="8759" y="12035"/>
                  </a:lnTo>
                  <a:cubicBezTo>
                    <a:pt x="8979" y="12035"/>
                    <a:pt x="9137" y="11878"/>
                    <a:pt x="9137" y="11689"/>
                  </a:cubicBezTo>
                  <a:lnTo>
                    <a:pt x="9137" y="10617"/>
                  </a:lnTo>
                  <a:lnTo>
                    <a:pt x="9483" y="10617"/>
                  </a:lnTo>
                  <a:cubicBezTo>
                    <a:pt x="10050" y="10617"/>
                    <a:pt x="10523" y="10145"/>
                    <a:pt x="10523" y="9578"/>
                  </a:cubicBezTo>
                  <a:lnTo>
                    <a:pt x="10523" y="2552"/>
                  </a:lnTo>
                  <a:cubicBezTo>
                    <a:pt x="10523" y="1891"/>
                    <a:pt x="10050" y="1418"/>
                    <a:pt x="9483" y="1418"/>
                  </a:cubicBezTo>
                  <a:lnTo>
                    <a:pt x="9137" y="1418"/>
                  </a:lnTo>
                  <a:lnTo>
                    <a:pt x="9137" y="347"/>
                  </a:lnTo>
                  <a:cubicBezTo>
                    <a:pt x="9137" y="158"/>
                    <a:pt x="8979" y="0"/>
                    <a:pt x="875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60" name="Google Shape;7560;p75"/>
          <p:cNvGrpSpPr/>
          <p:nvPr/>
        </p:nvGrpSpPr>
        <p:grpSpPr>
          <a:xfrm>
            <a:off x="1132829" y="4499758"/>
            <a:ext cx="481339" cy="477281"/>
            <a:chOff x="-47529700" y="2342000"/>
            <a:chExt cx="302450" cy="299900"/>
          </a:xfrm>
        </p:grpSpPr>
        <p:sp>
          <p:nvSpPr>
            <p:cNvPr id="7561" name="Google Shape;7561;p75"/>
            <p:cNvSpPr/>
            <p:nvPr/>
          </p:nvSpPr>
          <p:spPr>
            <a:xfrm>
              <a:off x="-47529700" y="2342000"/>
              <a:ext cx="302450" cy="299900"/>
            </a:xfrm>
            <a:custGeom>
              <a:avLst/>
              <a:gdLst/>
              <a:ahLst/>
              <a:cxnLst/>
              <a:rect l="l" t="t" r="r" b="b"/>
              <a:pathLst>
                <a:path w="12098" h="11996" extrusionOk="0">
                  <a:moveTo>
                    <a:pt x="7530" y="725"/>
                  </a:moveTo>
                  <a:cubicBezTo>
                    <a:pt x="9672" y="725"/>
                    <a:pt x="11405" y="2457"/>
                    <a:pt x="11405" y="4568"/>
                  </a:cubicBezTo>
                  <a:cubicBezTo>
                    <a:pt x="11405" y="6711"/>
                    <a:pt x="9672" y="8443"/>
                    <a:pt x="7530" y="8443"/>
                  </a:cubicBezTo>
                  <a:cubicBezTo>
                    <a:pt x="5419" y="8443"/>
                    <a:pt x="3686" y="6711"/>
                    <a:pt x="3686" y="4568"/>
                  </a:cubicBezTo>
                  <a:cubicBezTo>
                    <a:pt x="3686" y="2457"/>
                    <a:pt x="5419" y="725"/>
                    <a:pt x="7530" y="725"/>
                  </a:cubicBezTo>
                  <a:close/>
                  <a:moveTo>
                    <a:pt x="4064" y="7530"/>
                  </a:moveTo>
                  <a:cubicBezTo>
                    <a:pt x="4222" y="7719"/>
                    <a:pt x="4379" y="7876"/>
                    <a:pt x="4568" y="8034"/>
                  </a:cubicBezTo>
                  <a:lnTo>
                    <a:pt x="3686" y="8947"/>
                  </a:lnTo>
                  <a:lnTo>
                    <a:pt x="3151" y="8443"/>
                  </a:lnTo>
                  <a:lnTo>
                    <a:pt x="4064" y="7530"/>
                  </a:lnTo>
                  <a:close/>
                  <a:moveTo>
                    <a:pt x="2647" y="8916"/>
                  </a:moveTo>
                  <a:lnTo>
                    <a:pt x="3151" y="9420"/>
                  </a:lnTo>
                  <a:lnTo>
                    <a:pt x="1386" y="11184"/>
                  </a:lnTo>
                  <a:cubicBezTo>
                    <a:pt x="1323" y="11247"/>
                    <a:pt x="1237" y="11279"/>
                    <a:pt x="1146" y="11279"/>
                  </a:cubicBezTo>
                  <a:cubicBezTo>
                    <a:pt x="1056" y="11279"/>
                    <a:pt x="961" y="11247"/>
                    <a:pt x="882" y="11184"/>
                  </a:cubicBezTo>
                  <a:cubicBezTo>
                    <a:pt x="756" y="11090"/>
                    <a:pt x="756" y="10838"/>
                    <a:pt x="882" y="10680"/>
                  </a:cubicBezTo>
                  <a:lnTo>
                    <a:pt x="2647" y="8916"/>
                  </a:lnTo>
                  <a:close/>
                  <a:moveTo>
                    <a:pt x="7530" y="0"/>
                  </a:moveTo>
                  <a:cubicBezTo>
                    <a:pt x="5009" y="0"/>
                    <a:pt x="2962" y="2048"/>
                    <a:pt x="2962" y="4568"/>
                  </a:cubicBezTo>
                  <a:cubicBezTo>
                    <a:pt x="2962" y="5450"/>
                    <a:pt x="3214" y="6270"/>
                    <a:pt x="3623" y="6963"/>
                  </a:cubicBezTo>
                  <a:lnTo>
                    <a:pt x="410" y="10208"/>
                  </a:lnTo>
                  <a:cubicBezTo>
                    <a:pt x="0" y="10586"/>
                    <a:pt x="0" y="11279"/>
                    <a:pt x="410" y="11688"/>
                  </a:cubicBezTo>
                  <a:cubicBezTo>
                    <a:pt x="599" y="11893"/>
                    <a:pt x="867" y="11996"/>
                    <a:pt x="1138" y="11996"/>
                  </a:cubicBezTo>
                  <a:cubicBezTo>
                    <a:pt x="1410" y="11996"/>
                    <a:pt x="1686" y="11893"/>
                    <a:pt x="1890" y="11688"/>
                  </a:cubicBezTo>
                  <a:lnTo>
                    <a:pt x="5135" y="8475"/>
                  </a:lnTo>
                  <a:cubicBezTo>
                    <a:pt x="5829" y="8916"/>
                    <a:pt x="6679" y="9137"/>
                    <a:pt x="7530" y="9137"/>
                  </a:cubicBezTo>
                  <a:cubicBezTo>
                    <a:pt x="10050" y="9137"/>
                    <a:pt x="12098" y="7089"/>
                    <a:pt x="12098" y="4568"/>
                  </a:cubicBezTo>
                  <a:cubicBezTo>
                    <a:pt x="12098" y="2048"/>
                    <a:pt x="10050" y="0"/>
                    <a:pt x="753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2" name="Google Shape;7562;p75"/>
            <p:cNvSpPr/>
            <p:nvPr/>
          </p:nvSpPr>
          <p:spPr>
            <a:xfrm>
              <a:off x="-47404475" y="2395550"/>
              <a:ext cx="124475" cy="123675"/>
            </a:xfrm>
            <a:custGeom>
              <a:avLst/>
              <a:gdLst/>
              <a:ahLst/>
              <a:cxnLst/>
              <a:rect l="l" t="t" r="r" b="b"/>
              <a:pathLst>
                <a:path w="4979" h="4947" extrusionOk="0">
                  <a:moveTo>
                    <a:pt x="2804" y="2080"/>
                  </a:moveTo>
                  <a:cubicBezTo>
                    <a:pt x="2678" y="2395"/>
                    <a:pt x="2458" y="2647"/>
                    <a:pt x="2174" y="2710"/>
                  </a:cubicBezTo>
                  <a:lnTo>
                    <a:pt x="2174" y="2080"/>
                  </a:lnTo>
                  <a:close/>
                  <a:moveTo>
                    <a:pt x="1828" y="694"/>
                  </a:moveTo>
                  <a:cubicBezTo>
                    <a:pt x="2300" y="694"/>
                    <a:pt x="2678" y="977"/>
                    <a:pt x="2804" y="1418"/>
                  </a:cubicBezTo>
                  <a:lnTo>
                    <a:pt x="1828" y="1418"/>
                  </a:lnTo>
                  <a:cubicBezTo>
                    <a:pt x="1607" y="1418"/>
                    <a:pt x="1481" y="1576"/>
                    <a:pt x="1481" y="1765"/>
                  </a:cubicBezTo>
                  <a:lnTo>
                    <a:pt x="1481" y="2741"/>
                  </a:lnTo>
                  <a:cubicBezTo>
                    <a:pt x="1072" y="2584"/>
                    <a:pt x="757" y="2206"/>
                    <a:pt x="757" y="1765"/>
                  </a:cubicBezTo>
                  <a:cubicBezTo>
                    <a:pt x="757" y="1166"/>
                    <a:pt x="1229" y="694"/>
                    <a:pt x="1828" y="694"/>
                  </a:cubicBezTo>
                  <a:close/>
                  <a:moveTo>
                    <a:pt x="4254" y="2080"/>
                  </a:moveTo>
                  <a:lnTo>
                    <a:pt x="4254" y="4222"/>
                  </a:lnTo>
                  <a:lnTo>
                    <a:pt x="2143" y="4222"/>
                  </a:lnTo>
                  <a:lnTo>
                    <a:pt x="2143" y="3466"/>
                  </a:lnTo>
                  <a:cubicBezTo>
                    <a:pt x="2804" y="3308"/>
                    <a:pt x="3371" y="2804"/>
                    <a:pt x="3498" y="2080"/>
                  </a:cubicBezTo>
                  <a:close/>
                  <a:moveTo>
                    <a:pt x="1796" y="0"/>
                  </a:moveTo>
                  <a:cubicBezTo>
                    <a:pt x="788" y="0"/>
                    <a:pt x="0" y="788"/>
                    <a:pt x="0" y="1765"/>
                  </a:cubicBezTo>
                  <a:cubicBezTo>
                    <a:pt x="0" y="2615"/>
                    <a:pt x="599" y="3340"/>
                    <a:pt x="1418" y="3497"/>
                  </a:cubicBezTo>
                  <a:lnTo>
                    <a:pt x="1418" y="4600"/>
                  </a:lnTo>
                  <a:cubicBezTo>
                    <a:pt x="1418" y="4789"/>
                    <a:pt x="1576" y="4947"/>
                    <a:pt x="1796" y="4947"/>
                  </a:cubicBezTo>
                  <a:lnTo>
                    <a:pt x="4569" y="4947"/>
                  </a:lnTo>
                  <a:cubicBezTo>
                    <a:pt x="4789" y="4947"/>
                    <a:pt x="4947" y="4789"/>
                    <a:pt x="4947" y="4600"/>
                  </a:cubicBezTo>
                  <a:lnTo>
                    <a:pt x="4947" y="1796"/>
                  </a:lnTo>
                  <a:cubicBezTo>
                    <a:pt x="4978" y="1576"/>
                    <a:pt x="4821" y="1418"/>
                    <a:pt x="4632" y="1418"/>
                  </a:cubicBezTo>
                  <a:lnTo>
                    <a:pt x="3498" y="1418"/>
                  </a:lnTo>
                  <a:cubicBezTo>
                    <a:pt x="3371" y="631"/>
                    <a:pt x="2647" y="0"/>
                    <a:pt x="179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63" name="Google Shape;7563;p75"/>
          <p:cNvGrpSpPr/>
          <p:nvPr/>
        </p:nvGrpSpPr>
        <p:grpSpPr>
          <a:xfrm>
            <a:off x="1134701" y="5165289"/>
            <a:ext cx="477599" cy="363531"/>
            <a:chOff x="-47527350" y="2747625"/>
            <a:chExt cx="300100" cy="228425"/>
          </a:xfrm>
        </p:grpSpPr>
        <p:sp>
          <p:nvSpPr>
            <p:cNvPr id="7564" name="Google Shape;7564;p75"/>
            <p:cNvSpPr/>
            <p:nvPr/>
          </p:nvSpPr>
          <p:spPr>
            <a:xfrm>
              <a:off x="-47475350" y="2782275"/>
              <a:ext cx="124450" cy="124475"/>
            </a:xfrm>
            <a:custGeom>
              <a:avLst/>
              <a:gdLst/>
              <a:ahLst/>
              <a:cxnLst/>
              <a:rect l="l" t="t" r="r" b="b"/>
              <a:pathLst>
                <a:path w="4978" h="4979" extrusionOk="0">
                  <a:moveTo>
                    <a:pt x="2804" y="2080"/>
                  </a:moveTo>
                  <a:cubicBezTo>
                    <a:pt x="2678" y="2395"/>
                    <a:pt x="2457" y="2647"/>
                    <a:pt x="2174" y="2710"/>
                  </a:cubicBezTo>
                  <a:lnTo>
                    <a:pt x="2174" y="2080"/>
                  </a:lnTo>
                  <a:close/>
                  <a:moveTo>
                    <a:pt x="1827" y="725"/>
                  </a:moveTo>
                  <a:cubicBezTo>
                    <a:pt x="2300" y="725"/>
                    <a:pt x="2678" y="977"/>
                    <a:pt x="2804" y="1418"/>
                  </a:cubicBezTo>
                  <a:lnTo>
                    <a:pt x="1827" y="1418"/>
                  </a:lnTo>
                  <a:cubicBezTo>
                    <a:pt x="1607" y="1418"/>
                    <a:pt x="1481" y="1576"/>
                    <a:pt x="1481" y="1765"/>
                  </a:cubicBezTo>
                  <a:lnTo>
                    <a:pt x="1481" y="2773"/>
                  </a:lnTo>
                  <a:cubicBezTo>
                    <a:pt x="1071" y="2615"/>
                    <a:pt x="756" y="2206"/>
                    <a:pt x="756" y="1765"/>
                  </a:cubicBezTo>
                  <a:cubicBezTo>
                    <a:pt x="756" y="1197"/>
                    <a:pt x="1229" y="725"/>
                    <a:pt x="1827" y="725"/>
                  </a:cubicBezTo>
                  <a:close/>
                  <a:moveTo>
                    <a:pt x="4253" y="2080"/>
                  </a:moveTo>
                  <a:lnTo>
                    <a:pt x="4253" y="4222"/>
                  </a:lnTo>
                  <a:lnTo>
                    <a:pt x="2142" y="4222"/>
                  </a:lnTo>
                  <a:lnTo>
                    <a:pt x="2142" y="3466"/>
                  </a:lnTo>
                  <a:cubicBezTo>
                    <a:pt x="2804" y="3308"/>
                    <a:pt x="3371" y="2804"/>
                    <a:pt x="3529" y="2080"/>
                  </a:cubicBezTo>
                  <a:close/>
                  <a:moveTo>
                    <a:pt x="1764" y="0"/>
                  </a:moveTo>
                  <a:cubicBezTo>
                    <a:pt x="788" y="0"/>
                    <a:pt x="0" y="788"/>
                    <a:pt x="0" y="1765"/>
                  </a:cubicBezTo>
                  <a:cubicBezTo>
                    <a:pt x="0" y="2647"/>
                    <a:pt x="599" y="3340"/>
                    <a:pt x="1418" y="3497"/>
                  </a:cubicBezTo>
                  <a:lnTo>
                    <a:pt x="1418" y="4600"/>
                  </a:lnTo>
                  <a:cubicBezTo>
                    <a:pt x="1418" y="4821"/>
                    <a:pt x="1575" y="4978"/>
                    <a:pt x="1764" y="4978"/>
                  </a:cubicBezTo>
                  <a:lnTo>
                    <a:pt x="4568" y="4978"/>
                  </a:lnTo>
                  <a:cubicBezTo>
                    <a:pt x="4757" y="4978"/>
                    <a:pt x="4915" y="4821"/>
                    <a:pt x="4915" y="4600"/>
                  </a:cubicBezTo>
                  <a:lnTo>
                    <a:pt x="4915" y="1828"/>
                  </a:lnTo>
                  <a:cubicBezTo>
                    <a:pt x="4978" y="1576"/>
                    <a:pt x="4820" y="1418"/>
                    <a:pt x="4600" y="1418"/>
                  </a:cubicBezTo>
                  <a:lnTo>
                    <a:pt x="3497" y="1418"/>
                  </a:lnTo>
                  <a:cubicBezTo>
                    <a:pt x="3340" y="630"/>
                    <a:pt x="2646"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5" name="Google Shape;7565;p75"/>
            <p:cNvSpPr/>
            <p:nvPr/>
          </p:nvSpPr>
          <p:spPr>
            <a:xfrm>
              <a:off x="-47333600" y="278227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6" name="Google Shape;7566;p75"/>
            <p:cNvSpPr/>
            <p:nvPr/>
          </p:nvSpPr>
          <p:spPr>
            <a:xfrm>
              <a:off x="-47333600" y="2817725"/>
              <a:ext cx="53600" cy="18125"/>
            </a:xfrm>
            <a:custGeom>
              <a:avLst/>
              <a:gdLst/>
              <a:ahLst/>
              <a:cxnLst/>
              <a:rect l="l" t="t" r="r" b="b"/>
              <a:pathLst>
                <a:path w="2144" h="725" extrusionOk="0">
                  <a:moveTo>
                    <a:pt x="347" y="0"/>
                  </a:moveTo>
                  <a:cubicBezTo>
                    <a:pt x="158" y="0"/>
                    <a:pt x="1" y="158"/>
                    <a:pt x="1" y="347"/>
                  </a:cubicBezTo>
                  <a:cubicBezTo>
                    <a:pt x="1" y="567"/>
                    <a:pt x="158" y="725"/>
                    <a:pt x="347" y="725"/>
                  </a:cubicBezTo>
                  <a:lnTo>
                    <a:pt x="1797" y="725"/>
                  </a:lnTo>
                  <a:cubicBezTo>
                    <a:pt x="1986" y="725"/>
                    <a:pt x="2143" y="567"/>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7" name="Google Shape;7567;p75"/>
            <p:cNvSpPr/>
            <p:nvPr/>
          </p:nvSpPr>
          <p:spPr>
            <a:xfrm>
              <a:off x="-47333600" y="2852375"/>
              <a:ext cx="53600" cy="17350"/>
            </a:xfrm>
            <a:custGeom>
              <a:avLst/>
              <a:gdLst/>
              <a:ahLst/>
              <a:cxnLst/>
              <a:rect l="l" t="t" r="r" b="b"/>
              <a:pathLst>
                <a:path w="2144" h="694" extrusionOk="0">
                  <a:moveTo>
                    <a:pt x="347" y="0"/>
                  </a:moveTo>
                  <a:cubicBezTo>
                    <a:pt x="158" y="0"/>
                    <a:pt x="1" y="158"/>
                    <a:pt x="1" y="347"/>
                  </a:cubicBezTo>
                  <a:cubicBezTo>
                    <a:pt x="1" y="536"/>
                    <a:pt x="158" y="693"/>
                    <a:pt x="347" y="693"/>
                  </a:cubicBezTo>
                  <a:lnTo>
                    <a:pt x="1797" y="693"/>
                  </a:lnTo>
                  <a:cubicBezTo>
                    <a:pt x="1986" y="693"/>
                    <a:pt x="2143" y="536"/>
                    <a:pt x="2143" y="347"/>
                  </a:cubicBezTo>
                  <a:cubicBezTo>
                    <a:pt x="2143" y="158"/>
                    <a:pt x="1986" y="0"/>
                    <a:pt x="179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8" name="Google Shape;7568;p75"/>
            <p:cNvSpPr/>
            <p:nvPr/>
          </p:nvSpPr>
          <p:spPr>
            <a:xfrm>
              <a:off x="-47333600" y="2887800"/>
              <a:ext cx="53600" cy="17375"/>
            </a:xfrm>
            <a:custGeom>
              <a:avLst/>
              <a:gdLst/>
              <a:ahLst/>
              <a:cxnLst/>
              <a:rect l="l" t="t" r="r" b="b"/>
              <a:pathLst>
                <a:path w="2144" h="695" extrusionOk="0">
                  <a:moveTo>
                    <a:pt x="347" y="1"/>
                  </a:moveTo>
                  <a:cubicBezTo>
                    <a:pt x="158" y="1"/>
                    <a:pt x="1" y="158"/>
                    <a:pt x="1" y="347"/>
                  </a:cubicBezTo>
                  <a:cubicBezTo>
                    <a:pt x="1" y="537"/>
                    <a:pt x="158" y="694"/>
                    <a:pt x="347" y="694"/>
                  </a:cubicBezTo>
                  <a:lnTo>
                    <a:pt x="1797" y="694"/>
                  </a:lnTo>
                  <a:cubicBezTo>
                    <a:pt x="1986" y="694"/>
                    <a:pt x="2143" y="537"/>
                    <a:pt x="2143" y="347"/>
                  </a:cubicBezTo>
                  <a:cubicBezTo>
                    <a:pt x="2143" y="158"/>
                    <a:pt x="1986" y="1"/>
                    <a:pt x="1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69" name="Google Shape;7569;p75"/>
            <p:cNvSpPr/>
            <p:nvPr/>
          </p:nvSpPr>
          <p:spPr>
            <a:xfrm>
              <a:off x="-47527350" y="2747625"/>
              <a:ext cx="300100" cy="228425"/>
            </a:xfrm>
            <a:custGeom>
              <a:avLst/>
              <a:gdLst/>
              <a:ahLst/>
              <a:cxnLst/>
              <a:rect l="l" t="t" r="r" b="b"/>
              <a:pathLst>
                <a:path w="12004" h="9137" extrusionOk="0">
                  <a:moveTo>
                    <a:pt x="10586" y="693"/>
                  </a:moveTo>
                  <a:lnTo>
                    <a:pt x="10586" y="7026"/>
                  </a:lnTo>
                  <a:lnTo>
                    <a:pt x="1418" y="7026"/>
                  </a:lnTo>
                  <a:lnTo>
                    <a:pt x="1418" y="693"/>
                  </a:lnTo>
                  <a:close/>
                  <a:moveTo>
                    <a:pt x="11311" y="7687"/>
                  </a:moveTo>
                  <a:lnTo>
                    <a:pt x="11311" y="8412"/>
                  </a:lnTo>
                  <a:lnTo>
                    <a:pt x="725" y="8412"/>
                  </a:lnTo>
                  <a:lnTo>
                    <a:pt x="725" y="7687"/>
                  </a:lnTo>
                  <a:close/>
                  <a:moveTo>
                    <a:pt x="1072" y="0"/>
                  </a:moveTo>
                  <a:cubicBezTo>
                    <a:pt x="883" y="0"/>
                    <a:pt x="725" y="158"/>
                    <a:pt x="725" y="378"/>
                  </a:cubicBezTo>
                  <a:lnTo>
                    <a:pt x="725" y="7026"/>
                  </a:lnTo>
                  <a:lnTo>
                    <a:pt x="347" y="7026"/>
                  </a:lnTo>
                  <a:cubicBezTo>
                    <a:pt x="158" y="7026"/>
                    <a:pt x="1" y="7183"/>
                    <a:pt x="1" y="7372"/>
                  </a:cubicBezTo>
                  <a:lnTo>
                    <a:pt x="1" y="8790"/>
                  </a:lnTo>
                  <a:cubicBezTo>
                    <a:pt x="1" y="8979"/>
                    <a:pt x="158" y="9136"/>
                    <a:pt x="347" y="9136"/>
                  </a:cubicBezTo>
                  <a:lnTo>
                    <a:pt x="11658" y="9136"/>
                  </a:lnTo>
                  <a:cubicBezTo>
                    <a:pt x="11847" y="9136"/>
                    <a:pt x="12004" y="8979"/>
                    <a:pt x="12004" y="8790"/>
                  </a:cubicBezTo>
                  <a:lnTo>
                    <a:pt x="12004" y="7372"/>
                  </a:lnTo>
                  <a:cubicBezTo>
                    <a:pt x="12004" y="7183"/>
                    <a:pt x="11847" y="7026"/>
                    <a:pt x="11658" y="7026"/>
                  </a:cubicBezTo>
                  <a:lnTo>
                    <a:pt x="11311" y="7026"/>
                  </a:lnTo>
                  <a:lnTo>
                    <a:pt x="11311" y="378"/>
                  </a:lnTo>
                  <a:cubicBezTo>
                    <a:pt x="11311" y="158"/>
                    <a:pt x="11153" y="0"/>
                    <a:pt x="109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70" name="Google Shape;7570;p75"/>
          <p:cNvSpPr/>
          <p:nvPr/>
        </p:nvSpPr>
        <p:spPr>
          <a:xfrm>
            <a:off x="4103299" y="3887577"/>
            <a:ext cx="475092" cy="481060"/>
          </a:xfrm>
          <a:custGeom>
            <a:avLst/>
            <a:gdLst/>
            <a:ahLst/>
            <a:cxnLst/>
            <a:rect l="l" t="t" r="r" b="b"/>
            <a:pathLst>
              <a:path w="11941" h="12091" extrusionOk="0">
                <a:moveTo>
                  <a:pt x="5955" y="796"/>
                </a:moveTo>
                <a:lnTo>
                  <a:pt x="10933" y="3915"/>
                </a:lnTo>
                <a:lnTo>
                  <a:pt x="5955" y="7034"/>
                </a:lnTo>
                <a:lnTo>
                  <a:pt x="977" y="3915"/>
                </a:lnTo>
                <a:lnTo>
                  <a:pt x="5955" y="796"/>
                </a:lnTo>
                <a:close/>
                <a:moveTo>
                  <a:pt x="9924" y="5428"/>
                </a:moveTo>
                <a:lnTo>
                  <a:pt x="10964" y="6058"/>
                </a:lnTo>
                <a:lnTo>
                  <a:pt x="5955" y="9145"/>
                </a:lnTo>
                <a:lnTo>
                  <a:pt x="977" y="6058"/>
                </a:lnTo>
                <a:lnTo>
                  <a:pt x="2017" y="5428"/>
                </a:lnTo>
                <a:lnTo>
                  <a:pt x="5797" y="7790"/>
                </a:lnTo>
                <a:cubicBezTo>
                  <a:pt x="5860" y="7822"/>
                  <a:pt x="5931" y="7838"/>
                  <a:pt x="5994" y="7838"/>
                </a:cubicBezTo>
                <a:cubicBezTo>
                  <a:pt x="6057" y="7838"/>
                  <a:pt x="6112" y="7822"/>
                  <a:pt x="6144" y="7790"/>
                </a:cubicBezTo>
                <a:lnTo>
                  <a:pt x="9924" y="5428"/>
                </a:lnTo>
                <a:close/>
                <a:moveTo>
                  <a:pt x="9956" y="7538"/>
                </a:moveTo>
                <a:lnTo>
                  <a:pt x="10964" y="8169"/>
                </a:lnTo>
                <a:lnTo>
                  <a:pt x="5986" y="11288"/>
                </a:lnTo>
                <a:lnTo>
                  <a:pt x="1040" y="8169"/>
                </a:lnTo>
                <a:lnTo>
                  <a:pt x="2048" y="7538"/>
                </a:lnTo>
                <a:lnTo>
                  <a:pt x="5829" y="9901"/>
                </a:lnTo>
                <a:cubicBezTo>
                  <a:pt x="5892" y="9949"/>
                  <a:pt x="5963" y="9972"/>
                  <a:pt x="6026" y="9972"/>
                </a:cubicBezTo>
                <a:cubicBezTo>
                  <a:pt x="6089" y="9972"/>
                  <a:pt x="6144" y="9949"/>
                  <a:pt x="6175" y="9901"/>
                </a:cubicBezTo>
                <a:lnTo>
                  <a:pt x="9956" y="7538"/>
                </a:lnTo>
                <a:close/>
                <a:moveTo>
                  <a:pt x="5959" y="1"/>
                </a:moveTo>
                <a:cubicBezTo>
                  <a:pt x="5900" y="1"/>
                  <a:pt x="5845" y="25"/>
                  <a:pt x="5797" y="72"/>
                </a:cubicBezTo>
                <a:lnTo>
                  <a:pt x="158" y="3600"/>
                </a:lnTo>
                <a:cubicBezTo>
                  <a:pt x="32" y="3695"/>
                  <a:pt x="0" y="3758"/>
                  <a:pt x="0" y="3915"/>
                </a:cubicBezTo>
                <a:cubicBezTo>
                  <a:pt x="0" y="4073"/>
                  <a:pt x="95" y="4136"/>
                  <a:pt x="158" y="4230"/>
                </a:cubicBezTo>
                <a:lnTo>
                  <a:pt x="1387" y="4987"/>
                </a:lnTo>
                <a:lnTo>
                  <a:pt x="158" y="5743"/>
                </a:lnTo>
                <a:cubicBezTo>
                  <a:pt x="32" y="5806"/>
                  <a:pt x="0" y="5869"/>
                  <a:pt x="0" y="6058"/>
                </a:cubicBezTo>
                <a:cubicBezTo>
                  <a:pt x="0" y="6152"/>
                  <a:pt x="95" y="6278"/>
                  <a:pt x="158" y="6373"/>
                </a:cubicBezTo>
                <a:lnTo>
                  <a:pt x="1387" y="7097"/>
                </a:lnTo>
                <a:lnTo>
                  <a:pt x="158" y="7854"/>
                </a:lnTo>
                <a:cubicBezTo>
                  <a:pt x="32" y="7948"/>
                  <a:pt x="0" y="8011"/>
                  <a:pt x="0" y="8169"/>
                </a:cubicBezTo>
                <a:cubicBezTo>
                  <a:pt x="0" y="8295"/>
                  <a:pt x="95" y="8421"/>
                  <a:pt x="158" y="8484"/>
                </a:cubicBezTo>
                <a:lnTo>
                  <a:pt x="5797" y="12044"/>
                </a:lnTo>
                <a:cubicBezTo>
                  <a:pt x="5860" y="12075"/>
                  <a:pt x="5931" y="12091"/>
                  <a:pt x="5994" y="12091"/>
                </a:cubicBezTo>
                <a:cubicBezTo>
                  <a:pt x="6057" y="12091"/>
                  <a:pt x="6112" y="12075"/>
                  <a:pt x="6144" y="12044"/>
                </a:cubicBezTo>
                <a:lnTo>
                  <a:pt x="11783" y="8484"/>
                </a:lnTo>
                <a:cubicBezTo>
                  <a:pt x="11909" y="8421"/>
                  <a:pt x="11941" y="8326"/>
                  <a:pt x="11941" y="8169"/>
                </a:cubicBezTo>
                <a:cubicBezTo>
                  <a:pt x="11941" y="8043"/>
                  <a:pt x="11846" y="7948"/>
                  <a:pt x="11783" y="7854"/>
                </a:cubicBezTo>
                <a:lnTo>
                  <a:pt x="10555" y="7097"/>
                </a:lnTo>
                <a:lnTo>
                  <a:pt x="11783" y="6373"/>
                </a:lnTo>
                <a:cubicBezTo>
                  <a:pt x="11909" y="6278"/>
                  <a:pt x="11941" y="6152"/>
                  <a:pt x="11941" y="6058"/>
                </a:cubicBezTo>
                <a:cubicBezTo>
                  <a:pt x="11941" y="5932"/>
                  <a:pt x="11846" y="5806"/>
                  <a:pt x="11783" y="5743"/>
                </a:cubicBezTo>
                <a:lnTo>
                  <a:pt x="10555" y="4987"/>
                </a:lnTo>
                <a:lnTo>
                  <a:pt x="11783" y="4230"/>
                </a:lnTo>
                <a:cubicBezTo>
                  <a:pt x="11909" y="4136"/>
                  <a:pt x="11941" y="4073"/>
                  <a:pt x="11941" y="3915"/>
                </a:cubicBezTo>
                <a:cubicBezTo>
                  <a:pt x="11941" y="3758"/>
                  <a:pt x="11846" y="3695"/>
                  <a:pt x="11783" y="3600"/>
                </a:cubicBezTo>
                <a:lnTo>
                  <a:pt x="6144" y="72"/>
                </a:lnTo>
                <a:cubicBezTo>
                  <a:pt x="6081" y="25"/>
                  <a:pt x="6018" y="1"/>
                  <a:pt x="59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71" name="Google Shape;7571;p75"/>
          <p:cNvGrpSpPr/>
          <p:nvPr/>
        </p:nvGrpSpPr>
        <p:grpSpPr>
          <a:xfrm>
            <a:off x="4098566" y="4516030"/>
            <a:ext cx="477639" cy="419948"/>
            <a:chOff x="-45664625" y="2352225"/>
            <a:chExt cx="300125" cy="263875"/>
          </a:xfrm>
        </p:grpSpPr>
        <p:sp>
          <p:nvSpPr>
            <p:cNvPr id="7572" name="Google Shape;7572;p75"/>
            <p:cNvSpPr/>
            <p:nvPr/>
          </p:nvSpPr>
          <p:spPr>
            <a:xfrm>
              <a:off x="-45664625" y="2352225"/>
              <a:ext cx="300125" cy="263875"/>
            </a:xfrm>
            <a:custGeom>
              <a:avLst/>
              <a:gdLst/>
              <a:ahLst/>
              <a:cxnLst/>
              <a:rect l="l" t="t" r="r" b="b"/>
              <a:pathLst>
                <a:path w="12005" h="10555" extrusionOk="0">
                  <a:moveTo>
                    <a:pt x="10965" y="694"/>
                  </a:moveTo>
                  <a:cubicBezTo>
                    <a:pt x="11154" y="694"/>
                    <a:pt x="11311" y="851"/>
                    <a:pt x="11311" y="1072"/>
                  </a:cubicBezTo>
                  <a:lnTo>
                    <a:pt x="11311" y="2836"/>
                  </a:lnTo>
                  <a:lnTo>
                    <a:pt x="726" y="2836"/>
                  </a:lnTo>
                  <a:lnTo>
                    <a:pt x="726" y="1072"/>
                  </a:lnTo>
                  <a:cubicBezTo>
                    <a:pt x="694" y="851"/>
                    <a:pt x="852" y="694"/>
                    <a:pt x="1072" y="694"/>
                  </a:cubicBezTo>
                  <a:close/>
                  <a:moveTo>
                    <a:pt x="11311" y="3498"/>
                  </a:moveTo>
                  <a:lnTo>
                    <a:pt x="11311" y="9484"/>
                  </a:lnTo>
                  <a:cubicBezTo>
                    <a:pt x="11311" y="9673"/>
                    <a:pt x="11154" y="9830"/>
                    <a:pt x="10933" y="9830"/>
                  </a:cubicBezTo>
                  <a:lnTo>
                    <a:pt x="1072" y="9830"/>
                  </a:lnTo>
                  <a:cubicBezTo>
                    <a:pt x="852" y="9830"/>
                    <a:pt x="694" y="9673"/>
                    <a:pt x="694" y="9484"/>
                  </a:cubicBezTo>
                  <a:lnTo>
                    <a:pt x="694" y="3498"/>
                  </a:lnTo>
                  <a:close/>
                  <a:moveTo>
                    <a:pt x="1072" y="1"/>
                  </a:moveTo>
                  <a:cubicBezTo>
                    <a:pt x="473" y="1"/>
                    <a:pt x="1" y="473"/>
                    <a:pt x="1" y="1040"/>
                  </a:cubicBezTo>
                  <a:lnTo>
                    <a:pt x="1" y="9484"/>
                  </a:lnTo>
                  <a:cubicBezTo>
                    <a:pt x="1" y="10082"/>
                    <a:pt x="473" y="10555"/>
                    <a:pt x="1072" y="10555"/>
                  </a:cubicBezTo>
                  <a:lnTo>
                    <a:pt x="10933" y="10555"/>
                  </a:lnTo>
                  <a:cubicBezTo>
                    <a:pt x="11532" y="10555"/>
                    <a:pt x="12004" y="10082"/>
                    <a:pt x="12004" y="9484"/>
                  </a:cubicBezTo>
                  <a:lnTo>
                    <a:pt x="12004" y="1040"/>
                  </a:lnTo>
                  <a:cubicBezTo>
                    <a:pt x="11973" y="473"/>
                    <a:pt x="11500" y="1"/>
                    <a:pt x="109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3" name="Google Shape;7573;p75"/>
            <p:cNvSpPr/>
            <p:nvPr/>
          </p:nvSpPr>
          <p:spPr>
            <a:xfrm>
              <a:off x="-45612625" y="2475100"/>
              <a:ext cx="55150" cy="88225"/>
            </a:xfrm>
            <a:custGeom>
              <a:avLst/>
              <a:gdLst/>
              <a:ahLst/>
              <a:cxnLst/>
              <a:rect l="l" t="t" r="r" b="b"/>
              <a:pathLst>
                <a:path w="2206" h="3529" extrusionOk="0">
                  <a:moveTo>
                    <a:pt x="1808" y="0"/>
                  </a:moveTo>
                  <a:cubicBezTo>
                    <a:pt x="1717" y="0"/>
                    <a:pt x="1623" y="32"/>
                    <a:pt x="1544" y="95"/>
                  </a:cubicBezTo>
                  <a:lnTo>
                    <a:pt x="126" y="1513"/>
                  </a:lnTo>
                  <a:cubicBezTo>
                    <a:pt x="0" y="1607"/>
                    <a:pt x="0" y="1859"/>
                    <a:pt x="126" y="2017"/>
                  </a:cubicBezTo>
                  <a:lnTo>
                    <a:pt x="1544" y="3434"/>
                  </a:lnTo>
                  <a:cubicBezTo>
                    <a:pt x="1607" y="3497"/>
                    <a:pt x="1694" y="3529"/>
                    <a:pt x="1784" y="3529"/>
                  </a:cubicBezTo>
                  <a:cubicBezTo>
                    <a:pt x="1875" y="3529"/>
                    <a:pt x="1969" y="3497"/>
                    <a:pt x="2048" y="3434"/>
                  </a:cubicBezTo>
                  <a:cubicBezTo>
                    <a:pt x="2174" y="3308"/>
                    <a:pt x="2174" y="3088"/>
                    <a:pt x="2048" y="2930"/>
                  </a:cubicBezTo>
                  <a:lnTo>
                    <a:pt x="914" y="1765"/>
                  </a:lnTo>
                  <a:lnTo>
                    <a:pt x="2048" y="631"/>
                  </a:lnTo>
                  <a:cubicBezTo>
                    <a:pt x="2206" y="473"/>
                    <a:pt x="2206" y="252"/>
                    <a:pt x="2048" y="95"/>
                  </a:cubicBezTo>
                  <a:cubicBezTo>
                    <a:pt x="1985" y="32"/>
                    <a:pt x="1898" y="0"/>
                    <a:pt x="18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4" name="Google Shape;7574;p75"/>
            <p:cNvSpPr/>
            <p:nvPr/>
          </p:nvSpPr>
          <p:spPr>
            <a:xfrm>
              <a:off x="-45471650" y="2475100"/>
              <a:ext cx="54375" cy="86850"/>
            </a:xfrm>
            <a:custGeom>
              <a:avLst/>
              <a:gdLst/>
              <a:ahLst/>
              <a:cxnLst/>
              <a:rect l="l" t="t" r="r" b="b"/>
              <a:pathLst>
                <a:path w="2175" h="3474" extrusionOk="0">
                  <a:moveTo>
                    <a:pt x="391" y="0"/>
                  </a:moveTo>
                  <a:cubicBezTo>
                    <a:pt x="300" y="0"/>
                    <a:pt x="205" y="32"/>
                    <a:pt x="127" y="95"/>
                  </a:cubicBezTo>
                  <a:cubicBezTo>
                    <a:pt x="1" y="189"/>
                    <a:pt x="1" y="441"/>
                    <a:pt x="127" y="599"/>
                  </a:cubicBezTo>
                  <a:lnTo>
                    <a:pt x="1261" y="1733"/>
                  </a:lnTo>
                  <a:lnTo>
                    <a:pt x="127" y="2867"/>
                  </a:lnTo>
                  <a:cubicBezTo>
                    <a:pt x="1" y="2993"/>
                    <a:pt x="1" y="3245"/>
                    <a:pt x="127" y="3403"/>
                  </a:cubicBezTo>
                  <a:cubicBezTo>
                    <a:pt x="174" y="3450"/>
                    <a:pt x="261" y="3474"/>
                    <a:pt x="355" y="3474"/>
                  </a:cubicBezTo>
                  <a:cubicBezTo>
                    <a:pt x="450" y="3474"/>
                    <a:pt x="552" y="3450"/>
                    <a:pt x="631" y="3403"/>
                  </a:cubicBezTo>
                  <a:lnTo>
                    <a:pt x="2048" y="1985"/>
                  </a:lnTo>
                  <a:cubicBezTo>
                    <a:pt x="2174" y="1859"/>
                    <a:pt x="2174" y="1607"/>
                    <a:pt x="2048" y="1450"/>
                  </a:cubicBezTo>
                  <a:lnTo>
                    <a:pt x="631" y="95"/>
                  </a:lnTo>
                  <a:cubicBezTo>
                    <a:pt x="568" y="32"/>
                    <a:pt x="481" y="0"/>
                    <a:pt x="3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5" name="Google Shape;7575;p75"/>
            <p:cNvSpPr/>
            <p:nvPr/>
          </p:nvSpPr>
          <p:spPr>
            <a:xfrm>
              <a:off x="-45542525" y="2456975"/>
              <a:ext cx="55150" cy="123300"/>
            </a:xfrm>
            <a:custGeom>
              <a:avLst/>
              <a:gdLst/>
              <a:ahLst/>
              <a:cxnLst/>
              <a:rect l="l" t="t" r="r" b="b"/>
              <a:pathLst>
                <a:path w="2206" h="4932" extrusionOk="0">
                  <a:moveTo>
                    <a:pt x="1791" y="0"/>
                  </a:moveTo>
                  <a:cubicBezTo>
                    <a:pt x="1651" y="0"/>
                    <a:pt x="1529" y="108"/>
                    <a:pt x="1481" y="253"/>
                  </a:cubicBezTo>
                  <a:lnTo>
                    <a:pt x="63" y="4474"/>
                  </a:lnTo>
                  <a:cubicBezTo>
                    <a:pt x="0" y="4664"/>
                    <a:pt x="126" y="4853"/>
                    <a:pt x="315" y="4916"/>
                  </a:cubicBezTo>
                  <a:cubicBezTo>
                    <a:pt x="349" y="4927"/>
                    <a:pt x="382" y="4932"/>
                    <a:pt x="415" y="4932"/>
                  </a:cubicBezTo>
                  <a:cubicBezTo>
                    <a:pt x="567" y="4932"/>
                    <a:pt x="704" y="4819"/>
                    <a:pt x="756" y="4664"/>
                  </a:cubicBezTo>
                  <a:lnTo>
                    <a:pt x="2174" y="442"/>
                  </a:lnTo>
                  <a:cubicBezTo>
                    <a:pt x="2206" y="284"/>
                    <a:pt x="2111" y="95"/>
                    <a:pt x="1922" y="32"/>
                  </a:cubicBezTo>
                  <a:cubicBezTo>
                    <a:pt x="1878" y="10"/>
                    <a:pt x="1834" y="0"/>
                    <a:pt x="17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6" name="Google Shape;7576;p75"/>
            <p:cNvSpPr/>
            <p:nvPr/>
          </p:nvSpPr>
          <p:spPr>
            <a:xfrm>
              <a:off x="-45541750" y="2386100"/>
              <a:ext cx="35475" cy="18125"/>
            </a:xfrm>
            <a:custGeom>
              <a:avLst/>
              <a:gdLst/>
              <a:ahLst/>
              <a:cxnLst/>
              <a:rect l="l" t="t" r="r" b="b"/>
              <a:pathLst>
                <a:path w="1419" h="725" extrusionOk="0">
                  <a:moveTo>
                    <a:pt x="347" y="0"/>
                  </a:moveTo>
                  <a:cubicBezTo>
                    <a:pt x="158" y="0"/>
                    <a:pt x="1" y="189"/>
                    <a:pt x="1" y="378"/>
                  </a:cubicBezTo>
                  <a:cubicBezTo>
                    <a:pt x="32" y="567"/>
                    <a:pt x="221"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7" name="Google Shape;7577;p75"/>
            <p:cNvSpPr/>
            <p:nvPr/>
          </p:nvSpPr>
          <p:spPr>
            <a:xfrm>
              <a:off x="-45488175" y="2386100"/>
              <a:ext cx="35450" cy="18125"/>
            </a:xfrm>
            <a:custGeom>
              <a:avLst/>
              <a:gdLst/>
              <a:ahLst/>
              <a:cxnLst/>
              <a:rect l="l" t="t" r="r" b="b"/>
              <a:pathLst>
                <a:path w="1418" h="725" extrusionOk="0">
                  <a:moveTo>
                    <a:pt x="347" y="0"/>
                  </a:moveTo>
                  <a:cubicBezTo>
                    <a:pt x="158" y="0"/>
                    <a:pt x="0" y="189"/>
                    <a:pt x="0" y="378"/>
                  </a:cubicBezTo>
                  <a:cubicBezTo>
                    <a:pt x="0" y="567"/>
                    <a:pt x="158" y="725"/>
                    <a:pt x="347" y="725"/>
                  </a:cubicBezTo>
                  <a:lnTo>
                    <a:pt x="1040" y="725"/>
                  </a:lnTo>
                  <a:cubicBezTo>
                    <a:pt x="1260" y="725"/>
                    <a:pt x="1418" y="567"/>
                    <a:pt x="1418" y="378"/>
                  </a:cubicBezTo>
                  <a:cubicBezTo>
                    <a:pt x="1418" y="189"/>
                    <a:pt x="1260"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78" name="Google Shape;7578;p75"/>
            <p:cNvSpPr/>
            <p:nvPr/>
          </p:nvSpPr>
          <p:spPr>
            <a:xfrm>
              <a:off x="-45436200" y="2386100"/>
              <a:ext cx="35450" cy="18125"/>
            </a:xfrm>
            <a:custGeom>
              <a:avLst/>
              <a:gdLst/>
              <a:ahLst/>
              <a:cxnLst/>
              <a:rect l="l" t="t" r="r" b="b"/>
              <a:pathLst>
                <a:path w="1418" h="725" extrusionOk="0">
                  <a:moveTo>
                    <a:pt x="347" y="0"/>
                  </a:moveTo>
                  <a:cubicBezTo>
                    <a:pt x="158" y="0"/>
                    <a:pt x="0" y="189"/>
                    <a:pt x="0" y="378"/>
                  </a:cubicBezTo>
                  <a:cubicBezTo>
                    <a:pt x="32" y="567"/>
                    <a:pt x="189" y="725"/>
                    <a:pt x="347" y="725"/>
                  </a:cubicBezTo>
                  <a:lnTo>
                    <a:pt x="1072" y="725"/>
                  </a:lnTo>
                  <a:cubicBezTo>
                    <a:pt x="1261" y="725"/>
                    <a:pt x="1418" y="567"/>
                    <a:pt x="1418" y="378"/>
                  </a:cubicBezTo>
                  <a:cubicBezTo>
                    <a:pt x="1418" y="189"/>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79" name="Google Shape;7579;p75"/>
          <p:cNvGrpSpPr/>
          <p:nvPr/>
        </p:nvGrpSpPr>
        <p:grpSpPr>
          <a:xfrm>
            <a:off x="4097471" y="5094669"/>
            <a:ext cx="479827" cy="476764"/>
            <a:chOff x="-45665400" y="2703250"/>
            <a:chExt cx="301500" cy="299575"/>
          </a:xfrm>
        </p:grpSpPr>
        <p:sp>
          <p:nvSpPr>
            <p:cNvPr id="7580" name="Google Shape;7580;p75"/>
            <p:cNvSpPr/>
            <p:nvPr/>
          </p:nvSpPr>
          <p:spPr>
            <a:xfrm>
              <a:off x="-45664625" y="2703250"/>
              <a:ext cx="300725" cy="299575"/>
            </a:xfrm>
            <a:custGeom>
              <a:avLst/>
              <a:gdLst/>
              <a:ahLst/>
              <a:cxnLst/>
              <a:rect l="l" t="t" r="r" b="b"/>
              <a:pathLst>
                <a:path w="12029" h="11983" extrusionOk="0">
                  <a:moveTo>
                    <a:pt x="9799" y="1271"/>
                  </a:moveTo>
                  <a:lnTo>
                    <a:pt x="4947" y="4926"/>
                  </a:lnTo>
                  <a:lnTo>
                    <a:pt x="1482" y="3823"/>
                  </a:lnTo>
                  <a:lnTo>
                    <a:pt x="9799" y="1271"/>
                  </a:lnTo>
                  <a:close/>
                  <a:moveTo>
                    <a:pt x="9830" y="2153"/>
                  </a:moveTo>
                  <a:lnTo>
                    <a:pt x="6459" y="6627"/>
                  </a:lnTo>
                  <a:lnTo>
                    <a:pt x="4727" y="7257"/>
                  </a:lnTo>
                  <a:lnTo>
                    <a:pt x="5357" y="5524"/>
                  </a:lnTo>
                  <a:lnTo>
                    <a:pt x="9830" y="2153"/>
                  </a:lnTo>
                  <a:close/>
                  <a:moveTo>
                    <a:pt x="10681" y="2153"/>
                  </a:moveTo>
                  <a:lnTo>
                    <a:pt x="8098" y="10439"/>
                  </a:lnTo>
                  <a:lnTo>
                    <a:pt x="6995" y="6973"/>
                  </a:lnTo>
                  <a:lnTo>
                    <a:pt x="10681" y="2153"/>
                  </a:lnTo>
                  <a:close/>
                  <a:moveTo>
                    <a:pt x="11627" y="0"/>
                  </a:moveTo>
                  <a:cubicBezTo>
                    <a:pt x="11596" y="0"/>
                    <a:pt x="11564" y="4"/>
                    <a:pt x="11532" y="11"/>
                  </a:cubicBezTo>
                  <a:lnTo>
                    <a:pt x="221" y="3508"/>
                  </a:lnTo>
                  <a:cubicBezTo>
                    <a:pt x="64" y="3571"/>
                    <a:pt x="1" y="3728"/>
                    <a:pt x="1" y="3886"/>
                  </a:cubicBezTo>
                  <a:cubicBezTo>
                    <a:pt x="1" y="4043"/>
                    <a:pt x="127" y="4138"/>
                    <a:pt x="221" y="4232"/>
                  </a:cubicBezTo>
                  <a:lnTo>
                    <a:pt x="4569" y="5619"/>
                  </a:lnTo>
                  <a:lnTo>
                    <a:pt x="3750" y="7824"/>
                  </a:lnTo>
                  <a:cubicBezTo>
                    <a:pt x="3687" y="7919"/>
                    <a:pt x="3750" y="8076"/>
                    <a:pt x="3813" y="8171"/>
                  </a:cubicBezTo>
                  <a:cubicBezTo>
                    <a:pt x="3880" y="8215"/>
                    <a:pt x="3978" y="8260"/>
                    <a:pt x="4063" y="8260"/>
                  </a:cubicBezTo>
                  <a:cubicBezTo>
                    <a:pt x="4099" y="8260"/>
                    <a:pt x="4132" y="8252"/>
                    <a:pt x="4160" y="8234"/>
                  </a:cubicBezTo>
                  <a:lnTo>
                    <a:pt x="6365" y="7414"/>
                  </a:lnTo>
                  <a:lnTo>
                    <a:pt x="7751" y="11762"/>
                  </a:lnTo>
                  <a:cubicBezTo>
                    <a:pt x="7783" y="11920"/>
                    <a:pt x="7940" y="11983"/>
                    <a:pt x="8098" y="11983"/>
                  </a:cubicBezTo>
                  <a:cubicBezTo>
                    <a:pt x="8255" y="11983"/>
                    <a:pt x="8381" y="11857"/>
                    <a:pt x="8476" y="11762"/>
                  </a:cubicBezTo>
                  <a:lnTo>
                    <a:pt x="11973" y="483"/>
                  </a:lnTo>
                  <a:cubicBezTo>
                    <a:pt x="12029" y="205"/>
                    <a:pt x="11862" y="0"/>
                    <a:pt x="116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1" name="Google Shape;7581;p75"/>
            <p:cNvSpPr/>
            <p:nvPr/>
          </p:nvSpPr>
          <p:spPr>
            <a:xfrm>
              <a:off x="-45663825" y="2879150"/>
              <a:ext cx="71700" cy="71500"/>
            </a:xfrm>
            <a:custGeom>
              <a:avLst/>
              <a:gdLst/>
              <a:ahLst/>
              <a:cxnLst/>
              <a:rect l="l" t="t" r="r" b="b"/>
              <a:pathLst>
                <a:path w="2868" h="2860" extrusionOk="0">
                  <a:moveTo>
                    <a:pt x="2517" y="0"/>
                  </a:moveTo>
                  <a:cubicBezTo>
                    <a:pt x="2418" y="0"/>
                    <a:pt x="2316" y="32"/>
                    <a:pt x="2237" y="95"/>
                  </a:cubicBezTo>
                  <a:lnTo>
                    <a:pt x="126" y="2237"/>
                  </a:lnTo>
                  <a:cubicBezTo>
                    <a:pt x="0" y="2363"/>
                    <a:pt x="0" y="2584"/>
                    <a:pt x="126" y="2741"/>
                  </a:cubicBezTo>
                  <a:cubicBezTo>
                    <a:pt x="205" y="2820"/>
                    <a:pt x="300" y="2859"/>
                    <a:pt x="390" y="2859"/>
                  </a:cubicBezTo>
                  <a:cubicBezTo>
                    <a:pt x="481" y="2859"/>
                    <a:pt x="568" y="2820"/>
                    <a:pt x="631" y="2741"/>
                  </a:cubicBezTo>
                  <a:lnTo>
                    <a:pt x="2773" y="630"/>
                  </a:lnTo>
                  <a:cubicBezTo>
                    <a:pt x="2867" y="504"/>
                    <a:pt x="2867" y="252"/>
                    <a:pt x="2773" y="95"/>
                  </a:cubicBezTo>
                  <a:cubicBezTo>
                    <a:pt x="2710" y="32"/>
                    <a:pt x="2615" y="0"/>
                    <a:pt x="25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2" name="Google Shape;7582;p75"/>
            <p:cNvSpPr/>
            <p:nvPr/>
          </p:nvSpPr>
          <p:spPr>
            <a:xfrm>
              <a:off x="-45613425" y="2929750"/>
              <a:ext cx="71700" cy="71500"/>
            </a:xfrm>
            <a:custGeom>
              <a:avLst/>
              <a:gdLst/>
              <a:ahLst/>
              <a:cxnLst/>
              <a:rect l="l" t="t" r="r" b="b"/>
              <a:pathLst>
                <a:path w="2868" h="2860" extrusionOk="0">
                  <a:moveTo>
                    <a:pt x="2478" y="1"/>
                  </a:moveTo>
                  <a:cubicBezTo>
                    <a:pt x="2387" y="1"/>
                    <a:pt x="2301" y="40"/>
                    <a:pt x="2238" y="119"/>
                  </a:cubicBezTo>
                  <a:lnTo>
                    <a:pt x="127" y="2261"/>
                  </a:lnTo>
                  <a:cubicBezTo>
                    <a:pt x="1" y="2387"/>
                    <a:pt x="1" y="2608"/>
                    <a:pt x="127" y="2765"/>
                  </a:cubicBezTo>
                  <a:cubicBezTo>
                    <a:pt x="190" y="2828"/>
                    <a:pt x="276" y="2860"/>
                    <a:pt x="367" y="2860"/>
                  </a:cubicBezTo>
                  <a:cubicBezTo>
                    <a:pt x="458" y="2860"/>
                    <a:pt x="552" y="2828"/>
                    <a:pt x="631" y="2765"/>
                  </a:cubicBezTo>
                  <a:lnTo>
                    <a:pt x="2742" y="654"/>
                  </a:lnTo>
                  <a:cubicBezTo>
                    <a:pt x="2868" y="528"/>
                    <a:pt x="2868" y="276"/>
                    <a:pt x="2742" y="119"/>
                  </a:cubicBezTo>
                  <a:cubicBezTo>
                    <a:pt x="2663" y="40"/>
                    <a:pt x="2568" y="1"/>
                    <a:pt x="24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3" name="Google Shape;7583;p75"/>
            <p:cNvSpPr/>
            <p:nvPr/>
          </p:nvSpPr>
          <p:spPr>
            <a:xfrm>
              <a:off x="-45665400" y="2923050"/>
              <a:ext cx="81150" cy="79000"/>
            </a:xfrm>
            <a:custGeom>
              <a:avLst/>
              <a:gdLst/>
              <a:ahLst/>
              <a:cxnLst/>
              <a:rect l="l" t="t" r="r" b="b"/>
              <a:pathLst>
                <a:path w="3246" h="3160" extrusionOk="0">
                  <a:moveTo>
                    <a:pt x="2859" y="1"/>
                  </a:moveTo>
                  <a:cubicBezTo>
                    <a:pt x="2765" y="1"/>
                    <a:pt x="2663" y="24"/>
                    <a:pt x="2584" y="72"/>
                  </a:cubicBezTo>
                  <a:lnTo>
                    <a:pt x="95" y="2561"/>
                  </a:lnTo>
                  <a:cubicBezTo>
                    <a:pt x="0" y="2687"/>
                    <a:pt x="0" y="2907"/>
                    <a:pt x="95" y="3065"/>
                  </a:cubicBezTo>
                  <a:cubicBezTo>
                    <a:pt x="158" y="3128"/>
                    <a:pt x="252" y="3159"/>
                    <a:pt x="351" y="3159"/>
                  </a:cubicBezTo>
                  <a:cubicBezTo>
                    <a:pt x="449" y="3159"/>
                    <a:pt x="552" y="3128"/>
                    <a:pt x="631" y="3065"/>
                  </a:cubicBezTo>
                  <a:lnTo>
                    <a:pt x="3088" y="607"/>
                  </a:lnTo>
                  <a:cubicBezTo>
                    <a:pt x="3245" y="450"/>
                    <a:pt x="3245" y="229"/>
                    <a:pt x="3088" y="72"/>
                  </a:cubicBezTo>
                  <a:cubicBezTo>
                    <a:pt x="3041" y="24"/>
                    <a:pt x="2954" y="1"/>
                    <a:pt x="285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584" name="Google Shape;7584;p75"/>
          <p:cNvGrpSpPr/>
          <p:nvPr/>
        </p:nvGrpSpPr>
        <p:grpSpPr>
          <a:xfrm>
            <a:off x="2899680" y="5682584"/>
            <a:ext cx="478872" cy="480145"/>
            <a:chOff x="-44528075" y="1982825"/>
            <a:chExt cx="300900" cy="301700"/>
          </a:xfrm>
        </p:grpSpPr>
        <p:sp>
          <p:nvSpPr>
            <p:cNvPr id="7585" name="Google Shape;7585;p75"/>
            <p:cNvSpPr/>
            <p:nvPr/>
          </p:nvSpPr>
          <p:spPr>
            <a:xfrm>
              <a:off x="-44528075" y="1982825"/>
              <a:ext cx="300900" cy="301700"/>
            </a:xfrm>
            <a:custGeom>
              <a:avLst/>
              <a:gdLst/>
              <a:ahLst/>
              <a:cxnLst/>
              <a:rect l="l" t="t" r="r" b="b"/>
              <a:pathLst>
                <a:path w="12036" h="12068" extrusionOk="0">
                  <a:moveTo>
                    <a:pt x="9547" y="2175"/>
                  </a:moveTo>
                  <a:cubicBezTo>
                    <a:pt x="9736" y="2175"/>
                    <a:pt x="9893" y="2332"/>
                    <a:pt x="9893" y="2521"/>
                  </a:cubicBezTo>
                  <a:lnTo>
                    <a:pt x="9893" y="9547"/>
                  </a:lnTo>
                  <a:cubicBezTo>
                    <a:pt x="9893" y="9736"/>
                    <a:pt x="9736" y="9893"/>
                    <a:pt x="9547" y="9893"/>
                  </a:cubicBezTo>
                  <a:lnTo>
                    <a:pt x="2552" y="9893"/>
                  </a:lnTo>
                  <a:cubicBezTo>
                    <a:pt x="2332" y="9893"/>
                    <a:pt x="2206" y="9736"/>
                    <a:pt x="2206" y="9547"/>
                  </a:cubicBezTo>
                  <a:lnTo>
                    <a:pt x="2206" y="2521"/>
                  </a:lnTo>
                  <a:cubicBezTo>
                    <a:pt x="2206" y="2332"/>
                    <a:pt x="2332" y="2175"/>
                    <a:pt x="2552" y="2175"/>
                  </a:cubicBezTo>
                  <a:close/>
                  <a:moveTo>
                    <a:pt x="3183" y="1"/>
                  </a:moveTo>
                  <a:cubicBezTo>
                    <a:pt x="2994" y="1"/>
                    <a:pt x="2836" y="158"/>
                    <a:pt x="2836" y="347"/>
                  </a:cubicBezTo>
                  <a:lnTo>
                    <a:pt x="2836" y="1419"/>
                  </a:lnTo>
                  <a:lnTo>
                    <a:pt x="2458" y="1419"/>
                  </a:lnTo>
                  <a:cubicBezTo>
                    <a:pt x="1891" y="1419"/>
                    <a:pt x="1418" y="1891"/>
                    <a:pt x="1418" y="2490"/>
                  </a:cubicBezTo>
                  <a:lnTo>
                    <a:pt x="1418" y="2836"/>
                  </a:lnTo>
                  <a:lnTo>
                    <a:pt x="347" y="2836"/>
                  </a:lnTo>
                  <a:cubicBezTo>
                    <a:pt x="158" y="2836"/>
                    <a:pt x="1" y="2994"/>
                    <a:pt x="1" y="3183"/>
                  </a:cubicBezTo>
                  <a:cubicBezTo>
                    <a:pt x="1" y="3372"/>
                    <a:pt x="158" y="3529"/>
                    <a:pt x="347" y="3529"/>
                  </a:cubicBezTo>
                  <a:lnTo>
                    <a:pt x="1418" y="3529"/>
                  </a:lnTo>
                  <a:lnTo>
                    <a:pt x="1418" y="4254"/>
                  </a:lnTo>
                  <a:lnTo>
                    <a:pt x="347" y="4254"/>
                  </a:lnTo>
                  <a:cubicBezTo>
                    <a:pt x="158" y="4254"/>
                    <a:pt x="1" y="4412"/>
                    <a:pt x="1" y="4601"/>
                  </a:cubicBezTo>
                  <a:cubicBezTo>
                    <a:pt x="1" y="4821"/>
                    <a:pt x="158" y="4979"/>
                    <a:pt x="347" y="4979"/>
                  </a:cubicBezTo>
                  <a:lnTo>
                    <a:pt x="1418" y="4979"/>
                  </a:lnTo>
                  <a:lnTo>
                    <a:pt x="1418" y="5672"/>
                  </a:lnTo>
                  <a:lnTo>
                    <a:pt x="347" y="5672"/>
                  </a:lnTo>
                  <a:cubicBezTo>
                    <a:pt x="158" y="5672"/>
                    <a:pt x="1" y="5829"/>
                    <a:pt x="1" y="6018"/>
                  </a:cubicBezTo>
                  <a:cubicBezTo>
                    <a:pt x="1" y="6239"/>
                    <a:pt x="158" y="6396"/>
                    <a:pt x="347" y="6396"/>
                  </a:cubicBezTo>
                  <a:lnTo>
                    <a:pt x="1418" y="6396"/>
                  </a:lnTo>
                  <a:lnTo>
                    <a:pt x="1418" y="7090"/>
                  </a:lnTo>
                  <a:lnTo>
                    <a:pt x="347" y="7090"/>
                  </a:lnTo>
                  <a:cubicBezTo>
                    <a:pt x="158" y="7090"/>
                    <a:pt x="1" y="7247"/>
                    <a:pt x="1" y="7436"/>
                  </a:cubicBezTo>
                  <a:cubicBezTo>
                    <a:pt x="1" y="7657"/>
                    <a:pt x="158" y="7814"/>
                    <a:pt x="347" y="7814"/>
                  </a:cubicBezTo>
                  <a:lnTo>
                    <a:pt x="1418" y="7814"/>
                  </a:lnTo>
                  <a:lnTo>
                    <a:pt x="1418" y="8507"/>
                  </a:lnTo>
                  <a:lnTo>
                    <a:pt x="347" y="8507"/>
                  </a:lnTo>
                  <a:cubicBezTo>
                    <a:pt x="158" y="8507"/>
                    <a:pt x="1" y="8665"/>
                    <a:pt x="1" y="8854"/>
                  </a:cubicBezTo>
                  <a:cubicBezTo>
                    <a:pt x="1" y="9074"/>
                    <a:pt x="158" y="9232"/>
                    <a:pt x="347" y="9232"/>
                  </a:cubicBezTo>
                  <a:lnTo>
                    <a:pt x="1418" y="9232"/>
                  </a:lnTo>
                  <a:lnTo>
                    <a:pt x="1418" y="9578"/>
                  </a:lnTo>
                  <a:cubicBezTo>
                    <a:pt x="1418" y="10177"/>
                    <a:pt x="1891" y="10650"/>
                    <a:pt x="2458" y="10650"/>
                  </a:cubicBezTo>
                  <a:lnTo>
                    <a:pt x="2836" y="10650"/>
                  </a:lnTo>
                  <a:lnTo>
                    <a:pt x="2836" y="11689"/>
                  </a:lnTo>
                  <a:cubicBezTo>
                    <a:pt x="2836" y="11910"/>
                    <a:pt x="2994" y="12067"/>
                    <a:pt x="3183" y="12067"/>
                  </a:cubicBezTo>
                  <a:cubicBezTo>
                    <a:pt x="3372" y="12067"/>
                    <a:pt x="3529" y="11910"/>
                    <a:pt x="3529" y="11689"/>
                  </a:cubicBezTo>
                  <a:lnTo>
                    <a:pt x="3529" y="10555"/>
                  </a:lnTo>
                  <a:lnTo>
                    <a:pt x="4254" y="10555"/>
                  </a:lnTo>
                  <a:lnTo>
                    <a:pt x="4254" y="11626"/>
                  </a:lnTo>
                  <a:cubicBezTo>
                    <a:pt x="4254" y="11815"/>
                    <a:pt x="4411" y="11973"/>
                    <a:pt x="4600" y="11973"/>
                  </a:cubicBezTo>
                  <a:cubicBezTo>
                    <a:pt x="4789" y="11973"/>
                    <a:pt x="4947" y="11815"/>
                    <a:pt x="4947" y="11626"/>
                  </a:cubicBezTo>
                  <a:lnTo>
                    <a:pt x="4947" y="10555"/>
                  </a:lnTo>
                  <a:lnTo>
                    <a:pt x="5671" y="10555"/>
                  </a:lnTo>
                  <a:lnTo>
                    <a:pt x="5671" y="11626"/>
                  </a:lnTo>
                  <a:cubicBezTo>
                    <a:pt x="5671" y="11815"/>
                    <a:pt x="5829" y="11973"/>
                    <a:pt x="6018" y="11973"/>
                  </a:cubicBezTo>
                  <a:cubicBezTo>
                    <a:pt x="6207" y="11973"/>
                    <a:pt x="6365" y="11815"/>
                    <a:pt x="6365" y="11626"/>
                  </a:cubicBezTo>
                  <a:lnTo>
                    <a:pt x="6365" y="10555"/>
                  </a:lnTo>
                  <a:lnTo>
                    <a:pt x="7089" y="10555"/>
                  </a:lnTo>
                  <a:lnTo>
                    <a:pt x="7089" y="11626"/>
                  </a:lnTo>
                  <a:cubicBezTo>
                    <a:pt x="7089" y="11815"/>
                    <a:pt x="7247" y="11973"/>
                    <a:pt x="7436" y="11973"/>
                  </a:cubicBezTo>
                  <a:cubicBezTo>
                    <a:pt x="7625" y="11973"/>
                    <a:pt x="7782" y="11815"/>
                    <a:pt x="7782" y="11626"/>
                  </a:cubicBezTo>
                  <a:lnTo>
                    <a:pt x="7782" y="10555"/>
                  </a:lnTo>
                  <a:lnTo>
                    <a:pt x="8507" y="10555"/>
                  </a:lnTo>
                  <a:lnTo>
                    <a:pt x="8507" y="11626"/>
                  </a:lnTo>
                  <a:cubicBezTo>
                    <a:pt x="8507" y="11815"/>
                    <a:pt x="8664" y="11973"/>
                    <a:pt x="8853" y="11973"/>
                  </a:cubicBezTo>
                  <a:cubicBezTo>
                    <a:pt x="9042" y="11973"/>
                    <a:pt x="9200" y="11815"/>
                    <a:pt x="9200" y="11626"/>
                  </a:cubicBezTo>
                  <a:lnTo>
                    <a:pt x="9200" y="10555"/>
                  </a:lnTo>
                  <a:lnTo>
                    <a:pt x="9547" y="10555"/>
                  </a:lnTo>
                  <a:cubicBezTo>
                    <a:pt x="10145" y="10555"/>
                    <a:pt x="10618" y="10082"/>
                    <a:pt x="10618" y="9484"/>
                  </a:cubicBezTo>
                  <a:lnTo>
                    <a:pt x="10618" y="9137"/>
                  </a:lnTo>
                  <a:lnTo>
                    <a:pt x="11689" y="9137"/>
                  </a:lnTo>
                  <a:cubicBezTo>
                    <a:pt x="11878" y="9137"/>
                    <a:pt x="12035" y="8980"/>
                    <a:pt x="12035" y="8791"/>
                  </a:cubicBezTo>
                  <a:cubicBezTo>
                    <a:pt x="12035" y="8602"/>
                    <a:pt x="11878" y="8444"/>
                    <a:pt x="11689" y="8444"/>
                  </a:cubicBezTo>
                  <a:lnTo>
                    <a:pt x="10618" y="8444"/>
                  </a:lnTo>
                  <a:lnTo>
                    <a:pt x="10618" y="7720"/>
                  </a:lnTo>
                  <a:lnTo>
                    <a:pt x="11689" y="7720"/>
                  </a:lnTo>
                  <a:cubicBezTo>
                    <a:pt x="11878" y="7720"/>
                    <a:pt x="12035" y="7562"/>
                    <a:pt x="12035" y="7373"/>
                  </a:cubicBezTo>
                  <a:cubicBezTo>
                    <a:pt x="12035" y="7153"/>
                    <a:pt x="11878" y="6995"/>
                    <a:pt x="11689" y="6995"/>
                  </a:cubicBezTo>
                  <a:lnTo>
                    <a:pt x="10618" y="6995"/>
                  </a:lnTo>
                  <a:lnTo>
                    <a:pt x="10618" y="6302"/>
                  </a:lnTo>
                  <a:lnTo>
                    <a:pt x="11689" y="6302"/>
                  </a:lnTo>
                  <a:cubicBezTo>
                    <a:pt x="11878" y="6302"/>
                    <a:pt x="12035" y="6144"/>
                    <a:pt x="12035" y="5955"/>
                  </a:cubicBezTo>
                  <a:cubicBezTo>
                    <a:pt x="12035" y="5735"/>
                    <a:pt x="11878" y="5577"/>
                    <a:pt x="11689" y="5577"/>
                  </a:cubicBezTo>
                  <a:lnTo>
                    <a:pt x="10618" y="5577"/>
                  </a:lnTo>
                  <a:lnTo>
                    <a:pt x="10618" y="4884"/>
                  </a:lnTo>
                  <a:lnTo>
                    <a:pt x="11689" y="4884"/>
                  </a:lnTo>
                  <a:lnTo>
                    <a:pt x="11689" y="4979"/>
                  </a:lnTo>
                  <a:cubicBezTo>
                    <a:pt x="11878" y="4979"/>
                    <a:pt x="12035" y="4821"/>
                    <a:pt x="12035" y="4601"/>
                  </a:cubicBezTo>
                  <a:cubicBezTo>
                    <a:pt x="12035" y="4412"/>
                    <a:pt x="11878" y="4254"/>
                    <a:pt x="11689" y="4254"/>
                  </a:cubicBezTo>
                  <a:lnTo>
                    <a:pt x="10618" y="4254"/>
                  </a:lnTo>
                  <a:lnTo>
                    <a:pt x="10618" y="3529"/>
                  </a:lnTo>
                  <a:lnTo>
                    <a:pt x="11689" y="3529"/>
                  </a:lnTo>
                  <a:cubicBezTo>
                    <a:pt x="11878" y="3529"/>
                    <a:pt x="12035" y="3372"/>
                    <a:pt x="12035" y="3183"/>
                  </a:cubicBezTo>
                  <a:cubicBezTo>
                    <a:pt x="12035" y="2994"/>
                    <a:pt x="11878" y="2836"/>
                    <a:pt x="11689" y="2836"/>
                  </a:cubicBezTo>
                  <a:lnTo>
                    <a:pt x="10618" y="2836"/>
                  </a:lnTo>
                  <a:lnTo>
                    <a:pt x="10618" y="2490"/>
                  </a:lnTo>
                  <a:cubicBezTo>
                    <a:pt x="10618" y="1891"/>
                    <a:pt x="10145" y="1419"/>
                    <a:pt x="9547" y="1419"/>
                  </a:cubicBezTo>
                  <a:lnTo>
                    <a:pt x="9200" y="1419"/>
                  </a:lnTo>
                  <a:lnTo>
                    <a:pt x="9200" y="347"/>
                  </a:lnTo>
                  <a:cubicBezTo>
                    <a:pt x="9200" y="158"/>
                    <a:pt x="9042" y="1"/>
                    <a:pt x="8853" y="1"/>
                  </a:cubicBezTo>
                  <a:cubicBezTo>
                    <a:pt x="8664" y="1"/>
                    <a:pt x="8507" y="158"/>
                    <a:pt x="8507" y="347"/>
                  </a:cubicBezTo>
                  <a:lnTo>
                    <a:pt x="8507" y="1419"/>
                  </a:lnTo>
                  <a:lnTo>
                    <a:pt x="7782" y="1419"/>
                  </a:lnTo>
                  <a:lnTo>
                    <a:pt x="7782" y="347"/>
                  </a:lnTo>
                  <a:cubicBezTo>
                    <a:pt x="7782" y="158"/>
                    <a:pt x="7625" y="1"/>
                    <a:pt x="7436" y="1"/>
                  </a:cubicBezTo>
                  <a:cubicBezTo>
                    <a:pt x="7247" y="1"/>
                    <a:pt x="7089" y="158"/>
                    <a:pt x="7089" y="347"/>
                  </a:cubicBezTo>
                  <a:lnTo>
                    <a:pt x="7089" y="1419"/>
                  </a:lnTo>
                  <a:lnTo>
                    <a:pt x="6365" y="1419"/>
                  </a:lnTo>
                  <a:lnTo>
                    <a:pt x="6365" y="347"/>
                  </a:lnTo>
                  <a:cubicBezTo>
                    <a:pt x="6365" y="158"/>
                    <a:pt x="6207" y="1"/>
                    <a:pt x="6018" y="1"/>
                  </a:cubicBezTo>
                  <a:cubicBezTo>
                    <a:pt x="5829" y="1"/>
                    <a:pt x="5671" y="158"/>
                    <a:pt x="5671" y="347"/>
                  </a:cubicBezTo>
                  <a:lnTo>
                    <a:pt x="5671" y="1419"/>
                  </a:lnTo>
                  <a:lnTo>
                    <a:pt x="4947" y="1419"/>
                  </a:lnTo>
                  <a:lnTo>
                    <a:pt x="4947" y="347"/>
                  </a:lnTo>
                  <a:cubicBezTo>
                    <a:pt x="4947" y="158"/>
                    <a:pt x="4789" y="1"/>
                    <a:pt x="4600" y="1"/>
                  </a:cubicBezTo>
                  <a:cubicBezTo>
                    <a:pt x="4411" y="1"/>
                    <a:pt x="4254" y="158"/>
                    <a:pt x="4254" y="347"/>
                  </a:cubicBezTo>
                  <a:lnTo>
                    <a:pt x="4254" y="1419"/>
                  </a:lnTo>
                  <a:lnTo>
                    <a:pt x="3529" y="1419"/>
                  </a:lnTo>
                  <a:lnTo>
                    <a:pt x="3529" y="347"/>
                  </a:lnTo>
                  <a:cubicBezTo>
                    <a:pt x="3529" y="158"/>
                    <a:pt x="3372" y="1"/>
                    <a:pt x="318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6" name="Google Shape;7586;p75"/>
            <p:cNvSpPr/>
            <p:nvPr/>
          </p:nvSpPr>
          <p:spPr>
            <a:xfrm>
              <a:off x="-44455600" y="205372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7" name="Google Shape;7587;p75"/>
            <p:cNvSpPr/>
            <p:nvPr/>
          </p:nvSpPr>
          <p:spPr>
            <a:xfrm>
              <a:off x="-44455600"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8" name="Google Shape;7588;p75"/>
            <p:cNvSpPr/>
            <p:nvPr/>
          </p:nvSpPr>
          <p:spPr>
            <a:xfrm>
              <a:off x="-44314625" y="21947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89" name="Google Shape;7589;p75"/>
            <p:cNvSpPr/>
            <p:nvPr/>
          </p:nvSpPr>
          <p:spPr>
            <a:xfrm>
              <a:off x="-44314625" y="2053725"/>
              <a:ext cx="17350" cy="18125"/>
            </a:xfrm>
            <a:custGeom>
              <a:avLst/>
              <a:gdLst/>
              <a:ahLst/>
              <a:cxnLst/>
              <a:rect l="l" t="t" r="r" b="b"/>
              <a:pathLst>
                <a:path w="694" h="725" extrusionOk="0">
                  <a:moveTo>
                    <a:pt x="347" y="0"/>
                  </a:moveTo>
                  <a:cubicBezTo>
                    <a:pt x="158" y="0"/>
                    <a:pt x="0" y="158"/>
                    <a:pt x="0" y="347"/>
                  </a:cubicBezTo>
                  <a:cubicBezTo>
                    <a:pt x="0" y="536"/>
                    <a:pt x="158" y="725"/>
                    <a:pt x="347" y="725"/>
                  </a:cubicBezTo>
                  <a:cubicBezTo>
                    <a:pt x="536" y="725"/>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0" name="Google Shape;7590;p75"/>
            <p:cNvSpPr/>
            <p:nvPr/>
          </p:nvSpPr>
          <p:spPr>
            <a:xfrm>
              <a:off x="-44447725" y="2062375"/>
              <a:ext cx="143350" cy="140225"/>
            </a:xfrm>
            <a:custGeom>
              <a:avLst/>
              <a:gdLst/>
              <a:ahLst/>
              <a:cxnLst/>
              <a:rect l="l" t="t" r="r" b="b"/>
              <a:pathLst>
                <a:path w="5734" h="5609" extrusionOk="0">
                  <a:moveTo>
                    <a:pt x="3182" y="757"/>
                  </a:moveTo>
                  <a:lnTo>
                    <a:pt x="3182" y="883"/>
                  </a:lnTo>
                  <a:cubicBezTo>
                    <a:pt x="3182" y="1041"/>
                    <a:pt x="3277" y="1167"/>
                    <a:pt x="3434" y="1198"/>
                  </a:cubicBezTo>
                  <a:cubicBezTo>
                    <a:pt x="3623" y="1261"/>
                    <a:pt x="3812" y="1387"/>
                    <a:pt x="3970" y="1513"/>
                  </a:cubicBezTo>
                  <a:cubicBezTo>
                    <a:pt x="4049" y="1553"/>
                    <a:pt x="4142" y="1593"/>
                    <a:pt x="4231" y="1593"/>
                  </a:cubicBezTo>
                  <a:cubicBezTo>
                    <a:pt x="4282" y="1593"/>
                    <a:pt x="4333" y="1579"/>
                    <a:pt x="4379" y="1545"/>
                  </a:cubicBezTo>
                  <a:lnTo>
                    <a:pt x="4505" y="1482"/>
                  </a:lnTo>
                  <a:lnTo>
                    <a:pt x="4852" y="2049"/>
                  </a:lnTo>
                  <a:lnTo>
                    <a:pt x="4726" y="2143"/>
                  </a:lnTo>
                  <a:cubicBezTo>
                    <a:pt x="4600" y="2206"/>
                    <a:pt x="4537" y="2364"/>
                    <a:pt x="4568" y="2490"/>
                  </a:cubicBezTo>
                  <a:cubicBezTo>
                    <a:pt x="4600" y="2710"/>
                    <a:pt x="4600" y="2899"/>
                    <a:pt x="4568" y="3120"/>
                  </a:cubicBezTo>
                  <a:cubicBezTo>
                    <a:pt x="4537" y="3277"/>
                    <a:pt x="4600" y="3403"/>
                    <a:pt x="4726" y="3466"/>
                  </a:cubicBezTo>
                  <a:lnTo>
                    <a:pt x="4852" y="3561"/>
                  </a:lnTo>
                  <a:lnTo>
                    <a:pt x="4505" y="4128"/>
                  </a:lnTo>
                  <a:lnTo>
                    <a:pt x="4379" y="4065"/>
                  </a:lnTo>
                  <a:cubicBezTo>
                    <a:pt x="4323" y="4037"/>
                    <a:pt x="4260" y="4021"/>
                    <a:pt x="4196" y="4021"/>
                  </a:cubicBezTo>
                  <a:cubicBezTo>
                    <a:pt x="4118" y="4021"/>
                    <a:pt x="4039" y="4044"/>
                    <a:pt x="3970" y="4097"/>
                  </a:cubicBezTo>
                  <a:cubicBezTo>
                    <a:pt x="3812" y="4254"/>
                    <a:pt x="3623" y="4349"/>
                    <a:pt x="3434" y="4412"/>
                  </a:cubicBezTo>
                  <a:cubicBezTo>
                    <a:pt x="3277" y="4475"/>
                    <a:pt x="3182" y="4632"/>
                    <a:pt x="3182" y="4727"/>
                  </a:cubicBezTo>
                  <a:lnTo>
                    <a:pt x="3182" y="4853"/>
                  </a:lnTo>
                  <a:lnTo>
                    <a:pt x="2489" y="4853"/>
                  </a:lnTo>
                  <a:lnTo>
                    <a:pt x="2489" y="4727"/>
                  </a:lnTo>
                  <a:cubicBezTo>
                    <a:pt x="2489" y="4569"/>
                    <a:pt x="2394" y="4475"/>
                    <a:pt x="2237" y="4412"/>
                  </a:cubicBezTo>
                  <a:cubicBezTo>
                    <a:pt x="2048" y="4349"/>
                    <a:pt x="1859" y="4223"/>
                    <a:pt x="1701" y="4097"/>
                  </a:cubicBezTo>
                  <a:cubicBezTo>
                    <a:pt x="1622" y="4057"/>
                    <a:pt x="1529" y="4017"/>
                    <a:pt x="1440" y="4017"/>
                  </a:cubicBezTo>
                  <a:cubicBezTo>
                    <a:pt x="1389" y="4017"/>
                    <a:pt x="1338" y="4030"/>
                    <a:pt x="1292" y="4065"/>
                  </a:cubicBezTo>
                  <a:lnTo>
                    <a:pt x="1166" y="4128"/>
                  </a:lnTo>
                  <a:lnTo>
                    <a:pt x="819" y="3561"/>
                  </a:lnTo>
                  <a:lnTo>
                    <a:pt x="945" y="3466"/>
                  </a:lnTo>
                  <a:cubicBezTo>
                    <a:pt x="1071" y="3403"/>
                    <a:pt x="1134" y="3246"/>
                    <a:pt x="1103" y="3120"/>
                  </a:cubicBezTo>
                  <a:cubicBezTo>
                    <a:pt x="1071" y="2899"/>
                    <a:pt x="1071" y="2710"/>
                    <a:pt x="1103" y="2490"/>
                  </a:cubicBezTo>
                  <a:cubicBezTo>
                    <a:pt x="1134" y="2332"/>
                    <a:pt x="1071" y="2206"/>
                    <a:pt x="945" y="2143"/>
                  </a:cubicBezTo>
                  <a:lnTo>
                    <a:pt x="819" y="2049"/>
                  </a:lnTo>
                  <a:lnTo>
                    <a:pt x="1166" y="1482"/>
                  </a:lnTo>
                  <a:lnTo>
                    <a:pt x="1292" y="1545"/>
                  </a:lnTo>
                  <a:cubicBezTo>
                    <a:pt x="1350" y="1589"/>
                    <a:pt x="1416" y="1612"/>
                    <a:pt x="1481" y="1612"/>
                  </a:cubicBezTo>
                  <a:cubicBezTo>
                    <a:pt x="1557" y="1612"/>
                    <a:pt x="1634" y="1581"/>
                    <a:pt x="1701" y="1513"/>
                  </a:cubicBezTo>
                  <a:cubicBezTo>
                    <a:pt x="1859" y="1356"/>
                    <a:pt x="2048" y="1261"/>
                    <a:pt x="2237" y="1198"/>
                  </a:cubicBezTo>
                  <a:cubicBezTo>
                    <a:pt x="2394" y="1167"/>
                    <a:pt x="2489" y="1009"/>
                    <a:pt x="2489" y="883"/>
                  </a:cubicBezTo>
                  <a:lnTo>
                    <a:pt x="2489" y="757"/>
                  </a:lnTo>
                  <a:close/>
                  <a:moveTo>
                    <a:pt x="2174" y="1"/>
                  </a:moveTo>
                  <a:cubicBezTo>
                    <a:pt x="1953" y="1"/>
                    <a:pt x="1796" y="158"/>
                    <a:pt x="1796" y="347"/>
                  </a:cubicBezTo>
                  <a:lnTo>
                    <a:pt x="1796" y="599"/>
                  </a:lnTo>
                  <a:cubicBezTo>
                    <a:pt x="1701" y="631"/>
                    <a:pt x="1575" y="726"/>
                    <a:pt x="1481" y="789"/>
                  </a:cubicBezTo>
                  <a:lnTo>
                    <a:pt x="1292" y="663"/>
                  </a:lnTo>
                  <a:cubicBezTo>
                    <a:pt x="1242" y="643"/>
                    <a:pt x="1186" y="632"/>
                    <a:pt x="1129" y="632"/>
                  </a:cubicBezTo>
                  <a:cubicBezTo>
                    <a:pt x="1007" y="632"/>
                    <a:pt x="884" y="681"/>
                    <a:pt x="819" y="789"/>
                  </a:cubicBezTo>
                  <a:lnTo>
                    <a:pt x="126" y="2017"/>
                  </a:lnTo>
                  <a:cubicBezTo>
                    <a:pt x="32" y="2175"/>
                    <a:pt x="63" y="2395"/>
                    <a:pt x="221" y="2490"/>
                  </a:cubicBezTo>
                  <a:lnTo>
                    <a:pt x="441" y="2616"/>
                  </a:lnTo>
                  <a:lnTo>
                    <a:pt x="441" y="2994"/>
                  </a:lnTo>
                  <a:lnTo>
                    <a:pt x="221" y="3120"/>
                  </a:lnTo>
                  <a:cubicBezTo>
                    <a:pt x="95" y="3183"/>
                    <a:pt x="0" y="3435"/>
                    <a:pt x="126" y="3592"/>
                  </a:cubicBezTo>
                  <a:lnTo>
                    <a:pt x="819" y="4821"/>
                  </a:lnTo>
                  <a:cubicBezTo>
                    <a:pt x="879" y="4921"/>
                    <a:pt x="989" y="4983"/>
                    <a:pt x="1102" y="4983"/>
                  </a:cubicBezTo>
                  <a:cubicBezTo>
                    <a:pt x="1168" y="4983"/>
                    <a:pt x="1234" y="4962"/>
                    <a:pt x="1292" y="4916"/>
                  </a:cubicBezTo>
                  <a:lnTo>
                    <a:pt x="1481" y="4821"/>
                  </a:lnTo>
                  <a:cubicBezTo>
                    <a:pt x="1607" y="4884"/>
                    <a:pt x="1733" y="4979"/>
                    <a:pt x="1796" y="5010"/>
                  </a:cubicBezTo>
                  <a:lnTo>
                    <a:pt x="1796" y="5231"/>
                  </a:lnTo>
                  <a:cubicBezTo>
                    <a:pt x="1796" y="5451"/>
                    <a:pt x="1953" y="5609"/>
                    <a:pt x="2174" y="5609"/>
                  </a:cubicBezTo>
                  <a:lnTo>
                    <a:pt x="3592" y="5609"/>
                  </a:lnTo>
                  <a:cubicBezTo>
                    <a:pt x="3781" y="5609"/>
                    <a:pt x="3938" y="5451"/>
                    <a:pt x="3938" y="5231"/>
                  </a:cubicBezTo>
                  <a:lnTo>
                    <a:pt x="3938" y="5010"/>
                  </a:lnTo>
                  <a:cubicBezTo>
                    <a:pt x="4064" y="4979"/>
                    <a:pt x="4159" y="4884"/>
                    <a:pt x="4253" y="4821"/>
                  </a:cubicBezTo>
                  <a:lnTo>
                    <a:pt x="4442" y="4916"/>
                  </a:lnTo>
                  <a:cubicBezTo>
                    <a:pt x="4501" y="4951"/>
                    <a:pt x="4574" y="4969"/>
                    <a:pt x="4644" y="4969"/>
                  </a:cubicBezTo>
                  <a:cubicBezTo>
                    <a:pt x="4762" y="4969"/>
                    <a:pt x="4875" y="4920"/>
                    <a:pt x="4915" y="4821"/>
                  </a:cubicBezTo>
                  <a:lnTo>
                    <a:pt x="5639" y="3592"/>
                  </a:lnTo>
                  <a:cubicBezTo>
                    <a:pt x="5702" y="3435"/>
                    <a:pt x="5671" y="3246"/>
                    <a:pt x="5513" y="3120"/>
                  </a:cubicBezTo>
                  <a:lnTo>
                    <a:pt x="5324" y="2994"/>
                  </a:lnTo>
                  <a:lnTo>
                    <a:pt x="5324" y="2616"/>
                  </a:lnTo>
                  <a:lnTo>
                    <a:pt x="5513" y="2490"/>
                  </a:lnTo>
                  <a:cubicBezTo>
                    <a:pt x="5671" y="2395"/>
                    <a:pt x="5734" y="2175"/>
                    <a:pt x="5639" y="2017"/>
                  </a:cubicBezTo>
                  <a:lnTo>
                    <a:pt x="4915" y="789"/>
                  </a:lnTo>
                  <a:cubicBezTo>
                    <a:pt x="4872" y="681"/>
                    <a:pt x="4742" y="618"/>
                    <a:pt x="4614" y="618"/>
                  </a:cubicBezTo>
                  <a:cubicBezTo>
                    <a:pt x="4553" y="618"/>
                    <a:pt x="4493" y="632"/>
                    <a:pt x="4442" y="663"/>
                  </a:cubicBezTo>
                  <a:lnTo>
                    <a:pt x="4253" y="789"/>
                  </a:lnTo>
                  <a:cubicBezTo>
                    <a:pt x="4127" y="726"/>
                    <a:pt x="4001" y="631"/>
                    <a:pt x="3938" y="599"/>
                  </a:cubicBezTo>
                  <a:lnTo>
                    <a:pt x="3938" y="347"/>
                  </a:lnTo>
                  <a:cubicBezTo>
                    <a:pt x="3938" y="158"/>
                    <a:pt x="3781" y="1"/>
                    <a:pt x="35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1" name="Google Shape;7591;p75"/>
            <p:cNvSpPr/>
            <p:nvPr/>
          </p:nvSpPr>
          <p:spPr>
            <a:xfrm>
              <a:off x="-44403625" y="2107275"/>
              <a:ext cx="53575" cy="52800"/>
            </a:xfrm>
            <a:custGeom>
              <a:avLst/>
              <a:gdLst/>
              <a:ahLst/>
              <a:cxnLst/>
              <a:rect l="l" t="t" r="r" b="b"/>
              <a:pathLst>
                <a:path w="2143" h="2112" extrusionOk="0">
                  <a:moveTo>
                    <a:pt x="1072" y="662"/>
                  </a:moveTo>
                  <a:cubicBezTo>
                    <a:pt x="1261" y="662"/>
                    <a:pt x="1418" y="820"/>
                    <a:pt x="1418" y="1009"/>
                  </a:cubicBezTo>
                  <a:cubicBezTo>
                    <a:pt x="1418" y="1198"/>
                    <a:pt x="1261" y="1355"/>
                    <a:pt x="1072" y="1355"/>
                  </a:cubicBezTo>
                  <a:cubicBezTo>
                    <a:pt x="882" y="1355"/>
                    <a:pt x="725" y="1198"/>
                    <a:pt x="725" y="1009"/>
                  </a:cubicBezTo>
                  <a:cubicBezTo>
                    <a:pt x="725" y="820"/>
                    <a:pt x="882" y="662"/>
                    <a:pt x="1072" y="662"/>
                  </a:cubicBezTo>
                  <a:close/>
                  <a:moveTo>
                    <a:pt x="1072" y="1"/>
                  </a:moveTo>
                  <a:cubicBezTo>
                    <a:pt x="473" y="1"/>
                    <a:pt x="0" y="473"/>
                    <a:pt x="0" y="1040"/>
                  </a:cubicBezTo>
                  <a:cubicBezTo>
                    <a:pt x="0" y="1639"/>
                    <a:pt x="473" y="2112"/>
                    <a:pt x="1072" y="2112"/>
                  </a:cubicBezTo>
                  <a:cubicBezTo>
                    <a:pt x="1670" y="2112"/>
                    <a:pt x="2143" y="1639"/>
                    <a:pt x="2143" y="1040"/>
                  </a:cubicBezTo>
                  <a:cubicBezTo>
                    <a:pt x="2143" y="473"/>
                    <a:pt x="1670" y="1"/>
                    <a:pt x="10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92" name="Google Shape;7592;p75"/>
          <p:cNvSpPr/>
          <p:nvPr/>
        </p:nvSpPr>
        <p:spPr>
          <a:xfrm>
            <a:off x="3504949" y="2041967"/>
            <a:ext cx="477599" cy="477599"/>
          </a:xfrm>
          <a:custGeom>
            <a:avLst/>
            <a:gdLst/>
            <a:ahLst/>
            <a:cxnLst/>
            <a:rect l="l" t="t" r="r" b="b"/>
            <a:pathLst>
              <a:path w="12004" h="12004" extrusionOk="0">
                <a:moveTo>
                  <a:pt x="5671" y="725"/>
                </a:moveTo>
                <a:lnTo>
                  <a:pt x="5671" y="2395"/>
                </a:lnTo>
                <a:cubicBezTo>
                  <a:pt x="5671" y="2616"/>
                  <a:pt x="5843" y="2760"/>
                  <a:pt x="6021" y="2760"/>
                </a:cubicBezTo>
                <a:cubicBezTo>
                  <a:pt x="6097" y="2760"/>
                  <a:pt x="6173" y="2734"/>
                  <a:pt x="6239" y="2678"/>
                </a:cubicBezTo>
                <a:cubicBezTo>
                  <a:pt x="6365" y="2552"/>
                  <a:pt x="6554" y="2489"/>
                  <a:pt x="6711" y="2489"/>
                </a:cubicBezTo>
                <a:cubicBezTo>
                  <a:pt x="7121" y="2489"/>
                  <a:pt x="7436" y="2804"/>
                  <a:pt x="7436" y="3182"/>
                </a:cubicBezTo>
                <a:cubicBezTo>
                  <a:pt x="7436" y="3592"/>
                  <a:pt x="7121" y="3907"/>
                  <a:pt x="6711" y="3907"/>
                </a:cubicBezTo>
                <a:cubicBezTo>
                  <a:pt x="6554" y="3907"/>
                  <a:pt x="6365" y="3812"/>
                  <a:pt x="6239" y="3686"/>
                </a:cubicBezTo>
                <a:cubicBezTo>
                  <a:pt x="6173" y="3630"/>
                  <a:pt x="6097" y="3605"/>
                  <a:pt x="6021" y="3605"/>
                </a:cubicBezTo>
                <a:cubicBezTo>
                  <a:pt x="5843" y="3605"/>
                  <a:pt x="5671" y="3748"/>
                  <a:pt x="5671" y="3970"/>
                </a:cubicBezTo>
                <a:lnTo>
                  <a:pt x="5671" y="5640"/>
                </a:lnTo>
                <a:lnTo>
                  <a:pt x="4569" y="5640"/>
                </a:lnTo>
                <a:cubicBezTo>
                  <a:pt x="4600" y="5514"/>
                  <a:pt x="4600" y="5388"/>
                  <a:pt x="4600" y="5262"/>
                </a:cubicBezTo>
                <a:cubicBezTo>
                  <a:pt x="4600" y="4474"/>
                  <a:pt x="3970" y="3875"/>
                  <a:pt x="3183" y="3875"/>
                </a:cubicBezTo>
                <a:cubicBezTo>
                  <a:pt x="2395" y="3875"/>
                  <a:pt x="1765" y="4474"/>
                  <a:pt x="1765" y="5262"/>
                </a:cubicBezTo>
                <a:cubicBezTo>
                  <a:pt x="1765" y="5388"/>
                  <a:pt x="1765" y="5514"/>
                  <a:pt x="1796" y="5640"/>
                </a:cubicBezTo>
                <a:lnTo>
                  <a:pt x="694" y="5640"/>
                </a:lnTo>
                <a:lnTo>
                  <a:pt x="694" y="1071"/>
                </a:lnTo>
                <a:cubicBezTo>
                  <a:pt x="694" y="882"/>
                  <a:pt x="851" y="725"/>
                  <a:pt x="1040" y="725"/>
                </a:cubicBezTo>
                <a:close/>
                <a:moveTo>
                  <a:pt x="10964" y="725"/>
                </a:moveTo>
                <a:cubicBezTo>
                  <a:pt x="11122" y="725"/>
                  <a:pt x="11311" y="882"/>
                  <a:pt x="11311" y="1071"/>
                </a:cubicBezTo>
                <a:lnTo>
                  <a:pt x="11311" y="5671"/>
                </a:lnTo>
                <a:lnTo>
                  <a:pt x="9610" y="5671"/>
                </a:lnTo>
                <a:cubicBezTo>
                  <a:pt x="9295" y="5671"/>
                  <a:pt x="9169" y="6018"/>
                  <a:pt x="9326" y="6270"/>
                </a:cubicBezTo>
                <a:cubicBezTo>
                  <a:pt x="9452" y="6396"/>
                  <a:pt x="9515" y="6585"/>
                  <a:pt x="9515" y="6742"/>
                </a:cubicBezTo>
                <a:cubicBezTo>
                  <a:pt x="9515" y="7120"/>
                  <a:pt x="9200" y="7435"/>
                  <a:pt x="8822" y="7435"/>
                </a:cubicBezTo>
                <a:cubicBezTo>
                  <a:pt x="8412" y="7435"/>
                  <a:pt x="8097" y="7120"/>
                  <a:pt x="8097" y="6742"/>
                </a:cubicBezTo>
                <a:cubicBezTo>
                  <a:pt x="8097" y="6585"/>
                  <a:pt x="8192" y="6364"/>
                  <a:pt x="8286" y="6270"/>
                </a:cubicBezTo>
                <a:cubicBezTo>
                  <a:pt x="8507" y="6018"/>
                  <a:pt x="8349" y="5671"/>
                  <a:pt x="8034" y="5671"/>
                </a:cubicBezTo>
                <a:lnTo>
                  <a:pt x="6365" y="5671"/>
                </a:lnTo>
                <a:lnTo>
                  <a:pt x="6365" y="4568"/>
                </a:lnTo>
                <a:cubicBezTo>
                  <a:pt x="6491" y="4600"/>
                  <a:pt x="6617" y="4600"/>
                  <a:pt x="6711" y="4600"/>
                </a:cubicBezTo>
                <a:cubicBezTo>
                  <a:pt x="7499" y="4600"/>
                  <a:pt x="8160" y="3970"/>
                  <a:pt x="8160" y="3182"/>
                </a:cubicBezTo>
                <a:cubicBezTo>
                  <a:pt x="8160" y="2395"/>
                  <a:pt x="7499" y="1764"/>
                  <a:pt x="6711" y="1764"/>
                </a:cubicBezTo>
                <a:cubicBezTo>
                  <a:pt x="6617" y="1764"/>
                  <a:pt x="6491" y="1764"/>
                  <a:pt x="6365" y="1796"/>
                </a:cubicBezTo>
                <a:lnTo>
                  <a:pt x="6365" y="725"/>
                </a:lnTo>
                <a:close/>
                <a:moveTo>
                  <a:pt x="3183" y="4568"/>
                </a:moveTo>
                <a:cubicBezTo>
                  <a:pt x="3561" y="4568"/>
                  <a:pt x="3876" y="4883"/>
                  <a:pt x="3876" y="5293"/>
                </a:cubicBezTo>
                <a:cubicBezTo>
                  <a:pt x="3876" y="5451"/>
                  <a:pt x="3813" y="5640"/>
                  <a:pt x="3687" y="5766"/>
                </a:cubicBezTo>
                <a:cubicBezTo>
                  <a:pt x="3498" y="5986"/>
                  <a:pt x="3655" y="6333"/>
                  <a:pt x="3970" y="6333"/>
                </a:cubicBezTo>
                <a:lnTo>
                  <a:pt x="5608" y="6333"/>
                </a:lnTo>
                <a:lnTo>
                  <a:pt x="5608" y="7435"/>
                </a:lnTo>
                <a:cubicBezTo>
                  <a:pt x="5514" y="7404"/>
                  <a:pt x="5388" y="7404"/>
                  <a:pt x="5262" y="7404"/>
                </a:cubicBezTo>
                <a:cubicBezTo>
                  <a:pt x="4474" y="7404"/>
                  <a:pt x="3844" y="8034"/>
                  <a:pt x="3844" y="8822"/>
                </a:cubicBezTo>
                <a:cubicBezTo>
                  <a:pt x="3844" y="9609"/>
                  <a:pt x="4474" y="10239"/>
                  <a:pt x="5262" y="10239"/>
                </a:cubicBezTo>
                <a:cubicBezTo>
                  <a:pt x="5388" y="10239"/>
                  <a:pt x="5514" y="10239"/>
                  <a:pt x="5608" y="10208"/>
                </a:cubicBezTo>
                <a:lnTo>
                  <a:pt x="5608" y="11310"/>
                </a:lnTo>
                <a:lnTo>
                  <a:pt x="1009" y="11310"/>
                </a:lnTo>
                <a:cubicBezTo>
                  <a:pt x="851" y="11310"/>
                  <a:pt x="694" y="11153"/>
                  <a:pt x="694" y="10964"/>
                </a:cubicBezTo>
                <a:lnTo>
                  <a:pt x="694" y="6333"/>
                </a:lnTo>
                <a:lnTo>
                  <a:pt x="2395" y="6333"/>
                </a:lnTo>
                <a:cubicBezTo>
                  <a:pt x="2710" y="6333"/>
                  <a:pt x="2868" y="5986"/>
                  <a:pt x="2679" y="5766"/>
                </a:cubicBezTo>
                <a:cubicBezTo>
                  <a:pt x="2552" y="5640"/>
                  <a:pt x="2458" y="5482"/>
                  <a:pt x="2458" y="5293"/>
                </a:cubicBezTo>
                <a:cubicBezTo>
                  <a:pt x="2458" y="4883"/>
                  <a:pt x="2773" y="4568"/>
                  <a:pt x="3183" y="4568"/>
                </a:cubicBezTo>
                <a:close/>
                <a:moveTo>
                  <a:pt x="11311" y="6333"/>
                </a:moveTo>
                <a:lnTo>
                  <a:pt x="11311" y="10964"/>
                </a:lnTo>
                <a:cubicBezTo>
                  <a:pt x="11311" y="11153"/>
                  <a:pt x="11153" y="11310"/>
                  <a:pt x="10933" y="11310"/>
                </a:cubicBezTo>
                <a:lnTo>
                  <a:pt x="6333" y="11310"/>
                </a:lnTo>
                <a:lnTo>
                  <a:pt x="6333" y="9609"/>
                </a:lnTo>
                <a:cubicBezTo>
                  <a:pt x="6333" y="9388"/>
                  <a:pt x="6162" y="9244"/>
                  <a:pt x="5972" y="9244"/>
                </a:cubicBezTo>
                <a:cubicBezTo>
                  <a:pt x="5892" y="9244"/>
                  <a:pt x="5809" y="9270"/>
                  <a:pt x="5735" y="9326"/>
                </a:cubicBezTo>
                <a:cubicBezTo>
                  <a:pt x="5640" y="9452"/>
                  <a:pt x="5482" y="9546"/>
                  <a:pt x="5262" y="9546"/>
                </a:cubicBezTo>
                <a:cubicBezTo>
                  <a:pt x="4884" y="9546"/>
                  <a:pt x="4569" y="9231"/>
                  <a:pt x="4569" y="8822"/>
                </a:cubicBezTo>
                <a:cubicBezTo>
                  <a:pt x="4569" y="8443"/>
                  <a:pt x="4884" y="8097"/>
                  <a:pt x="5262" y="8097"/>
                </a:cubicBezTo>
                <a:cubicBezTo>
                  <a:pt x="5419" y="8097"/>
                  <a:pt x="5640" y="8191"/>
                  <a:pt x="5735" y="8317"/>
                </a:cubicBezTo>
                <a:cubicBezTo>
                  <a:pt x="5809" y="8374"/>
                  <a:pt x="5892" y="8399"/>
                  <a:pt x="5972" y="8399"/>
                </a:cubicBezTo>
                <a:cubicBezTo>
                  <a:pt x="6162" y="8399"/>
                  <a:pt x="6333" y="8255"/>
                  <a:pt x="6333" y="8034"/>
                </a:cubicBezTo>
                <a:lnTo>
                  <a:pt x="6333" y="6333"/>
                </a:lnTo>
                <a:lnTo>
                  <a:pt x="7436" y="6333"/>
                </a:lnTo>
                <a:cubicBezTo>
                  <a:pt x="7404" y="6459"/>
                  <a:pt x="7404" y="6585"/>
                  <a:pt x="7404" y="6711"/>
                </a:cubicBezTo>
                <a:cubicBezTo>
                  <a:pt x="7404" y="7498"/>
                  <a:pt x="8034" y="8097"/>
                  <a:pt x="8822" y="8097"/>
                </a:cubicBezTo>
                <a:cubicBezTo>
                  <a:pt x="9610" y="8097"/>
                  <a:pt x="10240" y="7498"/>
                  <a:pt x="10240" y="6711"/>
                </a:cubicBezTo>
                <a:cubicBezTo>
                  <a:pt x="10240" y="6585"/>
                  <a:pt x="10240" y="6459"/>
                  <a:pt x="10208" y="6333"/>
                </a:cubicBezTo>
                <a:close/>
                <a:moveTo>
                  <a:pt x="1040" y="0"/>
                </a:moveTo>
                <a:cubicBezTo>
                  <a:pt x="473" y="0"/>
                  <a:pt x="1" y="473"/>
                  <a:pt x="1" y="1071"/>
                </a:cubicBezTo>
                <a:lnTo>
                  <a:pt x="1" y="10964"/>
                </a:lnTo>
                <a:cubicBezTo>
                  <a:pt x="1" y="11531"/>
                  <a:pt x="473" y="12004"/>
                  <a:pt x="1040" y="12004"/>
                </a:cubicBezTo>
                <a:lnTo>
                  <a:pt x="10933" y="12004"/>
                </a:lnTo>
                <a:cubicBezTo>
                  <a:pt x="11531" y="12004"/>
                  <a:pt x="12004" y="11531"/>
                  <a:pt x="12004" y="10964"/>
                </a:cubicBezTo>
                <a:lnTo>
                  <a:pt x="12004" y="1071"/>
                </a:lnTo>
                <a:cubicBezTo>
                  <a:pt x="11972" y="473"/>
                  <a:pt x="11500" y="0"/>
                  <a:pt x="109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93" name="Google Shape;7593;p75"/>
          <p:cNvGrpSpPr/>
          <p:nvPr/>
        </p:nvGrpSpPr>
        <p:grpSpPr>
          <a:xfrm>
            <a:off x="3501231" y="2649981"/>
            <a:ext cx="477599" cy="477639"/>
            <a:chOff x="-49048250" y="2316775"/>
            <a:chExt cx="300100" cy="300125"/>
          </a:xfrm>
        </p:grpSpPr>
        <p:sp>
          <p:nvSpPr>
            <p:cNvPr id="7594" name="Google Shape;7594;p75"/>
            <p:cNvSpPr/>
            <p:nvPr/>
          </p:nvSpPr>
          <p:spPr>
            <a:xfrm>
              <a:off x="-49048250" y="2316775"/>
              <a:ext cx="300100" cy="300125"/>
            </a:xfrm>
            <a:custGeom>
              <a:avLst/>
              <a:gdLst/>
              <a:ahLst/>
              <a:cxnLst/>
              <a:rect l="l" t="t" r="r" b="b"/>
              <a:pathLst>
                <a:path w="12004" h="12005" extrusionOk="0">
                  <a:moveTo>
                    <a:pt x="10933" y="663"/>
                  </a:moveTo>
                  <a:cubicBezTo>
                    <a:pt x="11122" y="694"/>
                    <a:pt x="11311" y="852"/>
                    <a:pt x="11311" y="1009"/>
                  </a:cubicBezTo>
                  <a:lnTo>
                    <a:pt x="11311" y="1734"/>
                  </a:lnTo>
                  <a:lnTo>
                    <a:pt x="10366" y="1734"/>
                  </a:lnTo>
                  <a:lnTo>
                    <a:pt x="9106" y="663"/>
                  </a:lnTo>
                  <a:close/>
                  <a:moveTo>
                    <a:pt x="5136" y="694"/>
                  </a:moveTo>
                  <a:lnTo>
                    <a:pt x="6396" y="1765"/>
                  </a:lnTo>
                  <a:lnTo>
                    <a:pt x="4726" y="1765"/>
                  </a:lnTo>
                  <a:lnTo>
                    <a:pt x="3466" y="694"/>
                  </a:lnTo>
                  <a:close/>
                  <a:moveTo>
                    <a:pt x="7971" y="694"/>
                  </a:moveTo>
                  <a:lnTo>
                    <a:pt x="9232" y="1765"/>
                  </a:lnTo>
                  <a:lnTo>
                    <a:pt x="7562" y="1765"/>
                  </a:lnTo>
                  <a:lnTo>
                    <a:pt x="6302" y="694"/>
                  </a:lnTo>
                  <a:close/>
                  <a:moveTo>
                    <a:pt x="2363" y="663"/>
                  </a:moveTo>
                  <a:lnTo>
                    <a:pt x="4033" y="2080"/>
                  </a:lnTo>
                  <a:lnTo>
                    <a:pt x="2363" y="3498"/>
                  </a:lnTo>
                  <a:lnTo>
                    <a:pt x="694" y="3498"/>
                  </a:lnTo>
                  <a:lnTo>
                    <a:pt x="694" y="1009"/>
                  </a:lnTo>
                  <a:cubicBezTo>
                    <a:pt x="694" y="820"/>
                    <a:pt x="851" y="663"/>
                    <a:pt x="1040" y="663"/>
                  </a:cubicBezTo>
                  <a:close/>
                  <a:moveTo>
                    <a:pt x="6396" y="2427"/>
                  </a:moveTo>
                  <a:lnTo>
                    <a:pt x="5136" y="3498"/>
                  </a:lnTo>
                  <a:lnTo>
                    <a:pt x="3466" y="3498"/>
                  </a:lnTo>
                  <a:lnTo>
                    <a:pt x="4726" y="2427"/>
                  </a:lnTo>
                  <a:close/>
                  <a:moveTo>
                    <a:pt x="9200" y="2427"/>
                  </a:moveTo>
                  <a:lnTo>
                    <a:pt x="7940" y="3498"/>
                  </a:lnTo>
                  <a:lnTo>
                    <a:pt x="6239" y="3498"/>
                  </a:lnTo>
                  <a:lnTo>
                    <a:pt x="7499" y="2427"/>
                  </a:lnTo>
                  <a:close/>
                  <a:moveTo>
                    <a:pt x="11248" y="2427"/>
                  </a:moveTo>
                  <a:lnTo>
                    <a:pt x="11248" y="3498"/>
                  </a:lnTo>
                  <a:lnTo>
                    <a:pt x="9043" y="3498"/>
                  </a:lnTo>
                  <a:lnTo>
                    <a:pt x="10303" y="2427"/>
                  </a:lnTo>
                  <a:close/>
                  <a:moveTo>
                    <a:pt x="11311" y="4160"/>
                  </a:moveTo>
                  <a:lnTo>
                    <a:pt x="11311" y="10902"/>
                  </a:lnTo>
                  <a:cubicBezTo>
                    <a:pt x="11311" y="11091"/>
                    <a:pt x="11153" y="11248"/>
                    <a:pt x="10933" y="11248"/>
                  </a:cubicBezTo>
                  <a:lnTo>
                    <a:pt x="1072" y="11248"/>
                  </a:lnTo>
                  <a:cubicBezTo>
                    <a:pt x="851" y="11248"/>
                    <a:pt x="694" y="11091"/>
                    <a:pt x="694" y="10902"/>
                  </a:cubicBezTo>
                  <a:lnTo>
                    <a:pt x="694" y="4160"/>
                  </a:lnTo>
                  <a:close/>
                  <a:moveTo>
                    <a:pt x="1040" y="1"/>
                  </a:moveTo>
                  <a:cubicBezTo>
                    <a:pt x="473" y="1"/>
                    <a:pt x="1" y="474"/>
                    <a:pt x="1" y="1041"/>
                  </a:cubicBezTo>
                  <a:lnTo>
                    <a:pt x="1" y="10933"/>
                  </a:lnTo>
                  <a:cubicBezTo>
                    <a:pt x="1" y="11532"/>
                    <a:pt x="473" y="12004"/>
                    <a:pt x="1040" y="12004"/>
                  </a:cubicBezTo>
                  <a:lnTo>
                    <a:pt x="10933" y="12004"/>
                  </a:lnTo>
                  <a:cubicBezTo>
                    <a:pt x="11531" y="12004"/>
                    <a:pt x="12004" y="11532"/>
                    <a:pt x="12004" y="10933"/>
                  </a:cubicBezTo>
                  <a:lnTo>
                    <a:pt x="12004" y="3845"/>
                  </a:lnTo>
                  <a:lnTo>
                    <a:pt x="12004" y="1041"/>
                  </a:lnTo>
                  <a:cubicBezTo>
                    <a:pt x="11972" y="474"/>
                    <a:pt x="11500" y="1"/>
                    <a:pt x="1093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5" name="Google Shape;7595;p75"/>
            <p:cNvSpPr/>
            <p:nvPr/>
          </p:nvSpPr>
          <p:spPr>
            <a:xfrm>
              <a:off x="-49004150" y="2360100"/>
              <a:ext cx="17350" cy="17350"/>
            </a:xfrm>
            <a:custGeom>
              <a:avLst/>
              <a:gdLst/>
              <a:ahLst/>
              <a:cxnLst/>
              <a:rect l="l" t="t" r="r" b="b"/>
              <a:pathLst>
                <a:path w="694" h="694" extrusionOk="0">
                  <a:moveTo>
                    <a:pt x="347" y="1"/>
                  </a:moveTo>
                  <a:cubicBezTo>
                    <a:pt x="158" y="1"/>
                    <a:pt x="1" y="158"/>
                    <a:pt x="1" y="347"/>
                  </a:cubicBezTo>
                  <a:cubicBezTo>
                    <a:pt x="1" y="536"/>
                    <a:pt x="158" y="694"/>
                    <a:pt x="347" y="694"/>
                  </a:cubicBezTo>
                  <a:cubicBezTo>
                    <a:pt x="536" y="694"/>
                    <a:pt x="694" y="536"/>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6" name="Google Shape;7596;p75"/>
            <p:cNvSpPr/>
            <p:nvPr/>
          </p:nvSpPr>
          <p:spPr>
            <a:xfrm>
              <a:off x="-48925375" y="2465650"/>
              <a:ext cx="71700" cy="86650"/>
            </a:xfrm>
            <a:custGeom>
              <a:avLst/>
              <a:gdLst/>
              <a:ahLst/>
              <a:cxnLst/>
              <a:rect l="l" t="t" r="r" b="b"/>
              <a:pathLst>
                <a:path w="2868" h="3466" extrusionOk="0">
                  <a:moveTo>
                    <a:pt x="693" y="1040"/>
                  </a:moveTo>
                  <a:lnTo>
                    <a:pt x="1859" y="1796"/>
                  </a:lnTo>
                  <a:lnTo>
                    <a:pt x="693" y="2552"/>
                  </a:lnTo>
                  <a:lnTo>
                    <a:pt x="693" y="1040"/>
                  </a:lnTo>
                  <a:close/>
                  <a:moveTo>
                    <a:pt x="343" y="1"/>
                  </a:moveTo>
                  <a:cubicBezTo>
                    <a:pt x="167" y="1"/>
                    <a:pt x="0" y="141"/>
                    <a:pt x="0" y="347"/>
                  </a:cubicBezTo>
                  <a:lnTo>
                    <a:pt x="0" y="3151"/>
                  </a:lnTo>
                  <a:cubicBezTo>
                    <a:pt x="0" y="3333"/>
                    <a:pt x="165" y="3466"/>
                    <a:pt x="340" y="3466"/>
                  </a:cubicBezTo>
                  <a:cubicBezTo>
                    <a:pt x="407" y="3466"/>
                    <a:pt x="475" y="3446"/>
                    <a:pt x="536" y="3403"/>
                  </a:cubicBezTo>
                  <a:lnTo>
                    <a:pt x="2678" y="1985"/>
                  </a:lnTo>
                  <a:cubicBezTo>
                    <a:pt x="2867" y="1922"/>
                    <a:pt x="2867" y="1639"/>
                    <a:pt x="2678" y="1481"/>
                  </a:cubicBezTo>
                  <a:lnTo>
                    <a:pt x="536" y="63"/>
                  </a:lnTo>
                  <a:cubicBezTo>
                    <a:pt x="476" y="20"/>
                    <a:pt x="409"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597" name="Google Shape;7597;p75"/>
            <p:cNvSpPr/>
            <p:nvPr/>
          </p:nvSpPr>
          <p:spPr>
            <a:xfrm>
              <a:off x="-48977350" y="2431000"/>
              <a:ext cx="157525" cy="157550"/>
            </a:xfrm>
            <a:custGeom>
              <a:avLst/>
              <a:gdLst/>
              <a:ahLst/>
              <a:cxnLst/>
              <a:rect l="l" t="t" r="r" b="b"/>
              <a:pathLst>
                <a:path w="6301" h="6302" extrusionOk="0">
                  <a:moveTo>
                    <a:pt x="3151" y="756"/>
                  </a:moveTo>
                  <a:cubicBezTo>
                    <a:pt x="4474" y="756"/>
                    <a:pt x="5576" y="1859"/>
                    <a:pt x="5576" y="3182"/>
                  </a:cubicBezTo>
                  <a:cubicBezTo>
                    <a:pt x="5608" y="4537"/>
                    <a:pt x="4537" y="5640"/>
                    <a:pt x="3151" y="5640"/>
                  </a:cubicBezTo>
                  <a:cubicBezTo>
                    <a:pt x="1796" y="5640"/>
                    <a:pt x="693" y="4537"/>
                    <a:pt x="693" y="3182"/>
                  </a:cubicBezTo>
                  <a:cubicBezTo>
                    <a:pt x="693" y="1859"/>
                    <a:pt x="1796" y="756"/>
                    <a:pt x="3151" y="756"/>
                  </a:cubicBezTo>
                  <a:close/>
                  <a:moveTo>
                    <a:pt x="3151" y="0"/>
                  </a:moveTo>
                  <a:cubicBezTo>
                    <a:pt x="1418" y="0"/>
                    <a:pt x="0" y="1418"/>
                    <a:pt x="0" y="3151"/>
                  </a:cubicBezTo>
                  <a:cubicBezTo>
                    <a:pt x="0" y="4883"/>
                    <a:pt x="1418" y="6301"/>
                    <a:pt x="3151" y="6301"/>
                  </a:cubicBezTo>
                  <a:cubicBezTo>
                    <a:pt x="4883" y="6301"/>
                    <a:pt x="6301" y="4883"/>
                    <a:pt x="6301" y="3151"/>
                  </a:cubicBezTo>
                  <a:cubicBezTo>
                    <a:pt x="6301" y="1418"/>
                    <a:pt x="4915"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598" name="Google Shape;7598;p75"/>
          <p:cNvSpPr/>
          <p:nvPr/>
        </p:nvSpPr>
        <p:spPr>
          <a:xfrm>
            <a:off x="3503079" y="3246834"/>
            <a:ext cx="481339" cy="477161"/>
          </a:xfrm>
          <a:custGeom>
            <a:avLst/>
            <a:gdLst/>
            <a:ahLst/>
            <a:cxnLst/>
            <a:rect l="l" t="t" r="r" b="b"/>
            <a:pathLst>
              <a:path w="12098" h="11993" extrusionOk="0">
                <a:moveTo>
                  <a:pt x="9042" y="4337"/>
                </a:moveTo>
                <a:lnTo>
                  <a:pt x="10208" y="4935"/>
                </a:lnTo>
                <a:lnTo>
                  <a:pt x="8695" y="4935"/>
                </a:lnTo>
                <a:lnTo>
                  <a:pt x="9042" y="4337"/>
                </a:lnTo>
                <a:close/>
                <a:moveTo>
                  <a:pt x="5167" y="1753"/>
                </a:moveTo>
                <a:lnTo>
                  <a:pt x="7593" y="5534"/>
                </a:lnTo>
                <a:lnTo>
                  <a:pt x="7026" y="6574"/>
                </a:lnTo>
                <a:lnTo>
                  <a:pt x="5356" y="4022"/>
                </a:lnTo>
                <a:lnTo>
                  <a:pt x="5167" y="1753"/>
                </a:lnTo>
                <a:close/>
                <a:moveTo>
                  <a:pt x="9105" y="5629"/>
                </a:moveTo>
                <a:lnTo>
                  <a:pt x="8664" y="9189"/>
                </a:lnTo>
                <a:lnTo>
                  <a:pt x="7435" y="7298"/>
                </a:lnTo>
                <a:cubicBezTo>
                  <a:pt x="7593" y="7015"/>
                  <a:pt x="8223" y="5849"/>
                  <a:pt x="8349" y="5629"/>
                </a:cubicBezTo>
                <a:close/>
                <a:moveTo>
                  <a:pt x="3088" y="1753"/>
                </a:moveTo>
                <a:lnTo>
                  <a:pt x="8034" y="9504"/>
                </a:lnTo>
                <a:lnTo>
                  <a:pt x="3623" y="7834"/>
                </a:lnTo>
                <a:lnTo>
                  <a:pt x="3088" y="1753"/>
                </a:lnTo>
                <a:close/>
                <a:moveTo>
                  <a:pt x="1355" y="9378"/>
                </a:moveTo>
                <a:lnTo>
                  <a:pt x="4096" y="10134"/>
                </a:lnTo>
                <a:lnTo>
                  <a:pt x="4757" y="11268"/>
                </a:lnTo>
                <a:lnTo>
                  <a:pt x="2773" y="11268"/>
                </a:lnTo>
                <a:lnTo>
                  <a:pt x="1355" y="9378"/>
                </a:lnTo>
                <a:close/>
                <a:moveTo>
                  <a:pt x="4064" y="8748"/>
                </a:moveTo>
                <a:lnTo>
                  <a:pt x="8380" y="10354"/>
                </a:lnTo>
                <a:lnTo>
                  <a:pt x="7971" y="11268"/>
                </a:lnTo>
                <a:lnTo>
                  <a:pt x="5545" y="11268"/>
                </a:lnTo>
                <a:cubicBezTo>
                  <a:pt x="5387" y="10984"/>
                  <a:pt x="4253" y="9063"/>
                  <a:pt x="4064" y="8748"/>
                </a:cubicBezTo>
                <a:close/>
                <a:moveTo>
                  <a:pt x="2485" y="1"/>
                </a:moveTo>
                <a:cubicBezTo>
                  <a:pt x="2453" y="1"/>
                  <a:pt x="2422" y="7"/>
                  <a:pt x="2394" y="21"/>
                </a:cubicBezTo>
                <a:cubicBezTo>
                  <a:pt x="2237" y="52"/>
                  <a:pt x="2174" y="210"/>
                  <a:pt x="2174" y="367"/>
                </a:cubicBezTo>
                <a:cubicBezTo>
                  <a:pt x="2930" y="8527"/>
                  <a:pt x="2836" y="8117"/>
                  <a:pt x="2930" y="8243"/>
                </a:cubicBezTo>
                <a:lnTo>
                  <a:pt x="3497" y="9252"/>
                </a:lnTo>
                <a:lnTo>
                  <a:pt x="473" y="8432"/>
                </a:lnTo>
                <a:cubicBezTo>
                  <a:pt x="437" y="8425"/>
                  <a:pt x="402" y="8422"/>
                  <a:pt x="368" y="8422"/>
                </a:cubicBezTo>
                <a:cubicBezTo>
                  <a:pt x="249" y="8422"/>
                  <a:pt x="143" y="8468"/>
                  <a:pt x="95" y="8590"/>
                </a:cubicBezTo>
                <a:cubicBezTo>
                  <a:pt x="0" y="8716"/>
                  <a:pt x="0" y="8874"/>
                  <a:pt x="95" y="9000"/>
                </a:cubicBezTo>
                <a:lnTo>
                  <a:pt x="2205" y="11835"/>
                </a:lnTo>
                <a:cubicBezTo>
                  <a:pt x="2300" y="11898"/>
                  <a:pt x="2363" y="11993"/>
                  <a:pt x="2489" y="11993"/>
                </a:cubicBezTo>
                <a:lnTo>
                  <a:pt x="8128" y="11993"/>
                </a:lnTo>
                <a:cubicBezTo>
                  <a:pt x="8223" y="11993"/>
                  <a:pt x="8380" y="11898"/>
                  <a:pt x="8443" y="11772"/>
                </a:cubicBezTo>
                <a:lnTo>
                  <a:pt x="9137" y="10354"/>
                </a:lnTo>
                <a:cubicBezTo>
                  <a:pt x="9137" y="10323"/>
                  <a:pt x="9168" y="10291"/>
                  <a:pt x="9168" y="10260"/>
                </a:cubicBezTo>
                <a:lnTo>
                  <a:pt x="9735" y="5629"/>
                </a:lnTo>
                <a:lnTo>
                  <a:pt x="11657" y="5629"/>
                </a:lnTo>
                <a:cubicBezTo>
                  <a:pt x="11814" y="5629"/>
                  <a:pt x="11972" y="5534"/>
                  <a:pt x="12003" y="5377"/>
                </a:cubicBezTo>
                <a:cubicBezTo>
                  <a:pt x="12098" y="5219"/>
                  <a:pt x="12003" y="4998"/>
                  <a:pt x="11846" y="4967"/>
                </a:cubicBezTo>
                <a:lnTo>
                  <a:pt x="9042" y="3549"/>
                </a:lnTo>
                <a:cubicBezTo>
                  <a:pt x="9001" y="3533"/>
                  <a:pt x="8954" y="3525"/>
                  <a:pt x="8906" y="3525"/>
                </a:cubicBezTo>
                <a:cubicBezTo>
                  <a:pt x="8767" y="3525"/>
                  <a:pt x="8616" y="3590"/>
                  <a:pt x="8569" y="3707"/>
                </a:cubicBezTo>
                <a:lnTo>
                  <a:pt x="7908" y="4841"/>
                </a:lnTo>
                <a:lnTo>
                  <a:pt x="4915" y="178"/>
                </a:lnTo>
                <a:cubicBezTo>
                  <a:pt x="4866" y="80"/>
                  <a:pt x="4740" y="1"/>
                  <a:pt x="4627" y="1"/>
                </a:cubicBezTo>
                <a:cubicBezTo>
                  <a:pt x="4595" y="1"/>
                  <a:pt x="4564" y="7"/>
                  <a:pt x="4537" y="21"/>
                </a:cubicBezTo>
                <a:cubicBezTo>
                  <a:pt x="4411" y="52"/>
                  <a:pt x="4285" y="210"/>
                  <a:pt x="4285" y="367"/>
                </a:cubicBezTo>
                <a:lnTo>
                  <a:pt x="4505" y="2762"/>
                </a:lnTo>
                <a:lnTo>
                  <a:pt x="2804" y="178"/>
                </a:lnTo>
                <a:cubicBezTo>
                  <a:pt x="2730" y="80"/>
                  <a:pt x="2599" y="1"/>
                  <a:pt x="24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599" name="Google Shape;7599;p75"/>
          <p:cNvGrpSpPr/>
          <p:nvPr/>
        </p:nvGrpSpPr>
        <p:grpSpPr>
          <a:xfrm>
            <a:off x="1720660" y="3904379"/>
            <a:ext cx="480145" cy="477599"/>
            <a:chOff x="-47160325" y="1974175"/>
            <a:chExt cx="301700" cy="300100"/>
          </a:xfrm>
        </p:grpSpPr>
        <p:sp>
          <p:nvSpPr>
            <p:cNvPr id="7600" name="Google Shape;7600;p75"/>
            <p:cNvSpPr/>
            <p:nvPr/>
          </p:nvSpPr>
          <p:spPr>
            <a:xfrm>
              <a:off x="-47160325" y="1974175"/>
              <a:ext cx="301700" cy="300100"/>
            </a:xfrm>
            <a:custGeom>
              <a:avLst/>
              <a:gdLst/>
              <a:ahLst/>
              <a:cxnLst/>
              <a:rect l="l" t="t" r="r" b="b"/>
              <a:pathLst>
                <a:path w="12068" h="12004" extrusionOk="0">
                  <a:moveTo>
                    <a:pt x="8539" y="1166"/>
                  </a:moveTo>
                  <a:lnTo>
                    <a:pt x="9452" y="2080"/>
                  </a:lnTo>
                  <a:lnTo>
                    <a:pt x="8539" y="2080"/>
                  </a:lnTo>
                  <a:lnTo>
                    <a:pt x="8539" y="1166"/>
                  </a:lnTo>
                  <a:close/>
                  <a:moveTo>
                    <a:pt x="7846" y="693"/>
                  </a:moveTo>
                  <a:lnTo>
                    <a:pt x="7846" y="2489"/>
                  </a:lnTo>
                  <a:cubicBezTo>
                    <a:pt x="7846" y="2678"/>
                    <a:pt x="8003" y="2836"/>
                    <a:pt x="8192" y="2836"/>
                  </a:cubicBezTo>
                  <a:lnTo>
                    <a:pt x="9957" y="2836"/>
                  </a:lnTo>
                  <a:lnTo>
                    <a:pt x="9957" y="4254"/>
                  </a:lnTo>
                  <a:lnTo>
                    <a:pt x="4916" y="4254"/>
                  </a:lnTo>
                  <a:lnTo>
                    <a:pt x="4538" y="3434"/>
                  </a:lnTo>
                  <a:cubicBezTo>
                    <a:pt x="4349" y="3056"/>
                    <a:pt x="3971" y="2836"/>
                    <a:pt x="3593" y="2836"/>
                  </a:cubicBezTo>
                  <a:lnTo>
                    <a:pt x="2206" y="2836"/>
                  </a:lnTo>
                  <a:lnTo>
                    <a:pt x="2206" y="693"/>
                  </a:lnTo>
                  <a:close/>
                  <a:moveTo>
                    <a:pt x="3561" y="3529"/>
                  </a:moveTo>
                  <a:cubicBezTo>
                    <a:pt x="3656" y="3529"/>
                    <a:pt x="3782" y="3623"/>
                    <a:pt x="3876" y="3718"/>
                  </a:cubicBezTo>
                  <a:lnTo>
                    <a:pt x="4380" y="4758"/>
                  </a:lnTo>
                  <a:cubicBezTo>
                    <a:pt x="4443" y="4884"/>
                    <a:pt x="4569" y="4947"/>
                    <a:pt x="4695" y="4947"/>
                  </a:cubicBezTo>
                  <a:lnTo>
                    <a:pt x="11028" y="4947"/>
                  </a:lnTo>
                  <a:cubicBezTo>
                    <a:pt x="11248" y="4947"/>
                    <a:pt x="11406" y="5104"/>
                    <a:pt x="11406" y="5293"/>
                  </a:cubicBezTo>
                  <a:lnTo>
                    <a:pt x="11406" y="10933"/>
                  </a:lnTo>
                  <a:lnTo>
                    <a:pt x="11343" y="10933"/>
                  </a:lnTo>
                  <a:cubicBezTo>
                    <a:pt x="11343" y="11153"/>
                    <a:pt x="11185" y="11311"/>
                    <a:pt x="10996" y="11311"/>
                  </a:cubicBezTo>
                  <a:lnTo>
                    <a:pt x="1104" y="11311"/>
                  </a:lnTo>
                  <a:cubicBezTo>
                    <a:pt x="915" y="11311"/>
                    <a:pt x="757" y="11153"/>
                    <a:pt x="757" y="10933"/>
                  </a:cubicBezTo>
                  <a:lnTo>
                    <a:pt x="757" y="3875"/>
                  </a:lnTo>
                  <a:cubicBezTo>
                    <a:pt x="757" y="3686"/>
                    <a:pt x="915" y="3529"/>
                    <a:pt x="1104" y="3529"/>
                  </a:cubicBezTo>
                  <a:close/>
                  <a:moveTo>
                    <a:pt x="1797" y="0"/>
                  </a:moveTo>
                  <a:cubicBezTo>
                    <a:pt x="1576" y="0"/>
                    <a:pt x="1419" y="158"/>
                    <a:pt x="1419" y="347"/>
                  </a:cubicBezTo>
                  <a:lnTo>
                    <a:pt x="1419" y="2836"/>
                  </a:lnTo>
                  <a:lnTo>
                    <a:pt x="1072" y="2836"/>
                  </a:lnTo>
                  <a:cubicBezTo>
                    <a:pt x="474" y="2836"/>
                    <a:pt x="1" y="3308"/>
                    <a:pt x="1" y="3907"/>
                  </a:cubicBezTo>
                  <a:lnTo>
                    <a:pt x="1" y="10933"/>
                  </a:lnTo>
                  <a:cubicBezTo>
                    <a:pt x="1" y="11531"/>
                    <a:pt x="474" y="12004"/>
                    <a:pt x="1072" y="12004"/>
                  </a:cubicBezTo>
                  <a:lnTo>
                    <a:pt x="10965" y="12004"/>
                  </a:lnTo>
                  <a:cubicBezTo>
                    <a:pt x="11563" y="12004"/>
                    <a:pt x="12036" y="11531"/>
                    <a:pt x="12036" y="10933"/>
                  </a:cubicBezTo>
                  <a:lnTo>
                    <a:pt x="12036" y="5325"/>
                  </a:lnTo>
                  <a:cubicBezTo>
                    <a:pt x="12067" y="4726"/>
                    <a:pt x="11595" y="4254"/>
                    <a:pt x="10996" y="4254"/>
                  </a:cubicBezTo>
                  <a:lnTo>
                    <a:pt x="10650" y="4254"/>
                  </a:lnTo>
                  <a:lnTo>
                    <a:pt x="10650" y="2489"/>
                  </a:lnTo>
                  <a:cubicBezTo>
                    <a:pt x="10650" y="2395"/>
                    <a:pt x="10618" y="2269"/>
                    <a:pt x="10524" y="2237"/>
                  </a:cubicBezTo>
                  <a:lnTo>
                    <a:pt x="8413" y="126"/>
                  </a:lnTo>
                  <a:cubicBezTo>
                    <a:pt x="8318" y="32"/>
                    <a:pt x="8255" y="0"/>
                    <a:pt x="81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1" name="Google Shape;7601;p75"/>
            <p:cNvSpPr/>
            <p:nvPr/>
          </p:nvSpPr>
          <p:spPr>
            <a:xfrm>
              <a:off x="-47070525" y="2115150"/>
              <a:ext cx="123675" cy="123675"/>
            </a:xfrm>
            <a:custGeom>
              <a:avLst/>
              <a:gdLst/>
              <a:ahLst/>
              <a:cxnLst/>
              <a:rect l="l" t="t" r="r" b="b"/>
              <a:pathLst>
                <a:path w="4947" h="4947" extrusionOk="0">
                  <a:moveTo>
                    <a:pt x="1796" y="694"/>
                  </a:moveTo>
                  <a:cubicBezTo>
                    <a:pt x="2269" y="694"/>
                    <a:pt x="2678" y="977"/>
                    <a:pt x="2804" y="1418"/>
                  </a:cubicBezTo>
                  <a:lnTo>
                    <a:pt x="1796" y="1418"/>
                  </a:lnTo>
                  <a:cubicBezTo>
                    <a:pt x="1607" y="1418"/>
                    <a:pt x="1450" y="1576"/>
                    <a:pt x="1450" y="1765"/>
                  </a:cubicBezTo>
                  <a:lnTo>
                    <a:pt x="1450" y="2742"/>
                  </a:lnTo>
                  <a:cubicBezTo>
                    <a:pt x="1009" y="2584"/>
                    <a:pt x="757" y="2175"/>
                    <a:pt x="757" y="1765"/>
                  </a:cubicBezTo>
                  <a:cubicBezTo>
                    <a:pt x="757" y="1166"/>
                    <a:pt x="1229" y="694"/>
                    <a:pt x="1796" y="694"/>
                  </a:cubicBezTo>
                  <a:close/>
                  <a:moveTo>
                    <a:pt x="2804" y="2112"/>
                  </a:moveTo>
                  <a:cubicBezTo>
                    <a:pt x="2678" y="2427"/>
                    <a:pt x="2426" y="2679"/>
                    <a:pt x="2174" y="2742"/>
                  </a:cubicBezTo>
                  <a:lnTo>
                    <a:pt x="2174" y="2112"/>
                  </a:lnTo>
                  <a:close/>
                  <a:moveTo>
                    <a:pt x="4254" y="2080"/>
                  </a:moveTo>
                  <a:lnTo>
                    <a:pt x="4254" y="4191"/>
                  </a:lnTo>
                  <a:lnTo>
                    <a:pt x="2143" y="4191"/>
                  </a:lnTo>
                  <a:lnTo>
                    <a:pt x="2143" y="3466"/>
                  </a:lnTo>
                  <a:cubicBezTo>
                    <a:pt x="2804" y="3309"/>
                    <a:pt x="3340" y="2773"/>
                    <a:pt x="3498" y="2080"/>
                  </a:cubicBezTo>
                  <a:close/>
                  <a:moveTo>
                    <a:pt x="1765" y="1"/>
                  </a:moveTo>
                  <a:cubicBezTo>
                    <a:pt x="788" y="1"/>
                    <a:pt x="1" y="788"/>
                    <a:pt x="1" y="1765"/>
                  </a:cubicBezTo>
                  <a:cubicBezTo>
                    <a:pt x="1" y="2616"/>
                    <a:pt x="599" y="3340"/>
                    <a:pt x="1418" y="3498"/>
                  </a:cubicBezTo>
                  <a:lnTo>
                    <a:pt x="1418" y="4600"/>
                  </a:lnTo>
                  <a:cubicBezTo>
                    <a:pt x="1418" y="4789"/>
                    <a:pt x="1576" y="4947"/>
                    <a:pt x="1765" y="4947"/>
                  </a:cubicBezTo>
                  <a:lnTo>
                    <a:pt x="4569" y="4947"/>
                  </a:lnTo>
                  <a:cubicBezTo>
                    <a:pt x="4758" y="4947"/>
                    <a:pt x="4915" y="4789"/>
                    <a:pt x="4915" y="4600"/>
                  </a:cubicBezTo>
                  <a:lnTo>
                    <a:pt x="4915" y="1797"/>
                  </a:lnTo>
                  <a:cubicBezTo>
                    <a:pt x="4947" y="1576"/>
                    <a:pt x="4789" y="1387"/>
                    <a:pt x="4600" y="1387"/>
                  </a:cubicBezTo>
                  <a:lnTo>
                    <a:pt x="3498" y="1387"/>
                  </a:lnTo>
                  <a:cubicBezTo>
                    <a:pt x="3340" y="599"/>
                    <a:pt x="2647"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02" name="Google Shape;7602;p75"/>
          <p:cNvGrpSpPr/>
          <p:nvPr/>
        </p:nvGrpSpPr>
        <p:grpSpPr>
          <a:xfrm>
            <a:off x="1721295" y="4499757"/>
            <a:ext cx="478872" cy="478832"/>
            <a:chOff x="-47159525" y="2342000"/>
            <a:chExt cx="300900" cy="300875"/>
          </a:xfrm>
        </p:grpSpPr>
        <p:sp>
          <p:nvSpPr>
            <p:cNvPr id="7603" name="Google Shape;7603;p75"/>
            <p:cNvSpPr/>
            <p:nvPr/>
          </p:nvSpPr>
          <p:spPr>
            <a:xfrm>
              <a:off x="-47122500" y="2376650"/>
              <a:ext cx="123675" cy="125250"/>
            </a:xfrm>
            <a:custGeom>
              <a:avLst/>
              <a:gdLst/>
              <a:ahLst/>
              <a:cxnLst/>
              <a:rect l="l" t="t" r="r" b="b"/>
              <a:pathLst>
                <a:path w="4947" h="5010" extrusionOk="0">
                  <a:moveTo>
                    <a:pt x="1765" y="756"/>
                  </a:moveTo>
                  <a:cubicBezTo>
                    <a:pt x="2237" y="756"/>
                    <a:pt x="2615" y="1008"/>
                    <a:pt x="2741" y="1450"/>
                  </a:cubicBezTo>
                  <a:lnTo>
                    <a:pt x="1765" y="1450"/>
                  </a:lnTo>
                  <a:cubicBezTo>
                    <a:pt x="1575" y="1450"/>
                    <a:pt x="1418" y="1607"/>
                    <a:pt x="1418" y="1828"/>
                  </a:cubicBezTo>
                  <a:lnTo>
                    <a:pt x="1418" y="2804"/>
                  </a:lnTo>
                  <a:cubicBezTo>
                    <a:pt x="1008" y="2647"/>
                    <a:pt x="693" y="2237"/>
                    <a:pt x="693" y="1828"/>
                  </a:cubicBezTo>
                  <a:cubicBezTo>
                    <a:pt x="693" y="1229"/>
                    <a:pt x="1166" y="756"/>
                    <a:pt x="1765" y="756"/>
                  </a:cubicBezTo>
                  <a:close/>
                  <a:moveTo>
                    <a:pt x="2741" y="2174"/>
                  </a:moveTo>
                  <a:cubicBezTo>
                    <a:pt x="2615" y="2458"/>
                    <a:pt x="2395" y="2678"/>
                    <a:pt x="2111" y="2804"/>
                  </a:cubicBezTo>
                  <a:lnTo>
                    <a:pt x="2111" y="2174"/>
                  </a:lnTo>
                  <a:close/>
                  <a:moveTo>
                    <a:pt x="4253" y="2143"/>
                  </a:moveTo>
                  <a:lnTo>
                    <a:pt x="4253" y="4285"/>
                  </a:lnTo>
                  <a:lnTo>
                    <a:pt x="2111" y="4285"/>
                  </a:lnTo>
                  <a:lnTo>
                    <a:pt x="2111" y="3497"/>
                  </a:lnTo>
                  <a:cubicBezTo>
                    <a:pt x="2804" y="3340"/>
                    <a:pt x="3340" y="2836"/>
                    <a:pt x="3497" y="2143"/>
                  </a:cubicBezTo>
                  <a:close/>
                  <a:moveTo>
                    <a:pt x="1765" y="0"/>
                  </a:moveTo>
                  <a:cubicBezTo>
                    <a:pt x="788" y="0"/>
                    <a:pt x="0" y="788"/>
                    <a:pt x="0" y="1765"/>
                  </a:cubicBezTo>
                  <a:cubicBezTo>
                    <a:pt x="0" y="2647"/>
                    <a:pt x="567" y="3340"/>
                    <a:pt x="1418" y="3497"/>
                  </a:cubicBezTo>
                  <a:lnTo>
                    <a:pt x="1418" y="4663"/>
                  </a:lnTo>
                  <a:cubicBezTo>
                    <a:pt x="1418" y="4852"/>
                    <a:pt x="1575" y="5010"/>
                    <a:pt x="1765" y="5010"/>
                  </a:cubicBezTo>
                  <a:lnTo>
                    <a:pt x="4600" y="5010"/>
                  </a:lnTo>
                  <a:cubicBezTo>
                    <a:pt x="4789" y="5010"/>
                    <a:pt x="4947" y="4852"/>
                    <a:pt x="4947" y="4663"/>
                  </a:cubicBezTo>
                  <a:lnTo>
                    <a:pt x="4947" y="1765"/>
                  </a:lnTo>
                  <a:cubicBezTo>
                    <a:pt x="4947" y="1576"/>
                    <a:pt x="4789" y="1418"/>
                    <a:pt x="4600" y="1418"/>
                  </a:cubicBezTo>
                  <a:lnTo>
                    <a:pt x="3497" y="1418"/>
                  </a:lnTo>
                  <a:cubicBezTo>
                    <a:pt x="3340" y="630"/>
                    <a:pt x="2615"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4" name="Google Shape;7604;p75"/>
            <p:cNvSpPr/>
            <p:nvPr/>
          </p:nvSpPr>
          <p:spPr>
            <a:xfrm>
              <a:off x="-47159525" y="2342000"/>
              <a:ext cx="300900" cy="300875"/>
            </a:xfrm>
            <a:custGeom>
              <a:avLst/>
              <a:gdLst/>
              <a:ahLst/>
              <a:cxnLst/>
              <a:rect l="l" t="t" r="r" b="b"/>
              <a:pathLst>
                <a:path w="12036" h="12035" extrusionOk="0">
                  <a:moveTo>
                    <a:pt x="7089" y="1229"/>
                  </a:moveTo>
                  <a:lnTo>
                    <a:pt x="8003" y="2142"/>
                  </a:lnTo>
                  <a:lnTo>
                    <a:pt x="7089" y="2142"/>
                  </a:lnTo>
                  <a:lnTo>
                    <a:pt x="7089" y="1229"/>
                  </a:lnTo>
                  <a:close/>
                  <a:moveTo>
                    <a:pt x="8538" y="6396"/>
                  </a:moveTo>
                  <a:lnTo>
                    <a:pt x="8538" y="6711"/>
                  </a:lnTo>
                  <a:cubicBezTo>
                    <a:pt x="8538" y="6900"/>
                    <a:pt x="8664" y="7057"/>
                    <a:pt x="8885" y="7057"/>
                  </a:cubicBezTo>
                  <a:cubicBezTo>
                    <a:pt x="9074" y="7057"/>
                    <a:pt x="9231" y="6900"/>
                    <a:pt x="9231" y="6711"/>
                  </a:cubicBezTo>
                  <a:lnTo>
                    <a:pt x="9231" y="6427"/>
                  </a:lnTo>
                  <a:cubicBezTo>
                    <a:pt x="10303" y="6585"/>
                    <a:pt x="11153" y="7467"/>
                    <a:pt x="11311" y="8506"/>
                  </a:cubicBezTo>
                  <a:lnTo>
                    <a:pt x="10996" y="8506"/>
                  </a:lnTo>
                  <a:cubicBezTo>
                    <a:pt x="10807" y="8506"/>
                    <a:pt x="10649" y="8664"/>
                    <a:pt x="10649" y="8884"/>
                  </a:cubicBezTo>
                  <a:cubicBezTo>
                    <a:pt x="10649" y="9073"/>
                    <a:pt x="10807" y="9231"/>
                    <a:pt x="10996" y="9231"/>
                  </a:cubicBezTo>
                  <a:lnTo>
                    <a:pt x="11311" y="9231"/>
                  </a:lnTo>
                  <a:cubicBezTo>
                    <a:pt x="11153" y="10302"/>
                    <a:pt x="10303" y="11121"/>
                    <a:pt x="9231" y="11279"/>
                  </a:cubicBezTo>
                  <a:lnTo>
                    <a:pt x="9231" y="10964"/>
                  </a:lnTo>
                  <a:cubicBezTo>
                    <a:pt x="9231" y="10775"/>
                    <a:pt x="9074" y="10617"/>
                    <a:pt x="8885" y="10617"/>
                  </a:cubicBezTo>
                  <a:cubicBezTo>
                    <a:pt x="8664" y="10617"/>
                    <a:pt x="8538" y="10775"/>
                    <a:pt x="8538" y="10964"/>
                  </a:cubicBezTo>
                  <a:lnTo>
                    <a:pt x="8538" y="11279"/>
                  </a:lnTo>
                  <a:cubicBezTo>
                    <a:pt x="7467" y="11121"/>
                    <a:pt x="6585" y="10239"/>
                    <a:pt x="6428" y="9200"/>
                  </a:cubicBezTo>
                  <a:lnTo>
                    <a:pt x="6743" y="9200"/>
                  </a:lnTo>
                  <a:cubicBezTo>
                    <a:pt x="6963" y="9200"/>
                    <a:pt x="7089" y="9042"/>
                    <a:pt x="7089" y="8821"/>
                  </a:cubicBezTo>
                  <a:cubicBezTo>
                    <a:pt x="7089" y="8632"/>
                    <a:pt x="6963" y="8475"/>
                    <a:pt x="6743" y="8475"/>
                  </a:cubicBezTo>
                  <a:lnTo>
                    <a:pt x="6428" y="8475"/>
                  </a:lnTo>
                  <a:cubicBezTo>
                    <a:pt x="6585" y="7404"/>
                    <a:pt x="7467" y="6553"/>
                    <a:pt x="8538" y="6396"/>
                  </a:cubicBezTo>
                  <a:close/>
                  <a:moveTo>
                    <a:pt x="6428" y="725"/>
                  </a:moveTo>
                  <a:lnTo>
                    <a:pt x="6428" y="2489"/>
                  </a:lnTo>
                  <a:cubicBezTo>
                    <a:pt x="6428" y="2678"/>
                    <a:pt x="6585" y="2836"/>
                    <a:pt x="6774" y="2836"/>
                  </a:cubicBezTo>
                  <a:lnTo>
                    <a:pt x="8570" y="2836"/>
                  </a:lnTo>
                  <a:lnTo>
                    <a:pt x="8570" y="5734"/>
                  </a:lnTo>
                  <a:cubicBezTo>
                    <a:pt x="6995" y="5892"/>
                    <a:pt x="5766" y="7246"/>
                    <a:pt x="5766" y="8884"/>
                  </a:cubicBezTo>
                  <a:cubicBezTo>
                    <a:pt x="5766" y="9861"/>
                    <a:pt x="6238" y="10775"/>
                    <a:pt x="6932" y="11310"/>
                  </a:cubicBezTo>
                  <a:lnTo>
                    <a:pt x="757" y="11310"/>
                  </a:lnTo>
                  <a:lnTo>
                    <a:pt x="757" y="725"/>
                  </a:lnTo>
                  <a:close/>
                  <a:moveTo>
                    <a:pt x="379" y="0"/>
                  </a:moveTo>
                  <a:cubicBezTo>
                    <a:pt x="158" y="0"/>
                    <a:pt x="0" y="158"/>
                    <a:pt x="0" y="378"/>
                  </a:cubicBezTo>
                  <a:lnTo>
                    <a:pt x="0" y="11657"/>
                  </a:lnTo>
                  <a:cubicBezTo>
                    <a:pt x="0" y="11877"/>
                    <a:pt x="158" y="12035"/>
                    <a:pt x="379" y="12035"/>
                  </a:cubicBezTo>
                  <a:lnTo>
                    <a:pt x="8822" y="12035"/>
                  </a:lnTo>
                  <a:cubicBezTo>
                    <a:pt x="10555" y="12035"/>
                    <a:pt x="11972" y="10617"/>
                    <a:pt x="11972" y="8884"/>
                  </a:cubicBezTo>
                  <a:cubicBezTo>
                    <a:pt x="12035" y="7215"/>
                    <a:pt x="10807" y="5892"/>
                    <a:pt x="9231" y="5734"/>
                  </a:cubicBezTo>
                  <a:lnTo>
                    <a:pt x="9231" y="2489"/>
                  </a:lnTo>
                  <a:cubicBezTo>
                    <a:pt x="9231" y="2426"/>
                    <a:pt x="9200" y="2300"/>
                    <a:pt x="9105" y="2268"/>
                  </a:cubicBezTo>
                  <a:lnTo>
                    <a:pt x="6995" y="126"/>
                  </a:lnTo>
                  <a:cubicBezTo>
                    <a:pt x="6900" y="63"/>
                    <a:pt x="6837" y="0"/>
                    <a:pt x="67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5" name="Google Shape;7605;p75"/>
            <p:cNvSpPr/>
            <p:nvPr/>
          </p:nvSpPr>
          <p:spPr>
            <a:xfrm>
              <a:off x="-46946075" y="2537325"/>
              <a:ext cx="35450" cy="35475"/>
            </a:xfrm>
            <a:custGeom>
              <a:avLst/>
              <a:gdLst/>
              <a:ahLst/>
              <a:cxnLst/>
              <a:rect l="l" t="t" r="r" b="b"/>
              <a:pathLst>
                <a:path w="1418" h="1419" extrusionOk="0">
                  <a:moveTo>
                    <a:pt x="347" y="0"/>
                  </a:moveTo>
                  <a:cubicBezTo>
                    <a:pt x="158" y="0"/>
                    <a:pt x="0" y="158"/>
                    <a:pt x="0" y="347"/>
                  </a:cubicBezTo>
                  <a:lnTo>
                    <a:pt x="0" y="1071"/>
                  </a:lnTo>
                  <a:cubicBezTo>
                    <a:pt x="0" y="1260"/>
                    <a:pt x="158" y="1418"/>
                    <a:pt x="347" y="1418"/>
                  </a:cubicBezTo>
                  <a:lnTo>
                    <a:pt x="1040" y="1418"/>
                  </a:lnTo>
                  <a:cubicBezTo>
                    <a:pt x="1261" y="1418"/>
                    <a:pt x="1418" y="1260"/>
                    <a:pt x="1418" y="1071"/>
                  </a:cubicBezTo>
                  <a:cubicBezTo>
                    <a:pt x="1387" y="851"/>
                    <a:pt x="1261" y="693"/>
                    <a:pt x="1040" y="693"/>
                  </a:cubicBezTo>
                  <a:lnTo>
                    <a:pt x="693" y="693"/>
                  </a:ln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6" name="Google Shape;7606;p75"/>
            <p:cNvSpPr/>
            <p:nvPr/>
          </p:nvSpPr>
          <p:spPr>
            <a:xfrm>
              <a:off x="-47122500" y="253732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07" name="Google Shape;7607;p75"/>
            <p:cNvSpPr/>
            <p:nvPr/>
          </p:nvSpPr>
          <p:spPr>
            <a:xfrm>
              <a:off x="-47122500" y="2572775"/>
              <a:ext cx="87450" cy="17350"/>
            </a:xfrm>
            <a:custGeom>
              <a:avLst/>
              <a:gdLst/>
              <a:ahLst/>
              <a:cxnLst/>
              <a:rect l="l" t="t" r="r" b="b"/>
              <a:pathLst>
                <a:path w="3498" h="694" extrusionOk="0">
                  <a:moveTo>
                    <a:pt x="347" y="0"/>
                  </a:moveTo>
                  <a:cubicBezTo>
                    <a:pt x="158" y="0"/>
                    <a:pt x="0" y="158"/>
                    <a:pt x="0" y="347"/>
                  </a:cubicBezTo>
                  <a:cubicBezTo>
                    <a:pt x="0" y="536"/>
                    <a:pt x="158" y="693"/>
                    <a:pt x="347" y="693"/>
                  </a:cubicBezTo>
                  <a:lnTo>
                    <a:pt x="3151" y="693"/>
                  </a:lnTo>
                  <a:cubicBezTo>
                    <a:pt x="3340" y="693"/>
                    <a:pt x="3497" y="536"/>
                    <a:pt x="3497" y="347"/>
                  </a:cubicBezTo>
                  <a:cubicBezTo>
                    <a:pt x="3497" y="158"/>
                    <a:pt x="3340" y="0"/>
                    <a:pt x="31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08" name="Google Shape;7608;p75"/>
          <p:cNvGrpSpPr/>
          <p:nvPr/>
        </p:nvGrpSpPr>
        <p:grpSpPr>
          <a:xfrm>
            <a:off x="1721931" y="5108872"/>
            <a:ext cx="477599" cy="478872"/>
            <a:chOff x="-47157950" y="2712175"/>
            <a:chExt cx="300100" cy="300900"/>
          </a:xfrm>
        </p:grpSpPr>
        <p:sp>
          <p:nvSpPr>
            <p:cNvPr id="7609" name="Google Shape;7609;p75"/>
            <p:cNvSpPr/>
            <p:nvPr/>
          </p:nvSpPr>
          <p:spPr>
            <a:xfrm>
              <a:off x="-47157950" y="2712175"/>
              <a:ext cx="300100" cy="300900"/>
            </a:xfrm>
            <a:custGeom>
              <a:avLst/>
              <a:gdLst/>
              <a:ahLst/>
              <a:cxnLst/>
              <a:rect l="l" t="t" r="r" b="b"/>
              <a:pathLst>
                <a:path w="12004" h="12036" extrusionOk="0">
                  <a:moveTo>
                    <a:pt x="7026" y="1166"/>
                  </a:moveTo>
                  <a:lnTo>
                    <a:pt x="7940" y="2048"/>
                  </a:lnTo>
                  <a:lnTo>
                    <a:pt x="7026" y="2048"/>
                  </a:lnTo>
                  <a:lnTo>
                    <a:pt x="7026" y="1166"/>
                  </a:lnTo>
                  <a:close/>
                  <a:moveTo>
                    <a:pt x="6333" y="693"/>
                  </a:moveTo>
                  <a:lnTo>
                    <a:pt x="6333" y="2458"/>
                  </a:lnTo>
                  <a:cubicBezTo>
                    <a:pt x="6333" y="2647"/>
                    <a:pt x="6491" y="2804"/>
                    <a:pt x="6680" y="2804"/>
                  </a:cubicBezTo>
                  <a:lnTo>
                    <a:pt x="8444" y="2804"/>
                  </a:lnTo>
                  <a:lnTo>
                    <a:pt x="8444" y="4222"/>
                  </a:lnTo>
                  <a:lnTo>
                    <a:pt x="3529" y="4222"/>
                  </a:lnTo>
                  <a:lnTo>
                    <a:pt x="3529" y="693"/>
                  </a:lnTo>
                  <a:close/>
                  <a:moveTo>
                    <a:pt x="10933" y="4222"/>
                  </a:moveTo>
                  <a:cubicBezTo>
                    <a:pt x="11122" y="4222"/>
                    <a:pt x="11279" y="4380"/>
                    <a:pt x="11279" y="4569"/>
                  </a:cubicBezTo>
                  <a:lnTo>
                    <a:pt x="11279" y="8097"/>
                  </a:lnTo>
                  <a:lnTo>
                    <a:pt x="11248" y="8097"/>
                  </a:lnTo>
                  <a:cubicBezTo>
                    <a:pt x="11248" y="8286"/>
                    <a:pt x="11090" y="8444"/>
                    <a:pt x="10901" y="8444"/>
                  </a:cubicBezTo>
                  <a:lnTo>
                    <a:pt x="9137" y="8444"/>
                  </a:lnTo>
                  <a:lnTo>
                    <a:pt x="9137" y="7719"/>
                  </a:lnTo>
                  <a:lnTo>
                    <a:pt x="9483" y="7719"/>
                  </a:lnTo>
                  <a:cubicBezTo>
                    <a:pt x="9673" y="7719"/>
                    <a:pt x="9830" y="7562"/>
                    <a:pt x="9830" y="7372"/>
                  </a:cubicBezTo>
                  <a:cubicBezTo>
                    <a:pt x="9830" y="7183"/>
                    <a:pt x="9673" y="7026"/>
                    <a:pt x="9483" y="7026"/>
                  </a:cubicBezTo>
                  <a:lnTo>
                    <a:pt x="2458" y="7026"/>
                  </a:lnTo>
                  <a:cubicBezTo>
                    <a:pt x="2269" y="7026"/>
                    <a:pt x="2111" y="7183"/>
                    <a:pt x="2111" y="7372"/>
                  </a:cubicBezTo>
                  <a:cubicBezTo>
                    <a:pt x="2111" y="7562"/>
                    <a:pt x="2269" y="7719"/>
                    <a:pt x="2458" y="7719"/>
                  </a:cubicBezTo>
                  <a:lnTo>
                    <a:pt x="2836" y="7719"/>
                  </a:lnTo>
                  <a:lnTo>
                    <a:pt x="2836" y="8444"/>
                  </a:lnTo>
                  <a:lnTo>
                    <a:pt x="1040" y="8444"/>
                  </a:lnTo>
                  <a:cubicBezTo>
                    <a:pt x="851" y="8444"/>
                    <a:pt x="694" y="8286"/>
                    <a:pt x="694" y="8097"/>
                  </a:cubicBezTo>
                  <a:lnTo>
                    <a:pt x="694" y="4569"/>
                  </a:lnTo>
                  <a:cubicBezTo>
                    <a:pt x="694" y="4380"/>
                    <a:pt x="851" y="4222"/>
                    <a:pt x="1040" y="4222"/>
                  </a:cubicBezTo>
                  <a:lnTo>
                    <a:pt x="2836" y="4222"/>
                  </a:lnTo>
                  <a:lnTo>
                    <a:pt x="2836" y="4569"/>
                  </a:lnTo>
                  <a:cubicBezTo>
                    <a:pt x="2836" y="4789"/>
                    <a:pt x="2993" y="4947"/>
                    <a:pt x="3183" y="4947"/>
                  </a:cubicBezTo>
                  <a:lnTo>
                    <a:pt x="8822" y="4947"/>
                  </a:lnTo>
                  <a:cubicBezTo>
                    <a:pt x="9011" y="4947"/>
                    <a:pt x="9168" y="4789"/>
                    <a:pt x="9168" y="4569"/>
                  </a:cubicBezTo>
                  <a:lnTo>
                    <a:pt x="9168" y="4222"/>
                  </a:lnTo>
                  <a:close/>
                  <a:moveTo>
                    <a:pt x="8412" y="7719"/>
                  </a:moveTo>
                  <a:lnTo>
                    <a:pt x="8412" y="11279"/>
                  </a:lnTo>
                  <a:lnTo>
                    <a:pt x="3498" y="11279"/>
                  </a:lnTo>
                  <a:lnTo>
                    <a:pt x="3498" y="7719"/>
                  </a:lnTo>
                  <a:close/>
                  <a:moveTo>
                    <a:pt x="3183" y="0"/>
                  </a:moveTo>
                  <a:cubicBezTo>
                    <a:pt x="2993" y="0"/>
                    <a:pt x="2836" y="158"/>
                    <a:pt x="2836" y="378"/>
                  </a:cubicBezTo>
                  <a:lnTo>
                    <a:pt x="2836" y="3560"/>
                  </a:lnTo>
                  <a:lnTo>
                    <a:pt x="1072" y="3560"/>
                  </a:lnTo>
                  <a:cubicBezTo>
                    <a:pt x="473" y="3560"/>
                    <a:pt x="1" y="4033"/>
                    <a:pt x="1" y="4600"/>
                  </a:cubicBezTo>
                  <a:lnTo>
                    <a:pt x="1" y="8129"/>
                  </a:lnTo>
                  <a:cubicBezTo>
                    <a:pt x="1" y="8696"/>
                    <a:pt x="473" y="9168"/>
                    <a:pt x="1072" y="9168"/>
                  </a:cubicBezTo>
                  <a:lnTo>
                    <a:pt x="2836" y="9168"/>
                  </a:lnTo>
                  <a:lnTo>
                    <a:pt x="2836" y="11657"/>
                  </a:lnTo>
                  <a:cubicBezTo>
                    <a:pt x="2836" y="11846"/>
                    <a:pt x="2993" y="12035"/>
                    <a:pt x="3183" y="12035"/>
                  </a:cubicBezTo>
                  <a:lnTo>
                    <a:pt x="8822" y="12035"/>
                  </a:lnTo>
                  <a:cubicBezTo>
                    <a:pt x="9011" y="12035"/>
                    <a:pt x="9168" y="11846"/>
                    <a:pt x="9168" y="11657"/>
                  </a:cubicBezTo>
                  <a:lnTo>
                    <a:pt x="9168" y="9168"/>
                  </a:lnTo>
                  <a:lnTo>
                    <a:pt x="10933" y="9168"/>
                  </a:lnTo>
                  <a:cubicBezTo>
                    <a:pt x="11531" y="9168"/>
                    <a:pt x="12004" y="8696"/>
                    <a:pt x="12004" y="8129"/>
                  </a:cubicBezTo>
                  <a:lnTo>
                    <a:pt x="12004" y="4600"/>
                  </a:lnTo>
                  <a:cubicBezTo>
                    <a:pt x="11972" y="4001"/>
                    <a:pt x="11500" y="3529"/>
                    <a:pt x="10901" y="3529"/>
                  </a:cubicBezTo>
                  <a:lnTo>
                    <a:pt x="9137" y="3529"/>
                  </a:lnTo>
                  <a:lnTo>
                    <a:pt x="9137" y="2458"/>
                  </a:lnTo>
                  <a:cubicBezTo>
                    <a:pt x="9137" y="2363"/>
                    <a:pt x="9074" y="2269"/>
                    <a:pt x="9011" y="2206"/>
                  </a:cubicBezTo>
                  <a:lnTo>
                    <a:pt x="6932" y="126"/>
                  </a:lnTo>
                  <a:cubicBezTo>
                    <a:pt x="6837" y="63"/>
                    <a:pt x="6774" y="0"/>
                    <a:pt x="6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0" name="Google Shape;7610;p75"/>
            <p:cNvSpPr/>
            <p:nvPr/>
          </p:nvSpPr>
          <p:spPr>
            <a:xfrm>
              <a:off x="-47087075" y="2852375"/>
              <a:ext cx="17350" cy="17350"/>
            </a:xfrm>
            <a:custGeom>
              <a:avLst/>
              <a:gdLst/>
              <a:ahLst/>
              <a:cxnLst/>
              <a:rect l="l" t="t" r="r" b="b"/>
              <a:pathLst>
                <a:path w="694" h="694" extrusionOk="0">
                  <a:moveTo>
                    <a:pt x="348" y="0"/>
                  </a:moveTo>
                  <a:cubicBezTo>
                    <a:pt x="158" y="0"/>
                    <a:pt x="1" y="158"/>
                    <a:pt x="1" y="347"/>
                  </a:cubicBezTo>
                  <a:cubicBezTo>
                    <a:pt x="1" y="536"/>
                    <a:pt x="158" y="693"/>
                    <a:pt x="348" y="693"/>
                  </a:cubicBezTo>
                  <a:cubicBezTo>
                    <a:pt x="537" y="693"/>
                    <a:pt x="694" y="536"/>
                    <a:pt x="694" y="347"/>
                  </a:cubicBezTo>
                  <a:cubicBezTo>
                    <a:pt x="694" y="158"/>
                    <a:pt x="537"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1" name="Google Shape;7611;p75"/>
            <p:cNvSpPr/>
            <p:nvPr/>
          </p:nvSpPr>
          <p:spPr>
            <a:xfrm>
              <a:off x="-47052400" y="2852375"/>
              <a:ext cx="17350" cy="17350"/>
            </a:xfrm>
            <a:custGeom>
              <a:avLst/>
              <a:gdLst/>
              <a:ahLst/>
              <a:cxnLst/>
              <a:rect l="l" t="t" r="r" b="b"/>
              <a:pathLst>
                <a:path w="694" h="694" extrusionOk="0">
                  <a:moveTo>
                    <a:pt x="347" y="0"/>
                  </a:moveTo>
                  <a:cubicBezTo>
                    <a:pt x="126" y="0"/>
                    <a:pt x="0" y="158"/>
                    <a:pt x="0" y="347"/>
                  </a:cubicBezTo>
                  <a:cubicBezTo>
                    <a:pt x="0" y="536"/>
                    <a:pt x="126"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2" name="Google Shape;7612;p75"/>
            <p:cNvSpPr/>
            <p:nvPr/>
          </p:nvSpPr>
          <p:spPr>
            <a:xfrm>
              <a:off x="-47051625" y="295790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3" name="Google Shape;7613;p75"/>
            <p:cNvSpPr/>
            <p:nvPr/>
          </p:nvSpPr>
          <p:spPr>
            <a:xfrm>
              <a:off x="-47051625" y="2923250"/>
              <a:ext cx="87450" cy="17350"/>
            </a:xfrm>
            <a:custGeom>
              <a:avLst/>
              <a:gdLst/>
              <a:ahLst/>
              <a:cxnLst/>
              <a:rect l="l" t="t" r="r" b="b"/>
              <a:pathLst>
                <a:path w="3498" h="694" extrusionOk="0">
                  <a:moveTo>
                    <a:pt x="347" y="1"/>
                  </a:moveTo>
                  <a:cubicBezTo>
                    <a:pt x="158" y="1"/>
                    <a:pt x="1" y="158"/>
                    <a:pt x="1" y="347"/>
                  </a:cubicBezTo>
                  <a:cubicBezTo>
                    <a:pt x="1" y="536"/>
                    <a:pt x="158" y="694"/>
                    <a:pt x="347" y="694"/>
                  </a:cubicBezTo>
                  <a:lnTo>
                    <a:pt x="3151" y="694"/>
                  </a:lnTo>
                  <a:cubicBezTo>
                    <a:pt x="3340" y="694"/>
                    <a:pt x="3498" y="536"/>
                    <a:pt x="3498" y="347"/>
                  </a:cubicBezTo>
                  <a:cubicBezTo>
                    <a:pt x="3498" y="158"/>
                    <a:pt x="3340" y="1"/>
                    <a:pt x="315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4" name="Google Shape;7614;p75"/>
            <p:cNvSpPr/>
            <p:nvPr/>
          </p:nvSpPr>
          <p:spPr>
            <a:xfrm>
              <a:off x="-47017750" y="2852375"/>
              <a:ext cx="35450" cy="17350"/>
            </a:xfrm>
            <a:custGeom>
              <a:avLst/>
              <a:gdLst/>
              <a:ahLst/>
              <a:cxnLst/>
              <a:rect l="l" t="t" r="r" b="b"/>
              <a:pathLst>
                <a:path w="1418" h="694" extrusionOk="0">
                  <a:moveTo>
                    <a:pt x="378" y="0"/>
                  </a:moveTo>
                  <a:cubicBezTo>
                    <a:pt x="158" y="0"/>
                    <a:pt x="0" y="158"/>
                    <a:pt x="0" y="347"/>
                  </a:cubicBezTo>
                  <a:cubicBezTo>
                    <a:pt x="0" y="536"/>
                    <a:pt x="158" y="693"/>
                    <a:pt x="378" y="693"/>
                  </a:cubicBezTo>
                  <a:lnTo>
                    <a:pt x="1072" y="693"/>
                  </a:lnTo>
                  <a:cubicBezTo>
                    <a:pt x="1261" y="693"/>
                    <a:pt x="1418" y="536"/>
                    <a:pt x="1418" y="347"/>
                  </a:cubicBezTo>
                  <a:cubicBezTo>
                    <a:pt x="1418" y="158"/>
                    <a:pt x="1261"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5" name="Google Shape;7615;p75"/>
            <p:cNvSpPr/>
            <p:nvPr/>
          </p:nvSpPr>
          <p:spPr>
            <a:xfrm>
              <a:off x="-46964975" y="2852375"/>
              <a:ext cx="35450" cy="17350"/>
            </a:xfrm>
            <a:custGeom>
              <a:avLst/>
              <a:gdLst/>
              <a:ahLst/>
              <a:cxnLst/>
              <a:rect l="l" t="t" r="r" b="b"/>
              <a:pathLst>
                <a:path w="1418" h="694" extrusionOk="0">
                  <a:moveTo>
                    <a:pt x="347" y="0"/>
                  </a:moveTo>
                  <a:cubicBezTo>
                    <a:pt x="158" y="0"/>
                    <a:pt x="0" y="158"/>
                    <a:pt x="0" y="347"/>
                  </a:cubicBezTo>
                  <a:cubicBezTo>
                    <a:pt x="0" y="536"/>
                    <a:pt x="158" y="693"/>
                    <a:pt x="347" y="693"/>
                  </a:cubicBezTo>
                  <a:lnTo>
                    <a:pt x="1040" y="693"/>
                  </a:lnTo>
                  <a:cubicBezTo>
                    <a:pt x="1260" y="693"/>
                    <a:pt x="1418" y="536"/>
                    <a:pt x="1418" y="347"/>
                  </a:cubicBezTo>
                  <a:cubicBezTo>
                    <a:pt x="1418" y="158"/>
                    <a:pt x="1260"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16" name="Google Shape;7616;p75"/>
          <p:cNvSpPr/>
          <p:nvPr/>
        </p:nvSpPr>
        <p:spPr>
          <a:xfrm>
            <a:off x="4717615" y="3890400"/>
            <a:ext cx="419948" cy="476365"/>
          </a:xfrm>
          <a:custGeom>
            <a:avLst/>
            <a:gdLst/>
            <a:ahLst/>
            <a:cxnLst/>
            <a:rect l="l" t="t" r="r" b="b"/>
            <a:pathLst>
              <a:path w="10555" h="11973" extrusionOk="0">
                <a:moveTo>
                  <a:pt x="3151" y="2836"/>
                </a:moveTo>
                <a:cubicBezTo>
                  <a:pt x="3340" y="2836"/>
                  <a:pt x="3498" y="2994"/>
                  <a:pt x="3498" y="3183"/>
                </a:cubicBezTo>
                <a:lnTo>
                  <a:pt x="3498" y="3529"/>
                </a:lnTo>
                <a:lnTo>
                  <a:pt x="2805" y="3529"/>
                </a:lnTo>
                <a:lnTo>
                  <a:pt x="2805" y="3183"/>
                </a:lnTo>
                <a:cubicBezTo>
                  <a:pt x="2805" y="2994"/>
                  <a:pt x="2962" y="2836"/>
                  <a:pt x="3151" y="2836"/>
                </a:cubicBezTo>
                <a:close/>
                <a:moveTo>
                  <a:pt x="9862" y="4191"/>
                </a:moveTo>
                <a:lnTo>
                  <a:pt x="9862" y="5262"/>
                </a:lnTo>
                <a:cubicBezTo>
                  <a:pt x="9862" y="5451"/>
                  <a:pt x="9704" y="5609"/>
                  <a:pt x="9484" y="5609"/>
                </a:cubicBezTo>
                <a:cubicBezTo>
                  <a:pt x="9295" y="5609"/>
                  <a:pt x="9137" y="5451"/>
                  <a:pt x="9137" y="5262"/>
                </a:cubicBezTo>
                <a:lnTo>
                  <a:pt x="9137" y="4191"/>
                </a:lnTo>
                <a:close/>
                <a:moveTo>
                  <a:pt x="3151" y="5609"/>
                </a:moveTo>
                <a:cubicBezTo>
                  <a:pt x="3340" y="5609"/>
                  <a:pt x="3498" y="5766"/>
                  <a:pt x="3498" y="5987"/>
                </a:cubicBezTo>
                <a:cubicBezTo>
                  <a:pt x="3498" y="6176"/>
                  <a:pt x="3340" y="6333"/>
                  <a:pt x="3151" y="6333"/>
                </a:cubicBezTo>
                <a:cubicBezTo>
                  <a:pt x="2962" y="6333"/>
                  <a:pt x="2805" y="6176"/>
                  <a:pt x="2805" y="5987"/>
                </a:cubicBezTo>
                <a:cubicBezTo>
                  <a:pt x="2805" y="5766"/>
                  <a:pt x="2962" y="5609"/>
                  <a:pt x="3151" y="5609"/>
                </a:cubicBezTo>
                <a:close/>
                <a:moveTo>
                  <a:pt x="3592" y="4254"/>
                </a:moveTo>
                <a:cubicBezTo>
                  <a:pt x="4695" y="4443"/>
                  <a:pt x="5640" y="5451"/>
                  <a:pt x="5640" y="6680"/>
                </a:cubicBezTo>
                <a:lnTo>
                  <a:pt x="5640" y="8822"/>
                </a:lnTo>
                <a:cubicBezTo>
                  <a:pt x="5640" y="10145"/>
                  <a:pt x="4538" y="11248"/>
                  <a:pt x="3183" y="11248"/>
                </a:cubicBezTo>
                <a:cubicBezTo>
                  <a:pt x="1860" y="11248"/>
                  <a:pt x="757" y="10145"/>
                  <a:pt x="757" y="8822"/>
                </a:cubicBezTo>
                <a:lnTo>
                  <a:pt x="757" y="6680"/>
                </a:lnTo>
                <a:cubicBezTo>
                  <a:pt x="757" y="5451"/>
                  <a:pt x="1671" y="4443"/>
                  <a:pt x="2868" y="4254"/>
                </a:cubicBezTo>
                <a:lnTo>
                  <a:pt x="2868" y="4979"/>
                </a:lnTo>
                <a:cubicBezTo>
                  <a:pt x="2490" y="5136"/>
                  <a:pt x="2175" y="5546"/>
                  <a:pt x="2175" y="5987"/>
                </a:cubicBezTo>
                <a:cubicBezTo>
                  <a:pt x="2175" y="6396"/>
                  <a:pt x="2458" y="6837"/>
                  <a:pt x="2868" y="6963"/>
                </a:cubicBezTo>
                <a:lnTo>
                  <a:pt x="2868" y="7341"/>
                </a:lnTo>
                <a:cubicBezTo>
                  <a:pt x="2868" y="7562"/>
                  <a:pt x="3025" y="7719"/>
                  <a:pt x="3246" y="7719"/>
                </a:cubicBezTo>
                <a:cubicBezTo>
                  <a:pt x="3435" y="7719"/>
                  <a:pt x="3592" y="7562"/>
                  <a:pt x="3592" y="7341"/>
                </a:cubicBezTo>
                <a:lnTo>
                  <a:pt x="3592" y="6963"/>
                </a:lnTo>
                <a:cubicBezTo>
                  <a:pt x="3970" y="6806"/>
                  <a:pt x="4286" y="6396"/>
                  <a:pt x="4286" y="5987"/>
                </a:cubicBezTo>
                <a:cubicBezTo>
                  <a:pt x="4286" y="5546"/>
                  <a:pt x="4033" y="5105"/>
                  <a:pt x="3592" y="4979"/>
                </a:cubicBezTo>
                <a:lnTo>
                  <a:pt x="3592" y="4254"/>
                </a:lnTo>
                <a:close/>
                <a:moveTo>
                  <a:pt x="5294" y="1"/>
                </a:moveTo>
                <a:cubicBezTo>
                  <a:pt x="4033" y="1"/>
                  <a:pt x="2994" y="946"/>
                  <a:pt x="2836" y="2143"/>
                </a:cubicBezTo>
                <a:cubicBezTo>
                  <a:pt x="2427" y="2301"/>
                  <a:pt x="2143" y="2710"/>
                  <a:pt x="2143" y="3151"/>
                </a:cubicBezTo>
                <a:lnTo>
                  <a:pt x="2143" y="3687"/>
                </a:lnTo>
                <a:cubicBezTo>
                  <a:pt x="914" y="4128"/>
                  <a:pt x="1" y="5294"/>
                  <a:pt x="1" y="6680"/>
                </a:cubicBezTo>
                <a:lnTo>
                  <a:pt x="1" y="8822"/>
                </a:lnTo>
                <a:cubicBezTo>
                  <a:pt x="1" y="10555"/>
                  <a:pt x="1419" y="11973"/>
                  <a:pt x="3151" y="11973"/>
                </a:cubicBezTo>
                <a:cubicBezTo>
                  <a:pt x="4884" y="11973"/>
                  <a:pt x="6302" y="10555"/>
                  <a:pt x="6302" y="8822"/>
                </a:cubicBezTo>
                <a:lnTo>
                  <a:pt x="6302" y="6680"/>
                </a:lnTo>
                <a:cubicBezTo>
                  <a:pt x="6302" y="5294"/>
                  <a:pt x="5451" y="4128"/>
                  <a:pt x="4191" y="3687"/>
                </a:cubicBezTo>
                <a:lnTo>
                  <a:pt x="4191" y="3151"/>
                </a:lnTo>
                <a:cubicBezTo>
                  <a:pt x="4191" y="2710"/>
                  <a:pt x="3907" y="2301"/>
                  <a:pt x="3529" y="2143"/>
                </a:cubicBezTo>
                <a:cubicBezTo>
                  <a:pt x="3624" y="1293"/>
                  <a:pt x="4380" y="662"/>
                  <a:pt x="5262" y="662"/>
                </a:cubicBezTo>
                <a:cubicBezTo>
                  <a:pt x="6239" y="662"/>
                  <a:pt x="7026" y="1450"/>
                  <a:pt x="7026" y="2427"/>
                </a:cubicBezTo>
                <a:lnTo>
                  <a:pt x="7026" y="8413"/>
                </a:lnTo>
                <a:cubicBezTo>
                  <a:pt x="7026" y="9200"/>
                  <a:pt x="7657" y="9830"/>
                  <a:pt x="8444" y="9830"/>
                </a:cubicBezTo>
                <a:cubicBezTo>
                  <a:pt x="9232" y="9830"/>
                  <a:pt x="9862" y="9200"/>
                  <a:pt x="9862" y="8413"/>
                </a:cubicBezTo>
                <a:lnTo>
                  <a:pt x="9862" y="6239"/>
                </a:lnTo>
                <a:cubicBezTo>
                  <a:pt x="10240" y="6081"/>
                  <a:pt x="10555" y="5703"/>
                  <a:pt x="10555" y="5262"/>
                </a:cubicBezTo>
                <a:lnTo>
                  <a:pt x="10555" y="3844"/>
                </a:lnTo>
                <a:cubicBezTo>
                  <a:pt x="10555" y="3687"/>
                  <a:pt x="10397" y="3529"/>
                  <a:pt x="10208" y="3529"/>
                </a:cubicBezTo>
                <a:lnTo>
                  <a:pt x="9862" y="3529"/>
                </a:lnTo>
                <a:lnTo>
                  <a:pt x="9862" y="2458"/>
                </a:lnTo>
                <a:cubicBezTo>
                  <a:pt x="9862" y="2269"/>
                  <a:pt x="9704" y="2112"/>
                  <a:pt x="9515" y="2112"/>
                </a:cubicBezTo>
                <a:cubicBezTo>
                  <a:pt x="9295" y="2112"/>
                  <a:pt x="9137" y="2269"/>
                  <a:pt x="9137" y="2458"/>
                </a:cubicBezTo>
                <a:lnTo>
                  <a:pt x="9137" y="3529"/>
                </a:lnTo>
                <a:lnTo>
                  <a:pt x="8791" y="3529"/>
                </a:lnTo>
                <a:cubicBezTo>
                  <a:pt x="8602" y="3529"/>
                  <a:pt x="8444" y="3687"/>
                  <a:pt x="8444" y="3876"/>
                </a:cubicBezTo>
                <a:lnTo>
                  <a:pt x="8444" y="5294"/>
                </a:lnTo>
                <a:cubicBezTo>
                  <a:pt x="8444" y="5766"/>
                  <a:pt x="8728" y="6176"/>
                  <a:pt x="9137" y="6302"/>
                </a:cubicBezTo>
                <a:lnTo>
                  <a:pt x="9137" y="8444"/>
                </a:lnTo>
                <a:cubicBezTo>
                  <a:pt x="9137" y="8854"/>
                  <a:pt x="8822" y="9169"/>
                  <a:pt x="8444" y="9169"/>
                </a:cubicBezTo>
                <a:cubicBezTo>
                  <a:pt x="8035" y="9169"/>
                  <a:pt x="7720" y="8854"/>
                  <a:pt x="7720" y="8444"/>
                </a:cubicBezTo>
                <a:lnTo>
                  <a:pt x="7720" y="2458"/>
                </a:lnTo>
                <a:cubicBezTo>
                  <a:pt x="7720" y="1103"/>
                  <a:pt x="6617" y="1"/>
                  <a:pt x="52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17" name="Google Shape;7617;p75"/>
          <p:cNvGrpSpPr/>
          <p:nvPr/>
        </p:nvGrpSpPr>
        <p:grpSpPr>
          <a:xfrm>
            <a:off x="4713567" y="4485951"/>
            <a:ext cx="421181" cy="477599"/>
            <a:chOff x="-45278675" y="2333325"/>
            <a:chExt cx="264650" cy="300100"/>
          </a:xfrm>
        </p:grpSpPr>
        <p:sp>
          <p:nvSpPr>
            <p:cNvPr id="7618" name="Google Shape;7618;p75"/>
            <p:cNvSpPr/>
            <p:nvPr/>
          </p:nvSpPr>
          <p:spPr>
            <a:xfrm>
              <a:off x="-45243225" y="2475100"/>
              <a:ext cx="52775" cy="87450"/>
            </a:xfrm>
            <a:custGeom>
              <a:avLst/>
              <a:gdLst/>
              <a:ahLst/>
              <a:cxnLst/>
              <a:rect l="l" t="t" r="r" b="b"/>
              <a:pathLst>
                <a:path w="2111" h="3498" extrusionOk="0">
                  <a:moveTo>
                    <a:pt x="1071" y="725"/>
                  </a:moveTo>
                  <a:cubicBezTo>
                    <a:pt x="1260" y="725"/>
                    <a:pt x="1418" y="883"/>
                    <a:pt x="1418" y="1072"/>
                  </a:cubicBezTo>
                  <a:cubicBezTo>
                    <a:pt x="1418" y="1261"/>
                    <a:pt x="1260" y="1418"/>
                    <a:pt x="1071" y="1418"/>
                  </a:cubicBezTo>
                  <a:lnTo>
                    <a:pt x="725" y="1418"/>
                  </a:lnTo>
                  <a:lnTo>
                    <a:pt x="725" y="725"/>
                  </a:lnTo>
                  <a:close/>
                  <a:moveTo>
                    <a:pt x="347" y="0"/>
                  </a:moveTo>
                  <a:cubicBezTo>
                    <a:pt x="158" y="0"/>
                    <a:pt x="0" y="158"/>
                    <a:pt x="0" y="347"/>
                  </a:cubicBezTo>
                  <a:lnTo>
                    <a:pt x="0" y="3151"/>
                  </a:lnTo>
                  <a:cubicBezTo>
                    <a:pt x="0" y="3340"/>
                    <a:pt x="158" y="3497"/>
                    <a:pt x="347" y="3497"/>
                  </a:cubicBezTo>
                  <a:cubicBezTo>
                    <a:pt x="536" y="3497"/>
                    <a:pt x="693" y="3340"/>
                    <a:pt x="693" y="3151"/>
                  </a:cubicBezTo>
                  <a:lnTo>
                    <a:pt x="693" y="2080"/>
                  </a:lnTo>
                  <a:lnTo>
                    <a:pt x="1071" y="2080"/>
                  </a:lnTo>
                  <a:cubicBezTo>
                    <a:pt x="1638" y="2080"/>
                    <a:pt x="2111" y="1607"/>
                    <a:pt x="2111" y="1040"/>
                  </a:cubicBezTo>
                  <a:cubicBezTo>
                    <a:pt x="2111" y="473"/>
                    <a:pt x="167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19" name="Google Shape;7619;p75"/>
            <p:cNvSpPr/>
            <p:nvPr/>
          </p:nvSpPr>
          <p:spPr>
            <a:xfrm>
              <a:off x="-45172350" y="2475100"/>
              <a:ext cx="52800" cy="89025"/>
            </a:xfrm>
            <a:custGeom>
              <a:avLst/>
              <a:gdLst/>
              <a:ahLst/>
              <a:cxnLst/>
              <a:rect l="l" t="t" r="r" b="b"/>
              <a:pathLst>
                <a:path w="2112" h="3561" extrusionOk="0">
                  <a:moveTo>
                    <a:pt x="1072" y="0"/>
                  </a:moveTo>
                  <a:cubicBezTo>
                    <a:pt x="473" y="0"/>
                    <a:pt x="1" y="473"/>
                    <a:pt x="1" y="1072"/>
                  </a:cubicBezTo>
                  <a:cubicBezTo>
                    <a:pt x="1" y="1670"/>
                    <a:pt x="473" y="2143"/>
                    <a:pt x="1072" y="2143"/>
                  </a:cubicBezTo>
                  <a:cubicBezTo>
                    <a:pt x="1261" y="2143"/>
                    <a:pt x="1418" y="2300"/>
                    <a:pt x="1418" y="2489"/>
                  </a:cubicBezTo>
                  <a:cubicBezTo>
                    <a:pt x="1418" y="2678"/>
                    <a:pt x="1261" y="2836"/>
                    <a:pt x="1072" y="2836"/>
                  </a:cubicBezTo>
                  <a:cubicBezTo>
                    <a:pt x="851" y="2836"/>
                    <a:pt x="694" y="2678"/>
                    <a:pt x="694" y="2489"/>
                  </a:cubicBezTo>
                  <a:cubicBezTo>
                    <a:pt x="694" y="2300"/>
                    <a:pt x="536" y="2143"/>
                    <a:pt x="347" y="2143"/>
                  </a:cubicBezTo>
                  <a:cubicBezTo>
                    <a:pt x="158" y="2143"/>
                    <a:pt x="1" y="2300"/>
                    <a:pt x="1" y="2489"/>
                  </a:cubicBezTo>
                  <a:cubicBezTo>
                    <a:pt x="1" y="3088"/>
                    <a:pt x="473" y="3560"/>
                    <a:pt x="1072" y="3560"/>
                  </a:cubicBezTo>
                  <a:cubicBezTo>
                    <a:pt x="1639" y="3560"/>
                    <a:pt x="2111" y="3088"/>
                    <a:pt x="2111" y="2489"/>
                  </a:cubicBezTo>
                  <a:cubicBezTo>
                    <a:pt x="2111" y="1891"/>
                    <a:pt x="1639" y="1418"/>
                    <a:pt x="1072" y="1418"/>
                  </a:cubicBezTo>
                  <a:cubicBezTo>
                    <a:pt x="851" y="1418"/>
                    <a:pt x="725" y="1261"/>
                    <a:pt x="725" y="1072"/>
                  </a:cubicBezTo>
                  <a:cubicBezTo>
                    <a:pt x="725" y="883"/>
                    <a:pt x="851" y="725"/>
                    <a:pt x="1072" y="725"/>
                  </a:cubicBezTo>
                  <a:cubicBezTo>
                    <a:pt x="1261" y="725"/>
                    <a:pt x="1418" y="883"/>
                    <a:pt x="1418" y="1072"/>
                  </a:cubicBezTo>
                  <a:cubicBezTo>
                    <a:pt x="1418" y="1261"/>
                    <a:pt x="1576" y="1418"/>
                    <a:pt x="1765" y="1418"/>
                  </a:cubicBezTo>
                  <a:cubicBezTo>
                    <a:pt x="1954" y="1418"/>
                    <a:pt x="2111" y="1261"/>
                    <a:pt x="2111" y="1072"/>
                  </a:cubicBezTo>
                  <a:cubicBezTo>
                    <a:pt x="2111" y="473"/>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0" name="Google Shape;7620;p75"/>
            <p:cNvSpPr/>
            <p:nvPr/>
          </p:nvSpPr>
          <p:spPr>
            <a:xfrm>
              <a:off x="-45102250" y="2475100"/>
              <a:ext cx="52800" cy="87450"/>
            </a:xfrm>
            <a:custGeom>
              <a:avLst/>
              <a:gdLst/>
              <a:ahLst/>
              <a:cxnLst/>
              <a:rect l="l" t="t" r="r" b="b"/>
              <a:pathLst>
                <a:path w="2112" h="3498" extrusionOk="0">
                  <a:moveTo>
                    <a:pt x="1072" y="725"/>
                  </a:moveTo>
                  <a:cubicBezTo>
                    <a:pt x="1261" y="725"/>
                    <a:pt x="1418" y="883"/>
                    <a:pt x="1418" y="1072"/>
                  </a:cubicBezTo>
                  <a:lnTo>
                    <a:pt x="1418" y="2458"/>
                  </a:lnTo>
                  <a:cubicBezTo>
                    <a:pt x="1418" y="2647"/>
                    <a:pt x="1261" y="2804"/>
                    <a:pt x="1072" y="2804"/>
                  </a:cubicBezTo>
                  <a:lnTo>
                    <a:pt x="694" y="2804"/>
                  </a:lnTo>
                  <a:lnTo>
                    <a:pt x="694" y="725"/>
                  </a:lnTo>
                  <a:close/>
                  <a:moveTo>
                    <a:pt x="347" y="0"/>
                  </a:moveTo>
                  <a:cubicBezTo>
                    <a:pt x="158" y="0"/>
                    <a:pt x="0" y="158"/>
                    <a:pt x="0" y="347"/>
                  </a:cubicBezTo>
                  <a:lnTo>
                    <a:pt x="0" y="3151"/>
                  </a:lnTo>
                  <a:cubicBezTo>
                    <a:pt x="0" y="3340"/>
                    <a:pt x="158" y="3497"/>
                    <a:pt x="347" y="3497"/>
                  </a:cubicBezTo>
                  <a:lnTo>
                    <a:pt x="1040" y="3497"/>
                  </a:lnTo>
                  <a:cubicBezTo>
                    <a:pt x="1639" y="3497"/>
                    <a:pt x="2111" y="3025"/>
                    <a:pt x="2111" y="2458"/>
                  </a:cubicBezTo>
                  <a:lnTo>
                    <a:pt x="2111" y="1040"/>
                  </a:lnTo>
                  <a:cubicBezTo>
                    <a:pt x="2111" y="473"/>
                    <a:pt x="163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1" name="Google Shape;7621;p75"/>
            <p:cNvSpPr/>
            <p:nvPr/>
          </p:nvSpPr>
          <p:spPr>
            <a:xfrm>
              <a:off x="-45278675" y="2333325"/>
              <a:ext cx="264650" cy="300100"/>
            </a:xfrm>
            <a:custGeom>
              <a:avLst/>
              <a:gdLst/>
              <a:ahLst/>
              <a:cxnLst/>
              <a:rect l="l" t="t" r="r" b="b"/>
              <a:pathLst>
                <a:path w="10586" h="12004" extrusionOk="0">
                  <a:moveTo>
                    <a:pt x="7751" y="1229"/>
                  </a:moveTo>
                  <a:lnTo>
                    <a:pt x="8664" y="2143"/>
                  </a:lnTo>
                  <a:lnTo>
                    <a:pt x="7751" y="2143"/>
                  </a:lnTo>
                  <a:lnTo>
                    <a:pt x="7751" y="1229"/>
                  </a:lnTo>
                  <a:close/>
                  <a:moveTo>
                    <a:pt x="7089" y="725"/>
                  </a:moveTo>
                  <a:lnTo>
                    <a:pt x="7089" y="2489"/>
                  </a:lnTo>
                  <a:cubicBezTo>
                    <a:pt x="7089" y="2678"/>
                    <a:pt x="7246" y="2836"/>
                    <a:pt x="7436" y="2836"/>
                  </a:cubicBezTo>
                  <a:lnTo>
                    <a:pt x="9200" y="2836"/>
                  </a:lnTo>
                  <a:lnTo>
                    <a:pt x="9200" y="4254"/>
                  </a:lnTo>
                  <a:lnTo>
                    <a:pt x="1481" y="4254"/>
                  </a:lnTo>
                  <a:lnTo>
                    <a:pt x="1481" y="725"/>
                  </a:lnTo>
                  <a:close/>
                  <a:moveTo>
                    <a:pt x="9893" y="4978"/>
                  </a:moveTo>
                  <a:lnTo>
                    <a:pt x="9893" y="9893"/>
                  </a:lnTo>
                  <a:lnTo>
                    <a:pt x="756" y="9893"/>
                  </a:lnTo>
                  <a:lnTo>
                    <a:pt x="756" y="4978"/>
                  </a:lnTo>
                  <a:close/>
                  <a:moveTo>
                    <a:pt x="9168" y="10586"/>
                  </a:moveTo>
                  <a:lnTo>
                    <a:pt x="9168" y="11311"/>
                  </a:lnTo>
                  <a:lnTo>
                    <a:pt x="1450" y="11311"/>
                  </a:lnTo>
                  <a:lnTo>
                    <a:pt x="1450" y="10586"/>
                  </a:lnTo>
                  <a:close/>
                  <a:moveTo>
                    <a:pt x="1072" y="1"/>
                  </a:moveTo>
                  <a:cubicBezTo>
                    <a:pt x="851" y="1"/>
                    <a:pt x="725" y="158"/>
                    <a:pt x="725" y="347"/>
                  </a:cubicBezTo>
                  <a:lnTo>
                    <a:pt x="725" y="4254"/>
                  </a:lnTo>
                  <a:lnTo>
                    <a:pt x="347" y="4254"/>
                  </a:lnTo>
                  <a:cubicBezTo>
                    <a:pt x="158" y="4254"/>
                    <a:pt x="0" y="4411"/>
                    <a:pt x="0" y="4600"/>
                  </a:cubicBezTo>
                  <a:lnTo>
                    <a:pt x="0" y="10240"/>
                  </a:lnTo>
                  <a:cubicBezTo>
                    <a:pt x="0" y="10429"/>
                    <a:pt x="158" y="10586"/>
                    <a:pt x="347" y="10586"/>
                  </a:cubicBezTo>
                  <a:lnTo>
                    <a:pt x="725" y="10586"/>
                  </a:lnTo>
                  <a:lnTo>
                    <a:pt x="725" y="11657"/>
                  </a:lnTo>
                  <a:cubicBezTo>
                    <a:pt x="725" y="11846"/>
                    <a:pt x="851" y="12004"/>
                    <a:pt x="1072" y="12004"/>
                  </a:cubicBezTo>
                  <a:lnTo>
                    <a:pt x="9483" y="12004"/>
                  </a:lnTo>
                  <a:cubicBezTo>
                    <a:pt x="9672" y="12004"/>
                    <a:pt x="9830" y="11846"/>
                    <a:pt x="9830" y="11657"/>
                  </a:cubicBezTo>
                  <a:lnTo>
                    <a:pt x="9830" y="10586"/>
                  </a:lnTo>
                  <a:lnTo>
                    <a:pt x="10208" y="10586"/>
                  </a:lnTo>
                  <a:cubicBezTo>
                    <a:pt x="10397" y="10586"/>
                    <a:pt x="10555" y="10429"/>
                    <a:pt x="10555" y="10240"/>
                  </a:cubicBezTo>
                  <a:lnTo>
                    <a:pt x="10555" y="4600"/>
                  </a:lnTo>
                  <a:cubicBezTo>
                    <a:pt x="10586" y="4411"/>
                    <a:pt x="10428" y="4254"/>
                    <a:pt x="10239" y="4254"/>
                  </a:cubicBezTo>
                  <a:lnTo>
                    <a:pt x="9893" y="4254"/>
                  </a:lnTo>
                  <a:lnTo>
                    <a:pt x="9893" y="2489"/>
                  </a:lnTo>
                  <a:cubicBezTo>
                    <a:pt x="9893" y="2395"/>
                    <a:pt x="9830" y="2300"/>
                    <a:pt x="9767" y="2237"/>
                  </a:cubicBezTo>
                  <a:lnTo>
                    <a:pt x="7656" y="127"/>
                  </a:lnTo>
                  <a:cubicBezTo>
                    <a:pt x="7562" y="32"/>
                    <a:pt x="7499" y="1"/>
                    <a:pt x="74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22" name="Google Shape;7622;p75"/>
          <p:cNvGrpSpPr/>
          <p:nvPr/>
        </p:nvGrpSpPr>
        <p:grpSpPr>
          <a:xfrm>
            <a:off x="4727334" y="5092561"/>
            <a:ext cx="393649" cy="477639"/>
            <a:chOff x="-45270025" y="2701925"/>
            <a:chExt cx="247350" cy="300125"/>
          </a:xfrm>
        </p:grpSpPr>
        <p:sp>
          <p:nvSpPr>
            <p:cNvPr id="7623" name="Google Shape;7623;p75"/>
            <p:cNvSpPr/>
            <p:nvPr/>
          </p:nvSpPr>
          <p:spPr>
            <a:xfrm>
              <a:off x="-45128250" y="2843700"/>
              <a:ext cx="18150" cy="17350"/>
            </a:xfrm>
            <a:custGeom>
              <a:avLst/>
              <a:gdLst/>
              <a:ahLst/>
              <a:cxnLst/>
              <a:rect l="l" t="t" r="r" b="b"/>
              <a:pathLst>
                <a:path w="726" h="694" extrusionOk="0">
                  <a:moveTo>
                    <a:pt x="347" y="1"/>
                  </a:moveTo>
                  <a:cubicBezTo>
                    <a:pt x="158" y="1"/>
                    <a:pt x="1" y="158"/>
                    <a:pt x="1" y="347"/>
                  </a:cubicBezTo>
                  <a:cubicBezTo>
                    <a:pt x="1" y="536"/>
                    <a:pt x="158" y="694"/>
                    <a:pt x="347" y="694"/>
                  </a:cubicBezTo>
                  <a:cubicBezTo>
                    <a:pt x="568" y="694"/>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4" name="Google Shape;7624;p75"/>
            <p:cNvSpPr/>
            <p:nvPr/>
          </p:nvSpPr>
          <p:spPr>
            <a:xfrm>
              <a:off x="-45270025" y="2701925"/>
              <a:ext cx="247350" cy="300125"/>
            </a:xfrm>
            <a:custGeom>
              <a:avLst/>
              <a:gdLst/>
              <a:ahLst/>
              <a:cxnLst/>
              <a:rect l="l" t="t" r="r" b="b"/>
              <a:pathLst>
                <a:path w="9894" h="12005" extrusionOk="0">
                  <a:moveTo>
                    <a:pt x="7751" y="1261"/>
                  </a:moveTo>
                  <a:lnTo>
                    <a:pt x="8665" y="2143"/>
                  </a:lnTo>
                  <a:lnTo>
                    <a:pt x="7751" y="2143"/>
                  </a:lnTo>
                  <a:lnTo>
                    <a:pt x="7751" y="1261"/>
                  </a:lnTo>
                  <a:close/>
                  <a:moveTo>
                    <a:pt x="7090" y="4979"/>
                  </a:moveTo>
                  <a:lnTo>
                    <a:pt x="7090" y="9925"/>
                  </a:lnTo>
                  <a:lnTo>
                    <a:pt x="757" y="9925"/>
                  </a:lnTo>
                  <a:lnTo>
                    <a:pt x="757" y="4979"/>
                  </a:lnTo>
                  <a:close/>
                  <a:moveTo>
                    <a:pt x="7090" y="725"/>
                  </a:moveTo>
                  <a:lnTo>
                    <a:pt x="7090" y="2521"/>
                  </a:lnTo>
                  <a:cubicBezTo>
                    <a:pt x="7090" y="2710"/>
                    <a:pt x="7247" y="2868"/>
                    <a:pt x="7436" y="2868"/>
                  </a:cubicBezTo>
                  <a:lnTo>
                    <a:pt x="9232" y="2868"/>
                  </a:lnTo>
                  <a:lnTo>
                    <a:pt x="9232" y="11343"/>
                  </a:lnTo>
                  <a:lnTo>
                    <a:pt x="1450" y="11343"/>
                  </a:lnTo>
                  <a:lnTo>
                    <a:pt x="1450" y="10618"/>
                  </a:lnTo>
                  <a:lnTo>
                    <a:pt x="7436" y="10618"/>
                  </a:lnTo>
                  <a:cubicBezTo>
                    <a:pt x="7657" y="10618"/>
                    <a:pt x="7814" y="10460"/>
                    <a:pt x="7814" y="10271"/>
                  </a:cubicBezTo>
                  <a:lnTo>
                    <a:pt x="7814" y="4632"/>
                  </a:lnTo>
                  <a:cubicBezTo>
                    <a:pt x="7814" y="4443"/>
                    <a:pt x="7657" y="4285"/>
                    <a:pt x="7436" y="4285"/>
                  </a:cubicBezTo>
                  <a:lnTo>
                    <a:pt x="1450" y="4285"/>
                  </a:lnTo>
                  <a:lnTo>
                    <a:pt x="1450" y="725"/>
                  </a:lnTo>
                  <a:close/>
                  <a:moveTo>
                    <a:pt x="1072" y="1"/>
                  </a:moveTo>
                  <a:cubicBezTo>
                    <a:pt x="883" y="1"/>
                    <a:pt x="726" y="158"/>
                    <a:pt x="726" y="347"/>
                  </a:cubicBezTo>
                  <a:lnTo>
                    <a:pt x="726" y="4254"/>
                  </a:lnTo>
                  <a:lnTo>
                    <a:pt x="379" y="4254"/>
                  </a:lnTo>
                  <a:cubicBezTo>
                    <a:pt x="158" y="4254"/>
                    <a:pt x="1" y="4411"/>
                    <a:pt x="1" y="4601"/>
                  </a:cubicBezTo>
                  <a:lnTo>
                    <a:pt x="1" y="10240"/>
                  </a:lnTo>
                  <a:cubicBezTo>
                    <a:pt x="1" y="10429"/>
                    <a:pt x="158" y="10586"/>
                    <a:pt x="379" y="10586"/>
                  </a:cubicBezTo>
                  <a:lnTo>
                    <a:pt x="726" y="10586"/>
                  </a:lnTo>
                  <a:lnTo>
                    <a:pt x="726" y="11658"/>
                  </a:lnTo>
                  <a:cubicBezTo>
                    <a:pt x="726" y="11847"/>
                    <a:pt x="883" y="12004"/>
                    <a:pt x="1072" y="12004"/>
                  </a:cubicBezTo>
                  <a:lnTo>
                    <a:pt x="9484" y="12004"/>
                  </a:lnTo>
                  <a:cubicBezTo>
                    <a:pt x="9704" y="12004"/>
                    <a:pt x="9862" y="11847"/>
                    <a:pt x="9862" y="11658"/>
                  </a:cubicBezTo>
                  <a:lnTo>
                    <a:pt x="9893" y="2458"/>
                  </a:lnTo>
                  <a:cubicBezTo>
                    <a:pt x="9893" y="2395"/>
                    <a:pt x="9862" y="2269"/>
                    <a:pt x="9767" y="2238"/>
                  </a:cubicBezTo>
                  <a:lnTo>
                    <a:pt x="7657" y="95"/>
                  </a:lnTo>
                  <a:cubicBezTo>
                    <a:pt x="7562" y="32"/>
                    <a:pt x="7499" y="1"/>
                    <a:pt x="7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5" name="Google Shape;7625;p75"/>
            <p:cNvSpPr/>
            <p:nvPr/>
          </p:nvSpPr>
          <p:spPr>
            <a:xfrm>
              <a:off x="-45235350" y="2844500"/>
              <a:ext cx="89800" cy="87450"/>
            </a:xfrm>
            <a:custGeom>
              <a:avLst/>
              <a:gdLst/>
              <a:ahLst/>
              <a:cxnLst/>
              <a:rect l="l" t="t" r="r" b="b"/>
              <a:pathLst>
                <a:path w="3592" h="3498" extrusionOk="0">
                  <a:moveTo>
                    <a:pt x="1796" y="1103"/>
                  </a:moveTo>
                  <a:lnTo>
                    <a:pt x="2268" y="2079"/>
                  </a:lnTo>
                  <a:lnTo>
                    <a:pt x="1292" y="2079"/>
                  </a:lnTo>
                  <a:lnTo>
                    <a:pt x="1796" y="1103"/>
                  </a:lnTo>
                  <a:close/>
                  <a:moveTo>
                    <a:pt x="1764" y="0"/>
                  </a:moveTo>
                  <a:cubicBezTo>
                    <a:pt x="1638" y="0"/>
                    <a:pt x="1544" y="63"/>
                    <a:pt x="1449" y="189"/>
                  </a:cubicBezTo>
                  <a:lnTo>
                    <a:pt x="32" y="2993"/>
                  </a:lnTo>
                  <a:cubicBezTo>
                    <a:pt x="0" y="3151"/>
                    <a:pt x="63" y="3340"/>
                    <a:pt x="284" y="3466"/>
                  </a:cubicBezTo>
                  <a:cubicBezTo>
                    <a:pt x="324" y="3482"/>
                    <a:pt x="369" y="3490"/>
                    <a:pt x="415" y="3490"/>
                  </a:cubicBezTo>
                  <a:cubicBezTo>
                    <a:pt x="547" y="3490"/>
                    <a:pt x="686" y="3425"/>
                    <a:pt x="756" y="3308"/>
                  </a:cubicBezTo>
                  <a:lnTo>
                    <a:pt x="977" y="2804"/>
                  </a:lnTo>
                  <a:lnTo>
                    <a:pt x="2647" y="2804"/>
                  </a:lnTo>
                  <a:lnTo>
                    <a:pt x="2867" y="3308"/>
                  </a:lnTo>
                  <a:cubicBezTo>
                    <a:pt x="2962" y="3434"/>
                    <a:pt x="3056" y="3497"/>
                    <a:pt x="3182" y="3497"/>
                  </a:cubicBezTo>
                  <a:cubicBezTo>
                    <a:pt x="3245" y="3497"/>
                    <a:pt x="3308" y="3497"/>
                    <a:pt x="3340" y="3466"/>
                  </a:cubicBezTo>
                  <a:cubicBezTo>
                    <a:pt x="3497" y="3371"/>
                    <a:pt x="3592" y="3151"/>
                    <a:pt x="3497" y="2993"/>
                  </a:cubicBezTo>
                  <a:lnTo>
                    <a:pt x="2079" y="189"/>
                  </a:lnTo>
                  <a:cubicBezTo>
                    <a:pt x="2016" y="63"/>
                    <a:pt x="1890"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26" name="Google Shape;7626;p75"/>
            <p:cNvSpPr/>
            <p:nvPr/>
          </p:nvSpPr>
          <p:spPr>
            <a:xfrm>
              <a:off x="-45128250" y="2879150"/>
              <a:ext cx="18150" cy="52800"/>
            </a:xfrm>
            <a:custGeom>
              <a:avLst/>
              <a:gdLst/>
              <a:ahLst/>
              <a:cxnLst/>
              <a:rect l="l" t="t" r="r" b="b"/>
              <a:pathLst>
                <a:path w="726" h="2112" extrusionOk="0">
                  <a:moveTo>
                    <a:pt x="347" y="0"/>
                  </a:moveTo>
                  <a:cubicBezTo>
                    <a:pt x="158" y="0"/>
                    <a:pt x="1" y="158"/>
                    <a:pt x="1" y="347"/>
                  </a:cubicBezTo>
                  <a:lnTo>
                    <a:pt x="1" y="1765"/>
                  </a:lnTo>
                  <a:cubicBezTo>
                    <a:pt x="1" y="1954"/>
                    <a:pt x="158" y="2111"/>
                    <a:pt x="347" y="2111"/>
                  </a:cubicBezTo>
                  <a:cubicBezTo>
                    <a:pt x="568" y="2111"/>
                    <a:pt x="725" y="1954"/>
                    <a:pt x="725" y="1765"/>
                  </a:cubicBezTo>
                  <a:lnTo>
                    <a:pt x="725" y="347"/>
                  </a:ln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27" name="Google Shape;7627;p75"/>
          <p:cNvSpPr/>
          <p:nvPr/>
        </p:nvSpPr>
        <p:spPr>
          <a:xfrm>
            <a:off x="3504933" y="5719886"/>
            <a:ext cx="477599" cy="477599"/>
          </a:xfrm>
          <a:custGeom>
            <a:avLst/>
            <a:gdLst/>
            <a:ahLst/>
            <a:cxnLst/>
            <a:rect l="l" t="t" r="r" b="b"/>
            <a:pathLst>
              <a:path w="12004" h="12004" extrusionOk="0">
                <a:moveTo>
                  <a:pt x="2867" y="725"/>
                </a:moveTo>
                <a:lnTo>
                  <a:pt x="2867" y="1449"/>
                </a:lnTo>
                <a:lnTo>
                  <a:pt x="2174" y="1449"/>
                </a:lnTo>
                <a:lnTo>
                  <a:pt x="2174" y="725"/>
                </a:lnTo>
                <a:close/>
                <a:moveTo>
                  <a:pt x="7971" y="3592"/>
                </a:moveTo>
                <a:lnTo>
                  <a:pt x="3560" y="8002"/>
                </a:lnTo>
                <a:lnTo>
                  <a:pt x="3560" y="3592"/>
                </a:lnTo>
                <a:close/>
                <a:moveTo>
                  <a:pt x="8506" y="4064"/>
                </a:moveTo>
                <a:lnTo>
                  <a:pt x="8506" y="8475"/>
                </a:lnTo>
                <a:lnTo>
                  <a:pt x="4096" y="8475"/>
                </a:lnTo>
                <a:lnTo>
                  <a:pt x="8506" y="4064"/>
                </a:lnTo>
                <a:close/>
                <a:moveTo>
                  <a:pt x="2867" y="3529"/>
                </a:moveTo>
                <a:lnTo>
                  <a:pt x="2867" y="8821"/>
                </a:lnTo>
                <a:cubicBezTo>
                  <a:pt x="2867" y="9011"/>
                  <a:pt x="3025" y="9168"/>
                  <a:pt x="3214" y="9168"/>
                </a:cubicBezTo>
                <a:lnTo>
                  <a:pt x="8506" y="9168"/>
                </a:lnTo>
                <a:lnTo>
                  <a:pt x="8506" y="9893"/>
                </a:lnTo>
                <a:lnTo>
                  <a:pt x="2174" y="9893"/>
                </a:lnTo>
                <a:lnTo>
                  <a:pt x="2174" y="3529"/>
                </a:lnTo>
                <a:close/>
                <a:moveTo>
                  <a:pt x="11342" y="9168"/>
                </a:moveTo>
                <a:lnTo>
                  <a:pt x="11342" y="9893"/>
                </a:lnTo>
                <a:lnTo>
                  <a:pt x="10617" y="9893"/>
                </a:lnTo>
                <a:lnTo>
                  <a:pt x="10617" y="9168"/>
                </a:lnTo>
                <a:close/>
                <a:moveTo>
                  <a:pt x="9830" y="2111"/>
                </a:moveTo>
                <a:lnTo>
                  <a:pt x="9830" y="11310"/>
                </a:lnTo>
                <a:lnTo>
                  <a:pt x="9168" y="11310"/>
                </a:lnTo>
                <a:lnTo>
                  <a:pt x="9168" y="3182"/>
                </a:lnTo>
                <a:lnTo>
                  <a:pt x="9168" y="3151"/>
                </a:lnTo>
                <a:cubicBezTo>
                  <a:pt x="9168" y="2993"/>
                  <a:pt x="9010" y="2836"/>
                  <a:pt x="8821" y="2836"/>
                </a:cubicBezTo>
                <a:lnTo>
                  <a:pt x="693" y="2836"/>
                </a:lnTo>
                <a:lnTo>
                  <a:pt x="693" y="2111"/>
                </a:lnTo>
                <a:close/>
                <a:moveTo>
                  <a:pt x="1764" y="0"/>
                </a:moveTo>
                <a:cubicBezTo>
                  <a:pt x="1575" y="0"/>
                  <a:pt x="1418" y="158"/>
                  <a:pt x="1418" y="347"/>
                </a:cubicBezTo>
                <a:lnTo>
                  <a:pt x="1418" y="1418"/>
                </a:lnTo>
                <a:lnTo>
                  <a:pt x="347" y="1418"/>
                </a:lnTo>
                <a:cubicBezTo>
                  <a:pt x="158" y="1418"/>
                  <a:pt x="0" y="1575"/>
                  <a:pt x="0" y="1764"/>
                </a:cubicBezTo>
                <a:lnTo>
                  <a:pt x="0" y="3182"/>
                </a:lnTo>
                <a:cubicBezTo>
                  <a:pt x="0" y="3371"/>
                  <a:pt x="158" y="3529"/>
                  <a:pt x="347" y="3529"/>
                </a:cubicBezTo>
                <a:lnTo>
                  <a:pt x="1418" y="3529"/>
                </a:lnTo>
                <a:lnTo>
                  <a:pt x="1418" y="10082"/>
                </a:lnTo>
                <a:lnTo>
                  <a:pt x="819" y="10680"/>
                </a:lnTo>
                <a:cubicBezTo>
                  <a:pt x="693" y="10775"/>
                  <a:pt x="693" y="11027"/>
                  <a:pt x="819" y="11184"/>
                </a:cubicBezTo>
                <a:cubicBezTo>
                  <a:pt x="882" y="11247"/>
                  <a:pt x="969" y="11279"/>
                  <a:pt x="1059" y="11279"/>
                </a:cubicBezTo>
                <a:cubicBezTo>
                  <a:pt x="1150" y="11279"/>
                  <a:pt x="1245" y="11247"/>
                  <a:pt x="1323" y="11184"/>
                </a:cubicBezTo>
                <a:lnTo>
                  <a:pt x="1922" y="10586"/>
                </a:lnTo>
                <a:lnTo>
                  <a:pt x="8475" y="10586"/>
                </a:lnTo>
                <a:lnTo>
                  <a:pt x="8475" y="11657"/>
                </a:lnTo>
                <a:cubicBezTo>
                  <a:pt x="8475" y="11846"/>
                  <a:pt x="8601" y="12003"/>
                  <a:pt x="8821" y="12003"/>
                </a:cubicBezTo>
                <a:lnTo>
                  <a:pt x="10239" y="12003"/>
                </a:lnTo>
                <a:cubicBezTo>
                  <a:pt x="10428" y="12003"/>
                  <a:pt x="10586" y="11846"/>
                  <a:pt x="10586" y="11657"/>
                </a:cubicBezTo>
                <a:lnTo>
                  <a:pt x="10586" y="10586"/>
                </a:lnTo>
                <a:lnTo>
                  <a:pt x="11657" y="10586"/>
                </a:lnTo>
                <a:cubicBezTo>
                  <a:pt x="11846" y="10586"/>
                  <a:pt x="12003" y="10428"/>
                  <a:pt x="12003" y="10239"/>
                </a:cubicBezTo>
                <a:lnTo>
                  <a:pt x="12003" y="8821"/>
                </a:lnTo>
                <a:cubicBezTo>
                  <a:pt x="12003" y="8632"/>
                  <a:pt x="11846" y="8475"/>
                  <a:pt x="11657" y="8475"/>
                </a:cubicBezTo>
                <a:lnTo>
                  <a:pt x="10586" y="8475"/>
                </a:lnTo>
                <a:lnTo>
                  <a:pt x="10586" y="1922"/>
                </a:lnTo>
                <a:lnTo>
                  <a:pt x="11184" y="1323"/>
                </a:lnTo>
                <a:cubicBezTo>
                  <a:pt x="11279" y="1229"/>
                  <a:pt x="11279" y="977"/>
                  <a:pt x="11184" y="819"/>
                </a:cubicBezTo>
                <a:cubicBezTo>
                  <a:pt x="11121" y="756"/>
                  <a:pt x="11035" y="725"/>
                  <a:pt x="10940" y="725"/>
                </a:cubicBezTo>
                <a:cubicBezTo>
                  <a:pt x="10846" y="725"/>
                  <a:pt x="10743" y="756"/>
                  <a:pt x="10649" y="819"/>
                </a:cubicBezTo>
                <a:lnTo>
                  <a:pt x="10082" y="1418"/>
                </a:lnTo>
                <a:lnTo>
                  <a:pt x="3529" y="1418"/>
                </a:lnTo>
                <a:lnTo>
                  <a:pt x="3529" y="347"/>
                </a:lnTo>
                <a:cubicBezTo>
                  <a:pt x="3529" y="158"/>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28" name="Google Shape;7628;p75"/>
          <p:cNvGrpSpPr/>
          <p:nvPr/>
        </p:nvGrpSpPr>
        <p:grpSpPr>
          <a:xfrm>
            <a:off x="2946090" y="2771022"/>
            <a:ext cx="409925" cy="347501"/>
            <a:chOff x="1636184" y="2959225"/>
            <a:chExt cx="232666" cy="197250"/>
          </a:xfrm>
        </p:grpSpPr>
        <p:sp>
          <p:nvSpPr>
            <p:cNvPr id="7629" name="Google Shape;7629;p75"/>
            <p:cNvSpPr/>
            <p:nvPr/>
          </p:nvSpPr>
          <p:spPr>
            <a:xfrm>
              <a:off x="1649300"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0" name="Google Shape;7630;p75"/>
            <p:cNvSpPr/>
            <p:nvPr/>
          </p:nvSpPr>
          <p:spPr>
            <a:xfrm flipH="1">
              <a:off x="1636184" y="2959225"/>
              <a:ext cx="219550" cy="197250"/>
            </a:xfrm>
            <a:custGeom>
              <a:avLst/>
              <a:gdLst/>
              <a:ahLst/>
              <a:cxnLst/>
              <a:rect l="l" t="t" r="r" b="b"/>
              <a:pathLst>
                <a:path w="8782" h="7890" extrusionOk="0">
                  <a:moveTo>
                    <a:pt x="3485" y="419"/>
                  </a:moveTo>
                  <a:lnTo>
                    <a:pt x="2342" y="1952"/>
                  </a:lnTo>
                  <a:lnTo>
                    <a:pt x="1757" y="419"/>
                  </a:lnTo>
                  <a:close/>
                  <a:moveTo>
                    <a:pt x="6495" y="419"/>
                  </a:moveTo>
                  <a:lnTo>
                    <a:pt x="5882" y="1952"/>
                  </a:lnTo>
                  <a:lnTo>
                    <a:pt x="4739" y="419"/>
                  </a:lnTo>
                  <a:close/>
                  <a:moveTo>
                    <a:pt x="1255" y="809"/>
                  </a:moveTo>
                  <a:lnTo>
                    <a:pt x="1812" y="2314"/>
                  </a:lnTo>
                  <a:lnTo>
                    <a:pt x="307" y="2314"/>
                  </a:lnTo>
                  <a:lnTo>
                    <a:pt x="1255" y="809"/>
                  </a:lnTo>
                  <a:close/>
                  <a:moveTo>
                    <a:pt x="4154" y="614"/>
                  </a:moveTo>
                  <a:lnTo>
                    <a:pt x="5408" y="2314"/>
                  </a:lnTo>
                  <a:lnTo>
                    <a:pt x="2900" y="2314"/>
                  </a:lnTo>
                  <a:lnTo>
                    <a:pt x="4154" y="614"/>
                  </a:lnTo>
                  <a:close/>
                  <a:moveTo>
                    <a:pt x="6997" y="809"/>
                  </a:moveTo>
                  <a:lnTo>
                    <a:pt x="7945" y="2314"/>
                  </a:lnTo>
                  <a:lnTo>
                    <a:pt x="6440" y="2314"/>
                  </a:lnTo>
                  <a:lnTo>
                    <a:pt x="6997" y="809"/>
                  </a:lnTo>
                  <a:close/>
                  <a:moveTo>
                    <a:pt x="2035" y="2928"/>
                  </a:moveTo>
                  <a:lnTo>
                    <a:pt x="3206" y="6133"/>
                  </a:lnTo>
                  <a:lnTo>
                    <a:pt x="419" y="2928"/>
                  </a:lnTo>
                  <a:close/>
                  <a:moveTo>
                    <a:pt x="7806" y="2928"/>
                  </a:moveTo>
                  <a:lnTo>
                    <a:pt x="5018" y="6133"/>
                  </a:lnTo>
                  <a:lnTo>
                    <a:pt x="6217" y="2928"/>
                  </a:lnTo>
                  <a:close/>
                  <a:moveTo>
                    <a:pt x="5548" y="2928"/>
                  </a:moveTo>
                  <a:lnTo>
                    <a:pt x="4126" y="6719"/>
                  </a:lnTo>
                  <a:lnTo>
                    <a:pt x="2677" y="2928"/>
                  </a:lnTo>
                  <a:close/>
                  <a:moveTo>
                    <a:pt x="1562" y="1"/>
                  </a:moveTo>
                  <a:lnTo>
                    <a:pt x="1" y="2482"/>
                  </a:lnTo>
                  <a:lnTo>
                    <a:pt x="1" y="2510"/>
                  </a:lnTo>
                  <a:lnTo>
                    <a:pt x="1" y="2537"/>
                  </a:lnTo>
                  <a:lnTo>
                    <a:pt x="1" y="2593"/>
                  </a:lnTo>
                  <a:lnTo>
                    <a:pt x="1" y="2621"/>
                  </a:lnTo>
                  <a:lnTo>
                    <a:pt x="1" y="2649"/>
                  </a:lnTo>
                  <a:lnTo>
                    <a:pt x="1" y="2677"/>
                  </a:lnTo>
                  <a:lnTo>
                    <a:pt x="1" y="2733"/>
                  </a:lnTo>
                  <a:lnTo>
                    <a:pt x="1" y="2760"/>
                  </a:lnTo>
                  <a:lnTo>
                    <a:pt x="1" y="2788"/>
                  </a:lnTo>
                  <a:lnTo>
                    <a:pt x="1" y="2816"/>
                  </a:lnTo>
                  <a:lnTo>
                    <a:pt x="1" y="2872"/>
                  </a:lnTo>
                  <a:lnTo>
                    <a:pt x="4349" y="7834"/>
                  </a:lnTo>
                  <a:lnTo>
                    <a:pt x="4405" y="7890"/>
                  </a:lnTo>
                  <a:lnTo>
                    <a:pt x="4879" y="7890"/>
                  </a:lnTo>
                  <a:lnTo>
                    <a:pt x="4907" y="7834"/>
                  </a:lnTo>
                  <a:lnTo>
                    <a:pt x="8753" y="2788"/>
                  </a:lnTo>
                  <a:lnTo>
                    <a:pt x="8753" y="2788"/>
                  </a:lnTo>
                  <a:cubicBezTo>
                    <a:pt x="8744" y="2798"/>
                    <a:pt x="8738" y="2801"/>
                    <a:pt x="8735" y="2801"/>
                  </a:cubicBezTo>
                  <a:cubicBezTo>
                    <a:pt x="8729" y="2801"/>
                    <a:pt x="8735" y="2788"/>
                    <a:pt x="8753" y="2788"/>
                  </a:cubicBezTo>
                  <a:lnTo>
                    <a:pt x="8781" y="2760"/>
                  </a:lnTo>
                  <a:lnTo>
                    <a:pt x="8781" y="2733"/>
                  </a:lnTo>
                  <a:lnTo>
                    <a:pt x="8781" y="2677"/>
                  </a:lnTo>
                  <a:lnTo>
                    <a:pt x="8781" y="2649"/>
                  </a:lnTo>
                  <a:lnTo>
                    <a:pt x="8781" y="2621"/>
                  </a:lnTo>
                  <a:lnTo>
                    <a:pt x="8781" y="2593"/>
                  </a:lnTo>
                  <a:lnTo>
                    <a:pt x="8781" y="2537"/>
                  </a:lnTo>
                  <a:lnTo>
                    <a:pt x="8781" y="2510"/>
                  </a:lnTo>
                  <a:lnTo>
                    <a:pt x="8781" y="2482"/>
                  </a:lnTo>
                  <a:lnTo>
                    <a:pt x="7220" y="1"/>
                  </a:ln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1" name="Google Shape;7631;p75"/>
            <p:cNvSpPr/>
            <p:nvPr/>
          </p:nvSpPr>
          <p:spPr>
            <a:xfrm>
              <a:off x="1734750" y="3136775"/>
              <a:ext cx="36900" cy="19650"/>
            </a:xfrm>
            <a:custGeom>
              <a:avLst/>
              <a:gdLst/>
              <a:ahLst/>
              <a:cxnLst/>
              <a:rect l="l" t="t" r="r" b="b"/>
              <a:pathLst>
                <a:path w="1476" h="786" extrusionOk="0">
                  <a:moveTo>
                    <a:pt x="0" y="786"/>
                  </a:moveTo>
                  <a:lnTo>
                    <a:pt x="1476" y="786"/>
                  </a:lnTo>
                  <a:lnTo>
                    <a:pt x="762" y="0"/>
                  </a:lnTo>
                  <a:close/>
                </a:path>
              </a:pathLst>
            </a:custGeom>
            <a:solidFill>
              <a:srgbClr val="5F7D95"/>
            </a:solidFill>
            <a:ln>
              <a:noFill/>
            </a:ln>
          </p:spPr>
        </p:sp>
        <p:sp>
          <p:nvSpPr>
            <p:cNvPr id="7632" name="Google Shape;7632;p75"/>
            <p:cNvSpPr/>
            <p:nvPr/>
          </p:nvSpPr>
          <p:spPr>
            <a:xfrm>
              <a:off x="1684150" y="2963550"/>
              <a:ext cx="139900" cy="11300"/>
            </a:xfrm>
            <a:custGeom>
              <a:avLst/>
              <a:gdLst/>
              <a:ahLst/>
              <a:cxnLst/>
              <a:rect l="l" t="t" r="r" b="b"/>
              <a:pathLst>
                <a:path w="5596" h="452" extrusionOk="0">
                  <a:moveTo>
                    <a:pt x="0" y="452"/>
                  </a:moveTo>
                  <a:lnTo>
                    <a:pt x="5596" y="452"/>
                  </a:lnTo>
                  <a:lnTo>
                    <a:pt x="5500" y="0"/>
                  </a:lnTo>
                  <a:lnTo>
                    <a:pt x="238" y="47"/>
                  </a:lnTo>
                  <a:close/>
                </a:path>
              </a:pathLst>
            </a:custGeom>
            <a:solidFill>
              <a:srgbClr val="5F7D95"/>
            </a:solidFill>
            <a:ln>
              <a:noFill/>
            </a:ln>
          </p:spPr>
        </p:sp>
      </p:grpSp>
      <p:grpSp>
        <p:nvGrpSpPr>
          <p:cNvPr id="7633" name="Google Shape;7633;p75"/>
          <p:cNvGrpSpPr/>
          <p:nvPr/>
        </p:nvGrpSpPr>
        <p:grpSpPr>
          <a:xfrm>
            <a:off x="4769687" y="3284815"/>
            <a:ext cx="344723" cy="486872"/>
            <a:chOff x="-47300587" y="123275"/>
            <a:chExt cx="190975" cy="269725"/>
          </a:xfrm>
        </p:grpSpPr>
        <p:sp>
          <p:nvSpPr>
            <p:cNvPr id="7634" name="Google Shape;7634;p75"/>
            <p:cNvSpPr/>
            <p:nvPr/>
          </p:nvSpPr>
          <p:spPr>
            <a:xfrm>
              <a:off x="-47300587" y="123275"/>
              <a:ext cx="190975" cy="269725"/>
            </a:xfrm>
            <a:custGeom>
              <a:avLst/>
              <a:gdLst/>
              <a:ahLst/>
              <a:cxnLst/>
              <a:rect l="l" t="t" r="r" b="b"/>
              <a:pathLst>
                <a:path w="7639" h="10789" extrusionOk="0">
                  <a:moveTo>
                    <a:pt x="5130" y="1283"/>
                  </a:moveTo>
                  <a:cubicBezTo>
                    <a:pt x="5659" y="1283"/>
                    <a:pt x="6050" y="1701"/>
                    <a:pt x="6050" y="2231"/>
                  </a:cubicBezTo>
                  <a:lnTo>
                    <a:pt x="6050" y="6273"/>
                  </a:lnTo>
                  <a:lnTo>
                    <a:pt x="4182" y="6273"/>
                  </a:lnTo>
                  <a:lnTo>
                    <a:pt x="4182" y="5687"/>
                  </a:lnTo>
                  <a:lnTo>
                    <a:pt x="4489" y="5687"/>
                  </a:lnTo>
                  <a:cubicBezTo>
                    <a:pt x="4684" y="5687"/>
                    <a:pt x="4823" y="5548"/>
                    <a:pt x="4823" y="5381"/>
                  </a:cubicBezTo>
                  <a:cubicBezTo>
                    <a:pt x="4823" y="5213"/>
                    <a:pt x="4684" y="5074"/>
                    <a:pt x="4489" y="5074"/>
                  </a:cubicBezTo>
                  <a:lnTo>
                    <a:pt x="4182" y="5074"/>
                  </a:lnTo>
                  <a:lnTo>
                    <a:pt x="4182" y="4433"/>
                  </a:lnTo>
                  <a:lnTo>
                    <a:pt x="4489" y="4433"/>
                  </a:lnTo>
                  <a:cubicBezTo>
                    <a:pt x="4684" y="4433"/>
                    <a:pt x="4823" y="4294"/>
                    <a:pt x="4823" y="4126"/>
                  </a:cubicBezTo>
                  <a:cubicBezTo>
                    <a:pt x="4823" y="3931"/>
                    <a:pt x="4684" y="3792"/>
                    <a:pt x="4489" y="3792"/>
                  </a:cubicBezTo>
                  <a:lnTo>
                    <a:pt x="4182" y="3792"/>
                  </a:lnTo>
                  <a:lnTo>
                    <a:pt x="4182" y="3179"/>
                  </a:lnTo>
                  <a:lnTo>
                    <a:pt x="4489" y="3179"/>
                  </a:lnTo>
                  <a:cubicBezTo>
                    <a:pt x="4684" y="3179"/>
                    <a:pt x="4823" y="3039"/>
                    <a:pt x="4823" y="2872"/>
                  </a:cubicBezTo>
                  <a:cubicBezTo>
                    <a:pt x="4823" y="2677"/>
                    <a:pt x="4684" y="2537"/>
                    <a:pt x="4489" y="2537"/>
                  </a:cubicBezTo>
                  <a:lnTo>
                    <a:pt x="4182" y="2537"/>
                  </a:lnTo>
                  <a:lnTo>
                    <a:pt x="4182" y="2231"/>
                  </a:lnTo>
                  <a:cubicBezTo>
                    <a:pt x="4182" y="1701"/>
                    <a:pt x="4600" y="1283"/>
                    <a:pt x="5130" y="1283"/>
                  </a:cubicBezTo>
                  <a:close/>
                  <a:moveTo>
                    <a:pt x="2649" y="1952"/>
                  </a:moveTo>
                  <a:cubicBezTo>
                    <a:pt x="3178" y="1952"/>
                    <a:pt x="3597" y="2370"/>
                    <a:pt x="3597" y="2900"/>
                  </a:cubicBezTo>
                  <a:lnTo>
                    <a:pt x="3597" y="6328"/>
                  </a:lnTo>
                  <a:lnTo>
                    <a:pt x="1701" y="6328"/>
                  </a:lnTo>
                  <a:lnTo>
                    <a:pt x="1701" y="2900"/>
                  </a:lnTo>
                  <a:cubicBezTo>
                    <a:pt x="1701" y="2370"/>
                    <a:pt x="2119" y="1952"/>
                    <a:pt x="2649" y="1952"/>
                  </a:cubicBezTo>
                  <a:close/>
                  <a:moveTo>
                    <a:pt x="6969" y="6942"/>
                  </a:moveTo>
                  <a:lnTo>
                    <a:pt x="6969" y="7248"/>
                  </a:lnTo>
                  <a:lnTo>
                    <a:pt x="6997" y="7248"/>
                  </a:lnTo>
                  <a:cubicBezTo>
                    <a:pt x="6997" y="7443"/>
                    <a:pt x="6858" y="7583"/>
                    <a:pt x="6691" y="7583"/>
                  </a:cubicBezTo>
                  <a:lnTo>
                    <a:pt x="1088" y="7583"/>
                  </a:lnTo>
                  <a:cubicBezTo>
                    <a:pt x="920" y="7583"/>
                    <a:pt x="781" y="7443"/>
                    <a:pt x="781" y="7248"/>
                  </a:cubicBezTo>
                  <a:lnTo>
                    <a:pt x="781" y="6942"/>
                  </a:lnTo>
                  <a:close/>
                  <a:moveTo>
                    <a:pt x="6273" y="8168"/>
                  </a:moveTo>
                  <a:lnTo>
                    <a:pt x="5827" y="10092"/>
                  </a:lnTo>
                  <a:lnTo>
                    <a:pt x="1952" y="10092"/>
                  </a:lnTo>
                  <a:lnTo>
                    <a:pt x="1506" y="8168"/>
                  </a:lnTo>
                  <a:close/>
                  <a:moveTo>
                    <a:pt x="5102" y="1"/>
                  </a:moveTo>
                  <a:cubicBezTo>
                    <a:pt x="4907" y="1"/>
                    <a:pt x="4767" y="140"/>
                    <a:pt x="4767" y="307"/>
                  </a:cubicBezTo>
                  <a:lnTo>
                    <a:pt x="4767" y="670"/>
                  </a:lnTo>
                  <a:cubicBezTo>
                    <a:pt x="4572" y="698"/>
                    <a:pt x="4405" y="781"/>
                    <a:pt x="4210" y="921"/>
                  </a:cubicBezTo>
                  <a:lnTo>
                    <a:pt x="3987" y="670"/>
                  </a:lnTo>
                  <a:cubicBezTo>
                    <a:pt x="3931" y="614"/>
                    <a:pt x="3847" y="586"/>
                    <a:pt x="3760" y="586"/>
                  </a:cubicBezTo>
                  <a:cubicBezTo>
                    <a:pt x="3673" y="586"/>
                    <a:pt x="3583" y="614"/>
                    <a:pt x="3513" y="670"/>
                  </a:cubicBezTo>
                  <a:cubicBezTo>
                    <a:pt x="3429" y="781"/>
                    <a:pt x="3429" y="976"/>
                    <a:pt x="3513" y="1116"/>
                  </a:cubicBezTo>
                  <a:lnTo>
                    <a:pt x="3764" y="1367"/>
                  </a:lnTo>
                  <a:cubicBezTo>
                    <a:pt x="3708" y="1478"/>
                    <a:pt x="3652" y="1562"/>
                    <a:pt x="3597" y="1673"/>
                  </a:cubicBezTo>
                  <a:cubicBezTo>
                    <a:pt x="3374" y="1506"/>
                    <a:pt x="3123" y="1367"/>
                    <a:pt x="2872" y="1339"/>
                  </a:cubicBezTo>
                  <a:lnTo>
                    <a:pt x="2872" y="976"/>
                  </a:lnTo>
                  <a:cubicBezTo>
                    <a:pt x="2872" y="809"/>
                    <a:pt x="2732" y="670"/>
                    <a:pt x="2537" y="670"/>
                  </a:cubicBezTo>
                  <a:cubicBezTo>
                    <a:pt x="2370" y="670"/>
                    <a:pt x="2231" y="809"/>
                    <a:pt x="2231" y="976"/>
                  </a:cubicBezTo>
                  <a:lnTo>
                    <a:pt x="2231" y="1339"/>
                  </a:lnTo>
                  <a:cubicBezTo>
                    <a:pt x="2036" y="1367"/>
                    <a:pt x="1840" y="1450"/>
                    <a:pt x="1673" y="1562"/>
                  </a:cubicBezTo>
                  <a:lnTo>
                    <a:pt x="1422" y="1339"/>
                  </a:lnTo>
                  <a:cubicBezTo>
                    <a:pt x="1380" y="1283"/>
                    <a:pt x="1304" y="1255"/>
                    <a:pt x="1220" y="1255"/>
                  </a:cubicBezTo>
                  <a:cubicBezTo>
                    <a:pt x="1137" y="1255"/>
                    <a:pt x="1046" y="1283"/>
                    <a:pt x="976" y="1339"/>
                  </a:cubicBezTo>
                  <a:cubicBezTo>
                    <a:pt x="865" y="1450"/>
                    <a:pt x="865" y="1645"/>
                    <a:pt x="976" y="1785"/>
                  </a:cubicBezTo>
                  <a:lnTo>
                    <a:pt x="1227" y="2036"/>
                  </a:lnTo>
                  <a:cubicBezTo>
                    <a:pt x="1116" y="2203"/>
                    <a:pt x="1032" y="2370"/>
                    <a:pt x="976" y="2593"/>
                  </a:cubicBezTo>
                  <a:lnTo>
                    <a:pt x="642" y="2593"/>
                  </a:lnTo>
                  <a:cubicBezTo>
                    <a:pt x="447" y="2593"/>
                    <a:pt x="307" y="2733"/>
                    <a:pt x="307" y="2900"/>
                  </a:cubicBezTo>
                  <a:cubicBezTo>
                    <a:pt x="307" y="3067"/>
                    <a:pt x="447" y="3206"/>
                    <a:pt x="642" y="3206"/>
                  </a:cubicBezTo>
                  <a:lnTo>
                    <a:pt x="948" y="3206"/>
                  </a:lnTo>
                  <a:lnTo>
                    <a:pt x="948" y="3848"/>
                  </a:lnTo>
                  <a:lnTo>
                    <a:pt x="642" y="3848"/>
                  </a:lnTo>
                  <a:cubicBezTo>
                    <a:pt x="447" y="3848"/>
                    <a:pt x="307" y="3987"/>
                    <a:pt x="307" y="4154"/>
                  </a:cubicBezTo>
                  <a:cubicBezTo>
                    <a:pt x="307" y="4321"/>
                    <a:pt x="447" y="4461"/>
                    <a:pt x="642" y="4461"/>
                  </a:cubicBezTo>
                  <a:lnTo>
                    <a:pt x="948" y="4461"/>
                  </a:lnTo>
                  <a:lnTo>
                    <a:pt x="948" y="5102"/>
                  </a:lnTo>
                  <a:lnTo>
                    <a:pt x="642" y="5102"/>
                  </a:lnTo>
                  <a:cubicBezTo>
                    <a:pt x="447" y="5102"/>
                    <a:pt x="307" y="5241"/>
                    <a:pt x="307" y="5409"/>
                  </a:cubicBezTo>
                  <a:cubicBezTo>
                    <a:pt x="307" y="5576"/>
                    <a:pt x="447" y="5715"/>
                    <a:pt x="642" y="5715"/>
                  </a:cubicBezTo>
                  <a:lnTo>
                    <a:pt x="948" y="5715"/>
                  </a:lnTo>
                  <a:lnTo>
                    <a:pt x="948" y="6356"/>
                  </a:lnTo>
                  <a:lnTo>
                    <a:pt x="307" y="6356"/>
                  </a:lnTo>
                  <a:cubicBezTo>
                    <a:pt x="140" y="6356"/>
                    <a:pt x="1" y="6496"/>
                    <a:pt x="1" y="6663"/>
                  </a:cubicBezTo>
                  <a:lnTo>
                    <a:pt x="1" y="7304"/>
                  </a:lnTo>
                  <a:cubicBezTo>
                    <a:pt x="1" y="7722"/>
                    <a:pt x="279" y="8085"/>
                    <a:pt x="697" y="8196"/>
                  </a:cubicBezTo>
                  <a:lnTo>
                    <a:pt x="1255" y="10538"/>
                  </a:lnTo>
                  <a:cubicBezTo>
                    <a:pt x="1283" y="10677"/>
                    <a:pt x="1422" y="10789"/>
                    <a:pt x="1562" y="10789"/>
                  </a:cubicBezTo>
                  <a:lnTo>
                    <a:pt x="5910" y="10789"/>
                  </a:lnTo>
                  <a:cubicBezTo>
                    <a:pt x="6050" y="10789"/>
                    <a:pt x="6217" y="10677"/>
                    <a:pt x="6245" y="10538"/>
                  </a:cubicBezTo>
                  <a:lnTo>
                    <a:pt x="6802" y="8196"/>
                  </a:lnTo>
                  <a:cubicBezTo>
                    <a:pt x="7165" y="8085"/>
                    <a:pt x="7499" y="7722"/>
                    <a:pt x="7499" y="7304"/>
                  </a:cubicBezTo>
                  <a:lnTo>
                    <a:pt x="7499" y="6663"/>
                  </a:lnTo>
                  <a:cubicBezTo>
                    <a:pt x="7638" y="6468"/>
                    <a:pt x="7499" y="6328"/>
                    <a:pt x="7332" y="6328"/>
                  </a:cubicBezTo>
                  <a:lnTo>
                    <a:pt x="6691" y="6328"/>
                  </a:lnTo>
                  <a:lnTo>
                    <a:pt x="6691" y="5074"/>
                  </a:lnTo>
                  <a:lnTo>
                    <a:pt x="6997" y="5074"/>
                  </a:lnTo>
                  <a:cubicBezTo>
                    <a:pt x="7192" y="5074"/>
                    <a:pt x="7332" y="4935"/>
                    <a:pt x="7332" y="4740"/>
                  </a:cubicBezTo>
                  <a:cubicBezTo>
                    <a:pt x="7332" y="4572"/>
                    <a:pt x="7192" y="4433"/>
                    <a:pt x="6997" y="4433"/>
                  </a:cubicBezTo>
                  <a:lnTo>
                    <a:pt x="6691" y="4433"/>
                  </a:lnTo>
                  <a:lnTo>
                    <a:pt x="6691" y="3820"/>
                  </a:lnTo>
                  <a:lnTo>
                    <a:pt x="6997" y="3820"/>
                  </a:lnTo>
                  <a:cubicBezTo>
                    <a:pt x="7192" y="3820"/>
                    <a:pt x="7332" y="3680"/>
                    <a:pt x="7332" y="3485"/>
                  </a:cubicBezTo>
                  <a:cubicBezTo>
                    <a:pt x="7332" y="3318"/>
                    <a:pt x="7192" y="3179"/>
                    <a:pt x="6997" y="3179"/>
                  </a:cubicBezTo>
                  <a:lnTo>
                    <a:pt x="6691" y="3179"/>
                  </a:lnTo>
                  <a:lnTo>
                    <a:pt x="6691" y="2537"/>
                  </a:lnTo>
                  <a:lnTo>
                    <a:pt x="6997" y="2537"/>
                  </a:lnTo>
                  <a:cubicBezTo>
                    <a:pt x="7192" y="2537"/>
                    <a:pt x="7332" y="2398"/>
                    <a:pt x="7332" y="2231"/>
                  </a:cubicBezTo>
                  <a:cubicBezTo>
                    <a:pt x="7332" y="2064"/>
                    <a:pt x="7192" y="1924"/>
                    <a:pt x="6997" y="1924"/>
                  </a:cubicBezTo>
                  <a:lnTo>
                    <a:pt x="6663" y="1924"/>
                  </a:lnTo>
                  <a:cubicBezTo>
                    <a:pt x="6635" y="1701"/>
                    <a:pt x="6551" y="1534"/>
                    <a:pt x="6412" y="1367"/>
                  </a:cubicBezTo>
                  <a:lnTo>
                    <a:pt x="6663" y="1116"/>
                  </a:lnTo>
                  <a:cubicBezTo>
                    <a:pt x="6774" y="1004"/>
                    <a:pt x="6774" y="809"/>
                    <a:pt x="6663" y="670"/>
                  </a:cubicBezTo>
                  <a:cubicBezTo>
                    <a:pt x="6607" y="614"/>
                    <a:pt x="6530" y="586"/>
                    <a:pt x="6450" y="586"/>
                  </a:cubicBezTo>
                  <a:cubicBezTo>
                    <a:pt x="6370" y="586"/>
                    <a:pt x="6286" y="614"/>
                    <a:pt x="6217" y="670"/>
                  </a:cubicBezTo>
                  <a:lnTo>
                    <a:pt x="5966" y="921"/>
                  </a:lnTo>
                  <a:cubicBezTo>
                    <a:pt x="5799" y="809"/>
                    <a:pt x="5604" y="726"/>
                    <a:pt x="5408" y="670"/>
                  </a:cubicBezTo>
                  <a:lnTo>
                    <a:pt x="5408" y="307"/>
                  </a:lnTo>
                  <a:cubicBezTo>
                    <a:pt x="5408" y="140"/>
                    <a:pt x="5269" y="1"/>
                    <a:pt x="51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5" name="Google Shape;7635;p75"/>
            <p:cNvSpPr/>
            <p:nvPr/>
          </p:nvSpPr>
          <p:spPr>
            <a:xfrm>
              <a:off x="-47242037" y="188100"/>
              <a:ext cx="15350" cy="31375"/>
            </a:xfrm>
            <a:custGeom>
              <a:avLst/>
              <a:gdLst/>
              <a:ahLst/>
              <a:cxnLst/>
              <a:rect l="l" t="t" r="r" b="b"/>
              <a:pathLst>
                <a:path w="614" h="1255" extrusionOk="0">
                  <a:moveTo>
                    <a:pt x="307" y="0"/>
                  </a:moveTo>
                  <a:cubicBezTo>
                    <a:pt x="140" y="0"/>
                    <a:pt x="0" y="140"/>
                    <a:pt x="0" y="307"/>
                  </a:cubicBezTo>
                  <a:lnTo>
                    <a:pt x="0" y="948"/>
                  </a:lnTo>
                  <a:cubicBezTo>
                    <a:pt x="0" y="1115"/>
                    <a:pt x="140" y="1255"/>
                    <a:pt x="307" y="1255"/>
                  </a:cubicBezTo>
                  <a:cubicBezTo>
                    <a:pt x="474" y="1255"/>
                    <a:pt x="613" y="1115"/>
                    <a:pt x="613" y="948"/>
                  </a:cubicBezTo>
                  <a:lnTo>
                    <a:pt x="613" y="307"/>
                  </a:lnTo>
                  <a:cubicBezTo>
                    <a:pt x="613" y="140"/>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6" name="Google Shape;7636;p75"/>
            <p:cNvSpPr/>
            <p:nvPr/>
          </p:nvSpPr>
          <p:spPr>
            <a:xfrm>
              <a:off x="-47242037" y="234775"/>
              <a:ext cx="15350" cy="31400"/>
            </a:xfrm>
            <a:custGeom>
              <a:avLst/>
              <a:gdLst/>
              <a:ahLst/>
              <a:cxnLst/>
              <a:rect l="l" t="t" r="r" b="b"/>
              <a:pathLst>
                <a:path w="614" h="1256" extrusionOk="0">
                  <a:moveTo>
                    <a:pt x="307" y="1"/>
                  </a:moveTo>
                  <a:cubicBezTo>
                    <a:pt x="140" y="1"/>
                    <a:pt x="0" y="140"/>
                    <a:pt x="0" y="335"/>
                  </a:cubicBezTo>
                  <a:lnTo>
                    <a:pt x="0" y="949"/>
                  </a:lnTo>
                  <a:cubicBezTo>
                    <a:pt x="0" y="1116"/>
                    <a:pt x="140" y="1255"/>
                    <a:pt x="307" y="1255"/>
                  </a:cubicBezTo>
                  <a:cubicBezTo>
                    <a:pt x="474" y="1255"/>
                    <a:pt x="613" y="1116"/>
                    <a:pt x="613" y="949"/>
                  </a:cubicBezTo>
                  <a:lnTo>
                    <a:pt x="613" y="335"/>
                  </a:lnTo>
                  <a:cubicBezTo>
                    <a:pt x="613"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7" name="Google Shape;7637;p75"/>
            <p:cNvSpPr/>
            <p:nvPr/>
          </p:nvSpPr>
          <p:spPr>
            <a:xfrm>
              <a:off x="-47180012" y="172075"/>
              <a:ext cx="15350" cy="31375"/>
            </a:xfrm>
            <a:custGeom>
              <a:avLst/>
              <a:gdLst/>
              <a:ahLst/>
              <a:cxnLst/>
              <a:rect l="l" t="t" r="r" b="b"/>
              <a:pathLst>
                <a:path w="614" h="1255" extrusionOk="0">
                  <a:moveTo>
                    <a:pt x="307" y="0"/>
                  </a:moveTo>
                  <a:cubicBezTo>
                    <a:pt x="139" y="0"/>
                    <a:pt x="0" y="139"/>
                    <a:pt x="0" y="335"/>
                  </a:cubicBezTo>
                  <a:lnTo>
                    <a:pt x="0" y="948"/>
                  </a:lnTo>
                  <a:cubicBezTo>
                    <a:pt x="0" y="1115"/>
                    <a:pt x="139" y="1254"/>
                    <a:pt x="307" y="1254"/>
                  </a:cubicBezTo>
                  <a:cubicBezTo>
                    <a:pt x="474" y="1254"/>
                    <a:pt x="613" y="1115"/>
                    <a:pt x="613" y="948"/>
                  </a:cubicBezTo>
                  <a:lnTo>
                    <a:pt x="613" y="335"/>
                  </a:lnTo>
                  <a:cubicBezTo>
                    <a:pt x="613" y="139"/>
                    <a:pt x="474"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38" name="Google Shape;7638;p75"/>
            <p:cNvSpPr/>
            <p:nvPr/>
          </p:nvSpPr>
          <p:spPr>
            <a:xfrm>
              <a:off x="-47180012" y="218050"/>
              <a:ext cx="15350" cy="32100"/>
            </a:xfrm>
            <a:custGeom>
              <a:avLst/>
              <a:gdLst/>
              <a:ahLst/>
              <a:cxnLst/>
              <a:rect l="l" t="t" r="r" b="b"/>
              <a:pathLst>
                <a:path w="614" h="1284" extrusionOk="0">
                  <a:moveTo>
                    <a:pt x="307" y="1"/>
                  </a:moveTo>
                  <a:cubicBezTo>
                    <a:pt x="139" y="1"/>
                    <a:pt x="0" y="140"/>
                    <a:pt x="0" y="335"/>
                  </a:cubicBezTo>
                  <a:lnTo>
                    <a:pt x="0" y="949"/>
                  </a:lnTo>
                  <a:cubicBezTo>
                    <a:pt x="0" y="1144"/>
                    <a:pt x="139" y="1283"/>
                    <a:pt x="307" y="1283"/>
                  </a:cubicBezTo>
                  <a:cubicBezTo>
                    <a:pt x="474" y="1283"/>
                    <a:pt x="613" y="1144"/>
                    <a:pt x="613" y="949"/>
                  </a:cubicBezTo>
                  <a:lnTo>
                    <a:pt x="613" y="335"/>
                  </a:lnTo>
                  <a:cubicBezTo>
                    <a:pt x="613"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39" name="Google Shape;7639;p75"/>
          <p:cNvGrpSpPr/>
          <p:nvPr/>
        </p:nvGrpSpPr>
        <p:grpSpPr>
          <a:xfrm>
            <a:off x="6494384" y="2043736"/>
            <a:ext cx="456437" cy="453057"/>
            <a:chOff x="-13966675" y="1639700"/>
            <a:chExt cx="354450" cy="351825"/>
          </a:xfrm>
        </p:grpSpPr>
        <p:sp>
          <p:nvSpPr>
            <p:cNvPr id="7640" name="Google Shape;7640;p75"/>
            <p:cNvSpPr/>
            <p:nvPr/>
          </p:nvSpPr>
          <p:spPr>
            <a:xfrm>
              <a:off x="-13776875" y="1888525"/>
              <a:ext cx="104775" cy="37625"/>
            </a:xfrm>
            <a:custGeom>
              <a:avLst/>
              <a:gdLst/>
              <a:ahLst/>
              <a:cxnLst/>
              <a:rect l="l" t="t" r="r" b="b"/>
              <a:pathLst>
                <a:path w="4191" h="1505" extrusionOk="0">
                  <a:moveTo>
                    <a:pt x="442" y="0"/>
                  </a:moveTo>
                  <a:cubicBezTo>
                    <a:pt x="339" y="0"/>
                    <a:pt x="237" y="40"/>
                    <a:pt x="158" y="118"/>
                  </a:cubicBezTo>
                  <a:cubicBezTo>
                    <a:pt x="1" y="276"/>
                    <a:pt x="1" y="559"/>
                    <a:pt x="158" y="717"/>
                  </a:cubicBezTo>
                  <a:cubicBezTo>
                    <a:pt x="725" y="1253"/>
                    <a:pt x="1418" y="1505"/>
                    <a:pt x="2112" y="1505"/>
                  </a:cubicBezTo>
                  <a:cubicBezTo>
                    <a:pt x="2805" y="1505"/>
                    <a:pt x="3498" y="1221"/>
                    <a:pt x="4033" y="717"/>
                  </a:cubicBezTo>
                  <a:cubicBezTo>
                    <a:pt x="4191" y="559"/>
                    <a:pt x="4191" y="276"/>
                    <a:pt x="4033" y="118"/>
                  </a:cubicBezTo>
                  <a:cubicBezTo>
                    <a:pt x="3955" y="40"/>
                    <a:pt x="3844" y="0"/>
                    <a:pt x="3734" y="0"/>
                  </a:cubicBezTo>
                  <a:cubicBezTo>
                    <a:pt x="3624" y="0"/>
                    <a:pt x="3514" y="40"/>
                    <a:pt x="3435" y="118"/>
                  </a:cubicBezTo>
                  <a:cubicBezTo>
                    <a:pt x="3057" y="496"/>
                    <a:pt x="2568" y="685"/>
                    <a:pt x="2080" y="685"/>
                  </a:cubicBezTo>
                  <a:cubicBezTo>
                    <a:pt x="1592" y="685"/>
                    <a:pt x="1103" y="496"/>
                    <a:pt x="725" y="118"/>
                  </a:cubicBezTo>
                  <a:cubicBezTo>
                    <a:pt x="647" y="40"/>
                    <a:pt x="544"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1" name="Google Shape;7641;p75"/>
            <p:cNvSpPr/>
            <p:nvPr/>
          </p:nvSpPr>
          <p:spPr>
            <a:xfrm>
              <a:off x="-13966675" y="1639700"/>
              <a:ext cx="354450" cy="351825"/>
            </a:xfrm>
            <a:custGeom>
              <a:avLst/>
              <a:gdLst/>
              <a:ahLst/>
              <a:cxnLst/>
              <a:rect l="l" t="t" r="r" b="b"/>
              <a:pathLst>
                <a:path w="14178" h="14073" extrusionOk="0">
                  <a:moveTo>
                    <a:pt x="8412" y="998"/>
                  </a:moveTo>
                  <a:lnTo>
                    <a:pt x="8412" y="4085"/>
                  </a:lnTo>
                  <a:cubicBezTo>
                    <a:pt x="7467" y="3959"/>
                    <a:pt x="6585" y="3739"/>
                    <a:pt x="5671" y="3361"/>
                  </a:cubicBezTo>
                  <a:cubicBezTo>
                    <a:pt x="5625" y="3349"/>
                    <a:pt x="5574" y="3342"/>
                    <a:pt x="5523" y="3342"/>
                  </a:cubicBezTo>
                  <a:cubicBezTo>
                    <a:pt x="5434" y="3342"/>
                    <a:pt x="5341" y="3364"/>
                    <a:pt x="5261" y="3424"/>
                  </a:cubicBezTo>
                  <a:cubicBezTo>
                    <a:pt x="5167" y="3487"/>
                    <a:pt x="5072" y="3613"/>
                    <a:pt x="5072" y="3770"/>
                  </a:cubicBezTo>
                  <a:lnTo>
                    <a:pt x="5072" y="6669"/>
                  </a:lnTo>
                  <a:cubicBezTo>
                    <a:pt x="4957" y="6656"/>
                    <a:pt x="4841" y="6650"/>
                    <a:pt x="4724" y="6650"/>
                  </a:cubicBezTo>
                  <a:cubicBezTo>
                    <a:pt x="3979" y="6650"/>
                    <a:pt x="3223" y="6912"/>
                    <a:pt x="2678" y="7456"/>
                  </a:cubicBezTo>
                  <a:cubicBezTo>
                    <a:pt x="2520" y="7614"/>
                    <a:pt x="2520" y="7898"/>
                    <a:pt x="2678" y="8055"/>
                  </a:cubicBezTo>
                  <a:cubicBezTo>
                    <a:pt x="2757" y="8134"/>
                    <a:pt x="2867" y="8173"/>
                    <a:pt x="2977" y="8173"/>
                  </a:cubicBezTo>
                  <a:cubicBezTo>
                    <a:pt x="3088" y="8173"/>
                    <a:pt x="3198" y="8134"/>
                    <a:pt x="3277" y="8055"/>
                  </a:cubicBezTo>
                  <a:cubicBezTo>
                    <a:pt x="3639" y="7692"/>
                    <a:pt x="4132" y="7497"/>
                    <a:pt x="4627" y="7497"/>
                  </a:cubicBezTo>
                  <a:cubicBezTo>
                    <a:pt x="4776" y="7497"/>
                    <a:pt x="4926" y="7514"/>
                    <a:pt x="5072" y="7551"/>
                  </a:cubicBezTo>
                  <a:lnTo>
                    <a:pt x="5072" y="8654"/>
                  </a:lnTo>
                  <a:cubicBezTo>
                    <a:pt x="5072" y="9032"/>
                    <a:pt x="5104" y="9441"/>
                    <a:pt x="5198" y="9788"/>
                  </a:cubicBezTo>
                  <a:cubicBezTo>
                    <a:pt x="5041" y="9819"/>
                    <a:pt x="4852" y="9914"/>
                    <a:pt x="4631" y="9945"/>
                  </a:cubicBezTo>
                  <a:cubicBezTo>
                    <a:pt x="2489" y="9473"/>
                    <a:pt x="914" y="7551"/>
                    <a:pt x="914" y="5346"/>
                  </a:cubicBezTo>
                  <a:lnTo>
                    <a:pt x="914" y="998"/>
                  </a:lnTo>
                  <a:lnTo>
                    <a:pt x="945" y="998"/>
                  </a:lnTo>
                  <a:cubicBezTo>
                    <a:pt x="2111" y="1408"/>
                    <a:pt x="3434" y="1628"/>
                    <a:pt x="4694" y="1628"/>
                  </a:cubicBezTo>
                  <a:cubicBezTo>
                    <a:pt x="5954" y="1628"/>
                    <a:pt x="7246" y="1439"/>
                    <a:pt x="8412" y="998"/>
                  </a:cubicBezTo>
                  <a:close/>
                  <a:moveTo>
                    <a:pt x="13421" y="4369"/>
                  </a:moveTo>
                  <a:lnTo>
                    <a:pt x="13421" y="8654"/>
                  </a:lnTo>
                  <a:cubicBezTo>
                    <a:pt x="13421" y="10890"/>
                    <a:pt x="11846" y="12812"/>
                    <a:pt x="9672" y="13285"/>
                  </a:cubicBezTo>
                  <a:cubicBezTo>
                    <a:pt x="7530" y="12812"/>
                    <a:pt x="5986" y="10859"/>
                    <a:pt x="5986" y="8654"/>
                  </a:cubicBezTo>
                  <a:lnTo>
                    <a:pt x="5986" y="4369"/>
                  </a:lnTo>
                  <a:cubicBezTo>
                    <a:pt x="7215" y="4779"/>
                    <a:pt x="8475" y="4999"/>
                    <a:pt x="9672" y="4999"/>
                  </a:cubicBezTo>
                  <a:cubicBezTo>
                    <a:pt x="10932" y="4936"/>
                    <a:pt x="12192" y="4747"/>
                    <a:pt x="13421" y="4369"/>
                  </a:cubicBezTo>
                  <a:close/>
                  <a:moveTo>
                    <a:pt x="430" y="1"/>
                  </a:moveTo>
                  <a:cubicBezTo>
                    <a:pt x="348" y="1"/>
                    <a:pt x="263" y="16"/>
                    <a:pt x="189" y="53"/>
                  </a:cubicBezTo>
                  <a:cubicBezTo>
                    <a:pt x="95" y="147"/>
                    <a:pt x="0" y="273"/>
                    <a:pt x="0" y="431"/>
                  </a:cubicBezTo>
                  <a:lnTo>
                    <a:pt x="0" y="5346"/>
                  </a:lnTo>
                  <a:cubicBezTo>
                    <a:pt x="126" y="7929"/>
                    <a:pt x="2016" y="10260"/>
                    <a:pt x="4600" y="10764"/>
                  </a:cubicBezTo>
                  <a:lnTo>
                    <a:pt x="4757" y="10764"/>
                  </a:lnTo>
                  <a:cubicBezTo>
                    <a:pt x="5009" y="10733"/>
                    <a:pt x="5230" y="10670"/>
                    <a:pt x="5482" y="10575"/>
                  </a:cubicBezTo>
                  <a:cubicBezTo>
                    <a:pt x="6144" y="12340"/>
                    <a:pt x="7687" y="13726"/>
                    <a:pt x="9578" y="14072"/>
                  </a:cubicBezTo>
                  <a:lnTo>
                    <a:pt x="9735" y="14072"/>
                  </a:lnTo>
                  <a:cubicBezTo>
                    <a:pt x="12318" y="13568"/>
                    <a:pt x="14177" y="11237"/>
                    <a:pt x="14177" y="8622"/>
                  </a:cubicBezTo>
                  <a:lnTo>
                    <a:pt x="14177" y="3770"/>
                  </a:lnTo>
                  <a:cubicBezTo>
                    <a:pt x="14177" y="3644"/>
                    <a:pt x="14114" y="3487"/>
                    <a:pt x="13988" y="3424"/>
                  </a:cubicBezTo>
                  <a:cubicBezTo>
                    <a:pt x="13908" y="3364"/>
                    <a:pt x="13816" y="3342"/>
                    <a:pt x="13727" y="3342"/>
                  </a:cubicBezTo>
                  <a:cubicBezTo>
                    <a:pt x="13675" y="3342"/>
                    <a:pt x="13625" y="3349"/>
                    <a:pt x="13579" y="3361"/>
                  </a:cubicBezTo>
                  <a:cubicBezTo>
                    <a:pt x="12318" y="3896"/>
                    <a:pt x="10995" y="4117"/>
                    <a:pt x="9609" y="4117"/>
                  </a:cubicBezTo>
                  <a:lnTo>
                    <a:pt x="9231" y="4117"/>
                  </a:lnTo>
                  <a:lnTo>
                    <a:pt x="9231" y="431"/>
                  </a:lnTo>
                  <a:cubicBezTo>
                    <a:pt x="9231" y="305"/>
                    <a:pt x="9136" y="147"/>
                    <a:pt x="9010" y="53"/>
                  </a:cubicBezTo>
                  <a:cubicBezTo>
                    <a:pt x="8955" y="16"/>
                    <a:pt x="8878" y="1"/>
                    <a:pt x="8799" y="1"/>
                  </a:cubicBezTo>
                  <a:cubicBezTo>
                    <a:pt x="8742" y="1"/>
                    <a:pt x="8685" y="8"/>
                    <a:pt x="8632" y="21"/>
                  </a:cubicBezTo>
                  <a:cubicBezTo>
                    <a:pt x="7372" y="525"/>
                    <a:pt x="5986" y="777"/>
                    <a:pt x="4600" y="777"/>
                  </a:cubicBezTo>
                  <a:cubicBezTo>
                    <a:pt x="3245" y="777"/>
                    <a:pt x="1859" y="494"/>
                    <a:pt x="599" y="21"/>
                  </a:cubicBezTo>
                  <a:cubicBezTo>
                    <a:pt x="546" y="8"/>
                    <a:pt x="489" y="1"/>
                    <a:pt x="4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2" name="Google Shape;7642;p75"/>
            <p:cNvSpPr/>
            <p:nvPr/>
          </p:nvSpPr>
          <p:spPr>
            <a:xfrm>
              <a:off x="-13923375" y="1723125"/>
              <a:ext cx="64625" cy="40925"/>
            </a:xfrm>
            <a:custGeom>
              <a:avLst/>
              <a:gdLst/>
              <a:ahLst/>
              <a:cxnLst/>
              <a:rect l="l" t="t" r="r" b="b"/>
              <a:pathLst>
                <a:path w="2585" h="1637" extrusionOk="0">
                  <a:moveTo>
                    <a:pt x="2113" y="1"/>
                  </a:moveTo>
                  <a:cubicBezTo>
                    <a:pt x="2061" y="1"/>
                    <a:pt x="2008" y="9"/>
                    <a:pt x="1954" y="24"/>
                  </a:cubicBezTo>
                  <a:lnTo>
                    <a:pt x="284" y="843"/>
                  </a:lnTo>
                  <a:cubicBezTo>
                    <a:pt x="64" y="969"/>
                    <a:pt x="1" y="1221"/>
                    <a:pt x="64" y="1410"/>
                  </a:cubicBezTo>
                  <a:cubicBezTo>
                    <a:pt x="156" y="1548"/>
                    <a:pt x="316" y="1636"/>
                    <a:pt x="469" y="1636"/>
                  </a:cubicBezTo>
                  <a:cubicBezTo>
                    <a:pt x="525" y="1636"/>
                    <a:pt x="580" y="1624"/>
                    <a:pt x="631" y="1599"/>
                  </a:cubicBezTo>
                  <a:lnTo>
                    <a:pt x="2332" y="780"/>
                  </a:lnTo>
                  <a:cubicBezTo>
                    <a:pt x="2521" y="654"/>
                    <a:pt x="2584" y="433"/>
                    <a:pt x="2521" y="244"/>
                  </a:cubicBezTo>
                  <a:cubicBezTo>
                    <a:pt x="2426" y="77"/>
                    <a:pt x="2276" y="1"/>
                    <a:pt x="21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3" name="Google Shape;7643;p75"/>
            <p:cNvSpPr/>
            <p:nvPr/>
          </p:nvSpPr>
          <p:spPr>
            <a:xfrm>
              <a:off x="-13798125" y="1805500"/>
              <a:ext cx="66175" cy="41575"/>
            </a:xfrm>
            <a:custGeom>
              <a:avLst/>
              <a:gdLst/>
              <a:ahLst/>
              <a:cxnLst/>
              <a:rect l="l" t="t" r="r" b="b"/>
              <a:pathLst>
                <a:path w="2647" h="1663" extrusionOk="0">
                  <a:moveTo>
                    <a:pt x="504" y="0"/>
                  </a:moveTo>
                  <a:cubicBezTo>
                    <a:pt x="350" y="0"/>
                    <a:pt x="188" y="94"/>
                    <a:pt x="95" y="257"/>
                  </a:cubicBezTo>
                  <a:cubicBezTo>
                    <a:pt x="0" y="446"/>
                    <a:pt x="95" y="667"/>
                    <a:pt x="315" y="793"/>
                  </a:cubicBezTo>
                  <a:lnTo>
                    <a:pt x="1953" y="1612"/>
                  </a:lnTo>
                  <a:cubicBezTo>
                    <a:pt x="2006" y="1647"/>
                    <a:pt x="2064" y="1663"/>
                    <a:pt x="2122" y="1663"/>
                  </a:cubicBezTo>
                  <a:cubicBezTo>
                    <a:pt x="2273" y="1663"/>
                    <a:pt x="2430" y="1559"/>
                    <a:pt x="2521" y="1423"/>
                  </a:cubicBezTo>
                  <a:cubicBezTo>
                    <a:pt x="2647" y="1234"/>
                    <a:pt x="2521" y="982"/>
                    <a:pt x="2300" y="887"/>
                  </a:cubicBezTo>
                  <a:lnTo>
                    <a:pt x="662" y="37"/>
                  </a:lnTo>
                  <a:cubicBezTo>
                    <a:pt x="612" y="12"/>
                    <a:pt x="559" y="0"/>
                    <a:pt x="50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4" name="Google Shape;7644;p75"/>
            <p:cNvSpPr/>
            <p:nvPr/>
          </p:nvSpPr>
          <p:spPr>
            <a:xfrm>
              <a:off x="-13714650" y="1805825"/>
              <a:ext cx="63825" cy="41250"/>
            </a:xfrm>
            <a:custGeom>
              <a:avLst/>
              <a:gdLst/>
              <a:ahLst/>
              <a:cxnLst/>
              <a:rect l="l" t="t" r="r" b="b"/>
              <a:pathLst>
                <a:path w="2553" h="1650" extrusionOk="0">
                  <a:moveTo>
                    <a:pt x="2068" y="1"/>
                  </a:moveTo>
                  <a:cubicBezTo>
                    <a:pt x="2018" y="1"/>
                    <a:pt x="1968" y="9"/>
                    <a:pt x="1922" y="24"/>
                  </a:cubicBezTo>
                  <a:lnTo>
                    <a:pt x="284" y="874"/>
                  </a:lnTo>
                  <a:cubicBezTo>
                    <a:pt x="64" y="969"/>
                    <a:pt x="1" y="1221"/>
                    <a:pt x="64" y="1410"/>
                  </a:cubicBezTo>
                  <a:cubicBezTo>
                    <a:pt x="132" y="1546"/>
                    <a:pt x="298" y="1650"/>
                    <a:pt x="456" y="1650"/>
                  </a:cubicBezTo>
                  <a:cubicBezTo>
                    <a:pt x="518" y="1650"/>
                    <a:pt x="578" y="1634"/>
                    <a:pt x="631" y="1599"/>
                  </a:cubicBezTo>
                  <a:lnTo>
                    <a:pt x="2269" y="780"/>
                  </a:lnTo>
                  <a:cubicBezTo>
                    <a:pt x="2490" y="654"/>
                    <a:pt x="2553" y="433"/>
                    <a:pt x="2490" y="244"/>
                  </a:cubicBezTo>
                  <a:cubicBezTo>
                    <a:pt x="2394" y="77"/>
                    <a:pt x="2226" y="1"/>
                    <a:pt x="20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45" name="Google Shape;7645;p75"/>
          <p:cNvSpPr/>
          <p:nvPr/>
        </p:nvSpPr>
        <p:spPr>
          <a:xfrm>
            <a:off x="6495400" y="2586310"/>
            <a:ext cx="454409" cy="455439"/>
          </a:xfrm>
          <a:custGeom>
            <a:avLst/>
            <a:gdLst/>
            <a:ahLst/>
            <a:cxnLst/>
            <a:rect l="l" t="t" r="r" b="b"/>
            <a:pathLst>
              <a:path w="14115" h="14147" extrusionOk="0">
                <a:moveTo>
                  <a:pt x="8349" y="883"/>
                </a:moveTo>
                <a:lnTo>
                  <a:pt x="8349" y="2080"/>
                </a:lnTo>
                <a:cubicBezTo>
                  <a:pt x="7971" y="2364"/>
                  <a:pt x="7498" y="2521"/>
                  <a:pt x="7089" y="2521"/>
                </a:cubicBezTo>
                <a:cubicBezTo>
                  <a:pt x="6616" y="2521"/>
                  <a:pt x="6175" y="2364"/>
                  <a:pt x="5828" y="2080"/>
                </a:cubicBezTo>
                <a:lnTo>
                  <a:pt x="5828" y="883"/>
                </a:lnTo>
                <a:close/>
                <a:moveTo>
                  <a:pt x="4946" y="820"/>
                </a:moveTo>
                <a:lnTo>
                  <a:pt x="4946" y="2931"/>
                </a:lnTo>
                <a:cubicBezTo>
                  <a:pt x="4946" y="4380"/>
                  <a:pt x="3844" y="5609"/>
                  <a:pt x="2457" y="5798"/>
                </a:cubicBezTo>
                <a:cubicBezTo>
                  <a:pt x="2993" y="5294"/>
                  <a:pt x="3308" y="4538"/>
                  <a:pt x="3308" y="3750"/>
                </a:cubicBezTo>
                <a:lnTo>
                  <a:pt x="3308" y="2080"/>
                </a:lnTo>
                <a:cubicBezTo>
                  <a:pt x="3308" y="1860"/>
                  <a:pt x="3088" y="1671"/>
                  <a:pt x="2899" y="1671"/>
                </a:cubicBezTo>
                <a:cubicBezTo>
                  <a:pt x="2678" y="1671"/>
                  <a:pt x="2457" y="1860"/>
                  <a:pt x="2457" y="2080"/>
                </a:cubicBezTo>
                <a:lnTo>
                  <a:pt x="2457" y="3750"/>
                </a:lnTo>
                <a:cubicBezTo>
                  <a:pt x="2457" y="4727"/>
                  <a:pt x="1764" y="5609"/>
                  <a:pt x="819" y="5766"/>
                </a:cubicBezTo>
                <a:lnTo>
                  <a:pt x="819" y="820"/>
                </a:lnTo>
                <a:close/>
                <a:moveTo>
                  <a:pt x="13295" y="820"/>
                </a:moveTo>
                <a:lnTo>
                  <a:pt x="13295" y="5766"/>
                </a:lnTo>
                <a:cubicBezTo>
                  <a:pt x="12350" y="5546"/>
                  <a:pt x="11657" y="4727"/>
                  <a:pt x="11657" y="3750"/>
                </a:cubicBezTo>
                <a:lnTo>
                  <a:pt x="11657" y="2080"/>
                </a:lnTo>
                <a:cubicBezTo>
                  <a:pt x="11657" y="1860"/>
                  <a:pt x="11436" y="1671"/>
                  <a:pt x="11247" y="1671"/>
                </a:cubicBezTo>
                <a:cubicBezTo>
                  <a:pt x="11027" y="1671"/>
                  <a:pt x="10806" y="1860"/>
                  <a:pt x="10806" y="2080"/>
                </a:cubicBezTo>
                <a:lnTo>
                  <a:pt x="10806" y="3750"/>
                </a:lnTo>
                <a:cubicBezTo>
                  <a:pt x="10806" y="4538"/>
                  <a:pt x="11121" y="5294"/>
                  <a:pt x="11657" y="5798"/>
                </a:cubicBezTo>
                <a:cubicBezTo>
                  <a:pt x="10239" y="5609"/>
                  <a:pt x="9168" y="4380"/>
                  <a:pt x="9168" y="2899"/>
                </a:cubicBezTo>
                <a:lnTo>
                  <a:pt x="9168" y="820"/>
                </a:lnTo>
                <a:close/>
                <a:moveTo>
                  <a:pt x="8286" y="3025"/>
                </a:moveTo>
                <a:cubicBezTo>
                  <a:pt x="8349" y="4538"/>
                  <a:pt x="9326" y="5829"/>
                  <a:pt x="10649" y="6396"/>
                </a:cubicBezTo>
                <a:lnTo>
                  <a:pt x="9704" y="8318"/>
                </a:lnTo>
                <a:lnTo>
                  <a:pt x="4411" y="8318"/>
                </a:lnTo>
                <a:lnTo>
                  <a:pt x="3466" y="6396"/>
                </a:lnTo>
                <a:cubicBezTo>
                  <a:pt x="4757" y="5829"/>
                  <a:pt x="5734" y="4569"/>
                  <a:pt x="5765" y="3025"/>
                </a:cubicBezTo>
                <a:cubicBezTo>
                  <a:pt x="6175" y="3246"/>
                  <a:pt x="6616" y="3309"/>
                  <a:pt x="7026" y="3309"/>
                </a:cubicBezTo>
                <a:cubicBezTo>
                  <a:pt x="7467" y="3309"/>
                  <a:pt x="7908" y="3183"/>
                  <a:pt x="8286" y="3025"/>
                </a:cubicBezTo>
                <a:close/>
                <a:moveTo>
                  <a:pt x="13295" y="6617"/>
                </a:moveTo>
                <a:lnTo>
                  <a:pt x="13295" y="10555"/>
                </a:lnTo>
                <a:cubicBezTo>
                  <a:pt x="13169" y="10681"/>
                  <a:pt x="13012" y="10744"/>
                  <a:pt x="12854" y="10744"/>
                </a:cubicBezTo>
                <a:cubicBezTo>
                  <a:pt x="12665" y="10744"/>
                  <a:pt x="12508" y="10681"/>
                  <a:pt x="12382" y="10492"/>
                </a:cubicBezTo>
                <a:cubicBezTo>
                  <a:pt x="12129" y="10083"/>
                  <a:pt x="11688" y="9862"/>
                  <a:pt x="11216" y="9862"/>
                </a:cubicBezTo>
                <a:cubicBezTo>
                  <a:pt x="10743" y="9862"/>
                  <a:pt x="10302" y="10083"/>
                  <a:pt x="10019" y="10492"/>
                </a:cubicBezTo>
                <a:cubicBezTo>
                  <a:pt x="9956" y="10650"/>
                  <a:pt x="9798" y="10713"/>
                  <a:pt x="9609" y="10713"/>
                </a:cubicBezTo>
                <a:lnTo>
                  <a:pt x="9389" y="10713"/>
                </a:lnTo>
                <a:lnTo>
                  <a:pt x="11499" y="6617"/>
                </a:lnTo>
                <a:close/>
                <a:moveTo>
                  <a:pt x="2615" y="6617"/>
                </a:moveTo>
                <a:lnTo>
                  <a:pt x="4663" y="10744"/>
                </a:lnTo>
                <a:lnTo>
                  <a:pt x="4474" y="10744"/>
                </a:lnTo>
                <a:cubicBezTo>
                  <a:pt x="4316" y="10713"/>
                  <a:pt x="4159" y="10618"/>
                  <a:pt x="4033" y="10524"/>
                </a:cubicBezTo>
                <a:cubicBezTo>
                  <a:pt x="3781" y="10114"/>
                  <a:pt x="3340" y="9893"/>
                  <a:pt x="2867" y="9893"/>
                </a:cubicBezTo>
                <a:cubicBezTo>
                  <a:pt x="2394" y="9893"/>
                  <a:pt x="1953" y="10114"/>
                  <a:pt x="1670" y="10524"/>
                </a:cubicBezTo>
                <a:cubicBezTo>
                  <a:pt x="1575" y="10681"/>
                  <a:pt x="1418" y="10776"/>
                  <a:pt x="1197" y="10776"/>
                </a:cubicBezTo>
                <a:cubicBezTo>
                  <a:pt x="1040" y="10776"/>
                  <a:pt x="882" y="10713"/>
                  <a:pt x="788" y="10587"/>
                </a:cubicBezTo>
                <a:lnTo>
                  <a:pt x="788" y="6617"/>
                </a:lnTo>
                <a:close/>
                <a:moveTo>
                  <a:pt x="9263" y="9169"/>
                </a:moveTo>
                <a:lnTo>
                  <a:pt x="8412" y="10776"/>
                </a:lnTo>
                <a:cubicBezTo>
                  <a:pt x="8349" y="10933"/>
                  <a:pt x="8380" y="11154"/>
                  <a:pt x="8506" y="11248"/>
                </a:cubicBezTo>
                <a:cubicBezTo>
                  <a:pt x="8790" y="11500"/>
                  <a:pt x="9105" y="11626"/>
                  <a:pt x="9452" y="11626"/>
                </a:cubicBezTo>
                <a:cubicBezTo>
                  <a:pt x="9924" y="11626"/>
                  <a:pt x="10365" y="11374"/>
                  <a:pt x="10617" y="10996"/>
                </a:cubicBezTo>
                <a:cubicBezTo>
                  <a:pt x="10743" y="10839"/>
                  <a:pt x="10901" y="10713"/>
                  <a:pt x="11090" y="10713"/>
                </a:cubicBezTo>
                <a:cubicBezTo>
                  <a:pt x="11310" y="10713"/>
                  <a:pt x="11468" y="10776"/>
                  <a:pt x="11562" y="10996"/>
                </a:cubicBezTo>
                <a:cubicBezTo>
                  <a:pt x="11846" y="11374"/>
                  <a:pt x="12287" y="11626"/>
                  <a:pt x="12760" y="11626"/>
                </a:cubicBezTo>
                <a:cubicBezTo>
                  <a:pt x="12917" y="11626"/>
                  <a:pt x="13075" y="11563"/>
                  <a:pt x="13201" y="11532"/>
                </a:cubicBezTo>
                <a:lnTo>
                  <a:pt x="13201" y="13296"/>
                </a:lnTo>
                <a:lnTo>
                  <a:pt x="819" y="13296"/>
                </a:lnTo>
                <a:lnTo>
                  <a:pt x="819" y="11532"/>
                </a:lnTo>
                <a:cubicBezTo>
                  <a:pt x="977" y="11563"/>
                  <a:pt x="1103" y="11626"/>
                  <a:pt x="1260" y="11626"/>
                </a:cubicBezTo>
                <a:cubicBezTo>
                  <a:pt x="1733" y="11626"/>
                  <a:pt x="2142" y="11374"/>
                  <a:pt x="2426" y="10996"/>
                </a:cubicBezTo>
                <a:cubicBezTo>
                  <a:pt x="2552" y="10839"/>
                  <a:pt x="2709" y="10713"/>
                  <a:pt x="2899" y="10713"/>
                </a:cubicBezTo>
                <a:cubicBezTo>
                  <a:pt x="3088" y="10713"/>
                  <a:pt x="3245" y="10776"/>
                  <a:pt x="3371" y="10996"/>
                </a:cubicBezTo>
                <a:cubicBezTo>
                  <a:pt x="3655" y="11374"/>
                  <a:pt x="4096" y="11626"/>
                  <a:pt x="4568" y="11626"/>
                </a:cubicBezTo>
                <a:cubicBezTo>
                  <a:pt x="4915" y="11626"/>
                  <a:pt x="5261" y="11500"/>
                  <a:pt x="5513" y="11248"/>
                </a:cubicBezTo>
                <a:cubicBezTo>
                  <a:pt x="5608" y="11154"/>
                  <a:pt x="5671" y="10933"/>
                  <a:pt x="5576" y="10776"/>
                </a:cubicBezTo>
                <a:lnTo>
                  <a:pt x="4757" y="9169"/>
                </a:lnTo>
                <a:close/>
                <a:moveTo>
                  <a:pt x="410" y="1"/>
                </a:moveTo>
                <a:cubicBezTo>
                  <a:pt x="189" y="1"/>
                  <a:pt x="0" y="190"/>
                  <a:pt x="0" y="442"/>
                </a:cubicBezTo>
                <a:lnTo>
                  <a:pt x="0" y="13706"/>
                </a:lnTo>
                <a:cubicBezTo>
                  <a:pt x="0" y="13958"/>
                  <a:pt x="189" y="14147"/>
                  <a:pt x="410" y="14147"/>
                </a:cubicBezTo>
                <a:lnTo>
                  <a:pt x="13705" y="14147"/>
                </a:lnTo>
                <a:cubicBezTo>
                  <a:pt x="13925" y="14147"/>
                  <a:pt x="14114" y="13958"/>
                  <a:pt x="14114" y="13706"/>
                </a:cubicBezTo>
                <a:lnTo>
                  <a:pt x="14114" y="442"/>
                </a:lnTo>
                <a:cubicBezTo>
                  <a:pt x="14114" y="190"/>
                  <a:pt x="13925" y="1"/>
                  <a:pt x="137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6" name="Google Shape;7646;p75"/>
          <p:cNvSpPr/>
          <p:nvPr/>
        </p:nvSpPr>
        <p:spPr>
          <a:xfrm>
            <a:off x="6576027" y="3132612"/>
            <a:ext cx="293152" cy="452381"/>
          </a:xfrm>
          <a:custGeom>
            <a:avLst/>
            <a:gdLst/>
            <a:ahLst/>
            <a:cxnLst/>
            <a:rect l="l" t="t" r="r" b="b"/>
            <a:pathLst>
              <a:path w="9106" h="14052" extrusionOk="0">
                <a:moveTo>
                  <a:pt x="1230" y="4096"/>
                </a:moveTo>
                <a:cubicBezTo>
                  <a:pt x="1450" y="4096"/>
                  <a:pt x="1608" y="4285"/>
                  <a:pt x="1608" y="4474"/>
                </a:cubicBezTo>
                <a:cubicBezTo>
                  <a:pt x="1608" y="4726"/>
                  <a:pt x="1419" y="4915"/>
                  <a:pt x="1230" y="4915"/>
                </a:cubicBezTo>
                <a:cubicBezTo>
                  <a:pt x="978" y="4915"/>
                  <a:pt x="789" y="4726"/>
                  <a:pt x="789" y="4474"/>
                </a:cubicBezTo>
                <a:cubicBezTo>
                  <a:pt x="820" y="4285"/>
                  <a:pt x="978" y="4096"/>
                  <a:pt x="1230" y="4096"/>
                </a:cubicBezTo>
                <a:close/>
                <a:moveTo>
                  <a:pt x="7846" y="4096"/>
                </a:moveTo>
                <a:cubicBezTo>
                  <a:pt x="8066" y="4096"/>
                  <a:pt x="8255" y="4285"/>
                  <a:pt x="8255" y="4474"/>
                </a:cubicBezTo>
                <a:cubicBezTo>
                  <a:pt x="8255" y="4726"/>
                  <a:pt x="8066" y="4915"/>
                  <a:pt x="7846" y="4915"/>
                </a:cubicBezTo>
                <a:cubicBezTo>
                  <a:pt x="7594" y="4915"/>
                  <a:pt x="7436" y="4726"/>
                  <a:pt x="7436" y="4474"/>
                </a:cubicBezTo>
                <a:cubicBezTo>
                  <a:pt x="7436" y="4285"/>
                  <a:pt x="7594" y="4096"/>
                  <a:pt x="7846" y="4096"/>
                </a:cubicBezTo>
                <a:close/>
                <a:moveTo>
                  <a:pt x="4538" y="788"/>
                </a:moveTo>
                <a:cubicBezTo>
                  <a:pt x="5514" y="788"/>
                  <a:pt x="6365" y="1481"/>
                  <a:pt x="6523" y="2427"/>
                </a:cubicBezTo>
                <a:lnTo>
                  <a:pt x="5357" y="2427"/>
                </a:lnTo>
                <a:cubicBezTo>
                  <a:pt x="5105" y="2427"/>
                  <a:pt x="4916" y="2616"/>
                  <a:pt x="4916" y="2868"/>
                </a:cubicBezTo>
                <a:cubicBezTo>
                  <a:pt x="4916" y="3088"/>
                  <a:pt x="5105" y="3309"/>
                  <a:pt x="5357" y="3309"/>
                </a:cubicBezTo>
                <a:lnTo>
                  <a:pt x="6617" y="3309"/>
                </a:lnTo>
                <a:lnTo>
                  <a:pt x="6617" y="4128"/>
                </a:lnTo>
                <a:lnTo>
                  <a:pt x="5357" y="4128"/>
                </a:lnTo>
                <a:cubicBezTo>
                  <a:pt x="5105" y="4128"/>
                  <a:pt x="4916" y="4317"/>
                  <a:pt x="4916" y="4506"/>
                </a:cubicBezTo>
                <a:cubicBezTo>
                  <a:pt x="4916" y="4758"/>
                  <a:pt x="5105" y="4947"/>
                  <a:pt x="5357" y="4947"/>
                </a:cubicBezTo>
                <a:lnTo>
                  <a:pt x="6617" y="4947"/>
                </a:lnTo>
                <a:lnTo>
                  <a:pt x="6617" y="5766"/>
                </a:lnTo>
                <a:lnTo>
                  <a:pt x="5357" y="5766"/>
                </a:lnTo>
                <a:cubicBezTo>
                  <a:pt x="5105" y="5766"/>
                  <a:pt x="4916" y="5987"/>
                  <a:pt x="4916" y="6207"/>
                </a:cubicBezTo>
                <a:cubicBezTo>
                  <a:pt x="4916" y="6459"/>
                  <a:pt x="5105" y="6617"/>
                  <a:pt x="5357" y="6617"/>
                </a:cubicBezTo>
                <a:lnTo>
                  <a:pt x="6523" y="6617"/>
                </a:lnTo>
                <a:cubicBezTo>
                  <a:pt x="6333" y="7562"/>
                  <a:pt x="5514" y="8255"/>
                  <a:pt x="4538" y="8255"/>
                </a:cubicBezTo>
                <a:cubicBezTo>
                  <a:pt x="3530" y="8255"/>
                  <a:pt x="2679" y="7562"/>
                  <a:pt x="2521" y="6617"/>
                </a:cubicBezTo>
                <a:lnTo>
                  <a:pt x="3687" y="6617"/>
                </a:lnTo>
                <a:cubicBezTo>
                  <a:pt x="3939" y="6617"/>
                  <a:pt x="4128" y="6396"/>
                  <a:pt x="4128" y="6207"/>
                </a:cubicBezTo>
                <a:cubicBezTo>
                  <a:pt x="4128" y="5987"/>
                  <a:pt x="3939" y="5766"/>
                  <a:pt x="3687" y="5766"/>
                </a:cubicBezTo>
                <a:lnTo>
                  <a:pt x="2490" y="5766"/>
                </a:lnTo>
                <a:lnTo>
                  <a:pt x="2490" y="4947"/>
                </a:lnTo>
                <a:lnTo>
                  <a:pt x="3687" y="4947"/>
                </a:lnTo>
                <a:cubicBezTo>
                  <a:pt x="3939" y="4947"/>
                  <a:pt x="4128" y="4758"/>
                  <a:pt x="4128" y="4506"/>
                </a:cubicBezTo>
                <a:cubicBezTo>
                  <a:pt x="4128" y="4285"/>
                  <a:pt x="3939" y="4128"/>
                  <a:pt x="3687" y="4128"/>
                </a:cubicBezTo>
                <a:lnTo>
                  <a:pt x="2490" y="4128"/>
                </a:lnTo>
                <a:lnTo>
                  <a:pt x="2490" y="3277"/>
                </a:lnTo>
                <a:lnTo>
                  <a:pt x="3687" y="3277"/>
                </a:lnTo>
                <a:cubicBezTo>
                  <a:pt x="3939" y="3277"/>
                  <a:pt x="4128" y="3057"/>
                  <a:pt x="4128" y="2836"/>
                </a:cubicBezTo>
                <a:cubicBezTo>
                  <a:pt x="4128" y="2584"/>
                  <a:pt x="3939" y="2395"/>
                  <a:pt x="3687" y="2395"/>
                </a:cubicBezTo>
                <a:lnTo>
                  <a:pt x="2521" y="2395"/>
                </a:lnTo>
                <a:cubicBezTo>
                  <a:pt x="2710" y="1481"/>
                  <a:pt x="3530" y="788"/>
                  <a:pt x="4538" y="788"/>
                </a:cubicBezTo>
                <a:close/>
                <a:moveTo>
                  <a:pt x="8255" y="5671"/>
                </a:moveTo>
                <a:lnTo>
                  <a:pt x="8255" y="6144"/>
                </a:lnTo>
                <a:cubicBezTo>
                  <a:pt x="8255" y="8066"/>
                  <a:pt x="6806" y="9641"/>
                  <a:pt x="4947" y="9830"/>
                </a:cubicBezTo>
                <a:lnTo>
                  <a:pt x="4947" y="9011"/>
                </a:lnTo>
                <a:cubicBezTo>
                  <a:pt x="6365" y="8822"/>
                  <a:pt x="7436" y="7593"/>
                  <a:pt x="7436" y="6144"/>
                </a:cubicBezTo>
                <a:lnTo>
                  <a:pt x="7436" y="5671"/>
                </a:lnTo>
                <a:cubicBezTo>
                  <a:pt x="7562" y="5703"/>
                  <a:pt x="7720" y="5735"/>
                  <a:pt x="7846" y="5735"/>
                </a:cubicBezTo>
                <a:cubicBezTo>
                  <a:pt x="7940" y="5735"/>
                  <a:pt x="8098" y="5703"/>
                  <a:pt x="8255" y="5671"/>
                </a:cubicBezTo>
                <a:close/>
                <a:moveTo>
                  <a:pt x="1639" y="5703"/>
                </a:moveTo>
                <a:lnTo>
                  <a:pt x="1639" y="6176"/>
                </a:lnTo>
                <a:cubicBezTo>
                  <a:pt x="1639" y="7625"/>
                  <a:pt x="2710" y="8853"/>
                  <a:pt x="4128" y="9043"/>
                </a:cubicBezTo>
                <a:lnTo>
                  <a:pt x="4128" y="9893"/>
                </a:lnTo>
                <a:cubicBezTo>
                  <a:pt x="2238" y="9641"/>
                  <a:pt x="820" y="8066"/>
                  <a:pt x="820" y="6176"/>
                </a:cubicBezTo>
                <a:lnTo>
                  <a:pt x="820" y="5703"/>
                </a:lnTo>
                <a:cubicBezTo>
                  <a:pt x="946" y="5735"/>
                  <a:pt x="1104" y="5798"/>
                  <a:pt x="1261" y="5798"/>
                </a:cubicBezTo>
                <a:cubicBezTo>
                  <a:pt x="1419" y="5798"/>
                  <a:pt x="1545" y="5735"/>
                  <a:pt x="1639" y="5703"/>
                </a:cubicBezTo>
                <a:close/>
                <a:moveTo>
                  <a:pt x="4569" y="12414"/>
                </a:moveTo>
                <a:cubicBezTo>
                  <a:pt x="5073" y="12414"/>
                  <a:pt x="5546" y="12760"/>
                  <a:pt x="5703" y="13233"/>
                </a:cubicBezTo>
                <a:lnTo>
                  <a:pt x="3372" y="13233"/>
                </a:lnTo>
                <a:cubicBezTo>
                  <a:pt x="3530" y="12760"/>
                  <a:pt x="4002" y="12414"/>
                  <a:pt x="4569" y="12414"/>
                </a:cubicBezTo>
                <a:close/>
                <a:moveTo>
                  <a:pt x="4569" y="1"/>
                </a:moveTo>
                <a:cubicBezTo>
                  <a:pt x="2962" y="1"/>
                  <a:pt x="1639" y="1292"/>
                  <a:pt x="1639" y="2868"/>
                </a:cubicBezTo>
                <a:lnTo>
                  <a:pt x="1639" y="3340"/>
                </a:lnTo>
                <a:cubicBezTo>
                  <a:pt x="1545" y="3309"/>
                  <a:pt x="1387" y="3277"/>
                  <a:pt x="1261" y="3277"/>
                </a:cubicBezTo>
                <a:cubicBezTo>
                  <a:pt x="600" y="3277"/>
                  <a:pt x="1" y="3813"/>
                  <a:pt x="1" y="4474"/>
                </a:cubicBezTo>
                <a:lnTo>
                  <a:pt x="1" y="6144"/>
                </a:lnTo>
                <a:cubicBezTo>
                  <a:pt x="1" y="8507"/>
                  <a:pt x="1797" y="10460"/>
                  <a:pt x="4128" y="10681"/>
                </a:cubicBezTo>
                <a:lnTo>
                  <a:pt x="4128" y="11626"/>
                </a:lnTo>
                <a:cubicBezTo>
                  <a:pt x="3183" y="11815"/>
                  <a:pt x="2490" y="12634"/>
                  <a:pt x="2490" y="13611"/>
                </a:cubicBezTo>
                <a:cubicBezTo>
                  <a:pt x="2490" y="13863"/>
                  <a:pt x="2679" y="14052"/>
                  <a:pt x="2868" y="14052"/>
                </a:cubicBezTo>
                <a:lnTo>
                  <a:pt x="6176" y="14052"/>
                </a:lnTo>
                <a:cubicBezTo>
                  <a:pt x="6428" y="14052"/>
                  <a:pt x="6617" y="13863"/>
                  <a:pt x="6617" y="13611"/>
                </a:cubicBezTo>
                <a:cubicBezTo>
                  <a:pt x="6617" y="12634"/>
                  <a:pt x="5892" y="11783"/>
                  <a:pt x="4947" y="11626"/>
                </a:cubicBezTo>
                <a:lnTo>
                  <a:pt x="4947" y="10681"/>
                </a:lnTo>
                <a:cubicBezTo>
                  <a:pt x="7247" y="10460"/>
                  <a:pt x="9106" y="8538"/>
                  <a:pt x="9106" y="6176"/>
                </a:cubicBezTo>
                <a:lnTo>
                  <a:pt x="9106" y="4537"/>
                </a:lnTo>
                <a:cubicBezTo>
                  <a:pt x="9106" y="3844"/>
                  <a:pt x="8539" y="3309"/>
                  <a:pt x="7846" y="3309"/>
                </a:cubicBezTo>
                <a:cubicBezTo>
                  <a:pt x="7688" y="3309"/>
                  <a:pt x="7562" y="3340"/>
                  <a:pt x="7436" y="3372"/>
                </a:cubicBezTo>
                <a:lnTo>
                  <a:pt x="7436" y="2868"/>
                </a:lnTo>
                <a:cubicBezTo>
                  <a:pt x="7436" y="1261"/>
                  <a:pt x="6144" y="1"/>
                  <a:pt x="45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47" name="Google Shape;7647;p75"/>
          <p:cNvGrpSpPr/>
          <p:nvPr/>
        </p:nvGrpSpPr>
        <p:grpSpPr>
          <a:xfrm>
            <a:off x="8889703" y="2043316"/>
            <a:ext cx="453379" cy="453893"/>
            <a:chOff x="-12199250" y="1662675"/>
            <a:chExt cx="352075" cy="352475"/>
          </a:xfrm>
        </p:grpSpPr>
        <p:sp>
          <p:nvSpPr>
            <p:cNvPr id="7648" name="Google Shape;7648;p75"/>
            <p:cNvSpPr/>
            <p:nvPr/>
          </p:nvSpPr>
          <p:spPr>
            <a:xfrm>
              <a:off x="-12004725" y="1710325"/>
              <a:ext cx="116600" cy="76425"/>
            </a:xfrm>
            <a:custGeom>
              <a:avLst/>
              <a:gdLst/>
              <a:ahLst/>
              <a:cxnLst/>
              <a:rect l="l" t="t" r="r" b="b"/>
              <a:pathLst>
                <a:path w="4664" h="3057" extrusionOk="0">
                  <a:moveTo>
                    <a:pt x="2395" y="788"/>
                  </a:moveTo>
                  <a:cubicBezTo>
                    <a:pt x="2679" y="788"/>
                    <a:pt x="2962" y="819"/>
                    <a:pt x="3246" y="914"/>
                  </a:cubicBezTo>
                  <a:cubicBezTo>
                    <a:pt x="3435" y="945"/>
                    <a:pt x="3624" y="1008"/>
                    <a:pt x="3813" y="1008"/>
                  </a:cubicBezTo>
                  <a:cubicBezTo>
                    <a:pt x="3781" y="1702"/>
                    <a:pt x="3246" y="2206"/>
                    <a:pt x="2616" y="2206"/>
                  </a:cubicBezTo>
                  <a:lnTo>
                    <a:pt x="1986" y="2206"/>
                  </a:lnTo>
                  <a:cubicBezTo>
                    <a:pt x="1608" y="2206"/>
                    <a:pt x="1261" y="2017"/>
                    <a:pt x="1104" y="1702"/>
                  </a:cubicBezTo>
                  <a:lnTo>
                    <a:pt x="946" y="1386"/>
                  </a:lnTo>
                  <a:lnTo>
                    <a:pt x="1041" y="1292"/>
                  </a:lnTo>
                  <a:cubicBezTo>
                    <a:pt x="1450" y="851"/>
                    <a:pt x="2017" y="788"/>
                    <a:pt x="2395" y="788"/>
                  </a:cubicBezTo>
                  <a:close/>
                  <a:moveTo>
                    <a:pt x="2458" y="0"/>
                  </a:moveTo>
                  <a:cubicBezTo>
                    <a:pt x="2017" y="0"/>
                    <a:pt x="1167" y="63"/>
                    <a:pt x="473" y="756"/>
                  </a:cubicBezTo>
                  <a:lnTo>
                    <a:pt x="158" y="1071"/>
                  </a:lnTo>
                  <a:cubicBezTo>
                    <a:pt x="64" y="1166"/>
                    <a:pt x="1" y="1386"/>
                    <a:pt x="95" y="1544"/>
                  </a:cubicBezTo>
                  <a:lnTo>
                    <a:pt x="379" y="2080"/>
                  </a:lnTo>
                  <a:cubicBezTo>
                    <a:pt x="631" y="2678"/>
                    <a:pt x="1261" y="3056"/>
                    <a:pt x="1954" y="3056"/>
                  </a:cubicBezTo>
                  <a:lnTo>
                    <a:pt x="2553" y="3056"/>
                  </a:lnTo>
                  <a:cubicBezTo>
                    <a:pt x="3718" y="3056"/>
                    <a:pt x="4664" y="2111"/>
                    <a:pt x="4664" y="977"/>
                  </a:cubicBezTo>
                  <a:lnTo>
                    <a:pt x="4664" y="662"/>
                  </a:lnTo>
                  <a:cubicBezTo>
                    <a:pt x="4664" y="441"/>
                    <a:pt x="4506" y="284"/>
                    <a:pt x="4254" y="284"/>
                  </a:cubicBezTo>
                  <a:cubicBezTo>
                    <a:pt x="3971" y="284"/>
                    <a:pt x="3718" y="221"/>
                    <a:pt x="3466" y="158"/>
                  </a:cubicBezTo>
                  <a:cubicBezTo>
                    <a:pt x="3120" y="32"/>
                    <a:pt x="2773" y="0"/>
                    <a:pt x="2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49" name="Google Shape;7649;p75"/>
            <p:cNvSpPr/>
            <p:nvPr/>
          </p:nvSpPr>
          <p:spPr>
            <a:xfrm>
              <a:off x="-12158300" y="1709525"/>
              <a:ext cx="116600" cy="77225"/>
            </a:xfrm>
            <a:custGeom>
              <a:avLst/>
              <a:gdLst/>
              <a:ahLst/>
              <a:cxnLst/>
              <a:rect l="l" t="t" r="r" b="b"/>
              <a:pathLst>
                <a:path w="4664" h="3089" extrusionOk="0">
                  <a:moveTo>
                    <a:pt x="2237" y="820"/>
                  </a:moveTo>
                  <a:cubicBezTo>
                    <a:pt x="2647" y="820"/>
                    <a:pt x="3182" y="883"/>
                    <a:pt x="3592" y="1324"/>
                  </a:cubicBezTo>
                  <a:lnTo>
                    <a:pt x="3718" y="1450"/>
                  </a:lnTo>
                  <a:lnTo>
                    <a:pt x="3560" y="1765"/>
                  </a:lnTo>
                  <a:cubicBezTo>
                    <a:pt x="3403" y="2080"/>
                    <a:pt x="3088" y="2269"/>
                    <a:pt x="2710" y="2269"/>
                  </a:cubicBezTo>
                  <a:lnTo>
                    <a:pt x="2048" y="2269"/>
                  </a:lnTo>
                  <a:cubicBezTo>
                    <a:pt x="1387" y="2269"/>
                    <a:pt x="820" y="1765"/>
                    <a:pt x="820" y="1072"/>
                  </a:cubicBezTo>
                  <a:cubicBezTo>
                    <a:pt x="1040" y="1040"/>
                    <a:pt x="1229" y="977"/>
                    <a:pt x="1418" y="946"/>
                  </a:cubicBezTo>
                  <a:cubicBezTo>
                    <a:pt x="1702" y="851"/>
                    <a:pt x="1985" y="820"/>
                    <a:pt x="2237" y="820"/>
                  </a:cubicBezTo>
                  <a:close/>
                  <a:moveTo>
                    <a:pt x="2237" y="1"/>
                  </a:moveTo>
                  <a:cubicBezTo>
                    <a:pt x="1891" y="1"/>
                    <a:pt x="1513" y="32"/>
                    <a:pt x="1198" y="158"/>
                  </a:cubicBezTo>
                  <a:cubicBezTo>
                    <a:pt x="914" y="221"/>
                    <a:pt x="662" y="253"/>
                    <a:pt x="410" y="253"/>
                  </a:cubicBezTo>
                  <a:cubicBezTo>
                    <a:pt x="158" y="253"/>
                    <a:pt x="0" y="473"/>
                    <a:pt x="0" y="662"/>
                  </a:cubicBezTo>
                  <a:lnTo>
                    <a:pt x="0" y="1009"/>
                  </a:lnTo>
                  <a:cubicBezTo>
                    <a:pt x="0" y="2143"/>
                    <a:pt x="914" y="3088"/>
                    <a:pt x="2048" y="3088"/>
                  </a:cubicBezTo>
                  <a:lnTo>
                    <a:pt x="2710" y="3088"/>
                  </a:lnTo>
                  <a:cubicBezTo>
                    <a:pt x="3403" y="3088"/>
                    <a:pt x="3970" y="2742"/>
                    <a:pt x="4285" y="2112"/>
                  </a:cubicBezTo>
                  <a:lnTo>
                    <a:pt x="4569" y="1513"/>
                  </a:lnTo>
                  <a:cubicBezTo>
                    <a:pt x="4663" y="1355"/>
                    <a:pt x="4600" y="1166"/>
                    <a:pt x="4506" y="1040"/>
                  </a:cubicBezTo>
                  <a:lnTo>
                    <a:pt x="4191" y="725"/>
                  </a:lnTo>
                  <a:cubicBezTo>
                    <a:pt x="3560" y="95"/>
                    <a:pt x="2804" y="1"/>
                    <a:pt x="22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0" name="Google Shape;7650;p75"/>
            <p:cNvSpPr/>
            <p:nvPr/>
          </p:nvSpPr>
          <p:spPr>
            <a:xfrm>
              <a:off x="-12199250" y="1662675"/>
              <a:ext cx="352075" cy="352475"/>
            </a:xfrm>
            <a:custGeom>
              <a:avLst/>
              <a:gdLst/>
              <a:ahLst/>
              <a:cxnLst/>
              <a:rect l="l" t="t" r="r" b="b"/>
              <a:pathLst>
                <a:path w="14083" h="14099" extrusionOk="0">
                  <a:moveTo>
                    <a:pt x="3916" y="1048"/>
                  </a:moveTo>
                  <a:cubicBezTo>
                    <a:pt x="4902" y="1048"/>
                    <a:pt x="5796" y="1401"/>
                    <a:pt x="6459" y="2064"/>
                  </a:cubicBezTo>
                  <a:lnTo>
                    <a:pt x="6774" y="2379"/>
                  </a:lnTo>
                  <a:cubicBezTo>
                    <a:pt x="6837" y="2442"/>
                    <a:pt x="6963" y="2505"/>
                    <a:pt x="7026" y="2505"/>
                  </a:cubicBezTo>
                  <a:cubicBezTo>
                    <a:pt x="7152" y="2505"/>
                    <a:pt x="7246" y="2442"/>
                    <a:pt x="7309" y="2379"/>
                  </a:cubicBezTo>
                  <a:lnTo>
                    <a:pt x="7624" y="2064"/>
                  </a:lnTo>
                  <a:cubicBezTo>
                    <a:pt x="8288" y="1400"/>
                    <a:pt x="9186" y="1062"/>
                    <a:pt x="10163" y="1062"/>
                  </a:cubicBezTo>
                  <a:cubicBezTo>
                    <a:pt x="10577" y="1062"/>
                    <a:pt x="11005" y="1123"/>
                    <a:pt x="11436" y="1245"/>
                  </a:cubicBezTo>
                  <a:cubicBezTo>
                    <a:pt x="11656" y="1302"/>
                    <a:pt x="11880" y="1331"/>
                    <a:pt x="12105" y="1331"/>
                  </a:cubicBezTo>
                  <a:cubicBezTo>
                    <a:pt x="12493" y="1331"/>
                    <a:pt x="12885" y="1247"/>
                    <a:pt x="13264" y="1087"/>
                  </a:cubicBezTo>
                  <a:lnTo>
                    <a:pt x="13264" y="2883"/>
                  </a:lnTo>
                  <a:cubicBezTo>
                    <a:pt x="13264" y="4490"/>
                    <a:pt x="11972" y="5750"/>
                    <a:pt x="10397" y="5750"/>
                  </a:cubicBezTo>
                  <a:lnTo>
                    <a:pt x="9767" y="5750"/>
                  </a:lnTo>
                  <a:cubicBezTo>
                    <a:pt x="8759" y="5750"/>
                    <a:pt x="7876" y="5214"/>
                    <a:pt x="7435" y="4332"/>
                  </a:cubicBezTo>
                  <a:cubicBezTo>
                    <a:pt x="7341" y="4175"/>
                    <a:pt x="7246" y="4112"/>
                    <a:pt x="7089" y="4112"/>
                  </a:cubicBezTo>
                  <a:cubicBezTo>
                    <a:pt x="6931" y="4112"/>
                    <a:pt x="6774" y="4175"/>
                    <a:pt x="6711" y="4332"/>
                  </a:cubicBezTo>
                  <a:cubicBezTo>
                    <a:pt x="6301" y="5214"/>
                    <a:pt x="5388" y="5750"/>
                    <a:pt x="4411" y="5750"/>
                  </a:cubicBezTo>
                  <a:lnTo>
                    <a:pt x="3718" y="5750"/>
                  </a:lnTo>
                  <a:cubicBezTo>
                    <a:pt x="2111" y="5750"/>
                    <a:pt x="851" y="4458"/>
                    <a:pt x="851" y="2883"/>
                  </a:cubicBezTo>
                  <a:lnTo>
                    <a:pt x="851" y="1102"/>
                  </a:lnTo>
                  <a:lnTo>
                    <a:pt x="851" y="1102"/>
                  </a:lnTo>
                  <a:cubicBezTo>
                    <a:pt x="1182" y="1252"/>
                    <a:pt x="1548" y="1331"/>
                    <a:pt x="1926" y="1331"/>
                  </a:cubicBezTo>
                  <a:cubicBezTo>
                    <a:pt x="2153" y="1331"/>
                    <a:pt x="2384" y="1302"/>
                    <a:pt x="2615" y="1245"/>
                  </a:cubicBezTo>
                  <a:cubicBezTo>
                    <a:pt x="3058" y="1113"/>
                    <a:pt x="3495" y="1048"/>
                    <a:pt x="3916" y="1048"/>
                  </a:cubicBezTo>
                  <a:close/>
                  <a:moveTo>
                    <a:pt x="819" y="5214"/>
                  </a:moveTo>
                  <a:cubicBezTo>
                    <a:pt x="1071" y="5529"/>
                    <a:pt x="1323" y="5750"/>
                    <a:pt x="1638" y="6002"/>
                  </a:cubicBezTo>
                  <a:lnTo>
                    <a:pt x="1638" y="6065"/>
                  </a:lnTo>
                  <a:lnTo>
                    <a:pt x="1638" y="10791"/>
                  </a:lnTo>
                  <a:lnTo>
                    <a:pt x="819" y="10791"/>
                  </a:lnTo>
                  <a:lnTo>
                    <a:pt x="819" y="5214"/>
                  </a:lnTo>
                  <a:close/>
                  <a:moveTo>
                    <a:pt x="1607" y="11641"/>
                  </a:moveTo>
                  <a:lnTo>
                    <a:pt x="1607" y="12838"/>
                  </a:lnTo>
                  <a:cubicBezTo>
                    <a:pt x="1638" y="13090"/>
                    <a:pt x="1449" y="13279"/>
                    <a:pt x="1197" y="13279"/>
                  </a:cubicBezTo>
                  <a:cubicBezTo>
                    <a:pt x="977" y="13279"/>
                    <a:pt x="788" y="13090"/>
                    <a:pt x="788" y="12838"/>
                  </a:cubicBezTo>
                  <a:lnTo>
                    <a:pt x="788" y="11641"/>
                  </a:lnTo>
                  <a:close/>
                  <a:moveTo>
                    <a:pt x="13689" y="0"/>
                  </a:moveTo>
                  <a:cubicBezTo>
                    <a:pt x="13618" y="0"/>
                    <a:pt x="13547" y="16"/>
                    <a:pt x="13484" y="47"/>
                  </a:cubicBezTo>
                  <a:lnTo>
                    <a:pt x="12949" y="331"/>
                  </a:lnTo>
                  <a:cubicBezTo>
                    <a:pt x="12686" y="452"/>
                    <a:pt x="12424" y="509"/>
                    <a:pt x="12153" y="509"/>
                  </a:cubicBezTo>
                  <a:cubicBezTo>
                    <a:pt x="12001" y="509"/>
                    <a:pt x="11847" y="491"/>
                    <a:pt x="11689" y="457"/>
                  </a:cubicBezTo>
                  <a:cubicBezTo>
                    <a:pt x="11200" y="307"/>
                    <a:pt x="10699" y="235"/>
                    <a:pt x="10208" y="235"/>
                  </a:cubicBezTo>
                  <a:cubicBezTo>
                    <a:pt x="9876" y="235"/>
                    <a:pt x="9549" y="268"/>
                    <a:pt x="9231" y="331"/>
                  </a:cubicBezTo>
                  <a:cubicBezTo>
                    <a:pt x="8412" y="489"/>
                    <a:pt x="7656" y="867"/>
                    <a:pt x="7026" y="1497"/>
                  </a:cubicBezTo>
                  <a:cubicBezTo>
                    <a:pt x="6396" y="867"/>
                    <a:pt x="5671" y="489"/>
                    <a:pt x="4820" y="331"/>
                  </a:cubicBezTo>
                  <a:cubicBezTo>
                    <a:pt x="4503" y="268"/>
                    <a:pt x="4180" y="235"/>
                    <a:pt x="3855" y="235"/>
                  </a:cubicBezTo>
                  <a:cubicBezTo>
                    <a:pt x="3372" y="235"/>
                    <a:pt x="2883" y="307"/>
                    <a:pt x="2395" y="457"/>
                  </a:cubicBezTo>
                  <a:cubicBezTo>
                    <a:pt x="2236" y="491"/>
                    <a:pt x="2078" y="509"/>
                    <a:pt x="1923" y="509"/>
                  </a:cubicBezTo>
                  <a:cubicBezTo>
                    <a:pt x="1645" y="509"/>
                    <a:pt x="1377" y="452"/>
                    <a:pt x="1134" y="331"/>
                  </a:cubicBezTo>
                  <a:lnTo>
                    <a:pt x="567" y="47"/>
                  </a:lnTo>
                  <a:cubicBezTo>
                    <a:pt x="527" y="21"/>
                    <a:pt x="476" y="11"/>
                    <a:pt x="421" y="11"/>
                  </a:cubicBezTo>
                  <a:cubicBezTo>
                    <a:pt x="345" y="11"/>
                    <a:pt x="262" y="29"/>
                    <a:pt x="189" y="47"/>
                  </a:cubicBezTo>
                  <a:cubicBezTo>
                    <a:pt x="63" y="142"/>
                    <a:pt x="0" y="237"/>
                    <a:pt x="0" y="394"/>
                  </a:cubicBezTo>
                  <a:lnTo>
                    <a:pt x="0" y="12838"/>
                  </a:lnTo>
                  <a:cubicBezTo>
                    <a:pt x="0" y="13563"/>
                    <a:pt x="536" y="14099"/>
                    <a:pt x="1197" y="14099"/>
                  </a:cubicBezTo>
                  <a:cubicBezTo>
                    <a:pt x="1890" y="14099"/>
                    <a:pt x="2458" y="13563"/>
                    <a:pt x="2458" y="12838"/>
                  </a:cubicBezTo>
                  <a:lnTo>
                    <a:pt x="2458" y="6380"/>
                  </a:lnTo>
                  <a:cubicBezTo>
                    <a:pt x="2867" y="6506"/>
                    <a:pt x="3245" y="6600"/>
                    <a:pt x="3686" y="6600"/>
                  </a:cubicBezTo>
                  <a:lnTo>
                    <a:pt x="4348" y="6600"/>
                  </a:lnTo>
                  <a:cubicBezTo>
                    <a:pt x="4978" y="6600"/>
                    <a:pt x="5608" y="6443"/>
                    <a:pt x="6144" y="6065"/>
                  </a:cubicBezTo>
                  <a:cubicBezTo>
                    <a:pt x="6490" y="5876"/>
                    <a:pt x="6774" y="5592"/>
                    <a:pt x="7026" y="5277"/>
                  </a:cubicBezTo>
                  <a:cubicBezTo>
                    <a:pt x="7656" y="6065"/>
                    <a:pt x="8696" y="6600"/>
                    <a:pt x="9767" y="6600"/>
                  </a:cubicBezTo>
                  <a:lnTo>
                    <a:pt x="10397" y="6600"/>
                  </a:lnTo>
                  <a:cubicBezTo>
                    <a:pt x="12445" y="6600"/>
                    <a:pt x="14083" y="4931"/>
                    <a:pt x="14083" y="2883"/>
                  </a:cubicBezTo>
                  <a:lnTo>
                    <a:pt x="14083" y="394"/>
                  </a:lnTo>
                  <a:cubicBezTo>
                    <a:pt x="14083" y="237"/>
                    <a:pt x="14020" y="142"/>
                    <a:pt x="13894" y="47"/>
                  </a:cubicBezTo>
                  <a:cubicBezTo>
                    <a:pt x="13831" y="16"/>
                    <a:pt x="13760" y="0"/>
                    <a:pt x="136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51" name="Google Shape;7651;p75"/>
          <p:cNvGrpSpPr/>
          <p:nvPr/>
        </p:nvGrpSpPr>
        <p:grpSpPr>
          <a:xfrm>
            <a:off x="8888174" y="2585806"/>
            <a:ext cx="456437" cy="456437"/>
            <a:chOff x="-12199250" y="2096250"/>
            <a:chExt cx="354450" cy="354450"/>
          </a:xfrm>
        </p:grpSpPr>
        <p:sp>
          <p:nvSpPr>
            <p:cNvPr id="7652" name="Google Shape;7652;p75"/>
            <p:cNvSpPr/>
            <p:nvPr/>
          </p:nvSpPr>
          <p:spPr>
            <a:xfrm>
              <a:off x="-12199250" y="2096250"/>
              <a:ext cx="354450" cy="354450"/>
            </a:xfrm>
            <a:custGeom>
              <a:avLst/>
              <a:gdLst/>
              <a:ahLst/>
              <a:cxnLst/>
              <a:rect l="l" t="t" r="r" b="b"/>
              <a:pathLst>
                <a:path w="14178" h="14178" extrusionOk="0">
                  <a:moveTo>
                    <a:pt x="8507" y="851"/>
                  </a:moveTo>
                  <a:lnTo>
                    <a:pt x="9609" y="2553"/>
                  </a:lnTo>
                  <a:lnTo>
                    <a:pt x="4505" y="2553"/>
                  </a:lnTo>
                  <a:lnTo>
                    <a:pt x="5608" y="851"/>
                  </a:lnTo>
                  <a:close/>
                  <a:moveTo>
                    <a:pt x="4442" y="3340"/>
                  </a:moveTo>
                  <a:cubicBezTo>
                    <a:pt x="4001" y="3655"/>
                    <a:pt x="3655" y="4002"/>
                    <a:pt x="3340" y="4443"/>
                  </a:cubicBezTo>
                  <a:lnTo>
                    <a:pt x="3340" y="3718"/>
                  </a:lnTo>
                  <a:cubicBezTo>
                    <a:pt x="3308" y="3529"/>
                    <a:pt x="3497" y="3340"/>
                    <a:pt x="3718" y="3340"/>
                  </a:cubicBezTo>
                  <a:close/>
                  <a:moveTo>
                    <a:pt x="10334" y="3340"/>
                  </a:moveTo>
                  <a:cubicBezTo>
                    <a:pt x="10586" y="3340"/>
                    <a:pt x="10775" y="3529"/>
                    <a:pt x="10775" y="3781"/>
                  </a:cubicBezTo>
                  <a:lnTo>
                    <a:pt x="10775" y="4443"/>
                  </a:lnTo>
                  <a:lnTo>
                    <a:pt x="10743" y="4443"/>
                  </a:lnTo>
                  <a:cubicBezTo>
                    <a:pt x="10428" y="4002"/>
                    <a:pt x="10082" y="3655"/>
                    <a:pt x="9641" y="3340"/>
                  </a:cubicBezTo>
                  <a:close/>
                  <a:moveTo>
                    <a:pt x="2521" y="4506"/>
                  </a:moveTo>
                  <a:lnTo>
                    <a:pt x="2521" y="9610"/>
                  </a:lnTo>
                  <a:lnTo>
                    <a:pt x="819" y="8507"/>
                  </a:lnTo>
                  <a:lnTo>
                    <a:pt x="819" y="5640"/>
                  </a:lnTo>
                  <a:lnTo>
                    <a:pt x="2521" y="4506"/>
                  </a:lnTo>
                  <a:close/>
                  <a:moveTo>
                    <a:pt x="11562" y="4537"/>
                  </a:moveTo>
                  <a:lnTo>
                    <a:pt x="13264" y="5640"/>
                  </a:lnTo>
                  <a:lnTo>
                    <a:pt x="13264" y="8507"/>
                  </a:lnTo>
                  <a:lnTo>
                    <a:pt x="11562" y="9610"/>
                  </a:lnTo>
                  <a:lnTo>
                    <a:pt x="11562" y="4537"/>
                  </a:lnTo>
                  <a:close/>
                  <a:moveTo>
                    <a:pt x="3308" y="9673"/>
                  </a:moveTo>
                  <a:cubicBezTo>
                    <a:pt x="3623" y="10114"/>
                    <a:pt x="3970" y="10460"/>
                    <a:pt x="4411" y="10775"/>
                  </a:cubicBezTo>
                  <a:lnTo>
                    <a:pt x="3686" y="10775"/>
                  </a:lnTo>
                  <a:cubicBezTo>
                    <a:pt x="3466" y="10775"/>
                    <a:pt x="3245" y="10586"/>
                    <a:pt x="3245" y="10366"/>
                  </a:cubicBezTo>
                  <a:lnTo>
                    <a:pt x="3245" y="9673"/>
                  </a:lnTo>
                  <a:close/>
                  <a:moveTo>
                    <a:pt x="7026" y="3340"/>
                  </a:moveTo>
                  <a:cubicBezTo>
                    <a:pt x="9074" y="3340"/>
                    <a:pt x="10743" y="4978"/>
                    <a:pt x="10743" y="7089"/>
                  </a:cubicBezTo>
                  <a:cubicBezTo>
                    <a:pt x="10743" y="9137"/>
                    <a:pt x="9074" y="10775"/>
                    <a:pt x="7026" y="10775"/>
                  </a:cubicBezTo>
                  <a:cubicBezTo>
                    <a:pt x="5009" y="10775"/>
                    <a:pt x="3308" y="9137"/>
                    <a:pt x="3308" y="7089"/>
                  </a:cubicBezTo>
                  <a:cubicBezTo>
                    <a:pt x="3308" y="5041"/>
                    <a:pt x="4946" y="3340"/>
                    <a:pt x="7026" y="3340"/>
                  </a:cubicBezTo>
                  <a:close/>
                  <a:moveTo>
                    <a:pt x="10743" y="9673"/>
                  </a:moveTo>
                  <a:lnTo>
                    <a:pt x="10743" y="10397"/>
                  </a:lnTo>
                  <a:cubicBezTo>
                    <a:pt x="10743" y="10618"/>
                    <a:pt x="10586" y="10775"/>
                    <a:pt x="10334" y="10775"/>
                  </a:cubicBezTo>
                  <a:lnTo>
                    <a:pt x="9641" y="10775"/>
                  </a:lnTo>
                  <a:cubicBezTo>
                    <a:pt x="10082" y="10460"/>
                    <a:pt x="10428" y="10114"/>
                    <a:pt x="10743" y="9673"/>
                  </a:cubicBezTo>
                  <a:close/>
                  <a:moveTo>
                    <a:pt x="9578" y="11594"/>
                  </a:moveTo>
                  <a:lnTo>
                    <a:pt x="8443" y="13296"/>
                  </a:lnTo>
                  <a:lnTo>
                    <a:pt x="5577" y="13296"/>
                  </a:lnTo>
                  <a:lnTo>
                    <a:pt x="4474" y="11594"/>
                  </a:lnTo>
                  <a:close/>
                  <a:moveTo>
                    <a:pt x="5419" y="1"/>
                  </a:moveTo>
                  <a:cubicBezTo>
                    <a:pt x="5261" y="1"/>
                    <a:pt x="5167" y="64"/>
                    <a:pt x="5072" y="190"/>
                  </a:cubicBezTo>
                  <a:lnTo>
                    <a:pt x="3529" y="2553"/>
                  </a:lnTo>
                  <a:cubicBezTo>
                    <a:pt x="3025" y="2616"/>
                    <a:pt x="2678" y="3025"/>
                    <a:pt x="2552" y="3529"/>
                  </a:cubicBezTo>
                  <a:lnTo>
                    <a:pt x="189" y="5073"/>
                  </a:lnTo>
                  <a:cubicBezTo>
                    <a:pt x="63" y="5136"/>
                    <a:pt x="0" y="5262"/>
                    <a:pt x="0" y="5419"/>
                  </a:cubicBezTo>
                  <a:lnTo>
                    <a:pt x="0" y="8727"/>
                  </a:lnTo>
                  <a:cubicBezTo>
                    <a:pt x="0" y="8853"/>
                    <a:pt x="63" y="9011"/>
                    <a:pt x="189" y="9105"/>
                  </a:cubicBezTo>
                  <a:lnTo>
                    <a:pt x="2552" y="10618"/>
                  </a:lnTo>
                  <a:cubicBezTo>
                    <a:pt x="2647" y="11153"/>
                    <a:pt x="3025" y="11500"/>
                    <a:pt x="3529" y="11626"/>
                  </a:cubicBezTo>
                  <a:lnTo>
                    <a:pt x="5072" y="13989"/>
                  </a:lnTo>
                  <a:cubicBezTo>
                    <a:pt x="5167" y="14083"/>
                    <a:pt x="5261" y="14178"/>
                    <a:pt x="5419" y="14178"/>
                  </a:cubicBezTo>
                  <a:lnTo>
                    <a:pt x="8727" y="14178"/>
                  </a:lnTo>
                  <a:cubicBezTo>
                    <a:pt x="8885" y="14178"/>
                    <a:pt x="9011" y="14083"/>
                    <a:pt x="9105" y="13989"/>
                  </a:cubicBezTo>
                  <a:lnTo>
                    <a:pt x="10617" y="11626"/>
                  </a:lnTo>
                  <a:cubicBezTo>
                    <a:pt x="11153" y="11531"/>
                    <a:pt x="11499" y="11153"/>
                    <a:pt x="11626" y="10618"/>
                  </a:cubicBezTo>
                  <a:lnTo>
                    <a:pt x="13988" y="9105"/>
                  </a:lnTo>
                  <a:cubicBezTo>
                    <a:pt x="14083" y="9011"/>
                    <a:pt x="14177" y="8885"/>
                    <a:pt x="14177" y="8727"/>
                  </a:cubicBezTo>
                  <a:lnTo>
                    <a:pt x="14177" y="5419"/>
                  </a:lnTo>
                  <a:cubicBezTo>
                    <a:pt x="14177" y="5262"/>
                    <a:pt x="14083" y="5167"/>
                    <a:pt x="13988" y="5073"/>
                  </a:cubicBezTo>
                  <a:lnTo>
                    <a:pt x="11626" y="3529"/>
                  </a:lnTo>
                  <a:cubicBezTo>
                    <a:pt x="11531" y="3025"/>
                    <a:pt x="11153" y="2679"/>
                    <a:pt x="10617" y="2553"/>
                  </a:cubicBezTo>
                  <a:lnTo>
                    <a:pt x="9105" y="190"/>
                  </a:lnTo>
                  <a:cubicBezTo>
                    <a:pt x="9011" y="64"/>
                    <a:pt x="8885" y="1"/>
                    <a:pt x="87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3" name="Google Shape;7653;p75"/>
            <p:cNvSpPr/>
            <p:nvPr/>
          </p:nvSpPr>
          <p:spPr>
            <a:xfrm>
              <a:off x="-12096075" y="2200225"/>
              <a:ext cx="144950" cy="144950"/>
            </a:xfrm>
            <a:custGeom>
              <a:avLst/>
              <a:gdLst/>
              <a:ahLst/>
              <a:cxnLst/>
              <a:rect l="l" t="t" r="r" b="b"/>
              <a:pathLst>
                <a:path w="5798" h="5798" extrusionOk="0">
                  <a:moveTo>
                    <a:pt x="2899" y="851"/>
                  </a:moveTo>
                  <a:cubicBezTo>
                    <a:pt x="4064" y="851"/>
                    <a:pt x="5010" y="1796"/>
                    <a:pt x="5010" y="2930"/>
                  </a:cubicBezTo>
                  <a:cubicBezTo>
                    <a:pt x="5010" y="4064"/>
                    <a:pt x="4064" y="5010"/>
                    <a:pt x="2899" y="5010"/>
                  </a:cubicBezTo>
                  <a:cubicBezTo>
                    <a:pt x="1765" y="5010"/>
                    <a:pt x="819" y="4064"/>
                    <a:pt x="819" y="2930"/>
                  </a:cubicBezTo>
                  <a:cubicBezTo>
                    <a:pt x="819" y="1796"/>
                    <a:pt x="1765" y="851"/>
                    <a:pt x="2899" y="851"/>
                  </a:cubicBezTo>
                  <a:close/>
                  <a:moveTo>
                    <a:pt x="2899" y="0"/>
                  </a:moveTo>
                  <a:cubicBezTo>
                    <a:pt x="1292" y="0"/>
                    <a:pt x="0" y="1323"/>
                    <a:pt x="0" y="2930"/>
                  </a:cubicBezTo>
                  <a:cubicBezTo>
                    <a:pt x="0" y="4505"/>
                    <a:pt x="1292" y="5797"/>
                    <a:pt x="2899" y="5797"/>
                  </a:cubicBezTo>
                  <a:cubicBezTo>
                    <a:pt x="4537" y="5797"/>
                    <a:pt x="5797" y="4505"/>
                    <a:pt x="5797" y="2930"/>
                  </a:cubicBezTo>
                  <a:cubicBezTo>
                    <a:pt x="5797" y="1323"/>
                    <a:pt x="4474"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54" name="Google Shape;7654;p75"/>
          <p:cNvGrpSpPr/>
          <p:nvPr/>
        </p:nvGrpSpPr>
        <p:grpSpPr>
          <a:xfrm>
            <a:off x="8889703" y="3131078"/>
            <a:ext cx="453379" cy="455439"/>
            <a:chOff x="-12199250" y="2530225"/>
            <a:chExt cx="352075" cy="353675"/>
          </a:xfrm>
        </p:grpSpPr>
        <p:sp>
          <p:nvSpPr>
            <p:cNvPr id="7655" name="Google Shape;7655;p75"/>
            <p:cNvSpPr/>
            <p:nvPr/>
          </p:nvSpPr>
          <p:spPr>
            <a:xfrm>
              <a:off x="-12055900" y="2530225"/>
              <a:ext cx="63025" cy="62250"/>
            </a:xfrm>
            <a:custGeom>
              <a:avLst/>
              <a:gdLst/>
              <a:ahLst/>
              <a:cxnLst/>
              <a:rect l="l" t="t" r="r" b="b"/>
              <a:pathLst>
                <a:path w="2521" h="2490" extrusionOk="0">
                  <a:moveTo>
                    <a:pt x="1292" y="883"/>
                  </a:moveTo>
                  <a:cubicBezTo>
                    <a:pt x="1512" y="883"/>
                    <a:pt x="1733" y="1072"/>
                    <a:pt x="1733" y="1292"/>
                  </a:cubicBezTo>
                  <a:cubicBezTo>
                    <a:pt x="1701" y="1513"/>
                    <a:pt x="1544" y="1702"/>
                    <a:pt x="1292" y="1702"/>
                  </a:cubicBezTo>
                  <a:cubicBezTo>
                    <a:pt x="1071" y="1702"/>
                    <a:pt x="914" y="1513"/>
                    <a:pt x="914" y="1292"/>
                  </a:cubicBezTo>
                  <a:cubicBezTo>
                    <a:pt x="914" y="1072"/>
                    <a:pt x="1103" y="883"/>
                    <a:pt x="1292" y="883"/>
                  </a:cubicBezTo>
                  <a:close/>
                  <a:moveTo>
                    <a:pt x="1260" y="1"/>
                  </a:moveTo>
                  <a:cubicBezTo>
                    <a:pt x="567" y="1"/>
                    <a:pt x="0" y="568"/>
                    <a:pt x="0" y="1261"/>
                  </a:cubicBezTo>
                  <a:cubicBezTo>
                    <a:pt x="0" y="1923"/>
                    <a:pt x="567" y="2490"/>
                    <a:pt x="1260" y="2490"/>
                  </a:cubicBezTo>
                  <a:cubicBezTo>
                    <a:pt x="1985" y="2490"/>
                    <a:pt x="2520" y="1923"/>
                    <a:pt x="2520" y="1261"/>
                  </a:cubicBezTo>
                  <a:cubicBezTo>
                    <a:pt x="2520" y="599"/>
                    <a:pt x="1985"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6" name="Google Shape;7656;p75"/>
            <p:cNvSpPr/>
            <p:nvPr/>
          </p:nvSpPr>
          <p:spPr>
            <a:xfrm>
              <a:off x="-12116550" y="2592450"/>
              <a:ext cx="185900" cy="291450"/>
            </a:xfrm>
            <a:custGeom>
              <a:avLst/>
              <a:gdLst/>
              <a:ahLst/>
              <a:cxnLst/>
              <a:rect l="l" t="t" r="r" b="b"/>
              <a:pathLst>
                <a:path w="7436" h="11658" extrusionOk="0">
                  <a:moveTo>
                    <a:pt x="5135" y="851"/>
                  </a:moveTo>
                  <a:cubicBezTo>
                    <a:pt x="5388" y="1324"/>
                    <a:pt x="5419" y="1891"/>
                    <a:pt x="5230" y="2395"/>
                  </a:cubicBezTo>
                  <a:lnTo>
                    <a:pt x="3938" y="1765"/>
                  </a:lnTo>
                  <a:cubicBezTo>
                    <a:pt x="3875" y="1749"/>
                    <a:pt x="3812" y="1741"/>
                    <a:pt x="3749" y="1741"/>
                  </a:cubicBezTo>
                  <a:cubicBezTo>
                    <a:pt x="3686" y="1741"/>
                    <a:pt x="3623" y="1749"/>
                    <a:pt x="3560" y="1765"/>
                  </a:cubicBezTo>
                  <a:lnTo>
                    <a:pt x="2269" y="2395"/>
                  </a:lnTo>
                  <a:cubicBezTo>
                    <a:pt x="2048" y="1891"/>
                    <a:pt x="2080" y="1324"/>
                    <a:pt x="2300" y="851"/>
                  </a:cubicBezTo>
                  <a:close/>
                  <a:moveTo>
                    <a:pt x="4159" y="2742"/>
                  </a:moveTo>
                  <a:lnTo>
                    <a:pt x="4946" y="3151"/>
                  </a:lnTo>
                  <a:lnTo>
                    <a:pt x="4253" y="7530"/>
                  </a:lnTo>
                  <a:lnTo>
                    <a:pt x="3308" y="7530"/>
                  </a:lnTo>
                  <a:lnTo>
                    <a:pt x="2552" y="3151"/>
                  </a:lnTo>
                  <a:lnTo>
                    <a:pt x="3340" y="2742"/>
                  </a:lnTo>
                  <a:lnTo>
                    <a:pt x="3340" y="4569"/>
                  </a:lnTo>
                  <a:cubicBezTo>
                    <a:pt x="3340" y="4789"/>
                    <a:pt x="3529" y="5010"/>
                    <a:pt x="3718" y="5010"/>
                  </a:cubicBezTo>
                  <a:cubicBezTo>
                    <a:pt x="3970" y="5010"/>
                    <a:pt x="4159" y="4789"/>
                    <a:pt x="4159" y="4569"/>
                  </a:cubicBezTo>
                  <a:lnTo>
                    <a:pt x="4159" y="2742"/>
                  </a:lnTo>
                  <a:close/>
                  <a:moveTo>
                    <a:pt x="5388" y="8318"/>
                  </a:moveTo>
                  <a:cubicBezTo>
                    <a:pt x="5608" y="8318"/>
                    <a:pt x="5766" y="8507"/>
                    <a:pt x="5766" y="8727"/>
                  </a:cubicBezTo>
                  <a:lnTo>
                    <a:pt x="5766" y="9169"/>
                  </a:lnTo>
                  <a:lnTo>
                    <a:pt x="1638" y="9169"/>
                  </a:lnTo>
                  <a:lnTo>
                    <a:pt x="1638" y="8727"/>
                  </a:lnTo>
                  <a:cubicBezTo>
                    <a:pt x="1638" y="8507"/>
                    <a:pt x="1827" y="8318"/>
                    <a:pt x="2080" y="8318"/>
                  </a:cubicBezTo>
                  <a:close/>
                  <a:moveTo>
                    <a:pt x="6207" y="9956"/>
                  </a:moveTo>
                  <a:cubicBezTo>
                    <a:pt x="6459" y="9956"/>
                    <a:pt x="6616" y="10145"/>
                    <a:pt x="6616" y="10397"/>
                  </a:cubicBezTo>
                  <a:lnTo>
                    <a:pt x="6616" y="10838"/>
                  </a:lnTo>
                  <a:lnTo>
                    <a:pt x="819" y="10838"/>
                  </a:lnTo>
                  <a:lnTo>
                    <a:pt x="819" y="10397"/>
                  </a:lnTo>
                  <a:cubicBezTo>
                    <a:pt x="819" y="10145"/>
                    <a:pt x="1008" y="9956"/>
                    <a:pt x="1260" y="9956"/>
                  </a:cubicBezTo>
                  <a:close/>
                  <a:moveTo>
                    <a:pt x="2080" y="1"/>
                  </a:moveTo>
                  <a:cubicBezTo>
                    <a:pt x="1922" y="1"/>
                    <a:pt x="1796" y="64"/>
                    <a:pt x="1733" y="190"/>
                  </a:cubicBezTo>
                  <a:cubicBezTo>
                    <a:pt x="1134" y="1040"/>
                    <a:pt x="1134" y="2143"/>
                    <a:pt x="1670" y="3057"/>
                  </a:cubicBezTo>
                  <a:lnTo>
                    <a:pt x="2426" y="7530"/>
                  </a:lnTo>
                  <a:lnTo>
                    <a:pt x="2080" y="7530"/>
                  </a:lnTo>
                  <a:cubicBezTo>
                    <a:pt x="1418" y="7530"/>
                    <a:pt x="819" y="8066"/>
                    <a:pt x="819" y="8759"/>
                  </a:cubicBezTo>
                  <a:lnTo>
                    <a:pt x="819" y="9232"/>
                  </a:lnTo>
                  <a:cubicBezTo>
                    <a:pt x="347" y="9389"/>
                    <a:pt x="0" y="9862"/>
                    <a:pt x="0" y="10429"/>
                  </a:cubicBezTo>
                  <a:lnTo>
                    <a:pt x="0" y="11248"/>
                  </a:lnTo>
                  <a:cubicBezTo>
                    <a:pt x="0" y="11500"/>
                    <a:pt x="189" y="11657"/>
                    <a:pt x="378" y="11657"/>
                  </a:cubicBezTo>
                  <a:lnTo>
                    <a:pt x="6994" y="11657"/>
                  </a:lnTo>
                  <a:cubicBezTo>
                    <a:pt x="7246" y="11657"/>
                    <a:pt x="7435" y="11437"/>
                    <a:pt x="7435" y="11248"/>
                  </a:cubicBezTo>
                  <a:lnTo>
                    <a:pt x="7435" y="10429"/>
                  </a:lnTo>
                  <a:cubicBezTo>
                    <a:pt x="7435" y="9862"/>
                    <a:pt x="7089" y="9452"/>
                    <a:pt x="6616" y="9232"/>
                  </a:cubicBezTo>
                  <a:lnTo>
                    <a:pt x="6616" y="8759"/>
                  </a:lnTo>
                  <a:cubicBezTo>
                    <a:pt x="6616" y="8066"/>
                    <a:pt x="6049" y="7530"/>
                    <a:pt x="5388" y="7530"/>
                  </a:cubicBezTo>
                  <a:lnTo>
                    <a:pt x="5041" y="7530"/>
                  </a:lnTo>
                  <a:lnTo>
                    <a:pt x="5766" y="3057"/>
                  </a:lnTo>
                  <a:cubicBezTo>
                    <a:pt x="6333" y="2206"/>
                    <a:pt x="6301" y="1072"/>
                    <a:pt x="5734" y="190"/>
                  </a:cubicBezTo>
                  <a:cubicBezTo>
                    <a:pt x="5671" y="64"/>
                    <a:pt x="5545"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7" name="Google Shape;7657;p75"/>
            <p:cNvSpPr/>
            <p:nvPr/>
          </p:nvSpPr>
          <p:spPr>
            <a:xfrm>
              <a:off x="-11950375" y="2633400"/>
              <a:ext cx="103200" cy="102425"/>
            </a:xfrm>
            <a:custGeom>
              <a:avLst/>
              <a:gdLst/>
              <a:ahLst/>
              <a:cxnLst/>
              <a:rect l="l" t="t" r="r" b="b"/>
              <a:pathLst>
                <a:path w="4128" h="4097" extrusionOk="0">
                  <a:moveTo>
                    <a:pt x="2017" y="1324"/>
                  </a:moveTo>
                  <a:lnTo>
                    <a:pt x="2206" y="1671"/>
                  </a:lnTo>
                  <a:cubicBezTo>
                    <a:pt x="2238" y="1734"/>
                    <a:pt x="2332" y="1828"/>
                    <a:pt x="2395" y="1860"/>
                  </a:cubicBezTo>
                  <a:lnTo>
                    <a:pt x="2742" y="2049"/>
                  </a:lnTo>
                  <a:lnTo>
                    <a:pt x="2395" y="2269"/>
                  </a:lnTo>
                  <a:cubicBezTo>
                    <a:pt x="2332" y="2301"/>
                    <a:pt x="2238" y="2364"/>
                    <a:pt x="2206" y="2458"/>
                  </a:cubicBezTo>
                  <a:lnTo>
                    <a:pt x="2017" y="2805"/>
                  </a:lnTo>
                  <a:lnTo>
                    <a:pt x="1797" y="2458"/>
                  </a:lnTo>
                  <a:cubicBezTo>
                    <a:pt x="1765" y="2364"/>
                    <a:pt x="1702" y="2301"/>
                    <a:pt x="1607" y="2269"/>
                  </a:cubicBezTo>
                  <a:lnTo>
                    <a:pt x="1261" y="2049"/>
                  </a:lnTo>
                  <a:lnTo>
                    <a:pt x="1607" y="1860"/>
                  </a:lnTo>
                  <a:cubicBezTo>
                    <a:pt x="1702" y="1828"/>
                    <a:pt x="1765" y="1734"/>
                    <a:pt x="1797" y="1671"/>
                  </a:cubicBezTo>
                  <a:lnTo>
                    <a:pt x="2017" y="1324"/>
                  </a:lnTo>
                  <a:close/>
                  <a:moveTo>
                    <a:pt x="2049" y="1"/>
                  </a:moveTo>
                  <a:cubicBezTo>
                    <a:pt x="1891" y="1"/>
                    <a:pt x="1734" y="95"/>
                    <a:pt x="1702" y="253"/>
                  </a:cubicBezTo>
                  <a:lnTo>
                    <a:pt x="1229" y="1230"/>
                  </a:lnTo>
                  <a:lnTo>
                    <a:pt x="221" y="1702"/>
                  </a:lnTo>
                  <a:cubicBezTo>
                    <a:pt x="64" y="1797"/>
                    <a:pt x="1" y="1891"/>
                    <a:pt x="1" y="2049"/>
                  </a:cubicBezTo>
                  <a:cubicBezTo>
                    <a:pt x="1" y="2206"/>
                    <a:pt x="64" y="2364"/>
                    <a:pt x="221" y="2427"/>
                  </a:cubicBezTo>
                  <a:lnTo>
                    <a:pt x="1229" y="2899"/>
                  </a:lnTo>
                  <a:lnTo>
                    <a:pt x="1702" y="3876"/>
                  </a:lnTo>
                  <a:cubicBezTo>
                    <a:pt x="1765" y="4034"/>
                    <a:pt x="1891" y="4097"/>
                    <a:pt x="2049" y="4097"/>
                  </a:cubicBezTo>
                  <a:cubicBezTo>
                    <a:pt x="2206" y="4097"/>
                    <a:pt x="2364" y="4034"/>
                    <a:pt x="2395" y="3876"/>
                  </a:cubicBezTo>
                  <a:lnTo>
                    <a:pt x="2868" y="2899"/>
                  </a:lnTo>
                  <a:lnTo>
                    <a:pt x="3907" y="2427"/>
                  </a:lnTo>
                  <a:cubicBezTo>
                    <a:pt x="4065" y="2332"/>
                    <a:pt x="4128" y="2206"/>
                    <a:pt x="4128" y="2049"/>
                  </a:cubicBezTo>
                  <a:cubicBezTo>
                    <a:pt x="4128" y="1891"/>
                    <a:pt x="4065" y="1734"/>
                    <a:pt x="3907" y="1702"/>
                  </a:cubicBezTo>
                  <a:lnTo>
                    <a:pt x="2868" y="1230"/>
                  </a:lnTo>
                  <a:lnTo>
                    <a:pt x="2395" y="253"/>
                  </a:lnTo>
                  <a:cubicBezTo>
                    <a:pt x="2332" y="95"/>
                    <a:pt x="2206" y="1"/>
                    <a:pt x="20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58" name="Google Shape;7658;p75"/>
            <p:cNvSpPr/>
            <p:nvPr/>
          </p:nvSpPr>
          <p:spPr>
            <a:xfrm>
              <a:off x="-12199250" y="2633400"/>
              <a:ext cx="103200" cy="102425"/>
            </a:xfrm>
            <a:custGeom>
              <a:avLst/>
              <a:gdLst/>
              <a:ahLst/>
              <a:cxnLst/>
              <a:rect l="l" t="t" r="r" b="b"/>
              <a:pathLst>
                <a:path w="4128" h="4097" extrusionOk="0">
                  <a:moveTo>
                    <a:pt x="2048" y="1324"/>
                  </a:moveTo>
                  <a:lnTo>
                    <a:pt x="2237" y="1671"/>
                  </a:lnTo>
                  <a:cubicBezTo>
                    <a:pt x="2269" y="1734"/>
                    <a:pt x="2363" y="1828"/>
                    <a:pt x="2426" y="1860"/>
                  </a:cubicBezTo>
                  <a:lnTo>
                    <a:pt x="2804" y="2049"/>
                  </a:lnTo>
                  <a:lnTo>
                    <a:pt x="2426" y="2269"/>
                  </a:lnTo>
                  <a:cubicBezTo>
                    <a:pt x="2363" y="2301"/>
                    <a:pt x="2269" y="2364"/>
                    <a:pt x="2237" y="2458"/>
                  </a:cubicBezTo>
                  <a:lnTo>
                    <a:pt x="2048" y="2805"/>
                  </a:lnTo>
                  <a:lnTo>
                    <a:pt x="1859" y="2458"/>
                  </a:lnTo>
                  <a:cubicBezTo>
                    <a:pt x="1796" y="2364"/>
                    <a:pt x="1733" y="2301"/>
                    <a:pt x="1638" y="2269"/>
                  </a:cubicBezTo>
                  <a:lnTo>
                    <a:pt x="1292" y="2049"/>
                  </a:lnTo>
                  <a:lnTo>
                    <a:pt x="1638" y="1860"/>
                  </a:lnTo>
                  <a:cubicBezTo>
                    <a:pt x="1733" y="1828"/>
                    <a:pt x="1796" y="1734"/>
                    <a:pt x="1859" y="1671"/>
                  </a:cubicBezTo>
                  <a:lnTo>
                    <a:pt x="2048" y="1324"/>
                  </a:lnTo>
                  <a:close/>
                  <a:moveTo>
                    <a:pt x="2079" y="1"/>
                  </a:moveTo>
                  <a:cubicBezTo>
                    <a:pt x="1922" y="1"/>
                    <a:pt x="1764" y="95"/>
                    <a:pt x="1733" y="253"/>
                  </a:cubicBezTo>
                  <a:lnTo>
                    <a:pt x="1260" y="1230"/>
                  </a:lnTo>
                  <a:lnTo>
                    <a:pt x="221" y="1702"/>
                  </a:lnTo>
                  <a:cubicBezTo>
                    <a:pt x="63" y="1797"/>
                    <a:pt x="0" y="1891"/>
                    <a:pt x="0" y="2049"/>
                  </a:cubicBezTo>
                  <a:cubicBezTo>
                    <a:pt x="0" y="2206"/>
                    <a:pt x="63" y="2364"/>
                    <a:pt x="221" y="2427"/>
                  </a:cubicBezTo>
                  <a:lnTo>
                    <a:pt x="1260" y="2899"/>
                  </a:lnTo>
                  <a:lnTo>
                    <a:pt x="1733" y="3876"/>
                  </a:lnTo>
                  <a:cubicBezTo>
                    <a:pt x="1796" y="4034"/>
                    <a:pt x="1922" y="4097"/>
                    <a:pt x="2079" y="4097"/>
                  </a:cubicBezTo>
                  <a:cubicBezTo>
                    <a:pt x="2237" y="4097"/>
                    <a:pt x="2395" y="4034"/>
                    <a:pt x="2426" y="3876"/>
                  </a:cubicBezTo>
                  <a:lnTo>
                    <a:pt x="2899" y="2899"/>
                  </a:lnTo>
                  <a:lnTo>
                    <a:pt x="3907" y="2427"/>
                  </a:lnTo>
                  <a:cubicBezTo>
                    <a:pt x="4033" y="2364"/>
                    <a:pt x="4127" y="2206"/>
                    <a:pt x="4127" y="2049"/>
                  </a:cubicBezTo>
                  <a:cubicBezTo>
                    <a:pt x="4127" y="1891"/>
                    <a:pt x="4033" y="1734"/>
                    <a:pt x="3907" y="1702"/>
                  </a:cubicBezTo>
                  <a:lnTo>
                    <a:pt x="2899" y="1230"/>
                  </a:lnTo>
                  <a:lnTo>
                    <a:pt x="2426" y="253"/>
                  </a:lnTo>
                  <a:cubicBezTo>
                    <a:pt x="2363" y="95"/>
                    <a:pt x="2237" y="1"/>
                    <a:pt x="20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59" name="Google Shape;7659;p75"/>
          <p:cNvSpPr/>
          <p:nvPr/>
        </p:nvSpPr>
        <p:spPr>
          <a:xfrm>
            <a:off x="6494885" y="3705384"/>
            <a:ext cx="455439" cy="455696"/>
          </a:xfrm>
          <a:custGeom>
            <a:avLst/>
            <a:gdLst/>
            <a:ahLst/>
            <a:cxnLst/>
            <a:rect l="l" t="t" r="r" b="b"/>
            <a:pathLst>
              <a:path w="14147" h="14155" extrusionOk="0">
                <a:moveTo>
                  <a:pt x="7058" y="891"/>
                </a:moveTo>
                <a:lnTo>
                  <a:pt x="11311" y="3285"/>
                </a:lnTo>
                <a:lnTo>
                  <a:pt x="2805" y="3285"/>
                </a:lnTo>
                <a:lnTo>
                  <a:pt x="7058" y="891"/>
                </a:lnTo>
                <a:close/>
                <a:moveTo>
                  <a:pt x="12886" y="4136"/>
                </a:moveTo>
                <a:cubicBezTo>
                  <a:pt x="13107" y="4136"/>
                  <a:pt x="13264" y="4325"/>
                  <a:pt x="13264" y="4545"/>
                </a:cubicBezTo>
                <a:lnTo>
                  <a:pt x="13264" y="4986"/>
                </a:lnTo>
                <a:lnTo>
                  <a:pt x="851" y="4986"/>
                </a:lnTo>
                <a:lnTo>
                  <a:pt x="851" y="4545"/>
                </a:lnTo>
                <a:cubicBezTo>
                  <a:pt x="851" y="4325"/>
                  <a:pt x="1040" y="4136"/>
                  <a:pt x="1261" y="4136"/>
                </a:cubicBezTo>
                <a:close/>
                <a:moveTo>
                  <a:pt x="3309" y="5806"/>
                </a:moveTo>
                <a:lnTo>
                  <a:pt x="3309" y="9996"/>
                </a:lnTo>
                <a:lnTo>
                  <a:pt x="2490" y="9996"/>
                </a:lnTo>
                <a:lnTo>
                  <a:pt x="2490" y="5806"/>
                </a:lnTo>
                <a:close/>
                <a:moveTo>
                  <a:pt x="5798" y="5806"/>
                </a:moveTo>
                <a:lnTo>
                  <a:pt x="5798" y="9996"/>
                </a:lnTo>
                <a:lnTo>
                  <a:pt x="4128" y="9996"/>
                </a:lnTo>
                <a:lnTo>
                  <a:pt x="4128" y="5806"/>
                </a:lnTo>
                <a:close/>
                <a:moveTo>
                  <a:pt x="7499" y="5806"/>
                </a:moveTo>
                <a:lnTo>
                  <a:pt x="7499" y="9996"/>
                </a:lnTo>
                <a:lnTo>
                  <a:pt x="6617" y="9996"/>
                </a:lnTo>
                <a:lnTo>
                  <a:pt x="6617" y="5806"/>
                </a:lnTo>
                <a:close/>
                <a:moveTo>
                  <a:pt x="9956" y="5806"/>
                </a:moveTo>
                <a:lnTo>
                  <a:pt x="9956" y="9996"/>
                </a:lnTo>
                <a:lnTo>
                  <a:pt x="8286" y="9996"/>
                </a:lnTo>
                <a:lnTo>
                  <a:pt x="8286" y="5806"/>
                </a:lnTo>
                <a:close/>
                <a:moveTo>
                  <a:pt x="11626" y="5806"/>
                </a:moveTo>
                <a:lnTo>
                  <a:pt x="11626" y="9996"/>
                </a:lnTo>
                <a:lnTo>
                  <a:pt x="10807" y="9996"/>
                </a:lnTo>
                <a:lnTo>
                  <a:pt x="10807" y="5806"/>
                </a:lnTo>
                <a:close/>
                <a:moveTo>
                  <a:pt x="12004" y="10815"/>
                </a:moveTo>
                <a:cubicBezTo>
                  <a:pt x="12256" y="10815"/>
                  <a:pt x="12445" y="11004"/>
                  <a:pt x="12445" y="11256"/>
                </a:cubicBezTo>
                <a:lnTo>
                  <a:pt x="12445" y="11634"/>
                </a:lnTo>
                <a:lnTo>
                  <a:pt x="1670" y="11634"/>
                </a:lnTo>
                <a:lnTo>
                  <a:pt x="1670" y="11256"/>
                </a:lnTo>
                <a:cubicBezTo>
                  <a:pt x="1670" y="11004"/>
                  <a:pt x="1859" y="10815"/>
                  <a:pt x="2048" y="10815"/>
                </a:cubicBezTo>
                <a:close/>
                <a:moveTo>
                  <a:pt x="12886" y="12422"/>
                </a:moveTo>
                <a:cubicBezTo>
                  <a:pt x="13107" y="12422"/>
                  <a:pt x="13264" y="12642"/>
                  <a:pt x="13264" y="12863"/>
                </a:cubicBezTo>
                <a:lnTo>
                  <a:pt x="13264" y="13304"/>
                </a:lnTo>
                <a:lnTo>
                  <a:pt x="851" y="13304"/>
                </a:lnTo>
                <a:lnTo>
                  <a:pt x="851" y="12863"/>
                </a:lnTo>
                <a:cubicBezTo>
                  <a:pt x="851" y="12642"/>
                  <a:pt x="1040" y="12422"/>
                  <a:pt x="1261" y="12422"/>
                </a:cubicBezTo>
                <a:close/>
                <a:moveTo>
                  <a:pt x="7058" y="1"/>
                </a:moveTo>
                <a:cubicBezTo>
                  <a:pt x="6987" y="1"/>
                  <a:pt x="6916" y="24"/>
                  <a:pt x="6869" y="72"/>
                </a:cubicBezTo>
                <a:lnTo>
                  <a:pt x="1103" y="3348"/>
                </a:lnTo>
                <a:cubicBezTo>
                  <a:pt x="473" y="3411"/>
                  <a:pt x="1" y="3915"/>
                  <a:pt x="1" y="4545"/>
                </a:cubicBezTo>
                <a:lnTo>
                  <a:pt x="1" y="5365"/>
                </a:lnTo>
                <a:cubicBezTo>
                  <a:pt x="1" y="5617"/>
                  <a:pt x="221" y="5806"/>
                  <a:pt x="442" y="5806"/>
                </a:cubicBezTo>
                <a:lnTo>
                  <a:pt x="1702" y="5806"/>
                </a:lnTo>
                <a:lnTo>
                  <a:pt x="1702" y="10059"/>
                </a:lnTo>
                <a:cubicBezTo>
                  <a:pt x="1229" y="10216"/>
                  <a:pt x="883" y="10689"/>
                  <a:pt x="883" y="11256"/>
                </a:cubicBezTo>
                <a:lnTo>
                  <a:pt x="883" y="11729"/>
                </a:lnTo>
                <a:cubicBezTo>
                  <a:pt x="410" y="11886"/>
                  <a:pt x="64" y="12359"/>
                  <a:pt x="64" y="12894"/>
                </a:cubicBezTo>
                <a:lnTo>
                  <a:pt x="64" y="13713"/>
                </a:lnTo>
                <a:cubicBezTo>
                  <a:pt x="64" y="13965"/>
                  <a:pt x="253" y="14154"/>
                  <a:pt x="473" y="14154"/>
                </a:cubicBezTo>
                <a:lnTo>
                  <a:pt x="13768" y="14154"/>
                </a:lnTo>
                <a:cubicBezTo>
                  <a:pt x="13989" y="14154"/>
                  <a:pt x="14146" y="13965"/>
                  <a:pt x="14146" y="13713"/>
                </a:cubicBezTo>
                <a:lnTo>
                  <a:pt x="14146" y="12894"/>
                </a:lnTo>
                <a:cubicBezTo>
                  <a:pt x="14146" y="12359"/>
                  <a:pt x="13800" y="11918"/>
                  <a:pt x="13327" y="11729"/>
                </a:cubicBezTo>
                <a:lnTo>
                  <a:pt x="13327" y="11256"/>
                </a:lnTo>
                <a:cubicBezTo>
                  <a:pt x="13327" y="10689"/>
                  <a:pt x="12981" y="10248"/>
                  <a:pt x="12508" y="10059"/>
                </a:cubicBezTo>
                <a:lnTo>
                  <a:pt x="12508" y="5806"/>
                </a:lnTo>
                <a:lnTo>
                  <a:pt x="13768" y="5806"/>
                </a:lnTo>
                <a:cubicBezTo>
                  <a:pt x="13989" y="5806"/>
                  <a:pt x="14146" y="5617"/>
                  <a:pt x="14146" y="5396"/>
                </a:cubicBezTo>
                <a:lnTo>
                  <a:pt x="14146" y="4545"/>
                </a:lnTo>
                <a:cubicBezTo>
                  <a:pt x="14115" y="3915"/>
                  <a:pt x="13642" y="3380"/>
                  <a:pt x="13012" y="3348"/>
                </a:cubicBezTo>
                <a:lnTo>
                  <a:pt x="7247" y="72"/>
                </a:lnTo>
                <a:cubicBezTo>
                  <a:pt x="7200" y="24"/>
                  <a:pt x="7129" y="1"/>
                  <a:pt x="70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60" name="Google Shape;7660;p75"/>
          <p:cNvGrpSpPr/>
          <p:nvPr/>
        </p:nvGrpSpPr>
        <p:grpSpPr>
          <a:xfrm>
            <a:off x="6494384" y="4250784"/>
            <a:ext cx="456437" cy="452413"/>
            <a:chOff x="-10462550" y="2057650"/>
            <a:chExt cx="354450" cy="351325"/>
          </a:xfrm>
        </p:grpSpPr>
        <p:sp>
          <p:nvSpPr>
            <p:cNvPr id="7661" name="Google Shape;7661;p75"/>
            <p:cNvSpPr/>
            <p:nvPr/>
          </p:nvSpPr>
          <p:spPr>
            <a:xfrm>
              <a:off x="-10462550" y="2057650"/>
              <a:ext cx="354450" cy="351325"/>
            </a:xfrm>
            <a:custGeom>
              <a:avLst/>
              <a:gdLst/>
              <a:ahLst/>
              <a:cxnLst/>
              <a:rect l="l" t="t" r="r" b="b"/>
              <a:pathLst>
                <a:path w="14178" h="14053" extrusionOk="0">
                  <a:moveTo>
                    <a:pt x="7121" y="788"/>
                  </a:moveTo>
                  <a:cubicBezTo>
                    <a:pt x="7341" y="788"/>
                    <a:pt x="7499" y="978"/>
                    <a:pt x="7499" y="1198"/>
                  </a:cubicBezTo>
                  <a:cubicBezTo>
                    <a:pt x="7499" y="1419"/>
                    <a:pt x="7310" y="1608"/>
                    <a:pt x="7121" y="1608"/>
                  </a:cubicBezTo>
                  <a:cubicBezTo>
                    <a:pt x="6932" y="1608"/>
                    <a:pt x="6680" y="1419"/>
                    <a:pt x="6680" y="1198"/>
                  </a:cubicBezTo>
                  <a:cubicBezTo>
                    <a:pt x="6711" y="946"/>
                    <a:pt x="6869" y="788"/>
                    <a:pt x="7121" y="788"/>
                  </a:cubicBezTo>
                  <a:close/>
                  <a:moveTo>
                    <a:pt x="7467" y="2364"/>
                  </a:moveTo>
                  <a:lnTo>
                    <a:pt x="8790" y="4065"/>
                  </a:lnTo>
                  <a:lnTo>
                    <a:pt x="5451" y="4065"/>
                  </a:lnTo>
                  <a:lnTo>
                    <a:pt x="6774" y="2364"/>
                  </a:lnTo>
                  <a:cubicBezTo>
                    <a:pt x="6869" y="2395"/>
                    <a:pt x="6995" y="2395"/>
                    <a:pt x="7121" y="2395"/>
                  </a:cubicBezTo>
                  <a:cubicBezTo>
                    <a:pt x="7247" y="2395"/>
                    <a:pt x="7341" y="2364"/>
                    <a:pt x="7467" y="2364"/>
                  </a:cubicBezTo>
                  <a:close/>
                  <a:moveTo>
                    <a:pt x="12508" y="4065"/>
                  </a:moveTo>
                  <a:cubicBezTo>
                    <a:pt x="12981" y="4065"/>
                    <a:pt x="13327" y="4412"/>
                    <a:pt x="13327" y="4884"/>
                  </a:cubicBezTo>
                  <a:cubicBezTo>
                    <a:pt x="13327" y="5231"/>
                    <a:pt x="13107" y="5546"/>
                    <a:pt x="12792" y="5672"/>
                  </a:cubicBezTo>
                  <a:cubicBezTo>
                    <a:pt x="12634" y="5703"/>
                    <a:pt x="12508" y="5861"/>
                    <a:pt x="12508" y="6081"/>
                  </a:cubicBezTo>
                  <a:lnTo>
                    <a:pt x="12508" y="11217"/>
                  </a:lnTo>
                  <a:cubicBezTo>
                    <a:pt x="12508" y="11437"/>
                    <a:pt x="12634" y="11563"/>
                    <a:pt x="12792" y="11626"/>
                  </a:cubicBezTo>
                  <a:cubicBezTo>
                    <a:pt x="13107" y="11752"/>
                    <a:pt x="13327" y="12067"/>
                    <a:pt x="13327" y="12414"/>
                  </a:cubicBezTo>
                  <a:cubicBezTo>
                    <a:pt x="13327" y="12886"/>
                    <a:pt x="12981" y="13233"/>
                    <a:pt x="12508" y="13233"/>
                  </a:cubicBezTo>
                  <a:cubicBezTo>
                    <a:pt x="12162" y="13233"/>
                    <a:pt x="11846" y="13012"/>
                    <a:pt x="11720" y="12697"/>
                  </a:cubicBezTo>
                  <a:cubicBezTo>
                    <a:pt x="11689" y="12540"/>
                    <a:pt x="11531" y="12414"/>
                    <a:pt x="11342" y="12414"/>
                  </a:cubicBezTo>
                  <a:lnTo>
                    <a:pt x="2868" y="12414"/>
                  </a:lnTo>
                  <a:cubicBezTo>
                    <a:pt x="2710" y="12414"/>
                    <a:pt x="2553" y="12540"/>
                    <a:pt x="2490" y="12697"/>
                  </a:cubicBezTo>
                  <a:cubicBezTo>
                    <a:pt x="2363" y="13012"/>
                    <a:pt x="2048" y="13233"/>
                    <a:pt x="1702" y="13233"/>
                  </a:cubicBezTo>
                  <a:cubicBezTo>
                    <a:pt x="1198" y="13233"/>
                    <a:pt x="851" y="12886"/>
                    <a:pt x="851" y="12414"/>
                  </a:cubicBezTo>
                  <a:cubicBezTo>
                    <a:pt x="851" y="12067"/>
                    <a:pt x="1103" y="11752"/>
                    <a:pt x="1418" y="11626"/>
                  </a:cubicBezTo>
                  <a:cubicBezTo>
                    <a:pt x="1576" y="11595"/>
                    <a:pt x="1702" y="11437"/>
                    <a:pt x="1702" y="11217"/>
                  </a:cubicBezTo>
                  <a:lnTo>
                    <a:pt x="1702" y="6081"/>
                  </a:lnTo>
                  <a:cubicBezTo>
                    <a:pt x="1702" y="5924"/>
                    <a:pt x="1576" y="5766"/>
                    <a:pt x="1418" y="5672"/>
                  </a:cubicBezTo>
                  <a:cubicBezTo>
                    <a:pt x="1103" y="5546"/>
                    <a:pt x="851" y="5231"/>
                    <a:pt x="851" y="4884"/>
                  </a:cubicBezTo>
                  <a:cubicBezTo>
                    <a:pt x="851" y="4412"/>
                    <a:pt x="1229" y="4065"/>
                    <a:pt x="1702" y="4065"/>
                  </a:cubicBezTo>
                  <a:cubicBezTo>
                    <a:pt x="2048" y="4065"/>
                    <a:pt x="2363" y="4286"/>
                    <a:pt x="2490" y="4601"/>
                  </a:cubicBezTo>
                  <a:cubicBezTo>
                    <a:pt x="2521" y="4758"/>
                    <a:pt x="2679" y="4884"/>
                    <a:pt x="2868" y="4884"/>
                  </a:cubicBezTo>
                  <a:lnTo>
                    <a:pt x="11342" y="4884"/>
                  </a:lnTo>
                  <a:cubicBezTo>
                    <a:pt x="11500" y="4884"/>
                    <a:pt x="11657" y="4758"/>
                    <a:pt x="11720" y="4601"/>
                  </a:cubicBezTo>
                  <a:cubicBezTo>
                    <a:pt x="11846" y="4286"/>
                    <a:pt x="12162" y="4065"/>
                    <a:pt x="12508" y="4065"/>
                  </a:cubicBezTo>
                  <a:close/>
                  <a:moveTo>
                    <a:pt x="7089" y="1"/>
                  </a:moveTo>
                  <a:cubicBezTo>
                    <a:pt x="6365" y="1"/>
                    <a:pt x="5829" y="568"/>
                    <a:pt x="5829" y="1230"/>
                  </a:cubicBezTo>
                  <a:cubicBezTo>
                    <a:pt x="5829" y="1450"/>
                    <a:pt x="5892" y="1702"/>
                    <a:pt x="6018" y="1891"/>
                  </a:cubicBezTo>
                  <a:lnTo>
                    <a:pt x="4348" y="4097"/>
                  </a:lnTo>
                  <a:lnTo>
                    <a:pt x="3057" y="4097"/>
                  </a:lnTo>
                  <a:cubicBezTo>
                    <a:pt x="2773" y="3592"/>
                    <a:pt x="2237" y="3277"/>
                    <a:pt x="1639" y="3277"/>
                  </a:cubicBezTo>
                  <a:cubicBezTo>
                    <a:pt x="725" y="3277"/>
                    <a:pt x="1" y="4033"/>
                    <a:pt x="1" y="4916"/>
                  </a:cubicBezTo>
                  <a:cubicBezTo>
                    <a:pt x="1" y="5514"/>
                    <a:pt x="316" y="6081"/>
                    <a:pt x="820" y="6333"/>
                  </a:cubicBezTo>
                  <a:lnTo>
                    <a:pt x="820" y="10996"/>
                  </a:lnTo>
                  <a:cubicBezTo>
                    <a:pt x="316" y="11280"/>
                    <a:pt x="1" y="11815"/>
                    <a:pt x="1" y="12414"/>
                  </a:cubicBezTo>
                  <a:cubicBezTo>
                    <a:pt x="1" y="13327"/>
                    <a:pt x="725" y="14052"/>
                    <a:pt x="1639" y="14052"/>
                  </a:cubicBezTo>
                  <a:cubicBezTo>
                    <a:pt x="2237" y="14052"/>
                    <a:pt x="2773" y="13737"/>
                    <a:pt x="3057" y="13233"/>
                  </a:cubicBezTo>
                  <a:lnTo>
                    <a:pt x="11027" y="13233"/>
                  </a:lnTo>
                  <a:cubicBezTo>
                    <a:pt x="11279" y="13737"/>
                    <a:pt x="11846" y="14052"/>
                    <a:pt x="12445" y="14052"/>
                  </a:cubicBezTo>
                  <a:cubicBezTo>
                    <a:pt x="13327" y="14052"/>
                    <a:pt x="14083" y="13327"/>
                    <a:pt x="14083" y="12414"/>
                  </a:cubicBezTo>
                  <a:cubicBezTo>
                    <a:pt x="14083" y="11815"/>
                    <a:pt x="13768" y="11280"/>
                    <a:pt x="13264" y="10996"/>
                  </a:cubicBezTo>
                  <a:lnTo>
                    <a:pt x="13264" y="6333"/>
                  </a:lnTo>
                  <a:cubicBezTo>
                    <a:pt x="13863" y="6050"/>
                    <a:pt x="14178" y="5514"/>
                    <a:pt x="14178" y="4916"/>
                  </a:cubicBezTo>
                  <a:cubicBezTo>
                    <a:pt x="14178" y="4033"/>
                    <a:pt x="13422" y="3277"/>
                    <a:pt x="12508" y="3277"/>
                  </a:cubicBezTo>
                  <a:cubicBezTo>
                    <a:pt x="11909" y="3277"/>
                    <a:pt x="11374" y="3592"/>
                    <a:pt x="11090" y="4097"/>
                  </a:cubicBezTo>
                  <a:lnTo>
                    <a:pt x="9799" y="4097"/>
                  </a:lnTo>
                  <a:lnTo>
                    <a:pt x="8129" y="1891"/>
                  </a:lnTo>
                  <a:cubicBezTo>
                    <a:pt x="8255" y="1702"/>
                    <a:pt x="8349" y="1450"/>
                    <a:pt x="8349" y="1230"/>
                  </a:cubicBezTo>
                  <a:cubicBezTo>
                    <a:pt x="8349" y="568"/>
                    <a:pt x="7782" y="1"/>
                    <a:pt x="708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2" name="Google Shape;7662;p75"/>
            <p:cNvSpPr/>
            <p:nvPr/>
          </p:nvSpPr>
          <p:spPr>
            <a:xfrm>
              <a:off x="-10397950" y="2201800"/>
              <a:ext cx="228425" cy="146525"/>
            </a:xfrm>
            <a:custGeom>
              <a:avLst/>
              <a:gdLst/>
              <a:ahLst/>
              <a:cxnLst/>
              <a:rect l="l" t="t" r="r" b="b"/>
              <a:pathLst>
                <a:path w="9137" h="5861" extrusionOk="0">
                  <a:moveTo>
                    <a:pt x="8286" y="819"/>
                  </a:moveTo>
                  <a:lnTo>
                    <a:pt x="8286" y="4978"/>
                  </a:lnTo>
                  <a:lnTo>
                    <a:pt x="788" y="4978"/>
                  </a:lnTo>
                  <a:lnTo>
                    <a:pt x="788" y="819"/>
                  </a:lnTo>
                  <a:close/>
                  <a:moveTo>
                    <a:pt x="410" y="0"/>
                  </a:moveTo>
                  <a:cubicBezTo>
                    <a:pt x="158" y="0"/>
                    <a:pt x="0" y="189"/>
                    <a:pt x="0" y="410"/>
                  </a:cubicBezTo>
                  <a:lnTo>
                    <a:pt x="0" y="5419"/>
                  </a:lnTo>
                  <a:cubicBezTo>
                    <a:pt x="0" y="5640"/>
                    <a:pt x="189" y="5860"/>
                    <a:pt x="410" y="5860"/>
                  </a:cubicBezTo>
                  <a:lnTo>
                    <a:pt x="8695" y="5860"/>
                  </a:lnTo>
                  <a:cubicBezTo>
                    <a:pt x="8947" y="5860"/>
                    <a:pt x="9136" y="5640"/>
                    <a:pt x="9136" y="5419"/>
                  </a:cubicBezTo>
                  <a:lnTo>
                    <a:pt x="9136" y="410"/>
                  </a:lnTo>
                  <a:cubicBezTo>
                    <a:pt x="9105" y="158"/>
                    <a:pt x="8947" y="0"/>
                    <a:pt x="86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63" name="Google Shape;7663;p75"/>
          <p:cNvSpPr/>
          <p:nvPr/>
        </p:nvSpPr>
        <p:spPr>
          <a:xfrm>
            <a:off x="10122166" y="3740750"/>
            <a:ext cx="417901" cy="455439"/>
          </a:xfrm>
          <a:custGeom>
            <a:avLst/>
            <a:gdLst/>
            <a:ahLst/>
            <a:cxnLst/>
            <a:rect l="l" t="t" r="r" b="b"/>
            <a:pathLst>
              <a:path w="12981" h="14147" extrusionOk="0">
                <a:moveTo>
                  <a:pt x="10712" y="820"/>
                </a:moveTo>
                <a:cubicBezTo>
                  <a:pt x="11279" y="820"/>
                  <a:pt x="11752" y="1166"/>
                  <a:pt x="11909" y="1733"/>
                </a:cubicBezTo>
                <a:cubicBezTo>
                  <a:pt x="12067" y="2615"/>
                  <a:pt x="11531" y="3655"/>
                  <a:pt x="10680" y="3655"/>
                </a:cubicBezTo>
                <a:cubicBezTo>
                  <a:pt x="9924" y="3655"/>
                  <a:pt x="9420" y="2867"/>
                  <a:pt x="9798" y="2521"/>
                </a:cubicBezTo>
                <a:cubicBezTo>
                  <a:pt x="9865" y="2476"/>
                  <a:pt x="9963" y="2432"/>
                  <a:pt x="10071" y="2432"/>
                </a:cubicBezTo>
                <a:cubicBezTo>
                  <a:pt x="10116" y="2432"/>
                  <a:pt x="10162" y="2439"/>
                  <a:pt x="10208" y="2458"/>
                </a:cubicBezTo>
                <a:cubicBezTo>
                  <a:pt x="10271" y="2489"/>
                  <a:pt x="10302" y="2521"/>
                  <a:pt x="10365" y="2615"/>
                </a:cubicBezTo>
                <a:cubicBezTo>
                  <a:pt x="10394" y="2813"/>
                  <a:pt x="10600" y="2935"/>
                  <a:pt x="10801" y="2935"/>
                </a:cubicBezTo>
                <a:cubicBezTo>
                  <a:pt x="10824" y="2935"/>
                  <a:pt x="10847" y="2934"/>
                  <a:pt x="10869" y="2930"/>
                </a:cubicBezTo>
                <a:cubicBezTo>
                  <a:pt x="11090" y="2867"/>
                  <a:pt x="11216" y="2647"/>
                  <a:pt x="11184" y="2395"/>
                </a:cubicBezTo>
                <a:cubicBezTo>
                  <a:pt x="11090" y="2048"/>
                  <a:pt x="10838" y="1733"/>
                  <a:pt x="10491" y="1670"/>
                </a:cubicBezTo>
                <a:cubicBezTo>
                  <a:pt x="10382" y="1637"/>
                  <a:pt x="10265" y="1621"/>
                  <a:pt x="10148" y="1621"/>
                </a:cubicBezTo>
                <a:cubicBezTo>
                  <a:pt x="9828" y="1621"/>
                  <a:pt x="9502" y="1738"/>
                  <a:pt x="9294" y="1922"/>
                </a:cubicBezTo>
                <a:lnTo>
                  <a:pt x="9168" y="2048"/>
                </a:lnTo>
                <a:lnTo>
                  <a:pt x="3907" y="2048"/>
                </a:lnTo>
                <a:lnTo>
                  <a:pt x="3781" y="1922"/>
                </a:lnTo>
                <a:cubicBezTo>
                  <a:pt x="3556" y="1723"/>
                  <a:pt x="3242" y="1617"/>
                  <a:pt x="2934" y="1617"/>
                </a:cubicBezTo>
                <a:cubicBezTo>
                  <a:pt x="2463" y="1617"/>
                  <a:pt x="2005" y="1862"/>
                  <a:pt x="1891" y="2395"/>
                </a:cubicBezTo>
                <a:cubicBezTo>
                  <a:pt x="1859" y="2647"/>
                  <a:pt x="1985" y="2836"/>
                  <a:pt x="2206" y="2930"/>
                </a:cubicBezTo>
                <a:cubicBezTo>
                  <a:pt x="2228" y="2934"/>
                  <a:pt x="2250" y="2935"/>
                  <a:pt x="2272" y="2935"/>
                </a:cubicBezTo>
                <a:cubicBezTo>
                  <a:pt x="2469" y="2935"/>
                  <a:pt x="2653" y="2810"/>
                  <a:pt x="2710" y="2584"/>
                </a:cubicBezTo>
                <a:cubicBezTo>
                  <a:pt x="2741" y="2521"/>
                  <a:pt x="2804" y="2489"/>
                  <a:pt x="2867" y="2426"/>
                </a:cubicBezTo>
                <a:cubicBezTo>
                  <a:pt x="2899" y="2419"/>
                  <a:pt x="2934" y="2415"/>
                  <a:pt x="2971" y="2415"/>
                </a:cubicBezTo>
                <a:cubicBezTo>
                  <a:pt x="3082" y="2415"/>
                  <a:pt x="3206" y="2450"/>
                  <a:pt x="3277" y="2521"/>
                </a:cubicBezTo>
                <a:cubicBezTo>
                  <a:pt x="3623" y="2867"/>
                  <a:pt x="3119" y="3655"/>
                  <a:pt x="2395" y="3655"/>
                </a:cubicBezTo>
                <a:cubicBezTo>
                  <a:pt x="1544" y="3655"/>
                  <a:pt x="1040" y="2584"/>
                  <a:pt x="1292" y="1733"/>
                </a:cubicBezTo>
                <a:cubicBezTo>
                  <a:pt x="1512" y="1135"/>
                  <a:pt x="1922" y="820"/>
                  <a:pt x="2489" y="820"/>
                </a:cubicBezTo>
                <a:close/>
                <a:moveTo>
                  <a:pt x="8822" y="2867"/>
                </a:moveTo>
                <a:cubicBezTo>
                  <a:pt x="8822" y="3183"/>
                  <a:pt x="8948" y="3466"/>
                  <a:pt x="9137" y="3718"/>
                </a:cubicBezTo>
                <a:lnTo>
                  <a:pt x="3749" y="3718"/>
                </a:lnTo>
                <a:cubicBezTo>
                  <a:pt x="3938" y="3466"/>
                  <a:pt x="4064" y="3183"/>
                  <a:pt x="4064" y="2867"/>
                </a:cubicBezTo>
                <a:close/>
                <a:moveTo>
                  <a:pt x="10176" y="4537"/>
                </a:moveTo>
                <a:lnTo>
                  <a:pt x="10176" y="4978"/>
                </a:lnTo>
                <a:lnTo>
                  <a:pt x="10208" y="4978"/>
                </a:lnTo>
                <a:cubicBezTo>
                  <a:pt x="10208" y="5199"/>
                  <a:pt x="9987" y="5388"/>
                  <a:pt x="9767" y="5388"/>
                </a:cubicBezTo>
                <a:lnTo>
                  <a:pt x="3151" y="5388"/>
                </a:lnTo>
                <a:cubicBezTo>
                  <a:pt x="2930" y="5388"/>
                  <a:pt x="2710" y="5199"/>
                  <a:pt x="2710" y="4978"/>
                </a:cubicBezTo>
                <a:lnTo>
                  <a:pt x="2710" y="4537"/>
                </a:lnTo>
                <a:close/>
                <a:moveTo>
                  <a:pt x="9357" y="6175"/>
                </a:moveTo>
                <a:lnTo>
                  <a:pt x="9357" y="11626"/>
                </a:lnTo>
                <a:lnTo>
                  <a:pt x="8538" y="11626"/>
                </a:lnTo>
                <a:lnTo>
                  <a:pt x="8538" y="7436"/>
                </a:lnTo>
                <a:cubicBezTo>
                  <a:pt x="8538" y="7215"/>
                  <a:pt x="8349" y="7026"/>
                  <a:pt x="8128" y="7026"/>
                </a:cubicBezTo>
                <a:cubicBezTo>
                  <a:pt x="7876" y="7026"/>
                  <a:pt x="7687" y="7215"/>
                  <a:pt x="7687" y="7436"/>
                </a:cubicBezTo>
                <a:lnTo>
                  <a:pt x="7687" y="11626"/>
                </a:lnTo>
                <a:lnTo>
                  <a:pt x="6868" y="11626"/>
                </a:lnTo>
                <a:lnTo>
                  <a:pt x="6868" y="7436"/>
                </a:lnTo>
                <a:cubicBezTo>
                  <a:pt x="6868" y="7215"/>
                  <a:pt x="6648" y="7026"/>
                  <a:pt x="6459" y="7026"/>
                </a:cubicBezTo>
                <a:cubicBezTo>
                  <a:pt x="6238" y="7026"/>
                  <a:pt x="6018" y="7215"/>
                  <a:pt x="6018" y="7436"/>
                </a:cubicBezTo>
                <a:lnTo>
                  <a:pt x="6018" y="11626"/>
                </a:lnTo>
                <a:lnTo>
                  <a:pt x="5199" y="11626"/>
                </a:lnTo>
                <a:lnTo>
                  <a:pt x="5199" y="7436"/>
                </a:lnTo>
                <a:cubicBezTo>
                  <a:pt x="5199" y="7215"/>
                  <a:pt x="5010" y="7026"/>
                  <a:pt x="4757" y="7026"/>
                </a:cubicBezTo>
                <a:cubicBezTo>
                  <a:pt x="4537" y="7026"/>
                  <a:pt x="4379" y="7215"/>
                  <a:pt x="4379" y="7436"/>
                </a:cubicBezTo>
                <a:lnTo>
                  <a:pt x="4379" y="11626"/>
                </a:lnTo>
                <a:lnTo>
                  <a:pt x="3560" y="11626"/>
                </a:lnTo>
                <a:lnTo>
                  <a:pt x="3560" y="6175"/>
                </a:lnTo>
                <a:close/>
                <a:moveTo>
                  <a:pt x="9798" y="12413"/>
                </a:moveTo>
                <a:cubicBezTo>
                  <a:pt x="10050" y="12413"/>
                  <a:pt x="10239" y="12602"/>
                  <a:pt x="10239" y="12854"/>
                </a:cubicBezTo>
                <a:lnTo>
                  <a:pt x="10239" y="13264"/>
                </a:lnTo>
                <a:lnTo>
                  <a:pt x="2741" y="13264"/>
                </a:lnTo>
                <a:lnTo>
                  <a:pt x="2741" y="12854"/>
                </a:lnTo>
                <a:cubicBezTo>
                  <a:pt x="2741" y="12602"/>
                  <a:pt x="2962" y="12413"/>
                  <a:pt x="3182" y="12413"/>
                </a:cubicBezTo>
                <a:close/>
                <a:moveTo>
                  <a:pt x="2363" y="1"/>
                </a:moveTo>
                <a:cubicBezTo>
                  <a:pt x="1418" y="1"/>
                  <a:pt x="662" y="599"/>
                  <a:pt x="378" y="1513"/>
                </a:cubicBezTo>
                <a:cubicBezTo>
                  <a:pt x="0" y="2804"/>
                  <a:pt x="693" y="4254"/>
                  <a:pt x="1954" y="4443"/>
                </a:cubicBezTo>
                <a:lnTo>
                  <a:pt x="1954" y="4915"/>
                </a:lnTo>
                <a:cubicBezTo>
                  <a:pt x="1954" y="5482"/>
                  <a:pt x="2332" y="5923"/>
                  <a:pt x="2804" y="6112"/>
                </a:cubicBezTo>
                <a:lnTo>
                  <a:pt x="2804" y="11689"/>
                </a:lnTo>
                <a:cubicBezTo>
                  <a:pt x="2332" y="11846"/>
                  <a:pt x="1954" y="12319"/>
                  <a:pt x="1954" y="12886"/>
                </a:cubicBezTo>
                <a:lnTo>
                  <a:pt x="1954" y="13705"/>
                </a:lnTo>
                <a:cubicBezTo>
                  <a:pt x="1954" y="13957"/>
                  <a:pt x="2174" y="14146"/>
                  <a:pt x="2395" y="14146"/>
                </a:cubicBezTo>
                <a:lnTo>
                  <a:pt x="10680" y="14146"/>
                </a:lnTo>
                <a:cubicBezTo>
                  <a:pt x="10901" y="14146"/>
                  <a:pt x="11058" y="13957"/>
                  <a:pt x="11058" y="13705"/>
                </a:cubicBezTo>
                <a:lnTo>
                  <a:pt x="11058" y="12886"/>
                </a:lnTo>
                <a:cubicBezTo>
                  <a:pt x="11058" y="12319"/>
                  <a:pt x="10712" y="11909"/>
                  <a:pt x="10239" y="11689"/>
                </a:cubicBezTo>
                <a:lnTo>
                  <a:pt x="10239" y="6112"/>
                </a:lnTo>
                <a:cubicBezTo>
                  <a:pt x="10712" y="5955"/>
                  <a:pt x="11058" y="5482"/>
                  <a:pt x="11058" y="4915"/>
                </a:cubicBezTo>
                <a:lnTo>
                  <a:pt x="11058" y="4411"/>
                </a:lnTo>
                <a:cubicBezTo>
                  <a:pt x="12319" y="4191"/>
                  <a:pt x="12980" y="2710"/>
                  <a:pt x="12602" y="1450"/>
                </a:cubicBezTo>
                <a:cubicBezTo>
                  <a:pt x="12287" y="568"/>
                  <a:pt x="11500" y="1"/>
                  <a:pt x="105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64" name="Google Shape;7664;p75"/>
          <p:cNvGrpSpPr/>
          <p:nvPr/>
        </p:nvGrpSpPr>
        <p:grpSpPr>
          <a:xfrm>
            <a:off x="8866363" y="3706202"/>
            <a:ext cx="500059" cy="454055"/>
            <a:chOff x="-8692750" y="1622100"/>
            <a:chExt cx="388325" cy="352600"/>
          </a:xfrm>
        </p:grpSpPr>
        <p:sp>
          <p:nvSpPr>
            <p:cNvPr id="7665" name="Google Shape;7665;p75"/>
            <p:cNvSpPr/>
            <p:nvPr/>
          </p:nvSpPr>
          <p:spPr>
            <a:xfrm>
              <a:off x="-8692750" y="1622100"/>
              <a:ext cx="388325" cy="352600"/>
            </a:xfrm>
            <a:custGeom>
              <a:avLst/>
              <a:gdLst/>
              <a:ahLst/>
              <a:cxnLst/>
              <a:rect l="l" t="t" r="r" b="b"/>
              <a:pathLst>
                <a:path w="15533" h="14104" extrusionOk="0">
                  <a:moveTo>
                    <a:pt x="10365" y="1387"/>
                  </a:moveTo>
                  <a:cubicBezTo>
                    <a:pt x="11027" y="1702"/>
                    <a:pt x="11626" y="2112"/>
                    <a:pt x="12130" y="2616"/>
                  </a:cubicBezTo>
                  <a:cubicBezTo>
                    <a:pt x="12697" y="3183"/>
                    <a:pt x="13106" y="3750"/>
                    <a:pt x="13390" y="4443"/>
                  </a:cubicBezTo>
                  <a:lnTo>
                    <a:pt x="10208" y="5577"/>
                  </a:lnTo>
                  <a:cubicBezTo>
                    <a:pt x="10082" y="5388"/>
                    <a:pt x="9924" y="5168"/>
                    <a:pt x="9767" y="5010"/>
                  </a:cubicBezTo>
                  <a:cubicBezTo>
                    <a:pt x="9609" y="4852"/>
                    <a:pt x="9420" y="4695"/>
                    <a:pt x="9231" y="4600"/>
                  </a:cubicBezTo>
                  <a:lnTo>
                    <a:pt x="10365" y="1387"/>
                  </a:lnTo>
                  <a:close/>
                  <a:moveTo>
                    <a:pt x="7802" y="828"/>
                  </a:moveTo>
                  <a:cubicBezTo>
                    <a:pt x="8424" y="828"/>
                    <a:pt x="9044" y="919"/>
                    <a:pt x="9641" y="1103"/>
                  </a:cubicBezTo>
                  <a:lnTo>
                    <a:pt x="8507" y="4285"/>
                  </a:lnTo>
                  <a:cubicBezTo>
                    <a:pt x="8268" y="4222"/>
                    <a:pt x="8022" y="4190"/>
                    <a:pt x="7776" y="4190"/>
                  </a:cubicBezTo>
                  <a:cubicBezTo>
                    <a:pt x="7044" y="4190"/>
                    <a:pt x="6308" y="4468"/>
                    <a:pt x="5766" y="5010"/>
                  </a:cubicBezTo>
                  <a:cubicBezTo>
                    <a:pt x="4978" y="5798"/>
                    <a:pt x="4726" y="6869"/>
                    <a:pt x="5010" y="7845"/>
                  </a:cubicBezTo>
                  <a:lnTo>
                    <a:pt x="1859" y="9011"/>
                  </a:lnTo>
                  <a:cubicBezTo>
                    <a:pt x="1134" y="6900"/>
                    <a:pt x="1576" y="4380"/>
                    <a:pt x="3340" y="2647"/>
                  </a:cubicBezTo>
                  <a:cubicBezTo>
                    <a:pt x="4567" y="1442"/>
                    <a:pt x="6189" y="828"/>
                    <a:pt x="7802" y="828"/>
                  </a:cubicBezTo>
                  <a:close/>
                  <a:moveTo>
                    <a:pt x="7766" y="5018"/>
                  </a:moveTo>
                  <a:cubicBezTo>
                    <a:pt x="8302" y="5018"/>
                    <a:pt x="8837" y="5215"/>
                    <a:pt x="9231" y="5609"/>
                  </a:cubicBezTo>
                  <a:cubicBezTo>
                    <a:pt x="10019" y="6396"/>
                    <a:pt x="10019" y="7751"/>
                    <a:pt x="9231" y="8539"/>
                  </a:cubicBezTo>
                  <a:cubicBezTo>
                    <a:pt x="8806" y="8948"/>
                    <a:pt x="8270" y="9153"/>
                    <a:pt x="7743" y="9153"/>
                  </a:cubicBezTo>
                  <a:cubicBezTo>
                    <a:pt x="7215" y="9153"/>
                    <a:pt x="6695" y="8948"/>
                    <a:pt x="6301" y="8539"/>
                  </a:cubicBezTo>
                  <a:cubicBezTo>
                    <a:pt x="5514" y="7751"/>
                    <a:pt x="5514" y="6396"/>
                    <a:pt x="6301" y="5609"/>
                  </a:cubicBezTo>
                  <a:cubicBezTo>
                    <a:pt x="6695" y="5215"/>
                    <a:pt x="7231" y="5018"/>
                    <a:pt x="7766" y="5018"/>
                  </a:cubicBezTo>
                  <a:close/>
                  <a:moveTo>
                    <a:pt x="5293" y="8633"/>
                  </a:moveTo>
                  <a:cubicBezTo>
                    <a:pt x="5388" y="8791"/>
                    <a:pt x="5514" y="9011"/>
                    <a:pt x="5671" y="9106"/>
                  </a:cubicBezTo>
                  <a:cubicBezTo>
                    <a:pt x="5829" y="9263"/>
                    <a:pt x="5986" y="9389"/>
                    <a:pt x="6144" y="9515"/>
                  </a:cubicBezTo>
                  <a:lnTo>
                    <a:pt x="5010" y="12697"/>
                  </a:lnTo>
                  <a:cubicBezTo>
                    <a:pt x="4379" y="12382"/>
                    <a:pt x="3812" y="12004"/>
                    <a:pt x="3308" y="11468"/>
                  </a:cubicBezTo>
                  <a:cubicBezTo>
                    <a:pt x="2836" y="10964"/>
                    <a:pt x="2458" y="10366"/>
                    <a:pt x="2143" y="9799"/>
                  </a:cubicBezTo>
                  <a:lnTo>
                    <a:pt x="5293" y="8633"/>
                  </a:lnTo>
                  <a:close/>
                  <a:moveTo>
                    <a:pt x="13705" y="5168"/>
                  </a:moveTo>
                  <a:cubicBezTo>
                    <a:pt x="14335" y="7310"/>
                    <a:pt x="13862" y="9736"/>
                    <a:pt x="12161" y="11437"/>
                  </a:cubicBezTo>
                  <a:cubicBezTo>
                    <a:pt x="10928" y="12670"/>
                    <a:pt x="9328" y="13281"/>
                    <a:pt x="7736" y="13281"/>
                  </a:cubicBezTo>
                  <a:cubicBezTo>
                    <a:pt x="7090" y="13281"/>
                    <a:pt x="6446" y="13181"/>
                    <a:pt x="5829" y="12981"/>
                  </a:cubicBezTo>
                  <a:lnTo>
                    <a:pt x="6963" y="9830"/>
                  </a:lnTo>
                  <a:cubicBezTo>
                    <a:pt x="7230" y="9905"/>
                    <a:pt x="7503" y="9943"/>
                    <a:pt x="7775" y="9943"/>
                  </a:cubicBezTo>
                  <a:cubicBezTo>
                    <a:pt x="8528" y="9943"/>
                    <a:pt x="9265" y="9653"/>
                    <a:pt x="9798" y="9074"/>
                  </a:cubicBezTo>
                  <a:cubicBezTo>
                    <a:pt x="10554" y="8318"/>
                    <a:pt x="10806" y="7278"/>
                    <a:pt x="10554" y="6333"/>
                  </a:cubicBezTo>
                  <a:lnTo>
                    <a:pt x="13705" y="5168"/>
                  </a:lnTo>
                  <a:close/>
                  <a:moveTo>
                    <a:pt x="7766" y="1"/>
                  </a:moveTo>
                  <a:cubicBezTo>
                    <a:pt x="5955" y="1"/>
                    <a:pt x="4143" y="694"/>
                    <a:pt x="2773" y="2080"/>
                  </a:cubicBezTo>
                  <a:cubicBezTo>
                    <a:pt x="0" y="4821"/>
                    <a:pt x="0" y="9263"/>
                    <a:pt x="2773" y="12036"/>
                  </a:cubicBezTo>
                  <a:cubicBezTo>
                    <a:pt x="4155" y="13418"/>
                    <a:pt x="5960" y="14103"/>
                    <a:pt x="7763" y="14103"/>
                  </a:cubicBezTo>
                  <a:cubicBezTo>
                    <a:pt x="9575" y="14103"/>
                    <a:pt x="11385" y="13410"/>
                    <a:pt x="12760" y="12036"/>
                  </a:cubicBezTo>
                  <a:cubicBezTo>
                    <a:pt x="15532" y="9263"/>
                    <a:pt x="15532" y="4821"/>
                    <a:pt x="12760" y="2080"/>
                  </a:cubicBezTo>
                  <a:cubicBezTo>
                    <a:pt x="11389" y="694"/>
                    <a:pt x="9578" y="1"/>
                    <a:pt x="776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6" name="Google Shape;7666;p75"/>
            <p:cNvSpPr/>
            <p:nvPr/>
          </p:nvSpPr>
          <p:spPr>
            <a:xfrm>
              <a:off x="-8532875" y="1767625"/>
              <a:ext cx="67775" cy="61850"/>
            </a:xfrm>
            <a:custGeom>
              <a:avLst/>
              <a:gdLst/>
              <a:ahLst/>
              <a:cxnLst/>
              <a:rect l="l" t="t" r="r" b="b"/>
              <a:pathLst>
                <a:path w="2711" h="2474" extrusionOk="0">
                  <a:moveTo>
                    <a:pt x="1340" y="804"/>
                  </a:moveTo>
                  <a:cubicBezTo>
                    <a:pt x="1450" y="804"/>
                    <a:pt x="1560" y="843"/>
                    <a:pt x="1639" y="922"/>
                  </a:cubicBezTo>
                  <a:cubicBezTo>
                    <a:pt x="1797" y="1079"/>
                    <a:pt x="1797" y="1363"/>
                    <a:pt x="1639" y="1520"/>
                  </a:cubicBezTo>
                  <a:cubicBezTo>
                    <a:pt x="1560" y="1599"/>
                    <a:pt x="1450" y="1638"/>
                    <a:pt x="1340" y="1638"/>
                  </a:cubicBezTo>
                  <a:cubicBezTo>
                    <a:pt x="1229" y="1638"/>
                    <a:pt x="1119" y="1599"/>
                    <a:pt x="1040" y="1520"/>
                  </a:cubicBezTo>
                  <a:cubicBezTo>
                    <a:pt x="883" y="1363"/>
                    <a:pt x="883" y="1142"/>
                    <a:pt x="1040" y="922"/>
                  </a:cubicBezTo>
                  <a:cubicBezTo>
                    <a:pt x="1119" y="843"/>
                    <a:pt x="1229" y="804"/>
                    <a:pt x="1340" y="804"/>
                  </a:cubicBezTo>
                  <a:close/>
                  <a:moveTo>
                    <a:pt x="1367" y="0"/>
                  </a:moveTo>
                  <a:cubicBezTo>
                    <a:pt x="1048" y="0"/>
                    <a:pt x="725" y="118"/>
                    <a:pt x="473" y="355"/>
                  </a:cubicBezTo>
                  <a:cubicBezTo>
                    <a:pt x="1" y="827"/>
                    <a:pt x="1" y="1615"/>
                    <a:pt x="473" y="2119"/>
                  </a:cubicBezTo>
                  <a:cubicBezTo>
                    <a:pt x="725" y="2355"/>
                    <a:pt x="1048" y="2473"/>
                    <a:pt x="1367" y="2473"/>
                  </a:cubicBezTo>
                  <a:cubicBezTo>
                    <a:pt x="1686" y="2473"/>
                    <a:pt x="2001" y="2355"/>
                    <a:pt x="2238" y="2119"/>
                  </a:cubicBezTo>
                  <a:cubicBezTo>
                    <a:pt x="2710" y="1646"/>
                    <a:pt x="2710" y="859"/>
                    <a:pt x="2238" y="355"/>
                  </a:cubicBezTo>
                  <a:cubicBezTo>
                    <a:pt x="2001" y="118"/>
                    <a:pt x="1686" y="0"/>
                    <a:pt x="13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67" name="Google Shape;7667;p75"/>
          <p:cNvGrpSpPr/>
          <p:nvPr/>
        </p:nvGrpSpPr>
        <p:grpSpPr>
          <a:xfrm>
            <a:off x="7072338" y="2042543"/>
            <a:ext cx="455407" cy="455439"/>
            <a:chOff x="-13529550" y="1639425"/>
            <a:chExt cx="353650" cy="353675"/>
          </a:xfrm>
        </p:grpSpPr>
        <p:sp>
          <p:nvSpPr>
            <p:cNvPr id="7668" name="Google Shape;7668;p75"/>
            <p:cNvSpPr/>
            <p:nvPr/>
          </p:nvSpPr>
          <p:spPr>
            <a:xfrm>
              <a:off x="-13529550" y="1910125"/>
              <a:ext cx="353650" cy="82975"/>
            </a:xfrm>
            <a:custGeom>
              <a:avLst/>
              <a:gdLst/>
              <a:ahLst/>
              <a:cxnLst/>
              <a:rect l="l" t="t" r="r" b="b"/>
              <a:pathLst>
                <a:path w="14146" h="3319" extrusionOk="0">
                  <a:moveTo>
                    <a:pt x="3434" y="893"/>
                  </a:moveTo>
                  <a:lnTo>
                    <a:pt x="3434" y="893"/>
                  </a:lnTo>
                  <a:cubicBezTo>
                    <a:pt x="3340" y="1145"/>
                    <a:pt x="3308" y="1428"/>
                    <a:pt x="3308" y="1649"/>
                  </a:cubicBezTo>
                  <a:cubicBezTo>
                    <a:pt x="3308" y="1932"/>
                    <a:pt x="3340" y="2153"/>
                    <a:pt x="3434" y="2405"/>
                  </a:cubicBezTo>
                  <a:cubicBezTo>
                    <a:pt x="2899" y="2373"/>
                    <a:pt x="2426" y="2279"/>
                    <a:pt x="2017" y="2153"/>
                  </a:cubicBezTo>
                  <a:cubicBezTo>
                    <a:pt x="1229" y="1964"/>
                    <a:pt x="914" y="1743"/>
                    <a:pt x="819" y="1649"/>
                  </a:cubicBezTo>
                  <a:cubicBezTo>
                    <a:pt x="914" y="1586"/>
                    <a:pt x="1166" y="1334"/>
                    <a:pt x="2017" y="1145"/>
                  </a:cubicBezTo>
                  <a:cubicBezTo>
                    <a:pt x="2426" y="1019"/>
                    <a:pt x="2899" y="956"/>
                    <a:pt x="3434" y="893"/>
                  </a:cubicBezTo>
                  <a:close/>
                  <a:moveTo>
                    <a:pt x="6018" y="861"/>
                  </a:moveTo>
                  <a:cubicBezTo>
                    <a:pt x="7908" y="987"/>
                    <a:pt x="8948" y="1428"/>
                    <a:pt x="9137" y="1649"/>
                  </a:cubicBezTo>
                  <a:cubicBezTo>
                    <a:pt x="9042" y="1743"/>
                    <a:pt x="8790" y="1964"/>
                    <a:pt x="7940" y="2153"/>
                  </a:cubicBezTo>
                  <a:cubicBezTo>
                    <a:pt x="7404" y="2279"/>
                    <a:pt x="6742" y="2405"/>
                    <a:pt x="6018" y="2436"/>
                  </a:cubicBezTo>
                  <a:cubicBezTo>
                    <a:pt x="5892" y="2216"/>
                    <a:pt x="5829" y="1932"/>
                    <a:pt x="5829" y="1649"/>
                  </a:cubicBezTo>
                  <a:cubicBezTo>
                    <a:pt x="5829" y="1365"/>
                    <a:pt x="5892" y="1113"/>
                    <a:pt x="6018" y="861"/>
                  </a:cubicBezTo>
                  <a:close/>
                  <a:moveTo>
                    <a:pt x="5104" y="798"/>
                  </a:moveTo>
                  <a:cubicBezTo>
                    <a:pt x="5041" y="1050"/>
                    <a:pt x="4947" y="1334"/>
                    <a:pt x="4947" y="1617"/>
                  </a:cubicBezTo>
                  <a:cubicBezTo>
                    <a:pt x="4947" y="1901"/>
                    <a:pt x="5010" y="2153"/>
                    <a:pt x="5104" y="2436"/>
                  </a:cubicBezTo>
                  <a:cubicBezTo>
                    <a:pt x="4994" y="2452"/>
                    <a:pt x="4876" y="2460"/>
                    <a:pt x="4754" y="2460"/>
                  </a:cubicBezTo>
                  <a:cubicBezTo>
                    <a:pt x="4632" y="2460"/>
                    <a:pt x="4506" y="2452"/>
                    <a:pt x="4379" y="2436"/>
                  </a:cubicBezTo>
                  <a:cubicBezTo>
                    <a:pt x="4222" y="2216"/>
                    <a:pt x="4159" y="1932"/>
                    <a:pt x="4159" y="1617"/>
                  </a:cubicBezTo>
                  <a:cubicBezTo>
                    <a:pt x="4159" y="1334"/>
                    <a:pt x="4253" y="1050"/>
                    <a:pt x="4379" y="798"/>
                  </a:cubicBezTo>
                  <a:close/>
                  <a:moveTo>
                    <a:pt x="10801" y="817"/>
                  </a:moveTo>
                  <a:cubicBezTo>
                    <a:pt x="10917" y="817"/>
                    <a:pt x="11036" y="841"/>
                    <a:pt x="11153" y="893"/>
                  </a:cubicBezTo>
                  <a:lnTo>
                    <a:pt x="12728" y="1649"/>
                  </a:lnTo>
                  <a:lnTo>
                    <a:pt x="11153" y="2405"/>
                  </a:lnTo>
                  <a:cubicBezTo>
                    <a:pt x="11032" y="2465"/>
                    <a:pt x="10908" y="2493"/>
                    <a:pt x="10788" y="2493"/>
                  </a:cubicBezTo>
                  <a:cubicBezTo>
                    <a:pt x="10346" y="2493"/>
                    <a:pt x="9956" y="2120"/>
                    <a:pt x="9956" y="1649"/>
                  </a:cubicBezTo>
                  <a:cubicBezTo>
                    <a:pt x="9956" y="1173"/>
                    <a:pt x="10354" y="817"/>
                    <a:pt x="10801" y="817"/>
                  </a:cubicBezTo>
                  <a:close/>
                  <a:moveTo>
                    <a:pt x="10785" y="0"/>
                  </a:moveTo>
                  <a:cubicBezTo>
                    <a:pt x="10221" y="0"/>
                    <a:pt x="9666" y="291"/>
                    <a:pt x="9357" y="798"/>
                  </a:cubicBezTo>
                  <a:cubicBezTo>
                    <a:pt x="8349" y="168"/>
                    <a:pt x="6207" y="10"/>
                    <a:pt x="5010" y="10"/>
                  </a:cubicBezTo>
                  <a:cubicBezTo>
                    <a:pt x="3592" y="10"/>
                    <a:pt x="0" y="231"/>
                    <a:pt x="0" y="1649"/>
                  </a:cubicBezTo>
                  <a:cubicBezTo>
                    <a:pt x="0" y="3066"/>
                    <a:pt x="3529" y="3318"/>
                    <a:pt x="5010" y="3318"/>
                  </a:cubicBezTo>
                  <a:cubicBezTo>
                    <a:pt x="6207" y="3318"/>
                    <a:pt x="8349" y="3161"/>
                    <a:pt x="9357" y="2531"/>
                  </a:cubicBezTo>
                  <a:cubicBezTo>
                    <a:pt x="9667" y="3039"/>
                    <a:pt x="10224" y="3315"/>
                    <a:pt x="10790" y="3315"/>
                  </a:cubicBezTo>
                  <a:cubicBezTo>
                    <a:pt x="11031" y="3315"/>
                    <a:pt x="11274" y="3265"/>
                    <a:pt x="11500" y="3161"/>
                  </a:cubicBezTo>
                  <a:lnTo>
                    <a:pt x="13894" y="2058"/>
                  </a:lnTo>
                  <a:cubicBezTo>
                    <a:pt x="14052" y="1964"/>
                    <a:pt x="14146" y="1838"/>
                    <a:pt x="14146" y="1649"/>
                  </a:cubicBezTo>
                  <a:cubicBezTo>
                    <a:pt x="14146" y="1491"/>
                    <a:pt x="14020" y="1334"/>
                    <a:pt x="13894" y="1271"/>
                  </a:cubicBezTo>
                  <a:lnTo>
                    <a:pt x="11500" y="168"/>
                  </a:lnTo>
                  <a:cubicBezTo>
                    <a:pt x="11272" y="54"/>
                    <a:pt x="11028" y="0"/>
                    <a:pt x="107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69" name="Google Shape;7669;p75"/>
            <p:cNvSpPr/>
            <p:nvPr/>
          </p:nvSpPr>
          <p:spPr>
            <a:xfrm>
              <a:off x="-13383850" y="1681175"/>
              <a:ext cx="40975" cy="41775"/>
            </a:xfrm>
            <a:custGeom>
              <a:avLst/>
              <a:gdLst/>
              <a:ahLst/>
              <a:cxnLst/>
              <a:rect l="l" t="t" r="r" b="b"/>
              <a:pathLst>
                <a:path w="1639" h="1671" extrusionOk="0">
                  <a:moveTo>
                    <a:pt x="820" y="1"/>
                  </a:moveTo>
                  <a:cubicBezTo>
                    <a:pt x="379" y="1"/>
                    <a:pt x="1" y="379"/>
                    <a:pt x="1" y="851"/>
                  </a:cubicBezTo>
                  <a:cubicBezTo>
                    <a:pt x="1" y="1292"/>
                    <a:pt x="379" y="1670"/>
                    <a:pt x="820" y="1670"/>
                  </a:cubicBezTo>
                  <a:cubicBezTo>
                    <a:pt x="1292" y="1670"/>
                    <a:pt x="1639" y="1292"/>
                    <a:pt x="1639" y="851"/>
                  </a:cubicBezTo>
                  <a:cubicBezTo>
                    <a:pt x="1639"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0" name="Google Shape;7670;p75"/>
            <p:cNvSpPr/>
            <p:nvPr/>
          </p:nvSpPr>
          <p:spPr>
            <a:xfrm>
              <a:off x="-13446075" y="1692200"/>
              <a:ext cx="41775" cy="41775"/>
            </a:xfrm>
            <a:custGeom>
              <a:avLst/>
              <a:gdLst/>
              <a:ahLst/>
              <a:cxnLst/>
              <a:rect l="l" t="t" r="r" b="b"/>
              <a:pathLst>
                <a:path w="1671" h="1671" extrusionOk="0">
                  <a:moveTo>
                    <a:pt x="820" y="1"/>
                  </a:moveTo>
                  <a:cubicBezTo>
                    <a:pt x="379" y="1"/>
                    <a:pt x="1" y="379"/>
                    <a:pt x="1" y="851"/>
                  </a:cubicBezTo>
                  <a:cubicBezTo>
                    <a:pt x="1" y="1292"/>
                    <a:pt x="379" y="1670"/>
                    <a:pt x="820" y="1670"/>
                  </a:cubicBezTo>
                  <a:cubicBezTo>
                    <a:pt x="1293" y="1670"/>
                    <a:pt x="1671" y="1292"/>
                    <a:pt x="1671" y="851"/>
                  </a:cubicBezTo>
                  <a:cubicBezTo>
                    <a:pt x="1671" y="379"/>
                    <a:pt x="1293"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1" name="Google Shape;7671;p75"/>
            <p:cNvSpPr/>
            <p:nvPr/>
          </p:nvSpPr>
          <p:spPr>
            <a:xfrm>
              <a:off x="-13446075" y="1796175"/>
              <a:ext cx="41775" cy="40975"/>
            </a:xfrm>
            <a:custGeom>
              <a:avLst/>
              <a:gdLst/>
              <a:ahLst/>
              <a:cxnLst/>
              <a:rect l="l" t="t" r="r" b="b"/>
              <a:pathLst>
                <a:path w="1671" h="1639" extrusionOk="0">
                  <a:moveTo>
                    <a:pt x="820" y="0"/>
                  </a:moveTo>
                  <a:cubicBezTo>
                    <a:pt x="379" y="0"/>
                    <a:pt x="1" y="347"/>
                    <a:pt x="1" y="819"/>
                  </a:cubicBezTo>
                  <a:cubicBezTo>
                    <a:pt x="1" y="1260"/>
                    <a:pt x="379" y="1639"/>
                    <a:pt x="820" y="1639"/>
                  </a:cubicBezTo>
                  <a:cubicBezTo>
                    <a:pt x="1293" y="1639"/>
                    <a:pt x="1671" y="1260"/>
                    <a:pt x="1671" y="819"/>
                  </a:cubicBezTo>
                  <a:cubicBezTo>
                    <a:pt x="1671" y="347"/>
                    <a:pt x="1293"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2" name="Google Shape;7672;p75"/>
            <p:cNvSpPr/>
            <p:nvPr/>
          </p:nvSpPr>
          <p:spPr>
            <a:xfrm>
              <a:off x="-13487025" y="1743400"/>
              <a:ext cx="40975" cy="41775"/>
            </a:xfrm>
            <a:custGeom>
              <a:avLst/>
              <a:gdLst/>
              <a:ahLst/>
              <a:cxnLst/>
              <a:rect l="l" t="t" r="r" b="b"/>
              <a:pathLst>
                <a:path w="1639" h="1671" extrusionOk="0">
                  <a:moveTo>
                    <a:pt x="820" y="0"/>
                  </a:moveTo>
                  <a:cubicBezTo>
                    <a:pt x="379" y="0"/>
                    <a:pt x="1" y="379"/>
                    <a:pt x="1" y="851"/>
                  </a:cubicBezTo>
                  <a:cubicBezTo>
                    <a:pt x="1" y="1292"/>
                    <a:pt x="379" y="1670"/>
                    <a:pt x="820" y="1670"/>
                  </a:cubicBezTo>
                  <a:cubicBezTo>
                    <a:pt x="1261" y="1670"/>
                    <a:pt x="1639" y="1292"/>
                    <a:pt x="1639" y="851"/>
                  </a:cubicBezTo>
                  <a:cubicBezTo>
                    <a:pt x="1639" y="379"/>
                    <a:pt x="1261"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3" name="Google Shape;7673;p75"/>
            <p:cNvSpPr/>
            <p:nvPr/>
          </p:nvSpPr>
          <p:spPr>
            <a:xfrm>
              <a:off x="-13383850" y="1805625"/>
              <a:ext cx="40975" cy="41775"/>
            </a:xfrm>
            <a:custGeom>
              <a:avLst/>
              <a:gdLst/>
              <a:ahLst/>
              <a:cxnLst/>
              <a:rect l="l" t="t" r="r" b="b"/>
              <a:pathLst>
                <a:path w="1639" h="1671" extrusionOk="0">
                  <a:moveTo>
                    <a:pt x="820" y="0"/>
                  </a:moveTo>
                  <a:cubicBezTo>
                    <a:pt x="379" y="0"/>
                    <a:pt x="1" y="378"/>
                    <a:pt x="1" y="819"/>
                  </a:cubicBezTo>
                  <a:cubicBezTo>
                    <a:pt x="1" y="1292"/>
                    <a:pt x="379" y="1670"/>
                    <a:pt x="820" y="1670"/>
                  </a:cubicBezTo>
                  <a:cubicBezTo>
                    <a:pt x="1292" y="1670"/>
                    <a:pt x="1639" y="1292"/>
                    <a:pt x="1639" y="819"/>
                  </a:cubicBezTo>
                  <a:cubicBezTo>
                    <a:pt x="1639" y="378"/>
                    <a:pt x="1292" y="0"/>
                    <a:pt x="8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4" name="Google Shape;7674;p75"/>
            <p:cNvSpPr/>
            <p:nvPr/>
          </p:nvSpPr>
          <p:spPr>
            <a:xfrm>
              <a:off x="-13529550" y="1639425"/>
              <a:ext cx="352075" cy="248925"/>
            </a:xfrm>
            <a:custGeom>
              <a:avLst/>
              <a:gdLst/>
              <a:ahLst/>
              <a:cxnLst/>
              <a:rect l="l" t="t" r="r" b="b"/>
              <a:pathLst>
                <a:path w="14083" h="9957" extrusionOk="0">
                  <a:moveTo>
                    <a:pt x="7057" y="820"/>
                  </a:moveTo>
                  <a:cubicBezTo>
                    <a:pt x="10554" y="820"/>
                    <a:pt x="13264" y="2805"/>
                    <a:pt x="13264" y="5010"/>
                  </a:cubicBezTo>
                  <a:cubicBezTo>
                    <a:pt x="13264" y="7215"/>
                    <a:pt x="10554" y="9137"/>
                    <a:pt x="7057" y="9137"/>
                  </a:cubicBezTo>
                  <a:cubicBezTo>
                    <a:pt x="3529" y="9137"/>
                    <a:pt x="819" y="7215"/>
                    <a:pt x="819" y="5010"/>
                  </a:cubicBezTo>
                  <a:cubicBezTo>
                    <a:pt x="819" y="2742"/>
                    <a:pt x="3623" y="820"/>
                    <a:pt x="7057" y="820"/>
                  </a:cubicBezTo>
                  <a:close/>
                  <a:moveTo>
                    <a:pt x="7057" y="1"/>
                  </a:moveTo>
                  <a:cubicBezTo>
                    <a:pt x="3151" y="1"/>
                    <a:pt x="0" y="2238"/>
                    <a:pt x="0" y="5010"/>
                  </a:cubicBezTo>
                  <a:cubicBezTo>
                    <a:pt x="0" y="7846"/>
                    <a:pt x="3277" y="9956"/>
                    <a:pt x="7057" y="9956"/>
                  </a:cubicBezTo>
                  <a:cubicBezTo>
                    <a:pt x="10870" y="9956"/>
                    <a:pt x="14083" y="7783"/>
                    <a:pt x="14083" y="5010"/>
                  </a:cubicBezTo>
                  <a:cubicBezTo>
                    <a:pt x="14083" y="2238"/>
                    <a:pt x="10933" y="1"/>
                    <a:pt x="70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5" name="Google Shape;7675;p75"/>
            <p:cNvSpPr/>
            <p:nvPr/>
          </p:nvSpPr>
          <p:spPr>
            <a:xfrm>
              <a:off x="-13323200" y="1722925"/>
              <a:ext cx="104775" cy="82725"/>
            </a:xfrm>
            <a:custGeom>
              <a:avLst/>
              <a:gdLst/>
              <a:ahLst/>
              <a:cxnLst/>
              <a:rect l="l" t="t" r="r" b="b"/>
              <a:pathLst>
                <a:path w="4191" h="3309" extrusionOk="0">
                  <a:moveTo>
                    <a:pt x="2111" y="819"/>
                  </a:moveTo>
                  <a:cubicBezTo>
                    <a:pt x="2773" y="819"/>
                    <a:pt x="3372" y="1229"/>
                    <a:pt x="3372" y="1670"/>
                  </a:cubicBezTo>
                  <a:cubicBezTo>
                    <a:pt x="3372" y="2080"/>
                    <a:pt x="2805" y="2489"/>
                    <a:pt x="2111" y="2489"/>
                  </a:cubicBezTo>
                  <a:cubicBezTo>
                    <a:pt x="1418" y="2489"/>
                    <a:pt x="851" y="2080"/>
                    <a:pt x="851" y="1670"/>
                  </a:cubicBezTo>
                  <a:cubicBezTo>
                    <a:pt x="883" y="1229"/>
                    <a:pt x="1418" y="819"/>
                    <a:pt x="2111" y="819"/>
                  </a:cubicBezTo>
                  <a:close/>
                  <a:moveTo>
                    <a:pt x="2111" y="0"/>
                  </a:moveTo>
                  <a:cubicBezTo>
                    <a:pt x="914" y="0"/>
                    <a:pt x="1" y="756"/>
                    <a:pt x="1" y="1670"/>
                  </a:cubicBezTo>
                  <a:cubicBezTo>
                    <a:pt x="64" y="2552"/>
                    <a:pt x="946" y="3308"/>
                    <a:pt x="2111" y="3308"/>
                  </a:cubicBezTo>
                  <a:cubicBezTo>
                    <a:pt x="3277" y="3308"/>
                    <a:pt x="4191" y="2552"/>
                    <a:pt x="4191" y="1670"/>
                  </a:cubicBezTo>
                  <a:cubicBezTo>
                    <a:pt x="4191" y="756"/>
                    <a:pt x="3277"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6" name="Google Shape;7676;p75"/>
          <p:cNvGrpSpPr/>
          <p:nvPr/>
        </p:nvGrpSpPr>
        <p:grpSpPr>
          <a:xfrm>
            <a:off x="7070809" y="2587319"/>
            <a:ext cx="458465" cy="453411"/>
            <a:chOff x="-13531925" y="2075775"/>
            <a:chExt cx="356025" cy="352100"/>
          </a:xfrm>
        </p:grpSpPr>
        <p:sp>
          <p:nvSpPr>
            <p:cNvPr id="7677" name="Google Shape;7677;p75"/>
            <p:cNvSpPr/>
            <p:nvPr/>
          </p:nvSpPr>
          <p:spPr>
            <a:xfrm>
              <a:off x="-13531925" y="2075775"/>
              <a:ext cx="356025" cy="352100"/>
            </a:xfrm>
            <a:custGeom>
              <a:avLst/>
              <a:gdLst/>
              <a:ahLst/>
              <a:cxnLst/>
              <a:rect l="l" t="t" r="r" b="b"/>
              <a:pathLst>
                <a:path w="14241" h="14084" extrusionOk="0">
                  <a:moveTo>
                    <a:pt x="9610" y="725"/>
                  </a:moveTo>
                  <a:cubicBezTo>
                    <a:pt x="9862" y="725"/>
                    <a:pt x="10019" y="946"/>
                    <a:pt x="10019" y="1166"/>
                  </a:cubicBezTo>
                  <a:lnTo>
                    <a:pt x="10019" y="2017"/>
                  </a:lnTo>
                  <a:lnTo>
                    <a:pt x="10019" y="2111"/>
                  </a:lnTo>
                  <a:lnTo>
                    <a:pt x="9830" y="2395"/>
                  </a:lnTo>
                  <a:cubicBezTo>
                    <a:pt x="9736" y="2426"/>
                    <a:pt x="9704" y="2426"/>
                    <a:pt x="9610" y="2426"/>
                  </a:cubicBezTo>
                  <a:lnTo>
                    <a:pt x="4632" y="2426"/>
                  </a:lnTo>
                  <a:cubicBezTo>
                    <a:pt x="4538" y="2426"/>
                    <a:pt x="4474" y="2395"/>
                    <a:pt x="4411" y="2395"/>
                  </a:cubicBezTo>
                  <a:lnTo>
                    <a:pt x="4222" y="2111"/>
                  </a:lnTo>
                  <a:lnTo>
                    <a:pt x="4222" y="2017"/>
                  </a:lnTo>
                  <a:lnTo>
                    <a:pt x="4222" y="1166"/>
                  </a:lnTo>
                  <a:cubicBezTo>
                    <a:pt x="4222" y="946"/>
                    <a:pt x="4411" y="725"/>
                    <a:pt x="4632" y="725"/>
                  </a:cubicBezTo>
                  <a:close/>
                  <a:moveTo>
                    <a:pt x="9232" y="3308"/>
                  </a:moveTo>
                  <a:lnTo>
                    <a:pt x="8633" y="4128"/>
                  </a:lnTo>
                  <a:lnTo>
                    <a:pt x="5735" y="4128"/>
                  </a:lnTo>
                  <a:lnTo>
                    <a:pt x="5105" y="3308"/>
                  </a:lnTo>
                  <a:close/>
                  <a:moveTo>
                    <a:pt x="2175" y="4915"/>
                  </a:moveTo>
                  <a:cubicBezTo>
                    <a:pt x="2427" y="4915"/>
                    <a:pt x="2584" y="5104"/>
                    <a:pt x="2584" y="5325"/>
                  </a:cubicBezTo>
                  <a:lnTo>
                    <a:pt x="2584" y="5766"/>
                  </a:lnTo>
                  <a:lnTo>
                    <a:pt x="1734" y="5766"/>
                  </a:lnTo>
                  <a:lnTo>
                    <a:pt x="1734" y="5325"/>
                  </a:lnTo>
                  <a:cubicBezTo>
                    <a:pt x="1734" y="5104"/>
                    <a:pt x="1954" y="4915"/>
                    <a:pt x="2175" y="4915"/>
                  </a:cubicBezTo>
                  <a:close/>
                  <a:moveTo>
                    <a:pt x="12193" y="4915"/>
                  </a:moveTo>
                  <a:cubicBezTo>
                    <a:pt x="12414" y="4915"/>
                    <a:pt x="12603" y="5104"/>
                    <a:pt x="12603" y="5325"/>
                  </a:cubicBezTo>
                  <a:lnTo>
                    <a:pt x="12603" y="5766"/>
                  </a:lnTo>
                  <a:lnTo>
                    <a:pt x="11784" y="5766"/>
                  </a:lnTo>
                  <a:lnTo>
                    <a:pt x="11784" y="5325"/>
                  </a:lnTo>
                  <a:lnTo>
                    <a:pt x="11752" y="5325"/>
                  </a:lnTo>
                  <a:cubicBezTo>
                    <a:pt x="11752" y="5104"/>
                    <a:pt x="11941" y="4915"/>
                    <a:pt x="12193" y="4915"/>
                  </a:cubicBezTo>
                  <a:close/>
                  <a:moveTo>
                    <a:pt x="8570" y="4947"/>
                  </a:moveTo>
                  <a:lnTo>
                    <a:pt x="9263" y="6364"/>
                  </a:lnTo>
                  <a:cubicBezTo>
                    <a:pt x="9358" y="6522"/>
                    <a:pt x="9452" y="6616"/>
                    <a:pt x="9641" y="6616"/>
                  </a:cubicBezTo>
                  <a:lnTo>
                    <a:pt x="12981" y="6616"/>
                  </a:lnTo>
                  <a:cubicBezTo>
                    <a:pt x="13201" y="6616"/>
                    <a:pt x="13390" y="6806"/>
                    <a:pt x="13390" y="7026"/>
                  </a:cubicBezTo>
                  <a:lnTo>
                    <a:pt x="13390" y="7467"/>
                  </a:lnTo>
                  <a:lnTo>
                    <a:pt x="9200" y="7467"/>
                  </a:lnTo>
                  <a:cubicBezTo>
                    <a:pt x="8665" y="6963"/>
                    <a:pt x="7972" y="6648"/>
                    <a:pt x="7184" y="6648"/>
                  </a:cubicBezTo>
                  <a:cubicBezTo>
                    <a:pt x="6396" y="6648"/>
                    <a:pt x="5703" y="6963"/>
                    <a:pt x="5136" y="7467"/>
                  </a:cubicBezTo>
                  <a:lnTo>
                    <a:pt x="977" y="7467"/>
                  </a:lnTo>
                  <a:lnTo>
                    <a:pt x="977" y="7026"/>
                  </a:lnTo>
                  <a:cubicBezTo>
                    <a:pt x="914" y="6774"/>
                    <a:pt x="1103" y="6616"/>
                    <a:pt x="1356" y="6616"/>
                  </a:cubicBezTo>
                  <a:lnTo>
                    <a:pt x="4664" y="6616"/>
                  </a:lnTo>
                  <a:cubicBezTo>
                    <a:pt x="4821" y="6616"/>
                    <a:pt x="4979" y="6522"/>
                    <a:pt x="5010" y="6364"/>
                  </a:cubicBezTo>
                  <a:lnTo>
                    <a:pt x="5735" y="4947"/>
                  </a:lnTo>
                  <a:close/>
                  <a:moveTo>
                    <a:pt x="4506" y="8255"/>
                  </a:moveTo>
                  <a:cubicBezTo>
                    <a:pt x="4317" y="8664"/>
                    <a:pt x="4222" y="9042"/>
                    <a:pt x="4222" y="9515"/>
                  </a:cubicBezTo>
                  <a:cubicBezTo>
                    <a:pt x="4222" y="9956"/>
                    <a:pt x="4348" y="10366"/>
                    <a:pt x="4506" y="10744"/>
                  </a:cubicBezTo>
                  <a:lnTo>
                    <a:pt x="914" y="10744"/>
                  </a:lnTo>
                  <a:lnTo>
                    <a:pt x="914" y="8255"/>
                  </a:lnTo>
                  <a:close/>
                  <a:moveTo>
                    <a:pt x="13390" y="8286"/>
                  </a:moveTo>
                  <a:lnTo>
                    <a:pt x="13390" y="10744"/>
                  </a:lnTo>
                  <a:lnTo>
                    <a:pt x="9767" y="10744"/>
                  </a:lnTo>
                  <a:cubicBezTo>
                    <a:pt x="9988" y="10334"/>
                    <a:pt x="10051" y="9956"/>
                    <a:pt x="10051" y="9515"/>
                  </a:cubicBezTo>
                  <a:cubicBezTo>
                    <a:pt x="10051" y="9074"/>
                    <a:pt x="9925" y="8664"/>
                    <a:pt x="9767" y="8286"/>
                  </a:cubicBezTo>
                  <a:close/>
                  <a:moveTo>
                    <a:pt x="7152" y="7373"/>
                  </a:moveTo>
                  <a:cubicBezTo>
                    <a:pt x="8287" y="7373"/>
                    <a:pt x="9232" y="8318"/>
                    <a:pt x="9232" y="9483"/>
                  </a:cubicBezTo>
                  <a:cubicBezTo>
                    <a:pt x="9232" y="10618"/>
                    <a:pt x="8287" y="11563"/>
                    <a:pt x="7152" y="11563"/>
                  </a:cubicBezTo>
                  <a:cubicBezTo>
                    <a:pt x="5987" y="11563"/>
                    <a:pt x="5042" y="10618"/>
                    <a:pt x="5042" y="9483"/>
                  </a:cubicBezTo>
                  <a:cubicBezTo>
                    <a:pt x="5042" y="8318"/>
                    <a:pt x="5987" y="7373"/>
                    <a:pt x="7152" y="7373"/>
                  </a:cubicBezTo>
                  <a:close/>
                  <a:moveTo>
                    <a:pt x="13390" y="11563"/>
                  </a:moveTo>
                  <a:lnTo>
                    <a:pt x="13390" y="12791"/>
                  </a:lnTo>
                  <a:cubicBezTo>
                    <a:pt x="13390" y="13012"/>
                    <a:pt x="13201" y="13201"/>
                    <a:pt x="12981" y="13201"/>
                  </a:cubicBezTo>
                  <a:lnTo>
                    <a:pt x="1356" y="13201"/>
                  </a:lnTo>
                  <a:cubicBezTo>
                    <a:pt x="1103" y="13201"/>
                    <a:pt x="946" y="13012"/>
                    <a:pt x="946" y="12791"/>
                  </a:cubicBezTo>
                  <a:lnTo>
                    <a:pt x="946" y="11563"/>
                  </a:lnTo>
                  <a:lnTo>
                    <a:pt x="5136" y="11563"/>
                  </a:lnTo>
                  <a:cubicBezTo>
                    <a:pt x="5640" y="12067"/>
                    <a:pt x="6396" y="12382"/>
                    <a:pt x="7184" y="12382"/>
                  </a:cubicBezTo>
                  <a:cubicBezTo>
                    <a:pt x="7972" y="12382"/>
                    <a:pt x="8665" y="12067"/>
                    <a:pt x="9200" y="11563"/>
                  </a:cubicBezTo>
                  <a:close/>
                  <a:moveTo>
                    <a:pt x="4569" y="0"/>
                  </a:moveTo>
                  <a:cubicBezTo>
                    <a:pt x="3907" y="0"/>
                    <a:pt x="3309" y="536"/>
                    <a:pt x="3309" y="1261"/>
                  </a:cubicBezTo>
                  <a:lnTo>
                    <a:pt x="3309" y="2111"/>
                  </a:lnTo>
                  <a:cubicBezTo>
                    <a:pt x="3309" y="2458"/>
                    <a:pt x="3466" y="2836"/>
                    <a:pt x="3750" y="3056"/>
                  </a:cubicBezTo>
                  <a:lnTo>
                    <a:pt x="4884" y="4632"/>
                  </a:lnTo>
                  <a:lnTo>
                    <a:pt x="4317" y="5829"/>
                  </a:lnTo>
                  <a:lnTo>
                    <a:pt x="3309" y="5829"/>
                  </a:lnTo>
                  <a:lnTo>
                    <a:pt x="3309" y="5388"/>
                  </a:lnTo>
                  <a:cubicBezTo>
                    <a:pt x="3309" y="4726"/>
                    <a:pt x="2773" y="4159"/>
                    <a:pt x="2112" y="4159"/>
                  </a:cubicBezTo>
                  <a:cubicBezTo>
                    <a:pt x="1419" y="4159"/>
                    <a:pt x="851" y="4726"/>
                    <a:pt x="851" y="5388"/>
                  </a:cubicBezTo>
                  <a:lnTo>
                    <a:pt x="851" y="5860"/>
                  </a:lnTo>
                  <a:cubicBezTo>
                    <a:pt x="379" y="6018"/>
                    <a:pt x="1" y="6490"/>
                    <a:pt x="1" y="7026"/>
                  </a:cubicBezTo>
                  <a:lnTo>
                    <a:pt x="1" y="12823"/>
                  </a:lnTo>
                  <a:cubicBezTo>
                    <a:pt x="1" y="13485"/>
                    <a:pt x="568" y="14083"/>
                    <a:pt x="1229" y="14083"/>
                  </a:cubicBezTo>
                  <a:lnTo>
                    <a:pt x="12855" y="14083"/>
                  </a:lnTo>
                  <a:cubicBezTo>
                    <a:pt x="13516" y="14083"/>
                    <a:pt x="14115" y="13516"/>
                    <a:pt x="14115" y="12823"/>
                  </a:cubicBezTo>
                  <a:lnTo>
                    <a:pt x="14115" y="7026"/>
                  </a:lnTo>
                  <a:cubicBezTo>
                    <a:pt x="14241" y="6490"/>
                    <a:pt x="13863" y="6018"/>
                    <a:pt x="13390" y="5860"/>
                  </a:cubicBezTo>
                  <a:lnTo>
                    <a:pt x="13390" y="5388"/>
                  </a:lnTo>
                  <a:cubicBezTo>
                    <a:pt x="13390" y="4726"/>
                    <a:pt x="12855" y="4159"/>
                    <a:pt x="12130" y="4159"/>
                  </a:cubicBezTo>
                  <a:cubicBezTo>
                    <a:pt x="11469" y="4159"/>
                    <a:pt x="10870" y="4726"/>
                    <a:pt x="10870" y="5388"/>
                  </a:cubicBezTo>
                  <a:lnTo>
                    <a:pt x="10870" y="5829"/>
                  </a:lnTo>
                  <a:lnTo>
                    <a:pt x="9862" y="5829"/>
                  </a:lnTo>
                  <a:lnTo>
                    <a:pt x="9263" y="4632"/>
                  </a:lnTo>
                  <a:lnTo>
                    <a:pt x="10429" y="3056"/>
                  </a:lnTo>
                  <a:cubicBezTo>
                    <a:pt x="10681" y="2836"/>
                    <a:pt x="10838" y="2521"/>
                    <a:pt x="10838" y="2111"/>
                  </a:cubicBezTo>
                  <a:lnTo>
                    <a:pt x="10838" y="1261"/>
                  </a:lnTo>
                  <a:cubicBezTo>
                    <a:pt x="10838" y="568"/>
                    <a:pt x="10303" y="0"/>
                    <a:pt x="95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78" name="Google Shape;7678;p75"/>
            <p:cNvSpPr/>
            <p:nvPr/>
          </p:nvSpPr>
          <p:spPr>
            <a:xfrm>
              <a:off x="-13384625" y="2282125"/>
              <a:ext cx="63025" cy="60675"/>
            </a:xfrm>
            <a:custGeom>
              <a:avLst/>
              <a:gdLst/>
              <a:ahLst/>
              <a:cxnLst/>
              <a:rect l="l" t="t" r="r" b="b"/>
              <a:pathLst>
                <a:path w="2521" h="2427" extrusionOk="0">
                  <a:moveTo>
                    <a:pt x="1260" y="788"/>
                  </a:moveTo>
                  <a:cubicBezTo>
                    <a:pt x="1449" y="788"/>
                    <a:pt x="1670" y="977"/>
                    <a:pt x="1670" y="1229"/>
                  </a:cubicBezTo>
                  <a:cubicBezTo>
                    <a:pt x="1670" y="1450"/>
                    <a:pt x="1481" y="1639"/>
                    <a:pt x="1260" y="1639"/>
                  </a:cubicBezTo>
                  <a:cubicBezTo>
                    <a:pt x="1008" y="1639"/>
                    <a:pt x="851" y="1450"/>
                    <a:pt x="851" y="1229"/>
                  </a:cubicBezTo>
                  <a:cubicBezTo>
                    <a:pt x="851" y="977"/>
                    <a:pt x="1040" y="788"/>
                    <a:pt x="1260" y="788"/>
                  </a:cubicBezTo>
                  <a:close/>
                  <a:moveTo>
                    <a:pt x="1260" y="1"/>
                  </a:moveTo>
                  <a:cubicBezTo>
                    <a:pt x="536" y="1"/>
                    <a:pt x="0" y="568"/>
                    <a:pt x="0" y="1229"/>
                  </a:cubicBezTo>
                  <a:cubicBezTo>
                    <a:pt x="0" y="1891"/>
                    <a:pt x="536" y="2427"/>
                    <a:pt x="1260" y="2427"/>
                  </a:cubicBezTo>
                  <a:cubicBezTo>
                    <a:pt x="1954" y="2427"/>
                    <a:pt x="2521" y="1923"/>
                    <a:pt x="2521" y="1229"/>
                  </a:cubicBezTo>
                  <a:cubicBezTo>
                    <a:pt x="2521" y="568"/>
                    <a:pt x="1954"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79" name="Google Shape;7679;p75"/>
          <p:cNvGrpSpPr/>
          <p:nvPr/>
        </p:nvGrpSpPr>
        <p:grpSpPr>
          <a:xfrm>
            <a:off x="7072837" y="3131593"/>
            <a:ext cx="454409" cy="454409"/>
            <a:chOff x="-13528775" y="2507400"/>
            <a:chExt cx="352875" cy="352875"/>
          </a:xfrm>
        </p:grpSpPr>
        <p:sp>
          <p:nvSpPr>
            <p:cNvPr id="7680" name="Google Shape;7680;p75"/>
            <p:cNvSpPr/>
            <p:nvPr/>
          </p:nvSpPr>
          <p:spPr>
            <a:xfrm>
              <a:off x="-13528775" y="2507400"/>
              <a:ext cx="352875" cy="352875"/>
            </a:xfrm>
            <a:custGeom>
              <a:avLst/>
              <a:gdLst/>
              <a:ahLst/>
              <a:cxnLst/>
              <a:rect l="l" t="t" r="r" b="b"/>
              <a:pathLst>
                <a:path w="14115" h="14115" extrusionOk="0">
                  <a:moveTo>
                    <a:pt x="6018" y="851"/>
                  </a:moveTo>
                  <a:lnTo>
                    <a:pt x="7121" y="2489"/>
                  </a:lnTo>
                  <a:lnTo>
                    <a:pt x="5640" y="2489"/>
                  </a:lnTo>
                  <a:lnTo>
                    <a:pt x="4538" y="851"/>
                  </a:lnTo>
                  <a:close/>
                  <a:moveTo>
                    <a:pt x="8507" y="851"/>
                  </a:moveTo>
                  <a:lnTo>
                    <a:pt x="9610" y="2489"/>
                  </a:lnTo>
                  <a:lnTo>
                    <a:pt x="8129" y="2489"/>
                  </a:lnTo>
                  <a:lnTo>
                    <a:pt x="7026" y="851"/>
                  </a:lnTo>
                  <a:close/>
                  <a:moveTo>
                    <a:pt x="10996" y="851"/>
                  </a:moveTo>
                  <a:lnTo>
                    <a:pt x="12099" y="2489"/>
                  </a:lnTo>
                  <a:lnTo>
                    <a:pt x="10586" y="2489"/>
                  </a:lnTo>
                  <a:lnTo>
                    <a:pt x="9484" y="851"/>
                  </a:lnTo>
                  <a:close/>
                  <a:moveTo>
                    <a:pt x="12855" y="851"/>
                  </a:moveTo>
                  <a:cubicBezTo>
                    <a:pt x="13075" y="851"/>
                    <a:pt x="13264" y="1040"/>
                    <a:pt x="13264" y="1260"/>
                  </a:cubicBezTo>
                  <a:lnTo>
                    <a:pt x="13264" y="2489"/>
                  </a:lnTo>
                  <a:lnTo>
                    <a:pt x="13075" y="2489"/>
                  </a:lnTo>
                  <a:lnTo>
                    <a:pt x="11973" y="851"/>
                  </a:lnTo>
                  <a:close/>
                  <a:moveTo>
                    <a:pt x="7121" y="3308"/>
                  </a:moveTo>
                  <a:lnTo>
                    <a:pt x="6018" y="4978"/>
                  </a:lnTo>
                  <a:lnTo>
                    <a:pt x="4538" y="4978"/>
                  </a:lnTo>
                  <a:lnTo>
                    <a:pt x="5640" y="3308"/>
                  </a:lnTo>
                  <a:close/>
                  <a:moveTo>
                    <a:pt x="9610" y="3308"/>
                  </a:moveTo>
                  <a:lnTo>
                    <a:pt x="8507" y="4978"/>
                  </a:lnTo>
                  <a:lnTo>
                    <a:pt x="7026" y="4978"/>
                  </a:lnTo>
                  <a:lnTo>
                    <a:pt x="8129" y="3308"/>
                  </a:lnTo>
                  <a:close/>
                  <a:moveTo>
                    <a:pt x="12099" y="3308"/>
                  </a:moveTo>
                  <a:lnTo>
                    <a:pt x="10996" y="4978"/>
                  </a:lnTo>
                  <a:lnTo>
                    <a:pt x="9484" y="4978"/>
                  </a:lnTo>
                  <a:lnTo>
                    <a:pt x="10586" y="3308"/>
                  </a:lnTo>
                  <a:close/>
                  <a:moveTo>
                    <a:pt x="13264" y="3308"/>
                  </a:moveTo>
                  <a:lnTo>
                    <a:pt x="13264" y="4978"/>
                  </a:lnTo>
                  <a:lnTo>
                    <a:pt x="11973" y="4978"/>
                  </a:lnTo>
                  <a:lnTo>
                    <a:pt x="13075" y="3308"/>
                  </a:lnTo>
                  <a:close/>
                  <a:moveTo>
                    <a:pt x="3561" y="851"/>
                  </a:moveTo>
                  <a:lnTo>
                    <a:pt x="4916" y="2930"/>
                  </a:lnTo>
                  <a:lnTo>
                    <a:pt x="3561" y="5009"/>
                  </a:lnTo>
                  <a:lnTo>
                    <a:pt x="820" y="5009"/>
                  </a:lnTo>
                  <a:lnTo>
                    <a:pt x="820" y="1323"/>
                  </a:lnTo>
                  <a:cubicBezTo>
                    <a:pt x="788" y="1040"/>
                    <a:pt x="977" y="851"/>
                    <a:pt x="1230" y="851"/>
                  </a:cubicBezTo>
                  <a:close/>
                  <a:moveTo>
                    <a:pt x="13264" y="5797"/>
                  </a:moveTo>
                  <a:lnTo>
                    <a:pt x="13264" y="12886"/>
                  </a:lnTo>
                  <a:cubicBezTo>
                    <a:pt x="13264" y="13138"/>
                    <a:pt x="13075" y="13327"/>
                    <a:pt x="12855" y="13327"/>
                  </a:cubicBezTo>
                  <a:lnTo>
                    <a:pt x="1230" y="13327"/>
                  </a:lnTo>
                  <a:cubicBezTo>
                    <a:pt x="1009" y="13327"/>
                    <a:pt x="851" y="13138"/>
                    <a:pt x="851" y="12886"/>
                  </a:cubicBezTo>
                  <a:lnTo>
                    <a:pt x="851" y="5797"/>
                  </a:lnTo>
                  <a:close/>
                  <a:moveTo>
                    <a:pt x="1230" y="0"/>
                  </a:moveTo>
                  <a:cubicBezTo>
                    <a:pt x="568" y="0"/>
                    <a:pt x="1" y="567"/>
                    <a:pt x="1" y="1260"/>
                  </a:cubicBezTo>
                  <a:lnTo>
                    <a:pt x="1" y="12886"/>
                  </a:lnTo>
                  <a:cubicBezTo>
                    <a:pt x="1" y="13547"/>
                    <a:pt x="568" y="14114"/>
                    <a:pt x="1230" y="14114"/>
                  </a:cubicBezTo>
                  <a:lnTo>
                    <a:pt x="12855" y="14114"/>
                  </a:lnTo>
                  <a:cubicBezTo>
                    <a:pt x="13516" y="14114"/>
                    <a:pt x="14115" y="13547"/>
                    <a:pt x="14115" y="12886"/>
                  </a:cubicBezTo>
                  <a:lnTo>
                    <a:pt x="14115" y="1260"/>
                  </a:lnTo>
                  <a:cubicBezTo>
                    <a:pt x="14115" y="599"/>
                    <a:pt x="13548" y="0"/>
                    <a:pt x="1285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1" name="Google Shape;7681;p75"/>
            <p:cNvSpPr/>
            <p:nvPr/>
          </p:nvSpPr>
          <p:spPr>
            <a:xfrm>
              <a:off x="-13403525" y="2673750"/>
              <a:ext cx="123675" cy="145750"/>
            </a:xfrm>
            <a:custGeom>
              <a:avLst/>
              <a:gdLst/>
              <a:ahLst/>
              <a:cxnLst/>
              <a:rect l="l" t="t" r="r" b="b"/>
              <a:pathLst>
                <a:path w="4947" h="5830" extrusionOk="0">
                  <a:moveTo>
                    <a:pt x="819" y="1159"/>
                  </a:moveTo>
                  <a:lnTo>
                    <a:pt x="3749" y="2924"/>
                  </a:lnTo>
                  <a:lnTo>
                    <a:pt x="819" y="4688"/>
                  </a:lnTo>
                  <a:lnTo>
                    <a:pt x="819" y="1159"/>
                  </a:lnTo>
                  <a:close/>
                  <a:moveTo>
                    <a:pt x="415" y="0"/>
                  </a:moveTo>
                  <a:cubicBezTo>
                    <a:pt x="197" y="0"/>
                    <a:pt x="0" y="166"/>
                    <a:pt x="0" y="403"/>
                  </a:cubicBezTo>
                  <a:lnTo>
                    <a:pt x="0" y="5412"/>
                  </a:lnTo>
                  <a:cubicBezTo>
                    <a:pt x="0" y="5570"/>
                    <a:pt x="63" y="5696"/>
                    <a:pt x="189" y="5759"/>
                  </a:cubicBezTo>
                  <a:cubicBezTo>
                    <a:pt x="252" y="5806"/>
                    <a:pt x="323" y="5830"/>
                    <a:pt x="398" y="5830"/>
                  </a:cubicBezTo>
                  <a:cubicBezTo>
                    <a:pt x="473" y="5830"/>
                    <a:pt x="551" y="5806"/>
                    <a:pt x="630" y="5759"/>
                  </a:cubicBezTo>
                  <a:lnTo>
                    <a:pt x="4757" y="3239"/>
                  </a:lnTo>
                  <a:cubicBezTo>
                    <a:pt x="4883" y="3176"/>
                    <a:pt x="4946" y="3050"/>
                    <a:pt x="4946" y="2892"/>
                  </a:cubicBezTo>
                  <a:cubicBezTo>
                    <a:pt x="4946" y="2735"/>
                    <a:pt x="4883" y="2640"/>
                    <a:pt x="4757" y="2577"/>
                  </a:cubicBezTo>
                  <a:lnTo>
                    <a:pt x="630" y="57"/>
                  </a:lnTo>
                  <a:cubicBezTo>
                    <a:pt x="560" y="18"/>
                    <a:pt x="487" y="0"/>
                    <a:pt x="4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2" name="Google Shape;7682;p75"/>
            <p:cNvSpPr/>
            <p:nvPr/>
          </p:nvSpPr>
          <p:spPr>
            <a:xfrm>
              <a:off x="-13486225" y="2559375"/>
              <a:ext cx="40975" cy="41775"/>
            </a:xfrm>
            <a:custGeom>
              <a:avLst/>
              <a:gdLst/>
              <a:ahLst/>
              <a:cxnLst/>
              <a:rect l="l" t="t" r="r" b="b"/>
              <a:pathLst>
                <a:path w="1639" h="1671" extrusionOk="0">
                  <a:moveTo>
                    <a:pt x="819" y="0"/>
                  </a:moveTo>
                  <a:cubicBezTo>
                    <a:pt x="378" y="0"/>
                    <a:pt x="0" y="378"/>
                    <a:pt x="0" y="851"/>
                  </a:cubicBezTo>
                  <a:cubicBezTo>
                    <a:pt x="0" y="1292"/>
                    <a:pt x="378" y="1670"/>
                    <a:pt x="819" y="1670"/>
                  </a:cubicBezTo>
                  <a:cubicBezTo>
                    <a:pt x="1292" y="1670"/>
                    <a:pt x="1638" y="1292"/>
                    <a:pt x="1638" y="851"/>
                  </a:cubicBezTo>
                  <a:cubicBezTo>
                    <a:pt x="1638" y="378"/>
                    <a:pt x="1292" y="0"/>
                    <a:pt x="8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83" name="Google Shape;7683;p75"/>
          <p:cNvSpPr/>
          <p:nvPr/>
        </p:nvSpPr>
        <p:spPr>
          <a:xfrm>
            <a:off x="9497851" y="2084141"/>
            <a:ext cx="455439" cy="372252"/>
          </a:xfrm>
          <a:custGeom>
            <a:avLst/>
            <a:gdLst/>
            <a:ahLst/>
            <a:cxnLst/>
            <a:rect l="l" t="t" r="r" b="b"/>
            <a:pathLst>
              <a:path w="14147" h="11563" extrusionOk="0">
                <a:moveTo>
                  <a:pt x="6680" y="819"/>
                </a:moveTo>
                <a:lnTo>
                  <a:pt x="6680" y="5009"/>
                </a:lnTo>
                <a:lnTo>
                  <a:pt x="6648" y="5009"/>
                </a:lnTo>
                <a:cubicBezTo>
                  <a:pt x="6302" y="5041"/>
                  <a:pt x="5924" y="5167"/>
                  <a:pt x="5609" y="5356"/>
                </a:cubicBezTo>
                <a:lnTo>
                  <a:pt x="3624" y="1859"/>
                </a:lnTo>
                <a:cubicBezTo>
                  <a:pt x="4506" y="1260"/>
                  <a:pt x="5546" y="882"/>
                  <a:pt x="6680" y="819"/>
                </a:cubicBezTo>
                <a:close/>
                <a:moveTo>
                  <a:pt x="7531" y="819"/>
                </a:moveTo>
                <a:cubicBezTo>
                  <a:pt x="8633" y="914"/>
                  <a:pt x="9673" y="1260"/>
                  <a:pt x="10587" y="1859"/>
                </a:cubicBezTo>
                <a:lnTo>
                  <a:pt x="8539" y="5356"/>
                </a:lnTo>
                <a:cubicBezTo>
                  <a:pt x="8224" y="5167"/>
                  <a:pt x="7877" y="5041"/>
                  <a:pt x="7531" y="5009"/>
                </a:cubicBezTo>
                <a:lnTo>
                  <a:pt x="7531" y="819"/>
                </a:lnTo>
                <a:close/>
                <a:moveTo>
                  <a:pt x="2931" y="2332"/>
                </a:moveTo>
                <a:lnTo>
                  <a:pt x="5010" y="5829"/>
                </a:lnTo>
                <a:cubicBezTo>
                  <a:pt x="4632" y="6175"/>
                  <a:pt x="4412" y="6648"/>
                  <a:pt x="4286" y="7152"/>
                </a:cubicBezTo>
                <a:lnTo>
                  <a:pt x="915" y="5892"/>
                </a:lnTo>
                <a:cubicBezTo>
                  <a:pt x="1135" y="4474"/>
                  <a:pt x="1891" y="3214"/>
                  <a:pt x="2931" y="2332"/>
                </a:cubicBezTo>
                <a:close/>
                <a:moveTo>
                  <a:pt x="11248" y="2300"/>
                </a:moveTo>
                <a:cubicBezTo>
                  <a:pt x="12319" y="3214"/>
                  <a:pt x="13075" y="4474"/>
                  <a:pt x="13296" y="5892"/>
                </a:cubicBezTo>
                <a:lnTo>
                  <a:pt x="9925" y="7152"/>
                </a:lnTo>
                <a:cubicBezTo>
                  <a:pt x="9799" y="6648"/>
                  <a:pt x="9547" y="6207"/>
                  <a:pt x="9200" y="5829"/>
                </a:cubicBezTo>
                <a:lnTo>
                  <a:pt x="11248" y="2300"/>
                </a:lnTo>
                <a:close/>
                <a:moveTo>
                  <a:pt x="7090" y="5797"/>
                </a:moveTo>
                <a:cubicBezTo>
                  <a:pt x="8098" y="5797"/>
                  <a:pt x="8948" y="6522"/>
                  <a:pt x="9137" y="7467"/>
                </a:cubicBezTo>
                <a:lnTo>
                  <a:pt x="7090" y="8223"/>
                </a:lnTo>
                <a:lnTo>
                  <a:pt x="5042" y="7467"/>
                </a:lnTo>
                <a:cubicBezTo>
                  <a:pt x="5199" y="6522"/>
                  <a:pt x="6050" y="5797"/>
                  <a:pt x="7090" y="5797"/>
                </a:cubicBezTo>
                <a:close/>
                <a:moveTo>
                  <a:pt x="7090" y="9294"/>
                </a:moveTo>
                <a:lnTo>
                  <a:pt x="8161" y="10428"/>
                </a:lnTo>
                <a:cubicBezTo>
                  <a:pt x="7830" y="10633"/>
                  <a:pt x="7452" y="10735"/>
                  <a:pt x="7078" y="10735"/>
                </a:cubicBezTo>
                <a:cubicBezTo>
                  <a:pt x="6704" y="10735"/>
                  <a:pt x="6333" y="10633"/>
                  <a:pt x="6018" y="10428"/>
                </a:cubicBezTo>
                <a:lnTo>
                  <a:pt x="7090" y="9294"/>
                </a:lnTo>
                <a:close/>
                <a:moveTo>
                  <a:pt x="7090" y="0"/>
                </a:moveTo>
                <a:cubicBezTo>
                  <a:pt x="3498" y="0"/>
                  <a:pt x="473" y="2678"/>
                  <a:pt x="32" y="6144"/>
                </a:cubicBezTo>
                <a:cubicBezTo>
                  <a:pt x="1" y="6333"/>
                  <a:pt x="95" y="6490"/>
                  <a:pt x="316" y="6585"/>
                </a:cubicBezTo>
                <a:lnTo>
                  <a:pt x="6365" y="8853"/>
                </a:lnTo>
                <a:lnTo>
                  <a:pt x="5168" y="10208"/>
                </a:lnTo>
                <a:cubicBezTo>
                  <a:pt x="5010" y="10365"/>
                  <a:pt x="5010" y="10617"/>
                  <a:pt x="5168" y="10775"/>
                </a:cubicBezTo>
                <a:cubicBezTo>
                  <a:pt x="5672" y="11310"/>
                  <a:pt x="6365" y="11562"/>
                  <a:pt x="7090" y="11562"/>
                </a:cubicBezTo>
                <a:cubicBezTo>
                  <a:pt x="7846" y="11562"/>
                  <a:pt x="8507" y="11310"/>
                  <a:pt x="9011" y="10775"/>
                </a:cubicBezTo>
                <a:cubicBezTo>
                  <a:pt x="9169" y="10617"/>
                  <a:pt x="9169" y="10397"/>
                  <a:pt x="9011" y="10208"/>
                </a:cubicBezTo>
                <a:lnTo>
                  <a:pt x="7783" y="8853"/>
                </a:lnTo>
                <a:lnTo>
                  <a:pt x="13863" y="6585"/>
                </a:lnTo>
                <a:cubicBezTo>
                  <a:pt x="14052" y="6490"/>
                  <a:pt x="14147" y="6333"/>
                  <a:pt x="14147" y="6144"/>
                </a:cubicBezTo>
                <a:cubicBezTo>
                  <a:pt x="13706" y="2678"/>
                  <a:pt x="10650" y="0"/>
                  <a:pt x="70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4" name="Google Shape;7684;p75"/>
          <p:cNvSpPr/>
          <p:nvPr/>
        </p:nvSpPr>
        <p:spPr>
          <a:xfrm>
            <a:off x="9497352" y="2586936"/>
            <a:ext cx="456437" cy="454184"/>
          </a:xfrm>
          <a:custGeom>
            <a:avLst/>
            <a:gdLst/>
            <a:ahLst/>
            <a:cxnLst/>
            <a:rect l="l" t="t" r="r" b="b"/>
            <a:pathLst>
              <a:path w="14178" h="14108" extrusionOk="0">
                <a:moveTo>
                  <a:pt x="8727" y="5034"/>
                </a:moveTo>
                <a:cubicBezTo>
                  <a:pt x="8948" y="5065"/>
                  <a:pt x="9137" y="5254"/>
                  <a:pt x="9137" y="5443"/>
                </a:cubicBezTo>
                <a:cubicBezTo>
                  <a:pt x="9137" y="5695"/>
                  <a:pt x="8948" y="5885"/>
                  <a:pt x="8727" y="5885"/>
                </a:cubicBezTo>
                <a:cubicBezTo>
                  <a:pt x="8507" y="5885"/>
                  <a:pt x="8318" y="5695"/>
                  <a:pt x="8318" y="5443"/>
                </a:cubicBezTo>
                <a:cubicBezTo>
                  <a:pt x="8318" y="5223"/>
                  <a:pt x="8507" y="5034"/>
                  <a:pt x="8727" y="5034"/>
                </a:cubicBezTo>
                <a:close/>
                <a:moveTo>
                  <a:pt x="5388" y="5065"/>
                </a:moveTo>
                <a:cubicBezTo>
                  <a:pt x="5640" y="5065"/>
                  <a:pt x="5829" y="5254"/>
                  <a:pt x="5829" y="5506"/>
                </a:cubicBezTo>
                <a:cubicBezTo>
                  <a:pt x="5829" y="5727"/>
                  <a:pt x="5640" y="5916"/>
                  <a:pt x="5388" y="5916"/>
                </a:cubicBezTo>
                <a:cubicBezTo>
                  <a:pt x="5167" y="5916"/>
                  <a:pt x="5010" y="5727"/>
                  <a:pt x="5010" y="5506"/>
                </a:cubicBezTo>
                <a:cubicBezTo>
                  <a:pt x="4978" y="5254"/>
                  <a:pt x="5167" y="5065"/>
                  <a:pt x="5388" y="5065"/>
                </a:cubicBezTo>
                <a:close/>
                <a:moveTo>
                  <a:pt x="7089" y="3459"/>
                </a:moveTo>
                <a:cubicBezTo>
                  <a:pt x="8160" y="3459"/>
                  <a:pt x="9137" y="3522"/>
                  <a:pt x="10050" y="3711"/>
                </a:cubicBezTo>
                <a:lnTo>
                  <a:pt x="9357" y="4435"/>
                </a:lnTo>
                <a:cubicBezTo>
                  <a:pt x="9168" y="4341"/>
                  <a:pt x="8979" y="4278"/>
                  <a:pt x="8790" y="4278"/>
                </a:cubicBezTo>
                <a:cubicBezTo>
                  <a:pt x="8097" y="4278"/>
                  <a:pt x="7530" y="4813"/>
                  <a:pt x="7530" y="5506"/>
                </a:cubicBezTo>
                <a:cubicBezTo>
                  <a:pt x="7530" y="6168"/>
                  <a:pt x="8066" y="6704"/>
                  <a:pt x="8790" y="6704"/>
                </a:cubicBezTo>
                <a:cubicBezTo>
                  <a:pt x="9452" y="6704"/>
                  <a:pt x="9987" y="6168"/>
                  <a:pt x="9987" y="5506"/>
                </a:cubicBezTo>
                <a:cubicBezTo>
                  <a:pt x="9987" y="5317"/>
                  <a:pt x="9956" y="5160"/>
                  <a:pt x="9924" y="5034"/>
                </a:cubicBezTo>
                <a:lnTo>
                  <a:pt x="10996" y="3931"/>
                </a:lnTo>
                <a:cubicBezTo>
                  <a:pt x="11216" y="3994"/>
                  <a:pt x="11405" y="4026"/>
                  <a:pt x="11626" y="4120"/>
                </a:cubicBezTo>
                <a:cubicBezTo>
                  <a:pt x="12665" y="4498"/>
                  <a:pt x="13295" y="5034"/>
                  <a:pt x="13295" y="5506"/>
                </a:cubicBezTo>
                <a:cubicBezTo>
                  <a:pt x="13295" y="6452"/>
                  <a:pt x="10775" y="7586"/>
                  <a:pt x="7089" y="7586"/>
                </a:cubicBezTo>
                <a:cubicBezTo>
                  <a:pt x="3497" y="7586"/>
                  <a:pt x="851" y="6483"/>
                  <a:pt x="851" y="5506"/>
                </a:cubicBezTo>
                <a:cubicBezTo>
                  <a:pt x="820" y="5034"/>
                  <a:pt x="1450" y="4498"/>
                  <a:pt x="2521" y="4120"/>
                </a:cubicBezTo>
                <a:cubicBezTo>
                  <a:pt x="2710" y="4026"/>
                  <a:pt x="2962" y="3963"/>
                  <a:pt x="3182" y="3931"/>
                </a:cubicBezTo>
                <a:lnTo>
                  <a:pt x="4285" y="5034"/>
                </a:lnTo>
                <a:cubicBezTo>
                  <a:pt x="4254" y="5191"/>
                  <a:pt x="4222" y="5349"/>
                  <a:pt x="4222" y="5506"/>
                </a:cubicBezTo>
                <a:cubicBezTo>
                  <a:pt x="4222" y="6168"/>
                  <a:pt x="4758" y="6704"/>
                  <a:pt x="5419" y="6704"/>
                </a:cubicBezTo>
                <a:cubicBezTo>
                  <a:pt x="6112" y="6704"/>
                  <a:pt x="6679" y="6168"/>
                  <a:pt x="6679" y="5506"/>
                </a:cubicBezTo>
                <a:cubicBezTo>
                  <a:pt x="6679" y="4813"/>
                  <a:pt x="6144" y="4278"/>
                  <a:pt x="5419" y="4278"/>
                </a:cubicBezTo>
                <a:cubicBezTo>
                  <a:pt x="5199" y="4278"/>
                  <a:pt x="5010" y="4309"/>
                  <a:pt x="4852" y="4435"/>
                </a:cubicBezTo>
                <a:lnTo>
                  <a:pt x="4128" y="3711"/>
                </a:lnTo>
                <a:cubicBezTo>
                  <a:pt x="5041" y="3553"/>
                  <a:pt x="6018" y="3459"/>
                  <a:pt x="7089" y="3459"/>
                </a:cubicBezTo>
                <a:close/>
                <a:moveTo>
                  <a:pt x="820" y="6861"/>
                </a:moveTo>
                <a:cubicBezTo>
                  <a:pt x="1135" y="7113"/>
                  <a:pt x="1576" y="7334"/>
                  <a:pt x="2048" y="7523"/>
                </a:cubicBezTo>
                <a:lnTo>
                  <a:pt x="820" y="9193"/>
                </a:lnTo>
                <a:lnTo>
                  <a:pt x="820" y="6861"/>
                </a:lnTo>
                <a:close/>
                <a:moveTo>
                  <a:pt x="13264" y="6861"/>
                </a:moveTo>
                <a:lnTo>
                  <a:pt x="13264" y="9193"/>
                </a:lnTo>
                <a:lnTo>
                  <a:pt x="12067" y="7554"/>
                </a:lnTo>
                <a:cubicBezTo>
                  <a:pt x="12571" y="7334"/>
                  <a:pt x="12949" y="7113"/>
                  <a:pt x="13264" y="6861"/>
                </a:cubicBezTo>
                <a:close/>
                <a:moveTo>
                  <a:pt x="3655" y="8027"/>
                </a:moveTo>
                <a:lnTo>
                  <a:pt x="3655" y="8027"/>
                </a:lnTo>
                <a:cubicBezTo>
                  <a:pt x="4474" y="8216"/>
                  <a:pt x="5388" y="8279"/>
                  <a:pt x="6333" y="8342"/>
                </a:cubicBezTo>
                <a:lnTo>
                  <a:pt x="4695" y="11083"/>
                </a:lnTo>
                <a:lnTo>
                  <a:pt x="3655" y="8027"/>
                </a:lnTo>
                <a:close/>
                <a:moveTo>
                  <a:pt x="10492" y="8058"/>
                </a:moveTo>
                <a:lnTo>
                  <a:pt x="9452" y="11114"/>
                </a:lnTo>
                <a:lnTo>
                  <a:pt x="7751" y="8373"/>
                </a:lnTo>
                <a:cubicBezTo>
                  <a:pt x="8696" y="8342"/>
                  <a:pt x="9641" y="8216"/>
                  <a:pt x="10492" y="8058"/>
                </a:cubicBezTo>
                <a:close/>
                <a:moveTo>
                  <a:pt x="2741" y="7964"/>
                </a:moveTo>
                <a:lnTo>
                  <a:pt x="3844" y="11272"/>
                </a:lnTo>
                <a:cubicBezTo>
                  <a:pt x="2836" y="11020"/>
                  <a:pt x="1891" y="10610"/>
                  <a:pt x="1135" y="10138"/>
                </a:cubicBezTo>
                <a:lnTo>
                  <a:pt x="2741" y="7964"/>
                </a:lnTo>
                <a:close/>
                <a:moveTo>
                  <a:pt x="11342" y="8027"/>
                </a:moveTo>
                <a:lnTo>
                  <a:pt x="12917" y="10138"/>
                </a:lnTo>
                <a:cubicBezTo>
                  <a:pt x="12161" y="10610"/>
                  <a:pt x="11248" y="11020"/>
                  <a:pt x="10240" y="11272"/>
                </a:cubicBezTo>
                <a:lnTo>
                  <a:pt x="11342" y="8027"/>
                </a:lnTo>
                <a:close/>
                <a:moveTo>
                  <a:pt x="7058" y="8751"/>
                </a:moveTo>
                <a:lnTo>
                  <a:pt x="8727" y="11555"/>
                </a:lnTo>
                <a:cubicBezTo>
                  <a:pt x="8192" y="11618"/>
                  <a:pt x="7593" y="11681"/>
                  <a:pt x="7058" y="11681"/>
                </a:cubicBezTo>
                <a:cubicBezTo>
                  <a:pt x="6459" y="11681"/>
                  <a:pt x="5892" y="11650"/>
                  <a:pt x="5356" y="11555"/>
                </a:cubicBezTo>
                <a:lnTo>
                  <a:pt x="7058" y="8751"/>
                </a:lnTo>
                <a:close/>
                <a:moveTo>
                  <a:pt x="13264" y="10894"/>
                </a:moveTo>
                <a:lnTo>
                  <a:pt x="13264" y="11240"/>
                </a:lnTo>
                <a:cubicBezTo>
                  <a:pt x="13264" y="12185"/>
                  <a:pt x="10744" y="13320"/>
                  <a:pt x="7058" y="13320"/>
                </a:cubicBezTo>
                <a:cubicBezTo>
                  <a:pt x="3340" y="13320"/>
                  <a:pt x="820" y="12185"/>
                  <a:pt x="820" y="11240"/>
                </a:cubicBezTo>
                <a:lnTo>
                  <a:pt x="820" y="10894"/>
                </a:lnTo>
                <a:cubicBezTo>
                  <a:pt x="2615" y="11996"/>
                  <a:pt x="4915" y="12501"/>
                  <a:pt x="7058" y="12501"/>
                </a:cubicBezTo>
                <a:cubicBezTo>
                  <a:pt x="9168" y="12501"/>
                  <a:pt x="11500" y="12028"/>
                  <a:pt x="13264" y="10894"/>
                </a:cubicBezTo>
                <a:close/>
                <a:moveTo>
                  <a:pt x="457" y="1"/>
                </a:moveTo>
                <a:cubicBezTo>
                  <a:pt x="347" y="1"/>
                  <a:pt x="237" y="40"/>
                  <a:pt x="158" y="119"/>
                </a:cubicBezTo>
                <a:cubicBezTo>
                  <a:pt x="0" y="277"/>
                  <a:pt x="0" y="560"/>
                  <a:pt x="158" y="718"/>
                </a:cubicBezTo>
                <a:lnTo>
                  <a:pt x="2552" y="3207"/>
                </a:lnTo>
                <a:cubicBezTo>
                  <a:pt x="2426" y="3238"/>
                  <a:pt x="2363" y="3270"/>
                  <a:pt x="2237" y="3333"/>
                </a:cubicBezTo>
                <a:cubicBezTo>
                  <a:pt x="820" y="3868"/>
                  <a:pt x="32" y="4624"/>
                  <a:pt x="32" y="5443"/>
                </a:cubicBezTo>
                <a:lnTo>
                  <a:pt x="32" y="11240"/>
                </a:lnTo>
                <a:cubicBezTo>
                  <a:pt x="32" y="12091"/>
                  <a:pt x="820" y="12847"/>
                  <a:pt x="2237" y="13383"/>
                </a:cubicBezTo>
                <a:cubicBezTo>
                  <a:pt x="3529" y="13824"/>
                  <a:pt x="5262" y="14107"/>
                  <a:pt x="7089" y="14107"/>
                </a:cubicBezTo>
                <a:cubicBezTo>
                  <a:pt x="10744" y="14107"/>
                  <a:pt x="14146" y="13005"/>
                  <a:pt x="14146" y="11240"/>
                </a:cubicBezTo>
                <a:lnTo>
                  <a:pt x="14146" y="5443"/>
                </a:lnTo>
                <a:cubicBezTo>
                  <a:pt x="14083" y="4624"/>
                  <a:pt x="13295" y="3868"/>
                  <a:pt x="11878" y="3333"/>
                </a:cubicBezTo>
                <a:cubicBezTo>
                  <a:pt x="11815" y="3301"/>
                  <a:pt x="11689" y="3238"/>
                  <a:pt x="11626" y="3207"/>
                </a:cubicBezTo>
                <a:lnTo>
                  <a:pt x="14020" y="718"/>
                </a:lnTo>
                <a:cubicBezTo>
                  <a:pt x="14178" y="560"/>
                  <a:pt x="14178" y="277"/>
                  <a:pt x="14020" y="119"/>
                </a:cubicBezTo>
                <a:cubicBezTo>
                  <a:pt x="13941" y="40"/>
                  <a:pt x="13831" y="1"/>
                  <a:pt x="13721" y="1"/>
                </a:cubicBezTo>
                <a:cubicBezTo>
                  <a:pt x="13611" y="1"/>
                  <a:pt x="13500" y="40"/>
                  <a:pt x="13422" y="119"/>
                </a:cubicBezTo>
                <a:lnTo>
                  <a:pt x="10712" y="2923"/>
                </a:lnTo>
                <a:cubicBezTo>
                  <a:pt x="9609" y="2640"/>
                  <a:pt x="8381" y="2545"/>
                  <a:pt x="7089" y="2545"/>
                </a:cubicBezTo>
                <a:cubicBezTo>
                  <a:pt x="5797" y="2545"/>
                  <a:pt x="4537" y="2640"/>
                  <a:pt x="3466" y="2923"/>
                </a:cubicBezTo>
                <a:lnTo>
                  <a:pt x="757" y="119"/>
                </a:lnTo>
                <a:cubicBezTo>
                  <a:pt x="678" y="40"/>
                  <a:pt x="567" y="1"/>
                  <a:pt x="45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85" name="Google Shape;7685;p75"/>
          <p:cNvGrpSpPr/>
          <p:nvPr/>
        </p:nvGrpSpPr>
        <p:grpSpPr>
          <a:xfrm>
            <a:off x="9520177" y="3131078"/>
            <a:ext cx="410787" cy="455439"/>
            <a:chOff x="-11747150" y="2530225"/>
            <a:chExt cx="319000" cy="353675"/>
          </a:xfrm>
        </p:grpSpPr>
        <p:sp>
          <p:nvSpPr>
            <p:cNvPr id="7686" name="Google Shape;7686;p75"/>
            <p:cNvSpPr/>
            <p:nvPr/>
          </p:nvSpPr>
          <p:spPr>
            <a:xfrm>
              <a:off x="-11747150" y="2530225"/>
              <a:ext cx="319000" cy="353675"/>
            </a:xfrm>
            <a:custGeom>
              <a:avLst/>
              <a:gdLst/>
              <a:ahLst/>
              <a:cxnLst/>
              <a:rect l="l" t="t" r="r" b="b"/>
              <a:pathLst>
                <a:path w="12760" h="14147" extrusionOk="0">
                  <a:moveTo>
                    <a:pt x="7183" y="883"/>
                  </a:moveTo>
                  <a:cubicBezTo>
                    <a:pt x="7845" y="883"/>
                    <a:pt x="8443" y="1450"/>
                    <a:pt x="8412" y="2206"/>
                  </a:cubicBezTo>
                  <a:cubicBezTo>
                    <a:pt x="8412" y="2444"/>
                    <a:pt x="8612" y="2638"/>
                    <a:pt x="8825" y="2638"/>
                  </a:cubicBezTo>
                  <a:cubicBezTo>
                    <a:pt x="8866" y="2638"/>
                    <a:pt x="8907" y="2631"/>
                    <a:pt x="8947" y="2616"/>
                  </a:cubicBezTo>
                  <a:cubicBezTo>
                    <a:pt x="9048" y="2581"/>
                    <a:pt x="9148" y="2564"/>
                    <a:pt x="9243" y="2564"/>
                  </a:cubicBezTo>
                  <a:cubicBezTo>
                    <a:pt x="9829" y="2564"/>
                    <a:pt x="10258" y="3180"/>
                    <a:pt x="9987" y="3750"/>
                  </a:cubicBezTo>
                  <a:cubicBezTo>
                    <a:pt x="9893" y="3907"/>
                    <a:pt x="9956" y="4096"/>
                    <a:pt x="10050" y="4222"/>
                  </a:cubicBezTo>
                  <a:cubicBezTo>
                    <a:pt x="10126" y="4299"/>
                    <a:pt x="10226" y="4340"/>
                    <a:pt x="10327" y="4340"/>
                  </a:cubicBezTo>
                  <a:cubicBezTo>
                    <a:pt x="10394" y="4340"/>
                    <a:pt x="10461" y="4323"/>
                    <a:pt x="10523" y="4285"/>
                  </a:cubicBezTo>
                  <a:cubicBezTo>
                    <a:pt x="10637" y="4237"/>
                    <a:pt x="10751" y="4216"/>
                    <a:pt x="10861" y="4216"/>
                  </a:cubicBezTo>
                  <a:cubicBezTo>
                    <a:pt x="11328" y="4216"/>
                    <a:pt x="11720" y="4608"/>
                    <a:pt x="11720" y="5042"/>
                  </a:cubicBezTo>
                  <a:lnTo>
                    <a:pt x="977" y="5042"/>
                  </a:lnTo>
                  <a:cubicBezTo>
                    <a:pt x="928" y="4575"/>
                    <a:pt x="1300" y="4185"/>
                    <a:pt x="1750" y="4185"/>
                  </a:cubicBezTo>
                  <a:cubicBezTo>
                    <a:pt x="1877" y="4185"/>
                    <a:pt x="2010" y="4216"/>
                    <a:pt x="2142" y="4285"/>
                  </a:cubicBezTo>
                  <a:cubicBezTo>
                    <a:pt x="2204" y="4323"/>
                    <a:pt x="2272" y="4340"/>
                    <a:pt x="2338" y="4340"/>
                  </a:cubicBezTo>
                  <a:cubicBezTo>
                    <a:pt x="2439" y="4340"/>
                    <a:pt x="2539" y="4299"/>
                    <a:pt x="2615" y="4222"/>
                  </a:cubicBezTo>
                  <a:cubicBezTo>
                    <a:pt x="2741" y="4096"/>
                    <a:pt x="2772" y="3907"/>
                    <a:pt x="2709" y="3750"/>
                  </a:cubicBezTo>
                  <a:cubicBezTo>
                    <a:pt x="2438" y="3180"/>
                    <a:pt x="2867" y="2564"/>
                    <a:pt x="3434" y="2564"/>
                  </a:cubicBezTo>
                  <a:cubicBezTo>
                    <a:pt x="3526" y="2564"/>
                    <a:pt x="3621" y="2581"/>
                    <a:pt x="3718" y="2616"/>
                  </a:cubicBezTo>
                  <a:cubicBezTo>
                    <a:pt x="3764" y="2627"/>
                    <a:pt x="3814" y="2634"/>
                    <a:pt x="3866" y="2634"/>
                  </a:cubicBezTo>
                  <a:cubicBezTo>
                    <a:pt x="3955" y="2634"/>
                    <a:pt x="4047" y="2613"/>
                    <a:pt x="4127" y="2553"/>
                  </a:cubicBezTo>
                  <a:cubicBezTo>
                    <a:pt x="4222" y="2490"/>
                    <a:pt x="4285" y="2364"/>
                    <a:pt x="4285" y="2206"/>
                  </a:cubicBezTo>
                  <a:cubicBezTo>
                    <a:pt x="4253" y="1450"/>
                    <a:pt x="4820" y="883"/>
                    <a:pt x="5482" y="883"/>
                  </a:cubicBezTo>
                  <a:cubicBezTo>
                    <a:pt x="5702" y="883"/>
                    <a:pt x="5923" y="914"/>
                    <a:pt x="6112" y="1040"/>
                  </a:cubicBezTo>
                  <a:cubicBezTo>
                    <a:pt x="6175" y="1072"/>
                    <a:pt x="6246" y="1088"/>
                    <a:pt x="6321" y="1088"/>
                  </a:cubicBezTo>
                  <a:cubicBezTo>
                    <a:pt x="6396" y="1088"/>
                    <a:pt x="6474" y="1072"/>
                    <a:pt x="6553" y="1040"/>
                  </a:cubicBezTo>
                  <a:cubicBezTo>
                    <a:pt x="6742" y="914"/>
                    <a:pt x="6963" y="883"/>
                    <a:pt x="7183" y="883"/>
                  </a:cubicBezTo>
                  <a:close/>
                  <a:moveTo>
                    <a:pt x="5891" y="5861"/>
                  </a:moveTo>
                  <a:lnTo>
                    <a:pt x="5891" y="7530"/>
                  </a:lnTo>
                  <a:cubicBezTo>
                    <a:pt x="5230" y="7562"/>
                    <a:pt x="4600" y="7688"/>
                    <a:pt x="4064" y="7908"/>
                  </a:cubicBezTo>
                  <a:lnTo>
                    <a:pt x="3875" y="5861"/>
                  </a:lnTo>
                  <a:close/>
                  <a:moveTo>
                    <a:pt x="8758" y="5861"/>
                  </a:moveTo>
                  <a:lnTo>
                    <a:pt x="8569" y="7908"/>
                  </a:lnTo>
                  <a:cubicBezTo>
                    <a:pt x="8065" y="7719"/>
                    <a:pt x="7435" y="7562"/>
                    <a:pt x="6774" y="7530"/>
                  </a:cubicBezTo>
                  <a:lnTo>
                    <a:pt x="6774" y="5861"/>
                  </a:lnTo>
                  <a:close/>
                  <a:moveTo>
                    <a:pt x="6333" y="8350"/>
                  </a:moveTo>
                  <a:cubicBezTo>
                    <a:pt x="7971" y="8350"/>
                    <a:pt x="9199" y="9011"/>
                    <a:pt x="9199" y="9610"/>
                  </a:cubicBezTo>
                  <a:cubicBezTo>
                    <a:pt x="9199" y="10177"/>
                    <a:pt x="7971" y="10838"/>
                    <a:pt x="6333" y="10838"/>
                  </a:cubicBezTo>
                  <a:cubicBezTo>
                    <a:pt x="4663" y="10838"/>
                    <a:pt x="3466" y="10177"/>
                    <a:pt x="3466" y="9610"/>
                  </a:cubicBezTo>
                  <a:cubicBezTo>
                    <a:pt x="3466" y="9011"/>
                    <a:pt x="4663" y="8350"/>
                    <a:pt x="6333" y="8350"/>
                  </a:cubicBezTo>
                  <a:close/>
                  <a:moveTo>
                    <a:pt x="3056" y="5861"/>
                  </a:moveTo>
                  <a:lnTo>
                    <a:pt x="3277" y="8350"/>
                  </a:lnTo>
                  <a:cubicBezTo>
                    <a:pt x="2804" y="8696"/>
                    <a:pt x="2583" y="9137"/>
                    <a:pt x="2583" y="9578"/>
                  </a:cubicBezTo>
                  <a:cubicBezTo>
                    <a:pt x="2583" y="10114"/>
                    <a:pt x="2930" y="10586"/>
                    <a:pt x="3560" y="10996"/>
                  </a:cubicBezTo>
                  <a:lnTo>
                    <a:pt x="3812" y="13327"/>
                  </a:lnTo>
                  <a:lnTo>
                    <a:pt x="2867" y="13327"/>
                  </a:lnTo>
                  <a:cubicBezTo>
                    <a:pt x="2678" y="13327"/>
                    <a:pt x="2489" y="13170"/>
                    <a:pt x="2457" y="13012"/>
                  </a:cubicBezTo>
                  <a:lnTo>
                    <a:pt x="1040" y="5861"/>
                  </a:lnTo>
                  <a:close/>
                  <a:moveTo>
                    <a:pt x="4442" y="11374"/>
                  </a:moveTo>
                  <a:lnTo>
                    <a:pt x="4442" y="11374"/>
                  </a:lnTo>
                  <a:cubicBezTo>
                    <a:pt x="4852" y="11532"/>
                    <a:pt x="5387" y="11626"/>
                    <a:pt x="5891" y="11658"/>
                  </a:cubicBezTo>
                  <a:lnTo>
                    <a:pt x="5891" y="13296"/>
                  </a:lnTo>
                  <a:lnTo>
                    <a:pt x="4631" y="13296"/>
                  </a:lnTo>
                  <a:lnTo>
                    <a:pt x="4631" y="13327"/>
                  </a:lnTo>
                  <a:lnTo>
                    <a:pt x="4442" y="11374"/>
                  </a:lnTo>
                  <a:close/>
                  <a:moveTo>
                    <a:pt x="8191" y="11374"/>
                  </a:moveTo>
                  <a:lnTo>
                    <a:pt x="7971" y="13327"/>
                  </a:lnTo>
                  <a:lnTo>
                    <a:pt x="6711" y="13327"/>
                  </a:lnTo>
                  <a:lnTo>
                    <a:pt x="6711" y="11658"/>
                  </a:lnTo>
                  <a:cubicBezTo>
                    <a:pt x="7215" y="11626"/>
                    <a:pt x="7750" y="11532"/>
                    <a:pt x="8191" y="11374"/>
                  </a:cubicBezTo>
                  <a:close/>
                  <a:moveTo>
                    <a:pt x="11594" y="5861"/>
                  </a:moveTo>
                  <a:lnTo>
                    <a:pt x="10176" y="13012"/>
                  </a:lnTo>
                  <a:cubicBezTo>
                    <a:pt x="10145" y="13201"/>
                    <a:pt x="9987" y="13327"/>
                    <a:pt x="9798" y="13327"/>
                  </a:cubicBezTo>
                  <a:lnTo>
                    <a:pt x="8853" y="13327"/>
                  </a:lnTo>
                  <a:lnTo>
                    <a:pt x="9073" y="10996"/>
                  </a:lnTo>
                  <a:cubicBezTo>
                    <a:pt x="9704" y="10586"/>
                    <a:pt x="10050" y="10114"/>
                    <a:pt x="10050" y="9578"/>
                  </a:cubicBezTo>
                  <a:cubicBezTo>
                    <a:pt x="10050" y="9106"/>
                    <a:pt x="9830" y="8665"/>
                    <a:pt x="9357" y="8350"/>
                  </a:cubicBezTo>
                  <a:lnTo>
                    <a:pt x="9578" y="5861"/>
                  </a:lnTo>
                  <a:close/>
                  <a:moveTo>
                    <a:pt x="5513" y="1"/>
                  </a:moveTo>
                  <a:cubicBezTo>
                    <a:pt x="4474" y="1"/>
                    <a:pt x="3655" y="757"/>
                    <a:pt x="3497" y="1702"/>
                  </a:cubicBezTo>
                  <a:lnTo>
                    <a:pt x="3466" y="1702"/>
                  </a:lnTo>
                  <a:cubicBezTo>
                    <a:pt x="2552" y="1702"/>
                    <a:pt x="1796" y="2458"/>
                    <a:pt x="1796" y="3340"/>
                  </a:cubicBezTo>
                  <a:cubicBezTo>
                    <a:pt x="882" y="3340"/>
                    <a:pt x="158" y="4128"/>
                    <a:pt x="158" y="5042"/>
                  </a:cubicBezTo>
                  <a:cubicBezTo>
                    <a:pt x="158" y="5672"/>
                    <a:pt x="0" y="4600"/>
                    <a:pt x="1670" y="13170"/>
                  </a:cubicBezTo>
                  <a:cubicBezTo>
                    <a:pt x="1796" y="13737"/>
                    <a:pt x="2300" y="14146"/>
                    <a:pt x="2898" y="14146"/>
                  </a:cubicBezTo>
                  <a:lnTo>
                    <a:pt x="9830" y="14146"/>
                  </a:lnTo>
                  <a:cubicBezTo>
                    <a:pt x="10428" y="14146"/>
                    <a:pt x="10932" y="13705"/>
                    <a:pt x="11058" y="13170"/>
                  </a:cubicBezTo>
                  <a:cubicBezTo>
                    <a:pt x="12760" y="4600"/>
                    <a:pt x="12602" y="5672"/>
                    <a:pt x="12602" y="5042"/>
                  </a:cubicBezTo>
                  <a:cubicBezTo>
                    <a:pt x="12507" y="4600"/>
                    <a:pt x="12350" y="4191"/>
                    <a:pt x="12035" y="3876"/>
                  </a:cubicBezTo>
                  <a:cubicBezTo>
                    <a:pt x="11720" y="3561"/>
                    <a:pt x="11279" y="3340"/>
                    <a:pt x="10838" y="3340"/>
                  </a:cubicBezTo>
                  <a:cubicBezTo>
                    <a:pt x="10838" y="2432"/>
                    <a:pt x="10110" y="1698"/>
                    <a:pt x="9271" y="1698"/>
                  </a:cubicBezTo>
                  <a:cubicBezTo>
                    <a:pt x="9237" y="1698"/>
                    <a:pt x="9202" y="1700"/>
                    <a:pt x="9168" y="1702"/>
                  </a:cubicBezTo>
                  <a:cubicBezTo>
                    <a:pt x="8979" y="757"/>
                    <a:pt x="8128" y="1"/>
                    <a:pt x="7152" y="1"/>
                  </a:cubicBezTo>
                  <a:cubicBezTo>
                    <a:pt x="6868" y="1"/>
                    <a:pt x="6616" y="64"/>
                    <a:pt x="6333" y="190"/>
                  </a:cubicBezTo>
                  <a:cubicBezTo>
                    <a:pt x="6049" y="64"/>
                    <a:pt x="5765" y="1"/>
                    <a:pt x="55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87" name="Google Shape;7687;p75"/>
            <p:cNvSpPr/>
            <p:nvPr/>
          </p:nvSpPr>
          <p:spPr>
            <a:xfrm>
              <a:off x="-11640825" y="2592450"/>
              <a:ext cx="104775" cy="42550"/>
            </a:xfrm>
            <a:custGeom>
              <a:avLst/>
              <a:gdLst/>
              <a:ahLst/>
              <a:cxnLst/>
              <a:rect l="l" t="t" r="r" b="b"/>
              <a:pathLst>
                <a:path w="4191" h="1702" extrusionOk="0">
                  <a:moveTo>
                    <a:pt x="1292" y="1"/>
                  </a:moveTo>
                  <a:cubicBezTo>
                    <a:pt x="599" y="1"/>
                    <a:pt x="32" y="536"/>
                    <a:pt x="32" y="1261"/>
                  </a:cubicBezTo>
                  <a:cubicBezTo>
                    <a:pt x="0" y="1544"/>
                    <a:pt x="189" y="1702"/>
                    <a:pt x="410" y="1702"/>
                  </a:cubicBezTo>
                  <a:cubicBezTo>
                    <a:pt x="662" y="1702"/>
                    <a:pt x="851" y="1481"/>
                    <a:pt x="851" y="1261"/>
                  </a:cubicBezTo>
                  <a:cubicBezTo>
                    <a:pt x="851" y="1009"/>
                    <a:pt x="1040" y="820"/>
                    <a:pt x="1292" y="820"/>
                  </a:cubicBezTo>
                  <a:cubicBezTo>
                    <a:pt x="1512" y="820"/>
                    <a:pt x="1670" y="1009"/>
                    <a:pt x="1670" y="1261"/>
                  </a:cubicBezTo>
                  <a:cubicBezTo>
                    <a:pt x="1670" y="1481"/>
                    <a:pt x="1859" y="1702"/>
                    <a:pt x="2111" y="1702"/>
                  </a:cubicBezTo>
                  <a:cubicBezTo>
                    <a:pt x="2332" y="1702"/>
                    <a:pt x="2489" y="1481"/>
                    <a:pt x="2489" y="1261"/>
                  </a:cubicBezTo>
                  <a:cubicBezTo>
                    <a:pt x="2489" y="1009"/>
                    <a:pt x="2710" y="820"/>
                    <a:pt x="2930" y="820"/>
                  </a:cubicBezTo>
                  <a:cubicBezTo>
                    <a:pt x="3182" y="820"/>
                    <a:pt x="3371" y="1009"/>
                    <a:pt x="3371" y="1261"/>
                  </a:cubicBezTo>
                  <a:cubicBezTo>
                    <a:pt x="3371" y="1481"/>
                    <a:pt x="3560" y="1702"/>
                    <a:pt x="3749" y="1702"/>
                  </a:cubicBezTo>
                  <a:cubicBezTo>
                    <a:pt x="3970" y="1702"/>
                    <a:pt x="4190" y="1481"/>
                    <a:pt x="4190" y="1261"/>
                  </a:cubicBezTo>
                  <a:cubicBezTo>
                    <a:pt x="4190" y="599"/>
                    <a:pt x="3655" y="1"/>
                    <a:pt x="2930" y="1"/>
                  </a:cubicBezTo>
                  <a:cubicBezTo>
                    <a:pt x="2615" y="1"/>
                    <a:pt x="2332" y="127"/>
                    <a:pt x="2111" y="316"/>
                  </a:cubicBezTo>
                  <a:cubicBezTo>
                    <a:pt x="1859" y="127"/>
                    <a:pt x="1607" y="1"/>
                    <a:pt x="12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688" name="Google Shape;7688;p75"/>
          <p:cNvGrpSpPr/>
          <p:nvPr/>
        </p:nvGrpSpPr>
        <p:grpSpPr>
          <a:xfrm>
            <a:off x="7072837" y="3706026"/>
            <a:ext cx="454409" cy="454409"/>
            <a:chOff x="-10027775" y="1622900"/>
            <a:chExt cx="352875" cy="352875"/>
          </a:xfrm>
        </p:grpSpPr>
        <p:sp>
          <p:nvSpPr>
            <p:cNvPr id="7689" name="Google Shape;7689;p75"/>
            <p:cNvSpPr/>
            <p:nvPr/>
          </p:nvSpPr>
          <p:spPr>
            <a:xfrm>
              <a:off x="-10027775" y="1622900"/>
              <a:ext cx="352875" cy="352875"/>
            </a:xfrm>
            <a:custGeom>
              <a:avLst/>
              <a:gdLst/>
              <a:ahLst/>
              <a:cxnLst/>
              <a:rect l="l" t="t" r="r" b="b"/>
              <a:pathLst>
                <a:path w="14115" h="14115" extrusionOk="0">
                  <a:moveTo>
                    <a:pt x="12067" y="819"/>
                  </a:moveTo>
                  <a:cubicBezTo>
                    <a:pt x="12287" y="819"/>
                    <a:pt x="12476" y="1008"/>
                    <a:pt x="12476" y="1197"/>
                  </a:cubicBezTo>
                  <a:cubicBezTo>
                    <a:pt x="12476" y="1449"/>
                    <a:pt x="12287" y="1638"/>
                    <a:pt x="12067" y="1638"/>
                  </a:cubicBezTo>
                  <a:lnTo>
                    <a:pt x="2080" y="1638"/>
                  </a:lnTo>
                  <a:cubicBezTo>
                    <a:pt x="1859" y="1638"/>
                    <a:pt x="1702" y="1449"/>
                    <a:pt x="1702" y="1197"/>
                  </a:cubicBezTo>
                  <a:cubicBezTo>
                    <a:pt x="1702" y="977"/>
                    <a:pt x="1891" y="819"/>
                    <a:pt x="2080" y="819"/>
                  </a:cubicBezTo>
                  <a:close/>
                  <a:moveTo>
                    <a:pt x="11657" y="2458"/>
                  </a:moveTo>
                  <a:lnTo>
                    <a:pt x="11657" y="4285"/>
                  </a:lnTo>
                  <a:lnTo>
                    <a:pt x="10239" y="4978"/>
                  </a:lnTo>
                  <a:cubicBezTo>
                    <a:pt x="10082" y="5072"/>
                    <a:pt x="10019" y="5199"/>
                    <a:pt x="10019" y="5356"/>
                  </a:cubicBezTo>
                  <a:cubicBezTo>
                    <a:pt x="10019" y="5514"/>
                    <a:pt x="10082" y="5671"/>
                    <a:pt x="10239" y="5703"/>
                  </a:cubicBezTo>
                  <a:lnTo>
                    <a:pt x="11657" y="6396"/>
                  </a:lnTo>
                  <a:lnTo>
                    <a:pt x="11657" y="11562"/>
                  </a:lnTo>
                  <a:lnTo>
                    <a:pt x="2521" y="11562"/>
                  </a:lnTo>
                  <a:lnTo>
                    <a:pt x="2521" y="9704"/>
                  </a:lnTo>
                  <a:lnTo>
                    <a:pt x="3938" y="9011"/>
                  </a:lnTo>
                  <a:cubicBezTo>
                    <a:pt x="4096" y="8916"/>
                    <a:pt x="4191" y="8822"/>
                    <a:pt x="4191" y="8664"/>
                  </a:cubicBezTo>
                  <a:cubicBezTo>
                    <a:pt x="4191" y="8475"/>
                    <a:pt x="4096" y="8349"/>
                    <a:pt x="3938" y="8286"/>
                  </a:cubicBezTo>
                  <a:lnTo>
                    <a:pt x="2521" y="7593"/>
                  </a:lnTo>
                  <a:lnTo>
                    <a:pt x="2521" y="2458"/>
                  </a:lnTo>
                  <a:close/>
                  <a:moveTo>
                    <a:pt x="12098" y="12382"/>
                  </a:moveTo>
                  <a:cubicBezTo>
                    <a:pt x="12319" y="12382"/>
                    <a:pt x="12539" y="12602"/>
                    <a:pt x="12539" y="12823"/>
                  </a:cubicBezTo>
                  <a:cubicBezTo>
                    <a:pt x="12476" y="13075"/>
                    <a:pt x="12287" y="13264"/>
                    <a:pt x="12098" y="13264"/>
                  </a:cubicBezTo>
                  <a:lnTo>
                    <a:pt x="2143" y="13264"/>
                  </a:lnTo>
                  <a:cubicBezTo>
                    <a:pt x="1891" y="13264"/>
                    <a:pt x="1733" y="13075"/>
                    <a:pt x="1733" y="12823"/>
                  </a:cubicBezTo>
                  <a:cubicBezTo>
                    <a:pt x="1733" y="12602"/>
                    <a:pt x="1922" y="12382"/>
                    <a:pt x="2143" y="12382"/>
                  </a:cubicBezTo>
                  <a:close/>
                  <a:moveTo>
                    <a:pt x="2080" y="0"/>
                  </a:moveTo>
                  <a:cubicBezTo>
                    <a:pt x="1544" y="0"/>
                    <a:pt x="1103" y="347"/>
                    <a:pt x="914" y="819"/>
                  </a:cubicBezTo>
                  <a:lnTo>
                    <a:pt x="441" y="819"/>
                  </a:lnTo>
                  <a:cubicBezTo>
                    <a:pt x="189" y="819"/>
                    <a:pt x="0" y="1008"/>
                    <a:pt x="0" y="1197"/>
                  </a:cubicBezTo>
                  <a:cubicBezTo>
                    <a:pt x="0" y="1418"/>
                    <a:pt x="189" y="1638"/>
                    <a:pt x="441" y="1638"/>
                  </a:cubicBezTo>
                  <a:lnTo>
                    <a:pt x="914" y="1638"/>
                  </a:lnTo>
                  <a:cubicBezTo>
                    <a:pt x="1040" y="1985"/>
                    <a:pt x="1292" y="2269"/>
                    <a:pt x="1670" y="2395"/>
                  </a:cubicBezTo>
                  <a:lnTo>
                    <a:pt x="1670" y="7876"/>
                  </a:lnTo>
                  <a:cubicBezTo>
                    <a:pt x="1670" y="8034"/>
                    <a:pt x="1733" y="8191"/>
                    <a:pt x="1891" y="8223"/>
                  </a:cubicBezTo>
                  <a:lnTo>
                    <a:pt x="2804" y="8696"/>
                  </a:lnTo>
                  <a:lnTo>
                    <a:pt x="1891" y="9168"/>
                  </a:lnTo>
                  <a:cubicBezTo>
                    <a:pt x="1733" y="9231"/>
                    <a:pt x="1670" y="9357"/>
                    <a:pt x="1670" y="9515"/>
                  </a:cubicBezTo>
                  <a:lnTo>
                    <a:pt x="1670" y="11689"/>
                  </a:lnTo>
                  <a:cubicBezTo>
                    <a:pt x="1292" y="11815"/>
                    <a:pt x="1040" y="12067"/>
                    <a:pt x="914" y="12445"/>
                  </a:cubicBezTo>
                  <a:lnTo>
                    <a:pt x="441" y="12445"/>
                  </a:lnTo>
                  <a:cubicBezTo>
                    <a:pt x="189" y="12445"/>
                    <a:pt x="0" y="12634"/>
                    <a:pt x="0" y="12854"/>
                  </a:cubicBezTo>
                  <a:cubicBezTo>
                    <a:pt x="0" y="13106"/>
                    <a:pt x="189" y="13295"/>
                    <a:pt x="441" y="13295"/>
                  </a:cubicBezTo>
                  <a:lnTo>
                    <a:pt x="914" y="13295"/>
                  </a:lnTo>
                  <a:cubicBezTo>
                    <a:pt x="1072" y="13768"/>
                    <a:pt x="1544" y="14114"/>
                    <a:pt x="2080" y="14114"/>
                  </a:cubicBezTo>
                  <a:lnTo>
                    <a:pt x="12067" y="14114"/>
                  </a:lnTo>
                  <a:cubicBezTo>
                    <a:pt x="12602" y="14114"/>
                    <a:pt x="13043" y="13768"/>
                    <a:pt x="13232" y="13295"/>
                  </a:cubicBezTo>
                  <a:lnTo>
                    <a:pt x="13705" y="13295"/>
                  </a:lnTo>
                  <a:cubicBezTo>
                    <a:pt x="13957" y="13295"/>
                    <a:pt x="14115" y="13106"/>
                    <a:pt x="14115" y="12854"/>
                  </a:cubicBezTo>
                  <a:cubicBezTo>
                    <a:pt x="14115" y="12634"/>
                    <a:pt x="13894" y="12445"/>
                    <a:pt x="13705" y="12445"/>
                  </a:cubicBezTo>
                  <a:lnTo>
                    <a:pt x="13232" y="12445"/>
                  </a:lnTo>
                  <a:cubicBezTo>
                    <a:pt x="13106" y="12067"/>
                    <a:pt x="12854" y="11815"/>
                    <a:pt x="12476" y="11689"/>
                  </a:cubicBezTo>
                  <a:lnTo>
                    <a:pt x="12476" y="6207"/>
                  </a:lnTo>
                  <a:cubicBezTo>
                    <a:pt x="12476" y="6049"/>
                    <a:pt x="12413" y="5892"/>
                    <a:pt x="12256" y="5860"/>
                  </a:cubicBezTo>
                  <a:lnTo>
                    <a:pt x="11342" y="5388"/>
                  </a:lnTo>
                  <a:lnTo>
                    <a:pt x="12256" y="4915"/>
                  </a:lnTo>
                  <a:cubicBezTo>
                    <a:pt x="12413" y="4883"/>
                    <a:pt x="12476" y="4726"/>
                    <a:pt x="12476" y="4568"/>
                  </a:cubicBezTo>
                  <a:lnTo>
                    <a:pt x="12476" y="2395"/>
                  </a:lnTo>
                  <a:cubicBezTo>
                    <a:pt x="12854" y="2269"/>
                    <a:pt x="13106" y="1985"/>
                    <a:pt x="13232" y="1638"/>
                  </a:cubicBezTo>
                  <a:lnTo>
                    <a:pt x="13705" y="1638"/>
                  </a:lnTo>
                  <a:cubicBezTo>
                    <a:pt x="13957" y="1638"/>
                    <a:pt x="14115" y="1449"/>
                    <a:pt x="14115" y="1197"/>
                  </a:cubicBezTo>
                  <a:cubicBezTo>
                    <a:pt x="14115" y="977"/>
                    <a:pt x="13894" y="819"/>
                    <a:pt x="13705" y="819"/>
                  </a:cubicBezTo>
                  <a:lnTo>
                    <a:pt x="13232" y="819"/>
                  </a:lnTo>
                  <a:cubicBezTo>
                    <a:pt x="13075" y="347"/>
                    <a:pt x="12602" y="0"/>
                    <a:pt x="1206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0" name="Google Shape;7690;p75"/>
            <p:cNvSpPr/>
            <p:nvPr/>
          </p:nvSpPr>
          <p:spPr>
            <a:xfrm>
              <a:off x="-9923800" y="1705600"/>
              <a:ext cx="145725" cy="20500"/>
            </a:xfrm>
            <a:custGeom>
              <a:avLst/>
              <a:gdLst/>
              <a:ahLst/>
              <a:cxnLst/>
              <a:rect l="l" t="t" r="r" b="b"/>
              <a:pathLst>
                <a:path w="5829" h="820" extrusionOk="0">
                  <a:moveTo>
                    <a:pt x="410" y="0"/>
                  </a:moveTo>
                  <a:cubicBezTo>
                    <a:pt x="189" y="0"/>
                    <a:pt x="0" y="189"/>
                    <a:pt x="0" y="410"/>
                  </a:cubicBezTo>
                  <a:cubicBezTo>
                    <a:pt x="32" y="630"/>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1" name="Google Shape;7691;p75"/>
            <p:cNvSpPr/>
            <p:nvPr/>
          </p:nvSpPr>
          <p:spPr>
            <a:xfrm>
              <a:off x="-9902550" y="1746550"/>
              <a:ext cx="83525" cy="20500"/>
            </a:xfrm>
            <a:custGeom>
              <a:avLst/>
              <a:gdLst/>
              <a:ahLst/>
              <a:cxnLst/>
              <a:rect l="l" t="t" r="r" b="b"/>
              <a:pathLst>
                <a:path w="3341" h="820" extrusionOk="0">
                  <a:moveTo>
                    <a:pt x="379" y="0"/>
                  </a:moveTo>
                  <a:cubicBezTo>
                    <a:pt x="158" y="0"/>
                    <a:pt x="1" y="190"/>
                    <a:pt x="1" y="410"/>
                  </a:cubicBezTo>
                  <a:cubicBezTo>
                    <a:pt x="1" y="631"/>
                    <a:pt x="190" y="820"/>
                    <a:pt x="379" y="820"/>
                  </a:cubicBezTo>
                  <a:lnTo>
                    <a:pt x="2899" y="820"/>
                  </a:lnTo>
                  <a:cubicBezTo>
                    <a:pt x="3151" y="820"/>
                    <a:pt x="3340" y="631"/>
                    <a:pt x="3340" y="410"/>
                  </a:cubicBezTo>
                  <a:cubicBezTo>
                    <a:pt x="3340" y="158"/>
                    <a:pt x="3151" y="0"/>
                    <a:pt x="2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2" name="Google Shape;7692;p75"/>
            <p:cNvSpPr/>
            <p:nvPr/>
          </p:nvSpPr>
          <p:spPr>
            <a:xfrm>
              <a:off x="-9923800" y="1788300"/>
              <a:ext cx="145725" cy="20500"/>
            </a:xfrm>
            <a:custGeom>
              <a:avLst/>
              <a:gdLst/>
              <a:ahLst/>
              <a:cxnLst/>
              <a:rect l="l" t="t" r="r" b="b"/>
              <a:pathLst>
                <a:path w="5829" h="820" extrusionOk="0">
                  <a:moveTo>
                    <a:pt x="410" y="0"/>
                  </a:moveTo>
                  <a:cubicBezTo>
                    <a:pt x="189" y="0"/>
                    <a:pt x="0" y="189"/>
                    <a:pt x="0" y="410"/>
                  </a:cubicBezTo>
                  <a:cubicBezTo>
                    <a:pt x="32" y="662"/>
                    <a:pt x="221" y="819"/>
                    <a:pt x="410" y="819"/>
                  </a:cubicBezTo>
                  <a:lnTo>
                    <a:pt x="5419" y="819"/>
                  </a:lnTo>
                  <a:cubicBezTo>
                    <a:pt x="5671" y="819"/>
                    <a:pt x="5828" y="630"/>
                    <a:pt x="5828" y="410"/>
                  </a:cubicBezTo>
                  <a:cubicBezTo>
                    <a:pt x="5828" y="189"/>
                    <a:pt x="5608"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3" name="Google Shape;7693;p75"/>
            <p:cNvSpPr/>
            <p:nvPr/>
          </p:nvSpPr>
          <p:spPr>
            <a:xfrm>
              <a:off x="-9901750" y="1828450"/>
              <a:ext cx="83500" cy="21300"/>
            </a:xfrm>
            <a:custGeom>
              <a:avLst/>
              <a:gdLst/>
              <a:ahLst/>
              <a:cxnLst/>
              <a:rect l="l" t="t" r="r" b="b"/>
              <a:pathLst>
                <a:path w="3340" h="852" extrusionOk="0">
                  <a:moveTo>
                    <a:pt x="410" y="1"/>
                  </a:moveTo>
                  <a:cubicBezTo>
                    <a:pt x="158" y="1"/>
                    <a:pt x="0" y="190"/>
                    <a:pt x="0" y="442"/>
                  </a:cubicBezTo>
                  <a:cubicBezTo>
                    <a:pt x="0" y="663"/>
                    <a:pt x="189" y="852"/>
                    <a:pt x="410" y="852"/>
                  </a:cubicBezTo>
                  <a:lnTo>
                    <a:pt x="2930" y="852"/>
                  </a:lnTo>
                  <a:cubicBezTo>
                    <a:pt x="3151" y="852"/>
                    <a:pt x="3340" y="663"/>
                    <a:pt x="3340" y="442"/>
                  </a:cubicBezTo>
                  <a:cubicBezTo>
                    <a:pt x="3340" y="190"/>
                    <a:pt x="3151" y="1"/>
                    <a:pt x="29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4" name="Google Shape;7694;p75"/>
            <p:cNvSpPr/>
            <p:nvPr/>
          </p:nvSpPr>
          <p:spPr>
            <a:xfrm>
              <a:off x="-9923025" y="1871000"/>
              <a:ext cx="145725" cy="20500"/>
            </a:xfrm>
            <a:custGeom>
              <a:avLst/>
              <a:gdLst/>
              <a:ahLst/>
              <a:cxnLst/>
              <a:rect l="l" t="t" r="r" b="b"/>
              <a:pathLst>
                <a:path w="5829" h="820" extrusionOk="0">
                  <a:moveTo>
                    <a:pt x="410" y="0"/>
                  </a:moveTo>
                  <a:cubicBezTo>
                    <a:pt x="190" y="0"/>
                    <a:pt x="1" y="189"/>
                    <a:pt x="1" y="378"/>
                  </a:cubicBezTo>
                  <a:cubicBezTo>
                    <a:pt x="1" y="630"/>
                    <a:pt x="190" y="819"/>
                    <a:pt x="410" y="819"/>
                  </a:cubicBezTo>
                  <a:lnTo>
                    <a:pt x="5419" y="819"/>
                  </a:lnTo>
                  <a:cubicBezTo>
                    <a:pt x="5671" y="819"/>
                    <a:pt x="5829" y="630"/>
                    <a:pt x="5829" y="378"/>
                  </a:cubicBezTo>
                  <a:cubicBezTo>
                    <a:pt x="5829" y="189"/>
                    <a:pt x="5671" y="0"/>
                    <a:pt x="54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695" name="Google Shape;7695;p75"/>
          <p:cNvSpPr/>
          <p:nvPr/>
        </p:nvSpPr>
        <p:spPr>
          <a:xfrm>
            <a:off x="7081963" y="4249163"/>
            <a:ext cx="436155" cy="455664"/>
          </a:xfrm>
          <a:custGeom>
            <a:avLst/>
            <a:gdLst/>
            <a:ahLst/>
            <a:cxnLst/>
            <a:rect l="l" t="t" r="r" b="b"/>
            <a:pathLst>
              <a:path w="13548" h="14154" extrusionOk="0">
                <a:moveTo>
                  <a:pt x="6774" y="914"/>
                </a:moveTo>
                <a:cubicBezTo>
                  <a:pt x="7215" y="914"/>
                  <a:pt x="7593" y="1324"/>
                  <a:pt x="7593" y="1797"/>
                </a:cubicBezTo>
                <a:cubicBezTo>
                  <a:pt x="7593" y="2238"/>
                  <a:pt x="7247" y="2616"/>
                  <a:pt x="6774" y="2616"/>
                </a:cubicBezTo>
                <a:cubicBezTo>
                  <a:pt x="6301" y="2616"/>
                  <a:pt x="5955" y="2238"/>
                  <a:pt x="5955" y="1797"/>
                </a:cubicBezTo>
                <a:cubicBezTo>
                  <a:pt x="5955" y="1324"/>
                  <a:pt x="6333" y="914"/>
                  <a:pt x="6774" y="914"/>
                </a:cubicBezTo>
                <a:close/>
                <a:moveTo>
                  <a:pt x="1400" y="2610"/>
                </a:moveTo>
                <a:cubicBezTo>
                  <a:pt x="1427" y="2610"/>
                  <a:pt x="1454" y="2612"/>
                  <a:pt x="1481" y="2616"/>
                </a:cubicBezTo>
                <a:lnTo>
                  <a:pt x="4222" y="3151"/>
                </a:lnTo>
                <a:lnTo>
                  <a:pt x="3151" y="3781"/>
                </a:lnTo>
                <a:cubicBezTo>
                  <a:pt x="3119" y="3750"/>
                  <a:pt x="3245" y="3781"/>
                  <a:pt x="1324" y="3403"/>
                </a:cubicBezTo>
                <a:cubicBezTo>
                  <a:pt x="1072" y="3372"/>
                  <a:pt x="946" y="3120"/>
                  <a:pt x="1009" y="2931"/>
                </a:cubicBezTo>
                <a:cubicBezTo>
                  <a:pt x="1036" y="2710"/>
                  <a:pt x="1209" y="2610"/>
                  <a:pt x="1400" y="2610"/>
                </a:cubicBezTo>
                <a:close/>
                <a:moveTo>
                  <a:pt x="5502" y="3443"/>
                </a:moveTo>
                <a:cubicBezTo>
                  <a:pt x="5553" y="3443"/>
                  <a:pt x="5608" y="3451"/>
                  <a:pt x="5671" y="3466"/>
                </a:cubicBezTo>
                <a:cubicBezTo>
                  <a:pt x="5860" y="3561"/>
                  <a:pt x="5923" y="3624"/>
                  <a:pt x="5955" y="3907"/>
                </a:cubicBezTo>
                <a:cubicBezTo>
                  <a:pt x="5986" y="4254"/>
                  <a:pt x="5923" y="5766"/>
                  <a:pt x="7089" y="7278"/>
                </a:cubicBezTo>
                <a:cubicBezTo>
                  <a:pt x="7175" y="7385"/>
                  <a:pt x="7304" y="7449"/>
                  <a:pt x="7427" y="7449"/>
                </a:cubicBezTo>
                <a:cubicBezTo>
                  <a:pt x="7486" y="7449"/>
                  <a:pt x="7543" y="7435"/>
                  <a:pt x="7593" y="7404"/>
                </a:cubicBezTo>
                <a:lnTo>
                  <a:pt x="11972" y="5168"/>
                </a:lnTo>
                <a:cubicBezTo>
                  <a:pt x="12030" y="5129"/>
                  <a:pt x="12094" y="5111"/>
                  <a:pt x="12158" y="5111"/>
                </a:cubicBezTo>
                <a:cubicBezTo>
                  <a:pt x="12304" y="5111"/>
                  <a:pt x="12452" y="5204"/>
                  <a:pt x="12539" y="5357"/>
                </a:cubicBezTo>
                <a:cubicBezTo>
                  <a:pt x="12634" y="5577"/>
                  <a:pt x="12571" y="5798"/>
                  <a:pt x="12319" y="5924"/>
                </a:cubicBezTo>
                <a:lnTo>
                  <a:pt x="7499" y="8444"/>
                </a:lnTo>
                <a:cubicBezTo>
                  <a:pt x="7404" y="8476"/>
                  <a:pt x="7562" y="8350"/>
                  <a:pt x="5388" y="10366"/>
                </a:cubicBezTo>
                <a:cubicBezTo>
                  <a:pt x="5293" y="10492"/>
                  <a:pt x="5230" y="10712"/>
                  <a:pt x="5325" y="10870"/>
                </a:cubicBezTo>
                <a:lnTo>
                  <a:pt x="6396" y="12823"/>
                </a:lnTo>
                <a:cubicBezTo>
                  <a:pt x="6490" y="13012"/>
                  <a:pt x="6427" y="13233"/>
                  <a:pt x="6238" y="13359"/>
                </a:cubicBezTo>
                <a:cubicBezTo>
                  <a:pt x="6169" y="13398"/>
                  <a:pt x="6100" y="13416"/>
                  <a:pt x="6034" y="13416"/>
                </a:cubicBezTo>
                <a:cubicBezTo>
                  <a:pt x="5889" y="13416"/>
                  <a:pt x="5758" y="13331"/>
                  <a:pt x="5671" y="13201"/>
                </a:cubicBezTo>
                <a:lnTo>
                  <a:pt x="4285" y="10681"/>
                </a:lnTo>
                <a:cubicBezTo>
                  <a:pt x="4222" y="10523"/>
                  <a:pt x="4222" y="10334"/>
                  <a:pt x="4380" y="10177"/>
                </a:cubicBezTo>
                <a:lnTo>
                  <a:pt x="6333" y="8318"/>
                </a:lnTo>
                <a:cubicBezTo>
                  <a:pt x="6490" y="8161"/>
                  <a:pt x="6490" y="7940"/>
                  <a:pt x="6396" y="7783"/>
                </a:cubicBezTo>
                <a:cubicBezTo>
                  <a:pt x="5797" y="6995"/>
                  <a:pt x="5388" y="6050"/>
                  <a:pt x="5199" y="5042"/>
                </a:cubicBezTo>
                <a:cubicBezTo>
                  <a:pt x="5176" y="4859"/>
                  <a:pt x="4988" y="4727"/>
                  <a:pt x="4791" y="4727"/>
                </a:cubicBezTo>
                <a:cubicBezTo>
                  <a:pt x="4715" y="4727"/>
                  <a:pt x="4638" y="4746"/>
                  <a:pt x="4569" y="4790"/>
                </a:cubicBezTo>
                <a:cubicBezTo>
                  <a:pt x="4128" y="5042"/>
                  <a:pt x="4600" y="4727"/>
                  <a:pt x="1544" y="6743"/>
                </a:cubicBezTo>
                <a:cubicBezTo>
                  <a:pt x="1493" y="6768"/>
                  <a:pt x="1438" y="6780"/>
                  <a:pt x="1382" y="6780"/>
                </a:cubicBezTo>
                <a:cubicBezTo>
                  <a:pt x="1229" y="6780"/>
                  <a:pt x="1069" y="6692"/>
                  <a:pt x="977" y="6554"/>
                </a:cubicBezTo>
                <a:cubicBezTo>
                  <a:pt x="946" y="6270"/>
                  <a:pt x="1040" y="6050"/>
                  <a:pt x="1229" y="5955"/>
                </a:cubicBezTo>
                <a:cubicBezTo>
                  <a:pt x="1261" y="5955"/>
                  <a:pt x="5356" y="3466"/>
                  <a:pt x="5356" y="3466"/>
                </a:cubicBezTo>
                <a:cubicBezTo>
                  <a:pt x="5403" y="3451"/>
                  <a:pt x="5451" y="3443"/>
                  <a:pt x="5502" y="3443"/>
                </a:cubicBezTo>
                <a:close/>
                <a:moveTo>
                  <a:pt x="6774" y="1"/>
                </a:moveTo>
                <a:cubicBezTo>
                  <a:pt x="5892" y="1"/>
                  <a:pt x="5136" y="788"/>
                  <a:pt x="5136" y="1702"/>
                </a:cubicBezTo>
                <a:cubicBezTo>
                  <a:pt x="5136" y="1986"/>
                  <a:pt x="5199" y="2206"/>
                  <a:pt x="5325" y="2458"/>
                </a:cubicBezTo>
                <a:lnTo>
                  <a:pt x="1670" y="1702"/>
                </a:lnTo>
                <a:cubicBezTo>
                  <a:pt x="1594" y="1688"/>
                  <a:pt x="1517" y="1681"/>
                  <a:pt x="1441" y="1681"/>
                </a:cubicBezTo>
                <a:cubicBezTo>
                  <a:pt x="857" y="1681"/>
                  <a:pt x="305" y="2093"/>
                  <a:pt x="221" y="2679"/>
                </a:cubicBezTo>
                <a:cubicBezTo>
                  <a:pt x="95" y="3372"/>
                  <a:pt x="536" y="4033"/>
                  <a:pt x="1198" y="4159"/>
                </a:cubicBezTo>
                <a:lnTo>
                  <a:pt x="2174" y="4349"/>
                </a:lnTo>
                <a:lnTo>
                  <a:pt x="883" y="5136"/>
                </a:lnTo>
                <a:cubicBezTo>
                  <a:pt x="252" y="5514"/>
                  <a:pt x="0" y="6239"/>
                  <a:pt x="284" y="6869"/>
                </a:cubicBezTo>
                <a:cubicBezTo>
                  <a:pt x="512" y="7326"/>
                  <a:pt x="974" y="7536"/>
                  <a:pt x="1397" y="7536"/>
                </a:cubicBezTo>
                <a:cubicBezTo>
                  <a:pt x="1616" y="7536"/>
                  <a:pt x="1824" y="7480"/>
                  <a:pt x="1985" y="7373"/>
                </a:cubicBezTo>
                <a:lnTo>
                  <a:pt x="4506" y="5735"/>
                </a:lnTo>
                <a:cubicBezTo>
                  <a:pt x="4695" y="6522"/>
                  <a:pt x="5041" y="7215"/>
                  <a:pt x="5482" y="7877"/>
                </a:cubicBezTo>
                <a:lnTo>
                  <a:pt x="3781" y="9515"/>
                </a:lnTo>
                <a:cubicBezTo>
                  <a:pt x="3403" y="9893"/>
                  <a:pt x="3277" y="10523"/>
                  <a:pt x="3560" y="10996"/>
                </a:cubicBezTo>
                <a:lnTo>
                  <a:pt x="4947" y="13516"/>
                </a:lnTo>
                <a:cubicBezTo>
                  <a:pt x="5181" y="13922"/>
                  <a:pt x="5604" y="14154"/>
                  <a:pt x="6028" y="14154"/>
                </a:cubicBezTo>
                <a:cubicBezTo>
                  <a:pt x="6230" y="14154"/>
                  <a:pt x="6433" y="14101"/>
                  <a:pt x="6616" y="13989"/>
                </a:cubicBezTo>
                <a:cubicBezTo>
                  <a:pt x="7215" y="13642"/>
                  <a:pt x="7467" y="12886"/>
                  <a:pt x="7089" y="12288"/>
                </a:cubicBezTo>
                <a:lnTo>
                  <a:pt x="6207" y="10649"/>
                </a:lnTo>
                <a:lnTo>
                  <a:pt x="7877" y="9043"/>
                </a:lnTo>
                <a:lnTo>
                  <a:pt x="12697" y="6554"/>
                </a:lnTo>
                <a:cubicBezTo>
                  <a:pt x="13295" y="6239"/>
                  <a:pt x="13548" y="5483"/>
                  <a:pt x="13232" y="4884"/>
                </a:cubicBezTo>
                <a:cubicBezTo>
                  <a:pt x="13014" y="4446"/>
                  <a:pt x="12597" y="4206"/>
                  <a:pt x="12162" y="4206"/>
                </a:cubicBezTo>
                <a:cubicBezTo>
                  <a:pt x="11971" y="4206"/>
                  <a:pt x="11777" y="4252"/>
                  <a:pt x="11594" y="4349"/>
                </a:cubicBezTo>
                <a:lnTo>
                  <a:pt x="7530" y="6428"/>
                </a:lnTo>
                <a:cubicBezTo>
                  <a:pt x="6679" y="5136"/>
                  <a:pt x="6837" y="3907"/>
                  <a:pt x="6774" y="3750"/>
                </a:cubicBezTo>
                <a:cubicBezTo>
                  <a:pt x="6774" y="3687"/>
                  <a:pt x="6774" y="3529"/>
                  <a:pt x="6711" y="3372"/>
                </a:cubicBezTo>
                <a:lnTo>
                  <a:pt x="6774" y="3372"/>
                </a:lnTo>
                <a:cubicBezTo>
                  <a:pt x="7688" y="3372"/>
                  <a:pt x="8444" y="2616"/>
                  <a:pt x="8444" y="1702"/>
                </a:cubicBezTo>
                <a:cubicBezTo>
                  <a:pt x="8444" y="788"/>
                  <a:pt x="7688"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696" name="Google Shape;7696;p75"/>
          <p:cNvGrpSpPr/>
          <p:nvPr/>
        </p:nvGrpSpPr>
        <p:grpSpPr>
          <a:xfrm>
            <a:off x="10708794" y="3740244"/>
            <a:ext cx="430071" cy="456437"/>
            <a:chOff x="-10019125" y="2490075"/>
            <a:chExt cx="333975" cy="354450"/>
          </a:xfrm>
        </p:grpSpPr>
        <p:sp>
          <p:nvSpPr>
            <p:cNvPr id="7697" name="Google Shape;7697;p75"/>
            <p:cNvSpPr/>
            <p:nvPr/>
          </p:nvSpPr>
          <p:spPr>
            <a:xfrm>
              <a:off x="-10019125" y="2490850"/>
              <a:ext cx="333975" cy="353675"/>
            </a:xfrm>
            <a:custGeom>
              <a:avLst/>
              <a:gdLst/>
              <a:ahLst/>
              <a:cxnLst/>
              <a:rect l="l" t="t" r="r" b="b"/>
              <a:pathLst>
                <a:path w="13359" h="14147" extrusionOk="0">
                  <a:moveTo>
                    <a:pt x="7184" y="1670"/>
                  </a:moveTo>
                  <a:cubicBezTo>
                    <a:pt x="7405" y="1670"/>
                    <a:pt x="7625" y="1859"/>
                    <a:pt x="7625" y="2048"/>
                  </a:cubicBezTo>
                  <a:lnTo>
                    <a:pt x="7625" y="4191"/>
                  </a:lnTo>
                  <a:cubicBezTo>
                    <a:pt x="7499" y="4128"/>
                    <a:pt x="7342" y="4096"/>
                    <a:pt x="7184" y="4096"/>
                  </a:cubicBezTo>
                  <a:cubicBezTo>
                    <a:pt x="7027" y="4096"/>
                    <a:pt x="6900" y="4128"/>
                    <a:pt x="6743" y="4191"/>
                  </a:cubicBezTo>
                  <a:lnTo>
                    <a:pt x="6743" y="2048"/>
                  </a:lnTo>
                  <a:cubicBezTo>
                    <a:pt x="6743" y="1828"/>
                    <a:pt x="6932" y="1670"/>
                    <a:pt x="7184" y="1670"/>
                  </a:cubicBezTo>
                  <a:close/>
                  <a:moveTo>
                    <a:pt x="8791" y="788"/>
                  </a:moveTo>
                  <a:cubicBezTo>
                    <a:pt x="8980" y="788"/>
                    <a:pt x="9200" y="977"/>
                    <a:pt x="9200" y="1229"/>
                  </a:cubicBezTo>
                  <a:lnTo>
                    <a:pt x="9200" y="5356"/>
                  </a:lnTo>
                  <a:cubicBezTo>
                    <a:pt x="9200" y="5608"/>
                    <a:pt x="9389" y="5797"/>
                    <a:pt x="9610" y="5797"/>
                  </a:cubicBezTo>
                  <a:cubicBezTo>
                    <a:pt x="9862" y="5797"/>
                    <a:pt x="10019" y="5608"/>
                    <a:pt x="10019" y="5356"/>
                  </a:cubicBezTo>
                  <a:lnTo>
                    <a:pt x="10019" y="2048"/>
                  </a:lnTo>
                  <a:cubicBezTo>
                    <a:pt x="10019" y="1828"/>
                    <a:pt x="10209" y="1670"/>
                    <a:pt x="10398" y="1670"/>
                  </a:cubicBezTo>
                  <a:cubicBezTo>
                    <a:pt x="10618" y="1670"/>
                    <a:pt x="10807" y="1859"/>
                    <a:pt x="10807" y="2048"/>
                  </a:cubicBezTo>
                  <a:lnTo>
                    <a:pt x="10807" y="5356"/>
                  </a:lnTo>
                  <a:cubicBezTo>
                    <a:pt x="10807" y="5608"/>
                    <a:pt x="10996" y="5797"/>
                    <a:pt x="11185" y="5797"/>
                  </a:cubicBezTo>
                  <a:cubicBezTo>
                    <a:pt x="11406" y="5797"/>
                    <a:pt x="11626" y="5608"/>
                    <a:pt x="11626" y="5356"/>
                  </a:cubicBezTo>
                  <a:lnTo>
                    <a:pt x="11626" y="4537"/>
                  </a:lnTo>
                  <a:cubicBezTo>
                    <a:pt x="11626" y="4285"/>
                    <a:pt x="11815" y="4096"/>
                    <a:pt x="12036" y="4096"/>
                  </a:cubicBezTo>
                  <a:cubicBezTo>
                    <a:pt x="12256" y="4096"/>
                    <a:pt x="12414" y="4285"/>
                    <a:pt x="12414" y="4537"/>
                  </a:cubicBezTo>
                  <a:lnTo>
                    <a:pt x="12414" y="8696"/>
                  </a:lnTo>
                  <a:cubicBezTo>
                    <a:pt x="12414" y="9389"/>
                    <a:pt x="11878" y="9925"/>
                    <a:pt x="11154" y="9925"/>
                  </a:cubicBezTo>
                  <a:lnTo>
                    <a:pt x="9925" y="9925"/>
                  </a:lnTo>
                  <a:lnTo>
                    <a:pt x="9925" y="7845"/>
                  </a:lnTo>
                  <a:cubicBezTo>
                    <a:pt x="9925" y="7184"/>
                    <a:pt x="9389" y="6617"/>
                    <a:pt x="8665" y="6617"/>
                  </a:cubicBezTo>
                  <a:cubicBezTo>
                    <a:pt x="8507" y="6617"/>
                    <a:pt x="8413" y="6648"/>
                    <a:pt x="8287" y="6711"/>
                  </a:cubicBezTo>
                  <a:cubicBezTo>
                    <a:pt x="8413" y="6585"/>
                    <a:pt x="8413" y="1891"/>
                    <a:pt x="8413" y="1229"/>
                  </a:cubicBezTo>
                  <a:cubicBezTo>
                    <a:pt x="8413" y="977"/>
                    <a:pt x="8602" y="788"/>
                    <a:pt x="8791" y="788"/>
                  </a:cubicBezTo>
                  <a:close/>
                  <a:moveTo>
                    <a:pt x="5483" y="4096"/>
                  </a:moveTo>
                  <a:cubicBezTo>
                    <a:pt x="5735" y="4096"/>
                    <a:pt x="5892" y="4254"/>
                    <a:pt x="5924" y="4506"/>
                  </a:cubicBezTo>
                  <a:lnTo>
                    <a:pt x="5924" y="8696"/>
                  </a:lnTo>
                  <a:cubicBezTo>
                    <a:pt x="5924" y="8948"/>
                    <a:pt x="6113" y="9105"/>
                    <a:pt x="6302" y="9105"/>
                  </a:cubicBezTo>
                  <a:cubicBezTo>
                    <a:pt x="6554" y="9105"/>
                    <a:pt x="6743" y="8885"/>
                    <a:pt x="6743" y="8696"/>
                  </a:cubicBezTo>
                  <a:lnTo>
                    <a:pt x="6743" y="5356"/>
                  </a:lnTo>
                  <a:cubicBezTo>
                    <a:pt x="6743" y="5136"/>
                    <a:pt x="6932" y="4915"/>
                    <a:pt x="7153" y="4915"/>
                  </a:cubicBezTo>
                  <a:cubicBezTo>
                    <a:pt x="7342" y="4915"/>
                    <a:pt x="7562" y="5136"/>
                    <a:pt x="7562" y="5356"/>
                  </a:cubicBezTo>
                  <a:lnTo>
                    <a:pt x="7562" y="8696"/>
                  </a:lnTo>
                  <a:cubicBezTo>
                    <a:pt x="7562" y="8948"/>
                    <a:pt x="7783" y="9105"/>
                    <a:pt x="7972" y="9105"/>
                  </a:cubicBezTo>
                  <a:cubicBezTo>
                    <a:pt x="8161" y="9105"/>
                    <a:pt x="8350" y="8885"/>
                    <a:pt x="8350" y="8696"/>
                  </a:cubicBezTo>
                  <a:lnTo>
                    <a:pt x="8350" y="7877"/>
                  </a:lnTo>
                  <a:cubicBezTo>
                    <a:pt x="8350" y="7656"/>
                    <a:pt x="8570" y="7436"/>
                    <a:pt x="8759" y="7436"/>
                  </a:cubicBezTo>
                  <a:cubicBezTo>
                    <a:pt x="8948" y="7436"/>
                    <a:pt x="9137" y="7656"/>
                    <a:pt x="9137" y="7877"/>
                  </a:cubicBezTo>
                  <a:lnTo>
                    <a:pt x="9137" y="12035"/>
                  </a:lnTo>
                  <a:cubicBezTo>
                    <a:pt x="9137" y="12728"/>
                    <a:pt x="8602" y="13264"/>
                    <a:pt x="7940" y="13264"/>
                  </a:cubicBezTo>
                  <a:lnTo>
                    <a:pt x="3403" y="13264"/>
                  </a:lnTo>
                  <a:cubicBezTo>
                    <a:pt x="2994" y="13264"/>
                    <a:pt x="2647" y="13075"/>
                    <a:pt x="2427" y="12791"/>
                  </a:cubicBezTo>
                  <a:cubicBezTo>
                    <a:pt x="915" y="10523"/>
                    <a:pt x="1009" y="10649"/>
                    <a:pt x="1009" y="10586"/>
                  </a:cubicBezTo>
                  <a:cubicBezTo>
                    <a:pt x="915" y="10429"/>
                    <a:pt x="915" y="10208"/>
                    <a:pt x="1104" y="10051"/>
                  </a:cubicBezTo>
                  <a:cubicBezTo>
                    <a:pt x="1189" y="9980"/>
                    <a:pt x="1280" y="9947"/>
                    <a:pt x="1370" y="9947"/>
                  </a:cubicBezTo>
                  <a:cubicBezTo>
                    <a:pt x="1479" y="9947"/>
                    <a:pt x="1584" y="9995"/>
                    <a:pt x="1671" y="10082"/>
                  </a:cubicBezTo>
                  <a:lnTo>
                    <a:pt x="2742" y="11153"/>
                  </a:lnTo>
                  <a:cubicBezTo>
                    <a:pt x="2818" y="11230"/>
                    <a:pt x="2918" y="11271"/>
                    <a:pt x="3005" y="11271"/>
                  </a:cubicBezTo>
                  <a:cubicBezTo>
                    <a:pt x="3062" y="11271"/>
                    <a:pt x="3114" y="11254"/>
                    <a:pt x="3151" y="11216"/>
                  </a:cubicBezTo>
                  <a:cubicBezTo>
                    <a:pt x="3340" y="11153"/>
                    <a:pt x="3403" y="11027"/>
                    <a:pt x="3403" y="10838"/>
                  </a:cubicBezTo>
                  <a:lnTo>
                    <a:pt x="3403" y="5356"/>
                  </a:lnTo>
                  <a:cubicBezTo>
                    <a:pt x="3403" y="5136"/>
                    <a:pt x="3592" y="4915"/>
                    <a:pt x="3845" y="4915"/>
                  </a:cubicBezTo>
                  <a:cubicBezTo>
                    <a:pt x="4065" y="4915"/>
                    <a:pt x="4223" y="5136"/>
                    <a:pt x="4223" y="5356"/>
                  </a:cubicBezTo>
                  <a:lnTo>
                    <a:pt x="4223" y="8696"/>
                  </a:lnTo>
                  <a:cubicBezTo>
                    <a:pt x="4223" y="8948"/>
                    <a:pt x="4412" y="9105"/>
                    <a:pt x="4664" y="9105"/>
                  </a:cubicBezTo>
                  <a:cubicBezTo>
                    <a:pt x="4884" y="9105"/>
                    <a:pt x="5105" y="8885"/>
                    <a:pt x="5105" y="8696"/>
                  </a:cubicBezTo>
                  <a:lnTo>
                    <a:pt x="5105" y="4537"/>
                  </a:lnTo>
                  <a:cubicBezTo>
                    <a:pt x="5105" y="4285"/>
                    <a:pt x="5294" y="4096"/>
                    <a:pt x="5483" y="4096"/>
                  </a:cubicBezTo>
                  <a:close/>
                  <a:moveTo>
                    <a:pt x="8822" y="1"/>
                  </a:moveTo>
                  <a:cubicBezTo>
                    <a:pt x="8255" y="1"/>
                    <a:pt x="7783" y="410"/>
                    <a:pt x="7657" y="914"/>
                  </a:cubicBezTo>
                  <a:cubicBezTo>
                    <a:pt x="7499" y="883"/>
                    <a:pt x="7342" y="820"/>
                    <a:pt x="7184" y="820"/>
                  </a:cubicBezTo>
                  <a:cubicBezTo>
                    <a:pt x="6522" y="820"/>
                    <a:pt x="5955" y="1387"/>
                    <a:pt x="5955" y="2048"/>
                  </a:cubicBezTo>
                  <a:lnTo>
                    <a:pt x="5955" y="3340"/>
                  </a:lnTo>
                  <a:cubicBezTo>
                    <a:pt x="5829" y="3309"/>
                    <a:pt x="5672" y="3277"/>
                    <a:pt x="5514" y="3277"/>
                  </a:cubicBezTo>
                  <a:cubicBezTo>
                    <a:pt x="4947" y="3277"/>
                    <a:pt x="4475" y="3655"/>
                    <a:pt x="4349" y="4191"/>
                  </a:cubicBezTo>
                  <a:cubicBezTo>
                    <a:pt x="4191" y="4128"/>
                    <a:pt x="4034" y="4096"/>
                    <a:pt x="3876" y="4096"/>
                  </a:cubicBezTo>
                  <a:cubicBezTo>
                    <a:pt x="3214" y="4096"/>
                    <a:pt x="2616" y="4663"/>
                    <a:pt x="2616" y="5356"/>
                  </a:cubicBezTo>
                  <a:lnTo>
                    <a:pt x="2616" y="9862"/>
                  </a:lnTo>
                  <a:lnTo>
                    <a:pt x="2269" y="9483"/>
                  </a:lnTo>
                  <a:cubicBezTo>
                    <a:pt x="2025" y="9239"/>
                    <a:pt x="1712" y="9121"/>
                    <a:pt x="1398" y="9121"/>
                  </a:cubicBezTo>
                  <a:cubicBezTo>
                    <a:pt x="1105" y="9121"/>
                    <a:pt x="811" y="9223"/>
                    <a:pt x="568" y="9420"/>
                  </a:cubicBezTo>
                  <a:cubicBezTo>
                    <a:pt x="95" y="9862"/>
                    <a:pt x="1" y="10555"/>
                    <a:pt x="379" y="11059"/>
                  </a:cubicBezTo>
                  <a:lnTo>
                    <a:pt x="1797" y="13264"/>
                  </a:lnTo>
                  <a:cubicBezTo>
                    <a:pt x="2175" y="13831"/>
                    <a:pt x="2805" y="14146"/>
                    <a:pt x="3435" y="14146"/>
                  </a:cubicBezTo>
                  <a:lnTo>
                    <a:pt x="7972" y="14146"/>
                  </a:lnTo>
                  <a:cubicBezTo>
                    <a:pt x="9106" y="14146"/>
                    <a:pt x="10051" y="13201"/>
                    <a:pt x="10051" y="12035"/>
                  </a:cubicBezTo>
                  <a:lnTo>
                    <a:pt x="10051" y="10807"/>
                  </a:lnTo>
                  <a:lnTo>
                    <a:pt x="11280" y="10807"/>
                  </a:lnTo>
                  <a:cubicBezTo>
                    <a:pt x="12414" y="10807"/>
                    <a:pt x="13359" y="9862"/>
                    <a:pt x="13359" y="8696"/>
                  </a:cubicBezTo>
                  <a:lnTo>
                    <a:pt x="13359" y="4537"/>
                  </a:lnTo>
                  <a:cubicBezTo>
                    <a:pt x="13359" y="3876"/>
                    <a:pt x="12823" y="3309"/>
                    <a:pt x="12130" y="3309"/>
                  </a:cubicBezTo>
                  <a:cubicBezTo>
                    <a:pt x="11973" y="3309"/>
                    <a:pt x="11878" y="3340"/>
                    <a:pt x="11752" y="3372"/>
                  </a:cubicBezTo>
                  <a:lnTo>
                    <a:pt x="11752" y="2048"/>
                  </a:lnTo>
                  <a:cubicBezTo>
                    <a:pt x="11752" y="1387"/>
                    <a:pt x="11185" y="820"/>
                    <a:pt x="10492" y="820"/>
                  </a:cubicBezTo>
                  <a:cubicBezTo>
                    <a:pt x="10335" y="820"/>
                    <a:pt x="10177" y="883"/>
                    <a:pt x="10019" y="914"/>
                  </a:cubicBezTo>
                  <a:cubicBezTo>
                    <a:pt x="9862" y="410"/>
                    <a:pt x="9389" y="1"/>
                    <a:pt x="88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8" name="Google Shape;7698;p75"/>
            <p:cNvSpPr/>
            <p:nvPr/>
          </p:nvSpPr>
          <p:spPr>
            <a:xfrm>
              <a:off x="-10016750" y="2491050"/>
              <a:ext cx="63825" cy="61850"/>
            </a:xfrm>
            <a:custGeom>
              <a:avLst/>
              <a:gdLst/>
              <a:ahLst/>
              <a:cxnLst/>
              <a:rect l="l" t="t" r="r" b="b"/>
              <a:pathLst>
                <a:path w="2553" h="2474" extrusionOk="0">
                  <a:moveTo>
                    <a:pt x="457" y="0"/>
                  </a:moveTo>
                  <a:cubicBezTo>
                    <a:pt x="347" y="0"/>
                    <a:pt x="237" y="40"/>
                    <a:pt x="158" y="119"/>
                  </a:cubicBezTo>
                  <a:cubicBezTo>
                    <a:pt x="0" y="276"/>
                    <a:pt x="0" y="560"/>
                    <a:pt x="158" y="717"/>
                  </a:cubicBezTo>
                  <a:lnTo>
                    <a:pt x="1796" y="2355"/>
                  </a:lnTo>
                  <a:cubicBezTo>
                    <a:pt x="1891" y="2434"/>
                    <a:pt x="2001" y="2474"/>
                    <a:pt x="2107" y="2474"/>
                  </a:cubicBezTo>
                  <a:cubicBezTo>
                    <a:pt x="2214" y="2474"/>
                    <a:pt x="2316" y="2434"/>
                    <a:pt x="2395" y="2355"/>
                  </a:cubicBezTo>
                  <a:cubicBezTo>
                    <a:pt x="2552" y="2198"/>
                    <a:pt x="2552" y="1914"/>
                    <a:pt x="2395" y="1757"/>
                  </a:cubicBezTo>
                  <a:lnTo>
                    <a:pt x="757" y="119"/>
                  </a:lnTo>
                  <a:cubicBezTo>
                    <a:pt x="678" y="40"/>
                    <a:pt x="568" y="0"/>
                    <a:pt x="4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699" name="Google Shape;7699;p75"/>
            <p:cNvSpPr/>
            <p:nvPr/>
          </p:nvSpPr>
          <p:spPr>
            <a:xfrm>
              <a:off x="-9933275" y="2490075"/>
              <a:ext cx="20525" cy="63025"/>
            </a:xfrm>
            <a:custGeom>
              <a:avLst/>
              <a:gdLst/>
              <a:ahLst/>
              <a:cxnLst/>
              <a:rect l="l" t="t" r="r" b="b"/>
              <a:pathLst>
                <a:path w="821" h="2521" extrusionOk="0">
                  <a:moveTo>
                    <a:pt x="442" y="0"/>
                  </a:moveTo>
                  <a:cubicBezTo>
                    <a:pt x="221" y="0"/>
                    <a:pt x="1" y="189"/>
                    <a:pt x="1" y="441"/>
                  </a:cubicBezTo>
                  <a:lnTo>
                    <a:pt x="1" y="2079"/>
                  </a:lnTo>
                  <a:cubicBezTo>
                    <a:pt x="1" y="2331"/>
                    <a:pt x="221" y="2520"/>
                    <a:pt x="442" y="2520"/>
                  </a:cubicBezTo>
                  <a:cubicBezTo>
                    <a:pt x="631" y="2520"/>
                    <a:pt x="820" y="2331"/>
                    <a:pt x="820" y="2079"/>
                  </a:cubicBezTo>
                  <a:lnTo>
                    <a:pt x="820" y="441"/>
                  </a:lnTo>
                  <a:cubicBezTo>
                    <a:pt x="820" y="189"/>
                    <a:pt x="631" y="0"/>
                    <a:pt x="44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0" name="Google Shape;7700;p75"/>
            <p:cNvSpPr/>
            <p:nvPr/>
          </p:nvSpPr>
          <p:spPr>
            <a:xfrm>
              <a:off x="-10015975" y="2573550"/>
              <a:ext cx="63050" cy="20500"/>
            </a:xfrm>
            <a:custGeom>
              <a:avLst/>
              <a:gdLst/>
              <a:ahLst/>
              <a:cxnLst/>
              <a:rect l="l" t="t" r="r" b="b"/>
              <a:pathLst>
                <a:path w="2522" h="820" extrusionOk="0">
                  <a:moveTo>
                    <a:pt x="442" y="1"/>
                  </a:moveTo>
                  <a:cubicBezTo>
                    <a:pt x="190" y="1"/>
                    <a:pt x="1" y="190"/>
                    <a:pt x="1" y="442"/>
                  </a:cubicBezTo>
                  <a:cubicBezTo>
                    <a:pt x="1" y="631"/>
                    <a:pt x="190" y="820"/>
                    <a:pt x="442" y="820"/>
                  </a:cubicBezTo>
                  <a:lnTo>
                    <a:pt x="2080" y="820"/>
                  </a:lnTo>
                  <a:cubicBezTo>
                    <a:pt x="2332" y="820"/>
                    <a:pt x="2521" y="631"/>
                    <a:pt x="2521" y="442"/>
                  </a:cubicBezTo>
                  <a:cubicBezTo>
                    <a:pt x="2521" y="190"/>
                    <a:pt x="2332" y="1"/>
                    <a:pt x="20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01" name="Google Shape;7701;p75"/>
          <p:cNvGrpSpPr/>
          <p:nvPr/>
        </p:nvGrpSpPr>
        <p:grpSpPr>
          <a:xfrm>
            <a:off x="8881574" y="4248257"/>
            <a:ext cx="469636" cy="457467"/>
            <a:chOff x="-8684100" y="2032450"/>
            <a:chExt cx="364700" cy="355250"/>
          </a:xfrm>
        </p:grpSpPr>
        <p:sp>
          <p:nvSpPr>
            <p:cNvPr id="7702" name="Google Shape;7702;p75"/>
            <p:cNvSpPr/>
            <p:nvPr/>
          </p:nvSpPr>
          <p:spPr>
            <a:xfrm>
              <a:off x="-8684100" y="2032450"/>
              <a:ext cx="364700" cy="355250"/>
            </a:xfrm>
            <a:custGeom>
              <a:avLst/>
              <a:gdLst/>
              <a:ahLst/>
              <a:cxnLst/>
              <a:rect l="l" t="t" r="r" b="b"/>
              <a:pathLst>
                <a:path w="14588" h="14210" extrusionOk="0">
                  <a:moveTo>
                    <a:pt x="13611" y="820"/>
                  </a:moveTo>
                  <a:lnTo>
                    <a:pt x="13611" y="1891"/>
                  </a:lnTo>
                  <a:lnTo>
                    <a:pt x="13642" y="1891"/>
                  </a:lnTo>
                  <a:lnTo>
                    <a:pt x="12130" y="2994"/>
                  </a:lnTo>
                  <a:lnTo>
                    <a:pt x="11469" y="2301"/>
                  </a:lnTo>
                  <a:lnTo>
                    <a:pt x="12571" y="820"/>
                  </a:lnTo>
                  <a:close/>
                  <a:moveTo>
                    <a:pt x="3561" y="2238"/>
                  </a:moveTo>
                  <a:lnTo>
                    <a:pt x="5294" y="3970"/>
                  </a:lnTo>
                  <a:cubicBezTo>
                    <a:pt x="5168" y="4033"/>
                    <a:pt x="5105" y="4128"/>
                    <a:pt x="4979" y="4254"/>
                  </a:cubicBezTo>
                  <a:lnTo>
                    <a:pt x="4695" y="4506"/>
                  </a:lnTo>
                  <a:lnTo>
                    <a:pt x="3844" y="3655"/>
                  </a:lnTo>
                  <a:cubicBezTo>
                    <a:pt x="3435" y="3246"/>
                    <a:pt x="3372" y="2710"/>
                    <a:pt x="3561" y="2238"/>
                  </a:cubicBezTo>
                  <a:close/>
                  <a:moveTo>
                    <a:pt x="10965" y="2899"/>
                  </a:moveTo>
                  <a:lnTo>
                    <a:pt x="11563" y="3498"/>
                  </a:lnTo>
                  <a:lnTo>
                    <a:pt x="8192" y="6837"/>
                  </a:lnTo>
                  <a:lnTo>
                    <a:pt x="7625" y="6239"/>
                  </a:lnTo>
                  <a:lnTo>
                    <a:pt x="10965" y="2899"/>
                  </a:lnTo>
                  <a:close/>
                  <a:moveTo>
                    <a:pt x="10492" y="9200"/>
                  </a:moveTo>
                  <a:lnTo>
                    <a:pt x="12225" y="10901"/>
                  </a:lnTo>
                  <a:cubicBezTo>
                    <a:pt x="12048" y="10984"/>
                    <a:pt x="11859" y="11027"/>
                    <a:pt x="11671" y="11027"/>
                  </a:cubicBezTo>
                  <a:cubicBezTo>
                    <a:pt x="11355" y="11027"/>
                    <a:pt x="11044" y="10906"/>
                    <a:pt x="10807" y="10649"/>
                  </a:cubicBezTo>
                  <a:lnTo>
                    <a:pt x="9925" y="9799"/>
                  </a:lnTo>
                  <a:lnTo>
                    <a:pt x="10208" y="9515"/>
                  </a:lnTo>
                  <a:cubicBezTo>
                    <a:pt x="10334" y="9389"/>
                    <a:pt x="10397" y="9326"/>
                    <a:pt x="10492" y="9200"/>
                  </a:cubicBezTo>
                  <a:close/>
                  <a:moveTo>
                    <a:pt x="2962" y="11059"/>
                  </a:moveTo>
                  <a:lnTo>
                    <a:pt x="3403" y="11500"/>
                  </a:lnTo>
                  <a:lnTo>
                    <a:pt x="2143" y="12319"/>
                  </a:lnTo>
                  <a:lnTo>
                    <a:pt x="2962" y="11059"/>
                  </a:lnTo>
                  <a:close/>
                  <a:moveTo>
                    <a:pt x="6996" y="4146"/>
                  </a:moveTo>
                  <a:cubicBezTo>
                    <a:pt x="7395" y="4146"/>
                    <a:pt x="7791" y="4258"/>
                    <a:pt x="8129" y="4474"/>
                  </a:cubicBezTo>
                  <a:lnTo>
                    <a:pt x="6711" y="5892"/>
                  </a:lnTo>
                  <a:cubicBezTo>
                    <a:pt x="6554" y="6050"/>
                    <a:pt x="6554" y="6333"/>
                    <a:pt x="6711" y="6491"/>
                  </a:cubicBezTo>
                  <a:lnTo>
                    <a:pt x="7877" y="7656"/>
                  </a:lnTo>
                  <a:cubicBezTo>
                    <a:pt x="7956" y="7735"/>
                    <a:pt x="8066" y="7775"/>
                    <a:pt x="8176" y="7775"/>
                  </a:cubicBezTo>
                  <a:cubicBezTo>
                    <a:pt x="8287" y="7775"/>
                    <a:pt x="8397" y="7735"/>
                    <a:pt x="8476" y="7656"/>
                  </a:cubicBezTo>
                  <a:lnTo>
                    <a:pt x="9893" y="6239"/>
                  </a:lnTo>
                  <a:cubicBezTo>
                    <a:pt x="10145" y="6648"/>
                    <a:pt x="10240" y="7026"/>
                    <a:pt x="10240" y="7436"/>
                  </a:cubicBezTo>
                  <a:cubicBezTo>
                    <a:pt x="10240" y="7971"/>
                    <a:pt x="10051" y="8476"/>
                    <a:pt x="9673" y="8885"/>
                  </a:cubicBezTo>
                  <a:lnTo>
                    <a:pt x="9232" y="9326"/>
                  </a:lnTo>
                  <a:cubicBezTo>
                    <a:pt x="9086" y="9286"/>
                    <a:pt x="8937" y="9266"/>
                    <a:pt x="8788" y="9266"/>
                  </a:cubicBezTo>
                  <a:cubicBezTo>
                    <a:pt x="8356" y="9266"/>
                    <a:pt x="7929" y="9431"/>
                    <a:pt x="7625" y="9736"/>
                  </a:cubicBezTo>
                  <a:cubicBezTo>
                    <a:pt x="7310" y="10051"/>
                    <a:pt x="7152" y="10492"/>
                    <a:pt x="7089" y="10933"/>
                  </a:cubicBezTo>
                  <a:cubicBezTo>
                    <a:pt x="7089" y="11405"/>
                    <a:pt x="7247" y="11784"/>
                    <a:pt x="7562" y="12099"/>
                  </a:cubicBezTo>
                  <a:lnTo>
                    <a:pt x="7310" y="12382"/>
                  </a:lnTo>
                  <a:cubicBezTo>
                    <a:pt x="6743" y="12949"/>
                    <a:pt x="6050" y="13264"/>
                    <a:pt x="5262" y="13264"/>
                  </a:cubicBezTo>
                  <a:cubicBezTo>
                    <a:pt x="4538" y="13264"/>
                    <a:pt x="3844" y="12981"/>
                    <a:pt x="3309" y="12508"/>
                  </a:cubicBezTo>
                  <a:lnTo>
                    <a:pt x="4317" y="11878"/>
                  </a:lnTo>
                  <a:cubicBezTo>
                    <a:pt x="4412" y="11784"/>
                    <a:pt x="4475" y="11689"/>
                    <a:pt x="4506" y="11563"/>
                  </a:cubicBezTo>
                  <a:cubicBezTo>
                    <a:pt x="4506" y="11437"/>
                    <a:pt x="4475" y="11311"/>
                    <a:pt x="4380" y="11216"/>
                  </a:cubicBezTo>
                  <a:lnTo>
                    <a:pt x="3214" y="10019"/>
                  </a:lnTo>
                  <a:cubicBezTo>
                    <a:pt x="3120" y="9956"/>
                    <a:pt x="2994" y="9893"/>
                    <a:pt x="2836" y="9893"/>
                  </a:cubicBezTo>
                  <a:cubicBezTo>
                    <a:pt x="2742" y="9893"/>
                    <a:pt x="2616" y="9988"/>
                    <a:pt x="2521" y="10114"/>
                  </a:cubicBezTo>
                  <a:lnTo>
                    <a:pt x="1891" y="11090"/>
                  </a:lnTo>
                  <a:cubicBezTo>
                    <a:pt x="883" y="9956"/>
                    <a:pt x="914" y="8223"/>
                    <a:pt x="2017" y="7121"/>
                  </a:cubicBezTo>
                  <a:lnTo>
                    <a:pt x="2301" y="6837"/>
                  </a:lnTo>
                  <a:cubicBezTo>
                    <a:pt x="2616" y="7152"/>
                    <a:pt x="3057" y="7310"/>
                    <a:pt x="3466" y="7310"/>
                  </a:cubicBezTo>
                  <a:cubicBezTo>
                    <a:pt x="3907" y="7310"/>
                    <a:pt x="4348" y="7121"/>
                    <a:pt x="4664" y="6806"/>
                  </a:cubicBezTo>
                  <a:cubicBezTo>
                    <a:pt x="5105" y="6365"/>
                    <a:pt x="5262" y="5766"/>
                    <a:pt x="5105" y="5168"/>
                  </a:cubicBezTo>
                  <a:lnTo>
                    <a:pt x="5514" y="4758"/>
                  </a:lnTo>
                  <a:cubicBezTo>
                    <a:pt x="5928" y="4344"/>
                    <a:pt x="6465" y="4146"/>
                    <a:pt x="6996" y="4146"/>
                  </a:cubicBezTo>
                  <a:close/>
                  <a:moveTo>
                    <a:pt x="12382" y="1"/>
                  </a:moveTo>
                  <a:cubicBezTo>
                    <a:pt x="12256" y="1"/>
                    <a:pt x="12130" y="64"/>
                    <a:pt x="12067" y="158"/>
                  </a:cubicBezTo>
                  <a:lnTo>
                    <a:pt x="10649" y="2080"/>
                  </a:lnTo>
                  <a:lnTo>
                    <a:pt x="8759" y="3970"/>
                  </a:lnTo>
                  <a:cubicBezTo>
                    <a:pt x="8249" y="3583"/>
                    <a:pt x="7634" y="3393"/>
                    <a:pt x="7024" y="3393"/>
                  </a:cubicBezTo>
                  <a:cubicBezTo>
                    <a:pt x="6692" y="3393"/>
                    <a:pt x="6361" y="3450"/>
                    <a:pt x="6050" y="3561"/>
                  </a:cubicBezTo>
                  <a:lnTo>
                    <a:pt x="2616" y="158"/>
                  </a:lnTo>
                  <a:cubicBezTo>
                    <a:pt x="2537" y="79"/>
                    <a:pt x="2427" y="40"/>
                    <a:pt x="2316" y="40"/>
                  </a:cubicBezTo>
                  <a:cubicBezTo>
                    <a:pt x="2206" y="40"/>
                    <a:pt x="2096" y="79"/>
                    <a:pt x="2017" y="158"/>
                  </a:cubicBezTo>
                  <a:cubicBezTo>
                    <a:pt x="1860" y="316"/>
                    <a:pt x="1860" y="568"/>
                    <a:pt x="2017" y="725"/>
                  </a:cubicBezTo>
                  <a:lnTo>
                    <a:pt x="2931" y="1639"/>
                  </a:lnTo>
                  <a:cubicBezTo>
                    <a:pt x="2427" y="2427"/>
                    <a:pt x="2490" y="3529"/>
                    <a:pt x="3214" y="4254"/>
                  </a:cubicBezTo>
                  <a:lnTo>
                    <a:pt x="4222" y="5262"/>
                  </a:lnTo>
                  <a:cubicBezTo>
                    <a:pt x="4222" y="5294"/>
                    <a:pt x="4222" y="5325"/>
                    <a:pt x="4254" y="5388"/>
                  </a:cubicBezTo>
                  <a:cubicBezTo>
                    <a:pt x="4412" y="5703"/>
                    <a:pt x="4348" y="6081"/>
                    <a:pt x="4096" y="6333"/>
                  </a:cubicBezTo>
                  <a:cubicBezTo>
                    <a:pt x="3948" y="6499"/>
                    <a:pt x="3721" y="6586"/>
                    <a:pt x="3493" y="6586"/>
                  </a:cubicBezTo>
                  <a:cubicBezTo>
                    <a:pt x="3287" y="6586"/>
                    <a:pt x="3080" y="6514"/>
                    <a:pt x="2931" y="6365"/>
                  </a:cubicBezTo>
                  <a:lnTo>
                    <a:pt x="2647" y="6081"/>
                  </a:lnTo>
                  <a:cubicBezTo>
                    <a:pt x="2568" y="6002"/>
                    <a:pt x="2458" y="5963"/>
                    <a:pt x="2348" y="5963"/>
                  </a:cubicBezTo>
                  <a:cubicBezTo>
                    <a:pt x="2238" y="5963"/>
                    <a:pt x="2127" y="6002"/>
                    <a:pt x="2049" y="6081"/>
                  </a:cubicBezTo>
                  <a:lnTo>
                    <a:pt x="1482" y="6680"/>
                  </a:lnTo>
                  <a:cubicBezTo>
                    <a:pt x="1" y="8129"/>
                    <a:pt x="1" y="10492"/>
                    <a:pt x="1482" y="11973"/>
                  </a:cubicBezTo>
                  <a:lnTo>
                    <a:pt x="442" y="13579"/>
                  </a:lnTo>
                  <a:cubicBezTo>
                    <a:pt x="316" y="13737"/>
                    <a:pt x="379" y="13957"/>
                    <a:pt x="473" y="14083"/>
                  </a:cubicBezTo>
                  <a:cubicBezTo>
                    <a:pt x="562" y="14154"/>
                    <a:pt x="670" y="14195"/>
                    <a:pt x="776" y="14195"/>
                  </a:cubicBezTo>
                  <a:cubicBezTo>
                    <a:pt x="859" y="14195"/>
                    <a:pt x="940" y="14170"/>
                    <a:pt x="1009" y="14115"/>
                  </a:cubicBezTo>
                  <a:lnTo>
                    <a:pt x="2616" y="13107"/>
                  </a:lnTo>
                  <a:cubicBezTo>
                    <a:pt x="3309" y="13800"/>
                    <a:pt x="4254" y="14209"/>
                    <a:pt x="5262" y="14209"/>
                  </a:cubicBezTo>
                  <a:cubicBezTo>
                    <a:pt x="6239" y="14209"/>
                    <a:pt x="7184" y="13800"/>
                    <a:pt x="7877" y="13107"/>
                  </a:cubicBezTo>
                  <a:lnTo>
                    <a:pt x="8476" y="12508"/>
                  </a:lnTo>
                  <a:cubicBezTo>
                    <a:pt x="8633" y="12351"/>
                    <a:pt x="8633" y="12067"/>
                    <a:pt x="8476" y="11910"/>
                  </a:cubicBezTo>
                  <a:lnTo>
                    <a:pt x="8192" y="11657"/>
                  </a:lnTo>
                  <a:cubicBezTo>
                    <a:pt x="7877" y="11342"/>
                    <a:pt x="7877" y="10775"/>
                    <a:pt x="8255" y="10460"/>
                  </a:cubicBezTo>
                  <a:cubicBezTo>
                    <a:pt x="8400" y="10315"/>
                    <a:pt x="8627" y="10225"/>
                    <a:pt x="8856" y="10225"/>
                  </a:cubicBezTo>
                  <a:cubicBezTo>
                    <a:pt x="8974" y="10225"/>
                    <a:pt x="9093" y="10249"/>
                    <a:pt x="9200" y="10303"/>
                  </a:cubicBezTo>
                  <a:cubicBezTo>
                    <a:pt x="9232" y="10303"/>
                    <a:pt x="9263" y="10334"/>
                    <a:pt x="9295" y="10334"/>
                  </a:cubicBezTo>
                  <a:lnTo>
                    <a:pt x="10334" y="11374"/>
                  </a:lnTo>
                  <a:cubicBezTo>
                    <a:pt x="10736" y="11775"/>
                    <a:pt x="11274" y="11976"/>
                    <a:pt x="11809" y="11976"/>
                  </a:cubicBezTo>
                  <a:cubicBezTo>
                    <a:pt x="12199" y="11976"/>
                    <a:pt x="12586" y="11870"/>
                    <a:pt x="12918" y="11657"/>
                  </a:cubicBezTo>
                  <a:lnTo>
                    <a:pt x="13831" y="12540"/>
                  </a:lnTo>
                  <a:cubicBezTo>
                    <a:pt x="13910" y="12618"/>
                    <a:pt x="14021" y="12658"/>
                    <a:pt x="14131" y="12658"/>
                  </a:cubicBezTo>
                  <a:cubicBezTo>
                    <a:pt x="14241" y="12658"/>
                    <a:pt x="14351" y="12618"/>
                    <a:pt x="14430" y="12540"/>
                  </a:cubicBezTo>
                  <a:cubicBezTo>
                    <a:pt x="14588" y="12382"/>
                    <a:pt x="14588" y="12130"/>
                    <a:pt x="14430" y="11973"/>
                  </a:cubicBezTo>
                  <a:lnTo>
                    <a:pt x="10996" y="8539"/>
                  </a:lnTo>
                  <a:cubicBezTo>
                    <a:pt x="11122" y="8223"/>
                    <a:pt x="11154" y="7908"/>
                    <a:pt x="11154" y="7562"/>
                  </a:cubicBezTo>
                  <a:cubicBezTo>
                    <a:pt x="11154" y="6932"/>
                    <a:pt x="10965" y="6333"/>
                    <a:pt x="10555" y="5829"/>
                  </a:cubicBezTo>
                  <a:lnTo>
                    <a:pt x="12445" y="3939"/>
                  </a:lnTo>
                  <a:lnTo>
                    <a:pt x="14399" y="2521"/>
                  </a:lnTo>
                  <a:cubicBezTo>
                    <a:pt x="14493" y="2427"/>
                    <a:pt x="14556" y="2301"/>
                    <a:pt x="14556" y="2206"/>
                  </a:cubicBezTo>
                  <a:lnTo>
                    <a:pt x="14556" y="536"/>
                  </a:lnTo>
                  <a:cubicBezTo>
                    <a:pt x="14462" y="190"/>
                    <a:pt x="14273" y="1"/>
                    <a:pt x="140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3" name="Google Shape;7703;p75"/>
            <p:cNvSpPr/>
            <p:nvPr/>
          </p:nvSpPr>
          <p:spPr>
            <a:xfrm>
              <a:off x="-8637625" y="2231725"/>
              <a:ext cx="81950" cy="32525"/>
            </a:xfrm>
            <a:custGeom>
              <a:avLst/>
              <a:gdLst/>
              <a:ahLst/>
              <a:cxnLst/>
              <a:rect l="l" t="t" r="r" b="b"/>
              <a:pathLst>
                <a:path w="3278" h="1301" extrusionOk="0">
                  <a:moveTo>
                    <a:pt x="2226" y="0"/>
                  </a:moveTo>
                  <a:cubicBezTo>
                    <a:pt x="1907" y="0"/>
                    <a:pt x="1592" y="126"/>
                    <a:pt x="1355" y="378"/>
                  </a:cubicBezTo>
                  <a:cubicBezTo>
                    <a:pt x="1277" y="457"/>
                    <a:pt x="1166" y="497"/>
                    <a:pt x="1056" y="497"/>
                  </a:cubicBezTo>
                  <a:cubicBezTo>
                    <a:pt x="946" y="497"/>
                    <a:pt x="835" y="457"/>
                    <a:pt x="757" y="378"/>
                  </a:cubicBezTo>
                  <a:cubicBezTo>
                    <a:pt x="678" y="300"/>
                    <a:pt x="568" y="260"/>
                    <a:pt x="457" y="260"/>
                  </a:cubicBezTo>
                  <a:cubicBezTo>
                    <a:pt x="347" y="260"/>
                    <a:pt x="237" y="300"/>
                    <a:pt x="158" y="378"/>
                  </a:cubicBezTo>
                  <a:cubicBezTo>
                    <a:pt x="1" y="536"/>
                    <a:pt x="1" y="788"/>
                    <a:pt x="158" y="946"/>
                  </a:cubicBezTo>
                  <a:cubicBezTo>
                    <a:pt x="394" y="1182"/>
                    <a:pt x="709" y="1300"/>
                    <a:pt x="1028" y="1300"/>
                  </a:cubicBezTo>
                  <a:cubicBezTo>
                    <a:pt x="1347" y="1300"/>
                    <a:pt x="1670" y="1182"/>
                    <a:pt x="1922" y="946"/>
                  </a:cubicBezTo>
                  <a:cubicBezTo>
                    <a:pt x="2001" y="867"/>
                    <a:pt x="2111" y="827"/>
                    <a:pt x="2222" y="827"/>
                  </a:cubicBezTo>
                  <a:cubicBezTo>
                    <a:pt x="2332" y="827"/>
                    <a:pt x="2442" y="867"/>
                    <a:pt x="2521" y="946"/>
                  </a:cubicBezTo>
                  <a:cubicBezTo>
                    <a:pt x="2600" y="1024"/>
                    <a:pt x="2710" y="1064"/>
                    <a:pt x="2820" y="1064"/>
                  </a:cubicBezTo>
                  <a:cubicBezTo>
                    <a:pt x="2931" y="1064"/>
                    <a:pt x="3041" y="1024"/>
                    <a:pt x="3120" y="946"/>
                  </a:cubicBezTo>
                  <a:cubicBezTo>
                    <a:pt x="3277" y="788"/>
                    <a:pt x="3277" y="536"/>
                    <a:pt x="3120" y="378"/>
                  </a:cubicBezTo>
                  <a:cubicBezTo>
                    <a:pt x="2868" y="126"/>
                    <a:pt x="2545" y="0"/>
                    <a:pt x="222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4" name="Google Shape;7704;p75"/>
            <p:cNvSpPr/>
            <p:nvPr/>
          </p:nvSpPr>
          <p:spPr>
            <a:xfrm>
              <a:off x="-8558075" y="2267375"/>
              <a:ext cx="38625" cy="79950"/>
            </a:xfrm>
            <a:custGeom>
              <a:avLst/>
              <a:gdLst/>
              <a:ahLst/>
              <a:cxnLst/>
              <a:rect l="l" t="t" r="r" b="b"/>
              <a:pathLst>
                <a:path w="1545" h="3198" extrusionOk="0">
                  <a:moveTo>
                    <a:pt x="772" y="0"/>
                  </a:moveTo>
                  <a:cubicBezTo>
                    <a:pt x="662" y="0"/>
                    <a:pt x="552" y="39"/>
                    <a:pt x="473" y="118"/>
                  </a:cubicBezTo>
                  <a:cubicBezTo>
                    <a:pt x="316" y="276"/>
                    <a:pt x="316" y="559"/>
                    <a:pt x="473" y="717"/>
                  </a:cubicBezTo>
                  <a:cubicBezTo>
                    <a:pt x="631" y="874"/>
                    <a:pt x="631" y="1158"/>
                    <a:pt x="473" y="1315"/>
                  </a:cubicBezTo>
                  <a:cubicBezTo>
                    <a:pt x="1" y="1788"/>
                    <a:pt x="1" y="2576"/>
                    <a:pt x="473" y="3080"/>
                  </a:cubicBezTo>
                  <a:cubicBezTo>
                    <a:pt x="552" y="3158"/>
                    <a:pt x="662" y="3198"/>
                    <a:pt x="772" y="3198"/>
                  </a:cubicBezTo>
                  <a:cubicBezTo>
                    <a:pt x="883" y="3198"/>
                    <a:pt x="993" y="3158"/>
                    <a:pt x="1072" y="3080"/>
                  </a:cubicBezTo>
                  <a:cubicBezTo>
                    <a:pt x="1229" y="2922"/>
                    <a:pt x="1229" y="2639"/>
                    <a:pt x="1072" y="2481"/>
                  </a:cubicBezTo>
                  <a:cubicBezTo>
                    <a:pt x="914" y="2324"/>
                    <a:pt x="914" y="2040"/>
                    <a:pt x="1072" y="1882"/>
                  </a:cubicBezTo>
                  <a:cubicBezTo>
                    <a:pt x="1544" y="1378"/>
                    <a:pt x="1544" y="591"/>
                    <a:pt x="1072" y="118"/>
                  </a:cubicBezTo>
                  <a:cubicBezTo>
                    <a:pt x="993" y="39"/>
                    <a:pt x="883" y="0"/>
                    <a:pt x="7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05" name="Google Shape;7705;p75"/>
          <p:cNvSpPr/>
          <p:nvPr/>
        </p:nvSpPr>
        <p:spPr>
          <a:xfrm>
            <a:off x="7698279" y="2043062"/>
            <a:ext cx="400679" cy="454409"/>
          </a:xfrm>
          <a:custGeom>
            <a:avLst/>
            <a:gdLst/>
            <a:ahLst/>
            <a:cxnLst/>
            <a:rect l="l" t="t" r="r" b="b"/>
            <a:pathLst>
              <a:path w="12446" h="14115" extrusionOk="0">
                <a:moveTo>
                  <a:pt x="10744" y="788"/>
                </a:moveTo>
                <a:cubicBezTo>
                  <a:pt x="11216" y="788"/>
                  <a:pt x="11563" y="1135"/>
                  <a:pt x="11563" y="1607"/>
                </a:cubicBezTo>
                <a:cubicBezTo>
                  <a:pt x="11563" y="2080"/>
                  <a:pt x="11216" y="2458"/>
                  <a:pt x="10744" y="2458"/>
                </a:cubicBezTo>
                <a:cubicBezTo>
                  <a:pt x="10492" y="2458"/>
                  <a:pt x="10303" y="2647"/>
                  <a:pt x="10303" y="2867"/>
                </a:cubicBezTo>
                <a:cubicBezTo>
                  <a:pt x="10303" y="3119"/>
                  <a:pt x="10492" y="3308"/>
                  <a:pt x="10744" y="3308"/>
                </a:cubicBezTo>
                <a:lnTo>
                  <a:pt x="10744" y="4884"/>
                </a:lnTo>
                <a:cubicBezTo>
                  <a:pt x="10744" y="4947"/>
                  <a:pt x="10775" y="5041"/>
                  <a:pt x="10807" y="5073"/>
                </a:cubicBezTo>
                <a:cubicBezTo>
                  <a:pt x="11342" y="5892"/>
                  <a:pt x="11563" y="6900"/>
                  <a:pt x="11563" y="7877"/>
                </a:cubicBezTo>
                <a:cubicBezTo>
                  <a:pt x="11563" y="8822"/>
                  <a:pt x="11342" y="9735"/>
                  <a:pt x="10870" y="10523"/>
                </a:cubicBezTo>
                <a:lnTo>
                  <a:pt x="10145" y="10050"/>
                </a:lnTo>
                <a:cubicBezTo>
                  <a:pt x="10523" y="9357"/>
                  <a:pt x="10712" y="8633"/>
                  <a:pt x="10712" y="7845"/>
                </a:cubicBezTo>
                <a:cubicBezTo>
                  <a:pt x="10712" y="6931"/>
                  <a:pt x="10429" y="6018"/>
                  <a:pt x="9956" y="5262"/>
                </a:cubicBezTo>
                <a:cubicBezTo>
                  <a:pt x="9925" y="5199"/>
                  <a:pt x="9893" y="5104"/>
                  <a:pt x="9893" y="5041"/>
                </a:cubicBezTo>
                <a:lnTo>
                  <a:pt x="9893" y="1576"/>
                </a:lnTo>
                <a:cubicBezTo>
                  <a:pt x="9925" y="1198"/>
                  <a:pt x="10271" y="788"/>
                  <a:pt x="10744" y="788"/>
                </a:cubicBezTo>
                <a:close/>
                <a:moveTo>
                  <a:pt x="1639" y="788"/>
                </a:moveTo>
                <a:cubicBezTo>
                  <a:pt x="2111" y="788"/>
                  <a:pt x="2458" y="1135"/>
                  <a:pt x="2458" y="1607"/>
                </a:cubicBezTo>
                <a:lnTo>
                  <a:pt x="2458" y="5073"/>
                </a:lnTo>
                <a:cubicBezTo>
                  <a:pt x="2458" y="5167"/>
                  <a:pt x="2427" y="5230"/>
                  <a:pt x="2395" y="5325"/>
                </a:cubicBezTo>
                <a:cubicBezTo>
                  <a:pt x="1922" y="6081"/>
                  <a:pt x="1639" y="6963"/>
                  <a:pt x="1639" y="7877"/>
                </a:cubicBezTo>
                <a:cubicBezTo>
                  <a:pt x="1639" y="8664"/>
                  <a:pt x="1828" y="9420"/>
                  <a:pt x="2206" y="10082"/>
                </a:cubicBezTo>
                <a:lnTo>
                  <a:pt x="1481" y="10554"/>
                </a:lnTo>
                <a:cubicBezTo>
                  <a:pt x="1040" y="9767"/>
                  <a:pt x="788" y="8853"/>
                  <a:pt x="788" y="7908"/>
                </a:cubicBezTo>
                <a:cubicBezTo>
                  <a:pt x="788" y="6931"/>
                  <a:pt x="1040" y="5955"/>
                  <a:pt x="1513" y="5136"/>
                </a:cubicBezTo>
                <a:cubicBezTo>
                  <a:pt x="1576" y="5041"/>
                  <a:pt x="1607" y="4978"/>
                  <a:pt x="1607" y="4915"/>
                </a:cubicBezTo>
                <a:lnTo>
                  <a:pt x="1607" y="3340"/>
                </a:lnTo>
                <a:cubicBezTo>
                  <a:pt x="1891" y="3277"/>
                  <a:pt x="2048" y="3119"/>
                  <a:pt x="2048" y="2867"/>
                </a:cubicBezTo>
                <a:cubicBezTo>
                  <a:pt x="2048" y="2647"/>
                  <a:pt x="1828" y="2458"/>
                  <a:pt x="1639" y="2458"/>
                </a:cubicBezTo>
                <a:cubicBezTo>
                  <a:pt x="1166" y="2458"/>
                  <a:pt x="820" y="2080"/>
                  <a:pt x="820" y="1607"/>
                </a:cubicBezTo>
                <a:cubicBezTo>
                  <a:pt x="820" y="1135"/>
                  <a:pt x="1166" y="788"/>
                  <a:pt x="1639" y="788"/>
                </a:cubicBezTo>
                <a:close/>
                <a:moveTo>
                  <a:pt x="4128" y="3277"/>
                </a:moveTo>
                <a:lnTo>
                  <a:pt x="4128" y="10964"/>
                </a:lnTo>
                <a:cubicBezTo>
                  <a:pt x="3151" y="10271"/>
                  <a:pt x="2458" y="9137"/>
                  <a:pt x="2458" y="7845"/>
                </a:cubicBezTo>
                <a:cubicBezTo>
                  <a:pt x="2458" y="7089"/>
                  <a:pt x="2710" y="6333"/>
                  <a:pt x="3088" y="5766"/>
                </a:cubicBezTo>
                <a:cubicBezTo>
                  <a:pt x="3214" y="5545"/>
                  <a:pt x="3309" y="5325"/>
                  <a:pt x="3309" y="5073"/>
                </a:cubicBezTo>
                <a:lnTo>
                  <a:pt x="3309" y="3277"/>
                </a:lnTo>
                <a:close/>
                <a:moveTo>
                  <a:pt x="9074" y="3277"/>
                </a:moveTo>
                <a:lnTo>
                  <a:pt x="9074" y="5073"/>
                </a:lnTo>
                <a:cubicBezTo>
                  <a:pt x="9074" y="5325"/>
                  <a:pt x="9169" y="5545"/>
                  <a:pt x="9295" y="5797"/>
                </a:cubicBezTo>
                <a:cubicBezTo>
                  <a:pt x="9673" y="6396"/>
                  <a:pt x="9925" y="7120"/>
                  <a:pt x="9925" y="7877"/>
                </a:cubicBezTo>
                <a:cubicBezTo>
                  <a:pt x="9925" y="9168"/>
                  <a:pt x="9232" y="10334"/>
                  <a:pt x="8255" y="10996"/>
                </a:cubicBezTo>
                <a:lnTo>
                  <a:pt x="8255" y="3277"/>
                </a:lnTo>
                <a:close/>
                <a:moveTo>
                  <a:pt x="5766" y="3277"/>
                </a:moveTo>
                <a:lnTo>
                  <a:pt x="5766" y="11594"/>
                </a:lnTo>
                <a:cubicBezTo>
                  <a:pt x="5514" y="11531"/>
                  <a:pt x="5230" y="11500"/>
                  <a:pt x="4947" y="11374"/>
                </a:cubicBezTo>
                <a:lnTo>
                  <a:pt x="4947" y="3277"/>
                </a:lnTo>
                <a:close/>
                <a:moveTo>
                  <a:pt x="7436" y="3277"/>
                </a:moveTo>
                <a:lnTo>
                  <a:pt x="7436" y="11374"/>
                </a:lnTo>
                <a:cubicBezTo>
                  <a:pt x="7152" y="11500"/>
                  <a:pt x="6869" y="11531"/>
                  <a:pt x="6617" y="11594"/>
                </a:cubicBezTo>
                <a:lnTo>
                  <a:pt x="6617" y="3277"/>
                </a:lnTo>
                <a:close/>
                <a:moveTo>
                  <a:pt x="9767" y="10743"/>
                </a:moveTo>
                <a:lnTo>
                  <a:pt x="10460" y="11216"/>
                </a:lnTo>
                <a:cubicBezTo>
                  <a:pt x="9452" y="12445"/>
                  <a:pt x="7908" y="13264"/>
                  <a:pt x="6176" y="13264"/>
                </a:cubicBezTo>
                <a:cubicBezTo>
                  <a:pt x="4474" y="13264"/>
                  <a:pt x="2931" y="12445"/>
                  <a:pt x="1954" y="11216"/>
                </a:cubicBezTo>
                <a:lnTo>
                  <a:pt x="2679" y="10743"/>
                </a:lnTo>
                <a:cubicBezTo>
                  <a:pt x="3529" y="11815"/>
                  <a:pt x="4789" y="12445"/>
                  <a:pt x="6207" y="12445"/>
                </a:cubicBezTo>
                <a:cubicBezTo>
                  <a:pt x="7625" y="12445"/>
                  <a:pt x="8885" y="11783"/>
                  <a:pt x="9767" y="10743"/>
                </a:cubicBezTo>
                <a:close/>
                <a:moveTo>
                  <a:pt x="1670" y="0"/>
                </a:moveTo>
                <a:cubicBezTo>
                  <a:pt x="788" y="0"/>
                  <a:pt x="32" y="756"/>
                  <a:pt x="32" y="1670"/>
                </a:cubicBezTo>
                <a:cubicBezTo>
                  <a:pt x="32" y="2300"/>
                  <a:pt x="347" y="2804"/>
                  <a:pt x="851" y="3088"/>
                </a:cubicBezTo>
                <a:lnTo>
                  <a:pt x="851" y="4758"/>
                </a:lnTo>
                <a:cubicBezTo>
                  <a:pt x="253" y="5671"/>
                  <a:pt x="1" y="6742"/>
                  <a:pt x="1" y="7877"/>
                </a:cubicBezTo>
                <a:cubicBezTo>
                  <a:pt x="1" y="11279"/>
                  <a:pt x="2742" y="14114"/>
                  <a:pt x="6207" y="14114"/>
                </a:cubicBezTo>
                <a:cubicBezTo>
                  <a:pt x="9673" y="14114"/>
                  <a:pt x="12445" y="11279"/>
                  <a:pt x="12445" y="7877"/>
                </a:cubicBezTo>
                <a:cubicBezTo>
                  <a:pt x="12445" y="6774"/>
                  <a:pt x="12162" y="5703"/>
                  <a:pt x="11594" y="4758"/>
                </a:cubicBezTo>
                <a:lnTo>
                  <a:pt x="11594" y="3088"/>
                </a:lnTo>
                <a:cubicBezTo>
                  <a:pt x="12130" y="2804"/>
                  <a:pt x="12445" y="2237"/>
                  <a:pt x="12445" y="1670"/>
                </a:cubicBezTo>
                <a:cubicBezTo>
                  <a:pt x="12445" y="756"/>
                  <a:pt x="11689" y="0"/>
                  <a:pt x="10775" y="0"/>
                </a:cubicBezTo>
                <a:cubicBezTo>
                  <a:pt x="9862" y="0"/>
                  <a:pt x="9137" y="756"/>
                  <a:pt x="9137" y="1670"/>
                </a:cubicBezTo>
                <a:lnTo>
                  <a:pt x="9137" y="2489"/>
                </a:lnTo>
                <a:lnTo>
                  <a:pt x="3340" y="2489"/>
                </a:lnTo>
                <a:lnTo>
                  <a:pt x="3340" y="1670"/>
                </a:lnTo>
                <a:cubicBezTo>
                  <a:pt x="3340" y="756"/>
                  <a:pt x="2584"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06" name="Google Shape;7706;p75"/>
          <p:cNvGrpSpPr/>
          <p:nvPr/>
        </p:nvGrpSpPr>
        <p:grpSpPr>
          <a:xfrm>
            <a:off x="7669386" y="2586208"/>
            <a:ext cx="458465" cy="455632"/>
            <a:chOff x="-13095575" y="2073400"/>
            <a:chExt cx="356025" cy="353825"/>
          </a:xfrm>
        </p:grpSpPr>
        <p:sp>
          <p:nvSpPr>
            <p:cNvPr id="7707" name="Google Shape;7707;p75"/>
            <p:cNvSpPr/>
            <p:nvPr/>
          </p:nvSpPr>
          <p:spPr>
            <a:xfrm>
              <a:off x="-13095575" y="2073400"/>
              <a:ext cx="356025" cy="353825"/>
            </a:xfrm>
            <a:custGeom>
              <a:avLst/>
              <a:gdLst/>
              <a:ahLst/>
              <a:cxnLst/>
              <a:rect l="l" t="t" r="r" b="b"/>
              <a:pathLst>
                <a:path w="14241" h="14153" extrusionOk="0">
                  <a:moveTo>
                    <a:pt x="12886" y="820"/>
                  </a:moveTo>
                  <a:cubicBezTo>
                    <a:pt x="13107" y="820"/>
                    <a:pt x="13327" y="1041"/>
                    <a:pt x="13327" y="1261"/>
                  </a:cubicBezTo>
                  <a:lnTo>
                    <a:pt x="13327" y="9578"/>
                  </a:lnTo>
                  <a:cubicBezTo>
                    <a:pt x="13327" y="9799"/>
                    <a:pt x="13107" y="9988"/>
                    <a:pt x="12886" y="9988"/>
                  </a:cubicBezTo>
                  <a:lnTo>
                    <a:pt x="1261" y="9988"/>
                  </a:lnTo>
                  <a:cubicBezTo>
                    <a:pt x="1040" y="9988"/>
                    <a:pt x="851" y="9799"/>
                    <a:pt x="851" y="9578"/>
                  </a:cubicBezTo>
                  <a:lnTo>
                    <a:pt x="851" y="1261"/>
                  </a:lnTo>
                  <a:cubicBezTo>
                    <a:pt x="851" y="1041"/>
                    <a:pt x="1040" y="820"/>
                    <a:pt x="1261" y="820"/>
                  </a:cubicBezTo>
                  <a:close/>
                  <a:moveTo>
                    <a:pt x="1261" y="1"/>
                  </a:moveTo>
                  <a:cubicBezTo>
                    <a:pt x="599" y="1"/>
                    <a:pt x="1" y="568"/>
                    <a:pt x="1" y="1261"/>
                  </a:cubicBezTo>
                  <a:lnTo>
                    <a:pt x="1" y="9578"/>
                  </a:lnTo>
                  <a:cubicBezTo>
                    <a:pt x="1" y="10240"/>
                    <a:pt x="568" y="10839"/>
                    <a:pt x="1261" y="10839"/>
                  </a:cubicBezTo>
                  <a:lnTo>
                    <a:pt x="6270" y="10839"/>
                  </a:lnTo>
                  <a:lnTo>
                    <a:pt x="4285" y="13485"/>
                  </a:lnTo>
                  <a:cubicBezTo>
                    <a:pt x="4191" y="13674"/>
                    <a:pt x="4191" y="13895"/>
                    <a:pt x="4380" y="14052"/>
                  </a:cubicBezTo>
                  <a:cubicBezTo>
                    <a:pt x="4465" y="14109"/>
                    <a:pt x="4562" y="14140"/>
                    <a:pt x="4659" y="14140"/>
                  </a:cubicBezTo>
                  <a:cubicBezTo>
                    <a:pt x="4776" y="14140"/>
                    <a:pt x="4892" y="14093"/>
                    <a:pt x="4978" y="13989"/>
                  </a:cubicBezTo>
                  <a:lnTo>
                    <a:pt x="6711" y="11658"/>
                  </a:lnTo>
                  <a:lnTo>
                    <a:pt x="6711" y="12918"/>
                  </a:lnTo>
                  <a:cubicBezTo>
                    <a:pt x="6711" y="13138"/>
                    <a:pt x="6900" y="13359"/>
                    <a:pt x="7089" y="13359"/>
                  </a:cubicBezTo>
                  <a:cubicBezTo>
                    <a:pt x="7310" y="13359"/>
                    <a:pt x="7530" y="13138"/>
                    <a:pt x="7530" y="12918"/>
                  </a:cubicBezTo>
                  <a:lnTo>
                    <a:pt x="7530" y="11658"/>
                  </a:lnTo>
                  <a:lnTo>
                    <a:pt x="9263" y="13989"/>
                  </a:lnTo>
                  <a:cubicBezTo>
                    <a:pt x="9335" y="14096"/>
                    <a:pt x="9457" y="14153"/>
                    <a:pt x="9584" y="14153"/>
                  </a:cubicBezTo>
                  <a:cubicBezTo>
                    <a:pt x="9681" y="14153"/>
                    <a:pt x="9780" y="14120"/>
                    <a:pt x="9862" y="14052"/>
                  </a:cubicBezTo>
                  <a:cubicBezTo>
                    <a:pt x="10051" y="13926"/>
                    <a:pt x="10082" y="13674"/>
                    <a:pt x="9925" y="13485"/>
                  </a:cubicBezTo>
                  <a:lnTo>
                    <a:pt x="7971" y="10839"/>
                  </a:lnTo>
                  <a:lnTo>
                    <a:pt x="12981" y="10839"/>
                  </a:lnTo>
                  <a:cubicBezTo>
                    <a:pt x="13642" y="10839"/>
                    <a:pt x="14241" y="10272"/>
                    <a:pt x="14241" y="9578"/>
                  </a:cubicBezTo>
                  <a:lnTo>
                    <a:pt x="14241" y="1261"/>
                  </a:lnTo>
                  <a:cubicBezTo>
                    <a:pt x="14146" y="600"/>
                    <a:pt x="13579" y="1"/>
                    <a:pt x="128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8" name="Google Shape;7708;p75"/>
            <p:cNvSpPr/>
            <p:nvPr/>
          </p:nvSpPr>
          <p:spPr>
            <a:xfrm>
              <a:off x="-13055400" y="2115150"/>
              <a:ext cx="271750" cy="187475"/>
            </a:xfrm>
            <a:custGeom>
              <a:avLst/>
              <a:gdLst/>
              <a:ahLst/>
              <a:cxnLst/>
              <a:rect l="l" t="t" r="r" b="b"/>
              <a:pathLst>
                <a:path w="10870" h="7499" extrusionOk="0">
                  <a:moveTo>
                    <a:pt x="3781" y="820"/>
                  </a:moveTo>
                  <a:cubicBezTo>
                    <a:pt x="4474" y="820"/>
                    <a:pt x="5041" y="1355"/>
                    <a:pt x="5041" y="2017"/>
                  </a:cubicBezTo>
                  <a:lnTo>
                    <a:pt x="5041" y="6648"/>
                  </a:lnTo>
                  <a:lnTo>
                    <a:pt x="882" y="6648"/>
                  </a:lnTo>
                  <a:lnTo>
                    <a:pt x="882" y="820"/>
                  </a:lnTo>
                  <a:close/>
                  <a:moveTo>
                    <a:pt x="10050" y="851"/>
                  </a:moveTo>
                  <a:lnTo>
                    <a:pt x="10050" y="6680"/>
                  </a:lnTo>
                  <a:lnTo>
                    <a:pt x="5892" y="6680"/>
                  </a:lnTo>
                  <a:lnTo>
                    <a:pt x="5892" y="2080"/>
                  </a:lnTo>
                  <a:cubicBezTo>
                    <a:pt x="5892" y="1418"/>
                    <a:pt x="6427" y="851"/>
                    <a:pt x="7152" y="851"/>
                  </a:cubicBezTo>
                  <a:close/>
                  <a:moveTo>
                    <a:pt x="441" y="1"/>
                  </a:moveTo>
                  <a:cubicBezTo>
                    <a:pt x="221" y="1"/>
                    <a:pt x="0" y="190"/>
                    <a:pt x="0" y="410"/>
                  </a:cubicBezTo>
                  <a:lnTo>
                    <a:pt x="0" y="7089"/>
                  </a:lnTo>
                  <a:cubicBezTo>
                    <a:pt x="0" y="7310"/>
                    <a:pt x="221" y="7499"/>
                    <a:pt x="441" y="7499"/>
                  </a:cubicBezTo>
                  <a:lnTo>
                    <a:pt x="10397" y="7499"/>
                  </a:lnTo>
                  <a:cubicBezTo>
                    <a:pt x="10649" y="7499"/>
                    <a:pt x="10838" y="7310"/>
                    <a:pt x="10838" y="7089"/>
                  </a:cubicBezTo>
                  <a:lnTo>
                    <a:pt x="10838" y="410"/>
                  </a:lnTo>
                  <a:cubicBezTo>
                    <a:pt x="10869" y="190"/>
                    <a:pt x="10680" y="1"/>
                    <a:pt x="10460" y="1"/>
                  </a:cubicBezTo>
                  <a:lnTo>
                    <a:pt x="7089" y="1"/>
                  </a:lnTo>
                  <a:cubicBezTo>
                    <a:pt x="6427" y="1"/>
                    <a:pt x="5829" y="316"/>
                    <a:pt x="5451" y="820"/>
                  </a:cubicBezTo>
                  <a:cubicBezTo>
                    <a:pt x="5041" y="284"/>
                    <a:pt x="4474"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09" name="Google Shape;7709;p75"/>
            <p:cNvSpPr/>
            <p:nvPr/>
          </p:nvSpPr>
          <p:spPr>
            <a:xfrm>
              <a:off x="-12887650" y="2156100"/>
              <a:ext cx="63050" cy="22100"/>
            </a:xfrm>
            <a:custGeom>
              <a:avLst/>
              <a:gdLst/>
              <a:ahLst/>
              <a:cxnLst/>
              <a:rect l="l" t="t" r="r" b="b"/>
              <a:pathLst>
                <a:path w="2522" h="884" extrusionOk="0">
                  <a:moveTo>
                    <a:pt x="442" y="1"/>
                  </a:moveTo>
                  <a:cubicBezTo>
                    <a:pt x="190" y="1"/>
                    <a:pt x="1" y="190"/>
                    <a:pt x="1" y="442"/>
                  </a:cubicBezTo>
                  <a:cubicBezTo>
                    <a:pt x="1" y="663"/>
                    <a:pt x="190" y="883"/>
                    <a:pt x="442" y="883"/>
                  </a:cubicBezTo>
                  <a:lnTo>
                    <a:pt x="2112" y="883"/>
                  </a:lnTo>
                  <a:cubicBezTo>
                    <a:pt x="2364" y="883"/>
                    <a:pt x="2521" y="663"/>
                    <a:pt x="2521" y="442"/>
                  </a:cubicBezTo>
                  <a:cubicBezTo>
                    <a:pt x="2521" y="190"/>
                    <a:pt x="2332" y="1"/>
                    <a:pt x="21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0" name="Google Shape;7710;p75"/>
            <p:cNvSpPr/>
            <p:nvPr/>
          </p:nvSpPr>
          <p:spPr>
            <a:xfrm>
              <a:off x="-12888425" y="2198650"/>
              <a:ext cx="63025" cy="21275"/>
            </a:xfrm>
            <a:custGeom>
              <a:avLst/>
              <a:gdLst/>
              <a:ahLst/>
              <a:cxnLst/>
              <a:rect l="l" t="t" r="r" b="b"/>
              <a:pathLst>
                <a:path w="2521" h="851" extrusionOk="0">
                  <a:moveTo>
                    <a:pt x="410" y="0"/>
                  </a:moveTo>
                  <a:cubicBezTo>
                    <a:pt x="189" y="0"/>
                    <a:pt x="0" y="189"/>
                    <a:pt x="0" y="410"/>
                  </a:cubicBezTo>
                  <a:cubicBezTo>
                    <a:pt x="0" y="662"/>
                    <a:pt x="189" y="851"/>
                    <a:pt x="410" y="851"/>
                  </a:cubicBezTo>
                  <a:lnTo>
                    <a:pt x="2111" y="851"/>
                  </a:lnTo>
                  <a:cubicBezTo>
                    <a:pt x="2363" y="851"/>
                    <a:pt x="2521" y="662"/>
                    <a:pt x="2521" y="410"/>
                  </a:cubicBezTo>
                  <a:cubicBezTo>
                    <a:pt x="2521" y="189"/>
                    <a:pt x="2363"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1" name="Google Shape;7711;p75"/>
            <p:cNvSpPr/>
            <p:nvPr/>
          </p:nvSpPr>
          <p:spPr>
            <a:xfrm>
              <a:off x="-12888425" y="2239600"/>
              <a:ext cx="63025" cy="22075"/>
            </a:xfrm>
            <a:custGeom>
              <a:avLst/>
              <a:gdLst/>
              <a:ahLst/>
              <a:cxnLst/>
              <a:rect l="l" t="t" r="r" b="b"/>
              <a:pathLst>
                <a:path w="2521" h="883" extrusionOk="0">
                  <a:moveTo>
                    <a:pt x="410" y="0"/>
                  </a:moveTo>
                  <a:cubicBezTo>
                    <a:pt x="189" y="0"/>
                    <a:pt x="0" y="221"/>
                    <a:pt x="0" y="442"/>
                  </a:cubicBezTo>
                  <a:cubicBezTo>
                    <a:pt x="0" y="694"/>
                    <a:pt x="189" y="883"/>
                    <a:pt x="410" y="883"/>
                  </a:cubicBezTo>
                  <a:lnTo>
                    <a:pt x="2111" y="883"/>
                  </a:lnTo>
                  <a:cubicBezTo>
                    <a:pt x="2363" y="883"/>
                    <a:pt x="2521" y="694"/>
                    <a:pt x="2521" y="442"/>
                  </a:cubicBezTo>
                  <a:cubicBezTo>
                    <a:pt x="2521" y="221"/>
                    <a:pt x="2363" y="0"/>
                    <a:pt x="21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2" name="Google Shape;7712;p75"/>
            <p:cNvSpPr/>
            <p:nvPr/>
          </p:nvSpPr>
          <p:spPr>
            <a:xfrm>
              <a:off x="-13012875" y="2156100"/>
              <a:ext cx="63025" cy="22100"/>
            </a:xfrm>
            <a:custGeom>
              <a:avLst/>
              <a:gdLst/>
              <a:ahLst/>
              <a:cxnLst/>
              <a:rect l="l" t="t" r="r" b="b"/>
              <a:pathLst>
                <a:path w="2521" h="884" extrusionOk="0">
                  <a:moveTo>
                    <a:pt x="410" y="1"/>
                  </a:moveTo>
                  <a:cubicBezTo>
                    <a:pt x="158" y="1"/>
                    <a:pt x="1" y="190"/>
                    <a:pt x="1" y="442"/>
                  </a:cubicBezTo>
                  <a:cubicBezTo>
                    <a:pt x="1" y="663"/>
                    <a:pt x="190" y="883"/>
                    <a:pt x="410" y="883"/>
                  </a:cubicBezTo>
                  <a:lnTo>
                    <a:pt x="2080" y="883"/>
                  </a:lnTo>
                  <a:cubicBezTo>
                    <a:pt x="2332" y="883"/>
                    <a:pt x="2521" y="663"/>
                    <a:pt x="2521" y="442"/>
                  </a:cubicBezTo>
                  <a:cubicBezTo>
                    <a:pt x="2521" y="190"/>
                    <a:pt x="2332" y="1"/>
                    <a:pt x="208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3" name="Google Shape;7713;p75"/>
            <p:cNvSpPr/>
            <p:nvPr/>
          </p:nvSpPr>
          <p:spPr>
            <a:xfrm>
              <a:off x="-13012875" y="2198650"/>
              <a:ext cx="63025" cy="21275"/>
            </a:xfrm>
            <a:custGeom>
              <a:avLst/>
              <a:gdLst/>
              <a:ahLst/>
              <a:cxnLst/>
              <a:rect l="l" t="t" r="r" b="b"/>
              <a:pathLst>
                <a:path w="2521" h="851" extrusionOk="0">
                  <a:moveTo>
                    <a:pt x="410" y="0"/>
                  </a:moveTo>
                  <a:cubicBezTo>
                    <a:pt x="158" y="0"/>
                    <a:pt x="1" y="189"/>
                    <a:pt x="1" y="410"/>
                  </a:cubicBezTo>
                  <a:cubicBezTo>
                    <a:pt x="1" y="662"/>
                    <a:pt x="190" y="851"/>
                    <a:pt x="410" y="851"/>
                  </a:cubicBezTo>
                  <a:lnTo>
                    <a:pt x="2080" y="851"/>
                  </a:lnTo>
                  <a:cubicBezTo>
                    <a:pt x="2332" y="851"/>
                    <a:pt x="2521" y="662"/>
                    <a:pt x="2521" y="410"/>
                  </a:cubicBezTo>
                  <a:cubicBezTo>
                    <a:pt x="2521" y="189"/>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4" name="Google Shape;7714;p75"/>
            <p:cNvSpPr/>
            <p:nvPr/>
          </p:nvSpPr>
          <p:spPr>
            <a:xfrm>
              <a:off x="-13012875" y="2239600"/>
              <a:ext cx="63025" cy="22075"/>
            </a:xfrm>
            <a:custGeom>
              <a:avLst/>
              <a:gdLst/>
              <a:ahLst/>
              <a:cxnLst/>
              <a:rect l="l" t="t" r="r" b="b"/>
              <a:pathLst>
                <a:path w="2521" h="883" extrusionOk="0">
                  <a:moveTo>
                    <a:pt x="410" y="0"/>
                  </a:moveTo>
                  <a:cubicBezTo>
                    <a:pt x="158" y="0"/>
                    <a:pt x="1" y="221"/>
                    <a:pt x="1" y="442"/>
                  </a:cubicBezTo>
                  <a:cubicBezTo>
                    <a:pt x="1" y="694"/>
                    <a:pt x="190" y="883"/>
                    <a:pt x="410" y="883"/>
                  </a:cubicBezTo>
                  <a:lnTo>
                    <a:pt x="2080" y="883"/>
                  </a:lnTo>
                  <a:cubicBezTo>
                    <a:pt x="2332" y="883"/>
                    <a:pt x="2521" y="694"/>
                    <a:pt x="2521" y="442"/>
                  </a:cubicBezTo>
                  <a:cubicBezTo>
                    <a:pt x="2521" y="221"/>
                    <a:pt x="2332" y="0"/>
                    <a:pt x="20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15" name="Google Shape;7715;p75"/>
          <p:cNvSpPr/>
          <p:nvPr/>
        </p:nvSpPr>
        <p:spPr>
          <a:xfrm>
            <a:off x="7670899" y="3131598"/>
            <a:ext cx="455439" cy="454409"/>
          </a:xfrm>
          <a:custGeom>
            <a:avLst/>
            <a:gdLst/>
            <a:ahLst/>
            <a:cxnLst/>
            <a:rect l="l" t="t" r="r" b="b"/>
            <a:pathLst>
              <a:path w="14147" h="14115" extrusionOk="0">
                <a:moveTo>
                  <a:pt x="7058" y="851"/>
                </a:moveTo>
                <a:cubicBezTo>
                  <a:pt x="9294" y="851"/>
                  <a:pt x="10649" y="1386"/>
                  <a:pt x="10744" y="1670"/>
                </a:cubicBezTo>
                <a:cubicBezTo>
                  <a:pt x="10649" y="1922"/>
                  <a:pt x="9294" y="2489"/>
                  <a:pt x="7058" y="2489"/>
                </a:cubicBezTo>
                <a:cubicBezTo>
                  <a:pt x="4821" y="2489"/>
                  <a:pt x="3466" y="1922"/>
                  <a:pt x="3340" y="1670"/>
                </a:cubicBezTo>
                <a:cubicBezTo>
                  <a:pt x="3466" y="1386"/>
                  <a:pt x="4821" y="851"/>
                  <a:pt x="7058" y="851"/>
                </a:cubicBezTo>
                <a:close/>
                <a:moveTo>
                  <a:pt x="10681" y="2741"/>
                </a:moveTo>
                <a:lnTo>
                  <a:pt x="10114" y="8727"/>
                </a:lnTo>
                <a:cubicBezTo>
                  <a:pt x="9515" y="9042"/>
                  <a:pt x="8381" y="9200"/>
                  <a:pt x="7058" y="9200"/>
                </a:cubicBezTo>
                <a:cubicBezTo>
                  <a:pt x="5703" y="9200"/>
                  <a:pt x="4663" y="9010"/>
                  <a:pt x="4002" y="8727"/>
                </a:cubicBezTo>
                <a:lnTo>
                  <a:pt x="3435" y="2741"/>
                </a:lnTo>
                <a:lnTo>
                  <a:pt x="3435" y="2741"/>
                </a:lnTo>
                <a:cubicBezTo>
                  <a:pt x="4411" y="3214"/>
                  <a:pt x="5955" y="3308"/>
                  <a:pt x="7058" y="3308"/>
                </a:cubicBezTo>
                <a:cubicBezTo>
                  <a:pt x="8160" y="3308"/>
                  <a:pt x="9704" y="3151"/>
                  <a:pt x="10681" y="2741"/>
                </a:cubicBezTo>
                <a:close/>
                <a:moveTo>
                  <a:pt x="10051" y="9609"/>
                </a:moveTo>
                <a:lnTo>
                  <a:pt x="9956" y="10334"/>
                </a:lnTo>
                <a:cubicBezTo>
                  <a:pt x="9893" y="10397"/>
                  <a:pt x="9641" y="10523"/>
                  <a:pt x="9105" y="10649"/>
                </a:cubicBezTo>
                <a:cubicBezTo>
                  <a:pt x="8538" y="10775"/>
                  <a:pt x="7814" y="10838"/>
                  <a:pt x="7089" y="10838"/>
                </a:cubicBezTo>
                <a:cubicBezTo>
                  <a:pt x="6333" y="10838"/>
                  <a:pt x="5640" y="10775"/>
                  <a:pt x="5073" y="10649"/>
                </a:cubicBezTo>
                <a:cubicBezTo>
                  <a:pt x="4537" y="10523"/>
                  <a:pt x="4285" y="10397"/>
                  <a:pt x="4222" y="10334"/>
                </a:cubicBezTo>
                <a:lnTo>
                  <a:pt x="4128" y="9609"/>
                </a:lnTo>
                <a:lnTo>
                  <a:pt x="4128" y="9609"/>
                </a:lnTo>
                <a:cubicBezTo>
                  <a:pt x="5041" y="9924"/>
                  <a:pt x="6239" y="9987"/>
                  <a:pt x="7089" y="9987"/>
                </a:cubicBezTo>
                <a:cubicBezTo>
                  <a:pt x="7971" y="9987"/>
                  <a:pt x="9137" y="9893"/>
                  <a:pt x="10051" y="9609"/>
                </a:cubicBezTo>
                <a:close/>
                <a:moveTo>
                  <a:pt x="10964" y="9609"/>
                </a:moveTo>
                <a:cubicBezTo>
                  <a:pt x="12666" y="10082"/>
                  <a:pt x="13390" y="10712"/>
                  <a:pt x="13390" y="11247"/>
                </a:cubicBezTo>
                <a:cubicBezTo>
                  <a:pt x="13327" y="11720"/>
                  <a:pt x="12697" y="12224"/>
                  <a:pt x="11626" y="12602"/>
                </a:cubicBezTo>
                <a:cubicBezTo>
                  <a:pt x="10397" y="13043"/>
                  <a:pt x="8790" y="13327"/>
                  <a:pt x="7089" y="13327"/>
                </a:cubicBezTo>
                <a:cubicBezTo>
                  <a:pt x="5388" y="13327"/>
                  <a:pt x="3750" y="13075"/>
                  <a:pt x="2552" y="12602"/>
                </a:cubicBezTo>
                <a:cubicBezTo>
                  <a:pt x="1513" y="12224"/>
                  <a:pt x="883" y="11720"/>
                  <a:pt x="883" y="11247"/>
                </a:cubicBezTo>
                <a:cubicBezTo>
                  <a:pt x="883" y="10775"/>
                  <a:pt x="1639" y="10082"/>
                  <a:pt x="3309" y="9609"/>
                </a:cubicBezTo>
                <a:lnTo>
                  <a:pt x="3403" y="10397"/>
                </a:lnTo>
                <a:cubicBezTo>
                  <a:pt x="3435" y="11027"/>
                  <a:pt x="4380" y="11279"/>
                  <a:pt x="4695" y="11342"/>
                </a:cubicBezTo>
                <a:cubicBezTo>
                  <a:pt x="5356" y="11499"/>
                  <a:pt x="6239" y="11594"/>
                  <a:pt x="7152" y="11594"/>
                </a:cubicBezTo>
                <a:cubicBezTo>
                  <a:pt x="8034" y="11594"/>
                  <a:pt x="8916" y="11499"/>
                  <a:pt x="9578" y="11342"/>
                </a:cubicBezTo>
                <a:cubicBezTo>
                  <a:pt x="9893" y="11279"/>
                  <a:pt x="10838" y="11027"/>
                  <a:pt x="10870" y="10397"/>
                </a:cubicBezTo>
                <a:lnTo>
                  <a:pt x="10964" y="9609"/>
                </a:lnTo>
                <a:close/>
                <a:moveTo>
                  <a:pt x="7058" y="0"/>
                </a:moveTo>
                <a:cubicBezTo>
                  <a:pt x="5671" y="0"/>
                  <a:pt x="2521" y="284"/>
                  <a:pt x="2521" y="1670"/>
                </a:cubicBezTo>
                <a:cubicBezTo>
                  <a:pt x="2521" y="1733"/>
                  <a:pt x="2489" y="1197"/>
                  <a:pt x="3214" y="8790"/>
                </a:cubicBezTo>
                <a:cubicBezTo>
                  <a:pt x="1198" y="9294"/>
                  <a:pt x="1" y="10208"/>
                  <a:pt x="1" y="11247"/>
                </a:cubicBezTo>
                <a:cubicBezTo>
                  <a:pt x="1" y="12098"/>
                  <a:pt x="788" y="12854"/>
                  <a:pt x="2206" y="13358"/>
                </a:cubicBezTo>
                <a:cubicBezTo>
                  <a:pt x="3498" y="13831"/>
                  <a:pt x="5262" y="14114"/>
                  <a:pt x="7058" y="14114"/>
                </a:cubicBezTo>
                <a:cubicBezTo>
                  <a:pt x="8853" y="14114"/>
                  <a:pt x="10586" y="13831"/>
                  <a:pt x="11909" y="13358"/>
                </a:cubicBezTo>
                <a:cubicBezTo>
                  <a:pt x="13327" y="12823"/>
                  <a:pt x="14115" y="12066"/>
                  <a:pt x="14115" y="11247"/>
                </a:cubicBezTo>
                <a:cubicBezTo>
                  <a:pt x="14146" y="10208"/>
                  <a:pt x="12949" y="9357"/>
                  <a:pt x="10964" y="8790"/>
                </a:cubicBezTo>
                <a:cubicBezTo>
                  <a:pt x="11657" y="1197"/>
                  <a:pt x="11626" y="1733"/>
                  <a:pt x="11626" y="1670"/>
                </a:cubicBezTo>
                <a:cubicBezTo>
                  <a:pt x="11626" y="1481"/>
                  <a:pt x="11531" y="1166"/>
                  <a:pt x="11122" y="851"/>
                </a:cubicBezTo>
                <a:cubicBezTo>
                  <a:pt x="10177" y="158"/>
                  <a:pt x="8192" y="0"/>
                  <a:pt x="70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16" name="Google Shape;7716;p75"/>
          <p:cNvGrpSpPr/>
          <p:nvPr/>
        </p:nvGrpSpPr>
        <p:grpSpPr>
          <a:xfrm>
            <a:off x="10102383" y="2041980"/>
            <a:ext cx="457467" cy="456565"/>
            <a:chOff x="-11332875" y="1660700"/>
            <a:chExt cx="355250" cy="354550"/>
          </a:xfrm>
        </p:grpSpPr>
        <p:sp>
          <p:nvSpPr>
            <p:cNvPr id="7717" name="Google Shape;7717;p75"/>
            <p:cNvSpPr/>
            <p:nvPr/>
          </p:nvSpPr>
          <p:spPr>
            <a:xfrm>
              <a:off x="-11332875" y="1660700"/>
              <a:ext cx="355250" cy="354550"/>
            </a:xfrm>
            <a:custGeom>
              <a:avLst/>
              <a:gdLst/>
              <a:ahLst/>
              <a:cxnLst/>
              <a:rect l="l" t="t" r="r" b="b"/>
              <a:pathLst>
                <a:path w="14210" h="14182" extrusionOk="0">
                  <a:moveTo>
                    <a:pt x="7089" y="914"/>
                  </a:moveTo>
                  <a:cubicBezTo>
                    <a:pt x="7278" y="914"/>
                    <a:pt x="7436" y="1072"/>
                    <a:pt x="7467" y="1229"/>
                  </a:cubicBezTo>
                  <a:cubicBezTo>
                    <a:pt x="7538" y="1417"/>
                    <a:pt x="7713" y="1517"/>
                    <a:pt x="7889" y="1517"/>
                  </a:cubicBezTo>
                  <a:cubicBezTo>
                    <a:pt x="7949" y="1517"/>
                    <a:pt x="8010" y="1505"/>
                    <a:pt x="8066" y="1481"/>
                  </a:cubicBezTo>
                  <a:cubicBezTo>
                    <a:pt x="8124" y="1437"/>
                    <a:pt x="8203" y="1414"/>
                    <a:pt x="8284" y="1414"/>
                  </a:cubicBezTo>
                  <a:cubicBezTo>
                    <a:pt x="8376" y="1414"/>
                    <a:pt x="8471" y="1445"/>
                    <a:pt x="8538" y="1513"/>
                  </a:cubicBezTo>
                  <a:cubicBezTo>
                    <a:pt x="8696" y="1670"/>
                    <a:pt x="8664" y="1859"/>
                    <a:pt x="8570" y="1985"/>
                  </a:cubicBezTo>
                  <a:cubicBezTo>
                    <a:pt x="8444" y="2206"/>
                    <a:pt x="8570" y="2489"/>
                    <a:pt x="8822" y="2584"/>
                  </a:cubicBezTo>
                  <a:cubicBezTo>
                    <a:pt x="8980" y="2615"/>
                    <a:pt x="9137" y="2773"/>
                    <a:pt x="9137" y="2962"/>
                  </a:cubicBezTo>
                  <a:cubicBezTo>
                    <a:pt x="9137" y="3151"/>
                    <a:pt x="8980" y="3308"/>
                    <a:pt x="8822" y="3371"/>
                  </a:cubicBezTo>
                  <a:cubicBezTo>
                    <a:pt x="8570" y="3434"/>
                    <a:pt x="8444" y="3718"/>
                    <a:pt x="8570" y="3939"/>
                  </a:cubicBezTo>
                  <a:cubicBezTo>
                    <a:pt x="8664" y="4065"/>
                    <a:pt x="8664" y="4317"/>
                    <a:pt x="8538" y="4411"/>
                  </a:cubicBezTo>
                  <a:cubicBezTo>
                    <a:pt x="8454" y="4496"/>
                    <a:pt x="8360" y="4526"/>
                    <a:pt x="8272" y="4526"/>
                  </a:cubicBezTo>
                  <a:cubicBezTo>
                    <a:pt x="8196" y="4526"/>
                    <a:pt x="8124" y="4503"/>
                    <a:pt x="8066" y="4474"/>
                  </a:cubicBezTo>
                  <a:cubicBezTo>
                    <a:pt x="8006" y="4440"/>
                    <a:pt x="7941" y="4424"/>
                    <a:pt x="7876" y="4424"/>
                  </a:cubicBezTo>
                  <a:cubicBezTo>
                    <a:pt x="7704" y="4424"/>
                    <a:pt x="7536" y="4534"/>
                    <a:pt x="7467" y="4695"/>
                  </a:cubicBezTo>
                  <a:cubicBezTo>
                    <a:pt x="7436" y="4852"/>
                    <a:pt x="7278" y="5010"/>
                    <a:pt x="7089" y="5010"/>
                  </a:cubicBezTo>
                  <a:cubicBezTo>
                    <a:pt x="6869" y="5010"/>
                    <a:pt x="6711" y="4852"/>
                    <a:pt x="6680" y="4695"/>
                  </a:cubicBezTo>
                  <a:cubicBezTo>
                    <a:pt x="6634" y="4534"/>
                    <a:pt x="6472" y="4424"/>
                    <a:pt x="6290" y="4424"/>
                  </a:cubicBezTo>
                  <a:cubicBezTo>
                    <a:pt x="6221" y="4424"/>
                    <a:pt x="6150" y="4440"/>
                    <a:pt x="6081" y="4474"/>
                  </a:cubicBezTo>
                  <a:cubicBezTo>
                    <a:pt x="6042" y="4500"/>
                    <a:pt x="5976" y="4516"/>
                    <a:pt x="5903" y="4516"/>
                  </a:cubicBezTo>
                  <a:cubicBezTo>
                    <a:pt x="5799" y="4516"/>
                    <a:pt x="5682" y="4485"/>
                    <a:pt x="5609" y="4411"/>
                  </a:cubicBezTo>
                  <a:cubicBezTo>
                    <a:pt x="5451" y="4254"/>
                    <a:pt x="5514" y="4065"/>
                    <a:pt x="5577" y="3939"/>
                  </a:cubicBezTo>
                  <a:cubicBezTo>
                    <a:pt x="5703" y="3718"/>
                    <a:pt x="5577" y="3434"/>
                    <a:pt x="5356" y="3371"/>
                  </a:cubicBezTo>
                  <a:cubicBezTo>
                    <a:pt x="5199" y="3308"/>
                    <a:pt x="5041" y="3151"/>
                    <a:pt x="5041" y="2962"/>
                  </a:cubicBezTo>
                  <a:cubicBezTo>
                    <a:pt x="5041" y="2773"/>
                    <a:pt x="5199" y="2615"/>
                    <a:pt x="5356" y="2584"/>
                  </a:cubicBezTo>
                  <a:cubicBezTo>
                    <a:pt x="5609" y="2489"/>
                    <a:pt x="5735" y="2206"/>
                    <a:pt x="5577" y="1985"/>
                  </a:cubicBezTo>
                  <a:cubicBezTo>
                    <a:pt x="5514" y="1859"/>
                    <a:pt x="5514" y="1639"/>
                    <a:pt x="5609" y="1513"/>
                  </a:cubicBezTo>
                  <a:cubicBezTo>
                    <a:pt x="5703" y="1434"/>
                    <a:pt x="5798" y="1402"/>
                    <a:pt x="5880" y="1402"/>
                  </a:cubicBezTo>
                  <a:cubicBezTo>
                    <a:pt x="5963" y="1402"/>
                    <a:pt x="6034" y="1434"/>
                    <a:pt x="6081" y="1481"/>
                  </a:cubicBezTo>
                  <a:cubicBezTo>
                    <a:pt x="6145" y="1505"/>
                    <a:pt x="6212" y="1517"/>
                    <a:pt x="6276" y="1517"/>
                  </a:cubicBezTo>
                  <a:cubicBezTo>
                    <a:pt x="6464" y="1517"/>
                    <a:pt x="6633" y="1417"/>
                    <a:pt x="6680" y="1229"/>
                  </a:cubicBezTo>
                  <a:cubicBezTo>
                    <a:pt x="6711" y="1072"/>
                    <a:pt x="6869" y="914"/>
                    <a:pt x="7089" y="914"/>
                  </a:cubicBezTo>
                  <a:close/>
                  <a:moveTo>
                    <a:pt x="11374" y="1702"/>
                  </a:moveTo>
                  <a:cubicBezTo>
                    <a:pt x="11563" y="1702"/>
                    <a:pt x="11720" y="1859"/>
                    <a:pt x="11783" y="2017"/>
                  </a:cubicBezTo>
                  <a:cubicBezTo>
                    <a:pt x="11830" y="2204"/>
                    <a:pt x="12000" y="2305"/>
                    <a:pt x="12174" y="2305"/>
                  </a:cubicBezTo>
                  <a:cubicBezTo>
                    <a:pt x="12234" y="2305"/>
                    <a:pt x="12294" y="2293"/>
                    <a:pt x="12351" y="2269"/>
                  </a:cubicBezTo>
                  <a:cubicBezTo>
                    <a:pt x="12424" y="2225"/>
                    <a:pt x="12517" y="2201"/>
                    <a:pt x="12609" y="2201"/>
                  </a:cubicBezTo>
                  <a:cubicBezTo>
                    <a:pt x="12715" y="2201"/>
                    <a:pt x="12819" y="2233"/>
                    <a:pt x="12886" y="2300"/>
                  </a:cubicBezTo>
                  <a:cubicBezTo>
                    <a:pt x="13044" y="2458"/>
                    <a:pt x="12981" y="2647"/>
                    <a:pt x="12918" y="2773"/>
                  </a:cubicBezTo>
                  <a:cubicBezTo>
                    <a:pt x="12792" y="2993"/>
                    <a:pt x="12918" y="3277"/>
                    <a:pt x="13138" y="3371"/>
                  </a:cubicBezTo>
                  <a:cubicBezTo>
                    <a:pt x="13296" y="3403"/>
                    <a:pt x="13453" y="3560"/>
                    <a:pt x="13453" y="3750"/>
                  </a:cubicBezTo>
                  <a:cubicBezTo>
                    <a:pt x="13327" y="4002"/>
                    <a:pt x="13170" y="4159"/>
                    <a:pt x="13075" y="4191"/>
                  </a:cubicBezTo>
                  <a:cubicBezTo>
                    <a:pt x="12823" y="4254"/>
                    <a:pt x="12697" y="4537"/>
                    <a:pt x="12823" y="4789"/>
                  </a:cubicBezTo>
                  <a:cubicBezTo>
                    <a:pt x="12918" y="4884"/>
                    <a:pt x="12918" y="5136"/>
                    <a:pt x="12792" y="5262"/>
                  </a:cubicBezTo>
                  <a:cubicBezTo>
                    <a:pt x="12716" y="5318"/>
                    <a:pt x="12606" y="5364"/>
                    <a:pt x="12497" y="5364"/>
                  </a:cubicBezTo>
                  <a:cubicBezTo>
                    <a:pt x="12424" y="5364"/>
                    <a:pt x="12351" y="5344"/>
                    <a:pt x="12288" y="5293"/>
                  </a:cubicBezTo>
                  <a:cubicBezTo>
                    <a:pt x="12219" y="5259"/>
                    <a:pt x="12150" y="5243"/>
                    <a:pt x="12084" y="5243"/>
                  </a:cubicBezTo>
                  <a:cubicBezTo>
                    <a:pt x="11910" y="5243"/>
                    <a:pt x="11758" y="5354"/>
                    <a:pt x="11689" y="5514"/>
                  </a:cubicBezTo>
                  <a:cubicBezTo>
                    <a:pt x="11657" y="5671"/>
                    <a:pt x="11500" y="5829"/>
                    <a:pt x="11311" y="5829"/>
                  </a:cubicBezTo>
                  <a:cubicBezTo>
                    <a:pt x="11090" y="5829"/>
                    <a:pt x="10933" y="5671"/>
                    <a:pt x="10901" y="5514"/>
                  </a:cubicBezTo>
                  <a:cubicBezTo>
                    <a:pt x="10856" y="5354"/>
                    <a:pt x="10693" y="5243"/>
                    <a:pt x="10511" y="5243"/>
                  </a:cubicBezTo>
                  <a:cubicBezTo>
                    <a:pt x="10443" y="5243"/>
                    <a:pt x="10372" y="5259"/>
                    <a:pt x="10303" y="5293"/>
                  </a:cubicBezTo>
                  <a:cubicBezTo>
                    <a:pt x="10260" y="5322"/>
                    <a:pt x="10186" y="5337"/>
                    <a:pt x="10106" y="5337"/>
                  </a:cubicBezTo>
                  <a:cubicBezTo>
                    <a:pt x="10007" y="5337"/>
                    <a:pt x="9900" y="5314"/>
                    <a:pt x="9830" y="5262"/>
                  </a:cubicBezTo>
                  <a:cubicBezTo>
                    <a:pt x="9673" y="5104"/>
                    <a:pt x="9736" y="4884"/>
                    <a:pt x="9799" y="4789"/>
                  </a:cubicBezTo>
                  <a:cubicBezTo>
                    <a:pt x="9925" y="4569"/>
                    <a:pt x="9830" y="4317"/>
                    <a:pt x="9610" y="4191"/>
                  </a:cubicBezTo>
                  <a:lnTo>
                    <a:pt x="9610" y="3939"/>
                  </a:lnTo>
                  <a:cubicBezTo>
                    <a:pt x="9925" y="3718"/>
                    <a:pt x="10114" y="3371"/>
                    <a:pt x="10114" y="2962"/>
                  </a:cubicBezTo>
                  <a:cubicBezTo>
                    <a:pt x="10114" y="2741"/>
                    <a:pt x="10051" y="2489"/>
                    <a:pt x="9925" y="2300"/>
                  </a:cubicBezTo>
                  <a:cubicBezTo>
                    <a:pt x="10009" y="2233"/>
                    <a:pt x="10094" y="2201"/>
                    <a:pt x="10178" y="2201"/>
                  </a:cubicBezTo>
                  <a:cubicBezTo>
                    <a:pt x="10251" y="2201"/>
                    <a:pt x="10324" y="2225"/>
                    <a:pt x="10397" y="2269"/>
                  </a:cubicBezTo>
                  <a:cubicBezTo>
                    <a:pt x="10454" y="2293"/>
                    <a:pt x="10514" y="2305"/>
                    <a:pt x="10574" y="2305"/>
                  </a:cubicBezTo>
                  <a:cubicBezTo>
                    <a:pt x="10750" y="2305"/>
                    <a:pt x="10925" y="2204"/>
                    <a:pt x="10996" y="2017"/>
                  </a:cubicBezTo>
                  <a:cubicBezTo>
                    <a:pt x="11027" y="1859"/>
                    <a:pt x="11185" y="1702"/>
                    <a:pt x="11374" y="1702"/>
                  </a:cubicBezTo>
                  <a:close/>
                  <a:moveTo>
                    <a:pt x="2994" y="1796"/>
                  </a:moveTo>
                  <a:cubicBezTo>
                    <a:pt x="3183" y="1796"/>
                    <a:pt x="3340" y="1954"/>
                    <a:pt x="3372" y="2111"/>
                  </a:cubicBezTo>
                  <a:cubicBezTo>
                    <a:pt x="3440" y="2272"/>
                    <a:pt x="3592" y="2382"/>
                    <a:pt x="3767" y="2382"/>
                  </a:cubicBezTo>
                  <a:cubicBezTo>
                    <a:pt x="3832" y="2382"/>
                    <a:pt x="3901" y="2366"/>
                    <a:pt x="3970" y="2332"/>
                  </a:cubicBezTo>
                  <a:cubicBezTo>
                    <a:pt x="4027" y="2303"/>
                    <a:pt x="4096" y="2288"/>
                    <a:pt x="4170" y="2288"/>
                  </a:cubicBezTo>
                  <a:cubicBezTo>
                    <a:pt x="4260" y="2288"/>
                    <a:pt x="4356" y="2311"/>
                    <a:pt x="4443" y="2363"/>
                  </a:cubicBezTo>
                  <a:cubicBezTo>
                    <a:pt x="4317" y="2584"/>
                    <a:pt x="4254" y="2804"/>
                    <a:pt x="4254" y="3056"/>
                  </a:cubicBezTo>
                  <a:cubicBezTo>
                    <a:pt x="4254" y="3434"/>
                    <a:pt x="4443" y="3781"/>
                    <a:pt x="4758" y="4033"/>
                  </a:cubicBezTo>
                  <a:lnTo>
                    <a:pt x="4758" y="4254"/>
                  </a:lnTo>
                  <a:cubicBezTo>
                    <a:pt x="4506" y="4348"/>
                    <a:pt x="4443" y="4632"/>
                    <a:pt x="4569" y="4852"/>
                  </a:cubicBezTo>
                  <a:cubicBezTo>
                    <a:pt x="4632" y="4978"/>
                    <a:pt x="4632" y="5199"/>
                    <a:pt x="4506" y="5325"/>
                  </a:cubicBezTo>
                  <a:cubicBezTo>
                    <a:pt x="4427" y="5404"/>
                    <a:pt x="4340" y="5435"/>
                    <a:pt x="4258" y="5435"/>
                  </a:cubicBezTo>
                  <a:cubicBezTo>
                    <a:pt x="4175" y="5435"/>
                    <a:pt x="4096" y="5404"/>
                    <a:pt x="4033" y="5356"/>
                  </a:cubicBezTo>
                  <a:cubicBezTo>
                    <a:pt x="3977" y="5332"/>
                    <a:pt x="3916" y="5320"/>
                    <a:pt x="3857" y="5320"/>
                  </a:cubicBezTo>
                  <a:cubicBezTo>
                    <a:pt x="3682" y="5320"/>
                    <a:pt x="3513" y="5421"/>
                    <a:pt x="3466" y="5608"/>
                  </a:cubicBezTo>
                  <a:cubicBezTo>
                    <a:pt x="3435" y="5766"/>
                    <a:pt x="3246" y="5923"/>
                    <a:pt x="3057" y="5923"/>
                  </a:cubicBezTo>
                  <a:cubicBezTo>
                    <a:pt x="2868" y="5923"/>
                    <a:pt x="2710" y="5766"/>
                    <a:pt x="2679" y="5608"/>
                  </a:cubicBezTo>
                  <a:cubicBezTo>
                    <a:pt x="2562" y="5399"/>
                    <a:pt x="2378" y="5276"/>
                    <a:pt x="2188" y="5276"/>
                  </a:cubicBezTo>
                  <a:cubicBezTo>
                    <a:pt x="2120" y="5276"/>
                    <a:pt x="2052" y="5292"/>
                    <a:pt x="1985" y="5325"/>
                  </a:cubicBezTo>
                  <a:cubicBezTo>
                    <a:pt x="1912" y="5369"/>
                    <a:pt x="1826" y="5392"/>
                    <a:pt x="1741" y="5392"/>
                  </a:cubicBezTo>
                  <a:cubicBezTo>
                    <a:pt x="1644" y="5392"/>
                    <a:pt x="1549" y="5361"/>
                    <a:pt x="1481" y="5293"/>
                  </a:cubicBezTo>
                  <a:cubicBezTo>
                    <a:pt x="1324" y="5136"/>
                    <a:pt x="1355" y="4947"/>
                    <a:pt x="1450" y="4821"/>
                  </a:cubicBezTo>
                  <a:cubicBezTo>
                    <a:pt x="1576" y="4569"/>
                    <a:pt x="1450" y="4317"/>
                    <a:pt x="1229" y="4222"/>
                  </a:cubicBezTo>
                  <a:cubicBezTo>
                    <a:pt x="1072" y="4191"/>
                    <a:pt x="914" y="4033"/>
                    <a:pt x="914" y="3844"/>
                  </a:cubicBezTo>
                  <a:cubicBezTo>
                    <a:pt x="914" y="3624"/>
                    <a:pt x="1072" y="3466"/>
                    <a:pt x="1229" y="3434"/>
                  </a:cubicBezTo>
                  <a:cubicBezTo>
                    <a:pt x="1450" y="3371"/>
                    <a:pt x="1576" y="3088"/>
                    <a:pt x="1450" y="2836"/>
                  </a:cubicBezTo>
                  <a:cubicBezTo>
                    <a:pt x="1355" y="2741"/>
                    <a:pt x="1355" y="2489"/>
                    <a:pt x="1481" y="2363"/>
                  </a:cubicBezTo>
                  <a:cubicBezTo>
                    <a:pt x="1557" y="2307"/>
                    <a:pt x="1678" y="2261"/>
                    <a:pt x="1790" y="2261"/>
                  </a:cubicBezTo>
                  <a:cubicBezTo>
                    <a:pt x="1864" y="2261"/>
                    <a:pt x="1935" y="2281"/>
                    <a:pt x="1985" y="2332"/>
                  </a:cubicBezTo>
                  <a:cubicBezTo>
                    <a:pt x="2054" y="2366"/>
                    <a:pt x="2126" y="2382"/>
                    <a:pt x="2194" y="2382"/>
                  </a:cubicBezTo>
                  <a:cubicBezTo>
                    <a:pt x="2376" y="2382"/>
                    <a:pt x="2538" y="2272"/>
                    <a:pt x="2584" y="2111"/>
                  </a:cubicBezTo>
                  <a:cubicBezTo>
                    <a:pt x="2616" y="1954"/>
                    <a:pt x="2773" y="1796"/>
                    <a:pt x="2994" y="1796"/>
                  </a:cubicBezTo>
                  <a:close/>
                  <a:moveTo>
                    <a:pt x="8885" y="5199"/>
                  </a:moveTo>
                  <a:cubicBezTo>
                    <a:pt x="8917" y="5325"/>
                    <a:pt x="8980" y="5451"/>
                    <a:pt x="9011" y="5514"/>
                  </a:cubicBezTo>
                  <a:lnTo>
                    <a:pt x="7656" y="9200"/>
                  </a:lnTo>
                  <a:lnTo>
                    <a:pt x="5703" y="9200"/>
                  </a:lnTo>
                  <a:lnTo>
                    <a:pt x="3687" y="6427"/>
                  </a:lnTo>
                  <a:cubicBezTo>
                    <a:pt x="3813" y="6364"/>
                    <a:pt x="3939" y="6238"/>
                    <a:pt x="4002" y="6112"/>
                  </a:cubicBezTo>
                  <a:cubicBezTo>
                    <a:pt x="4091" y="6133"/>
                    <a:pt x="4179" y="6143"/>
                    <a:pt x="4264" y="6143"/>
                  </a:cubicBezTo>
                  <a:cubicBezTo>
                    <a:pt x="4571" y="6143"/>
                    <a:pt x="4851" y="6012"/>
                    <a:pt x="5073" y="5766"/>
                  </a:cubicBezTo>
                  <a:cubicBezTo>
                    <a:pt x="5199" y="5671"/>
                    <a:pt x="5293" y="5451"/>
                    <a:pt x="5356" y="5199"/>
                  </a:cubicBezTo>
                  <a:cubicBezTo>
                    <a:pt x="5525" y="5295"/>
                    <a:pt x="5730" y="5336"/>
                    <a:pt x="5944" y="5336"/>
                  </a:cubicBezTo>
                  <a:cubicBezTo>
                    <a:pt x="6010" y="5336"/>
                    <a:pt x="6077" y="5332"/>
                    <a:pt x="6144" y="5325"/>
                  </a:cubicBezTo>
                  <a:cubicBezTo>
                    <a:pt x="6365" y="5640"/>
                    <a:pt x="6711" y="5829"/>
                    <a:pt x="7121" y="5829"/>
                  </a:cubicBezTo>
                  <a:cubicBezTo>
                    <a:pt x="7499" y="5829"/>
                    <a:pt x="7877" y="5640"/>
                    <a:pt x="8097" y="5325"/>
                  </a:cubicBezTo>
                  <a:cubicBezTo>
                    <a:pt x="8164" y="5332"/>
                    <a:pt x="8231" y="5336"/>
                    <a:pt x="8297" y="5336"/>
                  </a:cubicBezTo>
                  <a:cubicBezTo>
                    <a:pt x="8511" y="5336"/>
                    <a:pt x="8717" y="5295"/>
                    <a:pt x="8885" y="5199"/>
                  </a:cubicBezTo>
                  <a:close/>
                  <a:moveTo>
                    <a:pt x="9673" y="6112"/>
                  </a:moveTo>
                  <a:cubicBezTo>
                    <a:pt x="9777" y="6164"/>
                    <a:pt x="9890" y="6188"/>
                    <a:pt x="10003" y="6188"/>
                  </a:cubicBezTo>
                  <a:cubicBezTo>
                    <a:pt x="10095" y="6188"/>
                    <a:pt x="10186" y="6172"/>
                    <a:pt x="10271" y="6144"/>
                  </a:cubicBezTo>
                  <a:cubicBezTo>
                    <a:pt x="10334" y="6270"/>
                    <a:pt x="10460" y="6396"/>
                    <a:pt x="10586" y="6459"/>
                  </a:cubicBezTo>
                  <a:lnTo>
                    <a:pt x="8570" y="9231"/>
                  </a:lnTo>
                  <a:lnTo>
                    <a:pt x="9673" y="6112"/>
                  </a:lnTo>
                  <a:close/>
                  <a:moveTo>
                    <a:pt x="8349" y="10050"/>
                  </a:moveTo>
                  <a:lnTo>
                    <a:pt x="8349" y="10870"/>
                  </a:lnTo>
                  <a:lnTo>
                    <a:pt x="5861" y="10870"/>
                  </a:lnTo>
                  <a:lnTo>
                    <a:pt x="5861" y="10050"/>
                  </a:lnTo>
                  <a:close/>
                  <a:moveTo>
                    <a:pt x="8538" y="11720"/>
                  </a:moveTo>
                  <a:lnTo>
                    <a:pt x="9295" y="12823"/>
                  </a:lnTo>
                  <a:cubicBezTo>
                    <a:pt x="9116" y="12781"/>
                    <a:pt x="8938" y="12760"/>
                    <a:pt x="8761" y="12760"/>
                  </a:cubicBezTo>
                  <a:cubicBezTo>
                    <a:pt x="8409" y="12760"/>
                    <a:pt x="8066" y="12844"/>
                    <a:pt x="7751" y="13012"/>
                  </a:cubicBezTo>
                  <a:cubicBezTo>
                    <a:pt x="7562" y="13106"/>
                    <a:pt x="7341" y="13154"/>
                    <a:pt x="7117" y="13154"/>
                  </a:cubicBezTo>
                  <a:cubicBezTo>
                    <a:pt x="6892" y="13154"/>
                    <a:pt x="6664" y="13106"/>
                    <a:pt x="6459" y="13012"/>
                  </a:cubicBezTo>
                  <a:cubicBezTo>
                    <a:pt x="6144" y="12854"/>
                    <a:pt x="5798" y="12760"/>
                    <a:pt x="5419" y="12760"/>
                  </a:cubicBezTo>
                  <a:cubicBezTo>
                    <a:pt x="5262" y="12760"/>
                    <a:pt x="5073" y="12760"/>
                    <a:pt x="4915" y="12823"/>
                  </a:cubicBezTo>
                  <a:lnTo>
                    <a:pt x="5672" y="11720"/>
                  </a:lnTo>
                  <a:close/>
                  <a:moveTo>
                    <a:pt x="7089" y="0"/>
                  </a:moveTo>
                  <a:cubicBezTo>
                    <a:pt x="6680" y="0"/>
                    <a:pt x="6333" y="189"/>
                    <a:pt x="6081" y="505"/>
                  </a:cubicBezTo>
                  <a:cubicBezTo>
                    <a:pt x="6018" y="494"/>
                    <a:pt x="5954" y="489"/>
                    <a:pt x="5890" y="489"/>
                  </a:cubicBezTo>
                  <a:cubicBezTo>
                    <a:pt x="5571" y="489"/>
                    <a:pt x="5251" y="620"/>
                    <a:pt x="5041" y="883"/>
                  </a:cubicBezTo>
                  <a:cubicBezTo>
                    <a:pt x="4884" y="1040"/>
                    <a:pt x="4758" y="1261"/>
                    <a:pt x="4726" y="1513"/>
                  </a:cubicBezTo>
                  <a:cubicBezTo>
                    <a:pt x="4534" y="1416"/>
                    <a:pt x="4341" y="1375"/>
                    <a:pt x="4135" y="1375"/>
                  </a:cubicBezTo>
                  <a:cubicBezTo>
                    <a:pt x="4071" y="1375"/>
                    <a:pt x="4006" y="1379"/>
                    <a:pt x="3939" y="1387"/>
                  </a:cubicBezTo>
                  <a:cubicBezTo>
                    <a:pt x="3687" y="1072"/>
                    <a:pt x="3340" y="883"/>
                    <a:pt x="2931" y="883"/>
                  </a:cubicBezTo>
                  <a:cubicBezTo>
                    <a:pt x="2553" y="883"/>
                    <a:pt x="2206" y="1072"/>
                    <a:pt x="1954" y="1387"/>
                  </a:cubicBezTo>
                  <a:cubicBezTo>
                    <a:pt x="1872" y="1366"/>
                    <a:pt x="1788" y="1356"/>
                    <a:pt x="1704" y="1356"/>
                  </a:cubicBezTo>
                  <a:cubicBezTo>
                    <a:pt x="1402" y="1356"/>
                    <a:pt x="1098" y="1487"/>
                    <a:pt x="851" y="1733"/>
                  </a:cubicBezTo>
                  <a:cubicBezTo>
                    <a:pt x="568" y="2017"/>
                    <a:pt x="473" y="2426"/>
                    <a:pt x="505" y="2804"/>
                  </a:cubicBezTo>
                  <a:cubicBezTo>
                    <a:pt x="190" y="3025"/>
                    <a:pt x="1" y="3403"/>
                    <a:pt x="1" y="3781"/>
                  </a:cubicBezTo>
                  <a:cubicBezTo>
                    <a:pt x="1" y="4191"/>
                    <a:pt x="190" y="4537"/>
                    <a:pt x="505" y="4789"/>
                  </a:cubicBezTo>
                  <a:cubicBezTo>
                    <a:pt x="410" y="5167"/>
                    <a:pt x="536" y="5577"/>
                    <a:pt x="851" y="5829"/>
                  </a:cubicBezTo>
                  <a:cubicBezTo>
                    <a:pt x="1106" y="6084"/>
                    <a:pt x="1489" y="6212"/>
                    <a:pt x="1839" y="6212"/>
                  </a:cubicBezTo>
                  <a:cubicBezTo>
                    <a:pt x="1878" y="6212"/>
                    <a:pt x="1916" y="6210"/>
                    <a:pt x="1954" y="6207"/>
                  </a:cubicBezTo>
                  <a:cubicBezTo>
                    <a:pt x="2143" y="6427"/>
                    <a:pt x="2427" y="6616"/>
                    <a:pt x="2710" y="6679"/>
                  </a:cubicBezTo>
                  <a:lnTo>
                    <a:pt x="5010" y="9767"/>
                  </a:lnTo>
                  <a:lnTo>
                    <a:pt x="5010" y="11153"/>
                  </a:lnTo>
                  <a:lnTo>
                    <a:pt x="3435" y="13516"/>
                  </a:lnTo>
                  <a:cubicBezTo>
                    <a:pt x="3309" y="13674"/>
                    <a:pt x="3340" y="13863"/>
                    <a:pt x="3466" y="14020"/>
                  </a:cubicBezTo>
                  <a:cubicBezTo>
                    <a:pt x="3526" y="14120"/>
                    <a:pt x="3636" y="14182"/>
                    <a:pt x="3757" y="14182"/>
                  </a:cubicBezTo>
                  <a:cubicBezTo>
                    <a:pt x="3827" y="14182"/>
                    <a:pt x="3901" y="14161"/>
                    <a:pt x="3970" y="14115"/>
                  </a:cubicBezTo>
                  <a:lnTo>
                    <a:pt x="4789" y="13674"/>
                  </a:lnTo>
                  <a:cubicBezTo>
                    <a:pt x="4994" y="13579"/>
                    <a:pt x="5215" y="13532"/>
                    <a:pt x="5435" y="13532"/>
                  </a:cubicBezTo>
                  <a:cubicBezTo>
                    <a:pt x="5656" y="13532"/>
                    <a:pt x="5876" y="13579"/>
                    <a:pt x="6081" y="13674"/>
                  </a:cubicBezTo>
                  <a:cubicBezTo>
                    <a:pt x="6396" y="13831"/>
                    <a:pt x="6743" y="13910"/>
                    <a:pt x="7089" y="13910"/>
                  </a:cubicBezTo>
                  <a:cubicBezTo>
                    <a:pt x="7436" y="13910"/>
                    <a:pt x="7782" y="13831"/>
                    <a:pt x="8097" y="13674"/>
                  </a:cubicBezTo>
                  <a:cubicBezTo>
                    <a:pt x="8302" y="13579"/>
                    <a:pt x="8523" y="13532"/>
                    <a:pt x="8743" y="13532"/>
                  </a:cubicBezTo>
                  <a:cubicBezTo>
                    <a:pt x="8964" y="13532"/>
                    <a:pt x="9184" y="13579"/>
                    <a:pt x="9389" y="13674"/>
                  </a:cubicBezTo>
                  <a:lnTo>
                    <a:pt x="10240" y="14115"/>
                  </a:lnTo>
                  <a:cubicBezTo>
                    <a:pt x="10292" y="14136"/>
                    <a:pt x="10348" y="14146"/>
                    <a:pt x="10405" y="14146"/>
                  </a:cubicBezTo>
                  <a:cubicBezTo>
                    <a:pt x="10520" y="14146"/>
                    <a:pt x="10639" y="14104"/>
                    <a:pt x="10744" y="14020"/>
                  </a:cubicBezTo>
                  <a:cubicBezTo>
                    <a:pt x="10870" y="13863"/>
                    <a:pt x="10901" y="13674"/>
                    <a:pt x="10775" y="13516"/>
                  </a:cubicBezTo>
                  <a:lnTo>
                    <a:pt x="9200" y="11153"/>
                  </a:lnTo>
                  <a:lnTo>
                    <a:pt x="9200" y="9767"/>
                  </a:lnTo>
                  <a:lnTo>
                    <a:pt x="11500" y="6679"/>
                  </a:lnTo>
                  <a:cubicBezTo>
                    <a:pt x="11815" y="6616"/>
                    <a:pt x="12067" y="6427"/>
                    <a:pt x="12225" y="6207"/>
                  </a:cubicBezTo>
                  <a:cubicBezTo>
                    <a:pt x="12293" y="6217"/>
                    <a:pt x="12360" y="6223"/>
                    <a:pt x="12427" y="6223"/>
                  </a:cubicBezTo>
                  <a:cubicBezTo>
                    <a:pt x="12758" y="6223"/>
                    <a:pt x="13065" y="6091"/>
                    <a:pt x="13327" y="5829"/>
                  </a:cubicBezTo>
                  <a:cubicBezTo>
                    <a:pt x="13611" y="5577"/>
                    <a:pt x="13737" y="5167"/>
                    <a:pt x="13705" y="4789"/>
                  </a:cubicBezTo>
                  <a:cubicBezTo>
                    <a:pt x="14020" y="4537"/>
                    <a:pt x="14209" y="4191"/>
                    <a:pt x="14209" y="3781"/>
                  </a:cubicBezTo>
                  <a:cubicBezTo>
                    <a:pt x="14178" y="3403"/>
                    <a:pt x="13957" y="3056"/>
                    <a:pt x="13674" y="2804"/>
                  </a:cubicBezTo>
                  <a:cubicBezTo>
                    <a:pt x="13737" y="2426"/>
                    <a:pt x="13611" y="2017"/>
                    <a:pt x="13296" y="1733"/>
                  </a:cubicBezTo>
                  <a:cubicBezTo>
                    <a:pt x="13047" y="1484"/>
                    <a:pt x="12700" y="1381"/>
                    <a:pt x="12342" y="1381"/>
                  </a:cubicBezTo>
                  <a:cubicBezTo>
                    <a:pt x="12292" y="1381"/>
                    <a:pt x="12243" y="1383"/>
                    <a:pt x="12193" y="1387"/>
                  </a:cubicBezTo>
                  <a:cubicBezTo>
                    <a:pt x="11973" y="1072"/>
                    <a:pt x="11594" y="883"/>
                    <a:pt x="11216" y="883"/>
                  </a:cubicBezTo>
                  <a:cubicBezTo>
                    <a:pt x="10807" y="883"/>
                    <a:pt x="10460" y="1072"/>
                    <a:pt x="10240" y="1387"/>
                  </a:cubicBezTo>
                  <a:cubicBezTo>
                    <a:pt x="10173" y="1379"/>
                    <a:pt x="10106" y="1375"/>
                    <a:pt x="10040" y="1375"/>
                  </a:cubicBezTo>
                  <a:cubicBezTo>
                    <a:pt x="9826" y="1375"/>
                    <a:pt x="9621" y="1416"/>
                    <a:pt x="9452" y="1513"/>
                  </a:cubicBezTo>
                  <a:cubicBezTo>
                    <a:pt x="9421" y="1261"/>
                    <a:pt x="9295" y="1072"/>
                    <a:pt x="9137" y="883"/>
                  </a:cubicBezTo>
                  <a:cubicBezTo>
                    <a:pt x="8882" y="627"/>
                    <a:pt x="8525" y="500"/>
                    <a:pt x="8180" y="500"/>
                  </a:cubicBezTo>
                  <a:cubicBezTo>
                    <a:pt x="8142" y="500"/>
                    <a:pt x="8104" y="501"/>
                    <a:pt x="8066" y="505"/>
                  </a:cubicBezTo>
                  <a:cubicBezTo>
                    <a:pt x="7845" y="189"/>
                    <a:pt x="7467" y="0"/>
                    <a:pt x="708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8" name="Google Shape;7718;p75"/>
            <p:cNvSpPr/>
            <p:nvPr/>
          </p:nvSpPr>
          <p:spPr>
            <a:xfrm>
              <a:off x="-11072175" y="1734725"/>
              <a:ext cx="41775" cy="41000"/>
            </a:xfrm>
            <a:custGeom>
              <a:avLst/>
              <a:gdLst/>
              <a:ahLst/>
              <a:cxnLst/>
              <a:rect l="l" t="t" r="r" b="b"/>
              <a:pathLst>
                <a:path w="1671" h="1640" extrusionOk="0">
                  <a:moveTo>
                    <a:pt x="820" y="1"/>
                  </a:moveTo>
                  <a:cubicBezTo>
                    <a:pt x="379" y="1"/>
                    <a:pt x="1" y="379"/>
                    <a:pt x="1" y="820"/>
                  </a:cubicBezTo>
                  <a:cubicBezTo>
                    <a:pt x="1" y="1293"/>
                    <a:pt x="379" y="1639"/>
                    <a:pt x="820" y="1639"/>
                  </a:cubicBezTo>
                  <a:cubicBezTo>
                    <a:pt x="1292" y="1639"/>
                    <a:pt x="1671" y="1293"/>
                    <a:pt x="1671" y="820"/>
                  </a:cubicBezTo>
                  <a:cubicBezTo>
                    <a:pt x="1671" y="379"/>
                    <a:pt x="1292"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19" name="Google Shape;7719;p75"/>
            <p:cNvSpPr/>
            <p:nvPr/>
          </p:nvSpPr>
          <p:spPr>
            <a:xfrm>
              <a:off x="-11278525" y="1734725"/>
              <a:ext cx="40975" cy="41000"/>
            </a:xfrm>
            <a:custGeom>
              <a:avLst/>
              <a:gdLst/>
              <a:ahLst/>
              <a:cxnLst/>
              <a:rect l="l" t="t" r="r" b="b"/>
              <a:pathLst>
                <a:path w="1639" h="1640" extrusionOk="0">
                  <a:moveTo>
                    <a:pt x="820" y="1"/>
                  </a:moveTo>
                  <a:cubicBezTo>
                    <a:pt x="347" y="1"/>
                    <a:pt x="0" y="379"/>
                    <a:pt x="0" y="820"/>
                  </a:cubicBezTo>
                  <a:cubicBezTo>
                    <a:pt x="0" y="1293"/>
                    <a:pt x="347" y="1639"/>
                    <a:pt x="820" y="1639"/>
                  </a:cubicBezTo>
                  <a:cubicBezTo>
                    <a:pt x="1261" y="1639"/>
                    <a:pt x="1639" y="1293"/>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0" name="Google Shape;7720;p75"/>
            <p:cNvSpPr/>
            <p:nvPr/>
          </p:nvSpPr>
          <p:spPr>
            <a:xfrm>
              <a:off x="-11175350" y="1714250"/>
              <a:ext cx="40975" cy="41000"/>
            </a:xfrm>
            <a:custGeom>
              <a:avLst/>
              <a:gdLst/>
              <a:ahLst/>
              <a:cxnLst/>
              <a:rect l="l" t="t" r="r" b="b"/>
              <a:pathLst>
                <a:path w="1639" h="1640" extrusionOk="0">
                  <a:moveTo>
                    <a:pt x="820" y="1"/>
                  </a:moveTo>
                  <a:cubicBezTo>
                    <a:pt x="379" y="1"/>
                    <a:pt x="1" y="379"/>
                    <a:pt x="1" y="820"/>
                  </a:cubicBezTo>
                  <a:cubicBezTo>
                    <a:pt x="1" y="1261"/>
                    <a:pt x="379" y="1639"/>
                    <a:pt x="820" y="1639"/>
                  </a:cubicBezTo>
                  <a:cubicBezTo>
                    <a:pt x="1261" y="1639"/>
                    <a:pt x="1639" y="1261"/>
                    <a:pt x="1639" y="820"/>
                  </a:cubicBezTo>
                  <a:cubicBezTo>
                    <a:pt x="1639" y="379"/>
                    <a:pt x="1261" y="1"/>
                    <a:pt x="82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21" name="Google Shape;7721;p75"/>
          <p:cNvSpPr/>
          <p:nvPr/>
        </p:nvSpPr>
        <p:spPr>
          <a:xfrm>
            <a:off x="10100870" y="2587839"/>
            <a:ext cx="460493" cy="452381"/>
          </a:xfrm>
          <a:custGeom>
            <a:avLst/>
            <a:gdLst/>
            <a:ahLst/>
            <a:cxnLst/>
            <a:rect l="l" t="t" r="r" b="b"/>
            <a:pathLst>
              <a:path w="14304" h="14052" extrusionOk="0">
                <a:moveTo>
                  <a:pt x="12886" y="2489"/>
                </a:moveTo>
                <a:cubicBezTo>
                  <a:pt x="13106" y="2521"/>
                  <a:pt x="13295" y="2710"/>
                  <a:pt x="13295" y="2899"/>
                </a:cubicBezTo>
                <a:lnTo>
                  <a:pt x="13295" y="3875"/>
                </a:lnTo>
                <a:cubicBezTo>
                  <a:pt x="12933" y="3592"/>
                  <a:pt x="12500" y="3450"/>
                  <a:pt x="12067" y="3450"/>
                </a:cubicBezTo>
                <a:cubicBezTo>
                  <a:pt x="11633" y="3450"/>
                  <a:pt x="11200" y="3592"/>
                  <a:pt x="10838" y="3875"/>
                </a:cubicBezTo>
                <a:lnTo>
                  <a:pt x="10838" y="2899"/>
                </a:lnTo>
                <a:cubicBezTo>
                  <a:pt x="10838" y="2678"/>
                  <a:pt x="11027" y="2489"/>
                  <a:pt x="11216" y="2489"/>
                </a:cubicBezTo>
                <a:close/>
                <a:moveTo>
                  <a:pt x="2899" y="2521"/>
                </a:moveTo>
                <a:cubicBezTo>
                  <a:pt x="3151" y="2521"/>
                  <a:pt x="3308" y="2710"/>
                  <a:pt x="3308" y="2962"/>
                </a:cubicBezTo>
                <a:lnTo>
                  <a:pt x="3308" y="3907"/>
                </a:lnTo>
                <a:cubicBezTo>
                  <a:pt x="2962" y="3623"/>
                  <a:pt x="2521" y="3497"/>
                  <a:pt x="2048" y="3497"/>
                </a:cubicBezTo>
                <a:cubicBezTo>
                  <a:pt x="1575" y="3497"/>
                  <a:pt x="1166" y="3655"/>
                  <a:pt x="819" y="3907"/>
                </a:cubicBezTo>
                <a:lnTo>
                  <a:pt x="819" y="2962"/>
                </a:lnTo>
                <a:cubicBezTo>
                  <a:pt x="851" y="2710"/>
                  <a:pt x="1040" y="2521"/>
                  <a:pt x="1260" y="2521"/>
                </a:cubicBezTo>
                <a:close/>
                <a:moveTo>
                  <a:pt x="2079" y="4285"/>
                </a:moveTo>
                <a:cubicBezTo>
                  <a:pt x="2395" y="4285"/>
                  <a:pt x="2710" y="4411"/>
                  <a:pt x="2962" y="4663"/>
                </a:cubicBezTo>
                <a:lnTo>
                  <a:pt x="4411" y="6112"/>
                </a:lnTo>
                <a:cubicBezTo>
                  <a:pt x="4285" y="6301"/>
                  <a:pt x="2836" y="7719"/>
                  <a:pt x="2678" y="7876"/>
                </a:cubicBezTo>
                <a:lnTo>
                  <a:pt x="1229" y="6427"/>
                </a:lnTo>
                <a:cubicBezTo>
                  <a:pt x="756" y="5955"/>
                  <a:pt x="756" y="5167"/>
                  <a:pt x="1229" y="4663"/>
                </a:cubicBezTo>
                <a:cubicBezTo>
                  <a:pt x="1449" y="4411"/>
                  <a:pt x="1764" y="4285"/>
                  <a:pt x="2079" y="4285"/>
                </a:cubicBezTo>
                <a:close/>
                <a:moveTo>
                  <a:pt x="12055" y="4308"/>
                </a:moveTo>
                <a:cubicBezTo>
                  <a:pt x="12374" y="4308"/>
                  <a:pt x="12697" y="4427"/>
                  <a:pt x="12949" y="4663"/>
                </a:cubicBezTo>
                <a:cubicBezTo>
                  <a:pt x="13421" y="5167"/>
                  <a:pt x="13421" y="5955"/>
                  <a:pt x="12949" y="6427"/>
                </a:cubicBezTo>
                <a:lnTo>
                  <a:pt x="11499" y="7876"/>
                </a:lnTo>
                <a:lnTo>
                  <a:pt x="9735" y="6112"/>
                </a:lnTo>
                <a:lnTo>
                  <a:pt x="11184" y="4663"/>
                </a:lnTo>
                <a:cubicBezTo>
                  <a:pt x="11421" y="4427"/>
                  <a:pt x="11736" y="4308"/>
                  <a:pt x="12055" y="4308"/>
                </a:cubicBezTo>
                <a:close/>
                <a:moveTo>
                  <a:pt x="11657" y="819"/>
                </a:moveTo>
                <a:lnTo>
                  <a:pt x="11657" y="1701"/>
                </a:lnTo>
                <a:lnTo>
                  <a:pt x="11216" y="1701"/>
                </a:lnTo>
                <a:cubicBezTo>
                  <a:pt x="10554" y="1701"/>
                  <a:pt x="10019" y="2237"/>
                  <a:pt x="10019" y="2899"/>
                </a:cubicBezTo>
                <a:lnTo>
                  <a:pt x="10019" y="4663"/>
                </a:lnTo>
                <a:lnTo>
                  <a:pt x="8853" y="5797"/>
                </a:lnTo>
                <a:cubicBezTo>
                  <a:pt x="8696" y="5955"/>
                  <a:pt x="8696" y="6238"/>
                  <a:pt x="8853" y="6396"/>
                </a:cubicBezTo>
                <a:lnTo>
                  <a:pt x="9231" y="6742"/>
                </a:lnTo>
                <a:lnTo>
                  <a:pt x="7089" y="8443"/>
                </a:lnTo>
                <a:lnTo>
                  <a:pt x="4978" y="6742"/>
                </a:lnTo>
                <a:lnTo>
                  <a:pt x="5324" y="6396"/>
                </a:lnTo>
                <a:cubicBezTo>
                  <a:pt x="5482" y="6238"/>
                  <a:pt x="5482" y="5955"/>
                  <a:pt x="5324" y="5797"/>
                </a:cubicBezTo>
                <a:lnTo>
                  <a:pt x="4190" y="4663"/>
                </a:lnTo>
                <a:lnTo>
                  <a:pt x="4190" y="2899"/>
                </a:lnTo>
                <a:cubicBezTo>
                  <a:pt x="4190" y="2237"/>
                  <a:pt x="3623" y="1701"/>
                  <a:pt x="2962" y="1701"/>
                </a:cubicBezTo>
                <a:lnTo>
                  <a:pt x="2521" y="1701"/>
                </a:lnTo>
                <a:lnTo>
                  <a:pt x="2521" y="819"/>
                </a:lnTo>
                <a:close/>
                <a:moveTo>
                  <a:pt x="9767" y="7341"/>
                </a:moveTo>
                <a:lnTo>
                  <a:pt x="10176" y="7719"/>
                </a:lnTo>
                <a:lnTo>
                  <a:pt x="8506" y="9609"/>
                </a:lnTo>
                <a:lnTo>
                  <a:pt x="7719" y="8979"/>
                </a:lnTo>
                <a:lnTo>
                  <a:pt x="9767" y="7341"/>
                </a:lnTo>
                <a:close/>
                <a:moveTo>
                  <a:pt x="5545" y="10743"/>
                </a:moveTo>
                <a:lnTo>
                  <a:pt x="6553" y="11846"/>
                </a:lnTo>
                <a:lnTo>
                  <a:pt x="5230" y="13264"/>
                </a:lnTo>
                <a:lnTo>
                  <a:pt x="2426" y="13264"/>
                </a:lnTo>
                <a:lnTo>
                  <a:pt x="5545" y="10743"/>
                </a:lnTo>
                <a:close/>
                <a:moveTo>
                  <a:pt x="4379" y="7372"/>
                </a:moveTo>
                <a:lnTo>
                  <a:pt x="11751" y="13327"/>
                </a:lnTo>
                <a:lnTo>
                  <a:pt x="8948" y="13327"/>
                </a:lnTo>
                <a:lnTo>
                  <a:pt x="8948" y="13264"/>
                </a:lnTo>
                <a:lnTo>
                  <a:pt x="3970" y="7750"/>
                </a:lnTo>
                <a:lnTo>
                  <a:pt x="4379" y="7372"/>
                </a:lnTo>
                <a:close/>
                <a:moveTo>
                  <a:pt x="473" y="0"/>
                </a:moveTo>
                <a:cubicBezTo>
                  <a:pt x="252" y="0"/>
                  <a:pt x="32" y="189"/>
                  <a:pt x="32" y="441"/>
                </a:cubicBezTo>
                <a:cubicBezTo>
                  <a:pt x="32" y="662"/>
                  <a:pt x="252" y="819"/>
                  <a:pt x="473" y="819"/>
                </a:cubicBezTo>
                <a:lnTo>
                  <a:pt x="1733" y="819"/>
                </a:lnTo>
                <a:lnTo>
                  <a:pt x="1733" y="1701"/>
                </a:lnTo>
                <a:lnTo>
                  <a:pt x="1292" y="1701"/>
                </a:lnTo>
                <a:cubicBezTo>
                  <a:pt x="630" y="1701"/>
                  <a:pt x="32" y="2237"/>
                  <a:pt x="32" y="2899"/>
                </a:cubicBezTo>
                <a:lnTo>
                  <a:pt x="32" y="5387"/>
                </a:lnTo>
                <a:lnTo>
                  <a:pt x="32" y="5450"/>
                </a:lnTo>
                <a:cubicBezTo>
                  <a:pt x="0" y="5986"/>
                  <a:pt x="252" y="6553"/>
                  <a:pt x="630" y="6963"/>
                </a:cubicBezTo>
                <a:lnTo>
                  <a:pt x="2395" y="8758"/>
                </a:lnTo>
                <a:cubicBezTo>
                  <a:pt x="2473" y="8837"/>
                  <a:pt x="2584" y="8877"/>
                  <a:pt x="2694" y="8877"/>
                </a:cubicBezTo>
                <a:cubicBezTo>
                  <a:pt x="2804" y="8877"/>
                  <a:pt x="2914" y="8837"/>
                  <a:pt x="2993" y="8758"/>
                </a:cubicBezTo>
                <a:lnTo>
                  <a:pt x="3434" y="8317"/>
                </a:lnTo>
                <a:lnTo>
                  <a:pt x="5041" y="10082"/>
                </a:lnTo>
                <a:lnTo>
                  <a:pt x="1008" y="13327"/>
                </a:lnTo>
                <a:cubicBezTo>
                  <a:pt x="914" y="13421"/>
                  <a:pt x="819" y="13579"/>
                  <a:pt x="914" y="13768"/>
                </a:cubicBezTo>
                <a:cubicBezTo>
                  <a:pt x="945" y="13925"/>
                  <a:pt x="1103" y="14051"/>
                  <a:pt x="1292" y="14051"/>
                </a:cubicBezTo>
                <a:lnTo>
                  <a:pt x="5419" y="14051"/>
                </a:lnTo>
                <a:cubicBezTo>
                  <a:pt x="5545" y="14051"/>
                  <a:pt x="5671" y="14020"/>
                  <a:pt x="5734" y="13925"/>
                </a:cubicBezTo>
                <a:lnTo>
                  <a:pt x="7120" y="12413"/>
                </a:lnTo>
                <a:lnTo>
                  <a:pt x="8506" y="13925"/>
                </a:lnTo>
                <a:cubicBezTo>
                  <a:pt x="8569" y="14020"/>
                  <a:pt x="8696" y="14051"/>
                  <a:pt x="8822" y="14051"/>
                </a:cubicBezTo>
                <a:lnTo>
                  <a:pt x="12949" y="14051"/>
                </a:lnTo>
                <a:cubicBezTo>
                  <a:pt x="13106" y="14051"/>
                  <a:pt x="13264" y="13925"/>
                  <a:pt x="13358" y="13768"/>
                </a:cubicBezTo>
                <a:cubicBezTo>
                  <a:pt x="13390" y="13610"/>
                  <a:pt x="13358" y="13421"/>
                  <a:pt x="13232" y="13327"/>
                </a:cubicBezTo>
                <a:lnTo>
                  <a:pt x="9263" y="10082"/>
                </a:lnTo>
                <a:lnTo>
                  <a:pt x="10869" y="8286"/>
                </a:lnTo>
                <a:lnTo>
                  <a:pt x="11310" y="8695"/>
                </a:lnTo>
                <a:cubicBezTo>
                  <a:pt x="11389" y="8774"/>
                  <a:pt x="11492" y="8814"/>
                  <a:pt x="11594" y="8814"/>
                </a:cubicBezTo>
                <a:cubicBezTo>
                  <a:pt x="11696" y="8814"/>
                  <a:pt x="11799" y="8774"/>
                  <a:pt x="11878" y="8695"/>
                </a:cubicBezTo>
                <a:lnTo>
                  <a:pt x="13673" y="6931"/>
                </a:lnTo>
                <a:cubicBezTo>
                  <a:pt x="14083" y="6490"/>
                  <a:pt x="14303" y="5955"/>
                  <a:pt x="14240" y="5387"/>
                </a:cubicBezTo>
                <a:lnTo>
                  <a:pt x="14240" y="5356"/>
                </a:lnTo>
                <a:lnTo>
                  <a:pt x="14240" y="2867"/>
                </a:lnTo>
                <a:cubicBezTo>
                  <a:pt x="14240" y="2205"/>
                  <a:pt x="13705" y="1670"/>
                  <a:pt x="12980" y="1670"/>
                </a:cubicBezTo>
                <a:lnTo>
                  <a:pt x="12571" y="1670"/>
                </a:lnTo>
                <a:lnTo>
                  <a:pt x="12571" y="788"/>
                </a:lnTo>
                <a:lnTo>
                  <a:pt x="13736" y="788"/>
                </a:lnTo>
                <a:lnTo>
                  <a:pt x="13736" y="819"/>
                </a:lnTo>
                <a:cubicBezTo>
                  <a:pt x="13988" y="819"/>
                  <a:pt x="14177" y="630"/>
                  <a:pt x="14177" y="441"/>
                </a:cubicBezTo>
                <a:cubicBezTo>
                  <a:pt x="14177" y="189"/>
                  <a:pt x="13988" y="0"/>
                  <a:pt x="137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2" name="Google Shape;7722;p75"/>
          <p:cNvSpPr/>
          <p:nvPr/>
        </p:nvSpPr>
        <p:spPr>
          <a:xfrm>
            <a:off x="10101885" y="3159477"/>
            <a:ext cx="458465" cy="398651"/>
          </a:xfrm>
          <a:custGeom>
            <a:avLst/>
            <a:gdLst/>
            <a:ahLst/>
            <a:cxnLst/>
            <a:rect l="l" t="t" r="r" b="b"/>
            <a:pathLst>
              <a:path w="14241" h="12383" extrusionOk="0">
                <a:moveTo>
                  <a:pt x="9610" y="4128"/>
                </a:moveTo>
                <a:cubicBezTo>
                  <a:pt x="10271" y="4128"/>
                  <a:pt x="10870" y="4664"/>
                  <a:pt x="10870" y="5388"/>
                </a:cubicBezTo>
                <a:cubicBezTo>
                  <a:pt x="10870" y="6050"/>
                  <a:pt x="10303" y="6617"/>
                  <a:pt x="9610" y="6617"/>
                </a:cubicBezTo>
                <a:lnTo>
                  <a:pt x="8444" y="6617"/>
                </a:lnTo>
                <a:cubicBezTo>
                  <a:pt x="8412" y="6207"/>
                  <a:pt x="8381" y="5829"/>
                  <a:pt x="8381" y="5388"/>
                </a:cubicBezTo>
                <a:cubicBezTo>
                  <a:pt x="8381" y="4947"/>
                  <a:pt x="8412" y="4569"/>
                  <a:pt x="8444" y="4128"/>
                </a:cubicBezTo>
                <a:close/>
                <a:moveTo>
                  <a:pt x="3183" y="3309"/>
                </a:moveTo>
                <a:cubicBezTo>
                  <a:pt x="2773" y="3876"/>
                  <a:pt x="2553" y="4632"/>
                  <a:pt x="2553" y="5388"/>
                </a:cubicBezTo>
                <a:cubicBezTo>
                  <a:pt x="2553" y="6144"/>
                  <a:pt x="2773" y="6837"/>
                  <a:pt x="3183" y="7468"/>
                </a:cubicBezTo>
                <a:lnTo>
                  <a:pt x="2994" y="7468"/>
                </a:lnTo>
                <a:cubicBezTo>
                  <a:pt x="1765" y="7436"/>
                  <a:pt x="820" y="6459"/>
                  <a:pt x="883" y="5262"/>
                </a:cubicBezTo>
                <a:cubicBezTo>
                  <a:pt x="946" y="4191"/>
                  <a:pt x="1954" y="3309"/>
                  <a:pt x="3088" y="3309"/>
                </a:cubicBezTo>
                <a:close/>
                <a:moveTo>
                  <a:pt x="8129" y="2175"/>
                </a:moveTo>
                <a:lnTo>
                  <a:pt x="8129" y="2175"/>
                </a:lnTo>
                <a:cubicBezTo>
                  <a:pt x="7751" y="3088"/>
                  <a:pt x="7562" y="4160"/>
                  <a:pt x="7562" y="5294"/>
                </a:cubicBezTo>
                <a:cubicBezTo>
                  <a:pt x="7562" y="6428"/>
                  <a:pt x="7751" y="7499"/>
                  <a:pt x="8129" y="8413"/>
                </a:cubicBezTo>
                <a:lnTo>
                  <a:pt x="7908" y="8255"/>
                </a:lnTo>
                <a:cubicBezTo>
                  <a:pt x="6995" y="7783"/>
                  <a:pt x="5861" y="7436"/>
                  <a:pt x="4600" y="7436"/>
                </a:cubicBezTo>
                <a:lnTo>
                  <a:pt x="4254" y="7436"/>
                </a:lnTo>
                <a:cubicBezTo>
                  <a:pt x="3687" y="6869"/>
                  <a:pt x="3372" y="6144"/>
                  <a:pt x="3372" y="5357"/>
                </a:cubicBezTo>
                <a:cubicBezTo>
                  <a:pt x="3372" y="4569"/>
                  <a:pt x="3687" y="3813"/>
                  <a:pt x="4254" y="3246"/>
                </a:cubicBezTo>
                <a:lnTo>
                  <a:pt x="4632" y="3246"/>
                </a:lnTo>
                <a:cubicBezTo>
                  <a:pt x="5798" y="3246"/>
                  <a:pt x="6963" y="2931"/>
                  <a:pt x="7908" y="2332"/>
                </a:cubicBezTo>
                <a:lnTo>
                  <a:pt x="8129" y="2175"/>
                </a:lnTo>
                <a:close/>
                <a:moveTo>
                  <a:pt x="5041" y="8287"/>
                </a:moveTo>
                <a:cubicBezTo>
                  <a:pt x="5293" y="8287"/>
                  <a:pt x="5577" y="8350"/>
                  <a:pt x="5861" y="8413"/>
                </a:cubicBezTo>
                <a:lnTo>
                  <a:pt x="5861" y="8696"/>
                </a:lnTo>
                <a:cubicBezTo>
                  <a:pt x="5861" y="8917"/>
                  <a:pt x="5672" y="9137"/>
                  <a:pt x="5419" y="9137"/>
                </a:cubicBezTo>
                <a:lnTo>
                  <a:pt x="5041" y="9137"/>
                </a:lnTo>
                <a:lnTo>
                  <a:pt x="5041" y="8287"/>
                </a:lnTo>
                <a:close/>
                <a:moveTo>
                  <a:pt x="10870" y="757"/>
                </a:moveTo>
                <a:cubicBezTo>
                  <a:pt x="12193" y="757"/>
                  <a:pt x="13327" y="2868"/>
                  <a:pt x="13327" y="5325"/>
                </a:cubicBezTo>
                <a:cubicBezTo>
                  <a:pt x="13327" y="7814"/>
                  <a:pt x="12193" y="9925"/>
                  <a:pt x="10870" y="9925"/>
                </a:cubicBezTo>
                <a:cubicBezTo>
                  <a:pt x="10712" y="9925"/>
                  <a:pt x="10492" y="9862"/>
                  <a:pt x="10334" y="9799"/>
                </a:cubicBezTo>
                <a:lnTo>
                  <a:pt x="9862" y="9515"/>
                </a:lnTo>
                <a:cubicBezTo>
                  <a:pt x="9358" y="9074"/>
                  <a:pt x="8917" y="8350"/>
                  <a:pt x="8664" y="7436"/>
                </a:cubicBezTo>
                <a:lnTo>
                  <a:pt x="9610" y="7436"/>
                </a:lnTo>
                <a:cubicBezTo>
                  <a:pt x="10744" y="7436"/>
                  <a:pt x="11689" y="6491"/>
                  <a:pt x="11689" y="5325"/>
                </a:cubicBezTo>
                <a:cubicBezTo>
                  <a:pt x="11689" y="4191"/>
                  <a:pt x="10744" y="3246"/>
                  <a:pt x="9610" y="3246"/>
                </a:cubicBezTo>
                <a:lnTo>
                  <a:pt x="8664" y="3246"/>
                </a:lnTo>
                <a:cubicBezTo>
                  <a:pt x="8948" y="2332"/>
                  <a:pt x="9326" y="1608"/>
                  <a:pt x="9862" y="1167"/>
                </a:cubicBezTo>
                <a:lnTo>
                  <a:pt x="10334" y="883"/>
                </a:lnTo>
                <a:cubicBezTo>
                  <a:pt x="10523" y="820"/>
                  <a:pt x="10712" y="757"/>
                  <a:pt x="10870" y="757"/>
                </a:cubicBezTo>
                <a:close/>
                <a:moveTo>
                  <a:pt x="4222" y="8255"/>
                </a:moveTo>
                <a:lnTo>
                  <a:pt x="4222" y="11185"/>
                </a:lnTo>
                <a:cubicBezTo>
                  <a:pt x="4222" y="11406"/>
                  <a:pt x="4002" y="11595"/>
                  <a:pt x="3813" y="11595"/>
                </a:cubicBezTo>
                <a:cubicBezTo>
                  <a:pt x="3624" y="11595"/>
                  <a:pt x="3372" y="11406"/>
                  <a:pt x="3372" y="11185"/>
                </a:cubicBezTo>
                <a:lnTo>
                  <a:pt x="3372" y="8255"/>
                </a:lnTo>
                <a:close/>
                <a:moveTo>
                  <a:pt x="10870" y="1"/>
                </a:moveTo>
                <a:cubicBezTo>
                  <a:pt x="10303" y="1"/>
                  <a:pt x="9830" y="190"/>
                  <a:pt x="9389" y="536"/>
                </a:cubicBezTo>
                <a:lnTo>
                  <a:pt x="7467" y="1671"/>
                </a:lnTo>
                <a:cubicBezTo>
                  <a:pt x="6648" y="2206"/>
                  <a:pt x="5609" y="2458"/>
                  <a:pt x="4632" y="2458"/>
                </a:cubicBezTo>
                <a:lnTo>
                  <a:pt x="3088" y="2458"/>
                </a:lnTo>
                <a:cubicBezTo>
                  <a:pt x="1513" y="2458"/>
                  <a:pt x="158" y="3655"/>
                  <a:pt x="64" y="5231"/>
                </a:cubicBezTo>
                <a:cubicBezTo>
                  <a:pt x="1" y="6806"/>
                  <a:pt x="1135" y="8066"/>
                  <a:pt x="2553" y="8255"/>
                </a:cubicBezTo>
                <a:lnTo>
                  <a:pt x="2553" y="11185"/>
                </a:lnTo>
                <a:cubicBezTo>
                  <a:pt x="2553" y="11847"/>
                  <a:pt x="3088" y="12382"/>
                  <a:pt x="3813" y="12382"/>
                </a:cubicBezTo>
                <a:cubicBezTo>
                  <a:pt x="4474" y="12382"/>
                  <a:pt x="5073" y="11847"/>
                  <a:pt x="5073" y="11185"/>
                </a:cubicBezTo>
                <a:lnTo>
                  <a:pt x="5073" y="9925"/>
                </a:lnTo>
                <a:lnTo>
                  <a:pt x="5451" y="9925"/>
                </a:lnTo>
                <a:cubicBezTo>
                  <a:pt x="6144" y="9925"/>
                  <a:pt x="6711" y="9358"/>
                  <a:pt x="6711" y="8696"/>
                </a:cubicBezTo>
                <a:lnTo>
                  <a:pt x="6711" y="8665"/>
                </a:lnTo>
                <a:cubicBezTo>
                  <a:pt x="6995" y="8759"/>
                  <a:pt x="7278" y="8885"/>
                  <a:pt x="7562" y="9043"/>
                </a:cubicBezTo>
                <a:lnTo>
                  <a:pt x="9484" y="10177"/>
                </a:lnTo>
                <a:cubicBezTo>
                  <a:pt x="9925" y="10555"/>
                  <a:pt x="10397" y="10744"/>
                  <a:pt x="10933" y="10744"/>
                </a:cubicBezTo>
                <a:cubicBezTo>
                  <a:pt x="11878" y="10744"/>
                  <a:pt x="12697" y="10145"/>
                  <a:pt x="13327" y="9074"/>
                </a:cubicBezTo>
                <a:cubicBezTo>
                  <a:pt x="13926" y="8098"/>
                  <a:pt x="14241" y="6774"/>
                  <a:pt x="14241" y="5388"/>
                </a:cubicBezTo>
                <a:cubicBezTo>
                  <a:pt x="14178" y="2458"/>
                  <a:pt x="12792" y="1"/>
                  <a:pt x="1087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23" name="Google Shape;7723;p75"/>
          <p:cNvGrpSpPr/>
          <p:nvPr/>
        </p:nvGrpSpPr>
        <p:grpSpPr>
          <a:xfrm>
            <a:off x="7698795" y="3703997"/>
            <a:ext cx="399648" cy="458465"/>
            <a:chOff x="-9570950" y="1622100"/>
            <a:chExt cx="310350" cy="356025"/>
          </a:xfrm>
        </p:grpSpPr>
        <p:sp>
          <p:nvSpPr>
            <p:cNvPr id="7724" name="Google Shape;7724;p75"/>
            <p:cNvSpPr/>
            <p:nvPr/>
          </p:nvSpPr>
          <p:spPr>
            <a:xfrm>
              <a:off x="-9570950" y="1622100"/>
              <a:ext cx="310350" cy="356025"/>
            </a:xfrm>
            <a:custGeom>
              <a:avLst/>
              <a:gdLst/>
              <a:ahLst/>
              <a:cxnLst/>
              <a:rect l="l" t="t" r="r" b="b"/>
              <a:pathLst>
                <a:path w="12414" h="14241" extrusionOk="0">
                  <a:moveTo>
                    <a:pt x="7026" y="851"/>
                  </a:moveTo>
                  <a:cubicBezTo>
                    <a:pt x="7246" y="851"/>
                    <a:pt x="7404" y="1040"/>
                    <a:pt x="7404" y="1229"/>
                  </a:cubicBezTo>
                  <a:lnTo>
                    <a:pt x="7404" y="1670"/>
                  </a:lnTo>
                  <a:lnTo>
                    <a:pt x="4915" y="1670"/>
                  </a:lnTo>
                  <a:lnTo>
                    <a:pt x="4915" y="1229"/>
                  </a:lnTo>
                  <a:lnTo>
                    <a:pt x="4978" y="1229"/>
                  </a:lnTo>
                  <a:cubicBezTo>
                    <a:pt x="4978" y="1009"/>
                    <a:pt x="5167" y="851"/>
                    <a:pt x="5356" y="851"/>
                  </a:cubicBezTo>
                  <a:close/>
                  <a:moveTo>
                    <a:pt x="9987" y="2490"/>
                  </a:moveTo>
                  <a:lnTo>
                    <a:pt x="9987" y="7688"/>
                  </a:lnTo>
                  <a:lnTo>
                    <a:pt x="9924" y="7688"/>
                  </a:lnTo>
                  <a:lnTo>
                    <a:pt x="8160" y="5924"/>
                  </a:lnTo>
                  <a:cubicBezTo>
                    <a:pt x="8081" y="5845"/>
                    <a:pt x="7971" y="5805"/>
                    <a:pt x="7861" y="5805"/>
                  </a:cubicBezTo>
                  <a:cubicBezTo>
                    <a:pt x="7750" y="5805"/>
                    <a:pt x="7640" y="5845"/>
                    <a:pt x="7561" y="5924"/>
                  </a:cubicBezTo>
                  <a:lnTo>
                    <a:pt x="6396" y="7121"/>
                  </a:lnTo>
                  <a:lnTo>
                    <a:pt x="4883" y="5136"/>
                  </a:lnTo>
                  <a:cubicBezTo>
                    <a:pt x="4820" y="5010"/>
                    <a:pt x="4694" y="4978"/>
                    <a:pt x="4568" y="4978"/>
                  </a:cubicBezTo>
                  <a:cubicBezTo>
                    <a:pt x="4474" y="4978"/>
                    <a:pt x="4348" y="5073"/>
                    <a:pt x="4253" y="5136"/>
                  </a:cubicBezTo>
                  <a:lnTo>
                    <a:pt x="2521" y="7467"/>
                  </a:lnTo>
                  <a:lnTo>
                    <a:pt x="2521" y="2490"/>
                  </a:lnTo>
                  <a:close/>
                  <a:moveTo>
                    <a:pt x="4537" y="6081"/>
                  </a:moveTo>
                  <a:lnTo>
                    <a:pt x="6175" y="8286"/>
                  </a:lnTo>
                  <a:lnTo>
                    <a:pt x="2867" y="8286"/>
                  </a:lnTo>
                  <a:lnTo>
                    <a:pt x="4537" y="6081"/>
                  </a:lnTo>
                  <a:close/>
                  <a:moveTo>
                    <a:pt x="7845" y="6806"/>
                  </a:moveTo>
                  <a:lnTo>
                    <a:pt x="9326" y="8286"/>
                  </a:lnTo>
                  <a:lnTo>
                    <a:pt x="7215" y="8286"/>
                  </a:lnTo>
                  <a:lnTo>
                    <a:pt x="6868" y="7782"/>
                  </a:lnTo>
                  <a:lnTo>
                    <a:pt x="7845" y="6806"/>
                  </a:lnTo>
                  <a:close/>
                  <a:moveTo>
                    <a:pt x="1670" y="2458"/>
                  </a:moveTo>
                  <a:lnTo>
                    <a:pt x="1670" y="8696"/>
                  </a:lnTo>
                  <a:cubicBezTo>
                    <a:pt x="1670" y="8917"/>
                    <a:pt x="1859" y="9106"/>
                    <a:pt x="2080" y="9106"/>
                  </a:cubicBezTo>
                  <a:lnTo>
                    <a:pt x="10365" y="9106"/>
                  </a:lnTo>
                  <a:cubicBezTo>
                    <a:pt x="10586" y="9106"/>
                    <a:pt x="10806" y="8917"/>
                    <a:pt x="10743" y="8696"/>
                  </a:cubicBezTo>
                  <a:lnTo>
                    <a:pt x="10743" y="2490"/>
                  </a:lnTo>
                  <a:lnTo>
                    <a:pt x="11153" y="2490"/>
                  </a:lnTo>
                  <a:cubicBezTo>
                    <a:pt x="11374" y="2490"/>
                    <a:pt x="11594" y="2647"/>
                    <a:pt x="11594" y="2899"/>
                  </a:cubicBezTo>
                  <a:lnTo>
                    <a:pt x="11594" y="9515"/>
                  </a:lnTo>
                  <a:cubicBezTo>
                    <a:pt x="11594" y="9736"/>
                    <a:pt x="11374" y="9956"/>
                    <a:pt x="11184" y="9956"/>
                  </a:cubicBezTo>
                  <a:lnTo>
                    <a:pt x="1260" y="9956"/>
                  </a:lnTo>
                  <a:cubicBezTo>
                    <a:pt x="1040" y="9956"/>
                    <a:pt x="882" y="9736"/>
                    <a:pt x="882" y="9515"/>
                  </a:cubicBezTo>
                  <a:lnTo>
                    <a:pt x="882" y="2899"/>
                  </a:lnTo>
                  <a:cubicBezTo>
                    <a:pt x="882" y="2647"/>
                    <a:pt x="1071" y="2458"/>
                    <a:pt x="1260" y="2458"/>
                  </a:cubicBezTo>
                  <a:close/>
                  <a:moveTo>
                    <a:pt x="8286" y="10775"/>
                  </a:moveTo>
                  <a:lnTo>
                    <a:pt x="8286" y="11626"/>
                  </a:lnTo>
                  <a:lnTo>
                    <a:pt x="4127" y="11626"/>
                  </a:lnTo>
                  <a:lnTo>
                    <a:pt x="4127" y="10775"/>
                  </a:lnTo>
                  <a:close/>
                  <a:moveTo>
                    <a:pt x="3340" y="10775"/>
                  </a:moveTo>
                  <a:lnTo>
                    <a:pt x="3340" y="12886"/>
                  </a:lnTo>
                  <a:lnTo>
                    <a:pt x="3308" y="12886"/>
                  </a:lnTo>
                  <a:cubicBezTo>
                    <a:pt x="3308" y="13138"/>
                    <a:pt x="3119" y="13327"/>
                    <a:pt x="2930" y="13327"/>
                  </a:cubicBezTo>
                  <a:cubicBezTo>
                    <a:pt x="2710" y="13327"/>
                    <a:pt x="2521" y="13138"/>
                    <a:pt x="2521" y="12886"/>
                  </a:cubicBezTo>
                  <a:lnTo>
                    <a:pt x="2521" y="10775"/>
                  </a:lnTo>
                  <a:close/>
                  <a:moveTo>
                    <a:pt x="9956" y="10775"/>
                  </a:moveTo>
                  <a:lnTo>
                    <a:pt x="9956" y="12886"/>
                  </a:lnTo>
                  <a:lnTo>
                    <a:pt x="9924" y="12886"/>
                  </a:lnTo>
                  <a:cubicBezTo>
                    <a:pt x="9924" y="13138"/>
                    <a:pt x="9735" y="13327"/>
                    <a:pt x="9546" y="13327"/>
                  </a:cubicBezTo>
                  <a:cubicBezTo>
                    <a:pt x="9326" y="13327"/>
                    <a:pt x="9137" y="13138"/>
                    <a:pt x="9137" y="12886"/>
                  </a:cubicBezTo>
                  <a:lnTo>
                    <a:pt x="9137" y="10775"/>
                  </a:lnTo>
                  <a:close/>
                  <a:moveTo>
                    <a:pt x="5356" y="1"/>
                  </a:moveTo>
                  <a:cubicBezTo>
                    <a:pt x="4694" y="1"/>
                    <a:pt x="4127" y="568"/>
                    <a:pt x="4127" y="1292"/>
                  </a:cubicBezTo>
                  <a:lnTo>
                    <a:pt x="4127" y="1702"/>
                  </a:lnTo>
                  <a:lnTo>
                    <a:pt x="1229" y="1702"/>
                  </a:lnTo>
                  <a:cubicBezTo>
                    <a:pt x="567" y="1702"/>
                    <a:pt x="0" y="2269"/>
                    <a:pt x="0" y="2962"/>
                  </a:cubicBezTo>
                  <a:lnTo>
                    <a:pt x="0" y="9578"/>
                  </a:lnTo>
                  <a:cubicBezTo>
                    <a:pt x="0" y="10271"/>
                    <a:pt x="567" y="10838"/>
                    <a:pt x="1229" y="10838"/>
                  </a:cubicBezTo>
                  <a:lnTo>
                    <a:pt x="1607" y="10838"/>
                  </a:lnTo>
                  <a:lnTo>
                    <a:pt x="1607" y="12981"/>
                  </a:lnTo>
                  <a:cubicBezTo>
                    <a:pt x="1607" y="13642"/>
                    <a:pt x="2174" y="14241"/>
                    <a:pt x="2867" y="14241"/>
                  </a:cubicBezTo>
                  <a:cubicBezTo>
                    <a:pt x="3592" y="14241"/>
                    <a:pt x="4127" y="13674"/>
                    <a:pt x="4127" y="12981"/>
                  </a:cubicBezTo>
                  <a:lnTo>
                    <a:pt x="4127" y="12540"/>
                  </a:lnTo>
                  <a:lnTo>
                    <a:pt x="8286" y="12540"/>
                  </a:lnTo>
                  <a:lnTo>
                    <a:pt x="8286" y="12981"/>
                  </a:lnTo>
                  <a:cubicBezTo>
                    <a:pt x="8286" y="13642"/>
                    <a:pt x="8822" y="14241"/>
                    <a:pt x="9483" y="14241"/>
                  </a:cubicBezTo>
                  <a:cubicBezTo>
                    <a:pt x="10176" y="14241"/>
                    <a:pt x="10775" y="13674"/>
                    <a:pt x="10775" y="12981"/>
                  </a:cubicBezTo>
                  <a:lnTo>
                    <a:pt x="10775" y="10838"/>
                  </a:lnTo>
                  <a:lnTo>
                    <a:pt x="11153" y="10838"/>
                  </a:lnTo>
                  <a:cubicBezTo>
                    <a:pt x="11815" y="10838"/>
                    <a:pt x="12413" y="10303"/>
                    <a:pt x="12413" y="9578"/>
                  </a:cubicBezTo>
                  <a:lnTo>
                    <a:pt x="12413" y="2899"/>
                  </a:lnTo>
                  <a:cubicBezTo>
                    <a:pt x="12413" y="2238"/>
                    <a:pt x="11878" y="1639"/>
                    <a:pt x="11153" y="1639"/>
                  </a:cubicBezTo>
                  <a:lnTo>
                    <a:pt x="8286" y="1639"/>
                  </a:lnTo>
                  <a:lnTo>
                    <a:pt x="8286" y="1198"/>
                  </a:lnTo>
                  <a:cubicBezTo>
                    <a:pt x="8286" y="568"/>
                    <a:pt x="7687" y="1"/>
                    <a:pt x="702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5" name="Google Shape;7725;p75"/>
            <p:cNvSpPr/>
            <p:nvPr/>
          </p:nvSpPr>
          <p:spPr>
            <a:xfrm>
              <a:off x="-9426025" y="1695350"/>
              <a:ext cx="63025" cy="62250"/>
            </a:xfrm>
            <a:custGeom>
              <a:avLst/>
              <a:gdLst/>
              <a:ahLst/>
              <a:cxnLst/>
              <a:rect l="l" t="t" r="r" b="b"/>
              <a:pathLst>
                <a:path w="2521" h="2490" extrusionOk="0">
                  <a:moveTo>
                    <a:pt x="1260" y="820"/>
                  </a:moveTo>
                  <a:cubicBezTo>
                    <a:pt x="1449" y="820"/>
                    <a:pt x="1638" y="977"/>
                    <a:pt x="1638" y="1229"/>
                  </a:cubicBezTo>
                  <a:cubicBezTo>
                    <a:pt x="1638" y="1450"/>
                    <a:pt x="1449" y="1639"/>
                    <a:pt x="1260" y="1639"/>
                  </a:cubicBezTo>
                  <a:cubicBezTo>
                    <a:pt x="1071" y="1639"/>
                    <a:pt x="851" y="1450"/>
                    <a:pt x="851" y="1229"/>
                  </a:cubicBezTo>
                  <a:cubicBezTo>
                    <a:pt x="851" y="977"/>
                    <a:pt x="1071" y="820"/>
                    <a:pt x="1260" y="820"/>
                  </a:cubicBezTo>
                  <a:close/>
                  <a:moveTo>
                    <a:pt x="1260" y="1"/>
                  </a:moveTo>
                  <a:cubicBezTo>
                    <a:pt x="536" y="1"/>
                    <a:pt x="0" y="505"/>
                    <a:pt x="0" y="1229"/>
                  </a:cubicBezTo>
                  <a:cubicBezTo>
                    <a:pt x="0" y="1891"/>
                    <a:pt x="536" y="2490"/>
                    <a:pt x="1260" y="2490"/>
                  </a:cubicBezTo>
                  <a:cubicBezTo>
                    <a:pt x="1985" y="2490"/>
                    <a:pt x="2521" y="1922"/>
                    <a:pt x="2521" y="1229"/>
                  </a:cubicBezTo>
                  <a:cubicBezTo>
                    <a:pt x="2521" y="505"/>
                    <a:pt x="1985" y="1"/>
                    <a:pt x="126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26" name="Google Shape;7726;p75"/>
          <p:cNvGrpSpPr/>
          <p:nvPr/>
        </p:nvGrpSpPr>
        <p:grpSpPr>
          <a:xfrm>
            <a:off x="7670400" y="4249271"/>
            <a:ext cx="456437" cy="455439"/>
            <a:chOff x="-9594575" y="2056875"/>
            <a:chExt cx="354450" cy="353675"/>
          </a:xfrm>
        </p:grpSpPr>
        <p:sp>
          <p:nvSpPr>
            <p:cNvPr id="7727" name="Google Shape;7727;p75"/>
            <p:cNvSpPr/>
            <p:nvPr/>
          </p:nvSpPr>
          <p:spPr>
            <a:xfrm>
              <a:off x="-9594575" y="2056875"/>
              <a:ext cx="354450" cy="353675"/>
            </a:xfrm>
            <a:custGeom>
              <a:avLst/>
              <a:gdLst/>
              <a:ahLst/>
              <a:cxnLst/>
              <a:rect l="l" t="t" r="r" b="b"/>
              <a:pathLst>
                <a:path w="14178" h="14147" extrusionOk="0">
                  <a:moveTo>
                    <a:pt x="3781" y="819"/>
                  </a:moveTo>
                  <a:cubicBezTo>
                    <a:pt x="4442" y="819"/>
                    <a:pt x="5041" y="1387"/>
                    <a:pt x="5041" y="2080"/>
                  </a:cubicBezTo>
                  <a:cubicBezTo>
                    <a:pt x="4694" y="1796"/>
                    <a:pt x="4253" y="1639"/>
                    <a:pt x="3812" y="1639"/>
                  </a:cubicBezTo>
                  <a:cubicBezTo>
                    <a:pt x="3340" y="1639"/>
                    <a:pt x="2930" y="1796"/>
                    <a:pt x="2552" y="2048"/>
                  </a:cubicBezTo>
                  <a:cubicBezTo>
                    <a:pt x="2552" y="1387"/>
                    <a:pt x="3119" y="819"/>
                    <a:pt x="3781" y="819"/>
                  </a:cubicBezTo>
                  <a:close/>
                  <a:moveTo>
                    <a:pt x="10491" y="819"/>
                  </a:moveTo>
                  <a:cubicBezTo>
                    <a:pt x="11153" y="819"/>
                    <a:pt x="11688" y="1387"/>
                    <a:pt x="11751" y="2048"/>
                  </a:cubicBezTo>
                  <a:cubicBezTo>
                    <a:pt x="11373" y="1765"/>
                    <a:pt x="10964" y="1639"/>
                    <a:pt x="10491" y="1639"/>
                  </a:cubicBezTo>
                  <a:cubicBezTo>
                    <a:pt x="10019" y="1639"/>
                    <a:pt x="9578" y="1796"/>
                    <a:pt x="9263" y="2080"/>
                  </a:cubicBezTo>
                  <a:cubicBezTo>
                    <a:pt x="9231" y="1387"/>
                    <a:pt x="9767" y="819"/>
                    <a:pt x="10491" y="819"/>
                  </a:cubicBezTo>
                  <a:close/>
                  <a:moveTo>
                    <a:pt x="6742" y="5797"/>
                  </a:moveTo>
                  <a:lnTo>
                    <a:pt x="6742" y="7467"/>
                  </a:lnTo>
                  <a:lnTo>
                    <a:pt x="5860" y="7467"/>
                  </a:lnTo>
                  <a:lnTo>
                    <a:pt x="5860" y="5797"/>
                  </a:lnTo>
                  <a:close/>
                  <a:moveTo>
                    <a:pt x="8380" y="5766"/>
                  </a:moveTo>
                  <a:lnTo>
                    <a:pt x="8380" y="7467"/>
                  </a:lnTo>
                  <a:lnTo>
                    <a:pt x="7530" y="7467"/>
                  </a:lnTo>
                  <a:lnTo>
                    <a:pt x="7530" y="5766"/>
                  </a:lnTo>
                  <a:close/>
                  <a:moveTo>
                    <a:pt x="8380" y="8318"/>
                  </a:moveTo>
                  <a:lnTo>
                    <a:pt x="8380" y="9137"/>
                  </a:lnTo>
                  <a:lnTo>
                    <a:pt x="5860" y="9137"/>
                  </a:lnTo>
                  <a:lnTo>
                    <a:pt x="5860" y="8318"/>
                  </a:lnTo>
                  <a:close/>
                  <a:moveTo>
                    <a:pt x="3781" y="2489"/>
                  </a:moveTo>
                  <a:cubicBezTo>
                    <a:pt x="4442" y="2489"/>
                    <a:pt x="5041" y="3025"/>
                    <a:pt x="5041" y="3686"/>
                  </a:cubicBezTo>
                  <a:lnTo>
                    <a:pt x="5041" y="9168"/>
                  </a:lnTo>
                  <a:cubicBezTo>
                    <a:pt x="4537" y="8633"/>
                    <a:pt x="3781" y="8318"/>
                    <a:pt x="2962" y="8318"/>
                  </a:cubicBezTo>
                  <a:cubicBezTo>
                    <a:pt x="2363" y="8318"/>
                    <a:pt x="1859" y="8475"/>
                    <a:pt x="1386" y="8790"/>
                  </a:cubicBezTo>
                  <a:lnTo>
                    <a:pt x="2552" y="3497"/>
                  </a:lnTo>
                  <a:cubicBezTo>
                    <a:pt x="2678" y="2899"/>
                    <a:pt x="3182" y="2489"/>
                    <a:pt x="3781" y="2489"/>
                  </a:cubicBezTo>
                  <a:close/>
                  <a:moveTo>
                    <a:pt x="10491" y="2489"/>
                  </a:moveTo>
                  <a:cubicBezTo>
                    <a:pt x="11090" y="2489"/>
                    <a:pt x="11594" y="2899"/>
                    <a:pt x="11720" y="3497"/>
                  </a:cubicBezTo>
                  <a:lnTo>
                    <a:pt x="12886" y="8790"/>
                  </a:lnTo>
                  <a:cubicBezTo>
                    <a:pt x="12413" y="8444"/>
                    <a:pt x="11909" y="8318"/>
                    <a:pt x="11310" y="8318"/>
                  </a:cubicBezTo>
                  <a:cubicBezTo>
                    <a:pt x="10491" y="8318"/>
                    <a:pt x="9767" y="8633"/>
                    <a:pt x="9231" y="9168"/>
                  </a:cubicBezTo>
                  <a:lnTo>
                    <a:pt x="9231" y="3686"/>
                  </a:lnTo>
                  <a:cubicBezTo>
                    <a:pt x="9231" y="3025"/>
                    <a:pt x="9767" y="2489"/>
                    <a:pt x="10491" y="2489"/>
                  </a:cubicBezTo>
                  <a:close/>
                  <a:moveTo>
                    <a:pt x="2962" y="9074"/>
                  </a:moveTo>
                  <a:cubicBezTo>
                    <a:pt x="4096" y="9074"/>
                    <a:pt x="5041" y="10019"/>
                    <a:pt x="5041" y="11185"/>
                  </a:cubicBezTo>
                  <a:cubicBezTo>
                    <a:pt x="5041" y="12350"/>
                    <a:pt x="4096" y="13264"/>
                    <a:pt x="2962" y="13264"/>
                  </a:cubicBezTo>
                  <a:cubicBezTo>
                    <a:pt x="1827" y="13264"/>
                    <a:pt x="882" y="12319"/>
                    <a:pt x="882" y="11185"/>
                  </a:cubicBezTo>
                  <a:cubicBezTo>
                    <a:pt x="882" y="10019"/>
                    <a:pt x="1764" y="9074"/>
                    <a:pt x="2962" y="9074"/>
                  </a:cubicBezTo>
                  <a:close/>
                  <a:moveTo>
                    <a:pt x="11310" y="9074"/>
                  </a:moveTo>
                  <a:cubicBezTo>
                    <a:pt x="12445" y="9074"/>
                    <a:pt x="13390" y="9987"/>
                    <a:pt x="13390" y="11185"/>
                  </a:cubicBezTo>
                  <a:cubicBezTo>
                    <a:pt x="13358" y="12350"/>
                    <a:pt x="12445" y="13264"/>
                    <a:pt x="11310" y="13264"/>
                  </a:cubicBezTo>
                  <a:cubicBezTo>
                    <a:pt x="10176" y="13264"/>
                    <a:pt x="9231" y="12319"/>
                    <a:pt x="9231" y="11185"/>
                  </a:cubicBezTo>
                  <a:cubicBezTo>
                    <a:pt x="9231" y="10019"/>
                    <a:pt x="10176" y="9074"/>
                    <a:pt x="11310" y="9074"/>
                  </a:cubicBezTo>
                  <a:close/>
                  <a:moveTo>
                    <a:pt x="3749" y="0"/>
                  </a:moveTo>
                  <a:cubicBezTo>
                    <a:pt x="2615" y="0"/>
                    <a:pt x="1670" y="946"/>
                    <a:pt x="1670" y="2080"/>
                  </a:cubicBezTo>
                  <a:cubicBezTo>
                    <a:pt x="1670" y="2363"/>
                    <a:pt x="1733" y="2647"/>
                    <a:pt x="1827" y="2899"/>
                  </a:cubicBezTo>
                  <a:cubicBezTo>
                    <a:pt x="1733" y="3056"/>
                    <a:pt x="1701" y="3182"/>
                    <a:pt x="1701" y="3340"/>
                  </a:cubicBezTo>
                  <a:lnTo>
                    <a:pt x="63" y="10680"/>
                  </a:lnTo>
                  <a:cubicBezTo>
                    <a:pt x="0" y="10870"/>
                    <a:pt x="0" y="11027"/>
                    <a:pt x="0" y="11216"/>
                  </a:cubicBezTo>
                  <a:cubicBezTo>
                    <a:pt x="0" y="12823"/>
                    <a:pt x="1323" y="14146"/>
                    <a:pt x="2930" y="14146"/>
                  </a:cubicBezTo>
                  <a:cubicBezTo>
                    <a:pt x="4537" y="14146"/>
                    <a:pt x="5797" y="12823"/>
                    <a:pt x="5797" y="11216"/>
                  </a:cubicBezTo>
                  <a:lnTo>
                    <a:pt x="5797" y="9956"/>
                  </a:lnTo>
                  <a:lnTo>
                    <a:pt x="8317" y="9956"/>
                  </a:lnTo>
                  <a:lnTo>
                    <a:pt x="8317" y="11185"/>
                  </a:lnTo>
                  <a:cubicBezTo>
                    <a:pt x="8317" y="12791"/>
                    <a:pt x="9609" y="14083"/>
                    <a:pt x="11184" y="14083"/>
                  </a:cubicBezTo>
                  <a:cubicBezTo>
                    <a:pt x="12760" y="14083"/>
                    <a:pt x="14114" y="12791"/>
                    <a:pt x="14114" y="11185"/>
                  </a:cubicBezTo>
                  <a:cubicBezTo>
                    <a:pt x="14177" y="11027"/>
                    <a:pt x="14177" y="10870"/>
                    <a:pt x="14146" y="10680"/>
                  </a:cubicBezTo>
                  <a:cubicBezTo>
                    <a:pt x="14146" y="10680"/>
                    <a:pt x="12539" y="3466"/>
                    <a:pt x="12476" y="3340"/>
                  </a:cubicBezTo>
                  <a:cubicBezTo>
                    <a:pt x="12445" y="3182"/>
                    <a:pt x="12413" y="3025"/>
                    <a:pt x="12382" y="2899"/>
                  </a:cubicBezTo>
                  <a:cubicBezTo>
                    <a:pt x="12476" y="2647"/>
                    <a:pt x="12539" y="2363"/>
                    <a:pt x="12539" y="2080"/>
                  </a:cubicBezTo>
                  <a:cubicBezTo>
                    <a:pt x="12539" y="946"/>
                    <a:pt x="11594" y="0"/>
                    <a:pt x="10428" y="0"/>
                  </a:cubicBezTo>
                  <a:cubicBezTo>
                    <a:pt x="9294" y="0"/>
                    <a:pt x="8349" y="946"/>
                    <a:pt x="8349" y="2080"/>
                  </a:cubicBezTo>
                  <a:cubicBezTo>
                    <a:pt x="8349" y="2363"/>
                    <a:pt x="8443" y="2647"/>
                    <a:pt x="8506" y="2899"/>
                  </a:cubicBezTo>
                  <a:cubicBezTo>
                    <a:pt x="8412" y="3151"/>
                    <a:pt x="8349" y="3466"/>
                    <a:pt x="8349" y="3749"/>
                  </a:cubicBezTo>
                  <a:lnTo>
                    <a:pt x="8349" y="5010"/>
                  </a:lnTo>
                  <a:lnTo>
                    <a:pt x="5828" y="5010"/>
                  </a:lnTo>
                  <a:lnTo>
                    <a:pt x="5828" y="3749"/>
                  </a:lnTo>
                  <a:cubicBezTo>
                    <a:pt x="5828" y="3466"/>
                    <a:pt x="5765" y="3151"/>
                    <a:pt x="5671" y="2899"/>
                  </a:cubicBezTo>
                  <a:cubicBezTo>
                    <a:pt x="5797" y="2647"/>
                    <a:pt x="5828" y="2363"/>
                    <a:pt x="5828" y="2080"/>
                  </a:cubicBezTo>
                  <a:cubicBezTo>
                    <a:pt x="5828" y="946"/>
                    <a:pt x="4883" y="0"/>
                    <a:pt x="374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8" name="Google Shape;7728;p75"/>
            <p:cNvSpPr/>
            <p:nvPr/>
          </p:nvSpPr>
          <p:spPr>
            <a:xfrm>
              <a:off x="-9342550" y="2305750"/>
              <a:ext cx="62250" cy="62250"/>
            </a:xfrm>
            <a:custGeom>
              <a:avLst/>
              <a:gdLst/>
              <a:ahLst/>
              <a:cxnLst/>
              <a:rect l="l" t="t" r="r" b="b"/>
              <a:pathLst>
                <a:path w="2490" h="2490" extrusionOk="0">
                  <a:moveTo>
                    <a:pt x="1229" y="820"/>
                  </a:moveTo>
                  <a:cubicBezTo>
                    <a:pt x="1450" y="820"/>
                    <a:pt x="1670" y="1041"/>
                    <a:pt x="1670" y="1230"/>
                  </a:cubicBezTo>
                  <a:cubicBezTo>
                    <a:pt x="1607" y="1450"/>
                    <a:pt x="1418" y="1639"/>
                    <a:pt x="1229" y="1639"/>
                  </a:cubicBezTo>
                  <a:cubicBezTo>
                    <a:pt x="977" y="1639"/>
                    <a:pt x="820" y="1450"/>
                    <a:pt x="820" y="1230"/>
                  </a:cubicBezTo>
                  <a:cubicBezTo>
                    <a:pt x="820" y="978"/>
                    <a:pt x="1040" y="820"/>
                    <a:pt x="1229" y="820"/>
                  </a:cubicBezTo>
                  <a:close/>
                  <a:moveTo>
                    <a:pt x="1229" y="1"/>
                  </a:moveTo>
                  <a:cubicBezTo>
                    <a:pt x="568" y="1"/>
                    <a:pt x="1" y="568"/>
                    <a:pt x="1" y="1230"/>
                  </a:cubicBezTo>
                  <a:cubicBezTo>
                    <a:pt x="1" y="1891"/>
                    <a:pt x="568" y="2490"/>
                    <a:pt x="1229" y="2490"/>
                  </a:cubicBezTo>
                  <a:cubicBezTo>
                    <a:pt x="1891" y="2490"/>
                    <a:pt x="2490" y="1923"/>
                    <a:pt x="2490" y="1230"/>
                  </a:cubicBezTo>
                  <a:cubicBezTo>
                    <a:pt x="2458" y="568"/>
                    <a:pt x="1891" y="1"/>
                    <a:pt x="122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29" name="Google Shape;7729;p75"/>
            <p:cNvSpPr/>
            <p:nvPr/>
          </p:nvSpPr>
          <p:spPr>
            <a:xfrm>
              <a:off x="-9552050" y="2305750"/>
              <a:ext cx="63025" cy="62250"/>
            </a:xfrm>
            <a:custGeom>
              <a:avLst/>
              <a:gdLst/>
              <a:ahLst/>
              <a:cxnLst/>
              <a:rect l="l" t="t" r="r" b="b"/>
              <a:pathLst>
                <a:path w="2521" h="2490" extrusionOk="0">
                  <a:moveTo>
                    <a:pt x="1261" y="820"/>
                  </a:moveTo>
                  <a:cubicBezTo>
                    <a:pt x="1481" y="820"/>
                    <a:pt x="1639" y="1041"/>
                    <a:pt x="1639" y="1230"/>
                  </a:cubicBezTo>
                  <a:cubicBezTo>
                    <a:pt x="1702" y="1450"/>
                    <a:pt x="1481" y="1639"/>
                    <a:pt x="1261" y="1639"/>
                  </a:cubicBezTo>
                  <a:cubicBezTo>
                    <a:pt x="1009" y="1639"/>
                    <a:pt x="819" y="1450"/>
                    <a:pt x="819" y="1230"/>
                  </a:cubicBezTo>
                  <a:cubicBezTo>
                    <a:pt x="819" y="978"/>
                    <a:pt x="1009" y="820"/>
                    <a:pt x="1261" y="820"/>
                  </a:cubicBezTo>
                  <a:close/>
                  <a:moveTo>
                    <a:pt x="1261" y="1"/>
                  </a:moveTo>
                  <a:cubicBezTo>
                    <a:pt x="599" y="1"/>
                    <a:pt x="0" y="568"/>
                    <a:pt x="0" y="1230"/>
                  </a:cubicBezTo>
                  <a:cubicBezTo>
                    <a:pt x="0" y="1891"/>
                    <a:pt x="536" y="2490"/>
                    <a:pt x="1261" y="2490"/>
                  </a:cubicBezTo>
                  <a:cubicBezTo>
                    <a:pt x="1922" y="2490"/>
                    <a:pt x="2489" y="1923"/>
                    <a:pt x="2489" y="1230"/>
                  </a:cubicBezTo>
                  <a:cubicBezTo>
                    <a:pt x="2521" y="568"/>
                    <a:pt x="1954" y="1"/>
                    <a:pt x="126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30" name="Google Shape;7730;p75"/>
          <p:cNvSpPr/>
          <p:nvPr/>
        </p:nvSpPr>
        <p:spPr>
          <a:xfrm>
            <a:off x="9497336" y="4289855"/>
            <a:ext cx="456469" cy="374280"/>
          </a:xfrm>
          <a:custGeom>
            <a:avLst/>
            <a:gdLst/>
            <a:ahLst/>
            <a:cxnLst/>
            <a:rect l="l" t="t" r="r" b="b"/>
            <a:pathLst>
              <a:path w="14179" h="11626" extrusionOk="0">
                <a:moveTo>
                  <a:pt x="1009" y="4159"/>
                </a:moveTo>
                <a:lnTo>
                  <a:pt x="1009" y="4159"/>
                </a:lnTo>
                <a:cubicBezTo>
                  <a:pt x="1671" y="4317"/>
                  <a:pt x="2301" y="4695"/>
                  <a:pt x="2742" y="5230"/>
                </a:cubicBezTo>
                <a:lnTo>
                  <a:pt x="3214" y="6616"/>
                </a:lnTo>
                <a:lnTo>
                  <a:pt x="1608" y="6616"/>
                </a:lnTo>
                <a:lnTo>
                  <a:pt x="1009" y="4159"/>
                </a:lnTo>
                <a:close/>
                <a:moveTo>
                  <a:pt x="2710" y="2521"/>
                </a:moveTo>
                <a:lnTo>
                  <a:pt x="2710" y="2521"/>
                </a:lnTo>
                <a:cubicBezTo>
                  <a:pt x="3782" y="2678"/>
                  <a:pt x="4758" y="3182"/>
                  <a:pt x="5514" y="3970"/>
                </a:cubicBezTo>
                <a:lnTo>
                  <a:pt x="6491" y="6616"/>
                </a:lnTo>
                <a:lnTo>
                  <a:pt x="4097" y="6616"/>
                </a:lnTo>
                <a:cubicBezTo>
                  <a:pt x="4002" y="6396"/>
                  <a:pt x="2773" y="2678"/>
                  <a:pt x="2710" y="2521"/>
                </a:cubicBezTo>
                <a:close/>
                <a:moveTo>
                  <a:pt x="5199" y="851"/>
                </a:moveTo>
                <a:cubicBezTo>
                  <a:pt x="8224" y="1135"/>
                  <a:pt x="10618" y="3592"/>
                  <a:pt x="10807" y="6616"/>
                </a:cubicBezTo>
                <a:lnTo>
                  <a:pt x="7342" y="6616"/>
                </a:lnTo>
                <a:lnTo>
                  <a:pt x="5199" y="851"/>
                </a:lnTo>
                <a:close/>
                <a:moveTo>
                  <a:pt x="13170" y="4159"/>
                </a:moveTo>
                <a:lnTo>
                  <a:pt x="12603" y="6616"/>
                </a:lnTo>
                <a:lnTo>
                  <a:pt x="11658" y="6616"/>
                </a:lnTo>
                <a:cubicBezTo>
                  <a:pt x="11595" y="6144"/>
                  <a:pt x="11532" y="5703"/>
                  <a:pt x="11437" y="5262"/>
                </a:cubicBezTo>
                <a:cubicBezTo>
                  <a:pt x="11847" y="4695"/>
                  <a:pt x="12477" y="4317"/>
                  <a:pt x="13170" y="4159"/>
                </a:cubicBezTo>
                <a:close/>
                <a:moveTo>
                  <a:pt x="12477" y="7436"/>
                </a:moveTo>
                <a:lnTo>
                  <a:pt x="12477" y="9105"/>
                </a:lnTo>
                <a:lnTo>
                  <a:pt x="9957" y="9105"/>
                </a:lnTo>
                <a:lnTo>
                  <a:pt x="9957" y="8664"/>
                </a:lnTo>
                <a:cubicBezTo>
                  <a:pt x="9957" y="8475"/>
                  <a:pt x="9799" y="8255"/>
                  <a:pt x="9547" y="8255"/>
                </a:cubicBezTo>
                <a:cubicBezTo>
                  <a:pt x="9326" y="8255"/>
                  <a:pt x="9169" y="8475"/>
                  <a:pt x="9169" y="8664"/>
                </a:cubicBezTo>
                <a:lnTo>
                  <a:pt x="9169" y="9105"/>
                </a:lnTo>
                <a:lnTo>
                  <a:pt x="7499" y="9105"/>
                </a:lnTo>
                <a:lnTo>
                  <a:pt x="7499" y="8664"/>
                </a:lnTo>
                <a:cubicBezTo>
                  <a:pt x="7499" y="8412"/>
                  <a:pt x="7310" y="8255"/>
                  <a:pt x="7121" y="8255"/>
                </a:cubicBezTo>
                <a:cubicBezTo>
                  <a:pt x="6869" y="8255"/>
                  <a:pt x="6680" y="8475"/>
                  <a:pt x="6680" y="8664"/>
                </a:cubicBezTo>
                <a:lnTo>
                  <a:pt x="6680" y="9105"/>
                </a:lnTo>
                <a:lnTo>
                  <a:pt x="5042" y="9105"/>
                </a:lnTo>
                <a:lnTo>
                  <a:pt x="5042" y="8664"/>
                </a:lnTo>
                <a:cubicBezTo>
                  <a:pt x="5042" y="8412"/>
                  <a:pt x="4821" y="8255"/>
                  <a:pt x="4601" y="8255"/>
                </a:cubicBezTo>
                <a:cubicBezTo>
                  <a:pt x="4349" y="8255"/>
                  <a:pt x="4191" y="8475"/>
                  <a:pt x="4191" y="8664"/>
                </a:cubicBezTo>
                <a:lnTo>
                  <a:pt x="4191" y="9105"/>
                </a:lnTo>
                <a:lnTo>
                  <a:pt x="1671" y="9105"/>
                </a:lnTo>
                <a:lnTo>
                  <a:pt x="1671" y="7436"/>
                </a:lnTo>
                <a:close/>
                <a:moveTo>
                  <a:pt x="12855" y="9924"/>
                </a:moveTo>
                <a:cubicBezTo>
                  <a:pt x="13107" y="9924"/>
                  <a:pt x="13265" y="10113"/>
                  <a:pt x="13265" y="10365"/>
                </a:cubicBezTo>
                <a:lnTo>
                  <a:pt x="13265" y="10744"/>
                </a:lnTo>
                <a:lnTo>
                  <a:pt x="852" y="10744"/>
                </a:lnTo>
                <a:lnTo>
                  <a:pt x="852" y="10365"/>
                </a:lnTo>
                <a:cubicBezTo>
                  <a:pt x="852" y="10113"/>
                  <a:pt x="1041" y="9924"/>
                  <a:pt x="1261" y="9924"/>
                </a:cubicBezTo>
                <a:close/>
                <a:moveTo>
                  <a:pt x="4601" y="0"/>
                </a:moveTo>
                <a:cubicBezTo>
                  <a:pt x="4475" y="0"/>
                  <a:pt x="4317" y="63"/>
                  <a:pt x="4254" y="189"/>
                </a:cubicBezTo>
                <a:cubicBezTo>
                  <a:pt x="4160" y="315"/>
                  <a:pt x="4160" y="410"/>
                  <a:pt x="4191" y="568"/>
                </a:cubicBezTo>
                <a:lnTo>
                  <a:pt x="4916" y="2458"/>
                </a:lnTo>
                <a:cubicBezTo>
                  <a:pt x="4097" y="1954"/>
                  <a:pt x="3088" y="1670"/>
                  <a:pt x="2112" y="1670"/>
                </a:cubicBezTo>
                <a:cubicBezTo>
                  <a:pt x="1986" y="1670"/>
                  <a:pt x="1828" y="1765"/>
                  <a:pt x="1765" y="1828"/>
                </a:cubicBezTo>
                <a:cubicBezTo>
                  <a:pt x="1671" y="1954"/>
                  <a:pt x="1639" y="2080"/>
                  <a:pt x="1734" y="2206"/>
                </a:cubicBezTo>
                <a:lnTo>
                  <a:pt x="2238" y="3781"/>
                </a:lnTo>
                <a:cubicBezTo>
                  <a:pt x="1671" y="3466"/>
                  <a:pt x="1041" y="3308"/>
                  <a:pt x="411" y="3308"/>
                </a:cubicBezTo>
                <a:cubicBezTo>
                  <a:pt x="316" y="3308"/>
                  <a:pt x="190" y="3340"/>
                  <a:pt x="95" y="3466"/>
                </a:cubicBezTo>
                <a:cubicBezTo>
                  <a:pt x="32" y="3592"/>
                  <a:pt x="1" y="3686"/>
                  <a:pt x="32" y="3813"/>
                </a:cubicBezTo>
                <a:lnTo>
                  <a:pt x="852" y="7089"/>
                </a:lnTo>
                <a:lnTo>
                  <a:pt x="852" y="9168"/>
                </a:lnTo>
                <a:cubicBezTo>
                  <a:pt x="379" y="9326"/>
                  <a:pt x="32" y="9798"/>
                  <a:pt x="32" y="10365"/>
                </a:cubicBezTo>
                <a:lnTo>
                  <a:pt x="32" y="11185"/>
                </a:lnTo>
                <a:cubicBezTo>
                  <a:pt x="32" y="11405"/>
                  <a:pt x="221" y="11626"/>
                  <a:pt x="411" y="11626"/>
                </a:cubicBezTo>
                <a:lnTo>
                  <a:pt x="13706" y="11626"/>
                </a:lnTo>
                <a:cubicBezTo>
                  <a:pt x="13926" y="11626"/>
                  <a:pt x="14084" y="11405"/>
                  <a:pt x="14084" y="11185"/>
                </a:cubicBezTo>
                <a:lnTo>
                  <a:pt x="14084" y="10365"/>
                </a:lnTo>
                <a:cubicBezTo>
                  <a:pt x="14115" y="9798"/>
                  <a:pt x="13769" y="9326"/>
                  <a:pt x="13296" y="9168"/>
                </a:cubicBezTo>
                <a:lnTo>
                  <a:pt x="13296" y="7089"/>
                </a:lnTo>
                <a:lnTo>
                  <a:pt x="14115" y="3813"/>
                </a:lnTo>
                <a:cubicBezTo>
                  <a:pt x="14178" y="3686"/>
                  <a:pt x="14115" y="3592"/>
                  <a:pt x="14052" y="3466"/>
                </a:cubicBezTo>
                <a:cubicBezTo>
                  <a:pt x="13958" y="3340"/>
                  <a:pt x="13863" y="3308"/>
                  <a:pt x="13737" y="3308"/>
                </a:cubicBezTo>
                <a:cubicBezTo>
                  <a:pt x="12760" y="3308"/>
                  <a:pt x="11847" y="3686"/>
                  <a:pt x="11122" y="4348"/>
                </a:cubicBezTo>
                <a:cubicBezTo>
                  <a:pt x="10083" y="1796"/>
                  <a:pt x="7562" y="0"/>
                  <a:pt x="460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31" name="Google Shape;7731;p75"/>
          <p:cNvGrpSpPr/>
          <p:nvPr/>
        </p:nvGrpSpPr>
        <p:grpSpPr>
          <a:xfrm>
            <a:off x="8277976" y="2043058"/>
            <a:ext cx="456437" cy="454409"/>
            <a:chOff x="-12661600" y="1640225"/>
            <a:chExt cx="354450" cy="352875"/>
          </a:xfrm>
        </p:grpSpPr>
        <p:sp>
          <p:nvSpPr>
            <p:cNvPr id="7732" name="Google Shape;7732;p75"/>
            <p:cNvSpPr/>
            <p:nvPr/>
          </p:nvSpPr>
          <p:spPr>
            <a:xfrm>
              <a:off x="-12661600" y="1764675"/>
              <a:ext cx="188275" cy="228425"/>
            </a:xfrm>
            <a:custGeom>
              <a:avLst/>
              <a:gdLst/>
              <a:ahLst/>
              <a:cxnLst/>
              <a:rect l="l" t="t" r="r" b="b"/>
              <a:pathLst>
                <a:path w="7531" h="9137" extrusionOk="0">
                  <a:moveTo>
                    <a:pt x="5451" y="819"/>
                  </a:moveTo>
                  <a:cubicBezTo>
                    <a:pt x="5672" y="819"/>
                    <a:pt x="5829" y="1008"/>
                    <a:pt x="5829" y="1229"/>
                  </a:cubicBezTo>
                  <a:cubicBezTo>
                    <a:pt x="5829" y="1481"/>
                    <a:pt x="5640" y="1670"/>
                    <a:pt x="5451" y="1670"/>
                  </a:cubicBezTo>
                  <a:lnTo>
                    <a:pt x="2112" y="1670"/>
                  </a:lnTo>
                  <a:cubicBezTo>
                    <a:pt x="1860" y="1670"/>
                    <a:pt x="1671" y="1481"/>
                    <a:pt x="1671" y="1229"/>
                  </a:cubicBezTo>
                  <a:cubicBezTo>
                    <a:pt x="1671" y="1008"/>
                    <a:pt x="1860" y="819"/>
                    <a:pt x="2112" y="819"/>
                  </a:cubicBezTo>
                  <a:close/>
                  <a:moveTo>
                    <a:pt x="5010" y="2457"/>
                  </a:moveTo>
                  <a:lnTo>
                    <a:pt x="5010" y="3308"/>
                  </a:lnTo>
                  <a:lnTo>
                    <a:pt x="2490" y="3308"/>
                  </a:lnTo>
                  <a:lnTo>
                    <a:pt x="2490" y="2457"/>
                  </a:lnTo>
                  <a:close/>
                  <a:moveTo>
                    <a:pt x="5325" y="4159"/>
                  </a:moveTo>
                  <a:lnTo>
                    <a:pt x="6428" y="4726"/>
                  </a:lnTo>
                  <a:cubicBezTo>
                    <a:pt x="6585" y="4789"/>
                    <a:pt x="6680" y="4915"/>
                    <a:pt x="6680" y="5072"/>
                  </a:cubicBezTo>
                  <a:lnTo>
                    <a:pt x="6680" y="7876"/>
                  </a:lnTo>
                  <a:cubicBezTo>
                    <a:pt x="6680" y="8097"/>
                    <a:pt x="6459" y="8286"/>
                    <a:pt x="6239" y="8286"/>
                  </a:cubicBezTo>
                  <a:lnTo>
                    <a:pt x="1229" y="8286"/>
                  </a:lnTo>
                  <a:cubicBezTo>
                    <a:pt x="1009" y="8286"/>
                    <a:pt x="788" y="8097"/>
                    <a:pt x="788" y="7876"/>
                  </a:cubicBezTo>
                  <a:lnTo>
                    <a:pt x="788" y="5072"/>
                  </a:lnTo>
                  <a:lnTo>
                    <a:pt x="851" y="5072"/>
                  </a:lnTo>
                  <a:cubicBezTo>
                    <a:pt x="851" y="4915"/>
                    <a:pt x="914" y="4757"/>
                    <a:pt x="1072" y="4726"/>
                  </a:cubicBezTo>
                  <a:lnTo>
                    <a:pt x="2175" y="4159"/>
                  </a:lnTo>
                  <a:close/>
                  <a:moveTo>
                    <a:pt x="2112" y="0"/>
                  </a:moveTo>
                  <a:cubicBezTo>
                    <a:pt x="1418" y="0"/>
                    <a:pt x="851" y="536"/>
                    <a:pt x="851" y="1260"/>
                  </a:cubicBezTo>
                  <a:cubicBezTo>
                    <a:pt x="851" y="1796"/>
                    <a:pt x="1198" y="2237"/>
                    <a:pt x="1671" y="2426"/>
                  </a:cubicBezTo>
                  <a:lnTo>
                    <a:pt x="1671" y="3497"/>
                  </a:lnTo>
                  <a:lnTo>
                    <a:pt x="694" y="3970"/>
                  </a:lnTo>
                  <a:cubicBezTo>
                    <a:pt x="253" y="4159"/>
                    <a:pt x="1" y="4600"/>
                    <a:pt x="1" y="5072"/>
                  </a:cubicBezTo>
                  <a:lnTo>
                    <a:pt x="1" y="7876"/>
                  </a:lnTo>
                  <a:cubicBezTo>
                    <a:pt x="1" y="8538"/>
                    <a:pt x="568" y="9136"/>
                    <a:pt x="1261" y="9136"/>
                  </a:cubicBezTo>
                  <a:lnTo>
                    <a:pt x="6270" y="9136"/>
                  </a:lnTo>
                  <a:cubicBezTo>
                    <a:pt x="6963" y="9136"/>
                    <a:pt x="7530" y="8538"/>
                    <a:pt x="7530" y="7876"/>
                  </a:cubicBezTo>
                  <a:lnTo>
                    <a:pt x="7530" y="5072"/>
                  </a:lnTo>
                  <a:cubicBezTo>
                    <a:pt x="7530" y="4600"/>
                    <a:pt x="7247" y="4159"/>
                    <a:pt x="6869" y="3970"/>
                  </a:cubicBezTo>
                  <a:lnTo>
                    <a:pt x="5892" y="3497"/>
                  </a:lnTo>
                  <a:lnTo>
                    <a:pt x="5892" y="2426"/>
                  </a:lnTo>
                  <a:cubicBezTo>
                    <a:pt x="6365" y="2268"/>
                    <a:pt x="6711" y="1796"/>
                    <a:pt x="6711" y="1260"/>
                  </a:cubicBezTo>
                  <a:cubicBezTo>
                    <a:pt x="6711" y="567"/>
                    <a:pt x="6144" y="0"/>
                    <a:pt x="54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3" name="Google Shape;7733;p75"/>
            <p:cNvSpPr/>
            <p:nvPr/>
          </p:nvSpPr>
          <p:spPr>
            <a:xfrm>
              <a:off x="-12451300" y="1640225"/>
              <a:ext cx="144150" cy="350500"/>
            </a:xfrm>
            <a:custGeom>
              <a:avLst/>
              <a:gdLst/>
              <a:ahLst/>
              <a:cxnLst/>
              <a:rect l="l" t="t" r="r" b="b"/>
              <a:pathLst>
                <a:path w="5766" h="14020" extrusionOk="0">
                  <a:moveTo>
                    <a:pt x="2836" y="788"/>
                  </a:moveTo>
                  <a:cubicBezTo>
                    <a:pt x="3970" y="788"/>
                    <a:pt x="4915" y="1733"/>
                    <a:pt x="4915" y="2867"/>
                  </a:cubicBezTo>
                  <a:lnTo>
                    <a:pt x="4915" y="4285"/>
                  </a:lnTo>
                  <a:lnTo>
                    <a:pt x="3246" y="5388"/>
                  </a:lnTo>
                  <a:lnTo>
                    <a:pt x="3246" y="4569"/>
                  </a:lnTo>
                  <a:lnTo>
                    <a:pt x="3246" y="2048"/>
                  </a:lnTo>
                  <a:cubicBezTo>
                    <a:pt x="3246" y="1828"/>
                    <a:pt x="3057" y="1607"/>
                    <a:pt x="2836" y="1607"/>
                  </a:cubicBezTo>
                  <a:cubicBezTo>
                    <a:pt x="2584" y="1607"/>
                    <a:pt x="2426" y="1828"/>
                    <a:pt x="2426" y="2048"/>
                  </a:cubicBezTo>
                  <a:lnTo>
                    <a:pt x="2426" y="3781"/>
                  </a:lnTo>
                  <a:lnTo>
                    <a:pt x="788" y="2678"/>
                  </a:lnTo>
                  <a:cubicBezTo>
                    <a:pt x="914" y="1607"/>
                    <a:pt x="1765" y="788"/>
                    <a:pt x="2836" y="788"/>
                  </a:cubicBezTo>
                  <a:close/>
                  <a:moveTo>
                    <a:pt x="788" y="3655"/>
                  </a:moveTo>
                  <a:lnTo>
                    <a:pt x="2426" y="4758"/>
                  </a:lnTo>
                  <a:lnTo>
                    <a:pt x="2426" y="7089"/>
                  </a:lnTo>
                  <a:lnTo>
                    <a:pt x="788" y="5986"/>
                  </a:lnTo>
                  <a:lnTo>
                    <a:pt x="788" y="3655"/>
                  </a:lnTo>
                  <a:close/>
                  <a:moveTo>
                    <a:pt x="4915" y="5325"/>
                  </a:moveTo>
                  <a:lnTo>
                    <a:pt x="4915" y="7656"/>
                  </a:lnTo>
                  <a:lnTo>
                    <a:pt x="3277" y="8759"/>
                  </a:lnTo>
                  <a:lnTo>
                    <a:pt x="3277" y="6427"/>
                  </a:lnTo>
                  <a:lnTo>
                    <a:pt x="4915" y="5325"/>
                  </a:lnTo>
                  <a:close/>
                  <a:moveTo>
                    <a:pt x="788" y="7026"/>
                  </a:moveTo>
                  <a:lnTo>
                    <a:pt x="2426" y="8129"/>
                  </a:lnTo>
                  <a:lnTo>
                    <a:pt x="2426" y="11027"/>
                  </a:lnTo>
                  <a:lnTo>
                    <a:pt x="1355" y="9956"/>
                  </a:lnTo>
                  <a:cubicBezTo>
                    <a:pt x="977" y="9578"/>
                    <a:pt x="788" y="9074"/>
                    <a:pt x="788" y="8507"/>
                  </a:cubicBezTo>
                  <a:lnTo>
                    <a:pt x="788" y="7026"/>
                  </a:lnTo>
                  <a:close/>
                  <a:moveTo>
                    <a:pt x="4884" y="8664"/>
                  </a:moveTo>
                  <a:cubicBezTo>
                    <a:pt x="4884" y="9137"/>
                    <a:pt x="4632" y="9609"/>
                    <a:pt x="4285" y="9956"/>
                  </a:cubicBezTo>
                  <a:lnTo>
                    <a:pt x="3214" y="11027"/>
                  </a:lnTo>
                  <a:lnTo>
                    <a:pt x="3214" y="9767"/>
                  </a:lnTo>
                  <a:lnTo>
                    <a:pt x="4884" y="8664"/>
                  </a:lnTo>
                  <a:close/>
                  <a:moveTo>
                    <a:pt x="2868" y="0"/>
                  </a:moveTo>
                  <a:cubicBezTo>
                    <a:pt x="1292" y="0"/>
                    <a:pt x="1" y="1292"/>
                    <a:pt x="1" y="2930"/>
                  </a:cubicBezTo>
                  <a:lnTo>
                    <a:pt x="1" y="2962"/>
                  </a:lnTo>
                  <a:lnTo>
                    <a:pt x="1" y="8475"/>
                  </a:lnTo>
                  <a:cubicBezTo>
                    <a:pt x="1" y="9263"/>
                    <a:pt x="316" y="9956"/>
                    <a:pt x="851" y="10523"/>
                  </a:cubicBezTo>
                  <a:lnTo>
                    <a:pt x="2489" y="12130"/>
                  </a:lnTo>
                  <a:lnTo>
                    <a:pt x="2489" y="13642"/>
                  </a:lnTo>
                  <a:cubicBezTo>
                    <a:pt x="2489" y="13862"/>
                    <a:pt x="2679" y="14020"/>
                    <a:pt x="2868" y="14020"/>
                  </a:cubicBezTo>
                  <a:cubicBezTo>
                    <a:pt x="3057" y="14020"/>
                    <a:pt x="3309" y="13831"/>
                    <a:pt x="3309" y="13642"/>
                  </a:cubicBezTo>
                  <a:lnTo>
                    <a:pt x="3309" y="12130"/>
                  </a:lnTo>
                  <a:lnTo>
                    <a:pt x="4915" y="10523"/>
                  </a:lnTo>
                  <a:cubicBezTo>
                    <a:pt x="5451" y="9956"/>
                    <a:pt x="5766" y="9263"/>
                    <a:pt x="5766" y="8475"/>
                  </a:cubicBezTo>
                  <a:cubicBezTo>
                    <a:pt x="5734" y="8223"/>
                    <a:pt x="5734" y="3119"/>
                    <a:pt x="5734" y="2930"/>
                  </a:cubicBezTo>
                  <a:cubicBezTo>
                    <a:pt x="5734" y="1292"/>
                    <a:pt x="4443" y="0"/>
                    <a:pt x="28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4" name="Google Shape;7734;p75"/>
            <p:cNvSpPr/>
            <p:nvPr/>
          </p:nvSpPr>
          <p:spPr>
            <a:xfrm>
              <a:off x="-12619850" y="1887525"/>
              <a:ext cx="104000" cy="63050"/>
            </a:xfrm>
            <a:custGeom>
              <a:avLst/>
              <a:gdLst/>
              <a:ahLst/>
              <a:cxnLst/>
              <a:rect l="l" t="t" r="r" b="b"/>
              <a:pathLst>
                <a:path w="4160" h="2522" extrusionOk="0">
                  <a:moveTo>
                    <a:pt x="3340" y="851"/>
                  </a:moveTo>
                  <a:lnTo>
                    <a:pt x="3340" y="1702"/>
                  </a:lnTo>
                  <a:lnTo>
                    <a:pt x="820" y="1702"/>
                  </a:lnTo>
                  <a:lnTo>
                    <a:pt x="820" y="851"/>
                  </a:lnTo>
                  <a:close/>
                  <a:moveTo>
                    <a:pt x="442" y="1"/>
                  </a:moveTo>
                  <a:cubicBezTo>
                    <a:pt x="190" y="1"/>
                    <a:pt x="1" y="190"/>
                    <a:pt x="1" y="442"/>
                  </a:cubicBezTo>
                  <a:lnTo>
                    <a:pt x="1" y="2080"/>
                  </a:lnTo>
                  <a:cubicBezTo>
                    <a:pt x="1" y="2332"/>
                    <a:pt x="190" y="2521"/>
                    <a:pt x="442" y="2521"/>
                  </a:cubicBezTo>
                  <a:lnTo>
                    <a:pt x="3781" y="2521"/>
                  </a:lnTo>
                  <a:cubicBezTo>
                    <a:pt x="4002" y="2521"/>
                    <a:pt x="4159" y="2332"/>
                    <a:pt x="4159" y="2080"/>
                  </a:cubicBezTo>
                  <a:lnTo>
                    <a:pt x="4159" y="442"/>
                  </a:lnTo>
                  <a:cubicBezTo>
                    <a:pt x="4159" y="190"/>
                    <a:pt x="3970"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35" name="Google Shape;7735;p75"/>
          <p:cNvGrpSpPr/>
          <p:nvPr/>
        </p:nvGrpSpPr>
        <p:grpSpPr>
          <a:xfrm>
            <a:off x="8278477" y="2614442"/>
            <a:ext cx="455439" cy="399165"/>
            <a:chOff x="-12660025" y="2096250"/>
            <a:chExt cx="353675" cy="309975"/>
          </a:xfrm>
        </p:grpSpPr>
        <p:sp>
          <p:nvSpPr>
            <p:cNvPr id="7736" name="Google Shape;7736;p75"/>
            <p:cNvSpPr/>
            <p:nvPr/>
          </p:nvSpPr>
          <p:spPr>
            <a:xfrm>
              <a:off x="-12619850" y="2136425"/>
              <a:ext cx="63025" cy="62250"/>
            </a:xfrm>
            <a:custGeom>
              <a:avLst/>
              <a:gdLst/>
              <a:ahLst/>
              <a:cxnLst/>
              <a:rect l="l" t="t" r="r" b="b"/>
              <a:pathLst>
                <a:path w="2521" h="2490" extrusionOk="0">
                  <a:moveTo>
                    <a:pt x="1261" y="819"/>
                  </a:moveTo>
                  <a:cubicBezTo>
                    <a:pt x="1481" y="819"/>
                    <a:pt x="1702" y="1040"/>
                    <a:pt x="1702" y="1261"/>
                  </a:cubicBezTo>
                  <a:cubicBezTo>
                    <a:pt x="1702" y="1513"/>
                    <a:pt x="1481" y="1702"/>
                    <a:pt x="1261" y="1702"/>
                  </a:cubicBezTo>
                  <a:cubicBezTo>
                    <a:pt x="1040" y="1702"/>
                    <a:pt x="851" y="1513"/>
                    <a:pt x="851" y="1261"/>
                  </a:cubicBezTo>
                  <a:cubicBezTo>
                    <a:pt x="820" y="1040"/>
                    <a:pt x="1009" y="819"/>
                    <a:pt x="1261" y="819"/>
                  </a:cubicBezTo>
                  <a:close/>
                  <a:moveTo>
                    <a:pt x="1261" y="0"/>
                  </a:moveTo>
                  <a:cubicBezTo>
                    <a:pt x="568" y="0"/>
                    <a:pt x="1" y="567"/>
                    <a:pt x="1" y="1229"/>
                  </a:cubicBezTo>
                  <a:cubicBezTo>
                    <a:pt x="1" y="1922"/>
                    <a:pt x="568" y="2489"/>
                    <a:pt x="1261" y="2489"/>
                  </a:cubicBezTo>
                  <a:cubicBezTo>
                    <a:pt x="1922" y="2489"/>
                    <a:pt x="2521" y="1922"/>
                    <a:pt x="2521" y="1229"/>
                  </a:cubicBezTo>
                  <a:cubicBezTo>
                    <a:pt x="2521" y="567"/>
                    <a:pt x="1954"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7" name="Google Shape;7737;p75"/>
            <p:cNvSpPr/>
            <p:nvPr/>
          </p:nvSpPr>
          <p:spPr>
            <a:xfrm>
              <a:off x="-12496200" y="2136425"/>
              <a:ext cx="63050" cy="62250"/>
            </a:xfrm>
            <a:custGeom>
              <a:avLst/>
              <a:gdLst/>
              <a:ahLst/>
              <a:cxnLst/>
              <a:rect l="l" t="t" r="r" b="b"/>
              <a:pathLst>
                <a:path w="2522" h="2490" extrusionOk="0">
                  <a:moveTo>
                    <a:pt x="1261" y="819"/>
                  </a:moveTo>
                  <a:cubicBezTo>
                    <a:pt x="1513" y="819"/>
                    <a:pt x="1702" y="1040"/>
                    <a:pt x="1702" y="1261"/>
                  </a:cubicBezTo>
                  <a:cubicBezTo>
                    <a:pt x="1702" y="1513"/>
                    <a:pt x="1513" y="1702"/>
                    <a:pt x="1261" y="1702"/>
                  </a:cubicBezTo>
                  <a:cubicBezTo>
                    <a:pt x="1040" y="1702"/>
                    <a:pt x="883" y="1513"/>
                    <a:pt x="883" y="1261"/>
                  </a:cubicBezTo>
                  <a:cubicBezTo>
                    <a:pt x="851" y="1040"/>
                    <a:pt x="1040" y="819"/>
                    <a:pt x="1261" y="819"/>
                  </a:cubicBezTo>
                  <a:close/>
                  <a:moveTo>
                    <a:pt x="1261" y="0"/>
                  </a:moveTo>
                  <a:cubicBezTo>
                    <a:pt x="568" y="0"/>
                    <a:pt x="64" y="567"/>
                    <a:pt x="64" y="1229"/>
                  </a:cubicBezTo>
                  <a:cubicBezTo>
                    <a:pt x="1" y="1922"/>
                    <a:pt x="568" y="2489"/>
                    <a:pt x="1261" y="2489"/>
                  </a:cubicBezTo>
                  <a:cubicBezTo>
                    <a:pt x="1954" y="2489"/>
                    <a:pt x="2521" y="1922"/>
                    <a:pt x="2521" y="1229"/>
                  </a:cubicBezTo>
                  <a:cubicBezTo>
                    <a:pt x="2521" y="567"/>
                    <a:pt x="1986" y="0"/>
                    <a:pt x="12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8" name="Google Shape;7738;p75"/>
            <p:cNvSpPr/>
            <p:nvPr/>
          </p:nvSpPr>
          <p:spPr>
            <a:xfrm>
              <a:off x="-12453650" y="2261650"/>
              <a:ext cx="19700" cy="19725"/>
            </a:xfrm>
            <a:custGeom>
              <a:avLst/>
              <a:gdLst/>
              <a:ahLst/>
              <a:cxnLst/>
              <a:rect l="l" t="t" r="r" b="b"/>
              <a:pathLst>
                <a:path w="788" h="789" extrusionOk="0">
                  <a:moveTo>
                    <a:pt x="410" y="1"/>
                  </a:moveTo>
                  <a:cubicBezTo>
                    <a:pt x="189" y="1"/>
                    <a:pt x="0" y="158"/>
                    <a:pt x="0" y="379"/>
                  </a:cubicBezTo>
                  <a:cubicBezTo>
                    <a:pt x="0" y="599"/>
                    <a:pt x="189" y="788"/>
                    <a:pt x="410" y="788"/>
                  </a:cubicBezTo>
                  <a:cubicBezTo>
                    <a:pt x="630" y="788"/>
                    <a:pt x="788" y="599"/>
                    <a:pt x="788" y="379"/>
                  </a:cubicBezTo>
                  <a:cubicBezTo>
                    <a:pt x="788" y="158"/>
                    <a:pt x="630"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39" name="Google Shape;7739;p75"/>
            <p:cNvSpPr/>
            <p:nvPr/>
          </p:nvSpPr>
          <p:spPr>
            <a:xfrm>
              <a:off x="-12494625" y="2261650"/>
              <a:ext cx="19725" cy="19725"/>
            </a:xfrm>
            <a:custGeom>
              <a:avLst/>
              <a:gdLst/>
              <a:ahLst/>
              <a:cxnLst/>
              <a:rect l="l" t="t" r="r" b="b"/>
              <a:pathLst>
                <a:path w="789" h="789" extrusionOk="0">
                  <a:moveTo>
                    <a:pt x="379" y="1"/>
                  </a:moveTo>
                  <a:cubicBezTo>
                    <a:pt x="158" y="1"/>
                    <a:pt x="1" y="158"/>
                    <a:pt x="1" y="379"/>
                  </a:cubicBezTo>
                  <a:cubicBezTo>
                    <a:pt x="1" y="599"/>
                    <a:pt x="158" y="788"/>
                    <a:pt x="379" y="788"/>
                  </a:cubicBezTo>
                  <a:cubicBezTo>
                    <a:pt x="599" y="788"/>
                    <a:pt x="788" y="599"/>
                    <a:pt x="788" y="379"/>
                  </a:cubicBezTo>
                  <a:cubicBezTo>
                    <a:pt x="788" y="158"/>
                    <a:pt x="599"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0" name="Google Shape;7740;p75"/>
            <p:cNvSpPr/>
            <p:nvPr/>
          </p:nvSpPr>
          <p:spPr>
            <a:xfrm>
              <a:off x="-12619850" y="2301825"/>
              <a:ext cx="103200" cy="60675"/>
            </a:xfrm>
            <a:custGeom>
              <a:avLst/>
              <a:gdLst/>
              <a:ahLst/>
              <a:cxnLst/>
              <a:rect l="l" t="t" r="r" b="b"/>
              <a:pathLst>
                <a:path w="4128" h="2427" extrusionOk="0">
                  <a:moveTo>
                    <a:pt x="3309" y="819"/>
                  </a:moveTo>
                  <a:lnTo>
                    <a:pt x="3309" y="1670"/>
                  </a:lnTo>
                  <a:lnTo>
                    <a:pt x="820" y="1670"/>
                  </a:lnTo>
                  <a:lnTo>
                    <a:pt x="820" y="819"/>
                  </a:lnTo>
                  <a:close/>
                  <a:moveTo>
                    <a:pt x="442" y="0"/>
                  </a:moveTo>
                  <a:cubicBezTo>
                    <a:pt x="190" y="0"/>
                    <a:pt x="1" y="189"/>
                    <a:pt x="1" y="410"/>
                  </a:cubicBezTo>
                  <a:lnTo>
                    <a:pt x="1" y="2048"/>
                  </a:lnTo>
                  <a:cubicBezTo>
                    <a:pt x="1" y="2269"/>
                    <a:pt x="190" y="2426"/>
                    <a:pt x="442" y="2426"/>
                  </a:cubicBezTo>
                  <a:lnTo>
                    <a:pt x="3750" y="2426"/>
                  </a:lnTo>
                  <a:cubicBezTo>
                    <a:pt x="3970" y="2426"/>
                    <a:pt x="4128" y="2237"/>
                    <a:pt x="4128" y="2048"/>
                  </a:cubicBezTo>
                  <a:lnTo>
                    <a:pt x="4128" y="410"/>
                  </a:lnTo>
                  <a:cubicBezTo>
                    <a:pt x="4128" y="189"/>
                    <a:pt x="3970" y="0"/>
                    <a:pt x="37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1" name="Google Shape;7741;p75"/>
            <p:cNvSpPr/>
            <p:nvPr/>
          </p:nvSpPr>
          <p:spPr>
            <a:xfrm>
              <a:off x="-12660025" y="2096250"/>
              <a:ext cx="353675" cy="309975"/>
            </a:xfrm>
            <a:custGeom>
              <a:avLst/>
              <a:gdLst/>
              <a:ahLst/>
              <a:cxnLst/>
              <a:rect l="l" t="t" r="r" b="b"/>
              <a:pathLst>
                <a:path w="14147" h="12399" extrusionOk="0">
                  <a:moveTo>
                    <a:pt x="5357" y="4317"/>
                  </a:moveTo>
                  <a:cubicBezTo>
                    <a:pt x="5451" y="4569"/>
                    <a:pt x="5609" y="4758"/>
                    <a:pt x="5766" y="4915"/>
                  </a:cubicBezTo>
                  <a:lnTo>
                    <a:pt x="4884" y="4915"/>
                  </a:lnTo>
                  <a:cubicBezTo>
                    <a:pt x="5042" y="4758"/>
                    <a:pt x="5199" y="4569"/>
                    <a:pt x="5357" y="4317"/>
                  </a:cubicBezTo>
                  <a:close/>
                  <a:moveTo>
                    <a:pt x="2868" y="788"/>
                  </a:moveTo>
                  <a:cubicBezTo>
                    <a:pt x="4002" y="788"/>
                    <a:pt x="4947" y="1733"/>
                    <a:pt x="4947" y="2868"/>
                  </a:cubicBezTo>
                  <a:cubicBezTo>
                    <a:pt x="4947" y="4002"/>
                    <a:pt x="4002" y="4947"/>
                    <a:pt x="2868" y="4947"/>
                  </a:cubicBezTo>
                  <a:cubicBezTo>
                    <a:pt x="1734" y="4915"/>
                    <a:pt x="788" y="4002"/>
                    <a:pt x="788" y="2868"/>
                  </a:cubicBezTo>
                  <a:cubicBezTo>
                    <a:pt x="788" y="1733"/>
                    <a:pt x="1734" y="788"/>
                    <a:pt x="2868" y="788"/>
                  </a:cubicBezTo>
                  <a:close/>
                  <a:moveTo>
                    <a:pt x="7814" y="788"/>
                  </a:moveTo>
                  <a:cubicBezTo>
                    <a:pt x="8980" y="788"/>
                    <a:pt x="9925" y="1733"/>
                    <a:pt x="9925" y="2868"/>
                  </a:cubicBezTo>
                  <a:cubicBezTo>
                    <a:pt x="9925" y="4002"/>
                    <a:pt x="8980" y="4947"/>
                    <a:pt x="7814" y="4947"/>
                  </a:cubicBezTo>
                  <a:cubicBezTo>
                    <a:pt x="6680" y="4947"/>
                    <a:pt x="5735" y="4002"/>
                    <a:pt x="5735" y="2868"/>
                  </a:cubicBezTo>
                  <a:cubicBezTo>
                    <a:pt x="5735" y="1733"/>
                    <a:pt x="6680" y="788"/>
                    <a:pt x="7814" y="788"/>
                  </a:cubicBezTo>
                  <a:close/>
                  <a:moveTo>
                    <a:pt x="13264" y="5987"/>
                  </a:moveTo>
                  <a:lnTo>
                    <a:pt x="13264" y="11311"/>
                  </a:lnTo>
                  <a:lnTo>
                    <a:pt x="10744" y="10051"/>
                  </a:lnTo>
                  <a:lnTo>
                    <a:pt x="10744" y="7247"/>
                  </a:lnTo>
                  <a:lnTo>
                    <a:pt x="13264" y="5987"/>
                  </a:lnTo>
                  <a:close/>
                  <a:moveTo>
                    <a:pt x="9484" y="5734"/>
                  </a:moveTo>
                  <a:cubicBezTo>
                    <a:pt x="9704" y="5734"/>
                    <a:pt x="9862" y="5955"/>
                    <a:pt x="9862" y="6176"/>
                  </a:cubicBezTo>
                  <a:lnTo>
                    <a:pt x="9862" y="11153"/>
                  </a:lnTo>
                  <a:cubicBezTo>
                    <a:pt x="9862" y="11374"/>
                    <a:pt x="9673" y="11563"/>
                    <a:pt x="9484" y="11563"/>
                  </a:cubicBezTo>
                  <a:lnTo>
                    <a:pt x="1198" y="11563"/>
                  </a:lnTo>
                  <a:cubicBezTo>
                    <a:pt x="977" y="11563"/>
                    <a:pt x="788" y="11374"/>
                    <a:pt x="788" y="11153"/>
                  </a:cubicBezTo>
                  <a:lnTo>
                    <a:pt x="788" y="6176"/>
                  </a:lnTo>
                  <a:cubicBezTo>
                    <a:pt x="788" y="5955"/>
                    <a:pt x="977" y="5734"/>
                    <a:pt x="1198" y="5734"/>
                  </a:cubicBezTo>
                  <a:close/>
                  <a:moveTo>
                    <a:pt x="2868" y="1"/>
                  </a:moveTo>
                  <a:cubicBezTo>
                    <a:pt x="1261" y="1"/>
                    <a:pt x="1" y="1292"/>
                    <a:pt x="1" y="2868"/>
                  </a:cubicBezTo>
                  <a:cubicBezTo>
                    <a:pt x="1" y="3687"/>
                    <a:pt x="347" y="4443"/>
                    <a:pt x="883" y="5010"/>
                  </a:cubicBezTo>
                  <a:cubicBezTo>
                    <a:pt x="379" y="5167"/>
                    <a:pt x="1" y="5640"/>
                    <a:pt x="1" y="6176"/>
                  </a:cubicBezTo>
                  <a:lnTo>
                    <a:pt x="1" y="11153"/>
                  </a:lnTo>
                  <a:cubicBezTo>
                    <a:pt x="1" y="11815"/>
                    <a:pt x="536" y="12382"/>
                    <a:pt x="1261" y="12382"/>
                  </a:cubicBezTo>
                  <a:lnTo>
                    <a:pt x="9515" y="12382"/>
                  </a:lnTo>
                  <a:cubicBezTo>
                    <a:pt x="10208" y="12382"/>
                    <a:pt x="10775" y="11846"/>
                    <a:pt x="10775" y="11153"/>
                  </a:cubicBezTo>
                  <a:lnTo>
                    <a:pt x="10775" y="10996"/>
                  </a:lnTo>
                  <a:lnTo>
                    <a:pt x="13548" y="12350"/>
                  </a:lnTo>
                  <a:cubicBezTo>
                    <a:pt x="13594" y="12385"/>
                    <a:pt x="13645" y="12399"/>
                    <a:pt x="13695" y="12399"/>
                  </a:cubicBezTo>
                  <a:cubicBezTo>
                    <a:pt x="13781" y="12399"/>
                    <a:pt x="13866" y="12359"/>
                    <a:pt x="13926" y="12319"/>
                  </a:cubicBezTo>
                  <a:cubicBezTo>
                    <a:pt x="14052" y="12256"/>
                    <a:pt x="14146" y="12130"/>
                    <a:pt x="14146" y="11972"/>
                  </a:cubicBezTo>
                  <a:lnTo>
                    <a:pt x="14146" y="5356"/>
                  </a:lnTo>
                  <a:cubicBezTo>
                    <a:pt x="14083" y="5199"/>
                    <a:pt x="14020" y="5073"/>
                    <a:pt x="13894" y="5010"/>
                  </a:cubicBezTo>
                  <a:cubicBezTo>
                    <a:pt x="13815" y="4950"/>
                    <a:pt x="13722" y="4928"/>
                    <a:pt x="13633" y="4928"/>
                  </a:cubicBezTo>
                  <a:cubicBezTo>
                    <a:pt x="13581" y="4928"/>
                    <a:pt x="13531" y="4935"/>
                    <a:pt x="13485" y="4947"/>
                  </a:cubicBezTo>
                  <a:lnTo>
                    <a:pt x="10744" y="6333"/>
                  </a:lnTo>
                  <a:lnTo>
                    <a:pt x="10744" y="6176"/>
                  </a:lnTo>
                  <a:cubicBezTo>
                    <a:pt x="10744" y="5577"/>
                    <a:pt x="10334" y="5104"/>
                    <a:pt x="9830" y="5010"/>
                  </a:cubicBezTo>
                  <a:cubicBezTo>
                    <a:pt x="10397" y="4474"/>
                    <a:pt x="10744" y="3750"/>
                    <a:pt x="10744" y="2868"/>
                  </a:cubicBezTo>
                  <a:cubicBezTo>
                    <a:pt x="10744" y="1261"/>
                    <a:pt x="9452" y="1"/>
                    <a:pt x="7814" y="1"/>
                  </a:cubicBezTo>
                  <a:cubicBezTo>
                    <a:pt x="6774" y="1"/>
                    <a:pt x="5861" y="536"/>
                    <a:pt x="5357" y="1418"/>
                  </a:cubicBezTo>
                  <a:cubicBezTo>
                    <a:pt x="4821" y="599"/>
                    <a:pt x="3939" y="1"/>
                    <a:pt x="2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42" name="Google Shape;7742;p75"/>
          <p:cNvGrpSpPr/>
          <p:nvPr/>
        </p:nvGrpSpPr>
        <p:grpSpPr>
          <a:xfrm>
            <a:off x="8276447" y="3130837"/>
            <a:ext cx="459496" cy="455921"/>
            <a:chOff x="-12663175" y="2506800"/>
            <a:chExt cx="356825" cy="354050"/>
          </a:xfrm>
        </p:grpSpPr>
        <p:sp>
          <p:nvSpPr>
            <p:cNvPr id="7743" name="Google Shape;7743;p75"/>
            <p:cNvSpPr/>
            <p:nvPr/>
          </p:nvSpPr>
          <p:spPr>
            <a:xfrm>
              <a:off x="-12663175" y="2506800"/>
              <a:ext cx="356825" cy="354050"/>
            </a:xfrm>
            <a:custGeom>
              <a:avLst/>
              <a:gdLst/>
              <a:ahLst/>
              <a:cxnLst/>
              <a:rect l="l" t="t" r="r" b="b"/>
              <a:pathLst>
                <a:path w="14273" h="14162" extrusionOk="0">
                  <a:moveTo>
                    <a:pt x="9074" y="969"/>
                  </a:moveTo>
                  <a:lnTo>
                    <a:pt x="9169" y="1095"/>
                  </a:lnTo>
                  <a:cubicBezTo>
                    <a:pt x="8980" y="1536"/>
                    <a:pt x="9011" y="2135"/>
                    <a:pt x="9421" y="2513"/>
                  </a:cubicBezTo>
                  <a:cubicBezTo>
                    <a:pt x="9658" y="2770"/>
                    <a:pt x="9969" y="2890"/>
                    <a:pt x="10284" y="2890"/>
                  </a:cubicBezTo>
                  <a:cubicBezTo>
                    <a:pt x="10472" y="2890"/>
                    <a:pt x="10662" y="2847"/>
                    <a:pt x="10838" y="2765"/>
                  </a:cubicBezTo>
                  <a:lnTo>
                    <a:pt x="11500" y="3427"/>
                  </a:lnTo>
                  <a:cubicBezTo>
                    <a:pt x="11280" y="3899"/>
                    <a:pt x="11343" y="4435"/>
                    <a:pt x="11752" y="4844"/>
                  </a:cubicBezTo>
                  <a:cubicBezTo>
                    <a:pt x="11988" y="5080"/>
                    <a:pt x="12297" y="5206"/>
                    <a:pt x="12603" y="5206"/>
                  </a:cubicBezTo>
                  <a:cubicBezTo>
                    <a:pt x="12788" y="5206"/>
                    <a:pt x="12972" y="5160"/>
                    <a:pt x="13138" y="5065"/>
                  </a:cubicBezTo>
                  <a:lnTo>
                    <a:pt x="13264" y="5191"/>
                  </a:lnTo>
                  <a:cubicBezTo>
                    <a:pt x="13107" y="5537"/>
                    <a:pt x="13107" y="5947"/>
                    <a:pt x="13264" y="6262"/>
                  </a:cubicBezTo>
                  <a:lnTo>
                    <a:pt x="12445" y="7081"/>
                  </a:lnTo>
                  <a:lnTo>
                    <a:pt x="12162" y="6798"/>
                  </a:lnTo>
                  <a:cubicBezTo>
                    <a:pt x="12083" y="6719"/>
                    <a:pt x="11981" y="6680"/>
                    <a:pt x="11874" y="6680"/>
                  </a:cubicBezTo>
                  <a:cubicBezTo>
                    <a:pt x="11768" y="6680"/>
                    <a:pt x="11658" y="6719"/>
                    <a:pt x="11563" y="6798"/>
                  </a:cubicBezTo>
                  <a:cubicBezTo>
                    <a:pt x="11406" y="6955"/>
                    <a:pt x="11406" y="7239"/>
                    <a:pt x="11563" y="7396"/>
                  </a:cubicBezTo>
                  <a:lnTo>
                    <a:pt x="11847" y="7680"/>
                  </a:lnTo>
                  <a:lnTo>
                    <a:pt x="6333" y="13193"/>
                  </a:lnTo>
                  <a:cubicBezTo>
                    <a:pt x="6160" y="13114"/>
                    <a:pt x="5971" y="13075"/>
                    <a:pt x="5786" y="13075"/>
                  </a:cubicBezTo>
                  <a:cubicBezTo>
                    <a:pt x="5601" y="13075"/>
                    <a:pt x="5420" y="13114"/>
                    <a:pt x="5262" y="13193"/>
                  </a:cubicBezTo>
                  <a:lnTo>
                    <a:pt x="5168" y="13067"/>
                  </a:lnTo>
                  <a:cubicBezTo>
                    <a:pt x="5357" y="12626"/>
                    <a:pt x="5325" y="12059"/>
                    <a:pt x="4916" y="11649"/>
                  </a:cubicBezTo>
                  <a:cubicBezTo>
                    <a:pt x="4680" y="11414"/>
                    <a:pt x="4371" y="11288"/>
                    <a:pt x="4057" y="11288"/>
                  </a:cubicBezTo>
                  <a:cubicBezTo>
                    <a:pt x="3867" y="11288"/>
                    <a:pt x="3676" y="11334"/>
                    <a:pt x="3498" y="11429"/>
                  </a:cubicBezTo>
                  <a:lnTo>
                    <a:pt x="2836" y="10736"/>
                  </a:lnTo>
                  <a:cubicBezTo>
                    <a:pt x="3088" y="10263"/>
                    <a:pt x="2994" y="9728"/>
                    <a:pt x="2616" y="9318"/>
                  </a:cubicBezTo>
                  <a:cubicBezTo>
                    <a:pt x="2360" y="9082"/>
                    <a:pt x="2056" y="8957"/>
                    <a:pt x="1748" y="8957"/>
                  </a:cubicBezTo>
                  <a:cubicBezTo>
                    <a:pt x="1563" y="8957"/>
                    <a:pt x="1376" y="9003"/>
                    <a:pt x="1198" y="9098"/>
                  </a:cubicBezTo>
                  <a:lnTo>
                    <a:pt x="1072" y="8971"/>
                  </a:lnTo>
                  <a:cubicBezTo>
                    <a:pt x="1229" y="8625"/>
                    <a:pt x="1229" y="8215"/>
                    <a:pt x="1072" y="7900"/>
                  </a:cubicBezTo>
                  <a:lnTo>
                    <a:pt x="6585" y="2387"/>
                  </a:lnTo>
                  <a:lnTo>
                    <a:pt x="6869" y="2671"/>
                  </a:lnTo>
                  <a:cubicBezTo>
                    <a:pt x="6948" y="2749"/>
                    <a:pt x="7050" y="2789"/>
                    <a:pt x="7152" y="2789"/>
                  </a:cubicBezTo>
                  <a:cubicBezTo>
                    <a:pt x="7255" y="2789"/>
                    <a:pt x="7357" y="2749"/>
                    <a:pt x="7436" y="2671"/>
                  </a:cubicBezTo>
                  <a:cubicBezTo>
                    <a:pt x="7593" y="2513"/>
                    <a:pt x="7593" y="2229"/>
                    <a:pt x="7436" y="2072"/>
                  </a:cubicBezTo>
                  <a:lnTo>
                    <a:pt x="7184" y="1820"/>
                  </a:lnTo>
                  <a:lnTo>
                    <a:pt x="8003" y="969"/>
                  </a:lnTo>
                  <a:cubicBezTo>
                    <a:pt x="8176" y="1048"/>
                    <a:pt x="8365" y="1087"/>
                    <a:pt x="8550" y="1087"/>
                  </a:cubicBezTo>
                  <a:cubicBezTo>
                    <a:pt x="8735" y="1087"/>
                    <a:pt x="8917" y="1048"/>
                    <a:pt x="9074" y="969"/>
                  </a:cubicBezTo>
                  <a:close/>
                  <a:moveTo>
                    <a:pt x="7893" y="0"/>
                  </a:moveTo>
                  <a:cubicBezTo>
                    <a:pt x="7782" y="0"/>
                    <a:pt x="7672" y="40"/>
                    <a:pt x="7593" y="119"/>
                  </a:cubicBezTo>
                  <a:lnTo>
                    <a:pt x="158" y="7554"/>
                  </a:lnTo>
                  <a:cubicBezTo>
                    <a:pt x="1" y="7711"/>
                    <a:pt x="1" y="7995"/>
                    <a:pt x="158" y="8152"/>
                  </a:cubicBezTo>
                  <a:cubicBezTo>
                    <a:pt x="316" y="8310"/>
                    <a:pt x="316" y="8593"/>
                    <a:pt x="158" y="8751"/>
                  </a:cubicBezTo>
                  <a:cubicBezTo>
                    <a:pt x="1" y="8908"/>
                    <a:pt x="1" y="9161"/>
                    <a:pt x="158" y="9318"/>
                  </a:cubicBezTo>
                  <a:lnTo>
                    <a:pt x="757" y="9917"/>
                  </a:lnTo>
                  <a:cubicBezTo>
                    <a:pt x="836" y="9995"/>
                    <a:pt x="938" y="10035"/>
                    <a:pt x="1040" y="10035"/>
                  </a:cubicBezTo>
                  <a:cubicBezTo>
                    <a:pt x="1143" y="10035"/>
                    <a:pt x="1245" y="9995"/>
                    <a:pt x="1324" y="9917"/>
                  </a:cubicBezTo>
                  <a:cubicBezTo>
                    <a:pt x="1418" y="9838"/>
                    <a:pt x="1529" y="9798"/>
                    <a:pt x="1635" y="9798"/>
                  </a:cubicBezTo>
                  <a:cubicBezTo>
                    <a:pt x="1741" y="9798"/>
                    <a:pt x="1844" y="9838"/>
                    <a:pt x="1923" y="9917"/>
                  </a:cubicBezTo>
                  <a:cubicBezTo>
                    <a:pt x="2080" y="10074"/>
                    <a:pt x="2080" y="10358"/>
                    <a:pt x="1923" y="10515"/>
                  </a:cubicBezTo>
                  <a:cubicBezTo>
                    <a:pt x="1765" y="10673"/>
                    <a:pt x="1765" y="10956"/>
                    <a:pt x="1923" y="11114"/>
                  </a:cubicBezTo>
                  <a:lnTo>
                    <a:pt x="3120" y="12279"/>
                  </a:lnTo>
                  <a:cubicBezTo>
                    <a:pt x="3199" y="12358"/>
                    <a:pt x="3301" y="12398"/>
                    <a:pt x="3403" y="12398"/>
                  </a:cubicBezTo>
                  <a:cubicBezTo>
                    <a:pt x="3506" y="12398"/>
                    <a:pt x="3608" y="12358"/>
                    <a:pt x="3687" y="12279"/>
                  </a:cubicBezTo>
                  <a:cubicBezTo>
                    <a:pt x="3781" y="12201"/>
                    <a:pt x="3892" y="12161"/>
                    <a:pt x="3998" y="12161"/>
                  </a:cubicBezTo>
                  <a:cubicBezTo>
                    <a:pt x="4104" y="12161"/>
                    <a:pt x="4207" y="12201"/>
                    <a:pt x="4285" y="12279"/>
                  </a:cubicBezTo>
                  <a:cubicBezTo>
                    <a:pt x="4443" y="12437"/>
                    <a:pt x="4443" y="12721"/>
                    <a:pt x="4285" y="12878"/>
                  </a:cubicBezTo>
                  <a:cubicBezTo>
                    <a:pt x="4128" y="13036"/>
                    <a:pt x="4128" y="13319"/>
                    <a:pt x="4285" y="13477"/>
                  </a:cubicBezTo>
                  <a:lnTo>
                    <a:pt x="4884" y="14044"/>
                  </a:lnTo>
                  <a:cubicBezTo>
                    <a:pt x="4963" y="14123"/>
                    <a:pt x="5073" y="14162"/>
                    <a:pt x="5183" y="14162"/>
                  </a:cubicBezTo>
                  <a:cubicBezTo>
                    <a:pt x="5294" y="14162"/>
                    <a:pt x="5404" y="14123"/>
                    <a:pt x="5483" y="14044"/>
                  </a:cubicBezTo>
                  <a:cubicBezTo>
                    <a:pt x="5561" y="13965"/>
                    <a:pt x="5664" y="13926"/>
                    <a:pt x="5766" y="13926"/>
                  </a:cubicBezTo>
                  <a:cubicBezTo>
                    <a:pt x="5869" y="13926"/>
                    <a:pt x="5971" y="13965"/>
                    <a:pt x="6050" y="14044"/>
                  </a:cubicBezTo>
                  <a:cubicBezTo>
                    <a:pt x="6144" y="14123"/>
                    <a:pt x="6254" y="14162"/>
                    <a:pt x="6361" y="14162"/>
                  </a:cubicBezTo>
                  <a:cubicBezTo>
                    <a:pt x="6467" y="14162"/>
                    <a:pt x="6570" y="14123"/>
                    <a:pt x="6648" y="14044"/>
                  </a:cubicBezTo>
                  <a:lnTo>
                    <a:pt x="14115" y="6609"/>
                  </a:lnTo>
                  <a:cubicBezTo>
                    <a:pt x="14272" y="6451"/>
                    <a:pt x="14272" y="6168"/>
                    <a:pt x="14115" y="6010"/>
                  </a:cubicBezTo>
                  <a:cubicBezTo>
                    <a:pt x="13926" y="5853"/>
                    <a:pt x="13926" y="5600"/>
                    <a:pt x="14115" y="5443"/>
                  </a:cubicBezTo>
                  <a:cubicBezTo>
                    <a:pt x="14241" y="5285"/>
                    <a:pt x="14241" y="5002"/>
                    <a:pt x="14115" y="4844"/>
                  </a:cubicBezTo>
                  <a:lnTo>
                    <a:pt x="13516" y="4246"/>
                  </a:lnTo>
                  <a:cubicBezTo>
                    <a:pt x="13438" y="4167"/>
                    <a:pt x="13327" y="4128"/>
                    <a:pt x="13217" y="4128"/>
                  </a:cubicBezTo>
                  <a:cubicBezTo>
                    <a:pt x="13107" y="4128"/>
                    <a:pt x="12997" y="4167"/>
                    <a:pt x="12918" y="4246"/>
                  </a:cubicBezTo>
                  <a:cubicBezTo>
                    <a:pt x="12839" y="4325"/>
                    <a:pt x="12729" y="4364"/>
                    <a:pt x="12618" y="4364"/>
                  </a:cubicBezTo>
                  <a:cubicBezTo>
                    <a:pt x="12508" y="4364"/>
                    <a:pt x="12398" y="4325"/>
                    <a:pt x="12319" y="4246"/>
                  </a:cubicBezTo>
                  <a:cubicBezTo>
                    <a:pt x="12162" y="4088"/>
                    <a:pt x="12162" y="3805"/>
                    <a:pt x="12319" y="3647"/>
                  </a:cubicBezTo>
                  <a:cubicBezTo>
                    <a:pt x="12477" y="3490"/>
                    <a:pt x="12477" y="3238"/>
                    <a:pt x="12319" y="3080"/>
                  </a:cubicBezTo>
                  <a:lnTo>
                    <a:pt x="11154" y="1883"/>
                  </a:lnTo>
                  <a:cubicBezTo>
                    <a:pt x="11075" y="1804"/>
                    <a:pt x="10964" y="1765"/>
                    <a:pt x="10854" y="1765"/>
                  </a:cubicBezTo>
                  <a:cubicBezTo>
                    <a:pt x="10744" y="1765"/>
                    <a:pt x="10634" y="1804"/>
                    <a:pt x="10555" y="1883"/>
                  </a:cubicBezTo>
                  <a:cubicBezTo>
                    <a:pt x="10476" y="1962"/>
                    <a:pt x="10366" y="2001"/>
                    <a:pt x="10256" y="2001"/>
                  </a:cubicBezTo>
                  <a:cubicBezTo>
                    <a:pt x="10145" y="2001"/>
                    <a:pt x="10035" y="1962"/>
                    <a:pt x="9956" y="1883"/>
                  </a:cubicBezTo>
                  <a:cubicBezTo>
                    <a:pt x="9799" y="1725"/>
                    <a:pt x="9799" y="1442"/>
                    <a:pt x="9956" y="1284"/>
                  </a:cubicBezTo>
                  <a:cubicBezTo>
                    <a:pt x="10114" y="1127"/>
                    <a:pt x="10114" y="875"/>
                    <a:pt x="9956" y="717"/>
                  </a:cubicBezTo>
                  <a:lnTo>
                    <a:pt x="9389" y="119"/>
                  </a:lnTo>
                  <a:cubicBezTo>
                    <a:pt x="9295" y="40"/>
                    <a:pt x="9184" y="0"/>
                    <a:pt x="9078" y="0"/>
                  </a:cubicBezTo>
                  <a:cubicBezTo>
                    <a:pt x="8972" y="0"/>
                    <a:pt x="8869" y="40"/>
                    <a:pt x="8791" y="119"/>
                  </a:cubicBezTo>
                  <a:cubicBezTo>
                    <a:pt x="8712" y="197"/>
                    <a:pt x="8602" y="237"/>
                    <a:pt x="8491" y="237"/>
                  </a:cubicBezTo>
                  <a:cubicBezTo>
                    <a:pt x="8381" y="237"/>
                    <a:pt x="8271" y="197"/>
                    <a:pt x="8192" y="119"/>
                  </a:cubicBezTo>
                  <a:cubicBezTo>
                    <a:pt x="8113" y="40"/>
                    <a:pt x="8003" y="0"/>
                    <a:pt x="789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4" name="Google Shape;7744;p75"/>
            <p:cNvSpPr/>
            <p:nvPr/>
          </p:nvSpPr>
          <p:spPr>
            <a:xfrm>
              <a:off x="-12466275" y="2586350"/>
              <a:ext cx="37850" cy="35850"/>
            </a:xfrm>
            <a:custGeom>
              <a:avLst/>
              <a:gdLst/>
              <a:ahLst/>
              <a:cxnLst/>
              <a:rect l="l" t="t" r="r" b="b"/>
              <a:pathLst>
                <a:path w="1514" h="1434" extrusionOk="0">
                  <a:moveTo>
                    <a:pt x="458" y="0"/>
                  </a:moveTo>
                  <a:cubicBezTo>
                    <a:pt x="348" y="0"/>
                    <a:pt x="237" y="40"/>
                    <a:pt x="159" y="119"/>
                  </a:cubicBezTo>
                  <a:cubicBezTo>
                    <a:pt x="1" y="276"/>
                    <a:pt x="1" y="560"/>
                    <a:pt x="159" y="717"/>
                  </a:cubicBezTo>
                  <a:lnTo>
                    <a:pt x="757" y="1316"/>
                  </a:lnTo>
                  <a:cubicBezTo>
                    <a:pt x="836" y="1395"/>
                    <a:pt x="938" y="1434"/>
                    <a:pt x="1041" y="1434"/>
                  </a:cubicBezTo>
                  <a:cubicBezTo>
                    <a:pt x="1143" y="1434"/>
                    <a:pt x="1245" y="1395"/>
                    <a:pt x="1324" y="1316"/>
                  </a:cubicBezTo>
                  <a:cubicBezTo>
                    <a:pt x="1513" y="1158"/>
                    <a:pt x="1513" y="875"/>
                    <a:pt x="1324" y="717"/>
                  </a:cubicBezTo>
                  <a:lnTo>
                    <a:pt x="757" y="119"/>
                  </a:lnTo>
                  <a:cubicBezTo>
                    <a:pt x="678" y="40"/>
                    <a:pt x="568" y="0"/>
                    <a:pt x="45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5" name="Google Shape;7745;p75"/>
            <p:cNvSpPr/>
            <p:nvPr/>
          </p:nvSpPr>
          <p:spPr>
            <a:xfrm>
              <a:off x="-12422950" y="2630450"/>
              <a:ext cx="37825" cy="35875"/>
            </a:xfrm>
            <a:custGeom>
              <a:avLst/>
              <a:gdLst/>
              <a:ahLst/>
              <a:cxnLst/>
              <a:rect l="l" t="t" r="r" b="b"/>
              <a:pathLst>
                <a:path w="1513" h="1435" extrusionOk="0">
                  <a:moveTo>
                    <a:pt x="458" y="1"/>
                  </a:moveTo>
                  <a:cubicBezTo>
                    <a:pt x="347" y="1"/>
                    <a:pt x="237" y="40"/>
                    <a:pt x="158" y="119"/>
                  </a:cubicBezTo>
                  <a:cubicBezTo>
                    <a:pt x="1" y="276"/>
                    <a:pt x="1" y="560"/>
                    <a:pt x="158" y="717"/>
                  </a:cubicBezTo>
                  <a:lnTo>
                    <a:pt x="757" y="1316"/>
                  </a:lnTo>
                  <a:cubicBezTo>
                    <a:pt x="836" y="1395"/>
                    <a:pt x="938" y="1434"/>
                    <a:pt x="1044" y="1434"/>
                  </a:cubicBezTo>
                  <a:cubicBezTo>
                    <a:pt x="1151" y="1434"/>
                    <a:pt x="1261" y="1395"/>
                    <a:pt x="1355" y="1316"/>
                  </a:cubicBezTo>
                  <a:cubicBezTo>
                    <a:pt x="1513" y="1159"/>
                    <a:pt x="1513" y="875"/>
                    <a:pt x="1355" y="717"/>
                  </a:cubicBezTo>
                  <a:lnTo>
                    <a:pt x="757" y="119"/>
                  </a:lnTo>
                  <a:cubicBezTo>
                    <a:pt x="678" y="40"/>
                    <a:pt x="568" y="1"/>
                    <a:pt x="45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6" name="Google Shape;7746;p75"/>
            <p:cNvSpPr/>
            <p:nvPr/>
          </p:nvSpPr>
          <p:spPr>
            <a:xfrm>
              <a:off x="-12591500" y="2644250"/>
              <a:ext cx="192200" cy="142975"/>
            </a:xfrm>
            <a:custGeom>
              <a:avLst/>
              <a:gdLst/>
              <a:ahLst/>
              <a:cxnLst/>
              <a:rect l="l" t="t" r="r" b="b"/>
              <a:pathLst>
                <a:path w="7688" h="5719" extrusionOk="0">
                  <a:moveTo>
                    <a:pt x="1371" y="1780"/>
                  </a:moveTo>
                  <a:cubicBezTo>
                    <a:pt x="1481" y="1780"/>
                    <a:pt x="1592" y="1819"/>
                    <a:pt x="1670" y="1898"/>
                  </a:cubicBezTo>
                  <a:cubicBezTo>
                    <a:pt x="1828" y="2056"/>
                    <a:pt x="1828" y="2339"/>
                    <a:pt x="1670" y="2497"/>
                  </a:cubicBezTo>
                  <a:cubicBezTo>
                    <a:pt x="1592" y="2576"/>
                    <a:pt x="1481" y="2615"/>
                    <a:pt x="1371" y="2615"/>
                  </a:cubicBezTo>
                  <a:cubicBezTo>
                    <a:pt x="1261" y="2615"/>
                    <a:pt x="1151" y="2576"/>
                    <a:pt x="1072" y="2497"/>
                  </a:cubicBezTo>
                  <a:cubicBezTo>
                    <a:pt x="914" y="2339"/>
                    <a:pt x="914" y="2056"/>
                    <a:pt x="1072" y="1898"/>
                  </a:cubicBezTo>
                  <a:cubicBezTo>
                    <a:pt x="1151" y="1819"/>
                    <a:pt x="1261" y="1780"/>
                    <a:pt x="1371" y="1780"/>
                  </a:cubicBezTo>
                  <a:close/>
                  <a:moveTo>
                    <a:pt x="4317" y="985"/>
                  </a:moveTo>
                  <a:lnTo>
                    <a:pt x="6522" y="2308"/>
                  </a:lnTo>
                  <a:lnTo>
                    <a:pt x="5955" y="2843"/>
                  </a:lnTo>
                  <a:lnTo>
                    <a:pt x="3750" y="1552"/>
                  </a:lnTo>
                  <a:lnTo>
                    <a:pt x="4317" y="985"/>
                  </a:lnTo>
                  <a:close/>
                  <a:moveTo>
                    <a:pt x="3687" y="4111"/>
                  </a:moveTo>
                  <a:cubicBezTo>
                    <a:pt x="3789" y="4111"/>
                    <a:pt x="3892" y="4151"/>
                    <a:pt x="3970" y="4230"/>
                  </a:cubicBezTo>
                  <a:cubicBezTo>
                    <a:pt x="4159" y="4387"/>
                    <a:pt x="4159" y="4671"/>
                    <a:pt x="3970" y="4828"/>
                  </a:cubicBezTo>
                  <a:cubicBezTo>
                    <a:pt x="3892" y="4907"/>
                    <a:pt x="3789" y="4946"/>
                    <a:pt x="3687" y="4946"/>
                  </a:cubicBezTo>
                  <a:cubicBezTo>
                    <a:pt x="3584" y="4946"/>
                    <a:pt x="3482" y="4907"/>
                    <a:pt x="3403" y="4828"/>
                  </a:cubicBezTo>
                  <a:cubicBezTo>
                    <a:pt x="3246" y="4671"/>
                    <a:pt x="3246" y="4387"/>
                    <a:pt x="3403" y="4230"/>
                  </a:cubicBezTo>
                  <a:cubicBezTo>
                    <a:pt x="3482" y="4151"/>
                    <a:pt x="3584" y="4111"/>
                    <a:pt x="3687" y="4111"/>
                  </a:cubicBezTo>
                  <a:close/>
                  <a:moveTo>
                    <a:pt x="4302" y="0"/>
                  </a:moveTo>
                  <a:cubicBezTo>
                    <a:pt x="4187" y="0"/>
                    <a:pt x="4067" y="37"/>
                    <a:pt x="3970" y="134"/>
                  </a:cubicBezTo>
                  <a:lnTo>
                    <a:pt x="2490" y="1615"/>
                  </a:lnTo>
                  <a:lnTo>
                    <a:pt x="2269" y="1268"/>
                  </a:lnTo>
                  <a:cubicBezTo>
                    <a:pt x="2033" y="1032"/>
                    <a:pt x="1718" y="914"/>
                    <a:pt x="1395" y="914"/>
                  </a:cubicBezTo>
                  <a:cubicBezTo>
                    <a:pt x="1072" y="914"/>
                    <a:pt x="741" y="1032"/>
                    <a:pt x="473" y="1268"/>
                  </a:cubicBezTo>
                  <a:cubicBezTo>
                    <a:pt x="1" y="1741"/>
                    <a:pt x="1" y="2528"/>
                    <a:pt x="473" y="3032"/>
                  </a:cubicBezTo>
                  <a:cubicBezTo>
                    <a:pt x="710" y="3269"/>
                    <a:pt x="1025" y="3387"/>
                    <a:pt x="1348" y="3387"/>
                  </a:cubicBezTo>
                  <a:cubicBezTo>
                    <a:pt x="1670" y="3387"/>
                    <a:pt x="2001" y="3269"/>
                    <a:pt x="2269" y="3032"/>
                  </a:cubicBezTo>
                  <a:lnTo>
                    <a:pt x="3214" y="2087"/>
                  </a:lnTo>
                  <a:lnTo>
                    <a:pt x="5420" y="3410"/>
                  </a:lnTo>
                  <a:lnTo>
                    <a:pt x="4852" y="3946"/>
                  </a:lnTo>
                  <a:lnTo>
                    <a:pt x="4632" y="3600"/>
                  </a:lnTo>
                  <a:cubicBezTo>
                    <a:pt x="4396" y="3363"/>
                    <a:pt x="4081" y="3245"/>
                    <a:pt x="3758" y="3245"/>
                  </a:cubicBezTo>
                  <a:cubicBezTo>
                    <a:pt x="3435" y="3245"/>
                    <a:pt x="3104" y="3363"/>
                    <a:pt x="2836" y="3600"/>
                  </a:cubicBezTo>
                  <a:cubicBezTo>
                    <a:pt x="2364" y="4072"/>
                    <a:pt x="2364" y="4860"/>
                    <a:pt x="2836" y="5364"/>
                  </a:cubicBezTo>
                  <a:cubicBezTo>
                    <a:pt x="3072" y="5600"/>
                    <a:pt x="3387" y="5718"/>
                    <a:pt x="3710" y="5718"/>
                  </a:cubicBezTo>
                  <a:cubicBezTo>
                    <a:pt x="4033" y="5718"/>
                    <a:pt x="4364" y="5600"/>
                    <a:pt x="4632" y="5364"/>
                  </a:cubicBezTo>
                  <a:lnTo>
                    <a:pt x="7530" y="2465"/>
                  </a:lnTo>
                  <a:cubicBezTo>
                    <a:pt x="7688" y="2308"/>
                    <a:pt x="7656" y="1993"/>
                    <a:pt x="7404" y="1835"/>
                  </a:cubicBezTo>
                  <a:lnTo>
                    <a:pt x="4506" y="39"/>
                  </a:lnTo>
                  <a:cubicBezTo>
                    <a:pt x="4445" y="15"/>
                    <a:pt x="4374" y="0"/>
                    <a:pt x="43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47" name="Google Shape;7747;p75"/>
          <p:cNvGrpSpPr/>
          <p:nvPr/>
        </p:nvGrpSpPr>
        <p:grpSpPr>
          <a:xfrm>
            <a:off x="10696625" y="2042543"/>
            <a:ext cx="454409" cy="455439"/>
            <a:chOff x="-10896525" y="1663050"/>
            <a:chExt cx="352875" cy="353675"/>
          </a:xfrm>
        </p:grpSpPr>
        <p:sp>
          <p:nvSpPr>
            <p:cNvPr id="7748" name="Google Shape;7748;p75"/>
            <p:cNvSpPr/>
            <p:nvPr/>
          </p:nvSpPr>
          <p:spPr>
            <a:xfrm>
              <a:off x="-10896525" y="1663050"/>
              <a:ext cx="166200" cy="311925"/>
            </a:xfrm>
            <a:custGeom>
              <a:avLst/>
              <a:gdLst/>
              <a:ahLst/>
              <a:cxnLst/>
              <a:rect l="l" t="t" r="r" b="b"/>
              <a:pathLst>
                <a:path w="6648" h="12477" extrusionOk="0">
                  <a:moveTo>
                    <a:pt x="3308" y="820"/>
                  </a:moveTo>
                  <a:cubicBezTo>
                    <a:pt x="3781" y="820"/>
                    <a:pt x="4285" y="1230"/>
                    <a:pt x="4663" y="1923"/>
                  </a:cubicBezTo>
                  <a:lnTo>
                    <a:pt x="3308" y="2931"/>
                  </a:lnTo>
                  <a:lnTo>
                    <a:pt x="1922" y="1923"/>
                  </a:lnTo>
                  <a:cubicBezTo>
                    <a:pt x="2300" y="1230"/>
                    <a:pt x="2804" y="820"/>
                    <a:pt x="3308" y="820"/>
                  </a:cubicBezTo>
                  <a:close/>
                  <a:moveTo>
                    <a:pt x="1513" y="2679"/>
                  </a:moveTo>
                  <a:lnTo>
                    <a:pt x="2584" y="3466"/>
                  </a:lnTo>
                  <a:lnTo>
                    <a:pt x="977" y="4695"/>
                  </a:lnTo>
                  <a:cubicBezTo>
                    <a:pt x="1072" y="3939"/>
                    <a:pt x="1292" y="3277"/>
                    <a:pt x="1513" y="2679"/>
                  </a:cubicBezTo>
                  <a:close/>
                  <a:moveTo>
                    <a:pt x="5010" y="2679"/>
                  </a:moveTo>
                  <a:cubicBezTo>
                    <a:pt x="5262" y="3277"/>
                    <a:pt x="5451" y="3939"/>
                    <a:pt x="5577" y="4695"/>
                  </a:cubicBezTo>
                  <a:lnTo>
                    <a:pt x="3970" y="3466"/>
                  </a:lnTo>
                  <a:lnTo>
                    <a:pt x="5010" y="2679"/>
                  </a:lnTo>
                  <a:close/>
                  <a:moveTo>
                    <a:pt x="3308" y="4002"/>
                  </a:moveTo>
                  <a:lnTo>
                    <a:pt x="5734" y="5829"/>
                  </a:lnTo>
                  <a:lnTo>
                    <a:pt x="5734" y="5861"/>
                  </a:lnTo>
                  <a:cubicBezTo>
                    <a:pt x="5608" y="6302"/>
                    <a:pt x="5230" y="6617"/>
                    <a:pt x="4758" y="6617"/>
                  </a:cubicBezTo>
                  <a:lnTo>
                    <a:pt x="1891" y="6617"/>
                  </a:lnTo>
                  <a:cubicBezTo>
                    <a:pt x="1355" y="6617"/>
                    <a:pt x="977" y="6302"/>
                    <a:pt x="851" y="5829"/>
                  </a:cubicBezTo>
                  <a:lnTo>
                    <a:pt x="3308" y="4002"/>
                  </a:lnTo>
                  <a:close/>
                  <a:moveTo>
                    <a:pt x="756" y="7121"/>
                  </a:moveTo>
                  <a:lnTo>
                    <a:pt x="756" y="7121"/>
                  </a:lnTo>
                  <a:cubicBezTo>
                    <a:pt x="1072" y="7310"/>
                    <a:pt x="1450" y="7436"/>
                    <a:pt x="1796" y="7436"/>
                  </a:cubicBezTo>
                  <a:lnTo>
                    <a:pt x="4663" y="7436"/>
                  </a:lnTo>
                  <a:cubicBezTo>
                    <a:pt x="5073" y="7436"/>
                    <a:pt x="5419" y="7310"/>
                    <a:pt x="5703" y="7121"/>
                  </a:cubicBezTo>
                  <a:lnTo>
                    <a:pt x="5703" y="7121"/>
                  </a:lnTo>
                  <a:cubicBezTo>
                    <a:pt x="5734" y="8507"/>
                    <a:pt x="5545" y="9830"/>
                    <a:pt x="5136" y="10902"/>
                  </a:cubicBezTo>
                  <a:cubicBezTo>
                    <a:pt x="4978" y="11374"/>
                    <a:pt x="4537" y="11626"/>
                    <a:pt x="3970" y="11626"/>
                  </a:cubicBezTo>
                  <a:lnTo>
                    <a:pt x="2395" y="11626"/>
                  </a:lnTo>
                  <a:cubicBezTo>
                    <a:pt x="1954" y="11626"/>
                    <a:pt x="1544" y="11343"/>
                    <a:pt x="1387" y="10902"/>
                  </a:cubicBezTo>
                  <a:cubicBezTo>
                    <a:pt x="1009" y="9830"/>
                    <a:pt x="820" y="8507"/>
                    <a:pt x="756" y="7121"/>
                  </a:cubicBezTo>
                  <a:close/>
                  <a:moveTo>
                    <a:pt x="3308" y="1"/>
                  </a:moveTo>
                  <a:cubicBezTo>
                    <a:pt x="2269" y="1"/>
                    <a:pt x="1450" y="946"/>
                    <a:pt x="1009" y="1891"/>
                  </a:cubicBezTo>
                  <a:cubicBezTo>
                    <a:pt x="252" y="3372"/>
                    <a:pt x="0" y="5262"/>
                    <a:pt x="0" y="6932"/>
                  </a:cubicBezTo>
                  <a:cubicBezTo>
                    <a:pt x="0" y="8507"/>
                    <a:pt x="221" y="9988"/>
                    <a:pt x="662" y="11217"/>
                  </a:cubicBezTo>
                  <a:cubicBezTo>
                    <a:pt x="946" y="11973"/>
                    <a:pt x="1639" y="12477"/>
                    <a:pt x="2426" y="12477"/>
                  </a:cubicBezTo>
                  <a:lnTo>
                    <a:pt x="4002" y="12477"/>
                  </a:lnTo>
                  <a:cubicBezTo>
                    <a:pt x="4947" y="12477"/>
                    <a:pt x="5703" y="12004"/>
                    <a:pt x="5986" y="11217"/>
                  </a:cubicBezTo>
                  <a:cubicBezTo>
                    <a:pt x="6396" y="10051"/>
                    <a:pt x="6648" y="8507"/>
                    <a:pt x="6648" y="6932"/>
                  </a:cubicBezTo>
                  <a:cubicBezTo>
                    <a:pt x="6585" y="3183"/>
                    <a:pt x="5230" y="1"/>
                    <a:pt x="3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49" name="Google Shape;7749;p75"/>
            <p:cNvSpPr/>
            <p:nvPr/>
          </p:nvSpPr>
          <p:spPr>
            <a:xfrm>
              <a:off x="-10709850" y="1704025"/>
              <a:ext cx="166200" cy="312700"/>
            </a:xfrm>
            <a:custGeom>
              <a:avLst/>
              <a:gdLst/>
              <a:ahLst/>
              <a:cxnLst/>
              <a:rect l="l" t="t" r="r" b="b"/>
              <a:pathLst>
                <a:path w="6648" h="12508" extrusionOk="0">
                  <a:moveTo>
                    <a:pt x="3308" y="851"/>
                  </a:moveTo>
                  <a:cubicBezTo>
                    <a:pt x="3781" y="851"/>
                    <a:pt x="4285" y="1229"/>
                    <a:pt x="4694" y="1954"/>
                  </a:cubicBezTo>
                  <a:lnTo>
                    <a:pt x="3308" y="2962"/>
                  </a:lnTo>
                  <a:lnTo>
                    <a:pt x="1922" y="1954"/>
                  </a:lnTo>
                  <a:cubicBezTo>
                    <a:pt x="2363" y="1229"/>
                    <a:pt x="2835" y="851"/>
                    <a:pt x="3308" y="851"/>
                  </a:cubicBezTo>
                  <a:close/>
                  <a:moveTo>
                    <a:pt x="1575" y="2678"/>
                  </a:moveTo>
                  <a:lnTo>
                    <a:pt x="2646" y="3466"/>
                  </a:lnTo>
                  <a:lnTo>
                    <a:pt x="1040" y="4694"/>
                  </a:lnTo>
                  <a:cubicBezTo>
                    <a:pt x="1134" y="3938"/>
                    <a:pt x="1355" y="3277"/>
                    <a:pt x="1575" y="2678"/>
                  </a:cubicBezTo>
                  <a:close/>
                  <a:moveTo>
                    <a:pt x="5072" y="2678"/>
                  </a:moveTo>
                  <a:cubicBezTo>
                    <a:pt x="5324" y="3277"/>
                    <a:pt x="5513" y="3938"/>
                    <a:pt x="5639" y="4694"/>
                  </a:cubicBezTo>
                  <a:lnTo>
                    <a:pt x="4001" y="3466"/>
                  </a:lnTo>
                  <a:lnTo>
                    <a:pt x="5072" y="2678"/>
                  </a:lnTo>
                  <a:close/>
                  <a:moveTo>
                    <a:pt x="3308" y="4033"/>
                  </a:moveTo>
                  <a:lnTo>
                    <a:pt x="5765" y="5829"/>
                  </a:lnTo>
                  <a:lnTo>
                    <a:pt x="5765" y="5892"/>
                  </a:lnTo>
                  <a:cubicBezTo>
                    <a:pt x="5639" y="6301"/>
                    <a:pt x="5230" y="6616"/>
                    <a:pt x="4757" y="6616"/>
                  </a:cubicBezTo>
                  <a:lnTo>
                    <a:pt x="1859" y="6616"/>
                  </a:lnTo>
                  <a:cubicBezTo>
                    <a:pt x="1418" y="6616"/>
                    <a:pt x="977" y="6301"/>
                    <a:pt x="851" y="5829"/>
                  </a:cubicBezTo>
                  <a:lnTo>
                    <a:pt x="3308" y="4033"/>
                  </a:lnTo>
                  <a:close/>
                  <a:moveTo>
                    <a:pt x="819" y="7152"/>
                  </a:moveTo>
                  <a:lnTo>
                    <a:pt x="819" y="7152"/>
                  </a:lnTo>
                  <a:cubicBezTo>
                    <a:pt x="1134" y="7341"/>
                    <a:pt x="1512" y="7467"/>
                    <a:pt x="1859" y="7467"/>
                  </a:cubicBezTo>
                  <a:lnTo>
                    <a:pt x="4757" y="7467"/>
                  </a:lnTo>
                  <a:cubicBezTo>
                    <a:pt x="5167" y="7467"/>
                    <a:pt x="5513" y="7341"/>
                    <a:pt x="5797" y="7152"/>
                  </a:cubicBezTo>
                  <a:lnTo>
                    <a:pt x="5797" y="7152"/>
                  </a:lnTo>
                  <a:cubicBezTo>
                    <a:pt x="5797" y="8507"/>
                    <a:pt x="5545" y="9861"/>
                    <a:pt x="5198" y="10932"/>
                  </a:cubicBezTo>
                  <a:cubicBezTo>
                    <a:pt x="5041" y="11405"/>
                    <a:pt x="4600" y="11625"/>
                    <a:pt x="4001" y="11625"/>
                  </a:cubicBezTo>
                  <a:lnTo>
                    <a:pt x="2426" y="11625"/>
                  </a:lnTo>
                  <a:cubicBezTo>
                    <a:pt x="2016" y="11625"/>
                    <a:pt x="1607" y="11342"/>
                    <a:pt x="1449" y="10932"/>
                  </a:cubicBezTo>
                  <a:cubicBezTo>
                    <a:pt x="1071" y="9861"/>
                    <a:pt x="851" y="8507"/>
                    <a:pt x="819" y="7152"/>
                  </a:cubicBezTo>
                  <a:close/>
                  <a:moveTo>
                    <a:pt x="3308" y="0"/>
                  </a:moveTo>
                  <a:cubicBezTo>
                    <a:pt x="2174" y="0"/>
                    <a:pt x="1355" y="1103"/>
                    <a:pt x="851" y="2174"/>
                  </a:cubicBezTo>
                  <a:cubicBezTo>
                    <a:pt x="315" y="3466"/>
                    <a:pt x="0" y="5167"/>
                    <a:pt x="0" y="6931"/>
                  </a:cubicBezTo>
                  <a:cubicBezTo>
                    <a:pt x="0" y="8507"/>
                    <a:pt x="221" y="10019"/>
                    <a:pt x="662" y="11247"/>
                  </a:cubicBezTo>
                  <a:cubicBezTo>
                    <a:pt x="945" y="11972"/>
                    <a:pt x="1638" y="12508"/>
                    <a:pt x="2426" y="12508"/>
                  </a:cubicBezTo>
                  <a:lnTo>
                    <a:pt x="4001" y="12508"/>
                  </a:lnTo>
                  <a:cubicBezTo>
                    <a:pt x="4978" y="12508"/>
                    <a:pt x="5702" y="12035"/>
                    <a:pt x="5986" y="11247"/>
                  </a:cubicBezTo>
                  <a:cubicBezTo>
                    <a:pt x="6427" y="10050"/>
                    <a:pt x="6648" y="8507"/>
                    <a:pt x="6648" y="6931"/>
                  </a:cubicBezTo>
                  <a:cubicBezTo>
                    <a:pt x="6616" y="3214"/>
                    <a:pt x="5293" y="0"/>
                    <a:pt x="3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50" name="Google Shape;7750;p75"/>
          <p:cNvSpPr/>
          <p:nvPr/>
        </p:nvSpPr>
        <p:spPr>
          <a:xfrm>
            <a:off x="10748858" y="2586212"/>
            <a:ext cx="349941" cy="455632"/>
          </a:xfrm>
          <a:custGeom>
            <a:avLst/>
            <a:gdLst/>
            <a:ahLst/>
            <a:cxnLst/>
            <a:rect l="l" t="t" r="r" b="b"/>
            <a:pathLst>
              <a:path w="10870" h="14153" extrusionOk="0">
                <a:moveTo>
                  <a:pt x="8286" y="1702"/>
                </a:moveTo>
                <a:lnTo>
                  <a:pt x="8286" y="4222"/>
                </a:lnTo>
                <a:lnTo>
                  <a:pt x="2521" y="4222"/>
                </a:lnTo>
                <a:lnTo>
                  <a:pt x="2521" y="1702"/>
                </a:lnTo>
                <a:close/>
                <a:moveTo>
                  <a:pt x="8286" y="5041"/>
                </a:moveTo>
                <a:lnTo>
                  <a:pt x="8286" y="6680"/>
                </a:lnTo>
                <a:lnTo>
                  <a:pt x="2521" y="6680"/>
                </a:lnTo>
                <a:lnTo>
                  <a:pt x="2521" y="5041"/>
                </a:lnTo>
                <a:close/>
                <a:moveTo>
                  <a:pt x="1733" y="5262"/>
                </a:moveTo>
                <a:lnTo>
                  <a:pt x="1733" y="6680"/>
                </a:lnTo>
                <a:lnTo>
                  <a:pt x="1292" y="6680"/>
                </a:lnTo>
                <a:cubicBezTo>
                  <a:pt x="1134" y="6680"/>
                  <a:pt x="1008" y="6711"/>
                  <a:pt x="914" y="6774"/>
                </a:cubicBezTo>
                <a:lnTo>
                  <a:pt x="914" y="5703"/>
                </a:lnTo>
                <a:lnTo>
                  <a:pt x="1733" y="5262"/>
                </a:lnTo>
                <a:close/>
                <a:moveTo>
                  <a:pt x="9137" y="5262"/>
                </a:moveTo>
                <a:lnTo>
                  <a:pt x="9956" y="5703"/>
                </a:lnTo>
                <a:lnTo>
                  <a:pt x="9956" y="6774"/>
                </a:lnTo>
                <a:cubicBezTo>
                  <a:pt x="9830" y="6743"/>
                  <a:pt x="9672" y="6680"/>
                  <a:pt x="9515" y="6680"/>
                </a:cubicBezTo>
                <a:lnTo>
                  <a:pt x="9137" y="6680"/>
                </a:lnTo>
                <a:lnTo>
                  <a:pt x="9137" y="5262"/>
                </a:lnTo>
                <a:close/>
                <a:moveTo>
                  <a:pt x="9578" y="7467"/>
                </a:moveTo>
                <a:cubicBezTo>
                  <a:pt x="9798" y="7467"/>
                  <a:pt x="9987" y="7688"/>
                  <a:pt x="9987" y="7908"/>
                </a:cubicBezTo>
                <a:cubicBezTo>
                  <a:pt x="9956" y="8160"/>
                  <a:pt x="9798" y="8349"/>
                  <a:pt x="9578" y="8349"/>
                </a:cubicBezTo>
                <a:lnTo>
                  <a:pt x="1292" y="8349"/>
                </a:lnTo>
                <a:cubicBezTo>
                  <a:pt x="1071" y="8349"/>
                  <a:pt x="914" y="8160"/>
                  <a:pt x="914" y="7908"/>
                </a:cubicBezTo>
                <a:cubicBezTo>
                  <a:pt x="914" y="7688"/>
                  <a:pt x="1103" y="7467"/>
                  <a:pt x="1292" y="7467"/>
                </a:cubicBezTo>
                <a:close/>
                <a:moveTo>
                  <a:pt x="7467" y="9169"/>
                </a:moveTo>
                <a:lnTo>
                  <a:pt x="5419" y="10712"/>
                </a:lnTo>
                <a:lnTo>
                  <a:pt x="3340" y="9169"/>
                </a:lnTo>
                <a:close/>
                <a:moveTo>
                  <a:pt x="2048" y="1"/>
                </a:moveTo>
                <a:cubicBezTo>
                  <a:pt x="1796" y="1"/>
                  <a:pt x="1638" y="190"/>
                  <a:pt x="1638" y="442"/>
                </a:cubicBezTo>
                <a:lnTo>
                  <a:pt x="1638" y="4380"/>
                </a:lnTo>
                <a:lnTo>
                  <a:pt x="221" y="5073"/>
                </a:lnTo>
                <a:cubicBezTo>
                  <a:pt x="63" y="5167"/>
                  <a:pt x="0" y="5325"/>
                  <a:pt x="0" y="5419"/>
                </a:cubicBezTo>
                <a:lnTo>
                  <a:pt x="0" y="7908"/>
                </a:lnTo>
                <a:cubicBezTo>
                  <a:pt x="0" y="8570"/>
                  <a:pt x="536" y="9137"/>
                  <a:pt x="1260" y="9137"/>
                </a:cubicBezTo>
                <a:lnTo>
                  <a:pt x="1953" y="9137"/>
                </a:lnTo>
                <a:lnTo>
                  <a:pt x="4726" y="11216"/>
                </a:lnTo>
                <a:lnTo>
                  <a:pt x="1859" y="13390"/>
                </a:lnTo>
                <a:cubicBezTo>
                  <a:pt x="1638" y="13516"/>
                  <a:pt x="1607" y="13768"/>
                  <a:pt x="1764" y="13989"/>
                </a:cubicBezTo>
                <a:cubicBezTo>
                  <a:pt x="1836" y="14096"/>
                  <a:pt x="1958" y="14153"/>
                  <a:pt x="2085" y="14153"/>
                </a:cubicBezTo>
                <a:cubicBezTo>
                  <a:pt x="2182" y="14153"/>
                  <a:pt x="2281" y="14120"/>
                  <a:pt x="2363" y="14052"/>
                </a:cubicBezTo>
                <a:lnTo>
                  <a:pt x="5419" y="11783"/>
                </a:lnTo>
                <a:lnTo>
                  <a:pt x="8506" y="14052"/>
                </a:lnTo>
                <a:cubicBezTo>
                  <a:pt x="8591" y="14108"/>
                  <a:pt x="8689" y="14140"/>
                  <a:pt x="8785" y="14140"/>
                </a:cubicBezTo>
                <a:cubicBezTo>
                  <a:pt x="8903" y="14140"/>
                  <a:pt x="9018" y="14093"/>
                  <a:pt x="9105" y="13989"/>
                </a:cubicBezTo>
                <a:cubicBezTo>
                  <a:pt x="9200" y="13768"/>
                  <a:pt x="9200" y="13548"/>
                  <a:pt x="9011" y="13390"/>
                </a:cubicBezTo>
                <a:lnTo>
                  <a:pt x="6144" y="11216"/>
                </a:lnTo>
                <a:lnTo>
                  <a:pt x="8885" y="9137"/>
                </a:lnTo>
                <a:lnTo>
                  <a:pt x="9609" y="9137"/>
                </a:lnTo>
                <a:cubicBezTo>
                  <a:pt x="10271" y="9137"/>
                  <a:pt x="10869" y="8570"/>
                  <a:pt x="10869" y="7908"/>
                </a:cubicBezTo>
                <a:lnTo>
                  <a:pt x="10869" y="5419"/>
                </a:lnTo>
                <a:cubicBezTo>
                  <a:pt x="10869" y="5262"/>
                  <a:pt x="10775" y="5104"/>
                  <a:pt x="10617" y="5073"/>
                </a:cubicBezTo>
                <a:lnTo>
                  <a:pt x="9200" y="4380"/>
                </a:lnTo>
                <a:lnTo>
                  <a:pt x="9200" y="442"/>
                </a:lnTo>
                <a:lnTo>
                  <a:pt x="9137" y="442"/>
                </a:lnTo>
                <a:cubicBezTo>
                  <a:pt x="9137" y="190"/>
                  <a:pt x="8916" y="1"/>
                  <a:pt x="8695" y="1"/>
                </a:cubicBezTo>
                <a:cubicBezTo>
                  <a:pt x="8475" y="1"/>
                  <a:pt x="8254" y="190"/>
                  <a:pt x="8254" y="442"/>
                </a:cubicBezTo>
                <a:lnTo>
                  <a:pt x="8254" y="820"/>
                </a:lnTo>
                <a:lnTo>
                  <a:pt x="2489" y="820"/>
                </a:lnTo>
                <a:lnTo>
                  <a:pt x="2489" y="442"/>
                </a:lnTo>
                <a:cubicBezTo>
                  <a:pt x="2489" y="190"/>
                  <a:pt x="2268"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51" name="Google Shape;7751;p75"/>
          <p:cNvGrpSpPr/>
          <p:nvPr/>
        </p:nvGrpSpPr>
        <p:grpSpPr>
          <a:xfrm>
            <a:off x="10696110" y="3145790"/>
            <a:ext cx="455439" cy="426015"/>
            <a:chOff x="-10898100" y="2542050"/>
            <a:chExt cx="353675" cy="330825"/>
          </a:xfrm>
        </p:grpSpPr>
        <p:sp>
          <p:nvSpPr>
            <p:cNvPr id="7752" name="Google Shape;7752;p75"/>
            <p:cNvSpPr/>
            <p:nvPr/>
          </p:nvSpPr>
          <p:spPr>
            <a:xfrm>
              <a:off x="-10772875" y="2583800"/>
              <a:ext cx="82725" cy="82725"/>
            </a:xfrm>
            <a:custGeom>
              <a:avLst/>
              <a:gdLst/>
              <a:ahLst/>
              <a:cxnLst/>
              <a:rect l="l" t="t" r="r" b="b"/>
              <a:pathLst>
                <a:path w="3309" h="3309" extrusionOk="0">
                  <a:moveTo>
                    <a:pt x="1639" y="819"/>
                  </a:moveTo>
                  <a:cubicBezTo>
                    <a:pt x="2111" y="819"/>
                    <a:pt x="2490" y="1166"/>
                    <a:pt x="2490" y="1638"/>
                  </a:cubicBezTo>
                  <a:cubicBezTo>
                    <a:pt x="2490" y="2111"/>
                    <a:pt x="2111" y="2457"/>
                    <a:pt x="1639" y="2457"/>
                  </a:cubicBezTo>
                  <a:cubicBezTo>
                    <a:pt x="1166"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3" name="Google Shape;7753;p75"/>
            <p:cNvSpPr/>
            <p:nvPr/>
          </p:nvSpPr>
          <p:spPr>
            <a:xfrm>
              <a:off x="-10772875" y="2749200"/>
              <a:ext cx="82725" cy="81950"/>
            </a:xfrm>
            <a:custGeom>
              <a:avLst/>
              <a:gdLst/>
              <a:ahLst/>
              <a:cxnLst/>
              <a:rect l="l" t="t" r="r" b="b"/>
              <a:pathLst>
                <a:path w="3309" h="3278" extrusionOk="0">
                  <a:moveTo>
                    <a:pt x="1639" y="819"/>
                  </a:moveTo>
                  <a:cubicBezTo>
                    <a:pt x="2111" y="819"/>
                    <a:pt x="2490" y="1166"/>
                    <a:pt x="2490" y="1638"/>
                  </a:cubicBezTo>
                  <a:cubicBezTo>
                    <a:pt x="2490" y="2111"/>
                    <a:pt x="2111" y="2457"/>
                    <a:pt x="1639" y="2457"/>
                  </a:cubicBezTo>
                  <a:cubicBezTo>
                    <a:pt x="1229" y="2457"/>
                    <a:pt x="820" y="2079"/>
                    <a:pt x="820" y="1638"/>
                  </a:cubicBezTo>
                  <a:cubicBezTo>
                    <a:pt x="820" y="1166"/>
                    <a:pt x="1198" y="819"/>
                    <a:pt x="1639" y="819"/>
                  </a:cubicBezTo>
                  <a:close/>
                  <a:moveTo>
                    <a:pt x="1639" y="0"/>
                  </a:moveTo>
                  <a:cubicBezTo>
                    <a:pt x="757" y="0"/>
                    <a:pt x="1" y="725"/>
                    <a:pt x="1" y="1638"/>
                  </a:cubicBezTo>
                  <a:cubicBezTo>
                    <a:pt x="1" y="2552"/>
                    <a:pt x="757" y="3277"/>
                    <a:pt x="1639" y="3277"/>
                  </a:cubicBezTo>
                  <a:cubicBezTo>
                    <a:pt x="1658" y="3277"/>
                    <a:pt x="1677" y="3278"/>
                    <a:pt x="1696" y="3278"/>
                  </a:cubicBezTo>
                  <a:cubicBezTo>
                    <a:pt x="2613" y="3278"/>
                    <a:pt x="3309" y="2534"/>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4" name="Google Shape;7754;p75"/>
            <p:cNvSpPr/>
            <p:nvPr/>
          </p:nvSpPr>
          <p:spPr>
            <a:xfrm>
              <a:off x="-10855575" y="2666500"/>
              <a:ext cx="82725" cy="81925"/>
            </a:xfrm>
            <a:custGeom>
              <a:avLst/>
              <a:gdLst/>
              <a:ahLst/>
              <a:cxnLst/>
              <a:rect l="l" t="t" r="r" b="b"/>
              <a:pathLst>
                <a:path w="3309" h="3277" extrusionOk="0">
                  <a:moveTo>
                    <a:pt x="1670" y="819"/>
                  </a:moveTo>
                  <a:cubicBezTo>
                    <a:pt x="2143" y="819"/>
                    <a:pt x="2490" y="1166"/>
                    <a:pt x="2490" y="1638"/>
                  </a:cubicBezTo>
                  <a:cubicBezTo>
                    <a:pt x="2490" y="2079"/>
                    <a:pt x="2111" y="2457"/>
                    <a:pt x="1670" y="2457"/>
                  </a:cubicBezTo>
                  <a:cubicBezTo>
                    <a:pt x="1166" y="2457"/>
                    <a:pt x="820" y="2111"/>
                    <a:pt x="820" y="1638"/>
                  </a:cubicBezTo>
                  <a:cubicBezTo>
                    <a:pt x="820" y="1166"/>
                    <a:pt x="1198" y="819"/>
                    <a:pt x="1670" y="819"/>
                  </a:cubicBezTo>
                  <a:close/>
                  <a:moveTo>
                    <a:pt x="1670" y="0"/>
                  </a:moveTo>
                  <a:cubicBezTo>
                    <a:pt x="757" y="0"/>
                    <a:pt x="1" y="725"/>
                    <a:pt x="1" y="1638"/>
                  </a:cubicBezTo>
                  <a:cubicBezTo>
                    <a:pt x="1" y="2552"/>
                    <a:pt x="757" y="3277"/>
                    <a:pt x="1670" y="3277"/>
                  </a:cubicBezTo>
                  <a:cubicBezTo>
                    <a:pt x="2553" y="3277"/>
                    <a:pt x="3309" y="2552"/>
                    <a:pt x="3309" y="1638"/>
                  </a:cubicBezTo>
                  <a:cubicBezTo>
                    <a:pt x="3309" y="725"/>
                    <a:pt x="2584"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5" name="Google Shape;7755;p75"/>
            <p:cNvSpPr/>
            <p:nvPr/>
          </p:nvSpPr>
          <p:spPr>
            <a:xfrm>
              <a:off x="-10690175" y="2666500"/>
              <a:ext cx="82725" cy="82725"/>
            </a:xfrm>
            <a:custGeom>
              <a:avLst/>
              <a:gdLst/>
              <a:ahLst/>
              <a:cxnLst/>
              <a:rect l="l" t="t" r="r" b="b"/>
              <a:pathLst>
                <a:path w="3309" h="3309" extrusionOk="0">
                  <a:moveTo>
                    <a:pt x="1639" y="819"/>
                  </a:moveTo>
                  <a:cubicBezTo>
                    <a:pt x="2143" y="819"/>
                    <a:pt x="2490" y="1166"/>
                    <a:pt x="2490" y="1638"/>
                  </a:cubicBezTo>
                  <a:cubicBezTo>
                    <a:pt x="2490" y="2111"/>
                    <a:pt x="2112" y="2457"/>
                    <a:pt x="1639" y="2457"/>
                  </a:cubicBezTo>
                  <a:cubicBezTo>
                    <a:pt x="1198" y="2457"/>
                    <a:pt x="820" y="2111"/>
                    <a:pt x="820" y="1638"/>
                  </a:cubicBezTo>
                  <a:cubicBezTo>
                    <a:pt x="820" y="1166"/>
                    <a:pt x="1229" y="819"/>
                    <a:pt x="1639" y="819"/>
                  </a:cubicBezTo>
                  <a:close/>
                  <a:moveTo>
                    <a:pt x="1639" y="0"/>
                  </a:moveTo>
                  <a:cubicBezTo>
                    <a:pt x="757" y="0"/>
                    <a:pt x="1" y="725"/>
                    <a:pt x="1" y="1638"/>
                  </a:cubicBezTo>
                  <a:cubicBezTo>
                    <a:pt x="1" y="2552"/>
                    <a:pt x="757" y="3308"/>
                    <a:pt x="1639" y="3308"/>
                  </a:cubicBezTo>
                  <a:cubicBezTo>
                    <a:pt x="2553" y="3308"/>
                    <a:pt x="3309" y="2552"/>
                    <a:pt x="3309" y="1638"/>
                  </a:cubicBezTo>
                  <a:cubicBezTo>
                    <a:pt x="3309" y="725"/>
                    <a:pt x="2553" y="0"/>
                    <a:pt x="163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6" name="Google Shape;7756;p75"/>
            <p:cNvSpPr/>
            <p:nvPr/>
          </p:nvSpPr>
          <p:spPr>
            <a:xfrm>
              <a:off x="-10752400" y="2686975"/>
              <a:ext cx="41775" cy="40975"/>
            </a:xfrm>
            <a:custGeom>
              <a:avLst/>
              <a:gdLst/>
              <a:ahLst/>
              <a:cxnLst/>
              <a:rect l="l" t="t" r="r" b="b"/>
              <a:pathLst>
                <a:path w="1671" h="1639" extrusionOk="0">
                  <a:moveTo>
                    <a:pt x="851" y="0"/>
                  </a:moveTo>
                  <a:cubicBezTo>
                    <a:pt x="379" y="0"/>
                    <a:pt x="1" y="378"/>
                    <a:pt x="1" y="819"/>
                  </a:cubicBezTo>
                  <a:cubicBezTo>
                    <a:pt x="1" y="1260"/>
                    <a:pt x="379" y="1638"/>
                    <a:pt x="851" y="1638"/>
                  </a:cubicBezTo>
                  <a:cubicBezTo>
                    <a:pt x="1292" y="1638"/>
                    <a:pt x="1671" y="1260"/>
                    <a:pt x="1671" y="819"/>
                  </a:cubicBezTo>
                  <a:cubicBezTo>
                    <a:pt x="1671" y="378"/>
                    <a:pt x="1292" y="0"/>
                    <a:pt x="8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57" name="Google Shape;7757;p75"/>
            <p:cNvSpPr/>
            <p:nvPr/>
          </p:nvSpPr>
          <p:spPr>
            <a:xfrm>
              <a:off x="-10898100" y="2542050"/>
              <a:ext cx="353675" cy="330825"/>
            </a:xfrm>
            <a:custGeom>
              <a:avLst/>
              <a:gdLst/>
              <a:ahLst/>
              <a:cxnLst/>
              <a:rect l="l" t="t" r="r" b="b"/>
              <a:pathLst>
                <a:path w="14147" h="13233" extrusionOk="0">
                  <a:moveTo>
                    <a:pt x="6711" y="819"/>
                  </a:moveTo>
                  <a:cubicBezTo>
                    <a:pt x="9893" y="819"/>
                    <a:pt x="12476" y="3434"/>
                    <a:pt x="12476" y="6616"/>
                  </a:cubicBezTo>
                  <a:cubicBezTo>
                    <a:pt x="12476" y="9798"/>
                    <a:pt x="9893" y="12413"/>
                    <a:pt x="6711" y="12413"/>
                  </a:cubicBezTo>
                  <a:cubicBezTo>
                    <a:pt x="3466" y="12413"/>
                    <a:pt x="883" y="9798"/>
                    <a:pt x="883" y="6616"/>
                  </a:cubicBezTo>
                  <a:cubicBezTo>
                    <a:pt x="883" y="3434"/>
                    <a:pt x="3466" y="819"/>
                    <a:pt x="6711" y="819"/>
                  </a:cubicBezTo>
                  <a:close/>
                  <a:moveTo>
                    <a:pt x="13358" y="10743"/>
                  </a:moveTo>
                  <a:lnTo>
                    <a:pt x="13358" y="12413"/>
                  </a:lnTo>
                  <a:lnTo>
                    <a:pt x="9893" y="12413"/>
                  </a:lnTo>
                  <a:cubicBezTo>
                    <a:pt x="10649" y="12004"/>
                    <a:pt x="11311" y="11468"/>
                    <a:pt x="11846" y="10743"/>
                  </a:cubicBezTo>
                  <a:close/>
                  <a:moveTo>
                    <a:pt x="6648" y="0"/>
                  </a:moveTo>
                  <a:cubicBezTo>
                    <a:pt x="2993" y="0"/>
                    <a:pt x="0" y="2962"/>
                    <a:pt x="0" y="6616"/>
                  </a:cubicBezTo>
                  <a:cubicBezTo>
                    <a:pt x="0" y="10082"/>
                    <a:pt x="2678" y="12917"/>
                    <a:pt x="6112" y="13201"/>
                  </a:cubicBezTo>
                  <a:cubicBezTo>
                    <a:pt x="6144" y="13201"/>
                    <a:pt x="6175" y="13232"/>
                    <a:pt x="6238" y="13232"/>
                  </a:cubicBezTo>
                  <a:lnTo>
                    <a:pt x="13705" y="13232"/>
                  </a:lnTo>
                  <a:cubicBezTo>
                    <a:pt x="13957" y="13232"/>
                    <a:pt x="14146" y="13043"/>
                    <a:pt x="14146" y="12791"/>
                  </a:cubicBezTo>
                  <a:lnTo>
                    <a:pt x="14146" y="10302"/>
                  </a:lnTo>
                  <a:cubicBezTo>
                    <a:pt x="14146" y="10082"/>
                    <a:pt x="13957" y="9924"/>
                    <a:pt x="13737" y="9924"/>
                  </a:cubicBezTo>
                  <a:lnTo>
                    <a:pt x="12413" y="9924"/>
                  </a:lnTo>
                  <a:cubicBezTo>
                    <a:pt x="13012" y="8948"/>
                    <a:pt x="13264" y="7814"/>
                    <a:pt x="13264" y="6616"/>
                  </a:cubicBezTo>
                  <a:cubicBezTo>
                    <a:pt x="13264" y="2962"/>
                    <a:pt x="10334" y="0"/>
                    <a:pt x="66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58" name="Google Shape;7758;p75"/>
          <p:cNvGrpSpPr/>
          <p:nvPr/>
        </p:nvGrpSpPr>
        <p:grpSpPr>
          <a:xfrm>
            <a:off x="8279489" y="3706943"/>
            <a:ext cx="453411" cy="452573"/>
            <a:chOff x="-9157450" y="1622750"/>
            <a:chExt cx="352100" cy="351450"/>
          </a:xfrm>
        </p:grpSpPr>
        <p:sp>
          <p:nvSpPr>
            <p:cNvPr id="7759" name="Google Shape;7759;p75"/>
            <p:cNvSpPr/>
            <p:nvPr/>
          </p:nvSpPr>
          <p:spPr>
            <a:xfrm>
              <a:off x="-9034575" y="1706075"/>
              <a:ext cx="229225" cy="268125"/>
            </a:xfrm>
            <a:custGeom>
              <a:avLst/>
              <a:gdLst/>
              <a:ahLst/>
              <a:cxnLst/>
              <a:rect l="l" t="t" r="r" b="b"/>
              <a:pathLst>
                <a:path w="9169" h="10725" extrusionOk="0">
                  <a:moveTo>
                    <a:pt x="8317" y="989"/>
                  </a:moveTo>
                  <a:lnTo>
                    <a:pt x="8317" y="1777"/>
                  </a:lnTo>
                  <a:lnTo>
                    <a:pt x="3308" y="3195"/>
                  </a:lnTo>
                  <a:lnTo>
                    <a:pt x="3308" y="2407"/>
                  </a:lnTo>
                  <a:lnTo>
                    <a:pt x="8317" y="989"/>
                  </a:lnTo>
                  <a:close/>
                  <a:moveTo>
                    <a:pt x="7498" y="6629"/>
                  </a:moveTo>
                  <a:cubicBezTo>
                    <a:pt x="7971" y="6629"/>
                    <a:pt x="8317" y="6975"/>
                    <a:pt x="8317" y="7448"/>
                  </a:cubicBezTo>
                  <a:cubicBezTo>
                    <a:pt x="8317" y="7920"/>
                    <a:pt x="7971" y="8267"/>
                    <a:pt x="7498" y="8267"/>
                  </a:cubicBezTo>
                  <a:cubicBezTo>
                    <a:pt x="7026" y="8267"/>
                    <a:pt x="6679" y="7920"/>
                    <a:pt x="6679" y="7448"/>
                  </a:cubicBezTo>
                  <a:cubicBezTo>
                    <a:pt x="6679" y="6975"/>
                    <a:pt x="7026" y="6629"/>
                    <a:pt x="7498" y="6629"/>
                  </a:cubicBezTo>
                  <a:close/>
                  <a:moveTo>
                    <a:pt x="1670" y="8267"/>
                  </a:moveTo>
                  <a:cubicBezTo>
                    <a:pt x="2142" y="8267"/>
                    <a:pt x="2489" y="8645"/>
                    <a:pt x="2489" y="9118"/>
                  </a:cubicBezTo>
                  <a:cubicBezTo>
                    <a:pt x="2489" y="9590"/>
                    <a:pt x="2111" y="9937"/>
                    <a:pt x="1670" y="9937"/>
                  </a:cubicBezTo>
                  <a:cubicBezTo>
                    <a:pt x="1197" y="9937"/>
                    <a:pt x="851" y="9590"/>
                    <a:pt x="851" y="9118"/>
                  </a:cubicBezTo>
                  <a:cubicBezTo>
                    <a:pt x="851" y="8645"/>
                    <a:pt x="1197" y="8267"/>
                    <a:pt x="1670" y="8267"/>
                  </a:cubicBezTo>
                  <a:close/>
                  <a:moveTo>
                    <a:pt x="8733" y="0"/>
                  </a:moveTo>
                  <a:cubicBezTo>
                    <a:pt x="8700" y="0"/>
                    <a:pt x="8666" y="4"/>
                    <a:pt x="8632" y="13"/>
                  </a:cubicBezTo>
                  <a:lnTo>
                    <a:pt x="2804" y="1651"/>
                  </a:lnTo>
                  <a:cubicBezTo>
                    <a:pt x="2615" y="1714"/>
                    <a:pt x="2489" y="1872"/>
                    <a:pt x="2489" y="2061"/>
                  </a:cubicBezTo>
                  <a:lnTo>
                    <a:pt x="2489" y="7637"/>
                  </a:lnTo>
                  <a:cubicBezTo>
                    <a:pt x="2268" y="7479"/>
                    <a:pt x="1985" y="7416"/>
                    <a:pt x="1670" y="7416"/>
                  </a:cubicBezTo>
                  <a:cubicBezTo>
                    <a:pt x="756" y="7416"/>
                    <a:pt x="0" y="8172"/>
                    <a:pt x="0" y="9055"/>
                  </a:cubicBezTo>
                  <a:cubicBezTo>
                    <a:pt x="0" y="9968"/>
                    <a:pt x="756" y="10724"/>
                    <a:pt x="1670" y="10724"/>
                  </a:cubicBezTo>
                  <a:cubicBezTo>
                    <a:pt x="2584" y="10724"/>
                    <a:pt x="3340" y="9968"/>
                    <a:pt x="3340" y="9055"/>
                  </a:cubicBezTo>
                  <a:lnTo>
                    <a:pt x="3340" y="3982"/>
                  </a:lnTo>
                  <a:lnTo>
                    <a:pt x="8317" y="2565"/>
                  </a:lnTo>
                  <a:lnTo>
                    <a:pt x="8317" y="5967"/>
                  </a:lnTo>
                  <a:cubicBezTo>
                    <a:pt x="8097" y="5810"/>
                    <a:pt x="7813" y="5715"/>
                    <a:pt x="7498" y="5715"/>
                  </a:cubicBezTo>
                  <a:cubicBezTo>
                    <a:pt x="6585" y="5715"/>
                    <a:pt x="5860" y="6471"/>
                    <a:pt x="5860" y="7385"/>
                  </a:cubicBezTo>
                  <a:cubicBezTo>
                    <a:pt x="5860" y="8267"/>
                    <a:pt x="6585" y="9023"/>
                    <a:pt x="7498" y="9023"/>
                  </a:cubicBezTo>
                  <a:cubicBezTo>
                    <a:pt x="8412" y="9023"/>
                    <a:pt x="9168" y="8267"/>
                    <a:pt x="9168" y="7385"/>
                  </a:cubicBezTo>
                  <a:lnTo>
                    <a:pt x="9168" y="359"/>
                  </a:lnTo>
                  <a:cubicBezTo>
                    <a:pt x="9137" y="296"/>
                    <a:pt x="9105" y="170"/>
                    <a:pt x="8979" y="76"/>
                  </a:cubicBezTo>
                  <a:cubicBezTo>
                    <a:pt x="8910" y="30"/>
                    <a:pt x="8824" y="0"/>
                    <a:pt x="8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0" name="Google Shape;7760;p75"/>
            <p:cNvSpPr/>
            <p:nvPr/>
          </p:nvSpPr>
          <p:spPr>
            <a:xfrm>
              <a:off x="-9157450" y="1622750"/>
              <a:ext cx="164625" cy="249850"/>
            </a:xfrm>
            <a:custGeom>
              <a:avLst/>
              <a:gdLst/>
              <a:ahLst/>
              <a:cxnLst/>
              <a:rect l="l" t="t" r="r" b="b"/>
              <a:pathLst>
                <a:path w="6585" h="9994" extrusionOk="0">
                  <a:moveTo>
                    <a:pt x="1607" y="7473"/>
                  </a:moveTo>
                  <a:cubicBezTo>
                    <a:pt x="2080" y="7473"/>
                    <a:pt x="2458" y="7819"/>
                    <a:pt x="2458" y="8292"/>
                  </a:cubicBezTo>
                  <a:cubicBezTo>
                    <a:pt x="2458" y="8765"/>
                    <a:pt x="2048" y="9143"/>
                    <a:pt x="1607" y="9143"/>
                  </a:cubicBezTo>
                  <a:cubicBezTo>
                    <a:pt x="1135" y="9143"/>
                    <a:pt x="788" y="8765"/>
                    <a:pt x="788" y="8292"/>
                  </a:cubicBezTo>
                  <a:cubicBezTo>
                    <a:pt x="788" y="7819"/>
                    <a:pt x="1135" y="7473"/>
                    <a:pt x="1607" y="7473"/>
                  </a:cubicBezTo>
                  <a:close/>
                  <a:moveTo>
                    <a:pt x="2922" y="0"/>
                  </a:moveTo>
                  <a:cubicBezTo>
                    <a:pt x="2874" y="0"/>
                    <a:pt x="2825" y="12"/>
                    <a:pt x="2773" y="38"/>
                  </a:cubicBezTo>
                  <a:cubicBezTo>
                    <a:pt x="2615" y="69"/>
                    <a:pt x="2489" y="227"/>
                    <a:pt x="2489" y="416"/>
                  </a:cubicBezTo>
                  <a:lnTo>
                    <a:pt x="2489" y="6906"/>
                  </a:lnTo>
                  <a:cubicBezTo>
                    <a:pt x="2237" y="6748"/>
                    <a:pt x="1985" y="6685"/>
                    <a:pt x="1670" y="6685"/>
                  </a:cubicBezTo>
                  <a:cubicBezTo>
                    <a:pt x="756" y="6685"/>
                    <a:pt x="0" y="7441"/>
                    <a:pt x="0" y="8355"/>
                  </a:cubicBezTo>
                  <a:cubicBezTo>
                    <a:pt x="0" y="9237"/>
                    <a:pt x="756" y="9993"/>
                    <a:pt x="1670" y="9993"/>
                  </a:cubicBezTo>
                  <a:cubicBezTo>
                    <a:pt x="2552" y="9993"/>
                    <a:pt x="3308" y="9237"/>
                    <a:pt x="3308" y="8355"/>
                  </a:cubicBezTo>
                  <a:lnTo>
                    <a:pt x="3308" y="1739"/>
                  </a:lnTo>
                  <a:cubicBezTo>
                    <a:pt x="3812" y="2369"/>
                    <a:pt x="4443" y="2999"/>
                    <a:pt x="5293" y="3566"/>
                  </a:cubicBezTo>
                  <a:cubicBezTo>
                    <a:pt x="5608" y="3818"/>
                    <a:pt x="5797" y="4165"/>
                    <a:pt x="5797" y="4574"/>
                  </a:cubicBezTo>
                  <a:cubicBezTo>
                    <a:pt x="5797" y="5236"/>
                    <a:pt x="5230" y="5835"/>
                    <a:pt x="4569" y="5835"/>
                  </a:cubicBezTo>
                  <a:cubicBezTo>
                    <a:pt x="4348" y="5835"/>
                    <a:pt x="4190" y="6024"/>
                    <a:pt x="4190" y="6244"/>
                  </a:cubicBezTo>
                  <a:cubicBezTo>
                    <a:pt x="4190" y="6496"/>
                    <a:pt x="4380" y="6654"/>
                    <a:pt x="4569" y="6654"/>
                  </a:cubicBezTo>
                  <a:cubicBezTo>
                    <a:pt x="5640" y="6654"/>
                    <a:pt x="6585" y="5740"/>
                    <a:pt x="6585" y="4606"/>
                  </a:cubicBezTo>
                  <a:cubicBezTo>
                    <a:pt x="6585" y="3944"/>
                    <a:pt x="6270" y="3314"/>
                    <a:pt x="5766" y="2936"/>
                  </a:cubicBezTo>
                  <a:cubicBezTo>
                    <a:pt x="4852" y="2275"/>
                    <a:pt x="4190" y="1613"/>
                    <a:pt x="3718" y="888"/>
                  </a:cubicBezTo>
                  <a:lnTo>
                    <a:pt x="3245" y="195"/>
                  </a:lnTo>
                  <a:cubicBezTo>
                    <a:pt x="3154" y="81"/>
                    <a:pt x="3046" y="0"/>
                    <a:pt x="292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61" name="Google Shape;7761;p75"/>
          <p:cNvGrpSpPr/>
          <p:nvPr/>
        </p:nvGrpSpPr>
        <p:grpSpPr>
          <a:xfrm>
            <a:off x="8330212" y="4251299"/>
            <a:ext cx="351969" cy="451383"/>
            <a:chOff x="-9119650" y="2056875"/>
            <a:chExt cx="273325" cy="350525"/>
          </a:xfrm>
        </p:grpSpPr>
        <p:sp>
          <p:nvSpPr>
            <p:cNvPr id="7762" name="Google Shape;7762;p75"/>
            <p:cNvSpPr/>
            <p:nvPr/>
          </p:nvSpPr>
          <p:spPr>
            <a:xfrm>
              <a:off x="-9023550" y="2056875"/>
              <a:ext cx="82725" cy="82725"/>
            </a:xfrm>
            <a:custGeom>
              <a:avLst/>
              <a:gdLst/>
              <a:ahLst/>
              <a:cxnLst/>
              <a:rect l="l" t="t" r="r" b="b"/>
              <a:pathLst>
                <a:path w="3309" h="3309" extrusionOk="0">
                  <a:moveTo>
                    <a:pt x="1670" y="819"/>
                  </a:moveTo>
                  <a:cubicBezTo>
                    <a:pt x="2143" y="819"/>
                    <a:pt x="2489" y="1166"/>
                    <a:pt x="2489" y="1639"/>
                  </a:cubicBezTo>
                  <a:cubicBezTo>
                    <a:pt x="2489" y="2080"/>
                    <a:pt x="2143" y="2489"/>
                    <a:pt x="1670" y="2489"/>
                  </a:cubicBezTo>
                  <a:cubicBezTo>
                    <a:pt x="1197" y="2489"/>
                    <a:pt x="819" y="2111"/>
                    <a:pt x="819" y="1639"/>
                  </a:cubicBezTo>
                  <a:cubicBezTo>
                    <a:pt x="819" y="1166"/>
                    <a:pt x="1197" y="819"/>
                    <a:pt x="1670" y="819"/>
                  </a:cubicBezTo>
                  <a:close/>
                  <a:moveTo>
                    <a:pt x="1670" y="0"/>
                  </a:moveTo>
                  <a:cubicBezTo>
                    <a:pt x="756" y="0"/>
                    <a:pt x="0" y="756"/>
                    <a:pt x="0" y="1639"/>
                  </a:cubicBezTo>
                  <a:cubicBezTo>
                    <a:pt x="0" y="2552"/>
                    <a:pt x="756" y="3308"/>
                    <a:pt x="1670" y="3308"/>
                  </a:cubicBezTo>
                  <a:cubicBezTo>
                    <a:pt x="2552" y="3308"/>
                    <a:pt x="3308" y="2552"/>
                    <a:pt x="3308" y="1639"/>
                  </a:cubicBezTo>
                  <a:cubicBezTo>
                    <a:pt x="3308" y="756"/>
                    <a:pt x="2552" y="0"/>
                    <a:pt x="1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3" name="Google Shape;7763;p75"/>
            <p:cNvSpPr/>
            <p:nvPr/>
          </p:nvSpPr>
          <p:spPr>
            <a:xfrm>
              <a:off x="-9119650" y="2137200"/>
              <a:ext cx="273325" cy="270200"/>
            </a:xfrm>
            <a:custGeom>
              <a:avLst/>
              <a:gdLst/>
              <a:ahLst/>
              <a:cxnLst/>
              <a:rect l="l" t="t" r="r" b="b"/>
              <a:pathLst>
                <a:path w="10933" h="10808" extrusionOk="0">
                  <a:moveTo>
                    <a:pt x="9641" y="915"/>
                  </a:moveTo>
                  <a:cubicBezTo>
                    <a:pt x="9862" y="915"/>
                    <a:pt x="10082" y="1104"/>
                    <a:pt x="10082" y="1356"/>
                  </a:cubicBezTo>
                  <a:cubicBezTo>
                    <a:pt x="10082" y="1576"/>
                    <a:pt x="9862" y="1734"/>
                    <a:pt x="9641" y="1734"/>
                  </a:cubicBezTo>
                  <a:lnTo>
                    <a:pt x="6333" y="1734"/>
                  </a:lnTo>
                  <a:cubicBezTo>
                    <a:pt x="6081" y="1734"/>
                    <a:pt x="5924" y="1923"/>
                    <a:pt x="5924" y="2175"/>
                  </a:cubicBezTo>
                  <a:lnTo>
                    <a:pt x="5924" y="9641"/>
                  </a:lnTo>
                  <a:cubicBezTo>
                    <a:pt x="5924" y="9893"/>
                    <a:pt x="5734" y="10051"/>
                    <a:pt x="5514" y="10051"/>
                  </a:cubicBezTo>
                  <a:cubicBezTo>
                    <a:pt x="5262" y="10051"/>
                    <a:pt x="5104" y="9862"/>
                    <a:pt x="5104" y="9641"/>
                  </a:cubicBezTo>
                  <a:lnTo>
                    <a:pt x="5104" y="5703"/>
                  </a:lnTo>
                  <a:cubicBezTo>
                    <a:pt x="5104" y="5459"/>
                    <a:pt x="4917" y="5293"/>
                    <a:pt x="4707" y="5293"/>
                  </a:cubicBezTo>
                  <a:cubicBezTo>
                    <a:pt x="4619" y="5293"/>
                    <a:pt x="4527" y="5323"/>
                    <a:pt x="4443" y="5388"/>
                  </a:cubicBezTo>
                  <a:lnTo>
                    <a:pt x="1639" y="7531"/>
                  </a:lnTo>
                  <a:cubicBezTo>
                    <a:pt x="1557" y="7585"/>
                    <a:pt x="1464" y="7616"/>
                    <a:pt x="1372" y="7616"/>
                  </a:cubicBezTo>
                  <a:cubicBezTo>
                    <a:pt x="1250" y="7616"/>
                    <a:pt x="1130" y="7562"/>
                    <a:pt x="1040" y="7436"/>
                  </a:cubicBezTo>
                  <a:cubicBezTo>
                    <a:pt x="946" y="7247"/>
                    <a:pt x="946" y="7026"/>
                    <a:pt x="1135" y="6869"/>
                  </a:cubicBezTo>
                  <a:lnTo>
                    <a:pt x="4947" y="4033"/>
                  </a:lnTo>
                  <a:cubicBezTo>
                    <a:pt x="5073" y="3939"/>
                    <a:pt x="5104" y="3844"/>
                    <a:pt x="5104" y="3718"/>
                  </a:cubicBezTo>
                  <a:lnTo>
                    <a:pt x="5104" y="2206"/>
                  </a:lnTo>
                  <a:cubicBezTo>
                    <a:pt x="5104" y="1986"/>
                    <a:pt x="4915" y="1765"/>
                    <a:pt x="4726" y="1765"/>
                  </a:cubicBezTo>
                  <a:lnTo>
                    <a:pt x="1418" y="1765"/>
                  </a:lnTo>
                  <a:cubicBezTo>
                    <a:pt x="1166" y="1765"/>
                    <a:pt x="1009" y="1576"/>
                    <a:pt x="1009" y="1387"/>
                  </a:cubicBezTo>
                  <a:cubicBezTo>
                    <a:pt x="1009" y="1135"/>
                    <a:pt x="1198" y="946"/>
                    <a:pt x="1418" y="946"/>
                  </a:cubicBezTo>
                  <a:lnTo>
                    <a:pt x="9641" y="946"/>
                  </a:lnTo>
                  <a:lnTo>
                    <a:pt x="9641" y="915"/>
                  </a:lnTo>
                  <a:close/>
                  <a:moveTo>
                    <a:pt x="1355" y="1"/>
                  </a:moveTo>
                  <a:cubicBezTo>
                    <a:pt x="694" y="95"/>
                    <a:pt x="158" y="631"/>
                    <a:pt x="158" y="1293"/>
                  </a:cubicBezTo>
                  <a:cubicBezTo>
                    <a:pt x="158" y="1986"/>
                    <a:pt x="694" y="2521"/>
                    <a:pt x="1355" y="2521"/>
                  </a:cubicBezTo>
                  <a:lnTo>
                    <a:pt x="4285" y="2521"/>
                  </a:lnTo>
                  <a:lnTo>
                    <a:pt x="4285" y="3403"/>
                  </a:lnTo>
                  <a:lnTo>
                    <a:pt x="662" y="6113"/>
                  </a:lnTo>
                  <a:cubicBezTo>
                    <a:pt x="95" y="6491"/>
                    <a:pt x="1" y="7278"/>
                    <a:pt x="410" y="7846"/>
                  </a:cubicBezTo>
                  <a:cubicBezTo>
                    <a:pt x="651" y="8160"/>
                    <a:pt x="1022" y="8333"/>
                    <a:pt x="1396" y="8333"/>
                  </a:cubicBezTo>
                  <a:cubicBezTo>
                    <a:pt x="1658" y="8333"/>
                    <a:pt x="1922" y="8248"/>
                    <a:pt x="2143" y="8066"/>
                  </a:cubicBezTo>
                  <a:lnTo>
                    <a:pt x="4317" y="6459"/>
                  </a:lnTo>
                  <a:lnTo>
                    <a:pt x="4317" y="9578"/>
                  </a:lnTo>
                  <a:cubicBezTo>
                    <a:pt x="4317" y="10240"/>
                    <a:pt x="4884" y="10807"/>
                    <a:pt x="5545" y="10807"/>
                  </a:cubicBezTo>
                  <a:cubicBezTo>
                    <a:pt x="6207" y="10807"/>
                    <a:pt x="6806" y="10240"/>
                    <a:pt x="6806" y="9578"/>
                  </a:cubicBezTo>
                  <a:lnTo>
                    <a:pt x="6806" y="2490"/>
                  </a:lnTo>
                  <a:lnTo>
                    <a:pt x="9673" y="2490"/>
                  </a:lnTo>
                  <a:cubicBezTo>
                    <a:pt x="10334" y="2490"/>
                    <a:pt x="10933" y="1923"/>
                    <a:pt x="10933" y="1261"/>
                  </a:cubicBezTo>
                  <a:cubicBezTo>
                    <a:pt x="10933" y="599"/>
                    <a:pt x="10397" y="1"/>
                    <a:pt x="96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64" name="Google Shape;7764;p75"/>
          <p:cNvSpPr/>
          <p:nvPr/>
        </p:nvSpPr>
        <p:spPr>
          <a:xfrm>
            <a:off x="10697123" y="4289866"/>
            <a:ext cx="453411" cy="455407"/>
          </a:xfrm>
          <a:custGeom>
            <a:avLst/>
            <a:gdLst/>
            <a:ahLst/>
            <a:cxnLst/>
            <a:rect l="l" t="t" r="r" b="b"/>
            <a:pathLst>
              <a:path w="14084" h="14146" extrusionOk="0">
                <a:moveTo>
                  <a:pt x="5829" y="5261"/>
                </a:moveTo>
                <a:lnTo>
                  <a:pt x="6963" y="6585"/>
                </a:lnTo>
                <a:lnTo>
                  <a:pt x="5829" y="6585"/>
                </a:lnTo>
                <a:lnTo>
                  <a:pt x="5829" y="5261"/>
                </a:lnTo>
                <a:close/>
                <a:moveTo>
                  <a:pt x="6333" y="788"/>
                </a:moveTo>
                <a:cubicBezTo>
                  <a:pt x="6648" y="788"/>
                  <a:pt x="6963" y="914"/>
                  <a:pt x="7215" y="1166"/>
                </a:cubicBezTo>
                <a:lnTo>
                  <a:pt x="7877" y="1827"/>
                </a:lnTo>
                <a:cubicBezTo>
                  <a:pt x="8287" y="2205"/>
                  <a:pt x="8791" y="2426"/>
                  <a:pt x="9326" y="2426"/>
                </a:cubicBezTo>
                <a:lnTo>
                  <a:pt x="10334" y="2426"/>
                </a:lnTo>
                <a:cubicBezTo>
                  <a:pt x="11469" y="2426"/>
                  <a:pt x="12414" y="3371"/>
                  <a:pt x="12414" y="4505"/>
                </a:cubicBezTo>
                <a:cubicBezTo>
                  <a:pt x="12414" y="5639"/>
                  <a:pt x="11469" y="6585"/>
                  <a:pt x="10334" y="6585"/>
                </a:cubicBezTo>
                <a:lnTo>
                  <a:pt x="8003" y="6585"/>
                </a:lnTo>
                <a:lnTo>
                  <a:pt x="5766" y="4033"/>
                </a:lnTo>
                <a:lnTo>
                  <a:pt x="5766" y="2048"/>
                </a:lnTo>
                <a:cubicBezTo>
                  <a:pt x="5766" y="1827"/>
                  <a:pt x="5546" y="1670"/>
                  <a:pt x="5357" y="1670"/>
                </a:cubicBezTo>
                <a:cubicBezTo>
                  <a:pt x="5168" y="1670"/>
                  <a:pt x="4979" y="1859"/>
                  <a:pt x="4979" y="2048"/>
                </a:cubicBezTo>
                <a:lnTo>
                  <a:pt x="4979" y="3087"/>
                </a:lnTo>
                <a:lnTo>
                  <a:pt x="2994" y="788"/>
                </a:lnTo>
                <a:close/>
                <a:moveTo>
                  <a:pt x="13233" y="7341"/>
                </a:moveTo>
                <a:lnTo>
                  <a:pt x="13233" y="9451"/>
                </a:lnTo>
                <a:lnTo>
                  <a:pt x="13264" y="9451"/>
                </a:lnTo>
                <a:cubicBezTo>
                  <a:pt x="13264" y="9704"/>
                  <a:pt x="13075" y="9893"/>
                  <a:pt x="12886" y="9893"/>
                </a:cubicBezTo>
                <a:lnTo>
                  <a:pt x="820" y="9893"/>
                </a:lnTo>
                <a:lnTo>
                  <a:pt x="820" y="9451"/>
                </a:lnTo>
                <a:cubicBezTo>
                  <a:pt x="820" y="9231"/>
                  <a:pt x="1009" y="9042"/>
                  <a:pt x="1230" y="9042"/>
                </a:cubicBezTo>
                <a:lnTo>
                  <a:pt x="2049" y="9042"/>
                </a:lnTo>
                <a:cubicBezTo>
                  <a:pt x="2269" y="9042"/>
                  <a:pt x="2427" y="8821"/>
                  <a:pt x="2427" y="8601"/>
                </a:cubicBezTo>
                <a:lnTo>
                  <a:pt x="2427" y="7782"/>
                </a:lnTo>
                <a:cubicBezTo>
                  <a:pt x="2427" y="7530"/>
                  <a:pt x="2647" y="7341"/>
                  <a:pt x="2836" y="7341"/>
                </a:cubicBezTo>
                <a:close/>
                <a:moveTo>
                  <a:pt x="2427" y="10712"/>
                </a:moveTo>
                <a:lnTo>
                  <a:pt x="2112" y="13232"/>
                </a:lnTo>
                <a:lnTo>
                  <a:pt x="2049" y="13232"/>
                </a:lnTo>
                <a:lnTo>
                  <a:pt x="1734" y="10712"/>
                </a:lnTo>
                <a:close/>
                <a:moveTo>
                  <a:pt x="9043" y="10712"/>
                </a:moveTo>
                <a:lnTo>
                  <a:pt x="8728" y="13232"/>
                </a:lnTo>
                <a:lnTo>
                  <a:pt x="8665" y="13232"/>
                </a:lnTo>
                <a:lnTo>
                  <a:pt x="8350" y="10712"/>
                </a:lnTo>
                <a:close/>
                <a:moveTo>
                  <a:pt x="12414" y="10712"/>
                </a:moveTo>
                <a:lnTo>
                  <a:pt x="12099" y="13232"/>
                </a:lnTo>
                <a:lnTo>
                  <a:pt x="12004" y="13232"/>
                </a:lnTo>
                <a:lnTo>
                  <a:pt x="11689" y="10712"/>
                </a:lnTo>
                <a:close/>
                <a:moveTo>
                  <a:pt x="2080" y="0"/>
                </a:moveTo>
                <a:cubicBezTo>
                  <a:pt x="1923" y="0"/>
                  <a:pt x="1765" y="95"/>
                  <a:pt x="1702" y="252"/>
                </a:cubicBezTo>
                <a:cubicBezTo>
                  <a:pt x="1608" y="410"/>
                  <a:pt x="1639" y="567"/>
                  <a:pt x="1765" y="662"/>
                </a:cubicBezTo>
                <a:lnTo>
                  <a:pt x="4947" y="4348"/>
                </a:lnTo>
                <a:lnTo>
                  <a:pt x="4947" y="6616"/>
                </a:lnTo>
                <a:lnTo>
                  <a:pt x="2868" y="6616"/>
                </a:lnTo>
                <a:cubicBezTo>
                  <a:pt x="2206" y="6616"/>
                  <a:pt x="1608" y="7183"/>
                  <a:pt x="1608" y="7876"/>
                </a:cubicBezTo>
                <a:lnTo>
                  <a:pt x="1608" y="8286"/>
                </a:lnTo>
                <a:lnTo>
                  <a:pt x="1230" y="8286"/>
                </a:lnTo>
                <a:cubicBezTo>
                  <a:pt x="536" y="8286"/>
                  <a:pt x="1" y="8821"/>
                  <a:pt x="1" y="9546"/>
                </a:cubicBezTo>
                <a:lnTo>
                  <a:pt x="1" y="10365"/>
                </a:lnTo>
                <a:cubicBezTo>
                  <a:pt x="1" y="10586"/>
                  <a:pt x="190" y="10806"/>
                  <a:pt x="379" y="10806"/>
                </a:cubicBezTo>
                <a:lnTo>
                  <a:pt x="851" y="10806"/>
                </a:lnTo>
                <a:lnTo>
                  <a:pt x="1230" y="13799"/>
                </a:lnTo>
                <a:cubicBezTo>
                  <a:pt x="1261" y="13988"/>
                  <a:pt x="1419" y="14146"/>
                  <a:pt x="1608" y="14146"/>
                </a:cubicBezTo>
                <a:lnTo>
                  <a:pt x="2427" y="14146"/>
                </a:lnTo>
                <a:cubicBezTo>
                  <a:pt x="2647" y="14146"/>
                  <a:pt x="2836" y="13988"/>
                  <a:pt x="2836" y="13799"/>
                </a:cubicBezTo>
                <a:lnTo>
                  <a:pt x="3183" y="10806"/>
                </a:lnTo>
                <a:lnTo>
                  <a:pt x="7436" y="10806"/>
                </a:lnTo>
                <a:lnTo>
                  <a:pt x="7783" y="13799"/>
                </a:lnTo>
                <a:cubicBezTo>
                  <a:pt x="7846" y="13988"/>
                  <a:pt x="8003" y="14146"/>
                  <a:pt x="8192" y="14146"/>
                </a:cubicBezTo>
                <a:lnTo>
                  <a:pt x="9011" y="14146"/>
                </a:lnTo>
                <a:cubicBezTo>
                  <a:pt x="9200" y="14146"/>
                  <a:pt x="9421" y="13988"/>
                  <a:pt x="9421" y="13799"/>
                </a:cubicBezTo>
                <a:lnTo>
                  <a:pt x="9767" y="10806"/>
                </a:lnTo>
                <a:lnTo>
                  <a:pt x="10713" y="10806"/>
                </a:lnTo>
                <a:lnTo>
                  <a:pt x="11059" y="13799"/>
                </a:lnTo>
                <a:cubicBezTo>
                  <a:pt x="11091" y="13988"/>
                  <a:pt x="11248" y="14146"/>
                  <a:pt x="11469" y="14146"/>
                </a:cubicBezTo>
                <a:lnTo>
                  <a:pt x="12288" y="14146"/>
                </a:lnTo>
                <a:cubicBezTo>
                  <a:pt x="12477" y="14146"/>
                  <a:pt x="12666" y="13988"/>
                  <a:pt x="12666" y="13799"/>
                </a:cubicBezTo>
                <a:lnTo>
                  <a:pt x="13075" y="10712"/>
                </a:lnTo>
                <a:cubicBezTo>
                  <a:pt x="13579" y="10554"/>
                  <a:pt x="13926" y="10082"/>
                  <a:pt x="13926" y="9546"/>
                </a:cubicBezTo>
                <a:lnTo>
                  <a:pt x="13926" y="7057"/>
                </a:lnTo>
                <a:cubicBezTo>
                  <a:pt x="14084" y="6742"/>
                  <a:pt x="13926" y="6585"/>
                  <a:pt x="13705" y="6585"/>
                </a:cubicBezTo>
                <a:lnTo>
                  <a:pt x="12414" y="6585"/>
                </a:lnTo>
                <a:cubicBezTo>
                  <a:pt x="12949" y="6080"/>
                  <a:pt x="13264" y="5324"/>
                  <a:pt x="13264" y="4505"/>
                </a:cubicBezTo>
                <a:cubicBezTo>
                  <a:pt x="13264" y="2898"/>
                  <a:pt x="11973" y="1607"/>
                  <a:pt x="10366" y="1607"/>
                </a:cubicBezTo>
                <a:lnTo>
                  <a:pt x="9389" y="1607"/>
                </a:lnTo>
                <a:cubicBezTo>
                  <a:pt x="9074" y="1607"/>
                  <a:pt x="8728" y="1512"/>
                  <a:pt x="8507" y="1260"/>
                </a:cubicBezTo>
                <a:lnTo>
                  <a:pt x="7846" y="599"/>
                </a:lnTo>
                <a:cubicBezTo>
                  <a:pt x="7436" y="189"/>
                  <a:pt x="6932" y="0"/>
                  <a:pt x="63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5" name="Google Shape;7765;p75"/>
          <p:cNvSpPr/>
          <p:nvPr/>
        </p:nvSpPr>
        <p:spPr>
          <a:xfrm>
            <a:off x="9524750" y="3705530"/>
            <a:ext cx="401644" cy="455407"/>
          </a:xfrm>
          <a:custGeom>
            <a:avLst/>
            <a:gdLst/>
            <a:ahLst/>
            <a:cxnLst/>
            <a:rect l="l" t="t" r="r" b="b"/>
            <a:pathLst>
              <a:path w="12476" h="14146" extrusionOk="0">
                <a:moveTo>
                  <a:pt x="2552" y="819"/>
                </a:moveTo>
                <a:cubicBezTo>
                  <a:pt x="3056" y="819"/>
                  <a:pt x="3403" y="1198"/>
                  <a:pt x="3403" y="1670"/>
                </a:cubicBezTo>
                <a:lnTo>
                  <a:pt x="1733" y="1670"/>
                </a:lnTo>
                <a:cubicBezTo>
                  <a:pt x="1733" y="1198"/>
                  <a:pt x="2079" y="819"/>
                  <a:pt x="2552" y="819"/>
                </a:cubicBezTo>
                <a:close/>
                <a:moveTo>
                  <a:pt x="10019" y="819"/>
                </a:moveTo>
                <a:cubicBezTo>
                  <a:pt x="10491" y="819"/>
                  <a:pt x="10838" y="1198"/>
                  <a:pt x="10838" y="1670"/>
                </a:cubicBezTo>
                <a:lnTo>
                  <a:pt x="9168" y="1670"/>
                </a:lnTo>
                <a:cubicBezTo>
                  <a:pt x="9168" y="1198"/>
                  <a:pt x="9578" y="819"/>
                  <a:pt x="10019" y="819"/>
                </a:cubicBezTo>
                <a:close/>
                <a:moveTo>
                  <a:pt x="8286" y="2489"/>
                </a:moveTo>
                <a:lnTo>
                  <a:pt x="7593" y="5829"/>
                </a:lnTo>
                <a:lnTo>
                  <a:pt x="4978" y="5829"/>
                </a:lnTo>
                <a:lnTo>
                  <a:pt x="4285" y="2489"/>
                </a:lnTo>
                <a:cubicBezTo>
                  <a:pt x="4978" y="2489"/>
                  <a:pt x="5545" y="2710"/>
                  <a:pt x="5986" y="3182"/>
                </a:cubicBezTo>
                <a:cubicBezTo>
                  <a:pt x="6065" y="3261"/>
                  <a:pt x="6175" y="3300"/>
                  <a:pt x="6285" y="3300"/>
                </a:cubicBezTo>
                <a:cubicBezTo>
                  <a:pt x="6396" y="3300"/>
                  <a:pt x="6506" y="3261"/>
                  <a:pt x="6585" y="3182"/>
                </a:cubicBezTo>
                <a:cubicBezTo>
                  <a:pt x="7026" y="2773"/>
                  <a:pt x="7656" y="2489"/>
                  <a:pt x="8286" y="2489"/>
                </a:cubicBezTo>
                <a:close/>
                <a:moveTo>
                  <a:pt x="7120" y="6648"/>
                </a:moveTo>
                <a:cubicBezTo>
                  <a:pt x="7341" y="6648"/>
                  <a:pt x="7530" y="6648"/>
                  <a:pt x="7719" y="6711"/>
                </a:cubicBezTo>
                <a:lnTo>
                  <a:pt x="8443" y="8066"/>
                </a:lnTo>
                <a:cubicBezTo>
                  <a:pt x="8506" y="8223"/>
                  <a:pt x="8664" y="8318"/>
                  <a:pt x="8790" y="8318"/>
                </a:cubicBezTo>
                <a:cubicBezTo>
                  <a:pt x="8853" y="8318"/>
                  <a:pt x="8916" y="8318"/>
                  <a:pt x="8979" y="8286"/>
                </a:cubicBezTo>
                <a:cubicBezTo>
                  <a:pt x="9168" y="8160"/>
                  <a:pt x="9262" y="7908"/>
                  <a:pt x="9168" y="7719"/>
                </a:cubicBezTo>
                <a:lnTo>
                  <a:pt x="8821" y="6963"/>
                </a:lnTo>
                <a:lnTo>
                  <a:pt x="8821" y="6963"/>
                </a:lnTo>
                <a:cubicBezTo>
                  <a:pt x="10523" y="7656"/>
                  <a:pt x="11751" y="9294"/>
                  <a:pt x="11751" y="11216"/>
                </a:cubicBezTo>
                <a:lnTo>
                  <a:pt x="11751" y="11626"/>
                </a:lnTo>
                <a:lnTo>
                  <a:pt x="977" y="11626"/>
                </a:lnTo>
                <a:lnTo>
                  <a:pt x="977" y="11216"/>
                </a:lnTo>
                <a:cubicBezTo>
                  <a:pt x="914" y="9294"/>
                  <a:pt x="2142" y="7593"/>
                  <a:pt x="3812" y="6963"/>
                </a:cubicBezTo>
                <a:lnTo>
                  <a:pt x="3812" y="6963"/>
                </a:lnTo>
                <a:lnTo>
                  <a:pt x="3466" y="7719"/>
                </a:lnTo>
                <a:cubicBezTo>
                  <a:pt x="3340" y="7908"/>
                  <a:pt x="3466" y="8160"/>
                  <a:pt x="3655" y="8286"/>
                </a:cubicBezTo>
                <a:cubicBezTo>
                  <a:pt x="3749" y="8318"/>
                  <a:pt x="3781" y="8318"/>
                  <a:pt x="3875" y="8318"/>
                </a:cubicBezTo>
                <a:cubicBezTo>
                  <a:pt x="4033" y="8318"/>
                  <a:pt x="4190" y="8223"/>
                  <a:pt x="4222" y="8066"/>
                </a:cubicBezTo>
                <a:lnTo>
                  <a:pt x="4915" y="6711"/>
                </a:lnTo>
                <a:cubicBezTo>
                  <a:pt x="5135" y="6648"/>
                  <a:pt x="5324" y="6648"/>
                  <a:pt x="5513" y="6648"/>
                </a:cubicBezTo>
                <a:lnTo>
                  <a:pt x="5923" y="6648"/>
                </a:lnTo>
                <a:lnTo>
                  <a:pt x="5923" y="8759"/>
                </a:lnTo>
                <a:cubicBezTo>
                  <a:pt x="5923" y="8979"/>
                  <a:pt x="6112" y="9168"/>
                  <a:pt x="6333" y="9168"/>
                </a:cubicBezTo>
                <a:cubicBezTo>
                  <a:pt x="6585" y="9168"/>
                  <a:pt x="6742" y="8979"/>
                  <a:pt x="6742" y="8759"/>
                </a:cubicBezTo>
                <a:lnTo>
                  <a:pt x="6742" y="6648"/>
                </a:lnTo>
                <a:close/>
                <a:moveTo>
                  <a:pt x="11657" y="12445"/>
                </a:moveTo>
                <a:lnTo>
                  <a:pt x="11657" y="13264"/>
                </a:lnTo>
                <a:lnTo>
                  <a:pt x="914" y="13264"/>
                </a:lnTo>
                <a:lnTo>
                  <a:pt x="914" y="12445"/>
                </a:lnTo>
                <a:close/>
                <a:moveTo>
                  <a:pt x="2520" y="0"/>
                </a:moveTo>
                <a:cubicBezTo>
                  <a:pt x="1607" y="0"/>
                  <a:pt x="882" y="756"/>
                  <a:pt x="882" y="1670"/>
                </a:cubicBezTo>
                <a:lnTo>
                  <a:pt x="882" y="2048"/>
                </a:lnTo>
                <a:cubicBezTo>
                  <a:pt x="882" y="2269"/>
                  <a:pt x="1071" y="2489"/>
                  <a:pt x="1260" y="2489"/>
                </a:cubicBezTo>
                <a:lnTo>
                  <a:pt x="3403" y="2489"/>
                </a:lnTo>
                <a:lnTo>
                  <a:pt x="4096" y="5986"/>
                </a:lnTo>
                <a:cubicBezTo>
                  <a:pt x="1764" y="6585"/>
                  <a:pt x="0" y="8696"/>
                  <a:pt x="0" y="11216"/>
                </a:cubicBezTo>
                <a:lnTo>
                  <a:pt x="0" y="13705"/>
                </a:lnTo>
                <a:cubicBezTo>
                  <a:pt x="0" y="13925"/>
                  <a:pt x="189" y="14146"/>
                  <a:pt x="410" y="14146"/>
                </a:cubicBezTo>
                <a:lnTo>
                  <a:pt x="11972" y="14146"/>
                </a:lnTo>
                <a:cubicBezTo>
                  <a:pt x="12224" y="14146"/>
                  <a:pt x="12413" y="13925"/>
                  <a:pt x="12413" y="13705"/>
                </a:cubicBezTo>
                <a:lnTo>
                  <a:pt x="12413" y="11216"/>
                </a:lnTo>
                <a:cubicBezTo>
                  <a:pt x="12476" y="8696"/>
                  <a:pt x="10743" y="6585"/>
                  <a:pt x="8443" y="5986"/>
                </a:cubicBezTo>
                <a:lnTo>
                  <a:pt x="9136" y="2489"/>
                </a:lnTo>
                <a:lnTo>
                  <a:pt x="11279" y="2489"/>
                </a:lnTo>
                <a:cubicBezTo>
                  <a:pt x="11499" y="2489"/>
                  <a:pt x="11657" y="2269"/>
                  <a:pt x="11657" y="2048"/>
                </a:cubicBezTo>
                <a:lnTo>
                  <a:pt x="11657" y="1670"/>
                </a:lnTo>
                <a:cubicBezTo>
                  <a:pt x="11657" y="756"/>
                  <a:pt x="10901" y="0"/>
                  <a:pt x="10019" y="0"/>
                </a:cubicBezTo>
                <a:cubicBezTo>
                  <a:pt x="9105" y="0"/>
                  <a:pt x="8349" y="756"/>
                  <a:pt x="8349" y="1670"/>
                </a:cubicBezTo>
                <a:lnTo>
                  <a:pt x="8286" y="1670"/>
                </a:lnTo>
                <a:cubicBezTo>
                  <a:pt x="7530" y="1670"/>
                  <a:pt x="6868" y="1891"/>
                  <a:pt x="6269" y="2332"/>
                </a:cubicBezTo>
                <a:cubicBezTo>
                  <a:pt x="5702" y="1891"/>
                  <a:pt x="5009" y="1670"/>
                  <a:pt x="4253" y="1670"/>
                </a:cubicBezTo>
                <a:lnTo>
                  <a:pt x="4190" y="1670"/>
                </a:lnTo>
                <a:cubicBezTo>
                  <a:pt x="4190" y="756"/>
                  <a:pt x="3434"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66" name="Google Shape;7766;p75"/>
          <p:cNvGrpSpPr/>
          <p:nvPr/>
        </p:nvGrpSpPr>
        <p:grpSpPr>
          <a:xfrm>
            <a:off x="10102387" y="4290506"/>
            <a:ext cx="457459" cy="455425"/>
            <a:chOff x="6001575" y="3119050"/>
            <a:chExt cx="315025" cy="313625"/>
          </a:xfrm>
        </p:grpSpPr>
        <p:sp>
          <p:nvSpPr>
            <p:cNvPr id="7767" name="Google Shape;7767;p75"/>
            <p:cNvSpPr/>
            <p:nvPr/>
          </p:nvSpPr>
          <p:spPr>
            <a:xfrm>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68" name="Google Shape;7768;p75"/>
            <p:cNvSpPr/>
            <p:nvPr/>
          </p:nvSpPr>
          <p:spPr>
            <a:xfrm flipH="1">
              <a:off x="6001575" y="3119050"/>
              <a:ext cx="315025" cy="313625"/>
            </a:xfrm>
            <a:custGeom>
              <a:avLst/>
              <a:gdLst/>
              <a:ahLst/>
              <a:cxnLst/>
              <a:rect l="l" t="t" r="r" b="b"/>
              <a:pathLst>
                <a:path w="12601" h="12545" extrusionOk="0">
                  <a:moveTo>
                    <a:pt x="1952" y="726"/>
                  </a:moveTo>
                  <a:cubicBezTo>
                    <a:pt x="2565" y="726"/>
                    <a:pt x="3039" y="1227"/>
                    <a:pt x="3039" y="1841"/>
                  </a:cubicBezTo>
                  <a:cubicBezTo>
                    <a:pt x="3039" y="2454"/>
                    <a:pt x="2565" y="2928"/>
                    <a:pt x="1952" y="2928"/>
                  </a:cubicBezTo>
                  <a:cubicBezTo>
                    <a:pt x="1366" y="2928"/>
                    <a:pt x="837" y="2454"/>
                    <a:pt x="837" y="1841"/>
                  </a:cubicBezTo>
                  <a:cubicBezTo>
                    <a:pt x="837" y="1227"/>
                    <a:pt x="1339" y="726"/>
                    <a:pt x="1952" y="726"/>
                  </a:cubicBezTo>
                  <a:close/>
                  <a:moveTo>
                    <a:pt x="10788" y="726"/>
                  </a:moveTo>
                  <a:cubicBezTo>
                    <a:pt x="11374" y="726"/>
                    <a:pt x="11903" y="1227"/>
                    <a:pt x="11903" y="1841"/>
                  </a:cubicBezTo>
                  <a:cubicBezTo>
                    <a:pt x="11903" y="2454"/>
                    <a:pt x="11402" y="2928"/>
                    <a:pt x="10788" y="2928"/>
                  </a:cubicBezTo>
                  <a:cubicBezTo>
                    <a:pt x="10175" y="2928"/>
                    <a:pt x="9701" y="2454"/>
                    <a:pt x="9701" y="1841"/>
                  </a:cubicBezTo>
                  <a:cubicBezTo>
                    <a:pt x="9673" y="1227"/>
                    <a:pt x="10175" y="726"/>
                    <a:pt x="10788" y="726"/>
                  </a:cubicBezTo>
                  <a:close/>
                  <a:moveTo>
                    <a:pt x="9673" y="4015"/>
                  </a:moveTo>
                  <a:lnTo>
                    <a:pt x="9673" y="7639"/>
                  </a:lnTo>
                  <a:lnTo>
                    <a:pt x="8893" y="6078"/>
                  </a:lnTo>
                  <a:cubicBezTo>
                    <a:pt x="8837" y="5938"/>
                    <a:pt x="8726" y="5855"/>
                    <a:pt x="8586" y="5855"/>
                  </a:cubicBezTo>
                  <a:lnTo>
                    <a:pt x="4126" y="5855"/>
                  </a:lnTo>
                  <a:cubicBezTo>
                    <a:pt x="3987" y="5855"/>
                    <a:pt x="3847" y="5938"/>
                    <a:pt x="3819" y="6078"/>
                  </a:cubicBezTo>
                  <a:lnTo>
                    <a:pt x="3039" y="7639"/>
                  </a:lnTo>
                  <a:lnTo>
                    <a:pt x="3039" y="4015"/>
                  </a:lnTo>
                  <a:cubicBezTo>
                    <a:pt x="4126" y="4266"/>
                    <a:pt x="5241" y="4405"/>
                    <a:pt x="6356" y="4405"/>
                  </a:cubicBezTo>
                  <a:cubicBezTo>
                    <a:pt x="7471" y="4405"/>
                    <a:pt x="8586" y="4266"/>
                    <a:pt x="9673" y="4015"/>
                  </a:cubicBezTo>
                  <a:close/>
                  <a:moveTo>
                    <a:pt x="6746" y="6579"/>
                  </a:moveTo>
                  <a:lnTo>
                    <a:pt x="8001" y="9562"/>
                  </a:lnTo>
                  <a:lnTo>
                    <a:pt x="4712" y="9562"/>
                  </a:lnTo>
                  <a:lnTo>
                    <a:pt x="5966" y="6579"/>
                  </a:lnTo>
                  <a:close/>
                  <a:moveTo>
                    <a:pt x="1617" y="3633"/>
                  </a:moveTo>
                  <a:lnTo>
                    <a:pt x="1617" y="3633"/>
                  </a:lnTo>
                  <a:cubicBezTo>
                    <a:pt x="1697" y="3652"/>
                    <a:pt x="1797" y="3652"/>
                    <a:pt x="1896" y="3652"/>
                  </a:cubicBezTo>
                  <a:cubicBezTo>
                    <a:pt x="2035" y="3708"/>
                    <a:pt x="2175" y="3764"/>
                    <a:pt x="2314" y="3792"/>
                  </a:cubicBezTo>
                  <a:lnTo>
                    <a:pt x="2314" y="10343"/>
                  </a:lnTo>
                  <a:cubicBezTo>
                    <a:pt x="2203" y="10315"/>
                    <a:pt x="2063" y="10315"/>
                    <a:pt x="1952" y="10315"/>
                  </a:cubicBezTo>
                  <a:cubicBezTo>
                    <a:pt x="1868" y="10315"/>
                    <a:pt x="1729" y="10315"/>
                    <a:pt x="1617" y="10343"/>
                  </a:cubicBezTo>
                  <a:lnTo>
                    <a:pt x="1617" y="3633"/>
                  </a:lnTo>
                  <a:close/>
                  <a:moveTo>
                    <a:pt x="11123" y="3625"/>
                  </a:moveTo>
                  <a:lnTo>
                    <a:pt x="11123" y="10343"/>
                  </a:lnTo>
                  <a:cubicBezTo>
                    <a:pt x="11011" y="10315"/>
                    <a:pt x="10872" y="10315"/>
                    <a:pt x="10733" y="10315"/>
                  </a:cubicBezTo>
                  <a:cubicBezTo>
                    <a:pt x="10593" y="10315"/>
                    <a:pt x="10482" y="10315"/>
                    <a:pt x="10398" y="10343"/>
                  </a:cubicBezTo>
                  <a:lnTo>
                    <a:pt x="10398" y="3792"/>
                  </a:lnTo>
                  <a:cubicBezTo>
                    <a:pt x="10537" y="3764"/>
                    <a:pt x="10677" y="3736"/>
                    <a:pt x="10816" y="3652"/>
                  </a:cubicBezTo>
                  <a:cubicBezTo>
                    <a:pt x="10928" y="3652"/>
                    <a:pt x="11011" y="3652"/>
                    <a:pt x="11123" y="3625"/>
                  </a:cubicBezTo>
                  <a:close/>
                  <a:moveTo>
                    <a:pt x="8363" y="6579"/>
                  </a:moveTo>
                  <a:lnTo>
                    <a:pt x="9701" y="9283"/>
                  </a:lnTo>
                  <a:lnTo>
                    <a:pt x="9701" y="10677"/>
                  </a:lnTo>
                  <a:cubicBezTo>
                    <a:pt x="9534" y="10761"/>
                    <a:pt x="9422" y="10900"/>
                    <a:pt x="9311" y="11012"/>
                  </a:cubicBezTo>
                  <a:lnTo>
                    <a:pt x="3429" y="11012"/>
                  </a:lnTo>
                  <a:cubicBezTo>
                    <a:pt x="3318" y="10872"/>
                    <a:pt x="3178" y="10761"/>
                    <a:pt x="3067" y="10677"/>
                  </a:cubicBezTo>
                  <a:lnTo>
                    <a:pt x="3067" y="9283"/>
                  </a:lnTo>
                  <a:lnTo>
                    <a:pt x="4405" y="6579"/>
                  </a:lnTo>
                  <a:lnTo>
                    <a:pt x="5213" y="6579"/>
                  </a:lnTo>
                  <a:lnTo>
                    <a:pt x="3847" y="9785"/>
                  </a:lnTo>
                  <a:cubicBezTo>
                    <a:pt x="3819" y="9897"/>
                    <a:pt x="3819" y="10036"/>
                    <a:pt x="3875" y="10147"/>
                  </a:cubicBezTo>
                  <a:cubicBezTo>
                    <a:pt x="3959" y="10259"/>
                    <a:pt x="4042" y="10315"/>
                    <a:pt x="4182" y="10315"/>
                  </a:cubicBezTo>
                  <a:lnTo>
                    <a:pt x="8586" y="10315"/>
                  </a:lnTo>
                  <a:cubicBezTo>
                    <a:pt x="8726" y="10315"/>
                    <a:pt x="8837" y="10259"/>
                    <a:pt x="8893" y="10147"/>
                  </a:cubicBezTo>
                  <a:cubicBezTo>
                    <a:pt x="8976" y="10036"/>
                    <a:pt x="8976" y="9897"/>
                    <a:pt x="8921" y="9785"/>
                  </a:cubicBezTo>
                  <a:lnTo>
                    <a:pt x="7583" y="6579"/>
                  </a:lnTo>
                  <a:close/>
                  <a:moveTo>
                    <a:pt x="1952" y="11012"/>
                  </a:moveTo>
                  <a:cubicBezTo>
                    <a:pt x="2454" y="11012"/>
                    <a:pt x="2844" y="11318"/>
                    <a:pt x="3011" y="11736"/>
                  </a:cubicBezTo>
                  <a:lnTo>
                    <a:pt x="920" y="11736"/>
                  </a:lnTo>
                  <a:cubicBezTo>
                    <a:pt x="1060" y="11318"/>
                    <a:pt x="1478" y="11012"/>
                    <a:pt x="1952" y="11012"/>
                  </a:cubicBezTo>
                  <a:close/>
                  <a:moveTo>
                    <a:pt x="10788" y="11012"/>
                  </a:moveTo>
                  <a:cubicBezTo>
                    <a:pt x="11262" y="11012"/>
                    <a:pt x="11652" y="11318"/>
                    <a:pt x="11820" y="11736"/>
                  </a:cubicBezTo>
                  <a:lnTo>
                    <a:pt x="9729" y="11736"/>
                  </a:lnTo>
                  <a:cubicBezTo>
                    <a:pt x="9868" y="11318"/>
                    <a:pt x="10287" y="11012"/>
                    <a:pt x="10788" y="11012"/>
                  </a:cubicBezTo>
                  <a:close/>
                  <a:moveTo>
                    <a:pt x="1868" y="1"/>
                  </a:moveTo>
                  <a:cubicBezTo>
                    <a:pt x="837" y="1"/>
                    <a:pt x="1" y="837"/>
                    <a:pt x="1" y="1841"/>
                  </a:cubicBezTo>
                  <a:cubicBezTo>
                    <a:pt x="1" y="2454"/>
                    <a:pt x="279" y="2956"/>
                    <a:pt x="753" y="3318"/>
                  </a:cubicBezTo>
                  <a:lnTo>
                    <a:pt x="753" y="10677"/>
                  </a:lnTo>
                  <a:cubicBezTo>
                    <a:pt x="279" y="11012"/>
                    <a:pt x="1" y="11541"/>
                    <a:pt x="1" y="12127"/>
                  </a:cubicBezTo>
                  <a:cubicBezTo>
                    <a:pt x="1" y="12322"/>
                    <a:pt x="196" y="12517"/>
                    <a:pt x="363" y="12517"/>
                  </a:cubicBezTo>
                  <a:lnTo>
                    <a:pt x="3290" y="12517"/>
                  </a:lnTo>
                  <a:cubicBezTo>
                    <a:pt x="3485" y="12517"/>
                    <a:pt x="3624" y="12322"/>
                    <a:pt x="3624" y="12127"/>
                  </a:cubicBezTo>
                  <a:cubicBezTo>
                    <a:pt x="3624" y="11987"/>
                    <a:pt x="3624" y="11876"/>
                    <a:pt x="3596" y="11764"/>
                  </a:cubicBezTo>
                  <a:lnTo>
                    <a:pt x="8865" y="11764"/>
                  </a:lnTo>
                  <a:cubicBezTo>
                    <a:pt x="8837" y="11876"/>
                    <a:pt x="8837" y="12015"/>
                    <a:pt x="8837" y="12154"/>
                  </a:cubicBezTo>
                  <a:cubicBezTo>
                    <a:pt x="8837" y="12377"/>
                    <a:pt x="9004" y="12545"/>
                    <a:pt x="9199" y="12545"/>
                  </a:cubicBezTo>
                  <a:lnTo>
                    <a:pt x="12126" y="12545"/>
                  </a:lnTo>
                  <a:cubicBezTo>
                    <a:pt x="12349" y="12545"/>
                    <a:pt x="12489" y="12377"/>
                    <a:pt x="12489" y="12154"/>
                  </a:cubicBezTo>
                  <a:cubicBezTo>
                    <a:pt x="12489" y="11569"/>
                    <a:pt x="12210" y="11039"/>
                    <a:pt x="11764" y="10705"/>
                  </a:cubicBezTo>
                  <a:lnTo>
                    <a:pt x="11764" y="3346"/>
                  </a:lnTo>
                  <a:cubicBezTo>
                    <a:pt x="12321" y="2956"/>
                    <a:pt x="12600" y="2454"/>
                    <a:pt x="12600" y="1841"/>
                  </a:cubicBezTo>
                  <a:cubicBezTo>
                    <a:pt x="12600" y="837"/>
                    <a:pt x="11764" y="1"/>
                    <a:pt x="10733" y="1"/>
                  </a:cubicBezTo>
                  <a:cubicBezTo>
                    <a:pt x="9729" y="1"/>
                    <a:pt x="8893" y="837"/>
                    <a:pt x="8893" y="1841"/>
                  </a:cubicBezTo>
                  <a:cubicBezTo>
                    <a:pt x="8893" y="2398"/>
                    <a:pt x="9172" y="2928"/>
                    <a:pt x="9562" y="3290"/>
                  </a:cubicBezTo>
                  <a:cubicBezTo>
                    <a:pt x="8503" y="3541"/>
                    <a:pt x="7401" y="3666"/>
                    <a:pt x="6300" y="3666"/>
                  </a:cubicBezTo>
                  <a:cubicBezTo>
                    <a:pt x="5199" y="3666"/>
                    <a:pt x="4098" y="3541"/>
                    <a:pt x="3039" y="3290"/>
                  </a:cubicBezTo>
                  <a:cubicBezTo>
                    <a:pt x="3457" y="2928"/>
                    <a:pt x="3708" y="2454"/>
                    <a:pt x="3708" y="1841"/>
                  </a:cubicBezTo>
                  <a:cubicBezTo>
                    <a:pt x="3708" y="837"/>
                    <a:pt x="2872" y="1"/>
                    <a:pt x="186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772"/>
        <p:cNvGrpSpPr/>
        <p:nvPr/>
      </p:nvGrpSpPr>
      <p:grpSpPr>
        <a:xfrm>
          <a:off x="0" y="0"/>
          <a:ext cx="0" cy="0"/>
          <a:chOff x="0" y="0"/>
          <a:chExt cx="0" cy="0"/>
        </a:xfrm>
      </p:grpSpPr>
      <p:sp>
        <p:nvSpPr>
          <p:cNvPr id="7773" name="Google Shape;7773;p76"/>
          <p:cNvSpPr/>
          <p:nvPr/>
        </p:nvSpPr>
        <p:spPr>
          <a:xfrm>
            <a:off x="1201981" y="2251279"/>
            <a:ext cx="481667" cy="631893"/>
          </a:xfrm>
          <a:custGeom>
            <a:avLst/>
            <a:gdLst/>
            <a:ahLst/>
            <a:cxnLst/>
            <a:rect l="l" t="t" r="r" b="b"/>
            <a:pathLst>
              <a:path w="9295" h="12194" extrusionOk="0">
                <a:moveTo>
                  <a:pt x="4568" y="662"/>
                </a:moveTo>
                <a:cubicBezTo>
                  <a:pt x="5167" y="662"/>
                  <a:pt x="5639" y="1135"/>
                  <a:pt x="5639" y="1734"/>
                </a:cubicBezTo>
                <a:cubicBezTo>
                  <a:pt x="5639" y="2301"/>
                  <a:pt x="5167" y="2773"/>
                  <a:pt x="4568" y="2773"/>
                </a:cubicBezTo>
                <a:cubicBezTo>
                  <a:pt x="3970" y="2773"/>
                  <a:pt x="3497" y="2301"/>
                  <a:pt x="3497" y="1734"/>
                </a:cubicBezTo>
                <a:cubicBezTo>
                  <a:pt x="3497" y="1135"/>
                  <a:pt x="3970" y="662"/>
                  <a:pt x="4568" y="662"/>
                </a:cubicBezTo>
                <a:close/>
                <a:moveTo>
                  <a:pt x="7750" y="3529"/>
                </a:moveTo>
                <a:cubicBezTo>
                  <a:pt x="8160" y="3529"/>
                  <a:pt x="8475" y="3844"/>
                  <a:pt x="8475" y="4254"/>
                </a:cubicBezTo>
                <a:cubicBezTo>
                  <a:pt x="8475" y="4632"/>
                  <a:pt x="8160" y="4947"/>
                  <a:pt x="7750" y="4947"/>
                </a:cubicBezTo>
                <a:cubicBezTo>
                  <a:pt x="7372" y="4947"/>
                  <a:pt x="7057" y="4632"/>
                  <a:pt x="7057" y="4254"/>
                </a:cubicBezTo>
                <a:cubicBezTo>
                  <a:pt x="7057" y="3876"/>
                  <a:pt x="7372" y="3529"/>
                  <a:pt x="7750" y="3529"/>
                </a:cubicBezTo>
                <a:close/>
                <a:moveTo>
                  <a:pt x="1733" y="4254"/>
                </a:moveTo>
                <a:cubicBezTo>
                  <a:pt x="2836" y="4254"/>
                  <a:pt x="3812" y="4979"/>
                  <a:pt x="4127" y="6018"/>
                </a:cubicBezTo>
                <a:lnTo>
                  <a:pt x="2678" y="5042"/>
                </a:lnTo>
                <a:cubicBezTo>
                  <a:pt x="2615" y="4991"/>
                  <a:pt x="2537" y="4966"/>
                  <a:pt x="2460" y="4966"/>
                </a:cubicBezTo>
                <a:cubicBezTo>
                  <a:pt x="2344" y="4966"/>
                  <a:pt x="2231" y="5023"/>
                  <a:pt x="2174" y="5136"/>
                </a:cubicBezTo>
                <a:cubicBezTo>
                  <a:pt x="2048" y="5294"/>
                  <a:pt x="2079" y="5546"/>
                  <a:pt x="2268" y="5672"/>
                </a:cubicBezTo>
                <a:lnTo>
                  <a:pt x="3434" y="6459"/>
                </a:lnTo>
                <a:lnTo>
                  <a:pt x="3182" y="6459"/>
                </a:lnTo>
                <a:cubicBezTo>
                  <a:pt x="1890" y="6396"/>
                  <a:pt x="819" y="5451"/>
                  <a:pt x="662" y="4254"/>
                </a:cubicBezTo>
                <a:close/>
                <a:moveTo>
                  <a:pt x="1355" y="7814"/>
                </a:moveTo>
                <a:cubicBezTo>
                  <a:pt x="1733" y="7814"/>
                  <a:pt x="2048" y="8129"/>
                  <a:pt x="2048" y="8539"/>
                </a:cubicBezTo>
                <a:cubicBezTo>
                  <a:pt x="2048" y="8917"/>
                  <a:pt x="1733" y="9232"/>
                  <a:pt x="1355" y="9232"/>
                </a:cubicBezTo>
                <a:cubicBezTo>
                  <a:pt x="945" y="9232"/>
                  <a:pt x="630" y="8917"/>
                  <a:pt x="630" y="8539"/>
                </a:cubicBezTo>
                <a:cubicBezTo>
                  <a:pt x="630" y="8129"/>
                  <a:pt x="945" y="7814"/>
                  <a:pt x="1355" y="7814"/>
                </a:cubicBezTo>
                <a:close/>
                <a:moveTo>
                  <a:pt x="8506" y="8476"/>
                </a:moveTo>
                <a:cubicBezTo>
                  <a:pt x="8317" y="9767"/>
                  <a:pt x="7246" y="10681"/>
                  <a:pt x="5986" y="10681"/>
                </a:cubicBezTo>
                <a:lnTo>
                  <a:pt x="5734" y="10681"/>
                </a:lnTo>
                <a:lnTo>
                  <a:pt x="6900" y="9893"/>
                </a:lnTo>
                <a:cubicBezTo>
                  <a:pt x="7057" y="9799"/>
                  <a:pt x="7089" y="9578"/>
                  <a:pt x="7026" y="9389"/>
                </a:cubicBezTo>
                <a:cubicBezTo>
                  <a:pt x="6940" y="9282"/>
                  <a:pt x="6809" y="9233"/>
                  <a:pt x="6675" y="9233"/>
                </a:cubicBezTo>
                <a:cubicBezTo>
                  <a:pt x="6613" y="9233"/>
                  <a:pt x="6550" y="9243"/>
                  <a:pt x="6490" y="9263"/>
                </a:cubicBezTo>
                <a:lnTo>
                  <a:pt x="5041" y="10271"/>
                </a:lnTo>
                <a:cubicBezTo>
                  <a:pt x="5356" y="9232"/>
                  <a:pt x="6301" y="8476"/>
                  <a:pt x="7435" y="8476"/>
                </a:cubicBezTo>
                <a:close/>
                <a:moveTo>
                  <a:pt x="4600" y="1"/>
                </a:moveTo>
                <a:cubicBezTo>
                  <a:pt x="3623" y="1"/>
                  <a:pt x="2836" y="788"/>
                  <a:pt x="2836" y="1765"/>
                </a:cubicBezTo>
                <a:cubicBezTo>
                  <a:pt x="2836" y="2616"/>
                  <a:pt x="3466" y="3340"/>
                  <a:pt x="4253" y="3498"/>
                </a:cubicBezTo>
                <a:lnTo>
                  <a:pt x="4253" y="4758"/>
                </a:lnTo>
                <a:cubicBezTo>
                  <a:pt x="3655" y="4033"/>
                  <a:pt x="2741" y="3561"/>
                  <a:pt x="1764" y="3561"/>
                </a:cubicBezTo>
                <a:lnTo>
                  <a:pt x="347" y="3561"/>
                </a:lnTo>
                <a:cubicBezTo>
                  <a:pt x="158" y="3561"/>
                  <a:pt x="0" y="3718"/>
                  <a:pt x="0" y="3939"/>
                </a:cubicBezTo>
                <a:cubicBezTo>
                  <a:pt x="0" y="5703"/>
                  <a:pt x="1449" y="7152"/>
                  <a:pt x="3214" y="7152"/>
                </a:cubicBezTo>
                <a:lnTo>
                  <a:pt x="4285" y="7152"/>
                </a:lnTo>
                <a:lnTo>
                  <a:pt x="4285" y="9988"/>
                </a:lnTo>
                <a:cubicBezTo>
                  <a:pt x="3844" y="9547"/>
                  <a:pt x="3340" y="9232"/>
                  <a:pt x="2804" y="9074"/>
                </a:cubicBezTo>
                <a:cubicBezTo>
                  <a:pt x="2836" y="8917"/>
                  <a:pt x="2867" y="8759"/>
                  <a:pt x="2867" y="8602"/>
                </a:cubicBezTo>
                <a:cubicBezTo>
                  <a:pt x="2867" y="7814"/>
                  <a:pt x="2237" y="7184"/>
                  <a:pt x="1449" y="7184"/>
                </a:cubicBezTo>
                <a:cubicBezTo>
                  <a:pt x="662" y="7184"/>
                  <a:pt x="32" y="7814"/>
                  <a:pt x="32" y="8602"/>
                </a:cubicBezTo>
                <a:cubicBezTo>
                  <a:pt x="32" y="9389"/>
                  <a:pt x="662" y="10019"/>
                  <a:pt x="1449" y="10019"/>
                </a:cubicBezTo>
                <a:cubicBezTo>
                  <a:pt x="1796" y="10019"/>
                  <a:pt x="2111" y="9893"/>
                  <a:pt x="2363" y="9673"/>
                </a:cubicBezTo>
                <a:cubicBezTo>
                  <a:pt x="3182" y="9862"/>
                  <a:pt x="3907" y="10429"/>
                  <a:pt x="4285" y="11153"/>
                </a:cubicBezTo>
                <a:lnTo>
                  <a:pt x="4285" y="11847"/>
                </a:lnTo>
                <a:cubicBezTo>
                  <a:pt x="4285" y="12036"/>
                  <a:pt x="4442" y="12193"/>
                  <a:pt x="4631" y="12193"/>
                </a:cubicBezTo>
                <a:cubicBezTo>
                  <a:pt x="4852" y="12193"/>
                  <a:pt x="5009" y="12036"/>
                  <a:pt x="5009" y="11847"/>
                </a:cubicBezTo>
                <a:lnTo>
                  <a:pt x="5009" y="11437"/>
                </a:lnTo>
                <a:lnTo>
                  <a:pt x="6049" y="11437"/>
                </a:lnTo>
                <a:cubicBezTo>
                  <a:pt x="7845" y="11437"/>
                  <a:pt x="9294" y="9988"/>
                  <a:pt x="9294" y="8224"/>
                </a:cubicBezTo>
                <a:cubicBezTo>
                  <a:pt x="9231" y="7971"/>
                  <a:pt x="9042" y="7814"/>
                  <a:pt x="8853" y="7814"/>
                </a:cubicBezTo>
                <a:lnTo>
                  <a:pt x="7435" y="7814"/>
                </a:lnTo>
                <a:cubicBezTo>
                  <a:pt x="6427" y="7814"/>
                  <a:pt x="5545" y="8287"/>
                  <a:pt x="4946" y="9011"/>
                </a:cubicBezTo>
                <a:lnTo>
                  <a:pt x="4946" y="6837"/>
                </a:lnTo>
                <a:cubicBezTo>
                  <a:pt x="5356" y="6081"/>
                  <a:pt x="6081" y="5546"/>
                  <a:pt x="6900" y="5357"/>
                </a:cubicBezTo>
                <a:cubicBezTo>
                  <a:pt x="7120" y="5546"/>
                  <a:pt x="7467" y="5703"/>
                  <a:pt x="7813" y="5703"/>
                </a:cubicBezTo>
                <a:cubicBezTo>
                  <a:pt x="8601" y="5703"/>
                  <a:pt x="9231" y="5073"/>
                  <a:pt x="9231" y="4285"/>
                </a:cubicBezTo>
                <a:cubicBezTo>
                  <a:pt x="9231" y="3498"/>
                  <a:pt x="8601" y="2868"/>
                  <a:pt x="7813" y="2868"/>
                </a:cubicBezTo>
                <a:cubicBezTo>
                  <a:pt x="7026" y="2868"/>
                  <a:pt x="6396" y="3498"/>
                  <a:pt x="6396" y="4285"/>
                </a:cubicBezTo>
                <a:cubicBezTo>
                  <a:pt x="6396" y="4443"/>
                  <a:pt x="6427" y="4600"/>
                  <a:pt x="6459" y="4758"/>
                </a:cubicBezTo>
                <a:cubicBezTo>
                  <a:pt x="5860" y="4947"/>
                  <a:pt x="5356" y="5262"/>
                  <a:pt x="4946" y="5672"/>
                </a:cubicBezTo>
                <a:lnTo>
                  <a:pt x="4946" y="3498"/>
                </a:lnTo>
                <a:cubicBezTo>
                  <a:pt x="5797" y="3340"/>
                  <a:pt x="6364" y="2584"/>
                  <a:pt x="6364" y="1765"/>
                </a:cubicBezTo>
                <a:cubicBezTo>
                  <a:pt x="6364" y="788"/>
                  <a:pt x="5576" y="1"/>
                  <a:pt x="460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74" name="Google Shape;7774;p76"/>
          <p:cNvGrpSpPr/>
          <p:nvPr/>
        </p:nvGrpSpPr>
        <p:grpSpPr>
          <a:xfrm>
            <a:off x="1126978" y="3030927"/>
            <a:ext cx="635105" cy="634951"/>
            <a:chOff x="-21298675" y="2414425"/>
            <a:chExt cx="306400" cy="306325"/>
          </a:xfrm>
        </p:grpSpPr>
        <p:sp>
          <p:nvSpPr>
            <p:cNvPr id="7775" name="Google Shape;7775;p76"/>
            <p:cNvSpPr/>
            <p:nvPr/>
          </p:nvSpPr>
          <p:spPr>
            <a:xfrm>
              <a:off x="-21083650" y="2444575"/>
              <a:ext cx="20500" cy="18525"/>
            </a:xfrm>
            <a:custGeom>
              <a:avLst/>
              <a:gdLst/>
              <a:ahLst/>
              <a:cxnLst/>
              <a:rect l="l" t="t" r="r" b="b"/>
              <a:pathLst>
                <a:path w="820" h="741" extrusionOk="0">
                  <a:moveTo>
                    <a:pt x="410" y="1"/>
                  </a:moveTo>
                  <a:cubicBezTo>
                    <a:pt x="323" y="1"/>
                    <a:pt x="237" y="40"/>
                    <a:pt x="158" y="119"/>
                  </a:cubicBezTo>
                  <a:cubicBezTo>
                    <a:pt x="0" y="276"/>
                    <a:pt x="0" y="465"/>
                    <a:pt x="158" y="623"/>
                  </a:cubicBezTo>
                  <a:cubicBezTo>
                    <a:pt x="237" y="702"/>
                    <a:pt x="331" y="741"/>
                    <a:pt x="422" y="741"/>
                  </a:cubicBezTo>
                  <a:cubicBezTo>
                    <a:pt x="512" y="741"/>
                    <a:pt x="599" y="702"/>
                    <a:pt x="662" y="623"/>
                  </a:cubicBezTo>
                  <a:cubicBezTo>
                    <a:pt x="819" y="465"/>
                    <a:pt x="819" y="276"/>
                    <a:pt x="662" y="119"/>
                  </a:cubicBezTo>
                  <a:cubicBezTo>
                    <a:pt x="583" y="40"/>
                    <a:pt x="496" y="1"/>
                    <a:pt x="41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6" name="Google Shape;7776;p76"/>
            <p:cNvSpPr/>
            <p:nvPr/>
          </p:nvSpPr>
          <p:spPr>
            <a:xfrm>
              <a:off x="-21298675" y="2414425"/>
              <a:ext cx="306400" cy="306325"/>
            </a:xfrm>
            <a:custGeom>
              <a:avLst/>
              <a:gdLst/>
              <a:ahLst/>
              <a:cxnLst/>
              <a:rect l="l" t="t" r="r" b="b"/>
              <a:pathLst>
                <a:path w="12256" h="12253" extrusionOk="0">
                  <a:moveTo>
                    <a:pt x="9420" y="695"/>
                  </a:moveTo>
                  <a:cubicBezTo>
                    <a:pt x="9704" y="695"/>
                    <a:pt x="9924" y="695"/>
                    <a:pt x="10176" y="726"/>
                  </a:cubicBezTo>
                  <a:cubicBezTo>
                    <a:pt x="10429" y="789"/>
                    <a:pt x="10555" y="1136"/>
                    <a:pt x="10365" y="1325"/>
                  </a:cubicBezTo>
                  <a:cubicBezTo>
                    <a:pt x="10208" y="1482"/>
                    <a:pt x="10208" y="1671"/>
                    <a:pt x="10365" y="1829"/>
                  </a:cubicBezTo>
                  <a:cubicBezTo>
                    <a:pt x="10444" y="1908"/>
                    <a:pt x="10531" y="1947"/>
                    <a:pt x="10618" y="1947"/>
                  </a:cubicBezTo>
                  <a:cubicBezTo>
                    <a:pt x="10704" y="1947"/>
                    <a:pt x="10791" y="1908"/>
                    <a:pt x="10870" y="1829"/>
                  </a:cubicBezTo>
                  <a:cubicBezTo>
                    <a:pt x="10942" y="1767"/>
                    <a:pt x="11027" y="1739"/>
                    <a:pt x="11111" y="1739"/>
                  </a:cubicBezTo>
                  <a:cubicBezTo>
                    <a:pt x="11283" y="1739"/>
                    <a:pt x="11447" y="1858"/>
                    <a:pt x="11468" y="2049"/>
                  </a:cubicBezTo>
                  <a:cubicBezTo>
                    <a:pt x="11594" y="2711"/>
                    <a:pt x="11563" y="3719"/>
                    <a:pt x="11248" y="4727"/>
                  </a:cubicBezTo>
                  <a:cubicBezTo>
                    <a:pt x="11060" y="4761"/>
                    <a:pt x="10872" y="4778"/>
                    <a:pt x="10684" y="4778"/>
                  </a:cubicBezTo>
                  <a:cubicBezTo>
                    <a:pt x="9833" y="4778"/>
                    <a:pt x="9006" y="4433"/>
                    <a:pt x="8412" y="3814"/>
                  </a:cubicBezTo>
                  <a:cubicBezTo>
                    <a:pt x="7656" y="3058"/>
                    <a:pt x="7341" y="1986"/>
                    <a:pt x="7499" y="978"/>
                  </a:cubicBezTo>
                  <a:cubicBezTo>
                    <a:pt x="8129" y="789"/>
                    <a:pt x="8822" y="695"/>
                    <a:pt x="9420" y="695"/>
                  </a:cubicBezTo>
                  <a:close/>
                  <a:moveTo>
                    <a:pt x="5102" y="1271"/>
                  </a:moveTo>
                  <a:cubicBezTo>
                    <a:pt x="5187" y="1271"/>
                    <a:pt x="5273" y="1278"/>
                    <a:pt x="5356" y="1293"/>
                  </a:cubicBezTo>
                  <a:cubicBezTo>
                    <a:pt x="5293" y="1356"/>
                    <a:pt x="5167" y="1451"/>
                    <a:pt x="5104" y="1514"/>
                  </a:cubicBezTo>
                  <a:cubicBezTo>
                    <a:pt x="4348" y="2270"/>
                    <a:pt x="3781" y="3373"/>
                    <a:pt x="3466" y="4822"/>
                  </a:cubicBezTo>
                  <a:cubicBezTo>
                    <a:pt x="3182" y="4475"/>
                    <a:pt x="3088" y="4034"/>
                    <a:pt x="3088" y="3562"/>
                  </a:cubicBezTo>
                  <a:cubicBezTo>
                    <a:pt x="3088" y="2900"/>
                    <a:pt x="3340" y="2270"/>
                    <a:pt x="3844" y="1797"/>
                  </a:cubicBezTo>
                  <a:cubicBezTo>
                    <a:pt x="4163" y="1478"/>
                    <a:pt x="4639" y="1271"/>
                    <a:pt x="5102" y="1271"/>
                  </a:cubicBezTo>
                  <a:close/>
                  <a:moveTo>
                    <a:pt x="6711" y="1293"/>
                  </a:moveTo>
                  <a:lnTo>
                    <a:pt x="6711" y="1293"/>
                  </a:lnTo>
                  <a:cubicBezTo>
                    <a:pt x="6616" y="2427"/>
                    <a:pt x="7026" y="3530"/>
                    <a:pt x="7845" y="4318"/>
                  </a:cubicBezTo>
                  <a:cubicBezTo>
                    <a:pt x="8562" y="5035"/>
                    <a:pt x="9540" y="5465"/>
                    <a:pt x="10565" y="5465"/>
                  </a:cubicBezTo>
                  <a:cubicBezTo>
                    <a:pt x="10666" y="5465"/>
                    <a:pt x="10768" y="5460"/>
                    <a:pt x="10870" y="5452"/>
                  </a:cubicBezTo>
                  <a:lnTo>
                    <a:pt x="10870" y="5452"/>
                  </a:lnTo>
                  <a:cubicBezTo>
                    <a:pt x="10681" y="5893"/>
                    <a:pt x="10429" y="6303"/>
                    <a:pt x="10082" y="6618"/>
                  </a:cubicBezTo>
                  <a:cubicBezTo>
                    <a:pt x="8444" y="8256"/>
                    <a:pt x="4852" y="8413"/>
                    <a:pt x="3749" y="8413"/>
                  </a:cubicBezTo>
                  <a:cubicBezTo>
                    <a:pt x="3749" y="7311"/>
                    <a:pt x="3907" y="3719"/>
                    <a:pt x="5545" y="2081"/>
                  </a:cubicBezTo>
                  <a:cubicBezTo>
                    <a:pt x="5860" y="1766"/>
                    <a:pt x="6270" y="1482"/>
                    <a:pt x="6711" y="1293"/>
                  </a:cubicBezTo>
                  <a:close/>
                  <a:moveTo>
                    <a:pt x="10838" y="6838"/>
                  </a:moveTo>
                  <a:cubicBezTo>
                    <a:pt x="10964" y="7405"/>
                    <a:pt x="10775" y="7941"/>
                    <a:pt x="10365" y="8382"/>
                  </a:cubicBezTo>
                  <a:cubicBezTo>
                    <a:pt x="9888" y="8860"/>
                    <a:pt x="9239" y="9101"/>
                    <a:pt x="8593" y="9101"/>
                  </a:cubicBezTo>
                  <a:cubicBezTo>
                    <a:pt x="8132" y="9101"/>
                    <a:pt x="7672" y="8978"/>
                    <a:pt x="7278" y="8728"/>
                  </a:cubicBezTo>
                  <a:cubicBezTo>
                    <a:pt x="8759" y="8382"/>
                    <a:pt x="9893" y="7878"/>
                    <a:pt x="10586" y="7122"/>
                  </a:cubicBezTo>
                  <a:cubicBezTo>
                    <a:pt x="10681" y="7027"/>
                    <a:pt x="10775" y="6933"/>
                    <a:pt x="10838" y="6838"/>
                  </a:cubicBezTo>
                  <a:close/>
                  <a:moveTo>
                    <a:pt x="1902" y="8486"/>
                  </a:moveTo>
                  <a:cubicBezTo>
                    <a:pt x="2355" y="8486"/>
                    <a:pt x="2810" y="8652"/>
                    <a:pt x="3151" y="9012"/>
                  </a:cubicBezTo>
                  <a:cubicBezTo>
                    <a:pt x="3718" y="9611"/>
                    <a:pt x="3812" y="10461"/>
                    <a:pt x="3466" y="11123"/>
                  </a:cubicBezTo>
                  <a:cubicBezTo>
                    <a:pt x="3151" y="10619"/>
                    <a:pt x="2804" y="10178"/>
                    <a:pt x="2426" y="9768"/>
                  </a:cubicBezTo>
                  <a:cubicBezTo>
                    <a:pt x="2017" y="9358"/>
                    <a:pt x="1544" y="9012"/>
                    <a:pt x="1040" y="8697"/>
                  </a:cubicBezTo>
                  <a:cubicBezTo>
                    <a:pt x="1304" y="8559"/>
                    <a:pt x="1603" y="8486"/>
                    <a:pt x="1902" y="8486"/>
                  </a:cubicBezTo>
                  <a:close/>
                  <a:moveTo>
                    <a:pt x="9468" y="0"/>
                  </a:moveTo>
                  <a:cubicBezTo>
                    <a:pt x="8905" y="0"/>
                    <a:pt x="8299" y="77"/>
                    <a:pt x="7719" y="222"/>
                  </a:cubicBezTo>
                  <a:cubicBezTo>
                    <a:pt x="7247" y="348"/>
                    <a:pt x="6711" y="537"/>
                    <a:pt x="6112" y="852"/>
                  </a:cubicBezTo>
                  <a:cubicBezTo>
                    <a:pt x="5784" y="699"/>
                    <a:pt x="5436" y="625"/>
                    <a:pt x="5090" y="625"/>
                  </a:cubicBezTo>
                  <a:cubicBezTo>
                    <a:pt x="4442" y="625"/>
                    <a:pt x="3802" y="884"/>
                    <a:pt x="3308" y="1356"/>
                  </a:cubicBezTo>
                  <a:cubicBezTo>
                    <a:pt x="2741" y="1955"/>
                    <a:pt x="2363" y="2774"/>
                    <a:pt x="2363" y="3656"/>
                  </a:cubicBezTo>
                  <a:cubicBezTo>
                    <a:pt x="2363" y="4475"/>
                    <a:pt x="2678" y="5263"/>
                    <a:pt x="3277" y="5893"/>
                  </a:cubicBezTo>
                  <a:cubicBezTo>
                    <a:pt x="3151" y="6649"/>
                    <a:pt x="3088" y="7405"/>
                    <a:pt x="3088" y="8130"/>
                  </a:cubicBezTo>
                  <a:cubicBezTo>
                    <a:pt x="2722" y="7947"/>
                    <a:pt x="2319" y="7854"/>
                    <a:pt x="1916" y="7854"/>
                  </a:cubicBezTo>
                  <a:cubicBezTo>
                    <a:pt x="1278" y="7854"/>
                    <a:pt x="641" y="8088"/>
                    <a:pt x="158" y="8571"/>
                  </a:cubicBezTo>
                  <a:cubicBezTo>
                    <a:pt x="0" y="8728"/>
                    <a:pt x="63" y="9043"/>
                    <a:pt x="252" y="9169"/>
                  </a:cubicBezTo>
                  <a:cubicBezTo>
                    <a:pt x="1481" y="9800"/>
                    <a:pt x="2489" y="10808"/>
                    <a:pt x="3119" y="12036"/>
                  </a:cubicBezTo>
                  <a:cubicBezTo>
                    <a:pt x="3191" y="12180"/>
                    <a:pt x="3315" y="12252"/>
                    <a:pt x="3443" y="12252"/>
                  </a:cubicBezTo>
                  <a:cubicBezTo>
                    <a:pt x="3539" y="12252"/>
                    <a:pt x="3637" y="12212"/>
                    <a:pt x="3718" y="12131"/>
                  </a:cubicBezTo>
                  <a:cubicBezTo>
                    <a:pt x="4506" y="11343"/>
                    <a:pt x="4663" y="10146"/>
                    <a:pt x="4159" y="9201"/>
                  </a:cubicBezTo>
                  <a:cubicBezTo>
                    <a:pt x="4884" y="9201"/>
                    <a:pt x="5671" y="9138"/>
                    <a:pt x="6396" y="9012"/>
                  </a:cubicBezTo>
                  <a:cubicBezTo>
                    <a:pt x="7026" y="9611"/>
                    <a:pt x="7814" y="9926"/>
                    <a:pt x="8633" y="9926"/>
                  </a:cubicBezTo>
                  <a:cubicBezTo>
                    <a:pt x="9452" y="9926"/>
                    <a:pt x="10271" y="9611"/>
                    <a:pt x="10933" y="8980"/>
                  </a:cubicBezTo>
                  <a:cubicBezTo>
                    <a:pt x="11657" y="8224"/>
                    <a:pt x="11878" y="7122"/>
                    <a:pt x="11437" y="6176"/>
                  </a:cubicBezTo>
                  <a:cubicBezTo>
                    <a:pt x="11752" y="5609"/>
                    <a:pt x="11941" y="5042"/>
                    <a:pt x="12067" y="4570"/>
                  </a:cubicBezTo>
                  <a:cubicBezTo>
                    <a:pt x="12224" y="3625"/>
                    <a:pt x="12256" y="2616"/>
                    <a:pt x="12130" y="1923"/>
                  </a:cubicBezTo>
                  <a:cubicBezTo>
                    <a:pt x="12067" y="1419"/>
                    <a:pt x="11626" y="1041"/>
                    <a:pt x="11153" y="1041"/>
                  </a:cubicBezTo>
                  <a:cubicBezTo>
                    <a:pt x="11122" y="537"/>
                    <a:pt x="10775" y="159"/>
                    <a:pt x="10302" y="65"/>
                  </a:cubicBezTo>
                  <a:cubicBezTo>
                    <a:pt x="10043" y="21"/>
                    <a:pt x="9761" y="0"/>
                    <a:pt x="946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77" name="Google Shape;7777;p76"/>
            <p:cNvSpPr/>
            <p:nvPr/>
          </p:nvSpPr>
          <p:spPr>
            <a:xfrm>
              <a:off x="-21171875" y="2521375"/>
              <a:ext cx="73275" cy="66100"/>
            </a:xfrm>
            <a:custGeom>
              <a:avLst/>
              <a:gdLst/>
              <a:ahLst/>
              <a:cxnLst/>
              <a:rect l="l" t="t" r="r" b="b"/>
              <a:pathLst>
                <a:path w="2931" h="2644" extrusionOk="0">
                  <a:moveTo>
                    <a:pt x="1499" y="0"/>
                  </a:moveTo>
                  <a:cubicBezTo>
                    <a:pt x="1471" y="0"/>
                    <a:pt x="1444" y="3"/>
                    <a:pt x="1418" y="8"/>
                  </a:cubicBezTo>
                  <a:lnTo>
                    <a:pt x="1009" y="166"/>
                  </a:lnTo>
                  <a:cubicBezTo>
                    <a:pt x="253" y="386"/>
                    <a:pt x="1" y="1394"/>
                    <a:pt x="568" y="1930"/>
                  </a:cubicBezTo>
                  <a:lnTo>
                    <a:pt x="977" y="2340"/>
                  </a:lnTo>
                  <a:cubicBezTo>
                    <a:pt x="1182" y="2544"/>
                    <a:pt x="1451" y="2643"/>
                    <a:pt x="1720" y="2643"/>
                  </a:cubicBezTo>
                  <a:cubicBezTo>
                    <a:pt x="2154" y="2643"/>
                    <a:pt x="2586" y="2385"/>
                    <a:pt x="2742" y="1898"/>
                  </a:cubicBezTo>
                  <a:lnTo>
                    <a:pt x="2899" y="1457"/>
                  </a:lnTo>
                  <a:cubicBezTo>
                    <a:pt x="2931" y="1268"/>
                    <a:pt x="2805" y="1016"/>
                    <a:pt x="2616" y="985"/>
                  </a:cubicBezTo>
                  <a:cubicBezTo>
                    <a:pt x="2577" y="972"/>
                    <a:pt x="2537" y="966"/>
                    <a:pt x="2498" y="966"/>
                  </a:cubicBezTo>
                  <a:cubicBezTo>
                    <a:pt x="2344" y="966"/>
                    <a:pt x="2200" y="1061"/>
                    <a:pt x="2175" y="1237"/>
                  </a:cubicBezTo>
                  <a:lnTo>
                    <a:pt x="2017" y="1646"/>
                  </a:lnTo>
                  <a:cubicBezTo>
                    <a:pt x="1977" y="1806"/>
                    <a:pt x="1836" y="1890"/>
                    <a:pt x="1682" y="1890"/>
                  </a:cubicBezTo>
                  <a:cubicBezTo>
                    <a:pt x="1593" y="1890"/>
                    <a:pt x="1499" y="1862"/>
                    <a:pt x="1418" y="1804"/>
                  </a:cubicBezTo>
                  <a:lnTo>
                    <a:pt x="1040" y="1426"/>
                  </a:lnTo>
                  <a:cubicBezTo>
                    <a:pt x="851" y="1237"/>
                    <a:pt x="914" y="922"/>
                    <a:pt x="1198" y="827"/>
                  </a:cubicBezTo>
                  <a:lnTo>
                    <a:pt x="1639" y="670"/>
                  </a:lnTo>
                  <a:cubicBezTo>
                    <a:pt x="1828" y="607"/>
                    <a:pt x="1891" y="386"/>
                    <a:pt x="1859" y="229"/>
                  </a:cubicBezTo>
                  <a:cubicBezTo>
                    <a:pt x="1807" y="70"/>
                    <a:pt x="1643" y="0"/>
                    <a:pt x="14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778" name="Google Shape;7778;p76"/>
          <p:cNvGrpSpPr/>
          <p:nvPr/>
        </p:nvGrpSpPr>
        <p:grpSpPr>
          <a:xfrm>
            <a:off x="1126149" y="3820171"/>
            <a:ext cx="636764" cy="593909"/>
            <a:chOff x="-21299475" y="2798025"/>
            <a:chExt cx="307200" cy="286525"/>
          </a:xfrm>
        </p:grpSpPr>
        <p:sp>
          <p:nvSpPr>
            <p:cNvPr id="7779" name="Google Shape;7779;p76"/>
            <p:cNvSpPr/>
            <p:nvPr/>
          </p:nvSpPr>
          <p:spPr>
            <a:xfrm>
              <a:off x="-21153750" y="2798025"/>
              <a:ext cx="17350" cy="53575"/>
            </a:xfrm>
            <a:custGeom>
              <a:avLst/>
              <a:gdLst/>
              <a:ahLst/>
              <a:cxnLst/>
              <a:rect l="l" t="t" r="r" b="b"/>
              <a:pathLst>
                <a:path w="694" h="2143" extrusionOk="0">
                  <a:moveTo>
                    <a:pt x="347" y="0"/>
                  </a:moveTo>
                  <a:cubicBezTo>
                    <a:pt x="158" y="0"/>
                    <a:pt x="0" y="158"/>
                    <a:pt x="0" y="347"/>
                  </a:cubicBezTo>
                  <a:lnTo>
                    <a:pt x="0" y="1765"/>
                  </a:lnTo>
                  <a:cubicBezTo>
                    <a:pt x="0" y="1985"/>
                    <a:pt x="158" y="2143"/>
                    <a:pt x="347" y="2143"/>
                  </a:cubicBezTo>
                  <a:cubicBezTo>
                    <a:pt x="536" y="2143"/>
                    <a:pt x="693" y="1985"/>
                    <a:pt x="693" y="1765"/>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0" name="Google Shape;7780;p76"/>
            <p:cNvSpPr/>
            <p:nvPr/>
          </p:nvSpPr>
          <p:spPr>
            <a:xfrm>
              <a:off x="-21256925" y="2838400"/>
              <a:ext cx="45700" cy="44525"/>
            </a:xfrm>
            <a:custGeom>
              <a:avLst/>
              <a:gdLst/>
              <a:ahLst/>
              <a:cxnLst/>
              <a:rect l="l" t="t" r="r" b="b"/>
              <a:pathLst>
                <a:path w="1828" h="1781" extrusionOk="0">
                  <a:moveTo>
                    <a:pt x="410" y="0"/>
                  </a:moveTo>
                  <a:cubicBezTo>
                    <a:pt x="323" y="0"/>
                    <a:pt x="236" y="39"/>
                    <a:pt x="158" y="118"/>
                  </a:cubicBezTo>
                  <a:cubicBezTo>
                    <a:pt x="0" y="276"/>
                    <a:pt x="0" y="465"/>
                    <a:pt x="158" y="622"/>
                  </a:cubicBezTo>
                  <a:lnTo>
                    <a:pt x="1166" y="1662"/>
                  </a:lnTo>
                  <a:cubicBezTo>
                    <a:pt x="1245" y="1741"/>
                    <a:pt x="1331" y="1780"/>
                    <a:pt x="1418" y="1780"/>
                  </a:cubicBezTo>
                  <a:cubicBezTo>
                    <a:pt x="1504" y="1780"/>
                    <a:pt x="1591" y="1741"/>
                    <a:pt x="1670" y="1662"/>
                  </a:cubicBezTo>
                  <a:cubicBezTo>
                    <a:pt x="1827" y="1504"/>
                    <a:pt x="1827" y="1315"/>
                    <a:pt x="1670" y="1158"/>
                  </a:cubicBezTo>
                  <a:lnTo>
                    <a:pt x="662" y="118"/>
                  </a:lnTo>
                  <a:cubicBezTo>
                    <a:pt x="583" y="39"/>
                    <a:pt x="496"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1" name="Google Shape;7781;p76"/>
            <p:cNvSpPr/>
            <p:nvPr/>
          </p:nvSpPr>
          <p:spPr>
            <a:xfrm>
              <a:off x="-21079725" y="2838400"/>
              <a:ext cx="45700" cy="44525"/>
            </a:xfrm>
            <a:custGeom>
              <a:avLst/>
              <a:gdLst/>
              <a:ahLst/>
              <a:cxnLst/>
              <a:rect l="l" t="t" r="r" b="b"/>
              <a:pathLst>
                <a:path w="1828" h="1781" extrusionOk="0">
                  <a:moveTo>
                    <a:pt x="1418" y="0"/>
                  </a:moveTo>
                  <a:cubicBezTo>
                    <a:pt x="1332" y="0"/>
                    <a:pt x="1245" y="39"/>
                    <a:pt x="1166" y="118"/>
                  </a:cubicBezTo>
                  <a:lnTo>
                    <a:pt x="158" y="1158"/>
                  </a:lnTo>
                  <a:cubicBezTo>
                    <a:pt x="1" y="1315"/>
                    <a:pt x="1" y="1504"/>
                    <a:pt x="158" y="1662"/>
                  </a:cubicBezTo>
                  <a:cubicBezTo>
                    <a:pt x="237" y="1741"/>
                    <a:pt x="324" y="1780"/>
                    <a:pt x="410" y="1780"/>
                  </a:cubicBezTo>
                  <a:cubicBezTo>
                    <a:pt x="497" y="1780"/>
                    <a:pt x="584" y="1741"/>
                    <a:pt x="662" y="1662"/>
                  </a:cubicBezTo>
                  <a:lnTo>
                    <a:pt x="1671" y="622"/>
                  </a:lnTo>
                  <a:cubicBezTo>
                    <a:pt x="1828" y="465"/>
                    <a:pt x="1828" y="276"/>
                    <a:pt x="1671" y="118"/>
                  </a:cubicBezTo>
                  <a:cubicBezTo>
                    <a:pt x="1592" y="39"/>
                    <a:pt x="1505" y="0"/>
                    <a:pt x="14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2" name="Google Shape;7782;p76"/>
            <p:cNvSpPr/>
            <p:nvPr/>
          </p:nvSpPr>
          <p:spPr>
            <a:xfrm>
              <a:off x="-21113575" y="2825000"/>
              <a:ext cx="26800" cy="35050"/>
            </a:xfrm>
            <a:custGeom>
              <a:avLst/>
              <a:gdLst/>
              <a:ahLst/>
              <a:cxnLst/>
              <a:rect l="l" t="t" r="r" b="b"/>
              <a:pathLst>
                <a:path w="1072" h="1402" extrusionOk="0">
                  <a:moveTo>
                    <a:pt x="647" y="0"/>
                  </a:moveTo>
                  <a:cubicBezTo>
                    <a:pt x="510" y="0"/>
                    <a:pt x="386" y="71"/>
                    <a:pt x="315" y="213"/>
                  </a:cubicBezTo>
                  <a:lnTo>
                    <a:pt x="32" y="906"/>
                  </a:lnTo>
                  <a:cubicBezTo>
                    <a:pt x="0" y="1095"/>
                    <a:pt x="95" y="1284"/>
                    <a:pt x="252" y="1379"/>
                  </a:cubicBezTo>
                  <a:cubicBezTo>
                    <a:pt x="298" y="1394"/>
                    <a:pt x="344" y="1402"/>
                    <a:pt x="388" y="1402"/>
                  </a:cubicBezTo>
                  <a:cubicBezTo>
                    <a:pt x="527" y="1402"/>
                    <a:pt x="653" y="1325"/>
                    <a:pt x="725" y="1158"/>
                  </a:cubicBezTo>
                  <a:lnTo>
                    <a:pt x="977" y="497"/>
                  </a:lnTo>
                  <a:cubicBezTo>
                    <a:pt x="1071" y="308"/>
                    <a:pt x="977" y="119"/>
                    <a:pt x="788" y="24"/>
                  </a:cubicBezTo>
                  <a:cubicBezTo>
                    <a:pt x="740" y="8"/>
                    <a:pt x="693" y="0"/>
                    <a:pt x="6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3" name="Google Shape;7783;p76"/>
            <p:cNvSpPr/>
            <p:nvPr/>
          </p:nvSpPr>
          <p:spPr>
            <a:xfrm>
              <a:off x="-21204175" y="2825000"/>
              <a:ext cx="27600" cy="35050"/>
            </a:xfrm>
            <a:custGeom>
              <a:avLst/>
              <a:gdLst/>
              <a:ahLst/>
              <a:cxnLst/>
              <a:rect l="l" t="t" r="r" b="b"/>
              <a:pathLst>
                <a:path w="1104" h="1402" extrusionOk="0">
                  <a:moveTo>
                    <a:pt x="429" y="0"/>
                  </a:moveTo>
                  <a:cubicBezTo>
                    <a:pt x="381" y="0"/>
                    <a:pt x="332" y="8"/>
                    <a:pt x="285" y="24"/>
                  </a:cubicBezTo>
                  <a:cubicBezTo>
                    <a:pt x="95" y="119"/>
                    <a:pt x="1" y="308"/>
                    <a:pt x="95" y="497"/>
                  </a:cubicBezTo>
                  <a:lnTo>
                    <a:pt x="348" y="1158"/>
                  </a:lnTo>
                  <a:cubicBezTo>
                    <a:pt x="419" y="1325"/>
                    <a:pt x="545" y="1402"/>
                    <a:pt x="684" y="1402"/>
                  </a:cubicBezTo>
                  <a:cubicBezTo>
                    <a:pt x="728" y="1402"/>
                    <a:pt x="774" y="1394"/>
                    <a:pt x="820" y="1379"/>
                  </a:cubicBezTo>
                  <a:cubicBezTo>
                    <a:pt x="1041" y="1284"/>
                    <a:pt x="1104" y="1095"/>
                    <a:pt x="1041" y="906"/>
                  </a:cubicBezTo>
                  <a:lnTo>
                    <a:pt x="757" y="213"/>
                  </a:lnTo>
                  <a:cubicBezTo>
                    <a:pt x="710" y="71"/>
                    <a:pt x="574" y="0"/>
                    <a:pt x="4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4" name="Google Shape;7784;p76"/>
            <p:cNvSpPr/>
            <p:nvPr/>
          </p:nvSpPr>
          <p:spPr>
            <a:xfrm>
              <a:off x="-21297900" y="2940575"/>
              <a:ext cx="54375" cy="18150"/>
            </a:xfrm>
            <a:custGeom>
              <a:avLst/>
              <a:gdLst/>
              <a:ahLst/>
              <a:cxnLst/>
              <a:rect l="l" t="t" r="r" b="b"/>
              <a:pathLst>
                <a:path w="2175" h="726" extrusionOk="0">
                  <a:moveTo>
                    <a:pt x="379" y="1"/>
                  </a:moveTo>
                  <a:cubicBezTo>
                    <a:pt x="158" y="1"/>
                    <a:pt x="1" y="158"/>
                    <a:pt x="1" y="379"/>
                  </a:cubicBezTo>
                  <a:cubicBezTo>
                    <a:pt x="1" y="568"/>
                    <a:pt x="158" y="725"/>
                    <a:pt x="379" y="725"/>
                  </a:cubicBezTo>
                  <a:lnTo>
                    <a:pt x="1828" y="725"/>
                  </a:lnTo>
                  <a:cubicBezTo>
                    <a:pt x="2017" y="725"/>
                    <a:pt x="2175" y="568"/>
                    <a:pt x="2175" y="379"/>
                  </a:cubicBezTo>
                  <a:cubicBezTo>
                    <a:pt x="2175" y="158"/>
                    <a:pt x="2017" y="1"/>
                    <a:pt x="18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5" name="Google Shape;7785;p76"/>
            <p:cNvSpPr/>
            <p:nvPr/>
          </p:nvSpPr>
          <p:spPr>
            <a:xfrm>
              <a:off x="-21047425" y="2940575"/>
              <a:ext cx="54375" cy="18150"/>
            </a:xfrm>
            <a:custGeom>
              <a:avLst/>
              <a:gdLst/>
              <a:ahLst/>
              <a:cxnLst/>
              <a:rect l="l" t="t" r="r" b="b"/>
              <a:pathLst>
                <a:path w="2175" h="726" extrusionOk="0">
                  <a:moveTo>
                    <a:pt x="347" y="1"/>
                  </a:moveTo>
                  <a:cubicBezTo>
                    <a:pt x="158" y="1"/>
                    <a:pt x="0" y="158"/>
                    <a:pt x="0" y="379"/>
                  </a:cubicBezTo>
                  <a:cubicBezTo>
                    <a:pt x="0" y="568"/>
                    <a:pt x="158" y="725"/>
                    <a:pt x="347" y="725"/>
                  </a:cubicBezTo>
                  <a:lnTo>
                    <a:pt x="1796" y="725"/>
                  </a:lnTo>
                  <a:cubicBezTo>
                    <a:pt x="2017" y="725"/>
                    <a:pt x="2174" y="568"/>
                    <a:pt x="2174" y="379"/>
                  </a:cubicBezTo>
                  <a:cubicBezTo>
                    <a:pt x="2174" y="158"/>
                    <a:pt x="2017"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6" name="Google Shape;7786;p76"/>
            <p:cNvSpPr/>
            <p:nvPr/>
          </p:nvSpPr>
          <p:spPr>
            <a:xfrm>
              <a:off x="-21056100" y="2892750"/>
              <a:ext cx="37050" cy="25150"/>
            </a:xfrm>
            <a:custGeom>
              <a:avLst/>
              <a:gdLst/>
              <a:ahLst/>
              <a:cxnLst/>
              <a:rect l="l" t="t" r="r" b="b"/>
              <a:pathLst>
                <a:path w="1482" h="1006" extrusionOk="0">
                  <a:moveTo>
                    <a:pt x="1082" y="0"/>
                  </a:moveTo>
                  <a:cubicBezTo>
                    <a:pt x="1038" y="0"/>
                    <a:pt x="992" y="8"/>
                    <a:pt x="946" y="23"/>
                  </a:cubicBezTo>
                  <a:lnTo>
                    <a:pt x="284" y="307"/>
                  </a:lnTo>
                  <a:cubicBezTo>
                    <a:pt x="64" y="433"/>
                    <a:pt x="1" y="622"/>
                    <a:pt x="64" y="780"/>
                  </a:cubicBezTo>
                  <a:cubicBezTo>
                    <a:pt x="133" y="918"/>
                    <a:pt x="253" y="1006"/>
                    <a:pt x="386" y="1006"/>
                  </a:cubicBezTo>
                  <a:cubicBezTo>
                    <a:pt x="435" y="1006"/>
                    <a:pt x="486" y="994"/>
                    <a:pt x="536" y="969"/>
                  </a:cubicBezTo>
                  <a:lnTo>
                    <a:pt x="1198" y="717"/>
                  </a:lnTo>
                  <a:cubicBezTo>
                    <a:pt x="1419" y="622"/>
                    <a:pt x="1482" y="433"/>
                    <a:pt x="1419" y="244"/>
                  </a:cubicBezTo>
                  <a:cubicBezTo>
                    <a:pt x="1347" y="77"/>
                    <a:pt x="1221" y="0"/>
                    <a:pt x="10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7" name="Google Shape;7787;p76"/>
            <p:cNvSpPr/>
            <p:nvPr/>
          </p:nvSpPr>
          <p:spPr>
            <a:xfrm>
              <a:off x="-21271100" y="2893975"/>
              <a:ext cx="37825" cy="25150"/>
            </a:xfrm>
            <a:custGeom>
              <a:avLst/>
              <a:gdLst/>
              <a:ahLst/>
              <a:cxnLst/>
              <a:rect l="l" t="t" r="r" b="b"/>
              <a:pathLst>
                <a:path w="1513" h="1006" extrusionOk="0">
                  <a:moveTo>
                    <a:pt x="398" y="0"/>
                  </a:moveTo>
                  <a:cubicBezTo>
                    <a:pt x="254" y="0"/>
                    <a:pt x="141" y="88"/>
                    <a:pt x="95" y="227"/>
                  </a:cubicBezTo>
                  <a:cubicBezTo>
                    <a:pt x="0" y="416"/>
                    <a:pt x="95" y="605"/>
                    <a:pt x="284" y="699"/>
                  </a:cubicBezTo>
                  <a:lnTo>
                    <a:pt x="945" y="983"/>
                  </a:lnTo>
                  <a:cubicBezTo>
                    <a:pt x="991" y="998"/>
                    <a:pt x="1039" y="1006"/>
                    <a:pt x="1086" y="1006"/>
                  </a:cubicBezTo>
                  <a:cubicBezTo>
                    <a:pt x="1232" y="1006"/>
                    <a:pt x="1370" y="929"/>
                    <a:pt x="1418" y="762"/>
                  </a:cubicBezTo>
                  <a:cubicBezTo>
                    <a:pt x="1512" y="573"/>
                    <a:pt x="1418" y="384"/>
                    <a:pt x="1229" y="290"/>
                  </a:cubicBezTo>
                  <a:lnTo>
                    <a:pt x="567" y="37"/>
                  </a:lnTo>
                  <a:cubicBezTo>
                    <a:pt x="508" y="12"/>
                    <a:pt x="451" y="0"/>
                    <a:pt x="39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8" name="Google Shape;7788;p76"/>
            <p:cNvSpPr/>
            <p:nvPr/>
          </p:nvSpPr>
          <p:spPr>
            <a:xfrm>
              <a:off x="-21298675" y="3049275"/>
              <a:ext cx="306400" cy="35275"/>
            </a:xfrm>
            <a:custGeom>
              <a:avLst/>
              <a:gdLst/>
              <a:ahLst/>
              <a:cxnLst/>
              <a:rect l="l" t="t" r="r" b="b"/>
              <a:pathLst>
                <a:path w="12256" h="1411" extrusionOk="0">
                  <a:moveTo>
                    <a:pt x="1832" y="0"/>
                  </a:moveTo>
                  <a:cubicBezTo>
                    <a:pt x="1379" y="0"/>
                    <a:pt x="930" y="126"/>
                    <a:pt x="567" y="378"/>
                  </a:cubicBezTo>
                  <a:cubicBezTo>
                    <a:pt x="473" y="441"/>
                    <a:pt x="347" y="505"/>
                    <a:pt x="284" y="536"/>
                  </a:cubicBezTo>
                  <a:cubicBezTo>
                    <a:pt x="95" y="631"/>
                    <a:pt x="0" y="820"/>
                    <a:pt x="95" y="1009"/>
                  </a:cubicBezTo>
                  <a:cubicBezTo>
                    <a:pt x="143" y="1176"/>
                    <a:pt x="263" y="1252"/>
                    <a:pt x="414" y="1252"/>
                  </a:cubicBezTo>
                  <a:cubicBezTo>
                    <a:pt x="462" y="1252"/>
                    <a:pt x="514" y="1244"/>
                    <a:pt x="567" y="1229"/>
                  </a:cubicBezTo>
                  <a:cubicBezTo>
                    <a:pt x="725" y="1166"/>
                    <a:pt x="819" y="1103"/>
                    <a:pt x="946" y="1009"/>
                  </a:cubicBezTo>
                  <a:cubicBezTo>
                    <a:pt x="1198" y="835"/>
                    <a:pt x="1505" y="749"/>
                    <a:pt x="1816" y="749"/>
                  </a:cubicBezTo>
                  <a:cubicBezTo>
                    <a:pt x="2127" y="749"/>
                    <a:pt x="2442" y="835"/>
                    <a:pt x="2710" y="1009"/>
                  </a:cubicBezTo>
                  <a:cubicBezTo>
                    <a:pt x="3104" y="1276"/>
                    <a:pt x="3553" y="1410"/>
                    <a:pt x="3994" y="1410"/>
                  </a:cubicBezTo>
                  <a:cubicBezTo>
                    <a:pt x="4435" y="1410"/>
                    <a:pt x="4868" y="1276"/>
                    <a:pt x="5230" y="1009"/>
                  </a:cubicBezTo>
                  <a:cubicBezTo>
                    <a:pt x="5498" y="835"/>
                    <a:pt x="5805" y="749"/>
                    <a:pt x="6108" y="749"/>
                  </a:cubicBezTo>
                  <a:cubicBezTo>
                    <a:pt x="6412" y="749"/>
                    <a:pt x="6711" y="835"/>
                    <a:pt x="6963" y="1009"/>
                  </a:cubicBezTo>
                  <a:cubicBezTo>
                    <a:pt x="7357" y="1276"/>
                    <a:pt x="7806" y="1410"/>
                    <a:pt x="8247" y="1410"/>
                  </a:cubicBezTo>
                  <a:cubicBezTo>
                    <a:pt x="8688" y="1410"/>
                    <a:pt x="9121" y="1276"/>
                    <a:pt x="9483" y="1009"/>
                  </a:cubicBezTo>
                  <a:cubicBezTo>
                    <a:pt x="9751" y="835"/>
                    <a:pt x="10058" y="749"/>
                    <a:pt x="10369" y="749"/>
                  </a:cubicBezTo>
                  <a:cubicBezTo>
                    <a:pt x="10681" y="749"/>
                    <a:pt x="10996" y="835"/>
                    <a:pt x="11279" y="1009"/>
                  </a:cubicBezTo>
                  <a:cubicBezTo>
                    <a:pt x="11437" y="1103"/>
                    <a:pt x="11531" y="1166"/>
                    <a:pt x="11689" y="1261"/>
                  </a:cubicBezTo>
                  <a:cubicBezTo>
                    <a:pt x="11736" y="1274"/>
                    <a:pt x="11782" y="1280"/>
                    <a:pt x="11825" y="1280"/>
                  </a:cubicBezTo>
                  <a:cubicBezTo>
                    <a:pt x="11984" y="1280"/>
                    <a:pt x="12112" y="1195"/>
                    <a:pt x="12161" y="1072"/>
                  </a:cubicBezTo>
                  <a:cubicBezTo>
                    <a:pt x="12256" y="820"/>
                    <a:pt x="12161" y="599"/>
                    <a:pt x="11972" y="536"/>
                  </a:cubicBezTo>
                  <a:cubicBezTo>
                    <a:pt x="11846" y="505"/>
                    <a:pt x="11783" y="473"/>
                    <a:pt x="11657" y="378"/>
                  </a:cubicBezTo>
                  <a:cubicBezTo>
                    <a:pt x="11279" y="126"/>
                    <a:pt x="10830" y="0"/>
                    <a:pt x="10381" y="0"/>
                  </a:cubicBezTo>
                  <a:cubicBezTo>
                    <a:pt x="9932" y="0"/>
                    <a:pt x="9483" y="126"/>
                    <a:pt x="9105" y="378"/>
                  </a:cubicBezTo>
                  <a:cubicBezTo>
                    <a:pt x="8853" y="568"/>
                    <a:pt x="8546" y="662"/>
                    <a:pt x="8239" y="662"/>
                  </a:cubicBezTo>
                  <a:cubicBezTo>
                    <a:pt x="7932" y="662"/>
                    <a:pt x="7625" y="568"/>
                    <a:pt x="7373" y="378"/>
                  </a:cubicBezTo>
                  <a:cubicBezTo>
                    <a:pt x="6979" y="126"/>
                    <a:pt x="6538" y="0"/>
                    <a:pt x="6101" y="0"/>
                  </a:cubicBezTo>
                  <a:cubicBezTo>
                    <a:pt x="5663" y="0"/>
                    <a:pt x="5230" y="126"/>
                    <a:pt x="4852" y="378"/>
                  </a:cubicBezTo>
                  <a:cubicBezTo>
                    <a:pt x="4600" y="568"/>
                    <a:pt x="4293" y="662"/>
                    <a:pt x="3986" y="662"/>
                  </a:cubicBezTo>
                  <a:cubicBezTo>
                    <a:pt x="3679" y="662"/>
                    <a:pt x="3371" y="568"/>
                    <a:pt x="3119" y="378"/>
                  </a:cubicBezTo>
                  <a:cubicBezTo>
                    <a:pt x="2741" y="126"/>
                    <a:pt x="2284" y="0"/>
                    <a:pt x="18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89" name="Google Shape;7789;p76"/>
            <p:cNvSpPr/>
            <p:nvPr/>
          </p:nvSpPr>
          <p:spPr>
            <a:xfrm>
              <a:off x="-21298675" y="3013050"/>
              <a:ext cx="306400" cy="34675"/>
            </a:xfrm>
            <a:custGeom>
              <a:avLst/>
              <a:gdLst/>
              <a:ahLst/>
              <a:cxnLst/>
              <a:rect l="l" t="t" r="r" b="b"/>
              <a:pathLst>
                <a:path w="12256" h="1387" extrusionOk="0">
                  <a:moveTo>
                    <a:pt x="1832" y="0"/>
                  </a:moveTo>
                  <a:cubicBezTo>
                    <a:pt x="1379" y="0"/>
                    <a:pt x="930" y="126"/>
                    <a:pt x="567" y="378"/>
                  </a:cubicBezTo>
                  <a:cubicBezTo>
                    <a:pt x="473" y="410"/>
                    <a:pt x="347" y="504"/>
                    <a:pt x="284" y="536"/>
                  </a:cubicBezTo>
                  <a:cubicBezTo>
                    <a:pt x="95" y="599"/>
                    <a:pt x="0" y="819"/>
                    <a:pt x="95" y="1008"/>
                  </a:cubicBezTo>
                  <a:cubicBezTo>
                    <a:pt x="141" y="1147"/>
                    <a:pt x="255" y="1234"/>
                    <a:pt x="399" y="1234"/>
                  </a:cubicBezTo>
                  <a:cubicBezTo>
                    <a:pt x="452" y="1234"/>
                    <a:pt x="508" y="1223"/>
                    <a:pt x="567" y="1197"/>
                  </a:cubicBezTo>
                  <a:cubicBezTo>
                    <a:pt x="725" y="1166"/>
                    <a:pt x="819" y="1071"/>
                    <a:pt x="946" y="1008"/>
                  </a:cubicBezTo>
                  <a:cubicBezTo>
                    <a:pt x="1198" y="835"/>
                    <a:pt x="1505" y="748"/>
                    <a:pt x="1816" y="748"/>
                  </a:cubicBezTo>
                  <a:cubicBezTo>
                    <a:pt x="2127" y="748"/>
                    <a:pt x="2442" y="835"/>
                    <a:pt x="2710" y="1008"/>
                  </a:cubicBezTo>
                  <a:cubicBezTo>
                    <a:pt x="3104" y="1260"/>
                    <a:pt x="3553" y="1386"/>
                    <a:pt x="3994" y="1386"/>
                  </a:cubicBezTo>
                  <a:cubicBezTo>
                    <a:pt x="4435" y="1386"/>
                    <a:pt x="4868" y="1260"/>
                    <a:pt x="5230" y="1008"/>
                  </a:cubicBezTo>
                  <a:cubicBezTo>
                    <a:pt x="5498" y="835"/>
                    <a:pt x="5805" y="748"/>
                    <a:pt x="6108" y="748"/>
                  </a:cubicBezTo>
                  <a:cubicBezTo>
                    <a:pt x="6412" y="748"/>
                    <a:pt x="6711" y="835"/>
                    <a:pt x="6963" y="1008"/>
                  </a:cubicBezTo>
                  <a:cubicBezTo>
                    <a:pt x="7357" y="1260"/>
                    <a:pt x="7806" y="1386"/>
                    <a:pt x="8247" y="1386"/>
                  </a:cubicBezTo>
                  <a:cubicBezTo>
                    <a:pt x="8688" y="1386"/>
                    <a:pt x="9121" y="1260"/>
                    <a:pt x="9483" y="1008"/>
                  </a:cubicBezTo>
                  <a:cubicBezTo>
                    <a:pt x="9751" y="835"/>
                    <a:pt x="10058" y="748"/>
                    <a:pt x="10369" y="748"/>
                  </a:cubicBezTo>
                  <a:cubicBezTo>
                    <a:pt x="10681" y="748"/>
                    <a:pt x="10996" y="835"/>
                    <a:pt x="11279" y="1008"/>
                  </a:cubicBezTo>
                  <a:cubicBezTo>
                    <a:pt x="11437" y="1071"/>
                    <a:pt x="11531" y="1166"/>
                    <a:pt x="11689" y="1229"/>
                  </a:cubicBezTo>
                  <a:cubicBezTo>
                    <a:pt x="11741" y="1251"/>
                    <a:pt x="11792" y="1261"/>
                    <a:pt x="11840" y="1261"/>
                  </a:cubicBezTo>
                  <a:cubicBezTo>
                    <a:pt x="11992" y="1261"/>
                    <a:pt x="12113" y="1160"/>
                    <a:pt x="12161" y="1040"/>
                  </a:cubicBezTo>
                  <a:cubicBezTo>
                    <a:pt x="12256" y="819"/>
                    <a:pt x="12161" y="630"/>
                    <a:pt x="11972" y="536"/>
                  </a:cubicBezTo>
                  <a:cubicBezTo>
                    <a:pt x="11846" y="504"/>
                    <a:pt x="11783" y="473"/>
                    <a:pt x="11657" y="378"/>
                  </a:cubicBezTo>
                  <a:cubicBezTo>
                    <a:pt x="11279" y="126"/>
                    <a:pt x="10830" y="0"/>
                    <a:pt x="10381" y="0"/>
                  </a:cubicBezTo>
                  <a:cubicBezTo>
                    <a:pt x="9932" y="0"/>
                    <a:pt x="9483" y="126"/>
                    <a:pt x="9105" y="378"/>
                  </a:cubicBezTo>
                  <a:cubicBezTo>
                    <a:pt x="8853" y="552"/>
                    <a:pt x="8546" y="638"/>
                    <a:pt x="8239" y="638"/>
                  </a:cubicBezTo>
                  <a:cubicBezTo>
                    <a:pt x="7932" y="638"/>
                    <a:pt x="7625" y="552"/>
                    <a:pt x="7373" y="378"/>
                  </a:cubicBezTo>
                  <a:cubicBezTo>
                    <a:pt x="6979" y="126"/>
                    <a:pt x="6538" y="0"/>
                    <a:pt x="6101" y="0"/>
                  </a:cubicBezTo>
                  <a:cubicBezTo>
                    <a:pt x="5663" y="0"/>
                    <a:pt x="5230" y="126"/>
                    <a:pt x="4852" y="378"/>
                  </a:cubicBezTo>
                  <a:cubicBezTo>
                    <a:pt x="4600" y="552"/>
                    <a:pt x="4293" y="638"/>
                    <a:pt x="3986" y="638"/>
                  </a:cubicBezTo>
                  <a:cubicBezTo>
                    <a:pt x="3679" y="638"/>
                    <a:pt x="3371" y="552"/>
                    <a:pt x="3119" y="378"/>
                  </a:cubicBezTo>
                  <a:cubicBezTo>
                    <a:pt x="2741" y="126"/>
                    <a:pt x="2284" y="0"/>
                    <a:pt x="183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0" name="Google Shape;7790;p76"/>
            <p:cNvSpPr/>
            <p:nvPr/>
          </p:nvSpPr>
          <p:spPr>
            <a:xfrm>
              <a:off x="-21299475" y="2868125"/>
              <a:ext cx="307200" cy="143375"/>
            </a:xfrm>
            <a:custGeom>
              <a:avLst/>
              <a:gdLst/>
              <a:ahLst/>
              <a:cxnLst/>
              <a:rect l="l" t="t" r="r" b="b"/>
              <a:pathLst>
                <a:path w="12288" h="5735" extrusionOk="0">
                  <a:moveTo>
                    <a:pt x="6144" y="788"/>
                  </a:moveTo>
                  <a:cubicBezTo>
                    <a:pt x="7531" y="788"/>
                    <a:pt x="8633" y="1891"/>
                    <a:pt x="8633" y="3245"/>
                  </a:cubicBezTo>
                  <a:cubicBezTo>
                    <a:pt x="8633" y="3938"/>
                    <a:pt x="8350" y="4506"/>
                    <a:pt x="7909" y="5010"/>
                  </a:cubicBezTo>
                  <a:cubicBezTo>
                    <a:pt x="7720" y="4947"/>
                    <a:pt x="7562" y="4884"/>
                    <a:pt x="7373" y="4758"/>
                  </a:cubicBezTo>
                  <a:cubicBezTo>
                    <a:pt x="7011" y="4506"/>
                    <a:pt x="6578" y="4379"/>
                    <a:pt x="6140" y="4379"/>
                  </a:cubicBezTo>
                  <a:cubicBezTo>
                    <a:pt x="5703" y="4379"/>
                    <a:pt x="5262" y="4506"/>
                    <a:pt x="4884" y="4758"/>
                  </a:cubicBezTo>
                  <a:cubicBezTo>
                    <a:pt x="4727" y="4884"/>
                    <a:pt x="4569" y="4947"/>
                    <a:pt x="4380" y="5010"/>
                  </a:cubicBezTo>
                  <a:cubicBezTo>
                    <a:pt x="3939" y="4537"/>
                    <a:pt x="3655" y="3875"/>
                    <a:pt x="3655" y="3245"/>
                  </a:cubicBezTo>
                  <a:cubicBezTo>
                    <a:pt x="3655" y="1891"/>
                    <a:pt x="4758" y="788"/>
                    <a:pt x="6144" y="788"/>
                  </a:cubicBezTo>
                  <a:close/>
                  <a:moveTo>
                    <a:pt x="6144" y="0"/>
                  </a:moveTo>
                  <a:cubicBezTo>
                    <a:pt x="4380" y="0"/>
                    <a:pt x="2931" y="1450"/>
                    <a:pt x="2931" y="3214"/>
                  </a:cubicBezTo>
                  <a:cubicBezTo>
                    <a:pt x="2931" y="3812"/>
                    <a:pt x="3088" y="4411"/>
                    <a:pt x="3372" y="4884"/>
                  </a:cubicBezTo>
                  <a:cubicBezTo>
                    <a:pt x="3277" y="4852"/>
                    <a:pt x="3183" y="4789"/>
                    <a:pt x="3120" y="4726"/>
                  </a:cubicBezTo>
                  <a:cubicBezTo>
                    <a:pt x="2742" y="4474"/>
                    <a:pt x="2285" y="4348"/>
                    <a:pt x="1832" y="4348"/>
                  </a:cubicBezTo>
                  <a:cubicBezTo>
                    <a:pt x="1379" y="4348"/>
                    <a:pt x="930" y="4474"/>
                    <a:pt x="568" y="4726"/>
                  </a:cubicBezTo>
                  <a:cubicBezTo>
                    <a:pt x="473" y="4758"/>
                    <a:pt x="347" y="4852"/>
                    <a:pt x="284" y="4884"/>
                  </a:cubicBezTo>
                  <a:cubicBezTo>
                    <a:pt x="95" y="4947"/>
                    <a:pt x="1" y="5167"/>
                    <a:pt x="95" y="5356"/>
                  </a:cubicBezTo>
                  <a:cubicBezTo>
                    <a:pt x="143" y="5498"/>
                    <a:pt x="261" y="5569"/>
                    <a:pt x="410" y="5569"/>
                  </a:cubicBezTo>
                  <a:cubicBezTo>
                    <a:pt x="460" y="5569"/>
                    <a:pt x="513" y="5561"/>
                    <a:pt x="568" y="5545"/>
                  </a:cubicBezTo>
                  <a:cubicBezTo>
                    <a:pt x="725" y="5514"/>
                    <a:pt x="820" y="5419"/>
                    <a:pt x="946" y="5356"/>
                  </a:cubicBezTo>
                  <a:cubicBezTo>
                    <a:pt x="1198" y="5183"/>
                    <a:pt x="1505" y="5096"/>
                    <a:pt x="1816" y="5096"/>
                  </a:cubicBezTo>
                  <a:cubicBezTo>
                    <a:pt x="2127" y="5096"/>
                    <a:pt x="2442" y="5183"/>
                    <a:pt x="2710" y="5356"/>
                  </a:cubicBezTo>
                  <a:cubicBezTo>
                    <a:pt x="3104" y="5608"/>
                    <a:pt x="3553" y="5734"/>
                    <a:pt x="3994" y="5734"/>
                  </a:cubicBezTo>
                  <a:cubicBezTo>
                    <a:pt x="4435" y="5734"/>
                    <a:pt x="4868" y="5608"/>
                    <a:pt x="5231" y="5356"/>
                  </a:cubicBezTo>
                  <a:cubicBezTo>
                    <a:pt x="5498" y="5183"/>
                    <a:pt x="5806" y="5096"/>
                    <a:pt x="6109" y="5096"/>
                  </a:cubicBezTo>
                  <a:cubicBezTo>
                    <a:pt x="6412" y="5096"/>
                    <a:pt x="6711" y="5183"/>
                    <a:pt x="6963" y="5356"/>
                  </a:cubicBezTo>
                  <a:cubicBezTo>
                    <a:pt x="7357" y="5608"/>
                    <a:pt x="7806" y="5734"/>
                    <a:pt x="8247" y="5734"/>
                  </a:cubicBezTo>
                  <a:cubicBezTo>
                    <a:pt x="8688" y="5734"/>
                    <a:pt x="9122" y="5608"/>
                    <a:pt x="9484" y="5356"/>
                  </a:cubicBezTo>
                  <a:cubicBezTo>
                    <a:pt x="9752" y="5183"/>
                    <a:pt x="10059" y="5096"/>
                    <a:pt x="10370" y="5096"/>
                  </a:cubicBezTo>
                  <a:cubicBezTo>
                    <a:pt x="10681" y="5096"/>
                    <a:pt x="10996" y="5183"/>
                    <a:pt x="11280" y="5356"/>
                  </a:cubicBezTo>
                  <a:cubicBezTo>
                    <a:pt x="11437" y="5419"/>
                    <a:pt x="11532" y="5514"/>
                    <a:pt x="11689" y="5577"/>
                  </a:cubicBezTo>
                  <a:cubicBezTo>
                    <a:pt x="11742" y="5599"/>
                    <a:pt x="11793" y="5609"/>
                    <a:pt x="11840" y="5609"/>
                  </a:cubicBezTo>
                  <a:cubicBezTo>
                    <a:pt x="11993" y="5609"/>
                    <a:pt x="12114" y="5508"/>
                    <a:pt x="12162" y="5388"/>
                  </a:cubicBezTo>
                  <a:cubicBezTo>
                    <a:pt x="12288" y="5199"/>
                    <a:pt x="12193" y="5010"/>
                    <a:pt x="12004" y="4915"/>
                  </a:cubicBezTo>
                  <a:cubicBezTo>
                    <a:pt x="11878" y="4884"/>
                    <a:pt x="11815" y="4852"/>
                    <a:pt x="11689" y="4758"/>
                  </a:cubicBezTo>
                  <a:cubicBezTo>
                    <a:pt x="11311" y="4506"/>
                    <a:pt x="10862" y="4379"/>
                    <a:pt x="10413" y="4379"/>
                  </a:cubicBezTo>
                  <a:cubicBezTo>
                    <a:pt x="9964" y="4379"/>
                    <a:pt x="9515" y="4506"/>
                    <a:pt x="9137" y="4758"/>
                  </a:cubicBezTo>
                  <a:lnTo>
                    <a:pt x="8885" y="4884"/>
                  </a:lnTo>
                  <a:cubicBezTo>
                    <a:pt x="9169" y="4379"/>
                    <a:pt x="9358" y="3812"/>
                    <a:pt x="9358" y="3214"/>
                  </a:cubicBezTo>
                  <a:cubicBezTo>
                    <a:pt x="9358" y="1450"/>
                    <a:pt x="7909" y="0"/>
                    <a:pt x="61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91" name="Google Shape;7791;p76"/>
          <p:cNvSpPr/>
          <p:nvPr/>
        </p:nvSpPr>
        <p:spPr>
          <a:xfrm>
            <a:off x="5021557" y="2253118"/>
            <a:ext cx="630235" cy="628213"/>
          </a:xfrm>
          <a:custGeom>
            <a:avLst/>
            <a:gdLst/>
            <a:ahLst/>
            <a:cxnLst/>
            <a:rect l="l" t="t" r="r" b="b"/>
            <a:pathLst>
              <a:path w="12162" h="12123" extrusionOk="0">
                <a:moveTo>
                  <a:pt x="8192" y="3616"/>
                </a:moveTo>
                <a:cubicBezTo>
                  <a:pt x="8381" y="3616"/>
                  <a:pt x="8539" y="3805"/>
                  <a:pt x="8539" y="3994"/>
                </a:cubicBezTo>
                <a:cubicBezTo>
                  <a:pt x="8539" y="4183"/>
                  <a:pt x="8381" y="4341"/>
                  <a:pt x="8192" y="4341"/>
                </a:cubicBezTo>
                <a:lnTo>
                  <a:pt x="3907" y="4341"/>
                </a:lnTo>
                <a:cubicBezTo>
                  <a:pt x="3687" y="4341"/>
                  <a:pt x="3529" y="4183"/>
                  <a:pt x="3529" y="3994"/>
                </a:cubicBezTo>
                <a:cubicBezTo>
                  <a:pt x="3529" y="3805"/>
                  <a:pt x="3687" y="3616"/>
                  <a:pt x="3907" y="3616"/>
                </a:cubicBezTo>
                <a:close/>
                <a:moveTo>
                  <a:pt x="8948" y="5097"/>
                </a:moveTo>
                <a:cubicBezTo>
                  <a:pt x="9137" y="5097"/>
                  <a:pt x="9295" y="5254"/>
                  <a:pt x="9295" y="5443"/>
                </a:cubicBezTo>
                <a:cubicBezTo>
                  <a:pt x="9295" y="5632"/>
                  <a:pt x="9137" y="5790"/>
                  <a:pt x="8948" y="5790"/>
                </a:cubicBezTo>
                <a:lnTo>
                  <a:pt x="3214" y="5790"/>
                </a:lnTo>
                <a:cubicBezTo>
                  <a:pt x="3025" y="5790"/>
                  <a:pt x="2868" y="5632"/>
                  <a:pt x="2868" y="5443"/>
                </a:cubicBezTo>
                <a:cubicBezTo>
                  <a:pt x="2868" y="5254"/>
                  <a:pt x="3025" y="5097"/>
                  <a:pt x="3214" y="5097"/>
                </a:cubicBezTo>
                <a:close/>
                <a:moveTo>
                  <a:pt x="4600" y="6514"/>
                </a:moveTo>
                <a:cubicBezTo>
                  <a:pt x="4443" y="6703"/>
                  <a:pt x="4317" y="6987"/>
                  <a:pt x="4285" y="7207"/>
                </a:cubicBezTo>
                <a:lnTo>
                  <a:pt x="2490" y="7207"/>
                </a:lnTo>
                <a:cubicBezTo>
                  <a:pt x="2269" y="7207"/>
                  <a:pt x="2112" y="7050"/>
                  <a:pt x="2112" y="6861"/>
                </a:cubicBezTo>
                <a:cubicBezTo>
                  <a:pt x="2112" y="6672"/>
                  <a:pt x="2269" y="6514"/>
                  <a:pt x="2490" y="6514"/>
                </a:cubicBezTo>
                <a:close/>
                <a:moveTo>
                  <a:pt x="9641" y="6514"/>
                </a:moveTo>
                <a:cubicBezTo>
                  <a:pt x="9830" y="6514"/>
                  <a:pt x="9988" y="6672"/>
                  <a:pt x="9988" y="6861"/>
                </a:cubicBezTo>
                <a:cubicBezTo>
                  <a:pt x="9988" y="7050"/>
                  <a:pt x="9830" y="7207"/>
                  <a:pt x="9641" y="7207"/>
                </a:cubicBezTo>
                <a:lnTo>
                  <a:pt x="7845" y="7207"/>
                </a:lnTo>
                <a:cubicBezTo>
                  <a:pt x="7782" y="6955"/>
                  <a:pt x="7688" y="6703"/>
                  <a:pt x="7530" y="6514"/>
                </a:cubicBezTo>
                <a:close/>
                <a:moveTo>
                  <a:pt x="4317" y="7932"/>
                </a:moveTo>
                <a:cubicBezTo>
                  <a:pt x="4380" y="8184"/>
                  <a:pt x="4506" y="8436"/>
                  <a:pt x="4632" y="8625"/>
                </a:cubicBezTo>
                <a:lnTo>
                  <a:pt x="3246" y="8625"/>
                </a:lnTo>
                <a:cubicBezTo>
                  <a:pt x="3025" y="8625"/>
                  <a:pt x="2868" y="8468"/>
                  <a:pt x="2868" y="8279"/>
                </a:cubicBezTo>
                <a:cubicBezTo>
                  <a:pt x="2868" y="8090"/>
                  <a:pt x="3025" y="7932"/>
                  <a:pt x="3246" y="7932"/>
                </a:cubicBezTo>
                <a:close/>
                <a:moveTo>
                  <a:pt x="6050" y="6514"/>
                </a:moveTo>
                <a:cubicBezTo>
                  <a:pt x="6648" y="6514"/>
                  <a:pt x="7121" y="6987"/>
                  <a:pt x="7121" y="7554"/>
                </a:cubicBezTo>
                <a:cubicBezTo>
                  <a:pt x="7121" y="8153"/>
                  <a:pt x="6648" y="8625"/>
                  <a:pt x="6050" y="8625"/>
                </a:cubicBezTo>
                <a:cubicBezTo>
                  <a:pt x="5483" y="8625"/>
                  <a:pt x="5010" y="8153"/>
                  <a:pt x="5010" y="7554"/>
                </a:cubicBezTo>
                <a:cubicBezTo>
                  <a:pt x="5010" y="6987"/>
                  <a:pt x="5483" y="6514"/>
                  <a:pt x="6050" y="6514"/>
                </a:cubicBezTo>
                <a:close/>
                <a:moveTo>
                  <a:pt x="8948" y="7932"/>
                </a:moveTo>
                <a:cubicBezTo>
                  <a:pt x="9137" y="7932"/>
                  <a:pt x="9295" y="8090"/>
                  <a:pt x="9295" y="8279"/>
                </a:cubicBezTo>
                <a:cubicBezTo>
                  <a:pt x="9295" y="8468"/>
                  <a:pt x="9137" y="8625"/>
                  <a:pt x="8948" y="8625"/>
                </a:cubicBezTo>
                <a:lnTo>
                  <a:pt x="7530" y="8625"/>
                </a:lnTo>
                <a:cubicBezTo>
                  <a:pt x="7688" y="8436"/>
                  <a:pt x="7782" y="8216"/>
                  <a:pt x="7845" y="7932"/>
                </a:cubicBezTo>
                <a:close/>
                <a:moveTo>
                  <a:pt x="8192" y="9350"/>
                </a:moveTo>
                <a:cubicBezTo>
                  <a:pt x="8381" y="9350"/>
                  <a:pt x="8539" y="9507"/>
                  <a:pt x="8539" y="9696"/>
                </a:cubicBezTo>
                <a:cubicBezTo>
                  <a:pt x="8539" y="9885"/>
                  <a:pt x="8381" y="10043"/>
                  <a:pt x="8192" y="10043"/>
                </a:cubicBezTo>
                <a:lnTo>
                  <a:pt x="3907" y="10043"/>
                </a:lnTo>
                <a:cubicBezTo>
                  <a:pt x="3687" y="10043"/>
                  <a:pt x="3529" y="9885"/>
                  <a:pt x="3529" y="9696"/>
                </a:cubicBezTo>
                <a:cubicBezTo>
                  <a:pt x="3529" y="9507"/>
                  <a:pt x="3687" y="9350"/>
                  <a:pt x="3907" y="9350"/>
                </a:cubicBezTo>
                <a:close/>
                <a:moveTo>
                  <a:pt x="7467" y="10799"/>
                </a:moveTo>
                <a:cubicBezTo>
                  <a:pt x="7688" y="10799"/>
                  <a:pt x="7845" y="10957"/>
                  <a:pt x="7845" y="11146"/>
                </a:cubicBezTo>
                <a:cubicBezTo>
                  <a:pt x="7845" y="11366"/>
                  <a:pt x="7688" y="11492"/>
                  <a:pt x="7467" y="11492"/>
                </a:cubicBezTo>
                <a:lnTo>
                  <a:pt x="4632" y="11492"/>
                </a:lnTo>
                <a:cubicBezTo>
                  <a:pt x="4443" y="11492"/>
                  <a:pt x="4285" y="11335"/>
                  <a:pt x="4285" y="11146"/>
                </a:cubicBezTo>
                <a:cubicBezTo>
                  <a:pt x="4285" y="10957"/>
                  <a:pt x="4443" y="10799"/>
                  <a:pt x="4632" y="10799"/>
                </a:cubicBezTo>
                <a:close/>
                <a:moveTo>
                  <a:pt x="8917" y="1"/>
                </a:moveTo>
                <a:cubicBezTo>
                  <a:pt x="8830" y="1"/>
                  <a:pt x="8743" y="40"/>
                  <a:pt x="8665" y="119"/>
                </a:cubicBezTo>
                <a:cubicBezTo>
                  <a:pt x="8507" y="276"/>
                  <a:pt x="8507" y="497"/>
                  <a:pt x="8665" y="654"/>
                </a:cubicBezTo>
                <a:lnTo>
                  <a:pt x="9484" y="1474"/>
                </a:lnTo>
                <a:lnTo>
                  <a:pt x="347" y="1474"/>
                </a:lnTo>
                <a:cubicBezTo>
                  <a:pt x="158" y="1474"/>
                  <a:pt x="1" y="1631"/>
                  <a:pt x="1" y="1820"/>
                </a:cubicBezTo>
                <a:cubicBezTo>
                  <a:pt x="1" y="2009"/>
                  <a:pt x="158" y="2167"/>
                  <a:pt x="347" y="2167"/>
                </a:cubicBezTo>
                <a:lnTo>
                  <a:pt x="1639" y="2167"/>
                </a:lnTo>
                <a:lnTo>
                  <a:pt x="820" y="3017"/>
                </a:lnTo>
                <a:cubicBezTo>
                  <a:pt x="662" y="3175"/>
                  <a:pt x="662" y="3364"/>
                  <a:pt x="820" y="3521"/>
                </a:cubicBezTo>
                <a:cubicBezTo>
                  <a:pt x="899" y="3600"/>
                  <a:pt x="985" y="3640"/>
                  <a:pt x="1072" y="3640"/>
                </a:cubicBezTo>
                <a:cubicBezTo>
                  <a:pt x="1159" y="3640"/>
                  <a:pt x="1245" y="3600"/>
                  <a:pt x="1324" y="3521"/>
                </a:cubicBezTo>
                <a:lnTo>
                  <a:pt x="2679" y="2167"/>
                </a:lnTo>
                <a:lnTo>
                  <a:pt x="5735" y="2167"/>
                </a:lnTo>
                <a:lnTo>
                  <a:pt x="5735" y="2923"/>
                </a:lnTo>
                <a:lnTo>
                  <a:pt x="3970" y="2923"/>
                </a:lnTo>
                <a:cubicBezTo>
                  <a:pt x="3372" y="2923"/>
                  <a:pt x="2899" y="3395"/>
                  <a:pt x="2899" y="3994"/>
                </a:cubicBezTo>
                <a:cubicBezTo>
                  <a:pt x="2899" y="4152"/>
                  <a:pt x="2962" y="4246"/>
                  <a:pt x="2994" y="4372"/>
                </a:cubicBezTo>
                <a:cubicBezTo>
                  <a:pt x="2521" y="4498"/>
                  <a:pt x="2206" y="4939"/>
                  <a:pt x="2206" y="5412"/>
                </a:cubicBezTo>
                <a:cubicBezTo>
                  <a:pt x="2206" y="5569"/>
                  <a:pt x="2238" y="5664"/>
                  <a:pt x="2269" y="5790"/>
                </a:cubicBezTo>
                <a:cubicBezTo>
                  <a:pt x="1797" y="5916"/>
                  <a:pt x="1481" y="6357"/>
                  <a:pt x="1481" y="6829"/>
                </a:cubicBezTo>
                <a:cubicBezTo>
                  <a:pt x="1481" y="7334"/>
                  <a:pt x="1797" y="7743"/>
                  <a:pt x="2269" y="7838"/>
                </a:cubicBezTo>
                <a:cubicBezTo>
                  <a:pt x="2238" y="7964"/>
                  <a:pt x="2206" y="8090"/>
                  <a:pt x="2206" y="8247"/>
                </a:cubicBezTo>
                <a:cubicBezTo>
                  <a:pt x="2206" y="8751"/>
                  <a:pt x="2553" y="9129"/>
                  <a:pt x="2994" y="9255"/>
                </a:cubicBezTo>
                <a:cubicBezTo>
                  <a:pt x="2962" y="9381"/>
                  <a:pt x="2899" y="9507"/>
                  <a:pt x="2899" y="9665"/>
                </a:cubicBezTo>
                <a:cubicBezTo>
                  <a:pt x="2899" y="10169"/>
                  <a:pt x="3277" y="10547"/>
                  <a:pt x="3687" y="10673"/>
                </a:cubicBezTo>
                <a:cubicBezTo>
                  <a:pt x="3655" y="10799"/>
                  <a:pt x="3624" y="10925"/>
                  <a:pt x="3624" y="11083"/>
                </a:cubicBezTo>
                <a:cubicBezTo>
                  <a:pt x="3624" y="11650"/>
                  <a:pt x="4096" y="12122"/>
                  <a:pt x="4695" y="12122"/>
                </a:cubicBezTo>
                <a:lnTo>
                  <a:pt x="7530" y="12122"/>
                </a:lnTo>
                <a:cubicBezTo>
                  <a:pt x="8097" y="12122"/>
                  <a:pt x="8570" y="11650"/>
                  <a:pt x="8570" y="11083"/>
                </a:cubicBezTo>
                <a:cubicBezTo>
                  <a:pt x="8570" y="10925"/>
                  <a:pt x="8539" y="10799"/>
                  <a:pt x="8507" y="10673"/>
                </a:cubicBezTo>
                <a:cubicBezTo>
                  <a:pt x="8980" y="10547"/>
                  <a:pt x="9295" y="10137"/>
                  <a:pt x="9295" y="9665"/>
                </a:cubicBezTo>
                <a:cubicBezTo>
                  <a:pt x="9295" y="9507"/>
                  <a:pt x="9263" y="9381"/>
                  <a:pt x="9200" y="9255"/>
                </a:cubicBezTo>
                <a:cubicBezTo>
                  <a:pt x="9673" y="9129"/>
                  <a:pt x="9988" y="8720"/>
                  <a:pt x="9988" y="8247"/>
                </a:cubicBezTo>
                <a:cubicBezTo>
                  <a:pt x="9988" y="8090"/>
                  <a:pt x="9956" y="7964"/>
                  <a:pt x="9925" y="7838"/>
                </a:cubicBezTo>
                <a:cubicBezTo>
                  <a:pt x="10397" y="7712"/>
                  <a:pt x="10712" y="7302"/>
                  <a:pt x="10712" y="6829"/>
                </a:cubicBezTo>
                <a:cubicBezTo>
                  <a:pt x="10712" y="6294"/>
                  <a:pt x="10366" y="5916"/>
                  <a:pt x="9925" y="5790"/>
                </a:cubicBezTo>
                <a:cubicBezTo>
                  <a:pt x="9956" y="5664"/>
                  <a:pt x="9988" y="5569"/>
                  <a:pt x="9988" y="5412"/>
                </a:cubicBezTo>
                <a:cubicBezTo>
                  <a:pt x="9988" y="4876"/>
                  <a:pt x="9641" y="4498"/>
                  <a:pt x="9200" y="4372"/>
                </a:cubicBezTo>
                <a:cubicBezTo>
                  <a:pt x="9263" y="4246"/>
                  <a:pt x="9295" y="4152"/>
                  <a:pt x="9295" y="3994"/>
                </a:cubicBezTo>
                <a:cubicBezTo>
                  <a:pt x="9295" y="3395"/>
                  <a:pt x="8822" y="2923"/>
                  <a:pt x="8224" y="2923"/>
                </a:cubicBezTo>
                <a:lnTo>
                  <a:pt x="6459" y="2923"/>
                </a:lnTo>
                <a:lnTo>
                  <a:pt x="6459" y="2167"/>
                </a:lnTo>
                <a:lnTo>
                  <a:pt x="11815" y="2167"/>
                </a:lnTo>
                <a:cubicBezTo>
                  <a:pt x="12004" y="2167"/>
                  <a:pt x="12162" y="2009"/>
                  <a:pt x="12162" y="1820"/>
                </a:cubicBezTo>
                <a:cubicBezTo>
                  <a:pt x="12162" y="1631"/>
                  <a:pt x="12004" y="1474"/>
                  <a:pt x="11815" y="1474"/>
                </a:cubicBezTo>
                <a:lnTo>
                  <a:pt x="10523" y="1474"/>
                </a:lnTo>
                <a:lnTo>
                  <a:pt x="9169" y="119"/>
                </a:lnTo>
                <a:cubicBezTo>
                  <a:pt x="9090" y="40"/>
                  <a:pt x="9003" y="1"/>
                  <a:pt x="89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2" name="Google Shape;7792;p76"/>
          <p:cNvSpPr/>
          <p:nvPr/>
        </p:nvSpPr>
        <p:spPr>
          <a:xfrm>
            <a:off x="5020756" y="3031910"/>
            <a:ext cx="631841" cy="633500"/>
          </a:xfrm>
          <a:custGeom>
            <a:avLst/>
            <a:gdLst/>
            <a:ahLst/>
            <a:cxnLst/>
            <a:rect l="l" t="t" r="r" b="b"/>
            <a:pathLst>
              <a:path w="12193" h="12225" extrusionOk="0">
                <a:moveTo>
                  <a:pt x="8601" y="694"/>
                </a:moveTo>
                <a:cubicBezTo>
                  <a:pt x="9011" y="694"/>
                  <a:pt x="9326" y="1009"/>
                  <a:pt x="9326" y="1418"/>
                </a:cubicBezTo>
                <a:cubicBezTo>
                  <a:pt x="9326" y="1796"/>
                  <a:pt x="9011" y="2111"/>
                  <a:pt x="8601" y="2111"/>
                </a:cubicBezTo>
                <a:cubicBezTo>
                  <a:pt x="8223" y="2111"/>
                  <a:pt x="7908" y="1796"/>
                  <a:pt x="7908" y="1418"/>
                </a:cubicBezTo>
                <a:cubicBezTo>
                  <a:pt x="7908" y="1009"/>
                  <a:pt x="8223" y="694"/>
                  <a:pt x="8601" y="694"/>
                </a:cubicBezTo>
                <a:close/>
                <a:moveTo>
                  <a:pt x="10428" y="1418"/>
                </a:moveTo>
                <a:cubicBezTo>
                  <a:pt x="11027" y="1418"/>
                  <a:pt x="11500" y="1891"/>
                  <a:pt x="11500" y="2458"/>
                </a:cubicBezTo>
                <a:cubicBezTo>
                  <a:pt x="11058" y="2238"/>
                  <a:pt x="10586" y="2111"/>
                  <a:pt x="10113" y="2111"/>
                </a:cubicBezTo>
                <a:lnTo>
                  <a:pt x="9861" y="2111"/>
                </a:lnTo>
                <a:cubicBezTo>
                  <a:pt x="9987" y="1922"/>
                  <a:pt x="10082" y="1639"/>
                  <a:pt x="10082" y="1418"/>
                </a:cubicBezTo>
                <a:close/>
                <a:moveTo>
                  <a:pt x="7624" y="2427"/>
                </a:moveTo>
                <a:lnTo>
                  <a:pt x="7624" y="2427"/>
                </a:lnTo>
                <a:cubicBezTo>
                  <a:pt x="7782" y="2616"/>
                  <a:pt x="8034" y="2742"/>
                  <a:pt x="8255" y="2836"/>
                </a:cubicBezTo>
                <a:cubicBezTo>
                  <a:pt x="8223" y="3088"/>
                  <a:pt x="8286" y="3340"/>
                  <a:pt x="8412" y="3466"/>
                </a:cubicBezTo>
                <a:lnTo>
                  <a:pt x="9704" y="4915"/>
                </a:lnTo>
                <a:cubicBezTo>
                  <a:pt x="10239" y="5483"/>
                  <a:pt x="10334" y="6270"/>
                  <a:pt x="9987" y="6932"/>
                </a:cubicBezTo>
                <a:cubicBezTo>
                  <a:pt x="9672" y="7530"/>
                  <a:pt x="9074" y="7877"/>
                  <a:pt x="8412" y="7877"/>
                </a:cubicBezTo>
                <a:lnTo>
                  <a:pt x="7750" y="7877"/>
                </a:lnTo>
                <a:cubicBezTo>
                  <a:pt x="7813" y="7688"/>
                  <a:pt x="7908" y="7467"/>
                  <a:pt x="7908" y="7278"/>
                </a:cubicBezTo>
                <a:lnTo>
                  <a:pt x="7908" y="7152"/>
                </a:lnTo>
                <a:lnTo>
                  <a:pt x="8475" y="7152"/>
                </a:lnTo>
                <a:cubicBezTo>
                  <a:pt x="8853" y="7152"/>
                  <a:pt x="9200" y="6963"/>
                  <a:pt x="9420" y="6617"/>
                </a:cubicBezTo>
                <a:cubicBezTo>
                  <a:pt x="9672" y="6144"/>
                  <a:pt x="9483" y="5609"/>
                  <a:pt x="9326" y="5451"/>
                </a:cubicBezTo>
                <a:lnTo>
                  <a:pt x="7908" y="3970"/>
                </a:lnTo>
                <a:cubicBezTo>
                  <a:pt x="7530" y="3561"/>
                  <a:pt x="7435" y="2931"/>
                  <a:pt x="7624" y="2427"/>
                </a:cubicBezTo>
                <a:close/>
                <a:moveTo>
                  <a:pt x="4398" y="4298"/>
                </a:moveTo>
                <a:cubicBezTo>
                  <a:pt x="4581" y="4298"/>
                  <a:pt x="4764" y="4315"/>
                  <a:pt x="4946" y="4348"/>
                </a:cubicBezTo>
                <a:cubicBezTo>
                  <a:pt x="6238" y="4632"/>
                  <a:pt x="7183" y="5861"/>
                  <a:pt x="7183" y="7278"/>
                </a:cubicBezTo>
                <a:cubicBezTo>
                  <a:pt x="7183" y="7593"/>
                  <a:pt x="6931" y="7877"/>
                  <a:pt x="6616" y="7877"/>
                </a:cubicBezTo>
                <a:lnTo>
                  <a:pt x="2143" y="7877"/>
                </a:lnTo>
                <a:cubicBezTo>
                  <a:pt x="1607" y="7877"/>
                  <a:pt x="1134" y="8003"/>
                  <a:pt x="725" y="8223"/>
                </a:cubicBezTo>
                <a:cubicBezTo>
                  <a:pt x="725" y="7625"/>
                  <a:pt x="1197" y="7152"/>
                  <a:pt x="1796" y="7152"/>
                </a:cubicBezTo>
                <a:lnTo>
                  <a:pt x="5388" y="7152"/>
                </a:lnTo>
                <a:cubicBezTo>
                  <a:pt x="5577" y="7152"/>
                  <a:pt x="5734" y="6995"/>
                  <a:pt x="5734" y="6806"/>
                </a:cubicBezTo>
                <a:cubicBezTo>
                  <a:pt x="5734" y="6617"/>
                  <a:pt x="5577" y="6459"/>
                  <a:pt x="5388" y="6459"/>
                </a:cubicBezTo>
                <a:lnTo>
                  <a:pt x="2930" y="6459"/>
                </a:lnTo>
                <a:cubicBezTo>
                  <a:pt x="3088" y="6018"/>
                  <a:pt x="3497" y="5735"/>
                  <a:pt x="3970" y="5735"/>
                </a:cubicBezTo>
                <a:lnTo>
                  <a:pt x="4663" y="5735"/>
                </a:lnTo>
                <a:cubicBezTo>
                  <a:pt x="4883" y="5735"/>
                  <a:pt x="5041" y="5577"/>
                  <a:pt x="5041" y="5388"/>
                </a:cubicBezTo>
                <a:cubicBezTo>
                  <a:pt x="5041" y="5199"/>
                  <a:pt x="4883" y="5041"/>
                  <a:pt x="4663" y="5041"/>
                </a:cubicBezTo>
                <a:lnTo>
                  <a:pt x="3970" y="5041"/>
                </a:lnTo>
                <a:cubicBezTo>
                  <a:pt x="3088" y="5041"/>
                  <a:pt x="2395" y="5672"/>
                  <a:pt x="2237" y="6459"/>
                </a:cubicBezTo>
                <a:lnTo>
                  <a:pt x="1796" y="6459"/>
                </a:lnTo>
                <a:cubicBezTo>
                  <a:pt x="1733" y="6459"/>
                  <a:pt x="1607" y="6459"/>
                  <a:pt x="1512" y="6491"/>
                </a:cubicBezTo>
                <a:cubicBezTo>
                  <a:pt x="1670" y="5861"/>
                  <a:pt x="2048" y="5293"/>
                  <a:pt x="2552" y="4915"/>
                </a:cubicBezTo>
                <a:cubicBezTo>
                  <a:pt x="3072" y="4519"/>
                  <a:pt x="3728" y="4298"/>
                  <a:pt x="4398" y="4298"/>
                </a:cubicBezTo>
                <a:close/>
                <a:moveTo>
                  <a:pt x="5041" y="8728"/>
                </a:moveTo>
                <a:lnTo>
                  <a:pt x="5041" y="9295"/>
                </a:lnTo>
                <a:lnTo>
                  <a:pt x="4316" y="9295"/>
                </a:lnTo>
                <a:lnTo>
                  <a:pt x="5041" y="8728"/>
                </a:lnTo>
                <a:close/>
                <a:moveTo>
                  <a:pt x="8601" y="1"/>
                </a:moveTo>
                <a:cubicBezTo>
                  <a:pt x="7750" y="1"/>
                  <a:pt x="7089" y="757"/>
                  <a:pt x="7215" y="1607"/>
                </a:cubicBezTo>
                <a:cubicBezTo>
                  <a:pt x="6585" y="2458"/>
                  <a:pt x="6616" y="3655"/>
                  <a:pt x="7309" y="4443"/>
                </a:cubicBezTo>
                <a:lnTo>
                  <a:pt x="8727" y="5955"/>
                </a:lnTo>
                <a:cubicBezTo>
                  <a:pt x="8853" y="6176"/>
                  <a:pt x="8696" y="6491"/>
                  <a:pt x="8412" y="6491"/>
                </a:cubicBezTo>
                <a:lnTo>
                  <a:pt x="7782" y="6491"/>
                </a:lnTo>
                <a:cubicBezTo>
                  <a:pt x="7467" y="5104"/>
                  <a:pt x="6459" y="4002"/>
                  <a:pt x="5073" y="3750"/>
                </a:cubicBezTo>
                <a:cubicBezTo>
                  <a:pt x="4809" y="3688"/>
                  <a:pt x="4546" y="3658"/>
                  <a:pt x="4286" y="3658"/>
                </a:cubicBezTo>
                <a:cubicBezTo>
                  <a:pt x="3490" y="3658"/>
                  <a:pt x="2729" y="3936"/>
                  <a:pt x="2111" y="4411"/>
                </a:cubicBezTo>
                <a:cubicBezTo>
                  <a:pt x="1323" y="5010"/>
                  <a:pt x="851" y="5892"/>
                  <a:pt x="725" y="6837"/>
                </a:cubicBezTo>
                <a:cubicBezTo>
                  <a:pt x="315" y="7152"/>
                  <a:pt x="0" y="7719"/>
                  <a:pt x="0" y="8286"/>
                </a:cubicBezTo>
                <a:lnTo>
                  <a:pt x="0" y="9011"/>
                </a:lnTo>
                <a:cubicBezTo>
                  <a:pt x="0" y="9218"/>
                  <a:pt x="163" y="9357"/>
                  <a:pt x="328" y="9357"/>
                </a:cubicBezTo>
                <a:cubicBezTo>
                  <a:pt x="415" y="9357"/>
                  <a:pt x="502" y="9318"/>
                  <a:pt x="567" y="9232"/>
                </a:cubicBezTo>
                <a:cubicBezTo>
                  <a:pt x="977" y="8854"/>
                  <a:pt x="1512" y="8664"/>
                  <a:pt x="2080" y="8664"/>
                </a:cubicBezTo>
                <a:lnTo>
                  <a:pt x="4033" y="8664"/>
                </a:lnTo>
                <a:lnTo>
                  <a:pt x="2993" y="9452"/>
                </a:lnTo>
                <a:cubicBezTo>
                  <a:pt x="2710" y="9641"/>
                  <a:pt x="2867" y="10082"/>
                  <a:pt x="3182" y="10082"/>
                </a:cubicBezTo>
                <a:lnTo>
                  <a:pt x="4946" y="10082"/>
                </a:lnTo>
                <a:lnTo>
                  <a:pt x="4946" y="11878"/>
                </a:lnTo>
                <a:cubicBezTo>
                  <a:pt x="4946" y="12067"/>
                  <a:pt x="5104" y="12225"/>
                  <a:pt x="5293" y="12225"/>
                </a:cubicBezTo>
                <a:cubicBezTo>
                  <a:pt x="5514" y="12225"/>
                  <a:pt x="5671" y="12067"/>
                  <a:pt x="5671" y="11878"/>
                </a:cubicBezTo>
                <a:lnTo>
                  <a:pt x="5671" y="10082"/>
                </a:lnTo>
                <a:lnTo>
                  <a:pt x="6364" y="10082"/>
                </a:lnTo>
                <a:lnTo>
                  <a:pt x="6364" y="10429"/>
                </a:lnTo>
                <a:cubicBezTo>
                  <a:pt x="6364" y="10618"/>
                  <a:pt x="6522" y="10775"/>
                  <a:pt x="6711" y="10775"/>
                </a:cubicBezTo>
                <a:cubicBezTo>
                  <a:pt x="6931" y="10775"/>
                  <a:pt x="7089" y="10618"/>
                  <a:pt x="7089" y="10429"/>
                </a:cubicBezTo>
                <a:lnTo>
                  <a:pt x="7089" y="9704"/>
                </a:lnTo>
                <a:cubicBezTo>
                  <a:pt x="7089" y="9515"/>
                  <a:pt x="6931" y="9358"/>
                  <a:pt x="6711" y="9358"/>
                </a:cubicBezTo>
                <a:lnTo>
                  <a:pt x="5671" y="9358"/>
                </a:lnTo>
                <a:lnTo>
                  <a:pt x="5671" y="8664"/>
                </a:lnTo>
                <a:lnTo>
                  <a:pt x="8349" y="8664"/>
                </a:lnTo>
                <a:cubicBezTo>
                  <a:pt x="9231" y="8664"/>
                  <a:pt x="10113" y="8129"/>
                  <a:pt x="10554" y="7341"/>
                </a:cubicBezTo>
                <a:cubicBezTo>
                  <a:pt x="11027" y="6396"/>
                  <a:pt x="10901" y="5293"/>
                  <a:pt x="10145" y="4506"/>
                </a:cubicBezTo>
                <a:lnTo>
                  <a:pt x="8822" y="3057"/>
                </a:lnTo>
                <a:lnTo>
                  <a:pt x="8822" y="2994"/>
                </a:lnTo>
                <a:cubicBezTo>
                  <a:pt x="8853" y="2931"/>
                  <a:pt x="8759" y="2931"/>
                  <a:pt x="9987" y="2931"/>
                </a:cubicBezTo>
                <a:cubicBezTo>
                  <a:pt x="10554" y="2931"/>
                  <a:pt x="11058" y="3151"/>
                  <a:pt x="11437" y="3529"/>
                </a:cubicBezTo>
                <a:cubicBezTo>
                  <a:pt x="11523" y="3616"/>
                  <a:pt x="11621" y="3654"/>
                  <a:pt x="11712" y="3654"/>
                </a:cubicBezTo>
                <a:cubicBezTo>
                  <a:pt x="11886" y="3654"/>
                  <a:pt x="12035" y="3515"/>
                  <a:pt x="12035" y="3309"/>
                </a:cubicBezTo>
                <a:lnTo>
                  <a:pt x="12035" y="2584"/>
                </a:lnTo>
                <a:cubicBezTo>
                  <a:pt x="12193" y="1481"/>
                  <a:pt x="11374" y="694"/>
                  <a:pt x="10397" y="694"/>
                </a:cubicBezTo>
                <a:lnTo>
                  <a:pt x="9830" y="694"/>
                </a:lnTo>
                <a:cubicBezTo>
                  <a:pt x="9609" y="284"/>
                  <a:pt x="9137" y="1"/>
                  <a:pt x="86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3" name="Google Shape;7793;p76"/>
          <p:cNvSpPr/>
          <p:nvPr/>
        </p:nvSpPr>
        <p:spPr>
          <a:xfrm>
            <a:off x="5010131" y="3801502"/>
            <a:ext cx="653088" cy="631841"/>
          </a:xfrm>
          <a:custGeom>
            <a:avLst/>
            <a:gdLst/>
            <a:ahLst/>
            <a:cxnLst/>
            <a:rect l="l" t="t" r="r" b="b"/>
            <a:pathLst>
              <a:path w="12603" h="12193" extrusionOk="0">
                <a:moveTo>
                  <a:pt x="9547" y="5986"/>
                </a:moveTo>
                <a:cubicBezTo>
                  <a:pt x="9767" y="6364"/>
                  <a:pt x="9925" y="6742"/>
                  <a:pt x="10019" y="7152"/>
                </a:cubicBezTo>
                <a:lnTo>
                  <a:pt x="8381" y="7152"/>
                </a:lnTo>
                <a:lnTo>
                  <a:pt x="9547" y="5986"/>
                </a:lnTo>
                <a:close/>
                <a:moveTo>
                  <a:pt x="9988" y="7845"/>
                </a:moveTo>
                <a:cubicBezTo>
                  <a:pt x="9925" y="8255"/>
                  <a:pt x="9767" y="8633"/>
                  <a:pt x="9515" y="8979"/>
                </a:cubicBezTo>
                <a:lnTo>
                  <a:pt x="8381" y="7845"/>
                </a:lnTo>
                <a:close/>
                <a:moveTo>
                  <a:pt x="7152" y="8349"/>
                </a:moveTo>
                <a:lnTo>
                  <a:pt x="7152" y="9987"/>
                </a:lnTo>
                <a:cubicBezTo>
                  <a:pt x="6774" y="9924"/>
                  <a:pt x="6365" y="9767"/>
                  <a:pt x="6018" y="9515"/>
                </a:cubicBezTo>
                <a:lnTo>
                  <a:pt x="7152" y="8349"/>
                </a:lnTo>
                <a:close/>
                <a:moveTo>
                  <a:pt x="7877" y="8349"/>
                </a:moveTo>
                <a:lnTo>
                  <a:pt x="9011" y="9515"/>
                </a:lnTo>
                <a:cubicBezTo>
                  <a:pt x="8665" y="9735"/>
                  <a:pt x="8255" y="9893"/>
                  <a:pt x="7877" y="9987"/>
                </a:cubicBezTo>
                <a:lnTo>
                  <a:pt x="7877" y="8349"/>
                </a:lnTo>
                <a:close/>
                <a:moveTo>
                  <a:pt x="10555" y="4947"/>
                </a:moveTo>
                <a:cubicBezTo>
                  <a:pt x="11815" y="6522"/>
                  <a:pt x="11721" y="8790"/>
                  <a:pt x="10271" y="10240"/>
                </a:cubicBezTo>
                <a:cubicBezTo>
                  <a:pt x="9506" y="11022"/>
                  <a:pt x="8502" y="11409"/>
                  <a:pt x="7503" y="11409"/>
                </a:cubicBezTo>
                <a:cubicBezTo>
                  <a:pt x="6611" y="11409"/>
                  <a:pt x="5723" y="11101"/>
                  <a:pt x="5010" y="10492"/>
                </a:cubicBezTo>
                <a:lnTo>
                  <a:pt x="5514" y="9987"/>
                </a:lnTo>
                <a:cubicBezTo>
                  <a:pt x="6089" y="10447"/>
                  <a:pt x="6788" y="10671"/>
                  <a:pt x="7489" y="10671"/>
                </a:cubicBezTo>
                <a:cubicBezTo>
                  <a:pt x="8325" y="10671"/>
                  <a:pt x="9165" y="10352"/>
                  <a:pt x="9799" y="9735"/>
                </a:cubicBezTo>
                <a:cubicBezTo>
                  <a:pt x="10996" y="8570"/>
                  <a:pt x="11059" y="6711"/>
                  <a:pt x="10051" y="5451"/>
                </a:cubicBezTo>
                <a:lnTo>
                  <a:pt x="10555" y="4947"/>
                </a:lnTo>
                <a:close/>
                <a:moveTo>
                  <a:pt x="5703" y="2143"/>
                </a:moveTo>
                <a:cubicBezTo>
                  <a:pt x="7404" y="2269"/>
                  <a:pt x="8948" y="3371"/>
                  <a:pt x="9641" y="4947"/>
                </a:cubicBezTo>
                <a:lnTo>
                  <a:pt x="4254" y="10334"/>
                </a:lnTo>
                <a:cubicBezTo>
                  <a:pt x="4096" y="10492"/>
                  <a:pt x="4096" y="10681"/>
                  <a:pt x="4254" y="10838"/>
                </a:cubicBezTo>
                <a:cubicBezTo>
                  <a:pt x="4506" y="11090"/>
                  <a:pt x="4758" y="11279"/>
                  <a:pt x="5042" y="11468"/>
                </a:cubicBezTo>
                <a:cubicBezTo>
                  <a:pt x="2584" y="11185"/>
                  <a:pt x="694" y="9137"/>
                  <a:pt x="694" y="6742"/>
                </a:cubicBezTo>
                <a:cubicBezTo>
                  <a:pt x="694" y="4317"/>
                  <a:pt x="2584" y="2300"/>
                  <a:pt x="5010" y="2143"/>
                </a:cubicBezTo>
                <a:lnTo>
                  <a:pt x="5010" y="3056"/>
                </a:lnTo>
                <a:cubicBezTo>
                  <a:pt x="4979" y="2993"/>
                  <a:pt x="4915" y="2993"/>
                  <a:pt x="4884" y="2962"/>
                </a:cubicBezTo>
                <a:cubicBezTo>
                  <a:pt x="4805" y="2883"/>
                  <a:pt x="4719" y="2844"/>
                  <a:pt x="4632" y="2844"/>
                </a:cubicBezTo>
                <a:cubicBezTo>
                  <a:pt x="4545" y="2844"/>
                  <a:pt x="4459" y="2883"/>
                  <a:pt x="4380" y="2962"/>
                </a:cubicBezTo>
                <a:cubicBezTo>
                  <a:pt x="4222" y="3119"/>
                  <a:pt x="4222" y="3308"/>
                  <a:pt x="4380" y="3466"/>
                </a:cubicBezTo>
                <a:cubicBezTo>
                  <a:pt x="4663" y="3750"/>
                  <a:pt x="4979" y="3876"/>
                  <a:pt x="5357" y="3876"/>
                </a:cubicBezTo>
                <a:cubicBezTo>
                  <a:pt x="5766" y="3876"/>
                  <a:pt x="6081" y="3718"/>
                  <a:pt x="6333" y="3466"/>
                </a:cubicBezTo>
                <a:cubicBezTo>
                  <a:pt x="6491" y="3308"/>
                  <a:pt x="6491" y="3119"/>
                  <a:pt x="6333" y="2962"/>
                </a:cubicBezTo>
                <a:cubicBezTo>
                  <a:pt x="6254" y="2883"/>
                  <a:pt x="6168" y="2844"/>
                  <a:pt x="6081" y="2844"/>
                </a:cubicBezTo>
                <a:cubicBezTo>
                  <a:pt x="5995" y="2844"/>
                  <a:pt x="5908" y="2883"/>
                  <a:pt x="5829" y="2962"/>
                </a:cubicBezTo>
                <a:cubicBezTo>
                  <a:pt x="5798" y="2993"/>
                  <a:pt x="5766" y="3056"/>
                  <a:pt x="5703" y="3056"/>
                </a:cubicBezTo>
                <a:lnTo>
                  <a:pt x="5703" y="2143"/>
                </a:lnTo>
                <a:close/>
                <a:moveTo>
                  <a:pt x="3907" y="0"/>
                </a:moveTo>
                <a:cubicBezTo>
                  <a:pt x="3687" y="0"/>
                  <a:pt x="3529" y="158"/>
                  <a:pt x="3529" y="379"/>
                </a:cubicBezTo>
                <a:cubicBezTo>
                  <a:pt x="3529" y="568"/>
                  <a:pt x="3687" y="725"/>
                  <a:pt x="3907" y="725"/>
                </a:cubicBezTo>
                <a:cubicBezTo>
                  <a:pt x="4380" y="725"/>
                  <a:pt x="4758" y="1040"/>
                  <a:pt x="4915" y="1481"/>
                </a:cubicBezTo>
                <a:cubicBezTo>
                  <a:pt x="2175" y="1670"/>
                  <a:pt x="1" y="4002"/>
                  <a:pt x="1" y="6774"/>
                </a:cubicBezTo>
                <a:cubicBezTo>
                  <a:pt x="1" y="9735"/>
                  <a:pt x="2427" y="12193"/>
                  <a:pt x="5420" y="12193"/>
                </a:cubicBezTo>
                <a:cubicBezTo>
                  <a:pt x="5798" y="12193"/>
                  <a:pt x="6144" y="12130"/>
                  <a:pt x="6522" y="12067"/>
                </a:cubicBezTo>
                <a:cubicBezTo>
                  <a:pt x="6858" y="12144"/>
                  <a:pt x="7200" y="12182"/>
                  <a:pt x="7541" y="12182"/>
                </a:cubicBezTo>
                <a:cubicBezTo>
                  <a:pt x="8738" y="12182"/>
                  <a:pt x="9931" y="11714"/>
                  <a:pt x="10838" y="10807"/>
                </a:cubicBezTo>
                <a:cubicBezTo>
                  <a:pt x="12603" y="8948"/>
                  <a:pt x="12603" y="6049"/>
                  <a:pt x="10775" y="4222"/>
                </a:cubicBezTo>
                <a:cubicBezTo>
                  <a:pt x="10697" y="4143"/>
                  <a:pt x="10610" y="4104"/>
                  <a:pt x="10523" y="4104"/>
                </a:cubicBezTo>
                <a:cubicBezTo>
                  <a:pt x="10437" y="4104"/>
                  <a:pt x="10350" y="4143"/>
                  <a:pt x="10271" y="4222"/>
                </a:cubicBezTo>
                <a:lnTo>
                  <a:pt x="10114" y="4380"/>
                </a:lnTo>
                <a:cubicBezTo>
                  <a:pt x="9295" y="2741"/>
                  <a:pt x="7593" y="1544"/>
                  <a:pt x="5640" y="1418"/>
                </a:cubicBezTo>
                <a:cubicBezTo>
                  <a:pt x="5483" y="599"/>
                  <a:pt x="4758" y="0"/>
                  <a:pt x="39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794" name="Google Shape;7794;p76"/>
          <p:cNvGrpSpPr/>
          <p:nvPr/>
        </p:nvGrpSpPr>
        <p:grpSpPr>
          <a:xfrm>
            <a:off x="8951955" y="2251889"/>
            <a:ext cx="551883" cy="630235"/>
            <a:chOff x="-17545650" y="2051350"/>
            <a:chExt cx="266250" cy="304050"/>
          </a:xfrm>
        </p:grpSpPr>
        <p:sp>
          <p:nvSpPr>
            <p:cNvPr id="7795" name="Google Shape;7795;p76"/>
            <p:cNvSpPr/>
            <p:nvPr/>
          </p:nvSpPr>
          <p:spPr>
            <a:xfrm>
              <a:off x="-17475550" y="22301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6" name="Google Shape;7796;p76"/>
            <p:cNvSpPr/>
            <p:nvPr/>
          </p:nvSpPr>
          <p:spPr>
            <a:xfrm>
              <a:off x="-1745822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7" name="Google Shape;7797;p76"/>
            <p:cNvSpPr/>
            <p:nvPr/>
          </p:nvSpPr>
          <p:spPr>
            <a:xfrm>
              <a:off x="-17493675" y="2212025"/>
              <a:ext cx="18150" cy="18150"/>
            </a:xfrm>
            <a:custGeom>
              <a:avLst/>
              <a:gdLst/>
              <a:ahLst/>
              <a:cxnLst/>
              <a:rect l="l" t="t" r="r" b="b"/>
              <a:pathLst>
                <a:path w="726" h="726" extrusionOk="0">
                  <a:moveTo>
                    <a:pt x="379" y="1"/>
                  </a:moveTo>
                  <a:cubicBezTo>
                    <a:pt x="158" y="1"/>
                    <a:pt x="1" y="158"/>
                    <a:pt x="1" y="379"/>
                  </a:cubicBezTo>
                  <a:cubicBezTo>
                    <a:pt x="1" y="568"/>
                    <a:pt x="158" y="725"/>
                    <a:pt x="379" y="725"/>
                  </a:cubicBezTo>
                  <a:cubicBezTo>
                    <a:pt x="568" y="725"/>
                    <a:pt x="725" y="568"/>
                    <a:pt x="725" y="379"/>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798" name="Google Shape;7798;p76"/>
            <p:cNvSpPr/>
            <p:nvPr/>
          </p:nvSpPr>
          <p:spPr>
            <a:xfrm>
              <a:off x="-17545650" y="2051350"/>
              <a:ext cx="266250" cy="304050"/>
            </a:xfrm>
            <a:custGeom>
              <a:avLst/>
              <a:gdLst/>
              <a:ahLst/>
              <a:cxnLst/>
              <a:rect l="l" t="t" r="r" b="b"/>
              <a:pathLst>
                <a:path w="10650" h="12162" extrusionOk="0">
                  <a:moveTo>
                    <a:pt x="5640" y="694"/>
                  </a:moveTo>
                  <a:lnTo>
                    <a:pt x="5640" y="1072"/>
                  </a:lnTo>
                  <a:cubicBezTo>
                    <a:pt x="5640" y="1387"/>
                    <a:pt x="5797" y="1671"/>
                    <a:pt x="5986" y="1860"/>
                  </a:cubicBezTo>
                  <a:cubicBezTo>
                    <a:pt x="5797" y="2017"/>
                    <a:pt x="5577" y="2143"/>
                    <a:pt x="5293" y="2143"/>
                  </a:cubicBezTo>
                  <a:cubicBezTo>
                    <a:pt x="5010" y="2143"/>
                    <a:pt x="4789" y="2017"/>
                    <a:pt x="4569" y="1860"/>
                  </a:cubicBezTo>
                  <a:cubicBezTo>
                    <a:pt x="4821" y="1702"/>
                    <a:pt x="4915" y="1387"/>
                    <a:pt x="4915" y="1072"/>
                  </a:cubicBezTo>
                  <a:lnTo>
                    <a:pt x="4915" y="694"/>
                  </a:lnTo>
                  <a:close/>
                  <a:moveTo>
                    <a:pt x="7404" y="2143"/>
                  </a:moveTo>
                  <a:cubicBezTo>
                    <a:pt x="8507" y="2143"/>
                    <a:pt x="9452" y="2868"/>
                    <a:pt x="9799" y="3844"/>
                  </a:cubicBezTo>
                  <a:cubicBezTo>
                    <a:pt x="9893" y="4065"/>
                    <a:pt x="9704" y="4285"/>
                    <a:pt x="9452" y="4285"/>
                  </a:cubicBezTo>
                  <a:lnTo>
                    <a:pt x="8475" y="4285"/>
                  </a:lnTo>
                  <a:cubicBezTo>
                    <a:pt x="8381" y="3403"/>
                    <a:pt x="7971" y="2647"/>
                    <a:pt x="7278" y="2143"/>
                  </a:cubicBezTo>
                  <a:close/>
                  <a:moveTo>
                    <a:pt x="3277" y="2143"/>
                  </a:moveTo>
                  <a:cubicBezTo>
                    <a:pt x="2615" y="2647"/>
                    <a:pt x="2206" y="3435"/>
                    <a:pt x="2080" y="4285"/>
                  </a:cubicBezTo>
                  <a:lnTo>
                    <a:pt x="1103" y="4285"/>
                  </a:lnTo>
                  <a:cubicBezTo>
                    <a:pt x="1092" y="4287"/>
                    <a:pt x="1081" y="4288"/>
                    <a:pt x="1071" y="4288"/>
                  </a:cubicBezTo>
                  <a:cubicBezTo>
                    <a:pt x="893" y="4288"/>
                    <a:pt x="729" y="4052"/>
                    <a:pt x="788" y="3844"/>
                  </a:cubicBezTo>
                  <a:cubicBezTo>
                    <a:pt x="1135" y="2805"/>
                    <a:pt x="2080" y="2143"/>
                    <a:pt x="3151" y="2143"/>
                  </a:cubicBezTo>
                  <a:close/>
                  <a:moveTo>
                    <a:pt x="6428" y="2458"/>
                  </a:moveTo>
                  <a:cubicBezTo>
                    <a:pt x="7152" y="2805"/>
                    <a:pt x="7625" y="3529"/>
                    <a:pt x="7719" y="4317"/>
                  </a:cubicBezTo>
                  <a:lnTo>
                    <a:pt x="2773" y="4317"/>
                  </a:lnTo>
                  <a:cubicBezTo>
                    <a:pt x="2962" y="3529"/>
                    <a:pt x="3435" y="2805"/>
                    <a:pt x="4128" y="2458"/>
                  </a:cubicBezTo>
                  <a:cubicBezTo>
                    <a:pt x="4443" y="2742"/>
                    <a:pt x="4852" y="2899"/>
                    <a:pt x="5293" y="2899"/>
                  </a:cubicBezTo>
                  <a:cubicBezTo>
                    <a:pt x="5734" y="2899"/>
                    <a:pt x="6112" y="2742"/>
                    <a:pt x="6428" y="2458"/>
                  </a:cubicBezTo>
                  <a:close/>
                  <a:moveTo>
                    <a:pt x="9168" y="5010"/>
                  </a:moveTo>
                  <a:lnTo>
                    <a:pt x="9168" y="5861"/>
                  </a:lnTo>
                  <a:lnTo>
                    <a:pt x="9231" y="5861"/>
                  </a:lnTo>
                  <a:cubicBezTo>
                    <a:pt x="9231" y="8381"/>
                    <a:pt x="7656" y="10618"/>
                    <a:pt x="5293" y="11437"/>
                  </a:cubicBezTo>
                  <a:cubicBezTo>
                    <a:pt x="2930" y="10618"/>
                    <a:pt x="1355" y="8350"/>
                    <a:pt x="1355" y="5861"/>
                  </a:cubicBezTo>
                  <a:lnTo>
                    <a:pt x="1355" y="5010"/>
                  </a:lnTo>
                  <a:close/>
                  <a:moveTo>
                    <a:pt x="4600" y="1"/>
                  </a:moveTo>
                  <a:cubicBezTo>
                    <a:pt x="4411" y="1"/>
                    <a:pt x="4254" y="190"/>
                    <a:pt x="4254" y="379"/>
                  </a:cubicBezTo>
                  <a:lnTo>
                    <a:pt x="4254" y="1135"/>
                  </a:lnTo>
                  <a:cubicBezTo>
                    <a:pt x="4254" y="1324"/>
                    <a:pt x="4096" y="1482"/>
                    <a:pt x="3907" y="1482"/>
                  </a:cubicBezTo>
                  <a:lnTo>
                    <a:pt x="3183" y="1482"/>
                  </a:lnTo>
                  <a:cubicBezTo>
                    <a:pt x="1828" y="1482"/>
                    <a:pt x="599" y="2332"/>
                    <a:pt x="158" y="3655"/>
                  </a:cubicBezTo>
                  <a:cubicBezTo>
                    <a:pt x="1" y="4159"/>
                    <a:pt x="253" y="4695"/>
                    <a:pt x="725" y="4916"/>
                  </a:cubicBezTo>
                  <a:lnTo>
                    <a:pt x="725" y="5861"/>
                  </a:lnTo>
                  <a:cubicBezTo>
                    <a:pt x="725" y="7278"/>
                    <a:pt x="1135" y="8602"/>
                    <a:pt x="1985" y="9736"/>
                  </a:cubicBezTo>
                  <a:cubicBezTo>
                    <a:pt x="2804" y="10901"/>
                    <a:pt x="3939" y="11721"/>
                    <a:pt x="5230" y="12162"/>
                  </a:cubicBezTo>
                  <a:lnTo>
                    <a:pt x="5482" y="12162"/>
                  </a:lnTo>
                  <a:cubicBezTo>
                    <a:pt x="6806" y="11721"/>
                    <a:pt x="7908" y="10901"/>
                    <a:pt x="8759" y="9736"/>
                  </a:cubicBezTo>
                  <a:cubicBezTo>
                    <a:pt x="9578" y="8602"/>
                    <a:pt x="10019" y="7278"/>
                    <a:pt x="10019" y="5861"/>
                  </a:cubicBezTo>
                  <a:lnTo>
                    <a:pt x="10019" y="4916"/>
                  </a:lnTo>
                  <a:cubicBezTo>
                    <a:pt x="10397" y="4664"/>
                    <a:pt x="10649" y="4159"/>
                    <a:pt x="10492" y="3655"/>
                  </a:cubicBezTo>
                  <a:cubicBezTo>
                    <a:pt x="10051" y="2332"/>
                    <a:pt x="8822" y="1482"/>
                    <a:pt x="7436" y="1482"/>
                  </a:cubicBezTo>
                  <a:lnTo>
                    <a:pt x="6743" y="1482"/>
                  </a:lnTo>
                  <a:cubicBezTo>
                    <a:pt x="6554" y="1482"/>
                    <a:pt x="6396" y="1324"/>
                    <a:pt x="6396" y="1135"/>
                  </a:cubicBezTo>
                  <a:lnTo>
                    <a:pt x="6396" y="379"/>
                  </a:lnTo>
                  <a:cubicBezTo>
                    <a:pt x="6396" y="190"/>
                    <a:pt x="6238"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799" name="Google Shape;7799;p76"/>
          <p:cNvSpPr/>
          <p:nvPr/>
        </p:nvSpPr>
        <p:spPr>
          <a:xfrm>
            <a:off x="8910560" y="3031935"/>
            <a:ext cx="631841" cy="633448"/>
          </a:xfrm>
          <a:custGeom>
            <a:avLst/>
            <a:gdLst/>
            <a:ahLst/>
            <a:cxnLst/>
            <a:rect l="l" t="t" r="r" b="b"/>
            <a:pathLst>
              <a:path w="12193" h="12224" extrusionOk="0">
                <a:moveTo>
                  <a:pt x="6144" y="788"/>
                </a:moveTo>
                <a:cubicBezTo>
                  <a:pt x="6805" y="788"/>
                  <a:pt x="7467" y="914"/>
                  <a:pt x="8097" y="1229"/>
                </a:cubicBezTo>
                <a:cubicBezTo>
                  <a:pt x="7625" y="1859"/>
                  <a:pt x="6931" y="2205"/>
                  <a:pt x="6144" y="2205"/>
                </a:cubicBezTo>
                <a:cubicBezTo>
                  <a:pt x="5356" y="2205"/>
                  <a:pt x="4632" y="1859"/>
                  <a:pt x="4159" y="1229"/>
                </a:cubicBezTo>
                <a:cubicBezTo>
                  <a:pt x="4758" y="945"/>
                  <a:pt x="5482" y="788"/>
                  <a:pt x="6144" y="788"/>
                </a:cubicBezTo>
                <a:close/>
                <a:moveTo>
                  <a:pt x="8727" y="1544"/>
                </a:moveTo>
                <a:cubicBezTo>
                  <a:pt x="9767" y="2268"/>
                  <a:pt x="10523" y="3371"/>
                  <a:pt x="10744" y="4663"/>
                </a:cubicBezTo>
                <a:cubicBezTo>
                  <a:pt x="10775" y="4852"/>
                  <a:pt x="10586" y="5041"/>
                  <a:pt x="10397" y="5041"/>
                </a:cubicBezTo>
                <a:lnTo>
                  <a:pt x="1922" y="5041"/>
                </a:lnTo>
                <a:cubicBezTo>
                  <a:pt x="1639" y="5041"/>
                  <a:pt x="1481" y="4883"/>
                  <a:pt x="1544" y="4663"/>
                </a:cubicBezTo>
                <a:cubicBezTo>
                  <a:pt x="1733" y="3371"/>
                  <a:pt x="2489" y="2268"/>
                  <a:pt x="3529" y="1544"/>
                </a:cubicBezTo>
                <a:cubicBezTo>
                  <a:pt x="4128" y="2363"/>
                  <a:pt x="5104" y="2899"/>
                  <a:pt x="6144" y="2899"/>
                </a:cubicBezTo>
                <a:cubicBezTo>
                  <a:pt x="7152" y="2899"/>
                  <a:pt x="8160" y="2426"/>
                  <a:pt x="8727" y="1544"/>
                </a:cubicBezTo>
                <a:close/>
                <a:moveTo>
                  <a:pt x="10082" y="5765"/>
                </a:moveTo>
                <a:lnTo>
                  <a:pt x="10082" y="6144"/>
                </a:lnTo>
                <a:cubicBezTo>
                  <a:pt x="10082" y="6364"/>
                  <a:pt x="9924" y="6522"/>
                  <a:pt x="9735" y="6522"/>
                </a:cubicBezTo>
                <a:lnTo>
                  <a:pt x="2552" y="6522"/>
                </a:lnTo>
                <a:cubicBezTo>
                  <a:pt x="2363" y="6522"/>
                  <a:pt x="2206" y="6364"/>
                  <a:pt x="2206" y="6144"/>
                </a:cubicBezTo>
                <a:lnTo>
                  <a:pt x="2206" y="5765"/>
                </a:lnTo>
                <a:close/>
                <a:moveTo>
                  <a:pt x="6112" y="0"/>
                </a:moveTo>
                <a:cubicBezTo>
                  <a:pt x="3466" y="0"/>
                  <a:pt x="1229" y="1985"/>
                  <a:pt x="788" y="4505"/>
                </a:cubicBezTo>
                <a:cubicBezTo>
                  <a:pt x="693" y="4978"/>
                  <a:pt x="977" y="5450"/>
                  <a:pt x="1418" y="5639"/>
                </a:cubicBezTo>
                <a:lnTo>
                  <a:pt x="1418" y="6112"/>
                </a:lnTo>
                <a:cubicBezTo>
                  <a:pt x="1418" y="6585"/>
                  <a:pt x="1733" y="6994"/>
                  <a:pt x="2111" y="7152"/>
                </a:cubicBezTo>
                <a:lnTo>
                  <a:pt x="2111" y="7939"/>
                </a:lnTo>
                <a:cubicBezTo>
                  <a:pt x="2111" y="8317"/>
                  <a:pt x="1796" y="8632"/>
                  <a:pt x="1418" y="8632"/>
                </a:cubicBezTo>
                <a:cubicBezTo>
                  <a:pt x="1009" y="8632"/>
                  <a:pt x="693" y="8317"/>
                  <a:pt x="693" y="7939"/>
                </a:cubicBezTo>
                <a:lnTo>
                  <a:pt x="693" y="7561"/>
                </a:lnTo>
                <a:cubicBezTo>
                  <a:pt x="693" y="7372"/>
                  <a:pt x="536" y="7215"/>
                  <a:pt x="347" y="7215"/>
                </a:cubicBezTo>
                <a:cubicBezTo>
                  <a:pt x="158" y="7215"/>
                  <a:pt x="0" y="7372"/>
                  <a:pt x="0" y="7561"/>
                </a:cubicBezTo>
                <a:lnTo>
                  <a:pt x="0" y="7939"/>
                </a:lnTo>
                <a:cubicBezTo>
                  <a:pt x="0" y="8727"/>
                  <a:pt x="630" y="9357"/>
                  <a:pt x="1418" y="9357"/>
                </a:cubicBezTo>
                <a:cubicBezTo>
                  <a:pt x="2206" y="9357"/>
                  <a:pt x="2836" y="8727"/>
                  <a:pt x="2836" y="7939"/>
                </a:cubicBezTo>
                <a:lnTo>
                  <a:pt x="2836" y="7215"/>
                </a:lnTo>
                <a:lnTo>
                  <a:pt x="4285" y="7215"/>
                </a:lnTo>
                <a:lnTo>
                  <a:pt x="4285" y="10806"/>
                </a:lnTo>
                <a:cubicBezTo>
                  <a:pt x="4285" y="11184"/>
                  <a:pt x="3970" y="11499"/>
                  <a:pt x="3592" y="11499"/>
                </a:cubicBezTo>
                <a:cubicBezTo>
                  <a:pt x="3182" y="11499"/>
                  <a:pt x="2867" y="11184"/>
                  <a:pt x="2867" y="10806"/>
                </a:cubicBezTo>
                <a:lnTo>
                  <a:pt x="2867" y="10460"/>
                </a:lnTo>
                <a:cubicBezTo>
                  <a:pt x="2867" y="10239"/>
                  <a:pt x="2710" y="10082"/>
                  <a:pt x="2521" y="10082"/>
                </a:cubicBezTo>
                <a:cubicBezTo>
                  <a:pt x="2332" y="10082"/>
                  <a:pt x="2174" y="10239"/>
                  <a:pt x="2174" y="10460"/>
                </a:cubicBezTo>
                <a:lnTo>
                  <a:pt x="2174" y="10806"/>
                </a:lnTo>
                <a:cubicBezTo>
                  <a:pt x="2174" y="11594"/>
                  <a:pt x="2804" y="12224"/>
                  <a:pt x="3592" y="12224"/>
                </a:cubicBezTo>
                <a:cubicBezTo>
                  <a:pt x="4380" y="12224"/>
                  <a:pt x="5010" y="11594"/>
                  <a:pt x="5010" y="10806"/>
                </a:cubicBezTo>
                <a:lnTo>
                  <a:pt x="5010" y="7215"/>
                </a:lnTo>
                <a:lnTo>
                  <a:pt x="7120" y="7215"/>
                </a:lnTo>
                <a:lnTo>
                  <a:pt x="7120" y="10806"/>
                </a:lnTo>
                <a:cubicBezTo>
                  <a:pt x="7120" y="11594"/>
                  <a:pt x="7751" y="12224"/>
                  <a:pt x="8538" y="12224"/>
                </a:cubicBezTo>
                <a:cubicBezTo>
                  <a:pt x="9326" y="12224"/>
                  <a:pt x="9956" y="11594"/>
                  <a:pt x="9956" y="10806"/>
                </a:cubicBezTo>
                <a:lnTo>
                  <a:pt x="9956" y="10460"/>
                </a:lnTo>
                <a:cubicBezTo>
                  <a:pt x="9956" y="10239"/>
                  <a:pt x="9798" y="10082"/>
                  <a:pt x="9609" y="10082"/>
                </a:cubicBezTo>
                <a:cubicBezTo>
                  <a:pt x="9420" y="10082"/>
                  <a:pt x="9263" y="10239"/>
                  <a:pt x="9263" y="10460"/>
                </a:cubicBezTo>
                <a:lnTo>
                  <a:pt x="9263" y="10806"/>
                </a:lnTo>
                <a:cubicBezTo>
                  <a:pt x="9263" y="11184"/>
                  <a:pt x="8948" y="11499"/>
                  <a:pt x="8538" y="11499"/>
                </a:cubicBezTo>
                <a:cubicBezTo>
                  <a:pt x="8160" y="11499"/>
                  <a:pt x="7845" y="11184"/>
                  <a:pt x="7845" y="10806"/>
                </a:cubicBezTo>
                <a:lnTo>
                  <a:pt x="7845" y="7215"/>
                </a:lnTo>
                <a:lnTo>
                  <a:pt x="9294" y="7215"/>
                </a:lnTo>
                <a:lnTo>
                  <a:pt x="9294" y="7939"/>
                </a:lnTo>
                <a:cubicBezTo>
                  <a:pt x="9294" y="8727"/>
                  <a:pt x="9924" y="9357"/>
                  <a:pt x="10712" y="9357"/>
                </a:cubicBezTo>
                <a:cubicBezTo>
                  <a:pt x="11500" y="9357"/>
                  <a:pt x="12130" y="8727"/>
                  <a:pt x="12130" y="7939"/>
                </a:cubicBezTo>
                <a:lnTo>
                  <a:pt x="12130" y="7561"/>
                </a:lnTo>
                <a:cubicBezTo>
                  <a:pt x="12193" y="7372"/>
                  <a:pt x="12035" y="7215"/>
                  <a:pt x="11846" y="7215"/>
                </a:cubicBezTo>
                <a:cubicBezTo>
                  <a:pt x="11657" y="7215"/>
                  <a:pt x="11500" y="7372"/>
                  <a:pt x="11500" y="7561"/>
                </a:cubicBezTo>
                <a:lnTo>
                  <a:pt x="11500" y="7939"/>
                </a:lnTo>
                <a:cubicBezTo>
                  <a:pt x="11500" y="8317"/>
                  <a:pt x="11185" y="8632"/>
                  <a:pt x="10775" y="8632"/>
                </a:cubicBezTo>
                <a:cubicBezTo>
                  <a:pt x="10397" y="8632"/>
                  <a:pt x="10082" y="8317"/>
                  <a:pt x="10082" y="7939"/>
                </a:cubicBezTo>
                <a:lnTo>
                  <a:pt x="10082" y="7152"/>
                </a:lnTo>
                <a:cubicBezTo>
                  <a:pt x="10523" y="6994"/>
                  <a:pt x="10775" y="6585"/>
                  <a:pt x="10775" y="6112"/>
                </a:cubicBezTo>
                <a:lnTo>
                  <a:pt x="10775" y="5639"/>
                </a:lnTo>
                <a:cubicBezTo>
                  <a:pt x="11216" y="5450"/>
                  <a:pt x="11500" y="4978"/>
                  <a:pt x="11405" y="4505"/>
                </a:cubicBezTo>
                <a:cubicBezTo>
                  <a:pt x="10996" y="1953"/>
                  <a:pt x="8727" y="0"/>
                  <a:pt x="6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00" name="Google Shape;7800;p76"/>
          <p:cNvGrpSpPr/>
          <p:nvPr/>
        </p:nvGrpSpPr>
        <p:grpSpPr>
          <a:xfrm>
            <a:off x="8912779" y="3820766"/>
            <a:ext cx="630235" cy="592717"/>
            <a:chOff x="-17565350" y="2809825"/>
            <a:chExt cx="304050" cy="285950"/>
          </a:xfrm>
        </p:grpSpPr>
        <p:sp>
          <p:nvSpPr>
            <p:cNvPr id="7801" name="Google Shape;7801;p76"/>
            <p:cNvSpPr/>
            <p:nvPr/>
          </p:nvSpPr>
          <p:spPr>
            <a:xfrm>
              <a:off x="-17458225" y="2970500"/>
              <a:ext cx="18150" cy="17375"/>
            </a:xfrm>
            <a:custGeom>
              <a:avLst/>
              <a:gdLst/>
              <a:ahLst/>
              <a:cxnLst/>
              <a:rect l="l" t="t" r="r" b="b"/>
              <a:pathLst>
                <a:path w="726" h="695" extrusionOk="0">
                  <a:moveTo>
                    <a:pt x="379" y="1"/>
                  </a:moveTo>
                  <a:cubicBezTo>
                    <a:pt x="158" y="1"/>
                    <a:pt x="1" y="158"/>
                    <a:pt x="1" y="347"/>
                  </a:cubicBezTo>
                  <a:cubicBezTo>
                    <a:pt x="1" y="537"/>
                    <a:pt x="158" y="694"/>
                    <a:pt x="379" y="694"/>
                  </a:cubicBezTo>
                  <a:cubicBezTo>
                    <a:pt x="568" y="694"/>
                    <a:pt x="725" y="537"/>
                    <a:pt x="725" y="347"/>
                  </a:cubicBezTo>
                  <a:cubicBezTo>
                    <a:pt x="725" y="158"/>
                    <a:pt x="568" y="1"/>
                    <a:pt x="37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2" name="Google Shape;7802;p76"/>
            <p:cNvSpPr/>
            <p:nvPr/>
          </p:nvSpPr>
          <p:spPr>
            <a:xfrm>
              <a:off x="-17385750" y="297050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3" name="Google Shape;7803;p76"/>
            <p:cNvSpPr/>
            <p:nvPr/>
          </p:nvSpPr>
          <p:spPr>
            <a:xfrm>
              <a:off x="-17565350" y="2809825"/>
              <a:ext cx="304050" cy="285950"/>
            </a:xfrm>
            <a:custGeom>
              <a:avLst/>
              <a:gdLst/>
              <a:ahLst/>
              <a:cxnLst/>
              <a:rect l="l" t="t" r="r" b="b"/>
              <a:pathLst>
                <a:path w="12162" h="11438" extrusionOk="0">
                  <a:moveTo>
                    <a:pt x="3183" y="726"/>
                  </a:moveTo>
                  <a:cubicBezTo>
                    <a:pt x="4191" y="726"/>
                    <a:pt x="4979" y="1513"/>
                    <a:pt x="4979" y="2490"/>
                  </a:cubicBezTo>
                  <a:cubicBezTo>
                    <a:pt x="4979" y="3466"/>
                    <a:pt x="4191" y="4254"/>
                    <a:pt x="3183" y="4254"/>
                  </a:cubicBezTo>
                  <a:cubicBezTo>
                    <a:pt x="2206" y="4254"/>
                    <a:pt x="1419" y="3466"/>
                    <a:pt x="1419" y="2490"/>
                  </a:cubicBezTo>
                  <a:cubicBezTo>
                    <a:pt x="1419" y="1545"/>
                    <a:pt x="2206" y="726"/>
                    <a:pt x="3183" y="726"/>
                  </a:cubicBezTo>
                  <a:close/>
                  <a:moveTo>
                    <a:pt x="8980" y="726"/>
                  </a:moveTo>
                  <a:cubicBezTo>
                    <a:pt x="9956" y="726"/>
                    <a:pt x="10744" y="1513"/>
                    <a:pt x="10744" y="2490"/>
                  </a:cubicBezTo>
                  <a:cubicBezTo>
                    <a:pt x="10744" y="3466"/>
                    <a:pt x="9956" y="4254"/>
                    <a:pt x="8980" y="4254"/>
                  </a:cubicBezTo>
                  <a:cubicBezTo>
                    <a:pt x="8003" y="4254"/>
                    <a:pt x="7216" y="3466"/>
                    <a:pt x="7216" y="2490"/>
                  </a:cubicBezTo>
                  <a:cubicBezTo>
                    <a:pt x="7184" y="1545"/>
                    <a:pt x="8003" y="726"/>
                    <a:pt x="8980" y="726"/>
                  </a:cubicBezTo>
                  <a:close/>
                  <a:moveTo>
                    <a:pt x="6491" y="2868"/>
                  </a:moveTo>
                  <a:cubicBezTo>
                    <a:pt x="6648" y="4097"/>
                    <a:pt x="7720" y="5010"/>
                    <a:pt x="8980" y="5010"/>
                  </a:cubicBezTo>
                  <a:cubicBezTo>
                    <a:pt x="9610" y="5010"/>
                    <a:pt x="10208" y="4758"/>
                    <a:pt x="10650" y="4380"/>
                  </a:cubicBezTo>
                  <a:cubicBezTo>
                    <a:pt x="11185" y="5042"/>
                    <a:pt x="11469" y="5924"/>
                    <a:pt x="11469" y="6774"/>
                  </a:cubicBezTo>
                  <a:cubicBezTo>
                    <a:pt x="11469" y="6964"/>
                    <a:pt x="11311" y="7121"/>
                    <a:pt x="11122" y="7121"/>
                  </a:cubicBezTo>
                  <a:lnTo>
                    <a:pt x="10965" y="7121"/>
                  </a:lnTo>
                  <a:cubicBezTo>
                    <a:pt x="10051" y="7121"/>
                    <a:pt x="9137" y="7405"/>
                    <a:pt x="8381" y="7909"/>
                  </a:cubicBezTo>
                  <a:cubicBezTo>
                    <a:pt x="7751" y="8350"/>
                    <a:pt x="7026" y="8602"/>
                    <a:pt x="6239" y="8602"/>
                  </a:cubicBezTo>
                  <a:lnTo>
                    <a:pt x="5955" y="8602"/>
                  </a:lnTo>
                  <a:cubicBezTo>
                    <a:pt x="5168" y="8602"/>
                    <a:pt x="4412" y="8350"/>
                    <a:pt x="3781" y="7909"/>
                  </a:cubicBezTo>
                  <a:cubicBezTo>
                    <a:pt x="2962" y="7373"/>
                    <a:pt x="2049" y="7121"/>
                    <a:pt x="1072" y="7121"/>
                  </a:cubicBezTo>
                  <a:cubicBezTo>
                    <a:pt x="883" y="7121"/>
                    <a:pt x="725" y="6964"/>
                    <a:pt x="725" y="6774"/>
                  </a:cubicBezTo>
                  <a:cubicBezTo>
                    <a:pt x="725" y="5924"/>
                    <a:pt x="978" y="5042"/>
                    <a:pt x="1545" y="4380"/>
                  </a:cubicBezTo>
                  <a:cubicBezTo>
                    <a:pt x="1986" y="4758"/>
                    <a:pt x="2553" y="5010"/>
                    <a:pt x="3183" y="5010"/>
                  </a:cubicBezTo>
                  <a:cubicBezTo>
                    <a:pt x="4443" y="5010"/>
                    <a:pt x="5483" y="4065"/>
                    <a:pt x="5672" y="2868"/>
                  </a:cubicBezTo>
                  <a:close/>
                  <a:moveTo>
                    <a:pt x="1356" y="7877"/>
                  </a:moveTo>
                  <a:cubicBezTo>
                    <a:pt x="2112" y="7909"/>
                    <a:pt x="2805" y="8129"/>
                    <a:pt x="3403" y="8539"/>
                  </a:cubicBezTo>
                  <a:cubicBezTo>
                    <a:pt x="4160" y="9074"/>
                    <a:pt x="5042" y="9326"/>
                    <a:pt x="5955" y="9326"/>
                  </a:cubicBezTo>
                  <a:lnTo>
                    <a:pt x="6239" y="9326"/>
                  </a:lnTo>
                  <a:cubicBezTo>
                    <a:pt x="7153" y="9326"/>
                    <a:pt x="8035" y="9074"/>
                    <a:pt x="8791" y="8539"/>
                  </a:cubicBezTo>
                  <a:cubicBezTo>
                    <a:pt x="9389" y="8161"/>
                    <a:pt x="10145" y="7909"/>
                    <a:pt x="10839" y="7877"/>
                  </a:cubicBezTo>
                  <a:lnTo>
                    <a:pt x="10839" y="7877"/>
                  </a:lnTo>
                  <a:cubicBezTo>
                    <a:pt x="9925" y="9578"/>
                    <a:pt x="8066" y="10713"/>
                    <a:pt x="6113" y="10713"/>
                  </a:cubicBezTo>
                  <a:cubicBezTo>
                    <a:pt x="4097" y="10713"/>
                    <a:pt x="2301" y="9578"/>
                    <a:pt x="1356" y="7877"/>
                  </a:cubicBezTo>
                  <a:close/>
                  <a:moveTo>
                    <a:pt x="3214" y="1"/>
                  </a:moveTo>
                  <a:cubicBezTo>
                    <a:pt x="1828" y="1"/>
                    <a:pt x="725" y="1104"/>
                    <a:pt x="725" y="2490"/>
                  </a:cubicBezTo>
                  <a:cubicBezTo>
                    <a:pt x="725" y="2962"/>
                    <a:pt x="852" y="3403"/>
                    <a:pt x="1072" y="3782"/>
                  </a:cubicBezTo>
                  <a:cubicBezTo>
                    <a:pt x="379" y="4601"/>
                    <a:pt x="1" y="5672"/>
                    <a:pt x="1" y="6774"/>
                  </a:cubicBezTo>
                  <a:cubicBezTo>
                    <a:pt x="1" y="7121"/>
                    <a:pt x="221" y="7436"/>
                    <a:pt x="442" y="7657"/>
                  </a:cubicBezTo>
                  <a:cubicBezTo>
                    <a:pt x="1356" y="9862"/>
                    <a:pt x="3498" y="11437"/>
                    <a:pt x="6081" y="11437"/>
                  </a:cubicBezTo>
                  <a:cubicBezTo>
                    <a:pt x="8633" y="11437"/>
                    <a:pt x="10807" y="9862"/>
                    <a:pt x="11689" y="7657"/>
                  </a:cubicBezTo>
                  <a:cubicBezTo>
                    <a:pt x="12004" y="7436"/>
                    <a:pt x="12162" y="7121"/>
                    <a:pt x="12162" y="6774"/>
                  </a:cubicBezTo>
                  <a:cubicBezTo>
                    <a:pt x="12162" y="5672"/>
                    <a:pt x="11784" y="4664"/>
                    <a:pt x="11122" y="3782"/>
                  </a:cubicBezTo>
                  <a:cubicBezTo>
                    <a:pt x="11343" y="3403"/>
                    <a:pt x="11469" y="2962"/>
                    <a:pt x="11469" y="2490"/>
                  </a:cubicBezTo>
                  <a:cubicBezTo>
                    <a:pt x="11469" y="1104"/>
                    <a:pt x="10366" y="1"/>
                    <a:pt x="8980" y="1"/>
                  </a:cubicBezTo>
                  <a:cubicBezTo>
                    <a:pt x="7720" y="1"/>
                    <a:pt x="6711" y="946"/>
                    <a:pt x="6491" y="2143"/>
                  </a:cubicBezTo>
                  <a:lnTo>
                    <a:pt x="5672" y="2143"/>
                  </a:lnTo>
                  <a:cubicBezTo>
                    <a:pt x="5514" y="915"/>
                    <a:pt x="4475" y="1"/>
                    <a:pt x="32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4" name="Google Shape;7804;p76"/>
            <p:cNvSpPr/>
            <p:nvPr/>
          </p:nvSpPr>
          <p:spPr>
            <a:xfrm>
              <a:off x="-17368425" y="2846075"/>
              <a:ext cx="54350" cy="53575"/>
            </a:xfrm>
            <a:custGeom>
              <a:avLst/>
              <a:gdLst/>
              <a:ahLst/>
              <a:cxnLst/>
              <a:rect l="l" t="t" r="r" b="b"/>
              <a:pathLst>
                <a:path w="2174" h="2143" extrusionOk="0">
                  <a:moveTo>
                    <a:pt x="1103" y="693"/>
                  </a:moveTo>
                  <a:cubicBezTo>
                    <a:pt x="1292" y="693"/>
                    <a:pt x="1449" y="851"/>
                    <a:pt x="1449" y="1040"/>
                  </a:cubicBezTo>
                  <a:cubicBezTo>
                    <a:pt x="1449" y="1229"/>
                    <a:pt x="1292" y="1386"/>
                    <a:pt x="1103" y="1386"/>
                  </a:cubicBezTo>
                  <a:cubicBezTo>
                    <a:pt x="914" y="1386"/>
                    <a:pt x="756" y="1229"/>
                    <a:pt x="756" y="1040"/>
                  </a:cubicBezTo>
                  <a:cubicBezTo>
                    <a:pt x="756" y="851"/>
                    <a:pt x="914" y="693"/>
                    <a:pt x="1103" y="693"/>
                  </a:cubicBezTo>
                  <a:close/>
                  <a:moveTo>
                    <a:pt x="1103" y="0"/>
                  </a:moveTo>
                  <a:cubicBezTo>
                    <a:pt x="504" y="0"/>
                    <a:pt x="32" y="473"/>
                    <a:pt x="32" y="1071"/>
                  </a:cubicBezTo>
                  <a:cubicBezTo>
                    <a:pt x="0" y="1638"/>
                    <a:pt x="504" y="2143"/>
                    <a:pt x="1103" y="2143"/>
                  </a:cubicBezTo>
                  <a:cubicBezTo>
                    <a:pt x="1701" y="2143"/>
                    <a:pt x="2174" y="1670"/>
                    <a:pt x="2174" y="1071"/>
                  </a:cubicBezTo>
                  <a:cubicBezTo>
                    <a:pt x="2174" y="473"/>
                    <a:pt x="1701"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5" name="Google Shape;7805;p76"/>
            <p:cNvSpPr/>
            <p:nvPr/>
          </p:nvSpPr>
          <p:spPr>
            <a:xfrm>
              <a:off x="-17511775" y="2846075"/>
              <a:ext cx="52775" cy="53575"/>
            </a:xfrm>
            <a:custGeom>
              <a:avLst/>
              <a:gdLst/>
              <a:ahLst/>
              <a:cxnLst/>
              <a:rect l="l" t="t" r="r" b="b"/>
              <a:pathLst>
                <a:path w="2111" h="2143" extrusionOk="0">
                  <a:moveTo>
                    <a:pt x="1040" y="693"/>
                  </a:moveTo>
                  <a:cubicBezTo>
                    <a:pt x="1260" y="693"/>
                    <a:pt x="1418" y="851"/>
                    <a:pt x="1418" y="1040"/>
                  </a:cubicBezTo>
                  <a:cubicBezTo>
                    <a:pt x="1418" y="1229"/>
                    <a:pt x="1260" y="1386"/>
                    <a:pt x="1040" y="1386"/>
                  </a:cubicBezTo>
                  <a:cubicBezTo>
                    <a:pt x="851" y="1386"/>
                    <a:pt x="693" y="1229"/>
                    <a:pt x="693" y="1040"/>
                  </a:cubicBezTo>
                  <a:cubicBezTo>
                    <a:pt x="693" y="851"/>
                    <a:pt x="851" y="693"/>
                    <a:pt x="1040" y="693"/>
                  </a:cubicBezTo>
                  <a:close/>
                  <a:moveTo>
                    <a:pt x="1040" y="0"/>
                  </a:moveTo>
                  <a:cubicBezTo>
                    <a:pt x="473" y="0"/>
                    <a:pt x="0" y="473"/>
                    <a:pt x="0" y="1071"/>
                  </a:cubicBezTo>
                  <a:cubicBezTo>
                    <a:pt x="0" y="1638"/>
                    <a:pt x="473" y="2143"/>
                    <a:pt x="1040" y="2143"/>
                  </a:cubicBezTo>
                  <a:cubicBezTo>
                    <a:pt x="1638" y="2143"/>
                    <a:pt x="2111" y="1670"/>
                    <a:pt x="2111" y="1071"/>
                  </a:cubicBezTo>
                  <a:cubicBezTo>
                    <a:pt x="2111" y="473"/>
                    <a:pt x="1638"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06" name="Google Shape;7806;p76"/>
          <p:cNvSpPr/>
          <p:nvPr/>
        </p:nvSpPr>
        <p:spPr>
          <a:xfrm>
            <a:off x="3574020" y="4595426"/>
            <a:ext cx="480008" cy="628628"/>
          </a:xfrm>
          <a:custGeom>
            <a:avLst/>
            <a:gdLst/>
            <a:ahLst/>
            <a:cxnLst/>
            <a:rect l="l" t="t" r="r" b="b"/>
            <a:pathLst>
              <a:path w="9263" h="12131" extrusionOk="0">
                <a:moveTo>
                  <a:pt x="6207" y="694"/>
                </a:moveTo>
                <a:lnTo>
                  <a:pt x="5829" y="1419"/>
                </a:lnTo>
                <a:lnTo>
                  <a:pt x="3434" y="1419"/>
                </a:lnTo>
                <a:lnTo>
                  <a:pt x="3088" y="694"/>
                </a:lnTo>
                <a:close/>
                <a:moveTo>
                  <a:pt x="2363" y="946"/>
                </a:moveTo>
                <a:lnTo>
                  <a:pt x="2773" y="1671"/>
                </a:lnTo>
                <a:lnTo>
                  <a:pt x="1702" y="2742"/>
                </a:lnTo>
                <a:lnTo>
                  <a:pt x="945" y="2364"/>
                </a:lnTo>
                <a:lnTo>
                  <a:pt x="2363" y="946"/>
                </a:lnTo>
                <a:close/>
                <a:moveTo>
                  <a:pt x="6900" y="946"/>
                </a:moveTo>
                <a:lnTo>
                  <a:pt x="8318" y="2364"/>
                </a:lnTo>
                <a:lnTo>
                  <a:pt x="7561" y="2742"/>
                </a:lnTo>
                <a:lnTo>
                  <a:pt x="6522" y="1671"/>
                </a:lnTo>
                <a:lnTo>
                  <a:pt x="6900" y="946"/>
                </a:lnTo>
                <a:close/>
                <a:moveTo>
                  <a:pt x="725" y="3025"/>
                </a:moveTo>
                <a:lnTo>
                  <a:pt x="1418" y="3372"/>
                </a:lnTo>
                <a:lnTo>
                  <a:pt x="1418" y="8696"/>
                </a:lnTo>
                <a:lnTo>
                  <a:pt x="725" y="9043"/>
                </a:lnTo>
                <a:lnTo>
                  <a:pt x="725" y="3025"/>
                </a:lnTo>
                <a:close/>
                <a:moveTo>
                  <a:pt x="8570" y="3025"/>
                </a:moveTo>
                <a:lnTo>
                  <a:pt x="8570" y="9043"/>
                </a:lnTo>
                <a:lnTo>
                  <a:pt x="7845" y="8696"/>
                </a:lnTo>
                <a:lnTo>
                  <a:pt x="7845" y="3372"/>
                </a:lnTo>
                <a:lnTo>
                  <a:pt x="8570" y="3025"/>
                </a:lnTo>
                <a:close/>
                <a:moveTo>
                  <a:pt x="5923" y="2080"/>
                </a:moveTo>
                <a:lnTo>
                  <a:pt x="7152" y="3277"/>
                </a:lnTo>
                <a:lnTo>
                  <a:pt x="7152" y="8759"/>
                </a:lnTo>
                <a:lnTo>
                  <a:pt x="5923" y="9988"/>
                </a:lnTo>
                <a:lnTo>
                  <a:pt x="3371" y="9988"/>
                </a:lnTo>
                <a:lnTo>
                  <a:pt x="2143" y="8759"/>
                </a:lnTo>
                <a:lnTo>
                  <a:pt x="2143" y="3277"/>
                </a:lnTo>
                <a:lnTo>
                  <a:pt x="3371" y="2080"/>
                </a:lnTo>
                <a:close/>
                <a:moveTo>
                  <a:pt x="1702" y="9358"/>
                </a:moveTo>
                <a:lnTo>
                  <a:pt x="2773" y="10429"/>
                </a:lnTo>
                <a:lnTo>
                  <a:pt x="2395" y="11154"/>
                </a:lnTo>
                <a:lnTo>
                  <a:pt x="945" y="9736"/>
                </a:lnTo>
                <a:lnTo>
                  <a:pt x="1702" y="9358"/>
                </a:lnTo>
                <a:close/>
                <a:moveTo>
                  <a:pt x="7530" y="9358"/>
                </a:moveTo>
                <a:lnTo>
                  <a:pt x="8286" y="9767"/>
                </a:lnTo>
                <a:lnTo>
                  <a:pt x="6868" y="11185"/>
                </a:lnTo>
                <a:lnTo>
                  <a:pt x="6459" y="10429"/>
                </a:lnTo>
                <a:lnTo>
                  <a:pt x="7530" y="9358"/>
                </a:lnTo>
                <a:close/>
                <a:moveTo>
                  <a:pt x="5829" y="10713"/>
                </a:moveTo>
                <a:lnTo>
                  <a:pt x="6207" y="11406"/>
                </a:lnTo>
                <a:lnTo>
                  <a:pt x="3088" y="11406"/>
                </a:lnTo>
                <a:lnTo>
                  <a:pt x="3434" y="10713"/>
                </a:lnTo>
                <a:close/>
                <a:moveTo>
                  <a:pt x="2489" y="1"/>
                </a:moveTo>
                <a:cubicBezTo>
                  <a:pt x="2426" y="1"/>
                  <a:pt x="2300" y="32"/>
                  <a:pt x="2269" y="95"/>
                </a:cubicBezTo>
                <a:lnTo>
                  <a:pt x="126" y="2238"/>
                </a:lnTo>
                <a:cubicBezTo>
                  <a:pt x="63" y="2301"/>
                  <a:pt x="0" y="2395"/>
                  <a:pt x="0" y="2458"/>
                </a:cubicBezTo>
                <a:lnTo>
                  <a:pt x="0" y="9641"/>
                </a:lnTo>
                <a:cubicBezTo>
                  <a:pt x="0" y="9704"/>
                  <a:pt x="63" y="9830"/>
                  <a:pt x="126" y="9862"/>
                </a:cubicBezTo>
                <a:lnTo>
                  <a:pt x="2269" y="12004"/>
                </a:lnTo>
                <a:cubicBezTo>
                  <a:pt x="2332" y="12067"/>
                  <a:pt x="2426" y="12130"/>
                  <a:pt x="2489" y="12130"/>
                </a:cubicBezTo>
                <a:lnTo>
                  <a:pt x="6774" y="12130"/>
                </a:lnTo>
                <a:cubicBezTo>
                  <a:pt x="6868" y="12130"/>
                  <a:pt x="6994" y="12067"/>
                  <a:pt x="7026" y="12004"/>
                </a:cubicBezTo>
                <a:lnTo>
                  <a:pt x="9137" y="9862"/>
                </a:lnTo>
                <a:cubicBezTo>
                  <a:pt x="9231" y="9830"/>
                  <a:pt x="9263" y="9736"/>
                  <a:pt x="9263" y="9641"/>
                </a:cubicBezTo>
                <a:lnTo>
                  <a:pt x="9263" y="2458"/>
                </a:lnTo>
                <a:cubicBezTo>
                  <a:pt x="9263" y="2395"/>
                  <a:pt x="9231" y="2269"/>
                  <a:pt x="9137" y="2238"/>
                </a:cubicBezTo>
                <a:lnTo>
                  <a:pt x="7026" y="95"/>
                </a:lnTo>
                <a:cubicBezTo>
                  <a:pt x="6931" y="32"/>
                  <a:pt x="6868" y="1"/>
                  <a:pt x="67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7" name="Google Shape;7807;p76"/>
          <p:cNvSpPr/>
          <p:nvPr/>
        </p:nvSpPr>
        <p:spPr>
          <a:xfrm>
            <a:off x="1904845" y="2251279"/>
            <a:ext cx="628628" cy="631893"/>
          </a:xfrm>
          <a:custGeom>
            <a:avLst/>
            <a:gdLst/>
            <a:ahLst/>
            <a:cxnLst/>
            <a:rect l="l" t="t" r="r" b="b"/>
            <a:pathLst>
              <a:path w="12131" h="12194" extrusionOk="0">
                <a:moveTo>
                  <a:pt x="4632" y="725"/>
                </a:moveTo>
                <a:cubicBezTo>
                  <a:pt x="5609" y="725"/>
                  <a:pt x="6396" y="1513"/>
                  <a:pt x="6396" y="2490"/>
                </a:cubicBezTo>
                <a:cubicBezTo>
                  <a:pt x="6365" y="2679"/>
                  <a:pt x="6522" y="2836"/>
                  <a:pt x="6680" y="2899"/>
                </a:cubicBezTo>
                <a:cubicBezTo>
                  <a:pt x="7341" y="2994"/>
                  <a:pt x="7814" y="3592"/>
                  <a:pt x="7814" y="4317"/>
                </a:cubicBezTo>
                <a:cubicBezTo>
                  <a:pt x="7814" y="4695"/>
                  <a:pt x="7656" y="5042"/>
                  <a:pt x="7404" y="5325"/>
                </a:cubicBezTo>
                <a:cubicBezTo>
                  <a:pt x="7184" y="5483"/>
                  <a:pt x="7278" y="5798"/>
                  <a:pt x="7530" y="5924"/>
                </a:cubicBezTo>
                <a:cubicBezTo>
                  <a:pt x="8129" y="6207"/>
                  <a:pt x="8539" y="6869"/>
                  <a:pt x="8539" y="7530"/>
                </a:cubicBezTo>
                <a:cubicBezTo>
                  <a:pt x="8539" y="8507"/>
                  <a:pt x="7751" y="9295"/>
                  <a:pt x="6774" y="9295"/>
                </a:cubicBezTo>
                <a:lnTo>
                  <a:pt x="4979" y="9295"/>
                </a:lnTo>
                <a:lnTo>
                  <a:pt x="4979" y="6932"/>
                </a:lnTo>
                <a:lnTo>
                  <a:pt x="6333" y="5609"/>
                </a:lnTo>
                <a:cubicBezTo>
                  <a:pt x="6491" y="5451"/>
                  <a:pt x="6491" y="5231"/>
                  <a:pt x="6333" y="5073"/>
                </a:cubicBezTo>
                <a:cubicBezTo>
                  <a:pt x="6254" y="4994"/>
                  <a:pt x="6168" y="4955"/>
                  <a:pt x="6081" y="4955"/>
                </a:cubicBezTo>
                <a:cubicBezTo>
                  <a:pt x="5995" y="4955"/>
                  <a:pt x="5908" y="4994"/>
                  <a:pt x="5829" y="5073"/>
                </a:cubicBezTo>
                <a:lnTo>
                  <a:pt x="4979" y="5924"/>
                </a:lnTo>
                <a:lnTo>
                  <a:pt x="4979" y="2490"/>
                </a:lnTo>
                <a:cubicBezTo>
                  <a:pt x="4979" y="2301"/>
                  <a:pt x="4821" y="2143"/>
                  <a:pt x="4632" y="2143"/>
                </a:cubicBezTo>
                <a:cubicBezTo>
                  <a:pt x="4443" y="2143"/>
                  <a:pt x="4285" y="2301"/>
                  <a:pt x="4285" y="2490"/>
                </a:cubicBezTo>
                <a:lnTo>
                  <a:pt x="4285" y="4506"/>
                </a:lnTo>
                <a:lnTo>
                  <a:pt x="3466" y="3655"/>
                </a:lnTo>
                <a:cubicBezTo>
                  <a:pt x="3388" y="3577"/>
                  <a:pt x="3293" y="3537"/>
                  <a:pt x="3198" y="3537"/>
                </a:cubicBezTo>
                <a:cubicBezTo>
                  <a:pt x="3104" y="3537"/>
                  <a:pt x="3009" y="3577"/>
                  <a:pt x="2931" y="3655"/>
                </a:cubicBezTo>
                <a:cubicBezTo>
                  <a:pt x="2773" y="3844"/>
                  <a:pt x="2773" y="4033"/>
                  <a:pt x="2931" y="4191"/>
                </a:cubicBezTo>
                <a:lnTo>
                  <a:pt x="4285" y="5514"/>
                </a:lnTo>
                <a:lnTo>
                  <a:pt x="4285" y="7373"/>
                </a:lnTo>
                <a:lnTo>
                  <a:pt x="3466" y="6554"/>
                </a:lnTo>
                <a:cubicBezTo>
                  <a:pt x="3388" y="6475"/>
                  <a:pt x="3293" y="6436"/>
                  <a:pt x="3198" y="6436"/>
                </a:cubicBezTo>
                <a:cubicBezTo>
                  <a:pt x="3104" y="6436"/>
                  <a:pt x="3009" y="6475"/>
                  <a:pt x="2931" y="6554"/>
                </a:cubicBezTo>
                <a:cubicBezTo>
                  <a:pt x="2773" y="6711"/>
                  <a:pt x="2773" y="6900"/>
                  <a:pt x="2931" y="7058"/>
                </a:cubicBezTo>
                <a:lnTo>
                  <a:pt x="4285" y="8413"/>
                </a:lnTo>
                <a:lnTo>
                  <a:pt x="4285" y="9295"/>
                </a:lnTo>
                <a:lnTo>
                  <a:pt x="2521" y="9295"/>
                </a:lnTo>
                <a:cubicBezTo>
                  <a:pt x="1513" y="9295"/>
                  <a:pt x="694" y="8507"/>
                  <a:pt x="694" y="7530"/>
                </a:cubicBezTo>
                <a:cubicBezTo>
                  <a:pt x="694" y="6837"/>
                  <a:pt x="1103" y="6207"/>
                  <a:pt x="1734" y="5924"/>
                </a:cubicBezTo>
                <a:cubicBezTo>
                  <a:pt x="1954" y="5798"/>
                  <a:pt x="1986" y="5514"/>
                  <a:pt x="1828" y="5325"/>
                </a:cubicBezTo>
                <a:cubicBezTo>
                  <a:pt x="1576" y="5042"/>
                  <a:pt x="1418" y="4695"/>
                  <a:pt x="1418" y="4317"/>
                </a:cubicBezTo>
                <a:cubicBezTo>
                  <a:pt x="1418" y="3624"/>
                  <a:pt x="1891" y="3057"/>
                  <a:pt x="2584" y="2899"/>
                </a:cubicBezTo>
                <a:cubicBezTo>
                  <a:pt x="2742" y="2836"/>
                  <a:pt x="2899" y="2679"/>
                  <a:pt x="2868" y="2490"/>
                </a:cubicBezTo>
                <a:cubicBezTo>
                  <a:pt x="2868" y="1513"/>
                  <a:pt x="3655" y="725"/>
                  <a:pt x="4632" y="725"/>
                </a:cubicBezTo>
                <a:close/>
                <a:moveTo>
                  <a:pt x="7467" y="725"/>
                </a:moveTo>
                <a:cubicBezTo>
                  <a:pt x="8444" y="725"/>
                  <a:pt x="9295" y="1513"/>
                  <a:pt x="9232" y="2584"/>
                </a:cubicBezTo>
                <a:cubicBezTo>
                  <a:pt x="9232" y="2742"/>
                  <a:pt x="9358" y="2899"/>
                  <a:pt x="9515" y="2931"/>
                </a:cubicBezTo>
                <a:cubicBezTo>
                  <a:pt x="10177" y="3057"/>
                  <a:pt x="10712" y="3624"/>
                  <a:pt x="10712" y="4348"/>
                </a:cubicBezTo>
                <a:cubicBezTo>
                  <a:pt x="10712" y="4726"/>
                  <a:pt x="10555" y="5105"/>
                  <a:pt x="10271" y="5357"/>
                </a:cubicBezTo>
                <a:cubicBezTo>
                  <a:pt x="10082" y="5514"/>
                  <a:pt x="10145" y="5829"/>
                  <a:pt x="10397" y="5955"/>
                </a:cubicBezTo>
                <a:cubicBezTo>
                  <a:pt x="11027" y="6239"/>
                  <a:pt x="11406" y="6900"/>
                  <a:pt x="11406" y="7562"/>
                </a:cubicBezTo>
                <a:cubicBezTo>
                  <a:pt x="11406" y="8570"/>
                  <a:pt x="10586" y="9358"/>
                  <a:pt x="9610" y="9358"/>
                </a:cubicBezTo>
                <a:lnTo>
                  <a:pt x="8507" y="9358"/>
                </a:lnTo>
                <a:cubicBezTo>
                  <a:pt x="8980" y="8885"/>
                  <a:pt x="9232" y="8224"/>
                  <a:pt x="9232" y="7562"/>
                </a:cubicBezTo>
                <a:cubicBezTo>
                  <a:pt x="9232" y="6743"/>
                  <a:pt x="8854" y="5987"/>
                  <a:pt x="8192" y="5514"/>
                </a:cubicBezTo>
                <a:cubicBezTo>
                  <a:pt x="8413" y="5168"/>
                  <a:pt x="8539" y="4789"/>
                  <a:pt x="8539" y="4348"/>
                </a:cubicBezTo>
                <a:cubicBezTo>
                  <a:pt x="8539" y="3435"/>
                  <a:pt x="7940" y="2616"/>
                  <a:pt x="7089" y="2332"/>
                </a:cubicBezTo>
                <a:cubicBezTo>
                  <a:pt x="7058" y="1828"/>
                  <a:pt x="6837" y="1387"/>
                  <a:pt x="6554" y="1009"/>
                </a:cubicBezTo>
                <a:cubicBezTo>
                  <a:pt x="6837" y="788"/>
                  <a:pt x="7152" y="725"/>
                  <a:pt x="7467" y="725"/>
                </a:cubicBezTo>
                <a:close/>
                <a:moveTo>
                  <a:pt x="7121" y="10019"/>
                </a:moveTo>
                <a:lnTo>
                  <a:pt x="7121" y="11469"/>
                </a:lnTo>
                <a:lnTo>
                  <a:pt x="4979" y="11469"/>
                </a:lnTo>
                <a:lnTo>
                  <a:pt x="4979" y="10019"/>
                </a:lnTo>
                <a:close/>
                <a:moveTo>
                  <a:pt x="4632" y="1"/>
                </a:moveTo>
                <a:cubicBezTo>
                  <a:pt x="3340" y="1"/>
                  <a:pt x="2269" y="1009"/>
                  <a:pt x="2175" y="2301"/>
                </a:cubicBezTo>
                <a:cubicBezTo>
                  <a:pt x="1292" y="2616"/>
                  <a:pt x="694" y="3403"/>
                  <a:pt x="694" y="4317"/>
                </a:cubicBezTo>
                <a:cubicBezTo>
                  <a:pt x="694" y="4726"/>
                  <a:pt x="820" y="5136"/>
                  <a:pt x="1072" y="5483"/>
                </a:cubicBezTo>
                <a:cubicBezTo>
                  <a:pt x="379" y="5955"/>
                  <a:pt x="1" y="6711"/>
                  <a:pt x="1" y="7530"/>
                </a:cubicBezTo>
                <a:cubicBezTo>
                  <a:pt x="1" y="8917"/>
                  <a:pt x="1135" y="10019"/>
                  <a:pt x="2521" y="10019"/>
                </a:cubicBezTo>
                <a:lnTo>
                  <a:pt x="4285" y="10019"/>
                </a:lnTo>
                <a:lnTo>
                  <a:pt x="4285" y="11469"/>
                </a:lnTo>
                <a:lnTo>
                  <a:pt x="2521" y="11469"/>
                </a:lnTo>
                <a:cubicBezTo>
                  <a:pt x="2332" y="11469"/>
                  <a:pt x="2175" y="11626"/>
                  <a:pt x="2175" y="11815"/>
                </a:cubicBezTo>
                <a:cubicBezTo>
                  <a:pt x="2175" y="12036"/>
                  <a:pt x="2332" y="12193"/>
                  <a:pt x="2521" y="12193"/>
                </a:cubicBezTo>
                <a:lnTo>
                  <a:pt x="9641" y="12193"/>
                </a:lnTo>
                <a:cubicBezTo>
                  <a:pt x="9830" y="12193"/>
                  <a:pt x="9988" y="12036"/>
                  <a:pt x="9988" y="11815"/>
                </a:cubicBezTo>
                <a:cubicBezTo>
                  <a:pt x="9988" y="11626"/>
                  <a:pt x="9830" y="11469"/>
                  <a:pt x="9641" y="11469"/>
                </a:cubicBezTo>
                <a:lnTo>
                  <a:pt x="7877" y="11469"/>
                </a:lnTo>
                <a:lnTo>
                  <a:pt x="7877" y="10019"/>
                </a:lnTo>
                <a:lnTo>
                  <a:pt x="9610" y="10019"/>
                </a:lnTo>
                <a:cubicBezTo>
                  <a:pt x="10964" y="10019"/>
                  <a:pt x="12130" y="8917"/>
                  <a:pt x="12130" y="7530"/>
                </a:cubicBezTo>
                <a:cubicBezTo>
                  <a:pt x="12130" y="6711"/>
                  <a:pt x="11721" y="5955"/>
                  <a:pt x="11059" y="5483"/>
                </a:cubicBezTo>
                <a:cubicBezTo>
                  <a:pt x="11280" y="5136"/>
                  <a:pt x="11406" y="4726"/>
                  <a:pt x="11406" y="4317"/>
                </a:cubicBezTo>
                <a:cubicBezTo>
                  <a:pt x="11406" y="3403"/>
                  <a:pt x="10838" y="2584"/>
                  <a:pt x="9956" y="2301"/>
                </a:cubicBezTo>
                <a:cubicBezTo>
                  <a:pt x="9830" y="1040"/>
                  <a:pt x="8791" y="1"/>
                  <a:pt x="7467" y="1"/>
                </a:cubicBezTo>
                <a:cubicBezTo>
                  <a:pt x="6963" y="1"/>
                  <a:pt x="6459" y="158"/>
                  <a:pt x="6050" y="442"/>
                </a:cubicBezTo>
                <a:cubicBezTo>
                  <a:pt x="5672" y="158"/>
                  <a:pt x="5168" y="1"/>
                  <a:pt x="46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08" name="Google Shape;7808;p76"/>
          <p:cNvSpPr/>
          <p:nvPr/>
        </p:nvSpPr>
        <p:spPr>
          <a:xfrm>
            <a:off x="1904845" y="3032919"/>
            <a:ext cx="628628" cy="631479"/>
          </a:xfrm>
          <a:custGeom>
            <a:avLst/>
            <a:gdLst/>
            <a:ahLst/>
            <a:cxnLst/>
            <a:rect l="l" t="t" r="r" b="b"/>
            <a:pathLst>
              <a:path w="12131" h="12186" extrusionOk="0">
                <a:moveTo>
                  <a:pt x="6050" y="1442"/>
                </a:moveTo>
                <a:cubicBezTo>
                  <a:pt x="6396" y="1442"/>
                  <a:pt x="6774" y="1757"/>
                  <a:pt x="6774" y="2167"/>
                </a:cubicBezTo>
                <a:cubicBezTo>
                  <a:pt x="6774" y="2576"/>
                  <a:pt x="6459" y="2891"/>
                  <a:pt x="6050" y="2891"/>
                </a:cubicBezTo>
                <a:cubicBezTo>
                  <a:pt x="5672" y="2891"/>
                  <a:pt x="5357" y="2576"/>
                  <a:pt x="5357" y="2167"/>
                </a:cubicBezTo>
                <a:cubicBezTo>
                  <a:pt x="5357" y="1789"/>
                  <a:pt x="5672" y="1442"/>
                  <a:pt x="6050" y="1442"/>
                </a:cubicBezTo>
                <a:close/>
                <a:moveTo>
                  <a:pt x="6018" y="3585"/>
                </a:moveTo>
                <a:cubicBezTo>
                  <a:pt x="6207" y="3585"/>
                  <a:pt x="6365" y="3742"/>
                  <a:pt x="6365" y="3963"/>
                </a:cubicBezTo>
                <a:lnTo>
                  <a:pt x="6365" y="4309"/>
                </a:lnTo>
                <a:cubicBezTo>
                  <a:pt x="6239" y="4467"/>
                  <a:pt x="6176" y="4593"/>
                  <a:pt x="6018" y="4782"/>
                </a:cubicBezTo>
                <a:cubicBezTo>
                  <a:pt x="5861" y="4593"/>
                  <a:pt x="5766" y="4467"/>
                  <a:pt x="5672" y="4309"/>
                </a:cubicBezTo>
                <a:lnTo>
                  <a:pt x="5672" y="3963"/>
                </a:lnTo>
                <a:cubicBezTo>
                  <a:pt x="5672" y="3742"/>
                  <a:pt x="5829" y="3585"/>
                  <a:pt x="6018" y="3585"/>
                </a:cubicBezTo>
                <a:close/>
                <a:moveTo>
                  <a:pt x="1009" y="2891"/>
                </a:moveTo>
                <a:cubicBezTo>
                  <a:pt x="2710" y="2891"/>
                  <a:pt x="4317" y="3679"/>
                  <a:pt x="5325" y="5002"/>
                </a:cubicBezTo>
                <a:lnTo>
                  <a:pt x="1544" y="5002"/>
                </a:lnTo>
                <a:cubicBezTo>
                  <a:pt x="1040" y="5002"/>
                  <a:pt x="662" y="4624"/>
                  <a:pt x="662" y="4152"/>
                </a:cubicBezTo>
                <a:lnTo>
                  <a:pt x="662" y="3238"/>
                </a:lnTo>
                <a:cubicBezTo>
                  <a:pt x="662" y="3049"/>
                  <a:pt x="820" y="2891"/>
                  <a:pt x="1009" y="2891"/>
                </a:cubicBezTo>
                <a:close/>
                <a:moveTo>
                  <a:pt x="11059" y="2891"/>
                </a:moveTo>
                <a:cubicBezTo>
                  <a:pt x="11248" y="2891"/>
                  <a:pt x="11406" y="3049"/>
                  <a:pt x="11406" y="3238"/>
                </a:cubicBezTo>
                <a:lnTo>
                  <a:pt x="11406" y="4152"/>
                </a:lnTo>
                <a:cubicBezTo>
                  <a:pt x="11406" y="4624"/>
                  <a:pt x="11027" y="5002"/>
                  <a:pt x="10555" y="5002"/>
                </a:cubicBezTo>
                <a:lnTo>
                  <a:pt x="6774" y="5002"/>
                </a:lnTo>
                <a:cubicBezTo>
                  <a:pt x="7782" y="3679"/>
                  <a:pt x="9358" y="2891"/>
                  <a:pt x="11059" y="2891"/>
                </a:cubicBezTo>
                <a:close/>
                <a:moveTo>
                  <a:pt x="6018" y="5884"/>
                </a:moveTo>
                <a:lnTo>
                  <a:pt x="6365" y="6231"/>
                </a:lnTo>
                <a:lnTo>
                  <a:pt x="6365" y="6798"/>
                </a:lnTo>
                <a:cubicBezTo>
                  <a:pt x="6365" y="6987"/>
                  <a:pt x="6207" y="7145"/>
                  <a:pt x="6018" y="7145"/>
                </a:cubicBezTo>
                <a:cubicBezTo>
                  <a:pt x="5829" y="7145"/>
                  <a:pt x="5672" y="6987"/>
                  <a:pt x="5672" y="6798"/>
                </a:cubicBezTo>
                <a:lnTo>
                  <a:pt x="5672" y="6231"/>
                </a:lnTo>
                <a:lnTo>
                  <a:pt x="6018" y="5884"/>
                </a:lnTo>
                <a:close/>
                <a:moveTo>
                  <a:pt x="9893" y="5727"/>
                </a:moveTo>
                <a:cubicBezTo>
                  <a:pt x="10334" y="5727"/>
                  <a:pt x="10744" y="6105"/>
                  <a:pt x="10744" y="6578"/>
                </a:cubicBezTo>
                <a:lnTo>
                  <a:pt x="10744" y="6798"/>
                </a:lnTo>
                <a:lnTo>
                  <a:pt x="10712" y="6798"/>
                </a:lnTo>
                <a:cubicBezTo>
                  <a:pt x="10712" y="6987"/>
                  <a:pt x="10555" y="7145"/>
                  <a:pt x="10334" y="7145"/>
                </a:cubicBezTo>
                <a:cubicBezTo>
                  <a:pt x="9043" y="7145"/>
                  <a:pt x="7814" y="6641"/>
                  <a:pt x="6932" y="5727"/>
                </a:cubicBezTo>
                <a:close/>
                <a:moveTo>
                  <a:pt x="5136" y="5758"/>
                </a:moveTo>
                <a:cubicBezTo>
                  <a:pt x="4254" y="6672"/>
                  <a:pt x="3025" y="7176"/>
                  <a:pt x="1734" y="7176"/>
                </a:cubicBezTo>
                <a:cubicBezTo>
                  <a:pt x="1513" y="7145"/>
                  <a:pt x="1355" y="6987"/>
                  <a:pt x="1355" y="6798"/>
                </a:cubicBezTo>
                <a:lnTo>
                  <a:pt x="1355" y="6578"/>
                </a:lnTo>
                <a:cubicBezTo>
                  <a:pt x="1355" y="6357"/>
                  <a:pt x="1450" y="6168"/>
                  <a:pt x="1607" y="6010"/>
                </a:cubicBezTo>
                <a:cubicBezTo>
                  <a:pt x="1765" y="5853"/>
                  <a:pt x="1986" y="5758"/>
                  <a:pt x="2206" y="5758"/>
                </a:cubicBezTo>
                <a:close/>
                <a:moveTo>
                  <a:pt x="4616" y="1"/>
                </a:moveTo>
                <a:cubicBezTo>
                  <a:pt x="4522" y="1"/>
                  <a:pt x="4427" y="40"/>
                  <a:pt x="4348" y="119"/>
                </a:cubicBezTo>
                <a:cubicBezTo>
                  <a:pt x="4191" y="277"/>
                  <a:pt x="4191" y="466"/>
                  <a:pt x="4348" y="655"/>
                </a:cubicBezTo>
                <a:lnTo>
                  <a:pt x="4947" y="1222"/>
                </a:lnTo>
                <a:cubicBezTo>
                  <a:pt x="4726" y="1505"/>
                  <a:pt x="4600" y="1820"/>
                  <a:pt x="4600" y="2167"/>
                </a:cubicBezTo>
                <a:cubicBezTo>
                  <a:pt x="4600" y="2639"/>
                  <a:pt x="4821" y="3049"/>
                  <a:pt x="5199" y="3333"/>
                </a:cubicBezTo>
                <a:cubicBezTo>
                  <a:pt x="5105" y="3427"/>
                  <a:pt x="5073" y="3522"/>
                  <a:pt x="5042" y="3679"/>
                </a:cubicBezTo>
                <a:cubicBezTo>
                  <a:pt x="3939" y="2734"/>
                  <a:pt x="2521" y="2167"/>
                  <a:pt x="1040" y="2167"/>
                </a:cubicBezTo>
                <a:cubicBezTo>
                  <a:pt x="473" y="2167"/>
                  <a:pt x="1" y="2639"/>
                  <a:pt x="1" y="3238"/>
                </a:cubicBezTo>
                <a:lnTo>
                  <a:pt x="1" y="4152"/>
                </a:lnTo>
                <a:cubicBezTo>
                  <a:pt x="1" y="4845"/>
                  <a:pt x="410" y="5412"/>
                  <a:pt x="1009" y="5632"/>
                </a:cubicBezTo>
                <a:cubicBezTo>
                  <a:pt x="820" y="5916"/>
                  <a:pt x="694" y="6231"/>
                  <a:pt x="694" y="6578"/>
                </a:cubicBezTo>
                <a:lnTo>
                  <a:pt x="694" y="6798"/>
                </a:lnTo>
                <a:cubicBezTo>
                  <a:pt x="694" y="7365"/>
                  <a:pt x="1166" y="7838"/>
                  <a:pt x="1765" y="7838"/>
                </a:cubicBezTo>
                <a:cubicBezTo>
                  <a:pt x="2931" y="7838"/>
                  <a:pt x="4033" y="7491"/>
                  <a:pt x="4979" y="6830"/>
                </a:cubicBezTo>
                <a:cubicBezTo>
                  <a:pt x="4979" y="7271"/>
                  <a:pt x="5294" y="7649"/>
                  <a:pt x="5703" y="7806"/>
                </a:cubicBezTo>
                <a:lnTo>
                  <a:pt x="5703" y="11839"/>
                </a:lnTo>
                <a:cubicBezTo>
                  <a:pt x="5703" y="12028"/>
                  <a:pt x="5861" y="12185"/>
                  <a:pt x="6050" y="12185"/>
                </a:cubicBezTo>
                <a:cubicBezTo>
                  <a:pt x="6239" y="12185"/>
                  <a:pt x="6396" y="12028"/>
                  <a:pt x="6396" y="11839"/>
                </a:cubicBezTo>
                <a:lnTo>
                  <a:pt x="6396" y="7806"/>
                </a:lnTo>
                <a:cubicBezTo>
                  <a:pt x="6806" y="7649"/>
                  <a:pt x="7121" y="7302"/>
                  <a:pt x="7121" y="6830"/>
                </a:cubicBezTo>
                <a:cubicBezTo>
                  <a:pt x="8066" y="7491"/>
                  <a:pt x="9200" y="7838"/>
                  <a:pt x="10334" y="7838"/>
                </a:cubicBezTo>
                <a:cubicBezTo>
                  <a:pt x="10933" y="7838"/>
                  <a:pt x="11406" y="7365"/>
                  <a:pt x="11406" y="6798"/>
                </a:cubicBezTo>
                <a:lnTo>
                  <a:pt x="11406" y="6578"/>
                </a:lnTo>
                <a:cubicBezTo>
                  <a:pt x="11406" y="6231"/>
                  <a:pt x="11280" y="5916"/>
                  <a:pt x="11090" y="5632"/>
                </a:cubicBezTo>
                <a:cubicBezTo>
                  <a:pt x="11689" y="5443"/>
                  <a:pt x="12130" y="4845"/>
                  <a:pt x="12130" y="4152"/>
                </a:cubicBezTo>
                <a:lnTo>
                  <a:pt x="12130" y="3238"/>
                </a:lnTo>
                <a:cubicBezTo>
                  <a:pt x="12130" y="2639"/>
                  <a:pt x="11658" y="2167"/>
                  <a:pt x="11059" y="2167"/>
                </a:cubicBezTo>
                <a:cubicBezTo>
                  <a:pt x="9610" y="2167"/>
                  <a:pt x="8129" y="2734"/>
                  <a:pt x="7089" y="3679"/>
                </a:cubicBezTo>
                <a:cubicBezTo>
                  <a:pt x="7058" y="3553"/>
                  <a:pt x="6995" y="3427"/>
                  <a:pt x="6932" y="3333"/>
                </a:cubicBezTo>
                <a:cubicBezTo>
                  <a:pt x="7278" y="3049"/>
                  <a:pt x="7530" y="2639"/>
                  <a:pt x="7530" y="2167"/>
                </a:cubicBezTo>
                <a:cubicBezTo>
                  <a:pt x="7530" y="1820"/>
                  <a:pt x="7404" y="1505"/>
                  <a:pt x="7152" y="1222"/>
                </a:cubicBezTo>
                <a:lnTo>
                  <a:pt x="7751" y="655"/>
                </a:lnTo>
                <a:cubicBezTo>
                  <a:pt x="7908" y="466"/>
                  <a:pt x="7908" y="277"/>
                  <a:pt x="7751" y="119"/>
                </a:cubicBezTo>
                <a:cubicBezTo>
                  <a:pt x="7672" y="40"/>
                  <a:pt x="7586" y="1"/>
                  <a:pt x="7499" y="1"/>
                </a:cubicBezTo>
                <a:cubicBezTo>
                  <a:pt x="7412" y="1"/>
                  <a:pt x="7326" y="40"/>
                  <a:pt x="7247" y="119"/>
                </a:cubicBezTo>
                <a:lnTo>
                  <a:pt x="6522" y="844"/>
                </a:lnTo>
                <a:cubicBezTo>
                  <a:pt x="6365" y="812"/>
                  <a:pt x="6207" y="749"/>
                  <a:pt x="6050" y="749"/>
                </a:cubicBezTo>
                <a:cubicBezTo>
                  <a:pt x="5892" y="749"/>
                  <a:pt x="5735" y="812"/>
                  <a:pt x="5577" y="844"/>
                </a:cubicBezTo>
                <a:lnTo>
                  <a:pt x="4884" y="119"/>
                </a:lnTo>
                <a:cubicBezTo>
                  <a:pt x="4805" y="40"/>
                  <a:pt x="4711" y="1"/>
                  <a:pt x="46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09" name="Google Shape;7809;p76"/>
          <p:cNvGrpSpPr/>
          <p:nvPr/>
        </p:nvGrpSpPr>
        <p:grpSpPr>
          <a:xfrm>
            <a:off x="1943325" y="3801206"/>
            <a:ext cx="555044" cy="631841"/>
            <a:chOff x="-20904875" y="2788575"/>
            <a:chExt cx="267775" cy="304825"/>
          </a:xfrm>
        </p:grpSpPr>
        <p:sp>
          <p:nvSpPr>
            <p:cNvPr id="7810" name="Google Shape;7810;p76"/>
            <p:cNvSpPr/>
            <p:nvPr/>
          </p:nvSpPr>
          <p:spPr>
            <a:xfrm>
              <a:off x="-20904875" y="2788575"/>
              <a:ext cx="267775" cy="304825"/>
            </a:xfrm>
            <a:custGeom>
              <a:avLst/>
              <a:gdLst/>
              <a:ahLst/>
              <a:cxnLst/>
              <a:rect l="l" t="t" r="r" b="b"/>
              <a:pathLst>
                <a:path w="10711" h="12193" extrusionOk="0">
                  <a:moveTo>
                    <a:pt x="5294" y="725"/>
                  </a:moveTo>
                  <a:cubicBezTo>
                    <a:pt x="5483" y="725"/>
                    <a:pt x="5640" y="882"/>
                    <a:pt x="5640" y="1103"/>
                  </a:cubicBezTo>
                  <a:lnTo>
                    <a:pt x="5640" y="1166"/>
                  </a:lnTo>
                  <a:cubicBezTo>
                    <a:pt x="5640" y="1373"/>
                    <a:pt x="5803" y="1512"/>
                    <a:pt x="5977" y="1512"/>
                  </a:cubicBezTo>
                  <a:cubicBezTo>
                    <a:pt x="6068" y="1512"/>
                    <a:pt x="6163" y="1473"/>
                    <a:pt x="6239" y="1387"/>
                  </a:cubicBezTo>
                  <a:lnTo>
                    <a:pt x="6270" y="1355"/>
                  </a:lnTo>
                  <a:cubicBezTo>
                    <a:pt x="6341" y="1284"/>
                    <a:pt x="6429" y="1252"/>
                    <a:pt x="6514" y="1252"/>
                  </a:cubicBezTo>
                  <a:cubicBezTo>
                    <a:pt x="6695" y="1252"/>
                    <a:pt x="6869" y="1393"/>
                    <a:pt x="6869" y="1607"/>
                  </a:cubicBezTo>
                  <a:cubicBezTo>
                    <a:pt x="6869" y="1765"/>
                    <a:pt x="6774" y="1828"/>
                    <a:pt x="6711" y="1922"/>
                  </a:cubicBezTo>
                  <a:cubicBezTo>
                    <a:pt x="6459" y="2143"/>
                    <a:pt x="6617" y="2489"/>
                    <a:pt x="6932" y="2489"/>
                  </a:cubicBezTo>
                  <a:lnTo>
                    <a:pt x="7026" y="2489"/>
                  </a:lnTo>
                  <a:cubicBezTo>
                    <a:pt x="7215" y="2489"/>
                    <a:pt x="7373" y="2678"/>
                    <a:pt x="7373" y="2867"/>
                  </a:cubicBezTo>
                  <a:cubicBezTo>
                    <a:pt x="7373" y="3056"/>
                    <a:pt x="7215" y="3214"/>
                    <a:pt x="7026" y="3214"/>
                  </a:cubicBezTo>
                  <a:lnTo>
                    <a:pt x="6932" y="3214"/>
                  </a:lnTo>
                  <a:cubicBezTo>
                    <a:pt x="6774" y="3214"/>
                    <a:pt x="6648" y="3277"/>
                    <a:pt x="6617" y="3466"/>
                  </a:cubicBezTo>
                  <a:cubicBezTo>
                    <a:pt x="6585" y="3560"/>
                    <a:pt x="6585" y="3718"/>
                    <a:pt x="6711" y="3844"/>
                  </a:cubicBezTo>
                  <a:lnTo>
                    <a:pt x="6743" y="3875"/>
                  </a:lnTo>
                  <a:cubicBezTo>
                    <a:pt x="6806" y="3970"/>
                    <a:pt x="6869" y="4033"/>
                    <a:pt x="6869" y="4127"/>
                  </a:cubicBezTo>
                  <a:cubicBezTo>
                    <a:pt x="6869" y="4334"/>
                    <a:pt x="6693" y="4473"/>
                    <a:pt x="6518" y="4473"/>
                  </a:cubicBezTo>
                  <a:cubicBezTo>
                    <a:pt x="6427" y="4473"/>
                    <a:pt x="6335" y="4435"/>
                    <a:pt x="6270" y="4348"/>
                  </a:cubicBezTo>
                  <a:lnTo>
                    <a:pt x="6239" y="4316"/>
                  </a:lnTo>
                  <a:cubicBezTo>
                    <a:pt x="6156" y="4234"/>
                    <a:pt x="6063" y="4199"/>
                    <a:pt x="5976" y="4199"/>
                  </a:cubicBezTo>
                  <a:cubicBezTo>
                    <a:pt x="5797" y="4199"/>
                    <a:pt x="5640" y="4346"/>
                    <a:pt x="5640" y="4537"/>
                  </a:cubicBezTo>
                  <a:lnTo>
                    <a:pt x="5640" y="4632"/>
                  </a:lnTo>
                  <a:cubicBezTo>
                    <a:pt x="5640" y="4821"/>
                    <a:pt x="5483" y="4978"/>
                    <a:pt x="5294" y="4978"/>
                  </a:cubicBezTo>
                  <a:cubicBezTo>
                    <a:pt x="5073" y="4978"/>
                    <a:pt x="4916" y="4821"/>
                    <a:pt x="4916" y="4632"/>
                  </a:cubicBezTo>
                  <a:lnTo>
                    <a:pt x="4916" y="4537"/>
                  </a:lnTo>
                  <a:cubicBezTo>
                    <a:pt x="4958" y="4346"/>
                    <a:pt x="4801" y="4213"/>
                    <a:pt x="4626" y="4213"/>
                  </a:cubicBezTo>
                  <a:cubicBezTo>
                    <a:pt x="4541" y="4213"/>
                    <a:pt x="4452" y="4244"/>
                    <a:pt x="4380" y="4316"/>
                  </a:cubicBezTo>
                  <a:lnTo>
                    <a:pt x="4349" y="4348"/>
                  </a:lnTo>
                  <a:cubicBezTo>
                    <a:pt x="4270" y="4427"/>
                    <a:pt x="4175" y="4466"/>
                    <a:pt x="4081" y="4466"/>
                  </a:cubicBezTo>
                  <a:cubicBezTo>
                    <a:pt x="3986" y="4466"/>
                    <a:pt x="3892" y="4427"/>
                    <a:pt x="3813" y="4348"/>
                  </a:cubicBezTo>
                  <a:cubicBezTo>
                    <a:pt x="3655" y="4190"/>
                    <a:pt x="3655" y="4001"/>
                    <a:pt x="3813" y="3844"/>
                  </a:cubicBezTo>
                  <a:lnTo>
                    <a:pt x="3876" y="3812"/>
                  </a:lnTo>
                  <a:cubicBezTo>
                    <a:pt x="4096" y="3560"/>
                    <a:pt x="3939" y="3214"/>
                    <a:pt x="3624" y="3214"/>
                  </a:cubicBezTo>
                  <a:lnTo>
                    <a:pt x="3561" y="3214"/>
                  </a:lnTo>
                  <a:cubicBezTo>
                    <a:pt x="3340" y="3214"/>
                    <a:pt x="3183" y="3056"/>
                    <a:pt x="3183" y="2867"/>
                  </a:cubicBezTo>
                  <a:cubicBezTo>
                    <a:pt x="3183" y="2678"/>
                    <a:pt x="3340" y="2489"/>
                    <a:pt x="3561" y="2489"/>
                  </a:cubicBezTo>
                  <a:lnTo>
                    <a:pt x="3624" y="2489"/>
                  </a:lnTo>
                  <a:cubicBezTo>
                    <a:pt x="3939" y="2489"/>
                    <a:pt x="4096" y="2111"/>
                    <a:pt x="3876" y="1922"/>
                  </a:cubicBezTo>
                  <a:cubicBezTo>
                    <a:pt x="3813" y="1891"/>
                    <a:pt x="3718" y="1796"/>
                    <a:pt x="3718" y="1607"/>
                  </a:cubicBezTo>
                  <a:cubicBezTo>
                    <a:pt x="3718" y="1393"/>
                    <a:pt x="3892" y="1252"/>
                    <a:pt x="4063" y="1252"/>
                  </a:cubicBezTo>
                  <a:cubicBezTo>
                    <a:pt x="4144" y="1252"/>
                    <a:pt x="4225" y="1284"/>
                    <a:pt x="4286" y="1355"/>
                  </a:cubicBezTo>
                  <a:lnTo>
                    <a:pt x="4349" y="1387"/>
                  </a:lnTo>
                  <a:cubicBezTo>
                    <a:pt x="4424" y="1473"/>
                    <a:pt x="4515" y="1512"/>
                    <a:pt x="4602" y="1512"/>
                  </a:cubicBezTo>
                  <a:cubicBezTo>
                    <a:pt x="4767" y="1512"/>
                    <a:pt x="4916" y="1373"/>
                    <a:pt x="4916" y="1166"/>
                  </a:cubicBezTo>
                  <a:lnTo>
                    <a:pt x="4916" y="1103"/>
                  </a:lnTo>
                  <a:cubicBezTo>
                    <a:pt x="4916" y="882"/>
                    <a:pt x="5073" y="725"/>
                    <a:pt x="5294" y="725"/>
                  </a:cubicBezTo>
                  <a:close/>
                  <a:moveTo>
                    <a:pt x="757" y="5766"/>
                  </a:moveTo>
                  <a:lnTo>
                    <a:pt x="757" y="5766"/>
                  </a:lnTo>
                  <a:cubicBezTo>
                    <a:pt x="1482" y="5892"/>
                    <a:pt x="2647" y="6144"/>
                    <a:pt x="3120" y="6648"/>
                  </a:cubicBezTo>
                  <a:cubicBezTo>
                    <a:pt x="3624" y="7152"/>
                    <a:pt x="3624" y="7498"/>
                    <a:pt x="3340" y="7908"/>
                  </a:cubicBezTo>
                  <a:lnTo>
                    <a:pt x="2616" y="7152"/>
                  </a:lnTo>
                  <a:cubicBezTo>
                    <a:pt x="2537" y="7073"/>
                    <a:pt x="2442" y="7034"/>
                    <a:pt x="2348" y="7034"/>
                  </a:cubicBezTo>
                  <a:cubicBezTo>
                    <a:pt x="2253" y="7034"/>
                    <a:pt x="2159" y="7073"/>
                    <a:pt x="2080" y="7152"/>
                  </a:cubicBezTo>
                  <a:cubicBezTo>
                    <a:pt x="1923" y="7309"/>
                    <a:pt x="1923" y="7498"/>
                    <a:pt x="2080" y="7656"/>
                  </a:cubicBezTo>
                  <a:lnTo>
                    <a:pt x="2836" y="8412"/>
                  </a:lnTo>
                  <a:cubicBezTo>
                    <a:pt x="2695" y="8515"/>
                    <a:pt x="2554" y="8575"/>
                    <a:pt x="2401" y="8575"/>
                  </a:cubicBezTo>
                  <a:cubicBezTo>
                    <a:pt x="2176" y="8575"/>
                    <a:pt x="1925" y="8446"/>
                    <a:pt x="1608" y="8129"/>
                  </a:cubicBezTo>
                  <a:cubicBezTo>
                    <a:pt x="1135" y="7656"/>
                    <a:pt x="883" y="6490"/>
                    <a:pt x="757" y="5766"/>
                  </a:cubicBezTo>
                  <a:close/>
                  <a:moveTo>
                    <a:pt x="9893" y="6459"/>
                  </a:moveTo>
                  <a:cubicBezTo>
                    <a:pt x="9799" y="7183"/>
                    <a:pt x="9578" y="8381"/>
                    <a:pt x="9074" y="8853"/>
                  </a:cubicBezTo>
                  <a:cubicBezTo>
                    <a:pt x="8805" y="9123"/>
                    <a:pt x="8570" y="9287"/>
                    <a:pt x="8321" y="9287"/>
                  </a:cubicBezTo>
                  <a:cubicBezTo>
                    <a:pt x="8162" y="9287"/>
                    <a:pt x="7998" y="9221"/>
                    <a:pt x="7814" y="9074"/>
                  </a:cubicBezTo>
                  <a:lnTo>
                    <a:pt x="8570" y="8349"/>
                  </a:lnTo>
                  <a:cubicBezTo>
                    <a:pt x="8728" y="8192"/>
                    <a:pt x="8728" y="7971"/>
                    <a:pt x="8570" y="7814"/>
                  </a:cubicBezTo>
                  <a:cubicBezTo>
                    <a:pt x="8491" y="7735"/>
                    <a:pt x="8397" y="7695"/>
                    <a:pt x="8302" y="7695"/>
                  </a:cubicBezTo>
                  <a:cubicBezTo>
                    <a:pt x="8208" y="7695"/>
                    <a:pt x="8113" y="7735"/>
                    <a:pt x="8035" y="7814"/>
                  </a:cubicBezTo>
                  <a:lnTo>
                    <a:pt x="7278" y="8570"/>
                  </a:lnTo>
                  <a:cubicBezTo>
                    <a:pt x="7026" y="8192"/>
                    <a:pt x="7026" y="7814"/>
                    <a:pt x="7531" y="7309"/>
                  </a:cubicBezTo>
                  <a:cubicBezTo>
                    <a:pt x="8003" y="6837"/>
                    <a:pt x="9169" y="6553"/>
                    <a:pt x="9893" y="6459"/>
                  </a:cubicBezTo>
                  <a:close/>
                  <a:moveTo>
                    <a:pt x="5357" y="0"/>
                  </a:moveTo>
                  <a:cubicBezTo>
                    <a:pt x="4979" y="0"/>
                    <a:pt x="4601" y="221"/>
                    <a:pt x="4412" y="536"/>
                  </a:cubicBezTo>
                  <a:cubicBezTo>
                    <a:pt x="4313" y="500"/>
                    <a:pt x="4206" y="482"/>
                    <a:pt x="4097" y="482"/>
                  </a:cubicBezTo>
                  <a:cubicBezTo>
                    <a:pt x="3826" y="482"/>
                    <a:pt x="3543" y="594"/>
                    <a:pt x="3340" y="819"/>
                  </a:cubicBezTo>
                  <a:cubicBezTo>
                    <a:pt x="3088" y="1103"/>
                    <a:pt x="2962" y="1513"/>
                    <a:pt x="3088" y="1891"/>
                  </a:cubicBezTo>
                  <a:cubicBezTo>
                    <a:pt x="2710" y="2080"/>
                    <a:pt x="2521" y="2426"/>
                    <a:pt x="2521" y="2836"/>
                  </a:cubicBezTo>
                  <a:cubicBezTo>
                    <a:pt x="2521" y="3214"/>
                    <a:pt x="2773" y="3560"/>
                    <a:pt x="3088" y="3781"/>
                  </a:cubicBezTo>
                  <a:cubicBezTo>
                    <a:pt x="2962" y="4127"/>
                    <a:pt x="3057" y="4569"/>
                    <a:pt x="3340" y="4821"/>
                  </a:cubicBezTo>
                  <a:cubicBezTo>
                    <a:pt x="3549" y="5030"/>
                    <a:pt x="3844" y="5153"/>
                    <a:pt x="4123" y="5153"/>
                  </a:cubicBezTo>
                  <a:cubicBezTo>
                    <a:pt x="4223" y="5153"/>
                    <a:pt x="4320" y="5137"/>
                    <a:pt x="4412" y="5104"/>
                  </a:cubicBezTo>
                  <a:cubicBezTo>
                    <a:pt x="4538" y="5325"/>
                    <a:pt x="4758" y="5545"/>
                    <a:pt x="5010" y="5608"/>
                  </a:cubicBezTo>
                  <a:lnTo>
                    <a:pt x="5010" y="9483"/>
                  </a:lnTo>
                  <a:lnTo>
                    <a:pt x="3907" y="8381"/>
                  </a:lnTo>
                  <a:cubicBezTo>
                    <a:pt x="4538" y="7593"/>
                    <a:pt x="4380" y="6837"/>
                    <a:pt x="3655" y="6144"/>
                  </a:cubicBezTo>
                  <a:cubicBezTo>
                    <a:pt x="2773" y="5230"/>
                    <a:pt x="505" y="5041"/>
                    <a:pt x="410" y="5041"/>
                  </a:cubicBezTo>
                  <a:cubicBezTo>
                    <a:pt x="158" y="5041"/>
                    <a:pt x="1" y="5199"/>
                    <a:pt x="1" y="5419"/>
                  </a:cubicBezTo>
                  <a:cubicBezTo>
                    <a:pt x="1" y="5482"/>
                    <a:pt x="190" y="7751"/>
                    <a:pt x="1104" y="8696"/>
                  </a:cubicBezTo>
                  <a:cubicBezTo>
                    <a:pt x="1517" y="9091"/>
                    <a:pt x="1951" y="9312"/>
                    <a:pt x="2382" y="9312"/>
                  </a:cubicBezTo>
                  <a:cubicBezTo>
                    <a:pt x="2706" y="9312"/>
                    <a:pt x="3029" y="9187"/>
                    <a:pt x="3340" y="8916"/>
                  </a:cubicBezTo>
                  <a:lnTo>
                    <a:pt x="4979" y="10554"/>
                  </a:lnTo>
                  <a:lnTo>
                    <a:pt x="4979" y="11500"/>
                  </a:lnTo>
                  <a:lnTo>
                    <a:pt x="2490" y="11500"/>
                  </a:lnTo>
                  <a:cubicBezTo>
                    <a:pt x="2301" y="11500"/>
                    <a:pt x="2143" y="11657"/>
                    <a:pt x="2143" y="11846"/>
                  </a:cubicBezTo>
                  <a:cubicBezTo>
                    <a:pt x="2143" y="12035"/>
                    <a:pt x="2301" y="12193"/>
                    <a:pt x="2490" y="12193"/>
                  </a:cubicBezTo>
                  <a:lnTo>
                    <a:pt x="8192" y="12193"/>
                  </a:lnTo>
                  <a:cubicBezTo>
                    <a:pt x="8381" y="12193"/>
                    <a:pt x="8539" y="12035"/>
                    <a:pt x="8539" y="11846"/>
                  </a:cubicBezTo>
                  <a:cubicBezTo>
                    <a:pt x="8539" y="11657"/>
                    <a:pt x="8381" y="11500"/>
                    <a:pt x="8192" y="11500"/>
                  </a:cubicBezTo>
                  <a:lnTo>
                    <a:pt x="5703" y="11500"/>
                  </a:lnTo>
                  <a:lnTo>
                    <a:pt x="5703" y="11248"/>
                  </a:lnTo>
                  <a:lnTo>
                    <a:pt x="7342" y="9641"/>
                  </a:lnTo>
                  <a:cubicBezTo>
                    <a:pt x="7677" y="9909"/>
                    <a:pt x="8000" y="10034"/>
                    <a:pt x="8317" y="10034"/>
                  </a:cubicBezTo>
                  <a:cubicBezTo>
                    <a:pt x="8746" y="10034"/>
                    <a:pt x="9162" y="9805"/>
                    <a:pt x="9578" y="9389"/>
                  </a:cubicBezTo>
                  <a:cubicBezTo>
                    <a:pt x="10492" y="8507"/>
                    <a:pt x="10681" y="6238"/>
                    <a:pt x="10681" y="6144"/>
                  </a:cubicBezTo>
                  <a:cubicBezTo>
                    <a:pt x="10710" y="5910"/>
                    <a:pt x="10550" y="5731"/>
                    <a:pt x="10376" y="5731"/>
                  </a:cubicBezTo>
                  <a:cubicBezTo>
                    <a:pt x="10362" y="5731"/>
                    <a:pt x="10348" y="5732"/>
                    <a:pt x="10334" y="5734"/>
                  </a:cubicBezTo>
                  <a:cubicBezTo>
                    <a:pt x="10240" y="5734"/>
                    <a:pt x="8003" y="5923"/>
                    <a:pt x="7058" y="6837"/>
                  </a:cubicBezTo>
                  <a:cubicBezTo>
                    <a:pt x="6333" y="7561"/>
                    <a:pt x="6176" y="8286"/>
                    <a:pt x="6806" y="9074"/>
                  </a:cubicBezTo>
                  <a:lnTo>
                    <a:pt x="5703" y="10176"/>
                  </a:lnTo>
                  <a:lnTo>
                    <a:pt x="5703" y="5608"/>
                  </a:lnTo>
                  <a:cubicBezTo>
                    <a:pt x="5955" y="5545"/>
                    <a:pt x="6176" y="5356"/>
                    <a:pt x="6302" y="5104"/>
                  </a:cubicBezTo>
                  <a:cubicBezTo>
                    <a:pt x="6401" y="5140"/>
                    <a:pt x="6508" y="5158"/>
                    <a:pt x="6616" y="5158"/>
                  </a:cubicBezTo>
                  <a:cubicBezTo>
                    <a:pt x="6888" y="5158"/>
                    <a:pt x="7170" y="5046"/>
                    <a:pt x="7373" y="4821"/>
                  </a:cubicBezTo>
                  <a:cubicBezTo>
                    <a:pt x="7562" y="4632"/>
                    <a:pt x="7688" y="4348"/>
                    <a:pt x="7688" y="4096"/>
                  </a:cubicBezTo>
                  <a:cubicBezTo>
                    <a:pt x="7688" y="3970"/>
                    <a:pt x="7688" y="3875"/>
                    <a:pt x="7657" y="3781"/>
                  </a:cubicBezTo>
                  <a:cubicBezTo>
                    <a:pt x="8003" y="3560"/>
                    <a:pt x="8192" y="3214"/>
                    <a:pt x="8192" y="2836"/>
                  </a:cubicBezTo>
                  <a:cubicBezTo>
                    <a:pt x="8192" y="2426"/>
                    <a:pt x="7972" y="2080"/>
                    <a:pt x="7657" y="1891"/>
                  </a:cubicBezTo>
                  <a:cubicBezTo>
                    <a:pt x="7751" y="1513"/>
                    <a:pt x="7688" y="1103"/>
                    <a:pt x="7373" y="819"/>
                  </a:cubicBezTo>
                  <a:cubicBezTo>
                    <a:pt x="7164" y="610"/>
                    <a:pt x="6869" y="487"/>
                    <a:pt x="6590" y="487"/>
                  </a:cubicBezTo>
                  <a:cubicBezTo>
                    <a:pt x="6491" y="487"/>
                    <a:pt x="6393" y="503"/>
                    <a:pt x="6302" y="536"/>
                  </a:cubicBezTo>
                  <a:cubicBezTo>
                    <a:pt x="6113" y="189"/>
                    <a:pt x="5766" y="0"/>
                    <a:pt x="5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1" name="Google Shape;7811;p76"/>
            <p:cNvSpPr/>
            <p:nvPr/>
          </p:nvSpPr>
          <p:spPr>
            <a:xfrm>
              <a:off x="-20788300" y="2842125"/>
              <a:ext cx="35475" cy="35475"/>
            </a:xfrm>
            <a:custGeom>
              <a:avLst/>
              <a:gdLst/>
              <a:ahLst/>
              <a:cxnLst/>
              <a:rect l="l" t="t" r="r" b="b"/>
              <a:pathLst>
                <a:path w="1419" h="1419" extrusionOk="0">
                  <a:moveTo>
                    <a:pt x="694" y="1"/>
                  </a:moveTo>
                  <a:cubicBezTo>
                    <a:pt x="316" y="1"/>
                    <a:pt x="1" y="316"/>
                    <a:pt x="1" y="725"/>
                  </a:cubicBezTo>
                  <a:cubicBezTo>
                    <a:pt x="1" y="1103"/>
                    <a:pt x="316" y="1418"/>
                    <a:pt x="694" y="1418"/>
                  </a:cubicBezTo>
                  <a:cubicBezTo>
                    <a:pt x="1040" y="1418"/>
                    <a:pt x="1418" y="1103"/>
                    <a:pt x="1418" y="725"/>
                  </a:cubicBezTo>
                  <a:cubicBezTo>
                    <a:pt x="1418" y="316"/>
                    <a:pt x="1103" y="1"/>
                    <a:pt x="6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12" name="Google Shape;7812;p76"/>
          <p:cNvGrpSpPr/>
          <p:nvPr/>
        </p:nvGrpSpPr>
        <p:grpSpPr>
          <a:xfrm>
            <a:off x="5863878" y="3034086"/>
            <a:ext cx="480060" cy="628628"/>
            <a:chOff x="-19006700" y="2434925"/>
            <a:chExt cx="231600" cy="303275"/>
          </a:xfrm>
        </p:grpSpPr>
        <p:sp>
          <p:nvSpPr>
            <p:cNvPr id="7813" name="Google Shape;7813;p76"/>
            <p:cNvSpPr/>
            <p:nvPr/>
          </p:nvSpPr>
          <p:spPr>
            <a:xfrm>
              <a:off x="-18906675" y="2552275"/>
              <a:ext cx="36275" cy="44150"/>
            </a:xfrm>
            <a:custGeom>
              <a:avLst/>
              <a:gdLst/>
              <a:ahLst/>
              <a:cxnLst/>
              <a:rect l="l" t="t" r="r" b="b"/>
              <a:pathLst>
                <a:path w="1451" h="1766" extrusionOk="0">
                  <a:moveTo>
                    <a:pt x="1000" y="0"/>
                  </a:moveTo>
                  <a:cubicBezTo>
                    <a:pt x="853" y="0"/>
                    <a:pt x="718" y="108"/>
                    <a:pt x="694" y="253"/>
                  </a:cubicBezTo>
                  <a:cubicBezTo>
                    <a:pt x="641" y="95"/>
                    <a:pt x="478" y="25"/>
                    <a:pt x="334" y="25"/>
                  </a:cubicBezTo>
                  <a:cubicBezTo>
                    <a:pt x="306" y="25"/>
                    <a:pt x="279" y="27"/>
                    <a:pt x="253" y="32"/>
                  </a:cubicBezTo>
                  <a:cubicBezTo>
                    <a:pt x="64" y="95"/>
                    <a:pt x="1" y="316"/>
                    <a:pt x="32" y="473"/>
                  </a:cubicBezTo>
                  <a:lnTo>
                    <a:pt x="284" y="1513"/>
                  </a:lnTo>
                  <a:cubicBezTo>
                    <a:pt x="347" y="1671"/>
                    <a:pt x="505" y="1765"/>
                    <a:pt x="663" y="1765"/>
                  </a:cubicBezTo>
                  <a:cubicBezTo>
                    <a:pt x="820" y="1765"/>
                    <a:pt x="946" y="1671"/>
                    <a:pt x="1009" y="1513"/>
                  </a:cubicBezTo>
                  <a:lnTo>
                    <a:pt x="1356" y="473"/>
                  </a:lnTo>
                  <a:cubicBezTo>
                    <a:pt x="1450" y="253"/>
                    <a:pt x="1324" y="64"/>
                    <a:pt x="1135" y="32"/>
                  </a:cubicBezTo>
                  <a:cubicBezTo>
                    <a:pt x="1091" y="10"/>
                    <a:pt x="1045" y="0"/>
                    <a:pt x="100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4" name="Google Shape;7814;p76"/>
            <p:cNvSpPr/>
            <p:nvPr/>
          </p:nvSpPr>
          <p:spPr>
            <a:xfrm>
              <a:off x="-18935800" y="2525500"/>
              <a:ext cx="18125" cy="17350"/>
            </a:xfrm>
            <a:custGeom>
              <a:avLst/>
              <a:gdLst/>
              <a:ahLst/>
              <a:cxnLst/>
              <a:rect l="l" t="t" r="r" b="b"/>
              <a:pathLst>
                <a:path w="725" h="694" extrusionOk="0">
                  <a:moveTo>
                    <a:pt x="347" y="1"/>
                  </a:moveTo>
                  <a:cubicBezTo>
                    <a:pt x="158" y="1"/>
                    <a:pt x="0" y="158"/>
                    <a:pt x="0" y="347"/>
                  </a:cubicBezTo>
                  <a:cubicBezTo>
                    <a:pt x="0" y="536"/>
                    <a:pt x="158" y="694"/>
                    <a:pt x="347" y="694"/>
                  </a:cubicBezTo>
                  <a:cubicBezTo>
                    <a:pt x="567" y="694"/>
                    <a:pt x="725" y="536"/>
                    <a:pt x="725" y="347"/>
                  </a:cubicBezTo>
                  <a:cubicBezTo>
                    <a:pt x="725" y="158"/>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5" name="Google Shape;7815;p76"/>
            <p:cNvSpPr/>
            <p:nvPr/>
          </p:nvSpPr>
          <p:spPr>
            <a:xfrm>
              <a:off x="-18864125" y="2525500"/>
              <a:ext cx="18125" cy="17350"/>
            </a:xfrm>
            <a:custGeom>
              <a:avLst/>
              <a:gdLst/>
              <a:ahLst/>
              <a:cxnLst/>
              <a:rect l="l" t="t" r="r" b="b"/>
              <a:pathLst>
                <a:path w="725" h="694" extrusionOk="0">
                  <a:moveTo>
                    <a:pt x="378" y="1"/>
                  </a:moveTo>
                  <a:cubicBezTo>
                    <a:pt x="158" y="1"/>
                    <a:pt x="0" y="158"/>
                    <a:pt x="0" y="347"/>
                  </a:cubicBezTo>
                  <a:cubicBezTo>
                    <a:pt x="0" y="536"/>
                    <a:pt x="158" y="694"/>
                    <a:pt x="378" y="694"/>
                  </a:cubicBezTo>
                  <a:cubicBezTo>
                    <a:pt x="567" y="694"/>
                    <a:pt x="725" y="536"/>
                    <a:pt x="725" y="347"/>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6" name="Google Shape;7816;p76"/>
            <p:cNvSpPr/>
            <p:nvPr/>
          </p:nvSpPr>
          <p:spPr>
            <a:xfrm>
              <a:off x="-19006700" y="2434925"/>
              <a:ext cx="231600" cy="303275"/>
            </a:xfrm>
            <a:custGeom>
              <a:avLst/>
              <a:gdLst/>
              <a:ahLst/>
              <a:cxnLst/>
              <a:rect l="l" t="t" r="r" b="b"/>
              <a:pathLst>
                <a:path w="9264" h="12131" extrusionOk="0">
                  <a:moveTo>
                    <a:pt x="6302" y="757"/>
                  </a:moveTo>
                  <a:cubicBezTo>
                    <a:pt x="6774" y="851"/>
                    <a:pt x="7089" y="1292"/>
                    <a:pt x="7089" y="1765"/>
                  </a:cubicBezTo>
                  <a:lnTo>
                    <a:pt x="7089" y="2521"/>
                  </a:lnTo>
                  <a:cubicBezTo>
                    <a:pt x="6774" y="2269"/>
                    <a:pt x="6428" y="2175"/>
                    <a:pt x="6018" y="2175"/>
                  </a:cubicBezTo>
                  <a:cubicBezTo>
                    <a:pt x="5451" y="2175"/>
                    <a:pt x="4916" y="2427"/>
                    <a:pt x="4601" y="2868"/>
                  </a:cubicBezTo>
                  <a:cubicBezTo>
                    <a:pt x="4285" y="2427"/>
                    <a:pt x="3781" y="2175"/>
                    <a:pt x="3183" y="2175"/>
                  </a:cubicBezTo>
                  <a:cubicBezTo>
                    <a:pt x="2805" y="2175"/>
                    <a:pt x="2395" y="2269"/>
                    <a:pt x="2143" y="2521"/>
                  </a:cubicBezTo>
                  <a:lnTo>
                    <a:pt x="2143" y="1765"/>
                  </a:lnTo>
                  <a:cubicBezTo>
                    <a:pt x="2143" y="1261"/>
                    <a:pt x="2458" y="851"/>
                    <a:pt x="2931" y="757"/>
                  </a:cubicBezTo>
                  <a:cubicBezTo>
                    <a:pt x="3088" y="1135"/>
                    <a:pt x="3466" y="1418"/>
                    <a:pt x="3907" y="1418"/>
                  </a:cubicBezTo>
                  <a:lnTo>
                    <a:pt x="5325" y="1418"/>
                  </a:lnTo>
                  <a:cubicBezTo>
                    <a:pt x="5766" y="1418"/>
                    <a:pt x="6144" y="1135"/>
                    <a:pt x="6302" y="757"/>
                  </a:cubicBezTo>
                  <a:close/>
                  <a:moveTo>
                    <a:pt x="6050" y="2899"/>
                  </a:moveTo>
                  <a:cubicBezTo>
                    <a:pt x="6617" y="2899"/>
                    <a:pt x="7089" y="3372"/>
                    <a:pt x="7089" y="3970"/>
                  </a:cubicBezTo>
                  <a:lnTo>
                    <a:pt x="7089" y="4695"/>
                  </a:lnTo>
                  <a:cubicBezTo>
                    <a:pt x="7089" y="6050"/>
                    <a:pt x="5987" y="7152"/>
                    <a:pt x="4632" y="7152"/>
                  </a:cubicBezTo>
                  <a:cubicBezTo>
                    <a:pt x="3246" y="7152"/>
                    <a:pt x="2143" y="6050"/>
                    <a:pt x="2143" y="4695"/>
                  </a:cubicBezTo>
                  <a:lnTo>
                    <a:pt x="2143" y="3970"/>
                  </a:lnTo>
                  <a:cubicBezTo>
                    <a:pt x="2143" y="3372"/>
                    <a:pt x="2616" y="2899"/>
                    <a:pt x="3183" y="2899"/>
                  </a:cubicBezTo>
                  <a:cubicBezTo>
                    <a:pt x="3781" y="2899"/>
                    <a:pt x="4254" y="3372"/>
                    <a:pt x="4254" y="3970"/>
                  </a:cubicBezTo>
                  <a:cubicBezTo>
                    <a:pt x="4254" y="4159"/>
                    <a:pt x="4411" y="4317"/>
                    <a:pt x="4632" y="4317"/>
                  </a:cubicBezTo>
                  <a:cubicBezTo>
                    <a:pt x="4821" y="4317"/>
                    <a:pt x="4979" y="4159"/>
                    <a:pt x="4979" y="3970"/>
                  </a:cubicBezTo>
                  <a:cubicBezTo>
                    <a:pt x="4979" y="3372"/>
                    <a:pt x="5451" y="2899"/>
                    <a:pt x="6050" y="2899"/>
                  </a:cubicBezTo>
                  <a:close/>
                  <a:moveTo>
                    <a:pt x="7121" y="7152"/>
                  </a:moveTo>
                  <a:cubicBezTo>
                    <a:pt x="7909" y="7152"/>
                    <a:pt x="8539" y="7782"/>
                    <a:pt x="8539" y="8570"/>
                  </a:cubicBezTo>
                  <a:lnTo>
                    <a:pt x="8539" y="9956"/>
                  </a:lnTo>
                  <a:cubicBezTo>
                    <a:pt x="8129" y="9799"/>
                    <a:pt x="7846" y="9421"/>
                    <a:pt x="7846" y="8948"/>
                  </a:cubicBezTo>
                  <a:cubicBezTo>
                    <a:pt x="7846" y="8728"/>
                    <a:pt x="7688" y="8570"/>
                    <a:pt x="7499" y="8570"/>
                  </a:cubicBezTo>
                  <a:cubicBezTo>
                    <a:pt x="7278" y="8570"/>
                    <a:pt x="7121" y="8728"/>
                    <a:pt x="7121" y="8948"/>
                  </a:cubicBezTo>
                  <a:cubicBezTo>
                    <a:pt x="7121" y="9799"/>
                    <a:pt x="7751" y="10523"/>
                    <a:pt x="8539" y="10681"/>
                  </a:cubicBezTo>
                  <a:lnTo>
                    <a:pt x="8539" y="11405"/>
                  </a:lnTo>
                  <a:cubicBezTo>
                    <a:pt x="6963" y="11405"/>
                    <a:pt x="5703" y="10114"/>
                    <a:pt x="5703" y="8570"/>
                  </a:cubicBezTo>
                  <a:cubicBezTo>
                    <a:pt x="5703" y="7782"/>
                    <a:pt x="6333" y="7152"/>
                    <a:pt x="7121" y="7152"/>
                  </a:cubicBezTo>
                  <a:close/>
                  <a:moveTo>
                    <a:pt x="2868" y="7373"/>
                  </a:moveTo>
                  <a:cubicBezTo>
                    <a:pt x="3435" y="7719"/>
                    <a:pt x="4033" y="7908"/>
                    <a:pt x="4664" y="7908"/>
                  </a:cubicBezTo>
                  <a:cubicBezTo>
                    <a:pt x="4821" y="7908"/>
                    <a:pt x="4979" y="7908"/>
                    <a:pt x="5168" y="7877"/>
                  </a:cubicBezTo>
                  <a:lnTo>
                    <a:pt x="5168" y="7877"/>
                  </a:lnTo>
                  <a:cubicBezTo>
                    <a:pt x="5073" y="8097"/>
                    <a:pt x="5042" y="8349"/>
                    <a:pt x="5042" y="8633"/>
                  </a:cubicBezTo>
                  <a:cubicBezTo>
                    <a:pt x="5042" y="9799"/>
                    <a:pt x="5609" y="10838"/>
                    <a:pt x="6459" y="11468"/>
                  </a:cubicBezTo>
                  <a:lnTo>
                    <a:pt x="5357" y="11468"/>
                  </a:lnTo>
                  <a:cubicBezTo>
                    <a:pt x="3970" y="11468"/>
                    <a:pt x="2868" y="10334"/>
                    <a:pt x="2868" y="8980"/>
                  </a:cubicBezTo>
                  <a:lnTo>
                    <a:pt x="2868" y="7373"/>
                  </a:lnTo>
                  <a:close/>
                  <a:moveTo>
                    <a:pt x="3246" y="1"/>
                  </a:moveTo>
                  <a:cubicBezTo>
                    <a:pt x="2238" y="1"/>
                    <a:pt x="1450" y="788"/>
                    <a:pt x="1450" y="1765"/>
                  </a:cubicBezTo>
                  <a:lnTo>
                    <a:pt x="1450" y="4695"/>
                  </a:lnTo>
                  <a:cubicBezTo>
                    <a:pt x="1450" y="5420"/>
                    <a:pt x="1734" y="6144"/>
                    <a:pt x="2175" y="6680"/>
                  </a:cubicBezTo>
                  <a:lnTo>
                    <a:pt x="2175" y="8948"/>
                  </a:lnTo>
                  <a:cubicBezTo>
                    <a:pt x="2175" y="9956"/>
                    <a:pt x="2647" y="10838"/>
                    <a:pt x="3340" y="11405"/>
                  </a:cubicBezTo>
                  <a:lnTo>
                    <a:pt x="2017" y="11405"/>
                  </a:lnTo>
                  <a:lnTo>
                    <a:pt x="1387" y="10208"/>
                  </a:lnTo>
                  <a:cubicBezTo>
                    <a:pt x="1319" y="10094"/>
                    <a:pt x="1184" y="10013"/>
                    <a:pt x="1055" y="10013"/>
                  </a:cubicBezTo>
                  <a:cubicBezTo>
                    <a:pt x="1006" y="10013"/>
                    <a:pt x="958" y="10025"/>
                    <a:pt x="914" y="10051"/>
                  </a:cubicBezTo>
                  <a:cubicBezTo>
                    <a:pt x="757" y="10114"/>
                    <a:pt x="662" y="10366"/>
                    <a:pt x="757" y="10523"/>
                  </a:cubicBezTo>
                  <a:lnTo>
                    <a:pt x="1229" y="11405"/>
                  </a:lnTo>
                  <a:lnTo>
                    <a:pt x="347" y="11405"/>
                  </a:lnTo>
                  <a:cubicBezTo>
                    <a:pt x="158" y="11405"/>
                    <a:pt x="1" y="11563"/>
                    <a:pt x="1" y="11783"/>
                  </a:cubicBezTo>
                  <a:cubicBezTo>
                    <a:pt x="1" y="11973"/>
                    <a:pt x="158" y="12130"/>
                    <a:pt x="347" y="12130"/>
                  </a:cubicBezTo>
                  <a:lnTo>
                    <a:pt x="8917" y="12130"/>
                  </a:lnTo>
                  <a:cubicBezTo>
                    <a:pt x="9106" y="12130"/>
                    <a:pt x="9263" y="11973"/>
                    <a:pt x="9263" y="11783"/>
                  </a:cubicBezTo>
                  <a:lnTo>
                    <a:pt x="9263" y="8633"/>
                  </a:lnTo>
                  <a:cubicBezTo>
                    <a:pt x="9263" y="7467"/>
                    <a:pt x="8381" y="6585"/>
                    <a:pt x="7278" y="6459"/>
                  </a:cubicBezTo>
                  <a:cubicBezTo>
                    <a:pt x="7657" y="5955"/>
                    <a:pt x="7846" y="5325"/>
                    <a:pt x="7846" y="4695"/>
                  </a:cubicBezTo>
                  <a:lnTo>
                    <a:pt x="7846" y="1765"/>
                  </a:lnTo>
                  <a:cubicBezTo>
                    <a:pt x="7846" y="788"/>
                    <a:pt x="7058" y="1"/>
                    <a:pt x="6081" y="1"/>
                  </a:cubicBezTo>
                  <a:cubicBezTo>
                    <a:pt x="5861" y="1"/>
                    <a:pt x="5703" y="158"/>
                    <a:pt x="5703" y="347"/>
                  </a:cubicBezTo>
                  <a:cubicBezTo>
                    <a:pt x="5703" y="536"/>
                    <a:pt x="5546" y="694"/>
                    <a:pt x="5357" y="694"/>
                  </a:cubicBezTo>
                  <a:lnTo>
                    <a:pt x="3939" y="694"/>
                  </a:lnTo>
                  <a:cubicBezTo>
                    <a:pt x="3750" y="694"/>
                    <a:pt x="3592" y="536"/>
                    <a:pt x="3592" y="347"/>
                  </a:cubicBezTo>
                  <a:cubicBezTo>
                    <a:pt x="3592" y="158"/>
                    <a:pt x="3435" y="1"/>
                    <a:pt x="32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17" name="Google Shape;7817;p76"/>
          <p:cNvSpPr/>
          <p:nvPr/>
        </p:nvSpPr>
        <p:spPr>
          <a:xfrm>
            <a:off x="5787255" y="3802304"/>
            <a:ext cx="630235" cy="630235"/>
          </a:xfrm>
          <a:custGeom>
            <a:avLst/>
            <a:gdLst/>
            <a:ahLst/>
            <a:cxnLst/>
            <a:rect l="l" t="t" r="r" b="b"/>
            <a:pathLst>
              <a:path w="12162" h="12162" extrusionOk="0">
                <a:moveTo>
                  <a:pt x="1072" y="3561"/>
                </a:moveTo>
                <a:cubicBezTo>
                  <a:pt x="1229" y="3561"/>
                  <a:pt x="1418" y="3813"/>
                  <a:pt x="1418" y="4254"/>
                </a:cubicBezTo>
                <a:cubicBezTo>
                  <a:pt x="1418" y="4695"/>
                  <a:pt x="1229" y="4979"/>
                  <a:pt x="1072" y="4979"/>
                </a:cubicBezTo>
                <a:cubicBezTo>
                  <a:pt x="914" y="4979"/>
                  <a:pt x="694" y="4695"/>
                  <a:pt x="694" y="4254"/>
                </a:cubicBezTo>
                <a:cubicBezTo>
                  <a:pt x="694" y="3813"/>
                  <a:pt x="914" y="3561"/>
                  <a:pt x="1072" y="3561"/>
                </a:cubicBezTo>
                <a:close/>
                <a:moveTo>
                  <a:pt x="4632" y="3561"/>
                </a:moveTo>
                <a:cubicBezTo>
                  <a:pt x="4821" y="3561"/>
                  <a:pt x="5010" y="3813"/>
                  <a:pt x="5010" y="4254"/>
                </a:cubicBezTo>
                <a:cubicBezTo>
                  <a:pt x="5010" y="4695"/>
                  <a:pt x="4758" y="4979"/>
                  <a:pt x="4632" y="4979"/>
                </a:cubicBezTo>
                <a:cubicBezTo>
                  <a:pt x="4474" y="4979"/>
                  <a:pt x="4285" y="4695"/>
                  <a:pt x="4285" y="4254"/>
                </a:cubicBezTo>
                <a:cubicBezTo>
                  <a:pt x="4285" y="3813"/>
                  <a:pt x="4474" y="3561"/>
                  <a:pt x="4632" y="3561"/>
                </a:cubicBezTo>
                <a:close/>
                <a:moveTo>
                  <a:pt x="2836" y="2080"/>
                </a:moveTo>
                <a:cubicBezTo>
                  <a:pt x="3466" y="2080"/>
                  <a:pt x="4065" y="2395"/>
                  <a:pt x="4443" y="2836"/>
                </a:cubicBezTo>
                <a:cubicBezTo>
                  <a:pt x="3939" y="2962"/>
                  <a:pt x="3529" y="3498"/>
                  <a:pt x="3529" y="4254"/>
                </a:cubicBezTo>
                <a:cubicBezTo>
                  <a:pt x="3529" y="4979"/>
                  <a:pt x="3939" y="5546"/>
                  <a:pt x="4443" y="5672"/>
                </a:cubicBezTo>
                <a:cubicBezTo>
                  <a:pt x="4065" y="6113"/>
                  <a:pt x="3466" y="6428"/>
                  <a:pt x="2836" y="6428"/>
                </a:cubicBezTo>
                <a:cubicBezTo>
                  <a:pt x="2206" y="6428"/>
                  <a:pt x="1607" y="6144"/>
                  <a:pt x="1229" y="5672"/>
                </a:cubicBezTo>
                <a:cubicBezTo>
                  <a:pt x="1733" y="5546"/>
                  <a:pt x="2143" y="5010"/>
                  <a:pt x="2143" y="4254"/>
                </a:cubicBezTo>
                <a:cubicBezTo>
                  <a:pt x="2143" y="3561"/>
                  <a:pt x="1733" y="2962"/>
                  <a:pt x="1229" y="2836"/>
                </a:cubicBezTo>
                <a:cubicBezTo>
                  <a:pt x="1607" y="2395"/>
                  <a:pt x="2206" y="2080"/>
                  <a:pt x="2836" y="2080"/>
                </a:cubicBezTo>
                <a:close/>
                <a:moveTo>
                  <a:pt x="11090" y="6459"/>
                </a:moveTo>
                <a:cubicBezTo>
                  <a:pt x="11311" y="6459"/>
                  <a:pt x="11468" y="6617"/>
                  <a:pt x="11468" y="6806"/>
                </a:cubicBezTo>
                <a:cubicBezTo>
                  <a:pt x="11468" y="7027"/>
                  <a:pt x="11311" y="7184"/>
                  <a:pt x="11090" y="7184"/>
                </a:cubicBezTo>
                <a:cubicBezTo>
                  <a:pt x="10901" y="7184"/>
                  <a:pt x="10744" y="7027"/>
                  <a:pt x="10744" y="6806"/>
                </a:cubicBezTo>
                <a:cubicBezTo>
                  <a:pt x="10744" y="6617"/>
                  <a:pt x="10901" y="6459"/>
                  <a:pt x="11090" y="6459"/>
                </a:cubicBezTo>
                <a:close/>
                <a:moveTo>
                  <a:pt x="4222" y="6774"/>
                </a:moveTo>
                <a:cubicBezTo>
                  <a:pt x="4254" y="6901"/>
                  <a:pt x="4285" y="7058"/>
                  <a:pt x="4285" y="7184"/>
                </a:cubicBezTo>
                <a:cubicBezTo>
                  <a:pt x="4285" y="7972"/>
                  <a:pt x="3655" y="8602"/>
                  <a:pt x="2868" y="8602"/>
                </a:cubicBezTo>
                <a:cubicBezTo>
                  <a:pt x="2080" y="8539"/>
                  <a:pt x="1418" y="7909"/>
                  <a:pt x="1418" y="7121"/>
                </a:cubicBezTo>
                <a:cubicBezTo>
                  <a:pt x="1418" y="7027"/>
                  <a:pt x="1418" y="6901"/>
                  <a:pt x="1450" y="6774"/>
                </a:cubicBezTo>
                <a:cubicBezTo>
                  <a:pt x="1859" y="7027"/>
                  <a:pt x="2332" y="7121"/>
                  <a:pt x="2836" y="7121"/>
                </a:cubicBezTo>
                <a:cubicBezTo>
                  <a:pt x="3340" y="7121"/>
                  <a:pt x="3813" y="7027"/>
                  <a:pt x="4222" y="6774"/>
                </a:cubicBezTo>
                <a:close/>
                <a:moveTo>
                  <a:pt x="10744" y="7877"/>
                </a:moveTo>
                <a:cubicBezTo>
                  <a:pt x="11153" y="7877"/>
                  <a:pt x="11468" y="8192"/>
                  <a:pt x="11468" y="8602"/>
                </a:cubicBezTo>
                <a:cubicBezTo>
                  <a:pt x="11468" y="8980"/>
                  <a:pt x="11153" y="9295"/>
                  <a:pt x="10744" y="9295"/>
                </a:cubicBezTo>
                <a:cubicBezTo>
                  <a:pt x="10618" y="8917"/>
                  <a:pt x="10397" y="8539"/>
                  <a:pt x="10114" y="8287"/>
                </a:cubicBezTo>
                <a:cubicBezTo>
                  <a:pt x="10240" y="8035"/>
                  <a:pt x="10492" y="7877"/>
                  <a:pt x="10744" y="7877"/>
                </a:cubicBezTo>
                <a:close/>
                <a:moveTo>
                  <a:pt x="8979" y="8539"/>
                </a:moveTo>
                <a:cubicBezTo>
                  <a:pt x="9578" y="8539"/>
                  <a:pt x="10051" y="9011"/>
                  <a:pt x="10051" y="9610"/>
                </a:cubicBezTo>
                <a:cubicBezTo>
                  <a:pt x="10051" y="10240"/>
                  <a:pt x="9578" y="10713"/>
                  <a:pt x="8979" y="10713"/>
                </a:cubicBezTo>
                <a:cubicBezTo>
                  <a:pt x="8822" y="10713"/>
                  <a:pt x="8664" y="10681"/>
                  <a:pt x="8538" y="10650"/>
                </a:cubicBezTo>
                <a:cubicBezTo>
                  <a:pt x="8570" y="10429"/>
                  <a:pt x="8633" y="10240"/>
                  <a:pt x="8633" y="10019"/>
                </a:cubicBezTo>
                <a:cubicBezTo>
                  <a:pt x="8633" y="9578"/>
                  <a:pt x="8507" y="9169"/>
                  <a:pt x="8255" y="8822"/>
                </a:cubicBezTo>
                <a:cubicBezTo>
                  <a:pt x="8475" y="8665"/>
                  <a:pt x="8696" y="8539"/>
                  <a:pt x="8979" y="8539"/>
                </a:cubicBezTo>
                <a:close/>
                <a:moveTo>
                  <a:pt x="4852" y="8003"/>
                </a:moveTo>
                <a:cubicBezTo>
                  <a:pt x="5356" y="8224"/>
                  <a:pt x="5734" y="8759"/>
                  <a:pt x="5734" y="9326"/>
                </a:cubicBezTo>
                <a:cubicBezTo>
                  <a:pt x="5734" y="10114"/>
                  <a:pt x="5104" y="10744"/>
                  <a:pt x="4317" y="10744"/>
                </a:cubicBezTo>
                <a:cubicBezTo>
                  <a:pt x="3529" y="10713"/>
                  <a:pt x="2868" y="10083"/>
                  <a:pt x="2868" y="9295"/>
                </a:cubicBezTo>
                <a:cubicBezTo>
                  <a:pt x="3781" y="9295"/>
                  <a:pt x="4537" y="8759"/>
                  <a:pt x="4852" y="8003"/>
                </a:cubicBezTo>
                <a:close/>
                <a:moveTo>
                  <a:pt x="6459" y="8633"/>
                </a:moveTo>
                <a:cubicBezTo>
                  <a:pt x="7247" y="8633"/>
                  <a:pt x="7877" y="9263"/>
                  <a:pt x="7877" y="10051"/>
                </a:cubicBezTo>
                <a:cubicBezTo>
                  <a:pt x="7877" y="10807"/>
                  <a:pt x="7247" y="11469"/>
                  <a:pt x="6459" y="11469"/>
                </a:cubicBezTo>
                <a:cubicBezTo>
                  <a:pt x="6113" y="11469"/>
                  <a:pt x="5734" y="11343"/>
                  <a:pt x="5514" y="11122"/>
                </a:cubicBezTo>
                <a:cubicBezTo>
                  <a:pt x="6113" y="10713"/>
                  <a:pt x="6459" y="10083"/>
                  <a:pt x="6459" y="9326"/>
                </a:cubicBezTo>
                <a:cubicBezTo>
                  <a:pt x="6459" y="9106"/>
                  <a:pt x="6428" y="8854"/>
                  <a:pt x="6333" y="8633"/>
                </a:cubicBezTo>
                <a:close/>
                <a:moveTo>
                  <a:pt x="1418" y="1"/>
                </a:moveTo>
                <a:cubicBezTo>
                  <a:pt x="631" y="1"/>
                  <a:pt x="1" y="631"/>
                  <a:pt x="1" y="1419"/>
                </a:cubicBezTo>
                <a:cubicBezTo>
                  <a:pt x="1" y="1891"/>
                  <a:pt x="221" y="2269"/>
                  <a:pt x="599" y="2553"/>
                </a:cubicBezTo>
                <a:cubicBezTo>
                  <a:pt x="221" y="3025"/>
                  <a:pt x="1" y="3624"/>
                  <a:pt x="1" y="4254"/>
                </a:cubicBezTo>
                <a:cubicBezTo>
                  <a:pt x="1" y="5042"/>
                  <a:pt x="316" y="5798"/>
                  <a:pt x="851" y="6302"/>
                </a:cubicBezTo>
                <a:cubicBezTo>
                  <a:pt x="757" y="6554"/>
                  <a:pt x="694" y="6806"/>
                  <a:pt x="694" y="7090"/>
                </a:cubicBezTo>
                <a:cubicBezTo>
                  <a:pt x="694" y="8035"/>
                  <a:pt x="1324" y="8822"/>
                  <a:pt x="2174" y="9137"/>
                </a:cubicBezTo>
                <a:lnTo>
                  <a:pt x="2174" y="9263"/>
                </a:lnTo>
                <a:cubicBezTo>
                  <a:pt x="2174" y="10429"/>
                  <a:pt x="3151" y="11437"/>
                  <a:pt x="4317" y="11437"/>
                </a:cubicBezTo>
                <a:cubicBezTo>
                  <a:pt x="4474" y="11437"/>
                  <a:pt x="4695" y="11374"/>
                  <a:pt x="4852" y="11374"/>
                </a:cubicBezTo>
                <a:cubicBezTo>
                  <a:pt x="5230" y="11847"/>
                  <a:pt x="5829" y="12162"/>
                  <a:pt x="6491" y="12162"/>
                </a:cubicBezTo>
                <a:cubicBezTo>
                  <a:pt x="7215" y="12162"/>
                  <a:pt x="7845" y="11815"/>
                  <a:pt x="8223" y="11311"/>
                </a:cubicBezTo>
                <a:cubicBezTo>
                  <a:pt x="8475" y="11437"/>
                  <a:pt x="8727" y="11469"/>
                  <a:pt x="8979" y="11469"/>
                </a:cubicBezTo>
                <a:cubicBezTo>
                  <a:pt x="9830" y="11469"/>
                  <a:pt x="10555" y="10839"/>
                  <a:pt x="10712" y="10051"/>
                </a:cubicBezTo>
                <a:lnTo>
                  <a:pt x="10744" y="10051"/>
                </a:lnTo>
                <a:cubicBezTo>
                  <a:pt x="11531" y="10051"/>
                  <a:pt x="12161" y="9421"/>
                  <a:pt x="12161" y="8633"/>
                </a:cubicBezTo>
                <a:cubicBezTo>
                  <a:pt x="12161" y="8287"/>
                  <a:pt x="12004" y="7909"/>
                  <a:pt x="11783" y="7657"/>
                </a:cubicBezTo>
                <a:cubicBezTo>
                  <a:pt x="12004" y="7436"/>
                  <a:pt x="12161" y="7121"/>
                  <a:pt x="12161" y="6806"/>
                </a:cubicBezTo>
                <a:cubicBezTo>
                  <a:pt x="12161" y="6239"/>
                  <a:pt x="11689" y="5766"/>
                  <a:pt x="11090" y="5766"/>
                </a:cubicBezTo>
                <a:cubicBezTo>
                  <a:pt x="10523" y="5766"/>
                  <a:pt x="10051" y="6239"/>
                  <a:pt x="10051" y="6806"/>
                </a:cubicBezTo>
                <a:cubicBezTo>
                  <a:pt x="10051" y="6964"/>
                  <a:pt x="10082" y="7184"/>
                  <a:pt x="10145" y="7279"/>
                </a:cubicBezTo>
                <a:cubicBezTo>
                  <a:pt x="10051" y="7342"/>
                  <a:pt x="9925" y="7405"/>
                  <a:pt x="9799" y="7531"/>
                </a:cubicBezTo>
                <a:cubicBezTo>
                  <a:pt x="9641" y="7657"/>
                  <a:pt x="9515" y="7783"/>
                  <a:pt x="9452" y="7940"/>
                </a:cubicBezTo>
                <a:cubicBezTo>
                  <a:pt x="9295" y="7909"/>
                  <a:pt x="9137" y="7877"/>
                  <a:pt x="8948" y="7877"/>
                </a:cubicBezTo>
                <a:cubicBezTo>
                  <a:pt x="8507" y="7877"/>
                  <a:pt x="8066" y="8035"/>
                  <a:pt x="7751" y="8318"/>
                </a:cubicBezTo>
                <a:cubicBezTo>
                  <a:pt x="7404" y="8035"/>
                  <a:pt x="6932" y="7877"/>
                  <a:pt x="6459" y="7877"/>
                </a:cubicBezTo>
                <a:cubicBezTo>
                  <a:pt x="6302" y="7877"/>
                  <a:pt x="6113" y="7909"/>
                  <a:pt x="5955" y="7909"/>
                </a:cubicBezTo>
                <a:cubicBezTo>
                  <a:pt x="5703" y="7594"/>
                  <a:pt x="5356" y="7373"/>
                  <a:pt x="5010" y="7247"/>
                </a:cubicBezTo>
                <a:lnTo>
                  <a:pt x="5010" y="7121"/>
                </a:lnTo>
                <a:cubicBezTo>
                  <a:pt x="5010" y="6869"/>
                  <a:pt x="4915" y="6585"/>
                  <a:pt x="4789" y="6302"/>
                </a:cubicBezTo>
                <a:cubicBezTo>
                  <a:pt x="5356" y="5798"/>
                  <a:pt x="5671" y="5042"/>
                  <a:pt x="5671" y="4254"/>
                </a:cubicBezTo>
                <a:cubicBezTo>
                  <a:pt x="5671" y="3624"/>
                  <a:pt x="5482" y="3025"/>
                  <a:pt x="5073" y="2553"/>
                </a:cubicBezTo>
                <a:cubicBezTo>
                  <a:pt x="5419" y="2301"/>
                  <a:pt x="5671" y="1891"/>
                  <a:pt x="5671" y="1419"/>
                </a:cubicBezTo>
                <a:cubicBezTo>
                  <a:pt x="5671" y="631"/>
                  <a:pt x="5041" y="1"/>
                  <a:pt x="4254" y="1"/>
                </a:cubicBezTo>
                <a:cubicBezTo>
                  <a:pt x="4065" y="1"/>
                  <a:pt x="3907" y="158"/>
                  <a:pt x="3907" y="348"/>
                </a:cubicBezTo>
                <a:cubicBezTo>
                  <a:pt x="3907" y="568"/>
                  <a:pt x="4065" y="726"/>
                  <a:pt x="4254" y="726"/>
                </a:cubicBezTo>
                <a:cubicBezTo>
                  <a:pt x="4632" y="726"/>
                  <a:pt x="4947" y="1041"/>
                  <a:pt x="4947" y="1419"/>
                </a:cubicBezTo>
                <a:cubicBezTo>
                  <a:pt x="4947" y="1702"/>
                  <a:pt x="4789" y="1923"/>
                  <a:pt x="4600" y="2049"/>
                </a:cubicBezTo>
                <a:cubicBezTo>
                  <a:pt x="4128" y="1671"/>
                  <a:pt x="3498" y="1419"/>
                  <a:pt x="2836" y="1419"/>
                </a:cubicBezTo>
                <a:cubicBezTo>
                  <a:pt x="2174" y="1419"/>
                  <a:pt x="1544" y="1671"/>
                  <a:pt x="1072" y="2049"/>
                </a:cubicBezTo>
                <a:cubicBezTo>
                  <a:pt x="820" y="1923"/>
                  <a:pt x="694" y="1702"/>
                  <a:pt x="694" y="1419"/>
                </a:cubicBezTo>
                <a:cubicBezTo>
                  <a:pt x="694" y="1041"/>
                  <a:pt x="1009" y="726"/>
                  <a:pt x="1418" y="726"/>
                </a:cubicBezTo>
                <a:cubicBezTo>
                  <a:pt x="1607" y="726"/>
                  <a:pt x="1765" y="568"/>
                  <a:pt x="1765" y="348"/>
                </a:cubicBezTo>
                <a:cubicBezTo>
                  <a:pt x="1765" y="158"/>
                  <a:pt x="1607"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18" name="Google Shape;7818;p76"/>
          <p:cNvSpPr/>
          <p:nvPr/>
        </p:nvSpPr>
        <p:spPr>
          <a:xfrm>
            <a:off x="9739801" y="2251305"/>
            <a:ext cx="553489" cy="631841"/>
          </a:xfrm>
          <a:custGeom>
            <a:avLst/>
            <a:gdLst/>
            <a:ahLst/>
            <a:cxnLst/>
            <a:rect l="l" t="t" r="r" b="b"/>
            <a:pathLst>
              <a:path w="10681" h="12193" extrusionOk="0">
                <a:moveTo>
                  <a:pt x="8475" y="693"/>
                </a:moveTo>
                <a:cubicBezTo>
                  <a:pt x="8318" y="1513"/>
                  <a:pt x="7562" y="2111"/>
                  <a:pt x="6742" y="2111"/>
                </a:cubicBezTo>
                <a:cubicBezTo>
                  <a:pt x="6333" y="2111"/>
                  <a:pt x="5986" y="2237"/>
                  <a:pt x="5671" y="2426"/>
                </a:cubicBezTo>
                <a:lnTo>
                  <a:pt x="5671" y="1765"/>
                </a:lnTo>
                <a:cubicBezTo>
                  <a:pt x="5671" y="1166"/>
                  <a:pt x="6144" y="693"/>
                  <a:pt x="6742" y="693"/>
                </a:cubicBezTo>
                <a:close/>
                <a:moveTo>
                  <a:pt x="7089" y="4285"/>
                </a:moveTo>
                <a:cubicBezTo>
                  <a:pt x="8853" y="4285"/>
                  <a:pt x="9924" y="5356"/>
                  <a:pt x="9924" y="7120"/>
                </a:cubicBezTo>
                <a:cubicBezTo>
                  <a:pt x="9956" y="8129"/>
                  <a:pt x="9609" y="9231"/>
                  <a:pt x="9074" y="10082"/>
                </a:cubicBezTo>
                <a:cubicBezTo>
                  <a:pt x="8507" y="10933"/>
                  <a:pt x="7814" y="11405"/>
                  <a:pt x="7089" y="11405"/>
                </a:cubicBezTo>
                <a:cubicBezTo>
                  <a:pt x="6931" y="11405"/>
                  <a:pt x="6774" y="11374"/>
                  <a:pt x="6648" y="11342"/>
                </a:cubicBezTo>
                <a:cubicBezTo>
                  <a:pt x="6238" y="11216"/>
                  <a:pt x="5766" y="11122"/>
                  <a:pt x="5325" y="11122"/>
                </a:cubicBezTo>
                <a:cubicBezTo>
                  <a:pt x="4884" y="11122"/>
                  <a:pt x="4411" y="11216"/>
                  <a:pt x="3970" y="11342"/>
                </a:cubicBezTo>
                <a:cubicBezTo>
                  <a:pt x="3812" y="11374"/>
                  <a:pt x="3655" y="11405"/>
                  <a:pt x="3560" y="11405"/>
                </a:cubicBezTo>
                <a:cubicBezTo>
                  <a:pt x="2836" y="11405"/>
                  <a:pt x="2143" y="10901"/>
                  <a:pt x="1576" y="10082"/>
                </a:cubicBezTo>
                <a:cubicBezTo>
                  <a:pt x="1040" y="9200"/>
                  <a:pt x="725" y="8097"/>
                  <a:pt x="725" y="7120"/>
                </a:cubicBezTo>
                <a:cubicBezTo>
                  <a:pt x="725" y="5356"/>
                  <a:pt x="1765" y="4285"/>
                  <a:pt x="3560" y="4285"/>
                </a:cubicBezTo>
                <a:cubicBezTo>
                  <a:pt x="3970" y="4285"/>
                  <a:pt x="4380" y="4348"/>
                  <a:pt x="4726" y="4474"/>
                </a:cubicBezTo>
                <a:cubicBezTo>
                  <a:pt x="4821" y="4506"/>
                  <a:pt x="4884" y="4506"/>
                  <a:pt x="4978" y="4569"/>
                </a:cubicBezTo>
                <a:lnTo>
                  <a:pt x="4978" y="5293"/>
                </a:lnTo>
                <a:cubicBezTo>
                  <a:pt x="4663" y="5262"/>
                  <a:pt x="4348" y="5199"/>
                  <a:pt x="4065" y="5041"/>
                </a:cubicBezTo>
                <a:cubicBezTo>
                  <a:pt x="4021" y="5015"/>
                  <a:pt x="3971" y="5003"/>
                  <a:pt x="3919" y="5003"/>
                </a:cubicBezTo>
                <a:cubicBezTo>
                  <a:pt x="3783" y="5003"/>
                  <a:pt x="3638" y="5084"/>
                  <a:pt x="3592" y="5199"/>
                </a:cubicBezTo>
                <a:cubicBezTo>
                  <a:pt x="3497" y="5356"/>
                  <a:pt x="3592" y="5577"/>
                  <a:pt x="3749" y="5671"/>
                </a:cubicBezTo>
                <a:cubicBezTo>
                  <a:pt x="4254" y="5892"/>
                  <a:pt x="4758" y="6018"/>
                  <a:pt x="5325" y="6018"/>
                </a:cubicBezTo>
                <a:cubicBezTo>
                  <a:pt x="5860" y="6018"/>
                  <a:pt x="6427" y="5892"/>
                  <a:pt x="6900" y="5671"/>
                </a:cubicBezTo>
                <a:cubicBezTo>
                  <a:pt x="7057" y="5577"/>
                  <a:pt x="7120" y="5356"/>
                  <a:pt x="7057" y="5199"/>
                </a:cubicBezTo>
                <a:cubicBezTo>
                  <a:pt x="6989" y="5084"/>
                  <a:pt x="6854" y="5003"/>
                  <a:pt x="6725" y="5003"/>
                </a:cubicBezTo>
                <a:cubicBezTo>
                  <a:pt x="6676" y="5003"/>
                  <a:pt x="6628" y="5015"/>
                  <a:pt x="6585" y="5041"/>
                </a:cubicBezTo>
                <a:cubicBezTo>
                  <a:pt x="6301" y="5199"/>
                  <a:pt x="5986" y="5262"/>
                  <a:pt x="5671" y="5293"/>
                </a:cubicBezTo>
                <a:lnTo>
                  <a:pt x="5671" y="4569"/>
                </a:lnTo>
                <a:cubicBezTo>
                  <a:pt x="5766" y="4569"/>
                  <a:pt x="5829" y="4506"/>
                  <a:pt x="5923" y="4474"/>
                </a:cubicBezTo>
                <a:cubicBezTo>
                  <a:pt x="6270" y="4348"/>
                  <a:pt x="6648" y="4285"/>
                  <a:pt x="7089" y="4285"/>
                </a:cubicBezTo>
                <a:close/>
                <a:moveTo>
                  <a:pt x="6774" y="0"/>
                </a:moveTo>
                <a:cubicBezTo>
                  <a:pt x="5797" y="0"/>
                  <a:pt x="5010" y="788"/>
                  <a:pt x="5010" y="1765"/>
                </a:cubicBezTo>
                <a:cubicBezTo>
                  <a:pt x="4695" y="1513"/>
                  <a:pt x="4348" y="1418"/>
                  <a:pt x="3938" y="1418"/>
                </a:cubicBezTo>
                <a:cubicBezTo>
                  <a:pt x="3749" y="1418"/>
                  <a:pt x="3592" y="1576"/>
                  <a:pt x="3592" y="1765"/>
                </a:cubicBezTo>
                <a:cubicBezTo>
                  <a:pt x="3592" y="1954"/>
                  <a:pt x="3749" y="2111"/>
                  <a:pt x="3938" y="2111"/>
                </a:cubicBezTo>
                <a:cubicBezTo>
                  <a:pt x="4537" y="2111"/>
                  <a:pt x="5010" y="2584"/>
                  <a:pt x="5010" y="3182"/>
                </a:cubicBezTo>
                <a:lnTo>
                  <a:pt x="5010" y="3812"/>
                </a:lnTo>
                <a:cubicBezTo>
                  <a:pt x="4569" y="3655"/>
                  <a:pt x="4096" y="3560"/>
                  <a:pt x="3592" y="3560"/>
                </a:cubicBezTo>
                <a:cubicBezTo>
                  <a:pt x="1513" y="3560"/>
                  <a:pt x="0" y="4884"/>
                  <a:pt x="0" y="7152"/>
                </a:cubicBezTo>
                <a:cubicBezTo>
                  <a:pt x="0" y="8286"/>
                  <a:pt x="347" y="9515"/>
                  <a:pt x="977" y="10491"/>
                </a:cubicBezTo>
                <a:cubicBezTo>
                  <a:pt x="1702" y="11594"/>
                  <a:pt x="2615" y="12193"/>
                  <a:pt x="3560" y="12193"/>
                </a:cubicBezTo>
                <a:cubicBezTo>
                  <a:pt x="3781" y="12193"/>
                  <a:pt x="3970" y="12161"/>
                  <a:pt x="4222" y="12130"/>
                </a:cubicBezTo>
                <a:cubicBezTo>
                  <a:pt x="4600" y="12004"/>
                  <a:pt x="4970" y="11941"/>
                  <a:pt x="5340" y="11941"/>
                </a:cubicBezTo>
                <a:cubicBezTo>
                  <a:pt x="5711" y="11941"/>
                  <a:pt x="6081" y="12004"/>
                  <a:pt x="6459" y="12130"/>
                </a:cubicBezTo>
                <a:cubicBezTo>
                  <a:pt x="6648" y="12193"/>
                  <a:pt x="6900" y="12193"/>
                  <a:pt x="7152" y="12193"/>
                </a:cubicBezTo>
                <a:cubicBezTo>
                  <a:pt x="8097" y="12193"/>
                  <a:pt x="8979" y="11594"/>
                  <a:pt x="9704" y="10491"/>
                </a:cubicBezTo>
                <a:cubicBezTo>
                  <a:pt x="10334" y="9546"/>
                  <a:pt x="10681" y="8286"/>
                  <a:pt x="10681" y="7152"/>
                </a:cubicBezTo>
                <a:cubicBezTo>
                  <a:pt x="10681" y="4884"/>
                  <a:pt x="9168" y="3560"/>
                  <a:pt x="7089" y="3560"/>
                </a:cubicBezTo>
                <a:cubicBezTo>
                  <a:pt x="6585" y="3560"/>
                  <a:pt x="6112" y="3655"/>
                  <a:pt x="5671" y="3812"/>
                </a:cubicBezTo>
                <a:lnTo>
                  <a:pt x="5671" y="3340"/>
                </a:lnTo>
                <a:lnTo>
                  <a:pt x="5797" y="3214"/>
                </a:lnTo>
                <a:cubicBezTo>
                  <a:pt x="6081" y="2930"/>
                  <a:pt x="6396" y="2836"/>
                  <a:pt x="6774" y="2836"/>
                </a:cubicBezTo>
                <a:cubicBezTo>
                  <a:pt x="8160" y="2836"/>
                  <a:pt x="9263" y="1733"/>
                  <a:pt x="9263" y="347"/>
                </a:cubicBezTo>
                <a:cubicBezTo>
                  <a:pt x="9263" y="158"/>
                  <a:pt x="9105" y="0"/>
                  <a:pt x="891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19" name="Google Shape;7819;p76"/>
          <p:cNvGrpSpPr/>
          <p:nvPr/>
        </p:nvGrpSpPr>
        <p:grpSpPr>
          <a:xfrm>
            <a:off x="9702010" y="3052069"/>
            <a:ext cx="631841" cy="592665"/>
            <a:chOff x="-17190425" y="2435725"/>
            <a:chExt cx="304825" cy="285925"/>
          </a:xfrm>
        </p:grpSpPr>
        <p:sp>
          <p:nvSpPr>
            <p:cNvPr id="7820" name="Google Shape;7820;p76"/>
            <p:cNvSpPr/>
            <p:nvPr/>
          </p:nvSpPr>
          <p:spPr>
            <a:xfrm>
              <a:off x="-16994325" y="2596400"/>
              <a:ext cx="18150" cy="17350"/>
            </a:xfrm>
            <a:custGeom>
              <a:avLst/>
              <a:gdLst/>
              <a:ahLst/>
              <a:cxnLst/>
              <a:rect l="l" t="t" r="r" b="b"/>
              <a:pathLst>
                <a:path w="726" h="694" extrusionOk="0">
                  <a:moveTo>
                    <a:pt x="348" y="0"/>
                  </a:moveTo>
                  <a:cubicBezTo>
                    <a:pt x="159" y="0"/>
                    <a:pt x="1" y="158"/>
                    <a:pt x="1" y="347"/>
                  </a:cubicBezTo>
                  <a:cubicBezTo>
                    <a:pt x="1" y="536"/>
                    <a:pt x="159"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1" name="Google Shape;7821;p76"/>
            <p:cNvSpPr/>
            <p:nvPr/>
          </p:nvSpPr>
          <p:spPr>
            <a:xfrm>
              <a:off x="-17100650" y="2596400"/>
              <a:ext cx="18150" cy="17350"/>
            </a:xfrm>
            <a:custGeom>
              <a:avLst/>
              <a:gdLst/>
              <a:ahLst/>
              <a:cxnLst/>
              <a:rect l="l" t="t" r="r" b="b"/>
              <a:pathLst>
                <a:path w="726" h="694" extrusionOk="0">
                  <a:moveTo>
                    <a:pt x="347" y="0"/>
                  </a:moveTo>
                  <a:cubicBezTo>
                    <a:pt x="158" y="0"/>
                    <a:pt x="1" y="158"/>
                    <a:pt x="1" y="347"/>
                  </a:cubicBezTo>
                  <a:cubicBezTo>
                    <a:pt x="1" y="536"/>
                    <a:pt x="158" y="693"/>
                    <a:pt x="347" y="693"/>
                  </a:cubicBezTo>
                  <a:cubicBezTo>
                    <a:pt x="568" y="693"/>
                    <a:pt x="725" y="536"/>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2" name="Google Shape;7822;p76"/>
            <p:cNvSpPr/>
            <p:nvPr/>
          </p:nvSpPr>
          <p:spPr>
            <a:xfrm>
              <a:off x="-17190425" y="2435725"/>
              <a:ext cx="304825" cy="285925"/>
            </a:xfrm>
            <a:custGeom>
              <a:avLst/>
              <a:gdLst/>
              <a:ahLst/>
              <a:cxnLst/>
              <a:rect l="l" t="t" r="r" b="b"/>
              <a:pathLst>
                <a:path w="12193" h="11437" extrusionOk="0">
                  <a:moveTo>
                    <a:pt x="2111" y="725"/>
                  </a:moveTo>
                  <a:cubicBezTo>
                    <a:pt x="2836" y="725"/>
                    <a:pt x="3434" y="1292"/>
                    <a:pt x="3529" y="2016"/>
                  </a:cubicBezTo>
                  <a:cubicBezTo>
                    <a:pt x="2804" y="2363"/>
                    <a:pt x="2174" y="2867"/>
                    <a:pt x="1702" y="3497"/>
                  </a:cubicBezTo>
                  <a:cubicBezTo>
                    <a:pt x="1103" y="3308"/>
                    <a:pt x="693" y="2773"/>
                    <a:pt x="693" y="2143"/>
                  </a:cubicBezTo>
                  <a:cubicBezTo>
                    <a:pt x="693" y="1355"/>
                    <a:pt x="1323" y="725"/>
                    <a:pt x="2111" y="725"/>
                  </a:cubicBezTo>
                  <a:close/>
                  <a:moveTo>
                    <a:pt x="10019" y="693"/>
                  </a:moveTo>
                  <a:cubicBezTo>
                    <a:pt x="10806" y="693"/>
                    <a:pt x="11437" y="1323"/>
                    <a:pt x="11437" y="2111"/>
                  </a:cubicBezTo>
                  <a:cubicBezTo>
                    <a:pt x="11437" y="2773"/>
                    <a:pt x="11027" y="3308"/>
                    <a:pt x="10397" y="3497"/>
                  </a:cubicBezTo>
                  <a:cubicBezTo>
                    <a:pt x="9924" y="2867"/>
                    <a:pt x="9294" y="2363"/>
                    <a:pt x="8601" y="2016"/>
                  </a:cubicBezTo>
                  <a:cubicBezTo>
                    <a:pt x="8696" y="1260"/>
                    <a:pt x="9263" y="693"/>
                    <a:pt x="10019" y="693"/>
                  </a:cubicBezTo>
                  <a:close/>
                  <a:moveTo>
                    <a:pt x="7959" y="4997"/>
                  </a:moveTo>
                  <a:cubicBezTo>
                    <a:pt x="8453" y="4997"/>
                    <a:pt x="8961" y="5407"/>
                    <a:pt x="9200" y="6018"/>
                  </a:cubicBezTo>
                  <a:cubicBezTo>
                    <a:pt x="9452" y="6774"/>
                    <a:pt x="9231" y="7530"/>
                    <a:pt x="8664" y="7719"/>
                  </a:cubicBezTo>
                  <a:cubicBezTo>
                    <a:pt x="8555" y="7741"/>
                    <a:pt x="8447" y="7777"/>
                    <a:pt x="8338" y="7777"/>
                  </a:cubicBezTo>
                  <a:cubicBezTo>
                    <a:pt x="8289" y="7777"/>
                    <a:pt x="8240" y="7770"/>
                    <a:pt x="8192" y="7750"/>
                  </a:cubicBezTo>
                  <a:cubicBezTo>
                    <a:pt x="8003" y="7372"/>
                    <a:pt x="7624" y="6900"/>
                    <a:pt x="7183" y="6711"/>
                  </a:cubicBezTo>
                  <a:cubicBezTo>
                    <a:pt x="6900" y="5955"/>
                    <a:pt x="7152" y="5230"/>
                    <a:pt x="7687" y="5041"/>
                  </a:cubicBezTo>
                  <a:cubicBezTo>
                    <a:pt x="7776" y="5011"/>
                    <a:pt x="7868" y="4997"/>
                    <a:pt x="7959" y="4997"/>
                  </a:cubicBezTo>
                  <a:close/>
                  <a:moveTo>
                    <a:pt x="4107" y="4995"/>
                  </a:moveTo>
                  <a:cubicBezTo>
                    <a:pt x="4200" y="4995"/>
                    <a:pt x="4292" y="5010"/>
                    <a:pt x="4379" y="5041"/>
                  </a:cubicBezTo>
                  <a:cubicBezTo>
                    <a:pt x="4947" y="5230"/>
                    <a:pt x="5167" y="6081"/>
                    <a:pt x="4852" y="6805"/>
                  </a:cubicBezTo>
                  <a:cubicBezTo>
                    <a:pt x="4568" y="7026"/>
                    <a:pt x="4222" y="7404"/>
                    <a:pt x="4064" y="7687"/>
                  </a:cubicBezTo>
                  <a:cubicBezTo>
                    <a:pt x="3946" y="7755"/>
                    <a:pt x="3819" y="7786"/>
                    <a:pt x="3697" y="7786"/>
                  </a:cubicBezTo>
                  <a:cubicBezTo>
                    <a:pt x="3592" y="7786"/>
                    <a:pt x="3491" y="7763"/>
                    <a:pt x="3403" y="7719"/>
                  </a:cubicBezTo>
                  <a:cubicBezTo>
                    <a:pt x="2836" y="7530"/>
                    <a:pt x="2615" y="6742"/>
                    <a:pt x="2899" y="6018"/>
                  </a:cubicBezTo>
                  <a:cubicBezTo>
                    <a:pt x="3110" y="5385"/>
                    <a:pt x="3629" y="4995"/>
                    <a:pt x="4107" y="4995"/>
                  </a:cubicBezTo>
                  <a:close/>
                  <a:moveTo>
                    <a:pt x="6081" y="8538"/>
                  </a:moveTo>
                  <a:cubicBezTo>
                    <a:pt x="6207" y="8538"/>
                    <a:pt x="6364" y="8632"/>
                    <a:pt x="6396" y="8790"/>
                  </a:cubicBezTo>
                  <a:lnTo>
                    <a:pt x="6081" y="9105"/>
                  </a:lnTo>
                  <a:lnTo>
                    <a:pt x="5766" y="8790"/>
                  </a:lnTo>
                  <a:cubicBezTo>
                    <a:pt x="5797" y="8664"/>
                    <a:pt x="5955" y="8538"/>
                    <a:pt x="6081" y="8538"/>
                  </a:cubicBezTo>
                  <a:close/>
                  <a:moveTo>
                    <a:pt x="6144" y="2111"/>
                  </a:moveTo>
                  <a:cubicBezTo>
                    <a:pt x="8727" y="2111"/>
                    <a:pt x="10806" y="4064"/>
                    <a:pt x="10806" y="6427"/>
                  </a:cubicBezTo>
                  <a:cubicBezTo>
                    <a:pt x="10712" y="7908"/>
                    <a:pt x="9893" y="9263"/>
                    <a:pt x="8570" y="10050"/>
                  </a:cubicBezTo>
                  <a:cubicBezTo>
                    <a:pt x="8570" y="9924"/>
                    <a:pt x="8601" y="9767"/>
                    <a:pt x="8601" y="9609"/>
                  </a:cubicBezTo>
                  <a:cubicBezTo>
                    <a:pt x="8601" y="9168"/>
                    <a:pt x="8570" y="8790"/>
                    <a:pt x="8475" y="8475"/>
                  </a:cubicBezTo>
                  <a:cubicBezTo>
                    <a:pt x="8633" y="8475"/>
                    <a:pt x="8790" y="8443"/>
                    <a:pt x="8916" y="8380"/>
                  </a:cubicBezTo>
                  <a:cubicBezTo>
                    <a:pt x="9861" y="8034"/>
                    <a:pt x="10239" y="6868"/>
                    <a:pt x="9861" y="5766"/>
                  </a:cubicBezTo>
                  <a:cubicBezTo>
                    <a:pt x="9523" y="4855"/>
                    <a:pt x="8755" y="4267"/>
                    <a:pt x="7966" y="4267"/>
                  </a:cubicBezTo>
                  <a:cubicBezTo>
                    <a:pt x="7799" y="4267"/>
                    <a:pt x="7632" y="4293"/>
                    <a:pt x="7467" y="4348"/>
                  </a:cubicBezTo>
                  <a:cubicBezTo>
                    <a:pt x="6679" y="4600"/>
                    <a:pt x="6270" y="5514"/>
                    <a:pt x="6396" y="6396"/>
                  </a:cubicBezTo>
                  <a:cubicBezTo>
                    <a:pt x="6337" y="6376"/>
                    <a:pt x="6272" y="6369"/>
                    <a:pt x="6205" y="6369"/>
                  </a:cubicBezTo>
                  <a:cubicBezTo>
                    <a:pt x="6053" y="6369"/>
                    <a:pt x="5886" y="6405"/>
                    <a:pt x="5734" y="6427"/>
                  </a:cubicBezTo>
                  <a:cubicBezTo>
                    <a:pt x="5829" y="5514"/>
                    <a:pt x="5451" y="4600"/>
                    <a:pt x="4663" y="4348"/>
                  </a:cubicBezTo>
                  <a:cubicBezTo>
                    <a:pt x="4486" y="4277"/>
                    <a:pt x="4304" y="4244"/>
                    <a:pt x="4124" y="4244"/>
                  </a:cubicBezTo>
                  <a:cubicBezTo>
                    <a:pt x="3341" y="4244"/>
                    <a:pt x="2576" y="4869"/>
                    <a:pt x="2269" y="5766"/>
                  </a:cubicBezTo>
                  <a:cubicBezTo>
                    <a:pt x="1859" y="6868"/>
                    <a:pt x="2269" y="8034"/>
                    <a:pt x="3214" y="8380"/>
                  </a:cubicBezTo>
                  <a:cubicBezTo>
                    <a:pt x="3371" y="8475"/>
                    <a:pt x="3560" y="8475"/>
                    <a:pt x="3718" y="8475"/>
                  </a:cubicBezTo>
                  <a:lnTo>
                    <a:pt x="3749" y="8475"/>
                  </a:lnTo>
                  <a:cubicBezTo>
                    <a:pt x="3686" y="8790"/>
                    <a:pt x="3623" y="9137"/>
                    <a:pt x="3623" y="9609"/>
                  </a:cubicBezTo>
                  <a:cubicBezTo>
                    <a:pt x="3623" y="9767"/>
                    <a:pt x="3623" y="9893"/>
                    <a:pt x="3686" y="10050"/>
                  </a:cubicBezTo>
                  <a:cubicBezTo>
                    <a:pt x="2332" y="9263"/>
                    <a:pt x="1512" y="7908"/>
                    <a:pt x="1512" y="6427"/>
                  </a:cubicBezTo>
                  <a:cubicBezTo>
                    <a:pt x="1512" y="4064"/>
                    <a:pt x="3592" y="2111"/>
                    <a:pt x="6144" y="2111"/>
                  </a:cubicBezTo>
                  <a:close/>
                  <a:moveTo>
                    <a:pt x="6127" y="7151"/>
                  </a:moveTo>
                  <a:cubicBezTo>
                    <a:pt x="6481" y="7151"/>
                    <a:pt x="6828" y="7269"/>
                    <a:pt x="7057" y="7498"/>
                  </a:cubicBezTo>
                  <a:cubicBezTo>
                    <a:pt x="7656" y="8065"/>
                    <a:pt x="7845" y="8601"/>
                    <a:pt x="7845" y="9609"/>
                  </a:cubicBezTo>
                  <a:cubicBezTo>
                    <a:pt x="7845" y="10050"/>
                    <a:pt x="7782" y="10334"/>
                    <a:pt x="7624" y="10491"/>
                  </a:cubicBezTo>
                  <a:cubicBezTo>
                    <a:pt x="7451" y="10640"/>
                    <a:pt x="7123" y="10691"/>
                    <a:pt x="6746" y="10691"/>
                  </a:cubicBezTo>
                  <a:cubicBezTo>
                    <a:pt x="6643" y="10691"/>
                    <a:pt x="6536" y="10687"/>
                    <a:pt x="6427" y="10680"/>
                  </a:cubicBezTo>
                  <a:lnTo>
                    <a:pt x="6427" y="9767"/>
                  </a:lnTo>
                  <a:lnTo>
                    <a:pt x="7026" y="9168"/>
                  </a:lnTo>
                  <a:cubicBezTo>
                    <a:pt x="7089" y="9105"/>
                    <a:pt x="7152" y="9011"/>
                    <a:pt x="7152" y="8948"/>
                  </a:cubicBezTo>
                  <a:cubicBezTo>
                    <a:pt x="7152" y="8349"/>
                    <a:pt x="6679" y="7876"/>
                    <a:pt x="6081" y="7876"/>
                  </a:cubicBezTo>
                  <a:cubicBezTo>
                    <a:pt x="5482" y="7876"/>
                    <a:pt x="5010" y="8349"/>
                    <a:pt x="5010" y="8948"/>
                  </a:cubicBezTo>
                  <a:cubicBezTo>
                    <a:pt x="5010" y="9011"/>
                    <a:pt x="5041" y="9137"/>
                    <a:pt x="5136" y="9168"/>
                  </a:cubicBezTo>
                  <a:lnTo>
                    <a:pt x="5734" y="9767"/>
                  </a:lnTo>
                  <a:lnTo>
                    <a:pt x="5734" y="10680"/>
                  </a:lnTo>
                  <a:lnTo>
                    <a:pt x="5356" y="10680"/>
                  </a:lnTo>
                  <a:cubicBezTo>
                    <a:pt x="4631" y="10680"/>
                    <a:pt x="4316" y="10554"/>
                    <a:pt x="4316" y="9609"/>
                  </a:cubicBezTo>
                  <a:cubicBezTo>
                    <a:pt x="4316" y="8601"/>
                    <a:pt x="4537" y="8160"/>
                    <a:pt x="5104" y="7561"/>
                  </a:cubicBezTo>
                  <a:cubicBezTo>
                    <a:pt x="5364" y="7285"/>
                    <a:pt x="5750" y="7151"/>
                    <a:pt x="6127" y="7151"/>
                  </a:cubicBezTo>
                  <a:close/>
                  <a:moveTo>
                    <a:pt x="2143" y="0"/>
                  </a:moveTo>
                  <a:cubicBezTo>
                    <a:pt x="945" y="0"/>
                    <a:pt x="0" y="945"/>
                    <a:pt x="0" y="2143"/>
                  </a:cubicBezTo>
                  <a:cubicBezTo>
                    <a:pt x="0" y="2647"/>
                    <a:pt x="221" y="3151"/>
                    <a:pt x="536" y="3560"/>
                  </a:cubicBezTo>
                  <a:cubicBezTo>
                    <a:pt x="756" y="3812"/>
                    <a:pt x="1040" y="4001"/>
                    <a:pt x="1355" y="4127"/>
                  </a:cubicBezTo>
                  <a:cubicBezTo>
                    <a:pt x="945" y="4852"/>
                    <a:pt x="756" y="5640"/>
                    <a:pt x="756" y="6427"/>
                  </a:cubicBezTo>
                  <a:cubicBezTo>
                    <a:pt x="756" y="8506"/>
                    <a:pt x="2143" y="10334"/>
                    <a:pt x="4096" y="11058"/>
                  </a:cubicBezTo>
                  <a:cubicBezTo>
                    <a:pt x="4474" y="11373"/>
                    <a:pt x="4947" y="11436"/>
                    <a:pt x="5356" y="11436"/>
                  </a:cubicBezTo>
                  <a:lnTo>
                    <a:pt x="6364" y="11436"/>
                  </a:lnTo>
                  <a:cubicBezTo>
                    <a:pt x="7026" y="11436"/>
                    <a:pt x="7656" y="11436"/>
                    <a:pt x="8097" y="11058"/>
                  </a:cubicBezTo>
                  <a:cubicBezTo>
                    <a:pt x="10050" y="10334"/>
                    <a:pt x="11437" y="8506"/>
                    <a:pt x="11437" y="6427"/>
                  </a:cubicBezTo>
                  <a:cubicBezTo>
                    <a:pt x="11437" y="5608"/>
                    <a:pt x="11248" y="4820"/>
                    <a:pt x="10838" y="4127"/>
                  </a:cubicBezTo>
                  <a:cubicBezTo>
                    <a:pt x="11153" y="4001"/>
                    <a:pt x="11437" y="3812"/>
                    <a:pt x="11657" y="3560"/>
                  </a:cubicBezTo>
                  <a:cubicBezTo>
                    <a:pt x="12035" y="3151"/>
                    <a:pt x="12193" y="2647"/>
                    <a:pt x="12193" y="2143"/>
                  </a:cubicBezTo>
                  <a:cubicBezTo>
                    <a:pt x="12193" y="945"/>
                    <a:pt x="11185" y="0"/>
                    <a:pt x="10019" y="0"/>
                  </a:cubicBezTo>
                  <a:cubicBezTo>
                    <a:pt x="8979" y="0"/>
                    <a:pt x="8129" y="756"/>
                    <a:pt x="7939" y="1733"/>
                  </a:cubicBezTo>
                  <a:cubicBezTo>
                    <a:pt x="7341" y="1544"/>
                    <a:pt x="6711" y="1418"/>
                    <a:pt x="6081" y="1418"/>
                  </a:cubicBezTo>
                  <a:cubicBezTo>
                    <a:pt x="5451" y="1418"/>
                    <a:pt x="4821" y="1544"/>
                    <a:pt x="4222" y="1733"/>
                  </a:cubicBezTo>
                  <a:cubicBezTo>
                    <a:pt x="4033" y="756"/>
                    <a:pt x="3151"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23" name="Google Shape;7823;p76"/>
          <p:cNvSpPr/>
          <p:nvPr/>
        </p:nvSpPr>
        <p:spPr>
          <a:xfrm>
            <a:off x="9703888" y="3804741"/>
            <a:ext cx="625312" cy="625364"/>
          </a:xfrm>
          <a:custGeom>
            <a:avLst/>
            <a:gdLst/>
            <a:ahLst/>
            <a:cxnLst/>
            <a:rect l="l" t="t" r="r" b="b"/>
            <a:pathLst>
              <a:path w="12067" h="12068" extrusionOk="0">
                <a:moveTo>
                  <a:pt x="5955" y="1104"/>
                </a:moveTo>
                <a:lnTo>
                  <a:pt x="6270" y="1734"/>
                </a:lnTo>
                <a:lnTo>
                  <a:pt x="5955" y="2364"/>
                </a:lnTo>
                <a:lnTo>
                  <a:pt x="5640" y="1734"/>
                </a:lnTo>
                <a:lnTo>
                  <a:pt x="5955" y="1104"/>
                </a:lnTo>
                <a:close/>
                <a:moveTo>
                  <a:pt x="9420" y="2521"/>
                </a:moveTo>
                <a:lnTo>
                  <a:pt x="9168" y="3183"/>
                </a:lnTo>
                <a:lnTo>
                  <a:pt x="8507" y="3435"/>
                </a:lnTo>
                <a:lnTo>
                  <a:pt x="8759" y="2773"/>
                </a:lnTo>
                <a:lnTo>
                  <a:pt x="9420" y="2521"/>
                </a:lnTo>
                <a:close/>
                <a:moveTo>
                  <a:pt x="2489" y="2553"/>
                </a:moveTo>
                <a:lnTo>
                  <a:pt x="3151" y="2805"/>
                </a:lnTo>
                <a:lnTo>
                  <a:pt x="3403" y="3466"/>
                </a:lnTo>
                <a:lnTo>
                  <a:pt x="2710" y="3246"/>
                </a:lnTo>
                <a:lnTo>
                  <a:pt x="2489" y="2553"/>
                </a:lnTo>
                <a:close/>
                <a:moveTo>
                  <a:pt x="4663" y="2931"/>
                </a:moveTo>
                <a:lnTo>
                  <a:pt x="5608" y="3403"/>
                </a:lnTo>
                <a:lnTo>
                  <a:pt x="5608" y="4254"/>
                </a:lnTo>
                <a:cubicBezTo>
                  <a:pt x="5356" y="4286"/>
                  <a:pt x="5167" y="4380"/>
                  <a:pt x="4978" y="4538"/>
                </a:cubicBezTo>
                <a:lnTo>
                  <a:pt x="4348" y="3908"/>
                </a:lnTo>
                <a:lnTo>
                  <a:pt x="4663" y="2931"/>
                </a:lnTo>
                <a:close/>
                <a:moveTo>
                  <a:pt x="7246" y="2931"/>
                </a:moveTo>
                <a:lnTo>
                  <a:pt x="7561" y="3908"/>
                </a:lnTo>
                <a:lnTo>
                  <a:pt x="6931" y="4538"/>
                </a:lnTo>
                <a:cubicBezTo>
                  <a:pt x="6742" y="4412"/>
                  <a:pt x="6553" y="4349"/>
                  <a:pt x="6301" y="4254"/>
                </a:cubicBezTo>
                <a:lnTo>
                  <a:pt x="6301" y="3403"/>
                </a:lnTo>
                <a:lnTo>
                  <a:pt x="7246" y="2931"/>
                </a:lnTo>
                <a:close/>
                <a:moveTo>
                  <a:pt x="3812" y="4412"/>
                </a:moveTo>
                <a:lnTo>
                  <a:pt x="4442" y="5042"/>
                </a:lnTo>
                <a:cubicBezTo>
                  <a:pt x="4348" y="5231"/>
                  <a:pt x="4253" y="5451"/>
                  <a:pt x="4190" y="5672"/>
                </a:cubicBezTo>
                <a:lnTo>
                  <a:pt x="3308" y="5672"/>
                </a:lnTo>
                <a:lnTo>
                  <a:pt x="2836" y="4727"/>
                </a:lnTo>
                <a:lnTo>
                  <a:pt x="3812" y="4412"/>
                </a:lnTo>
                <a:close/>
                <a:moveTo>
                  <a:pt x="8034" y="4412"/>
                </a:moveTo>
                <a:lnTo>
                  <a:pt x="9011" y="4727"/>
                </a:lnTo>
                <a:lnTo>
                  <a:pt x="8538" y="5672"/>
                </a:lnTo>
                <a:lnTo>
                  <a:pt x="7687" y="5672"/>
                </a:lnTo>
                <a:cubicBezTo>
                  <a:pt x="7656" y="5451"/>
                  <a:pt x="7561" y="5231"/>
                  <a:pt x="7404" y="5042"/>
                </a:cubicBezTo>
                <a:lnTo>
                  <a:pt x="8034" y="4412"/>
                </a:lnTo>
                <a:close/>
                <a:moveTo>
                  <a:pt x="1670" y="5703"/>
                </a:moveTo>
                <a:lnTo>
                  <a:pt x="2300" y="6018"/>
                </a:lnTo>
                <a:lnTo>
                  <a:pt x="1670" y="6333"/>
                </a:lnTo>
                <a:lnTo>
                  <a:pt x="1040" y="6018"/>
                </a:lnTo>
                <a:lnTo>
                  <a:pt x="1670" y="5703"/>
                </a:lnTo>
                <a:close/>
                <a:moveTo>
                  <a:pt x="10239" y="5703"/>
                </a:moveTo>
                <a:lnTo>
                  <a:pt x="10869" y="6018"/>
                </a:lnTo>
                <a:lnTo>
                  <a:pt x="10239" y="6333"/>
                </a:lnTo>
                <a:lnTo>
                  <a:pt x="9609" y="6018"/>
                </a:lnTo>
                <a:lnTo>
                  <a:pt x="10239" y="5703"/>
                </a:lnTo>
                <a:close/>
                <a:moveTo>
                  <a:pt x="5955" y="4979"/>
                </a:moveTo>
                <a:cubicBezTo>
                  <a:pt x="6553" y="4979"/>
                  <a:pt x="7026" y="5451"/>
                  <a:pt x="7026" y="6018"/>
                </a:cubicBezTo>
                <a:cubicBezTo>
                  <a:pt x="7026" y="6617"/>
                  <a:pt x="6553" y="7089"/>
                  <a:pt x="5955" y="7089"/>
                </a:cubicBezTo>
                <a:cubicBezTo>
                  <a:pt x="5356" y="7089"/>
                  <a:pt x="4884" y="6617"/>
                  <a:pt x="4884" y="6018"/>
                </a:cubicBezTo>
                <a:cubicBezTo>
                  <a:pt x="4884" y="5451"/>
                  <a:pt x="5356" y="4979"/>
                  <a:pt x="5955" y="4979"/>
                </a:cubicBezTo>
                <a:close/>
                <a:moveTo>
                  <a:pt x="4222" y="6365"/>
                </a:moveTo>
                <a:lnTo>
                  <a:pt x="4222" y="6396"/>
                </a:lnTo>
                <a:cubicBezTo>
                  <a:pt x="4253" y="6617"/>
                  <a:pt x="4348" y="6806"/>
                  <a:pt x="4505" y="7026"/>
                </a:cubicBezTo>
                <a:lnTo>
                  <a:pt x="3875" y="7657"/>
                </a:lnTo>
                <a:lnTo>
                  <a:pt x="2867" y="7310"/>
                </a:lnTo>
                <a:lnTo>
                  <a:pt x="3340" y="6365"/>
                </a:lnTo>
                <a:close/>
                <a:moveTo>
                  <a:pt x="8601" y="6396"/>
                </a:moveTo>
                <a:lnTo>
                  <a:pt x="9074" y="7342"/>
                </a:lnTo>
                <a:lnTo>
                  <a:pt x="8066" y="7657"/>
                </a:lnTo>
                <a:lnTo>
                  <a:pt x="7435" y="7026"/>
                </a:lnTo>
                <a:cubicBezTo>
                  <a:pt x="7561" y="6806"/>
                  <a:pt x="7656" y="6617"/>
                  <a:pt x="7719" y="6396"/>
                </a:cubicBezTo>
                <a:close/>
                <a:moveTo>
                  <a:pt x="4978" y="7531"/>
                </a:moveTo>
                <a:cubicBezTo>
                  <a:pt x="5167" y="7657"/>
                  <a:pt x="5356" y="7720"/>
                  <a:pt x="5608" y="7814"/>
                </a:cubicBezTo>
                <a:lnTo>
                  <a:pt x="5608" y="8665"/>
                </a:lnTo>
                <a:lnTo>
                  <a:pt x="4663" y="9137"/>
                </a:lnTo>
                <a:lnTo>
                  <a:pt x="4348" y="8161"/>
                </a:lnTo>
                <a:lnTo>
                  <a:pt x="4978" y="7531"/>
                </a:lnTo>
                <a:close/>
                <a:moveTo>
                  <a:pt x="6931" y="7531"/>
                </a:moveTo>
                <a:lnTo>
                  <a:pt x="7561" y="8161"/>
                </a:lnTo>
                <a:lnTo>
                  <a:pt x="7246" y="9137"/>
                </a:lnTo>
                <a:lnTo>
                  <a:pt x="6301" y="8665"/>
                </a:lnTo>
                <a:lnTo>
                  <a:pt x="6301" y="7814"/>
                </a:lnTo>
                <a:cubicBezTo>
                  <a:pt x="6553" y="7751"/>
                  <a:pt x="6742" y="7688"/>
                  <a:pt x="6931" y="7531"/>
                </a:cubicBezTo>
                <a:close/>
                <a:moveTo>
                  <a:pt x="8507" y="8602"/>
                </a:moveTo>
                <a:lnTo>
                  <a:pt x="9168" y="8822"/>
                </a:lnTo>
                <a:lnTo>
                  <a:pt x="9420" y="9484"/>
                </a:lnTo>
                <a:lnTo>
                  <a:pt x="8759" y="9263"/>
                </a:lnTo>
                <a:lnTo>
                  <a:pt x="8507" y="8602"/>
                </a:lnTo>
                <a:close/>
                <a:moveTo>
                  <a:pt x="3403" y="8633"/>
                </a:moveTo>
                <a:lnTo>
                  <a:pt x="3151" y="9295"/>
                </a:lnTo>
                <a:lnTo>
                  <a:pt x="2489" y="9547"/>
                </a:lnTo>
                <a:lnTo>
                  <a:pt x="2710" y="8854"/>
                </a:lnTo>
                <a:lnTo>
                  <a:pt x="3403" y="8633"/>
                </a:lnTo>
                <a:close/>
                <a:moveTo>
                  <a:pt x="5955" y="9704"/>
                </a:moveTo>
                <a:lnTo>
                  <a:pt x="6270" y="10334"/>
                </a:lnTo>
                <a:lnTo>
                  <a:pt x="5955" y="10965"/>
                </a:lnTo>
                <a:lnTo>
                  <a:pt x="5640" y="10334"/>
                </a:lnTo>
                <a:lnTo>
                  <a:pt x="5955" y="9704"/>
                </a:lnTo>
                <a:close/>
                <a:moveTo>
                  <a:pt x="6018" y="1"/>
                </a:moveTo>
                <a:cubicBezTo>
                  <a:pt x="5923" y="1"/>
                  <a:pt x="5766" y="95"/>
                  <a:pt x="5703" y="190"/>
                </a:cubicBezTo>
                <a:lnTo>
                  <a:pt x="5010" y="1671"/>
                </a:lnTo>
                <a:cubicBezTo>
                  <a:pt x="4978" y="1765"/>
                  <a:pt x="4978" y="1891"/>
                  <a:pt x="5010" y="1986"/>
                </a:cubicBezTo>
                <a:lnTo>
                  <a:pt x="5230" y="2458"/>
                </a:lnTo>
                <a:lnTo>
                  <a:pt x="4758" y="2206"/>
                </a:lnTo>
                <a:cubicBezTo>
                  <a:pt x="4710" y="2190"/>
                  <a:pt x="4655" y="2183"/>
                  <a:pt x="4596" y="2183"/>
                </a:cubicBezTo>
                <a:cubicBezTo>
                  <a:pt x="4537" y="2183"/>
                  <a:pt x="4474" y="2190"/>
                  <a:pt x="4411" y="2206"/>
                </a:cubicBezTo>
                <a:cubicBezTo>
                  <a:pt x="4285" y="2238"/>
                  <a:pt x="4222" y="2332"/>
                  <a:pt x="4190" y="2458"/>
                </a:cubicBezTo>
                <a:lnTo>
                  <a:pt x="4033" y="2962"/>
                </a:lnTo>
                <a:lnTo>
                  <a:pt x="3875" y="2458"/>
                </a:lnTo>
                <a:cubicBezTo>
                  <a:pt x="3812" y="2332"/>
                  <a:pt x="3749" y="2238"/>
                  <a:pt x="3623" y="2206"/>
                </a:cubicBezTo>
                <a:lnTo>
                  <a:pt x="2143" y="1702"/>
                </a:lnTo>
                <a:cubicBezTo>
                  <a:pt x="2109" y="1694"/>
                  <a:pt x="2073" y="1690"/>
                  <a:pt x="2036" y="1690"/>
                </a:cubicBezTo>
                <a:cubicBezTo>
                  <a:pt x="1937" y="1690"/>
                  <a:pt x="1834" y="1719"/>
                  <a:pt x="1765" y="1765"/>
                </a:cubicBezTo>
                <a:cubicBezTo>
                  <a:pt x="1702" y="1860"/>
                  <a:pt x="1670" y="2017"/>
                  <a:pt x="1702" y="2143"/>
                </a:cubicBezTo>
                <a:lnTo>
                  <a:pt x="2206" y="3624"/>
                </a:lnTo>
                <a:cubicBezTo>
                  <a:pt x="2237" y="3750"/>
                  <a:pt x="2332" y="3813"/>
                  <a:pt x="2458" y="3876"/>
                </a:cubicBezTo>
                <a:lnTo>
                  <a:pt x="2962" y="4034"/>
                </a:lnTo>
                <a:lnTo>
                  <a:pt x="2458" y="4191"/>
                </a:lnTo>
                <a:cubicBezTo>
                  <a:pt x="2332" y="4223"/>
                  <a:pt x="2237" y="4286"/>
                  <a:pt x="2206" y="4412"/>
                </a:cubicBezTo>
                <a:cubicBezTo>
                  <a:pt x="2174" y="4538"/>
                  <a:pt x="2143" y="4664"/>
                  <a:pt x="2206" y="4758"/>
                </a:cubicBezTo>
                <a:lnTo>
                  <a:pt x="2458" y="5231"/>
                </a:lnTo>
                <a:lnTo>
                  <a:pt x="1985" y="5010"/>
                </a:lnTo>
                <a:cubicBezTo>
                  <a:pt x="1922" y="4994"/>
                  <a:pt x="1859" y="4987"/>
                  <a:pt x="1804" y="4987"/>
                </a:cubicBezTo>
                <a:cubicBezTo>
                  <a:pt x="1749" y="4987"/>
                  <a:pt x="1702" y="4994"/>
                  <a:pt x="1670" y="5010"/>
                </a:cubicBezTo>
                <a:lnTo>
                  <a:pt x="189" y="5703"/>
                </a:lnTo>
                <a:cubicBezTo>
                  <a:pt x="95" y="5798"/>
                  <a:pt x="0" y="5924"/>
                  <a:pt x="0" y="6018"/>
                </a:cubicBezTo>
                <a:cubicBezTo>
                  <a:pt x="0" y="6144"/>
                  <a:pt x="95" y="6302"/>
                  <a:pt x="189" y="6333"/>
                </a:cubicBezTo>
                <a:lnTo>
                  <a:pt x="1670" y="7058"/>
                </a:lnTo>
                <a:cubicBezTo>
                  <a:pt x="1717" y="7074"/>
                  <a:pt x="1772" y="7082"/>
                  <a:pt x="1828" y="7082"/>
                </a:cubicBezTo>
                <a:cubicBezTo>
                  <a:pt x="1883" y="7082"/>
                  <a:pt x="1938" y="7074"/>
                  <a:pt x="1985" y="7058"/>
                </a:cubicBezTo>
                <a:lnTo>
                  <a:pt x="2458" y="6806"/>
                </a:lnTo>
                <a:lnTo>
                  <a:pt x="2206" y="7279"/>
                </a:lnTo>
                <a:cubicBezTo>
                  <a:pt x="2174" y="7405"/>
                  <a:pt x="2174" y="7531"/>
                  <a:pt x="2206" y="7657"/>
                </a:cubicBezTo>
                <a:cubicBezTo>
                  <a:pt x="2237" y="7751"/>
                  <a:pt x="2332" y="7846"/>
                  <a:pt x="2458" y="7877"/>
                </a:cubicBezTo>
                <a:lnTo>
                  <a:pt x="2962" y="8035"/>
                </a:lnTo>
                <a:lnTo>
                  <a:pt x="2458" y="8192"/>
                </a:lnTo>
                <a:cubicBezTo>
                  <a:pt x="2332" y="8224"/>
                  <a:pt x="2237" y="8318"/>
                  <a:pt x="2206" y="8444"/>
                </a:cubicBezTo>
                <a:lnTo>
                  <a:pt x="1702" y="9925"/>
                </a:lnTo>
                <a:cubicBezTo>
                  <a:pt x="1623" y="10161"/>
                  <a:pt x="1784" y="10397"/>
                  <a:pt x="2004" y="10397"/>
                </a:cubicBezTo>
                <a:cubicBezTo>
                  <a:pt x="2048" y="10397"/>
                  <a:pt x="2095" y="10387"/>
                  <a:pt x="2143" y="10366"/>
                </a:cubicBezTo>
                <a:lnTo>
                  <a:pt x="3623" y="9862"/>
                </a:lnTo>
                <a:cubicBezTo>
                  <a:pt x="3749" y="9799"/>
                  <a:pt x="3812" y="9736"/>
                  <a:pt x="3875" y="9610"/>
                </a:cubicBezTo>
                <a:lnTo>
                  <a:pt x="4033" y="9106"/>
                </a:lnTo>
                <a:lnTo>
                  <a:pt x="4190" y="9610"/>
                </a:lnTo>
                <a:cubicBezTo>
                  <a:pt x="4222" y="9736"/>
                  <a:pt x="4285" y="9799"/>
                  <a:pt x="4411" y="9862"/>
                </a:cubicBezTo>
                <a:cubicBezTo>
                  <a:pt x="4484" y="9880"/>
                  <a:pt x="4556" y="9898"/>
                  <a:pt x="4623" y="9898"/>
                </a:cubicBezTo>
                <a:cubicBezTo>
                  <a:pt x="4672" y="9898"/>
                  <a:pt x="4718" y="9889"/>
                  <a:pt x="4758" y="9862"/>
                </a:cubicBezTo>
                <a:lnTo>
                  <a:pt x="5230" y="9610"/>
                </a:lnTo>
                <a:lnTo>
                  <a:pt x="5010" y="10082"/>
                </a:lnTo>
                <a:cubicBezTo>
                  <a:pt x="4978" y="10208"/>
                  <a:pt x="4978" y="10334"/>
                  <a:pt x="5010" y="10398"/>
                </a:cubicBezTo>
                <a:lnTo>
                  <a:pt x="5703" y="11847"/>
                </a:lnTo>
                <a:cubicBezTo>
                  <a:pt x="5797" y="11973"/>
                  <a:pt x="5923" y="12067"/>
                  <a:pt x="6018" y="12067"/>
                </a:cubicBezTo>
                <a:cubicBezTo>
                  <a:pt x="6144" y="12067"/>
                  <a:pt x="6301" y="11973"/>
                  <a:pt x="6333" y="11847"/>
                </a:cubicBezTo>
                <a:lnTo>
                  <a:pt x="7057" y="10398"/>
                </a:lnTo>
                <a:cubicBezTo>
                  <a:pt x="7089" y="10271"/>
                  <a:pt x="7089" y="10177"/>
                  <a:pt x="7057" y="10082"/>
                </a:cubicBezTo>
                <a:lnTo>
                  <a:pt x="6805" y="9610"/>
                </a:lnTo>
                <a:lnTo>
                  <a:pt x="7278" y="9862"/>
                </a:lnTo>
                <a:cubicBezTo>
                  <a:pt x="7341" y="9878"/>
                  <a:pt x="7404" y="9886"/>
                  <a:pt x="7467" y="9886"/>
                </a:cubicBezTo>
                <a:cubicBezTo>
                  <a:pt x="7530" y="9886"/>
                  <a:pt x="7593" y="9878"/>
                  <a:pt x="7656" y="9862"/>
                </a:cubicBezTo>
                <a:cubicBezTo>
                  <a:pt x="7750" y="9799"/>
                  <a:pt x="7845" y="9736"/>
                  <a:pt x="7877" y="9610"/>
                </a:cubicBezTo>
                <a:lnTo>
                  <a:pt x="8034" y="9106"/>
                </a:lnTo>
                <a:lnTo>
                  <a:pt x="8192" y="9610"/>
                </a:lnTo>
                <a:cubicBezTo>
                  <a:pt x="8223" y="9736"/>
                  <a:pt x="8318" y="9799"/>
                  <a:pt x="8444" y="9862"/>
                </a:cubicBezTo>
                <a:lnTo>
                  <a:pt x="9924" y="10366"/>
                </a:lnTo>
                <a:cubicBezTo>
                  <a:pt x="9957" y="10373"/>
                  <a:pt x="9990" y="10377"/>
                  <a:pt x="10023" y="10377"/>
                </a:cubicBezTo>
                <a:cubicBezTo>
                  <a:pt x="10268" y="10377"/>
                  <a:pt x="10477" y="10175"/>
                  <a:pt x="10365" y="9925"/>
                </a:cubicBezTo>
                <a:lnTo>
                  <a:pt x="9861" y="8444"/>
                </a:lnTo>
                <a:cubicBezTo>
                  <a:pt x="9798" y="8318"/>
                  <a:pt x="9735" y="8224"/>
                  <a:pt x="9609" y="8192"/>
                </a:cubicBezTo>
                <a:lnTo>
                  <a:pt x="9105" y="8035"/>
                </a:lnTo>
                <a:lnTo>
                  <a:pt x="9609" y="7877"/>
                </a:lnTo>
                <a:cubicBezTo>
                  <a:pt x="9735" y="7846"/>
                  <a:pt x="9798" y="7751"/>
                  <a:pt x="9861" y="7657"/>
                </a:cubicBezTo>
                <a:cubicBezTo>
                  <a:pt x="9893" y="7531"/>
                  <a:pt x="9924" y="7405"/>
                  <a:pt x="9861" y="7279"/>
                </a:cubicBezTo>
                <a:lnTo>
                  <a:pt x="9609" y="6806"/>
                </a:lnTo>
                <a:lnTo>
                  <a:pt x="10082" y="7058"/>
                </a:lnTo>
                <a:cubicBezTo>
                  <a:pt x="10145" y="7074"/>
                  <a:pt x="10208" y="7082"/>
                  <a:pt x="10263" y="7082"/>
                </a:cubicBezTo>
                <a:cubicBezTo>
                  <a:pt x="10318" y="7082"/>
                  <a:pt x="10365" y="7074"/>
                  <a:pt x="10397" y="7058"/>
                </a:cubicBezTo>
                <a:lnTo>
                  <a:pt x="11846" y="6333"/>
                </a:lnTo>
                <a:cubicBezTo>
                  <a:pt x="11972" y="6270"/>
                  <a:pt x="12067" y="6144"/>
                  <a:pt x="12067" y="6018"/>
                </a:cubicBezTo>
                <a:cubicBezTo>
                  <a:pt x="12067" y="5924"/>
                  <a:pt x="11972" y="5766"/>
                  <a:pt x="11846" y="5703"/>
                </a:cubicBezTo>
                <a:lnTo>
                  <a:pt x="10397" y="5010"/>
                </a:lnTo>
                <a:cubicBezTo>
                  <a:pt x="10334" y="4994"/>
                  <a:pt x="10279" y="4987"/>
                  <a:pt x="10228" y="4987"/>
                </a:cubicBezTo>
                <a:cubicBezTo>
                  <a:pt x="10176" y="4987"/>
                  <a:pt x="10129" y="4994"/>
                  <a:pt x="10082" y="5010"/>
                </a:cubicBezTo>
                <a:lnTo>
                  <a:pt x="9609" y="5231"/>
                </a:lnTo>
                <a:lnTo>
                  <a:pt x="9861" y="4758"/>
                </a:lnTo>
                <a:cubicBezTo>
                  <a:pt x="9893" y="4664"/>
                  <a:pt x="9893" y="4538"/>
                  <a:pt x="9861" y="4412"/>
                </a:cubicBezTo>
                <a:cubicBezTo>
                  <a:pt x="9798" y="4286"/>
                  <a:pt x="9735" y="4223"/>
                  <a:pt x="9609" y="4191"/>
                </a:cubicBezTo>
                <a:lnTo>
                  <a:pt x="9105" y="4034"/>
                </a:lnTo>
                <a:lnTo>
                  <a:pt x="9609" y="3876"/>
                </a:lnTo>
                <a:cubicBezTo>
                  <a:pt x="9735" y="3813"/>
                  <a:pt x="9798" y="3750"/>
                  <a:pt x="9861" y="3624"/>
                </a:cubicBezTo>
                <a:lnTo>
                  <a:pt x="10365" y="2143"/>
                </a:lnTo>
                <a:cubicBezTo>
                  <a:pt x="10397" y="2017"/>
                  <a:pt x="10365" y="1860"/>
                  <a:pt x="10271" y="1765"/>
                </a:cubicBezTo>
                <a:cubicBezTo>
                  <a:pt x="10226" y="1721"/>
                  <a:pt x="10135" y="1676"/>
                  <a:pt x="10040" y="1676"/>
                </a:cubicBezTo>
                <a:cubicBezTo>
                  <a:pt x="10001" y="1676"/>
                  <a:pt x="9961" y="1684"/>
                  <a:pt x="9924" y="1702"/>
                </a:cubicBezTo>
                <a:lnTo>
                  <a:pt x="8444" y="2206"/>
                </a:lnTo>
                <a:cubicBezTo>
                  <a:pt x="8318" y="2238"/>
                  <a:pt x="8223" y="2332"/>
                  <a:pt x="8192" y="2458"/>
                </a:cubicBezTo>
                <a:lnTo>
                  <a:pt x="8034" y="2962"/>
                </a:lnTo>
                <a:lnTo>
                  <a:pt x="7877" y="2458"/>
                </a:lnTo>
                <a:cubicBezTo>
                  <a:pt x="7845" y="2332"/>
                  <a:pt x="7750" y="2238"/>
                  <a:pt x="7656" y="2206"/>
                </a:cubicBezTo>
                <a:cubicBezTo>
                  <a:pt x="7583" y="2188"/>
                  <a:pt x="7510" y="2170"/>
                  <a:pt x="7438" y="2170"/>
                </a:cubicBezTo>
                <a:cubicBezTo>
                  <a:pt x="7384" y="2170"/>
                  <a:pt x="7331" y="2180"/>
                  <a:pt x="7278" y="2206"/>
                </a:cubicBezTo>
                <a:lnTo>
                  <a:pt x="6805" y="2458"/>
                </a:lnTo>
                <a:lnTo>
                  <a:pt x="7057" y="1986"/>
                </a:lnTo>
                <a:cubicBezTo>
                  <a:pt x="7089" y="1860"/>
                  <a:pt x="7089" y="1734"/>
                  <a:pt x="7057" y="1671"/>
                </a:cubicBezTo>
                <a:lnTo>
                  <a:pt x="6333" y="190"/>
                </a:lnTo>
                <a:cubicBezTo>
                  <a:pt x="6270" y="95"/>
                  <a:pt x="6144"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24" name="Google Shape;7824;p76"/>
          <p:cNvGrpSpPr/>
          <p:nvPr/>
        </p:nvGrpSpPr>
        <p:grpSpPr>
          <a:xfrm>
            <a:off x="6574978" y="4592867"/>
            <a:ext cx="635105" cy="633448"/>
            <a:chOff x="-15719925" y="2416825"/>
            <a:chExt cx="306400" cy="305600"/>
          </a:xfrm>
        </p:grpSpPr>
        <p:sp>
          <p:nvSpPr>
            <p:cNvPr id="7825" name="Google Shape;7825;p76"/>
            <p:cNvSpPr/>
            <p:nvPr/>
          </p:nvSpPr>
          <p:spPr>
            <a:xfrm>
              <a:off x="-15719925" y="2416825"/>
              <a:ext cx="306400" cy="305600"/>
            </a:xfrm>
            <a:custGeom>
              <a:avLst/>
              <a:gdLst/>
              <a:ahLst/>
              <a:cxnLst/>
              <a:rect l="l" t="t" r="r" b="b"/>
              <a:pathLst>
                <a:path w="12256" h="12224" extrusionOk="0">
                  <a:moveTo>
                    <a:pt x="6648" y="756"/>
                  </a:moveTo>
                  <a:lnTo>
                    <a:pt x="8002" y="3466"/>
                  </a:lnTo>
                  <a:cubicBezTo>
                    <a:pt x="8034" y="3560"/>
                    <a:pt x="8065" y="3592"/>
                    <a:pt x="8160" y="3623"/>
                  </a:cubicBezTo>
                  <a:lnTo>
                    <a:pt x="9451" y="4316"/>
                  </a:lnTo>
                  <a:lnTo>
                    <a:pt x="10617" y="7246"/>
                  </a:lnTo>
                  <a:lnTo>
                    <a:pt x="7845" y="7246"/>
                  </a:lnTo>
                  <a:lnTo>
                    <a:pt x="7215" y="5356"/>
                  </a:lnTo>
                  <a:cubicBezTo>
                    <a:pt x="7135" y="5198"/>
                    <a:pt x="6990" y="5128"/>
                    <a:pt x="6852" y="5128"/>
                  </a:cubicBezTo>
                  <a:cubicBezTo>
                    <a:pt x="6826" y="5128"/>
                    <a:pt x="6799" y="5130"/>
                    <a:pt x="6774" y="5135"/>
                  </a:cubicBezTo>
                  <a:cubicBezTo>
                    <a:pt x="6616" y="5167"/>
                    <a:pt x="6490" y="5419"/>
                    <a:pt x="6522" y="5576"/>
                  </a:cubicBezTo>
                  <a:lnTo>
                    <a:pt x="7089" y="7215"/>
                  </a:lnTo>
                  <a:lnTo>
                    <a:pt x="5167" y="7215"/>
                  </a:lnTo>
                  <a:lnTo>
                    <a:pt x="5797" y="4064"/>
                  </a:lnTo>
                  <a:cubicBezTo>
                    <a:pt x="5828" y="3875"/>
                    <a:pt x="5702" y="3686"/>
                    <a:pt x="5513" y="3623"/>
                  </a:cubicBezTo>
                  <a:cubicBezTo>
                    <a:pt x="5494" y="3620"/>
                    <a:pt x="5474" y="3618"/>
                    <a:pt x="5454" y="3618"/>
                  </a:cubicBezTo>
                  <a:cubicBezTo>
                    <a:pt x="5281" y="3618"/>
                    <a:pt x="5101" y="3737"/>
                    <a:pt x="5072" y="3907"/>
                  </a:cubicBezTo>
                  <a:lnTo>
                    <a:pt x="4411" y="7183"/>
                  </a:lnTo>
                  <a:lnTo>
                    <a:pt x="1607" y="7183"/>
                  </a:lnTo>
                  <a:lnTo>
                    <a:pt x="2142" y="4946"/>
                  </a:lnTo>
                  <a:lnTo>
                    <a:pt x="3466" y="4316"/>
                  </a:lnTo>
                  <a:cubicBezTo>
                    <a:pt x="3529" y="4253"/>
                    <a:pt x="3560" y="4222"/>
                    <a:pt x="3623" y="4159"/>
                  </a:cubicBezTo>
                  <a:lnTo>
                    <a:pt x="4253" y="2930"/>
                  </a:lnTo>
                  <a:lnTo>
                    <a:pt x="6175" y="2930"/>
                  </a:lnTo>
                  <a:cubicBezTo>
                    <a:pt x="6364" y="2930"/>
                    <a:pt x="6522" y="2772"/>
                    <a:pt x="6522" y="2583"/>
                  </a:cubicBezTo>
                  <a:cubicBezTo>
                    <a:pt x="6522" y="2363"/>
                    <a:pt x="6364" y="2205"/>
                    <a:pt x="6175" y="2205"/>
                  </a:cubicBezTo>
                  <a:lnTo>
                    <a:pt x="5230" y="2205"/>
                  </a:lnTo>
                  <a:lnTo>
                    <a:pt x="5702" y="756"/>
                  </a:lnTo>
                  <a:close/>
                  <a:moveTo>
                    <a:pt x="10397" y="7876"/>
                  </a:moveTo>
                  <a:lnTo>
                    <a:pt x="9830" y="8601"/>
                  </a:lnTo>
                  <a:lnTo>
                    <a:pt x="8916" y="8601"/>
                  </a:lnTo>
                  <a:cubicBezTo>
                    <a:pt x="8727" y="8601"/>
                    <a:pt x="8569" y="8758"/>
                    <a:pt x="8569" y="8947"/>
                  </a:cubicBezTo>
                  <a:cubicBezTo>
                    <a:pt x="8664" y="9199"/>
                    <a:pt x="8821" y="9357"/>
                    <a:pt x="9010" y="9357"/>
                  </a:cubicBezTo>
                  <a:lnTo>
                    <a:pt x="9357" y="9357"/>
                  </a:lnTo>
                  <a:lnTo>
                    <a:pt x="8821" y="10050"/>
                  </a:lnTo>
                  <a:lnTo>
                    <a:pt x="7561" y="10050"/>
                  </a:lnTo>
                  <a:cubicBezTo>
                    <a:pt x="7435" y="10050"/>
                    <a:pt x="7278" y="10145"/>
                    <a:pt x="7246" y="10239"/>
                  </a:cubicBezTo>
                  <a:lnTo>
                    <a:pt x="6616" y="11468"/>
                  </a:lnTo>
                  <a:lnTo>
                    <a:pt x="5576" y="11468"/>
                  </a:lnTo>
                  <a:lnTo>
                    <a:pt x="5041" y="10775"/>
                  </a:lnTo>
                  <a:lnTo>
                    <a:pt x="6080" y="10775"/>
                  </a:lnTo>
                  <a:cubicBezTo>
                    <a:pt x="6301" y="10775"/>
                    <a:pt x="6459" y="10617"/>
                    <a:pt x="6459" y="10397"/>
                  </a:cubicBezTo>
                  <a:cubicBezTo>
                    <a:pt x="6459" y="10208"/>
                    <a:pt x="6301" y="10050"/>
                    <a:pt x="6080" y="10050"/>
                  </a:cubicBezTo>
                  <a:lnTo>
                    <a:pt x="4474" y="10050"/>
                  </a:lnTo>
                  <a:lnTo>
                    <a:pt x="3529" y="8758"/>
                  </a:lnTo>
                  <a:cubicBezTo>
                    <a:pt x="3466" y="8664"/>
                    <a:pt x="3371" y="8601"/>
                    <a:pt x="3245" y="8601"/>
                  </a:cubicBezTo>
                  <a:lnTo>
                    <a:pt x="2048" y="8601"/>
                  </a:lnTo>
                  <a:lnTo>
                    <a:pt x="1670" y="7876"/>
                  </a:lnTo>
                  <a:close/>
                  <a:moveTo>
                    <a:pt x="5419" y="0"/>
                  </a:moveTo>
                  <a:cubicBezTo>
                    <a:pt x="5261" y="0"/>
                    <a:pt x="5135" y="126"/>
                    <a:pt x="5072" y="252"/>
                  </a:cubicBezTo>
                  <a:lnTo>
                    <a:pt x="4442" y="2174"/>
                  </a:lnTo>
                  <a:lnTo>
                    <a:pt x="3970" y="2174"/>
                  </a:lnTo>
                  <a:cubicBezTo>
                    <a:pt x="3844" y="2174"/>
                    <a:pt x="3686" y="2237"/>
                    <a:pt x="3655" y="2363"/>
                  </a:cubicBezTo>
                  <a:lnTo>
                    <a:pt x="2993" y="3718"/>
                  </a:lnTo>
                  <a:lnTo>
                    <a:pt x="1638" y="4379"/>
                  </a:lnTo>
                  <a:cubicBezTo>
                    <a:pt x="1575" y="4411"/>
                    <a:pt x="1481" y="4505"/>
                    <a:pt x="1449" y="4600"/>
                  </a:cubicBezTo>
                  <a:lnTo>
                    <a:pt x="819" y="7215"/>
                  </a:lnTo>
                  <a:lnTo>
                    <a:pt x="347" y="7215"/>
                  </a:lnTo>
                  <a:cubicBezTo>
                    <a:pt x="158" y="7215"/>
                    <a:pt x="0" y="7372"/>
                    <a:pt x="0" y="7561"/>
                  </a:cubicBezTo>
                  <a:cubicBezTo>
                    <a:pt x="0" y="7750"/>
                    <a:pt x="158" y="7908"/>
                    <a:pt x="347" y="7908"/>
                  </a:cubicBezTo>
                  <a:lnTo>
                    <a:pt x="851" y="7908"/>
                  </a:lnTo>
                  <a:lnTo>
                    <a:pt x="1481" y="9136"/>
                  </a:lnTo>
                  <a:cubicBezTo>
                    <a:pt x="1575" y="9262"/>
                    <a:pt x="1670" y="9325"/>
                    <a:pt x="1796" y="9325"/>
                  </a:cubicBezTo>
                  <a:lnTo>
                    <a:pt x="3056" y="9325"/>
                  </a:lnTo>
                  <a:lnTo>
                    <a:pt x="3623" y="10050"/>
                  </a:lnTo>
                  <a:lnTo>
                    <a:pt x="2552" y="10050"/>
                  </a:lnTo>
                  <a:cubicBezTo>
                    <a:pt x="2363" y="10050"/>
                    <a:pt x="2205" y="10208"/>
                    <a:pt x="2205" y="10397"/>
                  </a:cubicBezTo>
                  <a:cubicBezTo>
                    <a:pt x="2205" y="10617"/>
                    <a:pt x="2363" y="10775"/>
                    <a:pt x="2552" y="10775"/>
                  </a:cubicBezTo>
                  <a:lnTo>
                    <a:pt x="4159" y="10775"/>
                  </a:lnTo>
                  <a:lnTo>
                    <a:pt x="5104" y="12066"/>
                  </a:lnTo>
                  <a:cubicBezTo>
                    <a:pt x="5198" y="12129"/>
                    <a:pt x="5261" y="12224"/>
                    <a:pt x="5387" y="12224"/>
                  </a:cubicBezTo>
                  <a:lnTo>
                    <a:pt x="6805" y="12224"/>
                  </a:lnTo>
                  <a:cubicBezTo>
                    <a:pt x="6931" y="12224"/>
                    <a:pt x="7089" y="12129"/>
                    <a:pt x="7120" y="12035"/>
                  </a:cubicBezTo>
                  <a:lnTo>
                    <a:pt x="7750" y="10806"/>
                  </a:lnTo>
                  <a:lnTo>
                    <a:pt x="8979" y="10806"/>
                  </a:lnTo>
                  <a:cubicBezTo>
                    <a:pt x="9073" y="10806"/>
                    <a:pt x="9199" y="10775"/>
                    <a:pt x="9231" y="10649"/>
                  </a:cubicBezTo>
                  <a:lnTo>
                    <a:pt x="10176" y="9357"/>
                  </a:lnTo>
                  <a:lnTo>
                    <a:pt x="11184" y="9357"/>
                  </a:lnTo>
                  <a:cubicBezTo>
                    <a:pt x="11373" y="9357"/>
                    <a:pt x="11531" y="9199"/>
                    <a:pt x="11531" y="8979"/>
                  </a:cubicBezTo>
                  <a:cubicBezTo>
                    <a:pt x="11531" y="8790"/>
                    <a:pt x="11373" y="8632"/>
                    <a:pt x="11184" y="8632"/>
                  </a:cubicBezTo>
                  <a:lnTo>
                    <a:pt x="10775" y="8632"/>
                  </a:lnTo>
                  <a:lnTo>
                    <a:pt x="11342" y="7908"/>
                  </a:lnTo>
                  <a:lnTo>
                    <a:pt x="11877" y="7908"/>
                  </a:lnTo>
                  <a:cubicBezTo>
                    <a:pt x="12098" y="7908"/>
                    <a:pt x="12255" y="7750"/>
                    <a:pt x="12255" y="7561"/>
                  </a:cubicBezTo>
                  <a:cubicBezTo>
                    <a:pt x="12255" y="7372"/>
                    <a:pt x="12098" y="7215"/>
                    <a:pt x="11877" y="7215"/>
                  </a:cubicBezTo>
                  <a:lnTo>
                    <a:pt x="11373" y="7215"/>
                  </a:lnTo>
                  <a:lnTo>
                    <a:pt x="10019" y="3875"/>
                  </a:lnTo>
                  <a:cubicBezTo>
                    <a:pt x="9987" y="3781"/>
                    <a:pt x="9956" y="3718"/>
                    <a:pt x="9861" y="3655"/>
                  </a:cubicBezTo>
                  <a:lnTo>
                    <a:pt x="8538" y="2993"/>
                  </a:lnTo>
                  <a:lnTo>
                    <a:pt x="7152" y="189"/>
                  </a:lnTo>
                  <a:cubicBezTo>
                    <a:pt x="7089" y="95"/>
                    <a:pt x="6963" y="0"/>
                    <a:pt x="683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6" name="Google Shape;7826;p76"/>
            <p:cNvSpPr/>
            <p:nvPr/>
          </p:nvSpPr>
          <p:spPr>
            <a:xfrm>
              <a:off x="-15467900" y="2686175"/>
              <a:ext cx="53575" cy="17350"/>
            </a:xfrm>
            <a:custGeom>
              <a:avLst/>
              <a:gdLst/>
              <a:ahLst/>
              <a:cxnLst/>
              <a:rect l="l" t="t" r="r" b="b"/>
              <a:pathLst>
                <a:path w="2143" h="694" extrusionOk="0">
                  <a:moveTo>
                    <a:pt x="347" y="1"/>
                  </a:moveTo>
                  <a:cubicBezTo>
                    <a:pt x="158" y="1"/>
                    <a:pt x="1" y="158"/>
                    <a:pt x="1" y="347"/>
                  </a:cubicBezTo>
                  <a:cubicBezTo>
                    <a:pt x="1" y="536"/>
                    <a:pt x="158" y="694"/>
                    <a:pt x="347" y="694"/>
                  </a:cubicBezTo>
                  <a:lnTo>
                    <a:pt x="1796" y="694"/>
                  </a:lnTo>
                  <a:cubicBezTo>
                    <a:pt x="1985" y="694"/>
                    <a:pt x="2143" y="536"/>
                    <a:pt x="2143" y="347"/>
                  </a:cubicBezTo>
                  <a:cubicBezTo>
                    <a:pt x="2143" y="158"/>
                    <a:pt x="1985" y="1"/>
                    <a:pt x="179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7" name="Google Shape;7827;p76"/>
            <p:cNvSpPr/>
            <p:nvPr/>
          </p:nvSpPr>
          <p:spPr>
            <a:xfrm>
              <a:off x="-15718350" y="2703500"/>
              <a:ext cx="54350" cy="18150"/>
            </a:xfrm>
            <a:custGeom>
              <a:avLst/>
              <a:gdLst/>
              <a:ahLst/>
              <a:cxnLst/>
              <a:rect l="l" t="t" r="r" b="b"/>
              <a:pathLst>
                <a:path w="2174" h="726" extrusionOk="0">
                  <a:moveTo>
                    <a:pt x="347" y="1"/>
                  </a:moveTo>
                  <a:cubicBezTo>
                    <a:pt x="158" y="1"/>
                    <a:pt x="0" y="158"/>
                    <a:pt x="0" y="347"/>
                  </a:cubicBezTo>
                  <a:cubicBezTo>
                    <a:pt x="0" y="568"/>
                    <a:pt x="158" y="725"/>
                    <a:pt x="347" y="725"/>
                  </a:cubicBezTo>
                  <a:lnTo>
                    <a:pt x="1827" y="725"/>
                  </a:lnTo>
                  <a:cubicBezTo>
                    <a:pt x="2016" y="725"/>
                    <a:pt x="2174" y="568"/>
                    <a:pt x="2174" y="347"/>
                  </a:cubicBezTo>
                  <a:cubicBezTo>
                    <a:pt x="2174" y="158"/>
                    <a:pt x="2016" y="1"/>
                    <a:pt x="18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28" name="Google Shape;7828;p76"/>
          <p:cNvSpPr/>
          <p:nvPr/>
        </p:nvSpPr>
        <p:spPr>
          <a:xfrm>
            <a:off x="2690011" y="2250060"/>
            <a:ext cx="636712" cy="634328"/>
          </a:xfrm>
          <a:custGeom>
            <a:avLst/>
            <a:gdLst/>
            <a:ahLst/>
            <a:cxnLst/>
            <a:rect l="l" t="t" r="r" b="b"/>
            <a:pathLst>
              <a:path w="12287" h="12241" extrusionOk="0">
                <a:moveTo>
                  <a:pt x="6207" y="1056"/>
                </a:moveTo>
                <a:lnTo>
                  <a:pt x="6553" y="1560"/>
                </a:lnTo>
                <a:cubicBezTo>
                  <a:pt x="6994" y="2253"/>
                  <a:pt x="7656" y="2663"/>
                  <a:pt x="8443" y="2820"/>
                </a:cubicBezTo>
                <a:cubicBezTo>
                  <a:pt x="8191" y="3261"/>
                  <a:pt x="8097" y="3765"/>
                  <a:pt x="8002" y="4332"/>
                </a:cubicBezTo>
                <a:cubicBezTo>
                  <a:pt x="7939" y="5152"/>
                  <a:pt x="8097" y="5939"/>
                  <a:pt x="8443" y="6506"/>
                </a:cubicBezTo>
                <a:cubicBezTo>
                  <a:pt x="8498" y="6588"/>
                  <a:pt x="8623" y="6670"/>
                  <a:pt x="8758" y="6670"/>
                </a:cubicBezTo>
                <a:cubicBezTo>
                  <a:pt x="8779" y="6670"/>
                  <a:pt x="8800" y="6668"/>
                  <a:pt x="8821" y="6664"/>
                </a:cubicBezTo>
                <a:cubicBezTo>
                  <a:pt x="9420" y="6506"/>
                  <a:pt x="9924" y="6223"/>
                  <a:pt x="10365" y="5908"/>
                </a:cubicBezTo>
                <a:cubicBezTo>
                  <a:pt x="10680" y="6254"/>
                  <a:pt x="11090" y="6569"/>
                  <a:pt x="11499" y="6853"/>
                </a:cubicBezTo>
                <a:cubicBezTo>
                  <a:pt x="11279" y="7325"/>
                  <a:pt x="11153" y="7798"/>
                  <a:pt x="11153" y="8271"/>
                </a:cubicBezTo>
                <a:cubicBezTo>
                  <a:pt x="10586" y="8302"/>
                  <a:pt x="10082" y="8428"/>
                  <a:pt x="9578" y="8617"/>
                </a:cubicBezTo>
                <a:cubicBezTo>
                  <a:pt x="9389" y="8712"/>
                  <a:pt x="9294" y="8932"/>
                  <a:pt x="9389" y="9090"/>
                </a:cubicBezTo>
                <a:lnTo>
                  <a:pt x="9704" y="9751"/>
                </a:lnTo>
                <a:lnTo>
                  <a:pt x="7183" y="8932"/>
                </a:lnTo>
                <a:lnTo>
                  <a:pt x="9861" y="7861"/>
                </a:lnTo>
                <a:cubicBezTo>
                  <a:pt x="10050" y="7798"/>
                  <a:pt x="10145" y="7609"/>
                  <a:pt x="10050" y="7388"/>
                </a:cubicBezTo>
                <a:cubicBezTo>
                  <a:pt x="10003" y="7247"/>
                  <a:pt x="9867" y="7176"/>
                  <a:pt x="9722" y="7176"/>
                </a:cubicBezTo>
                <a:cubicBezTo>
                  <a:pt x="9674" y="7176"/>
                  <a:pt x="9625" y="7184"/>
                  <a:pt x="9578" y="7199"/>
                </a:cubicBezTo>
                <a:lnTo>
                  <a:pt x="6522" y="8428"/>
                </a:lnTo>
                <a:lnTo>
                  <a:pt x="6522" y="3986"/>
                </a:lnTo>
                <a:cubicBezTo>
                  <a:pt x="6522" y="3765"/>
                  <a:pt x="6364" y="3608"/>
                  <a:pt x="6144" y="3608"/>
                </a:cubicBezTo>
                <a:cubicBezTo>
                  <a:pt x="5955" y="3608"/>
                  <a:pt x="5797" y="3765"/>
                  <a:pt x="5797" y="3986"/>
                </a:cubicBezTo>
                <a:lnTo>
                  <a:pt x="5797" y="8428"/>
                </a:lnTo>
                <a:lnTo>
                  <a:pt x="2710" y="7199"/>
                </a:lnTo>
                <a:cubicBezTo>
                  <a:pt x="2662" y="7184"/>
                  <a:pt x="2615" y="7176"/>
                  <a:pt x="2570" y="7176"/>
                </a:cubicBezTo>
                <a:cubicBezTo>
                  <a:pt x="2434" y="7176"/>
                  <a:pt x="2316" y="7247"/>
                  <a:pt x="2268" y="7388"/>
                </a:cubicBezTo>
                <a:cubicBezTo>
                  <a:pt x="2174" y="7609"/>
                  <a:pt x="2268" y="7798"/>
                  <a:pt x="2457" y="7861"/>
                </a:cubicBezTo>
                <a:lnTo>
                  <a:pt x="5135" y="8932"/>
                </a:lnTo>
                <a:lnTo>
                  <a:pt x="2615" y="9751"/>
                </a:lnTo>
                <a:lnTo>
                  <a:pt x="2930" y="9090"/>
                </a:lnTo>
                <a:cubicBezTo>
                  <a:pt x="2993" y="8901"/>
                  <a:pt x="2930" y="8712"/>
                  <a:pt x="2741" y="8617"/>
                </a:cubicBezTo>
                <a:cubicBezTo>
                  <a:pt x="2205" y="8397"/>
                  <a:pt x="1701" y="8271"/>
                  <a:pt x="1166" y="8271"/>
                </a:cubicBezTo>
                <a:cubicBezTo>
                  <a:pt x="1166" y="7798"/>
                  <a:pt x="1040" y="7325"/>
                  <a:pt x="882" y="6853"/>
                </a:cubicBezTo>
                <a:cubicBezTo>
                  <a:pt x="1323" y="6569"/>
                  <a:pt x="1701" y="6254"/>
                  <a:pt x="2016" y="5908"/>
                </a:cubicBezTo>
                <a:cubicBezTo>
                  <a:pt x="2457" y="6254"/>
                  <a:pt x="2962" y="6506"/>
                  <a:pt x="3560" y="6664"/>
                </a:cubicBezTo>
                <a:cubicBezTo>
                  <a:pt x="3596" y="6671"/>
                  <a:pt x="3631" y="6675"/>
                  <a:pt x="3665" y="6675"/>
                </a:cubicBezTo>
                <a:cubicBezTo>
                  <a:pt x="3784" y="6675"/>
                  <a:pt x="3889" y="6628"/>
                  <a:pt x="3938" y="6506"/>
                </a:cubicBezTo>
                <a:cubicBezTo>
                  <a:pt x="4316" y="5939"/>
                  <a:pt x="4411" y="5152"/>
                  <a:pt x="4379" y="4332"/>
                </a:cubicBezTo>
                <a:cubicBezTo>
                  <a:pt x="4348" y="3734"/>
                  <a:pt x="4190" y="3230"/>
                  <a:pt x="3938" y="2820"/>
                </a:cubicBezTo>
                <a:cubicBezTo>
                  <a:pt x="4694" y="2663"/>
                  <a:pt x="5356" y="2190"/>
                  <a:pt x="5828" y="1560"/>
                </a:cubicBezTo>
                <a:lnTo>
                  <a:pt x="6207" y="1056"/>
                </a:lnTo>
                <a:close/>
                <a:moveTo>
                  <a:pt x="6116" y="1"/>
                </a:moveTo>
                <a:cubicBezTo>
                  <a:pt x="6002" y="1"/>
                  <a:pt x="5892" y="48"/>
                  <a:pt x="5828" y="142"/>
                </a:cubicBezTo>
                <a:lnTo>
                  <a:pt x="5198" y="1150"/>
                </a:lnTo>
                <a:cubicBezTo>
                  <a:pt x="4789" y="1781"/>
                  <a:pt x="4064" y="2159"/>
                  <a:pt x="3277" y="2159"/>
                </a:cubicBezTo>
                <a:cubicBezTo>
                  <a:pt x="2962" y="2159"/>
                  <a:pt x="2804" y="2568"/>
                  <a:pt x="3056" y="2757"/>
                </a:cubicBezTo>
                <a:cubicBezTo>
                  <a:pt x="3371" y="3072"/>
                  <a:pt x="3592" y="3671"/>
                  <a:pt x="3623" y="4364"/>
                </a:cubicBezTo>
                <a:cubicBezTo>
                  <a:pt x="3686" y="4931"/>
                  <a:pt x="3592" y="5467"/>
                  <a:pt x="3434" y="5876"/>
                </a:cubicBezTo>
                <a:cubicBezTo>
                  <a:pt x="2962" y="5719"/>
                  <a:pt x="2520" y="5435"/>
                  <a:pt x="2174" y="5120"/>
                </a:cubicBezTo>
                <a:cubicBezTo>
                  <a:pt x="2103" y="5049"/>
                  <a:pt x="2019" y="5016"/>
                  <a:pt x="1937" y="5016"/>
                </a:cubicBezTo>
                <a:cubicBezTo>
                  <a:pt x="1837" y="5016"/>
                  <a:pt x="1739" y="5065"/>
                  <a:pt x="1670" y="5152"/>
                </a:cubicBezTo>
                <a:cubicBezTo>
                  <a:pt x="1323" y="5624"/>
                  <a:pt x="851" y="6065"/>
                  <a:pt x="252" y="6349"/>
                </a:cubicBezTo>
                <a:cubicBezTo>
                  <a:pt x="95" y="6412"/>
                  <a:pt x="0" y="6601"/>
                  <a:pt x="95" y="6790"/>
                </a:cubicBezTo>
                <a:cubicBezTo>
                  <a:pt x="347" y="7388"/>
                  <a:pt x="441" y="8018"/>
                  <a:pt x="410" y="8586"/>
                </a:cubicBezTo>
                <a:cubicBezTo>
                  <a:pt x="410" y="8712"/>
                  <a:pt x="441" y="8775"/>
                  <a:pt x="536" y="8838"/>
                </a:cubicBezTo>
                <a:cubicBezTo>
                  <a:pt x="630" y="8964"/>
                  <a:pt x="788" y="8964"/>
                  <a:pt x="945" y="8964"/>
                </a:cubicBezTo>
                <a:cubicBezTo>
                  <a:pt x="1355" y="8964"/>
                  <a:pt x="1701" y="9058"/>
                  <a:pt x="2111" y="9153"/>
                </a:cubicBezTo>
                <a:lnTo>
                  <a:pt x="1544" y="10224"/>
                </a:lnTo>
                <a:cubicBezTo>
                  <a:pt x="1406" y="10472"/>
                  <a:pt x="1606" y="10745"/>
                  <a:pt x="1870" y="10745"/>
                </a:cubicBezTo>
                <a:cubicBezTo>
                  <a:pt x="1907" y="10745"/>
                  <a:pt x="1946" y="10740"/>
                  <a:pt x="1985" y="10728"/>
                </a:cubicBezTo>
                <a:lnTo>
                  <a:pt x="5797" y="9499"/>
                </a:lnTo>
                <a:lnTo>
                  <a:pt x="5797" y="11894"/>
                </a:lnTo>
                <a:cubicBezTo>
                  <a:pt x="5797" y="12083"/>
                  <a:pt x="5955" y="12240"/>
                  <a:pt x="6144" y="12240"/>
                </a:cubicBezTo>
                <a:cubicBezTo>
                  <a:pt x="6364" y="12240"/>
                  <a:pt x="6522" y="12083"/>
                  <a:pt x="6522" y="11894"/>
                </a:cubicBezTo>
                <a:lnTo>
                  <a:pt x="6522" y="9499"/>
                </a:lnTo>
                <a:lnTo>
                  <a:pt x="10334" y="10728"/>
                </a:lnTo>
                <a:cubicBezTo>
                  <a:pt x="10382" y="10747"/>
                  <a:pt x="10431" y="10756"/>
                  <a:pt x="10476" y="10756"/>
                </a:cubicBezTo>
                <a:cubicBezTo>
                  <a:pt x="10726" y="10756"/>
                  <a:pt x="10908" y="10490"/>
                  <a:pt x="10775" y="10224"/>
                </a:cubicBezTo>
                <a:lnTo>
                  <a:pt x="10208" y="9153"/>
                </a:lnTo>
                <a:cubicBezTo>
                  <a:pt x="10554" y="9058"/>
                  <a:pt x="10964" y="8964"/>
                  <a:pt x="11342" y="8964"/>
                </a:cubicBezTo>
                <a:cubicBezTo>
                  <a:pt x="11387" y="8964"/>
                  <a:pt x="11432" y="8966"/>
                  <a:pt x="11476" y="8966"/>
                </a:cubicBezTo>
                <a:cubicBezTo>
                  <a:pt x="11587" y="8966"/>
                  <a:pt x="11693" y="8950"/>
                  <a:pt x="11783" y="8838"/>
                </a:cubicBezTo>
                <a:cubicBezTo>
                  <a:pt x="11846" y="8775"/>
                  <a:pt x="11909" y="8680"/>
                  <a:pt x="11909" y="8586"/>
                </a:cubicBezTo>
                <a:cubicBezTo>
                  <a:pt x="11877" y="7987"/>
                  <a:pt x="11972" y="7388"/>
                  <a:pt x="12224" y="6790"/>
                </a:cubicBezTo>
                <a:cubicBezTo>
                  <a:pt x="12287" y="6601"/>
                  <a:pt x="12224" y="6412"/>
                  <a:pt x="12003" y="6349"/>
                </a:cubicBezTo>
                <a:cubicBezTo>
                  <a:pt x="11436" y="6065"/>
                  <a:pt x="10964" y="5624"/>
                  <a:pt x="10586" y="5152"/>
                </a:cubicBezTo>
                <a:cubicBezTo>
                  <a:pt x="10534" y="5065"/>
                  <a:pt x="10434" y="5016"/>
                  <a:pt x="10329" y="5016"/>
                </a:cubicBezTo>
                <a:cubicBezTo>
                  <a:pt x="10243" y="5016"/>
                  <a:pt x="10153" y="5049"/>
                  <a:pt x="10082" y="5120"/>
                </a:cubicBezTo>
                <a:cubicBezTo>
                  <a:pt x="9735" y="5435"/>
                  <a:pt x="9294" y="5719"/>
                  <a:pt x="8821" y="5876"/>
                </a:cubicBezTo>
                <a:cubicBezTo>
                  <a:pt x="8664" y="5467"/>
                  <a:pt x="8601" y="4931"/>
                  <a:pt x="8632" y="4364"/>
                </a:cubicBezTo>
                <a:cubicBezTo>
                  <a:pt x="8664" y="3702"/>
                  <a:pt x="8916" y="3072"/>
                  <a:pt x="9231" y="2757"/>
                </a:cubicBezTo>
                <a:cubicBezTo>
                  <a:pt x="9452" y="2505"/>
                  <a:pt x="9294" y="2159"/>
                  <a:pt x="8979" y="2159"/>
                </a:cubicBezTo>
                <a:cubicBezTo>
                  <a:pt x="8191" y="2159"/>
                  <a:pt x="7498" y="1781"/>
                  <a:pt x="7057" y="1150"/>
                </a:cubicBezTo>
                <a:lnTo>
                  <a:pt x="6427" y="142"/>
                </a:lnTo>
                <a:cubicBezTo>
                  <a:pt x="6348" y="48"/>
                  <a:pt x="6230" y="1"/>
                  <a:pt x="611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29" name="Google Shape;7829;p76"/>
          <p:cNvSpPr/>
          <p:nvPr/>
        </p:nvSpPr>
        <p:spPr>
          <a:xfrm>
            <a:off x="2692448" y="3109099"/>
            <a:ext cx="631841" cy="479128"/>
          </a:xfrm>
          <a:custGeom>
            <a:avLst/>
            <a:gdLst/>
            <a:ahLst/>
            <a:cxnLst/>
            <a:rect l="l" t="t" r="r" b="b"/>
            <a:pathLst>
              <a:path w="12193" h="9246" extrusionOk="0">
                <a:moveTo>
                  <a:pt x="3781" y="1936"/>
                </a:moveTo>
                <a:lnTo>
                  <a:pt x="3907" y="2881"/>
                </a:lnTo>
                <a:lnTo>
                  <a:pt x="3466" y="2881"/>
                </a:lnTo>
                <a:lnTo>
                  <a:pt x="3781" y="1936"/>
                </a:lnTo>
                <a:close/>
                <a:moveTo>
                  <a:pt x="2489" y="3574"/>
                </a:moveTo>
                <a:lnTo>
                  <a:pt x="2017" y="4961"/>
                </a:lnTo>
                <a:cubicBezTo>
                  <a:pt x="1387" y="4771"/>
                  <a:pt x="914" y="4267"/>
                  <a:pt x="757" y="3574"/>
                </a:cubicBezTo>
                <a:close/>
                <a:moveTo>
                  <a:pt x="7877" y="3574"/>
                </a:moveTo>
                <a:lnTo>
                  <a:pt x="7877" y="3952"/>
                </a:lnTo>
                <a:cubicBezTo>
                  <a:pt x="7877" y="4425"/>
                  <a:pt x="7562" y="4835"/>
                  <a:pt x="7089" y="4961"/>
                </a:cubicBezTo>
                <a:cubicBezTo>
                  <a:pt x="7058" y="4835"/>
                  <a:pt x="7026" y="4740"/>
                  <a:pt x="6932" y="4614"/>
                </a:cubicBezTo>
                <a:lnTo>
                  <a:pt x="6302" y="3574"/>
                </a:lnTo>
                <a:close/>
                <a:moveTo>
                  <a:pt x="4033" y="3574"/>
                </a:moveTo>
                <a:lnTo>
                  <a:pt x="4222" y="4992"/>
                </a:lnTo>
                <a:lnTo>
                  <a:pt x="2773" y="4992"/>
                </a:lnTo>
                <a:lnTo>
                  <a:pt x="3246" y="3574"/>
                </a:lnTo>
                <a:close/>
                <a:moveTo>
                  <a:pt x="10712" y="3574"/>
                </a:moveTo>
                <a:cubicBezTo>
                  <a:pt x="11153" y="3637"/>
                  <a:pt x="11468" y="3952"/>
                  <a:pt x="11468" y="4330"/>
                </a:cubicBezTo>
                <a:cubicBezTo>
                  <a:pt x="11437" y="4740"/>
                  <a:pt x="11153" y="4992"/>
                  <a:pt x="10775" y="4992"/>
                </a:cubicBezTo>
                <a:cubicBezTo>
                  <a:pt x="10366" y="4992"/>
                  <a:pt x="10051" y="4677"/>
                  <a:pt x="10051" y="4299"/>
                </a:cubicBezTo>
                <a:cubicBezTo>
                  <a:pt x="10051" y="3889"/>
                  <a:pt x="10334" y="3574"/>
                  <a:pt x="10712" y="3574"/>
                </a:cubicBezTo>
                <a:close/>
                <a:moveTo>
                  <a:pt x="4537" y="2062"/>
                </a:moveTo>
                <a:lnTo>
                  <a:pt x="6365" y="4992"/>
                </a:lnTo>
                <a:cubicBezTo>
                  <a:pt x="6428" y="5118"/>
                  <a:pt x="6491" y="5244"/>
                  <a:pt x="6491" y="5370"/>
                </a:cubicBezTo>
                <a:cubicBezTo>
                  <a:pt x="6491" y="5748"/>
                  <a:pt x="6176" y="6063"/>
                  <a:pt x="5766" y="6063"/>
                </a:cubicBezTo>
                <a:cubicBezTo>
                  <a:pt x="5356" y="6063"/>
                  <a:pt x="5104" y="5843"/>
                  <a:pt x="5010" y="5465"/>
                </a:cubicBezTo>
                <a:lnTo>
                  <a:pt x="4537" y="2062"/>
                </a:lnTo>
                <a:close/>
                <a:moveTo>
                  <a:pt x="9515" y="3543"/>
                </a:moveTo>
                <a:cubicBezTo>
                  <a:pt x="9389" y="3732"/>
                  <a:pt x="9295" y="3984"/>
                  <a:pt x="9295" y="4236"/>
                </a:cubicBezTo>
                <a:cubicBezTo>
                  <a:pt x="9295" y="5024"/>
                  <a:pt x="9925" y="5654"/>
                  <a:pt x="10712" y="5654"/>
                </a:cubicBezTo>
                <a:lnTo>
                  <a:pt x="10870" y="5654"/>
                </a:lnTo>
                <a:lnTo>
                  <a:pt x="10397" y="6693"/>
                </a:lnTo>
                <a:cubicBezTo>
                  <a:pt x="10303" y="6977"/>
                  <a:pt x="10019" y="7134"/>
                  <a:pt x="9704" y="7134"/>
                </a:cubicBezTo>
                <a:lnTo>
                  <a:pt x="4663" y="7134"/>
                </a:lnTo>
                <a:cubicBezTo>
                  <a:pt x="3781" y="7134"/>
                  <a:pt x="3088" y="6504"/>
                  <a:pt x="2931" y="5717"/>
                </a:cubicBezTo>
                <a:lnTo>
                  <a:pt x="4348" y="5717"/>
                </a:lnTo>
                <a:cubicBezTo>
                  <a:pt x="4506" y="6347"/>
                  <a:pt x="5041" y="6788"/>
                  <a:pt x="5734" y="6788"/>
                </a:cubicBezTo>
                <a:cubicBezTo>
                  <a:pt x="6396" y="6788"/>
                  <a:pt x="6932" y="6315"/>
                  <a:pt x="7089" y="5654"/>
                </a:cubicBezTo>
                <a:cubicBezTo>
                  <a:pt x="7940" y="5496"/>
                  <a:pt x="8570" y="4803"/>
                  <a:pt x="8570" y="3889"/>
                </a:cubicBezTo>
                <a:lnTo>
                  <a:pt x="8570" y="3543"/>
                </a:lnTo>
                <a:close/>
                <a:moveTo>
                  <a:pt x="3928" y="1"/>
                </a:moveTo>
                <a:cubicBezTo>
                  <a:pt x="3795" y="1"/>
                  <a:pt x="3661" y="81"/>
                  <a:pt x="3592" y="235"/>
                </a:cubicBezTo>
                <a:lnTo>
                  <a:pt x="2742" y="2850"/>
                </a:lnTo>
                <a:lnTo>
                  <a:pt x="379" y="2850"/>
                </a:lnTo>
                <a:cubicBezTo>
                  <a:pt x="158" y="2850"/>
                  <a:pt x="1" y="3007"/>
                  <a:pt x="1" y="3196"/>
                </a:cubicBezTo>
                <a:cubicBezTo>
                  <a:pt x="1" y="4330"/>
                  <a:pt x="757" y="5276"/>
                  <a:pt x="1828" y="5591"/>
                </a:cubicBezTo>
                <a:lnTo>
                  <a:pt x="851" y="8552"/>
                </a:lnTo>
                <a:lnTo>
                  <a:pt x="379" y="8552"/>
                </a:lnTo>
                <a:cubicBezTo>
                  <a:pt x="158" y="8552"/>
                  <a:pt x="1" y="8710"/>
                  <a:pt x="1" y="8899"/>
                </a:cubicBezTo>
                <a:cubicBezTo>
                  <a:pt x="1" y="9088"/>
                  <a:pt x="158" y="9245"/>
                  <a:pt x="379" y="9245"/>
                </a:cubicBezTo>
                <a:lnTo>
                  <a:pt x="1072" y="9245"/>
                </a:lnTo>
                <a:cubicBezTo>
                  <a:pt x="1229" y="9245"/>
                  <a:pt x="1355" y="9182"/>
                  <a:pt x="1450" y="9025"/>
                </a:cubicBezTo>
                <a:lnTo>
                  <a:pt x="2332" y="6252"/>
                </a:lnTo>
                <a:cubicBezTo>
                  <a:pt x="2710" y="7166"/>
                  <a:pt x="3592" y="7827"/>
                  <a:pt x="4663" y="7827"/>
                </a:cubicBezTo>
                <a:lnTo>
                  <a:pt x="6837" y="7827"/>
                </a:lnTo>
                <a:lnTo>
                  <a:pt x="6554" y="8552"/>
                </a:lnTo>
                <a:lnTo>
                  <a:pt x="6081" y="8552"/>
                </a:lnTo>
                <a:cubicBezTo>
                  <a:pt x="5892" y="8552"/>
                  <a:pt x="5734" y="8710"/>
                  <a:pt x="5734" y="8899"/>
                </a:cubicBezTo>
                <a:cubicBezTo>
                  <a:pt x="5734" y="9088"/>
                  <a:pt x="5892" y="9245"/>
                  <a:pt x="6081" y="9245"/>
                </a:cubicBezTo>
                <a:lnTo>
                  <a:pt x="6806" y="9245"/>
                </a:lnTo>
                <a:cubicBezTo>
                  <a:pt x="6963" y="9245"/>
                  <a:pt x="7058" y="9182"/>
                  <a:pt x="7121" y="9025"/>
                </a:cubicBezTo>
                <a:lnTo>
                  <a:pt x="7593" y="7796"/>
                </a:lnTo>
                <a:lnTo>
                  <a:pt x="8853" y="7796"/>
                </a:lnTo>
                <a:lnTo>
                  <a:pt x="9326" y="9025"/>
                </a:lnTo>
                <a:cubicBezTo>
                  <a:pt x="9358" y="9151"/>
                  <a:pt x="9515" y="9245"/>
                  <a:pt x="9641" y="9245"/>
                </a:cubicBezTo>
                <a:lnTo>
                  <a:pt x="10334" y="9245"/>
                </a:lnTo>
                <a:cubicBezTo>
                  <a:pt x="10523" y="9245"/>
                  <a:pt x="10681" y="9088"/>
                  <a:pt x="10681" y="8899"/>
                </a:cubicBezTo>
                <a:cubicBezTo>
                  <a:pt x="10681" y="8710"/>
                  <a:pt x="10523" y="8552"/>
                  <a:pt x="10334" y="8552"/>
                </a:cubicBezTo>
                <a:lnTo>
                  <a:pt x="9862" y="8552"/>
                </a:lnTo>
                <a:lnTo>
                  <a:pt x="9578" y="7827"/>
                </a:lnTo>
                <a:lnTo>
                  <a:pt x="9641" y="7827"/>
                </a:lnTo>
                <a:cubicBezTo>
                  <a:pt x="10208" y="7827"/>
                  <a:pt x="10744" y="7512"/>
                  <a:pt x="10964" y="7008"/>
                </a:cubicBezTo>
                <a:lnTo>
                  <a:pt x="11941" y="5055"/>
                </a:lnTo>
                <a:cubicBezTo>
                  <a:pt x="12067" y="4835"/>
                  <a:pt x="12098" y="4614"/>
                  <a:pt x="12098" y="4362"/>
                </a:cubicBezTo>
                <a:cubicBezTo>
                  <a:pt x="12193" y="4362"/>
                  <a:pt x="12193" y="4330"/>
                  <a:pt x="12193" y="4330"/>
                </a:cubicBezTo>
                <a:cubicBezTo>
                  <a:pt x="12130" y="3543"/>
                  <a:pt x="11468" y="2881"/>
                  <a:pt x="10681" y="2881"/>
                </a:cubicBezTo>
                <a:lnTo>
                  <a:pt x="10082" y="2881"/>
                </a:lnTo>
                <a:cubicBezTo>
                  <a:pt x="10240" y="2062"/>
                  <a:pt x="10996" y="1463"/>
                  <a:pt x="11815" y="1463"/>
                </a:cubicBezTo>
                <a:cubicBezTo>
                  <a:pt x="12035" y="1463"/>
                  <a:pt x="12193" y="1306"/>
                  <a:pt x="12193" y="1117"/>
                </a:cubicBezTo>
                <a:cubicBezTo>
                  <a:pt x="12193" y="896"/>
                  <a:pt x="12035" y="739"/>
                  <a:pt x="11815" y="739"/>
                </a:cubicBezTo>
                <a:cubicBezTo>
                  <a:pt x="10555" y="739"/>
                  <a:pt x="9547" y="1684"/>
                  <a:pt x="9358" y="2881"/>
                </a:cubicBezTo>
                <a:lnTo>
                  <a:pt x="5829" y="2881"/>
                </a:lnTo>
                <a:lnTo>
                  <a:pt x="4222" y="203"/>
                </a:lnTo>
                <a:lnTo>
                  <a:pt x="4222" y="172"/>
                </a:lnTo>
                <a:cubicBezTo>
                  <a:pt x="4150" y="57"/>
                  <a:pt x="4039" y="1"/>
                  <a:pt x="39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30" name="Google Shape;7830;p76"/>
          <p:cNvGrpSpPr/>
          <p:nvPr/>
        </p:nvGrpSpPr>
        <p:grpSpPr>
          <a:xfrm>
            <a:off x="2690037" y="3802008"/>
            <a:ext cx="639977" cy="630235"/>
            <a:chOff x="-20550425" y="2789350"/>
            <a:chExt cx="308750" cy="304050"/>
          </a:xfrm>
        </p:grpSpPr>
        <p:sp>
          <p:nvSpPr>
            <p:cNvPr id="7831" name="Google Shape;7831;p76"/>
            <p:cNvSpPr/>
            <p:nvPr/>
          </p:nvSpPr>
          <p:spPr>
            <a:xfrm>
              <a:off x="-20550425" y="2824800"/>
              <a:ext cx="308750" cy="268600"/>
            </a:xfrm>
            <a:custGeom>
              <a:avLst/>
              <a:gdLst/>
              <a:ahLst/>
              <a:cxnLst/>
              <a:rect l="l" t="t" r="r" b="b"/>
              <a:pathLst>
                <a:path w="12350" h="10744" extrusionOk="0">
                  <a:moveTo>
                    <a:pt x="2962" y="662"/>
                  </a:moveTo>
                  <a:cubicBezTo>
                    <a:pt x="3403" y="662"/>
                    <a:pt x="3718" y="1009"/>
                    <a:pt x="3686" y="1450"/>
                  </a:cubicBezTo>
                  <a:cubicBezTo>
                    <a:pt x="3529" y="1481"/>
                    <a:pt x="3403" y="1576"/>
                    <a:pt x="3277" y="1670"/>
                  </a:cubicBezTo>
                  <a:cubicBezTo>
                    <a:pt x="3119" y="1828"/>
                    <a:pt x="3119" y="2048"/>
                    <a:pt x="3277" y="2206"/>
                  </a:cubicBezTo>
                  <a:cubicBezTo>
                    <a:pt x="3355" y="2285"/>
                    <a:pt x="3442" y="2324"/>
                    <a:pt x="3529" y="2324"/>
                  </a:cubicBezTo>
                  <a:cubicBezTo>
                    <a:pt x="3615" y="2324"/>
                    <a:pt x="3702" y="2285"/>
                    <a:pt x="3781" y="2206"/>
                  </a:cubicBezTo>
                  <a:cubicBezTo>
                    <a:pt x="3844" y="2174"/>
                    <a:pt x="3907" y="2111"/>
                    <a:pt x="3938" y="2111"/>
                  </a:cubicBezTo>
                  <a:lnTo>
                    <a:pt x="4064" y="2111"/>
                  </a:lnTo>
                  <a:cubicBezTo>
                    <a:pt x="4190" y="2111"/>
                    <a:pt x="4316" y="2237"/>
                    <a:pt x="4379" y="2363"/>
                  </a:cubicBezTo>
                  <a:cubicBezTo>
                    <a:pt x="4474" y="2584"/>
                    <a:pt x="4316" y="2836"/>
                    <a:pt x="4064" y="2836"/>
                  </a:cubicBezTo>
                  <a:lnTo>
                    <a:pt x="1953" y="2836"/>
                  </a:lnTo>
                  <a:cubicBezTo>
                    <a:pt x="1544" y="2836"/>
                    <a:pt x="1386" y="2489"/>
                    <a:pt x="1607" y="2237"/>
                  </a:cubicBezTo>
                  <a:cubicBezTo>
                    <a:pt x="1701" y="2174"/>
                    <a:pt x="1764" y="2111"/>
                    <a:pt x="1859" y="2111"/>
                  </a:cubicBezTo>
                  <a:lnTo>
                    <a:pt x="1985" y="2111"/>
                  </a:lnTo>
                  <a:cubicBezTo>
                    <a:pt x="2048" y="2111"/>
                    <a:pt x="2111" y="2174"/>
                    <a:pt x="2142" y="2206"/>
                  </a:cubicBezTo>
                  <a:cubicBezTo>
                    <a:pt x="2221" y="2285"/>
                    <a:pt x="2308" y="2324"/>
                    <a:pt x="2394" y="2324"/>
                  </a:cubicBezTo>
                  <a:cubicBezTo>
                    <a:pt x="2481" y="2324"/>
                    <a:pt x="2568" y="2285"/>
                    <a:pt x="2646" y="2206"/>
                  </a:cubicBezTo>
                  <a:cubicBezTo>
                    <a:pt x="2804" y="2048"/>
                    <a:pt x="2804" y="1828"/>
                    <a:pt x="2646" y="1670"/>
                  </a:cubicBezTo>
                  <a:cubicBezTo>
                    <a:pt x="2520" y="1576"/>
                    <a:pt x="2426" y="1481"/>
                    <a:pt x="2268" y="1450"/>
                  </a:cubicBezTo>
                  <a:lnTo>
                    <a:pt x="2268" y="1387"/>
                  </a:lnTo>
                  <a:cubicBezTo>
                    <a:pt x="2268" y="977"/>
                    <a:pt x="2583" y="662"/>
                    <a:pt x="2962" y="662"/>
                  </a:cubicBezTo>
                  <a:close/>
                  <a:moveTo>
                    <a:pt x="5009" y="2899"/>
                  </a:moveTo>
                  <a:cubicBezTo>
                    <a:pt x="5198" y="2994"/>
                    <a:pt x="5324" y="3120"/>
                    <a:pt x="5387" y="3309"/>
                  </a:cubicBezTo>
                  <a:lnTo>
                    <a:pt x="6553" y="5860"/>
                  </a:lnTo>
                  <a:lnTo>
                    <a:pt x="6112" y="6302"/>
                  </a:lnTo>
                  <a:lnTo>
                    <a:pt x="4915" y="5104"/>
                  </a:lnTo>
                  <a:cubicBezTo>
                    <a:pt x="4836" y="5026"/>
                    <a:pt x="4749" y="4986"/>
                    <a:pt x="4663" y="4986"/>
                  </a:cubicBezTo>
                  <a:cubicBezTo>
                    <a:pt x="4576" y="4986"/>
                    <a:pt x="4490" y="5026"/>
                    <a:pt x="4411" y="5104"/>
                  </a:cubicBezTo>
                  <a:lnTo>
                    <a:pt x="3245" y="6302"/>
                  </a:lnTo>
                  <a:lnTo>
                    <a:pt x="2804" y="5860"/>
                  </a:lnTo>
                  <a:lnTo>
                    <a:pt x="3812" y="3592"/>
                  </a:lnTo>
                  <a:cubicBezTo>
                    <a:pt x="4033" y="3592"/>
                    <a:pt x="4411" y="3592"/>
                    <a:pt x="4757" y="3277"/>
                  </a:cubicBezTo>
                  <a:cubicBezTo>
                    <a:pt x="4883" y="3151"/>
                    <a:pt x="4978" y="3025"/>
                    <a:pt x="5009" y="2899"/>
                  </a:cubicBezTo>
                  <a:close/>
                  <a:moveTo>
                    <a:pt x="4694" y="5829"/>
                  </a:moveTo>
                  <a:lnTo>
                    <a:pt x="5860" y="6995"/>
                  </a:lnTo>
                  <a:cubicBezTo>
                    <a:pt x="5955" y="7073"/>
                    <a:pt x="6049" y="7113"/>
                    <a:pt x="6140" y="7113"/>
                  </a:cubicBezTo>
                  <a:cubicBezTo>
                    <a:pt x="6230" y="7113"/>
                    <a:pt x="6317" y="7073"/>
                    <a:pt x="6396" y="6995"/>
                  </a:cubicBezTo>
                  <a:lnTo>
                    <a:pt x="6868" y="6522"/>
                  </a:lnTo>
                  <a:lnTo>
                    <a:pt x="8443" y="9988"/>
                  </a:lnTo>
                  <a:lnTo>
                    <a:pt x="945" y="9988"/>
                  </a:lnTo>
                  <a:lnTo>
                    <a:pt x="2520" y="6522"/>
                  </a:lnTo>
                  <a:lnTo>
                    <a:pt x="2993" y="6995"/>
                  </a:lnTo>
                  <a:cubicBezTo>
                    <a:pt x="3072" y="7073"/>
                    <a:pt x="3158" y="7113"/>
                    <a:pt x="3245" y="7113"/>
                  </a:cubicBezTo>
                  <a:cubicBezTo>
                    <a:pt x="3332" y="7113"/>
                    <a:pt x="3418" y="7073"/>
                    <a:pt x="3497" y="6995"/>
                  </a:cubicBezTo>
                  <a:lnTo>
                    <a:pt x="4694" y="5829"/>
                  </a:lnTo>
                  <a:close/>
                  <a:moveTo>
                    <a:pt x="8270" y="4986"/>
                  </a:moveTo>
                  <a:cubicBezTo>
                    <a:pt x="8554" y="4986"/>
                    <a:pt x="8837" y="5120"/>
                    <a:pt x="8979" y="5388"/>
                  </a:cubicBezTo>
                  <a:lnTo>
                    <a:pt x="11310" y="9988"/>
                  </a:lnTo>
                  <a:lnTo>
                    <a:pt x="9231" y="9988"/>
                  </a:lnTo>
                  <a:lnTo>
                    <a:pt x="7341" y="5860"/>
                  </a:lnTo>
                  <a:lnTo>
                    <a:pt x="7561" y="5388"/>
                  </a:lnTo>
                  <a:cubicBezTo>
                    <a:pt x="7703" y="5120"/>
                    <a:pt x="7987" y="4986"/>
                    <a:pt x="8270" y="4986"/>
                  </a:cubicBezTo>
                  <a:close/>
                  <a:moveTo>
                    <a:pt x="2962" y="1"/>
                  </a:moveTo>
                  <a:cubicBezTo>
                    <a:pt x="2174" y="1"/>
                    <a:pt x="1512" y="662"/>
                    <a:pt x="1544" y="1481"/>
                  </a:cubicBezTo>
                  <a:cubicBezTo>
                    <a:pt x="1166" y="1639"/>
                    <a:pt x="851" y="2048"/>
                    <a:pt x="851" y="2521"/>
                  </a:cubicBezTo>
                  <a:cubicBezTo>
                    <a:pt x="851" y="3120"/>
                    <a:pt x="1323" y="3592"/>
                    <a:pt x="1890" y="3592"/>
                  </a:cubicBezTo>
                  <a:lnTo>
                    <a:pt x="3151" y="3592"/>
                  </a:lnTo>
                  <a:lnTo>
                    <a:pt x="126" y="10240"/>
                  </a:lnTo>
                  <a:cubicBezTo>
                    <a:pt x="0" y="10460"/>
                    <a:pt x="189" y="10744"/>
                    <a:pt x="441" y="10744"/>
                  </a:cubicBezTo>
                  <a:lnTo>
                    <a:pt x="11909" y="10744"/>
                  </a:lnTo>
                  <a:cubicBezTo>
                    <a:pt x="12161" y="10744"/>
                    <a:pt x="12350" y="10460"/>
                    <a:pt x="12224" y="10240"/>
                  </a:cubicBezTo>
                  <a:lnTo>
                    <a:pt x="9609" y="5073"/>
                  </a:lnTo>
                  <a:cubicBezTo>
                    <a:pt x="9339" y="4533"/>
                    <a:pt x="8814" y="4265"/>
                    <a:pt x="8290" y="4265"/>
                  </a:cubicBezTo>
                  <a:cubicBezTo>
                    <a:pt x="7774" y="4265"/>
                    <a:pt x="7260" y="4525"/>
                    <a:pt x="6994" y="5041"/>
                  </a:cubicBezTo>
                  <a:lnTo>
                    <a:pt x="6081" y="2994"/>
                  </a:lnTo>
                  <a:cubicBezTo>
                    <a:pt x="5860" y="2552"/>
                    <a:pt x="5482" y="2237"/>
                    <a:pt x="5041" y="2174"/>
                  </a:cubicBezTo>
                  <a:cubicBezTo>
                    <a:pt x="5009" y="2017"/>
                    <a:pt x="4883" y="1859"/>
                    <a:pt x="4789" y="1733"/>
                  </a:cubicBezTo>
                  <a:cubicBezTo>
                    <a:pt x="4663" y="1607"/>
                    <a:pt x="4537" y="1544"/>
                    <a:pt x="4379" y="1481"/>
                  </a:cubicBezTo>
                  <a:cubicBezTo>
                    <a:pt x="4411" y="662"/>
                    <a:pt x="3781" y="1"/>
                    <a:pt x="296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2" name="Google Shape;7832;p76"/>
            <p:cNvSpPr/>
            <p:nvPr/>
          </p:nvSpPr>
          <p:spPr>
            <a:xfrm>
              <a:off x="-20388175" y="2789350"/>
              <a:ext cx="144150" cy="106350"/>
            </a:xfrm>
            <a:custGeom>
              <a:avLst/>
              <a:gdLst/>
              <a:ahLst/>
              <a:cxnLst/>
              <a:rect l="l" t="t" r="r" b="b"/>
              <a:pathLst>
                <a:path w="5766" h="4254" extrusionOk="0">
                  <a:moveTo>
                    <a:pt x="3938" y="662"/>
                  </a:moveTo>
                  <a:cubicBezTo>
                    <a:pt x="4537" y="662"/>
                    <a:pt x="5009" y="1135"/>
                    <a:pt x="5009" y="1734"/>
                  </a:cubicBezTo>
                  <a:cubicBezTo>
                    <a:pt x="5009" y="2238"/>
                    <a:pt x="4694" y="2647"/>
                    <a:pt x="4222" y="2742"/>
                  </a:cubicBezTo>
                  <a:cubicBezTo>
                    <a:pt x="4190" y="2647"/>
                    <a:pt x="4096" y="2490"/>
                    <a:pt x="4001" y="2395"/>
                  </a:cubicBezTo>
                  <a:cubicBezTo>
                    <a:pt x="3875" y="2269"/>
                    <a:pt x="3749" y="2206"/>
                    <a:pt x="3592" y="2175"/>
                  </a:cubicBezTo>
                  <a:lnTo>
                    <a:pt x="3592" y="2080"/>
                  </a:lnTo>
                  <a:cubicBezTo>
                    <a:pt x="3592" y="1639"/>
                    <a:pt x="3403" y="1293"/>
                    <a:pt x="3119" y="1009"/>
                  </a:cubicBezTo>
                  <a:cubicBezTo>
                    <a:pt x="3371" y="820"/>
                    <a:pt x="3623" y="662"/>
                    <a:pt x="3938" y="662"/>
                  </a:cubicBezTo>
                  <a:close/>
                  <a:moveTo>
                    <a:pt x="2174" y="1387"/>
                  </a:moveTo>
                  <a:cubicBezTo>
                    <a:pt x="2584" y="1387"/>
                    <a:pt x="2899" y="1702"/>
                    <a:pt x="2899" y="2080"/>
                  </a:cubicBezTo>
                  <a:lnTo>
                    <a:pt x="2899" y="2175"/>
                  </a:lnTo>
                  <a:cubicBezTo>
                    <a:pt x="2741" y="2206"/>
                    <a:pt x="2615" y="2269"/>
                    <a:pt x="2489" y="2395"/>
                  </a:cubicBezTo>
                  <a:cubicBezTo>
                    <a:pt x="2331" y="2553"/>
                    <a:pt x="2331" y="2742"/>
                    <a:pt x="2489" y="2899"/>
                  </a:cubicBezTo>
                  <a:cubicBezTo>
                    <a:pt x="2568" y="2978"/>
                    <a:pt x="2662" y="3017"/>
                    <a:pt x="2757" y="3017"/>
                  </a:cubicBezTo>
                  <a:cubicBezTo>
                    <a:pt x="2851" y="3017"/>
                    <a:pt x="2946" y="2978"/>
                    <a:pt x="3025" y="2899"/>
                  </a:cubicBezTo>
                  <a:cubicBezTo>
                    <a:pt x="3056" y="2868"/>
                    <a:pt x="3119" y="2836"/>
                    <a:pt x="3182" y="2836"/>
                  </a:cubicBezTo>
                  <a:lnTo>
                    <a:pt x="3277" y="2836"/>
                  </a:lnTo>
                  <a:cubicBezTo>
                    <a:pt x="3371" y="2836"/>
                    <a:pt x="3434" y="2868"/>
                    <a:pt x="3529" y="2962"/>
                  </a:cubicBezTo>
                  <a:cubicBezTo>
                    <a:pt x="3749" y="3183"/>
                    <a:pt x="3592" y="3529"/>
                    <a:pt x="3277" y="3529"/>
                  </a:cubicBezTo>
                  <a:lnTo>
                    <a:pt x="1166" y="3529"/>
                  </a:lnTo>
                  <a:cubicBezTo>
                    <a:pt x="977" y="3529"/>
                    <a:pt x="756" y="3340"/>
                    <a:pt x="819" y="3151"/>
                  </a:cubicBezTo>
                  <a:lnTo>
                    <a:pt x="819" y="3120"/>
                  </a:lnTo>
                  <a:cubicBezTo>
                    <a:pt x="851" y="2962"/>
                    <a:pt x="977" y="2836"/>
                    <a:pt x="1134" y="2805"/>
                  </a:cubicBezTo>
                  <a:lnTo>
                    <a:pt x="1229" y="2805"/>
                  </a:lnTo>
                  <a:cubicBezTo>
                    <a:pt x="1323" y="2805"/>
                    <a:pt x="1355" y="2836"/>
                    <a:pt x="1386" y="2868"/>
                  </a:cubicBezTo>
                  <a:cubicBezTo>
                    <a:pt x="1465" y="2947"/>
                    <a:pt x="1560" y="2986"/>
                    <a:pt x="1654" y="2986"/>
                  </a:cubicBezTo>
                  <a:cubicBezTo>
                    <a:pt x="1749" y="2986"/>
                    <a:pt x="1843" y="2947"/>
                    <a:pt x="1922" y="2868"/>
                  </a:cubicBezTo>
                  <a:cubicBezTo>
                    <a:pt x="2079" y="2710"/>
                    <a:pt x="2079" y="2521"/>
                    <a:pt x="1922" y="2364"/>
                  </a:cubicBezTo>
                  <a:cubicBezTo>
                    <a:pt x="1796" y="2238"/>
                    <a:pt x="1670" y="2175"/>
                    <a:pt x="1512" y="2112"/>
                  </a:cubicBezTo>
                  <a:cubicBezTo>
                    <a:pt x="1418" y="1734"/>
                    <a:pt x="1733" y="1387"/>
                    <a:pt x="2174" y="1387"/>
                  </a:cubicBezTo>
                  <a:close/>
                  <a:moveTo>
                    <a:pt x="4001" y="1"/>
                  </a:moveTo>
                  <a:cubicBezTo>
                    <a:pt x="3403" y="1"/>
                    <a:pt x="2836" y="284"/>
                    <a:pt x="2520" y="757"/>
                  </a:cubicBezTo>
                  <a:cubicBezTo>
                    <a:pt x="2426" y="694"/>
                    <a:pt x="2331" y="694"/>
                    <a:pt x="2205" y="694"/>
                  </a:cubicBezTo>
                  <a:cubicBezTo>
                    <a:pt x="1386" y="694"/>
                    <a:pt x="756" y="1387"/>
                    <a:pt x="788" y="2206"/>
                  </a:cubicBezTo>
                  <a:cubicBezTo>
                    <a:pt x="378" y="2269"/>
                    <a:pt x="63" y="2679"/>
                    <a:pt x="63" y="3120"/>
                  </a:cubicBezTo>
                  <a:cubicBezTo>
                    <a:pt x="0" y="3687"/>
                    <a:pt x="473" y="4222"/>
                    <a:pt x="1071" y="4254"/>
                  </a:cubicBezTo>
                  <a:lnTo>
                    <a:pt x="3434" y="4254"/>
                  </a:lnTo>
                  <a:cubicBezTo>
                    <a:pt x="3844" y="4159"/>
                    <a:pt x="4159" y="3907"/>
                    <a:pt x="4253" y="3529"/>
                  </a:cubicBezTo>
                  <a:cubicBezTo>
                    <a:pt x="5104" y="3372"/>
                    <a:pt x="5766" y="2679"/>
                    <a:pt x="5766" y="1765"/>
                  </a:cubicBezTo>
                  <a:cubicBezTo>
                    <a:pt x="5766" y="788"/>
                    <a:pt x="4978" y="1"/>
                    <a:pt x="40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3" name="Google Shape;7833;p76"/>
          <p:cNvGrpSpPr/>
          <p:nvPr/>
        </p:nvGrpSpPr>
        <p:grpSpPr>
          <a:xfrm>
            <a:off x="6577192" y="2250877"/>
            <a:ext cx="631893" cy="632256"/>
            <a:chOff x="-18666450" y="2059825"/>
            <a:chExt cx="304850" cy="305025"/>
          </a:xfrm>
        </p:grpSpPr>
        <p:sp>
          <p:nvSpPr>
            <p:cNvPr id="7834" name="Google Shape;7834;p76"/>
            <p:cNvSpPr/>
            <p:nvPr/>
          </p:nvSpPr>
          <p:spPr>
            <a:xfrm>
              <a:off x="-18471100" y="2202575"/>
              <a:ext cx="18125" cy="70925"/>
            </a:xfrm>
            <a:custGeom>
              <a:avLst/>
              <a:gdLst/>
              <a:ahLst/>
              <a:cxnLst/>
              <a:rect l="l" t="t" r="r" b="b"/>
              <a:pathLst>
                <a:path w="725" h="2837" extrusionOk="0">
                  <a:moveTo>
                    <a:pt x="347" y="1"/>
                  </a:moveTo>
                  <a:cubicBezTo>
                    <a:pt x="158" y="1"/>
                    <a:pt x="0" y="158"/>
                    <a:pt x="0" y="347"/>
                  </a:cubicBezTo>
                  <a:lnTo>
                    <a:pt x="0" y="2490"/>
                  </a:lnTo>
                  <a:cubicBezTo>
                    <a:pt x="0" y="2679"/>
                    <a:pt x="158" y="2836"/>
                    <a:pt x="347" y="2836"/>
                  </a:cubicBezTo>
                  <a:cubicBezTo>
                    <a:pt x="567" y="2836"/>
                    <a:pt x="725" y="2679"/>
                    <a:pt x="725" y="2490"/>
                  </a:cubicBezTo>
                  <a:lnTo>
                    <a:pt x="725" y="347"/>
                  </a:lnTo>
                  <a:cubicBezTo>
                    <a:pt x="725" y="190"/>
                    <a:pt x="56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5" name="Google Shape;7835;p76"/>
            <p:cNvSpPr/>
            <p:nvPr/>
          </p:nvSpPr>
          <p:spPr>
            <a:xfrm>
              <a:off x="-18666450" y="2059825"/>
              <a:ext cx="304850" cy="305025"/>
            </a:xfrm>
            <a:custGeom>
              <a:avLst/>
              <a:gdLst/>
              <a:ahLst/>
              <a:cxnLst/>
              <a:rect l="l" t="t" r="r" b="b"/>
              <a:pathLst>
                <a:path w="12194" h="12201" extrusionOk="0">
                  <a:moveTo>
                    <a:pt x="8539" y="859"/>
                  </a:moveTo>
                  <a:cubicBezTo>
                    <a:pt x="8728" y="1017"/>
                    <a:pt x="8948" y="1300"/>
                    <a:pt x="9106" y="1647"/>
                  </a:cubicBezTo>
                  <a:cubicBezTo>
                    <a:pt x="8759" y="2088"/>
                    <a:pt x="8539" y="2623"/>
                    <a:pt x="8539" y="3253"/>
                  </a:cubicBezTo>
                  <a:lnTo>
                    <a:pt x="8539" y="3505"/>
                  </a:lnTo>
                  <a:cubicBezTo>
                    <a:pt x="8255" y="3222"/>
                    <a:pt x="7814" y="2749"/>
                    <a:pt x="7814" y="2214"/>
                  </a:cubicBezTo>
                  <a:cubicBezTo>
                    <a:pt x="7814" y="1615"/>
                    <a:pt x="8255" y="1111"/>
                    <a:pt x="8539" y="859"/>
                  </a:cubicBezTo>
                  <a:close/>
                  <a:moveTo>
                    <a:pt x="2080" y="2151"/>
                  </a:moveTo>
                  <a:lnTo>
                    <a:pt x="2080" y="2529"/>
                  </a:lnTo>
                  <a:cubicBezTo>
                    <a:pt x="2080" y="3096"/>
                    <a:pt x="1608" y="3568"/>
                    <a:pt x="1009" y="3568"/>
                  </a:cubicBezTo>
                  <a:lnTo>
                    <a:pt x="663" y="3568"/>
                  </a:lnTo>
                  <a:lnTo>
                    <a:pt x="663" y="3222"/>
                  </a:lnTo>
                  <a:cubicBezTo>
                    <a:pt x="663" y="2623"/>
                    <a:pt x="1135" y="2151"/>
                    <a:pt x="1702" y="2151"/>
                  </a:cubicBezTo>
                  <a:close/>
                  <a:moveTo>
                    <a:pt x="11374" y="1458"/>
                  </a:moveTo>
                  <a:lnTo>
                    <a:pt x="11374" y="1804"/>
                  </a:lnTo>
                  <a:cubicBezTo>
                    <a:pt x="11374" y="2749"/>
                    <a:pt x="10650" y="3505"/>
                    <a:pt x="9736" y="3568"/>
                  </a:cubicBezTo>
                  <a:lnTo>
                    <a:pt x="10587" y="2749"/>
                  </a:lnTo>
                  <a:cubicBezTo>
                    <a:pt x="10744" y="2592"/>
                    <a:pt x="10744" y="2403"/>
                    <a:pt x="10587" y="2245"/>
                  </a:cubicBezTo>
                  <a:cubicBezTo>
                    <a:pt x="10508" y="2166"/>
                    <a:pt x="10413" y="2127"/>
                    <a:pt x="10319" y="2127"/>
                  </a:cubicBezTo>
                  <a:cubicBezTo>
                    <a:pt x="10224" y="2127"/>
                    <a:pt x="10130" y="2166"/>
                    <a:pt x="10051" y="2245"/>
                  </a:cubicBezTo>
                  <a:lnTo>
                    <a:pt x="9232" y="3064"/>
                  </a:lnTo>
                  <a:cubicBezTo>
                    <a:pt x="9326" y="2151"/>
                    <a:pt x="10051" y="1458"/>
                    <a:pt x="11028" y="1458"/>
                  </a:cubicBezTo>
                  <a:close/>
                  <a:moveTo>
                    <a:pt x="663" y="4356"/>
                  </a:moveTo>
                  <a:cubicBezTo>
                    <a:pt x="1072" y="4514"/>
                    <a:pt x="1356" y="4923"/>
                    <a:pt x="1356" y="5396"/>
                  </a:cubicBezTo>
                  <a:lnTo>
                    <a:pt x="1356" y="6089"/>
                  </a:lnTo>
                  <a:cubicBezTo>
                    <a:pt x="1356" y="7097"/>
                    <a:pt x="2143" y="7885"/>
                    <a:pt x="3120" y="7885"/>
                  </a:cubicBezTo>
                  <a:lnTo>
                    <a:pt x="4191" y="7885"/>
                  </a:lnTo>
                  <a:cubicBezTo>
                    <a:pt x="4601" y="7885"/>
                    <a:pt x="4916" y="8200"/>
                    <a:pt x="4916" y="8578"/>
                  </a:cubicBezTo>
                  <a:cubicBezTo>
                    <a:pt x="4916" y="8987"/>
                    <a:pt x="4601" y="9302"/>
                    <a:pt x="4191" y="9302"/>
                  </a:cubicBezTo>
                  <a:lnTo>
                    <a:pt x="3845" y="9302"/>
                  </a:lnTo>
                  <a:cubicBezTo>
                    <a:pt x="2080" y="9302"/>
                    <a:pt x="663" y="7822"/>
                    <a:pt x="663" y="6089"/>
                  </a:cubicBezTo>
                  <a:lnTo>
                    <a:pt x="663" y="4356"/>
                  </a:lnTo>
                  <a:close/>
                  <a:moveTo>
                    <a:pt x="9169" y="4293"/>
                  </a:moveTo>
                  <a:lnTo>
                    <a:pt x="9169" y="6057"/>
                  </a:lnTo>
                  <a:cubicBezTo>
                    <a:pt x="9169" y="6273"/>
                    <a:pt x="9334" y="6416"/>
                    <a:pt x="9510" y="6416"/>
                  </a:cubicBezTo>
                  <a:cubicBezTo>
                    <a:pt x="9564" y="6416"/>
                    <a:pt x="9620" y="6402"/>
                    <a:pt x="9673" y="6372"/>
                  </a:cubicBezTo>
                  <a:lnTo>
                    <a:pt x="10587" y="5900"/>
                  </a:lnTo>
                  <a:lnTo>
                    <a:pt x="10587" y="6656"/>
                  </a:lnTo>
                  <a:lnTo>
                    <a:pt x="10650" y="6656"/>
                  </a:lnTo>
                  <a:lnTo>
                    <a:pt x="9358" y="7948"/>
                  </a:lnTo>
                  <a:cubicBezTo>
                    <a:pt x="9263" y="8042"/>
                    <a:pt x="9232" y="8137"/>
                    <a:pt x="9232" y="8231"/>
                  </a:cubicBezTo>
                  <a:cubicBezTo>
                    <a:pt x="9358" y="9460"/>
                    <a:pt x="9862" y="10626"/>
                    <a:pt x="10744" y="11445"/>
                  </a:cubicBezTo>
                  <a:lnTo>
                    <a:pt x="7783" y="11445"/>
                  </a:lnTo>
                  <a:lnTo>
                    <a:pt x="7783" y="9649"/>
                  </a:lnTo>
                  <a:cubicBezTo>
                    <a:pt x="7783" y="9460"/>
                    <a:pt x="7625" y="9302"/>
                    <a:pt x="7436" y="9302"/>
                  </a:cubicBezTo>
                  <a:cubicBezTo>
                    <a:pt x="7216" y="9302"/>
                    <a:pt x="7058" y="9460"/>
                    <a:pt x="7058" y="9649"/>
                  </a:cubicBezTo>
                  <a:lnTo>
                    <a:pt x="7058" y="11445"/>
                  </a:lnTo>
                  <a:lnTo>
                    <a:pt x="4853" y="11445"/>
                  </a:lnTo>
                  <a:lnTo>
                    <a:pt x="4853" y="11098"/>
                  </a:lnTo>
                  <a:cubicBezTo>
                    <a:pt x="4853" y="10909"/>
                    <a:pt x="4695" y="10752"/>
                    <a:pt x="4506" y="10752"/>
                  </a:cubicBezTo>
                  <a:cubicBezTo>
                    <a:pt x="4317" y="10752"/>
                    <a:pt x="4160" y="10909"/>
                    <a:pt x="4160" y="11098"/>
                  </a:cubicBezTo>
                  <a:lnTo>
                    <a:pt x="4160" y="11445"/>
                  </a:lnTo>
                  <a:lnTo>
                    <a:pt x="1923" y="11445"/>
                  </a:lnTo>
                  <a:cubicBezTo>
                    <a:pt x="2332" y="11035"/>
                    <a:pt x="2710" y="10468"/>
                    <a:pt x="2962" y="9869"/>
                  </a:cubicBezTo>
                  <a:cubicBezTo>
                    <a:pt x="3246" y="9901"/>
                    <a:pt x="3530" y="9964"/>
                    <a:pt x="3813" y="9964"/>
                  </a:cubicBezTo>
                  <a:lnTo>
                    <a:pt x="4160" y="9964"/>
                  </a:lnTo>
                  <a:cubicBezTo>
                    <a:pt x="4947" y="9964"/>
                    <a:pt x="5577" y="9334"/>
                    <a:pt x="5577" y="8546"/>
                  </a:cubicBezTo>
                  <a:cubicBezTo>
                    <a:pt x="5577" y="7759"/>
                    <a:pt x="4947" y="7128"/>
                    <a:pt x="4160" y="7128"/>
                  </a:cubicBezTo>
                  <a:lnTo>
                    <a:pt x="3435" y="7128"/>
                  </a:lnTo>
                  <a:lnTo>
                    <a:pt x="3435" y="4293"/>
                  </a:lnTo>
                  <a:lnTo>
                    <a:pt x="4160" y="4293"/>
                  </a:lnTo>
                  <a:lnTo>
                    <a:pt x="4160" y="5364"/>
                  </a:lnTo>
                  <a:cubicBezTo>
                    <a:pt x="4160" y="5553"/>
                    <a:pt x="4317" y="5711"/>
                    <a:pt x="4506" y="5711"/>
                  </a:cubicBezTo>
                  <a:cubicBezTo>
                    <a:pt x="4695" y="5711"/>
                    <a:pt x="4853" y="5553"/>
                    <a:pt x="4853" y="5364"/>
                  </a:cubicBezTo>
                  <a:lnTo>
                    <a:pt x="4853" y="4293"/>
                  </a:lnTo>
                  <a:lnTo>
                    <a:pt x="6333" y="4293"/>
                  </a:lnTo>
                  <a:lnTo>
                    <a:pt x="6333" y="6782"/>
                  </a:lnTo>
                  <a:cubicBezTo>
                    <a:pt x="6333" y="6971"/>
                    <a:pt x="6491" y="7128"/>
                    <a:pt x="6680" y="7128"/>
                  </a:cubicBezTo>
                  <a:cubicBezTo>
                    <a:pt x="6869" y="7128"/>
                    <a:pt x="7027" y="6971"/>
                    <a:pt x="7027" y="6782"/>
                  </a:cubicBezTo>
                  <a:lnTo>
                    <a:pt x="7027" y="4293"/>
                  </a:lnTo>
                  <a:close/>
                  <a:moveTo>
                    <a:pt x="8539" y="1"/>
                  </a:moveTo>
                  <a:cubicBezTo>
                    <a:pt x="8460" y="1"/>
                    <a:pt x="8381" y="24"/>
                    <a:pt x="8318" y="71"/>
                  </a:cubicBezTo>
                  <a:cubicBezTo>
                    <a:pt x="8287" y="103"/>
                    <a:pt x="7121" y="985"/>
                    <a:pt x="7121" y="2151"/>
                  </a:cubicBezTo>
                  <a:cubicBezTo>
                    <a:pt x="7121" y="2718"/>
                    <a:pt x="7373" y="3222"/>
                    <a:pt x="7657" y="3568"/>
                  </a:cubicBezTo>
                  <a:lnTo>
                    <a:pt x="3151" y="3568"/>
                  </a:lnTo>
                  <a:cubicBezTo>
                    <a:pt x="2931" y="3568"/>
                    <a:pt x="2773" y="3726"/>
                    <a:pt x="2773" y="3946"/>
                  </a:cubicBezTo>
                  <a:lnTo>
                    <a:pt x="2773" y="7097"/>
                  </a:lnTo>
                  <a:cubicBezTo>
                    <a:pt x="2364" y="6939"/>
                    <a:pt x="2080" y="6530"/>
                    <a:pt x="2080" y="6057"/>
                  </a:cubicBezTo>
                  <a:lnTo>
                    <a:pt x="2080" y="5364"/>
                  </a:lnTo>
                  <a:cubicBezTo>
                    <a:pt x="2080" y="4892"/>
                    <a:pt x="1923" y="4482"/>
                    <a:pt x="1639" y="4167"/>
                  </a:cubicBezTo>
                  <a:cubicBezTo>
                    <a:pt x="2301" y="3946"/>
                    <a:pt x="2836" y="3253"/>
                    <a:pt x="2836" y="2529"/>
                  </a:cubicBezTo>
                  <a:lnTo>
                    <a:pt x="2836" y="1804"/>
                  </a:lnTo>
                  <a:cubicBezTo>
                    <a:pt x="2836" y="1615"/>
                    <a:pt x="2647" y="1458"/>
                    <a:pt x="2458" y="1458"/>
                  </a:cubicBezTo>
                  <a:lnTo>
                    <a:pt x="1765" y="1458"/>
                  </a:lnTo>
                  <a:cubicBezTo>
                    <a:pt x="789" y="1458"/>
                    <a:pt x="1" y="2245"/>
                    <a:pt x="1" y="3222"/>
                  </a:cubicBezTo>
                  <a:lnTo>
                    <a:pt x="1" y="3946"/>
                  </a:lnTo>
                  <a:lnTo>
                    <a:pt x="1" y="6057"/>
                  </a:lnTo>
                  <a:cubicBezTo>
                    <a:pt x="1" y="7664"/>
                    <a:pt x="978" y="9082"/>
                    <a:pt x="2395" y="9680"/>
                  </a:cubicBezTo>
                  <a:cubicBezTo>
                    <a:pt x="2017" y="10436"/>
                    <a:pt x="1482" y="11067"/>
                    <a:pt x="852" y="11539"/>
                  </a:cubicBezTo>
                  <a:cubicBezTo>
                    <a:pt x="568" y="11728"/>
                    <a:pt x="694" y="12201"/>
                    <a:pt x="1041" y="12201"/>
                  </a:cubicBezTo>
                  <a:lnTo>
                    <a:pt x="11784" y="12201"/>
                  </a:lnTo>
                  <a:cubicBezTo>
                    <a:pt x="11941" y="12201"/>
                    <a:pt x="12099" y="12075"/>
                    <a:pt x="12162" y="11949"/>
                  </a:cubicBezTo>
                  <a:cubicBezTo>
                    <a:pt x="12193" y="11791"/>
                    <a:pt x="12162" y="11634"/>
                    <a:pt x="12004" y="11571"/>
                  </a:cubicBezTo>
                  <a:cubicBezTo>
                    <a:pt x="10933" y="10846"/>
                    <a:pt x="10209" y="9680"/>
                    <a:pt x="10051" y="8389"/>
                  </a:cubicBezTo>
                  <a:lnTo>
                    <a:pt x="11374" y="7065"/>
                  </a:lnTo>
                  <a:cubicBezTo>
                    <a:pt x="11437" y="7002"/>
                    <a:pt x="11469" y="6908"/>
                    <a:pt x="11469" y="6845"/>
                  </a:cubicBezTo>
                  <a:lnTo>
                    <a:pt x="11469" y="5427"/>
                  </a:lnTo>
                  <a:cubicBezTo>
                    <a:pt x="11469" y="5301"/>
                    <a:pt x="11406" y="5175"/>
                    <a:pt x="11311" y="5112"/>
                  </a:cubicBezTo>
                  <a:cubicBezTo>
                    <a:pt x="11264" y="5065"/>
                    <a:pt x="11209" y="5041"/>
                    <a:pt x="11150" y="5041"/>
                  </a:cubicBezTo>
                  <a:cubicBezTo>
                    <a:pt x="11091" y="5041"/>
                    <a:pt x="11028" y="5065"/>
                    <a:pt x="10965" y="5112"/>
                  </a:cubicBezTo>
                  <a:lnTo>
                    <a:pt x="10051" y="5585"/>
                  </a:lnTo>
                  <a:lnTo>
                    <a:pt x="10051" y="4356"/>
                  </a:lnTo>
                  <a:cubicBezTo>
                    <a:pt x="11154" y="4104"/>
                    <a:pt x="12099" y="3064"/>
                    <a:pt x="12099" y="1804"/>
                  </a:cubicBezTo>
                  <a:lnTo>
                    <a:pt x="12099" y="1111"/>
                  </a:lnTo>
                  <a:cubicBezTo>
                    <a:pt x="12099" y="891"/>
                    <a:pt x="11941" y="733"/>
                    <a:pt x="11752" y="733"/>
                  </a:cubicBezTo>
                  <a:lnTo>
                    <a:pt x="11059" y="733"/>
                  </a:lnTo>
                  <a:cubicBezTo>
                    <a:pt x="10524" y="733"/>
                    <a:pt x="10051" y="891"/>
                    <a:pt x="9673" y="1143"/>
                  </a:cubicBezTo>
                  <a:cubicBezTo>
                    <a:pt x="9326" y="512"/>
                    <a:pt x="8759" y="103"/>
                    <a:pt x="8759" y="71"/>
                  </a:cubicBezTo>
                  <a:cubicBezTo>
                    <a:pt x="8696" y="24"/>
                    <a:pt x="8618" y="1"/>
                    <a:pt x="85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6" name="Google Shape;7836;p76"/>
          <p:cNvGrpSpPr/>
          <p:nvPr/>
        </p:nvGrpSpPr>
        <p:grpSpPr>
          <a:xfrm>
            <a:off x="6576390" y="3034112"/>
            <a:ext cx="633500" cy="628576"/>
            <a:chOff x="-18668025" y="2435725"/>
            <a:chExt cx="305625" cy="303250"/>
          </a:xfrm>
        </p:grpSpPr>
        <p:sp>
          <p:nvSpPr>
            <p:cNvPr id="7837" name="Google Shape;7837;p76"/>
            <p:cNvSpPr/>
            <p:nvPr/>
          </p:nvSpPr>
          <p:spPr>
            <a:xfrm>
              <a:off x="-18668025" y="2435725"/>
              <a:ext cx="305625" cy="303250"/>
            </a:xfrm>
            <a:custGeom>
              <a:avLst/>
              <a:gdLst/>
              <a:ahLst/>
              <a:cxnLst/>
              <a:rect l="l" t="t" r="r" b="b"/>
              <a:pathLst>
                <a:path w="12225" h="12130" extrusionOk="0">
                  <a:moveTo>
                    <a:pt x="2143" y="662"/>
                  </a:moveTo>
                  <a:cubicBezTo>
                    <a:pt x="2395" y="662"/>
                    <a:pt x="2679" y="756"/>
                    <a:pt x="2931" y="914"/>
                  </a:cubicBezTo>
                  <a:cubicBezTo>
                    <a:pt x="2679" y="977"/>
                    <a:pt x="2490" y="1103"/>
                    <a:pt x="2301" y="1260"/>
                  </a:cubicBezTo>
                  <a:cubicBezTo>
                    <a:pt x="1734" y="1670"/>
                    <a:pt x="1419" y="2206"/>
                    <a:pt x="1419" y="2804"/>
                  </a:cubicBezTo>
                  <a:lnTo>
                    <a:pt x="1419" y="3308"/>
                  </a:lnTo>
                  <a:cubicBezTo>
                    <a:pt x="978" y="3088"/>
                    <a:pt x="726" y="2647"/>
                    <a:pt x="726" y="2079"/>
                  </a:cubicBezTo>
                  <a:cubicBezTo>
                    <a:pt x="726" y="1292"/>
                    <a:pt x="1356" y="662"/>
                    <a:pt x="2143" y="662"/>
                  </a:cubicBezTo>
                  <a:close/>
                  <a:moveTo>
                    <a:pt x="10020" y="662"/>
                  </a:moveTo>
                  <a:cubicBezTo>
                    <a:pt x="10807" y="662"/>
                    <a:pt x="11437" y="1292"/>
                    <a:pt x="11437" y="2079"/>
                  </a:cubicBezTo>
                  <a:cubicBezTo>
                    <a:pt x="11437" y="2647"/>
                    <a:pt x="11122" y="3119"/>
                    <a:pt x="10681" y="3340"/>
                  </a:cubicBezTo>
                  <a:lnTo>
                    <a:pt x="10681" y="2804"/>
                  </a:lnTo>
                  <a:cubicBezTo>
                    <a:pt x="10681" y="2206"/>
                    <a:pt x="10366" y="1638"/>
                    <a:pt x="9799" y="1260"/>
                  </a:cubicBezTo>
                  <a:cubicBezTo>
                    <a:pt x="9610" y="1134"/>
                    <a:pt x="9421" y="1008"/>
                    <a:pt x="9169" y="945"/>
                  </a:cubicBezTo>
                  <a:cubicBezTo>
                    <a:pt x="9452" y="756"/>
                    <a:pt x="9736" y="662"/>
                    <a:pt x="10020" y="662"/>
                  </a:cubicBezTo>
                  <a:close/>
                  <a:moveTo>
                    <a:pt x="7909" y="1355"/>
                  </a:moveTo>
                  <a:cubicBezTo>
                    <a:pt x="8476" y="1355"/>
                    <a:pt x="9011" y="1512"/>
                    <a:pt x="9484" y="1827"/>
                  </a:cubicBezTo>
                  <a:cubicBezTo>
                    <a:pt x="9893" y="2079"/>
                    <a:pt x="10083" y="2458"/>
                    <a:pt x="10083" y="2804"/>
                  </a:cubicBezTo>
                  <a:lnTo>
                    <a:pt x="10083" y="3434"/>
                  </a:lnTo>
                  <a:cubicBezTo>
                    <a:pt x="10083" y="5072"/>
                    <a:pt x="10587" y="6774"/>
                    <a:pt x="11500" y="8223"/>
                  </a:cubicBezTo>
                  <a:cubicBezTo>
                    <a:pt x="10555" y="10176"/>
                    <a:pt x="8633" y="11436"/>
                    <a:pt x="6491" y="11436"/>
                  </a:cubicBezTo>
                  <a:lnTo>
                    <a:pt x="5640" y="11436"/>
                  </a:lnTo>
                  <a:cubicBezTo>
                    <a:pt x="3561" y="11436"/>
                    <a:pt x="1576" y="10176"/>
                    <a:pt x="757" y="8223"/>
                  </a:cubicBezTo>
                  <a:cubicBezTo>
                    <a:pt x="1671" y="6805"/>
                    <a:pt x="2143" y="5135"/>
                    <a:pt x="2143" y="3434"/>
                  </a:cubicBezTo>
                  <a:lnTo>
                    <a:pt x="2143" y="2804"/>
                  </a:lnTo>
                  <a:cubicBezTo>
                    <a:pt x="2143" y="2458"/>
                    <a:pt x="2332" y="2079"/>
                    <a:pt x="2710" y="1827"/>
                  </a:cubicBezTo>
                  <a:cubicBezTo>
                    <a:pt x="3120" y="1544"/>
                    <a:pt x="3719" y="1355"/>
                    <a:pt x="4286" y="1355"/>
                  </a:cubicBezTo>
                  <a:cubicBezTo>
                    <a:pt x="4884" y="1355"/>
                    <a:pt x="5483" y="1512"/>
                    <a:pt x="5924" y="1827"/>
                  </a:cubicBezTo>
                  <a:cubicBezTo>
                    <a:pt x="5971" y="1859"/>
                    <a:pt x="6034" y="1875"/>
                    <a:pt x="6105" y="1875"/>
                  </a:cubicBezTo>
                  <a:cubicBezTo>
                    <a:pt x="6176" y="1875"/>
                    <a:pt x="6255" y="1859"/>
                    <a:pt x="6333" y="1827"/>
                  </a:cubicBezTo>
                  <a:cubicBezTo>
                    <a:pt x="6743" y="1512"/>
                    <a:pt x="7342" y="1355"/>
                    <a:pt x="7909" y="1355"/>
                  </a:cubicBezTo>
                  <a:close/>
                  <a:moveTo>
                    <a:pt x="2143" y="0"/>
                  </a:moveTo>
                  <a:cubicBezTo>
                    <a:pt x="946" y="0"/>
                    <a:pt x="1" y="945"/>
                    <a:pt x="1" y="2143"/>
                  </a:cubicBezTo>
                  <a:cubicBezTo>
                    <a:pt x="1" y="3025"/>
                    <a:pt x="568" y="3812"/>
                    <a:pt x="1419" y="4127"/>
                  </a:cubicBezTo>
                  <a:cubicBezTo>
                    <a:pt x="1293" y="5514"/>
                    <a:pt x="820" y="6900"/>
                    <a:pt x="95" y="8034"/>
                  </a:cubicBezTo>
                  <a:cubicBezTo>
                    <a:pt x="1" y="8128"/>
                    <a:pt x="1" y="8286"/>
                    <a:pt x="32" y="8349"/>
                  </a:cubicBezTo>
                  <a:cubicBezTo>
                    <a:pt x="474" y="9483"/>
                    <a:pt x="1261" y="10428"/>
                    <a:pt x="2301" y="11121"/>
                  </a:cubicBezTo>
                  <a:cubicBezTo>
                    <a:pt x="3309" y="11783"/>
                    <a:pt x="4443" y="12130"/>
                    <a:pt x="5672" y="12130"/>
                  </a:cubicBezTo>
                  <a:lnTo>
                    <a:pt x="6554" y="12130"/>
                  </a:lnTo>
                  <a:cubicBezTo>
                    <a:pt x="7751" y="12130"/>
                    <a:pt x="8948" y="11783"/>
                    <a:pt x="9925" y="11121"/>
                  </a:cubicBezTo>
                  <a:cubicBezTo>
                    <a:pt x="10965" y="10428"/>
                    <a:pt x="11689" y="9483"/>
                    <a:pt x="12162" y="8349"/>
                  </a:cubicBezTo>
                  <a:cubicBezTo>
                    <a:pt x="12225" y="8223"/>
                    <a:pt x="12225" y="8128"/>
                    <a:pt x="12130" y="8034"/>
                  </a:cubicBezTo>
                  <a:cubicBezTo>
                    <a:pt x="11311" y="6868"/>
                    <a:pt x="10839" y="5514"/>
                    <a:pt x="10713" y="4127"/>
                  </a:cubicBezTo>
                  <a:cubicBezTo>
                    <a:pt x="11532" y="3812"/>
                    <a:pt x="12130" y="3025"/>
                    <a:pt x="12130" y="2143"/>
                  </a:cubicBezTo>
                  <a:cubicBezTo>
                    <a:pt x="12130" y="945"/>
                    <a:pt x="11185" y="0"/>
                    <a:pt x="10020" y="0"/>
                  </a:cubicBezTo>
                  <a:cubicBezTo>
                    <a:pt x="9389" y="0"/>
                    <a:pt x="8791" y="284"/>
                    <a:pt x="8381" y="756"/>
                  </a:cubicBezTo>
                  <a:cubicBezTo>
                    <a:pt x="8224" y="725"/>
                    <a:pt x="8035" y="725"/>
                    <a:pt x="7846" y="725"/>
                  </a:cubicBezTo>
                  <a:cubicBezTo>
                    <a:pt x="7184" y="725"/>
                    <a:pt x="6554" y="882"/>
                    <a:pt x="6081" y="1197"/>
                  </a:cubicBezTo>
                  <a:cubicBezTo>
                    <a:pt x="5546" y="851"/>
                    <a:pt x="4916" y="725"/>
                    <a:pt x="4254" y="725"/>
                  </a:cubicBezTo>
                  <a:cubicBezTo>
                    <a:pt x="4097" y="725"/>
                    <a:pt x="3908" y="725"/>
                    <a:pt x="3750" y="756"/>
                  </a:cubicBezTo>
                  <a:cubicBezTo>
                    <a:pt x="3340" y="284"/>
                    <a:pt x="2773" y="0"/>
                    <a:pt x="21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38" name="Google Shape;7838;p76"/>
            <p:cNvSpPr/>
            <p:nvPr/>
          </p:nvSpPr>
          <p:spPr>
            <a:xfrm>
              <a:off x="-18596350" y="2524725"/>
              <a:ext cx="160700" cy="178800"/>
            </a:xfrm>
            <a:custGeom>
              <a:avLst/>
              <a:gdLst/>
              <a:ahLst/>
              <a:cxnLst/>
              <a:rect l="l" t="t" r="r" b="b"/>
              <a:pathLst>
                <a:path w="6428" h="7152" extrusionOk="0">
                  <a:moveTo>
                    <a:pt x="1072" y="693"/>
                  </a:moveTo>
                  <a:cubicBezTo>
                    <a:pt x="1261" y="693"/>
                    <a:pt x="1419" y="851"/>
                    <a:pt x="1419" y="1040"/>
                  </a:cubicBezTo>
                  <a:cubicBezTo>
                    <a:pt x="1419" y="1260"/>
                    <a:pt x="1261" y="1418"/>
                    <a:pt x="1072" y="1418"/>
                  </a:cubicBezTo>
                  <a:cubicBezTo>
                    <a:pt x="883" y="1418"/>
                    <a:pt x="726" y="1260"/>
                    <a:pt x="726" y="1040"/>
                  </a:cubicBezTo>
                  <a:cubicBezTo>
                    <a:pt x="726" y="851"/>
                    <a:pt x="883" y="693"/>
                    <a:pt x="1072" y="693"/>
                  </a:cubicBezTo>
                  <a:close/>
                  <a:moveTo>
                    <a:pt x="5325" y="693"/>
                  </a:moveTo>
                  <a:cubicBezTo>
                    <a:pt x="5514" y="693"/>
                    <a:pt x="5672" y="851"/>
                    <a:pt x="5672" y="1040"/>
                  </a:cubicBezTo>
                  <a:cubicBezTo>
                    <a:pt x="5672" y="1260"/>
                    <a:pt x="5514" y="1418"/>
                    <a:pt x="5325" y="1418"/>
                  </a:cubicBezTo>
                  <a:cubicBezTo>
                    <a:pt x="5136" y="1418"/>
                    <a:pt x="4979" y="1260"/>
                    <a:pt x="4979" y="1040"/>
                  </a:cubicBezTo>
                  <a:cubicBezTo>
                    <a:pt x="4979" y="851"/>
                    <a:pt x="5136" y="693"/>
                    <a:pt x="5325" y="693"/>
                  </a:cubicBezTo>
                  <a:close/>
                  <a:moveTo>
                    <a:pt x="3214" y="3781"/>
                  </a:moveTo>
                  <a:cubicBezTo>
                    <a:pt x="3372" y="3781"/>
                    <a:pt x="3529" y="3875"/>
                    <a:pt x="3561" y="4001"/>
                  </a:cubicBezTo>
                  <a:lnTo>
                    <a:pt x="3214" y="4442"/>
                  </a:lnTo>
                  <a:lnTo>
                    <a:pt x="2836" y="4001"/>
                  </a:lnTo>
                  <a:cubicBezTo>
                    <a:pt x="2899" y="3844"/>
                    <a:pt x="3057" y="3781"/>
                    <a:pt x="3214" y="3781"/>
                  </a:cubicBezTo>
                  <a:close/>
                  <a:moveTo>
                    <a:pt x="3214" y="1449"/>
                  </a:moveTo>
                  <a:cubicBezTo>
                    <a:pt x="3876" y="1449"/>
                    <a:pt x="4475" y="1922"/>
                    <a:pt x="4632" y="2552"/>
                  </a:cubicBezTo>
                  <a:lnTo>
                    <a:pt x="5136" y="4631"/>
                  </a:lnTo>
                  <a:cubicBezTo>
                    <a:pt x="5357" y="5545"/>
                    <a:pt x="4664" y="6459"/>
                    <a:pt x="3718" y="6459"/>
                  </a:cubicBezTo>
                  <a:lnTo>
                    <a:pt x="3561" y="6459"/>
                  </a:lnTo>
                  <a:lnTo>
                    <a:pt x="3561" y="5136"/>
                  </a:lnTo>
                  <a:lnTo>
                    <a:pt x="4191" y="4348"/>
                  </a:lnTo>
                  <a:cubicBezTo>
                    <a:pt x="4223" y="4285"/>
                    <a:pt x="4254" y="4190"/>
                    <a:pt x="4254" y="4127"/>
                  </a:cubicBezTo>
                  <a:cubicBezTo>
                    <a:pt x="4254" y="3529"/>
                    <a:pt x="3781" y="3056"/>
                    <a:pt x="3214" y="3056"/>
                  </a:cubicBezTo>
                  <a:cubicBezTo>
                    <a:pt x="2616" y="3056"/>
                    <a:pt x="2143" y="3529"/>
                    <a:pt x="2143" y="4127"/>
                  </a:cubicBezTo>
                  <a:cubicBezTo>
                    <a:pt x="2143" y="4190"/>
                    <a:pt x="2175" y="4285"/>
                    <a:pt x="2206" y="4348"/>
                  </a:cubicBezTo>
                  <a:lnTo>
                    <a:pt x="2836" y="5136"/>
                  </a:lnTo>
                  <a:lnTo>
                    <a:pt x="2836" y="6459"/>
                  </a:lnTo>
                  <a:lnTo>
                    <a:pt x="2679" y="6459"/>
                  </a:lnTo>
                  <a:cubicBezTo>
                    <a:pt x="1734" y="6459"/>
                    <a:pt x="1041" y="5545"/>
                    <a:pt x="1261" y="4631"/>
                  </a:cubicBezTo>
                  <a:lnTo>
                    <a:pt x="1797" y="2552"/>
                  </a:lnTo>
                  <a:cubicBezTo>
                    <a:pt x="1954" y="1891"/>
                    <a:pt x="2521" y="1449"/>
                    <a:pt x="3214" y="1449"/>
                  </a:cubicBezTo>
                  <a:close/>
                  <a:moveTo>
                    <a:pt x="1072" y="0"/>
                  </a:moveTo>
                  <a:cubicBezTo>
                    <a:pt x="473" y="0"/>
                    <a:pt x="1" y="441"/>
                    <a:pt x="1" y="1040"/>
                  </a:cubicBezTo>
                  <a:cubicBezTo>
                    <a:pt x="1" y="1638"/>
                    <a:pt x="473" y="2111"/>
                    <a:pt x="1072" y="2111"/>
                  </a:cubicBezTo>
                  <a:lnTo>
                    <a:pt x="1167" y="2111"/>
                  </a:lnTo>
                  <a:cubicBezTo>
                    <a:pt x="1104" y="2174"/>
                    <a:pt x="1104" y="2269"/>
                    <a:pt x="1072" y="2332"/>
                  </a:cubicBezTo>
                  <a:lnTo>
                    <a:pt x="568" y="4442"/>
                  </a:lnTo>
                  <a:cubicBezTo>
                    <a:pt x="221" y="5797"/>
                    <a:pt x="1261" y="7152"/>
                    <a:pt x="2679" y="7152"/>
                  </a:cubicBezTo>
                  <a:lnTo>
                    <a:pt x="3718" y="7152"/>
                  </a:lnTo>
                  <a:cubicBezTo>
                    <a:pt x="5136" y="7152"/>
                    <a:pt x="6207" y="5797"/>
                    <a:pt x="5829" y="4442"/>
                  </a:cubicBezTo>
                  <a:lnTo>
                    <a:pt x="5325" y="2332"/>
                  </a:lnTo>
                  <a:cubicBezTo>
                    <a:pt x="5294" y="2269"/>
                    <a:pt x="5294" y="2174"/>
                    <a:pt x="5262" y="2111"/>
                  </a:cubicBezTo>
                  <a:lnTo>
                    <a:pt x="5325" y="2111"/>
                  </a:lnTo>
                  <a:cubicBezTo>
                    <a:pt x="5924" y="2111"/>
                    <a:pt x="6396" y="1638"/>
                    <a:pt x="6396" y="1040"/>
                  </a:cubicBezTo>
                  <a:cubicBezTo>
                    <a:pt x="6428" y="473"/>
                    <a:pt x="5924" y="0"/>
                    <a:pt x="5325" y="0"/>
                  </a:cubicBezTo>
                  <a:cubicBezTo>
                    <a:pt x="4790" y="0"/>
                    <a:pt x="4317" y="410"/>
                    <a:pt x="4254" y="977"/>
                  </a:cubicBezTo>
                  <a:cubicBezTo>
                    <a:pt x="3939" y="788"/>
                    <a:pt x="3592" y="693"/>
                    <a:pt x="3214" y="693"/>
                  </a:cubicBezTo>
                  <a:cubicBezTo>
                    <a:pt x="2805" y="693"/>
                    <a:pt x="2458" y="819"/>
                    <a:pt x="2143" y="977"/>
                  </a:cubicBezTo>
                  <a:cubicBezTo>
                    <a:pt x="2112" y="410"/>
                    <a:pt x="1639" y="0"/>
                    <a:pt x="107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39" name="Google Shape;7839;p76"/>
          <p:cNvGrpSpPr/>
          <p:nvPr/>
        </p:nvGrpSpPr>
        <p:grpSpPr>
          <a:xfrm>
            <a:off x="6575586" y="3801204"/>
            <a:ext cx="635105" cy="631841"/>
            <a:chOff x="-18668800" y="2807475"/>
            <a:chExt cx="306400" cy="304825"/>
          </a:xfrm>
        </p:grpSpPr>
        <p:sp>
          <p:nvSpPr>
            <p:cNvPr id="7840" name="Google Shape;7840;p76"/>
            <p:cNvSpPr/>
            <p:nvPr/>
          </p:nvSpPr>
          <p:spPr>
            <a:xfrm>
              <a:off x="-18632575" y="2951600"/>
              <a:ext cx="18150" cy="35475"/>
            </a:xfrm>
            <a:custGeom>
              <a:avLst/>
              <a:gdLst/>
              <a:ahLst/>
              <a:cxnLst/>
              <a:rect l="l" t="t" r="r" b="b"/>
              <a:pathLst>
                <a:path w="726" h="1419" extrusionOk="0">
                  <a:moveTo>
                    <a:pt x="347" y="1"/>
                  </a:moveTo>
                  <a:cubicBezTo>
                    <a:pt x="158" y="1"/>
                    <a:pt x="1" y="158"/>
                    <a:pt x="1" y="347"/>
                  </a:cubicBezTo>
                  <a:lnTo>
                    <a:pt x="1" y="1072"/>
                  </a:lnTo>
                  <a:cubicBezTo>
                    <a:pt x="1" y="1261"/>
                    <a:pt x="158" y="1419"/>
                    <a:pt x="347" y="1419"/>
                  </a:cubicBezTo>
                  <a:cubicBezTo>
                    <a:pt x="568" y="1419"/>
                    <a:pt x="725" y="1261"/>
                    <a:pt x="725" y="1072"/>
                  </a:cubicBezTo>
                  <a:lnTo>
                    <a:pt x="725" y="347"/>
                  </a:ln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1" name="Google Shape;7841;p76"/>
            <p:cNvSpPr/>
            <p:nvPr/>
          </p:nvSpPr>
          <p:spPr>
            <a:xfrm>
              <a:off x="-18597125" y="2916175"/>
              <a:ext cx="18125" cy="35450"/>
            </a:xfrm>
            <a:custGeom>
              <a:avLst/>
              <a:gdLst/>
              <a:ahLst/>
              <a:cxnLst/>
              <a:rect l="l" t="t" r="r" b="b"/>
              <a:pathLst>
                <a:path w="725" h="1418" extrusionOk="0">
                  <a:moveTo>
                    <a:pt x="347" y="0"/>
                  </a:moveTo>
                  <a:cubicBezTo>
                    <a:pt x="158" y="0"/>
                    <a:pt x="0" y="158"/>
                    <a:pt x="0" y="347"/>
                  </a:cubicBezTo>
                  <a:lnTo>
                    <a:pt x="0" y="1071"/>
                  </a:lnTo>
                  <a:cubicBezTo>
                    <a:pt x="0" y="1260"/>
                    <a:pt x="158" y="1418"/>
                    <a:pt x="347" y="1418"/>
                  </a:cubicBezTo>
                  <a:cubicBezTo>
                    <a:pt x="567" y="1418"/>
                    <a:pt x="725" y="1260"/>
                    <a:pt x="725" y="1071"/>
                  </a:cubicBezTo>
                  <a:lnTo>
                    <a:pt x="725" y="347"/>
                  </a:ln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2" name="Google Shape;7842;p76"/>
            <p:cNvSpPr/>
            <p:nvPr/>
          </p:nvSpPr>
          <p:spPr>
            <a:xfrm>
              <a:off x="-18668800" y="2807475"/>
              <a:ext cx="306400" cy="304825"/>
            </a:xfrm>
            <a:custGeom>
              <a:avLst/>
              <a:gdLst/>
              <a:ahLst/>
              <a:cxnLst/>
              <a:rect l="l" t="t" r="r" b="b"/>
              <a:pathLst>
                <a:path w="12256" h="12193" extrusionOk="0">
                  <a:moveTo>
                    <a:pt x="3970" y="946"/>
                  </a:moveTo>
                  <a:cubicBezTo>
                    <a:pt x="4128" y="1198"/>
                    <a:pt x="4348" y="1513"/>
                    <a:pt x="4348" y="1859"/>
                  </a:cubicBezTo>
                  <a:lnTo>
                    <a:pt x="4348" y="2017"/>
                  </a:lnTo>
                  <a:cubicBezTo>
                    <a:pt x="4299" y="2260"/>
                    <a:pt x="4476" y="2447"/>
                    <a:pt x="4690" y="2447"/>
                  </a:cubicBezTo>
                  <a:cubicBezTo>
                    <a:pt x="4753" y="2447"/>
                    <a:pt x="4819" y="2431"/>
                    <a:pt x="4884" y="2395"/>
                  </a:cubicBezTo>
                  <a:cubicBezTo>
                    <a:pt x="5041" y="2269"/>
                    <a:pt x="5230" y="2237"/>
                    <a:pt x="5451" y="2237"/>
                  </a:cubicBezTo>
                  <a:lnTo>
                    <a:pt x="5766" y="2237"/>
                  </a:lnTo>
                  <a:cubicBezTo>
                    <a:pt x="5608" y="2647"/>
                    <a:pt x="5199" y="2930"/>
                    <a:pt x="4726" y="2930"/>
                  </a:cubicBezTo>
                  <a:lnTo>
                    <a:pt x="3214" y="2930"/>
                  </a:lnTo>
                  <a:cubicBezTo>
                    <a:pt x="2741" y="2930"/>
                    <a:pt x="2363" y="2615"/>
                    <a:pt x="2206" y="2237"/>
                  </a:cubicBezTo>
                  <a:lnTo>
                    <a:pt x="2521" y="2237"/>
                  </a:lnTo>
                  <a:cubicBezTo>
                    <a:pt x="2710" y="2237"/>
                    <a:pt x="2899" y="2269"/>
                    <a:pt x="3056" y="2395"/>
                  </a:cubicBezTo>
                  <a:cubicBezTo>
                    <a:pt x="3117" y="2428"/>
                    <a:pt x="3179" y="2443"/>
                    <a:pt x="3238" y="2443"/>
                  </a:cubicBezTo>
                  <a:cubicBezTo>
                    <a:pt x="3459" y="2443"/>
                    <a:pt x="3648" y="2240"/>
                    <a:pt x="3624" y="2017"/>
                  </a:cubicBezTo>
                  <a:lnTo>
                    <a:pt x="3624" y="1859"/>
                  </a:lnTo>
                  <a:cubicBezTo>
                    <a:pt x="3624" y="1513"/>
                    <a:pt x="3813" y="1198"/>
                    <a:pt x="3970" y="946"/>
                  </a:cubicBezTo>
                  <a:close/>
                  <a:moveTo>
                    <a:pt x="8853" y="3718"/>
                  </a:moveTo>
                  <a:lnTo>
                    <a:pt x="9042" y="3907"/>
                  </a:lnTo>
                  <a:cubicBezTo>
                    <a:pt x="9168" y="4033"/>
                    <a:pt x="9294" y="4222"/>
                    <a:pt x="9326" y="4443"/>
                  </a:cubicBezTo>
                  <a:cubicBezTo>
                    <a:pt x="9382" y="4591"/>
                    <a:pt x="9536" y="4685"/>
                    <a:pt x="9686" y="4685"/>
                  </a:cubicBezTo>
                  <a:cubicBezTo>
                    <a:pt x="9790" y="4685"/>
                    <a:pt x="9892" y="4640"/>
                    <a:pt x="9956" y="4537"/>
                  </a:cubicBezTo>
                  <a:cubicBezTo>
                    <a:pt x="9988" y="4506"/>
                    <a:pt x="10051" y="4474"/>
                    <a:pt x="10051" y="4443"/>
                  </a:cubicBezTo>
                  <a:cubicBezTo>
                    <a:pt x="10271" y="4191"/>
                    <a:pt x="10681" y="4065"/>
                    <a:pt x="10901" y="4033"/>
                  </a:cubicBezTo>
                  <a:lnTo>
                    <a:pt x="10901" y="4033"/>
                  </a:lnTo>
                  <a:cubicBezTo>
                    <a:pt x="10870" y="4317"/>
                    <a:pt x="10775" y="4663"/>
                    <a:pt x="10523" y="4915"/>
                  </a:cubicBezTo>
                  <a:cubicBezTo>
                    <a:pt x="10460" y="4947"/>
                    <a:pt x="10429" y="4947"/>
                    <a:pt x="10397" y="4978"/>
                  </a:cubicBezTo>
                  <a:cubicBezTo>
                    <a:pt x="10145" y="5167"/>
                    <a:pt x="10240" y="5545"/>
                    <a:pt x="10523" y="5608"/>
                  </a:cubicBezTo>
                  <a:cubicBezTo>
                    <a:pt x="10712" y="5640"/>
                    <a:pt x="10870" y="5766"/>
                    <a:pt x="11027" y="5892"/>
                  </a:cubicBezTo>
                  <a:lnTo>
                    <a:pt x="11216" y="6081"/>
                  </a:lnTo>
                  <a:cubicBezTo>
                    <a:pt x="11059" y="6144"/>
                    <a:pt x="10901" y="6207"/>
                    <a:pt x="10744" y="6207"/>
                  </a:cubicBezTo>
                  <a:cubicBezTo>
                    <a:pt x="10460" y="6207"/>
                    <a:pt x="10208" y="6081"/>
                    <a:pt x="9988" y="5892"/>
                  </a:cubicBezTo>
                  <a:lnTo>
                    <a:pt x="8979" y="4852"/>
                  </a:lnTo>
                  <a:cubicBezTo>
                    <a:pt x="8727" y="4632"/>
                    <a:pt x="8664" y="4159"/>
                    <a:pt x="8853" y="3718"/>
                  </a:cubicBezTo>
                  <a:close/>
                  <a:moveTo>
                    <a:pt x="3970" y="3687"/>
                  </a:moveTo>
                  <a:cubicBezTo>
                    <a:pt x="4852" y="3687"/>
                    <a:pt x="5514" y="3750"/>
                    <a:pt x="6018" y="3939"/>
                  </a:cubicBezTo>
                  <a:cubicBezTo>
                    <a:pt x="5640" y="4096"/>
                    <a:pt x="5199" y="4348"/>
                    <a:pt x="4852" y="4726"/>
                  </a:cubicBezTo>
                  <a:cubicBezTo>
                    <a:pt x="4033" y="5577"/>
                    <a:pt x="3340" y="6837"/>
                    <a:pt x="3025" y="8129"/>
                  </a:cubicBezTo>
                  <a:cubicBezTo>
                    <a:pt x="2804" y="9042"/>
                    <a:pt x="2804" y="9830"/>
                    <a:pt x="2993" y="10492"/>
                  </a:cubicBezTo>
                  <a:cubicBezTo>
                    <a:pt x="2426" y="10113"/>
                    <a:pt x="2017" y="9578"/>
                    <a:pt x="1639" y="8948"/>
                  </a:cubicBezTo>
                  <a:cubicBezTo>
                    <a:pt x="1103" y="7971"/>
                    <a:pt x="757" y="6742"/>
                    <a:pt x="757" y="5797"/>
                  </a:cubicBezTo>
                  <a:cubicBezTo>
                    <a:pt x="757" y="4222"/>
                    <a:pt x="1576" y="3687"/>
                    <a:pt x="3970" y="3687"/>
                  </a:cubicBezTo>
                  <a:close/>
                  <a:moveTo>
                    <a:pt x="6672" y="4532"/>
                  </a:moveTo>
                  <a:cubicBezTo>
                    <a:pt x="7416" y="4532"/>
                    <a:pt x="8169" y="5082"/>
                    <a:pt x="9042" y="5955"/>
                  </a:cubicBezTo>
                  <a:cubicBezTo>
                    <a:pt x="10555" y="7467"/>
                    <a:pt x="11059" y="8538"/>
                    <a:pt x="9798" y="9735"/>
                  </a:cubicBezTo>
                  <a:cubicBezTo>
                    <a:pt x="9105" y="10460"/>
                    <a:pt x="7908" y="11090"/>
                    <a:pt x="6774" y="11374"/>
                  </a:cubicBezTo>
                  <a:cubicBezTo>
                    <a:pt x="6350" y="11482"/>
                    <a:pt x="5952" y="11535"/>
                    <a:pt x="5591" y="11535"/>
                  </a:cubicBezTo>
                  <a:cubicBezTo>
                    <a:pt x="4905" y="11535"/>
                    <a:pt x="4352" y="11346"/>
                    <a:pt x="4002" y="10996"/>
                  </a:cubicBezTo>
                  <a:cubicBezTo>
                    <a:pt x="3466" y="10460"/>
                    <a:pt x="3340" y="9452"/>
                    <a:pt x="3655" y="8255"/>
                  </a:cubicBezTo>
                  <a:cubicBezTo>
                    <a:pt x="3939" y="7089"/>
                    <a:pt x="4569" y="5923"/>
                    <a:pt x="5262" y="5230"/>
                  </a:cubicBezTo>
                  <a:cubicBezTo>
                    <a:pt x="5746" y="4746"/>
                    <a:pt x="6207" y="4532"/>
                    <a:pt x="6672" y="4532"/>
                  </a:cubicBezTo>
                  <a:close/>
                  <a:moveTo>
                    <a:pt x="3935" y="0"/>
                  </a:moveTo>
                  <a:cubicBezTo>
                    <a:pt x="3844" y="0"/>
                    <a:pt x="3750" y="32"/>
                    <a:pt x="3687" y="95"/>
                  </a:cubicBezTo>
                  <a:cubicBezTo>
                    <a:pt x="3655" y="126"/>
                    <a:pt x="3025" y="694"/>
                    <a:pt x="2899" y="1481"/>
                  </a:cubicBezTo>
                  <a:cubicBezTo>
                    <a:pt x="2804" y="1418"/>
                    <a:pt x="2647" y="1418"/>
                    <a:pt x="2521" y="1418"/>
                  </a:cubicBezTo>
                  <a:lnTo>
                    <a:pt x="1796" y="1418"/>
                  </a:lnTo>
                  <a:cubicBezTo>
                    <a:pt x="1607" y="1418"/>
                    <a:pt x="1450" y="1576"/>
                    <a:pt x="1450" y="1796"/>
                  </a:cubicBezTo>
                  <a:cubicBezTo>
                    <a:pt x="1450" y="2300"/>
                    <a:pt x="1639" y="2741"/>
                    <a:pt x="1954" y="3056"/>
                  </a:cubicBezTo>
                  <a:cubicBezTo>
                    <a:pt x="694" y="3371"/>
                    <a:pt x="0" y="4222"/>
                    <a:pt x="0" y="5671"/>
                  </a:cubicBezTo>
                  <a:cubicBezTo>
                    <a:pt x="0" y="6774"/>
                    <a:pt x="378" y="8097"/>
                    <a:pt x="1009" y="9200"/>
                  </a:cubicBezTo>
                  <a:cubicBezTo>
                    <a:pt x="1702" y="10397"/>
                    <a:pt x="2552" y="11153"/>
                    <a:pt x="3466" y="11405"/>
                  </a:cubicBezTo>
                  <a:cubicBezTo>
                    <a:pt x="4002" y="11941"/>
                    <a:pt x="4758" y="12193"/>
                    <a:pt x="5545" y="12193"/>
                  </a:cubicBezTo>
                  <a:cubicBezTo>
                    <a:pt x="5986" y="12193"/>
                    <a:pt x="6427" y="12098"/>
                    <a:pt x="6932" y="11972"/>
                  </a:cubicBezTo>
                  <a:cubicBezTo>
                    <a:pt x="8192" y="11657"/>
                    <a:pt x="9483" y="10964"/>
                    <a:pt x="10303" y="10177"/>
                  </a:cubicBezTo>
                  <a:cubicBezTo>
                    <a:pt x="11374" y="9105"/>
                    <a:pt x="11468" y="8034"/>
                    <a:pt x="10838" y="6900"/>
                  </a:cubicBezTo>
                  <a:lnTo>
                    <a:pt x="10838" y="6900"/>
                  </a:lnTo>
                  <a:cubicBezTo>
                    <a:pt x="10921" y="6917"/>
                    <a:pt x="11002" y="6924"/>
                    <a:pt x="11081" y="6924"/>
                  </a:cubicBezTo>
                  <a:cubicBezTo>
                    <a:pt x="11453" y="6924"/>
                    <a:pt x="11787" y="6750"/>
                    <a:pt x="12098" y="6490"/>
                  </a:cubicBezTo>
                  <a:cubicBezTo>
                    <a:pt x="12256" y="6333"/>
                    <a:pt x="12256" y="6112"/>
                    <a:pt x="12098" y="5955"/>
                  </a:cubicBezTo>
                  <a:lnTo>
                    <a:pt x="11563" y="5451"/>
                  </a:lnTo>
                  <a:cubicBezTo>
                    <a:pt x="11500" y="5388"/>
                    <a:pt x="11374" y="5293"/>
                    <a:pt x="11248" y="5230"/>
                  </a:cubicBezTo>
                  <a:cubicBezTo>
                    <a:pt x="11689" y="4537"/>
                    <a:pt x="11657" y="3718"/>
                    <a:pt x="11657" y="3687"/>
                  </a:cubicBezTo>
                  <a:cubicBezTo>
                    <a:pt x="11657" y="3497"/>
                    <a:pt x="11500" y="3371"/>
                    <a:pt x="11311" y="3308"/>
                  </a:cubicBezTo>
                  <a:cubicBezTo>
                    <a:pt x="11303" y="3308"/>
                    <a:pt x="11283" y="3308"/>
                    <a:pt x="11252" y="3308"/>
                  </a:cubicBezTo>
                  <a:cubicBezTo>
                    <a:pt x="11038" y="3308"/>
                    <a:pt x="10318" y="3332"/>
                    <a:pt x="9767" y="3718"/>
                  </a:cubicBezTo>
                  <a:cubicBezTo>
                    <a:pt x="9672" y="3592"/>
                    <a:pt x="9609" y="3529"/>
                    <a:pt x="9515" y="3403"/>
                  </a:cubicBezTo>
                  <a:lnTo>
                    <a:pt x="9011" y="2899"/>
                  </a:lnTo>
                  <a:cubicBezTo>
                    <a:pt x="8932" y="2820"/>
                    <a:pt x="8845" y="2781"/>
                    <a:pt x="8759" y="2781"/>
                  </a:cubicBezTo>
                  <a:cubicBezTo>
                    <a:pt x="8672" y="2781"/>
                    <a:pt x="8586" y="2820"/>
                    <a:pt x="8507" y="2899"/>
                  </a:cubicBezTo>
                  <a:cubicBezTo>
                    <a:pt x="8160" y="3245"/>
                    <a:pt x="8003" y="3718"/>
                    <a:pt x="8003" y="4159"/>
                  </a:cubicBezTo>
                  <a:cubicBezTo>
                    <a:pt x="7751" y="4033"/>
                    <a:pt x="7530" y="3907"/>
                    <a:pt x="7278" y="3844"/>
                  </a:cubicBezTo>
                  <a:cubicBezTo>
                    <a:pt x="7247" y="3844"/>
                    <a:pt x="7215" y="3844"/>
                    <a:pt x="7215" y="3781"/>
                  </a:cubicBezTo>
                  <a:cubicBezTo>
                    <a:pt x="6900" y="3466"/>
                    <a:pt x="6459" y="3214"/>
                    <a:pt x="5860" y="3088"/>
                  </a:cubicBezTo>
                  <a:cubicBezTo>
                    <a:pt x="6207" y="2773"/>
                    <a:pt x="6427" y="2300"/>
                    <a:pt x="6427" y="1796"/>
                  </a:cubicBezTo>
                  <a:cubicBezTo>
                    <a:pt x="6427" y="1576"/>
                    <a:pt x="6270" y="1418"/>
                    <a:pt x="6049" y="1418"/>
                  </a:cubicBezTo>
                  <a:lnTo>
                    <a:pt x="5356" y="1418"/>
                  </a:lnTo>
                  <a:cubicBezTo>
                    <a:pt x="5230" y="1418"/>
                    <a:pt x="5073" y="1418"/>
                    <a:pt x="4947" y="1481"/>
                  </a:cubicBezTo>
                  <a:cubicBezTo>
                    <a:pt x="4789" y="694"/>
                    <a:pt x="4159" y="126"/>
                    <a:pt x="4159" y="95"/>
                  </a:cubicBezTo>
                  <a:cubicBezTo>
                    <a:pt x="4112" y="32"/>
                    <a:pt x="4025" y="0"/>
                    <a:pt x="393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3" name="Google Shape;7843;p76"/>
            <p:cNvSpPr/>
            <p:nvPr/>
          </p:nvSpPr>
          <p:spPr>
            <a:xfrm>
              <a:off x="-18496300" y="2977800"/>
              <a:ext cx="33100" cy="31925"/>
            </a:xfrm>
            <a:custGeom>
              <a:avLst/>
              <a:gdLst/>
              <a:ahLst/>
              <a:cxnLst/>
              <a:rect l="l" t="t" r="r" b="b"/>
              <a:pathLst>
                <a:path w="1324" h="1277" extrusionOk="0">
                  <a:moveTo>
                    <a:pt x="914" y="0"/>
                  </a:moveTo>
                  <a:cubicBezTo>
                    <a:pt x="827" y="0"/>
                    <a:pt x="740" y="40"/>
                    <a:pt x="662" y="119"/>
                  </a:cubicBezTo>
                  <a:lnTo>
                    <a:pt x="158" y="654"/>
                  </a:lnTo>
                  <a:cubicBezTo>
                    <a:pt x="0" y="812"/>
                    <a:pt x="0" y="1001"/>
                    <a:pt x="158" y="1158"/>
                  </a:cubicBezTo>
                  <a:cubicBezTo>
                    <a:pt x="205" y="1237"/>
                    <a:pt x="291" y="1276"/>
                    <a:pt x="386" y="1276"/>
                  </a:cubicBezTo>
                  <a:cubicBezTo>
                    <a:pt x="480" y="1276"/>
                    <a:pt x="583" y="1237"/>
                    <a:pt x="662" y="1158"/>
                  </a:cubicBezTo>
                  <a:lnTo>
                    <a:pt x="1166" y="654"/>
                  </a:lnTo>
                  <a:cubicBezTo>
                    <a:pt x="1323" y="497"/>
                    <a:pt x="1323" y="276"/>
                    <a:pt x="1166" y="119"/>
                  </a:cubicBezTo>
                  <a:cubicBezTo>
                    <a:pt x="1087" y="40"/>
                    <a:pt x="1000" y="0"/>
                    <a:pt x="9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4" name="Google Shape;7844;p76"/>
            <p:cNvSpPr/>
            <p:nvPr/>
          </p:nvSpPr>
          <p:spPr>
            <a:xfrm>
              <a:off x="-18559325" y="3042375"/>
              <a:ext cx="33100" cy="31150"/>
            </a:xfrm>
            <a:custGeom>
              <a:avLst/>
              <a:gdLst/>
              <a:ahLst/>
              <a:cxnLst/>
              <a:rect l="l" t="t" r="r" b="b"/>
              <a:pathLst>
                <a:path w="1324" h="1246" extrusionOk="0">
                  <a:moveTo>
                    <a:pt x="902" y="1"/>
                  </a:moveTo>
                  <a:cubicBezTo>
                    <a:pt x="812" y="1"/>
                    <a:pt x="725" y="40"/>
                    <a:pt x="662" y="119"/>
                  </a:cubicBezTo>
                  <a:lnTo>
                    <a:pt x="158" y="623"/>
                  </a:lnTo>
                  <a:cubicBezTo>
                    <a:pt x="1" y="781"/>
                    <a:pt x="1" y="970"/>
                    <a:pt x="158" y="1127"/>
                  </a:cubicBezTo>
                  <a:cubicBezTo>
                    <a:pt x="237" y="1206"/>
                    <a:pt x="324" y="1245"/>
                    <a:pt x="410" y="1245"/>
                  </a:cubicBezTo>
                  <a:cubicBezTo>
                    <a:pt x="497" y="1245"/>
                    <a:pt x="583" y="1206"/>
                    <a:pt x="662" y="1127"/>
                  </a:cubicBezTo>
                  <a:lnTo>
                    <a:pt x="1166" y="623"/>
                  </a:lnTo>
                  <a:cubicBezTo>
                    <a:pt x="1324" y="465"/>
                    <a:pt x="1324" y="276"/>
                    <a:pt x="1166" y="119"/>
                  </a:cubicBezTo>
                  <a:cubicBezTo>
                    <a:pt x="1088" y="40"/>
                    <a:pt x="993" y="1"/>
                    <a:pt x="90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5" name="Google Shape;7845;p76"/>
            <p:cNvSpPr/>
            <p:nvPr/>
          </p:nvSpPr>
          <p:spPr>
            <a:xfrm>
              <a:off x="-18559325" y="2991175"/>
              <a:ext cx="33100" cy="31150"/>
            </a:xfrm>
            <a:custGeom>
              <a:avLst/>
              <a:gdLst/>
              <a:ahLst/>
              <a:cxnLst/>
              <a:rect l="l" t="t" r="r" b="b"/>
              <a:pathLst>
                <a:path w="1324" h="1246" extrusionOk="0">
                  <a:moveTo>
                    <a:pt x="914" y="1"/>
                  </a:moveTo>
                  <a:cubicBezTo>
                    <a:pt x="828" y="1"/>
                    <a:pt x="741" y="40"/>
                    <a:pt x="662" y="119"/>
                  </a:cubicBezTo>
                  <a:lnTo>
                    <a:pt x="158" y="623"/>
                  </a:lnTo>
                  <a:cubicBezTo>
                    <a:pt x="1" y="781"/>
                    <a:pt x="1" y="970"/>
                    <a:pt x="158" y="1127"/>
                  </a:cubicBezTo>
                  <a:cubicBezTo>
                    <a:pt x="205" y="1206"/>
                    <a:pt x="292" y="1245"/>
                    <a:pt x="387" y="1245"/>
                  </a:cubicBezTo>
                  <a:cubicBezTo>
                    <a:pt x="481" y="1245"/>
                    <a:pt x="583" y="1206"/>
                    <a:pt x="662" y="1127"/>
                  </a:cubicBezTo>
                  <a:lnTo>
                    <a:pt x="1166" y="623"/>
                  </a:lnTo>
                  <a:cubicBezTo>
                    <a:pt x="1324" y="466"/>
                    <a:pt x="1324" y="277"/>
                    <a:pt x="1166" y="119"/>
                  </a:cubicBezTo>
                  <a:cubicBezTo>
                    <a:pt x="1088" y="40"/>
                    <a:pt x="1001" y="1"/>
                    <a:pt x="91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6" name="Google Shape;7846;p76"/>
            <p:cNvSpPr/>
            <p:nvPr/>
          </p:nvSpPr>
          <p:spPr>
            <a:xfrm>
              <a:off x="-18491575" y="3024275"/>
              <a:ext cx="33100" cy="31925"/>
            </a:xfrm>
            <a:custGeom>
              <a:avLst/>
              <a:gdLst/>
              <a:ahLst/>
              <a:cxnLst/>
              <a:rect l="l" t="t" r="r" b="b"/>
              <a:pathLst>
                <a:path w="1324" h="1277" extrusionOk="0">
                  <a:moveTo>
                    <a:pt x="902" y="0"/>
                  </a:moveTo>
                  <a:cubicBezTo>
                    <a:pt x="811" y="0"/>
                    <a:pt x="725" y="40"/>
                    <a:pt x="662" y="118"/>
                  </a:cubicBezTo>
                  <a:lnTo>
                    <a:pt x="158" y="654"/>
                  </a:lnTo>
                  <a:cubicBezTo>
                    <a:pt x="0" y="811"/>
                    <a:pt x="0" y="1000"/>
                    <a:pt x="158" y="1158"/>
                  </a:cubicBezTo>
                  <a:cubicBezTo>
                    <a:pt x="236" y="1237"/>
                    <a:pt x="323" y="1276"/>
                    <a:pt x="410" y="1276"/>
                  </a:cubicBezTo>
                  <a:cubicBezTo>
                    <a:pt x="496" y="1276"/>
                    <a:pt x="583" y="1237"/>
                    <a:pt x="662" y="1158"/>
                  </a:cubicBezTo>
                  <a:lnTo>
                    <a:pt x="1166" y="654"/>
                  </a:lnTo>
                  <a:cubicBezTo>
                    <a:pt x="1323" y="496"/>
                    <a:pt x="1323" y="276"/>
                    <a:pt x="1166" y="118"/>
                  </a:cubicBezTo>
                  <a:cubicBezTo>
                    <a:pt x="1087" y="40"/>
                    <a:pt x="992" y="0"/>
                    <a:pt x="9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7" name="Google Shape;7847;p76"/>
            <p:cNvSpPr/>
            <p:nvPr/>
          </p:nvSpPr>
          <p:spPr>
            <a:xfrm>
              <a:off x="-18522300" y="2928175"/>
              <a:ext cx="32300" cy="31125"/>
            </a:xfrm>
            <a:custGeom>
              <a:avLst/>
              <a:gdLst/>
              <a:ahLst/>
              <a:cxnLst/>
              <a:rect l="l" t="t" r="r" b="b"/>
              <a:pathLst>
                <a:path w="1292" h="1245" extrusionOk="0">
                  <a:moveTo>
                    <a:pt x="930" y="1"/>
                  </a:moveTo>
                  <a:cubicBezTo>
                    <a:pt x="835" y="1"/>
                    <a:pt x="741" y="40"/>
                    <a:pt x="662" y="119"/>
                  </a:cubicBezTo>
                  <a:lnTo>
                    <a:pt x="158" y="623"/>
                  </a:lnTo>
                  <a:cubicBezTo>
                    <a:pt x="0" y="780"/>
                    <a:pt x="0" y="969"/>
                    <a:pt x="158" y="1127"/>
                  </a:cubicBezTo>
                  <a:cubicBezTo>
                    <a:pt x="237" y="1206"/>
                    <a:pt x="331" y="1245"/>
                    <a:pt x="422" y="1245"/>
                  </a:cubicBezTo>
                  <a:cubicBezTo>
                    <a:pt x="512" y="1245"/>
                    <a:pt x="599" y="1206"/>
                    <a:pt x="662" y="1127"/>
                  </a:cubicBezTo>
                  <a:lnTo>
                    <a:pt x="1198" y="623"/>
                  </a:lnTo>
                  <a:cubicBezTo>
                    <a:pt x="1292" y="497"/>
                    <a:pt x="1292" y="276"/>
                    <a:pt x="1198" y="119"/>
                  </a:cubicBezTo>
                  <a:cubicBezTo>
                    <a:pt x="1119" y="40"/>
                    <a:pt x="1024" y="1"/>
                    <a:pt x="9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48" name="Google Shape;7848;p76"/>
            <p:cNvSpPr/>
            <p:nvPr/>
          </p:nvSpPr>
          <p:spPr>
            <a:xfrm>
              <a:off x="-18446700" y="3004375"/>
              <a:ext cx="33900" cy="31325"/>
            </a:xfrm>
            <a:custGeom>
              <a:avLst/>
              <a:gdLst/>
              <a:ahLst/>
              <a:cxnLst/>
              <a:rect l="l" t="t" r="r" b="b"/>
              <a:pathLst>
                <a:path w="1356" h="1253" extrusionOk="0">
                  <a:moveTo>
                    <a:pt x="922" y="1"/>
                  </a:moveTo>
                  <a:cubicBezTo>
                    <a:pt x="828" y="1"/>
                    <a:pt x="741" y="32"/>
                    <a:pt x="694" y="95"/>
                  </a:cubicBezTo>
                  <a:lnTo>
                    <a:pt x="158" y="599"/>
                  </a:lnTo>
                  <a:cubicBezTo>
                    <a:pt x="1" y="757"/>
                    <a:pt x="1" y="977"/>
                    <a:pt x="158" y="1135"/>
                  </a:cubicBezTo>
                  <a:cubicBezTo>
                    <a:pt x="253" y="1214"/>
                    <a:pt x="347" y="1253"/>
                    <a:pt x="438" y="1253"/>
                  </a:cubicBezTo>
                  <a:cubicBezTo>
                    <a:pt x="529" y="1253"/>
                    <a:pt x="615" y="1214"/>
                    <a:pt x="694" y="1135"/>
                  </a:cubicBezTo>
                  <a:lnTo>
                    <a:pt x="1198" y="599"/>
                  </a:lnTo>
                  <a:cubicBezTo>
                    <a:pt x="1356" y="442"/>
                    <a:pt x="1356" y="253"/>
                    <a:pt x="1198" y="95"/>
                  </a:cubicBezTo>
                  <a:cubicBezTo>
                    <a:pt x="1119" y="32"/>
                    <a:pt x="1017" y="1"/>
                    <a:pt x="9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49" name="Google Shape;7849;p76"/>
          <p:cNvGrpSpPr/>
          <p:nvPr/>
        </p:nvGrpSpPr>
        <p:grpSpPr>
          <a:xfrm>
            <a:off x="10514211" y="2250258"/>
            <a:ext cx="555148" cy="633500"/>
            <a:chOff x="-16798200" y="2050575"/>
            <a:chExt cx="267825" cy="305625"/>
          </a:xfrm>
        </p:grpSpPr>
        <p:sp>
          <p:nvSpPr>
            <p:cNvPr id="7850" name="Google Shape;7850;p76"/>
            <p:cNvSpPr/>
            <p:nvPr/>
          </p:nvSpPr>
          <p:spPr>
            <a:xfrm>
              <a:off x="-16798200" y="2050575"/>
              <a:ext cx="267825" cy="305625"/>
            </a:xfrm>
            <a:custGeom>
              <a:avLst/>
              <a:gdLst/>
              <a:ahLst/>
              <a:cxnLst/>
              <a:rect l="l" t="t" r="r" b="b"/>
              <a:pathLst>
                <a:path w="10713" h="12225" extrusionOk="0">
                  <a:moveTo>
                    <a:pt x="5388" y="725"/>
                  </a:moveTo>
                  <a:cubicBezTo>
                    <a:pt x="7940" y="725"/>
                    <a:pt x="10051" y="2804"/>
                    <a:pt x="10051" y="5356"/>
                  </a:cubicBezTo>
                  <a:cubicBezTo>
                    <a:pt x="9988" y="5545"/>
                    <a:pt x="9830" y="5734"/>
                    <a:pt x="9641" y="5734"/>
                  </a:cubicBezTo>
                  <a:lnTo>
                    <a:pt x="1103" y="5734"/>
                  </a:lnTo>
                  <a:cubicBezTo>
                    <a:pt x="914" y="5734"/>
                    <a:pt x="757" y="5545"/>
                    <a:pt x="757" y="5356"/>
                  </a:cubicBezTo>
                  <a:cubicBezTo>
                    <a:pt x="757" y="2804"/>
                    <a:pt x="2836" y="725"/>
                    <a:pt x="5388" y="725"/>
                  </a:cubicBezTo>
                  <a:close/>
                  <a:moveTo>
                    <a:pt x="6050" y="6459"/>
                  </a:moveTo>
                  <a:cubicBezTo>
                    <a:pt x="6113" y="7561"/>
                    <a:pt x="6428" y="8664"/>
                    <a:pt x="6743" y="9609"/>
                  </a:cubicBezTo>
                  <a:cubicBezTo>
                    <a:pt x="6774" y="9767"/>
                    <a:pt x="6806" y="9893"/>
                    <a:pt x="6806" y="10050"/>
                  </a:cubicBezTo>
                  <a:cubicBezTo>
                    <a:pt x="6806" y="10491"/>
                    <a:pt x="6617" y="10901"/>
                    <a:pt x="6270" y="11185"/>
                  </a:cubicBezTo>
                  <a:cubicBezTo>
                    <a:pt x="6004" y="11387"/>
                    <a:pt x="5692" y="11481"/>
                    <a:pt x="5383" y="11481"/>
                  </a:cubicBezTo>
                  <a:cubicBezTo>
                    <a:pt x="4778" y="11481"/>
                    <a:pt x="4190" y="11118"/>
                    <a:pt x="4002" y="10491"/>
                  </a:cubicBezTo>
                  <a:cubicBezTo>
                    <a:pt x="3939" y="10176"/>
                    <a:pt x="3939" y="9861"/>
                    <a:pt x="4065" y="9546"/>
                  </a:cubicBezTo>
                  <a:cubicBezTo>
                    <a:pt x="4443" y="8601"/>
                    <a:pt x="4632" y="7530"/>
                    <a:pt x="4632" y="6459"/>
                  </a:cubicBezTo>
                  <a:close/>
                  <a:moveTo>
                    <a:pt x="5357" y="0"/>
                  </a:moveTo>
                  <a:cubicBezTo>
                    <a:pt x="2395" y="0"/>
                    <a:pt x="1" y="2395"/>
                    <a:pt x="1" y="5356"/>
                  </a:cubicBezTo>
                  <a:cubicBezTo>
                    <a:pt x="1" y="5955"/>
                    <a:pt x="473" y="6427"/>
                    <a:pt x="1072" y="6427"/>
                  </a:cubicBezTo>
                  <a:lnTo>
                    <a:pt x="3907" y="6427"/>
                  </a:lnTo>
                  <a:cubicBezTo>
                    <a:pt x="3907" y="7404"/>
                    <a:pt x="3718" y="8381"/>
                    <a:pt x="3340" y="9263"/>
                  </a:cubicBezTo>
                  <a:cubicBezTo>
                    <a:pt x="3151" y="9704"/>
                    <a:pt x="3151" y="10208"/>
                    <a:pt x="3277" y="10680"/>
                  </a:cubicBezTo>
                  <a:cubicBezTo>
                    <a:pt x="3498" y="11500"/>
                    <a:pt x="4285" y="12224"/>
                    <a:pt x="5325" y="12224"/>
                  </a:cubicBezTo>
                  <a:cubicBezTo>
                    <a:pt x="6491" y="12224"/>
                    <a:pt x="7436" y="11279"/>
                    <a:pt x="7436" y="10082"/>
                  </a:cubicBezTo>
                  <a:cubicBezTo>
                    <a:pt x="7436" y="9861"/>
                    <a:pt x="7404" y="9641"/>
                    <a:pt x="7341" y="9420"/>
                  </a:cubicBezTo>
                  <a:cubicBezTo>
                    <a:pt x="7058" y="8538"/>
                    <a:pt x="6743" y="7498"/>
                    <a:pt x="6743" y="6459"/>
                  </a:cubicBezTo>
                  <a:lnTo>
                    <a:pt x="9578" y="6459"/>
                  </a:lnTo>
                  <a:cubicBezTo>
                    <a:pt x="10177" y="6459"/>
                    <a:pt x="10649" y="5986"/>
                    <a:pt x="10649" y="5388"/>
                  </a:cubicBezTo>
                  <a:cubicBezTo>
                    <a:pt x="10712" y="2395"/>
                    <a:pt x="8350" y="0"/>
                    <a:pt x="53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1" name="Google Shape;7851;p76"/>
            <p:cNvSpPr/>
            <p:nvPr/>
          </p:nvSpPr>
          <p:spPr>
            <a:xfrm>
              <a:off x="-16743850" y="2123025"/>
              <a:ext cx="52800" cy="52800"/>
            </a:xfrm>
            <a:custGeom>
              <a:avLst/>
              <a:gdLst/>
              <a:ahLst/>
              <a:cxnLst/>
              <a:rect l="l" t="t" r="r" b="b"/>
              <a:pathLst>
                <a:path w="2112" h="2112" extrusionOk="0">
                  <a:moveTo>
                    <a:pt x="1040" y="694"/>
                  </a:moveTo>
                  <a:cubicBezTo>
                    <a:pt x="1261" y="694"/>
                    <a:pt x="1418" y="851"/>
                    <a:pt x="1418" y="1040"/>
                  </a:cubicBezTo>
                  <a:cubicBezTo>
                    <a:pt x="1418" y="1261"/>
                    <a:pt x="1261" y="1418"/>
                    <a:pt x="1040" y="1418"/>
                  </a:cubicBezTo>
                  <a:cubicBezTo>
                    <a:pt x="851" y="1418"/>
                    <a:pt x="694" y="1261"/>
                    <a:pt x="694" y="1040"/>
                  </a:cubicBezTo>
                  <a:cubicBezTo>
                    <a:pt x="694" y="851"/>
                    <a:pt x="851" y="694"/>
                    <a:pt x="1040" y="694"/>
                  </a:cubicBezTo>
                  <a:close/>
                  <a:moveTo>
                    <a:pt x="1040" y="1"/>
                  </a:moveTo>
                  <a:cubicBezTo>
                    <a:pt x="473" y="1"/>
                    <a:pt x="1" y="473"/>
                    <a:pt x="1" y="1040"/>
                  </a:cubicBezTo>
                  <a:cubicBezTo>
                    <a:pt x="1" y="1639"/>
                    <a:pt x="473" y="2112"/>
                    <a:pt x="1040" y="2112"/>
                  </a:cubicBezTo>
                  <a:cubicBezTo>
                    <a:pt x="1639" y="2112"/>
                    <a:pt x="2111" y="1639"/>
                    <a:pt x="2111" y="1040"/>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2" name="Google Shape;7852;p76"/>
            <p:cNvSpPr/>
            <p:nvPr/>
          </p:nvSpPr>
          <p:spPr>
            <a:xfrm>
              <a:off x="-16691075" y="2087600"/>
              <a:ext cx="35475" cy="35450"/>
            </a:xfrm>
            <a:custGeom>
              <a:avLst/>
              <a:gdLst/>
              <a:ahLst/>
              <a:cxnLst/>
              <a:rect l="l" t="t" r="r" b="b"/>
              <a:pathLst>
                <a:path w="1419" h="1418" extrusionOk="0">
                  <a:moveTo>
                    <a:pt x="725" y="0"/>
                  </a:moveTo>
                  <a:cubicBezTo>
                    <a:pt x="315" y="0"/>
                    <a:pt x="0" y="315"/>
                    <a:pt x="0" y="693"/>
                  </a:cubicBezTo>
                  <a:cubicBezTo>
                    <a:pt x="0" y="1103"/>
                    <a:pt x="315" y="1418"/>
                    <a:pt x="725" y="1418"/>
                  </a:cubicBezTo>
                  <a:cubicBezTo>
                    <a:pt x="1103" y="1418"/>
                    <a:pt x="1418" y="1103"/>
                    <a:pt x="1418" y="693"/>
                  </a:cubicBezTo>
                  <a:cubicBezTo>
                    <a:pt x="1418" y="315"/>
                    <a:pt x="1103" y="0"/>
                    <a:pt x="72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53" name="Google Shape;7853;p76"/>
          <p:cNvGrpSpPr/>
          <p:nvPr/>
        </p:nvGrpSpPr>
        <p:grpSpPr>
          <a:xfrm>
            <a:off x="10475035" y="3802836"/>
            <a:ext cx="633500" cy="628576"/>
            <a:chOff x="-16817100" y="2801175"/>
            <a:chExt cx="305625" cy="303250"/>
          </a:xfrm>
        </p:grpSpPr>
        <p:sp>
          <p:nvSpPr>
            <p:cNvPr id="7854" name="Google Shape;7854;p76"/>
            <p:cNvSpPr/>
            <p:nvPr/>
          </p:nvSpPr>
          <p:spPr>
            <a:xfrm>
              <a:off x="-16817100" y="2801175"/>
              <a:ext cx="305625" cy="232375"/>
            </a:xfrm>
            <a:custGeom>
              <a:avLst/>
              <a:gdLst/>
              <a:ahLst/>
              <a:cxnLst/>
              <a:rect l="l" t="t" r="r" b="b"/>
              <a:pathLst>
                <a:path w="12225" h="9295" extrusionOk="0">
                  <a:moveTo>
                    <a:pt x="8633" y="1418"/>
                  </a:moveTo>
                  <a:lnTo>
                    <a:pt x="8633" y="7152"/>
                  </a:lnTo>
                  <a:cubicBezTo>
                    <a:pt x="8507" y="7152"/>
                    <a:pt x="8381" y="7120"/>
                    <a:pt x="8286" y="7120"/>
                  </a:cubicBezTo>
                  <a:cubicBezTo>
                    <a:pt x="8034" y="7120"/>
                    <a:pt x="7845" y="7152"/>
                    <a:pt x="7656" y="7247"/>
                  </a:cubicBezTo>
                  <a:cubicBezTo>
                    <a:pt x="7373" y="6837"/>
                    <a:pt x="6963" y="6522"/>
                    <a:pt x="6491" y="6459"/>
                  </a:cubicBezTo>
                  <a:lnTo>
                    <a:pt x="6491" y="4600"/>
                  </a:lnTo>
                  <a:cubicBezTo>
                    <a:pt x="6491" y="4411"/>
                    <a:pt x="6333" y="4254"/>
                    <a:pt x="6144" y="4254"/>
                  </a:cubicBezTo>
                  <a:cubicBezTo>
                    <a:pt x="5955" y="4254"/>
                    <a:pt x="5798" y="4411"/>
                    <a:pt x="5798" y="4600"/>
                  </a:cubicBezTo>
                  <a:lnTo>
                    <a:pt x="5798" y="6459"/>
                  </a:lnTo>
                  <a:cubicBezTo>
                    <a:pt x="5325" y="6522"/>
                    <a:pt x="4884" y="6837"/>
                    <a:pt x="4663" y="7247"/>
                  </a:cubicBezTo>
                  <a:cubicBezTo>
                    <a:pt x="4443" y="7152"/>
                    <a:pt x="4222" y="7120"/>
                    <a:pt x="4033" y="7120"/>
                  </a:cubicBezTo>
                  <a:cubicBezTo>
                    <a:pt x="3907" y="7120"/>
                    <a:pt x="3781" y="7120"/>
                    <a:pt x="3655" y="7152"/>
                  </a:cubicBezTo>
                  <a:lnTo>
                    <a:pt x="3655" y="1418"/>
                  </a:lnTo>
                  <a:lnTo>
                    <a:pt x="4380" y="1418"/>
                  </a:lnTo>
                  <a:lnTo>
                    <a:pt x="4380" y="2458"/>
                  </a:lnTo>
                  <a:cubicBezTo>
                    <a:pt x="4380" y="2678"/>
                    <a:pt x="4537" y="2836"/>
                    <a:pt x="4726" y="2836"/>
                  </a:cubicBezTo>
                  <a:cubicBezTo>
                    <a:pt x="4915" y="2836"/>
                    <a:pt x="5073" y="2678"/>
                    <a:pt x="5073" y="2458"/>
                  </a:cubicBezTo>
                  <a:lnTo>
                    <a:pt x="5073" y="1418"/>
                  </a:lnTo>
                  <a:lnTo>
                    <a:pt x="5798" y="1418"/>
                  </a:lnTo>
                  <a:lnTo>
                    <a:pt x="5798" y="3182"/>
                  </a:lnTo>
                  <a:cubicBezTo>
                    <a:pt x="5798" y="3371"/>
                    <a:pt x="5955" y="3529"/>
                    <a:pt x="6144" y="3529"/>
                  </a:cubicBezTo>
                  <a:cubicBezTo>
                    <a:pt x="6333" y="3529"/>
                    <a:pt x="6491" y="3371"/>
                    <a:pt x="6491" y="3182"/>
                  </a:cubicBezTo>
                  <a:lnTo>
                    <a:pt x="6491" y="1418"/>
                  </a:lnTo>
                  <a:lnTo>
                    <a:pt x="7215" y="1418"/>
                  </a:lnTo>
                  <a:lnTo>
                    <a:pt x="7215" y="2458"/>
                  </a:lnTo>
                  <a:cubicBezTo>
                    <a:pt x="7215" y="2678"/>
                    <a:pt x="7373" y="2836"/>
                    <a:pt x="7562" y="2836"/>
                  </a:cubicBezTo>
                  <a:cubicBezTo>
                    <a:pt x="7751" y="2836"/>
                    <a:pt x="7940" y="2678"/>
                    <a:pt x="7940" y="2458"/>
                  </a:cubicBezTo>
                  <a:lnTo>
                    <a:pt x="7940" y="1418"/>
                  </a:lnTo>
                  <a:close/>
                  <a:moveTo>
                    <a:pt x="6144" y="7120"/>
                  </a:moveTo>
                  <a:cubicBezTo>
                    <a:pt x="6585" y="7120"/>
                    <a:pt x="7026" y="7404"/>
                    <a:pt x="7184" y="7845"/>
                  </a:cubicBezTo>
                  <a:cubicBezTo>
                    <a:pt x="7227" y="7998"/>
                    <a:pt x="7378" y="8091"/>
                    <a:pt x="7528" y="8091"/>
                  </a:cubicBezTo>
                  <a:cubicBezTo>
                    <a:pt x="7595" y="8091"/>
                    <a:pt x="7662" y="8073"/>
                    <a:pt x="7719" y="8034"/>
                  </a:cubicBezTo>
                  <a:cubicBezTo>
                    <a:pt x="7877" y="7908"/>
                    <a:pt x="8129" y="7845"/>
                    <a:pt x="8318" y="7845"/>
                  </a:cubicBezTo>
                  <a:cubicBezTo>
                    <a:pt x="8790" y="7845"/>
                    <a:pt x="9169" y="8160"/>
                    <a:pt x="9326" y="8538"/>
                  </a:cubicBezTo>
                  <a:lnTo>
                    <a:pt x="3025" y="8538"/>
                  </a:lnTo>
                  <a:cubicBezTo>
                    <a:pt x="3120" y="8160"/>
                    <a:pt x="3498" y="7845"/>
                    <a:pt x="3970" y="7845"/>
                  </a:cubicBezTo>
                  <a:cubicBezTo>
                    <a:pt x="4191" y="7845"/>
                    <a:pt x="4411" y="7908"/>
                    <a:pt x="4569" y="8034"/>
                  </a:cubicBezTo>
                  <a:cubicBezTo>
                    <a:pt x="4624" y="8071"/>
                    <a:pt x="4680" y="8086"/>
                    <a:pt x="4741" y="8086"/>
                  </a:cubicBezTo>
                  <a:cubicBezTo>
                    <a:pt x="4785" y="8086"/>
                    <a:pt x="4832" y="8079"/>
                    <a:pt x="4884" y="8066"/>
                  </a:cubicBezTo>
                  <a:cubicBezTo>
                    <a:pt x="5010" y="8034"/>
                    <a:pt x="5073" y="7940"/>
                    <a:pt x="5136" y="7845"/>
                  </a:cubicBezTo>
                  <a:cubicBezTo>
                    <a:pt x="5293" y="7404"/>
                    <a:pt x="5671" y="7120"/>
                    <a:pt x="6144" y="7120"/>
                  </a:cubicBezTo>
                  <a:close/>
                  <a:moveTo>
                    <a:pt x="9704" y="694"/>
                  </a:moveTo>
                  <a:cubicBezTo>
                    <a:pt x="9893" y="694"/>
                    <a:pt x="10051" y="851"/>
                    <a:pt x="10051" y="1072"/>
                  </a:cubicBezTo>
                  <a:lnTo>
                    <a:pt x="10051" y="6049"/>
                  </a:lnTo>
                  <a:cubicBezTo>
                    <a:pt x="10051" y="6270"/>
                    <a:pt x="10208" y="6427"/>
                    <a:pt x="10397" y="6427"/>
                  </a:cubicBezTo>
                  <a:cubicBezTo>
                    <a:pt x="10618" y="6427"/>
                    <a:pt x="10775" y="6270"/>
                    <a:pt x="10775" y="6049"/>
                  </a:cubicBezTo>
                  <a:lnTo>
                    <a:pt x="10775" y="2111"/>
                  </a:lnTo>
                  <a:lnTo>
                    <a:pt x="11122" y="2111"/>
                  </a:lnTo>
                  <a:cubicBezTo>
                    <a:pt x="11311" y="2111"/>
                    <a:pt x="11500" y="2269"/>
                    <a:pt x="11500" y="2489"/>
                  </a:cubicBezTo>
                  <a:lnTo>
                    <a:pt x="11500" y="8538"/>
                  </a:lnTo>
                  <a:lnTo>
                    <a:pt x="10019" y="8538"/>
                  </a:lnTo>
                  <a:cubicBezTo>
                    <a:pt x="9925" y="8097"/>
                    <a:pt x="9641" y="7719"/>
                    <a:pt x="9326" y="7467"/>
                  </a:cubicBezTo>
                  <a:lnTo>
                    <a:pt x="9326" y="1072"/>
                  </a:lnTo>
                  <a:cubicBezTo>
                    <a:pt x="9326" y="851"/>
                    <a:pt x="9515" y="694"/>
                    <a:pt x="9704" y="694"/>
                  </a:cubicBezTo>
                  <a:close/>
                  <a:moveTo>
                    <a:pt x="2584" y="694"/>
                  </a:moveTo>
                  <a:cubicBezTo>
                    <a:pt x="2773" y="694"/>
                    <a:pt x="2931" y="851"/>
                    <a:pt x="2931" y="1072"/>
                  </a:cubicBezTo>
                  <a:lnTo>
                    <a:pt x="2931" y="7530"/>
                  </a:lnTo>
                  <a:cubicBezTo>
                    <a:pt x="2584" y="7782"/>
                    <a:pt x="2332" y="8160"/>
                    <a:pt x="2269" y="8570"/>
                  </a:cubicBezTo>
                  <a:lnTo>
                    <a:pt x="757" y="8570"/>
                  </a:lnTo>
                  <a:lnTo>
                    <a:pt x="757" y="2489"/>
                  </a:lnTo>
                  <a:cubicBezTo>
                    <a:pt x="757" y="2269"/>
                    <a:pt x="946" y="2111"/>
                    <a:pt x="1135" y="2111"/>
                  </a:cubicBezTo>
                  <a:lnTo>
                    <a:pt x="1513" y="2111"/>
                  </a:lnTo>
                  <a:lnTo>
                    <a:pt x="1513" y="6049"/>
                  </a:lnTo>
                  <a:cubicBezTo>
                    <a:pt x="1513" y="6270"/>
                    <a:pt x="1670" y="6427"/>
                    <a:pt x="1859" y="6427"/>
                  </a:cubicBezTo>
                  <a:cubicBezTo>
                    <a:pt x="2048" y="6427"/>
                    <a:pt x="2206" y="6270"/>
                    <a:pt x="2206" y="6049"/>
                  </a:cubicBezTo>
                  <a:lnTo>
                    <a:pt x="2206" y="1072"/>
                  </a:lnTo>
                  <a:cubicBezTo>
                    <a:pt x="2206" y="851"/>
                    <a:pt x="2363" y="694"/>
                    <a:pt x="2584" y="694"/>
                  </a:cubicBezTo>
                  <a:close/>
                  <a:moveTo>
                    <a:pt x="2521" y="0"/>
                  </a:moveTo>
                  <a:cubicBezTo>
                    <a:pt x="1922" y="0"/>
                    <a:pt x="1450" y="473"/>
                    <a:pt x="1450" y="1072"/>
                  </a:cubicBezTo>
                  <a:lnTo>
                    <a:pt x="1450" y="1418"/>
                  </a:lnTo>
                  <a:lnTo>
                    <a:pt x="1103" y="1418"/>
                  </a:lnTo>
                  <a:cubicBezTo>
                    <a:pt x="505" y="1418"/>
                    <a:pt x="1" y="1891"/>
                    <a:pt x="1" y="2489"/>
                  </a:cubicBezTo>
                  <a:lnTo>
                    <a:pt x="1" y="8948"/>
                  </a:lnTo>
                  <a:cubicBezTo>
                    <a:pt x="1" y="9137"/>
                    <a:pt x="158" y="9294"/>
                    <a:pt x="347" y="9294"/>
                  </a:cubicBezTo>
                  <a:lnTo>
                    <a:pt x="11815" y="9294"/>
                  </a:lnTo>
                  <a:cubicBezTo>
                    <a:pt x="12004" y="9294"/>
                    <a:pt x="12162" y="9137"/>
                    <a:pt x="12162" y="8948"/>
                  </a:cubicBezTo>
                  <a:lnTo>
                    <a:pt x="12162" y="2489"/>
                  </a:lnTo>
                  <a:cubicBezTo>
                    <a:pt x="12225" y="1891"/>
                    <a:pt x="11689" y="1418"/>
                    <a:pt x="11122" y="1418"/>
                  </a:cubicBezTo>
                  <a:lnTo>
                    <a:pt x="10744" y="1418"/>
                  </a:lnTo>
                  <a:lnTo>
                    <a:pt x="10744" y="1072"/>
                  </a:lnTo>
                  <a:cubicBezTo>
                    <a:pt x="10744" y="473"/>
                    <a:pt x="10271" y="0"/>
                    <a:pt x="9704" y="0"/>
                  </a:cubicBezTo>
                  <a:cubicBezTo>
                    <a:pt x="9232" y="0"/>
                    <a:pt x="8822" y="315"/>
                    <a:pt x="8664" y="694"/>
                  </a:cubicBezTo>
                  <a:lnTo>
                    <a:pt x="3561" y="694"/>
                  </a:lnTo>
                  <a:cubicBezTo>
                    <a:pt x="3403" y="284"/>
                    <a:pt x="2994" y="0"/>
                    <a:pt x="25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5" name="Google Shape;7855;p76"/>
            <p:cNvSpPr/>
            <p:nvPr/>
          </p:nvSpPr>
          <p:spPr>
            <a:xfrm>
              <a:off x="-16636725" y="2889375"/>
              <a:ext cx="18125" cy="72500"/>
            </a:xfrm>
            <a:custGeom>
              <a:avLst/>
              <a:gdLst/>
              <a:ahLst/>
              <a:cxnLst/>
              <a:rect l="l" t="t" r="r" b="b"/>
              <a:pathLst>
                <a:path w="725" h="2900" extrusionOk="0">
                  <a:moveTo>
                    <a:pt x="347" y="1"/>
                  </a:moveTo>
                  <a:cubicBezTo>
                    <a:pt x="158" y="1"/>
                    <a:pt x="0" y="158"/>
                    <a:pt x="0" y="379"/>
                  </a:cubicBezTo>
                  <a:lnTo>
                    <a:pt x="0" y="2521"/>
                  </a:lnTo>
                  <a:cubicBezTo>
                    <a:pt x="0" y="2742"/>
                    <a:pt x="158" y="2899"/>
                    <a:pt x="347" y="2899"/>
                  </a:cubicBezTo>
                  <a:cubicBezTo>
                    <a:pt x="536" y="2899"/>
                    <a:pt x="725" y="2742"/>
                    <a:pt x="725" y="2521"/>
                  </a:cubicBezTo>
                  <a:lnTo>
                    <a:pt x="725" y="379"/>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6" name="Google Shape;7856;p76"/>
            <p:cNvSpPr/>
            <p:nvPr/>
          </p:nvSpPr>
          <p:spPr>
            <a:xfrm>
              <a:off x="-16708400" y="2889375"/>
              <a:ext cx="17350" cy="72500"/>
            </a:xfrm>
            <a:custGeom>
              <a:avLst/>
              <a:gdLst/>
              <a:ahLst/>
              <a:cxnLst/>
              <a:rect l="l" t="t" r="r" b="b"/>
              <a:pathLst>
                <a:path w="694" h="2900" extrusionOk="0">
                  <a:moveTo>
                    <a:pt x="347" y="1"/>
                  </a:moveTo>
                  <a:cubicBezTo>
                    <a:pt x="158" y="1"/>
                    <a:pt x="0" y="158"/>
                    <a:pt x="0" y="379"/>
                  </a:cubicBezTo>
                  <a:lnTo>
                    <a:pt x="0" y="2521"/>
                  </a:lnTo>
                  <a:cubicBezTo>
                    <a:pt x="0" y="2742"/>
                    <a:pt x="158" y="2899"/>
                    <a:pt x="347" y="2899"/>
                  </a:cubicBezTo>
                  <a:cubicBezTo>
                    <a:pt x="536" y="2899"/>
                    <a:pt x="693" y="2742"/>
                    <a:pt x="693" y="2521"/>
                  </a:cubicBezTo>
                  <a:lnTo>
                    <a:pt x="693" y="379"/>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7" name="Google Shape;7857;p76"/>
            <p:cNvSpPr/>
            <p:nvPr/>
          </p:nvSpPr>
          <p:spPr>
            <a:xfrm>
              <a:off x="-1681630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8" name="Google Shape;7858;p76"/>
            <p:cNvSpPr/>
            <p:nvPr/>
          </p:nvSpPr>
          <p:spPr>
            <a:xfrm>
              <a:off x="-16779300" y="3086300"/>
              <a:ext cx="88250" cy="18125"/>
            </a:xfrm>
            <a:custGeom>
              <a:avLst/>
              <a:gdLst/>
              <a:ahLst/>
              <a:cxnLst/>
              <a:rect l="l" t="t" r="r" b="b"/>
              <a:pathLst>
                <a:path w="3530" h="725" extrusionOk="0">
                  <a:moveTo>
                    <a:pt x="347" y="0"/>
                  </a:moveTo>
                  <a:cubicBezTo>
                    <a:pt x="158" y="0"/>
                    <a:pt x="1" y="158"/>
                    <a:pt x="1" y="378"/>
                  </a:cubicBezTo>
                  <a:cubicBezTo>
                    <a:pt x="1" y="567"/>
                    <a:pt x="158" y="725"/>
                    <a:pt x="347" y="725"/>
                  </a:cubicBezTo>
                  <a:lnTo>
                    <a:pt x="3183" y="725"/>
                  </a:lnTo>
                  <a:cubicBezTo>
                    <a:pt x="3372" y="725"/>
                    <a:pt x="3529" y="567"/>
                    <a:pt x="3529" y="378"/>
                  </a:cubicBezTo>
                  <a:cubicBezTo>
                    <a:pt x="3529" y="221"/>
                    <a:pt x="3372" y="0"/>
                    <a:pt x="318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59" name="Google Shape;7859;p76"/>
            <p:cNvSpPr/>
            <p:nvPr/>
          </p:nvSpPr>
          <p:spPr>
            <a:xfrm>
              <a:off x="-16636725" y="3086300"/>
              <a:ext cx="88225" cy="18125"/>
            </a:xfrm>
            <a:custGeom>
              <a:avLst/>
              <a:gdLst/>
              <a:ahLst/>
              <a:cxnLst/>
              <a:rect l="l" t="t" r="r" b="b"/>
              <a:pathLst>
                <a:path w="3529" h="725" extrusionOk="0">
                  <a:moveTo>
                    <a:pt x="347" y="0"/>
                  </a:moveTo>
                  <a:cubicBezTo>
                    <a:pt x="158" y="0"/>
                    <a:pt x="0" y="158"/>
                    <a:pt x="0" y="378"/>
                  </a:cubicBezTo>
                  <a:cubicBezTo>
                    <a:pt x="0" y="567"/>
                    <a:pt x="158" y="725"/>
                    <a:pt x="347" y="725"/>
                  </a:cubicBezTo>
                  <a:lnTo>
                    <a:pt x="3182" y="725"/>
                  </a:lnTo>
                  <a:cubicBezTo>
                    <a:pt x="3371" y="725"/>
                    <a:pt x="3529" y="567"/>
                    <a:pt x="3529" y="378"/>
                  </a:cubicBezTo>
                  <a:cubicBezTo>
                    <a:pt x="3529" y="221"/>
                    <a:pt x="3371" y="0"/>
                    <a:pt x="31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0" name="Google Shape;7860;p76"/>
            <p:cNvSpPr/>
            <p:nvPr/>
          </p:nvSpPr>
          <p:spPr>
            <a:xfrm>
              <a:off x="-16583950" y="3050850"/>
              <a:ext cx="72475" cy="18150"/>
            </a:xfrm>
            <a:custGeom>
              <a:avLst/>
              <a:gdLst/>
              <a:ahLst/>
              <a:cxnLst/>
              <a:rect l="l" t="t" r="r" b="b"/>
              <a:pathLst>
                <a:path w="2899" h="726" extrusionOk="0">
                  <a:moveTo>
                    <a:pt x="378" y="0"/>
                  </a:moveTo>
                  <a:cubicBezTo>
                    <a:pt x="158" y="0"/>
                    <a:pt x="0" y="158"/>
                    <a:pt x="0" y="378"/>
                  </a:cubicBezTo>
                  <a:cubicBezTo>
                    <a:pt x="0" y="568"/>
                    <a:pt x="158" y="725"/>
                    <a:pt x="378" y="725"/>
                  </a:cubicBezTo>
                  <a:lnTo>
                    <a:pt x="2520" y="725"/>
                  </a:lnTo>
                  <a:cubicBezTo>
                    <a:pt x="2741" y="725"/>
                    <a:pt x="2899" y="568"/>
                    <a:pt x="2899" y="378"/>
                  </a:cubicBezTo>
                  <a:cubicBezTo>
                    <a:pt x="2899" y="158"/>
                    <a:pt x="2741" y="0"/>
                    <a:pt x="25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1" name="Google Shape;7861;p76"/>
            <p:cNvSpPr/>
            <p:nvPr/>
          </p:nvSpPr>
          <p:spPr>
            <a:xfrm>
              <a:off x="-16726525" y="3050850"/>
              <a:ext cx="125250" cy="18150"/>
            </a:xfrm>
            <a:custGeom>
              <a:avLst/>
              <a:gdLst/>
              <a:ahLst/>
              <a:cxnLst/>
              <a:rect l="l" t="t" r="r" b="b"/>
              <a:pathLst>
                <a:path w="5010" h="726" extrusionOk="0">
                  <a:moveTo>
                    <a:pt x="347" y="0"/>
                  </a:moveTo>
                  <a:cubicBezTo>
                    <a:pt x="158" y="0"/>
                    <a:pt x="1" y="158"/>
                    <a:pt x="1" y="378"/>
                  </a:cubicBezTo>
                  <a:cubicBezTo>
                    <a:pt x="1" y="568"/>
                    <a:pt x="158" y="725"/>
                    <a:pt x="347" y="725"/>
                  </a:cubicBezTo>
                  <a:lnTo>
                    <a:pt x="4663" y="725"/>
                  </a:lnTo>
                  <a:cubicBezTo>
                    <a:pt x="4852" y="725"/>
                    <a:pt x="5010" y="568"/>
                    <a:pt x="5010" y="378"/>
                  </a:cubicBezTo>
                  <a:cubicBezTo>
                    <a:pt x="5010" y="158"/>
                    <a:pt x="4852" y="0"/>
                    <a:pt x="46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62" name="Google Shape;7862;p76"/>
          <p:cNvGrpSpPr/>
          <p:nvPr/>
        </p:nvGrpSpPr>
        <p:grpSpPr>
          <a:xfrm>
            <a:off x="9684529" y="4592819"/>
            <a:ext cx="635105" cy="633500"/>
            <a:chOff x="-15717575" y="2786200"/>
            <a:chExt cx="306400" cy="305625"/>
          </a:xfrm>
        </p:grpSpPr>
        <p:sp>
          <p:nvSpPr>
            <p:cNvPr id="7863" name="Google Shape;7863;p76"/>
            <p:cNvSpPr/>
            <p:nvPr/>
          </p:nvSpPr>
          <p:spPr>
            <a:xfrm>
              <a:off x="-15717575" y="2786200"/>
              <a:ext cx="306400" cy="305625"/>
            </a:xfrm>
            <a:custGeom>
              <a:avLst/>
              <a:gdLst/>
              <a:ahLst/>
              <a:cxnLst/>
              <a:rect l="l" t="t" r="r" b="b"/>
              <a:pathLst>
                <a:path w="12256" h="12225" extrusionOk="0">
                  <a:moveTo>
                    <a:pt x="1387" y="788"/>
                  </a:moveTo>
                  <a:cubicBezTo>
                    <a:pt x="1796" y="788"/>
                    <a:pt x="2111" y="1103"/>
                    <a:pt x="2111" y="1513"/>
                  </a:cubicBezTo>
                  <a:lnTo>
                    <a:pt x="2111" y="4727"/>
                  </a:lnTo>
                  <a:cubicBezTo>
                    <a:pt x="2111" y="5325"/>
                    <a:pt x="2584" y="5798"/>
                    <a:pt x="3151" y="5798"/>
                  </a:cubicBezTo>
                  <a:lnTo>
                    <a:pt x="3907" y="5798"/>
                  </a:lnTo>
                  <a:cubicBezTo>
                    <a:pt x="4096" y="5798"/>
                    <a:pt x="4254" y="5640"/>
                    <a:pt x="4254" y="5420"/>
                  </a:cubicBezTo>
                  <a:lnTo>
                    <a:pt x="4254" y="3309"/>
                  </a:lnTo>
                  <a:cubicBezTo>
                    <a:pt x="4254" y="2332"/>
                    <a:pt x="5041" y="1545"/>
                    <a:pt x="6049" y="1545"/>
                  </a:cubicBezTo>
                  <a:cubicBezTo>
                    <a:pt x="7026" y="1545"/>
                    <a:pt x="7814" y="2332"/>
                    <a:pt x="7814" y="3309"/>
                  </a:cubicBezTo>
                  <a:lnTo>
                    <a:pt x="7814" y="8318"/>
                  </a:lnTo>
                  <a:cubicBezTo>
                    <a:pt x="7814" y="8507"/>
                    <a:pt x="7971" y="8665"/>
                    <a:pt x="8160" y="8665"/>
                  </a:cubicBezTo>
                  <a:lnTo>
                    <a:pt x="8916" y="8665"/>
                  </a:lnTo>
                  <a:cubicBezTo>
                    <a:pt x="9515" y="8665"/>
                    <a:pt x="9988" y="8192"/>
                    <a:pt x="9988" y="7593"/>
                  </a:cubicBezTo>
                  <a:lnTo>
                    <a:pt x="9988" y="5105"/>
                  </a:lnTo>
                  <a:cubicBezTo>
                    <a:pt x="9988" y="4727"/>
                    <a:pt x="10303" y="4411"/>
                    <a:pt x="10681" y="4411"/>
                  </a:cubicBezTo>
                  <a:cubicBezTo>
                    <a:pt x="11090" y="4411"/>
                    <a:pt x="11405" y="4727"/>
                    <a:pt x="11405" y="5105"/>
                  </a:cubicBezTo>
                  <a:lnTo>
                    <a:pt x="11405" y="7562"/>
                  </a:lnTo>
                  <a:lnTo>
                    <a:pt x="11437" y="7562"/>
                  </a:lnTo>
                  <a:cubicBezTo>
                    <a:pt x="11437" y="8948"/>
                    <a:pt x="10334" y="10051"/>
                    <a:pt x="8948" y="10051"/>
                  </a:cubicBezTo>
                  <a:lnTo>
                    <a:pt x="8192" y="10051"/>
                  </a:lnTo>
                  <a:cubicBezTo>
                    <a:pt x="8003" y="10051"/>
                    <a:pt x="7845" y="10208"/>
                    <a:pt x="7845" y="10397"/>
                  </a:cubicBezTo>
                  <a:lnTo>
                    <a:pt x="7845" y="11500"/>
                  </a:lnTo>
                  <a:lnTo>
                    <a:pt x="4254" y="11500"/>
                  </a:lnTo>
                  <a:lnTo>
                    <a:pt x="4254" y="7562"/>
                  </a:lnTo>
                  <a:cubicBezTo>
                    <a:pt x="4254" y="7373"/>
                    <a:pt x="4096" y="7215"/>
                    <a:pt x="3907" y="7215"/>
                  </a:cubicBezTo>
                  <a:lnTo>
                    <a:pt x="3151" y="7215"/>
                  </a:lnTo>
                  <a:cubicBezTo>
                    <a:pt x="1796" y="7215"/>
                    <a:pt x="694" y="6113"/>
                    <a:pt x="694" y="4727"/>
                  </a:cubicBezTo>
                  <a:lnTo>
                    <a:pt x="694" y="1513"/>
                  </a:lnTo>
                  <a:cubicBezTo>
                    <a:pt x="694" y="1103"/>
                    <a:pt x="1009" y="788"/>
                    <a:pt x="1387" y="788"/>
                  </a:cubicBezTo>
                  <a:close/>
                  <a:moveTo>
                    <a:pt x="1418" y="1"/>
                  </a:moveTo>
                  <a:cubicBezTo>
                    <a:pt x="631" y="1"/>
                    <a:pt x="1" y="631"/>
                    <a:pt x="1" y="1419"/>
                  </a:cubicBezTo>
                  <a:lnTo>
                    <a:pt x="1" y="4664"/>
                  </a:lnTo>
                  <a:cubicBezTo>
                    <a:pt x="1" y="6428"/>
                    <a:pt x="1481" y="7877"/>
                    <a:pt x="3246" y="7877"/>
                  </a:cubicBezTo>
                  <a:lnTo>
                    <a:pt x="3624" y="7877"/>
                  </a:lnTo>
                  <a:lnTo>
                    <a:pt x="3624" y="11500"/>
                  </a:lnTo>
                  <a:lnTo>
                    <a:pt x="2584" y="11500"/>
                  </a:lnTo>
                  <a:cubicBezTo>
                    <a:pt x="2363" y="11500"/>
                    <a:pt x="2206" y="11658"/>
                    <a:pt x="2206" y="11847"/>
                  </a:cubicBezTo>
                  <a:cubicBezTo>
                    <a:pt x="2206" y="12036"/>
                    <a:pt x="2363" y="12225"/>
                    <a:pt x="2584" y="12225"/>
                  </a:cubicBezTo>
                  <a:lnTo>
                    <a:pt x="9704" y="12225"/>
                  </a:lnTo>
                  <a:cubicBezTo>
                    <a:pt x="9893" y="12225"/>
                    <a:pt x="10051" y="12036"/>
                    <a:pt x="10051" y="11847"/>
                  </a:cubicBezTo>
                  <a:cubicBezTo>
                    <a:pt x="10051" y="11658"/>
                    <a:pt x="9893" y="11500"/>
                    <a:pt x="9704" y="11500"/>
                  </a:cubicBezTo>
                  <a:lnTo>
                    <a:pt x="8633" y="11500"/>
                  </a:lnTo>
                  <a:lnTo>
                    <a:pt x="8633" y="10744"/>
                  </a:lnTo>
                  <a:lnTo>
                    <a:pt x="9042" y="10744"/>
                  </a:lnTo>
                  <a:cubicBezTo>
                    <a:pt x="10807" y="10744"/>
                    <a:pt x="12256" y="9295"/>
                    <a:pt x="12256" y="7530"/>
                  </a:cubicBezTo>
                  <a:lnTo>
                    <a:pt x="12256" y="5042"/>
                  </a:lnTo>
                  <a:cubicBezTo>
                    <a:pt x="12130" y="4285"/>
                    <a:pt x="11500" y="3624"/>
                    <a:pt x="10712" y="3624"/>
                  </a:cubicBezTo>
                  <a:cubicBezTo>
                    <a:pt x="9925" y="3624"/>
                    <a:pt x="9294" y="4254"/>
                    <a:pt x="9294" y="5042"/>
                  </a:cubicBezTo>
                  <a:lnTo>
                    <a:pt x="9294" y="7530"/>
                  </a:lnTo>
                  <a:cubicBezTo>
                    <a:pt x="9294" y="7719"/>
                    <a:pt x="9137" y="7877"/>
                    <a:pt x="8948" y="7877"/>
                  </a:cubicBezTo>
                  <a:lnTo>
                    <a:pt x="8570" y="7877"/>
                  </a:lnTo>
                  <a:lnTo>
                    <a:pt x="8570" y="3246"/>
                  </a:lnTo>
                  <a:cubicBezTo>
                    <a:pt x="8570" y="1860"/>
                    <a:pt x="7467" y="757"/>
                    <a:pt x="6081" y="757"/>
                  </a:cubicBezTo>
                  <a:cubicBezTo>
                    <a:pt x="4695" y="757"/>
                    <a:pt x="3592" y="1860"/>
                    <a:pt x="3592" y="3246"/>
                  </a:cubicBezTo>
                  <a:lnTo>
                    <a:pt x="3592" y="5010"/>
                  </a:lnTo>
                  <a:lnTo>
                    <a:pt x="3214" y="5010"/>
                  </a:lnTo>
                  <a:cubicBezTo>
                    <a:pt x="2993" y="5010"/>
                    <a:pt x="2836" y="4853"/>
                    <a:pt x="2836" y="4664"/>
                  </a:cubicBezTo>
                  <a:lnTo>
                    <a:pt x="2836" y="1419"/>
                  </a:lnTo>
                  <a:cubicBezTo>
                    <a:pt x="2836" y="631"/>
                    <a:pt x="2206" y="1"/>
                    <a:pt x="14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4" name="Google Shape;7864;p76"/>
            <p:cNvSpPr/>
            <p:nvPr/>
          </p:nvSpPr>
          <p:spPr>
            <a:xfrm>
              <a:off x="-15593125" y="2859450"/>
              <a:ext cx="18125" cy="35475"/>
            </a:xfrm>
            <a:custGeom>
              <a:avLst/>
              <a:gdLst/>
              <a:ahLst/>
              <a:cxnLst/>
              <a:rect l="l" t="t" r="r" b="b"/>
              <a:pathLst>
                <a:path w="725" h="1419" extrusionOk="0">
                  <a:moveTo>
                    <a:pt x="347" y="1"/>
                  </a:moveTo>
                  <a:cubicBezTo>
                    <a:pt x="158" y="1"/>
                    <a:pt x="0" y="158"/>
                    <a:pt x="0" y="347"/>
                  </a:cubicBezTo>
                  <a:lnTo>
                    <a:pt x="0" y="1040"/>
                  </a:lnTo>
                  <a:cubicBezTo>
                    <a:pt x="0" y="1261"/>
                    <a:pt x="158" y="1418"/>
                    <a:pt x="347" y="1418"/>
                  </a:cubicBezTo>
                  <a:cubicBezTo>
                    <a:pt x="536" y="1418"/>
                    <a:pt x="725" y="1261"/>
                    <a:pt x="725" y="1040"/>
                  </a:cubicBezTo>
                  <a:lnTo>
                    <a:pt x="725" y="347"/>
                  </a:lnTo>
                  <a:cubicBezTo>
                    <a:pt x="725"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5" name="Google Shape;7865;p76"/>
            <p:cNvSpPr/>
            <p:nvPr/>
          </p:nvSpPr>
          <p:spPr>
            <a:xfrm>
              <a:off x="-1559312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6" name="Google Shape;7866;p76"/>
            <p:cNvSpPr/>
            <p:nvPr/>
          </p:nvSpPr>
          <p:spPr>
            <a:xfrm>
              <a:off x="-15557675" y="2859450"/>
              <a:ext cx="17350" cy="35475"/>
            </a:xfrm>
            <a:custGeom>
              <a:avLst/>
              <a:gdLst/>
              <a:ahLst/>
              <a:cxnLst/>
              <a:rect l="l" t="t" r="r" b="b"/>
              <a:pathLst>
                <a:path w="694" h="1419" extrusionOk="0">
                  <a:moveTo>
                    <a:pt x="347" y="1"/>
                  </a:moveTo>
                  <a:cubicBezTo>
                    <a:pt x="158" y="1"/>
                    <a:pt x="0" y="158"/>
                    <a:pt x="0" y="347"/>
                  </a:cubicBezTo>
                  <a:lnTo>
                    <a:pt x="0" y="1040"/>
                  </a:lnTo>
                  <a:cubicBezTo>
                    <a:pt x="0" y="1261"/>
                    <a:pt x="158" y="1418"/>
                    <a:pt x="347" y="1418"/>
                  </a:cubicBezTo>
                  <a:cubicBezTo>
                    <a:pt x="536" y="1418"/>
                    <a:pt x="693" y="1261"/>
                    <a:pt x="693" y="1040"/>
                  </a:cubicBez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7" name="Google Shape;7867;p76"/>
            <p:cNvSpPr/>
            <p:nvPr/>
          </p:nvSpPr>
          <p:spPr>
            <a:xfrm>
              <a:off x="-15557675" y="2966575"/>
              <a:ext cx="17350" cy="35475"/>
            </a:xfrm>
            <a:custGeom>
              <a:avLst/>
              <a:gdLst/>
              <a:ahLst/>
              <a:cxnLst/>
              <a:rect l="l" t="t" r="r" b="b"/>
              <a:pathLst>
                <a:path w="694" h="1419" extrusionOk="0">
                  <a:moveTo>
                    <a:pt x="347" y="0"/>
                  </a:moveTo>
                  <a:cubicBezTo>
                    <a:pt x="158" y="0"/>
                    <a:pt x="0" y="158"/>
                    <a:pt x="0" y="347"/>
                  </a:cubicBezTo>
                  <a:lnTo>
                    <a:pt x="0" y="1072"/>
                  </a:lnTo>
                  <a:cubicBezTo>
                    <a:pt x="0" y="1261"/>
                    <a:pt x="158" y="1418"/>
                    <a:pt x="347" y="1418"/>
                  </a:cubicBezTo>
                  <a:cubicBezTo>
                    <a:pt x="536" y="1418"/>
                    <a:pt x="693" y="1261"/>
                    <a:pt x="693" y="1072"/>
                  </a:cubicBezTo>
                  <a:lnTo>
                    <a:pt x="693" y="347"/>
                  </a:ln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8" name="Google Shape;7868;p76"/>
            <p:cNvSpPr/>
            <p:nvPr/>
          </p:nvSpPr>
          <p:spPr>
            <a:xfrm>
              <a:off x="-15575800" y="2913025"/>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69" name="Google Shape;7869;p76"/>
            <p:cNvSpPr/>
            <p:nvPr/>
          </p:nvSpPr>
          <p:spPr>
            <a:xfrm>
              <a:off x="-15575800" y="3019350"/>
              <a:ext cx="18125" cy="35450"/>
            </a:xfrm>
            <a:custGeom>
              <a:avLst/>
              <a:gdLst/>
              <a:ahLst/>
              <a:cxnLst/>
              <a:rect l="l" t="t" r="r" b="b"/>
              <a:pathLst>
                <a:path w="725" h="1418" extrusionOk="0">
                  <a:moveTo>
                    <a:pt x="378" y="0"/>
                  </a:moveTo>
                  <a:cubicBezTo>
                    <a:pt x="158" y="0"/>
                    <a:pt x="0" y="158"/>
                    <a:pt x="0" y="378"/>
                  </a:cubicBezTo>
                  <a:lnTo>
                    <a:pt x="0" y="1071"/>
                  </a:lnTo>
                  <a:cubicBezTo>
                    <a:pt x="0" y="1260"/>
                    <a:pt x="158" y="1418"/>
                    <a:pt x="378" y="1418"/>
                  </a:cubicBezTo>
                  <a:cubicBezTo>
                    <a:pt x="568" y="1418"/>
                    <a:pt x="725" y="1260"/>
                    <a:pt x="725" y="1071"/>
                  </a:cubicBezTo>
                  <a:lnTo>
                    <a:pt x="725" y="378"/>
                  </a:lnTo>
                  <a:cubicBezTo>
                    <a:pt x="725" y="158"/>
                    <a:pt x="568"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70" name="Google Shape;7870;p76"/>
          <p:cNvGrpSpPr/>
          <p:nvPr/>
        </p:nvGrpSpPr>
        <p:grpSpPr>
          <a:xfrm>
            <a:off x="3467959" y="2251062"/>
            <a:ext cx="633500" cy="631893"/>
            <a:chOff x="-20173175" y="2038750"/>
            <a:chExt cx="305625" cy="304850"/>
          </a:xfrm>
        </p:grpSpPr>
        <p:sp>
          <p:nvSpPr>
            <p:cNvPr id="7871" name="Google Shape;7871;p76"/>
            <p:cNvSpPr/>
            <p:nvPr/>
          </p:nvSpPr>
          <p:spPr>
            <a:xfrm>
              <a:off x="-20173175" y="2038750"/>
              <a:ext cx="197725" cy="303275"/>
            </a:xfrm>
            <a:custGeom>
              <a:avLst/>
              <a:gdLst/>
              <a:ahLst/>
              <a:cxnLst/>
              <a:rect l="l" t="t" r="r" b="b"/>
              <a:pathLst>
                <a:path w="7909" h="12131" extrusionOk="0">
                  <a:moveTo>
                    <a:pt x="2175" y="3624"/>
                  </a:moveTo>
                  <a:cubicBezTo>
                    <a:pt x="3120" y="3781"/>
                    <a:pt x="3908" y="4506"/>
                    <a:pt x="4160" y="5451"/>
                  </a:cubicBezTo>
                  <a:cubicBezTo>
                    <a:pt x="3845" y="5294"/>
                    <a:pt x="3372" y="5136"/>
                    <a:pt x="2931" y="5042"/>
                  </a:cubicBezTo>
                  <a:cubicBezTo>
                    <a:pt x="2521" y="4663"/>
                    <a:pt x="2238" y="4191"/>
                    <a:pt x="2175" y="3624"/>
                  </a:cubicBezTo>
                  <a:close/>
                  <a:moveTo>
                    <a:pt x="6932" y="725"/>
                  </a:moveTo>
                  <a:cubicBezTo>
                    <a:pt x="6302" y="2332"/>
                    <a:pt x="6302" y="4159"/>
                    <a:pt x="6932" y="5766"/>
                  </a:cubicBezTo>
                  <a:lnTo>
                    <a:pt x="5168" y="5766"/>
                  </a:lnTo>
                  <a:cubicBezTo>
                    <a:pt x="5798" y="4159"/>
                    <a:pt x="5798" y="2332"/>
                    <a:pt x="5168" y="725"/>
                  </a:cubicBezTo>
                  <a:close/>
                  <a:moveTo>
                    <a:pt x="2490" y="5766"/>
                  </a:moveTo>
                  <a:cubicBezTo>
                    <a:pt x="3025" y="5766"/>
                    <a:pt x="3530" y="5955"/>
                    <a:pt x="3908" y="6113"/>
                  </a:cubicBezTo>
                  <a:cubicBezTo>
                    <a:pt x="3530" y="6270"/>
                    <a:pt x="3025" y="6459"/>
                    <a:pt x="2490" y="6459"/>
                  </a:cubicBezTo>
                  <a:cubicBezTo>
                    <a:pt x="1923" y="6459"/>
                    <a:pt x="1419" y="6270"/>
                    <a:pt x="1009" y="6113"/>
                  </a:cubicBezTo>
                  <a:cubicBezTo>
                    <a:pt x="1387" y="5924"/>
                    <a:pt x="1891" y="5766"/>
                    <a:pt x="2490" y="5766"/>
                  </a:cubicBezTo>
                  <a:close/>
                  <a:moveTo>
                    <a:pt x="4128" y="6743"/>
                  </a:moveTo>
                  <a:lnTo>
                    <a:pt x="4128" y="6743"/>
                  </a:lnTo>
                  <a:cubicBezTo>
                    <a:pt x="3908" y="7688"/>
                    <a:pt x="3120" y="8444"/>
                    <a:pt x="2112" y="8570"/>
                  </a:cubicBezTo>
                  <a:cubicBezTo>
                    <a:pt x="2206" y="8003"/>
                    <a:pt x="2490" y="7530"/>
                    <a:pt x="2868" y="7152"/>
                  </a:cubicBezTo>
                  <a:cubicBezTo>
                    <a:pt x="3372" y="7058"/>
                    <a:pt x="3813" y="6900"/>
                    <a:pt x="4128" y="6743"/>
                  </a:cubicBezTo>
                  <a:close/>
                  <a:moveTo>
                    <a:pt x="6932" y="6428"/>
                  </a:moveTo>
                  <a:cubicBezTo>
                    <a:pt x="6270" y="8034"/>
                    <a:pt x="6270" y="9893"/>
                    <a:pt x="6932" y="11469"/>
                  </a:cubicBezTo>
                  <a:lnTo>
                    <a:pt x="5168" y="11469"/>
                  </a:lnTo>
                  <a:cubicBezTo>
                    <a:pt x="5798" y="9862"/>
                    <a:pt x="5798" y="8034"/>
                    <a:pt x="5168" y="6428"/>
                  </a:cubicBezTo>
                  <a:close/>
                  <a:moveTo>
                    <a:pt x="4664" y="1"/>
                  </a:moveTo>
                  <a:cubicBezTo>
                    <a:pt x="4380" y="1"/>
                    <a:pt x="4223" y="284"/>
                    <a:pt x="4349" y="536"/>
                  </a:cubicBezTo>
                  <a:cubicBezTo>
                    <a:pt x="5010" y="1860"/>
                    <a:pt x="5168" y="3403"/>
                    <a:pt x="4758" y="4853"/>
                  </a:cubicBezTo>
                  <a:cubicBezTo>
                    <a:pt x="4286" y="3718"/>
                    <a:pt x="3151" y="2868"/>
                    <a:pt x="1797" y="2868"/>
                  </a:cubicBezTo>
                  <a:cubicBezTo>
                    <a:pt x="1608" y="2868"/>
                    <a:pt x="1450" y="3057"/>
                    <a:pt x="1450" y="3246"/>
                  </a:cubicBezTo>
                  <a:cubicBezTo>
                    <a:pt x="1450" y="3907"/>
                    <a:pt x="1639" y="4537"/>
                    <a:pt x="2017" y="5042"/>
                  </a:cubicBezTo>
                  <a:cubicBezTo>
                    <a:pt x="978" y="5199"/>
                    <a:pt x="158" y="5766"/>
                    <a:pt x="158" y="5798"/>
                  </a:cubicBezTo>
                  <a:cubicBezTo>
                    <a:pt x="95" y="5861"/>
                    <a:pt x="1" y="5955"/>
                    <a:pt x="1" y="6081"/>
                  </a:cubicBezTo>
                  <a:cubicBezTo>
                    <a:pt x="1" y="6207"/>
                    <a:pt x="32" y="6302"/>
                    <a:pt x="158" y="6333"/>
                  </a:cubicBezTo>
                  <a:cubicBezTo>
                    <a:pt x="190" y="6396"/>
                    <a:pt x="978" y="6932"/>
                    <a:pt x="2017" y="7089"/>
                  </a:cubicBezTo>
                  <a:cubicBezTo>
                    <a:pt x="1639" y="7593"/>
                    <a:pt x="1450" y="8287"/>
                    <a:pt x="1450" y="8917"/>
                  </a:cubicBezTo>
                  <a:cubicBezTo>
                    <a:pt x="1450" y="9106"/>
                    <a:pt x="1608" y="9263"/>
                    <a:pt x="1797" y="9263"/>
                  </a:cubicBezTo>
                  <a:cubicBezTo>
                    <a:pt x="3151" y="9263"/>
                    <a:pt x="4286" y="8476"/>
                    <a:pt x="4758" y="7278"/>
                  </a:cubicBezTo>
                  <a:lnTo>
                    <a:pt x="4758" y="7278"/>
                  </a:lnTo>
                  <a:cubicBezTo>
                    <a:pt x="5168" y="8696"/>
                    <a:pt x="5010" y="10271"/>
                    <a:pt x="4349" y="11626"/>
                  </a:cubicBezTo>
                  <a:cubicBezTo>
                    <a:pt x="4223" y="11847"/>
                    <a:pt x="4380" y="12130"/>
                    <a:pt x="4664" y="12130"/>
                  </a:cubicBezTo>
                  <a:lnTo>
                    <a:pt x="7499" y="12130"/>
                  </a:lnTo>
                  <a:cubicBezTo>
                    <a:pt x="7751" y="12130"/>
                    <a:pt x="7909" y="11878"/>
                    <a:pt x="7814" y="11626"/>
                  </a:cubicBezTo>
                  <a:cubicBezTo>
                    <a:pt x="6932" y="9925"/>
                    <a:pt x="6932" y="7908"/>
                    <a:pt x="7814" y="6239"/>
                  </a:cubicBezTo>
                  <a:cubicBezTo>
                    <a:pt x="7846" y="6144"/>
                    <a:pt x="7846" y="6018"/>
                    <a:pt x="7814" y="5924"/>
                  </a:cubicBezTo>
                  <a:cubicBezTo>
                    <a:pt x="6932" y="4222"/>
                    <a:pt x="6932" y="2206"/>
                    <a:pt x="7814" y="505"/>
                  </a:cubicBezTo>
                  <a:cubicBezTo>
                    <a:pt x="7909" y="284"/>
                    <a:pt x="7720" y="1"/>
                    <a:pt x="749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2" name="Google Shape;7872;p76"/>
            <p:cNvSpPr/>
            <p:nvPr/>
          </p:nvSpPr>
          <p:spPr>
            <a:xfrm>
              <a:off x="-19962875" y="2110425"/>
              <a:ext cx="95325" cy="233175"/>
            </a:xfrm>
            <a:custGeom>
              <a:avLst/>
              <a:gdLst/>
              <a:ahLst/>
              <a:cxnLst/>
              <a:rect l="l" t="t" r="r" b="b"/>
              <a:pathLst>
                <a:path w="3813" h="9327" extrusionOk="0">
                  <a:moveTo>
                    <a:pt x="2773" y="725"/>
                  </a:moveTo>
                  <a:cubicBezTo>
                    <a:pt x="2269" y="1859"/>
                    <a:pt x="2269" y="3151"/>
                    <a:pt x="2773" y="4317"/>
                  </a:cubicBezTo>
                  <a:lnTo>
                    <a:pt x="1103" y="4317"/>
                  </a:lnTo>
                  <a:cubicBezTo>
                    <a:pt x="1639" y="3151"/>
                    <a:pt x="1639" y="1859"/>
                    <a:pt x="1103" y="725"/>
                  </a:cubicBezTo>
                  <a:close/>
                  <a:moveTo>
                    <a:pt x="2742" y="4978"/>
                  </a:moveTo>
                  <a:cubicBezTo>
                    <a:pt x="2458" y="5546"/>
                    <a:pt x="2332" y="6176"/>
                    <a:pt x="2332" y="6806"/>
                  </a:cubicBezTo>
                  <a:cubicBezTo>
                    <a:pt x="2332" y="7467"/>
                    <a:pt x="2490" y="8066"/>
                    <a:pt x="2742" y="8602"/>
                  </a:cubicBezTo>
                  <a:lnTo>
                    <a:pt x="1072" y="8602"/>
                  </a:lnTo>
                  <a:cubicBezTo>
                    <a:pt x="1355" y="8066"/>
                    <a:pt x="1482" y="7436"/>
                    <a:pt x="1482" y="6806"/>
                  </a:cubicBezTo>
                  <a:cubicBezTo>
                    <a:pt x="1482" y="6176"/>
                    <a:pt x="1355" y="5546"/>
                    <a:pt x="1072" y="4978"/>
                  </a:cubicBezTo>
                  <a:close/>
                  <a:moveTo>
                    <a:pt x="473" y="1"/>
                  </a:moveTo>
                  <a:cubicBezTo>
                    <a:pt x="221" y="1"/>
                    <a:pt x="32" y="347"/>
                    <a:pt x="158" y="568"/>
                  </a:cubicBezTo>
                  <a:cubicBezTo>
                    <a:pt x="914" y="1670"/>
                    <a:pt x="1009" y="3151"/>
                    <a:pt x="158" y="4474"/>
                  </a:cubicBezTo>
                  <a:cubicBezTo>
                    <a:pt x="95" y="4600"/>
                    <a:pt x="95" y="4726"/>
                    <a:pt x="158" y="4852"/>
                  </a:cubicBezTo>
                  <a:cubicBezTo>
                    <a:pt x="946" y="6050"/>
                    <a:pt x="946" y="7625"/>
                    <a:pt x="158" y="8759"/>
                  </a:cubicBezTo>
                  <a:cubicBezTo>
                    <a:pt x="1" y="9011"/>
                    <a:pt x="158" y="9326"/>
                    <a:pt x="473" y="9326"/>
                  </a:cubicBezTo>
                  <a:lnTo>
                    <a:pt x="3309" y="9326"/>
                  </a:lnTo>
                  <a:cubicBezTo>
                    <a:pt x="3592" y="9326"/>
                    <a:pt x="3813" y="9011"/>
                    <a:pt x="3624" y="8759"/>
                  </a:cubicBezTo>
                  <a:cubicBezTo>
                    <a:pt x="2836" y="7593"/>
                    <a:pt x="2836" y="6018"/>
                    <a:pt x="3624" y="4852"/>
                  </a:cubicBezTo>
                  <a:cubicBezTo>
                    <a:pt x="3718" y="4726"/>
                    <a:pt x="3718" y="4600"/>
                    <a:pt x="3624" y="4474"/>
                  </a:cubicBezTo>
                  <a:cubicBezTo>
                    <a:pt x="2836" y="3277"/>
                    <a:pt x="2836" y="1765"/>
                    <a:pt x="3624" y="568"/>
                  </a:cubicBezTo>
                  <a:cubicBezTo>
                    <a:pt x="3813" y="347"/>
                    <a:pt x="3624" y="1"/>
                    <a:pt x="33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73" name="Google Shape;7873;p76"/>
          <p:cNvSpPr/>
          <p:nvPr/>
        </p:nvSpPr>
        <p:spPr>
          <a:xfrm>
            <a:off x="3467963" y="3033956"/>
            <a:ext cx="630235" cy="629405"/>
          </a:xfrm>
          <a:custGeom>
            <a:avLst/>
            <a:gdLst/>
            <a:ahLst/>
            <a:cxnLst/>
            <a:rect l="l" t="t" r="r" b="b"/>
            <a:pathLst>
              <a:path w="12162" h="12146" extrusionOk="0">
                <a:moveTo>
                  <a:pt x="8979" y="686"/>
                </a:moveTo>
                <a:lnTo>
                  <a:pt x="11437" y="1946"/>
                </a:lnTo>
                <a:lnTo>
                  <a:pt x="11437" y="5096"/>
                </a:lnTo>
                <a:lnTo>
                  <a:pt x="8979" y="6357"/>
                </a:lnTo>
                <a:lnTo>
                  <a:pt x="8444" y="6073"/>
                </a:lnTo>
                <a:cubicBezTo>
                  <a:pt x="8444" y="5821"/>
                  <a:pt x="8381" y="5569"/>
                  <a:pt x="8286" y="5285"/>
                </a:cubicBezTo>
                <a:lnTo>
                  <a:pt x="9767" y="4939"/>
                </a:lnTo>
                <a:cubicBezTo>
                  <a:pt x="9956" y="4907"/>
                  <a:pt x="10082" y="4718"/>
                  <a:pt x="10019" y="4498"/>
                </a:cubicBezTo>
                <a:cubicBezTo>
                  <a:pt x="9993" y="4342"/>
                  <a:pt x="9861" y="4229"/>
                  <a:pt x="9709" y="4229"/>
                </a:cubicBezTo>
                <a:cubicBezTo>
                  <a:pt x="9676" y="4229"/>
                  <a:pt x="9643" y="4235"/>
                  <a:pt x="9609" y="4246"/>
                </a:cubicBezTo>
                <a:lnTo>
                  <a:pt x="7940" y="4655"/>
                </a:lnTo>
                <a:cubicBezTo>
                  <a:pt x="7877" y="4592"/>
                  <a:pt x="7814" y="4498"/>
                  <a:pt x="7751" y="4435"/>
                </a:cubicBezTo>
                <a:lnTo>
                  <a:pt x="8570" y="2986"/>
                </a:lnTo>
                <a:cubicBezTo>
                  <a:pt x="8664" y="2828"/>
                  <a:pt x="8601" y="2576"/>
                  <a:pt x="8444" y="2513"/>
                </a:cubicBezTo>
                <a:cubicBezTo>
                  <a:pt x="8385" y="2477"/>
                  <a:pt x="8317" y="2460"/>
                  <a:pt x="8250" y="2460"/>
                </a:cubicBezTo>
                <a:cubicBezTo>
                  <a:pt x="8139" y="2460"/>
                  <a:pt x="8030" y="2509"/>
                  <a:pt x="7971" y="2607"/>
                </a:cubicBezTo>
                <a:lnTo>
                  <a:pt x="7184" y="3994"/>
                </a:lnTo>
                <a:cubicBezTo>
                  <a:pt x="6963" y="3868"/>
                  <a:pt x="6774" y="3805"/>
                  <a:pt x="6490" y="3710"/>
                </a:cubicBezTo>
                <a:lnTo>
                  <a:pt x="6490" y="1946"/>
                </a:lnTo>
                <a:lnTo>
                  <a:pt x="8979" y="686"/>
                </a:lnTo>
                <a:close/>
                <a:moveTo>
                  <a:pt x="2438" y="3498"/>
                </a:moveTo>
                <a:cubicBezTo>
                  <a:pt x="2782" y="3498"/>
                  <a:pt x="3112" y="3707"/>
                  <a:pt x="3245" y="4088"/>
                </a:cubicBezTo>
                <a:lnTo>
                  <a:pt x="4191" y="6451"/>
                </a:lnTo>
                <a:cubicBezTo>
                  <a:pt x="3876" y="6231"/>
                  <a:pt x="2363" y="5380"/>
                  <a:pt x="2017" y="5191"/>
                </a:cubicBezTo>
                <a:cubicBezTo>
                  <a:pt x="1481" y="4907"/>
                  <a:pt x="1387" y="4183"/>
                  <a:pt x="1796" y="3773"/>
                </a:cubicBezTo>
                <a:cubicBezTo>
                  <a:pt x="1983" y="3587"/>
                  <a:pt x="2213" y="3498"/>
                  <a:pt x="2438" y="3498"/>
                </a:cubicBezTo>
                <a:close/>
                <a:moveTo>
                  <a:pt x="5970" y="4409"/>
                </a:moveTo>
                <a:cubicBezTo>
                  <a:pt x="6417" y="4409"/>
                  <a:pt x="6857" y="4584"/>
                  <a:pt x="7184" y="4939"/>
                </a:cubicBezTo>
                <a:cubicBezTo>
                  <a:pt x="7940" y="5695"/>
                  <a:pt x="7877" y="6987"/>
                  <a:pt x="6995" y="7648"/>
                </a:cubicBezTo>
                <a:lnTo>
                  <a:pt x="5230" y="6955"/>
                </a:lnTo>
                <a:lnTo>
                  <a:pt x="4506" y="5191"/>
                </a:lnTo>
                <a:cubicBezTo>
                  <a:pt x="4870" y="4671"/>
                  <a:pt x="5424" y="4409"/>
                  <a:pt x="5970" y="4409"/>
                </a:cubicBezTo>
                <a:close/>
                <a:moveTo>
                  <a:pt x="3025" y="6609"/>
                </a:moveTo>
                <a:lnTo>
                  <a:pt x="4632" y="7491"/>
                </a:lnTo>
                <a:lnTo>
                  <a:pt x="5545" y="9129"/>
                </a:lnTo>
                <a:lnTo>
                  <a:pt x="5419" y="9223"/>
                </a:lnTo>
                <a:lnTo>
                  <a:pt x="2899" y="6703"/>
                </a:lnTo>
                <a:lnTo>
                  <a:pt x="3025" y="6609"/>
                </a:lnTo>
                <a:close/>
                <a:moveTo>
                  <a:pt x="2395" y="7207"/>
                </a:moveTo>
                <a:lnTo>
                  <a:pt x="4915" y="9759"/>
                </a:lnTo>
                <a:lnTo>
                  <a:pt x="4758" y="9917"/>
                </a:lnTo>
                <a:cubicBezTo>
                  <a:pt x="4632" y="10011"/>
                  <a:pt x="4537" y="10106"/>
                  <a:pt x="4411" y="10232"/>
                </a:cubicBezTo>
                <a:lnTo>
                  <a:pt x="1922" y="7743"/>
                </a:lnTo>
                <a:cubicBezTo>
                  <a:pt x="1985" y="7617"/>
                  <a:pt x="2111" y="7491"/>
                  <a:pt x="2237" y="7396"/>
                </a:cubicBezTo>
                <a:lnTo>
                  <a:pt x="2395" y="7207"/>
                </a:lnTo>
                <a:close/>
                <a:moveTo>
                  <a:pt x="5734" y="7900"/>
                </a:moveTo>
                <a:cubicBezTo>
                  <a:pt x="6018" y="8026"/>
                  <a:pt x="7782" y="8719"/>
                  <a:pt x="8066" y="8845"/>
                </a:cubicBezTo>
                <a:cubicBezTo>
                  <a:pt x="8664" y="9066"/>
                  <a:pt x="8822" y="9854"/>
                  <a:pt x="8381" y="10295"/>
                </a:cubicBezTo>
                <a:cubicBezTo>
                  <a:pt x="8196" y="10479"/>
                  <a:pt x="7968" y="10564"/>
                  <a:pt x="7744" y="10564"/>
                </a:cubicBezTo>
                <a:cubicBezTo>
                  <a:pt x="7432" y="10564"/>
                  <a:pt x="7128" y="10399"/>
                  <a:pt x="6963" y="10106"/>
                </a:cubicBezTo>
                <a:cubicBezTo>
                  <a:pt x="6837" y="9854"/>
                  <a:pt x="5860" y="8089"/>
                  <a:pt x="5734" y="7900"/>
                </a:cubicBezTo>
                <a:close/>
                <a:moveTo>
                  <a:pt x="1576" y="8404"/>
                </a:moveTo>
                <a:lnTo>
                  <a:pt x="3750" y="10578"/>
                </a:lnTo>
                <a:cubicBezTo>
                  <a:pt x="3447" y="10661"/>
                  <a:pt x="3132" y="10707"/>
                  <a:pt x="2819" y="10707"/>
                </a:cubicBezTo>
                <a:cubicBezTo>
                  <a:pt x="2414" y="10707"/>
                  <a:pt x="2012" y="10630"/>
                  <a:pt x="1639" y="10452"/>
                </a:cubicBezTo>
                <a:cubicBezTo>
                  <a:pt x="1324" y="9791"/>
                  <a:pt x="1324" y="9034"/>
                  <a:pt x="1576" y="8404"/>
                </a:cubicBezTo>
                <a:close/>
                <a:moveTo>
                  <a:pt x="8956" y="0"/>
                </a:moveTo>
                <a:cubicBezTo>
                  <a:pt x="8901" y="0"/>
                  <a:pt x="8853" y="8"/>
                  <a:pt x="8822" y="24"/>
                </a:cubicBezTo>
                <a:lnTo>
                  <a:pt x="5986" y="1442"/>
                </a:lnTo>
                <a:cubicBezTo>
                  <a:pt x="5860" y="1505"/>
                  <a:pt x="5766" y="1631"/>
                  <a:pt x="5766" y="1757"/>
                </a:cubicBezTo>
                <a:lnTo>
                  <a:pt x="5766" y="3710"/>
                </a:lnTo>
                <a:cubicBezTo>
                  <a:pt x="5199" y="3773"/>
                  <a:pt x="4632" y="4025"/>
                  <a:pt x="4254" y="4435"/>
                </a:cubicBezTo>
                <a:lnTo>
                  <a:pt x="4002" y="3805"/>
                </a:lnTo>
                <a:cubicBezTo>
                  <a:pt x="3751" y="3149"/>
                  <a:pt x="3134" y="2788"/>
                  <a:pt x="2505" y="2788"/>
                </a:cubicBezTo>
                <a:cubicBezTo>
                  <a:pt x="2107" y="2788"/>
                  <a:pt x="1704" y="2932"/>
                  <a:pt x="1387" y="3238"/>
                </a:cubicBezTo>
                <a:cubicBezTo>
                  <a:pt x="631" y="3994"/>
                  <a:pt x="788" y="5285"/>
                  <a:pt x="1733" y="5821"/>
                </a:cubicBezTo>
                <a:lnTo>
                  <a:pt x="2426" y="6199"/>
                </a:lnTo>
                <a:lnTo>
                  <a:pt x="1765" y="6861"/>
                </a:lnTo>
                <a:cubicBezTo>
                  <a:pt x="788" y="7869"/>
                  <a:pt x="473" y="9349"/>
                  <a:pt x="1009" y="10641"/>
                </a:cubicBezTo>
                <a:lnTo>
                  <a:pt x="158" y="11523"/>
                </a:lnTo>
                <a:cubicBezTo>
                  <a:pt x="0" y="11681"/>
                  <a:pt x="0" y="11870"/>
                  <a:pt x="158" y="12027"/>
                </a:cubicBezTo>
                <a:cubicBezTo>
                  <a:pt x="237" y="12106"/>
                  <a:pt x="323" y="12146"/>
                  <a:pt x="410" y="12146"/>
                </a:cubicBezTo>
                <a:cubicBezTo>
                  <a:pt x="497" y="12146"/>
                  <a:pt x="583" y="12106"/>
                  <a:pt x="662" y="12027"/>
                </a:cubicBezTo>
                <a:lnTo>
                  <a:pt x="1544" y="11177"/>
                </a:lnTo>
                <a:cubicBezTo>
                  <a:pt x="1966" y="11341"/>
                  <a:pt x="2408" y="11422"/>
                  <a:pt x="2846" y="11422"/>
                </a:cubicBezTo>
                <a:cubicBezTo>
                  <a:pt x="3752" y="11422"/>
                  <a:pt x="4646" y="11079"/>
                  <a:pt x="5325" y="10421"/>
                </a:cubicBezTo>
                <a:lnTo>
                  <a:pt x="5986" y="9759"/>
                </a:lnTo>
                <a:lnTo>
                  <a:pt x="6364" y="10452"/>
                </a:lnTo>
                <a:cubicBezTo>
                  <a:pt x="6672" y="10994"/>
                  <a:pt x="7217" y="11277"/>
                  <a:pt x="7776" y="11277"/>
                </a:cubicBezTo>
                <a:cubicBezTo>
                  <a:pt x="8190" y="11277"/>
                  <a:pt x="8612" y="11121"/>
                  <a:pt x="8948" y="10799"/>
                </a:cubicBezTo>
                <a:cubicBezTo>
                  <a:pt x="9767" y="9980"/>
                  <a:pt x="9483" y="8593"/>
                  <a:pt x="8381" y="8184"/>
                </a:cubicBezTo>
                <a:lnTo>
                  <a:pt x="7751" y="7932"/>
                </a:lnTo>
                <a:cubicBezTo>
                  <a:pt x="8066" y="7617"/>
                  <a:pt x="8255" y="7270"/>
                  <a:pt x="8381" y="6829"/>
                </a:cubicBezTo>
                <a:lnTo>
                  <a:pt x="8822" y="7081"/>
                </a:lnTo>
                <a:cubicBezTo>
                  <a:pt x="8885" y="7097"/>
                  <a:pt x="8940" y="7105"/>
                  <a:pt x="8991" y="7105"/>
                </a:cubicBezTo>
                <a:cubicBezTo>
                  <a:pt x="9042" y="7105"/>
                  <a:pt x="9090" y="7097"/>
                  <a:pt x="9137" y="7081"/>
                </a:cubicBezTo>
                <a:lnTo>
                  <a:pt x="11972" y="5663"/>
                </a:lnTo>
                <a:cubicBezTo>
                  <a:pt x="12098" y="5569"/>
                  <a:pt x="12161" y="5443"/>
                  <a:pt x="12161" y="5348"/>
                </a:cubicBezTo>
                <a:lnTo>
                  <a:pt x="12161" y="1757"/>
                </a:lnTo>
                <a:cubicBezTo>
                  <a:pt x="12161" y="1631"/>
                  <a:pt x="12067" y="1473"/>
                  <a:pt x="11972" y="1442"/>
                </a:cubicBezTo>
                <a:lnTo>
                  <a:pt x="9137" y="24"/>
                </a:lnTo>
                <a:cubicBezTo>
                  <a:pt x="9074" y="8"/>
                  <a:pt x="9011" y="0"/>
                  <a:pt x="895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74" name="Google Shape;7874;p76"/>
          <p:cNvGrpSpPr/>
          <p:nvPr/>
        </p:nvGrpSpPr>
        <p:grpSpPr>
          <a:xfrm>
            <a:off x="3469591" y="3800377"/>
            <a:ext cx="630235" cy="633500"/>
            <a:chOff x="-20173175" y="2787775"/>
            <a:chExt cx="304050" cy="305625"/>
          </a:xfrm>
        </p:grpSpPr>
        <p:sp>
          <p:nvSpPr>
            <p:cNvPr id="7875" name="Google Shape;7875;p76"/>
            <p:cNvSpPr/>
            <p:nvPr/>
          </p:nvSpPr>
          <p:spPr>
            <a:xfrm>
              <a:off x="-19959725" y="2896475"/>
              <a:ext cx="18150" cy="18150"/>
            </a:xfrm>
            <a:custGeom>
              <a:avLst/>
              <a:gdLst/>
              <a:ahLst/>
              <a:cxnLst/>
              <a:rect l="l" t="t" r="r" b="b"/>
              <a:pathLst>
                <a:path w="726" h="726" extrusionOk="0">
                  <a:moveTo>
                    <a:pt x="347" y="0"/>
                  </a:moveTo>
                  <a:cubicBezTo>
                    <a:pt x="158" y="0"/>
                    <a:pt x="1" y="158"/>
                    <a:pt x="1" y="347"/>
                  </a:cubicBezTo>
                  <a:cubicBezTo>
                    <a:pt x="1" y="505"/>
                    <a:pt x="158" y="725"/>
                    <a:pt x="347" y="725"/>
                  </a:cubicBezTo>
                  <a:cubicBezTo>
                    <a:pt x="568" y="725"/>
                    <a:pt x="725" y="568"/>
                    <a:pt x="725" y="347"/>
                  </a:cubicBezTo>
                  <a:cubicBezTo>
                    <a:pt x="725" y="158"/>
                    <a:pt x="568"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6" name="Google Shape;7876;p76"/>
            <p:cNvSpPr/>
            <p:nvPr/>
          </p:nvSpPr>
          <p:spPr>
            <a:xfrm>
              <a:off x="-19941600" y="28602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7" name="Google Shape;7877;p76"/>
            <p:cNvSpPr/>
            <p:nvPr/>
          </p:nvSpPr>
          <p:spPr>
            <a:xfrm>
              <a:off x="-20102275" y="2895675"/>
              <a:ext cx="18125" cy="17375"/>
            </a:xfrm>
            <a:custGeom>
              <a:avLst/>
              <a:gdLst/>
              <a:ahLst/>
              <a:cxnLst/>
              <a:rect l="l" t="t" r="r" b="b"/>
              <a:pathLst>
                <a:path w="725" h="695" extrusionOk="0">
                  <a:moveTo>
                    <a:pt x="347" y="1"/>
                  </a:moveTo>
                  <a:cubicBezTo>
                    <a:pt x="158" y="1"/>
                    <a:pt x="0" y="159"/>
                    <a:pt x="0" y="348"/>
                  </a:cubicBezTo>
                  <a:cubicBezTo>
                    <a:pt x="0" y="537"/>
                    <a:pt x="158" y="694"/>
                    <a:pt x="347" y="694"/>
                  </a:cubicBezTo>
                  <a:cubicBezTo>
                    <a:pt x="536" y="694"/>
                    <a:pt x="725" y="537"/>
                    <a:pt x="725" y="348"/>
                  </a:cubicBezTo>
                  <a:cubicBezTo>
                    <a:pt x="725" y="159"/>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8" name="Google Shape;7878;p76"/>
            <p:cNvSpPr/>
            <p:nvPr/>
          </p:nvSpPr>
          <p:spPr>
            <a:xfrm>
              <a:off x="-20120400" y="2860250"/>
              <a:ext cx="18150" cy="17350"/>
            </a:xfrm>
            <a:custGeom>
              <a:avLst/>
              <a:gdLst/>
              <a:ahLst/>
              <a:cxnLst/>
              <a:rect l="l" t="t" r="r" b="b"/>
              <a:pathLst>
                <a:path w="726" h="694" extrusionOk="0">
                  <a:moveTo>
                    <a:pt x="379" y="0"/>
                  </a:moveTo>
                  <a:cubicBezTo>
                    <a:pt x="158" y="0"/>
                    <a:pt x="1" y="158"/>
                    <a:pt x="1" y="347"/>
                  </a:cubicBezTo>
                  <a:cubicBezTo>
                    <a:pt x="1" y="536"/>
                    <a:pt x="158" y="693"/>
                    <a:pt x="379" y="693"/>
                  </a:cubicBezTo>
                  <a:cubicBezTo>
                    <a:pt x="568" y="693"/>
                    <a:pt x="725" y="536"/>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79" name="Google Shape;7879;p76"/>
            <p:cNvSpPr/>
            <p:nvPr/>
          </p:nvSpPr>
          <p:spPr>
            <a:xfrm>
              <a:off x="-20173175" y="2787775"/>
              <a:ext cx="304050" cy="305625"/>
            </a:xfrm>
            <a:custGeom>
              <a:avLst/>
              <a:gdLst/>
              <a:ahLst/>
              <a:cxnLst/>
              <a:rect l="l" t="t" r="r" b="b"/>
              <a:pathLst>
                <a:path w="12162" h="12225" extrusionOk="0">
                  <a:moveTo>
                    <a:pt x="11437" y="1482"/>
                  </a:moveTo>
                  <a:lnTo>
                    <a:pt x="11437" y="3246"/>
                  </a:lnTo>
                  <a:lnTo>
                    <a:pt x="11406" y="3246"/>
                  </a:lnTo>
                  <a:cubicBezTo>
                    <a:pt x="11406" y="3844"/>
                    <a:pt x="10902" y="4317"/>
                    <a:pt x="10303" y="4317"/>
                  </a:cubicBezTo>
                  <a:cubicBezTo>
                    <a:pt x="10114" y="4317"/>
                    <a:pt x="9957" y="4475"/>
                    <a:pt x="9957" y="4664"/>
                  </a:cubicBezTo>
                  <a:cubicBezTo>
                    <a:pt x="9957" y="5262"/>
                    <a:pt x="9484" y="5735"/>
                    <a:pt x="8885" y="5735"/>
                  </a:cubicBezTo>
                  <a:lnTo>
                    <a:pt x="7121" y="5735"/>
                  </a:lnTo>
                  <a:cubicBezTo>
                    <a:pt x="7279" y="3435"/>
                    <a:pt x="9137" y="1639"/>
                    <a:pt x="11437" y="1482"/>
                  </a:cubicBezTo>
                  <a:close/>
                  <a:moveTo>
                    <a:pt x="663" y="1513"/>
                  </a:moveTo>
                  <a:cubicBezTo>
                    <a:pt x="2962" y="1671"/>
                    <a:pt x="4790" y="3529"/>
                    <a:pt x="4947" y="5766"/>
                  </a:cubicBezTo>
                  <a:lnTo>
                    <a:pt x="3183" y="5766"/>
                  </a:lnTo>
                  <a:cubicBezTo>
                    <a:pt x="2584" y="5766"/>
                    <a:pt x="2143" y="5294"/>
                    <a:pt x="2143" y="4695"/>
                  </a:cubicBezTo>
                  <a:cubicBezTo>
                    <a:pt x="2143" y="4506"/>
                    <a:pt x="1986" y="4348"/>
                    <a:pt x="1765" y="4348"/>
                  </a:cubicBezTo>
                  <a:cubicBezTo>
                    <a:pt x="1198" y="4348"/>
                    <a:pt x="663" y="3876"/>
                    <a:pt x="663" y="3277"/>
                  </a:cubicBezTo>
                  <a:lnTo>
                    <a:pt x="663" y="1513"/>
                  </a:lnTo>
                  <a:close/>
                  <a:moveTo>
                    <a:pt x="6018" y="4317"/>
                  </a:moveTo>
                  <a:cubicBezTo>
                    <a:pt x="6207" y="4317"/>
                    <a:pt x="6365" y="4475"/>
                    <a:pt x="6365" y="4664"/>
                  </a:cubicBezTo>
                  <a:lnTo>
                    <a:pt x="6365" y="8948"/>
                  </a:lnTo>
                  <a:cubicBezTo>
                    <a:pt x="6365" y="9169"/>
                    <a:pt x="6207" y="9326"/>
                    <a:pt x="6018" y="9326"/>
                  </a:cubicBezTo>
                  <a:cubicBezTo>
                    <a:pt x="5829" y="9326"/>
                    <a:pt x="5672" y="9169"/>
                    <a:pt x="5672" y="8948"/>
                  </a:cubicBezTo>
                  <a:lnTo>
                    <a:pt x="5672" y="4664"/>
                  </a:lnTo>
                  <a:cubicBezTo>
                    <a:pt x="5672" y="4475"/>
                    <a:pt x="5829" y="4317"/>
                    <a:pt x="6018" y="4317"/>
                  </a:cubicBezTo>
                  <a:close/>
                  <a:moveTo>
                    <a:pt x="4947" y="6459"/>
                  </a:moveTo>
                  <a:lnTo>
                    <a:pt x="4947" y="8948"/>
                  </a:lnTo>
                  <a:lnTo>
                    <a:pt x="4947" y="11122"/>
                  </a:lnTo>
                  <a:cubicBezTo>
                    <a:pt x="4947" y="11311"/>
                    <a:pt x="4790" y="11469"/>
                    <a:pt x="4601" y="11469"/>
                  </a:cubicBezTo>
                  <a:cubicBezTo>
                    <a:pt x="4412" y="11469"/>
                    <a:pt x="4254" y="11311"/>
                    <a:pt x="4254" y="11122"/>
                  </a:cubicBezTo>
                  <a:cubicBezTo>
                    <a:pt x="4254" y="10838"/>
                    <a:pt x="4128" y="10586"/>
                    <a:pt x="3939" y="10366"/>
                  </a:cubicBezTo>
                  <a:cubicBezTo>
                    <a:pt x="3750" y="10177"/>
                    <a:pt x="3467" y="10051"/>
                    <a:pt x="3183" y="10051"/>
                  </a:cubicBezTo>
                  <a:cubicBezTo>
                    <a:pt x="2175" y="10051"/>
                    <a:pt x="1324" y="9200"/>
                    <a:pt x="1419" y="8161"/>
                  </a:cubicBezTo>
                  <a:cubicBezTo>
                    <a:pt x="1450" y="7215"/>
                    <a:pt x="2332" y="6459"/>
                    <a:pt x="3309" y="6459"/>
                  </a:cubicBezTo>
                  <a:close/>
                  <a:moveTo>
                    <a:pt x="8791" y="6491"/>
                  </a:moveTo>
                  <a:cubicBezTo>
                    <a:pt x="9767" y="6491"/>
                    <a:pt x="10618" y="7215"/>
                    <a:pt x="10681" y="8161"/>
                  </a:cubicBezTo>
                  <a:cubicBezTo>
                    <a:pt x="10713" y="9200"/>
                    <a:pt x="9925" y="10051"/>
                    <a:pt x="8885" y="10051"/>
                  </a:cubicBezTo>
                  <a:cubicBezTo>
                    <a:pt x="8633" y="10051"/>
                    <a:pt x="8350" y="10177"/>
                    <a:pt x="8161" y="10366"/>
                  </a:cubicBezTo>
                  <a:cubicBezTo>
                    <a:pt x="7940" y="10586"/>
                    <a:pt x="7846" y="10838"/>
                    <a:pt x="7846" y="11122"/>
                  </a:cubicBezTo>
                  <a:cubicBezTo>
                    <a:pt x="7846" y="11311"/>
                    <a:pt x="7688" y="11469"/>
                    <a:pt x="7468" y="11469"/>
                  </a:cubicBezTo>
                  <a:cubicBezTo>
                    <a:pt x="7279" y="11469"/>
                    <a:pt x="7121" y="11311"/>
                    <a:pt x="7121" y="11122"/>
                  </a:cubicBezTo>
                  <a:lnTo>
                    <a:pt x="7121" y="8948"/>
                  </a:lnTo>
                  <a:lnTo>
                    <a:pt x="7121" y="6491"/>
                  </a:lnTo>
                  <a:close/>
                  <a:moveTo>
                    <a:pt x="4632" y="1"/>
                  </a:moveTo>
                  <a:cubicBezTo>
                    <a:pt x="4443" y="1"/>
                    <a:pt x="4286" y="158"/>
                    <a:pt x="4286" y="379"/>
                  </a:cubicBezTo>
                  <a:cubicBezTo>
                    <a:pt x="4286" y="568"/>
                    <a:pt x="4443" y="725"/>
                    <a:pt x="4632" y="725"/>
                  </a:cubicBezTo>
                  <a:cubicBezTo>
                    <a:pt x="5231" y="725"/>
                    <a:pt x="5703" y="1230"/>
                    <a:pt x="5703" y="1828"/>
                  </a:cubicBezTo>
                  <a:lnTo>
                    <a:pt x="5703" y="3687"/>
                  </a:lnTo>
                  <a:cubicBezTo>
                    <a:pt x="5546" y="3750"/>
                    <a:pt x="5388" y="3844"/>
                    <a:pt x="5262" y="4002"/>
                  </a:cubicBezTo>
                  <a:cubicBezTo>
                    <a:pt x="4443" y="2112"/>
                    <a:pt x="2553" y="757"/>
                    <a:pt x="348" y="757"/>
                  </a:cubicBezTo>
                  <a:cubicBezTo>
                    <a:pt x="158" y="757"/>
                    <a:pt x="1" y="914"/>
                    <a:pt x="1" y="1135"/>
                  </a:cubicBezTo>
                  <a:lnTo>
                    <a:pt x="1" y="3246"/>
                  </a:lnTo>
                  <a:cubicBezTo>
                    <a:pt x="1" y="4159"/>
                    <a:pt x="663" y="4853"/>
                    <a:pt x="1482" y="5010"/>
                  </a:cubicBezTo>
                  <a:cubicBezTo>
                    <a:pt x="1576" y="5451"/>
                    <a:pt x="1797" y="5798"/>
                    <a:pt x="2112" y="6081"/>
                  </a:cubicBezTo>
                  <a:cubicBezTo>
                    <a:pt x="1324" y="6491"/>
                    <a:pt x="820" y="7215"/>
                    <a:pt x="757" y="8129"/>
                  </a:cubicBezTo>
                  <a:cubicBezTo>
                    <a:pt x="663" y="9547"/>
                    <a:pt x="1797" y="10775"/>
                    <a:pt x="3214" y="10775"/>
                  </a:cubicBezTo>
                  <a:cubicBezTo>
                    <a:pt x="3435" y="10775"/>
                    <a:pt x="3593" y="10965"/>
                    <a:pt x="3593" y="11154"/>
                  </a:cubicBezTo>
                  <a:cubicBezTo>
                    <a:pt x="3593" y="11752"/>
                    <a:pt x="4065" y="12225"/>
                    <a:pt x="4632" y="12225"/>
                  </a:cubicBezTo>
                  <a:cubicBezTo>
                    <a:pt x="5231" y="12225"/>
                    <a:pt x="5703" y="11752"/>
                    <a:pt x="5703" y="11154"/>
                  </a:cubicBezTo>
                  <a:lnTo>
                    <a:pt x="5703" y="10019"/>
                  </a:lnTo>
                  <a:cubicBezTo>
                    <a:pt x="5829" y="10051"/>
                    <a:pt x="5955" y="10082"/>
                    <a:pt x="6050" y="10082"/>
                  </a:cubicBezTo>
                  <a:cubicBezTo>
                    <a:pt x="6176" y="10082"/>
                    <a:pt x="6302" y="10051"/>
                    <a:pt x="6428" y="10019"/>
                  </a:cubicBezTo>
                  <a:lnTo>
                    <a:pt x="6428" y="11154"/>
                  </a:lnTo>
                  <a:cubicBezTo>
                    <a:pt x="6428" y="11752"/>
                    <a:pt x="6901" y="12225"/>
                    <a:pt x="7468" y="12225"/>
                  </a:cubicBezTo>
                  <a:cubicBezTo>
                    <a:pt x="8066" y="12225"/>
                    <a:pt x="8539" y="11752"/>
                    <a:pt x="8539" y="11154"/>
                  </a:cubicBezTo>
                  <a:cubicBezTo>
                    <a:pt x="8539" y="10965"/>
                    <a:pt x="8696" y="10775"/>
                    <a:pt x="8885" y="10775"/>
                  </a:cubicBezTo>
                  <a:cubicBezTo>
                    <a:pt x="10303" y="10775"/>
                    <a:pt x="11469" y="9578"/>
                    <a:pt x="11374" y="8129"/>
                  </a:cubicBezTo>
                  <a:cubicBezTo>
                    <a:pt x="11343" y="7499"/>
                    <a:pt x="11059" y="6869"/>
                    <a:pt x="10555" y="6428"/>
                  </a:cubicBezTo>
                  <a:cubicBezTo>
                    <a:pt x="10398" y="6270"/>
                    <a:pt x="10209" y="6176"/>
                    <a:pt x="10051" y="6081"/>
                  </a:cubicBezTo>
                  <a:cubicBezTo>
                    <a:pt x="10366" y="5798"/>
                    <a:pt x="10587" y="5451"/>
                    <a:pt x="10681" y="5010"/>
                  </a:cubicBezTo>
                  <a:cubicBezTo>
                    <a:pt x="11500" y="4853"/>
                    <a:pt x="12162" y="4159"/>
                    <a:pt x="12162" y="3246"/>
                  </a:cubicBezTo>
                  <a:lnTo>
                    <a:pt x="12162" y="1135"/>
                  </a:lnTo>
                  <a:cubicBezTo>
                    <a:pt x="12130" y="914"/>
                    <a:pt x="11973" y="757"/>
                    <a:pt x="11784" y="757"/>
                  </a:cubicBezTo>
                  <a:cubicBezTo>
                    <a:pt x="9578" y="757"/>
                    <a:pt x="7688" y="2112"/>
                    <a:pt x="6838" y="4002"/>
                  </a:cubicBezTo>
                  <a:cubicBezTo>
                    <a:pt x="6743" y="3876"/>
                    <a:pt x="6585" y="3750"/>
                    <a:pt x="6428" y="3687"/>
                  </a:cubicBezTo>
                  <a:lnTo>
                    <a:pt x="6428" y="1828"/>
                  </a:lnTo>
                  <a:cubicBezTo>
                    <a:pt x="6428" y="1230"/>
                    <a:pt x="6901" y="725"/>
                    <a:pt x="7468" y="725"/>
                  </a:cubicBezTo>
                  <a:cubicBezTo>
                    <a:pt x="7688" y="725"/>
                    <a:pt x="7846" y="568"/>
                    <a:pt x="7846" y="379"/>
                  </a:cubicBezTo>
                  <a:cubicBezTo>
                    <a:pt x="7846" y="158"/>
                    <a:pt x="7688" y="1"/>
                    <a:pt x="7468" y="1"/>
                  </a:cubicBezTo>
                  <a:cubicBezTo>
                    <a:pt x="6995" y="1"/>
                    <a:pt x="6522" y="221"/>
                    <a:pt x="6207" y="568"/>
                  </a:cubicBezTo>
                  <a:cubicBezTo>
                    <a:pt x="6144" y="631"/>
                    <a:pt x="6113" y="694"/>
                    <a:pt x="6050" y="757"/>
                  </a:cubicBezTo>
                  <a:cubicBezTo>
                    <a:pt x="6018" y="694"/>
                    <a:pt x="5955" y="631"/>
                    <a:pt x="5892" y="568"/>
                  </a:cubicBezTo>
                  <a:cubicBezTo>
                    <a:pt x="5546" y="221"/>
                    <a:pt x="5105" y="1"/>
                    <a:pt x="463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0" name="Google Shape;7880;p76"/>
            <p:cNvSpPr/>
            <p:nvPr/>
          </p:nvSpPr>
          <p:spPr>
            <a:xfrm>
              <a:off x="-19977050" y="2967350"/>
              <a:ext cx="52800" cy="53600"/>
            </a:xfrm>
            <a:custGeom>
              <a:avLst/>
              <a:gdLst/>
              <a:ahLst/>
              <a:cxnLst/>
              <a:rect l="l" t="t" r="r" b="b"/>
              <a:pathLst>
                <a:path w="2112" h="2144" extrusionOk="0">
                  <a:moveTo>
                    <a:pt x="1040" y="726"/>
                  </a:moveTo>
                  <a:cubicBezTo>
                    <a:pt x="1261" y="726"/>
                    <a:pt x="1418" y="883"/>
                    <a:pt x="1418" y="1072"/>
                  </a:cubicBezTo>
                  <a:cubicBezTo>
                    <a:pt x="1418" y="1261"/>
                    <a:pt x="1261" y="1419"/>
                    <a:pt x="1040" y="1419"/>
                  </a:cubicBezTo>
                  <a:cubicBezTo>
                    <a:pt x="851" y="1419"/>
                    <a:pt x="694" y="1261"/>
                    <a:pt x="694" y="1072"/>
                  </a:cubicBezTo>
                  <a:cubicBezTo>
                    <a:pt x="694" y="883"/>
                    <a:pt x="851" y="726"/>
                    <a:pt x="1040" y="726"/>
                  </a:cubicBezTo>
                  <a:close/>
                  <a:moveTo>
                    <a:pt x="1040" y="1"/>
                  </a:moveTo>
                  <a:cubicBezTo>
                    <a:pt x="473" y="1"/>
                    <a:pt x="1" y="473"/>
                    <a:pt x="1" y="1072"/>
                  </a:cubicBezTo>
                  <a:cubicBezTo>
                    <a:pt x="1" y="1671"/>
                    <a:pt x="473" y="2143"/>
                    <a:pt x="1040" y="2143"/>
                  </a:cubicBezTo>
                  <a:cubicBezTo>
                    <a:pt x="1639" y="2143"/>
                    <a:pt x="2112" y="1671"/>
                    <a:pt x="2112" y="1072"/>
                  </a:cubicBezTo>
                  <a:cubicBezTo>
                    <a:pt x="2112"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1" name="Google Shape;7881;p76"/>
            <p:cNvSpPr/>
            <p:nvPr/>
          </p:nvSpPr>
          <p:spPr>
            <a:xfrm>
              <a:off x="-20119600" y="2967350"/>
              <a:ext cx="52800" cy="52800"/>
            </a:xfrm>
            <a:custGeom>
              <a:avLst/>
              <a:gdLst/>
              <a:ahLst/>
              <a:cxnLst/>
              <a:rect l="l" t="t" r="r" b="b"/>
              <a:pathLst>
                <a:path w="2112" h="2112" extrusionOk="0">
                  <a:moveTo>
                    <a:pt x="1040" y="726"/>
                  </a:moveTo>
                  <a:cubicBezTo>
                    <a:pt x="1229" y="726"/>
                    <a:pt x="1418" y="883"/>
                    <a:pt x="1418" y="1072"/>
                  </a:cubicBezTo>
                  <a:cubicBezTo>
                    <a:pt x="1418" y="1261"/>
                    <a:pt x="1229" y="1419"/>
                    <a:pt x="1040" y="1419"/>
                  </a:cubicBezTo>
                  <a:cubicBezTo>
                    <a:pt x="851" y="1419"/>
                    <a:pt x="693" y="1261"/>
                    <a:pt x="693" y="1072"/>
                  </a:cubicBezTo>
                  <a:cubicBezTo>
                    <a:pt x="693" y="883"/>
                    <a:pt x="851" y="726"/>
                    <a:pt x="1040" y="726"/>
                  </a:cubicBezTo>
                  <a:close/>
                  <a:moveTo>
                    <a:pt x="1040" y="1"/>
                  </a:moveTo>
                  <a:cubicBezTo>
                    <a:pt x="441" y="1"/>
                    <a:pt x="0" y="473"/>
                    <a:pt x="0" y="1072"/>
                  </a:cubicBezTo>
                  <a:cubicBezTo>
                    <a:pt x="0" y="1639"/>
                    <a:pt x="441" y="2112"/>
                    <a:pt x="1040" y="2112"/>
                  </a:cubicBezTo>
                  <a:cubicBezTo>
                    <a:pt x="1639" y="2112"/>
                    <a:pt x="2111" y="1639"/>
                    <a:pt x="2111" y="1072"/>
                  </a:cubicBezTo>
                  <a:cubicBezTo>
                    <a:pt x="2111" y="473"/>
                    <a:pt x="163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82" name="Google Shape;7882;p76"/>
          <p:cNvGrpSpPr/>
          <p:nvPr/>
        </p:nvGrpSpPr>
        <p:grpSpPr>
          <a:xfrm>
            <a:off x="7369570" y="3034086"/>
            <a:ext cx="631841" cy="628628"/>
            <a:chOff x="-18294675" y="2434925"/>
            <a:chExt cx="304825" cy="303275"/>
          </a:xfrm>
        </p:grpSpPr>
        <p:sp>
          <p:nvSpPr>
            <p:cNvPr id="7883" name="Google Shape;7883;p76"/>
            <p:cNvSpPr/>
            <p:nvPr/>
          </p:nvSpPr>
          <p:spPr>
            <a:xfrm>
              <a:off x="-18294675" y="2434925"/>
              <a:ext cx="304825" cy="303275"/>
            </a:xfrm>
            <a:custGeom>
              <a:avLst/>
              <a:gdLst/>
              <a:ahLst/>
              <a:cxnLst/>
              <a:rect l="l" t="t" r="r" b="b"/>
              <a:pathLst>
                <a:path w="12193" h="12131" extrusionOk="0">
                  <a:moveTo>
                    <a:pt x="1103" y="694"/>
                  </a:moveTo>
                  <a:cubicBezTo>
                    <a:pt x="2363" y="694"/>
                    <a:pt x="3497" y="1450"/>
                    <a:pt x="4033" y="2584"/>
                  </a:cubicBezTo>
                  <a:cubicBezTo>
                    <a:pt x="3434" y="2836"/>
                    <a:pt x="2867" y="3214"/>
                    <a:pt x="2363" y="3687"/>
                  </a:cubicBezTo>
                  <a:lnTo>
                    <a:pt x="2237" y="3813"/>
                  </a:lnTo>
                  <a:cubicBezTo>
                    <a:pt x="1323" y="3214"/>
                    <a:pt x="756" y="2175"/>
                    <a:pt x="756" y="1072"/>
                  </a:cubicBezTo>
                  <a:lnTo>
                    <a:pt x="756" y="694"/>
                  </a:lnTo>
                  <a:close/>
                  <a:moveTo>
                    <a:pt x="11500" y="694"/>
                  </a:moveTo>
                  <a:lnTo>
                    <a:pt x="11500" y="1072"/>
                  </a:lnTo>
                  <a:cubicBezTo>
                    <a:pt x="11500" y="2175"/>
                    <a:pt x="10901" y="3214"/>
                    <a:pt x="9924" y="3813"/>
                  </a:cubicBezTo>
                  <a:cubicBezTo>
                    <a:pt x="9420" y="3277"/>
                    <a:pt x="8822" y="2868"/>
                    <a:pt x="8192" y="2584"/>
                  </a:cubicBezTo>
                  <a:cubicBezTo>
                    <a:pt x="8696" y="1450"/>
                    <a:pt x="9893" y="694"/>
                    <a:pt x="11153" y="694"/>
                  </a:cubicBezTo>
                  <a:close/>
                  <a:moveTo>
                    <a:pt x="2806" y="7389"/>
                  </a:moveTo>
                  <a:cubicBezTo>
                    <a:pt x="2924" y="7389"/>
                    <a:pt x="3043" y="7413"/>
                    <a:pt x="3151" y="7467"/>
                  </a:cubicBezTo>
                  <a:cubicBezTo>
                    <a:pt x="3434" y="7625"/>
                    <a:pt x="3623" y="7908"/>
                    <a:pt x="3623" y="8223"/>
                  </a:cubicBezTo>
                  <a:lnTo>
                    <a:pt x="3623" y="9011"/>
                  </a:lnTo>
                  <a:cubicBezTo>
                    <a:pt x="3182" y="8507"/>
                    <a:pt x="2552" y="8160"/>
                    <a:pt x="1891" y="7940"/>
                  </a:cubicBezTo>
                  <a:lnTo>
                    <a:pt x="2206" y="7625"/>
                  </a:lnTo>
                  <a:cubicBezTo>
                    <a:pt x="2351" y="7480"/>
                    <a:pt x="2578" y="7389"/>
                    <a:pt x="2806" y="7389"/>
                  </a:cubicBezTo>
                  <a:close/>
                  <a:moveTo>
                    <a:pt x="9468" y="7444"/>
                  </a:moveTo>
                  <a:cubicBezTo>
                    <a:pt x="9681" y="7444"/>
                    <a:pt x="9891" y="7528"/>
                    <a:pt x="10050" y="7688"/>
                  </a:cubicBezTo>
                  <a:lnTo>
                    <a:pt x="10365" y="8003"/>
                  </a:lnTo>
                  <a:cubicBezTo>
                    <a:pt x="9672" y="8160"/>
                    <a:pt x="9042" y="8507"/>
                    <a:pt x="8633" y="9043"/>
                  </a:cubicBezTo>
                  <a:lnTo>
                    <a:pt x="8633" y="8255"/>
                  </a:lnTo>
                  <a:cubicBezTo>
                    <a:pt x="8633" y="7940"/>
                    <a:pt x="8790" y="7688"/>
                    <a:pt x="9105" y="7530"/>
                  </a:cubicBezTo>
                  <a:cubicBezTo>
                    <a:pt x="9221" y="7473"/>
                    <a:pt x="9345" y="7444"/>
                    <a:pt x="9468" y="7444"/>
                  </a:cubicBezTo>
                  <a:close/>
                  <a:moveTo>
                    <a:pt x="6112" y="9484"/>
                  </a:moveTo>
                  <a:cubicBezTo>
                    <a:pt x="6270" y="9484"/>
                    <a:pt x="6427" y="9610"/>
                    <a:pt x="6459" y="9736"/>
                  </a:cubicBezTo>
                  <a:lnTo>
                    <a:pt x="6112" y="10145"/>
                  </a:lnTo>
                  <a:lnTo>
                    <a:pt x="5734" y="9736"/>
                  </a:lnTo>
                  <a:cubicBezTo>
                    <a:pt x="5797" y="9578"/>
                    <a:pt x="5955" y="9484"/>
                    <a:pt x="6112" y="9484"/>
                  </a:cubicBezTo>
                  <a:close/>
                  <a:moveTo>
                    <a:pt x="6270" y="2836"/>
                  </a:moveTo>
                  <a:cubicBezTo>
                    <a:pt x="8633" y="2899"/>
                    <a:pt x="10554" y="4884"/>
                    <a:pt x="10743" y="7310"/>
                  </a:cubicBezTo>
                  <a:lnTo>
                    <a:pt x="10554" y="7121"/>
                  </a:lnTo>
                  <a:cubicBezTo>
                    <a:pt x="10258" y="6824"/>
                    <a:pt x="9861" y="6664"/>
                    <a:pt x="9467" y="6664"/>
                  </a:cubicBezTo>
                  <a:cubicBezTo>
                    <a:pt x="9234" y="6664"/>
                    <a:pt x="9001" y="6720"/>
                    <a:pt x="8790" y="6837"/>
                  </a:cubicBezTo>
                  <a:cubicBezTo>
                    <a:pt x="8255" y="7121"/>
                    <a:pt x="7908" y="7625"/>
                    <a:pt x="7908" y="8223"/>
                  </a:cubicBezTo>
                  <a:lnTo>
                    <a:pt x="7908" y="9043"/>
                  </a:lnTo>
                  <a:cubicBezTo>
                    <a:pt x="7908" y="9641"/>
                    <a:pt x="7719" y="10240"/>
                    <a:pt x="7372" y="10744"/>
                  </a:cubicBezTo>
                  <a:cubicBezTo>
                    <a:pt x="7278" y="10870"/>
                    <a:pt x="7215" y="10933"/>
                    <a:pt x="7120" y="11027"/>
                  </a:cubicBezTo>
                  <a:cubicBezTo>
                    <a:pt x="6931" y="11216"/>
                    <a:pt x="6679" y="11342"/>
                    <a:pt x="6490" y="11374"/>
                  </a:cubicBezTo>
                  <a:lnTo>
                    <a:pt x="6490" y="10838"/>
                  </a:lnTo>
                  <a:lnTo>
                    <a:pt x="7120" y="10051"/>
                  </a:lnTo>
                  <a:cubicBezTo>
                    <a:pt x="7152" y="9956"/>
                    <a:pt x="7215" y="9893"/>
                    <a:pt x="7215" y="9799"/>
                  </a:cubicBezTo>
                  <a:cubicBezTo>
                    <a:pt x="7215" y="9200"/>
                    <a:pt x="6742" y="8728"/>
                    <a:pt x="6144" y="8728"/>
                  </a:cubicBezTo>
                  <a:cubicBezTo>
                    <a:pt x="5545" y="8728"/>
                    <a:pt x="5073" y="9200"/>
                    <a:pt x="5073" y="9799"/>
                  </a:cubicBezTo>
                  <a:cubicBezTo>
                    <a:pt x="5073" y="9893"/>
                    <a:pt x="5104" y="9956"/>
                    <a:pt x="5167" y="10051"/>
                  </a:cubicBezTo>
                  <a:lnTo>
                    <a:pt x="5797" y="10838"/>
                  </a:lnTo>
                  <a:lnTo>
                    <a:pt x="5797" y="11374"/>
                  </a:lnTo>
                  <a:cubicBezTo>
                    <a:pt x="5545" y="11311"/>
                    <a:pt x="5356" y="11185"/>
                    <a:pt x="5199" y="11027"/>
                  </a:cubicBezTo>
                  <a:cubicBezTo>
                    <a:pt x="5104" y="10933"/>
                    <a:pt x="5041" y="10838"/>
                    <a:pt x="4947" y="10744"/>
                  </a:cubicBezTo>
                  <a:cubicBezTo>
                    <a:pt x="4600" y="10271"/>
                    <a:pt x="4411" y="9673"/>
                    <a:pt x="4411" y="9043"/>
                  </a:cubicBezTo>
                  <a:lnTo>
                    <a:pt x="4411" y="8223"/>
                  </a:lnTo>
                  <a:cubicBezTo>
                    <a:pt x="4411" y="7625"/>
                    <a:pt x="4096" y="7121"/>
                    <a:pt x="3529" y="6837"/>
                  </a:cubicBezTo>
                  <a:cubicBezTo>
                    <a:pt x="3318" y="6720"/>
                    <a:pt x="3085" y="6664"/>
                    <a:pt x="2852" y="6664"/>
                  </a:cubicBezTo>
                  <a:cubicBezTo>
                    <a:pt x="2458" y="6664"/>
                    <a:pt x="2061" y="6824"/>
                    <a:pt x="1765" y="7121"/>
                  </a:cubicBezTo>
                  <a:lnTo>
                    <a:pt x="1576" y="7310"/>
                  </a:lnTo>
                  <a:cubicBezTo>
                    <a:pt x="1607" y="6270"/>
                    <a:pt x="2017" y="5230"/>
                    <a:pt x="2678" y="4443"/>
                  </a:cubicBezTo>
                  <a:cubicBezTo>
                    <a:pt x="2741" y="4317"/>
                    <a:pt x="2867" y="4254"/>
                    <a:pt x="2962" y="4128"/>
                  </a:cubicBezTo>
                  <a:cubicBezTo>
                    <a:pt x="3466" y="3655"/>
                    <a:pt x="4001" y="3309"/>
                    <a:pt x="4632" y="3057"/>
                  </a:cubicBezTo>
                  <a:cubicBezTo>
                    <a:pt x="5167" y="2899"/>
                    <a:pt x="5703" y="2836"/>
                    <a:pt x="6270" y="2836"/>
                  </a:cubicBezTo>
                  <a:close/>
                  <a:moveTo>
                    <a:pt x="11153" y="1"/>
                  </a:moveTo>
                  <a:cubicBezTo>
                    <a:pt x="10334" y="1"/>
                    <a:pt x="9483" y="253"/>
                    <a:pt x="8822" y="757"/>
                  </a:cubicBezTo>
                  <a:cubicBezTo>
                    <a:pt x="8255" y="1135"/>
                    <a:pt x="7782" y="1733"/>
                    <a:pt x="7530" y="2364"/>
                  </a:cubicBezTo>
                  <a:cubicBezTo>
                    <a:pt x="7120" y="2238"/>
                    <a:pt x="6679" y="2175"/>
                    <a:pt x="6270" y="2175"/>
                  </a:cubicBezTo>
                  <a:cubicBezTo>
                    <a:pt x="5703" y="2175"/>
                    <a:pt x="5199" y="2206"/>
                    <a:pt x="4695" y="2364"/>
                  </a:cubicBezTo>
                  <a:cubicBezTo>
                    <a:pt x="4411" y="1733"/>
                    <a:pt x="3938" y="1166"/>
                    <a:pt x="3371" y="788"/>
                  </a:cubicBezTo>
                  <a:cubicBezTo>
                    <a:pt x="2710" y="253"/>
                    <a:pt x="1891" y="32"/>
                    <a:pt x="1071" y="32"/>
                  </a:cubicBezTo>
                  <a:lnTo>
                    <a:pt x="347" y="32"/>
                  </a:lnTo>
                  <a:cubicBezTo>
                    <a:pt x="158" y="32"/>
                    <a:pt x="0" y="190"/>
                    <a:pt x="0" y="379"/>
                  </a:cubicBezTo>
                  <a:lnTo>
                    <a:pt x="0" y="1103"/>
                  </a:lnTo>
                  <a:cubicBezTo>
                    <a:pt x="0" y="1859"/>
                    <a:pt x="189" y="2553"/>
                    <a:pt x="599" y="3183"/>
                  </a:cubicBezTo>
                  <a:cubicBezTo>
                    <a:pt x="914" y="3655"/>
                    <a:pt x="1292" y="4096"/>
                    <a:pt x="1765" y="4411"/>
                  </a:cubicBezTo>
                  <a:cubicBezTo>
                    <a:pt x="1544" y="4726"/>
                    <a:pt x="1323" y="5073"/>
                    <a:pt x="1166" y="5420"/>
                  </a:cubicBezTo>
                  <a:cubicBezTo>
                    <a:pt x="914" y="6113"/>
                    <a:pt x="756" y="6806"/>
                    <a:pt x="756" y="7562"/>
                  </a:cubicBezTo>
                  <a:lnTo>
                    <a:pt x="756" y="8255"/>
                  </a:lnTo>
                  <a:cubicBezTo>
                    <a:pt x="756" y="8475"/>
                    <a:pt x="914" y="8633"/>
                    <a:pt x="1103" y="8633"/>
                  </a:cubicBezTo>
                  <a:cubicBezTo>
                    <a:pt x="1891" y="8633"/>
                    <a:pt x="2647" y="8980"/>
                    <a:pt x="3119" y="9610"/>
                  </a:cubicBezTo>
                  <a:lnTo>
                    <a:pt x="4316" y="11185"/>
                  </a:lnTo>
                  <a:cubicBezTo>
                    <a:pt x="4411" y="11311"/>
                    <a:pt x="4537" y="11405"/>
                    <a:pt x="4632" y="11531"/>
                  </a:cubicBezTo>
                  <a:cubicBezTo>
                    <a:pt x="5041" y="11941"/>
                    <a:pt x="5545" y="12130"/>
                    <a:pt x="6112" y="12130"/>
                  </a:cubicBezTo>
                  <a:cubicBezTo>
                    <a:pt x="6648" y="12130"/>
                    <a:pt x="7152" y="11941"/>
                    <a:pt x="7561" y="11531"/>
                  </a:cubicBezTo>
                  <a:cubicBezTo>
                    <a:pt x="7687" y="11405"/>
                    <a:pt x="7782" y="11311"/>
                    <a:pt x="7877" y="11185"/>
                  </a:cubicBezTo>
                  <a:lnTo>
                    <a:pt x="9105" y="9610"/>
                  </a:lnTo>
                  <a:cubicBezTo>
                    <a:pt x="9578" y="8980"/>
                    <a:pt x="10302" y="8633"/>
                    <a:pt x="11090" y="8633"/>
                  </a:cubicBezTo>
                  <a:cubicBezTo>
                    <a:pt x="11311" y="8633"/>
                    <a:pt x="11468" y="8475"/>
                    <a:pt x="11468" y="8255"/>
                  </a:cubicBezTo>
                  <a:lnTo>
                    <a:pt x="11468" y="7751"/>
                  </a:lnTo>
                  <a:cubicBezTo>
                    <a:pt x="11468" y="6522"/>
                    <a:pt x="11059" y="5388"/>
                    <a:pt x="10397" y="4411"/>
                  </a:cubicBezTo>
                  <a:cubicBezTo>
                    <a:pt x="10870" y="4096"/>
                    <a:pt x="11311" y="3655"/>
                    <a:pt x="11626" y="3151"/>
                  </a:cubicBezTo>
                  <a:cubicBezTo>
                    <a:pt x="12004" y="2521"/>
                    <a:pt x="12193" y="1796"/>
                    <a:pt x="12193" y="1072"/>
                  </a:cubicBezTo>
                  <a:lnTo>
                    <a:pt x="12193" y="347"/>
                  </a:lnTo>
                  <a:cubicBezTo>
                    <a:pt x="12193" y="158"/>
                    <a:pt x="12035" y="1"/>
                    <a:pt x="1184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4" name="Google Shape;7884;p76"/>
            <p:cNvSpPr/>
            <p:nvPr/>
          </p:nvSpPr>
          <p:spPr>
            <a:xfrm>
              <a:off x="-18223800" y="2559575"/>
              <a:ext cx="37050" cy="36850"/>
            </a:xfrm>
            <a:custGeom>
              <a:avLst/>
              <a:gdLst/>
              <a:ahLst/>
              <a:cxnLst/>
              <a:rect l="l" t="t" r="r" b="b"/>
              <a:pathLst>
                <a:path w="1482" h="1474" extrusionOk="0">
                  <a:moveTo>
                    <a:pt x="410" y="0"/>
                  </a:moveTo>
                  <a:cubicBezTo>
                    <a:pt x="324" y="0"/>
                    <a:pt x="237" y="40"/>
                    <a:pt x="158" y="118"/>
                  </a:cubicBezTo>
                  <a:cubicBezTo>
                    <a:pt x="1" y="276"/>
                    <a:pt x="1" y="497"/>
                    <a:pt x="158" y="654"/>
                  </a:cubicBezTo>
                  <a:lnTo>
                    <a:pt x="851" y="1347"/>
                  </a:lnTo>
                  <a:cubicBezTo>
                    <a:pt x="946" y="1442"/>
                    <a:pt x="1009" y="1473"/>
                    <a:pt x="1103" y="1473"/>
                  </a:cubicBezTo>
                  <a:cubicBezTo>
                    <a:pt x="1166" y="1473"/>
                    <a:pt x="1292" y="1442"/>
                    <a:pt x="1324" y="1347"/>
                  </a:cubicBezTo>
                  <a:cubicBezTo>
                    <a:pt x="1481" y="1190"/>
                    <a:pt x="1481" y="1001"/>
                    <a:pt x="1324" y="843"/>
                  </a:cubicBezTo>
                  <a:lnTo>
                    <a:pt x="662" y="118"/>
                  </a:lnTo>
                  <a:cubicBezTo>
                    <a:pt x="584" y="40"/>
                    <a:pt x="497" y="0"/>
                    <a:pt x="41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5" name="Google Shape;7885;p76"/>
            <p:cNvSpPr/>
            <p:nvPr/>
          </p:nvSpPr>
          <p:spPr>
            <a:xfrm>
              <a:off x="-18098550" y="2559575"/>
              <a:ext cx="37825" cy="36850"/>
            </a:xfrm>
            <a:custGeom>
              <a:avLst/>
              <a:gdLst/>
              <a:ahLst/>
              <a:cxnLst/>
              <a:rect l="l" t="t" r="r" b="b"/>
              <a:pathLst>
                <a:path w="1513" h="1474" extrusionOk="0">
                  <a:moveTo>
                    <a:pt x="1103" y="0"/>
                  </a:moveTo>
                  <a:cubicBezTo>
                    <a:pt x="1016" y="0"/>
                    <a:pt x="929" y="40"/>
                    <a:pt x="851" y="118"/>
                  </a:cubicBezTo>
                  <a:lnTo>
                    <a:pt x="158" y="843"/>
                  </a:lnTo>
                  <a:cubicBezTo>
                    <a:pt x="0" y="1001"/>
                    <a:pt x="0" y="1190"/>
                    <a:pt x="158" y="1347"/>
                  </a:cubicBezTo>
                  <a:cubicBezTo>
                    <a:pt x="221" y="1442"/>
                    <a:pt x="315" y="1473"/>
                    <a:pt x="410" y="1473"/>
                  </a:cubicBezTo>
                  <a:cubicBezTo>
                    <a:pt x="504" y="1473"/>
                    <a:pt x="630" y="1442"/>
                    <a:pt x="662" y="1347"/>
                  </a:cubicBezTo>
                  <a:lnTo>
                    <a:pt x="1355" y="623"/>
                  </a:lnTo>
                  <a:cubicBezTo>
                    <a:pt x="1512" y="465"/>
                    <a:pt x="1512" y="276"/>
                    <a:pt x="1355" y="118"/>
                  </a:cubicBezTo>
                  <a:cubicBezTo>
                    <a:pt x="1276" y="40"/>
                    <a:pt x="1189" y="0"/>
                    <a:pt x="110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86" name="Google Shape;7886;p76"/>
          <p:cNvGrpSpPr/>
          <p:nvPr/>
        </p:nvGrpSpPr>
        <p:grpSpPr>
          <a:xfrm>
            <a:off x="7444656" y="3802810"/>
            <a:ext cx="481667" cy="628628"/>
            <a:chOff x="-18258450" y="2809825"/>
            <a:chExt cx="232375" cy="303275"/>
          </a:xfrm>
        </p:grpSpPr>
        <p:sp>
          <p:nvSpPr>
            <p:cNvPr id="7887" name="Google Shape;7887;p76"/>
            <p:cNvSpPr/>
            <p:nvPr/>
          </p:nvSpPr>
          <p:spPr>
            <a:xfrm>
              <a:off x="-18177325" y="2908300"/>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8" name="Google Shape;7888;p76"/>
            <p:cNvSpPr/>
            <p:nvPr/>
          </p:nvSpPr>
          <p:spPr>
            <a:xfrm>
              <a:off x="-18123775" y="2908300"/>
              <a:ext cx="18150" cy="18125"/>
            </a:xfrm>
            <a:custGeom>
              <a:avLst/>
              <a:gdLst/>
              <a:ahLst/>
              <a:cxnLst/>
              <a:rect l="l" t="t" r="r" b="b"/>
              <a:pathLst>
                <a:path w="726" h="725" extrusionOk="0">
                  <a:moveTo>
                    <a:pt x="379" y="0"/>
                  </a:moveTo>
                  <a:cubicBezTo>
                    <a:pt x="158" y="0"/>
                    <a:pt x="1" y="158"/>
                    <a:pt x="1" y="347"/>
                  </a:cubicBezTo>
                  <a:cubicBezTo>
                    <a:pt x="1" y="567"/>
                    <a:pt x="158" y="725"/>
                    <a:pt x="379" y="725"/>
                  </a:cubicBezTo>
                  <a:cubicBezTo>
                    <a:pt x="568" y="725"/>
                    <a:pt x="725" y="567"/>
                    <a:pt x="725" y="347"/>
                  </a:cubicBezTo>
                  <a:cubicBezTo>
                    <a:pt x="725" y="158"/>
                    <a:pt x="568" y="0"/>
                    <a:pt x="37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89" name="Google Shape;7889;p76"/>
            <p:cNvSpPr/>
            <p:nvPr/>
          </p:nvSpPr>
          <p:spPr>
            <a:xfrm>
              <a:off x="-18258450" y="2809825"/>
              <a:ext cx="232375" cy="303275"/>
            </a:xfrm>
            <a:custGeom>
              <a:avLst/>
              <a:gdLst/>
              <a:ahLst/>
              <a:cxnLst/>
              <a:rect l="l" t="t" r="r" b="b"/>
              <a:pathLst>
                <a:path w="9295" h="12131" extrusionOk="0">
                  <a:moveTo>
                    <a:pt x="4663" y="726"/>
                  </a:moveTo>
                  <a:cubicBezTo>
                    <a:pt x="5640" y="726"/>
                    <a:pt x="6617" y="1387"/>
                    <a:pt x="7373" y="2553"/>
                  </a:cubicBezTo>
                  <a:cubicBezTo>
                    <a:pt x="7121" y="2490"/>
                    <a:pt x="6459" y="2238"/>
                    <a:pt x="6175" y="2175"/>
                  </a:cubicBezTo>
                  <a:cubicBezTo>
                    <a:pt x="6144" y="2159"/>
                    <a:pt x="6097" y="2151"/>
                    <a:pt x="6049" y="2151"/>
                  </a:cubicBezTo>
                  <a:cubicBezTo>
                    <a:pt x="6002" y="2151"/>
                    <a:pt x="5955" y="2159"/>
                    <a:pt x="5923" y="2175"/>
                  </a:cubicBezTo>
                  <a:lnTo>
                    <a:pt x="4663" y="2805"/>
                  </a:lnTo>
                  <a:lnTo>
                    <a:pt x="3403" y="2175"/>
                  </a:lnTo>
                  <a:cubicBezTo>
                    <a:pt x="3356" y="2159"/>
                    <a:pt x="3301" y="2151"/>
                    <a:pt x="3249" y="2151"/>
                  </a:cubicBezTo>
                  <a:cubicBezTo>
                    <a:pt x="3198" y="2151"/>
                    <a:pt x="3151" y="2159"/>
                    <a:pt x="3120" y="2175"/>
                  </a:cubicBezTo>
                  <a:lnTo>
                    <a:pt x="1922" y="2553"/>
                  </a:lnTo>
                  <a:cubicBezTo>
                    <a:pt x="2710" y="1387"/>
                    <a:pt x="3718" y="726"/>
                    <a:pt x="4663" y="726"/>
                  </a:cubicBezTo>
                  <a:close/>
                  <a:moveTo>
                    <a:pt x="6144" y="2868"/>
                  </a:moveTo>
                  <a:lnTo>
                    <a:pt x="6617" y="3025"/>
                  </a:lnTo>
                  <a:cubicBezTo>
                    <a:pt x="7341" y="3908"/>
                    <a:pt x="7404" y="5168"/>
                    <a:pt x="6743" y="6081"/>
                  </a:cubicBezTo>
                  <a:lnTo>
                    <a:pt x="6112" y="6396"/>
                  </a:lnTo>
                  <a:lnTo>
                    <a:pt x="5041" y="5829"/>
                  </a:lnTo>
                  <a:lnTo>
                    <a:pt x="5041" y="5325"/>
                  </a:lnTo>
                  <a:cubicBezTo>
                    <a:pt x="5041" y="5136"/>
                    <a:pt x="4884" y="4979"/>
                    <a:pt x="4695" y="4979"/>
                  </a:cubicBezTo>
                  <a:cubicBezTo>
                    <a:pt x="4506" y="4979"/>
                    <a:pt x="4348" y="5136"/>
                    <a:pt x="4348" y="5325"/>
                  </a:cubicBezTo>
                  <a:lnTo>
                    <a:pt x="4348" y="5829"/>
                  </a:lnTo>
                  <a:lnTo>
                    <a:pt x="3277" y="6396"/>
                  </a:lnTo>
                  <a:lnTo>
                    <a:pt x="2647" y="6081"/>
                  </a:lnTo>
                  <a:cubicBezTo>
                    <a:pt x="1985" y="5136"/>
                    <a:pt x="2048" y="3908"/>
                    <a:pt x="2773" y="3025"/>
                  </a:cubicBezTo>
                  <a:lnTo>
                    <a:pt x="3246" y="2868"/>
                  </a:lnTo>
                  <a:lnTo>
                    <a:pt x="4537" y="3498"/>
                  </a:lnTo>
                  <a:cubicBezTo>
                    <a:pt x="4600" y="3530"/>
                    <a:pt x="4655" y="3545"/>
                    <a:pt x="4707" y="3545"/>
                  </a:cubicBezTo>
                  <a:cubicBezTo>
                    <a:pt x="4758" y="3545"/>
                    <a:pt x="4805" y="3530"/>
                    <a:pt x="4852" y="3498"/>
                  </a:cubicBezTo>
                  <a:lnTo>
                    <a:pt x="6144" y="2868"/>
                  </a:lnTo>
                  <a:close/>
                  <a:moveTo>
                    <a:pt x="7530" y="6459"/>
                  </a:moveTo>
                  <a:lnTo>
                    <a:pt x="8601" y="7027"/>
                  </a:lnTo>
                  <a:cubicBezTo>
                    <a:pt x="8507" y="9641"/>
                    <a:pt x="6932" y="11469"/>
                    <a:pt x="4663" y="11469"/>
                  </a:cubicBezTo>
                  <a:cubicBezTo>
                    <a:pt x="2363" y="11469"/>
                    <a:pt x="788" y="9704"/>
                    <a:pt x="725" y="7027"/>
                  </a:cubicBezTo>
                  <a:lnTo>
                    <a:pt x="1765" y="6459"/>
                  </a:lnTo>
                  <a:lnTo>
                    <a:pt x="2206" y="6648"/>
                  </a:lnTo>
                  <a:lnTo>
                    <a:pt x="3088" y="7090"/>
                  </a:lnTo>
                  <a:cubicBezTo>
                    <a:pt x="3135" y="7105"/>
                    <a:pt x="3190" y="7113"/>
                    <a:pt x="3246" y="7113"/>
                  </a:cubicBezTo>
                  <a:cubicBezTo>
                    <a:pt x="3301" y="7113"/>
                    <a:pt x="3356" y="7105"/>
                    <a:pt x="3403" y="7090"/>
                  </a:cubicBezTo>
                  <a:lnTo>
                    <a:pt x="4663" y="6459"/>
                  </a:lnTo>
                  <a:lnTo>
                    <a:pt x="5923" y="7090"/>
                  </a:lnTo>
                  <a:cubicBezTo>
                    <a:pt x="5971" y="7105"/>
                    <a:pt x="6026" y="7113"/>
                    <a:pt x="6081" y="7113"/>
                  </a:cubicBezTo>
                  <a:cubicBezTo>
                    <a:pt x="6136" y="7113"/>
                    <a:pt x="6191" y="7105"/>
                    <a:pt x="6238" y="7090"/>
                  </a:cubicBezTo>
                  <a:lnTo>
                    <a:pt x="7089" y="6648"/>
                  </a:lnTo>
                  <a:lnTo>
                    <a:pt x="7530" y="6459"/>
                  </a:lnTo>
                  <a:close/>
                  <a:moveTo>
                    <a:pt x="4663" y="1"/>
                  </a:moveTo>
                  <a:cubicBezTo>
                    <a:pt x="3214" y="1"/>
                    <a:pt x="1796" y="1135"/>
                    <a:pt x="883" y="3025"/>
                  </a:cubicBezTo>
                  <a:cubicBezTo>
                    <a:pt x="776" y="3265"/>
                    <a:pt x="939" y="3527"/>
                    <a:pt x="1163" y="3527"/>
                  </a:cubicBezTo>
                  <a:cubicBezTo>
                    <a:pt x="1205" y="3527"/>
                    <a:pt x="1248" y="3518"/>
                    <a:pt x="1292" y="3498"/>
                  </a:cubicBezTo>
                  <a:lnTo>
                    <a:pt x="1702" y="3403"/>
                  </a:lnTo>
                  <a:lnTo>
                    <a:pt x="1702" y="3403"/>
                  </a:lnTo>
                  <a:cubicBezTo>
                    <a:pt x="1387" y="4128"/>
                    <a:pt x="1355" y="4979"/>
                    <a:pt x="1607" y="5766"/>
                  </a:cubicBezTo>
                  <a:lnTo>
                    <a:pt x="221" y="6459"/>
                  </a:lnTo>
                  <a:cubicBezTo>
                    <a:pt x="95" y="6554"/>
                    <a:pt x="1" y="6648"/>
                    <a:pt x="1" y="6774"/>
                  </a:cubicBezTo>
                  <a:cubicBezTo>
                    <a:pt x="1" y="10209"/>
                    <a:pt x="2143" y="12130"/>
                    <a:pt x="4663" y="12130"/>
                  </a:cubicBezTo>
                  <a:cubicBezTo>
                    <a:pt x="7184" y="12130"/>
                    <a:pt x="9294" y="10177"/>
                    <a:pt x="9294" y="6774"/>
                  </a:cubicBezTo>
                  <a:cubicBezTo>
                    <a:pt x="9294" y="6648"/>
                    <a:pt x="9231" y="6554"/>
                    <a:pt x="9105" y="6459"/>
                  </a:cubicBezTo>
                  <a:lnTo>
                    <a:pt x="7688" y="5766"/>
                  </a:lnTo>
                  <a:cubicBezTo>
                    <a:pt x="7971" y="5010"/>
                    <a:pt x="7971" y="4191"/>
                    <a:pt x="7593" y="3403"/>
                  </a:cubicBezTo>
                  <a:lnTo>
                    <a:pt x="7593" y="3403"/>
                  </a:lnTo>
                  <a:lnTo>
                    <a:pt x="8003" y="3498"/>
                  </a:lnTo>
                  <a:cubicBezTo>
                    <a:pt x="8052" y="3518"/>
                    <a:pt x="8099" y="3527"/>
                    <a:pt x="8144" y="3527"/>
                  </a:cubicBezTo>
                  <a:cubicBezTo>
                    <a:pt x="8387" y="3527"/>
                    <a:pt x="8550" y="3265"/>
                    <a:pt x="8444" y="3025"/>
                  </a:cubicBezTo>
                  <a:cubicBezTo>
                    <a:pt x="7530" y="1135"/>
                    <a:pt x="6112" y="1"/>
                    <a:pt x="46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90" name="Google Shape;7890;p76"/>
          <p:cNvSpPr/>
          <p:nvPr/>
        </p:nvSpPr>
        <p:spPr>
          <a:xfrm>
            <a:off x="1942119" y="4592991"/>
            <a:ext cx="628628" cy="633500"/>
          </a:xfrm>
          <a:custGeom>
            <a:avLst/>
            <a:gdLst/>
            <a:ahLst/>
            <a:cxnLst/>
            <a:rect l="l" t="t" r="r" b="b"/>
            <a:pathLst>
              <a:path w="12131" h="12225" extrusionOk="0">
                <a:moveTo>
                  <a:pt x="6050" y="756"/>
                </a:moveTo>
                <a:cubicBezTo>
                  <a:pt x="6239" y="756"/>
                  <a:pt x="6396" y="914"/>
                  <a:pt x="6396" y="1103"/>
                </a:cubicBezTo>
                <a:cubicBezTo>
                  <a:pt x="6396" y="1324"/>
                  <a:pt x="6239" y="1481"/>
                  <a:pt x="6050" y="1481"/>
                </a:cubicBezTo>
                <a:cubicBezTo>
                  <a:pt x="5861" y="1481"/>
                  <a:pt x="5703" y="1324"/>
                  <a:pt x="5703" y="1103"/>
                </a:cubicBezTo>
                <a:cubicBezTo>
                  <a:pt x="5703" y="914"/>
                  <a:pt x="5861" y="756"/>
                  <a:pt x="6050" y="756"/>
                </a:cubicBezTo>
                <a:close/>
                <a:moveTo>
                  <a:pt x="3183" y="2174"/>
                </a:moveTo>
                <a:cubicBezTo>
                  <a:pt x="3372" y="2174"/>
                  <a:pt x="3530" y="2332"/>
                  <a:pt x="3530" y="2521"/>
                </a:cubicBezTo>
                <a:cubicBezTo>
                  <a:pt x="3530" y="2741"/>
                  <a:pt x="3372" y="2899"/>
                  <a:pt x="3183" y="2899"/>
                </a:cubicBezTo>
                <a:cubicBezTo>
                  <a:pt x="2994" y="2899"/>
                  <a:pt x="2836" y="2741"/>
                  <a:pt x="2836" y="2521"/>
                </a:cubicBezTo>
                <a:cubicBezTo>
                  <a:pt x="2836" y="2332"/>
                  <a:pt x="2994" y="2174"/>
                  <a:pt x="3183" y="2174"/>
                </a:cubicBezTo>
                <a:close/>
                <a:moveTo>
                  <a:pt x="8885" y="2174"/>
                </a:moveTo>
                <a:cubicBezTo>
                  <a:pt x="9074" y="2174"/>
                  <a:pt x="9232" y="2332"/>
                  <a:pt x="9232" y="2521"/>
                </a:cubicBezTo>
                <a:cubicBezTo>
                  <a:pt x="9232" y="2741"/>
                  <a:pt x="9074" y="2899"/>
                  <a:pt x="8885" y="2899"/>
                </a:cubicBezTo>
                <a:cubicBezTo>
                  <a:pt x="8696" y="2899"/>
                  <a:pt x="8539" y="2741"/>
                  <a:pt x="8539" y="2521"/>
                </a:cubicBezTo>
                <a:cubicBezTo>
                  <a:pt x="8539" y="2332"/>
                  <a:pt x="8696" y="2174"/>
                  <a:pt x="8885" y="2174"/>
                </a:cubicBezTo>
                <a:close/>
                <a:moveTo>
                  <a:pt x="6050" y="3718"/>
                </a:moveTo>
                <a:cubicBezTo>
                  <a:pt x="6396" y="4033"/>
                  <a:pt x="7153" y="4726"/>
                  <a:pt x="7562" y="5640"/>
                </a:cubicBezTo>
                <a:cubicBezTo>
                  <a:pt x="6869" y="6238"/>
                  <a:pt x="6365" y="6931"/>
                  <a:pt x="6050" y="7814"/>
                </a:cubicBezTo>
                <a:cubicBezTo>
                  <a:pt x="5735" y="6994"/>
                  <a:pt x="5199" y="6238"/>
                  <a:pt x="4569" y="5640"/>
                </a:cubicBezTo>
                <a:cubicBezTo>
                  <a:pt x="4947" y="4726"/>
                  <a:pt x="5703" y="4033"/>
                  <a:pt x="6050" y="3718"/>
                </a:cubicBezTo>
                <a:close/>
                <a:moveTo>
                  <a:pt x="1009" y="5010"/>
                </a:moveTo>
                <a:cubicBezTo>
                  <a:pt x="3561" y="5010"/>
                  <a:pt x="5672" y="7089"/>
                  <a:pt x="5672" y="9704"/>
                </a:cubicBezTo>
                <a:lnTo>
                  <a:pt x="5672" y="10050"/>
                </a:lnTo>
                <a:lnTo>
                  <a:pt x="5294" y="10050"/>
                </a:lnTo>
                <a:cubicBezTo>
                  <a:pt x="2773" y="10050"/>
                  <a:pt x="663" y="7971"/>
                  <a:pt x="663" y="5356"/>
                </a:cubicBezTo>
                <a:lnTo>
                  <a:pt x="663" y="5010"/>
                </a:lnTo>
                <a:close/>
                <a:moveTo>
                  <a:pt x="11406" y="5010"/>
                </a:moveTo>
                <a:lnTo>
                  <a:pt x="11406" y="5356"/>
                </a:lnTo>
                <a:cubicBezTo>
                  <a:pt x="11406" y="7971"/>
                  <a:pt x="9326" y="10050"/>
                  <a:pt x="6775" y="10050"/>
                </a:cubicBezTo>
                <a:lnTo>
                  <a:pt x="6396" y="10050"/>
                </a:lnTo>
                <a:lnTo>
                  <a:pt x="6396" y="9704"/>
                </a:lnTo>
                <a:cubicBezTo>
                  <a:pt x="6396" y="7089"/>
                  <a:pt x="8507" y="5010"/>
                  <a:pt x="11059" y="5010"/>
                </a:cubicBezTo>
                <a:close/>
                <a:moveTo>
                  <a:pt x="7814" y="10649"/>
                </a:moveTo>
                <a:lnTo>
                  <a:pt x="7814" y="10775"/>
                </a:lnTo>
                <a:cubicBezTo>
                  <a:pt x="7814" y="11153"/>
                  <a:pt x="7499" y="11468"/>
                  <a:pt x="7121" y="11468"/>
                </a:cubicBezTo>
                <a:cubicBezTo>
                  <a:pt x="6712" y="11468"/>
                  <a:pt x="6396" y="11153"/>
                  <a:pt x="6396" y="10775"/>
                </a:cubicBezTo>
                <a:cubicBezTo>
                  <a:pt x="6838" y="10775"/>
                  <a:pt x="7247" y="10775"/>
                  <a:pt x="7814" y="10649"/>
                </a:cubicBezTo>
                <a:close/>
                <a:moveTo>
                  <a:pt x="4286" y="10680"/>
                </a:moveTo>
                <a:cubicBezTo>
                  <a:pt x="4884" y="10806"/>
                  <a:pt x="5262" y="10806"/>
                  <a:pt x="5703" y="10806"/>
                </a:cubicBezTo>
                <a:cubicBezTo>
                  <a:pt x="5703" y="11153"/>
                  <a:pt x="5388" y="11500"/>
                  <a:pt x="4979" y="11500"/>
                </a:cubicBezTo>
                <a:cubicBezTo>
                  <a:pt x="4601" y="11500"/>
                  <a:pt x="4286" y="11185"/>
                  <a:pt x="4286" y="10806"/>
                </a:cubicBezTo>
                <a:lnTo>
                  <a:pt x="4286" y="10680"/>
                </a:lnTo>
                <a:close/>
                <a:moveTo>
                  <a:pt x="6050" y="0"/>
                </a:moveTo>
                <a:cubicBezTo>
                  <a:pt x="5451" y="0"/>
                  <a:pt x="4979" y="473"/>
                  <a:pt x="4979" y="1071"/>
                </a:cubicBezTo>
                <a:cubicBezTo>
                  <a:pt x="4979" y="1544"/>
                  <a:pt x="5294" y="1922"/>
                  <a:pt x="5703" y="2080"/>
                </a:cubicBezTo>
                <a:lnTo>
                  <a:pt x="5703" y="3025"/>
                </a:lnTo>
                <a:cubicBezTo>
                  <a:pt x="5357" y="3308"/>
                  <a:pt x="4475" y="4096"/>
                  <a:pt x="3971" y="5167"/>
                </a:cubicBezTo>
                <a:cubicBezTo>
                  <a:pt x="3845" y="5104"/>
                  <a:pt x="3687" y="5010"/>
                  <a:pt x="3561" y="4947"/>
                </a:cubicBezTo>
                <a:lnTo>
                  <a:pt x="3561" y="3529"/>
                </a:lnTo>
                <a:cubicBezTo>
                  <a:pt x="4002" y="3371"/>
                  <a:pt x="4286" y="2962"/>
                  <a:pt x="4286" y="2489"/>
                </a:cubicBezTo>
                <a:cubicBezTo>
                  <a:pt x="4286" y="1891"/>
                  <a:pt x="3813" y="1418"/>
                  <a:pt x="3214" y="1418"/>
                </a:cubicBezTo>
                <a:cubicBezTo>
                  <a:pt x="2616" y="1418"/>
                  <a:pt x="2143" y="1891"/>
                  <a:pt x="2143" y="2489"/>
                </a:cubicBezTo>
                <a:cubicBezTo>
                  <a:pt x="2143" y="2962"/>
                  <a:pt x="2458" y="3371"/>
                  <a:pt x="2868" y="3529"/>
                </a:cubicBezTo>
                <a:lnTo>
                  <a:pt x="2868" y="4632"/>
                </a:lnTo>
                <a:cubicBezTo>
                  <a:pt x="2269" y="4411"/>
                  <a:pt x="1671" y="4316"/>
                  <a:pt x="1041" y="4316"/>
                </a:cubicBezTo>
                <a:lnTo>
                  <a:pt x="348" y="4316"/>
                </a:lnTo>
                <a:cubicBezTo>
                  <a:pt x="158" y="4316"/>
                  <a:pt x="1" y="4474"/>
                  <a:pt x="1" y="4663"/>
                </a:cubicBezTo>
                <a:lnTo>
                  <a:pt x="1" y="5356"/>
                </a:lnTo>
                <a:cubicBezTo>
                  <a:pt x="1" y="6774"/>
                  <a:pt x="537" y="8160"/>
                  <a:pt x="1576" y="9200"/>
                </a:cubicBezTo>
                <a:cubicBezTo>
                  <a:pt x="2143" y="9767"/>
                  <a:pt x="2836" y="10208"/>
                  <a:pt x="3561" y="10491"/>
                </a:cubicBezTo>
                <a:lnTo>
                  <a:pt x="3561" y="10806"/>
                </a:lnTo>
                <a:cubicBezTo>
                  <a:pt x="3561" y="11594"/>
                  <a:pt x="4191" y="12224"/>
                  <a:pt x="4979" y="12224"/>
                </a:cubicBezTo>
                <a:cubicBezTo>
                  <a:pt x="5420" y="12224"/>
                  <a:pt x="5829" y="12035"/>
                  <a:pt x="6050" y="11752"/>
                </a:cubicBezTo>
                <a:cubicBezTo>
                  <a:pt x="6333" y="12067"/>
                  <a:pt x="6680" y="12224"/>
                  <a:pt x="7121" y="12224"/>
                </a:cubicBezTo>
                <a:cubicBezTo>
                  <a:pt x="7909" y="12224"/>
                  <a:pt x="8539" y="11594"/>
                  <a:pt x="8539" y="10806"/>
                </a:cubicBezTo>
                <a:lnTo>
                  <a:pt x="8539" y="10491"/>
                </a:lnTo>
                <a:cubicBezTo>
                  <a:pt x="9295" y="10208"/>
                  <a:pt x="9957" y="9767"/>
                  <a:pt x="10555" y="9200"/>
                </a:cubicBezTo>
                <a:cubicBezTo>
                  <a:pt x="11563" y="8160"/>
                  <a:pt x="12130" y="6837"/>
                  <a:pt x="12130" y="5356"/>
                </a:cubicBezTo>
                <a:lnTo>
                  <a:pt x="12130" y="4663"/>
                </a:lnTo>
                <a:cubicBezTo>
                  <a:pt x="12130" y="4474"/>
                  <a:pt x="11973" y="4316"/>
                  <a:pt x="11752" y="4316"/>
                </a:cubicBezTo>
                <a:lnTo>
                  <a:pt x="11059" y="4316"/>
                </a:lnTo>
                <a:cubicBezTo>
                  <a:pt x="10429" y="4316"/>
                  <a:pt x="9831" y="4411"/>
                  <a:pt x="9232" y="4632"/>
                </a:cubicBezTo>
                <a:lnTo>
                  <a:pt x="9232" y="3529"/>
                </a:lnTo>
                <a:cubicBezTo>
                  <a:pt x="9673" y="3371"/>
                  <a:pt x="9957" y="2962"/>
                  <a:pt x="9957" y="2489"/>
                </a:cubicBezTo>
                <a:cubicBezTo>
                  <a:pt x="9957" y="1891"/>
                  <a:pt x="9484" y="1418"/>
                  <a:pt x="8885" y="1418"/>
                </a:cubicBezTo>
                <a:cubicBezTo>
                  <a:pt x="8287" y="1418"/>
                  <a:pt x="7814" y="1891"/>
                  <a:pt x="7814" y="2489"/>
                </a:cubicBezTo>
                <a:cubicBezTo>
                  <a:pt x="7814" y="2962"/>
                  <a:pt x="8129" y="3371"/>
                  <a:pt x="8539" y="3529"/>
                </a:cubicBezTo>
                <a:lnTo>
                  <a:pt x="8539" y="4947"/>
                </a:lnTo>
                <a:cubicBezTo>
                  <a:pt x="8381" y="5010"/>
                  <a:pt x="8255" y="5104"/>
                  <a:pt x="8129" y="5167"/>
                </a:cubicBezTo>
                <a:cubicBezTo>
                  <a:pt x="7625" y="4096"/>
                  <a:pt x="6775" y="3308"/>
                  <a:pt x="6396" y="3025"/>
                </a:cubicBezTo>
                <a:lnTo>
                  <a:pt x="6396" y="2080"/>
                </a:lnTo>
                <a:cubicBezTo>
                  <a:pt x="6838" y="1922"/>
                  <a:pt x="7121" y="1544"/>
                  <a:pt x="7121" y="1071"/>
                </a:cubicBezTo>
                <a:cubicBezTo>
                  <a:pt x="7121" y="473"/>
                  <a:pt x="6649" y="0"/>
                  <a:pt x="605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891" name="Google Shape;7891;p76"/>
          <p:cNvGrpSpPr/>
          <p:nvPr/>
        </p:nvGrpSpPr>
        <p:grpSpPr>
          <a:xfrm>
            <a:off x="5058257" y="4593644"/>
            <a:ext cx="553489" cy="631893"/>
            <a:chOff x="-16422500" y="2425450"/>
            <a:chExt cx="267025" cy="304850"/>
          </a:xfrm>
        </p:grpSpPr>
        <p:sp>
          <p:nvSpPr>
            <p:cNvPr id="7892" name="Google Shape;7892;p76"/>
            <p:cNvSpPr/>
            <p:nvPr/>
          </p:nvSpPr>
          <p:spPr>
            <a:xfrm>
              <a:off x="-16350825" y="2515275"/>
              <a:ext cx="17350" cy="18125"/>
            </a:xfrm>
            <a:custGeom>
              <a:avLst/>
              <a:gdLst/>
              <a:ahLst/>
              <a:cxnLst/>
              <a:rect l="l" t="t" r="r" b="b"/>
              <a:pathLst>
                <a:path w="694" h="725" extrusionOk="0">
                  <a:moveTo>
                    <a:pt x="347" y="0"/>
                  </a:moveTo>
                  <a:cubicBezTo>
                    <a:pt x="158" y="0"/>
                    <a:pt x="1" y="158"/>
                    <a:pt x="1" y="347"/>
                  </a:cubicBezTo>
                  <a:cubicBezTo>
                    <a:pt x="1" y="567"/>
                    <a:pt x="158" y="725"/>
                    <a:pt x="347" y="725"/>
                  </a:cubicBezTo>
                  <a:cubicBezTo>
                    <a:pt x="536" y="725"/>
                    <a:pt x="694" y="567"/>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3" name="Google Shape;7893;p76"/>
            <p:cNvSpPr/>
            <p:nvPr/>
          </p:nvSpPr>
          <p:spPr>
            <a:xfrm>
              <a:off x="-16245275" y="2515275"/>
              <a:ext cx="18125" cy="18125"/>
            </a:xfrm>
            <a:custGeom>
              <a:avLst/>
              <a:gdLst/>
              <a:ahLst/>
              <a:cxnLst/>
              <a:rect l="l" t="t" r="r" b="b"/>
              <a:pathLst>
                <a:path w="725" h="725" extrusionOk="0">
                  <a:moveTo>
                    <a:pt x="378" y="0"/>
                  </a:moveTo>
                  <a:cubicBezTo>
                    <a:pt x="158" y="0"/>
                    <a:pt x="0" y="158"/>
                    <a:pt x="0" y="378"/>
                  </a:cubicBezTo>
                  <a:cubicBezTo>
                    <a:pt x="0" y="567"/>
                    <a:pt x="158" y="725"/>
                    <a:pt x="378" y="725"/>
                  </a:cubicBezTo>
                  <a:cubicBezTo>
                    <a:pt x="567" y="725"/>
                    <a:pt x="725" y="567"/>
                    <a:pt x="725" y="378"/>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4" name="Google Shape;7894;p76"/>
            <p:cNvSpPr/>
            <p:nvPr/>
          </p:nvSpPr>
          <p:spPr>
            <a:xfrm>
              <a:off x="-16422500" y="2425450"/>
              <a:ext cx="267025" cy="304850"/>
            </a:xfrm>
            <a:custGeom>
              <a:avLst/>
              <a:gdLst/>
              <a:ahLst/>
              <a:cxnLst/>
              <a:rect l="l" t="t" r="r" b="b"/>
              <a:pathLst>
                <a:path w="10681" h="12194" extrusionOk="0">
                  <a:moveTo>
                    <a:pt x="5325" y="5925"/>
                  </a:moveTo>
                  <a:cubicBezTo>
                    <a:pt x="5482" y="5925"/>
                    <a:pt x="5640" y="6051"/>
                    <a:pt x="5703" y="6177"/>
                  </a:cubicBezTo>
                  <a:lnTo>
                    <a:pt x="5325" y="6586"/>
                  </a:lnTo>
                  <a:lnTo>
                    <a:pt x="4978" y="6177"/>
                  </a:lnTo>
                  <a:cubicBezTo>
                    <a:pt x="5010" y="6019"/>
                    <a:pt x="5167" y="5925"/>
                    <a:pt x="5325" y="5925"/>
                  </a:cubicBezTo>
                  <a:close/>
                  <a:moveTo>
                    <a:pt x="4411" y="5767"/>
                  </a:moveTo>
                  <a:cubicBezTo>
                    <a:pt x="4348" y="5925"/>
                    <a:pt x="4254" y="6114"/>
                    <a:pt x="4254" y="6334"/>
                  </a:cubicBezTo>
                  <a:cubicBezTo>
                    <a:pt x="4254" y="6366"/>
                    <a:pt x="4254" y="6429"/>
                    <a:pt x="4348" y="6523"/>
                  </a:cubicBezTo>
                  <a:lnTo>
                    <a:pt x="4978" y="7311"/>
                  </a:lnTo>
                  <a:cubicBezTo>
                    <a:pt x="4884" y="8004"/>
                    <a:pt x="4317" y="8602"/>
                    <a:pt x="3561" y="8602"/>
                  </a:cubicBezTo>
                  <a:cubicBezTo>
                    <a:pt x="2773" y="8602"/>
                    <a:pt x="2143" y="7972"/>
                    <a:pt x="2143" y="7185"/>
                  </a:cubicBezTo>
                  <a:cubicBezTo>
                    <a:pt x="2143" y="6397"/>
                    <a:pt x="2773" y="5767"/>
                    <a:pt x="3561" y="5767"/>
                  </a:cubicBezTo>
                  <a:close/>
                  <a:moveTo>
                    <a:pt x="7089" y="5735"/>
                  </a:moveTo>
                  <a:cubicBezTo>
                    <a:pt x="7877" y="5735"/>
                    <a:pt x="8507" y="6366"/>
                    <a:pt x="8507" y="7153"/>
                  </a:cubicBezTo>
                  <a:cubicBezTo>
                    <a:pt x="8507" y="7972"/>
                    <a:pt x="7877" y="8602"/>
                    <a:pt x="7089" y="8602"/>
                  </a:cubicBezTo>
                  <a:cubicBezTo>
                    <a:pt x="6365" y="8602"/>
                    <a:pt x="5734" y="8004"/>
                    <a:pt x="5671" y="7311"/>
                  </a:cubicBezTo>
                  <a:lnTo>
                    <a:pt x="6302" y="6523"/>
                  </a:lnTo>
                  <a:cubicBezTo>
                    <a:pt x="6365" y="6429"/>
                    <a:pt x="6396" y="6366"/>
                    <a:pt x="6396" y="6271"/>
                  </a:cubicBezTo>
                  <a:cubicBezTo>
                    <a:pt x="6396" y="6082"/>
                    <a:pt x="6365" y="5893"/>
                    <a:pt x="6239" y="5735"/>
                  </a:cubicBezTo>
                  <a:close/>
                  <a:moveTo>
                    <a:pt x="5317" y="725"/>
                  </a:moveTo>
                  <a:cubicBezTo>
                    <a:pt x="6534" y="725"/>
                    <a:pt x="7685" y="1194"/>
                    <a:pt x="8570" y="2018"/>
                  </a:cubicBezTo>
                  <a:cubicBezTo>
                    <a:pt x="9452" y="2932"/>
                    <a:pt x="9988" y="4129"/>
                    <a:pt x="9988" y="5389"/>
                  </a:cubicBezTo>
                  <a:lnTo>
                    <a:pt x="9988" y="8256"/>
                  </a:lnTo>
                  <a:cubicBezTo>
                    <a:pt x="9988" y="8854"/>
                    <a:pt x="9515" y="9327"/>
                    <a:pt x="8916" y="9327"/>
                  </a:cubicBezTo>
                  <a:lnTo>
                    <a:pt x="8570" y="9327"/>
                  </a:lnTo>
                  <a:lnTo>
                    <a:pt x="8570" y="8760"/>
                  </a:lnTo>
                  <a:cubicBezTo>
                    <a:pt x="9043" y="8350"/>
                    <a:pt x="9263" y="7783"/>
                    <a:pt x="9263" y="7153"/>
                  </a:cubicBezTo>
                  <a:cubicBezTo>
                    <a:pt x="9263" y="5956"/>
                    <a:pt x="8318" y="5011"/>
                    <a:pt x="7152" y="5011"/>
                  </a:cubicBezTo>
                  <a:lnTo>
                    <a:pt x="3561" y="5011"/>
                  </a:lnTo>
                  <a:cubicBezTo>
                    <a:pt x="2363" y="5011"/>
                    <a:pt x="1418" y="5956"/>
                    <a:pt x="1418" y="7153"/>
                  </a:cubicBezTo>
                  <a:cubicBezTo>
                    <a:pt x="1418" y="7783"/>
                    <a:pt x="1702" y="8319"/>
                    <a:pt x="2143" y="8760"/>
                  </a:cubicBezTo>
                  <a:lnTo>
                    <a:pt x="2143" y="9327"/>
                  </a:lnTo>
                  <a:lnTo>
                    <a:pt x="1796" y="9327"/>
                  </a:lnTo>
                  <a:cubicBezTo>
                    <a:pt x="1198" y="9327"/>
                    <a:pt x="725" y="8854"/>
                    <a:pt x="725" y="8256"/>
                  </a:cubicBezTo>
                  <a:lnTo>
                    <a:pt x="725" y="5609"/>
                  </a:lnTo>
                  <a:cubicBezTo>
                    <a:pt x="725" y="3026"/>
                    <a:pt x="2742" y="821"/>
                    <a:pt x="5199" y="726"/>
                  </a:cubicBezTo>
                  <a:cubicBezTo>
                    <a:pt x="5238" y="725"/>
                    <a:pt x="5278" y="725"/>
                    <a:pt x="5317" y="725"/>
                  </a:cubicBezTo>
                  <a:close/>
                  <a:moveTo>
                    <a:pt x="5325" y="8382"/>
                  </a:moveTo>
                  <a:cubicBezTo>
                    <a:pt x="5577" y="8760"/>
                    <a:pt x="5955" y="9043"/>
                    <a:pt x="6396" y="9201"/>
                  </a:cubicBezTo>
                  <a:lnTo>
                    <a:pt x="6396" y="9674"/>
                  </a:lnTo>
                  <a:cubicBezTo>
                    <a:pt x="6081" y="9894"/>
                    <a:pt x="5734" y="10020"/>
                    <a:pt x="5325" y="10020"/>
                  </a:cubicBezTo>
                  <a:cubicBezTo>
                    <a:pt x="4947" y="10020"/>
                    <a:pt x="4569" y="9894"/>
                    <a:pt x="4254" y="9674"/>
                  </a:cubicBezTo>
                  <a:lnTo>
                    <a:pt x="4254" y="9201"/>
                  </a:lnTo>
                  <a:cubicBezTo>
                    <a:pt x="4695" y="9043"/>
                    <a:pt x="5104" y="8728"/>
                    <a:pt x="5325" y="8382"/>
                  </a:cubicBezTo>
                  <a:close/>
                  <a:moveTo>
                    <a:pt x="2836" y="9201"/>
                  </a:moveTo>
                  <a:cubicBezTo>
                    <a:pt x="3088" y="9264"/>
                    <a:pt x="3309" y="9327"/>
                    <a:pt x="3561" y="9327"/>
                  </a:cubicBezTo>
                  <a:lnTo>
                    <a:pt x="3561" y="11406"/>
                  </a:lnTo>
                  <a:cubicBezTo>
                    <a:pt x="3151" y="11249"/>
                    <a:pt x="2836" y="10839"/>
                    <a:pt x="2836" y="10367"/>
                  </a:cubicBezTo>
                  <a:lnTo>
                    <a:pt x="2836" y="9201"/>
                  </a:lnTo>
                  <a:close/>
                  <a:moveTo>
                    <a:pt x="7814" y="9201"/>
                  </a:moveTo>
                  <a:lnTo>
                    <a:pt x="7814" y="10367"/>
                  </a:lnTo>
                  <a:cubicBezTo>
                    <a:pt x="7814" y="10839"/>
                    <a:pt x="7499" y="11249"/>
                    <a:pt x="7089" y="11406"/>
                  </a:cubicBezTo>
                  <a:lnTo>
                    <a:pt x="7089" y="9327"/>
                  </a:lnTo>
                  <a:cubicBezTo>
                    <a:pt x="7341" y="9327"/>
                    <a:pt x="7562" y="9264"/>
                    <a:pt x="7814" y="9201"/>
                  </a:cubicBezTo>
                  <a:close/>
                  <a:moveTo>
                    <a:pt x="5317" y="0"/>
                  </a:moveTo>
                  <a:cubicBezTo>
                    <a:pt x="5278" y="0"/>
                    <a:pt x="5238" y="1"/>
                    <a:pt x="5199" y="2"/>
                  </a:cubicBezTo>
                  <a:cubicBezTo>
                    <a:pt x="3781" y="65"/>
                    <a:pt x="2489" y="695"/>
                    <a:pt x="1513" y="1766"/>
                  </a:cubicBezTo>
                  <a:cubicBezTo>
                    <a:pt x="568" y="2806"/>
                    <a:pt x="1" y="4160"/>
                    <a:pt x="1" y="5609"/>
                  </a:cubicBezTo>
                  <a:lnTo>
                    <a:pt x="1" y="8256"/>
                  </a:lnTo>
                  <a:cubicBezTo>
                    <a:pt x="1" y="9233"/>
                    <a:pt x="788" y="10020"/>
                    <a:pt x="1796" y="10020"/>
                  </a:cubicBezTo>
                  <a:lnTo>
                    <a:pt x="2143" y="10020"/>
                  </a:lnTo>
                  <a:lnTo>
                    <a:pt x="2143" y="10367"/>
                  </a:lnTo>
                  <a:cubicBezTo>
                    <a:pt x="2143" y="10839"/>
                    <a:pt x="2332" y="11312"/>
                    <a:pt x="2647" y="11627"/>
                  </a:cubicBezTo>
                  <a:cubicBezTo>
                    <a:pt x="2994" y="12005"/>
                    <a:pt x="3435" y="12194"/>
                    <a:pt x="3907" y="12194"/>
                  </a:cubicBezTo>
                  <a:cubicBezTo>
                    <a:pt x="4096" y="12194"/>
                    <a:pt x="4254" y="12036"/>
                    <a:pt x="4254" y="11847"/>
                  </a:cubicBezTo>
                  <a:lnTo>
                    <a:pt x="4254" y="10493"/>
                  </a:lnTo>
                  <a:cubicBezTo>
                    <a:pt x="4569" y="10650"/>
                    <a:pt x="4978" y="10713"/>
                    <a:pt x="5325" y="10713"/>
                  </a:cubicBezTo>
                  <a:cubicBezTo>
                    <a:pt x="5703" y="10713"/>
                    <a:pt x="6081" y="10650"/>
                    <a:pt x="6396" y="10493"/>
                  </a:cubicBezTo>
                  <a:lnTo>
                    <a:pt x="6396" y="11847"/>
                  </a:lnTo>
                  <a:cubicBezTo>
                    <a:pt x="6396" y="12036"/>
                    <a:pt x="6554" y="12194"/>
                    <a:pt x="6743" y="12194"/>
                  </a:cubicBezTo>
                  <a:cubicBezTo>
                    <a:pt x="7215" y="12194"/>
                    <a:pt x="7656" y="12005"/>
                    <a:pt x="8003" y="11627"/>
                  </a:cubicBezTo>
                  <a:cubicBezTo>
                    <a:pt x="8381" y="11280"/>
                    <a:pt x="8538" y="10839"/>
                    <a:pt x="8538" y="10367"/>
                  </a:cubicBezTo>
                  <a:lnTo>
                    <a:pt x="8538" y="10020"/>
                  </a:lnTo>
                  <a:lnTo>
                    <a:pt x="8885" y="10020"/>
                  </a:lnTo>
                  <a:cubicBezTo>
                    <a:pt x="9862" y="10020"/>
                    <a:pt x="10649" y="9233"/>
                    <a:pt x="10649" y="8256"/>
                  </a:cubicBezTo>
                  <a:lnTo>
                    <a:pt x="10649" y="5420"/>
                  </a:lnTo>
                  <a:cubicBezTo>
                    <a:pt x="10681" y="4664"/>
                    <a:pt x="10523" y="3908"/>
                    <a:pt x="10240" y="3247"/>
                  </a:cubicBezTo>
                  <a:cubicBezTo>
                    <a:pt x="9988" y="2585"/>
                    <a:pt x="9578" y="2018"/>
                    <a:pt x="9074" y="1514"/>
                  </a:cubicBezTo>
                  <a:cubicBezTo>
                    <a:pt x="8033" y="534"/>
                    <a:pt x="6694" y="0"/>
                    <a:pt x="53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895" name="Google Shape;7895;p76"/>
          <p:cNvGrpSpPr/>
          <p:nvPr/>
        </p:nvGrpSpPr>
        <p:grpSpPr>
          <a:xfrm>
            <a:off x="8128604" y="4594451"/>
            <a:ext cx="631893" cy="630235"/>
            <a:chOff x="-16442200" y="2801175"/>
            <a:chExt cx="304850" cy="304050"/>
          </a:xfrm>
        </p:grpSpPr>
        <p:sp>
          <p:nvSpPr>
            <p:cNvPr id="7896" name="Google Shape;7896;p76"/>
            <p:cNvSpPr/>
            <p:nvPr/>
          </p:nvSpPr>
          <p:spPr>
            <a:xfrm>
              <a:off x="-16369725" y="2942950"/>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4" y="536"/>
                    <a:pt x="694" y="347"/>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7" name="Google Shape;7897;p76"/>
            <p:cNvSpPr/>
            <p:nvPr/>
          </p:nvSpPr>
          <p:spPr>
            <a:xfrm>
              <a:off x="-16442200" y="2801175"/>
              <a:ext cx="304850" cy="304050"/>
            </a:xfrm>
            <a:custGeom>
              <a:avLst/>
              <a:gdLst/>
              <a:ahLst/>
              <a:cxnLst/>
              <a:rect l="l" t="t" r="r" b="b"/>
              <a:pathLst>
                <a:path w="12194" h="12162" extrusionOk="0">
                  <a:moveTo>
                    <a:pt x="7940" y="694"/>
                  </a:moveTo>
                  <a:cubicBezTo>
                    <a:pt x="8255" y="694"/>
                    <a:pt x="8539" y="914"/>
                    <a:pt x="8602" y="1229"/>
                  </a:cubicBezTo>
                  <a:cubicBezTo>
                    <a:pt x="8633" y="1324"/>
                    <a:pt x="8728" y="1418"/>
                    <a:pt x="8854" y="1450"/>
                  </a:cubicBezTo>
                  <a:cubicBezTo>
                    <a:pt x="9169" y="1544"/>
                    <a:pt x="9358" y="1796"/>
                    <a:pt x="9358" y="2111"/>
                  </a:cubicBezTo>
                  <a:cubicBezTo>
                    <a:pt x="9358" y="2426"/>
                    <a:pt x="9169" y="2710"/>
                    <a:pt x="8854" y="2804"/>
                  </a:cubicBezTo>
                  <a:cubicBezTo>
                    <a:pt x="8728" y="2836"/>
                    <a:pt x="8633" y="2899"/>
                    <a:pt x="8602" y="3025"/>
                  </a:cubicBezTo>
                  <a:cubicBezTo>
                    <a:pt x="8539" y="3340"/>
                    <a:pt x="8255" y="3529"/>
                    <a:pt x="7940" y="3529"/>
                  </a:cubicBezTo>
                  <a:cubicBezTo>
                    <a:pt x="7625" y="3529"/>
                    <a:pt x="7373" y="3340"/>
                    <a:pt x="7279" y="3056"/>
                  </a:cubicBezTo>
                  <a:cubicBezTo>
                    <a:pt x="7216" y="2899"/>
                    <a:pt x="7058" y="2836"/>
                    <a:pt x="6901" y="2836"/>
                  </a:cubicBezTo>
                  <a:lnTo>
                    <a:pt x="6806" y="2836"/>
                  </a:lnTo>
                  <a:cubicBezTo>
                    <a:pt x="6649" y="2836"/>
                    <a:pt x="6522" y="2899"/>
                    <a:pt x="6428" y="3056"/>
                  </a:cubicBezTo>
                  <a:cubicBezTo>
                    <a:pt x="6333" y="3340"/>
                    <a:pt x="6081" y="3529"/>
                    <a:pt x="5766" y="3529"/>
                  </a:cubicBezTo>
                  <a:cubicBezTo>
                    <a:pt x="5451" y="3529"/>
                    <a:pt x="5231" y="3340"/>
                    <a:pt x="5105" y="3056"/>
                  </a:cubicBezTo>
                  <a:cubicBezTo>
                    <a:pt x="5073" y="2899"/>
                    <a:pt x="4916" y="2836"/>
                    <a:pt x="4758" y="2836"/>
                  </a:cubicBezTo>
                  <a:lnTo>
                    <a:pt x="4632" y="2836"/>
                  </a:lnTo>
                  <a:cubicBezTo>
                    <a:pt x="4475" y="2836"/>
                    <a:pt x="4349" y="2899"/>
                    <a:pt x="4254" y="3056"/>
                  </a:cubicBezTo>
                  <a:cubicBezTo>
                    <a:pt x="4191" y="3340"/>
                    <a:pt x="3908" y="3529"/>
                    <a:pt x="3593" y="3529"/>
                  </a:cubicBezTo>
                  <a:cubicBezTo>
                    <a:pt x="3277" y="3529"/>
                    <a:pt x="2994" y="3340"/>
                    <a:pt x="2931" y="3025"/>
                  </a:cubicBezTo>
                  <a:cubicBezTo>
                    <a:pt x="2899" y="2899"/>
                    <a:pt x="2805" y="2836"/>
                    <a:pt x="2679" y="2804"/>
                  </a:cubicBezTo>
                  <a:cubicBezTo>
                    <a:pt x="2395" y="2710"/>
                    <a:pt x="2175" y="2426"/>
                    <a:pt x="2175" y="2111"/>
                  </a:cubicBezTo>
                  <a:cubicBezTo>
                    <a:pt x="2175" y="1796"/>
                    <a:pt x="2395" y="1544"/>
                    <a:pt x="2679" y="1450"/>
                  </a:cubicBezTo>
                  <a:cubicBezTo>
                    <a:pt x="2805" y="1418"/>
                    <a:pt x="2899" y="1324"/>
                    <a:pt x="2931" y="1229"/>
                  </a:cubicBezTo>
                  <a:cubicBezTo>
                    <a:pt x="2994" y="914"/>
                    <a:pt x="3277" y="694"/>
                    <a:pt x="3593" y="694"/>
                  </a:cubicBezTo>
                  <a:cubicBezTo>
                    <a:pt x="3908" y="694"/>
                    <a:pt x="4160" y="914"/>
                    <a:pt x="4254" y="1166"/>
                  </a:cubicBezTo>
                  <a:cubicBezTo>
                    <a:pt x="4317" y="1324"/>
                    <a:pt x="4475" y="1418"/>
                    <a:pt x="4632" y="1418"/>
                  </a:cubicBezTo>
                  <a:lnTo>
                    <a:pt x="4758" y="1418"/>
                  </a:lnTo>
                  <a:cubicBezTo>
                    <a:pt x="4916" y="1418"/>
                    <a:pt x="5010" y="1324"/>
                    <a:pt x="5105" y="1166"/>
                  </a:cubicBezTo>
                  <a:cubicBezTo>
                    <a:pt x="5231" y="914"/>
                    <a:pt x="5451" y="694"/>
                    <a:pt x="5766" y="694"/>
                  </a:cubicBezTo>
                  <a:cubicBezTo>
                    <a:pt x="6081" y="694"/>
                    <a:pt x="6333" y="914"/>
                    <a:pt x="6428" y="1166"/>
                  </a:cubicBezTo>
                  <a:cubicBezTo>
                    <a:pt x="6491" y="1324"/>
                    <a:pt x="6649" y="1418"/>
                    <a:pt x="6806" y="1418"/>
                  </a:cubicBezTo>
                  <a:lnTo>
                    <a:pt x="6901" y="1418"/>
                  </a:lnTo>
                  <a:cubicBezTo>
                    <a:pt x="7058" y="1418"/>
                    <a:pt x="7184" y="1324"/>
                    <a:pt x="7279" y="1166"/>
                  </a:cubicBezTo>
                  <a:cubicBezTo>
                    <a:pt x="7373" y="914"/>
                    <a:pt x="7625" y="694"/>
                    <a:pt x="7940" y="694"/>
                  </a:cubicBezTo>
                  <a:close/>
                  <a:moveTo>
                    <a:pt x="6459" y="4065"/>
                  </a:moveTo>
                  <a:cubicBezTo>
                    <a:pt x="6522" y="4128"/>
                    <a:pt x="7184" y="4632"/>
                    <a:pt x="7184" y="5671"/>
                  </a:cubicBezTo>
                  <a:cubicBezTo>
                    <a:pt x="7184" y="6207"/>
                    <a:pt x="6995" y="6711"/>
                    <a:pt x="6585" y="7120"/>
                  </a:cubicBezTo>
                  <a:cubicBezTo>
                    <a:pt x="6428" y="7120"/>
                    <a:pt x="6270" y="7089"/>
                    <a:pt x="6081" y="7089"/>
                  </a:cubicBezTo>
                  <a:cubicBezTo>
                    <a:pt x="5798" y="7089"/>
                    <a:pt x="5514" y="7120"/>
                    <a:pt x="5294" y="7152"/>
                  </a:cubicBezTo>
                  <a:cubicBezTo>
                    <a:pt x="5577" y="6711"/>
                    <a:pt x="5735" y="6175"/>
                    <a:pt x="5735" y="5608"/>
                  </a:cubicBezTo>
                  <a:cubicBezTo>
                    <a:pt x="5735" y="5104"/>
                    <a:pt x="5577" y="4569"/>
                    <a:pt x="5294" y="4128"/>
                  </a:cubicBezTo>
                  <a:lnTo>
                    <a:pt x="5294" y="4128"/>
                  </a:lnTo>
                  <a:cubicBezTo>
                    <a:pt x="5420" y="4159"/>
                    <a:pt x="5577" y="4191"/>
                    <a:pt x="5735" y="4191"/>
                  </a:cubicBezTo>
                  <a:cubicBezTo>
                    <a:pt x="5792" y="4205"/>
                    <a:pt x="5848" y="4211"/>
                    <a:pt x="5905" y="4211"/>
                  </a:cubicBezTo>
                  <a:cubicBezTo>
                    <a:pt x="6099" y="4211"/>
                    <a:pt x="6289" y="4138"/>
                    <a:pt x="6459" y="4065"/>
                  </a:cubicBezTo>
                  <a:close/>
                  <a:moveTo>
                    <a:pt x="8602" y="4065"/>
                  </a:moveTo>
                  <a:cubicBezTo>
                    <a:pt x="8633" y="4128"/>
                    <a:pt x="9295" y="4632"/>
                    <a:pt x="9295" y="5671"/>
                  </a:cubicBezTo>
                  <a:cubicBezTo>
                    <a:pt x="9295" y="6459"/>
                    <a:pt x="9043" y="7404"/>
                    <a:pt x="8287" y="7751"/>
                  </a:cubicBezTo>
                  <a:cubicBezTo>
                    <a:pt x="8003" y="7562"/>
                    <a:pt x="7688" y="7404"/>
                    <a:pt x="7373" y="7310"/>
                  </a:cubicBezTo>
                  <a:cubicBezTo>
                    <a:pt x="7751" y="6837"/>
                    <a:pt x="7909" y="6270"/>
                    <a:pt x="7909" y="5671"/>
                  </a:cubicBezTo>
                  <a:cubicBezTo>
                    <a:pt x="7877" y="5167"/>
                    <a:pt x="7720" y="4632"/>
                    <a:pt x="7468" y="4159"/>
                  </a:cubicBezTo>
                  <a:lnTo>
                    <a:pt x="7468" y="4159"/>
                  </a:lnTo>
                  <a:cubicBezTo>
                    <a:pt x="7619" y="4209"/>
                    <a:pt x="7775" y="4235"/>
                    <a:pt x="7930" y="4235"/>
                  </a:cubicBezTo>
                  <a:cubicBezTo>
                    <a:pt x="8163" y="4235"/>
                    <a:pt x="8394" y="4178"/>
                    <a:pt x="8602" y="4065"/>
                  </a:cubicBezTo>
                  <a:close/>
                  <a:moveTo>
                    <a:pt x="9894" y="2710"/>
                  </a:moveTo>
                  <a:cubicBezTo>
                    <a:pt x="10870" y="3371"/>
                    <a:pt x="11469" y="4474"/>
                    <a:pt x="11469" y="5671"/>
                  </a:cubicBezTo>
                  <a:cubicBezTo>
                    <a:pt x="11469" y="7367"/>
                    <a:pt x="9957" y="9278"/>
                    <a:pt x="8454" y="9278"/>
                  </a:cubicBezTo>
                  <a:cubicBezTo>
                    <a:pt x="8141" y="9278"/>
                    <a:pt x="7829" y="9195"/>
                    <a:pt x="7531" y="9011"/>
                  </a:cubicBezTo>
                  <a:lnTo>
                    <a:pt x="7405" y="8948"/>
                  </a:lnTo>
                  <a:cubicBezTo>
                    <a:pt x="7011" y="8648"/>
                    <a:pt x="6562" y="8499"/>
                    <a:pt x="6117" y="8499"/>
                  </a:cubicBezTo>
                  <a:cubicBezTo>
                    <a:pt x="5672" y="8499"/>
                    <a:pt x="5231" y="8648"/>
                    <a:pt x="4853" y="8948"/>
                  </a:cubicBezTo>
                  <a:cubicBezTo>
                    <a:pt x="4601" y="9137"/>
                    <a:pt x="4309" y="9231"/>
                    <a:pt x="4018" y="9231"/>
                  </a:cubicBezTo>
                  <a:cubicBezTo>
                    <a:pt x="3726" y="9231"/>
                    <a:pt x="3435" y="9137"/>
                    <a:pt x="3183" y="8948"/>
                  </a:cubicBezTo>
                  <a:cubicBezTo>
                    <a:pt x="2789" y="8622"/>
                    <a:pt x="2329" y="8464"/>
                    <a:pt x="1870" y="8464"/>
                  </a:cubicBezTo>
                  <a:cubicBezTo>
                    <a:pt x="1486" y="8464"/>
                    <a:pt x="1102" y="8575"/>
                    <a:pt x="757" y="8790"/>
                  </a:cubicBezTo>
                  <a:lnTo>
                    <a:pt x="757" y="7940"/>
                  </a:lnTo>
                  <a:cubicBezTo>
                    <a:pt x="1080" y="7815"/>
                    <a:pt x="1423" y="7752"/>
                    <a:pt x="1769" y="7752"/>
                  </a:cubicBezTo>
                  <a:cubicBezTo>
                    <a:pt x="2469" y="7752"/>
                    <a:pt x="3180" y="8011"/>
                    <a:pt x="3750" y="8538"/>
                  </a:cubicBezTo>
                  <a:cubicBezTo>
                    <a:pt x="3813" y="8601"/>
                    <a:pt x="3900" y="8633"/>
                    <a:pt x="3986" y="8633"/>
                  </a:cubicBezTo>
                  <a:cubicBezTo>
                    <a:pt x="4073" y="8633"/>
                    <a:pt x="4160" y="8601"/>
                    <a:pt x="4223" y="8538"/>
                  </a:cubicBezTo>
                  <a:cubicBezTo>
                    <a:pt x="4724" y="8069"/>
                    <a:pt x="5416" y="7833"/>
                    <a:pt x="6124" y="7833"/>
                  </a:cubicBezTo>
                  <a:cubicBezTo>
                    <a:pt x="6796" y="7833"/>
                    <a:pt x="7483" y="8046"/>
                    <a:pt x="8035" y="8475"/>
                  </a:cubicBezTo>
                  <a:cubicBezTo>
                    <a:pt x="8090" y="8512"/>
                    <a:pt x="8167" y="8527"/>
                    <a:pt x="8234" y="8527"/>
                  </a:cubicBezTo>
                  <a:cubicBezTo>
                    <a:pt x="8281" y="8527"/>
                    <a:pt x="8324" y="8520"/>
                    <a:pt x="8350" y="8507"/>
                  </a:cubicBezTo>
                  <a:cubicBezTo>
                    <a:pt x="8917" y="8318"/>
                    <a:pt x="9358" y="7908"/>
                    <a:pt x="9673" y="7373"/>
                  </a:cubicBezTo>
                  <a:cubicBezTo>
                    <a:pt x="9894" y="6900"/>
                    <a:pt x="10051" y="6301"/>
                    <a:pt x="10051" y="5671"/>
                  </a:cubicBezTo>
                  <a:cubicBezTo>
                    <a:pt x="10051" y="4884"/>
                    <a:pt x="9736" y="4128"/>
                    <a:pt x="9137" y="3560"/>
                  </a:cubicBezTo>
                  <a:lnTo>
                    <a:pt x="9106" y="3529"/>
                  </a:lnTo>
                  <a:cubicBezTo>
                    <a:pt x="9137" y="3497"/>
                    <a:pt x="9200" y="3403"/>
                    <a:pt x="9200" y="3371"/>
                  </a:cubicBezTo>
                  <a:cubicBezTo>
                    <a:pt x="9515" y="3214"/>
                    <a:pt x="9736" y="2993"/>
                    <a:pt x="9894" y="2710"/>
                  </a:cubicBezTo>
                  <a:close/>
                  <a:moveTo>
                    <a:pt x="11500" y="8034"/>
                  </a:moveTo>
                  <a:lnTo>
                    <a:pt x="11500" y="11468"/>
                  </a:lnTo>
                  <a:lnTo>
                    <a:pt x="726" y="11468"/>
                  </a:lnTo>
                  <a:lnTo>
                    <a:pt x="726" y="11405"/>
                  </a:lnTo>
                  <a:lnTo>
                    <a:pt x="726" y="9672"/>
                  </a:lnTo>
                  <a:cubicBezTo>
                    <a:pt x="789" y="9641"/>
                    <a:pt x="883" y="9578"/>
                    <a:pt x="946" y="9515"/>
                  </a:cubicBezTo>
                  <a:cubicBezTo>
                    <a:pt x="1214" y="9326"/>
                    <a:pt x="1521" y="9231"/>
                    <a:pt x="1824" y="9231"/>
                  </a:cubicBezTo>
                  <a:cubicBezTo>
                    <a:pt x="2128" y="9231"/>
                    <a:pt x="2427" y="9326"/>
                    <a:pt x="2679" y="9515"/>
                  </a:cubicBezTo>
                  <a:cubicBezTo>
                    <a:pt x="3073" y="9830"/>
                    <a:pt x="3530" y="9987"/>
                    <a:pt x="3986" y="9987"/>
                  </a:cubicBezTo>
                  <a:cubicBezTo>
                    <a:pt x="4443" y="9987"/>
                    <a:pt x="4900" y="9830"/>
                    <a:pt x="5294" y="9515"/>
                  </a:cubicBezTo>
                  <a:cubicBezTo>
                    <a:pt x="5546" y="9326"/>
                    <a:pt x="5837" y="9231"/>
                    <a:pt x="6133" y="9231"/>
                  </a:cubicBezTo>
                  <a:cubicBezTo>
                    <a:pt x="6428" y="9231"/>
                    <a:pt x="6727" y="9326"/>
                    <a:pt x="6995" y="9515"/>
                  </a:cubicBezTo>
                  <a:cubicBezTo>
                    <a:pt x="7027" y="9515"/>
                    <a:pt x="7027" y="9578"/>
                    <a:pt x="7184" y="9641"/>
                  </a:cubicBezTo>
                  <a:cubicBezTo>
                    <a:pt x="7562" y="9893"/>
                    <a:pt x="8003" y="9987"/>
                    <a:pt x="8476" y="9987"/>
                  </a:cubicBezTo>
                  <a:cubicBezTo>
                    <a:pt x="9704" y="9987"/>
                    <a:pt x="10839" y="9105"/>
                    <a:pt x="11500" y="8034"/>
                  </a:cubicBezTo>
                  <a:close/>
                  <a:moveTo>
                    <a:pt x="3624" y="0"/>
                  </a:moveTo>
                  <a:cubicBezTo>
                    <a:pt x="3088" y="0"/>
                    <a:pt x="2584" y="315"/>
                    <a:pt x="2332" y="820"/>
                  </a:cubicBezTo>
                  <a:cubicBezTo>
                    <a:pt x="1828" y="1040"/>
                    <a:pt x="1513" y="1544"/>
                    <a:pt x="1513" y="2111"/>
                  </a:cubicBezTo>
                  <a:cubicBezTo>
                    <a:pt x="1513" y="2678"/>
                    <a:pt x="1828" y="3182"/>
                    <a:pt x="2332" y="3434"/>
                  </a:cubicBezTo>
                  <a:cubicBezTo>
                    <a:pt x="2584" y="3939"/>
                    <a:pt x="3057" y="4254"/>
                    <a:pt x="3624" y="4254"/>
                  </a:cubicBezTo>
                  <a:cubicBezTo>
                    <a:pt x="3876" y="4254"/>
                    <a:pt x="4160" y="4159"/>
                    <a:pt x="4349" y="4065"/>
                  </a:cubicBezTo>
                  <a:cubicBezTo>
                    <a:pt x="4380" y="4128"/>
                    <a:pt x="5042" y="4632"/>
                    <a:pt x="5042" y="5671"/>
                  </a:cubicBezTo>
                  <a:cubicBezTo>
                    <a:pt x="5042" y="6522"/>
                    <a:pt x="4538" y="7278"/>
                    <a:pt x="3750" y="7625"/>
                  </a:cubicBezTo>
                  <a:cubicBezTo>
                    <a:pt x="3164" y="7245"/>
                    <a:pt x="2502" y="7045"/>
                    <a:pt x="1837" y="7045"/>
                  </a:cubicBezTo>
                  <a:cubicBezTo>
                    <a:pt x="1287" y="7045"/>
                    <a:pt x="735" y="7182"/>
                    <a:pt x="221" y="7467"/>
                  </a:cubicBezTo>
                  <a:cubicBezTo>
                    <a:pt x="95" y="7562"/>
                    <a:pt x="1" y="7688"/>
                    <a:pt x="1" y="7782"/>
                  </a:cubicBezTo>
                  <a:lnTo>
                    <a:pt x="1" y="11815"/>
                  </a:lnTo>
                  <a:cubicBezTo>
                    <a:pt x="1" y="12004"/>
                    <a:pt x="158" y="12161"/>
                    <a:pt x="379" y="12161"/>
                  </a:cubicBezTo>
                  <a:lnTo>
                    <a:pt x="11815" y="12161"/>
                  </a:lnTo>
                  <a:cubicBezTo>
                    <a:pt x="12036" y="12161"/>
                    <a:pt x="12193" y="12004"/>
                    <a:pt x="12193" y="11815"/>
                  </a:cubicBezTo>
                  <a:lnTo>
                    <a:pt x="12193" y="5671"/>
                  </a:lnTo>
                  <a:cubicBezTo>
                    <a:pt x="12193" y="4128"/>
                    <a:pt x="11343" y="2710"/>
                    <a:pt x="10020" y="1954"/>
                  </a:cubicBezTo>
                  <a:cubicBezTo>
                    <a:pt x="9988" y="1450"/>
                    <a:pt x="9673" y="1009"/>
                    <a:pt x="9200" y="820"/>
                  </a:cubicBezTo>
                  <a:cubicBezTo>
                    <a:pt x="8948" y="315"/>
                    <a:pt x="8476" y="0"/>
                    <a:pt x="7909" y="0"/>
                  </a:cubicBezTo>
                  <a:cubicBezTo>
                    <a:pt x="7468" y="0"/>
                    <a:pt x="7121" y="189"/>
                    <a:pt x="6838" y="473"/>
                  </a:cubicBezTo>
                  <a:cubicBezTo>
                    <a:pt x="6554" y="158"/>
                    <a:pt x="6144" y="0"/>
                    <a:pt x="5766" y="0"/>
                  </a:cubicBezTo>
                  <a:cubicBezTo>
                    <a:pt x="5357" y="0"/>
                    <a:pt x="4979" y="189"/>
                    <a:pt x="4695" y="473"/>
                  </a:cubicBezTo>
                  <a:cubicBezTo>
                    <a:pt x="4412" y="158"/>
                    <a:pt x="4034" y="0"/>
                    <a:pt x="362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898" name="Google Shape;7898;p76"/>
            <p:cNvSpPr/>
            <p:nvPr/>
          </p:nvSpPr>
          <p:spPr>
            <a:xfrm>
              <a:off x="-16423275" y="2907500"/>
              <a:ext cx="35450" cy="35475"/>
            </a:xfrm>
            <a:custGeom>
              <a:avLst/>
              <a:gdLst/>
              <a:ahLst/>
              <a:cxnLst/>
              <a:rect l="l" t="t" r="r" b="b"/>
              <a:pathLst>
                <a:path w="1418" h="1419" extrusionOk="0">
                  <a:moveTo>
                    <a:pt x="725" y="1"/>
                  </a:moveTo>
                  <a:cubicBezTo>
                    <a:pt x="315" y="1"/>
                    <a:pt x="0" y="316"/>
                    <a:pt x="0" y="694"/>
                  </a:cubicBezTo>
                  <a:cubicBezTo>
                    <a:pt x="0" y="1103"/>
                    <a:pt x="315" y="1418"/>
                    <a:pt x="725" y="1418"/>
                  </a:cubicBezTo>
                  <a:cubicBezTo>
                    <a:pt x="1103" y="1418"/>
                    <a:pt x="1418" y="1103"/>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899" name="Google Shape;7899;p76"/>
          <p:cNvSpPr/>
          <p:nvPr/>
        </p:nvSpPr>
        <p:spPr>
          <a:xfrm>
            <a:off x="4276881" y="4596255"/>
            <a:ext cx="628576" cy="626971"/>
          </a:xfrm>
          <a:custGeom>
            <a:avLst/>
            <a:gdLst/>
            <a:ahLst/>
            <a:cxnLst/>
            <a:rect l="l" t="t" r="r" b="b"/>
            <a:pathLst>
              <a:path w="12130" h="12099" extrusionOk="0">
                <a:moveTo>
                  <a:pt x="6018" y="1072"/>
                </a:moveTo>
                <a:cubicBezTo>
                  <a:pt x="6396" y="1923"/>
                  <a:pt x="7089" y="3624"/>
                  <a:pt x="7089" y="5577"/>
                </a:cubicBezTo>
                <a:cubicBezTo>
                  <a:pt x="6869" y="6018"/>
                  <a:pt x="6680" y="6459"/>
                  <a:pt x="6522" y="6932"/>
                </a:cubicBezTo>
                <a:cubicBezTo>
                  <a:pt x="6333" y="7467"/>
                  <a:pt x="6176" y="8035"/>
                  <a:pt x="6018" y="8633"/>
                </a:cubicBezTo>
                <a:cubicBezTo>
                  <a:pt x="5892" y="8035"/>
                  <a:pt x="5703" y="7467"/>
                  <a:pt x="5514" y="6932"/>
                </a:cubicBezTo>
                <a:cubicBezTo>
                  <a:pt x="5356" y="6459"/>
                  <a:pt x="5136" y="6018"/>
                  <a:pt x="4947" y="5577"/>
                </a:cubicBezTo>
                <a:cubicBezTo>
                  <a:pt x="4978" y="3655"/>
                  <a:pt x="5608" y="1923"/>
                  <a:pt x="6018" y="1072"/>
                </a:cubicBezTo>
                <a:close/>
                <a:moveTo>
                  <a:pt x="2552" y="3183"/>
                </a:moveTo>
                <a:cubicBezTo>
                  <a:pt x="4285" y="5199"/>
                  <a:pt x="5356" y="7720"/>
                  <a:pt x="5608" y="10366"/>
                </a:cubicBezTo>
                <a:cubicBezTo>
                  <a:pt x="4947" y="9452"/>
                  <a:pt x="4411" y="9043"/>
                  <a:pt x="3529" y="8381"/>
                </a:cubicBezTo>
                <a:cubicBezTo>
                  <a:pt x="3529" y="7152"/>
                  <a:pt x="3340" y="5955"/>
                  <a:pt x="3025" y="4790"/>
                </a:cubicBezTo>
                <a:lnTo>
                  <a:pt x="2552" y="3183"/>
                </a:lnTo>
                <a:close/>
                <a:moveTo>
                  <a:pt x="9515" y="3183"/>
                </a:moveTo>
                <a:lnTo>
                  <a:pt x="9043" y="4790"/>
                </a:lnTo>
                <a:cubicBezTo>
                  <a:pt x="8727" y="5987"/>
                  <a:pt x="8538" y="7152"/>
                  <a:pt x="8538" y="8381"/>
                </a:cubicBezTo>
                <a:cubicBezTo>
                  <a:pt x="7719" y="9043"/>
                  <a:pt x="7152" y="9452"/>
                  <a:pt x="6459" y="10366"/>
                </a:cubicBezTo>
                <a:cubicBezTo>
                  <a:pt x="6711" y="7720"/>
                  <a:pt x="7782" y="5199"/>
                  <a:pt x="9515" y="3183"/>
                </a:cubicBezTo>
                <a:close/>
                <a:moveTo>
                  <a:pt x="662" y="5703"/>
                </a:moveTo>
                <a:cubicBezTo>
                  <a:pt x="1166" y="6995"/>
                  <a:pt x="2017" y="8066"/>
                  <a:pt x="3025" y="8885"/>
                </a:cubicBezTo>
                <a:cubicBezTo>
                  <a:pt x="3970" y="9641"/>
                  <a:pt x="4663" y="10145"/>
                  <a:pt x="5419" y="11374"/>
                </a:cubicBezTo>
                <a:cubicBezTo>
                  <a:pt x="2584" y="11374"/>
                  <a:pt x="662" y="9169"/>
                  <a:pt x="662" y="6680"/>
                </a:cubicBezTo>
                <a:lnTo>
                  <a:pt x="662" y="5703"/>
                </a:lnTo>
                <a:close/>
                <a:moveTo>
                  <a:pt x="11405" y="5703"/>
                </a:moveTo>
                <a:lnTo>
                  <a:pt x="11405" y="6680"/>
                </a:lnTo>
                <a:cubicBezTo>
                  <a:pt x="11405" y="9169"/>
                  <a:pt x="9484" y="11374"/>
                  <a:pt x="6648" y="11374"/>
                </a:cubicBezTo>
                <a:cubicBezTo>
                  <a:pt x="7436" y="10051"/>
                  <a:pt x="8192" y="9578"/>
                  <a:pt x="9137" y="8822"/>
                </a:cubicBezTo>
                <a:cubicBezTo>
                  <a:pt x="10145" y="8003"/>
                  <a:pt x="10901" y="6963"/>
                  <a:pt x="11405" y="5703"/>
                </a:cubicBezTo>
                <a:close/>
                <a:moveTo>
                  <a:pt x="6050" y="1"/>
                </a:moveTo>
                <a:cubicBezTo>
                  <a:pt x="5924" y="1"/>
                  <a:pt x="5829" y="64"/>
                  <a:pt x="5734" y="158"/>
                </a:cubicBezTo>
                <a:cubicBezTo>
                  <a:pt x="5734" y="190"/>
                  <a:pt x="5356" y="788"/>
                  <a:pt x="4978" y="1765"/>
                </a:cubicBezTo>
                <a:cubicBezTo>
                  <a:pt x="4758" y="2427"/>
                  <a:pt x="4474" y="3372"/>
                  <a:pt x="4317" y="4443"/>
                </a:cubicBezTo>
                <a:cubicBezTo>
                  <a:pt x="3939" y="3813"/>
                  <a:pt x="3529" y="3277"/>
                  <a:pt x="3057" y="2710"/>
                </a:cubicBezTo>
                <a:lnTo>
                  <a:pt x="2048" y="1482"/>
                </a:lnTo>
                <a:cubicBezTo>
                  <a:pt x="1966" y="1420"/>
                  <a:pt x="1871" y="1372"/>
                  <a:pt x="1771" y="1372"/>
                </a:cubicBezTo>
                <a:cubicBezTo>
                  <a:pt x="1717" y="1372"/>
                  <a:pt x="1662" y="1386"/>
                  <a:pt x="1607" y="1419"/>
                </a:cubicBezTo>
                <a:cubicBezTo>
                  <a:pt x="1450" y="1482"/>
                  <a:pt x="1355" y="1639"/>
                  <a:pt x="1450" y="1797"/>
                </a:cubicBezTo>
                <a:lnTo>
                  <a:pt x="2363" y="5010"/>
                </a:lnTo>
                <a:cubicBezTo>
                  <a:pt x="2584" y="5892"/>
                  <a:pt x="2773" y="6806"/>
                  <a:pt x="2836" y="7720"/>
                </a:cubicBezTo>
                <a:cubicBezTo>
                  <a:pt x="2206" y="7089"/>
                  <a:pt x="1733" y="6302"/>
                  <a:pt x="1355" y="5514"/>
                </a:cubicBezTo>
                <a:lnTo>
                  <a:pt x="662" y="3750"/>
                </a:lnTo>
                <a:cubicBezTo>
                  <a:pt x="568" y="3592"/>
                  <a:pt x="410" y="3498"/>
                  <a:pt x="253" y="3498"/>
                </a:cubicBezTo>
                <a:cubicBezTo>
                  <a:pt x="95" y="3529"/>
                  <a:pt x="1" y="3687"/>
                  <a:pt x="1" y="3844"/>
                </a:cubicBezTo>
                <a:lnTo>
                  <a:pt x="1" y="6680"/>
                </a:lnTo>
                <a:cubicBezTo>
                  <a:pt x="1" y="8098"/>
                  <a:pt x="536" y="9484"/>
                  <a:pt x="1576" y="10523"/>
                </a:cubicBezTo>
                <a:cubicBezTo>
                  <a:pt x="2584" y="11532"/>
                  <a:pt x="3939" y="12099"/>
                  <a:pt x="5356" y="12099"/>
                </a:cubicBezTo>
                <a:lnTo>
                  <a:pt x="6774" y="12099"/>
                </a:lnTo>
                <a:cubicBezTo>
                  <a:pt x="8192" y="12099"/>
                  <a:pt x="9547" y="11532"/>
                  <a:pt x="10555" y="10523"/>
                </a:cubicBezTo>
                <a:cubicBezTo>
                  <a:pt x="11563" y="9484"/>
                  <a:pt x="12130" y="8161"/>
                  <a:pt x="12130" y="6680"/>
                </a:cubicBezTo>
                <a:lnTo>
                  <a:pt x="12130" y="3844"/>
                </a:lnTo>
                <a:cubicBezTo>
                  <a:pt x="12130" y="3687"/>
                  <a:pt x="12004" y="3529"/>
                  <a:pt x="11846" y="3498"/>
                </a:cubicBezTo>
                <a:cubicBezTo>
                  <a:pt x="11821" y="3493"/>
                  <a:pt x="11794" y="3490"/>
                  <a:pt x="11768" y="3490"/>
                </a:cubicBezTo>
                <a:cubicBezTo>
                  <a:pt x="11631" y="3490"/>
                  <a:pt x="11490" y="3560"/>
                  <a:pt x="11437" y="3718"/>
                </a:cubicBezTo>
                <a:lnTo>
                  <a:pt x="10744" y="5514"/>
                </a:lnTo>
                <a:cubicBezTo>
                  <a:pt x="10429" y="6333"/>
                  <a:pt x="9925" y="7089"/>
                  <a:pt x="9295" y="7720"/>
                </a:cubicBezTo>
                <a:cubicBezTo>
                  <a:pt x="9358" y="6806"/>
                  <a:pt x="9515" y="5861"/>
                  <a:pt x="9767" y="4979"/>
                </a:cubicBezTo>
                <a:lnTo>
                  <a:pt x="10649" y="1797"/>
                </a:lnTo>
                <a:cubicBezTo>
                  <a:pt x="10712" y="1639"/>
                  <a:pt x="10618" y="1482"/>
                  <a:pt x="10492" y="1419"/>
                </a:cubicBezTo>
                <a:cubicBezTo>
                  <a:pt x="10454" y="1381"/>
                  <a:pt x="10398" y="1364"/>
                  <a:pt x="10337" y="1364"/>
                </a:cubicBezTo>
                <a:cubicBezTo>
                  <a:pt x="10243" y="1364"/>
                  <a:pt x="10139" y="1405"/>
                  <a:pt x="10082" y="1482"/>
                </a:cubicBezTo>
                <a:lnTo>
                  <a:pt x="9043" y="2710"/>
                </a:lnTo>
                <a:cubicBezTo>
                  <a:pt x="8570" y="3277"/>
                  <a:pt x="8129" y="3844"/>
                  <a:pt x="7782" y="4443"/>
                </a:cubicBezTo>
                <a:cubicBezTo>
                  <a:pt x="7656" y="3372"/>
                  <a:pt x="7404" y="2427"/>
                  <a:pt x="7121" y="1765"/>
                </a:cubicBezTo>
                <a:cubicBezTo>
                  <a:pt x="6774" y="788"/>
                  <a:pt x="6396" y="158"/>
                  <a:pt x="6365" y="158"/>
                </a:cubicBezTo>
                <a:cubicBezTo>
                  <a:pt x="6302" y="32"/>
                  <a:pt x="6176" y="1"/>
                  <a:pt x="605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0" name="Google Shape;7900;p76"/>
          <p:cNvSpPr/>
          <p:nvPr/>
        </p:nvSpPr>
        <p:spPr>
          <a:xfrm>
            <a:off x="4232053" y="2275168"/>
            <a:ext cx="633500" cy="584115"/>
          </a:xfrm>
          <a:custGeom>
            <a:avLst/>
            <a:gdLst/>
            <a:ahLst/>
            <a:cxnLst/>
            <a:rect l="l" t="t" r="r" b="b"/>
            <a:pathLst>
              <a:path w="12225" h="11272" extrusionOk="0">
                <a:moveTo>
                  <a:pt x="2490" y="1190"/>
                </a:moveTo>
                <a:lnTo>
                  <a:pt x="4065" y="4372"/>
                </a:lnTo>
                <a:lnTo>
                  <a:pt x="4159" y="4624"/>
                </a:lnTo>
                <a:lnTo>
                  <a:pt x="3183" y="6577"/>
                </a:lnTo>
                <a:cubicBezTo>
                  <a:pt x="3151" y="6671"/>
                  <a:pt x="3120" y="6766"/>
                  <a:pt x="3057" y="6892"/>
                </a:cubicBezTo>
                <a:cubicBezTo>
                  <a:pt x="2868" y="6923"/>
                  <a:pt x="2679" y="6986"/>
                  <a:pt x="2490" y="6986"/>
                </a:cubicBezTo>
                <a:cubicBezTo>
                  <a:pt x="1482" y="6986"/>
                  <a:pt x="662" y="6199"/>
                  <a:pt x="662" y="5191"/>
                </a:cubicBezTo>
                <a:cubicBezTo>
                  <a:pt x="662" y="4939"/>
                  <a:pt x="757" y="4655"/>
                  <a:pt x="851" y="4372"/>
                </a:cubicBezTo>
                <a:cubicBezTo>
                  <a:pt x="851" y="4372"/>
                  <a:pt x="2269" y="1568"/>
                  <a:pt x="2490" y="1190"/>
                </a:cubicBezTo>
                <a:close/>
                <a:moveTo>
                  <a:pt x="9610" y="1190"/>
                </a:moveTo>
                <a:lnTo>
                  <a:pt x="11217" y="4372"/>
                </a:lnTo>
                <a:cubicBezTo>
                  <a:pt x="11343" y="4655"/>
                  <a:pt x="11406" y="4876"/>
                  <a:pt x="11406" y="5191"/>
                </a:cubicBezTo>
                <a:cubicBezTo>
                  <a:pt x="11406" y="6136"/>
                  <a:pt x="10618" y="6986"/>
                  <a:pt x="9610" y="6986"/>
                </a:cubicBezTo>
                <a:cubicBezTo>
                  <a:pt x="9421" y="6986"/>
                  <a:pt x="9200" y="6923"/>
                  <a:pt x="9011" y="6892"/>
                </a:cubicBezTo>
                <a:cubicBezTo>
                  <a:pt x="8980" y="6766"/>
                  <a:pt x="8948" y="6703"/>
                  <a:pt x="8885" y="6577"/>
                </a:cubicBezTo>
                <a:lnTo>
                  <a:pt x="7909" y="4624"/>
                </a:lnTo>
                <a:lnTo>
                  <a:pt x="8035" y="4372"/>
                </a:lnTo>
                <a:cubicBezTo>
                  <a:pt x="8035" y="4372"/>
                  <a:pt x="9452" y="1536"/>
                  <a:pt x="9610" y="1190"/>
                </a:cubicBezTo>
                <a:close/>
                <a:moveTo>
                  <a:pt x="6050" y="2387"/>
                </a:moveTo>
                <a:lnTo>
                  <a:pt x="8255" y="6892"/>
                </a:lnTo>
                <a:cubicBezTo>
                  <a:pt x="8476" y="7238"/>
                  <a:pt x="8539" y="7648"/>
                  <a:pt x="8539" y="8026"/>
                </a:cubicBezTo>
                <a:cubicBezTo>
                  <a:pt x="8539" y="9412"/>
                  <a:pt x="7436" y="10515"/>
                  <a:pt x="6050" y="10515"/>
                </a:cubicBezTo>
                <a:cubicBezTo>
                  <a:pt x="4695" y="10515"/>
                  <a:pt x="3592" y="9412"/>
                  <a:pt x="3592" y="8026"/>
                </a:cubicBezTo>
                <a:cubicBezTo>
                  <a:pt x="3592" y="7648"/>
                  <a:pt x="3655" y="7238"/>
                  <a:pt x="3844" y="6892"/>
                </a:cubicBezTo>
                <a:lnTo>
                  <a:pt x="6050" y="2387"/>
                </a:lnTo>
                <a:close/>
                <a:moveTo>
                  <a:pt x="2521" y="0"/>
                </a:moveTo>
                <a:cubicBezTo>
                  <a:pt x="2395" y="0"/>
                  <a:pt x="2269" y="71"/>
                  <a:pt x="2206" y="213"/>
                </a:cubicBezTo>
                <a:cubicBezTo>
                  <a:pt x="2112" y="307"/>
                  <a:pt x="284" y="4025"/>
                  <a:pt x="284" y="4025"/>
                </a:cubicBezTo>
                <a:cubicBezTo>
                  <a:pt x="64" y="4372"/>
                  <a:pt x="1" y="4781"/>
                  <a:pt x="1" y="5159"/>
                </a:cubicBezTo>
                <a:cubicBezTo>
                  <a:pt x="1" y="5821"/>
                  <a:pt x="284" y="6451"/>
                  <a:pt x="757" y="6923"/>
                </a:cubicBezTo>
                <a:cubicBezTo>
                  <a:pt x="1230" y="7396"/>
                  <a:pt x="1860" y="7680"/>
                  <a:pt x="2521" y="7680"/>
                </a:cubicBezTo>
                <a:cubicBezTo>
                  <a:pt x="2647" y="7680"/>
                  <a:pt x="2742" y="7680"/>
                  <a:pt x="2899" y="7648"/>
                </a:cubicBezTo>
                <a:lnTo>
                  <a:pt x="2899" y="7648"/>
                </a:lnTo>
                <a:cubicBezTo>
                  <a:pt x="2899" y="7774"/>
                  <a:pt x="2868" y="7932"/>
                  <a:pt x="2868" y="8026"/>
                </a:cubicBezTo>
                <a:cubicBezTo>
                  <a:pt x="2868" y="9822"/>
                  <a:pt x="4348" y="11271"/>
                  <a:pt x="6113" y="11271"/>
                </a:cubicBezTo>
                <a:cubicBezTo>
                  <a:pt x="7877" y="11271"/>
                  <a:pt x="9326" y="9822"/>
                  <a:pt x="9326" y="8026"/>
                </a:cubicBezTo>
                <a:cubicBezTo>
                  <a:pt x="9326" y="7932"/>
                  <a:pt x="9326" y="7774"/>
                  <a:pt x="9295" y="7648"/>
                </a:cubicBezTo>
                <a:cubicBezTo>
                  <a:pt x="9421" y="7648"/>
                  <a:pt x="9547" y="7680"/>
                  <a:pt x="9704" y="7680"/>
                </a:cubicBezTo>
                <a:cubicBezTo>
                  <a:pt x="11059" y="7680"/>
                  <a:pt x="12225" y="6577"/>
                  <a:pt x="12225" y="5191"/>
                </a:cubicBezTo>
                <a:cubicBezTo>
                  <a:pt x="12130" y="4750"/>
                  <a:pt x="12036" y="4372"/>
                  <a:pt x="11847" y="4025"/>
                </a:cubicBezTo>
                <a:lnTo>
                  <a:pt x="9925" y="213"/>
                </a:lnTo>
                <a:cubicBezTo>
                  <a:pt x="9862" y="71"/>
                  <a:pt x="9736" y="0"/>
                  <a:pt x="9610" y="0"/>
                </a:cubicBezTo>
                <a:cubicBezTo>
                  <a:pt x="9484" y="0"/>
                  <a:pt x="9358" y="71"/>
                  <a:pt x="9295" y="213"/>
                </a:cubicBezTo>
                <a:cubicBezTo>
                  <a:pt x="8948" y="906"/>
                  <a:pt x="7530" y="3773"/>
                  <a:pt x="7530" y="3773"/>
                </a:cubicBezTo>
                <a:lnTo>
                  <a:pt x="6365" y="1473"/>
                </a:lnTo>
                <a:cubicBezTo>
                  <a:pt x="6318" y="1331"/>
                  <a:pt x="6192" y="1260"/>
                  <a:pt x="6062" y="1260"/>
                </a:cubicBezTo>
                <a:cubicBezTo>
                  <a:pt x="5932" y="1260"/>
                  <a:pt x="5798" y="1331"/>
                  <a:pt x="5735" y="1473"/>
                </a:cubicBezTo>
                <a:lnTo>
                  <a:pt x="4601" y="3773"/>
                </a:lnTo>
                <a:lnTo>
                  <a:pt x="2836" y="213"/>
                </a:lnTo>
                <a:cubicBezTo>
                  <a:pt x="2773" y="71"/>
                  <a:pt x="2647" y="0"/>
                  <a:pt x="252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01" name="Google Shape;7901;p76"/>
          <p:cNvGrpSpPr/>
          <p:nvPr/>
        </p:nvGrpSpPr>
        <p:grpSpPr>
          <a:xfrm>
            <a:off x="4229557" y="3035125"/>
            <a:ext cx="641687" cy="626556"/>
            <a:chOff x="-19802200" y="2416025"/>
            <a:chExt cx="309575" cy="302275"/>
          </a:xfrm>
        </p:grpSpPr>
        <p:sp>
          <p:nvSpPr>
            <p:cNvPr id="7902" name="Google Shape;7902;p76"/>
            <p:cNvSpPr/>
            <p:nvPr/>
          </p:nvSpPr>
          <p:spPr>
            <a:xfrm>
              <a:off x="-19602925" y="2575125"/>
              <a:ext cx="17350" cy="18150"/>
            </a:xfrm>
            <a:custGeom>
              <a:avLst/>
              <a:gdLst/>
              <a:ahLst/>
              <a:cxnLst/>
              <a:rect l="l" t="t" r="r" b="b"/>
              <a:pathLst>
                <a:path w="694" h="726" extrusionOk="0">
                  <a:moveTo>
                    <a:pt x="347" y="1"/>
                  </a:moveTo>
                  <a:cubicBezTo>
                    <a:pt x="158" y="1"/>
                    <a:pt x="1" y="190"/>
                    <a:pt x="1" y="379"/>
                  </a:cubicBezTo>
                  <a:cubicBezTo>
                    <a:pt x="1" y="568"/>
                    <a:pt x="158" y="725"/>
                    <a:pt x="347" y="725"/>
                  </a:cubicBezTo>
                  <a:cubicBezTo>
                    <a:pt x="536" y="725"/>
                    <a:pt x="694" y="568"/>
                    <a:pt x="694" y="379"/>
                  </a:cubicBezTo>
                  <a:cubicBezTo>
                    <a:pt x="694" y="190"/>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3" name="Google Shape;7903;p76"/>
            <p:cNvSpPr/>
            <p:nvPr/>
          </p:nvSpPr>
          <p:spPr>
            <a:xfrm>
              <a:off x="-19710825" y="2575925"/>
              <a:ext cx="18925" cy="17350"/>
            </a:xfrm>
            <a:custGeom>
              <a:avLst/>
              <a:gdLst/>
              <a:ahLst/>
              <a:cxnLst/>
              <a:rect l="l" t="t" r="r" b="b"/>
              <a:pathLst>
                <a:path w="757" h="694" extrusionOk="0">
                  <a:moveTo>
                    <a:pt x="378" y="0"/>
                  </a:moveTo>
                  <a:cubicBezTo>
                    <a:pt x="158" y="0"/>
                    <a:pt x="0" y="158"/>
                    <a:pt x="0" y="347"/>
                  </a:cubicBezTo>
                  <a:cubicBezTo>
                    <a:pt x="0" y="536"/>
                    <a:pt x="158" y="693"/>
                    <a:pt x="378" y="693"/>
                  </a:cubicBezTo>
                  <a:cubicBezTo>
                    <a:pt x="567" y="693"/>
                    <a:pt x="725" y="536"/>
                    <a:pt x="725" y="347"/>
                  </a:cubicBezTo>
                  <a:cubicBezTo>
                    <a:pt x="756"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4" name="Google Shape;7904;p76"/>
            <p:cNvSpPr/>
            <p:nvPr/>
          </p:nvSpPr>
          <p:spPr>
            <a:xfrm>
              <a:off x="-19602925" y="2611350"/>
              <a:ext cx="35475" cy="35475"/>
            </a:xfrm>
            <a:custGeom>
              <a:avLst/>
              <a:gdLst/>
              <a:ahLst/>
              <a:cxnLst/>
              <a:rect l="l" t="t" r="r" b="b"/>
              <a:pathLst>
                <a:path w="1419" h="1419" extrusionOk="0">
                  <a:moveTo>
                    <a:pt x="694" y="1"/>
                  </a:moveTo>
                  <a:cubicBezTo>
                    <a:pt x="316" y="1"/>
                    <a:pt x="1" y="316"/>
                    <a:pt x="1" y="694"/>
                  </a:cubicBezTo>
                  <a:cubicBezTo>
                    <a:pt x="1" y="1103"/>
                    <a:pt x="316" y="1418"/>
                    <a:pt x="694" y="1418"/>
                  </a:cubicBezTo>
                  <a:cubicBezTo>
                    <a:pt x="1103" y="1418"/>
                    <a:pt x="1418" y="1103"/>
                    <a:pt x="1418" y="694"/>
                  </a:cubicBezTo>
                  <a:cubicBezTo>
                    <a:pt x="1418" y="316"/>
                    <a:pt x="1103" y="1"/>
                    <a:pt x="6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5" name="Google Shape;7905;p76"/>
            <p:cNvSpPr/>
            <p:nvPr/>
          </p:nvSpPr>
          <p:spPr>
            <a:xfrm>
              <a:off x="-19728150" y="2611350"/>
              <a:ext cx="35450" cy="35475"/>
            </a:xfrm>
            <a:custGeom>
              <a:avLst/>
              <a:gdLst/>
              <a:ahLst/>
              <a:cxnLst/>
              <a:rect l="l" t="t" r="r" b="b"/>
              <a:pathLst>
                <a:path w="1418" h="1419" extrusionOk="0">
                  <a:moveTo>
                    <a:pt x="725" y="1"/>
                  </a:moveTo>
                  <a:cubicBezTo>
                    <a:pt x="315" y="1"/>
                    <a:pt x="0" y="316"/>
                    <a:pt x="0" y="694"/>
                  </a:cubicBezTo>
                  <a:cubicBezTo>
                    <a:pt x="0" y="1072"/>
                    <a:pt x="315" y="1418"/>
                    <a:pt x="725" y="1418"/>
                  </a:cubicBezTo>
                  <a:cubicBezTo>
                    <a:pt x="1103" y="1418"/>
                    <a:pt x="1418" y="1072"/>
                    <a:pt x="1418" y="694"/>
                  </a:cubicBezTo>
                  <a:cubicBezTo>
                    <a:pt x="1418" y="316"/>
                    <a:pt x="1103" y="1"/>
                    <a:pt x="7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6" name="Google Shape;7906;p76"/>
            <p:cNvSpPr/>
            <p:nvPr/>
          </p:nvSpPr>
          <p:spPr>
            <a:xfrm>
              <a:off x="-19802200" y="2416025"/>
              <a:ext cx="309575" cy="302275"/>
            </a:xfrm>
            <a:custGeom>
              <a:avLst/>
              <a:gdLst/>
              <a:ahLst/>
              <a:cxnLst/>
              <a:rect l="l" t="t" r="r" b="b"/>
              <a:pathLst>
                <a:path w="12383" h="12091" extrusionOk="0">
                  <a:moveTo>
                    <a:pt x="6176" y="2080"/>
                  </a:moveTo>
                  <a:cubicBezTo>
                    <a:pt x="6711" y="2080"/>
                    <a:pt x="7121" y="2458"/>
                    <a:pt x="7215" y="2931"/>
                  </a:cubicBezTo>
                  <a:cubicBezTo>
                    <a:pt x="6869" y="2836"/>
                    <a:pt x="6554" y="2804"/>
                    <a:pt x="6176" y="2804"/>
                  </a:cubicBezTo>
                  <a:cubicBezTo>
                    <a:pt x="5829" y="2804"/>
                    <a:pt x="5483" y="2836"/>
                    <a:pt x="5168" y="2931"/>
                  </a:cubicBezTo>
                  <a:cubicBezTo>
                    <a:pt x="5231" y="2458"/>
                    <a:pt x="5672" y="2080"/>
                    <a:pt x="6176" y="2080"/>
                  </a:cubicBezTo>
                  <a:close/>
                  <a:moveTo>
                    <a:pt x="6176" y="3561"/>
                  </a:moveTo>
                  <a:cubicBezTo>
                    <a:pt x="6900" y="3561"/>
                    <a:pt x="7562" y="3750"/>
                    <a:pt x="8129" y="4065"/>
                  </a:cubicBezTo>
                  <a:cubicBezTo>
                    <a:pt x="7656" y="4600"/>
                    <a:pt x="6932" y="4978"/>
                    <a:pt x="6176" y="4978"/>
                  </a:cubicBezTo>
                  <a:cubicBezTo>
                    <a:pt x="5451" y="4978"/>
                    <a:pt x="4727" y="4600"/>
                    <a:pt x="4254" y="4065"/>
                  </a:cubicBezTo>
                  <a:cubicBezTo>
                    <a:pt x="4853" y="3750"/>
                    <a:pt x="5483" y="3561"/>
                    <a:pt x="6176" y="3561"/>
                  </a:cubicBezTo>
                  <a:close/>
                  <a:moveTo>
                    <a:pt x="6176" y="6932"/>
                  </a:moveTo>
                  <a:lnTo>
                    <a:pt x="7026" y="10555"/>
                  </a:lnTo>
                  <a:cubicBezTo>
                    <a:pt x="6743" y="10649"/>
                    <a:pt x="6459" y="10681"/>
                    <a:pt x="6176" y="10681"/>
                  </a:cubicBezTo>
                  <a:cubicBezTo>
                    <a:pt x="5924" y="10681"/>
                    <a:pt x="5640" y="10649"/>
                    <a:pt x="5357" y="10555"/>
                  </a:cubicBezTo>
                  <a:lnTo>
                    <a:pt x="6176" y="6932"/>
                  </a:lnTo>
                  <a:close/>
                  <a:moveTo>
                    <a:pt x="3655" y="4443"/>
                  </a:moveTo>
                  <a:cubicBezTo>
                    <a:pt x="4191" y="5073"/>
                    <a:pt x="4884" y="5514"/>
                    <a:pt x="5766" y="5640"/>
                  </a:cubicBezTo>
                  <a:lnTo>
                    <a:pt x="4538" y="11027"/>
                  </a:lnTo>
                  <a:cubicBezTo>
                    <a:pt x="3151" y="10366"/>
                    <a:pt x="2238" y="8979"/>
                    <a:pt x="2238" y="7436"/>
                  </a:cubicBezTo>
                  <a:cubicBezTo>
                    <a:pt x="2238" y="6239"/>
                    <a:pt x="2805" y="5167"/>
                    <a:pt x="3655" y="4443"/>
                  </a:cubicBezTo>
                  <a:close/>
                  <a:moveTo>
                    <a:pt x="8696" y="4443"/>
                  </a:moveTo>
                  <a:cubicBezTo>
                    <a:pt x="9578" y="5167"/>
                    <a:pt x="10114" y="6270"/>
                    <a:pt x="10114" y="7436"/>
                  </a:cubicBezTo>
                  <a:cubicBezTo>
                    <a:pt x="10082" y="8979"/>
                    <a:pt x="9232" y="10366"/>
                    <a:pt x="7846" y="11027"/>
                  </a:cubicBezTo>
                  <a:lnTo>
                    <a:pt x="6617" y="5640"/>
                  </a:lnTo>
                  <a:cubicBezTo>
                    <a:pt x="7499" y="5514"/>
                    <a:pt x="8192" y="5073"/>
                    <a:pt x="8696" y="4443"/>
                  </a:cubicBezTo>
                  <a:close/>
                  <a:moveTo>
                    <a:pt x="4727" y="1"/>
                  </a:moveTo>
                  <a:cubicBezTo>
                    <a:pt x="4538" y="1"/>
                    <a:pt x="4380" y="158"/>
                    <a:pt x="4380" y="347"/>
                  </a:cubicBezTo>
                  <a:cubicBezTo>
                    <a:pt x="4380" y="946"/>
                    <a:pt x="4664" y="1513"/>
                    <a:pt x="5073" y="1828"/>
                  </a:cubicBezTo>
                  <a:cubicBezTo>
                    <a:pt x="4664" y="2143"/>
                    <a:pt x="4380" y="2678"/>
                    <a:pt x="4380" y="3246"/>
                  </a:cubicBezTo>
                  <a:cubicBezTo>
                    <a:pt x="3592" y="3561"/>
                    <a:pt x="2931" y="4096"/>
                    <a:pt x="2395" y="4758"/>
                  </a:cubicBezTo>
                  <a:lnTo>
                    <a:pt x="1387" y="4380"/>
                  </a:lnTo>
                  <a:lnTo>
                    <a:pt x="725" y="3088"/>
                  </a:lnTo>
                  <a:cubicBezTo>
                    <a:pt x="657" y="2974"/>
                    <a:pt x="522" y="2893"/>
                    <a:pt x="393" y="2893"/>
                  </a:cubicBezTo>
                  <a:cubicBezTo>
                    <a:pt x="344" y="2893"/>
                    <a:pt x="296" y="2904"/>
                    <a:pt x="253" y="2931"/>
                  </a:cubicBezTo>
                  <a:cubicBezTo>
                    <a:pt x="95" y="2994"/>
                    <a:pt x="1" y="3246"/>
                    <a:pt x="95" y="3403"/>
                  </a:cubicBezTo>
                  <a:lnTo>
                    <a:pt x="788" y="4789"/>
                  </a:lnTo>
                  <a:cubicBezTo>
                    <a:pt x="820" y="4884"/>
                    <a:pt x="914" y="4978"/>
                    <a:pt x="977" y="4978"/>
                  </a:cubicBezTo>
                  <a:lnTo>
                    <a:pt x="2017" y="5356"/>
                  </a:lnTo>
                  <a:cubicBezTo>
                    <a:pt x="1734" y="5923"/>
                    <a:pt x="1545" y="6491"/>
                    <a:pt x="1513" y="7121"/>
                  </a:cubicBezTo>
                  <a:lnTo>
                    <a:pt x="410" y="7121"/>
                  </a:lnTo>
                  <a:cubicBezTo>
                    <a:pt x="190" y="7121"/>
                    <a:pt x="32" y="7278"/>
                    <a:pt x="32" y="7499"/>
                  </a:cubicBezTo>
                  <a:cubicBezTo>
                    <a:pt x="32" y="7688"/>
                    <a:pt x="190" y="7845"/>
                    <a:pt x="410" y="7845"/>
                  </a:cubicBezTo>
                  <a:lnTo>
                    <a:pt x="1513" y="7845"/>
                  </a:lnTo>
                  <a:cubicBezTo>
                    <a:pt x="1545" y="8475"/>
                    <a:pt x="1734" y="9074"/>
                    <a:pt x="2017" y="9610"/>
                  </a:cubicBezTo>
                  <a:lnTo>
                    <a:pt x="977" y="10019"/>
                  </a:lnTo>
                  <a:cubicBezTo>
                    <a:pt x="914" y="10051"/>
                    <a:pt x="820" y="10082"/>
                    <a:pt x="788" y="10177"/>
                  </a:cubicBezTo>
                  <a:lnTo>
                    <a:pt x="95" y="11594"/>
                  </a:lnTo>
                  <a:cubicBezTo>
                    <a:pt x="1" y="11752"/>
                    <a:pt x="95" y="11972"/>
                    <a:pt x="253" y="12067"/>
                  </a:cubicBezTo>
                  <a:cubicBezTo>
                    <a:pt x="292" y="12083"/>
                    <a:pt x="336" y="12091"/>
                    <a:pt x="380" y="12091"/>
                  </a:cubicBezTo>
                  <a:cubicBezTo>
                    <a:pt x="513" y="12091"/>
                    <a:pt x="655" y="12020"/>
                    <a:pt x="725" y="11878"/>
                  </a:cubicBezTo>
                  <a:lnTo>
                    <a:pt x="1387" y="10586"/>
                  </a:lnTo>
                  <a:lnTo>
                    <a:pt x="2395" y="10208"/>
                  </a:lnTo>
                  <a:cubicBezTo>
                    <a:pt x="2962" y="10933"/>
                    <a:pt x="3718" y="11531"/>
                    <a:pt x="4664" y="11846"/>
                  </a:cubicBezTo>
                  <a:cubicBezTo>
                    <a:pt x="4706" y="11868"/>
                    <a:pt x="4750" y="11878"/>
                    <a:pt x="4794" y="11878"/>
                  </a:cubicBezTo>
                  <a:cubicBezTo>
                    <a:pt x="4944" y="11878"/>
                    <a:pt x="5087" y="11758"/>
                    <a:pt x="5136" y="11563"/>
                  </a:cubicBezTo>
                  <a:lnTo>
                    <a:pt x="5199" y="11248"/>
                  </a:lnTo>
                  <a:cubicBezTo>
                    <a:pt x="5514" y="11342"/>
                    <a:pt x="5829" y="11374"/>
                    <a:pt x="6176" y="11374"/>
                  </a:cubicBezTo>
                  <a:cubicBezTo>
                    <a:pt x="6491" y="11374"/>
                    <a:pt x="6869" y="11342"/>
                    <a:pt x="7184" y="11248"/>
                  </a:cubicBezTo>
                  <a:lnTo>
                    <a:pt x="7247" y="11563"/>
                  </a:lnTo>
                  <a:cubicBezTo>
                    <a:pt x="7275" y="11756"/>
                    <a:pt x="7471" y="11852"/>
                    <a:pt x="7646" y="11852"/>
                  </a:cubicBezTo>
                  <a:cubicBezTo>
                    <a:pt x="7671" y="11852"/>
                    <a:pt x="7696" y="11850"/>
                    <a:pt x="7720" y="11846"/>
                  </a:cubicBezTo>
                  <a:cubicBezTo>
                    <a:pt x="8633" y="11531"/>
                    <a:pt x="9421" y="10933"/>
                    <a:pt x="9956" y="10208"/>
                  </a:cubicBezTo>
                  <a:lnTo>
                    <a:pt x="10996" y="10586"/>
                  </a:lnTo>
                  <a:lnTo>
                    <a:pt x="11658" y="11878"/>
                  </a:lnTo>
                  <a:cubicBezTo>
                    <a:pt x="11729" y="12020"/>
                    <a:pt x="11870" y="12091"/>
                    <a:pt x="12003" y="12091"/>
                  </a:cubicBezTo>
                  <a:cubicBezTo>
                    <a:pt x="12048" y="12091"/>
                    <a:pt x="12091" y="12083"/>
                    <a:pt x="12130" y="12067"/>
                  </a:cubicBezTo>
                  <a:cubicBezTo>
                    <a:pt x="12288" y="11972"/>
                    <a:pt x="12382" y="11720"/>
                    <a:pt x="12288" y="11594"/>
                  </a:cubicBezTo>
                  <a:lnTo>
                    <a:pt x="11500" y="10177"/>
                  </a:lnTo>
                  <a:cubicBezTo>
                    <a:pt x="11469" y="10082"/>
                    <a:pt x="11374" y="10019"/>
                    <a:pt x="11311" y="10019"/>
                  </a:cubicBezTo>
                  <a:lnTo>
                    <a:pt x="10271" y="9610"/>
                  </a:lnTo>
                  <a:cubicBezTo>
                    <a:pt x="10555" y="9074"/>
                    <a:pt x="10712" y="8475"/>
                    <a:pt x="10807" y="7845"/>
                  </a:cubicBezTo>
                  <a:lnTo>
                    <a:pt x="11910" y="7845"/>
                  </a:lnTo>
                  <a:cubicBezTo>
                    <a:pt x="12099" y="7845"/>
                    <a:pt x="12256" y="7688"/>
                    <a:pt x="12256" y="7499"/>
                  </a:cubicBezTo>
                  <a:cubicBezTo>
                    <a:pt x="12256" y="7278"/>
                    <a:pt x="12099" y="7121"/>
                    <a:pt x="11910" y="7121"/>
                  </a:cubicBezTo>
                  <a:lnTo>
                    <a:pt x="10807" y="7121"/>
                  </a:lnTo>
                  <a:cubicBezTo>
                    <a:pt x="10775" y="6491"/>
                    <a:pt x="10555" y="5923"/>
                    <a:pt x="10271" y="5356"/>
                  </a:cubicBezTo>
                  <a:lnTo>
                    <a:pt x="11311" y="4978"/>
                  </a:lnTo>
                  <a:cubicBezTo>
                    <a:pt x="11374" y="4915"/>
                    <a:pt x="11469" y="4884"/>
                    <a:pt x="11500" y="4789"/>
                  </a:cubicBezTo>
                  <a:lnTo>
                    <a:pt x="12225" y="3403"/>
                  </a:lnTo>
                  <a:cubicBezTo>
                    <a:pt x="12288" y="3214"/>
                    <a:pt x="12225" y="2994"/>
                    <a:pt x="12067" y="2931"/>
                  </a:cubicBezTo>
                  <a:cubicBezTo>
                    <a:pt x="12024" y="2904"/>
                    <a:pt x="11973" y="2893"/>
                    <a:pt x="11922" y="2893"/>
                  </a:cubicBezTo>
                  <a:cubicBezTo>
                    <a:pt x="11785" y="2893"/>
                    <a:pt x="11640" y="2974"/>
                    <a:pt x="11595" y="3088"/>
                  </a:cubicBezTo>
                  <a:lnTo>
                    <a:pt x="10902" y="4380"/>
                  </a:lnTo>
                  <a:lnTo>
                    <a:pt x="9893" y="4758"/>
                  </a:lnTo>
                  <a:cubicBezTo>
                    <a:pt x="9389" y="4096"/>
                    <a:pt x="8696" y="3561"/>
                    <a:pt x="7909" y="3246"/>
                  </a:cubicBezTo>
                  <a:cubicBezTo>
                    <a:pt x="7909" y="2647"/>
                    <a:pt x="7656" y="2143"/>
                    <a:pt x="7215" y="1828"/>
                  </a:cubicBezTo>
                  <a:cubicBezTo>
                    <a:pt x="7656" y="1450"/>
                    <a:pt x="7909" y="946"/>
                    <a:pt x="7909" y="347"/>
                  </a:cubicBezTo>
                  <a:cubicBezTo>
                    <a:pt x="7909" y="158"/>
                    <a:pt x="7751" y="1"/>
                    <a:pt x="7562" y="1"/>
                  </a:cubicBezTo>
                  <a:cubicBezTo>
                    <a:pt x="7373" y="1"/>
                    <a:pt x="7215" y="158"/>
                    <a:pt x="7215" y="347"/>
                  </a:cubicBezTo>
                  <a:cubicBezTo>
                    <a:pt x="7215" y="946"/>
                    <a:pt x="6743" y="1450"/>
                    <a:pt x="6144" y="1450"/>
                  </a:cubicBezTo>
                  <a:cubicBezTo>
                    <a:pt x="5546" y="1450"/>
                    <a:pt x="5073" y="946"/>
                    <a:pt x="5073" y="347"/>
                  </a:cubicBezTo>
                  <a:cubicBezTo>
                    <a:pt x="5073" y="158"/>
                    <a:pt x="4916" y="1"/>
                    <a:pt x="472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07" name="Google Shape;7907;p76"/>
          <p:cNvGrpSpPr/>
          <p:nvPr/>
        </p:nvGrpSpPr>
        <p:grpSpPr>
          <a:xfrm>
            <a:off x="4233651" y="3802008"/>
            <a:ext cx="633500" cy="630235"/>
            <a:chOff x="-19801400" y="2788575"/>
            <a:chExt cx="305625" cy="304050"/>
          </a:xfrm>
        </p:grpSpPr>
        <p:sp>
          <p:nvSpPr>
            <p:cNvPr id="7908" name="Google Shape;7908;p76"/>
            <p:cNvSpPr/>
            <p:nvPr/>
          </p:nvSpPr>
          <p:spPr>
            <a:xfrm>
              <a:off x="-19744700"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22" y="725"/>
                    <a:pt x="2111" y="567"/>
                    <a:pt x="2111" y="347"/>
                  </a:cubicBez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09" name="Google Shape;7909;p76"/>
            <p:cNvSpPr/>
            <p:nvPr/>
          </p:nvSpPr>
          <p:spPr>
            <a:xfrm>
              <a:off x="-19709250" y="2967350"/>
              <a:ext cx="52800" cy="18150"/>
            </a:xfrm>
            <a:custGeom>
              <a:avLst/>
              <a:gdLst/>
              <a:ahLst/>
              <a:cxnLst/>
              <a:rect l="l" t="t" r="r" b="b"/>
              <a:pathLst>
                <a:path w="2112" h="726" extrusionOk="0">
                  <a:moveTo>
                    <a:pt x="347" y="1"/>
                  </a:moveTo>
                  <a:cubicBezTo>
                    <a:pt x="158" y="1"/>
                    <a:pt x="0" y="158"/>
                    <a:pt x="0" y="347"/>
                  </a:cubicBezTo>
                  <a:cubicBezTo>
                    <a:pt x="0" y="568"/>
                    <a:pt x="158" y="726"/>
                    <a:pt x="347" y="726"/>
                  </a:cubicBezTo>
                  <a:lnTo>
                    <a:pt x="1765" y="726"/>
                  </a:lnTo>
                  <a:cubicBezTo>
                    <a:pt x="1954" y="726"/>
                    <a:pt x="2111" y="568"/>
                    <a:pt x="2111" y="347"/>
                  </a:cubicBezTo>
                  <a:cubicBezTo>
                    <a:pt x="2111" y="190"/>
                    <a:pt x="1954" y="1"/>
                    <a:pt x="176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0" name="Google Shape;7910;p76"/>
            <p:cNvSpPr/>
            <p:nvPr/>
          </p:nvSpPr>
          <p:spPr>
            <a:xfrm>
              <a:off x="-19638375" y="2968150"/>
              <a:ext cx="52800" cy="18150"/>
            </a:xfrm>
            <a:custGeom>
              <a:avLst/>
              <a:gdLst/>
              <a:ahLst/>
              <a:cxnLst/>
              <a:rect l="l" t="t" r="r" b="b"/>
              <a:pathLst>
                <a:path w="2112" h="726" extrusionOk="0">
                  <a:moveTo>
                    <a:pt x="347" y="0"/>
                  </a:moveTo>
                  <a:cubicBezTo>
                    <a:pt x="158" y="0"/>
                    <a:pt x="1" y="158"/>
                    <a:pt x="1" y="378"/>
                  </a:cubicBezTo>
                  <a:cubicBezTo>
                    <a:pt x="1" y="568"/>
                    <a:pt x="158" y="725"/>
                    <a:pt x="347" y="725"/>
                  </a:cubicBezTo>
                  <a:lnTo>
                    <a:pt x="1765" y="725"/>
                  </a:lnTo>
                  <a:cubicBezTo>
                    <a:pt x="1954" y="725"/>
                    <a:pt x="2112" y="568"/>
                    <a:pt x="2112" y="378"/>
                  </a:cubicBezTo>
                  <a:cubicBezTo>
                    <a:pt x="2112"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1" name="Google Shape;7911;p76"/>
            <p:cNvSpPr/>
            <p:nvPr/>
          </p:nvSpPr>
          <p:spPr>
            <a:xfrm>
              <a:off x="-19673800" y="2931925"/>
              <a:ext cx="52775" cy="18125"/>
            </a:xfrm>
            <a:custGeom>
              <a:avLst/>
              <a:gdLst/>
              <a:ahLst/>
              <a:cxnLst/>
              <a:rect l="l" t="t" r="r" b="b"/>
              <a:pathLst>
                <a:path w="2111" h="725" extrusionOk="0">
                  <a:moveTo>
                    <a:pt x="347" y="0"/>
                  </a:moveTo>
                  <a:cubicBezTo>
                    <a:pt x="158" y="0"/>
                    <a:pt x="0" y="158"/>
                    <a:pt x="0" y="347"/>
                  </a:cubicBezTo>
                  <a:cubicBezTo>
                    <a:pt x="0" y="567"/>
                    <a:pt x="158" y="725"/>
                    <a:pt x="347" y="725"/>
                  </a:cubicBezTo>
                  <a:lnTo>
                    <a:pt x="1764" y="725"/>
                  </a:lnTo>
                  <a:cubicBezTo>
                    <a:pt x="1953" y="725"/>
                    <a:pt x="2111" y="567"/>
                    <a:pt x="2111" y="347"/>
                  </a:cubicBezTo>
                  <a:cubicBezTo>
                    <a:pt x="2111" y="158"/>
                    <a:pt x="1953" y="0"/>
                    <a:pt x="17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2" name="Google Shape;7912;p76"/>
            <p:cNvSpPr/>
            <p:nvPr/>
          </p:nvSpPr>
          <p:spPr>
            <a:xfrm>
              <a:off x="-19602925" y="2931925"/>
              <a:ext cx="52800" cy="18125"/>
            </a:xfrm>
            <a:custGeom>
              <a:avLst/>
              <a:gdLst/>
              <a:ahLst/>
              <a:cxnLst/>
              <a:rect l="l" t="t" r="r" b="b"/>
              <a:pathLst>
                <a:path w="2112" h="725" extrusionOk="0">
                  <a:moveTo>
                    <a:pt x="347" y="0"/>
                  </a:moveTo>
                  <a:cubicBezTo>
                    <a:pt x="158" y="0"/>
                    <a:pt x="1" y="158"/>
                    <a:pt x="1" y="347"/>
                  </a:cubicBezTo>
                  <a:cubicBezTo>
                    <a:pt x="1" y="567"/>
                    <a:pt x="158" y="725"/>
                    <a:pt x="347" y="725"/>
                  </a:cubicBezTo>
                  <a:lnTo>
                    <a:pt x="1765" y="725"/>
                  </a:lnTo>
                  <a:cubicBezTo>
                    <a:pt x="1954" y="725"/>
                    <a:pt x="2111" y="567"/>
                    <a:pt x="2111" y="347"/>
                  </a:cubicBezTo>
                  <a:cubicBezTo>
                    <a:pt x="2111" y="158"/>
                    <a:pt x="1954" y="0"/>
                    <a:pt x="17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3" name="Google Shape;7913;p76"/>
            <p:cNvSpPr/>
            <p:nvPr/>
          </p:nvSpPr>
          <p:spPr>
            <a:xfrm>
              <a:off x="-19801400" y="2788575"/>
              <a:ext cx="305625" cy="304050"/>
            </a:xfrm>
            <a:custGeom>
              <a:avLst/>
              <a:gdLst/>
              <a:ahLst/>
              <a:cxnLst/>
              <a:rect l="l" t="t" r="r" b="b"/>
              <a:pathLst>
                <a:path w="12225" h="12162" extrusionOk="0">
                  <a:moveTo>
                    <a:pt x="6144" y="693"/>
                  </a:moveTo>
                  <a:cubicBezTo>
                    <a:pt x="7026" y="693"/>
                    <a:pt x="7940" y="2584"/>
                    <a:pt x="7940" y="4316"/>
                  </a:cubicBezTo>
                  <a:lnTo>
                    <a:pt x="4348" y="4316"/>
                  </a:lnTo>
                  <a:cubicBezTo>
                    <a:pt x="4348" y="2584"/>
                    <a:pt x="5293" y="693"/>
                    <a:pt x="6144" y="693"/>
                  </a:cubicBezTo>
                  <a:close/>
                  <a:moveTo>
                    <a:pt x="9677" y="1496"/>
                  </a:moveTo>
                  <a:cubicBezTo>
                    <a:pt x="9731" y="1496"/>
                    <a:pt x="9781" y="1501"/>
                    <a:pt x="9830" y="1513"/>
                  </a:cubicBezTo>
                  <a:cubicBezTo>
                    <a:pt x="10145" y="1607"/>
                    <a:pt x="10397" y="1985"/>
                    <a:pt x="10617" y="2552"/>
                  </a:cubicBezTo>
                  <a:cubicBezTo>
                    <a:pt x="10775" y="3056"/>
                    <a:pt x="10838" y="3686"/>
                    <a:pt x="10806" y="4316"/>
                  </a:cubicBezTo>
                  <a:lnTo>
                    <a:pt x="8633" y="4316"/>
                  </a:lnTo>
                  <a:cubicBezTo>
                    <a:pt x="8633" y="3686"/>
                    <a:pt x="8507" y="2993"/>
                    <a:pt x="8318" y="2300"/>
                  </a:cubicBezTo>
                  <a:cubicBezTo>
                    <a:pt x="8762" y="1800"/>
                    <a:pt x="9280" y="1496"/>
                    <a:pt x="9677" y="1496"/>
                  </a:cubicBezTo>
                  <a:close/>
                  <a:moveTo>
                    <a:pt x="2638" y="1496"/>
                  </a:moveTo>
                  <a:cubicBezTo>
                    <a:pt x="3024" y="1496"/>
                    <a:pt x="3501" y="1807"/>
                    <a:pt x="4001" y="2363"/>
                  </a:cubicBezTo>
                  <a:cubicBezTo>
                    <a:pt x="3781" y="2993"/>
                    <a:pt x="3686" y="3686"/>
                    <a:pt x="3686" y="4348"/>
                  </a:cubicBezTo>
                  <a:lnTo>
                    <a:pt x="1513" y="4348"/>
                  </a:lnTo>
                  <a:cubicBezTo>
                    <a:pt x="1481" y="3686"/>
                    <a:pt x="1544" y="3056"/>
                    <a:pt x="1702" y="2552"/>
                  </a:cubicBezTo>
                  <a:cubicBezTo>
                    <a:pt x="1891" y="1954"/>
                    <a:pt x="2174" y="1607"/>
                    <a:pt x="2489" y="1513"/>
                  </a:cubicBezTo>
                  <a:cubicBezTo>
                    <a:pt x="2537" y="1502"/>
                    <a:pt x="2587" y="1496"/>
                    <a:pt x="2638" y="1496"/>
                  </a:cubicBezTo>
                  <a:close/>
                  <a:moveTo>
                    <a:pt x="11153" y="5041"/>
                  </a:moveTo>
                  <a:cubicBezTo>
                    <a:pt x="11342" y="5041"/>
                    <a:pt x="11500" y="5199"/>
                    <a:pt x="11500" y="5388"/>
                  </a:cubicBezTo>
                  <a:cubicBezTo>
                    <a:pt x="11500" y="7152"/>
                    <a:pt x="10050" y="8601"/>
                    <a:pt x="8286" y="8601"/>
                  </a:cubicBezTo>
                  <a:lnTo>
                    <a:pt x="4001" y="8601"/>
                  </a:lnTo>
                  <a:cubicBezTo>
                    <a:pt x="2206" y="8601"/>
                    <a:pt x="756" y="7152"/>
                    <a:pt x="756" y="5388"/>
                  </a:cubicBezTo>
                  <a:cubicBezTo>
                    <a:pt x="756" y="5199"/>
                    <a:pt x="914" y="5041"/>
                    <a:pt x="1103" y="5041"/>
                  </a:cubicBezTo>
                  <a:close/>
                  <a:moveTo>
                    <a:pt x="9357" y="9326"/>
                  </a:moveTo>
                  <a:lnTo>
                    <a:pt x="9357" y="9672"/>
                  </a:lnTo>
                  <a:cubicBezTo>
                    <a:pt x="9357" y="10271"/>
                    <a:pt x="8885" y="10743"/>
                    <a:pt x="8286" y="10743"/>
                  </a:cubicBezTo>
                  <a:lnTo>
                    <a:pt x="7940" y="10743"/>
                  </a:lnTo>
                  <a:lnTo>
                    <a:pt x="7940" y="10397"/>
                  </a:lnTo>
                  <a:cubicBezTo>
                    <a:pt x="7940" y="9798"/>
                    <a:pt x="8412" y="9326"/>
                    <a:pt x="8979" y="9326"/>
                  </a:cubicBezTo>
                  <a:close/>
                  <a:moveTo>
                    <a:pt x="10050" y="9357"/>
                  </a:moveTo>
                  <a:cubicBezTo>
                    <a:pt x="10870" y="9515"/>
                    <a:pt x="11500" y="10208"/>
                    <a:pt x="11500" y="11090"/>
                  </a:cubicBezTo>
                  <a:lnTo>
                    <a:pt x="11500" y="11437"/>
                  </a:lnTo>
                  <a:lnTo>
                    <a:pt x="11153" y="11437"/>
                  </a:lnTo>
                  <a:cubicBezTo>
                    <a:pt x="10617" y="11437"/>
                    <a:pt x="10050" y="11185"/>
                    <a:pt x="9704" y="10743"/>
                  </a:cubicBezTo>
                  <a:cubicBezTo>
                    <a:pt x="9924" y="10428"/>
                    <a:pt x="10050" y="10082"/>
                    <a:pt x="10050" y="9672"/>
                  </a:cubicBezTo>
                  <a:lnTo>
                    <a:pt x="10050" y="9357"/>
                  </a:lnTo>
                  <a:close/>
                  <a:moveTo>
                    <a:pt x="6112" y="0"/>
                  </a:moveTo>
                  <a:cubicBezTo>
                    <a:pt x="5419" y="0"/>
                    <a:pt x="4789" y="536"/>
                    <a:pt x="4253" y="1513"/>
                  </a:cubicBezTo>
                  <a:cubicBezTo>
                    <a:pt x="4253" y="1576"/>
                    <a:pt x="4222" y="1576"/>
                    <a:pt x="4222" y="1607"/>
                  </a:cubicBezTo>
                  <a:cubicBezTo>
                    <a:pt x="3680" y="1065"/>
                    <a:pt x="3096" y="777"/>
                    <a:pt x="2591" y="777"/>
                  </a:cubicBezTo>
                  <a:cubicBezTo>
                    <a:pt x="2479" y="777"/>
                    <a:pt x="2371" y="791"/>
                    <a:pt x="2269" y="819"/>
                  </a:cubicBezTo>
                  <a:cubicBezTo>
                    <a:pt x="1166" y="1135"/>
                    <a:pt x="630" y="2836"/>
                    <a:pt x="725" y="4348"/>
                  </a:cubicBezTo>
                  <a:cubicBezTo>
                    <a:pt x="284" y="4506"/>
                    <a:pt x="0" y="4915"/>
                    <a:pt x="0" y="5388"/>
                  </a:cubicBezTo>
                  <a:cubicBezTo>
                    <a:pt x="0" y="7561"/>
                    <a:pt x="1796" y="9326"/>
                    <a:pt x="3938" y="9326"/>
                  </a:cubicBezTo>
                  <a:lnTo>
                    <a:pt x="7530" y="9326"/>
                  </a:lnTo>
                  <a:cubicBezTo>
                    <a:pt x="7309" y="9641"/>
                    <a:pt x="7183" y="9987"/>
                    <a:pt x="7183" y="10365"/>
                  </a:cubicBezTo>
                  <a:lnTo>
                    <a:pt x="7183" y="11090"/>
                  </a:lnTo>
                  <a:cubicBezTo>
                    <a:pt x="7183" y="11279"/>
                    <a:pt x="7341" y="11437"/>
                    <a:pt x="7530" y="11437"/>
                  </a:cubicBezTo>
                  <a:lnTo>
                    <a:pt x="8255" y="11437"/>
                  </a:lnTo>
                  <a:cubicBezTo>
                    <a:pt x="8570" y="11437"/>
                    <a:pt x="8885" y="11374"/>
                    <a:pt x="9137" y="11216"/>
                  </a:cubicBezTo>
                  <a:cubicBezTo>
                    <a:pt x="9609" y="11815"/>
                    <a:pt x="10365" y="12161"/>
                    <a:pt x="11122" y="12161"/>
                  </a:cubicBezTo>
                  <a:lnTo>
                    <a:pt x="11815" y="12161"/>
                  </a:lnTo>
                  <a:cubicBezTo>
                    <a:pt x="12035" y="12161"/>
                    <a:pt x="12193" y="12004"/>
                    <a:pt x="12193" y="11815"/>
                  </a:cubicBezTo>
                  <a:lnTo>
                    <a:pt x="12193" y="11090"/>
                  </a:lnTo>
                  <a:cubicBezTo>
                    <a:pt x="12224" y="9956"/>
                    <a:pt x="11468" y="9011"/>
                    <a:pt x="10397" y="8696"/>
                  </a:cubicBezTo>
                  <a:cubicBezTo>
                    <a:pt x="11500" y="7971"/>
                    <a:pt x="12224" y="6774"/>
                    <a:pt x="12224" y="5388"/>
                  </a:cubicBezTo>
                  <a:cubicBezTo>
                    <a:pt x="12224" y="4915"/>
                    <a:pt x="11909" y="4506"/>
                    <a:pt x="11500" y="4348"/>
                  </a:cubicBezTo>
                  <a:cubicBezTo>
                    <a:pt x="11594" y="2773"/>
                    <a:pt x="11122" y="1103"/>
                    <a:pt x="9987" y="819"/>
                  </a:cubicBezTo>
                  <a:cubicBezTo>
                    <a:pt x="9879" y="791"/>
                    <a:pt x="9767" y="777"/>
                    <a:pt x="9651" y="777"/>
                  </a:cubicBezTo>
                  <a:cubicBezTo>
                    <a:pt x="9129" y="777"/>
                    <a:pt x="8544" y="1065"/>
                    <a:pt x="8003" y="1607"/>
                  </a:cubicBezTo>
                  <a:cubicBezTo>
                    <a:pt x="8003" y="1576"/>
                    <a:pt x="7971" y="1576"/>
                    <a:pt x="7971" y="1513"/>
                  </a:cubicBezTo>
                  <a:cubicBezTo>
                    <a:pt x="7498" y="536"/>
                    <a:pt x="6837" y="0"/>
                    <a:pt x="611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14" name="Google Shape;7914;p76"/>
          <p:cNvGrpSpPr/>
          <p:nvPr/>
        </p:nvGrpSpPr>
        <p:grpSpPr>
          <a:xfrm>
            <a:off x="8173753" y="2251888"/>
            <a:ext cx="563284" cy="630235"/>
            <a:chOff x="-17903225" y="2060800"/>
            <a:chExt cx="271750" cy="304050"/>
          </a:xfrm>
        </p:grpSpPr>
        <p:sp>
          <p:nvSpPr>
            <p:cNvPr id="7915" name="Google Shape;7915;p76"/>
            <p:cNvSpPr/>
            <p:nvPr/>
          </p:nvSpPr>
          <p:spPr>
            <a:xfrm>
              <a:off x="-17722875"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6" y="568"/>
                    <a:pt x="726" y="379"/>
                  </a:cubicBezTo>
                  <a:cubicBezTo>
                    <a:pt x="726"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6" name="Google Shape;7916;p76"/>
            <p:cNvSpPr/>
            <p:nvPr/>
          </p:nvSpPr>
          <p:spPr>
            <a:xfrm>
              <a:off x="-17829200" y="2204150"/>
              <a:ext cx="18150" cy="18150"/>
            </a:xfrm>
            <a:custGeom>
              <a:avLst/>
              <a:gdLst/>
              <a:ahLst/>
              <a:cxnLst/>
              <a:rect l="l" t="t" r="r" b="b"/>
              <a:pathLst>
                <a:path w="726" h="726" extrusionOk="0">
                  <a:moveTo>
                    <a:pt x="347" y="1"/>
                  </a:moveTo>
                  <a:cubicBezTo>
                    <a:pt x="158" y="1"/>
                    <a:pt x="1" y="158"/>
                    <a:pt x="1" y="379"/>
                  </a:cubicBezTo>
                  <a:cubicBezTo>
                    <a:pt x="1" y="568"/>
                    <a:pt x="158" y="725"/>
                    <a:pt x="347" y="725"/>
                  </a:cubicBezTo>
                  <a:cubicBezTo>
                    <a:pt x="568" y="725"/>
                    <a:pt x="725" y="568"/>
                    <a:pt x="725" y="379"/>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17" name="Google Shape;7917;p76"/>
            <p:cNvSpPr/>
            <p:nvPr/>
          </p:nvSpPr>
          <p:spPr>
            <a:xfrm>
              <a:off x="-17903225" y="2060800"/>
              <a:ext cx="271750" cy="304050"/>
            </a:xfrm>
            <a:custGeom>
              <a:avLst/>
              <a:gdLst/>
              <a:ahLst/>
              <a:cxnLst/>
              <a:rect l="l" t="t" r="r" b="b"/>
              <a:pathLst>
                <a:path w="10870" h="12162" extrusionOk="0">
                  <a:moveTo>
                    <a:pt x="1040" y="694"/>
                  </a:moveTo>
                  <a:cubicBezTo>
                    <a:pt x="1891" y="694"/>
                    <a:pt x="2615" y="1293"/>
                    <a:pt x="2773" y="2112"/>
                  </a:cubicBezTo>
                  <a:cubicBezTo>
                    <a:pt x="2552" y="2364"/>
                    <a:pt x="2332" y="2679"/>
                    <a:pt x="2143" y="2994"/>
                  </a:cubicBezTo>
                  <a:lnTo>
                    <a:pt x="1040" y="694"/>
                  </a:lnTo>
                  <a:close/>
                  <a:moveTo>
                    <a:pt x="9861" y="694"/>
                  </a:moveTo>
                  <a:lnTo>
                    <a:pt x="8727" y="2994"/>
                  </a:lnTo>
                  <a:cubicBezTo>
                    <a:pt x="8507" y="2679"/>
                    <a:pt x="8318" y="2395"/>
                    <a:pt x="8097" y="2112"/>
                  </a:cubicBezTo>
                  <a:cubicBezTo>
                    <a:pt x="8255" y="1293"/>
                    <a:pt x="8979" y="694"/>
                    <a:pt x="9830" y="694"/>
                  </a:cubicBezTo>
                  <a:close/>
                  <a:moveTo>
                    <a:pt x="5451" y="1419"/>
                  </a:moveTo>
                  <a:cubicBezTo>
                    <a:pt x="6144" y="1419"/>
                    <a:pt x="6900" y="1860"/>
                    <a:pt x="7561" y="2584"/>
                  </a:cubicBezTo>
                  <a:lnTo>
                    <a:pt x="6994" y="2994"/>
                  </a:lnTo>
                  <a:cubicBezTo>
                    <a:pt x="6270" y="3466"/>
                    <a:pt x="5829" y="4254"/>
                    <a:pt x="5829" y="5136"/>
                  </a:cubicBezTo>
                  <a:lnTo>
                    <a:pt x="5829" y="6522"/>
                  </a:lnTo>
                  <a:cubicBezTo>
                    <a:pt x="5734" y="6491"/>
                    <a:pt x="5608" y="6491"/>
                    <a:pt x="5482" y="6491"/>
                  </a:cubicBezTo>
                  <a:cubicBezTo>
                    <a:pt x="5356" y="6491"/>
                    <a:pt x="5199" y="6522"/>
                    <a:pt x="5104" y="6554"/>
                  </a:cubicBezTo>
                  <a:lnTo>
                    <a:pt x="5104" y="5199"/>
                  </a:lnTo>
                  <a:cubicBezTo>
                    <a:pt x="5104" y="4317"/>
                    <a:pt x="4663" y="3498"/>
                    <a:pt x="3938" y="3025"/>
                  </a:cubicBezTo>
                  <a:lnTo>
                    <a:pt x="3371" y="2616"/>
                  </a:lnTo>
                  <a:cubicBezTo>
                    <a:pt x="4001" y="1797"/>
                    <a:pt x="4726" y="1419"/>
                    <a:pt x="5451" y="1419"/>
                  </a:cubicBezTo>
                  <a:close/>
                  <a:moveTo>
                    <a:pt x="5451" y="7152"/>
                  </a:moveTo>
                  <a:cubicBezTo>
                    <a:pt x="5608" y="7152"/>
                    <a:pt x="5734" y="7279"/>
                    <a:pt x="5797" y="7405"/>
                  </a:cubicBezTo>
                  <a:lnTo>
                    <a:pt x="5797" y="7562"/>
                  </a:lnTo>
                  <a:cubicBezTo>
                    <a:pt x="5766" y="7625"/>
                    <a:pt x="5608" y="7751"/>
                    <a:pt x="5451" y="7846"/>
                  </a:cubicBezTo>
                  <a:cubicBezTo>
                    <a:pt x="5262" y="7720"/>
                    <a:pt x="5104" y="7594"/>
                    <a:pt x="5104" y="7499"/>
                  </a:cubicBezTo>
                  <a:cubicBezTo>
                    <a:pt x="5104" y="7310"/>
                    <a:pt x="5262" y="7152"/>
                    <a:pt x="5451" y="7152"/>
                  </a:cubicBezTo>
                  <a:close/>
                  <a:moveTo>
                    <a:pt x="2899" y="3151"/>
                  </a:moveTo>
                  <a:lnTo>
                    <a:pt x="3560" y="3561"/>
                  </a:lnTo>
                  <a:cubicBezTo>
                    <a:pt x="4064" y="3907"/>
                    <a:pt x="4379" y="4538"/>
                    <a:pt x="4379" y="5105"/>
                  </a:cubicBezTo>
                  <a:lnTo>
                    <a:pt x="4379" y="7499"/>
                  </a:lnTo>
                  <a:cubicBezTo>
                    <a:pt x="4379" y="7562"/>
                    <a:pt x="4379" y="7625"/>
                    <a:pt x="4411" y="7688"/>
                  </a:cubicBezTo>
                  <a:cubicBezTo>
                    <a:pt x="4505" y="8035"/>
                    <a:pt x="4852" y="8287"/>
                    <a:pt x="5104" y="8413"/>
                  </a:cubicBezTo>
                  <a:lnTo>
                    <a:pt x="5104" y="8948"/>
                  </a:lnTo>
                  <a:lnTo>
                    <a:pt x="5104" y="8980"/>
                  </a:lnTo>
                  <a:cubicBezTo>
                    <a:pt x="5059" y="9813"/>
                    <a:pt x="4353" y="10357"/>
                    <a:pt x="3575" y="10357"/>
                  </a:cubicBezTo>
                  <a:cubicBezTo>
                    <a:pt x="3264" y="10357"/>
                    <a:pt x="2943" y="10271"/>
                    <a:pt x="2647" y="10082"/>
                  </a:cubicBezTo>
                  <a:cubicBezTo>
                    <a:pt x="1859" y="9547"/>
                    <a:pt x="1512" y="8728"/>
                    <a:pt x="1512" y="7499"/>
                  </a:cubicBezTo>
                  <a:cubicBezTo>
                    <a:pt x="1512" y="6144"/>
                    <a:pt x="2017" y="4443"/>
                    <a:pt x="2899" y="3151"/>
                  </a:cubicBezTo>
                  <a:close/>
                  <a:moveTo>
                    <a:pt x="8066" y="3151"/>
                  </a:moveTo>
                  <a:cubicBezTo>
                    <a:pt x="8916" y="4412"/>
                    <a:pt x="9420" y="6144"/>
                    <a:pt x="9420" y="7499"/>
                  </a:cubicBezTo>
                  <a:cubicBezTo>
                    <a:pt x="9389" y="8696"/>
                    <a:pt x="8979" y="9578"/>
                    <a:pt x="8192" y="10082"/>
                  </a:cubicBezTo>
                  <a:cubicBezTo>
                    <a:pt x="7913" y="10271"/>
                    <a:pt x="7599" y="10357"/>
                    <a:pt x="7293" y="10357"/>
                  </a:cubicBezTo>
                  <a:cubicBezTo>
                    <a:pt x="6522" y="10357"/>
                    <a:pt x="5797" y="9813"/>
                    <a:pt x="5797" y="8980"/>
                  </a:cubicBezTo>
                  <a:lnTo>
                    <a:pt x="5797" y="8917"/>
                  </a:lnTo>
                  <a:lnTo>
                    <a:pt x="5797" y="8476"/>
                  </a:lnTo>
                  <a:cubicBezTo>
                    <a:pt x="6175" y="8255"/>
                    <a:pt x="6553" y="7940"/>
                    <a:pt x="6553" y="7499"/>
                  </a:cubicBezTo>
                  <a:lnTo>
                    <a:pt x="6553" y="7310"/>
                  </a:lnTo>
                  <a:lnTo>
                    <a:pt x="6553" y="5105"/>
                  </a:lnTo>
                  <a:cubicBezTo>
                    <a:pt x="6553" y="4475"/>
                    <a:pt x="6868" y="3907"/>
                    <a:pt x="7372" y="3561"/>
                  </a:cubicBezTo>
                  <a:lnTo>
                    <a:pt x="8066" y="3151"/>
                  </a:lnTo>
                  <a:close/>
                  <a:moveTo>
                    <a:pt x="5451" y="10145"/>
                  </a:moveTo>
                  <a:cubicBezTo>
                    <a:pt x="5577" y="10303"/>
                    <a:pt x="5671" y="10429"/>
                    <a:pt x="5797" y="10555"/>
                  </a:cubicBezTo>
                  <a:lnTo>
                    <a:pt x="5797" y="11437"/>
                  </a:lnTo>
                  <a:lnTo>
                    <a:pt x="5104" y="11437"/>
                  </a:lnTo>
                  <a:lnTo>
                    <a:pt x="5104" y="10555"/>
                  </a:lnTo>
                  <a:cubicBezTo>
                    <a:pt x="5199" y="10429"/>
                    <a:pt x="5356" y="10303"/>
                    <a:pt x="5451" y="10145"/>
                  </a:cubicBezTo>
                  <a:close/>
                  <a:moveTo>
                    <a:pt x="441" y="1"/>
                  </a:moveTo>
                  <a:cubicBezTo>
                    <a:pt x="158" y="1"/>
                    <a:pt x="0" y="284"/>
                    <a:pt x="126" y="505"/>
                  </a:cubicBezTo>
                  <a:lnTo>
                    <a:pt x="1733" y="3750"/>
                  </a:lnTo>
                  <a:cubicBezTo>
                    <a:pt x="1166" y="4947"/>
                    <a:pt x="788" y="6302"/>
                    <a:pt x="788" y="7499"/>
                  </a:cubicBezTo>
                  <a:cubicBezTo>
                    <a:pt x="788" y="8917"/>
                    <a:pt x="1260" y="9988"/>
                    <a:pt x="2269" y="10650"/>
                  </a:cubicBezTo>
                  <a:cubicBezTo>
                    <a:pt x="2670" y="10930"/>
                    <a:pt x="3134" y="11071"/>
                    <a:pt x="3598" y="11071"/>
                  </a:cubicBezTo>
                  <a:cubicBezTo>
                    <a:pt x="3863" y="11071"/>
                    <a:pt x="4127" y="11025"/>
                    <a:pt x="4379" y="10933"/>
                  </a:cubicBezTo>
                  <a:lnTo>
                    <a:pt x="4379" y="11815"/>
                  </a:lnTo>
                  <a:cubicBezTo>
                    <a:pt x="4379" y="12004"/>
                    <a:pt x="4537" y="12162"/>
                    <a:pt x="4726" y="12162"/>
                  </a:cubicBezTo>
                  <a:lnTo>
                    <a:pt x="6144" y="12162"/>
                  </a:lnTo>
                  <a:cubicBezTo>
                    <a:pt x="6364" y="12162"/>
                    <a:pt x="6522" y="12004"/>
                    <a:pt x="6522" y="11815"/>
                  </a:cubicBezTo>
                  <a:lnTo>
                    <a:pt x="6522" y="10933"/>
                  </a:lnTo>
                  <a:cubicBezTo>
                    <a:pt x="6774" y="11025"/>
                    <a:pt x="7038" y="11071"/>
                    <a:pt x="7303" y="11071"/>
                  </a:cubicBezTo>
                  <a:cubicBezTo>
                    <a:pt x="7767" y="11071"/>
                    <a:pt x="8232" y="10930"/>
                    <a:pt x="8633" y="10650"/>
                  </a:cubicBezTo>
                  <a:cubicBezTo>
                    <a:pt x="9641" y="9988"/>
                    <a:pt x="10113" y="8917"/>
                    <a:pt x="10113" y="7499"/>
                  </a:cubicBezTo>
                  <a:cubicBezTo>
                    <a:pt x="10113" y="6302"/>
                    <a:pt x="9735" y="4916"/>
                    <a:pt x="9137" y="3750"/>
                  </a:cubicBezTo>
                  <a:lnTo>
                    <a:pt x="10775" y="505"/>
                  </a:lnTo>
                  <a:cubicBezTo>
                    <a:pt x="10869" y="284"/>
                    <a:pt x="10680" y="1"/>
                    <a:pt x="10460" y="1"/>
                  </a:cubicBezTo>
                  <a:lnTo>
                    <a:pt x="9861" y="1"/>
                  </a:lnTo>
                  <a:cubicBezTo>
                    <a:pt x="8853" y="1"/>
                    <a:pt x="7940" y="631"/>
                    <a:pt x="7530" y="1576"/>
                  </a:cubicBezTo>
                  <a:cubicBezTo>
                    <a:pt x="7467" y="1545"/>
                    <a:pt x="7404" y="1450"/>
                    <a:pt x="7341" y="1419"/>
                  </a:cubicBezTo>
                  <a:cubicBezTo>
                    <a:pt x="6742" y="946"/>
                    <a:pt x="6112" y="694"/>
                    <a:pt x="5451" y="694"/>
                  </a:cubicBezTo>
                  <a:cubicBezTo>
                    <a:pt x="4663" y="694"/>
                    <a:pt x="3938" y="1072"/>
                    <a:pt x="3371" y="1576"/>
                  </a:cubicBezTo>
                  <a:cubicBezTo>
                    <a:pt x="2993" y="631"/>
                    <a:pt x="2111"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18" name="Google Shape;7918;p76"/>
          <p:cNvGrpSpPr/>
          <p:nvPr/>
        </p:nvGrpSpPr>
        <p:grpSpPr>
          <a:xfrm>
            <a:off x="8139474" y="3033283"/>
            <a:ext cx="631841" cy="630235"/>
            <a:chOff x="-17918975" y="2435725"/>
            <a:chExt cx="304825" cy="304050"/>
          </a:xfrm>
        </p:grpSpPr>
        <p:sp>
          <p:nvSpPr>
            <p:cNvPr id="7919" name="Google Shape;7919;p76"/>
            <p:cNvSpPr/>
            <p:nvPr/>
          </p:nvSpPr>
          <p:spPr>
            <a:xfrm>
              <a:off x="-17918975" y="2435725"/>
              <a:ext cx="304825" cy="304050"/>
            </a:xfrm>
            <a:custGeom>
              <a:avLst/>
              <a:gdLst/>
              <a:ahLst/>
              <a:cxnLst/>
              <a:rect l="l" t="t" r="r" b="b"/>
              <a:pathLst>
                <a:path w="12193" h="12162" extrusionOk="0">
                  <a:moveTo>
                    <a:pt x="1040" y="662"/>
                  </a:moveTo>
                  <a:cubicBezTo>
                    <a:pt x="1229" y="662"/>
                    <a:pt x="1386" y="819"/>
                    <a:pt x="1386" y="1040"/>
                  </a:cubicBezTo>
                  <a:cubicBezTo>
                    <a:pt x="1386" y="1229"/>
                    <a:pt x="1229" y="1386"/>
                    <a:pt x="1040" y="1386"/>
                  </a:cubicBezTo>
                  <a:cubicBezTo>
                    <a:pt x="851" y="1386"/>
                    <a:pt x="693" y="1229"/>
                    <a:pt x="693" y="1040"/>
                  </a:cubicBezTo>
                  <a:cubicBezTo>
                    <a:pt x="693" y="819"/>
                    <a:pt x="851" y="662"/>
                    <a:pt x="1040" y="662"/>
                  </a:cubicBezTo>
                  <a:close/>
                  <a:moveTo>
                    <a:pt x="3907" y="662"/>
                  </a:moveTo>
                  <a:cubicBezTo>
                    <a:pt x="4096" y="662"/>
                    <a:pt x="4253" y="819"/>
                    <a:pt x="4253" y="1040"/>
                  </a:cubicBezTo>
                  <a:cubicBezTo>
                    <a:pt x="4253" y="1229"/>
                    <a:pt x="4096" y="1386"/>
                    <a:pt x="3907" y="1386"/>
                  </a:cubicBezTo>
                  <a:cubicBezTo>
                    <a:pt x="3718" y="1386"/>
                    <a:pt x="3560" y="1229"/>
                    <a:pt x="3560" y="1040"/>
                  </a:cubicBezTo>
                  <a:cubicBezTo>
                    <a:pt x="3560" y="819"/>
                    <a:pt x="3718" y="662"/>
                    <a:pt x="3907" y="662"/>
                  </a:cubicBezTo>
                  <a:close/>
                  <a:moveTo>
                    <a:pt x="7828" y="2853"/>
                  </a:moveTo>
                  <a:cubicBezTo>
                    <a:pt x="9848" y="2853"/>
                    <a:pt x="11436" y="4484"/>
                    <a:pt x="11436" y="6427"/>
                  </a:cubicBezTo>
                  <a:lnTo>
                    <a:pt x="11436" y="6774"/>
                  </a:lnTo>
                  <a:cubicBezTo>
                    <a:pt x="11436" y="8538"/>
                    <a:pt x="9987" y="10019"/>
                    <a:pt x="8191" y="10019"/>
                  </a:cubicBezTo>
                  <a:cubicBezTo>
                    <a:pt x="6837" y="10019"/>
                    <a:pt x="5671" y="8916"/>
                    <a:pt x="5671" y="7530"/>
                  </a:cubicBezTo>
                  <a:lnTo>
                    <a:pt x="5671" y="6931"/>
                  </a:lnTo>
                  <a:cubicBezTo>
                    <a:pt x="5671" y="5955"/>
                    <a:pt x="6427" y="5072"/>
                    <a:pt x="7372" y="5041"/>
                  </a:cubicBezTo>
                  <a:cubicBezTo>
                    <a:pt x="7392" y="5040"/>
                    <a:pt x="7413" y="5040"/>
                    <a:pt x="7433" y="5040"/>
                  </a:cubicBezTo>
                  <a:cubicBezTo>
                    <a:pt x="8445" y="5040"/>
                    <a:pt x="9263" y="5817"/>
                    <a:pt x="9263" y="6805"/>
                  </a:cubicBezTo>
                  <a:lnTo>
                    <a:pt x="9263" y="7152"/>
                  </a:lnTo>
                  <a:cubicBezTo>
                    <a:pt x="9263" y="7561"/>
                    <a:pt x="8948" y="7876"/>
                    <a:pt x="8570" y="7876"/>
                  </a:cubicBezTo>
                  <a:cubicBezTo>
                    <a:pt x="8160" y="7876"/>
                    <a:pt x="7845" y="7561"/>
                    <a:pt x="7845" y="7152"/>
                  </a:cubicBezTo>
                  <a:lnTo>
                    <a:pt x="7845" y="6805"/>
                  </a:lnTo>
                  <a:cubicBezTo>
                    <a:pt x="7845" y="6616"/>
                    <a:pt x="7687" y="6459"/>
                    <a:pt x="7498" y="6459"/>
                  </a:cubicBezTo>
                  <a:cubicBezTo>
                    <a:pt x="7309" y="6459"/>
                    <a:pt x="7152" y="6616"/>
                    <a:pt x="7152" y="6805"/>
                  </a:cubicBezTo>
                  <a:lnTo>
                    <a:pt x="7152" y="7152"/>
                  </a:lnTo>
                  <a:cubicBezTo>
                    <a:pt x="7152" y="7939"/>
                    <a:pt x="7782" y="8569"/>
                    <a:pt x="8570" y="8569"/>
                  </a:cubicBezTo>
                  <a:cubicBezTo>
                    <a:pt x="9357" y="8569"/>
                    <a:pt x="9987" y="7939"/>
                    <a:pt x="9987" y="7152"/>
                  </a:cubicBezTo>
                  <a:lnTo>
                    <a:pt x="9987" y="6805"/>
                  </a:lnTo>
                  <a:cubicBezTo>
                    <a:pt x="9987" y="5425"/>
                    <a:pt x="8853" y="4314"/>
                    <a:pt x="7456" y="4314"/>
                  </a:cubicBezTo>
                  <a:cubicBezTo>
                    <a:pt x="7418" y="4314"/>
                    <a:pt x="7379" y="4315"/>
                    <a:pt x="7341" y="4316"/>
                  </a:cubicBezTo>
                  <a:cubicBezTo>
                    <a:pt x="5986" y="4411"/>
                    <a:pt x="4946" y="5577"/>
                    <a:pt x="4946" y="6931"/>
                  </a:cubicBezTo>
                  <a:lnTo>
                    <a:pt x="4946" y="7530"/>
                  </a:lnTo>
                  <a:cubicBezTo>
                    <a:pt x="4946" y="8191"/>
                    <a:pt x="5135" y="8790"/>
                    <a:pt x="5482" y="9294"/>
                  </a:cubicBezTo>
                  <a:lnTo>
                    <a:pt x="5293" y="9294"/>
                  </a:lnTo>
                  <a:cubicBezTo>
                    <a:pt x="4694" y="9294"/>
                    <a:pt x="4222" y="8822"/>
                    <a:pt x="4222" y="8223"/>
                  </a:cubicBezTo>
                  <a:lnTo>
                    <a:pt x="4222" y="6616"/>
                  </a:lnTo>
                  <a:cubicBezTo>
                    <a:pt x="4253" y="4663"/>
                    <a:pt x="5671" y="3025"/>
                    <a:pt x="7498" y="2867"/>
                  </a:cubicBezTo>
                  <a:cubicBezTo>
                    <a:pt x="7609" y="2857"/>
                    <a:pt x="7719" y="2853"/>
                    <a:pt x="7828" y="2853"/>
                  </a:cubicBezTo>
                  <a:close/>
                  <a:moveTo>
                    <a:pt x="2518" y="4236"/>
                  </a:moveTo>
                  <a:cubicBezTo>
                    <a:pt x="3101" y="4236"/>
                    <a:pt x="3592" y="4754"/>
                    <a:pt x="3592" y="5324"/>
                  </a:cubicBezTo>
                  <a:lnTo>
                    <a:pt x="3592" y="8160"/>
                  </a:lnTo>
                  <a:cubicBezTo>
                    <a:pt x="3592" y="9137"/>
                    <a:pt x="4379" y="9924"/>
                    <a:pt x="5356" y="9924"/>
                  </a:cubicBezTo>
                  <a:lnTo>
                    <a:pt x="6207" y="9924"/>
                  </a:lnTo>
                  <a:cubicBezTo>
                    <a:pt x="6742" y="10365"/>
                    <a:pt x="7467" y="10617"/>
                    <a:pt x="8254" y="10617"/>
                  </a:cubicBezTo>
                  <a:cubicBezTo>
                    <a:pt x="9011" y="10617"/>
                    <a:pt x="9704" y="10428"/>
                    <a:pt x="10334" y="10050"/>
                  </a:cubicBezTo>
                  <a:cubicBezTo>
                    <a:pt x="10838" y="10334"/>
                    <a:pt x="11279" y="10838"/>
                    <a:pt x="11405" y="11436"/>
                  </a:cubicBezTo>
                  <a:lnTo>
                    <a:pt x="3907" y="11436"/>
                  </a:lnTo>
                  <a:cubicBezTo>
                    <a:pt x="2521" y="11436"/>
                    <a:pt x="1418" y="10271"/>
                    <a:pt x="1418" y="8916"/>
                  </a:cubicBezTo>
                  <a:lnTo>
                    <a:pt x="1418" y="5388"/>
                  </a:lnTo>
                  <a:cubicBezTo>
                    <a:pt x="1418" y="4852"/>
                    <a:pt x="1827" y="4348"/>
                    <a:pt x="2332" y="4253"/>
                  </a:cubicBezTo>
                  <a:cubicBezTo>
                    <a:pt x="2394" y="4241"/>
                    <a:pt x="2457" y="4236"/>
                    <a:pt x="2518" y="4236"/>
                  </a:cubicBezTo>
                  <a:close/>
                  <a:moveTo>
                    <a:pt x="1071" y="0"/>
                  </a:moveTo>
                  <a:cubicBezTo>
                    <a:pt x="473" y="0"/>
                    <a:pt x="0" y="473"/>
                    <a:pt x="0" y="1071"/>
                  </a:cubicBezTo>
                  <a:cubicBezTo>
                    <a:pt x="0" y="1652"/>
                    <a:pt x="504" y="2144"/>
                    <a:pt x="1052" y="2144"/>
                  </a:cubicBezTo>
                  <a:cubicBezTo>
                    <a:pt x="1069" y="2144"/>
                    <a:pt x="1086" y="2143"/>
                    <a:pt x="1103" y="2143"/>
                  </a:cubicBezTo>
                  <a:lnTo>
                    <a:pt x="1733" y="3749"/>
                  </a:lnTo>
                  <a:cubicBezTo>
                    <a:pt x="1103" y="4001"/>
                    <a:pt x="725" y="4694"/>
                    <a:pt x="725" y="5451"/>
                  </a:cubicBezTo>
                  <a:lnTo>
                    <a:pt x="725" y="8948"/>
                  </a:lnTo>
                  <a:cubicBezTo>
                    <a:pt x="725" y="10712"/>
                    <a:pt x="2174" y="12161"/>
                    <a:pt x="3938" y="12161"/>
                  </a:cubicBezTo>
                  <a:lnTo>
                    <a:pt x="11815" y="12161"/>
                  </a:lnTo>
                  <a:cubicBezTo>
                    <a:pt x="12035" y="12161"/>
                    <a:pt x="12193" y="12004"/>
                    <a:pt x="12193" y="11814"/>
                  </a:cubicBezTo>
                  <a:cubicBezTo>
                    <a:pt x="12193" y="11279"/>
                    <a:pt x="11972" y="10712"/>
                    <a:pt x="11657" y="10271"/>
                  </a:cubicBezTo>
                  <a:cubicBezTo>
                    <a:pt x="11468" y="10019"/>
                    <a:pt x="11247" y="9798"/>
                    <a:pt x="10964" y="9641"/>
                  </a:cubicBezTo>
                  <a:cubicBezTo>
                    <a:pt x="11657" y="8916"/>
                    <a:pt x="12193" y="7876"/>
                    <a:pt x="12193" y="6774"/>
                  </a:cubicBezTo>
                  <a:lnTo>
                    <a:pt x="12193" y="6427"/>
                  </a:lnTo>
                  <a:cubicBezTo>
                    <a:pt x="12193" y="4080"/>
                    <a:pt x="10259" y="2153"/>
                    <a:pt x="7898" y="2153"/>
                  </a:cubicBezTo>
                  <a:cubicBezTo>
                    <a:pt x="7756" y="2153"/>
                    <a:pt x="7612" y="2160"/>
                    <a:pt x="7467" y="2174"/>
                  </a:cubicBezTo>
                  <a:cubicBezTo>
                    <a:pt x="5986" y="2332"/>
                    <a:pt x="4726" y="3214"/>
                    <a:pt x="4064" y="4537"/>
                  </a:cubicBezTo>
                  <a:cubicBezTo>
                    <a:pt x="3875" y="4190"/>
                    <a:pt x="3592" y="3907"/>
                    <a:pt x="3245" y="3749"/>
                  </a:cubicBezTo>
                  <a:lnTo>
                    <a:pt x="3875" y="2143"/>
                  </a:lnTo>
                  <a:lnTo>
                    <a:pt x="3907" y="2143"/>
                  </a:lnTo>
                  <a:cubicBezTo>
                    <a:pt x="4505" y="2143"/>
                    <a:pt x="4978" y="1670"/>
                    <a:pt x="4978" y="1071"/>
                  </a:cubicBezTo>
                  <a:cubicBezTo>
                    <a:pt x="4978" y="473"/>
                    <a:pt x="4505" y="0"/>
                    <a:pt x="3907" y="0"/>
                  </a:cubicBezTo>
                  <a:cubicBezTo>
                    <a:pt x="3308" y="0"/>
                    <a:pt x="2836" y="473"/>
                    <a:pt x="2836" y="1071"/>
                  </a:cubicBezTo>
                  <a:cubicBezTo>
                    <a:pt x="2836" y="1386"/>
                    <a:pt x="2993" y="1670"/>
                    <a:pt x="3214" y="1859"/>
                  </a:cubicBezTo>
                  <a:lnTo>
                    <a:pt x="2521" y="3592"/>
                  </a:lnTo>
                  <a:lnTo>
                    <a:pt x="2458" y="3592"/>
                  </a:lnTo>
                  <a:lnTo>
                    <a:pt x="1796" y="1859"/>
                  </a:lnTo>
                  <a:cubicBezTo>
                    <a:pt x="2016" y="1670"/>
                    <a:pt x="2142" y="1386"/>
                    <a:pt x="2142" y="1071"/>
                  </a:cubicBezTo>
                  <a:cubicBezTo>
                    <a:pt x="2142" y="473"/>
                    <a:pt x="1670" y="0"/>
                    <a:pt x="10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0" name="Google Shape;7920;p76"/>
            <p:cNvSpPr/>
            <p:nvPr/>
          </p:nvSpPr>
          <p:spPr>
            <a:xfrm>
              <a:off x="-17865425" y="2560150"/>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4" y="537"/>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21" name="Google Shape;7921;p76"/>
          <p:cNvGrpSpPr/>
          <p:nvPr/>
        </p:nvGrpSpPr>
        <p:grpSpPr>
          <a:xfrm>
            <a:off x="8177821" y="3803639"/>
            <a:ext cx="555148" cy="626971"/>
            <a:chOff x="-17899300" y="2810625"/>
            <a:chExt cx="267825" cy="302475"/>
          </a:xfrm>
        </p:grpSpPr>
        <p:sp>
          <p:nvSpPr>
            <p:cNvPr id="7922" name="Google Shape;7922;p76"/>
            <p:cNvSpPr/>
            <p:nvPr/>
          </p:nvSpPr>
          <p:spPr>
            <a:xfrm>
              <a:off x="-17899300" y="2810625"/>
              <a:ext cx="267825" cy="302475"/>
            </a:xfrm>
            <a:custGeom>
              <a:avLst/>
              <a:gdLst/>
              <a:ahLst/>
              <a:cxnLst/>
              <a:rect l="l" t="t" r="r" b="b"/>
              <a:pathLst>
                <a:path w="10713" h="12099" extrusionOk="0">
                  <a:moveTo>
                    <a:pt x="1009" y="4978"/>
                  </a:moveTo>
                  <a:cubicBezTo>
                    <a:pt x="1482" y="4978"/>
                    <a:pt x="1860" y="5293"/>
                    <a:pt x="2017" y="5671"/>
                  </a:cubicBezTo>
                  <a:lnTo>
                    <a:pt x="1702" y="5671"/>
                  </a:lnTo>
                  <a:cubicBezTo>
                    <a:pt x="1229" y="5671"/>
                    <a:pt x="851" y="5356"/>
                    <a:pt x="694" y="4978"/>
                  </a:cubicBezTo>
                  <a:close/>
                  <a:moveTo>
                    <a:pt x="9862" y="4978"/>
                  </a:moveTo>
                  <a:cubicBezTo>
                    <a:pt x="9704" y="5356"/>
                    <a:pt x="9295" y="5671"/>
                    <a:pt x="8822" y="5671"/>
                  </a:cubicBezTo>
                  <a:lnTo>
                    <a:pt x="8507" y="5671"/>
                  </a:lnTo>
                  <a:cubicBezTo>
                    <a:pt x="8696" y="5262"/>
                    <a:pt x="9074" y="4978"/>
                    <a:pt x="9547" y="4978"/>
                  </a:cubicBezTo>
                  <a:close/>
                  <a:moveTo>
                    <a:pt x="5294" y="7845"/>
                  </a:moveTo>
                  <a:cubicBezTo>
                    <a:pt x="5451" y="7845"/>
                    <a:pt x="5609" y="7971"/>
                    <a:pt x="5640" y="8097"/>
                  </a:cubicBezTo>
                  <a:lnTo>
                    <a:pt x="5294" y="8507"/>
                  </a:lnTo>
                  <a:lnTo>
                    <a:pt x="4947" y="8097"/>
                  </a:lnTo>
                  <a:cubicBezTo>
                    <a:pt x="4979" y="7971"/>
                    <a:pt x="5136" y="7845"/>
                    <a:pt x="5294" y="7845"/>
                  </a:cubicBezTo>
                  <a:close/>
                  <a:moveTo>
                    <a:pt x="5294" y="4254"/>
                  </a:moveTo>
                  <a:cubicBezTo>
                    <a:pt x="6774" y="4254"/>
                    <a:pt x="7783" y="5104"/>
                    <a:pt x="7783" y="6742"/>
                  </a:cubicBezTo>
                  <a:cubicBezTo>
                    <a:pt x="7783" y="7467"/>
                    <a:pt x="7625" y="8192"/>
                    <a:pt x="7310" y="8885"/>
                  </a:cubicBezTo>
                  <a:lnTo>
                    <a:pt x="7310" y="8822"/>
                  </a:lnTo>
                  <a:cubicBezTo>
                    <a:pt x="7152" y="7845"/>
                    <a:pt x="6270" y="7152"/>
                    <a:pt x="5294" y="7152"/>
                  </a:cubicBezTo>
                  <a:cubicBezTo>
                    <a:pt x="4317" y="7152"/>
                    <a:pt x="3435" y="7845"/>
                    <a:pt x="3277" y="8822"/>
                  </a:cubicBezTo>
                  <a:lnTo>
                    <a:pt x="3277" y="8885"/>
                  </a:lnTo>
                  <a:cubicBezTo>
                    <a:pt x="2962" y="8192"/>
                    <a:pt x="2805" y="7467"/>
                    <a:pt x="2805" y="6742"/>
                  </a:cubicBezTo>
                  <a:cubicBezTo>
                    <a:pt x="2805" y="5104"/>
                    <a:pt x="3844" y="4254"/>
                    <a:pt x="5294" y="4254"/>
                  </a:cubicBezTo>
                  <a:close/>
                  <a:moveTo>
                    <a:pt x="4254" y="8412"/>
                  </a:moveTo>
                  <a:cubicBezTo>
                    <a:pt x="4317" y="8444"/>
                    <a:pt x="4254" y="8412"/>
                    <a:pt x="4947" y="9263"/>
                  </a:cubicBezTo>
                  <a:lnTo>
                    <a:pt x="4947" y="9546"/>
                  </a:lnTo>
                  <a:lnTo>
                    <a:pt x="4348" y="10114"/>
                  </a:lnTo>
                  <a:cubicBezTo>
                    <a:pt x="4191" y="10271"/>
                    <a:pt x="4191" y="10492"/>
                    <a:pt x="4348" y="10649"/>
                  </a:cubicBezTo>
                  <a:cubicBezTo>
                    <a:pt x="4427" y="10728"/>
                    <a:pt x="4514" y="10767"/>
                    <a:pt x="4601" y="10767"/>
                  </a:cubicBezTo>
                  <a:cubicBezTo>
                    <a:pt x="4687" y="10767"/>
                    <a:pt x="4774" y="10728"/>
                    <a:pt x="4853" y="10649"/>
                  </a:cubicBezTo>
                  <a:lnTo>
                    <a:pt x="5325" y="10177"/>
                  </a:lnTo>
                  <a:lnTo>
                    <a:pt x="5798" y="10649"/>
                  </a:lnTo>
                  <a:cubicBezTo>
                    <a:pt x="5876" y="10728"/>
                    <a:pt x="5971" y="10767"/>
                    <a:pt x="6065" y="10767"/>
                  </a:cubicBezTo>
                  <a:cubicBezTo>
                    <a:pt x="6160" y="10767"/>
                    <a:pt x="6255" y="10728"/>
                    <a:pt x="6333" y="10649"/>
                  </a:cubicBezTo>
                  <a:cubicBezTo>
                    <a:pt x="6491" y="10492"/>
                    <a:pt x="6491" y="10271"/>
                    <a:pt x="6333" y="10114"/>
                  </a:cubicBezTo>
                  <a:lnTo>
                    <a:pt x="5735" y="9546"/>
                  </a:lnTo>
                  <a:lnTo>
                    <a:pt x="5735" y="9263"/>
                  </a:lnTo>
                  <a:cubicBezTo>
                    <a:pt x="6428" y="8412"/>
                    <a:pt x="6396" y="8444"/>
                    <a:pt x="6396" y="8412"/>
                  </a:cubicBezTo>
                  <a:lnTo>
                    <a:pt x="6396" y="8412"/>
                  </a:lnTo>
                  <a:cubicBezTo>
                    <a:pt x="6522" y="8570"/>
                    <a:pt x="6617" y="8790"/>
                    <a:pt x="6680" y="8979"/>
                  </a:cubicBezTo>
                  <a:lnTo>
                    <a:pt x="6837" y="9893"/>
                  </a:lnTo>
                  <a:cubicBezTo>
                    <a:pt x="6869" y="10681"/>
                    <a:pt x="6270" y="11437"/>
                    <a:pt x="5451" y="11437"/>
                  </a:cubicBezTo>
                  <a:lnTo>
                    <a:pt x="5136" y="11437"/>
                  </a:lnTo>
                  <a:cubicBezTo>
                    <a:pt x="4317" y="11437"/>
                    <a:pt x="3687" y="10681"/>
                    <a:pt x="3844" y="9893"/>
                  </a:cubicBezTo>
                  <a:lnTo>
                    <a:pt x="4002" y="8979"/>
                  </a:lnTo>
                  <a:cubicBezTo>
                    <a:pt x="4033" y="8759"/>
                    <a:pt x="4096" y="8570"/>
                    <a:pt x="4254" y="8412"/>
                  </a:cubicBezTo>
                  <a:close/>
                  <a:moveTo>
                    <a:pt x="1040" y="0"/>
                  </a:moveTo>
                  <a:cubicBezTo>
                    <a:pt x="851" y="0"/>
                    <a:pt x="694" y="158"/>
                    <a:pt x="694" y="379"/>
                  </a:cubicBezTo>
                  <a:lnTo>
                    <a:pt x="694" y="1072"/>
                  </a:lnTo>
                  <a:cubicBezTo>
                    <a:pt x="694" y="1670"/>
                    <a:pt x="1166" y="2143"/>
                    <a:pt x="1734" y="2143"/>
                  </a:cubicBezTo>
                  <a:lnTo>
                    <a:pt x="2112" y="2143"/>
                  </a:lnTo>
                  <a:lnTo>
                    <a:pt x="2112" y="3529"/>
                  </a:lnTo>
                  <a:cubicBezTo>
                    <a:pt x="2112" y="3907"/>
                    <a:pt x="2332" y="4317"/>
                    <a:pt x="2679" y="4474"/>
                  </a:cubicBezTo>
                  <a:lnTo>
                    <a:pt x="2899" y="4537"/>
                  </a:lnTo>
                  <a:cubicBezTo>
                    <a:pt x="2742" y="4695"/>
                    <a:pt x="2616" y="4852"/>
                    <a:pt x="2521" y="5041"/>
                  </a:cubicBezTo>
                  <a:cubicBezTo>
                    <a:pt x="2206" y="4569"/>
                    <a:pt x="1671" y="4254"/>
                    <a:pt x="1072" y="4254"/>
                  </a:cubicBezTo>
                  <a:lnTo>
                    <a:pt x="379" y="4254"/>
                  </a:lnTo>
                  <a:cubicBezTo>
                    <a:pt x="158" y="4254"/>
                    <a:pt x="1" y="4411"/>
                    <a:pt x="1" y="4632"/>
                  </a:cubicBezTo>
                  <a:cubicBezTo>
                    <a:pt x="1" y="5608"/>
                    <a:pt x="788" y="6396"/>
                    <a:pt x="1797" y="6396"/>
                  </a:cubicBezTo>
                  <a:lnTo>
                    <a:pt x="2143" y="6396"/>
                  </a:lnTo>
                  <a:lnTo>
                    <a:pt x="2143" y="6742"/>
                  </a:lnTo>
                  <a:cubicBezTo>
                    <a:pt x="2143" y="7877"/>
                    <a:pt x="2521" y="9105"/>
                    <a:pt x="3151" y="10019"/>
                  </a:cubicBezTo>
                  <a:cubicBezTo>
                    <a:pt x="3120" y="11153"/>
                    <a:pt x="4065" y="12098"/>
                    <a:pt x="5199" y="12098"/>
                  </a:cubicBezTo>
                  <a:lnTo>
                    <a:pt x="5514" y="12098"/>
                  </a:lnTo>
                  <a:cubicBezTo>
                    <a:pt x="6680" y="12098"/>
                    <a:pt x="7625" y="11153"/>
                    <a:pt x="7562" y="10019"/>
                  </a:cubicBezTo>
                  <a:cubicBezTo>
                    <a:pt x="8192" y="9105"/>
                    <a:pt x="8602" y="7845"/>
                    <a:pt x="8602" y="6742"/>
                  </a:cubicBezTo>
                  <a:lnTo>
                    <a:pt x="8602" y="6396"/>
                  </a:lnTo>
                  <a:lnTo>
                    <a:pt x="8948" y="6396"/>
                  </a:lnTo>
                  <a:cubicBezTo>
                    <a:pt x="9925" y="6396"/>
                    <a:pt x="10712" y="5608"/>
                    <a:pt x="10712" y="4632"/>
                  </a:cubicBezTo>
                  <a:cubicBezTo>
                    <a:pt x="10649" y="4411"/>
                    <a:pt x="10492" y="4254"/>
                    <a:pt x="10303" y="4254"/>
                  </a:cubicBezTo>
                  <a:lnTo>
                    <a:pt x="9578" y="4254"/>
                  </a:lnTo>
                  <a:cubicBezTo>
                    <a:pt x="8980" y="4254"/>
                    <a:pt x="8444" y="4569"/>
                    <a:pt x="8129" y="5041"/>
                  </a:cubicBezTo>
                  <a:cubicBezTo>
                    <a:pt x="8003" y="4852"/>
                    <a:pt x="7909" y="4695"/>
                    <a:pt x="7783" y="4537"/>
                  </a:cubicBezTo>
                  <a:lnTo>
                    <a:pt x="7972" y="4474"/>
                  </a:lnTo>
                  <a:cubicBezTo>
                    <a:pt x="8318" y="4254"/>
                    <a:pt x="8570" y="3907"/>
                    <a:pt x="8570" y="3529"/>
                  </a:cubicBezTo>
                  <a:lnTo>
                    <a:pt x="8570" y="2143"/>
                  </a:lnTo>
                  <a:lnTo>
                    <a:pt x="8917" y="2143"/>
                  </a:lnTo>
                  <a:cubicBezTo>
                    <a:pt x="9515" y="2143"/>
                    <a:pt x="9988" y="1670"/>
                    <a:pt x="9988" y="1072"/>
                  </a:cubicBezTo>
                  <a:lnTo>
                    <a:pt x="9988" y="379"/>
                  </a:lnTo>
                  <a:cubicBezTo>
                    <a:pt x="9988" y="158"/>
                    <a:pt x="9830" y="0"/>
                    <a:pt x="9610" y="0"/>
                  </a:cubicBezTo>
                  <a:cubicBezTo>
                    <a:pt x="9421" y="0"/>
                    <a:pt x="9263" y="158"/>
                    <a:pt x="9263" y="379"/>
                  </a:cubicBezTo>
                  <a:lnTo>
                    <a:pt x="9263" y="1072"/>
                  </a:lnTo>
                  <a:cubicBezTo>
                    <a:pt x="9263" y="1261"/>
                    <a:pt x="9106" y="1418"/>
                    <a:pt x="8917" y="1418"/>
                  </a:cubicBezTo>
                  <a:lnTo>
                    <a:pt x="8570" y="1418"/>
                  </a:lnTo>
                  <a:lnTo>
                    <a:pt x="8570" y="1072"/>
                  </a:lnTo>
                  <a:cubicBezTo>
                    <a:pt x="8570" y="883"/>
                    <a:pt x="8413" y="725"/>
                    <a:pt x="8192" y="725"/>
                  </a:cubicBezTo>
                  <a:cubicBezTo>
                    <a:pt x="8003" y="725"/>
                    <a:pt x="7846" y="883"/>
                    <a:pt x="7846" y="1072"/>
                  </a:cubicBezTo>
                  <a:lnTo>
                    <a:pt x="7846" y="2143"/>
                  </a:lnTo>
                  <a:lnTo>
                    <a:pt x="7499" y="2143"/>
                  </a:lnTo>
                  <a:cubicBezTo>
                    <a:pt x="7310" y="2143"/>
                    <a:pt x="7152" y="1985"/>
                    <a:pt x="7152" y="1796"/>
                  </a:cubicBezTo>
                  <a:lnTo>
                    <a:pt x="7152" y="1072"/>
                  </a:lnTo>
                  <a:cubicBezTo>
                    <a:pt x="7152" y="883"/>
                    <a:pt x="6995" y="725"/>
                    <a:pt x="6774" y="725"/>
                  </a:cubicBezTo>
                  <a:cubicBezTo>
                    <a:pt x="6585" y="725"/>
                    <a:pt x="6428" y="883"/>
                    <a:pt x="6428" y="1072"/>
                  </a:cubicBezTo>
                  <a:lnTo>
                    <a:pt x="6428" y="1796"/>
                  </a:lnTo>
                  <a:cubicBezTo>
                    <a:pt x="6428" y="2363"/>
                    <a:pt x="6900" y="2836"/>
                    <a:pt x="7499" y="2836"/>
                  </a:cubicBezTo>
                  <a:lnTo>
                    <a:pt x="7846" y="2836"/>
                  </a:lnTo>
                  <a:lnTo>
                    <a:pt x="7846" y="3498"/>
                  </a:lnTo>
                  <a:cubicBezTo>
                    <a:pt x="7846" y="3624"/>
                    <a:pt x="7783" y="3781"/>
                    <a:pt x="7656" y="3813"/>
                  </a:cubicBezTo>
                  <a:lnTo>
                    <a:pt x="7184" y="4065"/>
                  </a:lnTo>
                  <a:cubicBezTo>
                    <a:pt x="6680" y="3750"/>
                    <a:pt x="6050" y="3592"/>
                    <a:pt x="5325" y="3592"/>
                  </a:cubicBezTo>
                  <a:cubicBezTo>
                    <a:pt x="4632" y="3592"/>
                    <a:pt x="4002" y="3750"/>
                    <a:pt x="3466" y="4065"/>
                  </a:cubicBezTo>
                  <a:lnTo>
                    <a:pt x="2994" y="3813"/>
                  </a:lnTo>
                  <a:cubicBezTo>
                    <a:pt x="2899" y="3750"/>
                    <a:pt x="2805" y="3624"/>
                    <a:pt x="2805" y="3498"/>
                  </a:cubicBezTo>
                  <a:lnTo>
                    <a:pt x="2805" y="2836"/>
                  </a:lnTo>
                  <a:lnTo>
                    <a:pt x="3151" y="2836"/>
                  </a:lnTo>
                  <a:cubicBezTo>
                    <a:pt x="3750" y="2836"/>
                    <a:pt x="4222" y="2363"/>
                    <a:pt x="4222" y="1796"/>
                  </a:cubicBezTo>
                  <a:lnTo>
                    <a:pt x="4222" y="1072"/>
                  </a:lnTo>
                  <a:cubicBezTo>
                    <a:pt x="4222" y="883"/>
                    <a:pt x="4065" y="725"/>
                    <a:pt x="3876" y="725"/>
                  </a:cubicBezTo>
                  <a:cubicBezTo>
                    <a:pt x="3687" y="725"/>
                    <a:pt x="3529" y="883"/>
                    <a:pt x="3529" y="1072"/>
                  </a:cubicBezTo>
                  <a:lnTo>
                    <a:pt x="3529" y="1796"/>
                  </a:lnTo>
                  <a:cubicBezTo>
                    <a:pt x="3529" y="1985"/>
                    <a:pt x="3372" y="2143"/>
                    <a:pt x="3151" y="2143"/>
                  </a:cubicBezTo>
                  <a:lnTo>
                    <a:pt x="2805" y="2143"/>
                  </a:lnTo>
                  <a:lnTo>
                    <a:pt x="2805" y="1072"/>
                  </a:lnTo>
                  <a:cubicBezTo>
                    <a:pt x="2805" y="883"/>
                    <a:pt x="2647" y="725"/>
                    <a:pt x="2458" y="725"/>
                  </a:cubicBezTo>
                  <a:cubicBezTo>
                    <a:pt x="2269" y="725"/>
                    <a:pt x="2112" y="883"/>
                    <a:pt x="2112" y="1072"/>
                  </a:cubicBezTo>
                  <a:lnTo>
                    <a:pt x="2112" y="1418"/>
                  </a:lnTo>
                  <a:lnTo>
                    <a:pt x="1734" y="1418"/>
                  </a:lnTo>
                  <a:cubicBezTo>
                    <a:pt x="1545" y="1418"/>
                    <a:pt x="1387" y="1261"/>
                    <a:pt x="1387" y="1072"/>
                  </a:cubicBezTo>
                  <a:lnTo>
                    <a:pt x="1387" y="379"/>
                  </a:ln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3" name="Google Shape;7923;p76"/>
            <p:cNvSpPr/>
            <p:nvPr/>
          </p:nvSpPr>
          <p:spPr>
            <a:xfrm>
              <a:off x="-17740200" y="2952400"/>
              <a:ext cx="17350" cy="18125"/>
            </a:xfrm>
            <a:custGeom>
              <a:avLst/>
              <a:gdLst/>
              <a:ahLst/>
              <a:cxnLst/>
              <a:rect l="l" t="t" r="r" b="b"/>
              <a:pathLst>
                <a:path w="694" h="725" extrusionOk="0">
                  <a:moveTo>
                    <a:pt x="347" y="0"/>
                  </a:moveTo>
                  <a:cubicBezTo>
                    <a:pt x="158" y="0"/>
                    <a:pt x="1" y="158"/>
                    <a:pt x="1" y="378"/>
                  </a:cubicBezTo>
                  <a:cubicBezTo>
                    <a:pt x="1" y="567"/>
                    <a:pt x="158" y="725"/>
                    <a:pt x="347" y="725"/>
                  </a:cubicBezTo>
                  <a:cubicBezTo>
                    <a:pt x="536" y="725"/>
                    <a:pt x="694" y="567"/>
                    <a:pt x="694" y="378"/>
                  </a:cubicBezTo>
                  <a:cubicBezTo>
                    <a:pt x="694"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4" name="Google Shape;7924;p76"/>
            <p:cNvSpPr/>
            <p:nvPr/>
          </p:nvSpPr>
          <p:spPr>
            <a:xfrm>
              <a:off x="-17811075" y="2952400"/>
              <a:ext cx="17350" cy="18125"/>
            </a:xfrm>
            <a:custGeom>
              <a:avLst/>
              <a:gdLst/>
              <a:ahLst/>
              <a:cxnLst/>
              <a:rect l="l" t="t" r="r" b="b"/>
              <a:pathLst>
                <a:path w="694" h="725" extrusionOk="0">
                  <a:moveTo>
                    <a:pt x="347" y="0"/>
                  </a:moveTo>
                  <a:cubicBezTo>
                    <a:pt x="158" y="0"/>
                    <a:pt x="0" y="158"/>
                    <a:pt x="0" y="378"/>
                  </a:cubicBezTo>
                  <a:cubicBezTo>
                    <a:pt x="0" y="567"/>
                    <a:pt x="158" y="725"/>
                    <a:pt x="347" y="725"/>
                  </a:cubicBezTo>
                  <a:cubicBezTo>
                    <a:pt x="536" y="725"/>
                    <a:pt x="693" y="567"/>
                    <a:pt x="693" y="378"/>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25" name="Google Shape;7925;p76"/>
          <p:cNvGrpSpPr/>
          <p:nvPr/>
        </p:nvGrpSpPr>
        <p:grpSpPr>
          <a:xfrm>
            <a:off x="2718957" y="4614889"/>
            <a:ext cx="630235" cy="589452"/>
            <a:chOff x="-16066500" y="2060800"/>
            <a:chExt cx="304050" cy="284375"/>
          </a:xfrm>
        </p:grpSpPr>
        <p:sp>
          <p:nvSpPr>
            <p:cNvPr id="7926" name="Google Shape;7926;p76"/>
            <p:cNvSpPr/>
            <p:nvPr/>
          </p:nvSpPr>
          <p:spPr>
            <a:xfrm>
              <a:off x="-15978275" y="2203375"/>
              <a:ext cx="18125" cy="18125"/>
            </a:xfrm>
            <a:custGeom>
              <a:avLst/>
              <a:gdLst/>
              <a:ahLst/>
              <a:cxnLst/>
              <a:rect l="l" t="t" r="r" b="b"/>
              <a:pathLst>
                <a:path w="725" h="725" extrusionOk="0">
                  <a:moveTo>
                    <a:pt x="347" y="0"/>
                  </a:moveTo>
                  <a:cubicBezTo>
                    <a:pt x="158" y="0"/>
                    <a:pt x="0" y="158"/>
                    <a:pt x="0" y="347"/>
                  </a:cubicBezTo>
                  <a:cubicBezTo>
                    <a:pt x="0" y="567"/>
                    <a:pt x="158" y="725"/>
                    <a:pt x="347" y="725"/>
                  </a:cubicBezTo>
                  <a:cubicBezTo>
                    <a:pt x="567" y="725"/>
                    <a:pt x="725" y="567"/>
                    <a:pt x="725" y="347"/>
                  </a:cubicBezTo>
                  <a:cubicBezTo>
                    <a:pt x="725" y="158"/>
                    <a:pt x="567"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7" name="Google Shape;7927;p76"/>
            <p:cNvSpPr/>
            <p:nvPr/>
          </p:nvSpPr>
          <p:spPr>
            <a:xfrm>
              <a:off x="-15869575" y="2203375"/>
              <a:ext cx="17350" cy="18125"/>
            </a:xfrm>
            <a:custGeom>
              <a:avLst/>
              <a:gdLst/>
              <a:ahLst/>
              <a:cxnLst/>
              <a:rect l="l" t="t" r="r" b="b"/>
              <a:pathLst>
                <a:path w="694" h="725" extrusionOk="0">
                  <a:moveTo>
                    <a:pt x="347" y="0"/>
                  </a:moveTo>
                  <a:cubicBezTo>
                    <a:pt x="158" y="0"/>
                    <a:pt x="0" y="158"/>
                    <a:pt x="0" y="347"/>
                  </a:cubicBezTo>
                  <a:cubicBezTo>
                    <a:pt x="0" y="567"/>
                    <a:pt x="158" y="725"/>
                    <a:pt x="347" y="725"/>
                  </a:cubicBezTo>
                  <a:cubicBezTo>
                    <a:pt x="536" y="725"/>
                    <a:pt x="693" y="567"/>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8" name="Google Shape;7928;p76"/>
            <p:cNvSpPr/>
            <p:nvPr/>
          </p:nvSpPr>
          <p:spPr>
            <a:xfrm>
              <a:off x="-15954650" y="2186825"/>
              <a:ext cx="78775" cy="88250"/>
            </a:xfrm>
            <a:custGeom>
              <a:avLst/>
              <a:gdLst/>
              <a:ahLst/>
              <a:cxnLst/>
              <a:rect l="l" t="t" r="r" b="b"/>
              <a:pathLst>
                <a:path w="3151" h="3530" extrusionOk="0">
                  <a:moveTo>
                    <a:pt x="1607" y="662"/>
                  </a:moveTo>
                  <a:cubicBezTo>
                    <a:pt x="1891" y="662"/>
                    <a:pt x="2080" y="820"/>
                    <a:pt x="2174" y="1103"/>
                  </a:cubicBezTo>
                  <a:lnTo>
                    <a:pt x="2458" y="2111"/>
                  </a:lnTo>
                  <a:cubicBezTo>
                    <a:pt x="2489" y="2269"/>
                    <a:pt x="2458" y="2490"/>
                    <a:pt x="2332" y="2584"/>
                  </a:cubicBezTo>
                  <a:cubicBezTo>
                    <a:pt x="2206" y="2710"/>
                    <a:pt x="2048" y="2805"/>
                    <a:pt x="1891" y="2805"/>
                  </a:cubicBezTo>
                  <a:lnTo>
                    <a:pt x="1387" y="2805"/>
                  </a:lnTo>
                  <a:cubicBezTo>
                    <a:pt x="1229" y="2805"/>
                    <a:pt x="1072" y="2710"/>
                    <a:pt x="946" y="2584"/>
                  </a:cubicBezTo>
                  <a:cubicBezTo>
                    <a:pt x="788" y="2458"/>
                    <a:pt x="757" y="2269"/>
                    <a:pt x="788" y="2111"/>
                  </a:cubicBezTo>
                  <a:lnTo>
                    <a:pt x="1072" y="1103"/>
                  </a:lnTo>
                  <a:cubicBezTo>
                    <a:pt x="1135" y="851"/>
                    <a:pt x="1355" y="662"/>
                    <a:pt x="1607" y="662"/>
                  </a:cubicBezTo>
                  <a:close/>
                  <a:moveTo>
                    <a:pt x="1576" y="1"/>
                  </a:moveTo>
                  <a:cubicBezTo>
                    <a:pt x="977" y="1"/>
                    <a:pt x="473" y="379"/>
                    <a:pt x="347" y="946"/>
                  </a:cubicBezTo>
                  <a:lnTo>
                    <a:pt x="95" y="1954"/>
                  </a:lnTo>
                  <a:cubicBezTo>
                    <a:pt x="1" y="2364"/>
                    <a:pt x="95" y="2742"/>
                    <a:pt x="316" y="3057"/>
                  </a:cubicBezTo>
                  <a:cubicBezTo>
                    <a:pt x="599" y="3340"/>
                    <a:pt x="946" y="3529"/>
                    <a:pt x="1355" y="3529"/>
                  </a:cubicBezTo>
                  <a:lnTo>
                    <a:pt x="1859" y="3529"/>
                  </a:lnTo>
                  <a:cubicBezTo>
                    <a:pt x="2237" y="3529"/>
                    <a:pt x="2615" y="3340"/>
                    <a:pt x="2836" y="3057"/>
                  </a:cubicBezTo>
                  <a:cubicBezTo>
                    <a:pt x="3088" y="2742"/>
                    <a:pt x="3151" y="2364"/>
                    <a:pt x="3088" y="1954"/>
                  </a:cubicBezTo>
                  <a:lnTo>
                    <a:pt x="2804" y="946"/>
                  </a:lnTo>
                  <a:cubicBezTo>
                    <a:pt x="2647" y="379"/>
                    <a:pt x="2174" y="1"/>
                    <a:pt x="15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29" name="Google Shape;7929;p76"/>
            <p:cNvSpPr/>
            <p:nvPr/>
          </p:nvSpPr>
          <p:spPr>
            <a:xfrm>
              <a:off x="-16066500" y="2060800"/>
              <a:ext cx="304050" cy="284375"/>
            </a:xfrm>
            <a:custGeom>
              <a:avLst/>
              <a:gdLst/>
              <a:ahLst/>
              <a:cxnLst/>
              <a:rect l="l" t="t" r="r" b="b"/>
              <a:pathLst>
                <a:path w="12162" h="11375" extrusionOk="0">
                  <a:moveTo>
                    <a:pt x="9326" y="694"/>
                  </a:moveTo>
                  <a:cubicBezTo>
                    <a:pt x="10492" y="694"/>
                    <a:pt x="11437" y="1639"/>
                    <a:pt x="11437" y="2836"/>
                  </a:cubicBezTo>
                  <a:cubicBezTo>
                    <a:pt x="11437" y="2962"/>
                    <a:pt x="11437" y="3025"/>
                    <a:pt x="11406" y="3120"/>
                  </a:cubicBezTo>
                  <a:cubicBezTo>
                    <a:pt x="10996" y="2584"/>
                    <a:pt x="10334" y="2269"/>
                    <a:pt x="9673" y="2175"/>
                  </a:cubicBezTo>
                  <a:cubicBezTo>
                    <a:pt x="9649" y="2170"/>
                    <a:pt x="9625" y="2168"/>
                    <a:pt x="9602" y="2168"/>
                  </a:cubicBezTo>
                  <a:cubicBezTo>
                    <a:pt x="9302" y="2168"/>
                    <a:pt x="9153" y="2537"/>
                    <a:pt x="9358" y="2742"/>
                  </a:cubicBezTo>
                  <a:cubicBezTo>
                    <a:pt x="9767" y="3151"/>
                    <a:pt x="9988" y="3687"/>
                    <a:pt x="9988" y="4254"/>
                  </a:cubicBezTo>
                  <a:cubicBezTo>
                    <a:pt x="9988" y="4412"/>
                    <a:pt x="9988" y="4569"/>
                    <a:pt x="9956" y="4727"/>
                  </a:cubicBezTo>
                  <a:cubicBezTo>
                    <a:pt x="9484" y="3844"/>
                    <a:pt x="8759" y="3120"/>
                    <a:pt x="7909" y="2616"/>
                  </a:cubicBezTo>
                  <a:cubicBezTo>
                    <a:pt x="7657" y="2521"/>
                    <a:pt x="7468" y="2395"/>
                    <a:pt x="7247" y="2301"/>
                  </a:cubicBezTo>
                  <a:cubicBezTo>
                    <a:pt x="7468" y="1356"/>
                    <a:pt x="8287" y="694"/>
                    <a:pt x="9326" y="694"/>
                  </a:cubicBezTo>
                  <a:close/>
                  <a:moveTo>
                    <a:pt x="2836" y="757"/>
                  </a:moveTo>
                  <a:cubicBezTo>
                    <a:pt x="3813" y="757"/>
                    <a:pt x="4664" y="1419"/>
                    <a:pt x="4916" y="2364"/>
                  </a:cubicBezTo>
                  <a:cubicBezTo>
                    <a:pt x="3718" y="2742"/>
                    <a:pt x="2773" y="3687"/>
                    <a:pt x="2206" y="4758"/>
                  </a:cubicBezTo>
                  <a:cubicBezTo>
                    <a:pt x="2143" y="4601"/>
                    <a:pt x="2112" y="4443"/>
                    <a:pt x="2112" y="4286"/>
                  </a:cubicBezTo>
                  <a:cubicBezTo>
                    <a:pt x="2112" y="3750"/>
                    <a:pt x="2364" y="3183"/>
                    <a:pt x="2742" y="2773"/>
                  </a:cubicBezTo>
                  <a:cubicBezTo>
                    <a:pt x="2970" y="2574"/>
                    <a:pt x="2811" y="2193"/>
                    <a:pt x="2521" y="2193"/>
                  </a:cubicBezTo>
                  <a:cubicBezTo>
                    <a:pt x="2491" y="2193"/>
                    <a:pt x="2459" y="2197"/>
                    <a:pt x="2427" y="2206"/>
                  </a:cubicBezTo>
                  <a:cubicBezTo>
                    <a:pt x="1765" y="2269"/>
                    <a:pt x="1135" y="2616"/>
                    <a:pt x="694" y="3151"/>
                  </a:cubicBezTo>
                  <a:cubicBezTo>
                    <a:pt x="536" y="1891"/>
                    <a:pt x="1513" y="757"/>
                    <a:pt x="2836" y="757"/>
                  </a:cubicBezTo>
                  <a:close/>
                  <a:moveTo>
                    <a:pt x="6050" y="2836"/>
                  </a:moveTo>
                  <a:cubicBezTo>
                    <a:pt x="8224" y="2836"/>
                    <a:pt x="9988" y="5325"/>
                    <a:pt x="9988" y="7468"/>
                  </a:cubicBezTo>
                  <a:cubicBezTo>
                    <a:pt x="10019" y="9862"/>
                    <a:pt x="7909" y="10713"/>
                    <a:pt x="6050" y="10713"/>
                  </a:cubicBezTo>
                  <a:cubicBezTo>
                    <a:pt x="4254" y="10713"/>
                    <a:pt x="2112" y="9893"/>
                    <a:pt x="2112" y="7468"/>
                  </a:cubicBezTo>
                  <a:cubicBezTo>
                    <a:pt x="2112" y="5325"/>
                    <a:pt x="3876" y="2836"/>
                    <a:pt x="6050" y="2836"/>
                  </a:cubicBezTo>
                  <a:close/>
                  <a:moveTo>
                    <a:pt x="2836" y="1"/>
                  </a:moveTo>
                  <a:cubicBezTo>
                    <a:pt x="1261" y="1"/>
                    <a:pt x="1" y="1293"/>
                    <a:pt x="1" y="2836"/>
                  </a:cubicBezTo>
                  <a:cubicBezTo>
                    <a:pt x="1" y="3246"/>
                    <a:pt x="64" y="3655"/>
                    <a:pt x="253" y="4034"/>
                  </a:cubicBezTo>
                  <a:cubicBezTo>
                    <a:pt x="316" y="4175"/>
                    <a:pt x="450" y="4246"/>
                    <a:pt x="580" y="4246"/>
                  </a:cubicBezTo>
                  <a:cubicBezTo>
                    <a:pt x="710" y="4246"/>
                    <a:pt x="836" y="4175"/>
                    <a:pt x="883" y="4034"/>
                  </a:cubicBezTo>
                  <a:cubicBezTo>
                    <a:pt x="1040" y="3687"/>
                    <a:pt x="1293" y="3403"/>
                    <a:pt x="1608" y="3214"/>
                  </a:cubicBezTo>
                  <a:lnTo>
                    <a:pt x="1608" y="3214"/>
                  </a:lnTo>
                  <a:cubicBezTo>
                    <a:pt x="1482" y="3529"/>
                    <a:pt x="1419" y="3876"/>
                    <a:pt x="1419" y="4254"/>
                  </a:cubicBezTo>
                  <a:cubicBezTo>
                    <a:pt x="1419" y="4727"/>
                    <a:pt x="1513" y="5199"/>
                    <a:pt x="1765" y="5577"/>
                  </a:cubicBezTo>
                  <a:cubicBezTo>
                    <a:pt x="1513" y="6176"/>
                    <a:pt x="1419" y="6806"/>
                    <a:pt x="1419" y="7436"/>
                  </a:cubicBezTo>
                  <a:cubicBezTo>
                    <a:pt x="1419" y="9988"/>
                    <a:pt x="3498" y="11374"/>
                    <a:pt x="6050" y="11374"/>
                  </a:cubicBezTo>
                  <a:cubicBezTo>
                    <a:pt x="8665" y="11374"/>
                    <a:pt x="10713" y="9988"/>
                    <a:pt x="10713" y="7436"/>
                  </a:cubicBezTo>
                  <a:cubicBezTo>
                    <a:pt x="10713" y="6806"/>
                    <a:pt x="10586" y="6176"/>
                    <a:pt x="10334" y="5577"/>
                  </a:cubicBezTo>
                  <a:cubicBezTo>
                    <a:pt x="10586" y="5136"/>
                    <a:pt x="10713" y="4727"/>
                    <a:pt x="10713" y="4254"/>
                  </a:cubicBezTo>
                  <a:cubicBezTo>
                    <a:pt x="10713" y="3876"/>
                    <a:pt x="10618" y="3529"/>
                    <a:pt x="10492" y="3214"/>
                  </a:cubicBezTo>
                  <a:lnTo>
                    <a:pt x="10492" y="3214"/>
                  </a:lnTo>
                  <a:cubicBezTo>
                    <a:pt x="10776" y="3403"/>
                    <a:pt x="11028" y="3687"/>
                    <a:pt x="11217" y="4034"/>
                  </a:cubicBezTo>
                  <a:cubicBezTo>
                    <a:pt x="11280" y="4175"/>
                    <a:pt x="11406" y="4246"/>
                    <a:pt x="11532" y="4246"/>
                  </a:cubicBezTo>
                  <a:cubicBezTo>
                    <a:pt x="11658" y="4246"/>
                    <a:pt x="11784" y="4175"/>
                    <a:pt x="11847" y="4034"/>
                  </a:cubicBezTo>
                  <a:cubicBezTo>
                    <a:pt x="12036" y="3655"/>
                    <a:pt x="12130" y="3246"/>
                    <a:pt x="12130" y="2836"/>
                  </a:cubicBezTo>
                  <a:cubicBezTo>
                    <a:pt x="12162" y="1293"/>
                    <a:pt x="10870" y="1"/>
                    <a:pt x="9295" y="1"/>
                  </a:cubicBezTo>
                  <a:cubicBezTo>
                    <a:pt x="7940" y="1"/>
                    <a:pt x="6837" y="915"/>
                    <a:pt x="6522" y="2175"/>
                  </a:cubicBezTo>
                  <a:cubicBezTo>
                    <a:pt x="6365" y="2112"/>
                    <a:pt x="6207" y="2112"/>
                    <a:pt x="6050" y="2112"/>
                  </a:cubicBezTo>
                  <a:cubicBezTo>
                    <a:pt x="5892" y="2112"/>
                    <a:pt x="5735" y="2112"/>
                    <a:pt x="5577" y="2175"/>
                  </a:cubicBezTo>
                  <a:cubicBezTo>
                    <a:pt x="5262" y="915"/>
                    <a:pt x="4128" y="1"/>
                    <a:pt x="283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0" name="Google Shape;7930;p76"/>
            <p:cNvSpPr/>
            <p:nvPr/>
          </p:nvSpPr>
          <p:spPr>
            <a:xfrm>
              <a:off x="-15960175" y="2287225"/>
              <a:ext cx="91400" cy="24075"/>
            </a:xfrm>
            <a:custGeom>
              <a:avLst/>
              <a:gdLst/>
              <a:ahLst/>
              <a:cxnLst/>
              <a:rect l="l" t="t" r="r" b="b"/>
              <a:pathLst>
                <a:path w="3656" h="963" extrusionOk="0">
                  <a:moveTo>
                    <a:pt x="437" y="1"/>
                  </a:moveTo>
                  <a:cubicBezTo>
                    <a:pt x="284" y="1"/>
                    <a:pt x="142" y="114"/>
                    <a:pt x="64" y="269"/>
                  </a:cubicBezTo>
                  <a:cubicBezTo>
                    <a:pt x="1" y="458"/>
                    <a:pt x="96" y="647"/>
                    <a:pt x="316" y="742"/>
                  </a:cubicBezTo>
                  <a:cubicBezTo>
                    <a:pt x="852" y="931"/>
                    <a:pt x="1450" y="962"/>
                    <a:pt x="1828" y="962"/>
                  </a:cubicBezTo>
                  <a:cubicBezTo>
                    <a:pt x="2238" y="962"/>
                    <a:pt x="2836" y="931"/>
                    <a:pt x="3372" y="742"/>
                  </a:cubicBezTo>
                  <a:cubicBezTo>
                    <a:pt x="3593" y="647"/>
                    <a:pt x="3656" y="458"/>
                    <a:pt x="3624" y="269"/>
                  </a:cubicBezTo>
                  <a:cubicBezTo>
                    <a:pt x="3546" y="114"/>
                    <a:pt x="3383" y="1"/>
                    <a:pt x="3240" y="1"/>
                  </a:cubicBezTo>
                  <a:cubicBezTo>
                    <a:pt x="3209" y="1"/>
                    <a:pt x="3179" y="6"/>
                    <a:pt x="3151" y="17"/>
                  </a:cubicBezTo>
                  <a:cubicBezTo>
                    <a:pt x="2679" y="206"/>
                    <a:pt x="2143" y="238"/>
                    <a:pt x="1828" y="238"/>
                  </a:cubicBezTo>
                  <a:cubicBezTo>
                    <a:pt x="1482" y="238"/>
                    <a:pt x="1009" y="206"/>
                    <a:pt x="537" y="17"/>
                  </a:cubicBezTo>
                  <a:cubicBezTo>
                    <a:pt x="503" y="6"/>
                    <a:pt x="470" y="1"/>
                    <a:pt x="43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31" name="Google Shape;7931;p76"/>
          <p:cNvSpPr/>
          <p:nvPr/>
        </p:nvSpPr>
        <p:spPr>
          <a:xfrm>
            <a:off x="5793270" y="4593016"/>
            <a:ext cx="633500" cy="633448"/>
          </a:xfrm>
          <a:custGeom>
            <a:avLst/>
            <a:gdLst/>
            <a:ahLst/>
            <a:cxnLst/>
            <a:rect l="l" t="t" r="r" b="b"/>
            <a:pathLst>
              <a:path w="12225" h="12224" extrusionOk="0">
                <a:moveTo>
                  <a:pt x="6522" y="1638"/>
                </a:moveTo>
                <a:lnTo>
                  <a:pt x="9074" y="2678"/>
                </a:lnTo>
                <a:lnTo>
                  <a:pt x="8507" y="3245"/>
                </a:lnTo>
                <a:lnTo>
                  <a:pt x="6522" y="2426"/>
                </a:lnTo>
                <a:lnTo>
                  <a:pt x="6522" y="1638"/>
                </a:lnTo>
                <a:close/>
                <a:moveTo>
                  <a:pt x="5766" y="1670"/>
                </a:moveTo>
                <a:lnTo>
                  <a:pt x="5766" y="2457"/>
                </a:lnTo>
                <a:lnTo>
                  <a:pt x="3750" y="3277"/>
                </a:lnTo>
                <a:lnTo>
                  <a:pt x="3214" y="2741"/>
                </a:lnTo>
                <a:lnTo>
                  <a:pt x="5766" y="1670"/>
                </a:lnTo>
                <a:close/>
                <a:moveTo>
                  <a:pt x="5766" y="3214"/>
                </a:moveTo>
                <a:lnTo>
                  <a:pt x="5766" y="4001"/>
                </a:lnTo>
                <a:lnTo>
                  <a:pt x="4821" y="4348"/>
                </a:lnTo>
                <a:lnTo>
                  <a:pt x="4254" y="3781"/>
                </a:lnTo>
                <a:lnTo>
                  <a:pt x="5766" y="3214"/>
                </a:lnTo>
                <a:close/>
                <a:moveTo>
                  <a:pt x="6459" y="3214"/>
                </a:moveTo>
                <a:lnTo>
                  <a:pt x="7972" y="3781"/>
                </a:lnTo>
                <a:lnTo>
                  <a:pt x="7404" y="4348"/>
                </a:lnTo>
                <a:lnTo>
                  <a:pt x="6459" y="4001"/>
                </a:lnTo>
                <a:lnTo>
                  <a:pt x="6459" y="3214"/>
                </a:lnTo>
                <a:close/>
                <a:moveTo>
                  <a:pt x="5766" y="4726"/>
                </a:moveTo>
                <a:lnTo>
                  <a:pt x="5766" y="5293"/>
                </a:lnTo>
                <a:lnTo>
                  <a:pt x="5357" y="4883"/>
                </a:lnTo>
                <a:lnTo>
                  <a:pt x="5766" y="4726"/>
                </a:lnTo>
                <a:close/>
                <a:moveTo>
                  <a:pt x="6459" y="4726"/>
                </a:moveTo>
                <a:lnTo>
                  <a:pt x="6869" y="4883"/>
                </a:lnTo>
                <a:lnTo>
                  <a:pt x="6459" y="5293"/>
                </a:lnTo>
                <a:lnTo>
                  <a:pt x="6459" y="4726"/>
                </a:lnTo>
                <a:close/>
                <a:moveTo>
                  <a:pt x="2679" y="3214"/>
                </a:moveTo>
                <a:lnTo>
                  <a:pt x="3246" y="3749"/>
                </a:lnTo>
                <a:lnTo>
                  <a:pt x="2427" y="5765"/>
                </a:lnTo>
                <a:lnTo>
                  <a:pt x="1639" y="5765"/>
                </a:lnTo>
                <a:lnTo>
                  <a:pt x="2679" y="3214"/>
                </a:lnTo>
                <a:close/>
                <a:moveTo>
                  <a:pt x="4853" y="5356"/>
                </a:moveTo>
                <a:lnTo>
                  <a:pt x="5262" y="5765"/>
                </a:lnTo>
                <a:lnTo>
                  <a:pt x="4695" y="5765"/>
                </a:lnTo>
                <a:lnTo>
                  <a:pt x="4853" y="5356"/>
                </a:lnTo>
                <a:close/>
                <a:moveTo>
                  <a:pt x="7373" y="5356"/>
                </a:moveTo>
                <a:lnTo>
                  <a:pt x="7531" y="5765"/>
                </a:lnTo>
                <a:lnTo>
                  <a:pt x="6995" y="5765"/>
                </a:lnTo>
                <a:lnTo>
                  <a:pt x="7373" y="5356"/>
                </a:lnTo>
                <a:close/>
                <a:moveTo>
                  <a:pt x="8476" y="4253"/>
                </a:moveTo>
                <a:lnTo>
                  <a:pt x="9074" y="5765"/>
                </a:lnTo>
                <a:lnTo>
                  <a:pt x="8287" y="5765"/>
                </a:lnTo>
                <a:lnTo>
                  <a:pt x="7940" y="4820"/>
                </a:lnTo>
                <a:lnTo>
                  <a:pt x="8476" y="4253"/>
                </a:lnTo>
                <a:close/>
                <a:moveTo>
                  <a:pt x="9547" y="3214"/>
                </a:moveTo>
                <a:lnTo>
                  <a:pt x="10618" y="5765"/>
                </a:lnTo>
                <a:lnTo>
                  <a:pt x="9830" y="5765"/>
                </a:lnTo>
                <a:lnTo>
                  <a:pt x="8980" y="3749"/>
                </a:lnTo>
                <a:lnTo>
                  <a:pt x="9547" y="3214"/>
                </a:lnTo>
                <a:close/>
                <a:moveTo>
                  <a:pt x="3781" y="4316"/>
                </a:moveTo>
                <a:lnTo>
                  <a:pt x="4348" y="4852"/>
                </a:lnTo>
                <a:lnTo>
                  <a:pt x="4002" y="5797"/>
                </a:lnTo>
                <a:lnTo>
                  <a:pt x="3214" y="5797"/>
                </a:lnTo>
                <a:lnTo>
                  <a:pt x="3781" y="4316"/>
                </a:lnTo>
                <a:close/>
                <a:moveTo>
                  <a:pt x="5262" y="6522"/>
                </a:moveTo>
                <a:lnTo>
                  <a:pt x="4853" y="6900"/>
                </a:lnTo>
                <a:lnTo>
                  <a:pt x="4695" y="6522"/>
                </a:lnTo>
                <a:close/>
                <a:moveTo>
                  <a:pt x="7531" y="6522"/>
                </a:moveTo>
                <a:lnTo>
                  <a:pt x="7373" y="6900"/>
                </a:lnTo>
                <a:lnTo>
                  <a:pt x="6995" y="6522"/>
                </a:lnTo>
                <a:close/>
                <a:moveTo>
                  <a:pt x="5766" y="6994"/>
                </a:moveTo>
                <a:lnTo>
                  <a:pt x="5766" y="7530"/>
                </a:lnTo>
                <a:lnTo>
                  <a:pt x="5357" y="7372"/>
                </a:lnTo>
                <a:lnTo>
                  <a:pt x="5766" y="6994"/>
                </a:lnTo>
                <a:close/>
                <a:moveTo>
                  <a:pt x="6459" y="6994"/>
                </a:moveTo>
                <a:lnTo>
                  <a:pt x="6869" y="7372"/>
                </a:lnTo>
                <a:lnTo>
                  <a:pt x="6459" y="7530"/>
                </a:lnTo>
                <a:lnTo>
                  <a:pt x="6459" y="6994"/>
                </a:lnTo>
                <a:close/>
                <a:moveTo>
                  <a:pt x="9074" y="6459"/>
                </a:moveTo>
                <a:lnTo>
                  <a:pt x="8476" y="7971"/>
                </a:lnTo>
                <a:lnTo>
                  <a:pt x="7940" y="7404"/>
                </a:lnTo>
                <a:lnTo>
                  <a:pt x="8287" y="6459"/>
                </a:lnTo>
                <a:close/>
                <a:moveTo>
                  <a:pt x="3939" y="6522"/>
                </a:moveTo>
                <a:lnTo>
                  <a:pt x="4317" y="7467"/>
                </a:lnTo>
                <a:lnTo>
                  <a:pt x="3750" y="8002"/>
                </a:lnTo>
                <a:lnTo>
                  <a:pt x="3151" y="6522"/>
                </a:lnTo>
                <a:close/>
                <a:moveTo>
                  <a:pt x="2458" y="6522"/>
                </a:moveTo>
                <a:lnTo>
                  <a:pt x="3277" y="8506"/>
                </a:lnTo>
                <a:lnTo>
                  <a:pt x="2742" y="9073"/>
                </a:lnTo>
                <a:lnTo>
                  <a:pt x="1671" y="6522"/>
                </a:lnTo>
                <a:close/>
                <a:moveTo>
                  <a:pt x="4853" y="7939"/>
                </a:moveTo>
                <a:lnTo>
                  <a:pt x="5798" y="8286"/>
                </a:lnTo>
                <a:lnTo>
                  <a:pt x="5798" y="9073"/>
                </a:lnTo>
                <a:lnTo>
                  <a:pt x="4317" y="8475"/>
                </a:lnTo>
                <a:lnTo>
                  <a:pt x="4853" y="7939"/>
                </a:lnTo>
                <a:close/>
                <a:moveTo>
                  <a:pt x="7404" y="7939"/>
                </a:moveTo>
                <a:lnTo>
                  <a:pt x="7972" y="8475"/>
                </a:lnTo>
                <a:lnTo>
                  <a:pt x="6491" y="9073"/>
                </a:lnTo>
                <a:lnTo>
                  <a:pt x="6491" y="8286"/>
                </a:lnTo>
                <a:lnTo>
                  <a:pt x="6459" y="8286"/>
                </a:lnTo>
                <a:lnTo>
                  <a:pt x="7404" y="7939"/>
                </a:lnTo>
                <a:close/>
                <a:moveTo>
                  <a:pt x="10649" y="6522"/>
                </a:moveTo>
                <a:lnTo>
                  <a:pt x="9578" y="9073"/>
                </a:lnTo>
                <a:lnTo>
                  <a:pt x="9043" y="8506"/>
                </a:lnTo>
                <a:lnTo>
                  <a:pt x="9862" y="6522"/>
                </a:lnTo>
                <a:close/>
                <a:moveTo>
                  <a:pt x="8476" y="8979"/>
                </a:moveTo>
                <a:lnTo>
                  <a:pt x="9043" y="9546"/>
                </a:lnTo>
                <a:lnTo>
                  <a:pt x="6459" y="10617"/>
                </a:lnTo>
                <a:lnTo>
                  <a:pt x="6459" y="9830"/>
                </a:lnTo>
                <a:lnTo>
                  <a:pt x="8476" y="8979"/>
                </a:lnTo>
                <a:close/>
                <a:moveTo>
                  <a:pt x="3750" y="9042"/>
                </a:moveTo>
                <a:lnTo>
                  <a:pt x="5766" y="9861"/>
                </a:lnTo>
                <a:lnTo>
                  <a:pt x="5766" y="10649"/>
                </a:lnTo>
                <a:lnTo>
                  <a:pt x="3214" y="9578"/>
                </a:lnTo>
                <a:lnTo>
                  <a:pt x="3750" y="9042"/>
                </a:lnTo>
                <a:close/>
                <a:moveTo>
                  <a:pt x="6113" y="0"/>
                </a:moveTo>
                <a:cubicBezTo>
                  <a:pt x="5924" y="0"/>
                  <a:pt x="5766" y="158"/>
                  <a:pt x="5766" y="347"/>
                </a:cubicBezTo>
                <a:lnTo>
                  <a:pt x="5766" y="882"/>
                </a:lnTo>
                <a:lnTo>
                  <a:pt x="2647" y="2142"/>
                </a:lnTo>
                <a:lnTo>
                  <a:pt x="2332" y="1827"/>
                </a:lnTo>
                <a:cubicBezTo>
                  <a:pt x="2253" y="1749"/>
                  <a:pt x="2167" y="1709"/>
                  <a:pt x="2080" y="1709"/>
                </a:cubicBezTo>
                <a:cubicBezTo>
                  <a:pt x="1994" y="1709"/>
                  <a:pt x="1907" y="1749"/>
                  <a:pt x="1828" y="1827"/>
                </a:cubicBezTo>
                <a:cubicBezTo>
                  <a:pt x="1671" y="1985"/>
                  <a:pt x="1671" y="2174"/>
                  <a:pt x="1828" y="2331"/>
                </a:cubicBezTo>
                <a:lnTo>
                  <a:pt x="2143" y="2647"/>
                </a:lnTo>
                <a:lnTo>
                  <a:pt x="883" y="5765"/>
                </a:lnTo>
                <a:lnTo>
                  <a:pt x="379" y="5765"/>
                </a:lnTo>
                <a:cubicBezTo>
                  <a:pt x="158" y="5765"/>
                  <a:pt x="1" y="5923"/>
                  <a:pt x="1" y="6112"/>
                </a:cubicBezTo>
                <a:cubicBezTo>
                  <a:pt x="1" y="6301"/>
                  <a:pt x="158" y="6459"/>
                  <a:pt x="379" y="6459"/>
                </a:cubicBezTo>
                <a:lnTo>
                  <a:pt x="883" y="6459"/>
                </a:lnTo>
                <a:lnTo>
                  <a:pt x="2143" y="9578"/>
                </a:lnTo>
                <a:lnTo>
                  <a:pt x="1828" y="9893"/>
                </a:lnTo>
                <a:cubicBezTo>
                  <a:pt x="1671" y="10050"/>
                  <a:pt x="1671" y="10239"/>
                  <a:pt x="1828" y="10397"/>
                </a:cubicBezTo>
                <a:cubicBezTo>
                  <a:pt x="1907" y="10475"/>
                  <a:pt x="1994" y="10515"/>
                  <a:pt x="2080" y="10515"/>
                </a:cubicBezTo>
                <a:cubicBezTo>
                  <a:pt x="2167" y="10515"/>
                  <a:pt x="2253" y="10475"/>
                  <a:pt x="2332" y="10397"/>
                </a:cubicBezTo>
                <a:lnTo>
                  <a:pt x="2647" y="10082"/>
                </a:lnTo>
                <a:lnTo>
                  <a:pt x="5766" y="11342"/>
                </a:lnTo>
                <a:lnTo>
                  <a:pt x="5766" y="11877"/>
                </a:lnTo>
                <a:cubicBezTo>
                  <a:pt x="5766" y="12066"/>
                  <a:pt x="5924" y="12224"/>
                  <a:pt x="6113" y="12224"/>
                </a:cubicBezTo>
                <a:cubicBezTo>
                  <a:pt x="6302" y="12224"/>
                  <a:pt x="6459" y="12066"/>
                  <a:pt x="6459" y="11877"/>
                </a:cubicBezTo>
                <a:lnTo>
                  <a:pt x="6459" y="11405"/>
                </a:lnTo>
                <a:lnTo>
                  <a:pt x="9578" y="10145"/>
                </a:lnTo>
                <a:lnTo>
                  <a:pt x="9893" y="10460"/>
                </a:lnTo>
                <a:cubicBezTo>
                  <a:pt x="9972" y="10538"/>
                  <a:pt x="10067" y="10578"/>
                  <a:pt x="10157" y="10578"/>
                </a:cubicBezTo>
                <a:cubicBezTo>
                  <a:pt x="10248" y="10578"/>
                  <a:pt x="10334" y="10538"/>
                  <a:pt x="10397" y="10460"/>
                </a:cubicBezTo>
                <a:cubicBezTo>
                  <a:pt x="10555" y="10302"/>
                  <a:pt x="10555" y="10082"/>
                  <a:pt x="10397" y="9924"/>
                </a:cubicBezTo>
                <a:lnTo>
                  <a:pt x="10082" y="9609"/>
                </a:lnTo>
                <a:lnTo>
                  <a:pt x="11343" y="6522"/>
                </a:lnTo>
                <a:lnTo>
                  <a:pt x="11878" y="6522"/>
                </a:lnTo>
                <a:cubicBezTo>
                  <a:pt x="12067" y="6522"/>
                  <a:pt x="12225" y="6364"/>
                  <a:pt x="12225" y="6144"/>
                </a:cubicBezTo>
                <a:cubicBezTo>
                  <a:pt x="12225" y="5955"/>
                  <a:pt x="12067" y="5765"/>
                  <a:pt x="11878" y="5765"/>
                </a:cubicBezTo>
                <a:lnTo>
                  <a:pt x="11343" y="5765"/>
                </a:lnTo>
                <a:lnTo>
                  <a:pt x="10082" y="2647"/>
                </a:lnTo>
                <a:lnTo>
                  <a:pt x="10397" y="2331"/>
                </a:lnTo>
                <a:cubicBezTo>
                  <a:pt x="10555" y="2174"/>
                  <a:pt x="10555" y="1985"/>
                  <a:pt x="10397" y="1827"/>
                </a:cubicBezTo>
                <a:cubicBezTo>
                  <a:pt x="10319" y="1749"/>
                  <a:pt x="10232" y="1709"/>
                  <a:pt x="10145" y="1709"/>
                </a:cubicBezTo>
                <a:cubicBezTo>
                  <a:pt x="10059" y="1709"/>
                  <a:pt x="9972" y="1749"/>
                  <a:pt x="9893" y="1827"/>
                </a:cubicBezTo>
                <a:lnTo>
                  <a:pt x="9578" y="2142"/>
                </a:lnTo>
                <a:lnTo>
                  <a:pt x="6459" y="882"/>
                </a:lnTo>
                <a:lnTo>
                  <a:pt x="6459" y="347"/>
                </a:lnTo>
                <a:cubicBezTo>
                  <a:pt x="6459" y="158"/>
                  <a:pt x="6302" y="0"/>
                  <a:pt x="611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2" name="Google Shape;7932;p76"/>
          <p:cNvSpPr/>
          <p:nvPr/>
        </p:nvSpPr>
        <p:spPr>
          <a:xfrm>
            <a:off x="8958322" y="4593198"/>
            <a:ext cx="522501" cy="633085"/>
          </a:xfrm>
          <a:custGeom>
            <a:avLst/>
            <a:gdLst/>
            <a:ahLst/>
            <a:cxnLst/>
            <a:rect l="l" t="t" r="r" b="b"/>
            <a:pathLst>
              <a:path w="10083" h="12217" extrusionOk="0">
                <a:moveTo>
                  <a:pt x="5356" y="1001"/>
                </a:moveTo>
                <a:cubicBezTo>
                  <a:pt x="5577" y="1316"/>
                  <a:pt x="5734" y="1694"/>
                  <a:pt x="5734" y="2104"/>
                </a:cubicBezTo>
                <a:cubicBezTo>
                  <a:pt x="5734" y="2135"/>
                  <a:pt x="5734" y="2198"/>
                  <a:pt x="5766" y="2261"/>
                </a:cubicBezTo>
                <a:cubicBezTo>
                  <a:pt x="5624" y="2230"/>
                  <a:pt x="5498" y="2214"/>
                  <a:pt x="5372" y="2214"/>
                </a:cubicBezTo>
                <a:cubicBezTo>
                  <a:pt x="5246" y="2214"/>
                  <a:pt x="5120" y="2230"/>
                  <a:pt x="4978" y="2261"/>
                </a:cubicBezTo>
                <a:cubicBezTo>
                  <a:pt x="5010" y="2198"/>
                  <a:pt x="5010" y="2135"/>
                  <a:pt x="5010" y="2104"/>
                </a:cubicBezTo>
                <a:cubicBezTo>
                  <a:pt x="5041" y="1663"/>
                  <a:pt x="5167" y="1316"/>
                  <a:pt x="5356" y="1001"/>
                </a:cubicBezTo>
                <a:close/>
                <a:moveTo>
                  <a:pt x="3529" y="1474"/>
                </a:moveTo>
                <a:cubicBezTo>
                  <a:pt x="3876" y="1631"/>
                  <a:pt x="4159" y="1883"/>
                  <a:pt x="4380" y="2261"/>
                </a:cubicBezTo>
                <a:lnTo>
                  <a:pt x="4506" y="2356"/>
                </a:lnTo>
                <a:cubicBezTo>
                  <a:pt x="4254" y="2450"/>
                  <a:pt x="4033" y="2608"/>
                  <a:pt x="3844" y="2765"/>
                </a:cubicBezTo>
                <a:cubicBezTo>
                  <a:pt x="3844" y="2734"/>
                  <a:pt x="3844" y="2639"/>
                  <a:pt x="3781" y="2608"/>
                </a:cubicBezTo>
                <a:cubicBezTo>
                  <a:pt x="3592" y="2261"/>
                  <a:pt x="3529" y="1852"/>
                  <a:pt x="3529" y="1474"/>
                </a:cubicBezTo>
                <a:close/>
                <a:moveTo>
                  <a:pt x="7247" y="1474"/>
                </a:moveTo>
                <a:lnTo>
                  <a:pt x="7247" y="1474"/>
                </a:lnTo>
                <a:cubicBezTo>
                  <a:pt x="7310" y="1852"/>
                  <a:pt x="7215" y="2261"/>
                  <a:pt x="7026" y="2608"/>
                </a:cubicBezTo>
                <a:cubicBezTo>
                  <a:pt x="6995" y="2639"/>
                  <a:pt x="6995" y="2734"/>
                  <a:pt x="6995" y="2765"/>
                </a:cubicBezTo>
                <a:cubicBezTo>
                  <a:pt x="6806" y="2608"/>
                  <a:pt x="6554" y="2450"/>
                  <a:pt x="6301" y="2356"/>
                </a:cubicBezTo>
                <a:cubicBezTo>
                  <a:pt x="6301" y="2324"/>
                  <a:pt x="6364" y="2293"/>
                  <a:pt x="6396" y="2261"/>
                </a:cubicBezTo>
                <a:cubicBezTo>
                  <a:pt x="6585" y="1883"/>
                  <a:pt x="6900" y="1663"/>
                  <a:pt x="7247" y="1474"/>
                </a:cubicBezTo>
                <a:close/>
                <a:moveTo>
                  <a:pt x="2143" y="2797"/>
                </a:moveTo>
                <a:cubicBezTo>
                  <a:pt x="2521" y="2797"/>
                  <a:pt x="2930" y="2891"/>
                  <a:pt x="3277" y="3080"/>
                </a:cubicBezTo>
                <a:cubicBezTo>
                  <a:pt x="3309" y="3112"/>
                  <a:pt x="3403" y="3112"/>
                  <a:pt x="3435" y="3112"/>
                </a:cubicBezTo>
                <a:cubicBezTo>
                  <a:pt x="3277" y="3301"/>
                  <a:pt x="3119" y="3553"/>
                  <a:pt x="3056" y="3773"/>
                </a:cubicBezTo>
                <a:lnTo>
                  <a:pt x="2930" y="3647"/>
                </a:lnTo>
                <a:cubicBezTo>
                  <a:pt x="2584" y="3458"/>
                  <a:pt x="2332" y="3143"/>
                  <a:pt x="2143" y="2797"/>
                </a:cubicBezTo>
                <a:close/>
                <a:moveTo>
                  <a:pt x="8487" y="2822"/>
                </a:moveTo>
                <a:cubicBezTo>
                  <a:pt x="8536" y="2822"/>
                  <a:pt x="8585" y="2824"/>
                  <a:pt x="8633" y="2828"/>
                </a:cubicBezTo>
                <a:cubicBezTo>
                  <a:pt x="8475" y="3206"/>
                  <a:pt x="8192" y="3458"/>
                  <a:pt x="7845" y="3710"/>
                </a:cubicBezTo>
                <a:lnTo>
                  <a:pt x="7719" y="3836"/>
                </a:lnTo>
                <a:cubicBezTo>
                  <a:pt x="7656" y="3584"/>
                  <a:pt x="7499" y="3364"/>
                  <a:pt x="7341" y="3143"/>
                </a:cubicBezTo>
                <a:cubicBezTo>
                  <a:pt x="7373" y="3112"/>
                  <a:pt x="7404" y="3112"/>
                  <a:pt x="7499" y="3080"/>
                </a:cubicBezTo>
                <a:cubicBezTo>
                  <a:pt x="7801" y="2915"/>
                  <a:pt x="8152" y="2822"/>
                  <a:pt x="8487" y="2822"/>
                </a:cubicBezTo>
                <a:close/>
                <a:moveTo>
                  <a:pt x="2930" y="4309"/>
                </a:moveTo>
                <a:lnTo>
                  <a:pt x="2930" y="4309"/>
                </a:lnTo>
                <a:cubicBezTo>
                  <a:pt x="2899" y="4561"/>
                  <a:pt x="2899" y="4813"/>
                  <a:pt x="2930" y="5097"/>
                </a:cubicBezTo>
                <a:cubicBezTo>
                  <a:pt x="2899" y="5034"/>
                  <a:pt x="2804" y="5034"/>
                  <a:pt x="2773" y="5034"/>
                </a:cubicBezTo>
                <a:cubicBezTo>
                  <a:pt x="2363" y="5034"/>
                  <a:pt x="1985" y="4939"/>
                  <a:pt x="1670" y="4687"/>
                </a:cubicBezTo>
                <a:cubicBezTo>
                  <a:pt x="1985" y="4498"/>
                  <a:pt x="2363" y="4341"/>
                  <a:pt x="2773" y="4341"/>
                </a:cubicBezTo>
                <a:cubicBezTo>
                  <a:pt x="2804" y="4341"/>
                  <a:pt x="2899" y="4341"/>
                  <a:pt x="2930" y="4309"/>
                </a:cubicBezTo>
                <a:close/>
                <a:moveTo>
                  <a:pt x="7845" y="4309"/>
                </a:moveTo>
                <a:cubicBezTo>
                  <a:pt x="7877" y="4341"/>
                  <a:pt x="7971" y="4341"/>
                  <a:pt x="8003" y="4341"/>
                </a:cubicBezTo>
                <a:cubicBezTo>
                  <a:pt x="8412" y="4372"/>
                  <a:pt x="8790" y="4498"/>
                  <a:pt x="9105" y="4687"/>
                </a:cubicBezTo>
                <a:cubicBezTo>
                  <a:pt x="8790" y="4876"/>
                  <a:pt x="8412" y="5034"/>
                  <a:pt x="8003" y="5034"/>
                </a:cubicBezTo>
                <a:cubicBezTo>
                  <a:pt x="7971" y="5034"/>
                  <a:pt x="7877" y="5034"/>
                  <a:pt x="7845" y="5097"/>
                </a:cubicBezTo>
                <a:cubicBezTo>
                  <a:pt x="7877" y="4813"/>
                  <a:pt x="7877" y="4561"/>
                  <a:pt x="7845" y="4309"/>
                </a:cubicBezTo>
                <a:close/>
                <a:moveTo>
                  <a:pt x="5356" y="2923"/>
                </a:moveTo>
                <a:cubicBezTo>
                  <a:pt x="6364" y="2923"/>
                  <a:pt x="7152" y="3710"/>
                  <a:pt x="7152" y="4687"/>
                </a:cubicBezTo>
                <a:cubicBezTo>
                  <a:pt x="7152" y="5664"/>
                  <a:pt x="6364" y="6451"/>
                  <a:pt x="5356" y="6451"/>
                </a:cubicBezTo>
                <a:cubicBezTo>
                  <a:pt x="4380" y="6451"/>
                  <a:pt x="3592" y="5664"/>
                  <a:pt x="3592" y="4687"/>
                </a:cubicBezTo>
                <a:cubicBezTo>
                  <a:pt x="3592" y="3710"/>
                  <a:pt x="4380" y="2923"/>
                  <a:pt x="5356" y="2923"/>
                </a:cubicBezTo>
                <a:close/>
                <a:moveTo>
                  <a:pt x="3056" y="5601"/>
                </a:moveTo>
                <a:cubicBezTo>
                  <a:pt x="3119" y="5821"/>
                  <a:pt x="3277" y="6073"/>
                  <a:pt x="3435" y="6262"/>
                </a:cubicBezTo>
                <a:cubicBezTo>
                  <a:pt x="3403" y="6262"/>
                  <a:pt x="3309" y="6262"/>
                  <a:pt x="3277" y="6294"/>
                </a:cubicBezTo>
                <a:cubicBezTo>
                  <a:pt x="2985" y="6479"/>
                  <a:pt x="2649" y="6554"/>
                  <a:pt x="2324" y="6554"/>
                </a:cubicBezTo>
                <a:cubicBezTo>
                  <a:pt x="2263" y="6554"/>
                  <a:pt x="2203" y="6551"/>
                  <a:pt x="2143" y="6546"/>
                </a:cubicBezTo>
                <a:cubicBezTo>
                  <a:pt x="2300" y="6199"/>
                  <a:pt x="2584" y="5916"/>
                  <a:pt x="2930" y="5664"/>
                </a:cubicBezTo>
                <a:cubicBezTo>
                  <a:pt x="2962" y="5664"/>
                  <a:pt x="2993" y="5632"/>
                  <a:pt x="3056" y="5601"/>
                </a:cubicBezTo>
                <a:close/>
                <a:moveTo>
                  <a:pt x="7719" y="5601"/>
                </a:moveTo>
                <a:lnTo>
                  <a:pt x="7845" y="5727"/>
                </a:lnTo>
                <a:cubicBezTo>
                  <a:pt x="8192" y="5916"/>
                  <a:pt x="8444" y="6231"/>
                  <a:pt x="8633" y="6577"/>
                </a:cubicBezTo>
                <a:cubicBezTo>
                  <a:pt x="8571" y="6583"/>
                  <a:pt x="8509" y="6585"/>
                  <a:pt x="8447" y="6585"/>
                </a:cubicBezTo>
                <a:cubicBezTo>
                  <a:pt x="8124" y="6585"/>
                  <a:pt x="7789" y="6515"/>
                  <a:pt x="7499" y="6357"/>
                </a:cubicBezTo>
                <a:cubicBezTo>
                  <a:pt x="7467" y="6294"/>
                  <a:pt x="7373" y="6294"/>
                  <a:pt x="7341" y="6294"/>
                </a:cubicBezTo>
                <a:cubicBezTo>
                  <a:pt x="7499" y="6073"/>
                  <a:pt x="7625" y="5821"/>
                  <a:pt x="7719" y="5601"/>
                </a:cubicBezTo>
                <a:close/>
                <a:moveTo>
                  <a:pt x="3781" y="6609"/>
                </a:moveTo>
                <a:cubicBezTo>
                  <a:pt x="4002" y="6766"/>
                  <a:pt x="4222" y="6924"/>
                  <a:pt x="4474" y="7018"/>
                </a:cubicBezTo>
                <a:lnTo>
                  <a:pt x="4348" y="7144"/>
                </a:lnTo>
                <a:cubicBezTo>
                  <a:pt x="4159" y="7491"/>
                  <a:pt x="3844" y="7712"/>
                  <a:pt x="3466" y="7932"/>
                </a:cubicBezTo>
                <a:cubicBezTo>
                  <a:pt x="3529" y="7523"/>
                  <a:pt x="3592" y="7144"/>
                  <a:pt x="3750" y="6766"/>
                </a:cubicBezTo>
                <a:cubicBezTo>
                  <a:pt x="3781" y="6735"/>
                  <a:pt x="3781" y="6672"/>
                  <a:pt x="3781" y="6609"/>
                </a:cubicBezTo>
                <a:close/>
                <a:moveTo>
                  <a:pt x="6932" y="6609"/>
                </a:moveTo>
                <a:cubicBezTo>
                  <a:pt x="6932" y="6672"/>
                  <a:pt x="6932" y="6735"/>
                  <a:pt x="6995" y="6766"/>
                </a:cubicBezTo>
                <a:cubicBezTo>
                  <a:pt x="7184" y="7144"/>
                  <a:pt x="7247" y="7523"/>
                  <a:pt x="7215" y="7932"/>
                </a:cubicBezTo>
                <a:cubicBezTo>
                  <a:pt x="6869" y="7775"/>
                  <a:pt x="6585" y="7491"/>
                  <a:pt x="6364" y="7144"/>
                </a:cubicBezTo>
                <a:lnTo>
                  <a:pt x="6238" y="7018"/>
                </a:lnTo>
                <a:cubicBezTo>
                  <a:pt x="6522" y="6924"/>
                  <a:pt x="6743" y="6829"/>
                  <a:pt x="6932" y="6609"/>
                </a:cubicBezTo>
                <a:close/>
                <a:moveTo>
                  <a:pt x="5766" y="7176"/>
                </a:moveTo>
                <a:cubicBezTo>
                  <a:pt x="5766" y="7207"/>
                  <a:pt x="5734" y="7239"/>
                  <a:pt x="5734" y="7334"/>
                </a:cubicBezTo>
                <a:cubicBezTo>
                  <a:pt x="5734" y="7712"/>
                  <a:pt x="5608" y="8121"/>
                  <a:pt x="5356" y="8436"/>
                </a:cubicBezTo>
                <a:cubicBezTo>
                  <a:pt x="5167" y="8121"/>
                  <a:pt x="5010" y="7712"/>
                  <a:pt x="5010" y="7334"/>
                </a:cubicBezTo>
                <a:cubicBezTo>
                  <a:pt x="5010" y="7302"/>
                  <a:pt x="5010" y="7207"/>
                  <a:pt x="4978" y="7176"/>
                </a:cubicBezTo>
                <a:lnTo>
                  <a:pt x="4978" y="7176"/>
                </a:lnTo>
                <a:cubicBezTo>
                  <a:pt x="5120" y="7192"/>
                  <a:pt x="5246" y="7200"/>
                  <a:pt x="5372" y="7200"/>
                </a:cubicBezTo>
                <a:cubicBezTo>
                  <a:pt x="5498" y="7200"/>
                  <a:pt x="5624" y="7192"/>
                  <a:pt x="5766" y="7176"/>
                </a:cubicBezTo>
                <a:close/>
                <a:moveTo>
                  <a:pt x="7971" y="7460"/>
                </a:moveTo>
                <a:cubicBezTo>
                  <a:pt x="8790" y="7869"/>
                  <a:pt x="9357" y="8751"/>
                  <a:pt x="9357" y="9728"/>
                </a:cubicBezTo>
                <a:lnTo>
                  <a:pt x="9357" y="10295"/>
                </a:lnTo>
                <a:lnTo>
                  <a:pt x="8538" y="9444"/>
                </a:lnTo>
                <a:cubicBezTo>
                  <a:pt x="8460" y="9366"/>
                  <a:pt x="8365" y="9326"/>
                  <a:pt x="8271" y="9326"/>
                </a:cubicBezTo>
                <a:cubicBezTo>
                  <a:pt x="8176" y="9326"/>
                  <a:pt x="8082" y="9366"/>
                  <a:pt x="8003" y="9444"/>
                </a:cubicBezTo>
                <a:cubicBezTo>
                  <a:pt x="7845" y="9602"/>
                  <a:pt x="7845" y="9822"/>
                  <a:pt x="8003" y="9980"/>
                </a:cubicBezTo>
                <a:lnTo>
                  <a:pt x="8853" y="10799"/>
                </a:lnTo>
                <a:lnTo>
                  <a:pt x="8286" y="10799"/>
                </a:lnTo>
                <a:cubicBezTo>
                  <a:pt x="7152" y="10799"/>
                  <a:pt x="6144" y="10043"/>
                  <a:pt x="5829" y="8972"/>
                </a:cubicBezTo>
                <a:cubicBezTo>
                  <a:pt x="6049" y="8751"/>
                  <a:pt x="6207" y="8436"/>
                  <a:pt x="6301" y="8121"/>
                </a:cubicBezTo>
                <a:cubicBezTo>
                  <a:pt x="6617" y="8405"/>
                  <a:pt x="7026" y="8625"/>
                  <a:pt x="7467" y="8720"/>
                </a:cubicBezTo>
                <a:cubicBezTo>
                  <a:pt x="7487" y="8723"/>
                  <a:pt x="7507" y="8725"/>
                  <a:pt x="7526" y="8725"/>
                </a:cubicBezTo>
                <a:cubicBezTo>
                  <a:pt x="7694" y="8725"/>
                  <a:pt x="7849" y="8609"/>
                  <a:pt x="7877" y="8468"/>
                </a:cubicBezTo>
                <a:cubicBezTo>
                  <a:pt x="7971" y="8121"/>
                  <a:pt x="8003" y="7806"/>
                  <a:pt x="7971" y="7460"/>
                </a:cubicBezTo>
                <a:close/>
                <a:moveTo>
                  <a:pt x="2836" y="7365"/>
                </a:moveTo>
                <a:cubicBezTo>
                  <a:pt x="2804" y="7712"/>
                  <a:pt x="2804" y="8121"/>
                  <a:pt x="2930" y="8468"/>
                </a:cubicBezTo>
                <a:cubicBezTo>
                  <a:pt x="2956" y="8623"/>
                  <a:pt x="3089" y="8736"/>
                  <a:pt x="3258" y="8736"/>
                </a:cubicBezTo>
                <a:cubicBezTo>
                  <a:pt x="3294" y="8736"/>
                  <a:pt x="3332" y="8731"/>
                  <a:pt x="3372" y="8720"/>
                </a:cubicBezTo>
                <a:cubicBezTo>
                  <a:pt x="3781" y="8594"/>
                  <a:pt x="4159" y="8373"/>
                  <a:pt x="4506" y="8121"/>
                </a:cubicBezTo>
                <a:cubicBezTo>
                  <a:pt x="4632" y="8436"/>
                  <a:pt x="4789" y="8751"/>
                  <a:pt x="4978" y="8972"/>
                </a:cubicBezTo>
                <a:cubicBezTo>
                  <a:pt x="4569" y="10452"/>
                  <a:pt x="3277" y="11492"/>
                  <a:pt x="1828" y="11492"/>
                </a:cubicBezTo>
                <a:lnTo>
                  <a:pt x="1261" y="11492"/>
                </a:lnTo>
                <a:lnTo>
                  <a:pt x="2804" y="9980"/>
                </a:lnTo>
                <a:cubicBezTo>
                  <a:pt x="2962" y="9822"/>
                  <a:pt x="2962" y="9602"/>
                  <a:pt x="2804" y="9444"/>
                </a:cubicBezTo>
                <a:cubicBezTo>
                  <a:pt x="2726" y="9366"/>
                  <a:pt x="2639" y="9326"/>
                  <a:pt x="2552" y="9326"/>
                </a:cubicBezTo>
                <a:cubicBezTo>
                  <a:pt x="2466" y="9326"/>
                  <a:pt x="2379" y="9366"/>
                  <a:pt x="2300" y="9444"/>
                </a:cubicBezTo>
                <a:lnTo>
                  <a:pt x="757" y="10988"/>
                </a:lnTo>
                <a:lnTo>
                  <a:pt x="757" y="10452"/>
                </a:lnTo>
                <a:cubicBezTo>
                  <a:pt x="757" y="9066"/>
                  <a:pt x="1639" y="7838"/>
                  <a:pt x="2836" y="7365"/>
                </a:cubicBezTo>
                <a:close/>
                <a:moveTo>
                  <a:pt x="5388" y="1"/>
                </a:moveTo>
                <a:cubicBezTo>
                  <a:pt x="5301" y="1"/>
                  <a:pt x="5215" y="40"/>
                  <a:pt x="5136" y="119"/>
                </a:cubicBezTo>
                <a:cubicBezTo>
                  <a:pt x="4821" y="434"/>
                  <a:pt x="4569" y="781"/>
                  <a:pt x="4474" y="1222"/>
                </a:cubicBezTo>
                <a:cubicBezTo>
                  <a:pt x="4159" y="938"/>
                  <a:pt x="3750" y="718"/>
                  <a:pt x="3309" y="623"/>
                </a:cubicBezTo>
                <a:cubicBezTo>
                  <a:pt x="3289" y="620"/>
                  <a:pt x="3269" y="618"/>
                  <a:pt x="3250" y="618"/>
                </a:cubicBezTo>
                <a:cubicBezTo>
                  <a:pt x="3082" y="618"/>
                  <a:pt x="2927" y="734"/>
                  <a:pt x="2899" y="875"/>
                </a:cubicBezTo>
                <a:cubicBezTo>
                  <a:pt x="2773" y="1316"/>
                  <a:pt x="2773" y="1726"/>
                  <a:pt x="2836" y="2135"/>
                </a:cubicBezTo>
                <a:cubicBezTo>
                  <a:pt x="2646" y="2091"/>
                  <a:pt x="2449" y="2068"/>
                  <a:pt x="2252" y="2068"/>
                </a:cubicBezTo>
                <a:cubicBezTo>
                  <a:pt x="2024" y="2068"/>
                  <a:pt x="1795" y="2099"/>
                  <a:pt x="1576" y="2167"/>
                </a:cubicBezTo>
                <a:cubicBezTo>
                  <a:pt x="1513" y="2198"/>
                  <a:pt x="1418" y="2261"/>
                  <a:pt x="1387" y="2324"/>
                </a:cubicBezTo>
                <a:cubicBezTo>
                  <a:pt x="1355" y="2419"/>
                  <a:pt x="1324" y="2513"/>
                  <a:pt x="1355" y="2608"/>
                </a:cubicBezTo>
                <a:cubicBezTo>
                  <a:pt x="1481" y="3049"/>
                  <a:pt x="1670" y="3395"/>
                  <a:pt x="1954" y="3742"/>
                </a:cubicBezTo>
                <a:cubicBezTo>
                  <a:pt x="1544" y="3868"/>
                  <a:pt x="1166" y="4089"/>
                  <a:pt x="851" y="4404"/>
                </a:cubicBezTo>
                <a:cubicBezTo>
                  <a:pt x="694" y="4561"/>
                  <a:pt x="694" y="4782"/>
                  <a:pt x="851" y="4939"/>
                </a:cubicBezTo>
                <a:cubicBezTo>
                  <a:pt x="1166" y="5254"/>
                  <a:pt x="1513" y="5475"/>
                  <a:pt x="1954" y="5601"/>
                </a:cubicBezTo>
                <a:cubicBezTo>
                  <a:pt x="1670" y="5916"/>
                  <a:pt x="1418" y="6294"/>
                  <a:pt x="1355" y="6735"/>
                </a:cubicBezTo>
                <a:cubicBezTo>
                  <a:pt x="1324" y="6924"/>
                  <a:pt x="1418" y="7144"/>
                  <a:pt x="1576" y="7176"/>
                </a:cubicBezTo>
                <a:cubicBezTo>
                  <a:pt x="1639" y="7176"/>
                  <a:pt x="1670" y="7176"/>
                  <a:pt x="1702" y="7207"/>
                </a:cubicBezTo>
                <a:cubicBezTo>
                  <a:pt x="1418" y="7397"/>
                  <a:pt x="1198" y="7649"/>
                  <a:pt x="946" y="7869"/>
                </a:cubicBezTo>
                <a:cubicBezTo>
                  <a:pt x="379" y="8594"/>
                  <a:pt x="0" y="9507"/>
                  <a:pt x="0" y="10452"/>
                </a:cubicBezTo>
                <a:lnTo>
                  <a:pt x="0" y="11870"/>
                </a:lnTo>
                <a:cubicBezTo>
                  <a:pt x="0" y="12028"/>
                  <a:pt x="127" y="12185"/>
                  <a:pt x="284" y="12217"/>
                </a:cubicBezTo>
                <a:lnTo>
                  <a:pt x="1733" y="12217"/>
                </a:lnTo>
                <a:cubicBezTo>
                  <a:pt x="2647" y="12217"/>
                  <a:pt x="3561" y="11870"/>
                  <a:pt x="4254" y="11272"/>
                </a:cubicBezTo>
                <a:cubicBezTo>
                  <a:pt x="4726" y="10862"/>
                  <a:pt x="5104" y="10358"/>
                  <a:pt x="5325" y="9822"/>
                </a:cubicBezTo>
                <a:cubicBezTo>
                  <a:pt x="5892" y="10831"/>
                  <a:pt x="6995" y="11492"/>
                  <a:pt x="8129" y="11492"/>
                </a:cubicBezTo>
                <a:lnTo>
                  <a:pt x="9546" y="11492"/>
                </a:lnTo>
                <a:cubicBezTo>
                  <a:pt x="9862" y="11492"/>
                  <a:pt x="10019" y="11335"/>
                  <a:pt x="10019" y="11146"/>
                </a:cubicBezTo>
                <a:lnTo>
                  <a:pt x="10019" y="9728"/>
                </a:lnTo>
                <a:cubicBezTo>
                  <a:pt x="10019" y="8751"/>
                  <a:pt x="9578" y="7838"/>
                  <a:pt x="8885" y="7239"/>
                </a:cubicBezTo>
                <a:cubicBezTo>
                  <a:pt x="8979" y="7239"/>
                  <a:pt x="9074" y="7207"/>
                  <a:pt x="9200" y="7176"/>
                </a:cubicBezTo>
                <a:cubicBezTo>
                  <a:pt x="9389" y="7144"/>
                  <a:pt x="9515" y="6924"/>
                  <a:pt x="9420" y="6735"/>
                </a:cubicBezTo>
                <a:cubicBezTo>
                  <a:pt x="9294" y="6294"/>
                  <a:pt x="9105" y="5947"/>
                  <a:pt x="8822" y="5601"/>
                </a:cubicBezTo>
                <a:cubicBezTo>
                  <a:pt x="9231" y="5475"/>
                  <a:pt x="9610" y="5254"/>
                  <a:pt x="9925" y="4939"/>
                </a:cubicBezTo>
                <a:cubicBezTo>
                  <a:pt x="10082" y="4782"/>
                  <a:pt x="10082" y="4561"/>
                  <a:pt x="9925" y="4404"/>
                </a:cubicBezTo>
                <a:cubicBezTo>
                  <a:pt x="9610" y="4089"/>
                  <a:pt x="9263" y="3868"/>
                  <a:pt x="8822" y="3742"/>
                </a:cubicBezTo>
                <a:cubicBezTo>
                  <a:pt x="9105" y="3427"/>
                  <a:pt x="9357" y="3049"/>
                  <a:pt x="9420" y="2608"/>
                </a:cubicBezTo>
                <a:cubicBezTo>
                  <a:pt x="9452" y="2419"/>
                  <a:pt x="9357" y="2198"/>
                  <a:pt x="9200" y="2167"/>
                </a:cubicBezTo>
                <a:cubicBezTo>
                  <a:pt x="8964" y="2099"/>
                  <a:pt x="8727" y="2068"/>
                  <a:pt x="8501" y="2068"/>
                </a:cubicBezTo>
                <a:cubicBezTo>
                  <a:pt x="8304" y="2068"/>
                  <a:pt x="8115" y="2091"/>
                  <a:pt x="7940" y="2135"/>
                </a:cubicBezTo>
                <a:cubicBezTo>
                  <a:pt x="8003" y="1694"/>
                  <a:pt x="8003" y="1253"/>
                  <a:pt x="7877" y="875"/>
                </a:cubicBezTo>
                <a:cubicBezTo>
                  <a:pt x="7851" y="719"/>
                  <a:pt x="7718" y="607"/>
                  <a:pt x="7567" y="607"/>
                </a:cubicBezTo>
                <a:cubicBezTo>
                  <a:pt x="7534" y="607"/>
                  <a:pt x="7501" y="612"/>
                  <a:pt x="7467" y="623"/>
                </a:cubicBezTo>
                <a:cubicBezTo>
                  <a:pt x="7026" y="749"/>
                  <a:pt x="6680" y="938"/>
                  <a:pt x="6301" y="1222"/>
                </a:cubicBezTo>
                <a:cubicBezTo>
                  <a:pt x="6207" y="844"/>
                  <a:pt x="5955" y="434"/>
                  <a:pt x="5640" y="119"/>
                </a:cubicBezTo>
                <a:cubicBezTo>
                  <a:pt x="5561" y="40"/>
                  <a:pt x="5474" y="1"/>
                  <a:pt x="53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3" name="Google Shape;7933;p76"/>
          <p:cNvSpPr/>
          <p:nvPr/>
        </p:nvSpPr>
        <p:spPr>
          <a:xfrm>
            <a:off x="7351687" y="4595841"/>
            <a:ext cx="633448" cy="627799"/>
          </a:xfrm>
          <a:custGeom>
            <a:avLst/>
            <a:gdLst/>
            <a:ahLst/>
            <a:cxnLst/>
            <a:rect l="l" t="t" r="r" b="b"/>
            <a:pathLst>
              <a:path w="12224" h="12115" extrusionOk="0">
                <a:moveTo>
                  <a:pt x="3245" y="741"/>
                </a:moveTo>
                <a:cubicBezTo>
                  <a:pt x="3497" y="993"/>
                  <a:pt x="3938" y="1465"/>
                  <a:pt x="3938" y="2033"/>
                </a:cubicBezTo>
                <a:cubicBezTo>
                  <a:pt x="3938" y="2568"/>
                  <a:pt x="3497" y="3104"/>
                  <a:pt x="3245" y="3324"/>
                </a:cubicBezTo>
                <a:cubicBezTo>
                  <a:pt x="2962" y="3041"/>
                  <a:pt x="2520" y="2568"/>
                  <a:pt x="2520" y="2033"/>
                </a:cubicBezTo>
                <a:cubicBezTo>
                  <a:pt x="2520" y="1528"/>
                  <a:pt x="2962" y="993"/>
                  <a:pt x="3245" y="741"/>
                </a:cubicBezTo>
                <a:close/>
                <a:moveTo>
                  <a:pt x="8979" y="741"/>
                </a:moveTo>
                <a:cubicBezTo>
                  <a:pt x="9263" y="993"/>
                  <a:pt x="9704" y="1465"/>
                  <a:pt x="9704" y="2033"/>
                </a:cubicBezTo>
                <a:cubicBezTo>
                  <a:pt x="9704" y="2568"/>
                  <a:pt x="9263" y="3104"/>
                  <a:pt x="8979" y="3324"/>
                </a:cubicBezTo>
                <a:cubicBezTo>
                  <a:pt x="8695" y="3041"/>
                  <a:pt x="8286" y="2568"/>
                  <a:pt x="8286" y="2033"/>
                </a:cubicBezTo>
                <a:cubicBezTo>
                  <a:pt x="8286" y="1528"/>
                  <a:pt x="8758" y="993"/>
                  <a:pt x="8979" y="741"/>
                </a:cubicBezTo>
                <a:close/>
                <a:moveTo>
                  <a:pt x="1827" y="3482"/>
                </a:moveTo>
                <a:cubicBezTo>
                  <a:pt x="2394" y="3482"/>
                  <a:pt x="2899" y="3954"/>
                  <a:pt x="2899" y="4553"/>
                </a:cubicBezTo>
                <a:lnTo>
                  <a:pt x="2899" y="4899"/>
                </a:lnTo>
                <a:lnTo>
                  <a:pt x="2520" y="4899"/>
                </a:lnTo>
                <a:cubicBezTo>
                  <a:pt x="1922" y="4899"/>
                  <a:pt x="1449" y="4427"/>
                  <a:pt x="1449" y="3828"/>
                </a:cubicBezTo>
                <a:lnTo>
                  <a:pt x="1449" y="3482"/>
                </a:lnTo>
                <a:close/>
                <a:moveTo>
                  <a:pt x="5041" y="3482"/>
                </a:moveTo>
                <a:lnTo>
                  <a:pt x="5041" y="3828"/>
                </a:lnTo>
                <a:cubicBezTo>
                  <a:pt x="5041" y="4427"/>
                  <a:pt x="4568" y="4899"/>
                  <a:pt x="3970" y="4899"/>
                </a:cubicBezTo>
                <a:lnTo>
                  <a:pt x="3623" y="4899"/>
                </a:lnTo>
                <a:lnTo>
                  <a:pt x="3623" y="4553"/>
                </a:lnTo>
                <a:cubicBezTo>
                  <a:pt x="3623" y="3954"/>
                  <a:pt x="4096" y="3482"/>
                  <a:pt x="4694" y="3482"/>
                </a:cubicBezTo>
                <a:close/>
                <a:moveTo>
                  <a:pt x="7561" y="3482"/>
                </a:moveTo>
                <a:cubicBezTo>
                  <a:pt x="8160" y="3482"/>
                  <a:pt x="8632" y="3954"/>
                  <a:pt x="8632" y="4553"/>
                </a:cubicBezTo>
                <a:lnTo>
                  <a:pt x="8632" y="4899"/>
                </a:lnTo>
                <a:lnTo>
                  <a:pt x="8286" y="4899"/>
                </a:lnTo>
                <a:cubicBezTo>
                  <a:pt x="7687" y="4899"/>
                  <a:pt x="7215" y="4427"/>
                  <a:pt x="7215" y="3828"/>
                </a:cubicBezTo>
                <a:lnTo>
                  <a:pt x="7215" y="3482"/>
                </a:lnTo>
                <a:close/>
                <a:moveTo>
                  <a:pt x="10806" y="3482"/>
                </a:moveTo>
                <a:lnTo>
                  <a:pt x="10806" y="3828"/>
                </a:lnTo>
                <a:cubicBezTo>
                  <a:pt x="10806" y="4427"/>
                  <a:pt x="10334" y="4899"/>
                  <a:pt x="9735" y="4899"/>
                </a:cubicBezTo>
                <a:lnTo>
                  <a:pt x="9389" y="4899"/>
                </a:lnTo>
                <a:lnTo>
                  <a:pt x="9389" y="4553"/>
                </a:lnTo>
                <a:cubicBezTo>
                  <a:pt x="9389" y="3954"/>
                  <a:pt x="9861" y="3482"/>
                  <a:pt x="10428" y="3482"/>
                </a:cubicBezTo>
                <a:close/>
                <a:moveTo>
                  <a:pt x="1827" y="5624"/>
                </a:moveTo>
                <a:cubicBezTo>
                  <a:pt x="2394" y="5624"/>
                  <a:pt x="2899" y="6065"/>
                  <a:pt x="2899" y="6664"/>
                </a:cubicBezTo>
                <a:lnTo>
                  <a:pt x="2899" y="7042"/>
                </a:lnTo>
                <a:lnTo>
                  <a:pt x="2520" y="7042"/>
                </a:lnTo>
                <a:cubicBezTo>
                  <a:pt x="1922" y="7042"/>
                  <a:pt x="1449" y="6569"/>
                  <a:pt x="1449" y="5971"/>
                </a:cubicBezTo>
                <a:lnTo>
                  <a:pt x="1449" y="5624"/>
                </a:lnTo>
                <a:close/>
                <a:moveTo>
                  <a:pt x="7561" y="5624"/>
                </a:moveTo>
                <a:cubicBezTo>
                  <a:pt x="8160" y="5624"/>
                  <a:pt x="8632" y="6065"/>
                  <a:pt x="8632" y="6664"/>
                </a:cubicBezTo>
                <a:lnTo>
                  <a:pt x="8632" y="7042"/>
                </a:lnTo>
                <a:lnTo>
                  <a:pt x="8286" y="7042"/>
                </a:lnTo>
                <a:cubicBezTo>
                  <a:pt x="7687" y="7042"/>
                  <a:pt x="7215" y="6569"/>
                  <a:pt x="7215" y="5971"/>
                </a:cubicBezTo>
                <a:lnTo>
                  <a:pt x="7215" y="5624"/>
                </a:lnTo>
                <a:close/>
                <a:moveTo>
                  <a:pt x="5009" y="5656"/>
                </a:moveTo>
                <a:lnTo>
                  <a:pt x="5009" y="6002"/>
                </a:lnTo>
                <a:cubicBezTo>
                  <a:pt x="5009" y="6601"/>
                  <a:pt x="4537" y="7073"/>
                  <a:pt x="3938" y="7073"/>
                </a:cubicBezTo>
                <a:lnTo>
                  <a:pt x="3592" y="7073"/>
                </a:lnTo>
                <a:lnTo>
                  <a:pt x="3592" y="6727"/>
                </a:lnTo>
                <a:cubicBezTo>
                  <a:pt x="3592" y="6128"/>
                  <a:pt x="4064" y="5656"/>
                  <a:pt x="4663" y="5656"/>
                </a:cubicBezTo>
                <a:close/>
                <a:moveTo>
                  <a:pt x="10806" y="5656"/>
                </a:moveTo>
                <a:lnTo>
                  <a:pt x="10806" y="6002"/>
                </a:lnTo>
                <a:cubicBezTo>
                  <a:pt x="10806" y="6601"/>
                  <a:pt x="10334" y="7073"/>
                  <a:pt x="9735" y="7073"/>
                </a:cubicBezTo>
                <a:lnTo>
                  <a:pt x="9389" y="7073"/>
                </a:lnTo>
                <a:lnTo>
                  <a:pt x="9389" y="6727"/>
                </a:lnTo>
                <a:cubicBezTo>
                  <a:pt x="9389" y="6128"/>
                  <a:pt x="9861" y="5656"/>
                  <a:pt x="10428" y="5656"/>
                </a:cubicBezTo>
                <a:close/>
                <a:moveTo>
                  <a:pt x="1827" y="7766"/>
                </a:moveTo>
                <a:cubicBezTo>
                  <a:pt x="2394" y="7766"/>
                  <a:pt x="2899" y="8239"/>
                  <a:pt x="2899" y="8838"/>
                </a:cubicBezTo>
                <a:lnTo>
                  <a:pt x="2899" y="9184"/>
                </a:lnTo>
                <a:lnTo>
                  <a:pt x="2520" y="9184"/>
                </a:lnTo>
                <a:cubicBezTo>
                  <a:pt x="1922" y="9184"/>
                  <a:pt x="1449" y="8712"/>
                  <a:pt x="1449" y="8144"/>
                </a:cubicBezTo>
                <a:lnTo>
                  <a:pt x="1449" y="7766"/>
                </a:lnTo>
                <a:close/>
                <a:moveTo>
                  <a:pt x="5041" y="7766"/>
                </a:moveTo>
                <a:lnTo>
                  <a:pt x="5041" y="8144"/>
                </a:lnTo>
                <a:cubicBezTo>
                  <a:pt x="5041" y="8712"/>
                  <a:pt x="4568" y="9184"/>
                  <a:pt x="3970" y="9184"/>
                </a:cubicBezTo>
                <a:lnTo>
                  <a:pt x="3623" y="9184"/>
                </a:lnTo>
                <a:lnTo>
                  <a:pt x="3623" y="8838"/>
                </a:lnTo>
                <a:cubicBezTo>
                  <a:pt x="3623" y="8239"/>
                  <a:pt x="4096" y="7766"/>
                  <a:pt x="4694" y="7766"/>
                </a:cubicBezTo>
                <a:close/>
                <a:moveTo>
                  <a:pt x="7561" y="7766"/>
                </a:moveTo>
                <a:cubicBezTo>
                  <a:pt x="8160" y="7766"/>
                  <a:pt x="8632" y="8239"/>
                  <a:pt x="8632" y="8838"/>
                </a:cubicBezTo>
                <a:lnTo>
                  <a:pt x="8632" y="9184"/>
                </a:lnTo>
                <a:lnTo>
                  <a:pt x="8286" y="9184"/>
                </a:lnTo>
                <a:cubicBezTo>
                  <a:pt x="7687" y="9184"/>
                  <a:pt x="7215" y="8712"/>
                  <a:pt x="7215" y="8144"/>
                </a:cubicBezTo>
                <a:lnTo>
                  <a:pt x="7215" y="7766"/>
                </a:lnTo>
                <a:close/>
                <a:moveTo>
                  <a:pt x="10806" y="7766"/>
                </a:moveTo>
                <a:lnTo>
                  <a:pt x="10806" y="8144"/>
                </a:lnTo>
                <a:cubicBezTo>
                  <a:pt x="10806" y="8712"/>
                  <a:pt x="10334" y="9184"/>
                  <a:pt x="9735" y="9184"/>
                </a:cubicBezTo>
                <a:lnTo>
                  <a:pt x="9389" y="9184"/>
                </a:lnTo>
                <a:lnTo>
                  <a:pt x="9389" y="8838"/>
                </a:lnTo>
                <a:cubicBezTo>
                  <a:pt x="9389" y="8239"/>
                  <a:pt x="9861" y="7766"/>
                  <a:pt x="10428" y="7766"/>
                </a:cubicBezTo>
                <a:close/>
                <a:moveTo>
                  <a:pt x="3214" y="0"/>
                </a:moveTo>
                <a:cubicBezTo>
                  <a:pt x="3135" y="0"/>
                  <a:pt x="3056" y="16"/>
                  <a:pt x="2993" y="48"/>
                </a:cubicBezTo>
                <a:cubicBezTo>
                  <a:pt x="2962" y="79"/>
                  <a:pt x="1796" y="961"/>
                  <a:pt x="1796" y="2127"/>
                </a:cubicBezTo>
                <a:cubicBezTo>
                  <a:pt x="1796" y="2379"/>
                  <a:pt x="1827" y="2663"/>
                  <a:pt x="1953" y="2852"/>
                </a:cubicBezTo>
                <a:lnTo>
                  <a:pt x="1071" y="2852"/>
                </a:lnTo>
                <a:cubicBezTo>
                  <a:pt x="882" y="2852"/>
                  <a:pt x="725" y="3009"/>
                  <a:pt x="725" y="3198"/>
                </a:cubicBezTo>
                <a:lnTo>
                  <a:pt x="725" y="3923"/>
                </a:lnTo>
                <a:cubicBezTo>
                  <a:pt x="725" y="4301"/>
                  <a:pt x="851" y="4710"/>
                  <a:pt x="1071" y="4994"/>
                </a:cubicBezTo>
                <a:cubicBezTo>
                  <a:pt x="882" y="4994"/>
                  <a:pt x="725" y="5152"/>
                  <a:pt x="725" y="5341"/>
                </a:cubicBezTo>
                <a:lnTo>
                  <a:pt x="725" y="6034"/>
                </a:lnTo>
                <a:cubicBezTo>
                  <a:pt x="725" y="6443"/>
                  <a:pt x="851" y="6821"/>
                  <a:pt x="1071" y="7105"/>
                </a:cubicBezTo>
                <a:cubicBezTo>
                  <a:pt x="882" y="7105"/>
                  <a:pt x="725" y="7262"/>
                  <a:pt x="725" y="7451"/>
                </a:cubicBezTo>
                <a:lnTo>
                  <a:pt x="725" y="8176"/>
                </a:lnTo>
                <a:cubicBezTo>
                  <a:pt x="725" y="9153"/>
                  <a:pt x="1512" y="9940"/>
                  <a:pt x="2489" y="9940"/>
                </a:cubicBezTo>
                <a:lnTo>
                  <a:pt x="2836" y="9940"/>
                </a:lnTo>
                <a:lnTo>
                  <a:pt x="2836" y="11389"/>
                </a:lnTo>
                <a:lnTo>
                  <a:pt x="378" y="11389"/>
                </a:lnTo>
                <a:cubicBezTo>
                  <a:pt x="158" y="11389"/>
                  <a:pt x="0" y="11547"/>
                  <a:pt x="0" y="11768"/>
                </a:cubicBezTo>
                <a:cubicBezTo>
                  <a:pt x="0" y="11957"/>
                  <a:pt x="158" y="12114"/>
                  <a:pt x="378" y="12114"/>
                </a:cubicBezTo>
                <a:lnTo>
                  <a:pt x="11814" y="12114"/>
                </a:lnTo>
                <a:cubicBezTo>
                  <a:pt x="12035" y="12114"/>
                  <a:pt x="12192" y="11957"/>
                  <a:pt x="12192" y="11768"/>
                </a:cubicBezTo>
                <a:cubicBezTo>
                  <a:pt x="12224" y="11547"/>
                  <a:pt x="12066" y="11389"/>
                  <a:pt x="11846" y="11389"/>
                </a:cubicBezTo>
                <a:lnTo>
                  <a:pt x="9389" y="11389"/>
                </a:lnTo>
                <a:lnTo>
                  <a:pt x="9389" y="9940"/>
                </a:lnTo>
                <a:lnTo>
                  <a:pt x="9735" y="9940"/>
                </a:lnTo>
                <a:cubicBezTo>
                  <a:pt x="10712" y="9940"/>
                  <a:pt x="11499" y="9153"/>
                  <a:pt x="11499" y="8176"/>
                </a:cubicBezTo>
                <a:lnTo>
                  <a:pt x="11499" y="7451"/>
                </a:lnTo>
                <a:cubicBezTo>
                  <a:pt x="11499" y="7262"/>
                  <a:pt x="11342" y="7105"/>
                  <a:pt x="11153" y="7105"/>
                </a:cubicBezTo>
                <a:cubicBezTo>
                  <a:pt x="11373" y="6790"/>
                  <a:pt x="11499" y="6443"/>
                  <a:pt x="11499" y="6034"/>
                </a:cubicBezTo>
                <a:lnTo>
                  <a:pt x="11499" y="5341"/>
                </a:lnTo>
                <a:cubicBezTo>
                  <a:pt x="11499" y="5152"/>
                  <a:pt x="11342" y="4994"/>
                  <a:pt x="11153" y="4994"/>
                </a:cubicBezTo>
                <a:cubicBezTo>
                  <a:pt x="11373" y="4679"/>
                  <a:pt x="11499" y="4301"/>
                  <a:pt x="11499" y="3923"/>
                </a:cubicBezTo>
                <a:lnTo>
                  <a:pt x="11499" y="3198"/>
                </a:lnTo>
                <a:cubicBezTo>
                  <a:pt x="11499" y="3009"/>
                  <a:pt x="11342" y="2852"/>
                  <a:pt x="11153" y="2852"/>
                </a:cubicBezTo>
                <a:lnTo>
                  <a:pt x="10271" y="2852"/>
                </a:lnTo>
                <a:cubicBezTo>
                  <a:pt x="10365" y="2631"/>
                  <a:pt x="10428" y="2379"/>
                  <a:pt x="10428" y="2127"/>
                </a:cubicBezTo>
                <a:cubicBezTo>
                  <a:pt x="10428" y="993"/>
                  <a:pt x="9263" y="79"/>
                  <a:pt x="9231" y="48"/>
                </a:cubicBezTo>
                <a:cubicBezTo>
                  <a:pt x="9168" y="16"/>
                  <a:pt x="9089" y="0"/>
                  <a:pt x="9010" y="0"/>
                </a:cubicBezTo>
                <a:cubicBezTo>
                  <a:pt x="8932" y="0"/>
                  <a:pt x="8853" y="16"/>
                  <a:pt x="8790" y="48"/>
                </a:cubicBezTo>
                <a:cubicBezTo>
                  <a:pt x="8758" y="79"/>
                  <a:pt x="7561" y="961"/>
                  <a:pt x="7561" y="2127"/>
                </a:cubicBezTo>
                <a:cubicBezTo>
                  <a:pt x="7561" y="2379"/>
                  <a:pt x="7624" y="2663"/>
                  <a:pt x="7719" y="2852"/>
                </a:cubicBezTo>
                <a:lnTo>
                  <a:pt x="6868" y="2852"/>
                </a:lnTo>
                <a:cubicBezTo>
                  <a:pt x="6679" y="2852"/>
                  <a:pt x="6522" y="3009"/>
                  <a:pt x="6522" y="3198"/>
                </a:cubicBezTo>
                <a:lnTo>
                  <a:pt x="6522" y="3923"/>
                </a:lnTo>
                <a:cubicBezTo>
                  <a:pt x="6522" y="4301"/>
                  <a:pt x="6616" y="4710"/>
                  <a:pt x="6868" y="4994"/>
                </a:cubicBezTo>
                <a:cubicBezTo>
                  <a:pt x="6679" y="4994"/>
                  <a:pt x="6522" y="5152"/>
                  <a:pt x="6522" y="5341"/>
                </a:cubicBezTo>
                <a:lnTo>
                  <a:pt x="6522" y="6034"/>
                </a:lnTo>
                <a:cubicBezTo>
                  <a:pt x="6522" y="6443"/>
                  <a:pt x="6616" y="6821"/>
                  <a:pt x="6868" y="7105"/>
                </a:cubicBezTo>
                <a:cubicBezTo>
                  <a:pt x="6679" y="7105"/>
                  <a:pt x="6522" y="7262"/>
                  <a:pt x="6522" y="7451"/>
                </a:cubicBezTo>
                <a:lnTo>
                  <a:pt x="6522" y="8176"/>
                </a:lnTo>
                <a:cubicBezTo>
                  <a:pt x="6522" y="9153"/>
                  <a:pt x="7309" y="9940"/>
                  <a:pt x="8286" y="9940"/>
                </a:cubicBezTo>
                <a:lnTo>
                  <a:pt x="8632" y="9940"/>
                </a:lnTo>
                <a:lnTo>
                  <a:pt x="8632" y="11389"/>
                </a:lnTo>
                <a:lnTo>
                  <a:pt x="3592" y="11389"/>
                </a:lnTo>
                <a:lnTo>
                  <a:pt x="3592" y="9940"/>
                </a:lnTo>
                <a:lnTo>
                  <a:pt x="3938" y="9940"/>
                </a:lnTo>
                <a:cubicBezTo>
                  <a:pt x="4946" y="9940"/>
                  <a:pt x="5734" y="9153"/>
                  <a:pt x="5734" y="8176"/>
                </a:cubicBezTo>
                <a:lnTo>
                  <a:pt x="5734" y="7451"/>
                </a:lnTo>
                <a:cubicBezTo>
                  <a:pt x="5734" y="7262"/>
                  <a:pt x="5576" y="7105"/>
                  <a:pt x="5356" y="7105"/>
                </a:cubicBezTo>
                <a:cubicBezTo>
                  <a:pt x="5608" y="6790"/>
                  <a:pt x="5734" y="6443"/>
                  <a:pt x="5734" y="6034"/>
                </a:cubicBezTo>
                <a:lnTo>
                  <a:pt x="5734" y="5341"/>
                </a:lnTo>
                <a:cubicBezTo>
                  <a:pt x="5734" y="5152"/>
                  <a:pt x="5576" y="4994"/>
                  <a:pt x="5356" y="4994"/>
                </a:cubicBezTo>
                <a:cubicBezTo>
                  <a:pt x="5608" y="4679"/>
                  <a:pt x="5734" y="4301"/>
                  <a:pt x="5734" y="3923"/>
                </a:cubicBezTo>
                <a:lnTo>
                  <a:pt x="5734" y="3198"/>
                </a:lnTo>
                <a:cubicBezTo>
                  <a:pt x="5734" y="3009"/>
                  <a:pt x="5576" y="2852"/>
                  <a:pt x="5356" y="2852"/>
                </a:cubicBezTo>
                <a:lnTo>
                  <a:pt x="4505" y="2852"/>
                </a:lnTo>
                <a:cubicBezTo>
                  <a:pt x="4568" y="2631"/>
                  <a:pt x="4663" y="2379"/>
                  <a:pt x="4663" y="2127"/>
                </a:cubicBezTo>
                <a:cubicBezTo>
                  <a:pt x="4663" y="993"/>
                  <a:pt x="3466" y="79"/>
                  <a:pt x="3434" y="48"/>
                </a:cubicBezTo>
                <a:cubicBezTo>
                  <a:pt x="3371" y="16"/>
                  <a:pt x="3292" y="0"/>
                  <a:pt x="321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34" name="Google Shape;7934;p76"/>
          <p:cNvGrpSpPr/>
          <p:nvPr/>
        </p:nvGrpSpPr>
        <p:grpSpPr>
          <a:xfrm>
            <a:off x="10565234" y="3063668"/>
            <a:ext cx="491149" cy="559085"/>
            <a:chOff x="4995050" y="3245650"/>
            <a:chExt cx="236950" cy="269725"/>
          </a:xfrm>
        </p:grpSpPr>
        <p:sp>
          <p:nvSpPr>
            <p:cNvPr id="7935" name="Google Shape;7935;p76"/>
            <p:cNvSpPr/>
            <p:nvPr/>
          </p:nvSpPr>
          <p:spPr>
            <a:xfrm>
              <a:off x="5074475"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503" y="642"/>
                    <a:pt x="642" y="502"/>
                    <a:pt x="642" y="307"/>
                  </a:cubicBezTo>
                  <a:cubicBezTo>
                    <a:pt x="642" y="140"/>
                    <a:pt x="503"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6" name="Google Shape;7936;p76"/>
            <p:cNvSpPr/>
            <p:nvPr/>
          </p:nvSpPr>
          <p:spPr>
            <a:xfrm>
              <a:off x="5137200" y="3356450"/>
              <a:ext cx="16050" cy="16050"/>
            </a:xfrm>
            <a:custGeom>
              <a:avLst/>
              <a:gdLst/>
              <a:ahLst/>
              <a:cxnLst/>
              <a:rect l="l" t="t" r="r" b="b"/>
              <a:pathLst>
                <a:path w="642" h="642" extrusionOk="0">
                  <a:moveTo>
                    <a:pt x="307" y="1"/>
                  </a:moveTo>
                  <a:cubicBezTo>
                    <a:pt x="140" y="1"/>
                    <a:pt x="1" y="140"/>
                    <a:pt x="1" y="307"/>
                  </a:cubicBezTo>
                  <a:cubicBezTo>
                    <a:pt x="1" y="502"/>
                    <a:pt x="140" y="642"/>
                    <a:pt x="307" y="642"/>
                  </a:cubicBezTo>
                  <a:cubicBezTo>
                    <a:pt x="474" y="642"/>
                    <a:pt x="614" y="502"/>
                    <a:pt x="614" y="307"/>
                  </a:cubicBezTo>
                  <a:cubicBezTo>
                    <a:pt x="642" y="140"/>
                    <a:pt x="474"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37" name="Google Shape;7937;p76"/>
            <p:cNvSpPr/>
            <p:nvPr/>
          </p:nvSpPr>
          <p:spPr>
            <a:xfrm>
              <a:off x="5089125" y="3371950"/>
              <a:ext cx="48100" cy="63100"/>
            </a:xfrm>
            <a:custGeom>
              <a:avLst/>
              <a:gdLst/>
              <a:ahLst/>
              <a:cxnLst/>
              <a:rect l="l" t="t" r="r" b="b"/>
              <a:pathLst>
                <a:path w="1924" h="2524" extrusionOk="0">
                  <a:moveTo>
                    <a:pt x="976" y="774"/>
                  </a:moveTo>
                  <a:lnTo>
                    <a:pt x="1227" y="1025"/>
                  </a:lnTo>
                  <a:lnTo>
                    <a:pt x="976" y="1499"/>
                  </a:lnTo>
                  <a:lnTo>
                    <a:pt x="753" y="1025"/>
                  </a:lnTo>
                  <a:lnTo>
                    <a:pt x="976" y="774"/>
                  </a:lnTo>
                  <a:close/>
                  <a:moveTo>
                    <a:pt x="976" y="1"/>
                  </a:moveTo>
                  <a:cubicBezTo>
                    <a:pt x="899" y="1"/>
                    <a:pt x="822" y="36"/>
                    <a:pt x="753" y="105"/>
                  </a:cubicBezTo>
                  <a:lnTo>
                    <a:pt x="112" y="747"/>
                  </a:lnTo>
                  <a:cubicBezTo>
                    <a:pt x="0" y="858"/>
                    <a:pt x="0" y="997"/>
                    <a:pt x="56" y="1081"/>
                  </a:cubicBezTo>
                  <a:lnTo>
                    <a:pt x="669" y="2335"/>
                  </a:lnTo>
                  <a:cubicBezTo>
                    <a:pt x="725" y="2461"/>
                    <a:pt x="836" y="2524"/>
                    <a:pt x="948" y="2524"/>
                  </a:cubicBezTo>
                  <a:cubicBezTo>
                    <a:pt x="1059" y="2524"/>
                    <a:pt x="1171" y="2461"/>
                    <a:pt x="1227" y="2335"/>
                  </a:cubicBezTo>
                  <a:lnTo>
                    <a:pt x="1840" y="1081"/>
                  </a:lnTo>
                  <a:cubicBezTo>
                    <a:pt x="1924" y="997"/>
                    <a:pt x="1896" y="802"/>
                    <a:pt x="1784" y="747"/>
                  </a:cubicBezTo>
                  <a:lnTo>
                    <a:pt x="1199" y="105"/>
                  </a:lnTo>
                  <a:cubicBezTo>
                    <a:pt x="1129" y="36"/>
                    <a:pt x="1052" y="1"/>
                    <a:pt x="97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38" name="Google Shape;7938;p76"/>
            <p:cNvGrpSpPr/>
            <p:nvPr/>
          </p:nvGrpSpPr>
          <p:grpSpPr>
            <a:xfrm>
              <a:off x="4995050" y="3245650"/>
              <a:ext cx="236950" cy="269725"/>
              <a:chOff x="4995050" y="3245650"/>
              <a:chExt cx="236950" cy="269725"/>
            </a:xfrm>
          </p:grpSpPr>
          <p:sp>
            <p:nvSpPr>
              <p:cNvPr id="7939" name="Google Shape;7939;p76"/>
              <p:cNvSpPr/>
              <p:nvPr/>
            </p:nvSpPr>
            <p:spPr>
              <a:xfrm>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0" name="Google Shape;7940;p76"/>
              <p:cNvSpPr/>
              <p:nvPr/>
            </p:nvSpPr>
            <p:spPr>
              <a:xfrm flipH="1">
                <a:off x="4995050" y="3245650"/>
                <a:ext cx="236950" cy="269725"/>
              </a:xfrm>
              <a:custGeom>
                <a:avLst/>
                <a:gdLst/>
                <a:ahLst/>
                <a:cxnLst/>
                <a:rect l="l" t="t" r="r" b="b"/>
                <a:pathLst>
                  <a:path w="9478" h="10789" extrusionOk="0">
                    <a:moveTo>
                      <a:pt x="4822" y="614"/>
                    </a:moveTo>
                    <a:cubicBezTo>
                      <a:pt x="7080" y="614"/>
                      <a:pt x="8920" y="2454"/>
                      <a:pt x="8920" y="4711"/>
                    </a:cubicBezTo>
                    <a:lnTo>
                      <a:pt x="8920" y="10147"/>
                    </a:lnTo>
                    <a:lnTo>
                      <a:pt x="8223" y="10147"/>
                    </a:lnTo>
                    <a:cubicBezTo>
                      <a:pt x="8223" y="8976"/>
                      <a:pt x="7805" y="8001"/>
                      <a:pt x="7108" y="7304"/>
                    </a:cubicBezTo>
                    <a:cubicBezTo>
                      <a:pt x="7471" y="6941"/>
                      <a:pt x="7749" y="6495"/>
                      <a:pt x="7944" y="6049"/>
                    </a:cubicBezTo>
                    <a:cubicBezTo>
                      <a:pt x="8167" y="5548"/>
                      <a:pt x="8251" y="5074"/>
                      <a:pt x="8251" y="4544"/>
                    </a:cubicBezTo>
                    <a:cubicBezTo>
                      <a:pt x="8251" y="3569"/>
                      <a:pt x="7526" y="2649"/>
                      <a:pt x="6551" y="2565"/>
                    </a:cubicBezTo>
                    <a:cubicBezTo>
                      <a:pt x="6475" y="2556"/>
                      <a:pt x="6400" y="2552"/>
                      <a:pt x="6324" y="2552"/>
                    </a:cubicBezTo>
                    <a:cubicBezTo>
                      <a:pt x="5706" y="2552"/>
                      <a:pt x="5115" y="2855"/>
                      <a:pt x="4767" y="3401"/>
                    </a:cubicBezTo>
                    <a:cubicBezTo>
                      <a:pt x="4424" y="2853"/>
                      <a:pt x="3838" y="2548"/>
                      <a:pt x="3192" y="2548"/>
                    </a:cubicBezTo>
                    <a:cubicBezTo>
                      <a:pt x="3050" y="2548"/>
                      <a:pt x="2905" y="2563"/>
                      <a:pt x="2760" y="2593"/>
                    </a:cubicBezTo>
                    <a:cubicBezTo>
                      <a:pt x="1923" y="2788"/>
                      <a:pt x="1338" y="3596"/>
                      <a:pt x="1338" y="4516"/>
                    </a:cubicBezTo>
                    <a:cubicBezTo>
                      <a:pt x="1338" y="5130"/>
                      <a:pt x="1505" y="5715"/>
                      <a:pt x="1868" y="6245"/>
                    </a:cubicBezTo>
                    <a:lnTo>
                      <a:pt x="2509" y="7220"/>
                    </a:lnTo>
                    <a:lnTo>
                      <a:pt x="2035" y="7861"/>
                    </a:lnTo>
                    <a:cubicBezTo>
                      <a:pt x="1589" y="8419"/>
                      <a:pt x="1338" y="9116"/>
                      <a:pt x="1338" y="9841"/>
                    </a:cubicBezTo>
                    <a:lnTo>
                      <a:pt x="1338" y="10119"/>
                    </a:lnTo>
                    <a:lnTo>
                      <a:pt x="697" y="10119"/>
                    </a:lnTo>
                    <a:lnTo>
                      <a:pt x="697" y="4711"/>
                    </a:lnTo>
                    <a:cubicBezTo>
                      <a:pt x="697" y="2454"/>
                      <a:pt x="2565" y="614"/>
                      <a:pt x="4822" y="614"/>
                    </a:cubicBezTo>
                    <a:close/>
                    <a:moveTo>
                      <a:pt x="6241" y="3171"/>
                    </a:moveTo>
                    <a:cubicBezTo>
                      <a:pt x="6288" y="3171"/>
                      <a:pt x="6335" y="3173"/>
                      <a:pt x="6383" y="3178"/>
                    </a:cubicBezTo>
                    <a:cubicBezTo>
                      <a:pt x="6997" y="3234"/>
                      <a:pt x="7498" y="3847"/>
                      <a:pt x="7498" y="4544"/>
                    </a:cubicBezTo>
                    <a:cubicBezTo>
                      <a:pt x="7498" y="5408"/>
                      <a:pt x="7164" y="6245"/>
                      <a:pt x="6523" y="6858"/>
                    </a:cubicBezTo>
                    <a:lnTo>
                      <a:pt x="6328" y="7081"/>
                    </a:lnTo>
                    <a:cubicBezTo>
                      <a:pt x="6188" y="7220"/>
                      <a:pt x="6188" y="7387"/>
                      <a:pt x="6328" y="7527"/>
                    </a:cubicBezTo>
                    <a:cubicBezTo>
                      <a:pt x="6634" y="7834"/>
                      <a:pt x="7498" y="8614"/>
                      <a:pt x="7498" y="10175"/>
                    </a:cubicBezTo>
                    <a:lnTo>
                      <a:pt x="1896" y="10175"/>
                    </a:lnTo>
                    <a:lnTo>
                      <a:pt x="1896" y="10147"/>
                    </a:lnTo>
                    <a:cubicBezTo>
                      <a:pt x="1896" y="9813"/>
                      <a:pt x="1868" y="9032"/>
                      <a:pt x="2453" y="8307"/>
                    </a:cubicBezTo>
                    <a:lnTo>
                      <a:pt x="3066" y="7499"/>
                    </a:lnTo>
                    <a:cubicBezTo>
                      <a:pt x="3150" y="7387"/>
                      <a:pt x="3178" y="7248"/>
                      <a:pt x="3066" y="7109"/>
                    </a:cubicBezTo>
                    <a:lnTo>
                      <a:pt x="2286" y="5938"/>
                    </a:lnTo>
                    <a:cubicBezTo>
                      <a:pt x="2007" y="5520"/>
                      <a:pt x="1868" y="5018"/>
                      <a:pt x="1868" y="4544"/>
                    </a:cubicBezTo>
                    <a:cubicBezTo>
                      <a:pt x="1868" y="3903"/>
                      <a:pt x="2286" y="3346"/>
                      <a:pt x="2788" y="3206"/>
                    </a:cubicBezTo>
                    <a:cubicBezTo>
                      <a:pt x="2884" y="3187"/>
                      <a:pt x="2980" y="3178"/>
                      <a:pt x="3074" y="3178"/>
                    </a:cubicBezTo>
                    <a:cubicBezTo>
                      <a:pt x="3788" y="3178"/>
                      <a:pt x="4376" y="3718"/>
                      <a:pt x="4376" y="4433"/>
                    </a:cubicBezTo>
                    <a:cubicBezTo>
                      <a:pt x="4376" y="4600"/>
                      <a:pt x="4516" y="4739"/>
                      <a:pt x="4683" y="4739"/>
                    </a:cubicBezTo>
                    <a:cubicBezTo>
                      <a:pt x="4850" y="4739"/>
                      <a:pt x="4990" y="4600"/>
                      <a:pt x="4990" y="4433"/>
                    </a:cubicBezTo>
                    <a:cubicBezTo>
                      <a:pt x="4990" y="3753"/>
                      <a:pt x="5530" y="3171"/>
                      <a:pt x="6241" y="3171"/>
                    </a:cubicBezTo>
                    <a:close/>
                    <a:moveTo>
                      <a:pt x="4739" y="1"/>
                    </a:moveTo>
                    <a:cubicBezTo>
                      <a:pt x="2146" y="1"/>
                      <a:pt x="0" y="2147"/>
                      <a:pt x="0" y="4739"/>
                    </a:cubicBezTo>
                    <a:lnTo>
                      <a:pt x="0" y="10454"/>
                    </a:lnTo>
                    <a:cubicBezTo>
                      <a:pt x="0" y="10649"/>
                      <a:pt x="139" y="10788"/>
                      <a:pt x="335" y="10788"/>
                    </a:cubicBezTo>
                    <a:lnTo>
                      <a:pt x="9171" y="10788"/>
                    </a:lnTo>
                    <a:cubicBezTo>
                      <a:pt x="9338" y="10788"/>
                      <a:pt x="9478" y="10649"/>
                      <a:pt x="9478" y="10454"/>
                    </a:cubicBezTo>
                    <a:lnTo>
                      <a:pt x="9478" y="4739"/>
                    </a:lnTo>
                    <a:cubicBezTo>
                      <a:pt x="9478" y="2147"/>
                      <a:pt x="7359" y="1"/>
                      <a:pt x="473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grpSp>
        <p:nvGrpSpPr>
          <p:cNvPr id="7941" name="Google Shape;7941;p76"/>
          <p:cNvGrpSpPr/>
          <p:nvPr/>
        </p:nvGrpSpPr>
        <p:grpSpPr>
          <a:xfrm>
            <a:off x="7364958" y="2252992"/>
            <a:ext cx="644999" cy="641723"/>
            <a:chOff x="4724650" y="2885700"/>
            <a:chExt cx="270750" cy="269375"/>
          </a:xfrm>
        </p:grpSpPr>
        <p:sp>
          <p:nvSpPr>
            <p:cNvPr id="7942" name="Google Shape;7942;p76"/>
            <p:cNvSpPr/>
            <p:nvPr/>
          </p:nvSpPr>
          <p:spPr>
            <a:xfrm flipH="1">
              <a:off x="472500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3" name="Google Shape;7943;p76"/>
            <p:cNvSpPr/>
            <p:nvPr/>
          </p:nvSpPr>
          <p:spPr>
            <a:xfrm>
              <a:off x="4724650" y="2885700"/>
              <a:ext cx="270400" cy="269375"/>
            </a:xfrm>
            <a:custGeom>
              <a:avLst/>
              <a:gdLst/>
              <a:ahLst/>
              <a:cxnLst/>
              <a:rect l="l" t="t" r="r" b="b"/>
              <a:pathLst>
                <a:path w="10816" h="10775" extrusionOk="0">
                  <a:moveTo>
                    <a:pt x="1655" y="3145"/>
                  </a:moveTo>
                  <a:cubicBezTo>
                    <a:pt x="1870" y="3145"/>
                    <a:pt x="2092" y="3219"/>
                    <a:pt x="2286" y="3388"/>
                  </a:cubicBezTo>
                  <a:cubicBezTo>
                    <a:pt x="1840" y="3722"/>
                    <a:pt x="1450" y="4308"/>
                    <a:pt x="1338" y="5005"/>
                  </a:cubicBezTo>
                  <a:cubicBezTo>
                    <a:pt x="948" y="4865"/>
                    <a:pt x="697" y="4503"/>
                    <a:pt x="697" y="4085"/>
                  </a:cubicBezTo>
                  <a:cubicBezTo>
                    <a:pt x="697" y="3540"/>
                    <a:pt x="1158" y="3145"/>
                    <a:pt x="1655" y="3145"/>
                  </a:cubicBezTo>
                  <a:close/>
                  <a:moveTo>
                    <a:pt x="9227" y="3165"/>
                  </a:moveTo>
                  <a:cubicBezTo>
                    <a:pt x="9757" y="3165"/>
                    <a:pt x="10203" y="3555"/>
                    <a:pt x="10203" y="4085"/>
                  </a:cubicBezTo>
                  <a:cubicBezTo>
                    <a:pt x="10203" y="4503"/>
                    <a:pt x="9924" y="4865"/>
                    <a:pt x="9534" y="5005"/>
                  </a:cubicBezTo>
                  <a:cubicBezTo>
                    <a:pt x="9450" y="4419"/>
                    <a:pt x="9199" y="3917"/>
                    <a:pt x="8725" y="3499"/>
                  </a:cubicBezTo>
                  <a:cubicBezTo>
                    <a:pt x="8697" y="3471"/>
                    <a:pt x="8642" y="3444"/>
                    <a:pt x="8586" y="3388"/>
                  </a:cubicBezTo>
                  <a:cubicBezTo>
                    <a:pt x="8781" y="3248"/>
                    <a:pt x="8976" y="3165"/>
                    <a:pt x="9227" y="3165"/>
                  </a:cubicBezTo>
                  <a:close/>
                  <a:moveTo>
                    <a:pt x="5436" y="712"/>
                  </a:moveTo>
                  <a:lnTo>
                    <a:pt x="5882" y="991"/>
                  </a:lnTo>
                  <a:cubicBezTo>
                    <a:pt x="5921" y="1010"/>
                    <a:pt x="5972" y="1042"/>
                    <a:pt x="6037" y="1042"/>
                  </a:cubicBezTo>
                  <a:cubicBezTo>
                    <a:pt x="6066" y="1042"/>
                    <a:pt x="6098" y="1036"/>
                    <a:pt x="6133" y="1018"/>
                  </a:cubicBezTo>
                  <a:lnTo>
                    <a:pt x="6635" y="879"/>
                  </a:lnTo>
                  <a:lnTo>
                    <a:pt x="7025" y="1269"/>
                  </a:lnTo>
                  <a:cubicBezTo>
                    <a:pt x="7109" y="1325"/>
                    <a:pt x="7164" y="1381"/>
                    <a:pt x="7248" y="1381"/>
                  </a:cubicBezTo>
                  <a:lnTo>
                    <a:pt x="7805" y="1409"/>
                  </a:lnTo>
                  <a:lnTo>
                    <a:pt x="8028" y="1910"/>
                  </a:lnTo>
                  <a:cubicBezTo>
                    <a:pt x="8084" y="1966"/>
                    <a:pt x="8140" y="2050"/>
                    <a:pt x="8224" y="2050"/>
                  </a:cubicBezTo>
                  <a:lnTo>
                    <a:pt x="8725" y="2217"/>
                  </a:lnTo>
                  <a:lnTo>
                    <a:pt x="8809" y="2552"/>
                  </a:lnTo>
                  <a:cubicBezTo>
                    <a:pt x="8502" y="2663"/>
                    <a:pt x="8168" y="2830"/>
                    <a:pt x="7973" y="3109"/>
                  </a:cubicBezTo>
                  <a:cubicBezTo>
                    <a:pt x="7879" y="3091"/>
                    <a:pt x="7785" y="3082"/>
                    <a:pt x="7692" y="3082"/>
                  </a:cubicBezTo>
                  <a:cubicBezTo>
                    <a:pt x="7061" y="3082"/>
                    <a:pt x="6459" y="3478"/>
                    <a:pt x="6217" y="4085"/>
                  </a:cubicBezTo>
                  <a:lnTo>
                    <a:pt x="6021" y="4642"/>
                  </a:lnTo>
                  <a:cubicBezTo>
                    <a:pt x="5910" y="4893"/>
                    <a:pt x="5715" y="5032"/>
                    <a:pt x="5464" y="5032"/>
                  </a:cubicBezTo>
                  <a:cubicBezTo>
                    <a:pt x="5213" y="5032"/>
                    <a:pt x="4962" y="4893"/>
                    <a:pt x="4906" y="4642"/>
                  </a:cubicBezTo>
                  <a:lnTo>
                    <a:pt x="4683" y="4085"/>
                  </a:lnTo>
                  <a:cubicBezTo>
                    <a:pt x="4441" y="3478"/>
                    <a:pt x="3839" y="3082"/>
                    <a:pt x="3227" y="3082"/>
                  </a:cubicBezTo>
                  <a:cubicBezTo>
                    <a:pt x="3136" y="3082"/>
                    <a:pt x="3045" y="3091"/>
                    <a:pt x="2955" y="3109"/>
                  </a:cubicBezTo>
                  <a:cubicBezTo>
                    <a:pt x="2732" y="2830"/>
                    <a:pt x="2453" y="2635"/>
                    <a:pt x="2119" y="2552"/>
                  </a:cubicBezTo>
                  <a:lnTo>
                    <a:pt x="2175" y="2217"/>
                  </a:lnTo>
                  <a:lnTo>
                    <a:pt x="2649" y="2050"/>
                  </a:lnTo>
                  <a:cubicBezTo>
                    <a:pt x="2704" y="1994"/>
                    <a:pt x="2788" y="1966"/>
                    <a:pt x="2816" y="1910"/>
                  </a:cubicBezTo>
                  <a:lnTo>
                    <a:pt x="3067" y="1409"/>
                  </a:lnTo>
                  <a:lnTo>
                    <a:pt x="3624" y="1381"/>
                  </a:lnTo>
                  <a:cubicBezTo>
                    <a:pt x="3680" y="1381"/>
                    <a:pt x="3764" y="1353"/>
                    <a:pt x="3819" y="1269"/>
                  </a:cubicBezTo>
                  <a:lnTo>
                    <a:pt x="4210" y="879"/>
                  </a:lnTo>
                  <a:lnTo>
                    <a:pt x="4739" y="1018"/>
                  </a:lnTo>
                  <a:cubicBezTo>
                    <a:pt x="4756" y="1036"/>
                    <a:pt x="4779" y="1042"/>
                    <a:pt x="4804" y="1042"/>
                  </a:cubicBezTo>
                  <a:cubicBezTo>
                    <a:pt x="4859" y="1042"/>
                    <a:pt x="4924" y="1010"/>
                    <a:pt x="4962" y="991"/>
                  </a:cubicBezTo>
                  <a:lnTo>
                    <a:pt x="5436" y="712"/>
                  </a:lnTo>
                  <a:close/>
                  <a:moveTo>
                    <a:pt x="5436" y="7625"/>
                  </a:moveTo>
                  <a:cubicBezTo>
                    <a:pt x="5603" y="7625"/>
                    <a:pt x="5743" y="7681"/>
                    <a:pt x="5882" y="7792"/>
                  </a:cubicBezTo>
                  <a:cubicBezTo>
                    <a:pt x="5966" y="7904"/>
                    <a:pt x="6021" y="7987"/>
                    <a:pt x="6049" y="8099"/>
                  </a:cubicBezTo>
                  <a:cubicBezTo>
                    <a:pt x="5826" y="8350"/>
                    <a:pt x="5603" y="8600"/>
                    <a:pt x="5436" y="8768"/>
                  </a:cubicBezTo>
                  <a:lnTo>
                    <a:pt x="4795" y="8127"/>
                  </a:lnTo>
                  <a:cubicBezTo>
                    <a:pt x="4879" y="7848"/>
                    <a:pt x="5102" y="7625"/>
                    <a:pt x="5436" y="7625"/>
                  </a:cubicBezTo>
                  <a:close/>
                  <a:moveTo>
                    <a:pt x="3226" y="3711"/>
                  </a:moveTo>
                  <a:cubicBezTo>
                    <a:pt x="3600" y="3711"/>
                    <a:pt x="3965" y="3943"/>
                    <a:pt x="4126" y="4336"/>
                  </a:cubicBezTo>
                  <a:lnTo>
                    <a:pt x="4349" y="4893"/>
                  </a:lnTo>
                  <a:cubicBezTo>
                    <a:pt x="4516" y="5395"/>
                    <a:pt x="4990" y="5701"/>
                    <a:pt x="5492" y="5701"/>
                  </a:cubicBezTo>
                  <a:cubicBezTo>
                    <a:pt x="6021" y="5701"/>
                    <a:pt x="6467" y="5395"/>
                    <a:pt x="6635" y="4893"/>
                  </a:cubicBezTo>
                  <a:lnTo>
                    <a:pt x="6858" y="4336"/>
                  </a:lnTo>
                  <a:cubicBezTo>
                    <a:pt x="7002" y="3957"/>
                    <a:pt x="7379" y="3730"/>
                    <a:pt x="7756" y="3730"/>
                  </a:cubicBezTo>
                  <a:cubicBezTo>
                    <a:pt x="7962" y="3730"/>
                    <a:pt x="8168" y="3798"/>
                    <a:pt x="8335" y="3945"/>
                  </a:cubicBezTo>
                  <a:cubicBezTo>
                    <a:pt x="8725" y="4308"/>
                    <a:pt x="8948" y="4782"/>
                    <a:pt x="8948" y="5339"/>
                  </a:cubicBezTo>
                  <a:cubicBezTo>
                    <a:pt x="8920" y="6175"/>
                    <a:pt x="8502" y="7430"/>
                    <a:pt x="7861" y="8405"/>
                  </a:cubicBezTo>
                  <a:cubicBezTo>
                    <a:pt x="7248" y="9381"/>
                    <a:pt x="6467" y="10022"/>
                    <a:pt x="5771" y="10161"/>
                  </a:cubicBezTo>
                  <a:lnTo>
                    <a:pt x="5771" y="9353"/>
                  </a:lnTo>
                  <a:cubicBezTo>
                    <a:pt x="5938" y="9186"/>
                    <a:pt x="6328" y="8796"/>
                    <a:pt x="6635" y="8517"/>
                  </a:cubicBezTo>
                  <a:cubicBezTo>
                    <a:pt x="6718" y="8461"/>
                    <a:pt x="6746" y="8377"/>
                    <a:pt x="6746" y="8322"/>
                  </a:cubicBezTo>
                  <a:cubicBezTo>
                    <a:pt x="6746" y="7959"/>
                    <a:pt x="6607" y="7653"/>
                    <a:pt x="6356" y="7402"/>
                  </a:cubicBezTo>
                  <a:cubicBezTo>
                    <a:pt x="6105" y="7151"/>
                    <a:pt x="5798" y="7012"/>
                    <a:pt x="5464" y="7012"/>
                  </a:cubicBezTo>
                  <a:cubicBezTo>
                    <a:pt x="4767" y="7012"/>
                    <a:pt x="4210" y="7569"/>
                    <a:pt x="4210" y="8266"/>
                  </a:cubicBezTo>
                  <a:cubicBezTo>
                    <a:pt x="4210" y="8350"/>
                    <a:pt x="4237" y="8461"/>
                    <a:pt x="4293" y="8489"/>
                  </a:cubicBezTo>
                  <a:lnTo>
                    <a:pt x="5185" y="9353"/>
                  </a:lnTo>
                  <a:lnTo>
                    <a:pt x="5185" y="10161"/>
                  </a:lnTo>
                  <a:cubicBezTo>
                    <a:pt x="4433" y="10022"/>
                    <a:pt x="3708" y="9381"/>
                    <a:pt x="3095" y="8405"/>
                  </a:cubicBezTo>
                  <a:cubicBezTo>
                    <a:pt x="2453" y="7430"/>
                    <a:pt x="2035" y="6231"/>
                    <a:pt x="2035" y="5339"/>
                  </a:cubicBezTo>
                  <a:cubicBezTo>
                    <a:pt x="2035" y="4782"/>
                    <a:pt x="2258" y="4336"/>
                    <a:pt x="2621" y="3945"/>
                  </a:cubicBezTo>
                  <a:cubicBezTo>
                    <a:pt x="2801" y="3785"/>
                    <a:pt x="3015" y="3711"/>
                    <a:pt x="3226" y="3711"/>
                  </a:cubicBezTo>
                  <a:close/>
                  <a:moveTo>
                    <a:pt x="5408" y="1"/>
                  </a:moveTo>
                  <a:cubicBezTo>
                    <a:pt x="5352" y="1"/>
                    <a:pt x="5297" y="15"/>
                    <a:pt x="5241" y="43"/>
                  </a:cubicBezTo>
                  <a:lnTo>
                    <a:pt x="4739" y="377"/>
                  </a:lnTo>
                  <a:lnTo>
                    <a:pt x="4126" y="238"/>
                  </a:lnTo>
                  <a:cubicBezTo>
                    <a:pt x="4103" y="222"/>
                    <a:pt x="4077" y="215"/>
                    <a:pt x="4050" y="215"/>
                  </a:cubicBezTo>
                  <a:cubicBezTo>
                    <a:pt x="3980" y="215"/>
                    <a:pt x="3900" y="261"/>
                    <a:pt x="3819" y="322"/>
                  </a:cubicBezTo>
                  <a:lnTo>
                    <a:pt x="3401" y="740"/>
                  </a:lnTo>
                  <a:lnTo>
                    <a:pt x="2816" y="795"/>
                  </a:lnTo>
                  <a:cubicBezTo>
                    <a:pt x="2704" y="795"/>
                    <a:pt x="2593" y="851"/>
                    <a:pt x="2537" y="963"/>
                  </a:cubicBezTo>
                  <a:lnTo>
                    <a:pt x="2258" y="1492"/>
                  </a:lnTo>
                  <a:lnTo>
                    <a:pt x="1701" y="1687"/>
                  </a:lnTo>
                  <a:cubicBezTo>
                    <a:pt x="1589" y="1715"/>
                    <a:pt x="1534" y="1827"/>
                    <a:pt x="1478" y="1938"/>
                  </a:cubicBezTo>
                  <a:lnTo>
                    <a:pt x="1394" y="2524"/>
                  </a:lnTo>
                  <a:cubicBezTo>
                    <a:pt x="1032" y="2552"/>
                    <a:pt x="725" y="2747"/>
                    <a:pt x="474" y="2970"/>
                  </a:cubicBezTo>
                  <a:cubicBezTo>
                    <a:pt x="168" y="3304"/>
                    <a:pt x="0" y="3667"/>
                    <a:pt x="0" y="4085"/>
                  </a:cubicBezTo>
                  <a:cubicBezTo>
                    <a:pt x="0" y="4865"/>
                    <a:pt x="586" y="5534"/>
                    <a:pt x="1283" y="5618"/>
                  </a:cubicBezTo>
                  <a:cubicBezTo>
                    <a:pt x="1338" y="6566"/>
                    <a:pt x="1812" y="7764"/>
                    <a:pt x="2426" y="8740"/>
                  </a:cubicBezTo>
                  <a:cubicBezTo>
                    <a:pt x="3290" y="10050"/>
                    <a:pt x="4349" y="10775"/>
                    <a:pt x="5352" y="10775"/>
                  </a:cubicBezTo>
                  <a:cubicBezTo>
                    <a:pt x="6412" y="10775"/>
                    <a:pt x="7443" y="10050"/>
                    <a:pt x="8279" y="8740"/>
                  </a:cubicBezTo>
                  <a:cubicBezTo>
                    <a:pt x="8893" y="7764"/>
                    <a:pt x="9366" y="6566"/>
                    <a:pt x="9422" y="5618"/>
                  </a:cubicBezTo>
                  <a:cubicBezTo>
                    <a:pt x="9729" y="5562"/>
                    <a:pt x="10008" y="5423"/>
                    <a:pt x="10258" y="5200"/>
                  </a:cubicBezTo>
                  <a:cubicBezTo>
                    <a:pt x="10649" y="4921"/>
                    <a:pt x="10816" y="4503"/>
                    <a:pt x="10816" y="4085"/>
                  </a:cubicBezTo>
                  <a:cubicBezTo>
                    <a:pt x="10816" y="3667"/>
                    <a:pt x="10649" y="3248"/>
                    <a:pt x="10342" y="2970"/>
                  </a:cubicBezTo>
                  <a:cubicBezTo>
                    <a:pt x="10091" y="2747"/>
                    <a:pt x="9785" y="2607"/>
                    <a:pt x="9422" y="2524"/>
                  </a:cubicBezTo>
                  <a:lnTo>
                    <a:pt x="9339" y="1938"/>
                  </a:lnTo>
                  <a:cubicBezTo>
                    <a:pt x="9283" y="1827"/>
                    <a:pt x="9227" y="1715"/>
                    <a:pt x="9116" y="1687"/>
                  </a:cubicBezTo>
                  <a:lnTo>
                    <a:pt x="8558" y="1492"/>
                  </a:lnTo>
                  <a:lnTo>
                    <a:pt x="8279" y="963"/>
                  </a:lnTo>
                  <a:cubicBezTo>
                    <a:pt x="8251" y="851"/>
                    <a:pt x="8140" y="795"/>
                    <a:pt x="8001" y="795"/>
                  </a:cubicBezTo>
                  <a:lnTo>
                    <a:pt x="7415" y="740"/>
                  </a:lnTo>
                  <a:lnTo>
                    <a:pt x="6997" y="322"/>
                  </a:lnTo>
                  <a:cubicBezTo>
                    <a:pt x="6913" y="266"/>
                    <a:pt x="6774" y="238"/>
                    <a:pt x="6690" y="238"/>
                  </a:cubicBezTo>
                  <a:lnTo>
                    <a:pt x="6077" y="377"/>
                  </a:lnTo>
                  <a:lnTo>
                    <a:pt x="5575" y="43"/>
                  </a:lnTo>
                  <a:cubicBezTo>
                    <a:pt x="5520" y="15"/>
                    <a:pt x="5464" y="1"/>
                    <a:pt x="54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4" name="Google Shape;7944;p76"/>
            <p:cNvSpPr/>
            <p:nvPr/>
          </p:nvSpPr>
          <p:spPr>
            <a:xfrm>
              <a:off x="4900250" y="3027525"/>
              <a:ext cx="16075" cy="15350"/>
            </a:xfrm>
            <a:custGeom>
              <a:avLst/>
              <a:gdLst/>
              <a:ahLst/>
              <a:cxnLst/>
              <a:rect l="l" t="t" r="r" b="b"/>
              <a:pathLst>
                <a:path w="643" h="614" extrusionOk="0">
                  <a:moveTo>
                    <a:pt x="308" y="1"/>
                  </a:moveTo>
                  <a:cubicBezTo>
                    <a:pt x="140" y="1"/>
                    <a:pt x="1" y="140"/>
                    <a:pt x="1" y="307"/>
                  </a:cubicBezTo>
                  <a:cubicBezTo>
                    <a:pt x="1" y="474"/>
                    <a:pt x="140" y="614"/>
                    <a:pt x="308" y="614"/>
                  </a:cubicBezTo>
                  <a:cubicBezTo>
                    <a:pt x="503" y="614"/>
                    <a:pt x="642" y="474"/>
                    <a:pt x="642" y="307"/>
                  </a:cubicBezTo>
                  <a:cubicBezTo>
                    <a:pt x="642" y="140"/>
                    <a:pt x="503" y="1"/>
                    <a:pt x="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5" name="Google Shape;7945;p76"/>
            <p:cNvSpPr/>
            <p:nvPr/>
          </p:nvSpPr>
          <p:spPr>
            <a:xfrm>
              <a:off x="4805475" y="3027525"/>
              <a:ext cx="15375" cy="15350"/>
            </a:xfrm>
            <a:custGeom>
              <a:avLst/>
              <a:gdLst/>
              <a:ahLst/>
              <a:cxnLst/>
              <a:rect l="l" t="t" r="r" b="b"/>
              <a:pathLst>
                <a:path w="615" h="614" extrusionOk="0">
                  <a:moveTo>
                    <a:pt x="308" y="1"/>
                  </a:moveTo>
                  <a:cubicBezTo>
                    <a:pt x="140" y="1"/>
                    <a:pt x="1" y="140"/>
                    <a:pt x="1" y="307"/>
                  </a:cubicBezTo>
                  <a:cubicBezTo>
                    <a:pt x="1" y="474"/>
                    <a:pt x="140" y="614"/>
                    <a:pt x="308" y="614"/>
                  </a:cubicBezTo>
                  <a:cubicBezTo>
                    <a:pt x="475" y="614"/>
                    <a:pt x="614" y="474"/>
                    <a:pt x="614" y="307"/>
                  </a:cubicBezTo>
                  <a:cubicBezTo>
                    <a:pt x="614" y="140"/>
                    <a:pt x="475" y="1"/>
                    <a:pt x="3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6" name="Google Shape;7946;p76"/>
            <p:cNvSpPr/>
            <p:nvPr/>
          </p:nvSpPr>
          <p:spPr>
            <a:xfrm>
              <a:off x="4820825" y="2932750"/>
              <a:ext cx="16050" cy="32075"/>
            </a:xfrm>
            <a:custGeom>
              <a:avLst/>
              <a:gdLst/>
              <a:ahLst/>
              <a:cxnLst/>
              <a:rect l="l" t="t" r="r" b="b"/>
              <a:pathLst>
                <a:path w="642" h="1283" extrusionOk="0">
                  <a:moveTo>
                    <a:pt x="335" y="1"/>
                  </a:moveTo>
                  <a:cubicBezTo>
                    <a:pt x="140" y="1"/>
                    <a:pt x="0" y="140"/>
                    <a:pt x="0" y="335"/>
                  </a:cubicBezTo>
                  <a:lnTo>
                    <a:pt x="0" y="948"/>
                  </a:lnTo>
                  <a:cubicBezTo>
                    <a:pt x="0" y="1143"/>
                    <a:pt x="140" y="1283"/>
                    <a:pt x="335" y="1283"/>
                  </a:cubicBezTo>
                  <a:cubicBezTo>
                    <a:pt x="502" y="1283"/>
                    <a:pt x="641" y="1143"/>
                    <a:pt x="641" y="948"/>
                  </a:cubicBezTo>
                  <a:lnTo>
                    <a:pt x="641" y="335"/>
                  </a:lnTo>
                  <a:cubicBezTo>
                    <a:pt x="641" y="140"/>
                    <a:pt x="502" y="1"/>
                    <a:pt x="3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7" name="Google Shape;7947;p76"/>
            <p:cNvSpPr/>
            <p:nvPr/>
          </p:nvSpPr>
          <p:spPr>
            <a:xfrm>
              <a:off x="4884925" y="2932750"/>
              <a:ext cx="15350" cy="32075"/>
            </a:xfrm>
            <a:custGeom>
              <a:avLst/>
              <a:gdLst/>
              <a:ahLst/>
              <a:cxnLst/>
              <a:rect l="l" t="t" r="r" b="b"/>
              <a:pathLst>
                <a:path w="614" h="1283" extrusionOk="0">
                  <a:moveTo>
                    <a:pt x="307" y="1"/>
                  </a:moveTo>
                  <a:cubicBezTo>
                    <a:pt x="112" y="1"/>
                    <a:pt x="1" y="140"/>
                    <a:pt x="1" y="335"/>
                  </a:cubicBezTo>
                  <a:lnTo>
                    <a:pt x="1" y="948"/>
                  </a:lnTo>
                  <a:cubicBezTo>
                    <a:pt x="1" y="1143"/>
                    <a:pt x="112" y="1283"/>
                    <a:pt x="307" y="1283"/>
                  </a:cubicBezTo>
                  <a:cubicBezTo>
                    <a:pt x="475" y="1283"/>
                    <a:pt x="614" y="1143"/>
                    <a:pt x="614" y="948"/>
                  </a:cubicBezTo>
                  <a:lnTo>
                    <a:pt x="614" y="335"/>
                  </a:lnTo>
                  <a:cubicBezTo>
                    <a:pt x="614" y="140"/>
                    <a:pt x="475" y="1"/>
                    <a:pt x="30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48" name="Google Shape;7948;p76"/>
            <p:cNvSpPr/>
            <p:nvPr/>
          </p:nvSpPr>
          <p:spPr>
            <a:xfrm>
              <a:off x="4852175" y="2948775"/>
              <a:ext cx="16050" cy="31400"/>
            </a:xfrm>
            <a:custGeom>
              <a:avLst/>
              <a:gdLst/>
              <a:ahLst/>
              <a:cxnLst/>
              <a:rect l="l" t="t" r="r" b="b"/>
              <a:pathLst>
                <a:path w="642" h="1256" extrusionOk="0">
                  <a:moveTo>
                    <a:pt x="335" y="1"/>
                  </a:moveTo>
                  <a:cubicBezTo>
                    <a:pt x="140" y="1"/>
                    <a:pt x="1" y="140"/>
                    <a:pt x="1" y="307"/>
                  </a:cubicBezTo>
                  <a:lnTo>
                    <a:pt x="1" y="948"/>
                  </a:lnTo>
                  <a:cubicBezTo>
                    <a:pt x="1" y="1116"/>
                    <a:pt x="140" y="1255"/>
                    <a:pt x="335" y="1255"/>
                  </a:cubicBezTo>
                  <a:cubicBezTo>
                    <a:pt x="502" y="1255"/>
                    <a:pt x="642" y="1116"/>
                    <a:pt x="642" y="948"/>
                  </a:cubicBezTo>
                  <a:lnTo>
                    <a:pt x="642" y="307"/>
                  </a:lnTo>
                  <a:cubicBezTo>
                    <a:pt x="642" y="140"/>
                    <a:pt x="502" y="1"/>
                    <a:pt x="33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49" name="Google Shape;7949;p76"/>
          <p:cNvGrpSpPr/>
          <p:nvPr/>
        </p:nvGrpSpPr>
        <p:grpSpPr>
          <a:xfrm>
            <a:off x="5854432" y="2245160"/>
            <a:ext cx="519233" cy="623763"/>
            <a:chOff x="4459350" y="2882125"/>
            <a:chExt cx="228375" cy="274350"/>
          </a:xfrm>
        </p:grpSpPr>
        <p:sp>
          <p:nvSpPr>
            <p:cNvPr id="7950" name="Google Shape;7950;p76"/>
            <p:cNvSpPr/>
            <p:nvPr/>
          </p:nvSpPr>
          <p:spPr>
            <a:xfrm>
              <a:off x="4537175" y="3045650"/>
              <a:ext cx="15375" cy="15350"/>
            </a:xfrm>
            <a:custGeom>
              <a:avLst/>
              <a:gdLst/>
              <a:ahLst/>
              <a:cxnLst/>
              <a:rect l="l" t="t" r="r" b="b"/>
              <a:pathLst>
                <a:path w="615" h="614" extrusionOk="0">
                  <a:moveTo>
                    <a:pt x="308" y="0"/>
                  </a:moveTo>
                  <a:cubicBezTo>
                    <a:pt x="140" y="0"/>
                    <a:pt x="1" y="140"/>
                    <a:pt x="1" y="307"/>
                  </a:cubicBezTo>
                  <a:cubicBezTo>
                    <a:pt x="1" y="474"/>
                    <a:pt x="140" y="614"/>
                    <a:pt x="308" y="614"/>
                  </a:cubicBezTo>
                  <a:cubicBezTo>
                    <a:pt x="475" y="614"/>
                    <a:pt x="614" y="474"/>
                    <a:pt x="614" y="307"/>
                  </a:cubicBezTo>
                  <a:cubicBezTo>
                    <a:pt x="614" y="140"/>
                    <a:pt x="475" y="0"/>
                    <a:pt x="3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51" name="Google Shape;7951;p76"/>
            <p:cNvSpPr/>
            <p:nvPr/>
          </p:nvSpPr>
          <p:spPr>
            <a:xfrm>
              <a:off x="4599900" y="3045650"/>
              <a:ext cx="15350" cy="15350"/>
            </a:xfrm>
            <a:custGeom>
              <a:avLst/>
              <a:gdLst/>
              <a:ahLst/>
              <a:cxnLst/>
              <a:rect l="l" t="t" r="r" b="b"/>
              <a:pathLst>
                <a:path w="614" h="614" extrusionOk="0">
                  <a:moveTo>
                    <a:pt x="307" y="0"/>
                  </a:moveTo>
                  <a:cubicBezTo>
                    <a:pt x="140" y="0"/>
                    <a:pt x="1" y="140"/>
                    <a:pt x="1" y="307"/>
                  </a:cubicBezTo>
                  <a:cubicBezTo>
                    <a:pt x="1" y="474"/>
                    <a:pt x="140" y="614"/>
                    <a:pt x="307" y="614"/>
                  </a:cubicBezTo>
                  <a:cubicBezTo>
                    <a:pt x="475" y="614"/>
                    <a:pt x="614" y="474"/>
                    <a:pt x="614" y="307"/>
                  </a:cubicBezTo>
                  <a:cubicBezTo>
                    <a:pt x="614" y="140"/>
                    <a:pt x="475" y="0"/>
                    <a:pt x="3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52" name="Google Shape;7952;p76"/>
            <p:cNvSpPr/>
            <p:nvPr/>
          </p:nvSpPr>
          <p:spPr>
            <a:xfrm>
              <a:off x="446470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53" name="Google Shape;7953;p76"/>
            <p:cNvSpPr/>
            <p:nvPr/>
          </p:nvSpPr>
          <p:spPr>
            <a:xfrm flipH="1">
              <a:off x="4459350" y="2886250"/>
              <a:ext cx="223025" cy="270225"/>
            </a:xfrm>
            <a:custGeom>
              <a:avLst/>
              <a:gdLst/>
              <a:ahLst/>
              <a:cxnLst/>
              <a:rect l="l" t="t" r="r" b="b"/>
              <a:pathLst>
                <a:path w="8921" h="10809" extrusionOk="0">
                  <a:moveTo>
                    <a:pt x="921" y="773"/>
                  </a:moveTo>
                  <a:cubicBezTo>
                    <a:pt x="1757" y="1219"/>
                    <a:pt x="2398" y="1916"/>
                    <a:pt x="2788" y="2808"/>
                  </a:cubicBezTo>
                  <a:cubicBezTo>
                    <a:pt x="2900" y="3059"/>
                    <a:pt x="2956" y="3310"/>
                    <a:pt x="3039" y="3589"/>
                  </a:cubicBezTo>
                  <a:cubicBezTo>
                    <a:pt x="2538" y="3868"/>
                    <a:pt x="2175" y="4314"/>
                    <a:pt x="1924" y="4843"/>
                  </a:cubicBezTo>
                  <a:cubicBezTo>
                    <a:pt x="1534" y="4481"/>
                    <a:pt x="1255" y="4035"/>
                    <a:pt x="1060" y="3561"/>
                  </a:cubicBezTo>
                  <a:cubicBezTo>
                    <a:pt x="670" y="2641"/>
                    <a:pt x="642" y="1665"/>
                    <a:pt x="921" y="773"/>
                  </a:cubicBezTo>
                  <a:close/>
                  <a:moveTo>
                    <a:pt x="8029" y="773"/>
                  </a:moveTo>
                  <a:lnTo>
                    <a:pt x="8029" y="773"/>
                  </a:lnTo>
                  <a:cubicBezTo>
                    <a:pt x="8308" y="1665"/>
                    <a:pt x="8252" y="2641"/>
                    <a:pt x="7890" y="3561"/>
                  </a:cubicBezTo>
                  <a:cubicBezTo>
                    <a:pt x="7667" y="4035"/>
                    <a:pt x="7388" y="4481"/>
                    <a:pt x="6998" y="4843"/>
                  </a:cubicBezTo>
                  <a:cubicBezTo>
                    <a:pt x="6775" y="4314"/>
                    <a:pt x="6356" y="3868"/>
                    <a:pt x="5883" y="3589"/>
                  </a:cubicBezTo>
                  <a:cubicBezTo>
                    <a:pt x="5966" y="3310"/>
                    <a:pt x="6022" y="3031"/>
                    <a:pt x="6133" y="2808"/>
                  </a:cubicBezTo>
                  <a:cubicBezTo>
                    <a:pt x="6496" y="1944"/>
                    <a:pt x="7137" y="1219"/>
                    <a:pt x="8029" y="773"/>
                  </a:cubicBezTo>
                  <a:close/>
                  <a:moveTo>
                    <a:pt x="4545" y="3840"/>
                  </a:moveTo>
                  <a:cubicBezTo>
                    <a:pt x="5660" y="3923"/>
                    <a:pt x="6524" y="4983"/>
                    <a:pt x="6524" y="6153"/>
                  </a:cubicBezTo>
                  <a:lnTo>
                    <a:pt x="6524" y="6265"/>
                  </a:lnTo>
                  <a:cubicBezTo>
                    <a:pt x="6524" y="6655"/>
                    <a:pt x="6663" y="6990"/>
                    <a:pt x="6942" y="7352"/>
                  </a:cubicBezTo>
                  <a:cubicBezTo>
                    <a:pt x="7081" y="7547"/>
                    <a:pt x="7165" y="7742"/>
                    <a:pt x="7165" y="7937"/>
                  </a:cubicBezTo>
                  <a:cubicBezTo>
                    <a:pt x="7276" y="8300"/>
                    <a:pt x="7053" y="8662"/>
                    <a:pt x="6635" y="8941"/>
                  </a:cubicBezTo>
                  <a:cubicBezTo>
                    <a:pt x="6579" y="8774"/>
                    <a:pt x="6496" y="8578"/>
                    <a:pt x="6356" y="8383"/>
                  </a:cubicBezTo>
                  <a:cubicBezTo>
                    <a:pt x="6291" y="8302"/>
                    <a:pt x="6189" y="8259"/>
                    <a:pt x="6087" y="8259"/>
                  </a:cubicBezTo>
                  <a:cubicBezTo>
                    <a:pt x="6014" y="8259"/>
                    <a:pt x="5941" y="8281"/>
                    <a:pt x="5883" y="8328"/>
                  </a:cubicBezTo>
                  <a:cubicBezTo>
                    <a:pt x="5743" y="8439"/>
                    <a:pt x="5715" y="8634"/>
                    <a:pt x="5827" y="8774"/>
                  </a:cubicBezTo>
                  <a:cubicBezTo>
                    <a:pt x="5994" y="9024"/>
                    <a:pt x="6022" y="9275"/>
                    <a:pt x="5938" y="9470"/>
                  </a:cubicBezTo>
                  <a:cubicBezTo>
                    <a:pt x="5827" y="9693"/>
                    <a:pt x="5604" y="9861"/>
                    <a:pt x="5297" y="10000"/>
                  </a:cubicBezTo>
                  <a:lnTo>
                    <a:pt x="4712" y="9136"/>
                  </a:lnTo>
                  <a:lnTo>
                    <a:pt x="4712" y="8718"/>
                  </a:lnTo>
                  <a:lnTo>
                    <a:pt x="5241" y="8188"/>
                  </a:lnTo>
                  <a:cubicBezTo>
                    <a:pt x="5381" y="8049"/>
                    <a:pt x="5381" y="7882"/>
                    <a:pt x="5241" y="7742"/>
                  </a:cubicBezTo>
                  <a:cubicBezTo>
                    <a:pt x="5172" y="7673"/>
                    <a:pt x="5088" y="7638"/>
                    <a:pt x="5005" y="7638"/>
                  </a:cubicBezTo>
                  <a:cubicBezTo>
                    <a:pt x="4921" y="7638"/>
                    <a:pt x="4837" y="7673"/>
                    <a:pt x="4768" y="7742"/>
                  </a:cubicBezTo>
                  <a:lnTo>
                    <a:pt x="4349" y="8160"/>
                  </a:lnTo>
                  <a:lnTo>
                    <a:pt x="3931" y="7742"/>
                  </a:lnTo>
                  <a:cubicBezTo>
                    <a:pt x="3862" y="7673"/>
                    <a:pt x="3785" y="7638"/>
                    <a:pt x="3708" y="7638"/>
                  </a:cubicBezTo>
                  <a:cubicBezTo>
                    <a:pt x="3632" y="7638"/>
                    <a:pt x="3555" y="7673"/>
                    <a:pt x="3485" y="7742"/>
                  </a:cubicBezTo>
                  <a:cubicBezTo>
                    <a:pt x="3346" y="7882"/>
                    <a:pt x="3346" y="8049"/>
                    <a:pt x="3485" y="8188"/>
                  </a:cubicBezTo>
                  <a:lnTo>
                    <a:pt x="4015" y="8718"/>
                  </a:lnTo>
                  <a:lnTo>
                    <a:pt x="4015" y="9136"/>
                  </a:lnTo>
                  <a:lnTo>
                    <a:pt x="3430" y="10000"/>
                  </a:lnTo>
                  <a:cubicBezTo>
                    <a:pt x="3151" y="9889"/>
                    <a:pt x="2900" y="9693"/>
                    <a:pt x="2788" y="9470"/>
                  </a:cubicBezTo>
                  <a:cubicBezTo>
                    <a:pt x="2677" y="9275"/>
                    <a:pt x="2733" y="9024"/>
                    <a:pt x="2900" y="8774"/>
                  </a:cubicBezTo>
                  <a:cubicBezTo>
                    <a:pt x="3011" y="8634"/>
                    <a:pt x="2956" y="8439"/>
                    <a:pt x="2816" y="8328"/>
                  </a:cubicBezTo>
                  <a:cubicBezTo>
                    <a:pt x="2758" y="8281"/>
                    <a:pt x="2690" y="8259"/>
                    <a:pt x="2623" y="8259"/>
                  </a:cubicBezTo>
                  <a:cubicBezTo>
                    <a:pt x="2529" y="8259"/>
                    <a:pt x="2435" y="8302"/>
                    <a:pt x="2370" y="8383"/>
                  </a:cubicBezTo>
                  <a:cubicBezTo>
                    <a:pt x="2231" y="8578"/>
                    <a:pt x="2175" y="8774"/>
                    <a:pt x="2092" y="8941"/>
                  </a:cubicBezTo>
                  <a:cubicBezTo>
                    <a:pt x="1673" y="8662"/>
                    <a:pt x="1423" y="8328"/>
                    <a:pt x="1423" y="7937"/>
                  </a:cubicBezTo>
                  <a:cubicBezTo>
                    <a:pt x="1423" y="7742"/>
                    <a:pt x="1506" y="7519"/>
                    <a:pt x="1673" y="7352"/>
                  </a:cubicBezTo>
                  <a:cubicBezTo>
                    <a:pt x="1952" y="6990"/>
                    <a:pt x="2092" y="6655"/>
                    <a:pt x="2092" y="6265"/>
                  </a:cubicBezTo>
                  <a:lnTo>
                    <a:pt x="2092" y="6153"/>
                  </a:lnTo>
                  <a:cubicBezTo>
                    <a:pt x="2092" y="4983"/>
                    <a:pt x="2956" y="3923"/>
                    <a:pt x="4071" y="3840"/>
                  </a:cubicBezTo>
                  <a:close/>
                  <a:moveTo>
                    <a:pt x="4461" y="9749"/>
                  </a:moveTo>
                  <a:lnTo>
                    <a:pt x="4712" y="10139"/>
                  </a:lnTo>
                  <a:lnTo>
                    <a:pt x="4461" y="10139"/>
                  </a:lnTo>
                  <a:cubicBezTo>
                    <a:pt x="4405" y="10153"/>
                    <a:pt x="4363" y="10160"/>
                    <a:pt x="4325" y="10160"/>
                  </a:cubicBezTo>
                  <a:cubicBezTo>
                    <a:pt x="4287" y="10160"/>
                    <a:pt x="4252" y="10153"/>
                    <a:pt x="4210" y="10139"/>
                  </a:cubicBezTo>
                  <a:lnTo>
                    <a:pt x="4461" y="9749"/>
                  </a:lnTo>
                  <a:close/>
                  <a:moveTo>
                    <a:pt x="744" y="0"/>
                  </a:moveTo>
                  <a:cubicBezTo>
                    <a:pt x="622" y="0"/>
                    <a:pt x="510" y="68"/>
                    <a:pt x="447" y="216"/>
                  </a:cubicBezTo>
                  <a:cubicBezTo>
                    <a:pt x="1" y="1359"/>
                    <a:pt x="1" y="2641"/>
                    <a:pt x="503" y="3784"/>
                  </a:cubicBezTo>
                  <a:cubicBezTo>
                    <a:pt x="781" y="4453"/>
                    <a:pt x="1200" y="5038"/>
                    <a:pt x="1701" y="5512"/>
                  </a:cubicBezTo>
                  <a:cubicBezTo>
                    <a:pt x="1646" y="5847"/>
                    <a:pt x="1646" y="6098"/>
                    <a:pt x="1646" y="6265"/>
                  </a:cubicBezTo>
                  <a:cubicBezTo>
                    <a:pt x="1646" y="6516"/>
                    <a:pt x="1534" y="6711"/>
                    <a:pt x="1367" y="6962"/>
                  </a:cubicBezTo>
                  <a:cubicBezTo>
                    <a:pt x="1116" y="7268"/>
                    <a:pt x="1004" y="7603"/>
                    <a:pt x="1004" y="7937"/>
                  </a:cubicBezTo>
                  <a:cubicBezTo>
                    <a:pt x="1004" y="8746"/>
                    <a:pt x="1646" y="9359"/>
                    <a:pt x="2370" y="9721"/>
                  </a:cubicBezTo>
                  <a:cubicBezTo>
                    <a:pt x="2677" y="10390"/>
                    <a:pt x="3569" y="10809"/>
                    <a:pt x="4461" y="10809"/>
                  </a:cubicBezTo>
                  <a:cubicBezTo>
                    <a:pt x="5381" y="10809"/>
                    <a:pt x="6217" y="10418"/>
                    <a:pt x="6552" y="9749"/>
                  </a:cubicBezTo>
                  <a:cubicBezTo>
                    <a:pt x="6552" y="9749"/>
                    <a:pt x="6552" y="9721"/>
                    <a:pt x="6579" y="9721"/>
                  </a:cubicBezTo>
                  <a:cubicBezTo>
                    <a:pt x="7332" y="9359"/>
                    <a:pt x="7945" y="8746"/>
                    <a:pt x="7945" y="7937"/>
                  </a:cubicBezTo>
                  <a:cubicBezTo>
                    <a:pt x="7945" y="7603"/>
                    <a:pt x="7834" y="7268"/>
                    <a:pt x="7611" y="6962"/>
                  </a:cubicBezTo>
                  <a:cubicBezTo>
                    <a:pt x="7416" y="6711"/>
                    <a:pt x="7332" y="6516"/>
                    <a:pt x="7332" y="6265"/>
                  </a:cubicBezTo>
                  <a:cubicBezTo>
                    <a:pt x="7332" y="6125"/>
                    <a:pt x="7332" y="5847"/>
                    <a:pt x="7248" y="5512"/>
                  </a:cubicBezTo>
                  <a:cubicBezTo>
                    <a:pt x="7750" y="5038"/>
                    <a:pt x="8168" y="4453"/>
                    <a:pt x="8447" y="3784"/>
                  </a:cubicBezTo>
                  <a:cubicBezTo>
                    <a:pt x="8921" y="2641"/>
                    <a:pt x="8921" y="1359"/>
                    <a:pt x="8475" y="216"/>
                  </a:cubicBezTo>
                  <a:cubicBezTo>
                    <a:pt x="8412" y="68"/>
                    <a:pt x="8300" y="0"/>
                    <a:pt x="8177" y="0"/>
                  </a:cubicBezTo>
                  <a:cubicBezTo>
                    <a:pt x="8138" y="0"/>
                    <a:pt x="8097" y="7"/>
                    <a:pt x="8057" y="21"/>
                  </a:cubicBezTo>
                  <a:cubicBezTo>
                    <a:pt x="6914" y="523"/>
                    <a:pt x="5994" y="1415"/>
                    <a:pt x="5548" y="2530"/>
                  </a:cubicBezTo>
                  <a:cubicBezTo>
                    <a:pt x="5437" y="2780"/>
                    <a:pt x="5381" y="3031"/>
                    <a:pt x="5297" y="3310"/>
                  </a:cubicBezTo>
                  <a:cubicBezTo>
                    <a:pt x="5130" y="3226"/>
                    <a:pt x="4963" y="3199"/>
                    <a:pt x="4740" y="3199"/>
                  </a:cubicBezTo>
                  <a:cubicBezTo>
                    <a:pt x="4656" y="3185"/>
                    <a:pt x="4558" y="3178"/>
                    <a:pt x="4461" y="3178"/>
                  </a:cubicBezTo>
                  <a:cubicBezTo>
                    <a:pt x="4363" y="3178"/>
                    <a:pt x="4266" y="3185"/>
                    <a:pt x="4182" y="3199"/>
                  </a:cubicBezTo>
                  <a:cubicBezTo>
                    <a:pt x="4015" y="3226"/>
                    <a:pt x="3792" y="3254"/>
                    <a:pt x="3625" y="3310"/>
                  </a:cubicBezTo>
                  <a:cubicBezTo>
                    <a:pt x="3569" y="3031"/>
                    <a:pt x="3485" y="2780"/>
                    <a:pt x="3374" y="2530"/>
                  </a:cubicBezTo>
                  <a:cubicBezTo>
                    <a:pt x="2928" y="1387"/>
                    <a:pt x="2036" y="523"/>
                    <a:pt x="865" y="21"/>
                  </a:cubicBezTo>
                  <a:cubicBezTo>
                    <a:pt x="824" y="7"/>
                    <a:pt x="784" y="0"/>
                    <a:pt x="74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54" name="Google Shape;7954;p76"/>
            <p:cNvSpPr/>
            <p:nvPr/>
          </p:nvSpPr>
          <p:spPr>
            <a:xfrm rot="-537108">
              <a:off x="4468759"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sp>
        <p:sp>
          <p:nvSpPr>
            <p:cNvPr id="7955" name="Google Shape;7955;p76"/>
            <p:cNvSpPr/>
            <p:nvPr/>
          </p:nvSpPr>
          <p:spPr>
            <a:xfrm rot="537108" flipH="1">
              <a:off x="4653897" y="2883937"/>
              <a:ext cx="24732" cy="18476"/>
            </a:xfrm>
            <a:custGeom>
              <a:avLst/>
              <a:gdLst/>
              <a:ahLst/>
              <a:cxnLst/>
              <a:rect l="l" t="t" r="r" b="b"/>
              <a:pathLst>
                <a:path w="1081" h="721" extrusionOk="0">
                  <a:moveTo>
                    <a:pt x="17" y="657"/>
                  </a:moveTo>
                  <a:cubicBezTo>
                    <a:pt x="-46" y="550"/>
                    <a:pt x="128" y="70"/>
                    <a:pt x="303" y="14"/>
                  </a:cubicBezTo>
                  <a:cubicBezTo>
                    <a:pt x="478" y="-41"/>
                    <a:pt x="1002" y="217"/>
                    <a:pt x="1065" y="324"/>
                  </a:cubicBezTo>
                  <a:cubicBezTo>
                    <a:pt x="1129" y="431"/>
                    <a:pt x="859" y="602"/>
                    <a:pt x="684" y="657"/>
                  </a:cubicBezTo>
                  <a:cubicBezTo>
                    <a:pt x="509" y="713"/>
                    <a:pt x="81" y="764"/>
                    <a:pt x="17" y="657"/>
                  </a:cubicBezTo>
                  <a:close/>
                </a:path>
              </a:pathLst>
            </a:custGeom>
            <a:solidFill>
              <a:srgbClr val="5F7D95"/>
            </a:solidFill>
            <a:ln>
              <a:noFill/>
            </a:ln>
          </p:spPr>
        </p:sp>
      </p:grpSp>
      <p:sp>
        <p:nvSpPr>
          <p:cNvPr id="7956" name="Google Shape;7956;p76"/>
          <p:cNvSpPr txBox="1"/>
          <p:nvPr/>
        </p:nvSpPr>
        <p:spPr>
          <a:xfrm>
            <a:off x="1627333" y="1447800"/>
            <a:ext cx="9396400" cy="64320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n" sz="3200" kern="0">
                <a:solidFill>
                  <a:srgbClr val="FFFFFF"/>
                </a:solidFill>
                <a:latin typeface="Arial"/>
                <a:cs typeface="Arial"/>
                <a:sym typeface="Arial"/>
              </a:rPr>
              <a:t>Nature Icons</a:t>
            </a:r>
            <a:endParaRPr sz="3200" kern="0">
              <a:solidFill>
                <a:srgbClr val="FFFFFF"/>
              </a:solidFill>
              <a:latin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E2A47"/>
        </a:solidFill>
        <a:effectLst/>
      </p:bgPr>
    </p:bg>
    <p:spTree>
      <p:nvGrpSpPr>
        <p:cNvPr id="1" name="Shape 7960"/>
        <p:cNvGrpSpPr/>
        <p:nvPr/>
      </p:nvGrpSpPr>
      <p:grpSpPr>
        <a:xfrm>
          <a:off x="0" y="0"/>
          <a:ext cx="0" cy="0"/>
          <a:chOff x="0" y="0"/>
          <a:chExt cx="0" cy="0"/>
        </a:xfrm>
      </p:grpSpPr>
      <p:sp>
        <p:nvSpPr>
          <p:cNvPr id="7961" name="Google Shape;7961;p77"/>
          <p:cNvSpPr txBox="1">
            <a:spLocks noGrp="1"/>
          </p:cNvSpPr>
          <p:nvPr>
            <p:ph type="title" idx="4294967295"/>
          </p:nvPr>
        </p:nvSpPr>
        <p:spPr>
          <a:xfrm>
            <a:off x="1424133" y="1244600"/>
            <a:ext cx="9396400" cy="643200"/>
          </a:xfrm>
          <a:prstGeom prst="rect">
            <a:avLst/>
          </a:prstGeom>
        </p:spPr>
        <p:txBody>
          <a:bodyPr spcFirstLastPara="1" wrap="square" lIns="121900" tIns="121900" rIns="121900" bIns="121900" anchor="t" anchorCtr="0">
            <a:noAutofit/>
          </a:bodyPr>
          <a:lstStyle/>
          <a:p>
            <a:pPr>
              <a:buClr>
                <a:srgbClr val="000000"/>
              </a:buClr>
              <a:buSzPts val="1100"/>
            </a:pPr>
            <a:r>
              <a:rPr lang="en">
                <a:solidFill>
                  <a:srgbClr val="FFFFFF"/>
                </a:solidFill>
                <a:latin typeface="Arial"/>
                <a:ea typeface="Arial"/>
                <a:cs typeface="Arial"/>
                <a:sym typeface="Arial"/>
              </a:rPr>
              <a:t>SEO &amp; Marketing Icons</a:t>
            </a:r>
            <a:endParaRPr>
              <a:solidFill>
                <a:srgbClr val="FFFFFF"/>
              </a:solidFill>
              <a:latin typeface="Arial"/>
              <a:ea typeface="Arial"/>
              <a:cs typeface="Arial"/>
              <a:sym typeface="Arial"/>
            </a:endParaRPr>
          </a:p>
        </p:txBody>
      </p:sp>
      <p:sp>
        <p:nvSpPr>
          <p:cNvPr id="7962" name="Google Shape;7962;p77"/>
          <p:cNvSpPr/>
          <p:nvPr/>
        </p:nvSpPr>
        <p:spPr>
          <a:xfrm>
            <a:off x="1125467" y="2173519"/>
            <a:ext cx="577712" cy="563708"/>
          </a:xfrm>
          <a:custGeom>
            <a:avLst/>
            <a:gdLst/>
            <a:ahLst/>
            <a:cxnLst/>
            <a:rect l="l" t="t" r="r" b="b"/>
            <a:pathLst>
              <a:path w="12004" h="11713" extrusionOk="0">
                <a:moveTo>
                  <a:pt x="8633" y="2088"/>
                </a:moveTo>
                <a:cubicBezTo>
                  <a:pt x="8900" y="2088"/>
                  <a:pt x="9168" y="2182"/>
                  <a:pt x="9357" y="2371"/>
                </a:cubicBezTo>
                <a:cubicBezTo>
                  <a:pt x="9767" y="2781"/>
                  <a:pt x="9767" y="3442"/>
                  <a:pt x="9357" y="3820"/>
                </a:cubicBezTo>
                <a:lnTo>
                  <a:pt x="8128" y="5018"/>
                </a:lnTo>
                <a:cubicBezTo>
                  <a:pt x="7939" y="4702"/>
                  <a:pt x="7750" y="4419"/>
                  <a:pt x="7498" y="4135"/>
                </a:cubicBezTo>
                <a:cubicBezTo>
                  <a:pt x="7278" y="3915"/>
                  <a:pt x="6994" y="3726"/>
                  <a:pt x="6679" y="3568"/>
                </a:cubicBezTo>
                <a:lnTo>
                  <a:pt x="7908" y="2371"/>
                </a:lnTo>
                <a:cubicBezTo>
                  <a:pt x="8097" y="2182"/>
                  <a:pt x="8365" y="2088"/>
                  <a:pt x="8633" y="2088"/>
                </a:cubicBezTo>
                <a:close/>
                <a:moveTo>
                  <a:pt x="5230" y="5333"/>
                </a:moveTo>
                <a:cubicBezTo>
                  <a:pt x="5514" y="5333"/>
                  <a:pt x="5829" y="5396"/>
                  <a:pt x="6018" y="5648"/>
                </a:cubicBezTo>
                <a:cubicBezTo>
                  <a:pt x="6207" y="5837"/>
                  <a:pt x="6333" y="6120"/>
                  <a:pt x="6333" y="6435"/>
                </a:cubicBezTo>
                <a:cubicBezTo>
                  <a:pt x="6049" y="6435"/>
                  <a:pt x="5766" y="6309"/>
                  <a:pt x="5545" y="6120"/>
                </a:cubicBezTo>
                <a:cubicBezTo>
                  <a:pt x="5356" y="5931"/>
                  <a:pt x="5230" y="5648"/>
                  <a:pt x="5230" y="5333"/>
                </a:cubicBezTo>
                <a:close/>
                <a:moveTo>
                  <a:pt x="8617" y="717"/>
                </a:moveTo>
                <a:cubicBezTo>
                  <a:pt x="9223" y="717"/>
                  <a:pt x="9830" y="953"/>
                  <a:pt x="10302" y="1426"/>
                </a:cubicBezTo>
                <a:cubicBezTo>
                  <a:pt x="11247" y="2340"/>
                  <a:pt x="11247" y="3883"/>
                  <a:pt x="10302" y="4828"/>
                </a:cubicBezTo>
                <a:lnTo>
                  <a:pt x="8381" y="6719"/>
                </a:lnTo>
                <a:cubicBezTo>
                  <a:pt x="8412" y="6404"/>
                  <a:pt x="8412" y="6089"/>
                  <a:pt x="8349" y="5774"/>
                </a:cubicBezTo>
                <a:lnTo>
                  <a:pt x="9798" y="4356"/>
                </a:lnTo>
                <a:cubicBezTo>
                  <a:pt x="10460" y="3663"/>
                  <a:pt x="10460" y="2560"/>
                  <a:pt x="9798" y="1930"/>
                </a:cubicBezTo>
                <a:cubicBezTo>
                  <a:pt x="9467" y="1599"/>
                  <a:pt x="9034" y="1434"/>
                  <a:pt x="8601" y="1434"/>
                </a:cubicBezTo>
                <a:cubicBezTo>
                  <a:pt x="8168" y="1434"/>
                  <a:pt x="7735" y="1599"/>
                  <a:pt x="7404" y="1930"/>
                </a:cubicBezTo>
                <a:cubicBezTo>
                  <a:pt x="7309" y="2025"/>
                  <a:pt x="5356" y="3946"/>
                  <a:pt x="5073" y="4230"/>
                </a:cubicBezTo>
                <a:cubicBezTo>
                  <a:pt x="4411" y="4892"/>
                  <a:pt x="4411" y="5963"/>
                  <a:pt x="5073" y="6624"/>
                </a:cubicBezTo>
                <a:cubicBezTo>
                  <a:pt x="5356" y="6908"/>
                  <a:pt x="5671" y="7065"/>
                  <a:pt x="6049" y="7097"/>
                </a:cubicBezTo>
                <a:lnTo>
                  <a:pt x="5514" y="7664"/>
                </a:lnTo>
                <a:cubicBezTo>
                  <a:pt x="5167" y="7538"/>
                  <a:pt x="4883" y="7349"/>
                  <a:pt x="4600" y="7097"/>
                </a:cubicBezTo>
                <a:cubicBezTo>
                  <a:pt x="3655" y="6152"/>
                  <a:pt x="3655" y="4671"/>
                  <a:pt x="4600" y="3726"/>
                </a:cubicBezTo>
                <a:lnTo>
                  <a:pt x="6931" y="1426"/>
                </a:lnTo>
                <a:cubicBezTo>
                  <a:pt x="7404" y="953"/>
                  <a:pt x="8010" y="717"/>
                  <a:pt x="8617" y="717"/>
                </a:cubicBezTo>
                <a:close/>
                <a:moveTo>
                  <a:pt x="3497" y="6719"/>
                </a:moveTo>
                <a:cubicBezTo>
                  <a:pt x="3655" y="7034"/>
                  <a:pt x="3844" y="7286"/>
                  <a:pt x="4127" y="7569"/>
                </a:cubicBezTo>
                <a:cubicBezTo>
                  <a:pt x="4348" y="7821"/>
                  <a:pt x="4663" y="8042"/>
                  <a:pt x="4978" y="8168"/>
                </a:cubicBezTo>
                <a:lnTo>
                  <a:pt x="3812" y="9334"/>
                </a:lnTo>
                <a:cubicBezTo>
                  <a:pt x="3608" y="9538"/>
                  <a:pt x="3340" y="9641"/>
                  <a:pt x="3076" y="9641"/>
                </a:cubicBezTo>
                <a:cubicBezTo>
                  <a:pt x="2812" y="9641"/>
                  <a:pt x="2552" y="9538"/>
                  <a:pt x="2363" y="9334"/>
                </a:cubicBezTo>
                <a:cubicBezTo>
                  <a:pt x="1954" y="8956"/>
                  <a:pt x="1954" y="8294"/>
                  <a:pt x="2363" y="7884"/>
                </a:cubicBezTo>
                <a:lnTo>
                  <a:pt x="3497" y="6719"/>
                </a:lnTo>
                <a:close/>
                <a:moveTo>
                  <a:pt x="6112" y="4135"/>
                </a:moveTo>
                <a:cubicBezTo>
                  <a:pt x="6396" y="4261"/>
                  <a:pt x="6742" y="4450"/>
                  <a:pt x="6963" y="4702"/>
                </a:cubicBezTo>
                <a:cubicBezTo>
                  <a:pt x="7908" y="5648"/>
                  <a:pt x="7908" y="7128"/>
                  <a:pt x="6963" y="8073"/>
                </a:cubicBezTo>
                <a:lnTo>
                  <a:pt x="4757" y="10342"/>
                </a:lnTo>
                <a:cubicBezTo>
                  <a:pt x="4285" y="10814"/>
                  <a:pt x="3671" y="11051"/>
                  <a:pt x="3056" y="11051"/>
                </a:cubicBezTo>
                <a:cubicBezTo>
                  <a:pt x="2442" y="11051"/>
                  <a:pt x="1828" y="10814"/>
                  <a:pt x="1355" y="10342"/>
                </a:cubicBezTo>
                <a:cubicBezTo>
                  <a:pt x="945" y="9901"/>
                  <a:pt x="662" y="9271"/>
                  <a:pt x="662" y="8641"/>
                </a:cubicBezTo>
                <a:cubicBezTo>
                  <a:pt x="662" y="8010"/>
                  <a:pt x="882" y="7380"/>
                  <a:pt x="1355" y="6939"/>
                </a:cubicBezTo>
                <a:lnTo>
                  <a:pt x="3214" y="5081"/>
                </a:lnTo>
                <a:lnTo>
                  <a:pt x="3214" y="5081"/>
                </a:lnTo>
                <a:cubicBezTo>
                  <a:pt x="3182" y="5396"/>
                  <a:pt x="3214" y="5679"/>
                  <a:pt x="3245" y="5994"/>
                </a:cubicBezTo>
                <a:lnTo>
                  <a:pt x="1828" y="7443"/>
                </a:lnTo>
                <a:cubicBezTo>
                  <a:pt x="1166" y="8105"/>
                  <a:pt x="1166" y="9176"/>
                  <a:pt x="1828" y="9838"/>
                </a:cubicBezTo>
                <a:cubicBezTo>
                  <a:pt x="2174" y="10184"/>
                  <a:pt x="2623" y="10358"/>
                  <a:pt x="3064" y="10358"/>
                </a:cubicBezTo>
                <a:cubicBezTo>
                  <a:pt x="3505" y="10358"/>
                  <a:pt x="3938" y="10184"/>
                  <a:pt x="4253" y="9838"/>
                </a:cubicBezTo>
                <a:lnTo>
                  <a:pt x="6490" y="7569"/>
                </a:lnTo>
                <a:cubicBezTo>
                  <a:pt x="7152" y="6908"/>
                  <a:pt x="7152" y="5837"/>
                  <a:pt x="6490" y="5175"/>
                </a:cubicBezTo>
                <a:cubicBezTo>
                  <a:pt x="6207" y="4892"/>
                  <a:pt x="5892" y="4734"/>
                  <a:pt x="5514" y="4702"/>
                </a:cubicBezTo>
                <a:lnTo>
                  <a:pt x="6112" y="4135"/>
                </a:lnTo>
                <a:close/>
                <a:moveTo>
                  <a:pt x="8585" y="0"/>
                </a:moveTo>
                <a:cubicBezTo>
                  <a:pt x="7798" y="0"/>
                  <a:pt x="7010" y="308"/>
                  <a:pt x="6396" y="922"/>
                </a:cubicBezTo>
                <a:lnTo>
                  <a:pt x="4096" y="3190"/>
                </a:lnTo>
                <a:lnTo>
                  <a:pt x="882" y="6467"/>
                </a:lnTo>
                <a:cubicBezTo>
                  <a:pt x="315" y="7065"/>
                  <a:pt x="0" y="7821"/>
                  <a:pt x="0" y="8641"/>
                </a:cubicBezTo>
                <a:cubicBezTo>
                  <a:pt x="0" y="9460"/>
                  <a:pt x="315" y="10247"/>
                  <a:pt x="882" y="10814"/>
                </a:cubicBezTo>
                <a:cubicBezTo>
                  <a:pt x="1497" y="11413"/>
                  <a:pt x="2284" y="11712"/>
                  <a:pt x="3072" y="11712"/>
                </a:cubicBezTo>
                <a:cubicBezTo>
                  <a:pt x="3860" y="11712"/>
                  <a:pt x="4647" y="11413"/>
                  <a:pt x="5262" y="10814"/>
                </a:cubicBezTo>
                <a:cubicBezTo>
                  <a:pt x="8034" y="8010"/>
                  <a:pt x="6837" y="9145"/>
                  <a:pt x="10775" y="5301"/>
                </a:cubicBezTo>
                <a:cubicBezTo>
                  <a:pt x="12004" y="4072"/>
                  <a:pt x="12004" y="2151"/>
                  <a:pt x="10775" y="922"/>
                </a:cubicBezTo>
                <a:cubicBezTo>
                  <a:pt x="10161" y="308"/>
                  <a:pt x="9373" y="0"/>
                  <a:pt x="858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63" name="Google Shape;7963;p77"/>
          <p:cNvGrpSpPr/>
          <p:nvPr/>
        </p:nvGrpSpPr>
        <p:grpSpPr>
          <a:xfrm>
            <a:off x="1129443" y="2853883"/>
            <a:ext cx="568616" cy="561061"/>
            <a:chOff x="-6713450" y="2397900"/>
            <a:chExt cx="295375" cy="291450"/>
          </a:xfrm>
        </p:grpSpPr>
        <p:sp>
          <p:nvSpPr>
            <p:cNvPr id="7964" name="Google Shape;7964;p77"/>
            <p:cNvSpPr/>
            <p:nvPr/>
          </p:nvSpPr>
          <p:spPr>
            <a:xfrm>
              <a:off x="-6628400" y="2465650"/>
              <a:ext cx="69350" cy="17350"/>
            </a:xfrm>
            <a:custGeom>
              <a:avLst/>
              <a:gdLst/>
              <a:ahLst/>
              <a:cxnLst/>
              <a:rect l="l" t="t" r="r" b="b"/>
              <a:pathLst>
                <a:path w="2774" h="694" extrusionOk="0">
                  <a:moveTo>
                    <a:pt x="379" y="0"/>
                  </a:moveTo>
                  <a:cubicBezTo>
                    <a:pt x="158" y="0"/>
                    <a:pt x="1" y="158"/>
                    <a:pt x="1" y="347"/>
                  </a:cubicBezTo>
                  <a:cubicBezTo>
                    <a:pt x="1" y="536"/>
                    <a:pt x="158" y="693"/>
                    <a:pt x="379" y="693"/>
                  </a:cubicBezTo>
                  <a:lnTo>
                    <a:pt x="2427" y="693"/>
                  </a:lnTo>
                  <a:cubicBezTo>
                    <a:pt x="2616" y="693"/>
                    <a:pt x="2773" y="536"/>
                    <a:pt x="2773" y="347"/>
                  </a:cubicBezTo>
                  <a:cubicBezTo>
                    <a:pt x="2773" y="158"/>
                    <a:pt x="2616" y="0"/>
                    <a:pt x="242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65" name="Google Shape;7965;p77"/>
            <p:cNvSpPr/>
            <p:nvPr/>
          </p:nvSpPr>
          <p:spPr>
            <a:xfrm>
              <a:off x="-6713450" y="2397900"/>
              <a:ext cx="295375" cy="291450"/>
            </a:xfrm>
            <a:custGeom>
              <a:avLst/>
              <a:gdLst/>
              <a:ahLst/>
              <a:cxnLst/>
              <a:rect l="l" t="t" r="r" b="b"/>
              <a:pathLst>
                <a:path w="11815" h="11658" extrusionOk="0">
                  <a:moveTo>
                    <a:pt x="2048" y="1167"/>
                  </a:moveTo>
                  <a:lnTo>
                    <a:pt x="2048" y="2017"/>
                  </a:lnTo>
                  <a:lnTo>
                    <a:pt x="1166" y="2017"/>
                  </a:lnTo>
                  <a:lnTo>
                    <a:pt x="2048" y="1167"/>
                  </a:lnTo>
                  <a:close/>
                  <a:moveTo>
                    <a:pt x="10330" y="2773"/>
                  </a:moveTo>
                  <a:cubicBezTo>
                    <a:pt x="10507" y="2773"/>
                    <a:pt x="10680" y="2836"/>
                    <a:pt x="10806" y="2962"/>
                  </a:cubicBezTo>
                  <a:cubicBezTo>
                    <a:pt x="11058" y="3246"/>
                    <a:pt x="11058" y="3687"/>
                    <a:pt x="10775" y="3908"/>
                  </a:cubicBezTo>
                  <a:lnTo>
                    <a:pt x="10176" y="4506"/>
                  </a:lnTo>
                  <a:lnTo>
                    <a:pt x="9231" y="3561"/>
                  </a:lnTo>
                  <a:lnTo>
                    <a:pt x="9830" y="2962"/>
                  </a:lnTo>
                  <a:cubicBezTo>
                    <a:pt x="9972" y="2836"/>
                    <a:pt x="10153" y="2773"/>
                    <a:pt x="10330" y="2773"/>
                  </a:cubicBezTo>
                  <a:close/>
                  <a:moveTo>
                    <a:pt x="8727" y="4034"/>
                  </a:moveTo>
                  <a:lnTo>
                    <a:pt x="9672" y="4979"/>
                  </a:lnTo>
                  <a:cubicBezTo>
                    <a:pt x="8538" y="6207"/>
                    <a:pt x="7026" y="7688"/>
                    <a:pt x="5892" y="8854"/>
                  </a:cubicBezTo>
                  <a:lnTo>
                    <a:pt x="4915" y="7846"/>
                  </a:lnTo>
                  <a:lnTo>
                    <a:pt x="8727" y="4034"/>
                  </a:lnTo>
                  <a:close/>
                  <a:moveTo>
                    <a:pt x="4600" y="8539"/>
                  </a:moveTo>
                  <a:lnTo>
                    <a:pt x="5230" y="9169"/>
                  </a:lnTo>
                  <a:lnTo>
                    <a:pt x="4285" y="9421"/>
                  </a:lnTo>
                  <a:cubicBezTo>
                    <a:pt x="4348" y="9232"/>
                    <a:pt x="4505" y="8728"/>
                    <a:pt x="4600" y="8539"/>
                  </a:cubicBezTo>
                  <a:close/>
                  <a:moveTo>
                    <a:pt x="7908" y="694"/>
                  </a:moveTo>
                  <a:cubicBezTo>
                    <a:pt x="8097" y="694"/>
                    <a:pt x="8255" y="852"/>
                    <a:pt x="8255" y="1041"/>
                  </a:cubicBezTo>
                  <a:lnTo>
                    <a:pt x="8255" y="3592"/>
                  </a:lnTo>
                  <a:lnTo>
                    <a:pt x="7467" y="4380"/>
                  </a:lnTo>
                  <a:cubicBezTo>
                    <a:pt x="7435" y="4286"/>
                    <a:pt x="7309" y="4160"/>
                    <a:pt x="7152" y="4160"/>
                  </a:cubicBezTo>
                  <a:lnTo>
                    <a:pt x="1733" y="4160"/>
                  </a:lnTo>
                  <a:cubicBezTo>
                    <a:pt x="1512" y="4160"/>
                    <a:pt x="1386" y="4317"/>
                    <a:pt x="1386" y="4506"/>
                  </a:cubicBezTo>
                  <a:cubicBezTo>
                    <a:pt x="1386" y="4695"/>
                    <a:pt x="1512" y="4853"/>
                    <a:pt x="1733" y="4853"/>
                  </a:cubicBezTo>
                  <a:lnTo>
                    <a:pt x="6994" y="4853"/>
                  </a:lnTo>
                  <a:lnTo>
                    <a:pt x="6333" y="5546"/>
                  </a:lnTo>
                  <a:lnTo>
                    <a:pt x="1733" y="5546"/>
                  </a:lnTo>
                  <a:cubicBezTo>
                    <a:pt x="1512" y="5546"/>
                    <a:pt x="1355" y="5703"/>
                    <a:pt x="1355" y="5892"/>
                  </a:cubicBezTo>
                  <a:cubicBezTo>
                    <a:pt x="1355" y="6081"/>
                    <a:pt x="1512" y="6239"/>
                    <a:pt x="1733" y="6239"/>
                  </a:cubicBezTo>
                  <a:lnTo>
                    <a:pt x="5608" y="6239"/>
                  </a:lnTo>
                  <a:lnTo>
                    <a:pt x="4947" y="6901"/>
                  </a:lnTo>
                  <a:lnTo>
                    <a:pt x="1733" y="6901"/>
                  </a:lnTo>
                  <a:cubicBezTo>
                    <a:pt x="1512" y="6901"/>
                    <a:pt x="1355" y="7058"/>
                    <a:pt x="1355" y="7279"/>
                  </a:cubicBezTo>
                  <a:cubicBezTo>
                    <a:pt x="1355" y="7468"/>
                    <a:pt x="1512" y="7625"/>
                    <a:pt x="1733" y="7625"/>
                  </a:cubicBezTo>
                  <a:lnTo>
                    <a:pt x="4285" y="7625"/>
                  </a:lnTo>
                  <a:cubicBezTo>
                    <a:pt x="4190" y="7688"/>
                    <a:pt x="4159" y="7751"/>
                    <a:pt x="4127" y="7814"/>
                  </a:cubicBezTo>
                  <a:lnTo>
                    <a:pt x="3970" y="8287"/>
                  </a:lnTo>
                  <a:lnTo>
                    <a:pt x="1733" y="8287"/>
                  </a:lnTo>
                  <a:cubicBezTo>
                    <a:pt x="1512" y="8287"/>
                    <a:pt x="1355" y="8444"/>
                    <a:pt x="1355" y="8633"/>
                  </a:cubicBezTo>
                  <a:cubicBezTo>
                    <a:pt x="1355" y="8854"/>
                    <a:pt x="1512" y="9011"/>
                    <a:pt x="1733" y="9011"/>
                  </a:cubicBezTo>
                  <a:lnTo>
                    <a:pt x="3718" y="9011"/>
                  </a:lnTo>
                  <a:lnTo>
                    <a:pt x="3466" y="9893"/>
                  </a:lnTo>
                  <a:cubicBezTo>
                    <a:pt x="3385" y="10136"/>
                    <a:pt x="3557" y="10355"/>
                    <a:pt x="3766" y="10355"/>
                  </a:cubicBezTo>
                  <a:cubicBezTo>
                    <a:pt x="3802" y="10355"/>
                    <a:pt x="3839" y="10348"/>
                    <a:pt x="3875" y="10335"/>
                  </a:cubicBezTo>
                  <a:lnTo>
                    <a:pt x="6018" y="9704"/>
                  </a:lnTo>
                  <a:cubicBezTo>
                    <a:pt x="6049" y="9704"/>
                    <a:pt x="6144" y="9673"/>
                    <a:pt x="6175" y="9641"/>
                  </a:cubicBezTo>
                  <a:lnTo>
                    <a:pt x="8286" y="7499"/>
                  </a:lnTo>
                  <a:lnTo>
                    <a:pt x="8286" y="10681"/>
                  </a:lnTo>
                  <a:cubicBezTo>
                    <a:pt x="8255" y="10839"/>
                    <a:pt x="8097" y="10996"/>
                    <a:pt x="7908" y="10996"/>
                  </a:cubicBezTo>
                  <a:lnTo>
                    <a:pt x="1040" y="10996"/>
                  </a:lnTo>
                  <a:cubicBezTo>
                    <a:pt x="851" y="10996"/>
                    <a:pt x="693" y="10839"/>
                    <a:pt x="693" y="10650"/>
                  </a:cubicBezTo>
                  <a:lnTo>
                    <a:pt x="693" y="2742"/>
                  </a:lnTo>
                  <a:lnTo>
                    <a:pt x="2395" y="2742"/>
                  </a:lnTo>
                  <a:cubicBezTo>
                    <a:pt x="2584" y="2742"/>
                    <a:pt x="2741" y="2584"/>
                    <a:pt x="2741" y="2395"/>
                  </a:cubicBezTo>
                  <a:lnTo>
                    <a:pt x="2741" y="694"/>
                  </a:lnTo>
                  <a:close/>
                  <a:moveTo>
                    <a:pt x="2363" y="1"/>
                  </a:moveTo>
                  <a:cubicBezTo>
                    <a:pt x="2237" y="1"/>
                    <a:pt x="2143" y="64"/>
                    <a:pt x="2111" y="127"/>
                  </a:cubicBezTo>
                  <a:lnTo>
                    <a:pt x="158" y="2112"/>
                  </a:lnTo>
                  <a:cubicBezTo>
                    <a:pt x="63" y="2175"/>
                    <a:pt x="0" y="2269"/>
                    <a:pt x="0" y="2364"/>
                  </a:cubicBezTo>
                  <a:lnTo>
                    <a:pt x="0" y="10650"/>
                  </a:lnTo>
                  <a:cubicBezTo>
                    <a:pt x="0" y="11217"/>
                    <a:pt x="473" y="11658"/>
                    <a:pt x="1008" y="11658"/>
                  </a:cubicBezTo>
                  <a:lnTo>
                    <a:pt x="7908" y="11658"/>
                  </a:lnTo>
                  <a:cubicBezTo>
                    <a:pt x="8444" y="11658"/>
                    <a:pt x="8916" y="11217"/>
                    <a:pt x="8916" y="10650"/>
                  </a:cubicBezTo>
                  <a:lnTo>
                    <a:pt x="8916" y="6774"/>
                  </a:lnTo>
                  <a:lnTo>
                    <a:pt x="11279" y="4412"/>
                  </a:lnTo>
                  <a:cubicBezTo>
                    <a:pt x="11815" y="3876"/>
                    <a:pt x="11815" y="3025"/>
                    <a:pt x="11279" y="2490"/>
                  </a:cubicBezTo>
                  <a:cubicBezTo>
                    <a:pt x="11011" y="2222"/>
                    <a:pt x="10657" y="2088"/>
                    <a:pt x="10306" y="2088"/>
                  </a:cubicBezTo>
                  <a:cubicBezTo>
                    <a:pt x="9956" y="2088"/>
                    <a:pt x="9609" y="2222"/>
                    <a:pt x="9357" y="2490"/>
                  </a:cubicBezTo>
                  <a:lnTo>
                    <a:pt x="8916" y="2931"/>
                  </a:lnTo>
                  <a:lnTo>
                    <a:pt x="8916" y="1041"/>
                  </a:lnTo>
                  <a:cubicBezTo>
                    <a:pt x="8916" y="474"/>
                    <a:pt x="8444"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66" name="Google Shape;7966;p77"/>
          <p:cNvSpPr/>
          <p:nvPr/>
        </p:nvSpPr>
        <p:spPr>
          <a:xfrm>
            <a:off x="1145900" y="3546972"/>
            <a:ext cx="568665" cy="562552"/>
          </a:xfrm>
          <a:custGeom>
            <a:avLst/>
            <a:gdLst/>
            <a:ahLst/>
            <a:cxnLst/>
            <a:rect l="l" t="t" r="r" b="b"/>
            <a:pathLst>
              <a:path w="11816" h="11689" extrusionOk="0">
                <a:moveTo>
                  <a:pt x="7026" y="757"/>
                </a:moveTo>
                <a:lnTo>
                  <a:pt x="7026" y="2710"/>
                </a:lnTo>
                <a:lnTo>
                  <a:pt x="5829" y="2710"/>
                </a:lnTo>
                <a:cubicBezTo>
                  <a:pt x="5924" y="2332"/>
                  <a:pt x="6081" y="1954"/>
                  <a:pt x="6176" y="1702"/>
                </a:cubicBezTo>
                <a:cubicBezTo>
                  <a:pt x="6428" y="1229"/>
                  <a:pt x="6711" y="914"/>
                  <a:pt x="7026" y="757"/>
                </a:cubicBezTo>
                <a:close/>
                <a:moveTo>
                  <a:pt x="7688" y="757"/>
                </a:moveTo>
                <a:cubicBezTo>
                  <a:pt x="8003" y="914"/>
                  <a:pt x="8287" y="1229"/>
                  <a:pt x="8507" y="1702"/>
                </a:cubicBezTo>
                <a:cubicBezTo>
                  <a:pt x="8665" y="2017"/>
                  <a:pt x="8791" y="2364"/>
                  <a:pt x="8854" y="2710"/>
                </a:cubicBezTo>
                <a:lnTo>
                  <a:pt x="7688" y="2710"/>
                </a:lnTo>
                <a:lnTo>
                  <a:pt x="7688" y="757"/>
                </a:lnTo>
                <a:close/>
                <a:moveTo>
                  <a:pt x="8917" y="977"/>
                </a:moveTo>
                <a:cubicBezTo>
                  <a:pt x="9704" y="1387"/>
                  <a:pt x="10334" y="1954"/>
                  <a:pt x="10712" y="2710"/>
                </a:cubicBezTo>
                <a:lnTo>
                  <a:pt x="9578" y="2710"/>
                </a:lnTo>
                <a:cubicBezTo>
                  <a:pt x="9452" y="2206"/>
                  <a:pt x="9295" y="1765"/>
                  <a:pt x="9106" y="1387"/>
                </a:cubicBezTo>
                <a:cubicBezTo>
                  <a:pt x="9011" y="1261"/>
                  <a:pt x="8948" y="1103"/>
                  <a:pt x="8917" y="977"/>
                </a:cubicBezTo>
                <a:close/>
                <a:moveTo>
                  <a:pt x="5798" y="1009"/>
                </a:moveTo>
                <a:lnTo>
                  <a:pt x="5798" y="1009"/>
                </a:lnTo>
                <a:cubicBezTo>
                  <a:pt x="5703" y="1135"/>
                  <a:pt x="5640" y="1261"/>
                  <a:pt x="5609" y="1418"/>
                </a:cubicBezTo>
                <a:cubicBezTo>
                  <a:pt x="5388" y="1796"/>
                  <a:pt x="5231" y="2269"/>
                  <a:pt x="5136" y="2742"/>
                </a:cubicBezTo>
                <a:lnTo>
                  <a:pt x="3970" y="2742"/>
                </a:lnTo>
                <a:cubicBezTo>
                  <a:pt x="4380" y="1954"/>
                  <a:pt x="5042" y="1387"/>
                  <a:pt x="5798" y="1009"/>
                </a:cubicBezTo>
                <a:close/>
                <a:moveTo>
                  <a:pt x="5010" y="3435"/>
                </a:moveTo>
                <a:cubicBezTo>
                  <a:pt x="4978" y="3750"/>
                  <a:pt x="4915" y="4096"/>
                  <a:pt x="4915" y="4443"/>
                </a:cubicBezTo>
                <a:cubicBezTo>
                  <a:pt x="4978" y="4789"/>
                  <a:pt x="4978" y="5167"/>
                  <a:pt x="5010" y="5482"/>
                </a:cubicBezTo>
                <a:lnTo>
                  <a:pt x="3718" y="5482"/>
                </a:lnTo>
                <a:cubicBezTo>
                  <a:pt x="3624" y="5167"/>
                  <a:pt x="3561" y="4789"/>
                  <a:pt x="3561" y="4443"/>
                </a:cubicBezTo>
                <a:cubicBezTo>
                  <a:pt x="3561" y="4096"/>
                  <a:pt x="3592" y="3750"/>
                  <a:pt x="3718" y="3435"/>
                </a:cubicBezTo>
                <a:close/>
                <a:moveTo>
                  <a:pt x="7026" y="3435"/>
                </a:moveTo>
                <a:lnTo>
                  <a:pt x="7026" y="5482"/>
                </a:lnTo>
                <a:lnTo>
                  <a:pt x="5703" y="5482"/>
                </a:lnTo>
                <a:cubicBezTo>
                  <a:pt x="5672" y="5136"/>
                  <a:pt x="5640" y="4789"/>
                  <a:pt x="5640" y="4443"/>
                </a:cubicBezTo>
                <a:cubicBezTo>
                  <a:pt x="5640" y="4096"/>
                  <a:pt x="5672" y="3718"/>
                  <a:pt x="5703" y="3435"/>
                </a:cubicBezTo>
                <a:close/>
                <a:moveTo>
                  <a:pt x="8980" y="3435"/>
                </a:moveTo>
                <a:cubicBezTo>
                  <a:pt x="9011" y="3750"/>
                  <a:pt x="9074" y="4096"/>
                  <a:pt x="9074" y="4443"/>
                </a:cubicBezTo>
                <a:cubicBezTo>
                  <a:pt x="9074" y="4789"/>
                  <a:pt x="9011" y="5167"/>
                  <a:pt x="8980" y="5482"/>
                </a:cubicBezTo>
                <a:lnTo>
                  <a:pt x="7688" y="5482"/>
                </a:lnTo>
                <a:lnTo>
                  <a:pt x="7688" y="3435"/>
                </a:lnTo>
                <a:close/>
                <a:moveTo>
                  <a:pt x="10996" y="3435"/>
                </a:moveTo>
                <a:cubicBezTo>
                  <a:pt x="11059" y="3750"/>
                  <a:pt x="11153" y="4096"/>
                  <a:pt x="11153" y="4443"/>
                </a:cubicBezTo>
                <a:cubicBezTo>
                  <a:pt x="11153" y="4789"/>
                  <a:pt x="11122" y="5167"/>
                  <a:pt x="10996" y="5482"/>
                </a:cubicBezTo>
                <a:lnTo>
                  <a:pt x="9704" y="5482"/>
                </a:lnTo>
                <a:cubicBezTo>
                  <a:pt x="9736" y="5136"/>
                  <a:pt x="9767" y="4789"/>
                  <a:pt x="9767" y="4443"/>
                </a:cubicBezTo>
                <a:cubicBezTo>
                  <a:pt x="9736" y="4096"/>
                  <a:pt x="9736" y="3750"/>
                  <a:pt x="9704" y="3435"/>
                </a:cubicBezTo>
                <a:close/>
                <a:moveTo>
                  <a:pt x="5136" y="6144"/>
                </a:moveTo>
                <a:cubicBezTo>
                  <a:pt x="5231" y="6648"/>
                  <a:pt x="5388" y="7089"/>
                  <a:pt x="5609" y="7467"/>
                </a:cubicBezTo>
                <a:cubicBezTo>
                  <a:pt x="5672" y="7593"/>
                  <a:pt x="5766" y="7751"/>
                  <a:pt x="5798" y="7877"/>
                </a:cubicBezTo>
                <a:cubicBezTo>
                  <a:pt x="5042" y="7530"/>
                  <a:pt x="4380" y="6932"/>
                  <a:pt x="3970" y="6144"/>
                </a:cubicBezTo>
                <a:close/>
                <a:moveTo>
                  <a:pt x="10712" y="6144"/>
                </a:moveTo>
                <a:cubicBezTo>
                  <a:pt x="10334" y="6932"/>
                  <a:pt x="9704" y="7530"/>
                  <a:pt x="8917" y="7877"/>
                </a:cubicBezTo>
                <a:cubicBezTo>
                  <a:pt x="8980" y="7751"/>
                  <a:pt x="9074" y="7625"/>
                  <a:pt x="9106" y="7467"/>
                </a:cubicBezTo>
                <a:cubicBezTo>
                  <a:pt x="9295" y="7089"/>
                  <a:pt x="9452" y="6617"/>
                  <a:pt x="9578" y="6144"/>
                </a:cubicBezTo>
                <a:close/>
                <a:moveTo>
                  <a:pt x="7026" y="6144"/>
                </a:moveTo>
                <a:lnTo>
                  <a:pt x="7026" y="8097"/>
                </a:lnTo>
                <a:cubicBezTo>
                  <a:pt x="6743" y="7940"/>
                  <a:pt x="6428" y="7625"/>
                  <a:pt x="6239" y="7152"/>
                </a:cubicBezTo>
                <a:cubicBezTo>
                  <a:pt x="6081" y="6837"/>
                  <a:pt x="5955" y="6491"/>
                  <a:pt x="5861" y="6144"/>
                </a:cubicBezTo>
                <a:close/>
                <a:moveTo>
                  <a:pt x="8854" y="6144"/>
                </a:moveTo>
                <a:cubicBezTo>
                  <a:pt x="8791" y="6522"/>
                  <a:pt x="8633" y="6900"/>
                  <a:pt x="8507" y="7152"/>
                </a:cubicBezTo>
                <a:cubicBezTo>
                  <a:pt x="8287" y="7688"/>
                  <a:pt x="8003" y="8003"/>
                  <a:pt x="7688" y="8097"/>
                </a:cubicBezTo>
                <a:lnTo>
                  <a:pt x="7688" y="6144"/>
                </a:lnTo>
                <a:close/>
                <a:moveTo>
                  <a:pt x="2726" y="8759"/>
                </a:moveTo>
                <a:cubicBezTo>
                  <a:pt x="2813" y="8759"/>
                  <a:pt x="2899" y="8790"/>
                  <a:pt x="2962" y="8853"/>
                </a:cubicBezTo>
                <a:cubicBezTo>
                  <a:pt x="3088" y="8980"/>
                  <a:pt x="3088" y="9169"/>
                  <a:pt x="2962" y="9326"/>
                </a:cubicBezTo>
                <a:lnTo>
                  <a:pt x="1387" y="10901"/>
                </a:lnTo>
                <a:cubicBezTo>
                  <a:pt x="1324" y="10964"/>
                  <a:pt x="1237" y="10996"/>
                  <a:pt x="1151" y="10996"/>
                </a:cubicBezTo>
                <a:cubicBezTo>
                  <a:pt x="1064" y="10996"/>
                  <a:pt x="977" y="10964"/>
                  <a:pt x="914" y="10901"/>
                </a:cubicBezTo>
                <a:cubicBezTo>
                  <a:pt x="788" y="10775"/>
                  <a:pt x="788" y="10555"/>
                  <a:pt x="914" y="10429"/>
                </a:cubicBezTo>
                <a:lnTo>
                  <a:pt x="2490" y="8853"/>
                </a:lnTo>
                <a:cubicBezTo>
                  <a:pt x="2553" y="8790"/>
                  <a:pt x="2639" y="8759"/>
                  <a:pt x="2726" y="8759"/>
                </a:cubicBezTo>
                <a:close/>
                <a:moveTo>
                  <a:pt x="7373" y="1"/>
                </a:moveTo>
                <a:cubicBezTo>
                  <a:pt x="4915" y="1"/>
                  <a:pt x="2931" y="1985"/>
                  <a:pt x="2931" y="4443"/>
                </a:cubicBezTo>
                <a:cubicBezTo>
                  <a:pt x="2931" y="5514"/>
                  <a:pt x="3309" y="6522"/>
                  <a:pt x="4002" y="7310"/>
                </a:cubicBezTo>
                <a:lnTo>
                  <a:pt x="3151" y="8160"/>
                </a:lnTo>
                <a:cubicBezTo>
                  <a:pt x="3011" y="8079"/>
                  <a:pt x="2858" y="8040"/>
                  <a:pt x="2705" y="8040"/>
                </a:cubicBezTo>
                <a:cubicBezTo>
                  <a:pt x="2445" y="8040"/>
                  <a:pt x="2184" y="8151"/>
                  <a:pt x="1986" y="8349"/>
                </a:cubicBezTo>
                <a:lnTo>
                  <a:pt x="410" y="9925"/>
                </a:lnTo>
                <a:cubicBezTo>
                  <a:pt x="1" y="10303"/>
                  <a:pt x="1" y="10996"/>
                  <a:pt x="410" y="11374"/>
                </a:cubicBezTo>
                <a:cubicBezTo>
                  <a:pt x="599" y="11563"/>
                  <a:pt x="883" y="11689"/>
                  <a:pt x="1103" y="11689"/>
                </a:cubicBezTo>
                <a:cubicBezTo>
                  <a:pt x="1387" y="11689"/>
                  <a:pt x="1607" y="11563"/>
                  <a:pt x="1828" y="11374"/>
                </a:cubicBezTo>
                <a:lnTo>
                  <a:pt x="3403" y="9799"/>
                </a:lnTo>
                <a:cubicBezTo>
                  <a:pt x="3718" y="9484"/>
                  <a:pt x="3781" y="9011"/>
                  <a:pt x="3592" y="8633"/>
                </a:cubicBezTo>
                <a:lnTo>
                  <a:pt x="4411" y="7782"/>
                </a:lnTo>
                <a:cubicBezTo>
                  <a:pt x="5199" y="8444"/>
                  <a:pt x="6207" y="8853"/>
                  <a:pt x="7278" y="8853"/>
                </a:cubicBezTo>
                <a:cubicBezTo>
                  <a:pt x="7298" y="8854"/>
                  <a:pt x="7318" y="8854"/>
                  <a:pt x="7338" y="8854"/>
                </a:cubicBezTo>
                <a:cubicBezTo>
                  <a:pt x="9830" y="8854"/>
                  <a:pt x="11815" y="6881"/>
                  <a:pt x="11815" y="4443"/>
                </a:cubicBezTo>
                <a:cubicBezTo>
                  <a:pt x="11815" y="2017"/>
                  <a:pt x="9799" y="1"/>
                  <a:pt x="737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67" name="Google Shape;7967;p77"/>
          <p:cNvGrpSpPr/>
          <p:nvPr/>
        </p:nvGrpSpPr>
        <p:grpSpPr>
          <a:xfrm>
            <a:off x="4735793" y="2175202"/>
            <a:ext cx="564092" cy="560676"/>
            <a:chOff x="-4932650" y="2046625"/>
            <a:chExt cx="293025" cy="291250"/>
          </a:xfrm>
        </p:grpSpPr>
        <p:sp>
          <p:nvSpPr>
            <p:cNvPr id="7968" name="Google Shape;7968;p77"/>
            <p:cNvSpPr/>
            <p:nvPr/>
          </p:nvSpPr>
          <p:spPr>
            <a:xfrm>
              <a:off x="-4932650" y="2046625"/>
              <a:ext cx="293025" cy="291250"/>
            </a:xfrm>
            <a:custGeom>
              <a:avLst/>
              <a:gdLst/>
              <a:ahLst/>
              <a:cxnLst/>
              <a:rect l="l" t="t" r="r" b="b"/>
              <a:pathLst>
                <a:path w="11721" h="11650" extrusionOk="0">
                  <a:moveTo>
                    <a:pt x="7625" y="694"/>
                  </a:moveTo>
                  <a:cubicBezTo>
                    <a:pt x="9515" y="694"/>
                    <a:pt x="11059" y="2206"/>
                    <a:pt x="11059" y="4096"/>
                  </a:cubicBezTo>
                  <a:cubicBezTo>
                    <a:pt x="11059" y="5987"/>
                    <a:pt x="9515" y="7530"/>
                    <a:pt x="7625" y="7530"/>
                  </a:cubicBezTo>
                  <a:cubicBezTo>
                    <a:pt x="5735" y="7530"/>
                    <a:pt x="4223" y="5987"/>
                    <a:pt x="4223" y="4096"/>
                  </a:cubicBezTo>
                  <a:cubicBezTo>
                    <a:pt x="4223" y="2206"/>
                    <a:pt x="5735" y="694"/>
                    <a:pt x="7625" y="694"/>
                  </a:cubicBezTo>
                  <a:close/>
                  <a:moveTo>
                    <a:pt x="3344" y="8066"/>
                  </a:moveTo>
                  <a:cubicBezTo>
                    <a:pt x="3435" y="8066"/>
                    <a:pt x="3529" y="8098"/>
                    <a:pt x="3593" y="8161"/>
                  </a:cubicBezTo>
                  <a:cubicBezTo>
                    <a:pt x="3719" y="8287"/>
                    <a:pt x="3719" y="8507"/>
                    <a:pt x="3593" y="8633"/>
                  </a:cubicBezTo>
                  <a:lnTo>
                    <a:pt x="1324" y="10870"/>
                  </a:lnTo>
                  <a:cubicBezTo>
                    <a:pt x="1277" y="10933"/>
                    <a:pt x="1190" y="10964"/>
                    <a:pt x="1100" y="10964"/>
                  </a:cubicBezTo>
                  <a:cubicBezTo>
                    <a:pt x="1009" y="10964"/>
                    <a:pt x="915" y="10933"/>
                    <a:pt x="852" y="10870"/>
                  </a:cubicBezTo>
                  <a:cubicBezTo>
                    <a:pt x="757" y="10744"/>
                    <a:pt x="757" y="10523"/>
                    <a:pt x="852" y="10397"/>
                  </a:cubicBezTo>
                  <a:lnTo>
                    <a:pt x="3120" y="8161"/>
                  </a:lnTo>
                  <a:cubicBezTo>
                    <a:pt x="3167" y="8098"/>
                    <a:pt x="3254" y="8066"/>
                    <a:pt x="3344" y="8066"/>
                  </a:cubicBezTo>
                  <a:close/>
                  <a:moveTo>
                    <a:pt x="7625" y="1"/>
                  </a:moveTo>
                  <a:cubicBezTo>
                    <a:pt x="5357" y="1"/>
                    <a:pt x="3529" y="1860"/>
                    <a:pt x="3529" y="4096"/>
                  </a:cubicBezTo>
                  <a:cubicBezTo>
                    <a:pt x="3529" y="5136"/>
                    <a:pt x="3908" y="6050"/>
                    <a:pt x="4538" y="6743"/>
                  </a:cubicBezTo>
                  <a:lnTo>
                    <a:pt x="3813" y="7467"/>
                  </a:lnTo>
                  <a:cubicBezTo>
                    <a:pt x="3673" y="7386"/>
                    <a:pt x="3520" y="7347"/>
                    <a:pt x="3367" y="7347"/>
                  </a:cubicBezTo>
                  <a:cubicBezTo>
                    <a:pt x="3106" y="7347"/>
                    <a:pt x="2846" y="7458"/>
                    <a:pt x="2647" y="7656"/>
                  </a:cubicBezTo>
                  <a:lnTo>
                    <a:pt x="379" y="9893"/>
                  </a:lnTo>
                  <a:cubicBezTo>
                    <a:pt x="1" y="10271"/>
                    <a:pt x="1" y="10964"/>
                    <a:pt x="379" y="11343"/>
                  </a:cubicBezTo>
                  <a:cubicBezTo>
                    <a:pt x="584" y="11547"/>
                    <a:pt x="852" y="11650"/>
                    <a:pt x="1119" y="11650"/>
                  </a:cubicBezTo>
                  <a:cubicBezTo>
                    <a:pt x="1387" y="11650"/>
                    <a:pt x="1655" y="11547"/>
                    <a:pt x="1860" y="11343"/>
                  </a:cubicBezTo>
                  <a:lnTo>
                    <a:pt x="4097" y="9106"/>
                  </a:lnTo>
                  <a:cubicBezTo>
                    <a:pt x="4412" y="8791"/>
                    <a:pt x="4506" y="8318"/>
                    <a:pt x="4286" y="7909"/>
                  </a:cubicBezTo>
                  <a:lnTo>
                    <a:pt x="5010" y="7215"/>
                  </a:lnTo>
                  <a:cubicBezTo>
                    <a:pt x="5703" y="7814"/>
                    <a:pt x="6648" y="8192"/>
                    <a:pt x="7625" y="8192"/>
                  </a:cubicBezTo>
                  <a:cubicBezTo>
                    <a:pt x="9925" y="8192"/>
                    <a:pt x="11721" y="6333"/>
                    <a:pt x="11721" y="4096"/>
                  </a:cubicBezTo>
                  <a:cubicBezTo>
                    <a:pt x="11721" y="1828"/>
                    <a:pt x="9893" y="1"/>
                    <a:pt x="762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69" name="Google Shape;7969;p77"/>
            <p:cNvSpPr/>
            <p:nvPr/>
          </p:nvSpPr>
          <p:spPr>
            <a:xfrm>
              <a:off x="-4802675" y="2115050"/>
              <a:ext cx="122100" cy="86075"/>
            </a:xfrm>
            <a:custGeom>
              <a:avLst/>
              <a:gdLst/>
              <a:ahLst/>
              <a:cxnLst/>
              <a:rect l="l" t="t" r="r" b="b"/>
              <a:pathLst>
                <a:path w="4884" h="3443" extrusionOk="0">
                  <a:moveTo>
                    <a:pt x="2428" y="1"/>
                  </a:moveTo>
                  <a:cubicBezTo>
                    <a:pt x="2301" y="1"/>
                    <a:pt x="2172" y="72"/>
                    <a:pt x="2111" y="225"/>
                  </a:cubicBezTo>
                  <a:lnTo>
                    <a:pt x="1418" y="2116"/>
                  </a:lnTo>
                  <a:lnTo>
                    <a:pt x="693" y="225"/>
                  </a:lnTo>
                  <a:cubicBezTo>
                    <a:pt x="645" y="105"/>
                    <a:pt x="524" y="4"/>
                    <a:pt x="400" y="4"/>
                  </a:cubicBezTo>
                  <a:cubicBezTo>
                    <a:pt x="361" y="4"/>
                    <a:pt x="321" y="14"/>
                    <a:pt x="284" y="36"/>
                  </a:cubicBezTo>
                  <a:cubicBezTo>
                    <a:pt x="126" y="99"/>
                    <a:pt x="0" y="288"/>
                    <a:pt x="63" y="446"/>
                  </a:cubicBezTo>
                  <a:lnTo>
                    <a:pt x="1103" y="3218"/>
                  </a:lnTo>
                  <a:cubicBezTo>
                    <a:pt x="1168" y="3364"/>
                    <a:pt x="1299" y="3443"/>
                    <a:pt x="1428" y="3443"/>
                  </a:cubicBezTo>
                  <a:cubicBezTo>
                    <a:pt x="1551" y="3443"/>
                    <a:pt x="1672" y="3372"/>
                    <a:pt x="1733" y="3218"/>
                  </a:cubicBezTo>
                  <a:lnTo>
                    <a:pt x="2426" y="1328"/>
                  </a:lnTo>
                  <a:lnTo>
                    <a:pt x="3151" y="3218"/>
                  </a:lnTo>
                  <a:cubicBezTo>
                    <a:pt x="3215" y="3364"/>
                    <a:pt x="3346" y="3443"/>
                    <a:pt x="3476" y="3443"/>
                  </a:cubicBezTo>
                  <a:cubicBezTo>
                    <a:pt x="3598" y="3443"/>
                    <a:pt x="3719" y="3372"/>
                    <a:pt x="3781" y="3218"/>
                  </a:cubicBezTo>
                  <a:lnTo>
                    <a:pt x="4789" y="446"/>
                  </a:lnTo>
                  <a:cubicBezTo>
                    <a:pt x="4884" y="257"/>
                    <a:pt x="4789" y="68"/>
                    <a:pt x="4600" y="36"/>
                  </a:cubicBezTo>
                  <a:cubicBezTo>
                    <a:pt x="4562" y="14"/>
                    <a:pt x="4521" y="4"/>
                    <a:pt x="4479" y="4"/>
                  </a:cubicBezTo>
                  <a:cubicBezTo>
                    <a:pt x="4346" y="4"/>
                    <a:pt x="4207" y="105"/>
                    <a:pt x="4159" y="225"/>
                  </a:cubicBezTo>
                  <a:lnTo>
                    <a:pt x="3466" y="2116"/>
                  </a:lnTo>
                  <a:lnTo>
                    <a:pt x="2741" y="225"/>
                  </a:lnTo>
                  <a:cubicBezTo>
                    <a:pt x="2693" y="80"/>
                    <a:pt x="2561" y="1"/>
                    <a:pt x="24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70" name="Google Shape;7970;p77"/>
          <p:cNvSpPr/>
          <p:nvPr/>
        </p:nvSpPr>
        <p:spPr>
          <a:xfrm>
            <a:off x="4737728" y="2854436"/>
            <a:ext cx="561061" cy="559569"/>
          </a:xfrm>
          <a:custGeom>
            <a:avLst/>
            <a:gdLst/>
            <a:ahLst/>
            <a:cxnLst/>
            <a:rect l="l" t="t" r="r" b="b"/>
            <a:pathLst>
              <a:path w="11658" h="11627" extrusionOk="0">
                <a:moveTo>
                  <a:pt x="6806" y="2017"/>
                </a:moveTo>
                <a:lnTo>
                  <a:pt x="6806" y="2773"/>
                </a:lnTo>
                <a:lnTo>
                  <a:pt x="4758" y="2773"/>
                </a:lnTo>
                <a:lnTo>
                  <a:pt x="4758" y="2017"/>
                </a:lnTo>
                <a:close/>
                <a:moveTo>
                  <a:pt x="7152" y="694"/>
                </a:moveTo>
                <a:cubicBezTo>
                  <a:pt x="7688" y="694"/>
                  <a:pt x="8192" y="1167"/>
                  <a:pt x="8192" y="1702"/>
                </a:cubicBezTo>
                <a:lnTo>
                  <a:pt x="8192" y="2773"/>
                </a:lnTo>
                <a:lnTo>
                  <a:pt x="7499" y="2773"/>
                </a:lnTo>
                <a:lnTo>
                  <a:pt x="7499" y="1702"/>
                </a:lnTo>
                <a:cubicBezTo>
                  <a:pt x="7499" y="1513"/>
                  <a:pt x="7341" y="1356"/>
                  <a:pt x="7152" y="1356"/>
                </a:cubicBezTo>
                <a:lnTo>
                  <a:pt x="4411" y="1356"/>
                </a:lnTo>
                <a:cubicBezTo>
                  <a:pt x="4191" y="1356"/>
                  <a:pt x="4033" y="1513"/>
                  <a:pt x="4033" y="1702"/>
                </a:cubicBezTo>
                <a:lnTo>
                  <a:pt x="4033" y="2773"/>
                </a:lnTo>
                <a:lnTo>
                  <a:pt x="3371" y="2773"/>
                </a:lnTo>
                <a:lnTo>
                  <a:pt x="3371" y="1702"/>
                </a:lnTo>
                <a:cubicBezTo>
                  <a:pt x="3371" y="1167"/>
                  <a:pt x="3844" y="694"/>
                  <a:pt x="4411" y="694"/>
                </a:cubicBezTo>
                <a:close/>
                <a:moveTo>
                  <a:pt x="10618" y="3498"/>
                </a:moveTo>
                <a:cubicBezTo>
                  <a:pt x="10807" y="3498"/>
                  <a:pt x="10964" y="3656"/>
                  <a:pt x="10964" y="3845"/>
                </a:cubicBezTo>
                <a:lnTo>
                  <a:pt x="10964" y="5010"/>
                </a:lnTo>
                <a:cubicBezTo>
                  <a:pt x="9546" y="6239"/>
                  <a:pt x="7688" y="6901"/>
                  <a:pt x="5766" y="6901"/>
                </a:cubicBezTo>
                <a:cubicBezTo>
                  <a:pt x="3876" y="6901"/>
                  <a:pt x="2080" y="6239"/>
                  <a:pt x="662" y="5010"/>
                </a:cubicBezTo>
                <a:lnTo>
                  <a:pt x="662" y="3971"/>
                </a:lnTo>
                <a:cubicBezTo>
                  <a:pt x="662" y="3687"/>
                  <a:pt x="851" y="3498"/>
                  <a:pt x="1135" y="3498"/>
                </a:cubicBezTo>
                <a:close/>
                <a:moveTo>
                  <a:pt x="6806" y="7531"/>
                </a:moveTo>
                <a:lnTo>
                  <a:pt x="6806" y="7940"/>
                </a:lnTo>
                <a:cubicBezTo>
                  <a:pt x="6806" y="8129"/>
                  <a:pt x="6648" y="8287"/>
                  <a:pt x="6459" y="8287"/>
                </a:cubicBezTo>
                <a:lnTo>
                  <a:pt x="5073" y="8287"/>
                </a:lnTo>
                <a:cubicBezTo>
                  <a:pt x="4884" y="8287"/>
                  <a:pt x="4726" y="8129"/>
                  <a:pt x="4726" y="7940"/>
                </a:cubicBezTo>
                <a:lnTo>
                  <a:pt x="4726" y="7531"/>
                </a:lnTo>
                <a:lnTo>
                  <a:pt x="4758" y="7531"/>
                </a:lnTo>
                <a:cubicBezTo>
                  <a:pt x="5104" y="7594"/>
                  <a:pt x="5419" y="7625"/>
                  <a:pt x="5766" y="7625"/>
                </a:cubicBezTo>
                <a:cubicBezTo>
                  <a:pt x="6112" y="7625"/>
                  <a:pt x="6427" y="7594"/>
                  <a:pt x="6806" y="7531"/>
                </a:cubicBezTo>
                <a:close/>
                <a:moveTo>
                  <a:pt x="10964" y="5892"/>
                </a:moveTo>
                <a:lnTo>
                  <a:pt x="10964" y="9988"/>
                </a:lnTo>
                <a:cubicBezTo>
                  <a:pt x="10964" y="10524"/>
                  <a:pt x="10492" y="10996"/>
                  <a:pt x="9956" y="10996"/>
                </a:cubicBezTo>
                <a:lnTo>
                  <a:pt x="1670" y="10996"/>
                </a:lnTo>
                <a:cubicBezTo>
                  <a:pt x="1135" y="10996"/>
                  <a:pt x="662" y="10524"/>
                  <a:pt x="662" y="9988"/>
                </a:cubicBezTo>
                <a:lnTo>
                  <a:pt x="662" y="5892"/>
                </a:lnTo>
                <a:cubicBezTo>
                  <a:pt x="1670" y="6649"/>
                  <a:pt x="2804" y="7184"/>
                  <a:pt x="4065" y="7436"/>
                </a:cubicBezTo>
                <a:lnTo>
                  <a:pt x="4065" y="7940"/>
                </a:lnTo>
                <a:cubicBezTo>
                  <a:pt x="4065" y="8476"/>
                  <a:pt x="4537" y="8948"/>
                  <a:pt x="5104" y="8948"/>
                </a:cubicBezTo>
                <a:lnTo>
                  <a:pt x="6490" y="8948"/>
                </a:lnTo>
                <a:cubicBezTo>
                  <a:pt x="7026" y="8948"/>
                  <a:pt x="7499" y="8476"/>
                  <a:pt x="7499" y="7940"/>
                </a:cubicBezTo>
                <a:lnTo>
                  <a:pt x="7499" y="7436"/>
                </a:lnTo>
                <a:cubicBezTo>
                  <a:pt x="7971" y="7342"/>
                  <a:pt x="8444" y="7184"/>
                  <a:pt x="8916" y="7027"/>
                </a:cubicBezTo>
                <a:cubicBezTo>
                  <a:pt x="9672" y="6743"/>
                  <a:pt x="10334" y="6365"/>
                  <a:pt x="10964" y="5892"/>
                </a:cubicBezTo>
                <a:close/>
                <a:moveTo>
                  <a:pt x="4411" y="1"/>
                </a:moveTo>
                <a:cubicBezTo>
                  <a:pt x="3466" y="1"/>
                  <a:pt x="2710" y="757"/>
                  <a:pt x="2710" y="1702"/>
                </a:cubicBezTo>
                <a:lnTo>
                  <a:pt x="2710" y="2773"/>
                </a:lnTo>
                <a:lnTo>
                  <a:pt x="1135" y="2773"/>
                </a:lnTo>
                <a:cubicBezTo>
                  <a:pt x="505" y="2773"/>
                  <a:pt x="0" y="3277"/>
                  <a:pt x="0" y="3908"/>
                </a:cubicBezTo>
                <a:lnTo>
                  <a:pt x="0" y="9957"/>
                </a:lnTo>
                <a:cubicBezTo>
                  <a:pt x="0" y="10902"/>
                  <a:pt x="725" y="11626"/>
                  <a:pt x="1670" y="11626"/>
                </a:cubicBezTo>
                <a:lnTo>
                  <a:pt x="9956" y="11626"/>
                </a:lnTo>
                <a:cubicBezTo>
                  <a:pt x="10901" y="11626"/>
                  <a:pt x="11657" y="10902"/>
                  <a:pt x="11657" y="9957"/>
                </a:cubicBezTo>
                <a:lnTo>
                  <a:pt x="11657" y="3813"/>
                </a:lnTo>
                <a:cubicBezTo>
                  <a:pt x="11626" y="3246"/>
                  <a:pt x="11153" y="2773"/>
                  <a:pt x="10618" y="2773"/>
                </a:cubicBezTo>
                <a:lnTo>
                  <a:pt x="8853" y="2773"/>
                </a:lnTo>
                <a:lnTo>
                  <a:pt x="8853" y="1702"/>
                </a:lnTo>
                <a:cubicBezTo>
                  <a:pt x="8853" y="757"/>
                  <a:pt x="8097" y="1"/>
                  <a:pt x="715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71" name="Google Shape;7971;p77"/>
          <p:cNvGrpSpPr/>
          <p:nvPr/>
        </p:nvGrpSpPr>
        <p:grpSpPr>
          <a:xfrm>
            <a:off x="4751701" y="3547943"/>
            <a:ext cx="564092" cy="561061"/>
            <a:chOff x="-4931075" y="2765725"/>
            <a:chExt cx="293025" cy="291450"/>
          </a:xfrm>
        </p:grpSpPr>
        <p:sp>
          <p:nvSpPr>
            <p:cNvPr id="7972" name="Google Shape;7972;p77"/>
            <p:cNvSpPr/>
            <p:nvPr/>
          </p:nvSpPr>
          <p:spPr>
            <a:xfrm>
              <a:off x="-4810550" y="2884650"/>
              <a:ext cx="51225" cy="51225"/>
            </a:xfrm>
            <a:custGeom>
              <a:avLst/>
              <a:gdLst/>
              <a:ahLst/>
              <a:cxnLst/>
              <a:rect l="l" t="t" r="r" b="b"/>
              <a:pathLst>
                <a:path w="2049" h="2049" extrusionOk="0">
                  <a:moveTo>
                    <a:pt x="1008" y="663"/>
                  </a:moveTo>
                  <a:cubicBezTo>
                    <a:pt x="1229" y="663"/>
                    <a:pt x="1386" y="820"/>
                    <a:pt x="1386" y="1041"/>
                  </a:cubicBezTo>
                  <a:cubicBezTo>
                    <a:pt x="1386" y="1230"/>
                    <a:pt x="1229" y="1387"/>
                    <a:pt x="1008" y="1387"/>
                  </a:cubicBezTo>
                  <a:cubicBezTo>
                    <a:pt x="819" y="1387"/>
                    <a:pt x="662" y="1230"/>
                    <a:pt x="662" y="1041"/>
                  </a:cubicBezTo>
                  <a:cubicBezTo>
                    <a:pt x="662" y="820"/>
                    <a:pt x="819" y="663"/>
                    <a:pt x="1008" y="663"/>
                  </a:cubicBezTo>
                  <a:close/>
                  <a:moveTo>
                    <a:pt x="1008" y="1"/>
                  </a:moveTo>
                  <a:cubicBezTo>
                    <a:pt x="473" y="1"/>
                    <a:pt x="0" y="473"/>
                    <a:pt x="0" y="1041"/>
                  </a:cubicBezTo>
                  <a:cubicBezTo>
                    <a:pt x="0" y="1576"/>
                    <a:pt x="473" y="2049"/>
                    <a:pt x="1040" y="2049"/>
                  </a:cubicBezTo>
                  <a:cubicBezTo>
                    <a:pt x="1575" y="2049"/>
                    <a:pt x="2048" y="1576"/>
                    <a:pt x="2048" y="1041"/>
                  </a:cubicBezTo>
                  <a:cubicBezTo>
                    <a:pt x="2048" y="473"/>
                    <a:pt x="1607"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73" name="Google Shape;7973;p77"/>
            <p:cNvSpPr/>
            <p:nvPr/>
          </p:nvSpPr>
          <p:spPr>
            <a:xfrm>
              <a:off x="-4931075" y="2765725"/>
              <a:ext cx="293025" cy="291450"/>
            </a:xfrm>
            <a:custGeom>
              <a:avLst/>
              <a:gdLst/>
              <a:ahLst/>
              <a:cxnLst/>
              <a:rect l="l" t="t" r="r" b="b"/>
              <a:pathLst>
                <a:path w="11721" h="11658" extrusionOk="0">
                  <a:moveTo>
                    <a:pt x="3214" y="1387"/>
                  </a:moveTo>
                  <a:lnTo>
                    <a:pt x="4475" y="3844"/>
                  </a:lnTo>
                  <a:cubicBezTo>
                    <a:pt x="4223" y="4002"/>
                    <a:pt x="4034" y="4222"/>
                    <a:pt x="3876" y="4443"/>
                  </a:cubicBezTo>
                  <a:lnTo>
                    <a:pt x="1356" y="3214"/>
                  </a:lnTo>
                  <a:cubicBezTo>
                    <a:pt x="1828" y="2427"/>
                    <a:pt x="2458" y="1796"/>
                    <a:pt x="3214" y="1387"/>
                  </a:cubicBezTo>
                  <a:close/>
                  <a:moveTo>
                    <a:pt x="5829" y="4128"/>
                  </a:moveTo>
                  <a:cubicBezTo>
                    <a:pt x="6775" y="4128"/>
                    <a:pt x="7531" y="4884"/>
                    <a:pt x="7531" y="5829"/>
                  </a:cubicBezTo>
                  <a:cubicBezTo>
                    <a:pt x="7562" y="6743"/>
                    <a:pt x="6775" y="7530"/>
                    <a:pt x="5829" y="7530"/>
                  </a:cubicBezTo>
                  <a:cubicBezTo>
                    <a:pt x="4884" y="7530"/>
                    <a:pt x="4160" y="6774"/>
                    <a:pt x="4160" y="5829"/>
                  </a:cubicBezTo>
                  <a:cubicBezTo>
                    <a:pt x="4160" y="4884"/>
                    <a:pt x="4884" y="4128"/>
                    <a:pt x="5829" y="4128"/>
                  </a:cubicBezTo>
                  <a:close/>
                  <a:moveTo>
                    <a:pt x="5798" y="662"/>
                  </a:moveTo>
                  <a:cubicBezTo>
                    <a:pt x="8665" y="662"/>
                    <a:pt x="10996" y="2994"/>
                    <a:pt x="10996" y="5861"/>
                  </a:cubicBezTo>
                  <a:cubicBezTo>
                    <a:pt x="10996" y="6585"/>
                    <a:pt x="10839" y="7247"/>
                    <a:pt x="10618" y="7845"/>
                  </a:cubicBezTo>
                  <a:lnTo>
                    <a:pt x="8129" y="6585"/>
                  </a:lnTo>
                  <a:cubicBezTo>
                    <a:pt x="8192" y="6333"/>
                    <a:pt x="8255" y="6050"/>
                    <a:pt x="8255" y="5829"/>
                  </a:cubicBezTo>
                  <a:cubicBezTo>
                    <a:pt x="8255" y="4474"/>
                    <a:pt x="7184" y="3435"/>
                    <a:pt x="5829" y="3435"/>
                  </a:cubicBezTo>
                  <a:cubicBezTo>
                    <a:pt x="5577" y="3435"/>
                    <a:pt x="5325" y="3466"/>
                    <a:pt x="5105" y="3529"/>
                  </a:cubicBezTo>
                  <a:lnTo>
                    <a:pt x="3845" y="1072"/>
                  </a:lnTo>
                  <a:cubicBezTo>
                    <a:pt x="4412" y="820"/>
                    <a:pt x="5105" y="662"/>
                    <a:pt x="5798" y="662"/>
                  </a:cubicBezTo>
                  <a:close/>
                  <a:moveTo>
                    <a:pt x="7814" y="7152"/>
                  </a:moveTo>
                  <a:lnTo>
                    <a:pt x="10303" y="8412"/>
                  </a:lnTo>
                  <a:cubicBezTo>
                    <a:pt x="9862" y="9200"/>
                    <a:pt x="9232" y="9830"/>
                    <a:pt x="8444" y="10271"/>
                  </a:cubicBezTo>
                  <a:lnTo>
                    <a:pt x="7216" y="7751"/>
                  </a:lnTo>
                  <a:cubicBezTo>
                    <a:pt x="7468" y="7593"/>
                    <a:pt x="7657" y="7404"/>
                    <a:pt x="7814" y="7152"/>
                  </a:cubicBezTo>
                  <a:close/>
                  <a:moveTo>
                    <a:pt x="1072" y="3844"/>
                  </a:moveTo>
                  <a:lnTo>
                    <a:pt x="3593" y="5073"/>
                  </a:lnTo>
                  <a:cubicBezTo>
                    <a:pt x="3530" y="5325"/>
                    <a:pt x="3498" y="5546"/>
                    <a:pt x="3498" y="5829"/>
                  </a:cubicBezTo>
                  <a:cubicBezTo>
                    <a:pt x="3498" y="7152"/>
                    <a:pt x="4538" y="8223"/>
                    <a:pt x="5892" y="8223"/>
                  </a:cubicBezTo>
                  <a:cubicBezTo>
                    <a:pt x="6176" y="8223"/>
                    <a:pt x="6396" y="8192"/>
                    <a:pt x="6648" y="8097"/>
                  </a:cubicBezTo>
                  <a:lnTo>
                    <a:pt x="7846" y="10618"/>
                  </a:lnTo>
                  <a:cubicBezTo>
                    <a:pt x="7216" y="10901"/>
                    <a:pt x="6554" y="11027"/>
                    <a:pt x="5892" y="11027"/>
                  </a:cubicBezTo>
                  <a:cubicBezTo>
                    <a:pt x="2994" y="10996"/>
                    <a:pt x="694" y="8665"/>
                    <a:pt x="694" y="5829"/>
                  </a:cubicBezTo>
                  <a:cubicBezTo>
                    <a:pt x="694" y="5104"/>
                    <a:pt x="852" y="4443"/>
                    <a:pt x="1072" y="3844"/>
                  </a:cubicBezTo>
                  <a:close/>
                  <a:moveTo>
                    <a:pt x="5798" y="1"/>
                  </a:moveTo>
                  <a:cubicBezTo>
                    <a:pt x="4254" y="1"/>
                    <a:pt x="2773" y="599"/>
                    <a:pt x="1702" y="1702"/>
                  </a:cubicBezTo>
                  <a:cubicBezTo>
                    <a:pt x="600" y="2805"/>
                    <a:pt x="1" y="4254"/>
                    <a:pt x="1" y="5798"/>
                  </a:cubicBezTo>
                  <a:cubicBezTo>
                    <a:pt x="1" y="8980"/>
                    <a:pt x="2647" y="11657"/>
                    <a:pt x="5892" y="11657"/>
                  </a:cubicBezTo>
                  <a:cubicBezTo>
                    <a:pt x="9106" y="11657"/>
                    <a:pt x="11721" y="9043"/>
                    <a:pt x="11721" y="5829"/>
                  </a:cubicBezTo>
                  <a:cubicBezTo>
                    <a:pt x="11658" y="2647"/>
                    <a:pt x="9043" y="1"/>
                    <a:pt x="57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74" name="Google Shape;7974;p77"/>
          <p:cNvGrpSpPr/>
          <p:nvPr/>
        </p:nvGrpSpPr>
        <p:grpSpPr>
          <a:xfrm>
            <a:off x="8359124" y="2208386"/>
            <a:ext cx="561061" cy="494309"/>
            <a:chOff x="-3137650" y="2067900"/>
            <a:chExt cx="291450" cy="256775"/>
          </a:xfrm>
        </p:grpSpPr>
        <p:sp>
          <p:nvSpPr>
            <p:cNvPr id="7975" name="Google Shape;7975;p77"/>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76" name="Google Shape;7976;p77"/>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77" name="Google Shape;7977;p77"/>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78" name="Google Shape;7978;p77"/>
          <p:cNvGrpSpPr/>
          <p:nvPr/>
        </p:nvGrpSpPr>
        <p:grpSpPr>
          <a:xfrm>
            <a:off x="8359124" y="2853235"/>
            <a:ext cx="561061" cy="562360"/>
            <a:chOff x="-3137650" y="2408950"/>
            <a:chExt cx="291450" cy="292125"/>
          </a:xfrm>
        </p:grpSpPr>
        <p:sp>
          <p:nvSpPr>
            <p:cNvPr id="7979" name="Google Shape;7979;p77"/>
            <p:cNvSpPr/>
            <p:nvPr/>
          </p:nvSpPr>
          <p:spPr>
            <a:xfrm>
              <a:off x="-3137650" y="2408950"/>
              <a:ext cx="291450" cy="292125"/>
            </a:xfrm>
            <a:custGeom>
              <a:avLst/>
              <a:gdLst/>
              <a:ahLst/>
              <a:cxnLst/>
              <a:rect l="l" t="t" r="r" b="b"/>
              <a:pathLst>
                <a:path w="11658" h="11685" extrusionOk="0">
                  <a:moveTo>
                    <a:pt x="10618" y="662"/>
                  </a:moveTo>
                  <a:cubicBezTo>
                    <a:pt x="10807" y="662"/>
                    <a:pt x="10964" y="851"/>
                    <a:pt x="10964" y="1040"/>
                  </a:cubicBezTo>
                  <a:lnTo>
                    <a:pt x="10964" y="2741"/>
                  </a:lnTo>
                  <a:lnTo>
                    <a:pt x="662" y="2741"/>
                  </a:lnTo>
                  <a:lnTo>
                    <a:pt x="662" y="1040"/>
                  </a:lnTo>
                  <a:cubicBezTo>
                    <a:pt x="662" y="851"/>
                    <a:pt x="820" y="662"/>
                    <a:pt x="1009" y="662"/>
                  </a:cubicBezTo>
                  <a:close/>
                  <a:moveTo>
                    <a:pt x="10964" y="3403"/>
                  </a:moveTo>
                  <a:lnTo>
                    <a:pt x="10964" y="8601"/>
                  </a:lnTo>
                  <a:cubicBezTo>
                    <a:pt x="10964" y="8790"/>
                    <a:pt x="10838" y="8947"/>
                    <a:pt x="10618" y="8947"/>
                  </a:cubicBezTo>
                  <a:lnTo>
                    <a:pt x="10145" y="8947"/>
                  </a:lnTo>
                  <a:cubicBezTo>
                    <a:pt x="10208" y="8727"/>
                    <a:pt x="10240" y="8443"/>
                    <a:pt x="10240" y="8160"/>
                  </a:cubicBezTo>
                  <a:lnTo>
                    <a:pt x="10240" y="5860"/>
                  </a:lnTo>
                  <a:cubicBezTo>
                    <a:pt x="10240" y="5673"/>
                    <a:pt x="10058" y="5531"/>
                    <a:pt x="9868" y="5531"/>
                  </a:cubicBezTo>
                  <a:cubicBezTo>
                    <a:pt x="9835" y="5531"/>
                    <a:pt x="9801" y="5535"/>
                    <a:pt x="9767" y="5545"/>
                  </a:cubicBezTo>
                  <a:cubicBezTo>
                    <a:pt x="9545" y="5641"/>
                    <a:pt x="9341" y="5691"/>
                    <a:pt x="9142" y="5691"/>
                  </a:cubicBezTo>
                  <a:cubicBezTo>
                    <a:pt x="8693" y="5691"/>
                    <a:pt x="8275" y="5439"/>
                    <a:pt x="7751" y="4915"/>
                  </a:cubicBezTo>
                  <a:cubicBezTo>
                    <a:pt x="7688" y="4868"/>
                    <a:pt x="7601" y="4844"/>
                    <a:pt x="7515" y="4844"/>
                  </a:cubicBezTo>
                  <a:cubicBezTo>
                    <a:pt x="7428" y="4844"/>
                    <a:pt x="7341" y="4868"/>
                    <a:pt x="7278" y="4915"/>
                  </a:cubicBezTo>
                  <a:cubicBezTo>
                    <a:pt x="6753" y="5440"/>
                    <a:pt x="6334" y="5677"/>
                    <a:pt x="5884" y="5677"/>
                  </a:cubicBezTo>
                  <a:cubicBezTo>
                    <a:pt x="5686" y="5677"/>
                    <a:pt x="5483" y="5631"/>
                    <a:pt x="5262" y="5545"/>
                  </a:cubicBezTo>
                  <a:cubicBezTo>
                    <a:pt x="5229" y="5535"/>
                    <a:pt x="5195" y="5531"/>
                    <a:pt x="5161" y="5531"/>
                  </a:cubicBezTo>
                  <a:cubicBezTo>
                    <a:pt x="4971" y="5531"/>
                    <a:pt x="4789" y="5673"/>
                    <a:pt x="4789" y="5860"/>
                  </a:cubicBezTo>
                  <a:lnTo>
                    <a:pt x="4789" y="8160"/>
                  </a:lnTo>
                  <a:cubicBezTo>
                    <a:pt x="4789" y="8443"/>
                    <a:pt x="4821" y="8664"/>
                    <a:pt x="4884" y="8947"/>
                  </a:cubicBezTo>
                  <a:lnTo>
                    <a:pt x="1009" y="8947"/>
                  </a:lnTo>
                  <a:cubicBezTo>
                    <a:pt x="820" y="8947"/>
                    <a:pt x="662" y="8790"/>
                    <a:pt x="662" y="8601"/>
                  </a:cubicBezTo>
                  <a:lnTo>
                    <a:pt x="662" y="3403"/>
                  </a:lnTo>
                  <a:close/>
                  <a:moveTo>
                    <a:pt x="7152" y="5923"/>
                  </a:moveTo>
                  <a:lnTo>
                    <a:pt x="7152" y="10838"/>
                  </a:lnTo>
                  <a:cubicBezTo>
                    <a:pt x="6144" y="10365"/>
                    <a:pt x="5451" y="9357"/>
                    <a:pt x="5451" y="8160"/>
                  </a:cubicBezTo>
                  <a:lnTo>
                    <a:pt x="5451" y="6301"/>
                  </a:lnTo>
                  <a:cubicBezTo>
                    <a:pt x="5604" y="6330"/>
                    <a:pt x="5750" y="6344"/>
                    <a:pt x="5891" y="6344"/>
                  </a:cubicBezTo>
                  <a:cubicBezTo>
                    <a:pt x="6359" y="6344"/>
                    <a:pt x="6765" y="6189"/>
                    <a:pt x="7152" y="5923"/>
                  </a:cubicBezTo>
                  <a:close/>
                  <a:moveTo>
                    <a:pt x="7877" y="5923"/>
                  </a:moveTo>
                  <a:cubicBezTo>
                    <a:pt x="8242" y="6166"/>
                    <a:pt x="8644" y="6353"/>
                    <a:pt x="9128" y="6353"/>
                  </a:cubicBezTo>
                  <a:cubicBezTo>
                    <a:pt x="9271" y="6353"/>
                    <a:pt x="9420" y="6337"/>
                    <a:pt x="9578" y="6301"/>
                  </a:cubicBezTo>
                  <a:lnTo>
                    <a:pt x="9578" y="8160"/>
                  </a:lnTo>
                  <a:cubicBezTo>
                    <a:pt x="9547" y="9357"/>
                    <a:pt x="8885" y="10365"/>
                    <a:pt x="7877" y="10838"/>
                  </a:cubicBezTo>
                  <a:lnTo>
                    <a:pt x="7877" y="5923"/>
                  </a:lnTo>
                  <a:close/>
                  <a:moveTo>
                    <a:pt x="1009" y="0"/>
                  </a:moveTo>
                  <a:cubicBezTo>
                    <a:pt x="473" y="0"/>
                    <a:pt x="1" y="473"/>
                    <a:pt x="1" y="1040"/>
                  </a:cubicBezTo>
                  <a:lnTo>
                    <a:pt x="1" y="8601"/>
                  </a:lnTo>
                  <a:cubicBezTo>
                    <a:pt x="1" y="9136"/>
                    <a:pt x="473" y="9609"/>
                    <a:pt x="1009" y="9609"/>
                  </a:cubicBezTo>
                  <a:lnTo>
                    <a:pt x="5073" y="9609"/>
                  </a:lnTo>
                  <a:cubicBezTo>
                    <a:pt x="5199" y="9893"/>
                    <a:pt x="5357" y="10145"/>
                    <a:pt x="5514" y="10365"/>
                  </a:cubicBezTo>
                  <a:cubicBezTo>
                    <a:pt x="5987" y="10995"/>
                    <a:pt x="6617" y="11436"/>
                    <a:pt x="7404" y="11657"/>
                  </a:cubicBezTo>
                  <a:cubicBezTo>
                    <a:pt x="7446" y="11657"/>
                    <a:pt x="7488" y="11685"/>
                    <a:pt x="7530" y="11685"/>
                  </a:cubicBezTo>
                  <a:cubicBezTo>
                    <a:pt x="7551" y="11685"/>
                    <a:pt x="7572" y="11678"/>
                    <a:pt x="7593" y="11657"/>
                  </a:cubicBezTo>
                  <a:cubicBezTo>
                    <a:pt x="8350" y="11436"/>
                    <a:pt x="9011" y="10995"/>
                    <a:pt x="9484" y="10365"/>
                  </a:cubicBezTo>
                  <a:cubicBezTo>
                    <a:pt x="9641" y="10145"/>
                    <a:pt x="9799" y="9893"/>
                    <a:pt x="9925" y="9609"/>
                  </a:cubicBezTo>
                  <a:lnTo>
                    <a:pt x="10618" y="9609"/>
                  </a:lnTo>
                  <a:cubicBezTo>
                    <a:pt x="11185" y="9609"/>
                    <a:pt x="11658" y="9136"/>
                    <a:pt x="11658" y="8601"/>
                  </a:cubicBezTo>
                  <a:lnTo>
                    <a:pt x="11658" y="1040"/>
                  </a:lnTo>
                  <a:cubicBezTo>
                    <a:pt x="11658" y="473"/>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0" name="Google Shape;7980;p77"/>
            <p:cNvSpPr/>
            <p:nvPr/>
          </p:nvSpPr>
          <p:spPr>
            <a:xfrm>
              <a:off x="-3104575" y="24428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1" name="Google Shape;7981;p77"/>
            <p:cNvSpPr/>
            <p:nvPr/>
          </p:nvSpPr>
          <p:spPr>
            <a:xfrm>
              <a:off x="-306990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2" name="Google Shape;7982;p77"/>
            <p:cNvSpPr/>
            <p:nvPr/>
          </p:nvSpPr>
          <p:spPr>
            <a:xfrm>
              <a:off x="-3035250" y="244280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3" name="Google Shape;7983;p77"/>
            <p:cNvSpPr/>
            <p:nvPr/>
          </p:nvSpPr>
          <p:spPr>
            <a:xfrm>
              <a:off x="-3002175" y="2442800"/>
              <a:ext cx="120525" cy="17350"/>
            </a:xfrm>
            <a:custGeom>
              <a:avLst/>
              <a:gdLst/>
              <a:ahLst/>
              <a:cxnLst/>
              <a:rect l="l" t="t" r="r" b="b"/>
              <a:pathLst>
                <a:path w="4821" h="694" extrusionOk="0">
                  <a:moveTo>
                    <a:pt x="347" y="1"/>
                  </a:moveTo>
                  <a:cubicBezTo>
                    <a:pt x="158" y="1"/>
                    <a:pt x="1" y="158"/>
                    <a:pt x="1" y="347"/>
                  </a:cubicBezTo>
                  <a:cubicBezTo>
                    <a:pt x="32" y="536"/>
                    <a:pt x="190" y="694"/>
                    <a:pt x="347" y="694"/>
                  </a:cubicBezTo>
                  <a:lnTo>
                    <a:pt x="4443" y="694"/>
                  </a:lnTo>
                  <a:cubicBezTo>
                    <a:pt x="4663" y="694"/>
                    <a:pt x="4821" y="536"/>
                    <a:pt x="4821" y="347"/>
                  </a:cubicBezTo>
                  <a:cubicBezTo>
                    <a:pt x="4821" y="158"/>
                    <a:pt x="4663"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7984" name="Google Shape;7984;p77"/>
          <p:cNvGrpSpPr/>
          <p:nvPr/>
        </p:nvGrpSpPr>
        <p:grpSpPr>
          <a:xfrm>
            <a:off x="8375032" y="3580550"/>
            <a:ext cx="561061" cy="495849"/>
            <a:chOff x="-3137650" y="2787000"/>
            <a:chExt cx="291450" cy="257575"/>
          </a:xfrm>
        </p:grpSpPr>
        <p:sp>
          <p:nvSpPr>
            <p:cNvPr id="7985" name="Google Shape;7985;p77"/>
            <p:cNvSpPr/>
            <p:nvPr/>
          </p:nvSpPr>
          <p:spPr>
            <a:xfrm>
              <a:off x="-3137650" y="2787000"/>
              <a:ext cx="291450" cy="257575"/>
            </a:xfrm>
            <a:custGeom>
              <a:avLst/>
              <a:gdLst/>
              <a:ahLst/>
              <a:cxnLst/>
              <a:rect l="l" t="t" r="r" b="b"/>
              <a:pathLst>
                <a:path w="11658" h="10303" extrusionOk="0">
                  <a:moveTo>
                    <a:pt x="10618" y="693"/>
                  </a:moveTo>
                  <a:cubicBezTo>
                    <a:pt x="10807" y="693"/>
                    <a:pt x="10964" y="851"/>
                    <a:pt x="10964" y="1040"/>
                  </a:cubicBezTo>
                  <a:lnTo>
                    <a:pt x="10964" y="2741"/>
                  </a:lnTo>
                  <a:lnTo>
                    <a:pt x="662" y="2741"/>
                  </a:lnTo>
                  <a:lnTo>
                    <a:pt x="662" y="1040"/>
                  </a:lnTo>
                  <a:cubicBezTo>
                    <a:pt x="662" y="851"/>
                    <a:pt x="820" y="693"/>
                    <a:pt x="1009" y="693"/>
                  </a:cubicBezTo>
                  <a:close/>
                  <a:moveTo>
                    <a:pt x="10996" y="3403"/>
                  </a:moveTo>
                  <a:lnTo>
                    <a:pt x="10996" y="9231"/>
                  </a:lnTo>
                  <a:cubicBezTo>
                    <a:pt x="10964" y="9420"/>
                    <a:pt x="10838" y="9578"/>
                    <a:pt x="10618" y="9578"/>
                  </a:cubicBezTo>
                  <a:lnTo>
                    <a:pt x="1009" y="9578"/>
                  </a:lnTo>
                  <a:cubicBezTo>
                    <a:pt x="820" y="9578"/>
                    <a:pt x="662" y="9420"/>
                    <a:pt x="662" y="9231"/>
                  </a:cubicBezTo>
                  <a:lnTo>
                    <a:pt x="662" y="3403"/>
                  </a:lnTo>
                  <a:close/>
                  <a:moveTo>
                    <a:pt x="1009" y="0"/>
                  </a:moveTo>
                  <a:cubicBezTo>
                    <a:pt x="473" y="0"/>
                    <a:pt x="1" y="473"/>
                    <a:pt x="1" y="1040"/>
                  </a:cubicBezTo>
                  <a:lnTo>
                    <a:pt x="1" y="9263"/>
                  </a:lnTo>
                  <a:cubicBezTo>
                    <a:pt x="1" y="9830"/>
                    <a:pt x="473" y="10302"/>
                    <a:pt x="1009" y="10302"/>
                  </a:cubicBezTo>
                  <a:lnTo>
                    <a:pt x="10618" y="10302"/>
                  </a:lnTo>
                  <a:cubicBezTo>
                    <a:pt x="11185" y="10302"/>
                    <a:pt x="11658" y="9830"/>
                    <a:pt x="11658" y="9263"/>
                  </a:cubicBezTo>
                  <a:lnTo>
                    <a:pt x="11658" y="1040"/>
                  </a:lnTo>
                  <a:cubicBezTo>
                    <a:pt x="11658" y="441"/>
                    <a:pt x="11217"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6" name="Google Shape;7986;p77"/>
            <p:cNvSpPr/>
            <p:nvPr/>
          </p:nvSpPr>
          <p:spPr>
            <a:xfrm>
              <a:off x="-3104575" y="2820875"/>
              <a:ext cx="18150" cy="17350"/>
            </a:xfrm>
            <a:custGeom>
              <a:avLst/>
              <a:gdLst/>
              <a:ahLst/>
              <a:cxnLst/>
              <a:rect l="l" t="t" r="r" b="b"/>
              <a:pathLst>
                <a:path w="726" h="694" extrusionOk="0">
                  <a:moveTo>
                    <a:pt x="348" y="0"/>
                  </a:moveTo>
                  <a:cubicBezTo>
                    <a:pt x="158" y="0"/>
                    <a:pt x="1" y="158"/>
                    <a:pt x="1" y="347"/>
                  </a:cubicBezTo>
                  <a:cubicBezTo>
                    <a:pt x="1" y="536"/>
                    <a:pt x="158" y="693"/>
                    <a:pt x="348" y="693"/>
                  </a:cubicBezTo>
                  <a:cubicBezTo>
                    <a:pt x="568" y="693"/>
                    <a:pt x="726" y="536"/>
                    <a:pt x="726" y="347"/>
                  </a:cubicBezTo>
                  <a:cubicBezTo>
                    <a:pt x="726" y="158"/>
                    <a:pt x="568" y="0"/>
                    <a:pt x="3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7" name="Google Shape;7987;p77"/>
            <p:cNvSpPr/>
            <p:nvPr/>
          </p:nvSpPr>
          <p:spPr>
            <a:xfrm>
              <a:off x="-306990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8" name="Google Shape;7988;p77"/>
            <p:cNvSpPr/>
            <p:nvPr/>
          </p:nvSpPr>
          <p:spPr>
            <a:xfrm>
              <a:off x="-3035250" y="2820875"/>
              <a:ext cx="17350" cy="17350"/>
            </a:xfrm>
            <a:custGeom>
              <a:avLst/>
              <a:gdLst/>
              <a:ahLst/>
              <a:cxnLst/>
              <a:rect l="l" t="t" r="r" b="b"/>
              <a:pathLst>
                <a:path w="694" h="694" extrusionOk="0">
                  <a:moveTo>
                    <a:pt x="347" y="0"/>
                  </a:moveTo>
                  <a:cubicBezTo>
                    <a:pt x="158" y="0"/>
                    <a:pt x="0" y="158"/>
                    <a:pt x="0" y="347"/>
                  </a:cubicBezTo>
                  <a:cubicBezTo>
                    <a:pt x="0" y="536"/>
                    <a:pt x="158" y="693"/>
                    <a:pt x="347" y="693"/>
                  </a:cubicBezTo>
                  <a:cubicBezTo>
                    <a:pt x="536" y="693"/>
                    <a:pt x="693" y="536"/>
                    <a:pt x="693" y="347"/>
                  </a:cubicBezTo>
                  <a:cubicBezTo>
                    <a:pt x="693" y="158"/>
                    <a:pt x="536" y="0"/>
                    <a:pt x="3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89" name="Google Shape;7989;p77"/>
            <p:cNvSpPr/>
            <p:nvPr/>
          </p:nvSpPr>
          <p:spPr>
            <a:xfrm>
              <a:off x="-3002175" y="2820875"/>
              <a:ext cx="121325" cy="17350"/>
            </a:xfrm>
            <a:custGeom>
              <a:avLst/>
              <a:gdLst/>
              <a:ahLst/>
              <a:cxnLst/>
              <a:rect l="l" t="t" r="r" b="b"/>
              <a:pathLst>
                <a:path w="4853" h="694" extrusionOk="0">
                  <a:moveTo>
                    <a:pt x="347" y="0"/>
                  </a:moveTo>
                  <a:cubicBezTo>
                    <a:pt x="158" y="0"/>
                    <a:pt x="1" y="158"/>
                    <a:pt x="1" y="347"/>
                  </a:cubicBezTo>
                  <a:cubicBezTo>
                    <a:pt x="32" y="536"/>
                    <a:pt x="190" y="693"/>
                    <a:pt x="347" y="693"/>
                  </a:cubicBezTo>
                  <a:lnTo>
                    <a:pt x="4506" y="693"/>
                  </a:lnTo>
                  <a:cubicBezTo>
                    <a:pt x="4695" y="693"/>
                    <a:pt x="4852" y="536"/>
                    <a:pt x="4852" y="347"/>
                  </a:cubicBezTo>
                  <a:cubicBezTo>
                    <a:pt x="4852" y="158"/>
                    <a:pt x="4695"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0" name="Google Shape;7990;p77"/>
            <p:cNvSpPr/>
            <p:nvPr/>
          </p:nvSpPr>
          <p:spPr>
            <a:xfrm>
              <a:off x="-2948625" y="2907300"/>
              <a:ext cx="52025" cy="85300"/>
            </a:xfrm>
            <a:custGeom>
              <a:avLst/>
              <a:gdLst/>
              <a:ahLst/>
              <a:cxnLst/>
              <a:rect l="l" t="t" r="r" b="b"/>
              <a:pathLst>
                <a:path w="2081" h="3412" extrusionOk="0">
                  <a:moveTo>
                    <a:pt x="347" y="1"/>
                  </a:moveTo>
                  <a:cubicBezTo>
                    <a:pt x="261" y="1"/>
                    <a:pt x="174" y="24"/>
                    <a:pt x="127" y="72"/>
                  </a:cubicBezTo>
                  <a:cubicBezTo>
                    <a:pt x="1" y="198"/>
                    <a:pt x="1" y="450"/>
                    <a:pt x="127" y="544"/>
                  </a:cubicBezTo>
                  <a:lnTo>
                    <a:pt x="1261" y="1710"/>
                  </a:lnTo>
                  <a:lnTo>
                    <a:pt x="127" y="2844"/>
                  </a:lnTo>
                  <a:cubicBezTo>
                    <a:pt x="1" y="2970"/>
                    <a:pt x="1" y="3191"/>
                    <a:pt x="127" y="3317"/>
                  </a:cubicBezTo>
                  <a:cubicBezTo>
                    <a:pt x="174" y="3380"/>
                    <a:pt x="261" y="3411"/>
                    <a:pt x="347" y="3411"/>
                  </a:cubicBezTo>
                  <a:cubicBezTo>
                    <a:pt x="434" y="3411"/>
                    <a:pt x="521" y="3380"/>
                    <a:pt x="568" y="3317"/>
                  </a:cubicBezTo>
                  <a:lnTo>
                    <a:pt x="1954" y="1930"/>
                  </a:lnTo>
                  <a:cubicBezTo>
                    <a:pt x="2080" y="1804"/>
                    <a:pt x="2080" y="1584"/>
                    <a:pt x="1954" y="1458"/>
                  </a:cubicBezTo>
                  <a:lnTo>
                    <a:pt x="568" y="72"/>
                  </a:lnTo>
                  <a:cubicBezTo>
                    <a:pt x="521" y="24"/>
                    <a:pt x="434"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1" name="Google Shape;7991;p77"/>
            <p:cNvSpPr/>
            <p:nvPr/>
          </p:nvSpPr>
          <p:spPr>
            <a:xfrm>
              <a:off x="-3088025" y="2907300"/>
              <a:ext cx="53575" cy="85300"/>
            </a:xfrm>
            <a:custGeom>
              <a:avLst/>
              <a:gdLst/>
              <a:ahLst/>
              <a:cxnLst/>
              <a:rect l="l" t="t" r="r" b="b"/>
              <a:pathLst>
                <a:path w="2143" h="3412" extrusionOk="0">
                  <a:moveTo>
                    <a:pt x="1749" y="1"/>
                  </a:moveTo>
                  <a:cubicBezTo>
                    <a:pt x="1662" y="1"/>
                    <a:pt x="1576" y="24"/>
                    <a:pt x="1513" y="72"/>
                  </a:cubicBezTo>
                  <a:lnTo>
                    <a:pt x="127" y="1458"/>
                  </a:lnTo>
                  <a:cubicBezTo>
                    <a:pt x="1" y="1584"/>
                    <a:pt x="1" y="1804"/>
                    <a:pt x="127" y="1930"/>
                  </a:cubicBezTo>
                  <a:lnTo>
                    <a:pt x="1513" y="3317"/>
                  </a:lnTo>
                  <a:cubicBezTo>
                    <a:pt x="1576" y="3380"/>
                    <a:pt x="1662" y="3411"/>
                    <a:pt x="1749" y="3411"/>
                  </a:cubicBezTo>
                  <a:cubicBezTo>
                    <a:pt x="1836" y="3411"/>
                    <a:pt x="1922" y="3380"/>
                    <a:pt x="1985" y="3317"/>
                  </a:cubicBezTo>
                  <a:cubicBezTo>
                    <a:pt x="2111" y="3191"/>
                    <a:pt x="2111" y="2970"/>
                    <a:pt x="1985" y="2844"/>
                  </a:cubicBezTo>
                  <a:lnTo>
                    <a:pt x="851" y="1710"/>
                  </a:lnTo>
                  <a:lnTo>
                    <a:pt x="1985" y="544"/>
                  </a:lnTo>
                  <a:cubicBezTo>
                    <a:pt x="2143" y="450"/>
                    <a:pt x="2143" y="198"/>
                    <a:pt x="1985" y="72"/>
                  </a:cubicBezTo>
                  <a:cubicBezTo>
                    <a:pt x="1922" y="24"/>
                    <a:pt x="1836" y="1"/>
                    <a:pt x="17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2" name="Google Shape;7992;p77"/>
            <p:cNvSpPr/>
            <p:nvPr/>
          </p:nvSpPr>
          <p:spPr>
            <a:xfrm>
              <a:off x="-3019500" y="2888975"/>
              <a:ext cx="54375" cy="119400"/>
            </a:xfrm>
            <a:custGeom>
              <a:avLst/>
              <a:gdLst/>
              <a:ahLst/>
              <a:cxnLst/>
              <a:rect l="l" t="t" r="r" b="b"/>
              <a:pathLst>
                <a:path w="2175" h="4776" extrusionOk="0">
                  <a:moveTo>
                    <a:pt x="1778" y="0"/>
                  </a:moveTo>
                  <a:cubicBezTo>
                    <a:pt x="1617" y="0"/>
                    <a:pt x="1501" y="108"/>
                    <a:pt x="1450" y="237"/>
                  </a:cubicBezTo>
                  <a:lnTo>
                    <a:pt x="63" y="4333"/>
                  </a:lnTo>
                  <a:cubicBezTo>
                    <a:pt x="0" y="4522"/>
                    <a:pt x="95" y="4680"/>
                    <a:pt x="253" y="4743"/>
                  </a:cubicBezTo>
                  <a:cubicBezTo>
                    <a:pt x="305" y="4765"/>
                    <a:pt x="354" y="4775"/>
                    <a:pt x="399" y="4775"/>
                  </a:cubicBezTo>
                  <a:cubicBezTo>
                    <a:pt x="543" y="4775"/>
                    <a:pt x="646" y="4674"/>
                    <a:pt x="694" y="4554"/>
                  </a:cubicBezTo>
                  <a:lnTo>
                    <a:pt x="2080" y="458"/>
                  </a:lnTo>
                  <a:cubicBezTo>
                    <a:pt x="2174" y="300"/>
                    <a:pt x="2048" y="111"/>
                    <a:pt x="1891" y="17"/>
                  </a:cubicBezTo>
                  <a:cubicBezTo>
                    <a:pt x="1851" y="6"/>
                    <a:pt x="1813" y="0"/>
                    <a:pt x="17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7993" name="Google Shape;7993;p77"/>
          <p:cNvSpPr/>
          <p:nvPr/>
        </p:nvSpPr>
        <p:spPr>
          <a:xfrm>
            <a:off x="1812179" y="4392822"/>
            <a:ext cx="561061" cy="394253"/>
          </a:xfrm>
          <a:custGeom>
            <a:avLst/>
            <a:gdLst/>
            <a:ahLst/>
            <a:cxnLst/>
            <a:rect l="l" t="t" r="r" b="b"/>
            <a:pathLst>
              <a:path w="11658" h="8192" extrusionOk="0">
                <a:moveTo>
                  <a:pt x="10429" y="662"/>
                </a:moveTo>
                <a:cubicBezTo>
                  <a:pt x="10114" y="1008"/>
                  <a:pt x="6207" y="4915"/>
                  <a:pt x="6081" y="5072"/>
                </a:cubicBezTo>
                <a:cubicBezTo>
                  <a:pt x="6018" y="5135"/>
                  <a:pt x="5916" y="5167"/>
                  <a:pt x="5813" y="5167"/>
                </a:cubicBezTo>
                <a:cubicBezTo>
                  <a:pt x="5711" y="5167"/>
                  <a:pt x="5608" y="5135"/>
                  <a:pt x="5545" y="5072"/>
                </a:cubicBezTo>
                <a:lnTo>
                  <a:pt x="1135" y="662"/>
                </a:lnTo>
                <a:close/>
                <a:moveTo>
                  <a:pt x="662" y="1134"/>
                </a:moveTo>
                <a:lnTo>
                  <a:pt x="3624" y="4096"/>
                </a:lnTo>
                <a:lnTo>
                  <a:pt x="662" y="7057"/>
                </a:lnTo>
                <a:lnTo>
                  <a:pt x="662" y="1134"/>
                </a:lnTo>
                <a:close/>
                <a:moveTo>
                  <a:pt x="10996" y="1134"/>
                </a:moveTo>
                <a:lnTo>
                  <a:pt x="10996" y="7057"/>
                </a:lnTo>
                <a:lnTo>
                  <a:pt x="8034" y="4096"/>
                </a:lnTo>
                <a:lnTo>
                  <a:pt x="10996" y="1134"/>
                </a:lnTo>
                <a:close/>
                <a:moveTo>
                  <a:pt x="7562" y="4568"/>
                </a:moveTo>
                <a:lnTo>
                  <a:pt x="10492" y="7530"/>
                </a:lnTo>
                <a:lnTo>
                  <a:pt x="1198" y="7530"/>
                </a:lnTo>
                <a:lnTo>
                  <a:pt x="4096" y="4568"/>
                </a:lnTo>
                <a:lnTo>
                  <a:pt x="5073" y="5545"/>
                </a:lnTo>
                <a:cubicBezTo>
                  <a:pt x="5278" y="5750"/>
                  <a:pt x="5553" y="5852"/>
                  <a:pt x="5829" y="5852"/>
                </a:cubicBezTo>
                <a:cubicBezTo>
                  <a:pt x="6105" y="5852"/>
                  <a:pt x="6380" y="5750"/>
                  <a:pt x="6585" y="5545"/>
                </a:cubicBezTo>
                <a:lnTo>
                  <a:pt x="7562" y="4568"/>
                </a:lnTo>
                <a:close/>
                <a:moveTo>
                  <a:pt x="1009" y="0"/>
                </a:moveTo>
                <a:cubicBezTo>
                  <a:pt x="473" y="0"/>
                  <a:pt x="1" y="473"/>
                  <a:pt x="1" y="1008"/>
                </a:cubicBezTo>
                <a:lnTo>
                  <a:pt x="1" y="7152"/>
                </a:lnTo>
                <a:cubicBezTo>
                  <a:pt x="1" y="7719"/>
                  <a:pt x="473" y="8191"/>
                  <a:pt x="1009" y="8191"/>
                </a:cubicBezTo>
                <a:lnTo>
                  <a:pt x="10618" y="8191"/>
                </a:lnTo>
                <a:cubicBezTo>
                  <a:pt x="11185" y="8191"/>
                  <a:pt x="11657" y="7719"/>
                  <a:pt x="11657" y="7152"/>
                </a:cubicBezTo>
                <a:lnTo>
                  <a:pt x="11657" y="1008"/>
                </a:lnTo>
                <a:cubicBezTo>
                  <a:pt x="11657" y="441"/>
                  <a:pt x="11185" y="0"/>
                  <a:pt x="1061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4" name="Google Shape;7994;p77"/>
          <p:cNvSpPr/>
          <p:nvPr/>
        </p:nvSpPr>
        <p:spPr>
          <a:xfrm>
            <a:off x="1850568" y="2173977"/>
            <a:ext cx="562552" cy="562793"/>
          </a:xfrm>
          <a:custGeom>
            <a:avLst/>
            <a:gdLst/>
            <a:ahLst/>
            <a:cxnLst/>
            <a:rect l="l" t="t" r="r" b="b"/>
            <a:pathLst>
              <a:path w="11689" h="11694" extrusionOk="0">
                <a:moveTo>
                  <a:pt x="5829" y="2048"/>
                </a:moveTo>
                <a:cubicBezTo>
                  <a:pt x="6018" y="2048"/>
                  <a:pt x="6175" y="2206"/>
                  <a:pt x="6175" y="2395"/>
                </a:cubicBezTo>
                <a:cubicBezTo>
                  <a:pt x="6175" y="2615"/>
                  <a:pt x="6018" y="2804"/>
                  <a:pt x="5829" y="2804"/>
                </a:cubicBezTo>
                <a:cubicBezTo>
                  <a:pt x="5640" y="2804"/>
                  <a:pt x="5482" y="2615"/>
                  <a:pt x="5482" y="2395"/>
                </a:cubicBezTo>
                <a:cubicBezTo>
                  <a:pt x="5482" y="2206"/>
                  <a:pt x="5640" y="2048"/>
                  <a:pt x="5829" y="2048"/>
                </a:cubicBezTo>
                <a:close/>
                <a:moveTo>
                  <a:pt x="5829" y="725"/>
                </a:moveTo>
                <a:cubicBezTo>
                  <a:pt x="6774" y="725"/>
                  <a:pt x="7530" y="1449"/>
                  <a:pt x="7530" y="2395"/>
                </a:cubicBezTo>
                <a:cubicBezTo>
                  <a:pt x="7530" y="2521"/>
                  <a:pt x="7530" y="2678"/>
                  <a:pt x="7467" y="2804"/>
                </a:cubicBezTo>
                <a:lnTo>
                  <a:pt x="6774" y="2804"/>
                </a:lnTo>
                <a:cubicBezTo>
                  <a:pt x="6806" y="2678"/>
                  <a:pt x="6837" y="2552"/>
                  <a:pt x="6837" y="2395"/>
                </a:cubicBezTo>
                <a:cubicBezTo>
                  <a:pt x="6837" y="1859"/>
                  <a:pt x="6364" y="1386"/>
                  <a:pt x="5829" y="1386"/>
                </a:cubicBezTo>
                <a:cubicBezTo>
                  <a:pt x="5262" y="1386"/>
                  <a:pt x="4789" y="1859"/>
                  <a:pt x="4789" y="2395"/>
                </a:cubicBezTo>
                <a:cubicBezTo>
                  <a:pt x="4789" y="2521"/>
                  <a:pt x="4852" y="2678"/>
                  <a:pt x="4884" y="2804"/>
                </a:cubicBezTo>
                <a:lnTo>
                  <a:pt x="4159" y="2804"/>
                </a:lnTo>
                <a:cubicBezTo>
                  <a:pt x="4128" y="2678"/>
                  <a:pt x="4128" y="2521"/>
                  <a:pt x="4128" y="2395"/>
                </a:cubicBezTo>
                <a:cubicBezTo>
                  <a:pt x="4128" y="1449"/>
                  <a:pt x="4884" y="725"/>
                  <a:pt x="5829" y="725"/>
                </a:cubicBezTo>
                <a:close/>
                <a:moveTo>
                  <a:pt x="10681" y="3466"/>
                </a:moveTo>
                <a:cubicBezTo>
                  <a:pt x="10870" y="3466"/>
                  <a:pt x="11027" y="3623"/>
                  <a:pt x="11027" y="3812"/>
                </a:cubicBezTo>
                <a:cubicBezTo>
                  <a:pt x="11027" y="4033"/>
                  <a:pt x="10870" y="4190"/>
                  <a:pt x="10681" y="4190"/>
                </a:cubicBezTo>
                <a:lnTo>
                  <a:pt x="1009" y="4190"/>
                </a:lnTo>
                <a:cubicBezTo>
                  <a:pt x="820" y="4190"/>
                  <a:pt x="662" y="4033"/>
                  <a:pt x="662" y="3812"/>
                </a:cubicBezTo>
                <a:cubicBezTo>
                  <a:pt x="662" y="3623"/>
                  <a:pt x="851" y="3466"/>
                  <a:pt x="1009" y="3466"/>
                </a:cubicBezTo>
                <a:close/>
                <a:moveTo>
                  <a:pt x="9799" y="4852"/>
                </a:moveTo>
                <a:lnTo>
                  <a:pt x="7058" y="7593"/>
                </a:lnTo>
                <a:lnTo>
                  <a:pt x="4600" y="7593"/>
                </a:lnTo>
                <a:lnTo>
                  <a:pt x="1859" y="4852"/>
                </a:lnTo>
                <a:close/>
                <a:moveTo>
                  <a:pt x="6869" y="8255"/>
                </a:moveTo>
                <a:lnTo>
                  <a:pt x="6869" y="9767"/>
                </a:lnTo>
                <a:lnTo>
                  <a:pt x="4789" y="10775"/>
                </a:lnTo>
                <a:lnTo>
                  <a:pt x="4789" y="8255"/>
                </a:lnTo>
                <a:close/>
                <a:moveTo>
                  <a:pt x="5829" y="0"/>
                </a:moveTo>
                <a:cubicBezTo>
                  <a:pt x="4474" y="0"/>
                  <a:pt x="3435" y="1071"/>
                  <a:pt x="3435" y="2395"/>
                </a:cubicBezTo>
                <a:cubicBezTo>
                  <a:pt x="3435" y="2521"/>
                  <a:pt x="3435" y="2678"/>
                  <a:pt x="3466" y="2804"/>
                </a:cubicBezTo>
                <a:lnTo>
                  <a:pt x="1009" y="2804"/>
                </a:lnTo>
                <a:cubicBezTo>
                  <a:pt x="473" y="2804"/>
                  <a:pt x="0" y="3277"/>
                  <a:pt x="0" y="3812"/>
                </a:cubicBezTo>
                <a:cubicBezTo>
                  <a:pt x="0" y="4348"/>
                  <a:pt x="379" y="4757"/>
                  <a:pt x="851" y="4852"/>
                </a:cubicBezTo>
                <a:lnTo>
                  <a:pt x="4096" y="8065"/>
                </a:lnTo>
                <a:lnTo>
                  <a:pt x="4096" y="11342"/>
                </a:lnTo>
                <a:cubicBezTo>
                  <a:pt x="4096" y="11518"/>
                  <a:pt x="4277" y="11694"/>
                  <a:pt x="4462" y="11694"/>
                </a:cubicBezTo>
                <a:cubicBezTo>
                  <a:pt x="4508" y="11694"/>
                  <a:pt x="4556" y="11683"/>
                  <a:pt x="4600" y="11657"/>
                </a:cubicBezTo>
                <a:lnTo>
                  <a:pt x="7373" y="10271"/>
                </a:lnTo>
                <a:cubicBezTo>
                  <a:pt x="7467" y="10239"/>
                  <a:pt x="7562" y="10113"/>
                  <a:pt x="7562" y="9956"/>
                </a:cubicBezTo>
                <a:lnTo>
                  <a:pt x="7562" y="8034"/>
                </a:lnTo>
                <a:lnTo>
                  <a:pt x="10838" y="4820"/>
                </a:lnTo>
                <a:cubicBezTo>
                  <a:pt x="11311" y="4757"/>
                  <a:pt x="11689" y="4348"/>
                  <a:pt x="11689" y="3812"/>
                </a:cubicBezTo>
                <a:cubicBezTo>
                  <a:pt x="11689" y="3277"/>
                  <a:pt x="11216" y="2804"/>
                  <a:pt x="10681" y="2804"/>
                </a:cubicBezTo>
                <a:lnTo>
                  <a:pt x="8192" y="2804"/>
                </a:lnTo>
                <a:cubicBezTo>
                  <a:pt x="8192" y="2678"/>
                  <a:pt x="8223" y="2521"/>
                  <a:pt x="8223" y="2395"/>
                </a:cubicBezTo>
                <a:cubicBezTo>
                  <a:pt x="8223" y="1071"/>
                  <a:pt x="7152"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5" name="Google Shape;7995;p77"/>
          <p:cNvSpPr/>
          <p:nvPr/>
        </p:nvSpPr>
        <p:spPr>
          <a:xfrm>
            <a:off x="1848282" y="2852366"/>
            <a:ext cx="567124" cy="563708"/>
          </a:xfrm>
          <a:custGeom>
            <a:avLst/>
            <a:gdLst/>
            <a:ahLst/>
            <a:cxnLst/>
            <a:rect l="l" t="t" r="r" b="b"/>
            <a:pathLst>
              <a:path w="11784" h="11713" extrusionOk="0">
                <a:moveTo>
                  <a:pt x="5136" y="4128"/>
                </a:moveTo>
                <a:cubicBezTo>
                  <a:pt x="5671" y="4128"/>
                  <a:pt x="6112" y="4569"/>
                  <a:pt x="6144" y="5136"/>
                </a:cubicBezTo>
                <a:lnTo>
                  <a:pt x="5230" y="4853"/>
                </a:lnTo>
                <a:cubicBezTo>
                  <a:pt x="5198" y="4839"/>
                  <a:pt x="5165" y="4832"/>
                  <a:pt x="5131" y="4832"/>
                </a:cubicBezTo>
                <a:cubicBezTo>
                  <a:pt x="4934" y="4832"/>
                  <a:pt x="4735" y="5052"/>
                  <a:pt x="4789" y="5294"/>
                </a:cubicBezTo>
                <a:lnTo>
                  <a:pt x="5073" y="6239"/>
                </a:lnTo>
                <a:cubicBezTo>
                  <a:pt x="4537" y="6176"/>
                  <a:pt x="4096" y="5703"/>
                  <a:pt x="4096" y="5168"/>
                </a:cubicBezTo>
                <a:cubicBezTo>
                  <a:pt x="4096" y="4601"/>
                  <a:pt x="4569" y="4128"/>
                  <a:pt x="5136" y="4128"/>
                </a:cubicBezTo>
                <a:close/>
                <a:moveTo>
                  <a:pt x="5199" y="2364"/>
                </a:moveTo>
                <a:cubicBezTo>
                  <a:pt x="6680" y="2364"/>
                  <a:pt x="7940" y="3592"/>
                  <a:pt x="7940" y="5136"/>
                </a:cubicBezTo>
                <a:cubicBezTo>
                  <a:pt x="7940" y="5294"/>
                  <a:pt x="7940" y="5388"/>
                  <a:pt x="7908" y="5546"/>
                </a:cubicBezTo>
                <a:lnTo>
                  <a:pt x="6932" y="5294"/>
                </a:lnTo>
                <a:lnTo>
                  <a:pt x="6932" y="5136"/>
                </a:lnTo>
                <a:cubicBezTo>
                  <a:pt x="6806" y="4223"/>
                  <a:pt x="6049" y="3466"/>
                  <a:pt x="5104" y="3466"/>
                </a:cubicBezTo>
                <a:cubicBezTo>
                  <a:pt x="4159" y="3466"/>
                  <a:pt x="3435" y="4223"/>
                  <a:pt x="3435" y="5168"/>
                </a:cubicBezTo>
                <a:cubicBezTo>
                  <a:pt x="3435" y="5609"/>
                  <a:pt x="3624" y="6081"/>
                  <a:pt x="3939" y="6396"/>
                </a:cubicBezTo>
                <a:cubicBezTo>
                  <a:pt x="4254" y="6743"/>
                  <a:pt x="4695" y="6900"/>
                  <a:pt x="5167" y="6900"/>
                </a:cubicBezTo>
                <a:lnTo>
                  <a:pt x="5325" y="6900"/>
                </a:lnTo>
                <a:lnTo>
                  <a:pt x="5577" y="7877"/>
                </a:lnTo>
                <a:cubicBezTo>
                  <a:pt x="5482" y="7909"/>
                  <a:pt x="5325" y="7909"/>
                  <a:pt x="5199" y="7909"/>
                </a:cubicBezTo>
                <a:cubicBezTo>
                  <a:pt x="3687" y="7909"/>
                  <a:pt x="2426" y="6648"/>
                  <a:pt x="2426" y="5136"/>
                </a:cubicBezTo>
                <a:cubicBezTo>
                  <a:pt x="2426" y="3624"/>
                  <a:pt x="3655" y="2364"/>
                  <a:pt x="5199" y="2364"/>
                </a:cubicBezTo>
                <a:close/>
                <a:moveTo>
                  <a:pt x="5167" y="726"/>
                </a:moveTo>
                <a:cubicBezTo>
                  <a:pt x="7940" y="726"/>
                  <a:pt x="10051" y="3277"/>
                  <a:pt x="9515" y="6018"/>
                </a:cubicBezTo>
                <a:lnTo>
                  <a:pt x="8507" y="5766"/>
                </a:lnTo>
                <a:cubicBezTo>
                  <a:pt x="8538" y="5546"/>
                  <a:pt x="8538" y="5357"/>
                  <a:pt x="8538" y="5136"/>
                </a:cubicBezTo>
                <a:cubicBezTo>
                  <a:pt x="8538" y="3246"/>
                  <a:pt x="7026" y="1702"/>
                  <a:pt x="5104" y="1702"/>
                </a:cubicBezTo>
                <a:cubicBezTo>
                  <a:pt x="3214" y="1702"/>
                  <a:pt x="1702" y="3246"/>
                  <a:pt x="1702" y="5136"/>
                </a:cubicBezTo>
                <a:cubicBezTo>
                  <a:pt x="1702" y="7027"/>
                  <a:pt x="3214" y="8602"/>
                  <a:pt x="5104" y="8602"/>
                </a:cubicBezTo>
                <a:cubicBezTo>
                  <a:pt x="5325" y="8602"/>
                  <a:pt x="5514" y="8602"/>
                  <a:pt x="5703" y="8539"/>
                </a:cubicBezTo>
                <a:lnTo>
                  <a:pt x="5986" y="9578"/>
                </a:lnTo>
                <a:cubicBezTo>
                  <a:pt x="5695" y="9636"/>
                  <a:pt x="5405" y="9664"/>
                  <a:pt x="5119" y="9664"/>
                </a:cubicBezTo>
                <a:cubicBezTo>
                  <a:pt x="2751" y="9664"/>
                  <a:pt x="694" y="7758"/>
                  <a:pt x="694" y="5199"/>
                </a:cubicBezTo>
                <a:cubicBezTo>
                  <a:pt x="694" y="2679"/>
                  <a:pt x="2773" y="726"/>
                  <a:pt x="5167" y="726"/>
                </a:cubicBezTo>
                <a:close/>
                <a:moveTo>
                  <a:pt x="5671" y="5672"/>
                </a:moveTo>
                <a:lnTo>
                  <a:pt x="5671" y="5672"/>
                </a:lnTo>
                <a:cubicBezTo>
                  <a:pt x="10240" y="6964"/>
                  <a:pt x="9578" y="6774"/>
                  <a:pt x="9704" y="6806"/>
                </a:cubicBezTo>
                <a:lnTo>
                  <a:pt x="8853" y="7373"/>
                </a:lnTo>
                <a:cubicBezTo>
                  <a:pt x="8664" y="7499"/>
                  <a:pt x="8664" y="7751"/>
                  <a:pt x="8822" y="7877"/>
                </a:cubicBezTo>
                <a:lnTo>
                  <a:pt x="10964" y="9956"/>
                </a:lnTo>
                <a:cubicBezTo>
                  <a:pt x="11027" y="10114"/>
                  <a:pt x="11027" y="10335"/>
                  <a:pt x="10901" y="10492"/>
                </a:cubicBezTo>
                <a:lnTo>
                  <a:pt x="10429" y="10965"/>
                </a:lnTo>
                <a:cubicBezTo>
                  <a:pt x="10366" y="11012"/>
                  <a:pt x="10279" y="11035"/>
                  <a:pt x="10192" y="11035"/>
                </a:cubicBezTo>
                <a:cubicBezTo>
                  <a:pt x="10106" y="11035"/>
                  <a:pt x="10019" y="11012"/>
                  <a:pt x="9956" y="10965"/>
                </a:cubicBezTo>
                <a:lnTo>
                  <a:pt x="7845" y="8854"/>
                </a:lnTo>
                <a:cubicBezTo>
                  <a:pt x="7777" y="8786"/>
                  <a:pt x="7691" y="8753"/>
                  <a:pt x="7606" y="8753"/>
                </a:cubicBezTo>
                <a:cubicBezTo>
                  <a:pt x="7493" y="8753"/>
                  <a:pt x="7381" y="8809"/>
                  <a:pt x="7310" y="8917"/>
                </a:cubicBezTo>
                <a:cubicBezTo>
                  <a:pt x="7247" y="8980"/>
                  <a:pt x="6806" y="9641"/>
                  <a:pt x="6774" y="9736"/>
                </a:cubicBezTo>
                <a:cubicBezTo>
                  <a:pt x="6680" y="9484"/>
                  <a:pt x="5703" y="5861"/>
                  <a:pt x="5671" y="5672"/>
                </a:cubicBezTo>
                <a:close/>
                <a:moveTo>
                  <a:pt x="5104" y="1"/>
                </a:moveTo>
                <a:cubicBezTo>
                  <a:pt x="2363" y="1"/>
                  <a:pt x="0" y="2238"/>
                  <a:pt x="0" y="5168"/>
                </a:cubicBezTo>
                <a:cubicBezTo>
                  <a:pt x="0" y="8066"/>
                  <a:pt x="2332" y="10303"/>
                  <a:pt x="5104" y="10303"/>
                </a:cubicBezTo>
                <a:cubicBezTo>
                  <a:pt x="5482" y="10303"/>
                  <a:pt x="5797" y="10272"/>
                  <a:pt x="6144" y="10208"/>
                </a:cubicBezTo>
                <a:lnTo>
                  <a:pt x="6270" y="10587"/>
                </a:lnTo>
                <a:cubicBezTo>
                  <a:pt x="6307" y="10755"/>
                  <a:pt x="6444" y="10845"/>
                  <a:pt x="6596" y="10845"/>
                </a:cubicBezTo>
                <a:cubicBezTo>
                  <a:pt x="6700" y="10845"/>
                  <a:pt x="6810" y="10802"/>
                  <a:pt x="6900" y="10713"/>
                </a:cubicBezTo>
                <a:lnTo>
                  <a:pt x="7625" y="9610"/>
                </a:lnTo>
                <a:lnTo>
                  <a:pt x="9483" y="11406"/>
                </a:lnTo>
                <a:cubicBezTo>
                  <a:pt x="9688" y="11610"/>
                  <a:pt x="9956" y="11713"/>
                  <a:pt x="10220" y="11713"/>
                </a:cubicBezTo>
                <a:cubicBezTo>
                  <a:pt x="10484" y="11713"/>
                  <a:pt x="10744" y="11610"/>
                  <a:pt x="10933" y="11406"/>
                </a:cubicBezTo>
                <a:lnTo>
                  <a:pt x="11405" y="10933"/>
                </a:lnTo>
                <a:cubicBezTo>
                  <a:pt x="11783" y="10555"/>
                  <a:pt x="11783" y="9893"/>
                  <a:pt x="11374" y="9484"/>
                </a:cubicBezTo>
                <a:lnTo>
                  <a:pt x="9515" y="7720"/>
                </a:lnTo>
                <a:lnTo>
                  <a:pt x="10618" y="6964"/>
                </a:lnTo>
                <a:cubicBezTo>
                  <a:pt x="10870" y="6806"/>
                  <a:pt x="10838" y="6428"/>
                  <a:pt x="10555" y="6333"/>
                </a:cubicBezTo>
                <a:lnTo>
                  <a:pt x="10145" y="6239"/>
                </a:lnTo>
                <a:cubicBezTo>
                  <a:pt x="10303" y="5483"/>
                  <a:pt x="10271" y="4695"/>
                  <a:pt x="10082" y="3908"/>
                </a:cubicBezTo>
                <a:cubicBezTo>
                  <a:pt x="9483" y="1576"/>
                  <a:pt x="7436" y="1"/>
                  <a:pt x="510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7996" name="Google Shape;7996;p77"/>
          <p:cNvGrpSpPr/>
          <p:nvPr/>
        </p:nvGrpSpPr>
        <p:grpSpPr>
          <a:xfrm>
            <a:off x="1865935" y="3547196"/>
            <a:ext cx="562552" cy="562552"/>
            <a:chOff x="-6354300" y="2757075"/>
            <a:chExt cx="292225" cy="292225"/>
          </a:xfrm>
        </p:grpSpPr>
        <p:sp>
          <p:nvSpPr>
            <p:cNvPr id="7997" name="Google Shape;7997;p77"/>
            <p:cNvSpPr/>
            <p:nvPr/>
          </p:nvSpPr>
          <p:spPr>
            <a:xfrm>
              <a:off x="-6354300" y="2757075"/>
              <a:ext cx="292225" cy="292225"/>
            </a:xfrm>
            <a:custGeom>
              <a:avLst/>
              <a:gdLst/>
              <a:ahLst/>
              <a:cxnLst/>
              <a:rect l="l" t="t" r="r" b="b"/>
              <a:pathLst>
                <a:path w="11689" h="11689" extrusionOk="0">
                  <a:moveTo>
                    <a:pt x="10681" y="4159"/>
                  </a:moveTo>
                  <a:cubicBezTo>
                    <a:pt x="10870" y="4159"/>
                    <a:pt x="11027" y="4316"/>
                    <a:pt x="11027" y="4505"/>
                  </a:cubicBezTo>
                  <a:lnTo>
                    <a:pt x="11027" y="4915"/>
                  </a:lnTo>
                  <a:cubicBezTo>
                    <a:pt x="10901" y="4883"/>
                    <a:pt x="10775" y="4883"/>
                    <a:pt x="10681" y="4883"/>
                  </a:cubicBezTo>
                  <a:lnTo>
                    <a:pt x="9609" y="4883"/>
                  </a:lnTo>
                  <a:lnTo>
                    <a:pt x="9609" y="4190"/>
                  </a:lnTo>
                  <a:lnTo>
                    <a:pt x="10681" y="4190"/>
                  </a:lnTo>
                  <a:lnTo>
                    <a:pt x="10681" y="4159"/>
                  </a:lnTo>
                  <a:close/>
                  <a:moveTo>
                    <a:pt x="2048" y="2773"/>
                  </a:moveTo>
                  <a:lnTo>
                    <a:pt x="2048" y="6207"/>
                  </a:lnTo>
                  <a:lnTo>
                    <a:pt x="662" y="6207"/>
                  </a:lnTo>
                  <a:lnTo>
                    <a:pt x="662" y="3151"/>
                  </a:lnTo>
                  <a:cubicBezTo>
                    <a:pt x="694" y="2930"/>
                    <a:pt x="851" y="2773"/>
                    <a:pt x="1009" y="2773"/>
                  </a:cubicBezTo>
                  <a:close/>
                  <a:moveTo>
                    <a:pt x="8885" y="693"/>
                  </a:moveTo>
                  <a:lnTo>
                    <a:pt x="8885" y="4883"/>
                  </a:lnTo>
                  <a:cubicBezTo>
                    <a:pt x="8538" y="4915"/>
                    <a:pt x="8223" y="5104"/>
                    <a:pt x="8066" y="5419"/>
                  </a:cubicBezTo>
                  <a:lnTo>
                    <a:pt x="7751" y="6049"/>
                  </a:lnTo>
                  <a:cubicBezTo>
                    <a:pt x="7719" y="6175"/>
                    <a:pt x="7593" y="6238"/>
                    <a:pt x="7436" y="6238"/>
                  </a:cubicBezTo>
                  <a:lnTo>
                    <a:pt x="2710" y="6238"/>
                  </a:lnTo>
                  <a:lnTo>
                    <a:pt x="2710" y="693"/>
                  </a:lnTo>
                  <a:close/>
                  <a:moveTo>
                    <a:pt x="10681" y="5513"/>
                  </a:moveTo>
                  <a:cubicBezTo>
                    <a:pt x="10870" y="5513"/>
                    <a:pt x="11027" y="5671"/>
                    <a:pt x="11027" y="5860"/>
                  </a:cubicBezTo>
                  <a:lnTo>
                    <a:pt x="11027" y="10649"/>
                  </a:lnTo>
                  <a:cubicBezTo>
                    <a:pt x="11027" y="10869"/>
                    <a:pt x="10870" y="11027"/>
                    <a:pt x="10681" y="11027"/>
                  </a:cubicBezTo>
                  <a:lnTo>
                    <a:pt x="1009" y="11027"/>
                  </a:lnTo>
                  <a:cubicBezTo>
                    <a:pt x="820" y="11027"/>
                    <a:pt x="662" y="10869"/>
                    <a:pt x="662" y="10649"/>
                  </a:cubicBezTo>
                  <a:lnTo>
                    <a:pt x="662" y="6868"/>
                  </a:lnTo>
                  <a:lnTo>
                    <a:pt x="7436" y="6868"/>
                  </a:lnTo>
                  <a:cubicBezTo>
                    <a:pt x="7845" y="6868"/>
                    <a:pt x="8192" y="6648"/>
                    <a:pt x="8349" y="6333"/>
                  </a:cubicBezTo>
                  <a:lnTo>
                    <a:pt x="8664" y="5703"/>
                  </a:lnTo>
                  <a:cubicBezTo>
                    <a:pt x="8696" y="5576"/>
                    <a:pt x="8822" y="5513"/>
                    <a:pt x="8979" y="5513"/>
                  </a:cubicBezTo>
                  <a:close/>
                  <a:moveTo>
                    <a:pt x="2395" y="0"/>
                  </a:moveTo>
                  <a:cubicBezTo>
                    <a:pt x="2206" y="0"/>
                    <a:pt x="2048" y="158"/>
                    <a:pt x="2048" y="347"/>
                  </a:cubicBezTo>
                  <a:lnTo>
                    <a:pt x="2048" y="2111"/>
                  </a:lnTo>
                  <a:lnTo>
                    <a:pt x="1009" y="2111"/>
                  </a:lnTo>
                  <a:cubicBezTo>
                    <a:pt x="473" y="2111"/>
                    <a:pt x="0" y="2584"/>
                    <a:pt x="0" y="3151"/>
                  </a:cubicBezTo>
                  <a:lnTo>
                    <a:pt x="0" y="10649"/>
                  </a:lnTo>
                  <a:cubicBezTo>
                    <a:pt x="0" y="11216"/>
                    <a:pt x="473" y="11688"/>
                    <a:pt x="1009" y="11688"/>
                  </a:cubicBezTo>
                  <a:lnTo>
                    <a:pt x="10618" y="11688"/>
                  </a:lnTo>
                  <a:cubicBezTo>
                    <a:pt x="11185" y="11688"/>
                    <a:pt x="11657" y="11216"/>
                    <a:pt x="11657" y="10649"/>
                  </a:cubicBezTo>
                  <a:lnTo>
                    <a:pt x="11657" y="4505"/>
                  </a:lnTo>
                  <a:cubicBezTo>
                    <a:pt x="11689" y="3938"/>
                    <a:pt x="11216" y="3466"/>
                    <a:pt x="10681" y="3466"/>
                  </a:cubicBezTo>
                  <a:lnTo>
                    <a:pt x="9609" y="3466"/>
                  </a:lnTo>
                  <a:lnTo>
                    <a:pt x="9609" y="347"/>
                  </a:lnTo>
                  <a:cubicBezTo>
                    <a:pt x="9609" y="158"/>
                    <a:pt x="9452" y="0"/>
                    <a:pt x="926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8" name="Google Shape;7998;p77"/>
            <p:cNvSpPr/>
            <p:nvPr/>
          </p:nvSpPr>
          <p:spPr>
            <a:xfrm>
              <a:off x="-6268450" y="279015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7999" name="Google Shape;7999;p77"/>
            <p:cNvSpPr/>
            <p:nvPr/>
          </p:nvSpPr>
          <p:spPr>
            <a:xfrm>
              <a:off x="-6268450" y="2825600"/>
              <a:ext cx="119750" cy="18125"/>
            </a:xfrm>
            <a:custGeom>
              <a:avLst/>
              <a:gdLst/>
              <a:ahLst/>
              <a:cxnLst/>
              <a:rect l="l" t="t" r="r" b="b"/>
              <a:pathLst>
                <a:path w="4790" h="725" extrusionOk="0">
                  <a:moveTo>
                    <a:pt x="347" y="0"/>
                  </a:moveTo>
                  <a:cubicBezTo>
                    <a:pt x="158" y="0"/>
                    <a:pt x="1" y="158"/>
                    <a:pt x="1" y="347"/>
                  </a:cubicBezTo>
                  <a:cubicBezTo>
                    <a:pt x="1" y="599"/>
                    <a:pt x="158" y="725"/>
                    <a:pt x="347" y="725"/>
                  </a:cubicBezTo>
                  <a:lnTo>
                    <a:pt x="4443" y="725"/>
                  </a:lnTo>
                  <a:cubicBezTo>
                    <a:pt x="4632" y="725"/>
                    <a:pt x="4789" y="567"/>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0" name="Google Shape;8000;p77"/>
            <p:cNvSpPr/>
            <p:nvPr/>
          </p:nvSpPr>
          <p:spPr>
            <a:xfrm>
              <a:off x="-6268450" y="2860250"/>
              <a:ext cx="119750" cy="17350"/>
            </a:xfrm>
            <a:custGeom>
              <a:avLst/>
              <a:gdLst/>
              <a:ahLst/>
              <a:cxnLst/>
              <a:rect l="l" t="t" r="r" b="b"/>
              <a:pathLst>
                <a:path w="4790" h="694" extrusionOk="0">
                  <a:moveTo>
                    <a:pt x="347" y="0"/>
                  </a:moveTo>
                  <a:cubicBezTo>
                    <a:pt x="158" y="0"/>
                    <a:pt x="1" y="158"/>
                    <a:pt x="1" y="347"/>
                  </a:cubicBezTo>
                  <a:cubicBezTo>
                    <a:pt x="1" y="536"/>
                    <a:pt x="158" y="693"/>
                    <a:pt x="347" y="693"/>
                  </a:cubicBezTo>
                  <a:lnTo>
                    <a:pt x="4443" y="693"/>
                  </a:lnTo>
                  <a:cubicBezTo>
                    <a:pt x="4632" y="693"/>
                    <a:pt x="4789" y="536"/>
                    <a:pt x="4789" y="347"/>
                  </a:cubicBezTo>
                  <a:cubicBezTo>
                    <a:pt x="4789" y="158"/>
                    <a:pt x="4632"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01" name="Google Shape;8001;p77"/>
          <p:cNvGrpSpPr/>
          <p:nvPr/>
        </p:nvGrpSpPr>
        <p:grpSpPr>
          <a:xfrm>
            <a:off x="5457939" y="2172747"/>
            <a:ext cx="565584" cy="565584"/>
            <a:chOff x="-4573475" y="2045850"/>
            <a:chExt cx="293800" cy="293800"/>
          </a:xfrm>
        </p:grpSpPr>
        <p:sp>
          <p:nvSpPr>
            <p:cNvPr id="8002" name="Google Shape;8002;p77"/>
            <p:cNvSpPr/>
            <p:nvPr/>
          </p:nvSpPr>
          <p:spPr>
            <a:xfrm>
              <a:off x="-4573475" y="2045850"/>
              <a:ext cx="293800" cy="293800"/>
            </a:xfrm>
            <a:custGeom>
              <a:avLst/>
              <a:gdLst/>
              <a:ahLst/>
              <a:cxnLst/>
              <a:rect l="l" t="t" r="r" b="b"/>
              <a:pathLst>
                <a:path w="11752" h="11752" extrusionOk="0">
                  <a:moveTo>
                    <a:pt x="6333" y="756"/>
                  </a:moveTo>
                  <a:lnTo>
                    <a:pt x="6459" y="1292"/>
                  </a:lnTo>
                  <a:cubicBezTo>
                    <a:pt x="6490" y="1418"/>
                    <a:pt x="6585" y="1544"/>
                    <a:pt x="6742" y="1576"/>
                  </a:cubicBezTo>
                  <a:cubicBezTo>
                    <a:pt x="7372" y="1702"/>
                    <a:pt x="7908" y="1922"/>
                    <a:pt x="8444" y="2300"/>
                  </a:cubicBezTo>
                  <a:cubicBezTo>
                    <a:pt x="8491" y="2332"/>
                    <a:pt x="8546" y="2347"/>
                    <a:pt x="8605" y="2347"/>
                  </a:cubicBezTo>
                  <a:cubicBezTo>
                    <a:pt x="8664" y="2347"/>
                    <a:pt x="8727" y="2332"/>
                    <a:pt x="8790" y="2300"/>
                  </a:cubicBezTo>
                  <a:lnTo>
                    <a:pt x="9231" y="2017"/>
                  </a:lnTo>
                  <a:lnTo>
                    <a:pt x="9798" y="2584"/>
                  </a:lnTo>
                  <a:lnTo>
                    <a:pt x="9546" y="3025"/>
                  </a:lnTo>
                  <a:cubicBezTo>
                    <a:pt x="9452" y="3151"/>
                    <a:pt x="9452" y="3308"/>
                    <a:pt x="9546" y="3371"/>
                  </a:cubicBezTo>
                  <a:cubicBezTo>
                    <a:pt x="9893" y="3907"/>
                    <a:pt x="10113" y="4505"/>
                    <a:pt x="10239" y="5073"/>
                  </a:cubicBezTo>
                  <a:cubicBezTo>
                    <a:pt x="10271" y="5199"/>
                    <a:pt x="10365" y="5325"/>
                    <a:pt x="10523" y="5356"/>
                  </a:cubicBezTo>
                  <a:lnTo>
                    <a:pt x="11058" y="5482"/>
                  </a:lnTo>
                  <a:lnTo>
                    <a:pt x="11058" y="6301"/>
                  </a:lnTo>
                  <a:lnTo>
                    <a:pt x="10523" y="6427"/>
                  </a:lnTo>
                  <a:cubicBezTo>
                    <a:pt x="10397" y="6459"/>
                    <a:pt x="10271" y="6553"/>
                    <a:pt x="10239" y="6711"/>
                  </a:cubicBezTo>
                  <a:cubicBezTo>
                    <a:pt x="10113" y="7309"/>
                    <a:pt x="9893" y="7877"/>
                    <a:pt x="9546" y="8381"/>
                  </a:cubicBezTo>
                  <a:cubicBezTo>
                    <a:pt x="9452" y="8507"/>
                    <a:pt x="9452" y="8633"/>
                    <a:pt x="9546" y="8759"/>
                  </a:cubicBezTo>
                  <a:lnTo>
                    <a:pt x="9798" y="9168"/>
                  </a:lnTo>
                  <a:lnTo>
                    <a:pt x="9231" y="9767"/>
                  </a:lnTo>
                  <a:lnTo>
                    <a:pt x="8790" y="9483"/>
                  </a:lnTo>
                  <a:cubicBezTo>
                    <a:pt x="8727" y="9452"/>
                    <a:pt x="8656" y="9436"/>
                    <a:pt x="8593" y="9436"/>
                  </a:cubicBezTo>
                  <a:cubicBezTo>
                    <a:pt x="8530" y="9436"/>
                    <a:pt x="8475" y="9452"/>
                    <a:pt x="8444" y="9483"/>
                  </a:cubicBezTo>
                  <a:cubicBezTo>
                    <a:pt x="7908" y="9861"/>
                    <a:pt x="7341" y="10082"/>
                    <a:pt x="6742" y="10208"/>
                  </a:cubicBezTo>
                  <a:cubicBezTo>
                    <a:pt x="6616" y="10239"/>
                    <a:pt x="6490" y="10334"/>
                    <a:pt x="6459" y="10428"/>
                  </a:cubicBezTo>
                  <a:lnTo>
                    <a:pt x="6333" y="10964"/>
                  </a:lnTo>
                  <a:lnTo>
                    <a:pt x="5514" y="10964"/>
                  </a:lnTo>
                  <a:lnTo>
                    <a:pt x="5388" y="10428"/>
                  </a:lnTo>
                  <a:cubicBezTo>
                    <a:pt x="5356" y="10334"/>
                    <a:pt x="5230" y="10208"/>
                    <a:pt x="5136" y="10208"/>
                  </a:cubicBezTo>
                  <a:cubicBezTo>
                    <a:pt x="4505" y="10082"/>
                    <a:pt x="3938" y="9861"/>
                    <a:pt x="3434" y="9483"/>
                  </a:cubicBezTo>
                  <a:cubicBezTo>
                    <a:pt x="3371" y="9452"/>
                    <a:pt x="3308" y="9436"/>
                    <a:pt x="3249" y="9436"/>
                  </a:cubicBezTo>
                  <a:cubicBezTo>
                    <a:pt x="3190" y="9436"/>
                    <a:pt x="3135" y="9452"/>
                    <a:pt x="3088" y="9483"/>
                  </a:cubicBezTo>
                  <a:lnTo>
                    <a:pt x="2647" y="9767"/>
                  </a:lnTo>
                  <a:lnTo>
                    <a:pt x="2048" y="9168"/>
                  </a:lnTo>
                  <a:lnTo>
                    <a:pt x="2332" y="8759"/>
                  </a:lnTo>
                  <a:cubicBezTo>
                    <a:pt x="2395" y="8633"/>
                    <a:pt x="2395" y="8475"/>
                    <a:pt x="2332" y="8381"/>
                  </a:cubicBezTo>
                  <a:cubicBezTo>
                    <a:pt x="1985" y="7877"/>
                    <a:pt x="1733" y="7278"/>
                    <a:pt x="1607" y="6711"/>
                  </a:cubicBezTo>
                  <a:cubicBezTo>
                    <a:pt x="1575" y="6585"/>
                    <a:pt x="1512" y="6459"/>
                    <a:pt x="1386" y="6427"/>
                  </a:cubicBezTo>
                  <a:lnTo>
                    <a:pt x="882" y="6301"/>
                  </a:lnTo>
                  <a:lnTo>
                    <a:pt x="882" y="5482"/>
                  </a:lnTo>
                  <a:lnTo>
                    <a:pt x="1386" y="5356"/>
                  </a:lnTo>
                  <a:cubicBezTo>
                    <a:pt x="1512" y="5325"/>
                    <a:pt x="1607" y="5199"/>
                    <a:pt x="1607" y="5073"/>
                  </a:cubicBezTo>
                  <a:cubicBezTo>
                    <a:pt x="1733" y="4442"/>
                    <a:pt x="1985" y="3907"/>
                    <a:pt x="2332" y="3371"/>
                  </a:cubicBezTo>
                  <a:cubicBezTo>
                    <a:pt x="2395" y="3277"/>
                    <a:pt x="2395" y="3151"/>
                    <a:pt x="2332" y="3025"/>
                  </a:cubicBezTo>
                  <a:lnTo>
                    <a:pt x="2048" y="2584"/>
                  </a:lnTo>
                  <a:lnTo>
                    <a:pt x="2647" y="2017"/>
                  </a:lnTo>
                  <a:lnTo>
                    <a:pt x="3088" y="2300"/>
                  </a:lnTo>
                  <a:cubicBezTo>
                    <a:pt x="3135" y="2332"/>
                    <a:pt x="3198" y="2347"/>
                    <a:pt x="3261" y="2347"/>
                  </a:cubicBezTo>
                  <a:cubicBezTo>
                    <a:pt x="3324" y="2347"/>
                    <a:pt x="3387" y="2332"/>
                    <a:pt x="3434" y="2300"/>
                  </a:cubicBezTo>
                  <a:cubicBezTo>
                    <a:pt x="3938" y="1922"/>
                    <a:pt x="4537" y="1702"/>
                    <a:pt x="5136" y="1576"/>
                  </a:cubicBezTo>
                  <a:cubicBezTo>
                    <a:pt x="5230" y="1544"/>
                    <a:pt x="5356" y="1450"/>
                    <a:pt x="5388" y="1292"/>
                  </a:cubicBezTo>
                  <a:lnTo>
                    <a:pt x="5514" y="756"/>
                  </a:lnTo>
                  <a:close/>
                  <a:moveTo>
                    <a:pt x="5167" y="0"/>
                  </a:moveTo>
                  <a:cubicBezTo>
                    <a:pt x="5009" y="0"/>
                    <a:pt x="4852" y="126"/>
                    <a:pt x="4852" y="284"/>
                  </a:cubicBezTo>
                  <a:lnTo>
                    <a:pt x="4694" y="882"/>
                  </a:lnTo>
                  <a:cubicBezTo>
                    <a:pt x="4127" y="977"/>
                    <a:pt x="3623" y="1229"/>
                    <a:pt x="3119" y="1513"/>
                  </a:cubicBezTo>
                  <a:lnTo>
                    <a:pt x="2615" y="1197"/>
                  </a:lnTo>
                  <a:cubicBezTo>
                    <a:pt x="2557" y="1154"/>
                    <a:pt x="2485" y="1130"/>
                    <a:pt x="2412" y="1130"/>
                  </a:cubicBezTo>
                  <a:cubicBezTo>
                    <a:pt x="2327" y="1130"/>
                    <a:pt x="2242" y="1161"/>
                    <a:pt x="2174" y="1229"/>
                  </a:cubicBezTo>
                  <a:lnTo>
                    <a:pt x="1197" y="2206"/>
                  </a:lnTo>
                  <a:cubicBezTo>
                    <a:pt x="1071" y="2332"/>
                    <a:pt x="1071" y="2489"/>
                    <a:pt x="1134" y="2647"/>
                  </a:cubicBezTo>
                  <a:lnTo>
                    <a:pt x="1449" y="3151"/>
                  </a:lnTo>
                  <a:cubicBezTo>
                    <a:pt x="1134" y="3623"/>
                    <a:pt x="945" y="4159"/>
                    <a:pt x="819" y="4726"/>
                  </a:cubicBezTo>
                  <a:lnTo>
                    <a:pt x="284" y="4884"/>
                  </a:lnTo>
                  <a:cubicBezTo>
                    <a:pt x="126" y="4915"/>
                    <a:pt x="0" y="5041"/>
                    <a:pt x="0" y="5199"/>
                  </a:cubicBezTo>
                  <a:lnTo>
                    <a:pt x="0" y="6585"/>
                  </a:lnTo>
                  <a:cubicBezTo>
                    <a:pt x="0" y="6742"/>
                    <a:pt x="126" y="6868"/>
                    <a:pt x="284" y="6900"/>
                  </a:cubicBezTo>
                  <a:lnTo>
                    <a:pt x="819" y="7057"/>
                  </a:lnTo>
                  <a:cubicBezTo>
                    <a:pt x="945" y="7593"/>
                    <a:pt x="1197" y="8129"/>
                    <a:pt x="1449" y="8633"/>
                  </a:cubicBezTo>
                  <a:lnTo>
                    <a:pt x="1134" y="9137"/>
                  </a:lnTo>
                  <a:cubicBezTo>
                    <a:pt x="1071" y="9263"/>
                    <a:pt x="1071" y="9452"/>
                    <a:pt x="1197" y="9578"/>
                  </a:cubicBezTo>
                  <a:lnTo>
                    <a:pt x="2174" y="10554"/>
                  </a:lnTo>
                  <a:cubicBezTo>
                    <a:pt x="2242" y="10622"/>
                    <a:pt x="2318" y="10653"/>
                    <a:pt x="2399" y="10653"/>
                  </a:cubicBezTo>
                  <a:cubicBezTo>
                    <a:pt x="2469" y="10653"/>
                    <a:pt x="2542" y="10630"/>
                    <a:pt x="2615" y="10586"/>
                  </a:cubicBezTo>
                  <a:lnTo>
                    <a:pt x="3119" y="10271"/>
                  </a:lnTo>
                  <a:cubicBezTo>
                    <a:pt x="3592" y="10586"/>
                    <a:pt x="4127" y="10806"/>
                    <a:pt x="4694" y="10901"/>
                  </a:cubicBezTo>
                  <a:lnTo>
                    <a:pt x="4852" y="11468"/>
                  </a:lnTo>
                  <a:cubicBezTo>
                    <a:pt x="4883" y="11626"/>
                    <a:pt x="5009" y="11752"/>
                    <a:pt x="5167" y="11752"/>
                  </a:cubicBezTo>
                  <a:lnTo>
                    <a:pt x="6553" y="11752"/>
                  </a:lnTo>
                  <a:cubicBezTo>
                    <a:pt x="6711" y="11752"/>
                    <a:pt x="6805" y="11626"/>
                    <a:pt x="6868" y="11468"/>
                  </a:cubicBezTo>
                  <a:lnTo>
                    <a:pt x="7026" y="10901"/>
                  </a:lnTo>
                  <a:cubicBezTo>
                    <a:pt x="7561" y="10806"/>
                    <a:pt x="8065" y="10554"/>
                    <a:pt x="8601" y="10271"/>
                  </a:cubicBezTo>
                  <a:lnTo>
                    <a:pt x="9105" y="10586"/>
                  </a:lnTo>
                  <a:cubicBezTo>
                    <a:pt x="9164" y="10630"/>
                    <a:pt x="9236" y="10653"/>
                    <a:pt x="9309" y="10653"/>
                  </a:cubicBezTo>
                  <a:cubicBezTo>
                    <a:pt x="9393" y="10653"/>
                    <a:pt x="9479" y="10622"/>
                    <a:pt x="9546" y="10554"/>
                  </a:cubicBezTo>
                  <a:lnTo>
                    <a:pt x="10523" y="9578"/>
                  </a:lnTo>
                  <a:cubicBezTo>
                    <a:pt x="10649" y="9452"/>
                    <a:pt x="10649" y="9294"/>
                    <a:pt x="10554" y="9137"/>
                  </a:cubicBezTo>
                  <a:lnTo>
                    <a:pt x="10239" y="8633"/>
                  </a:lnTo>
                  <a:cubicBezTo>
                    <a:pt x="10554" y="8160"/>
                    <a:pt x="10743" y="7656"/>
                    <a:pt x="10869" y="7057"/>
                  </a:cubicBezTo>
                  <a:lnTo>
                    <a:pt x="11468" y="6900"/>
                  </a:lnTo>
                  <a:cubicBezTo>
                    <a:pt x="11626" y="6868"/>
                    <a:pt x="11752" y="6742"/>
                    <a:pt x="11752" y="6585"/>
                  </a:cubicBezTo>
                  <a:lnTo>
                    <a:pt x="11752" y="5199"/>
                  </a:lnTo>
                  <a:cubicBezTo>
                    <a:pt x="11752" y="5041"/>
                    <a:pt x="11626" y="4915"/>
                    <a:pt x="11468" y="4884"/>
                  </a:cubicBezTo>
                  <a:lnTo>
                    <a:pt x="10869" y="4726"/>
                  </a:lnTo>
                  <a:cubicBezTo>
                    <a:pt x="10743" y="4159"/>
                    <a:pt x="10523" y="3655"/>
                    <a:pt x="10239" y="3151"/>
                  </a:cubicBezTo>
                  <a:lnTo>
                    <a:pt x="10554" y="2647"/>
                  </a:lnTo>
                  <a:cubicBezTo>
                    <a:pt x="10649" y="2521"/>
                    <a:pt x="10649" y="2332"/>
                    <a:pt x="10523" y="2206"/>
                  </a:cubicBezTo>
                  <a:lnTo>
                    <a:pt x="9546" y="1229"/>
                  </a:lnTo>
                  <a:cubicBezTo>
                    <a:pt x="9479" y="1161"/>
                    <a:pt x="9402" y="1130"/>
                    <a:pt x="9321" y="1130"/>
                  </a:cubicBezTo>
                  <a:cubicBezTo>
                    <a:pt x="9251" y="1130"/>
                    <a:pt x="9178" y="1154"/>
                    <a:pt x="9105" y="1197"/>
                  </a:cubicBezTo>
                  <a:lnTo>
                    <a:pt x="8601" y="1513"/>
                  </a:lnTo>
                  <a:cubicBezTo>
                    <a:pt x="8128" y="1197"/>
                    <a:pt x="7593" y="977"/>
                    <a:pt x="7026" y="882"/>
                  </a:cubicBezTo>
                  <a:lnTo>
                    <a:pt x="6868" y="284"/>
                  </a:lnTo>
                  <a:cubicBezTo>
                    <a:pt x="6805" y="126"/>
                    <a:pt x="6711" y="0"/>
                    <a:pt x="6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3" name="Google Shape;8003;p77"/>
            <p:cNvSpPr/>
            <p:nvPr/>
          </p:nvSpPr>
          <p:spPr>
            <a:xfrm>
              <a:off x="-4521500" y="2099400"/>
              <a:ext cx="189050" cy="188275"/>
            </a:xfrm>
            <a:custGeom>
              <a:avLst/>
              <a:gdLst/>
              <a:ahLst/>
              <a:cxnLst/>
              <a:rect l="l" t="t" r="r" b="b"/>
              <a:pathLst>
                <a:path w="7562" h="7531" extrusionOk="0">
                  <a:moveTo>
                    <a:pt x="3750" y="662"/>
                  </a:moveTo>
                  <a:cubicBezTo>
                    <a:pt x="5451" y="662"/>
                    <a:pt x="6837" y="2017"/>
                    <a:pt x="6837" y="3718"/>
                  </a:cubicBezTo>
                  <a:cubicBezTo>
                    <a:pt x="6869" y="5104"/>
                    <a:pt x="6049" y="6239"/>
                    <a:pt x="4821" y="6648"/>
                  </a:cubicBezTo>
                  <a:lnTo>
                    <a:pt x="4821" y="5892"/>
                  </a:lnTo>
                  <a:cubicBezTo>
                    <a:pt x="5640" y="5514"/>
                    <a:pt x="6207" y="4663"/>
                    <a:pt x="6207" y="3718"/>
                  </a:cubicBezTo>
                  <a:cubicBezTo>
                    <a:pt x="6207" y="2710"/>
                    <a:pt x="5577" y="1796"/>
                    <a:pt x="4569" y="1481"/>
                  </a:cubicBezTo>
                  <a:cubicBezTo>
                    <a:pt x="4535" y="1472"/>
                    <a:pt x="4501" y="1467"/>
                    <a:pt x="4468" y="1467"/>
                  </a:cubicBezTo>
                  <a:cubicBezTo>
                    <a:pt x="4278" y="1467"/>
                    <a:pt x="4096" y="1609"/>
                    <a:pt x="4096" y="1796"/>
                  </a:cubicBezTo>
                  <a:lnTo>
                    <a:pt x="4096" y="3372"/>
                  </a:lnTo>
                  <a:lnTo>
                    <a:pt x="3435" y="3372"/>
                  </a:lnTo>
                  <a:lnTo>
                    <a:pt x="3435" y="1796"/>
                  </a:lnTo>
                  <a:cubicBezTo>
                    <a:pt x="3435" y="1609"/>
                    <a:pt x="3276" y="1467"/>
                    <a:pt x="3073" y="1467"/>
                  </a:cubicBezTo>
                  <a:cubicBezTo>
                    <a:pt x="3037" y="1467"/>
                    <a:pt x="3000" y="1472"/>
                    <a:pt x="2962" y="1481"/>
                  </a:cubicBezTo>
                  <a:cubicBezTo>
                    <a:pt x="2017" y="1828"/>
                    <a:pt x="1355" y="2742"/>
                    <a:pt x="1355" y="3718"/>
                  </a:cubicBezTo>
                  <a:cubicBezTo>
                    <a:pt x="1355" y="4663"/>
                    <a:pt x="1891" y="5514"/>
                    <a:pt x="2741" y="5892"/>
                  </a:cubicBezTo>
                  <a:lnTo>
                    <a:pt x="2741" y="6648"/>
                  </a:lnTo>
                  <a:cubicBezTo>
                    <a:pt x="1544" y="6207"/>
                    <a:pt x="694" y="5073"/>
                    <a:pt x="694" y="3718"/>
                  </a:cubicBezTo>
                  <a:cubicBezTo>
                    <a:pt x="694" y="2017"/>
                    <a:pt x="2048" y="662"/>
                    <a:pt x="3750" y="662"/>
                  </a:cubicBezTo>
                  <a:close/>
                  <a:moveTo>
                    <a:pt x="4852" y="2363"/>
                  </a:moveTo>
                  <a:cubicBezTo>
                    <a:pt x="5293" y="2679"/>
                    <a:pt x="5514" y="3183"/>
                    <a:pt x="5514" y="3718"/>
                  </a:cubicBezTo>
                  <a:cubicBezTo>
                    <a:pt x="5514" y="4443"/>
                    <a:pt x="5041" y="5104"/>
                    <a:pt x="4380" y="5356"/>
                  </a:cubicBezTo>
                  <a:cubicBezTo>
                    <a:pt x="4254" y="5388"/>
                    <a:pt x="4159" y="5545"/>
                    <a:pt x="4159" y="5671"/>
                  </a:cubicBezTo>
                  <a:lnTo>
                    <a:pt x="4159" y="6806"/>
                  </a:lnTo>
                  <a:lnTo>
                    <a:pt x="3781" y="6806"/>
                  </a:lnTo>
                  <a:cubicBezTo>
                    <a:pt x="3734" y="6821"/>
                    <a:pt x="3679" y="6829"/>
                    <a:pt x="3624" y="6829"/>
                  </a:cubicBezTo>
                  <a:cubicBezTo>
                    <a:pt x="3568" y="6829"/>
                    <a:pt x="3513" y="6821"/>
                    <a:pt x="3466" y="6806"/>
                  </a:cubicBezTo>
                  <a:lnTo>
                    <a:pt x="3466" y="5671"/>
                  </a:lnTo>
                  <a:cubicBezTo>
                    <a:pt x="3466" y="5514"/>
                    <a:pt x="3403" y="5388"/>
                    <a:pt x="3246" y="5356"/>
                  </a:cubicBezTo>
                  <a:cubicBezTo>
                    <a:pt x="2584" y="5104"/>
                    <a:pt x="2111" y="4443"/>
                    <a:pt x="2111" y="3718"/>
                  </a:cubicBezTo>
                  <a:cubicBezTo>
                    <a:pt x="2111" y="3183"/>
                    <a:pt x="2363" y="2679"/>
                    <a:pt x="2773" y="2363"/>
                  </a:cubicBezTo>
                  <a:lnTo>
                    <a:pt x="2773" y="3718"/>
                  </a:lnTo>
                  <a:cubicBezTo>
                    <a:pt x="2773" y="3939"/>
                    <a:pt x="2930" y="4096"/>
                    <a:pt x="3120" y="4096"/>
                  </a:cubicBezTo>
                  <a:lnTo>
                    <a:pt x="4506" y="4096"/>
                  </a:lnTo>
                  <a:cubicBezTo>
                    <a:pt x="4695" y="4096"/>
                    <a:pt x="4852" y="3939"/>
                    <a:pt x="4852" y="3718"/>
                  </a:cubicBezTo>
                  <a:lnTo>
                    <a:pt x="4852" y="2363"/>
                  </a:lnTo>
                  <a:close/>
                  <a:moveTo>
                    <a:pt x="3781" y="1"/>
                  </a:moveTo>
                  <a:cubicBezTo>
                    <a:pt x="1702" y="1"/>
                    <a:pt x="1" y="1670"/>
                    <a:pt x="1" y="3781"/>
                  </a:cubicBezTo>
                  <a:cubicBezTo>
                    <a:pt x="1" y="5861"/>
                    <a:pt x="1702" y="7530"/>
                    <a:pt x="3781" y="7530"/>
                  </a:cubicBezTo>
                  <a:cubicBezTo>
                    <a:pt x="5892" y="7530"/>
                    <a:pt x="7562" y="5861"/>
                    <a:pt x="7562" y="3781"/>
                  </a:cubicBezTo>
                  <a:cubicBezTo>
                    <a:pt x="7562" y="1670"/>
                    <a:pt x="5892" y="1"/>
                    <a:pt x="378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04" name="Google Shape;8004;p77"/>
          <p:cNvGrpSpPr/>
          <p:nvPr/>
        </p:nvGrpSpPr>
        <p:grpSpPr>
          <a:xfrm>
            <a:off x="5457170" y="2851600"/>
            <a:ext cx="567124" cy="565633"/>
            <a:chOff x="-4570325" y="2405775"/>
            <a:chExt cx="294600" cy="293825"/>
          </a:xfrm>
        </p:grpSpPr>
        <p:sp>
          <p:nvSpPr>
            <p:cNvPr id="8005" name="Google Shape;8005;p77"/>
            <p:cNvSpPr/>
            <p:nvPr/>
          </p:nvSpPr>
          <p:spPr>
            <a:xfrm>
              <a:off x="-4570325" y="2405775"/>
              <a:ext cx="294600" cy="293825"/>
            </a:xfrm>
            <a:custGeom>
              <a:avLst/>
              <a:gdLst/>
              <a:ahLst/>
              <a:cxnLst/>
              <a:rect l="l" t="t" r="r" b="b"/>
              <a:pathLst>
                <a:path w="11784" h="11753" extrusionOk="0">
                  <a:moveTo>
                    <a:pt x="5734" y="694"/>
                  </a:moveTo>
                  <a:cubicBezTo>
                    <a:pt x="7624" y="694"/>
                    <a:pt x="9168" y="2238"/>
                    <a:pt x="9168" y="4128"/>
                  </a:cubicBezTo>
                  <a:cubicBezTo>
                    <a:pt x="9168" y="6050"/>
                    <a:pt x="7624" y="7594"/>
                    <a:pt x="5734" y="7594"/>
                  </a:cubicBezTo>
                  <a:cubicBezTo>
                    <a:pt x="3844" y="7594"/>
                    <a:pt x="2332" y="6018"/>
                    <a:pt x="2332" y="4128"/>
                  </a:cubicBezTo>
                  <a:cubicBezTo>
                    <a:pt x="2332" y="2238"/>
                    <a:pt x="3844" y="694"/>
                    <a:pt x="5734" y="694"/>
                  </a:cubicBezTo>
                  <a:close/>
                  <a:moveTo>
                    <a:pt x="977" y="7531"/>
                  </a:moveTo>
                  <a:cubicBezTo>
                    <a:pt x="1166" y="7531"/>
                    <a:pt x="1323" y="7688"/>
                    <a:pt x="1323" y="7909"/>
                  </a:cubicBezTo>
                  <a:cubicBezTo>
                    <a:pt x="1292" y="8129"/>
                    <a:pt x="1134" y="8255"/>
                    <a:pt x="977" y="8255"/>
                  </a:cubicBezTo>
                  <a:cubicBezTo>
                    <a:pt x="788" y="8255"/>
                    <a:pt x="630" y="8098"/>
                    <a:pt x="630" y="7909"/>
                  </a:cubicBezTo>
                  <a:cubicBezTo>
                    <a:pt x="630" y="7688"/>
                    <a:pt x="788" y="7531"/>
                    <a:pt x="977" y="7531"/>
                  </a:cubicBezTo>
                  <a:close/>
                  <a:moveTo>
                    <a:pt x="10586" y="7531"/>
                  </a:moveTo>
                  <a:cubicBezTo>
                    <a:pt x="10775" y="7531"/>
                    <a:pt x="10932" y="7688"/>
                    <a:pt x="10932" y="7909"/>
                  </a:cubicBezTo>
                  <a:cubicBezTo>
                    <a:pt x="10932" y="8129"/>
                    <a:pt x="10775" y="8255"/>
                    <a:pt x="10586" y="8255"/>
                  </a:cubicBezTo>
                  <a:cubicBezTo>
                    <a:pt x="10397" y="8255"/>
                    <a:pt x="10239" y="8098"/>
                    <a:pt x="10239" y="7909"/>
                  </a:cubicBezTo>
                  <a:cubicBezTo>
                    <a:pt x="10239" y="7688"/>
                    <a:pt x="10397" y="7531"/>
                    <a:pt x="10586" y="7531"/>
                  </a:cubicBezTo>
                  <a:close/>
                  <a:moveTo>
                    <a:pt x="3025" y="9641"/>
                  </a:moveTo>
                  <a:cubicBezTo>
                    <a:pt x="3214" y="9641"/>
                    <a:pt x="3371" y="9799"/>
                    <a:pt x="3371" y="9988"/>
                  </a:cubicBezTo>
                  <a:cubicBezTo>
                    <a:pt x="3340" y="10177"/>
                    <a:pt x="3214" y="10335"/>
                    <a:pt x="3025" y="10335"/>
                  </a:cubicBezTo>
                  <a:cubicBezTo>
                    <a:pt x="2836" y="10335"/>
                    <a:pt x="2678" y="10177"/>
                    <a:pt x="2678" y="9988"/>
                  </a:cubicBezTo>
                  <a:cubicBezTo>
                    <a:pt x="2678" y="9799"/>
                    <a:pt x="2836" y="9641"/>
                    <a:pt x="3025" y="9641"/>
                  </a:cubicBezTo>
                  <a:close/>
                  <a:moveTo>
                    <a:pt x="8475" y="9641"/>
                  </a:moveTo>
                  <a:cubicBezTo>
                    <a:pt x="8696" y="9641"/>
                    <a:pt x="8822" y="9799"/>
                    <a:pt x="8822" y="9988"/>
                  </a:cubicBezTo>
                  <a:cubicBezTo>
                    <a:pt x="8822" y="10177"/>
                    <a:pt x="8664" y="10335"/>
                    <a:pt x="8475" y="10335"/>
                  </a:cubicBezTo>
                  <a:cubicBezTo>
                    <a:pt x="8255" y="10335"/>
                    <a:pt x="8128" y="10177"/>
                    <a:pt x="8128" y="9988"/>
                  </a:cubicBezTo>
                  <a:cubicBezTo>
                    <a:pt x="8128" y="9799"/>
                    <a:pt x="8255" y="9641"/>
                    <a:pt x="8475" y="9641"/>
                  </a:cubicBezTo>
                  <a:close/>
                  <a:moveTo>
                    <a:pt x="5734" y="10303"/>
                  </a:moveTo>
                  <a:cubicBezTo>
                    <a:pt x="5955" y="10303"/>
                    <a:pt x="6112" y="10461"/>
                    <a:pt x="6112" y="10650"/>
                  </a:cubicBezTo>
                  <a:cubicBezTo>
                    <a:pt x="6112" y="10839"/>
                    <a:pt x="5955" y="10996"/>
                    <a:pt x="5734" y="10996"/>
                  </a:cubicBezTo>
                  <a:cubicBezTo>
                    <a:pt x="5545" y="10996"/>
                    <a:pt x="5388" y="10839"/>
                    <a:pt x="5388" y="10650"/>
                  </a:cubicBezTo>
                  <a:cubicBezTo>
                    <a:pt x="5388" y="10461"/>
                    <a:pt x="5545" y="10303"/>
                    <a:pt x="5734" y="10303"/>
                  </a:cubicBezTo>
                  <a:close/>
                  <a:moveTo>
                    <a:pt x="5797" y="1"/>
                  </a:moveTo>
                  <a:cubicBezTo>
                    <a:pt x="3497" y="1"/>
                    <a:pt x="1701" y="1860"/>
                    <a:pt x="1701" y="4097"/>
                  </a:cubicBezTo>
                  <a:cubicBezTo>
                    <a:pt x="1701" y="5010"/>
                    <a:pt x="2017" y="5924"/>
                    <a:pt x="2552" y="6617"/>
                  </a:cubicBezTo>
                  <a:lnTo>
                    <a:pt x="1701" y="7153"/>
                  </a:lnTo>
                  <a:cubicBezTo>
                    <a:pt x="1481" y="6995"/>
                    <a:pt x="1260" y="6901"/>
                    <a:pt x="1040" y="6901"/>
                  </a:cubicBezTo>
                  <a:cubicBezTo>
                    <a:pt x="473" y="6901"/>
                    <a:pt x="0" y="7373"/>
                    <a:pt x="0" y="7940"/>
                  </a:cubicBezTo>
                  <a:cubicBezTo>
                    <a:pt x="0" y="8476"/>
                    <a:pt x="473" y="8948"/>
                    <a:pt x="1040" y="8948"/>
                  </a:cubicBezTo>
                  <a:cubicBezTo>
                    <a:pt x="1575" y="8948"/>
                    <a:pt x="2048" y="8476"/>
                    <a:pt x="2048" y="7940"/>
                  </a:cubicBezTo>
                  <a:lnTo>
                    <a:pt x="2048" y="7751"/>
                  </a:lnTo>
                  <a:lnTo>
                    <a:pt x="3088" y="7153"/>
                  </a:lnTo>
                  <a:cubicBezTo>
                    <a:pt x="3340" y="7373"/>
                    <a:pt x="3623" y="7625"/>
                    <a:pt x="3970" y="7783"/>
                  </a:cubicBezTo>
                  <a:lnTo>
                    <a:pt x="3308" y="8948"/>
                  </a:lnTo>
                  <a:lnTo>
                    <a:pt x="3119" y="8948"/>
                  </a:lnTo>
                  <a:cubicBezTo>
                    <a:pt x="2552" y="8948"/>
                    <a:pt x="2080" y="9421"/>
                    <a:pt x="2080" y="9988"/>
                  </a:cubicBezTo>
                  <a:cubicBezTo>
                    <a:pt x="2080" y="10524"/>
                    <a:pt x="2552" y="10996"/>
                    <a:pt x="3119" y="10996"/>
                  </a:cubicBezTo>
                  <a:cubicBezTo>
                    <a:pt x="3655" y="10996"/>
                    <a:pt x="4127" y="10524"/>
                    <a:pt x="4127" y="9988"/>
                  </a:cubicBezTo>
                  <a:cubicBezTo>
                    <a:pt x="4127" y="9736"/>
                    <a:pt x="4064" y="9515"/>
                    <a:pt x="3907" y="9326"/>
                  </a:cubicBezTo>
                  <a:lnTo>
                    <a:pt x="4600" y="8098"/>
                  </a:lnTo>
                  <a:cubicBezTo>
                    <a:pt x="4883" y="8161"/>
                    <a:pt x="5199" y="8255"/>
                    <a:pt x="5514" y="8287"/>
                  </a:cubicBezTo>
                  <a:lnTo>
                    <a:pt x="5514" y="9736"/>
                  </a:lnTo>
                  <a:cubicBezTo>
                    <a:pt x="5136" y="9894"/>
                    <a:pt x="4852" y="10272"/>
                    <a:pt x="4852" y="10713"/>
                  </a:cubicBezTo>
                  <a:cubicBezTo>
                    <a:pt x="4852" y="11280"/>
                    <a:pt x="5325" y="11752"/>
                    <a:pt x="5860" y="11752"/>
                  </a:cubicBezTo>
                  <a:cubicBezTo>
                    <a:pt x="6427" y="11752"/>
                    <a:pt x="6900" y="11280"/>
                    <a:pt x="6900" y="10713"/>
                  </a:cubicBezTo>
                  <a:cubicBezTo>
                    <a:pt x="6900" y="10303"/>
                    <a:pt x="6616" y="9894"/>
                    <a:pt x="6238" y="9736"/>
                  </a:cubicBezTo>
                  <a:lnTo>
                    <a:pt x="6238" y="8287"/>
                  </a:lnTo>
                  <a:cubicBezTo>
                    <a:pt x="6553" y="8255"/>
                    <a:pt x="6868" y="8224"/>
                    <a:pt x="7120" y="8098"/>
                  </a:cubicBezTo>
                  <a:lnTo>
                    <a:pt x="7845" y="9326"/>
                  </a:lnTo>
                  <a:cubicBezTo>
                    <a:pt x="7687" y="9515"/>
                    <a:pt x="7593" y="9736"/>
                    <a:pt x="7593" y="9988"/>
                  </a:cubicBezTo>
                  <a:cubicBezTo>
                    <a:pt x="7593" y="10524"/>
                    <a:pt x="8065" y="10996"/>
                    <a:pt x="8633" y="10996"/>
                  </a:cubicBezTo>
                  <a:cubicBezTo>
                    <a:pt x="9168" y="10996"/>
                    <a:pt x="9641" y="10524"/>
                    <a:pt x="9641" y="9988"/>
                  </a:cubicBezTo>
                  <a:cubicBezTo>
                    <a:pt x="9641" y="9421"/>
                    <a:pt x="9168" y="8948"/>
                    <a:pt x="8633" y="8948"/>
                  </a:cubicBezTo>
                  <a:lnTo>
                    <a:pt x="8444" y="8948"/>
                  </a:lnTo>
                  <a:lnTo>
                    <a:pt x="7750" y="7783"/>
                  </a:lnTo>
                  <a:cubicBezTo>
                    <a:pt x="8065" y="7625"/>
                    <a:pt x="8381" y="7373"/>
                    <a:pt x="8664" y="7153"/>
                  </a:cubicBezTo>
                  <a:lnTo>
                    <a:pt x="9735" y="7751"/>
                  </a:lnTo>
                  <a:lnTo>
                    <a:pt x="9735" y="7940"/>
                  </a:lnTo>
                  <a:cubicBezTo>
                    <a:pt x="9735" y="8476"/>
                    <a:pt x="10208" y="8948"/>
                    <a:pt x="10743" y="8948"/>
                  </a:cubicBezTo>
                  <a:cubicBezTo>
                    <a:pt x="11310" y="8948"/>
                    <a:pt x="11783" y="8476"/>
                    <a:pt x="11783" y="7940"/>
                  </a:cubicBezTo>
                  <a:cubicBezTo>
                    <a:pt x="11626" y="7342"/>
                    <a:pt x="11153" y="6901"/>
                    <a:pt x="10586" y="6901"/>
                  </a:cubicBezTo>
                  <a:cubicBezTo>
                    <a:pt x="10302" y="6901"/>
                    <a:pt x="10082" y="6995"/>
                    <a:pt x="9924" y="7153"/>
                  </a:cubicBezTo>
                  <a:lnTo>
                    <a:pt x="9011" y="6617"/>
                  </a:lnTo>
                  <a:cubicBezTo>
                    <a:pt x="9578" y="5924"/>
                    <a:pt x="9893" y="5010"/>
                    <a:pt x="9893" y="4097"/>
                  </a:cubicBezTo>
                  <a:cubicBezTo>
                    <a:pt x="9893" y="1828"/>
                    <a:pt x="8034" y="1"/>
                    <a:pt x="57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6" name="Google Shape;8006;p77"/>
            <p:cNvSpPr/>
            <p:nvPr/>
          </p:nvSpPr>
          <p:spPr>
            <a:xfrm>
              <a:off x="-4478175" y="2439650"/>
              <a:ext cx="103975" cy="120525"/>
            </a:xfrm>
            <a:custGeom>
              <a:avLst/>
              <a:gdLst/>
              <a:ahLst/>
              <a:cxnLst/>
              <a:rect l="l" t="t" r="r" b="b"/>
              <a:pathLst>
                <a:path w="4159" h="4821" extrusionOk="0">
                  <a:moveTo>
                    <a:pt x="2048" y="725"/>
                  </a:moveTo>
                  <a:cubicBezTo>
                    <a:pt x="2458" y="725"/>
                    <a:pt x="2741" y="1040"/>
                    <a:pt x="2741" y="1387"/>
                  </a:cubicBezTo>
                  <a:cubicBezTo>
                    <a:pt x="2741" y="1765"/>
                    <a:pt x="2426" y="2049"/>
                    <a:pt x="2048" y="2049"/>
                  </a:cubicBezTo>
                  <a:cubicBezTo>
                    <a:pt x="1702" y="2049"/>
                    <a:pt x="1387" y="1733"/>
                    <a:pt x="1387" y="1387"/>
                  </a:cubicBezTo>
                  <a:cubicBezTo>
                    <a:pt x="1387" y="1040"/>
                    <a:pt x="1702" y="725"/>
                    <a:pt x="2048" y="725"/>
                  </a:cubicBezTo>
                  <a:close/>
                  <a:moveTo>
                    <a:pt x="2363" y="2773"/>
                  </a:moveTo>
                  <a:cubicBezTo>
                    <a:pt x="2930" y="2773"/>
                    <a:pt x="3403" y="3246"/>
                    <a:pt x="3403" y="3781"/>
                  </a:cubicBezTo>
                  <a:lnTo>
                    <a:pt x="3403" y="4128"/>
                  </a:lnTo>
                  <a:lnTo>
                    <a:pt x="630" y="4128"/>
                  </a:lnTo>
                  <a:lnTo>
                    <a:pt x="630" y="3781"/>
                  </a:lnTo>
                  <a:lnTo>
                    <a:pt x="693" y="3781"/>
                  </a:lnTo>
                  <a:cubicBezTo>
                    <a:pt x="693" y="3246"/>
                    <a:pt x="1166" y="2773"/>
                    <a:pt x="1702" y="2773"/>
                  </a:cubicBezTo>
                  <a:close/>
                  <a:moveTo>
                    <a:pt x="2111" y="1"/>
                  </a:moveTo>
                  <a:cubicBezTo>
                    <a:pt x="1355" y="1"/>
                    <a:pt x="725" y="631"/>
                    <a:pt x="725" y="1387"/>
                  </a:cubicBezTo>
                  <a:cubicBezTo>
                    <a:pt x="725" y="1702"/>
                    <a:pt x="851" y="2017"/>
                    <a:pt x="1040" y="2238"/>
                  </a:cubicBezTo>
                  <a:cubicBezTo>
                    <a:pt x="441" y="2521"/>
                    <a:pt x="63" y="3120"/>
                    <a:pt x="63" y="3781"/>
                  </a:cubicBezTo>
                  <a:lnTo>
                    <a:pt x="63" y="4443"/>
                  </a:lnTo>
                  <a:cubicBezTo>
                    <a:pt x="0" y="4663"/>
                    <a:pt x="158" y="4821"/>
                    <a:pt x="378" y="4821"/>
                  </a:cubicBezTo>
                  <a:lnTo>
                    <a:pt x="3781" y="4821"/>
                  </a:lnTo>
                  <a:cubicBezTo>
                    <a:pt x="4001" y="4821"/>
                    <a:pt x="4159" y="4663"/>
                    <a:pt x="4159" y="4443"/>
                  </a:cubicBezTo>
                  <a:lnTo>
                    <a:pt x="4159" y="3781"/>
                  </a:lnTo>
                  <a:cubicBezTo>
                    <a:pt x="4159" y="3120"/>
                    <a:pt x="3749" y="2521"/>
                    <a:pt x="3151" y="2238"/>
                  </a:cubicBezTo>
                  <a:cubicBezTo>
                    <a:pt x="3371" y="2017"/>
                    <a:pt x="3466" y="1733"/>
                    <a:pt x="3466" y="1387"/>
                  </a:cubicBezTo>
                  <a:cubicBezTo>
                    <a:pt x="3466" y="631"/>
                    <a:pt x="2836" y="1"/>
                    <a:pt x="211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07" name="Google Shape;8007;p77"/>
          <p:cNvGrpSpPr/>
          <p:nvPr/>
        </p:nvGrpSpPr>
        <p:grpSpPr>
          <a:xfrm>
            <a:off x="5474594" y="3546451"/>
            <a:ext cx="564092" cy="564044"/>
            <a:chOff x="-4572700" y="2764950"/>
            <a:chExt cx="293025" cy="293000"/>
          </a:xfrm>
        </p:grpSpPr>
        <p:sp>
          <p:nvSpPr>
            <p:cNvPr id="8008" name="Google Shape;8008;p77"/>
            <p:cNvSpPr/>
            <p:nvPr/>
          </p:nvSpPr>
          <p:spPr>
            <a:xfrm>
              <a:off x="-4572700" y="2764950"/>
              <a:ext cx="293025" cy="293000"/>
            </a:xfrm>
            <a:custGeom>
              <a:avLst/>
              <a:gdLst/>
              <a:ahLst/>
              <a:cxnLst/>
              <a:rect l="l" t="t" r="r" b="b"/>
              <a:pathLst>
                <a:path w="11721" h="11720" extrusionOk="0">
                  <a:moveTo>
                    <a:pt x="10681" y="2048"/>
                  </a:moveTo>
                  <a:cubicBezTo>
                    <a:pt x="10870" y="2048"/>
                    <a:pt x="11027" y="2206"/>
                    <a:pt x="11027" y="2395"/>
                  </a:cubicBezTo>
                  <a:lnTo>
                    <a:pt x="11027" y="7246"/>
                  </a:lnTo>
                  <a:cubicBezTo>
                    <a:pt x="11027" y="7435"/>
                    <a:pt x="10870" y="7593"/>
                    <a:pt x="10681" y="7593"/>
                  </a:cubicBezTo>
                  <a:lnTo>
                    <a:pt x="1072" y="7593"/>
                  </a:lnTo>
                  <a:cubicBezTo>
                    <a:pt x="883" y="7593"/>
                    <a:pt x="725" y="7435"/>
                    <a:pt x="725" y="7246"/>
                  </a:cubicBezTo>
                  <a:lnTo>
                    <a:pt x="725" y="2395"/>
                  </a:lnTo>
                  <a:cubicBezTo>
                    <a:pt x="725" y="2206"/>
                    <a:pt x="883" y="2048"/>
                    <a:pt x="1072" y="2048"/>
                  </a:cubicBezTo>
                  <a:close/>
                  <a:moveTo>
                    <a:pt x="4821" y="8286"/>
                  </a:moveTo>
                  <a:lnTo>
                    <a:pt x="4821" y="8979"/>
                  </a:lnTo>
                  <a:lnTo>
                    <a:pt x="3435" y="8979"/>
                  </a:lnTo>
                  <a:lnTo>
                    <a:pt x="3435" y="8286"/>
                  </a:lnTo>
                  <a:close/>
                  <a:moveTo>
                    <a:pt x="8287" y="8286"/>
                  </a:moveTo>
                  <a:lnTo>
                    <a:pt x="8287" y="8979"/>
                  </a:lnTo>
                  <a:lnTo>
                    <a:pt x="6869" y="8979"/>
                  </a:lnTo>
                  <a:lnTo>
                    <a:pt x="6869" y="8286"/>
                  </a:lnTo>
                  <a:close/>
                  <a:moveTo>
                    <a:pt x="6207" y="8254"/>
                  </a:moveTo>
                  <a:lnTo>
                    <a:pt x="6207" y="11027"/>
                  </a:lnTo>
                  <a:lnTo>
                    <a:pt x="5514" y="11027"/>
                  </a:lnTo>
                  <a:lnTo>
                    <a:pt x="5514" y="8254"/>
                  </a:lnTo>
                  <a:close/>
                  <a:moveTo>
                    <a:pt x="1733" y="0"/>
                  </a:moveTo>
                  <a:cubicBezTo>
                    <a:pt x="1544" y="0"/>
                    <a:pt x="1387" y="158"/>
                    <a:pt x="1387" y="347"/>
                  </a:cubicBezTo>
                  <a:cubicBezTo>
                    <a:pt x="1387" y="536"/>
                    <a:pt x="1544" y="693"/>
                    <a:pt x="1733" y="693"/>
                  </a:cubicBezTo>
                  <a:lnTo>
                    <a:pt x="2112" y="693"/>
                  </a:lnTo>
                  <a:lnTo>
                    <a:pt x="2112" y="1355"/>
                  </a:lnTo>
                  <a:lnTo>
                    <a:pt x="1072" y="1355"/>
                  </a:lnTo>
                  <a:cubicBezTo>
                    <a:pt x="536" y="1355"/>
                    <a:pt x="64" y="1827"/>
                    <a:pt x="64" y="2395"/>
                  </a:cubicBezTo>
                  <a:lnTo>
                    <a:pt x="64" y="7246"/>
                  </a:lnTo>
                  <a:cubicBezTo>
                    <a:pt x="64" y="7782"/>
                    <a:pt x="536" y="8254"/>
                    <a:pt x="1072" y="8254"/>
                  </a:cubicBezTo>
                  <a:lnTo>
                    <a:pt x="2773" y="8254"/>
                  </a:lnTo>
                  <a:lnTo>
                    <a:pt x="2773" y="8916"/>
                  </a:lnTo>
                  <a:lnTo>
                    <a:pt x="1733" y="8916"/>
                  </a:lnTo>
                  <a:cubicBezTo>
                    <a:pt x="1544" y="8916"/>
                    <a:pt x="1387" y="9074"/>
                    <a:pt x="1387" y="9294"/>
                  </a:cubicBezTo>
                  <a:cubicBezTo>
                    <a:pt x="1387" y="9483"/>
                    <a:pt x="1544" y="9641"/>
                    <a:pt x="1733" y="9641"/>
                  </a:cubicBezTo>
                  <a:lnTo>
                    <a:pt x="4821" y="9641"/>
                  </a:lnTo>
                  <a:lnTo>
                    <a:pt x="4821" y="11027"/>
                  </a:lnTo>
                  <a:lnTo>
                    <a:pt x="379" y="11027"/>
                  </a:lnTo>
                  <a:cubicBezTo>
                    <a:pt x="158" y="11027"/>
                    <a:pt x="1" y="11184"/>
                    <a:pt x="1" y="11373"/>
                  </a:cubicBezTo>
                  <a:cubicBezTo>
                    <a:pt x="1" y="11562"/>
                    <a:pt x="158" y="11720"/>
                    <a:pt x="379" y="11720"/>
                  </a:cubicBezTo>
                  <a:lnTo>
                    <a:pt x="11342" y="11720"/>
                  </a:lnTo>
                  <a:cubicBezTo>
                    <a:pt x="11563" y="11720"/>
                    <a:pt x="11721" y="11562"/>
                    <a:pt x="11721" y="11373"/>
                  </a:cubicBezTo>
                  <a:cubicBezTo>
                    <a:pt x="11721" y="11184"/>
                    <a:pt x="11563" y="11027"/>
                    <a:pt x="11342" y="11027"/>
                  </a:cubicBezTo>
                  <a:lnTo>
                    <a:pt x="6869" y="11027"/>
                  </a:lnTo>
                  <a:lnTo>
                    <a:pt x="6869" y="9641"/>
                  </a:lnTo>
                  <a:lnTo>
                    <a:pt x="9988" y="9641"/>
                  </a:lnTo>
                  <a:cubicBezTo>
                    <a:pt x="10177" y="9641"/>
                    <a:pt x="10334" y="9483"/>
                    <a:pt x="10334" y="9294"/>
                  </a:cubicBezTo>
                  <a:cubicBezTo>
                    <a:pt x="10334" y="9074"/>
                    <a:pt x="10177" y="8916"/>
                    <a:pt x="9988" y="8916"/>
                  </a:cubicBezTo>
                  <a:lnTo>
                    <a:pt x="8948" y="8916"/>
                  </a:lnTo>
                  <a:lnTo>
                    <a:pt x="8948" y="8254"/>
                  </a:lnTo>
                  <a:lnTo>
                    <a:pt x="10681" y="8254"/>
                  </a:lnTo>
                  <a:cubicBezTo>
                    <a:pt x="11248" y="8254"/>
                    <a:pt x="11721" y="7782"/>
                    <a:pt x="11721" y="7246"/>
                  </a:cubicBezTo>
                  <a:lnTo>
                    <a:pt x="11721" y="2395"/>
                  </a:lnTo>
                  <a:cubicBezTo>
                    <a:pt x="11721" y="1827"/>
                    <a:pt x="11248" y="1355"/>
                    <a:pt x="10681" y="1355"/>
                  </a:cubicBezTo>
                  <a:lnTo>
                    <a:pt x="9673" y="1355"/>
                  </a:lnTo>
                  <a:lnTo>
                    <a:pt x="9673" y="693"/>
                  </a:lnTo>
                  <a:lnTo>
                    <a:pt x="10019" y="693"/>
                  </a:lnTo>
                  <a:cubicBezTo>
                    <a:pt x="10208" y="693"/>
                    <a:pt x="10366" y="536"/>
                    <a:pt x="10366" y="347"/>
                  </a:cubicBezTo>
                  <a:cubicBezTo>
                    <a:pt x="10366" y="158"/>
                    <a:pt x="10208" y="0"/>
                    <a:pt x="10019" y="0"/>
                  </a:cubicBezTo>
                  <a:lnTo>
                    <a:pt x="8633" y="0"/>
                  </a:lnTo>
                  <a:cubicBezTo>
                    <a:pt x="8444" y="0"/>
                    <a:pt x="8287" y="158"/>
                    <a:pt x="8287" y="347"/>
                  </a:cubicBezTo>
                  <a:cubicBezTo>
                    <a:pt x="8287" y="536"/>
                    <a:pt x="8444" y="693"/>
                    <a:pt x="8633" y="693"/>
                  </a:cubicBezTo>
                  <a:lnTo>
                    <a:pt x="8980" y="693"/>
                  </a:lnTo>
                  <a:lnTo>
                    <a:pt x="8980" y="1355"/>
                  </a:lnTo>
                  <a:lnTo>
                    <a:pt x="6207" y="1355"/>
                  </a:lnTo>
                  <a:lnTo>
                    <a:pt x="6207" y="693"/>
                  </a:lnTo>
                  <a:lnTo>
                    <a:pt x="6554" y="693"/>
                  </a:lnTo>
                  <a:cubicBezTo>
                    <a:pt x="6743" y="693"/>
                    <a:pt x="6900" y="536"/>
                    <a:pt x="6900" y="347"/>
                  </a:cubicBezTo>
                  <a:cubicBezTo>
                    <a:pt x="6900" y="158"/>
                    <a:pt x="6743" y="0"/>
                    <a:pt x="6554" y="0"/>
                  </a:cubicBezTo>
                  <a:lnTo>
                    <a:pt x="5168" y="0"/>
                  </a:lnTo>
                  <a:cubicBezTo>
                    <a:pt x="4978" y="0"/>
                    <a:pt x="4821" y="158"/>
                    <a:pt x="4821" y="347"/>
                  </a:cubicBezTo>
                  <a:cubicBezTo>
                    <a:pt x="4821" y="536"/>
                    <a:pt x="4978" y="693"/>
                    <a:pt x="5168" y="693"/>
                  </a:cubicBezTo>
                  <a:lnTo>
                    <a:pt x="5514" y="693"/>
                  </a:lnTo>
                  <a:lnTo>
                    <a:pt x="5514" y="1355"/>
                  </a:lnTo>
                  <a:lnTo>
                    <a:pt x="2773" y="1355"/>
                  </a:lnTo>
                  <a:lnTo>
                    <a:pt x="2773" y="693"/>
                  </a:lnTo>
                  <a:lnTo>
                    <a:pt x="3120" y="693"/>
                  </a:lnTo>
                  <a:cubicBezTo>
                    <a:pt x="3309" y="693"/>
                    <a:pt x="3466" y="536"/>
                    <a:pt x="3466" y="347"/>
                  </a:cubicBezTo>
                  <a:cubicBezTo>
                    <a:pt x="3466" y="158"/>
                    <a:pt x="3309" y="0"/>
                    <a:pt x="312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09" name="Google Shape;8009;p77"/>
            <p:cNvSpPr/>
            <p:nvPr/>
          </p:nvSpPr>
          <p:spPr>
            <a:xfrm>
              <a:off x="-4538825" y="2833475"/>
              <a:ext cx="86650" cy="104775"/>
            </a:xfrm>
            <a:custGeom>
              <a:avLst/>
              <a:gdLst/>
              <a:ahLst/>
              <a:cxnLst/>
              <a:rect l="l" t="t" r="r" b="b"/>
              <a:pathLst>
                <a:path w="3466" h="4191" extrusionOk="0">
                  <a:moveTo>
                    <a:pt x="2804" y="662"/>
                  </a:moveTo>
                  <a:lnTo>
                    <a:pt x="2804" y="3466"/>
                  </a:lnTo>
                  <a:lnTo>
                    <a:pt x="757" y="3466"/>
                  </a:lnTo>
                  <a:lnTo>
                    <a:pt x="757" y="662"/>
                  </a:lnTo>
                  <a:close/>
                  <a:moveTo>
                    <a:pt x="347" y="0"/>
                  </a:moveTo>
                  <a:cubicBezTo>
                    <a:pt x="158" y="0"/>
                    <a:pt x="0" y="158"/>
                    <a:pt x="0" y="347"/>
                  </a:cubicBezTo>
                  <a:lnTo>
                    <a:pt x="0" y="3812"/>
                  </a:lnTo>
                  <a:cubicBezTo>
                    <a:pt x="0" y="4033"/>
                    <a:pt x="158" y="4190"/>
                    <a:pt x="347" y="4190"/>
                  </a:cubicBezTo>
                  <a:lnTo>
                    <a:pt x="3119" y="4190"/>
                  </a:lnTo>
                  <a:cubicBezTo>
                    <a:pt x="3308" y="4190"/>
                    <a:pt x="3466" y="4033"/>
                    <a:pt x="3466" y="3812"/>
                  </a:cubicBezTo>
                  <a:lnTo>
                    <a:pt x="3466" y="347"/>
                  </a:ln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0" name="Google Shape;8010;p77"/>
            <p:cNvSpPr/>
            <p:nvPr/>
          </p:nvSpPr>
          <p:spPr>
            <a:xfrm>
              <a:off x="-4435650" y="2902775"/>
              <a:ext cx="121325" cy="17350"/>
            </a:xfrm>
            <a:custGeom>
              <a:avLst/>
              <a:gdLst/>
              <a:ahLst/>
              <a:cxnLst/>
              <a:rect l="l" t="t" r="r" b="b"/>
              <a:pathLst>
                <a:path w="4853" h="694" extrusionOk="0">
                  <a:moveTo>
                    <a:pt x="347" y="1"/>
                  </a:moveTo>
                  <a:cubicBezTo>
                    <a:pt x="158" y="1"/>
                    <a:pt x="1" y="158"/>
                    <a:pt x="1" y="347"/>
                  </a:cubicBezTo>
                  <a:cubicBezTo>
                    <a:pt x="32" y="536"/>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1" name="Google Shape;8011;p77"/>
            <p:cNvSpPr/>
            <p:nvPr/>
          </p:nvSpPr>
          <p:spPr>
            <a:xfrm>
              <a:off x="-4435650" y="2867325"/>
              <a:ext cx="121325" cy="17350"/>
            </a:xfrm>
            <a:custGeom>
              <a:avLst/>
              <a:gdLst/>
              <a:ahLst/>
              <a:cxnLst/>
              <a:rect l="l" t="t" r="r" b="b"/>
              <a:pathLst>
                <a:path w="4853" h="694" extrusionOk="0">
                  <a:moveTo>
                    <a:pt x="347" y="1"/>
                  </a:moveTo>
                  <a:cubicBezTo>
                    <a:pt x="158" y="1"/>
                    <a:pt x="1" y="158"/>
                    <a:pt x="1" y="347"/>
                  </a:cubicBezTo>
                  <a:cubicBezTo>
                    <a:pt x="32" y="568"/>
                    <a:pt x="158" y="694"/>
                    <a:pt x="347" y="694"/>
                  </a:cubicBezTo>
                  <a:lnTo>
                    <a:pt x="4506" y="694"/>
                  </a:lnTo>
                  <a:cubicBezTo>
                    <a:pt x="4695" y="694"/>
                    <a:pt x="4852" y="536"/>
                    <a:pt x="4852" y="347"/>
                  </a:cubicBezTo>
                  <a:cubicBezTo>
                    <a:pt x="4852" y="158"/>
                    <a:pt x="4695" y="1"/>
                    <a:pt x="450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2" name="Google Shape;8012;p77"/>
            <p:cNvSpPr/>
            <p:nvPr/>
          </p:nvSpPr>
          <p:spPr>
            <a:xfrm>
              <a:off x="-4435650" y="2833475"/>
              <a:ext cx="121325" cy="18125"/>
            </a:xfrm>
            <a:custGeom>
              <a:avLst/>
              <a:gdLst/>
              <a:ahLst/>
              <a:cxnLst/>
              <a:rect l="l" t="t" r="r" b="b"/>
              <a:pathLst>
                <a:path w="4853" h="725" extrusionOk="0">
                  <a:moveTo>
                    <a:pt x="347" y="0"/>
                  </a:moveTo>
                  <a:cubicBezTo>
                    <a:pt x="158" y="0"/>
                    <a:pt x="1" y="158"/>
                    <a:pt x="1" y="347"/>
                  </a:cubicBezTo>
                  <a:cubicBezTo>
                    <a:pt x="32" y="567"/>
                    <a:pt x="158" y="725"/>
                    <a:pt x="347" y="725"/>
                  </a:cubicBezTo>
                  <a:lnTo>
                    <a:pt x="4506" y="725"/>
                  </a:lnTo>
                  <a:cubicBezTo>
                    <a:pt x="4695" y="725"/>
                    <a:pt x="4852" y="567"/>
                    <a:pt x="4852" y="347"/>
                  </a:cubicBezTo>
                  <a:cubicBezTo>
                    <a:pt x="4852" y="158"/>
                    <a:pt x="4695" y="0"/>
                    <a:pt x="450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13" name="Google Shape;8013;p77"/>
          <p:cNvGrpSpPr/>
          <p:nvPr/>
        </p:nvGrpSpPr>
        <p:grpSpPr>
          <a:xfrm>
            <a:off x="9099609" y="2174986"/>
            <a:ext cx="553120" cy="561109"/>
            <a:chOff x="-2777700" y="2049775"/>
            <a:chExt cx="287325" cy="291475"/>
          </a:xfrm>
        </p:grpSpPr>
        <p:sp>
          <p:nvSpPr>
            <p:cNvPr id="8014" name="Google Shape;8014;p77"/>
            <p:cNvSpPr/>
            <p:nvPr/>
          </p:nvSpPr>
          <p:spPr>
            <a:xfrm>
              <a:off x="-2777700" y="2049775"/>
              <a:ext cx="287325" cy="291475"/>
            </a:xfrm>
            <a:custGeom>
              <a:avLst/>
              <a:gdLst/>
              <a:ahLst/>
              <a:cxnLst/>
              <a:rect l="l" t="t" r="r" b="b"/>
              <a:pathLst>
                <a:path w="11493" h="11659" extrusionOk="0">
                  <a:moveTo>
                    <a:pt x="7121" y="662"/>
                  </a:moveTo>
                  <a:cubicBezTo>
                    <a:pt x="7341" y="662"/>
                    <a:pt x="7499" y="820"/>
                    <a:pt x="7499" y="1040"/>
                  </a:cubicBezTo>
                  <a:cubicBezTo>
                    <a:pt x="7499" y="1230"/>
                    <a:pt x="7341" y="1387"/>
                    <a:pt x="7121" y="1387"/>
                  </a:cubicBezTo>
                  <a:lnTo>
                    <a:pt x="4380" y="1387"/>
                  </a:lnTo>
                  <a:cubicBezTo>
                    <a:pt x="4191" y="1387"/>
                    <a:pt x="4033" y="1230"/>
                    <a:pt x="4033" y="1040"/>
                  </a:cubicBezTo>
                  <a:cubicBezTo>
                    <a:pt x="4033" y="820"/>
                    <a:pt x="4191" y="662"/>
                    <a:pt x="4380" y="662"/>
                  </a:cubicBezTo>
                  <a:close/>
                  <a:moveTo>
                    <a:pt x="6774" y="2049"/>
                  </a:moveTo>
                  <a:lnTo>
                    <a:pt x="6774" y="4285"/>
                  </a:lnTo>
                  <a:cubicBezTo>
                    <a:pt x="6774" y="4412"/>
                    <a:pt x="6774" y="4443"/>
                    <a:pt x="7499" y="5514"/>
                  </a:cubicBezTo>
                  <a:lnTo>
                    <a:pt x="3970" y="5514"/>
                  </a:lnTo>
                  <a:cubicBezTo>
                    <a:pt x="4758" y="4412"/>
                    <a:pt x="4726" y="4443"/>
                    <a:pt x="4726" y="4348"/>
                  </a:cubicBezTo>
                  <a:lnTo>
                    <a:pt x="4726" y="2049"/>
                  </a:lnTo>
                  <a:close/>
                  <a:moveTo>
                    <a:pt x="8003" y="6176"/>
                  </a:moveTo>
                  <a:cubicBezTo>
                    <a:pt x="8696" y="7215"/>
                    <a:pt x="9578" y="8507"/>
                    <a:pt x="10177" y="9389"/>
                  </a:cubicBezTo>
                  <a:cubicBezTo>
                    <a:pt x="10649" y="10082"/>
                    <a:pt x="10177" y="10996"/>
                    <a:pt x="9294" y="10996"/>
                  </a:cubicBezTo>
                  <a:lnTo>
                    <a:pt x="2206" y="10996"/>
                  </a:lnTo>
                  <a:cubicBezTo>
                    <a:pt x="1387" y="10996"/>
                    <a:pt x="914" y="10051"/>
                    <a:pt x="1387" y="9389"/>
                  </a:cubicBezTo>
                  <a:cubicBezTo>
                    <a:pt x="1859" y="8665"/>
                    <a:pt x="2804" y="7341"/>
                    <a:pt x="3561" y="6176"/>
                  </a:cubicBezTo>
                  <a:close/>
                  <a:moveTo>
                    <a:pt x="4380" y="1"/>
                  </a:moveTo>
                  <a:cubicBezTo>
                    <a:pt x="3813" y="1"/>
                    <a:pt x="3340" y="473"/>
                    <a:pt x="3340" y="1040"/>
                  </a:cubicBezTo>
                  <a:cubicBezTo>
                    <a:pt x="3340" y="1513"/>
                    <a:pt x="3655" y="1860"/>
                    <a:pt x="4065" y="2017"/>
                  </a:cubicBezTo>
                  <a:lnTo>
                    <a:pt x="4065" y="4222"/>
                  </a:lnTo>
                  <a:cubicBezTo>
                    <a:pt x="3718" y="4790"/>
                    <a:pt x="1198" y="8413"/>
                    <a:pt x="788" y="8980"/>
                  </a:cubicBezTo>
                  <a:cubicBezTo>
                    <a:pt x="1" y="10114"/>
                    <a:pt x="820" y="11658"/>
                    <a:pt x="2206" y="11658"/>
                  </a:cubicBezTo>
                  <a:lnTo>
                    <a:pt x="9294" y="11658"/>
                  </a:lnTo>
                  <a:cubicBezTo>
                    <a:pt x="9308" y="11658"/>
                    <a:pt x="9322" y="11658"/>
                    <a:pt x="9335" y="11658"/>
                  </a:cubicBezTo>
                  <a:cubicBezTo>
                    <a:pt x="10697" y="11658"/>
                    <a:pt x="11492" y="10103"/>
                    <a:pt x="10712" y="9011"/>
                  </a:cubicBezTo>
                  <a:cubicBezTo>
                    <a:pt x="10271" y="8444"/>
                    <a:pt x="7845" y="4853"/>
                    <a:pt x="7499" y="4254"/>
                  </a:cubicBezTo>
                  <a:lnTo>
                    <a:pt x="7499" y="1986"/>
                  </a:lnTo>
                  <a:cubicBezTo>
                    <a:pt x="7877" y="1828"/>
                    <a:pt x="8160" y="1450"/>
                    <a:pt x="8160" y="1040"/>
                  </a:cubicBezTo>
                  <a:cubicBezTo>
                    <a:pt x="8160" y="473"/>
                    <a:pt x="7688" y="1"/>
                    <a:pt x="712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5" name="Google Shape;8015;p77"/>
            <p:cNvSpPr/>
            <p:nvPr/>
          </p:nvSpPr>
          <p:spPr>
            <a:xfrm>
              <a:off x="-2694200" y="2221475"/>
              <a:ext cx="69325" cy="68550"/>
            </a:xfrm>
            <a:custGeom>
              <a:avLst/>
              <a:gdLst/>
              <a:ahLst/>
              <a:cxnLst/>
              <a:rect l="l" t="t" r="r" b="b"/>
              <a:pathLst>
                <a:path w="2773" h="2742" extrusionOk="0">
                  <a:moveTo>
                    <a:pt x="1386" y="694"/>
                  </a:moveTo>
                  <a:cubicBezTo>
                    <a:pt x="1733" y="694"/>
                    <a:pt x="2048" y="1009"/>
                    <a:pt x="2048" y="1356"/>
                  </a:cubicBezTo>
                  <a:cubicBezTo>
                    <a:pt x="2048" y="1765"/>
                    <a:pt x="1764" y="2049"/>
                    <a:pt x="1386" y="2049"/>
                  </a:cubicBezTo>
                  <a:cubicBezTo>
                    <a:pt x="1008" y="2049"/>
                    <a:pt x="725" y="1702"/>
                    <a:pt x="725" y="1356"/>
                  </a:cubicBezTo>
                  <a:cubicBezTo>
                    <a:pt x="725" y="978"/>
                    <a:pt x="1040" y="694"/>
                    <a:pt x="1386" y="694"/>
                  </a:cubicBezTo>
                  <a:close/>
                  <a:moveTo>
                    <a:pt x="1386" y="1"/>
                  </a:moveTo>
                  <a:cubicBezTo>
                    <a:pt x="630" y="1"/>
                    <a:pt x="0" y="631"/>
                    <a:pt x="0" y="1356"/>
                  </a:cubicBezTo>
                  <a:cubicBezTo>
                    <a:pt x="0" y="2112"/>
                    <a:pt x="630" y="2742"/>
                    <a:pt x="1386" y="2742"/>
                  </a:cubicBezTo>
                  <a:cubicBezTo>
                    <a:pt x="2142" y="2742"/>
                    <a:pt x="2772" y="2112"/>
                    <a:pt x="2772" y="1356"/>
                  </a:cubicBezTo>
                  <a:cubicBezTo>
                    <a:pt x="2772" y="631"/>
                    <a:pt x="2142" y="1"/>
                    <a:pt x="138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6" name="Google Shape;8016;p77"/>
            <p:cNvSpPr/>
            <p:nvPr/>
          </p:nvSpPr>
          <p:spPr>
            <a:xfrm>
              <a:off x="-2608350" y="2255350"/>
              <a:ext cx="51200" cy="51225"/>
            </a:xfrm>
            <a:custGeom>
              <a:avLst/>
              <a:gdLst/>
              <a:ahLst/>
              <a:cxnLst/>
              <a:rect l="l" t="t" r="r" b="b"/>
              <a:pathLst>
                <a:path w="2048" h="2049" extrusionOk="0">
                  <a:moveTo>
                    <a:pt x="1040" y="694"/>
                  </a:moveTo>
                  <a:cubicBezTo>
                    <a:pt x="1229" y="694"/>
                    <a:pt x="1386" y="851"/>
                    <a:pt x="1386" y="1040"/>
                  </a:cubicBezTo>
                  <a:cubicBezTo>
                    <a:pt x="1386" y="1229"/>
                    <a:pt x="1229" y="1387"/>
                    <a:pt x="1040" y="1387"/>
                  </a:cubicBezTo>
                  <a:cubicBezTo>
                    <a:pt x="819" y="1387"/>
                    <a:pt x="693" y="1229"/>
                    <a:pt x="693" y="1040"/>
                  </a:cubicBezTo>
                  <a:cubicBezTo>
                    <a:pt x="693" y="851"/>
                    <a:pt x="819" y="694"/>
                    <a:pt x="1040" y="694"/>
                  </a:cubicBezTo>
                  <a:close/>
                  <a:moveTo>
                    <a:pt x="1040" y="1"/>
                  </a:moveTo>
                  <a:cubicBezTo>
                    <a:pt x="473" y="1"/>
                    <a:pt x="0" y="473"/>
                    <a:pt x="0" y="1040"/>
                  </a:cubicBezTo>
                  <a:cubicBezTo>
                    <a:pt x="0" y="1576"/>
                    <a:pt x="473" y="2048"/>
                    <a:pt x="1040" y="2048"/>
                  </a:cubicBezTo>
                  <a:cubicBezTo>
                    <a:pt x="1575" y="2048"/>
                    <a:pt x="2048" y="1576"/>
                    <a:pt x="2048" y="1040"/>
                  </a:cubicBezTo>
                  <a:cubicBezTo>
                    <a:pt x="2048" y="473"/>
                    <a:pt x="1575"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17" name="Google Shape;8017;p77"/>
          <p:cNvGrpSpPr/>
          <p:nvPr/>
        </p:nvGrpSpPr>
        <p:grpSpPr>
          <a:xfrm>
            <a:off x="9094893" y="2853909"/>
            <a:ext cx="562552" cy="561012"/>
            <a:chOff x="-2571737" y="2403625"/>
            <a:chExt cx="292225" cy="291425"/>
          </a:xfrm>
        </p:grpSpPr>
        <p:sp>
          <p:nvSpPr>
            <p:cNvPr id="8018" name="Google Shape;8018;p77"/>
            <p:cNvSpPr/>
            <p:nvPr/>
          </p:nvSpPr>
          <p:spPr>
            <a:xfrm>
              <a:off x="-2571737" y="2403625"/>
              <a:ext cx="292225" cy="291425"/>
            </a:xfrm>
            <a:custGeom>
              <a:avLst/>
              <a:gdLst/>
              <a:ahLst/>
              <a:cxnLst/>
              <a:rect l="l" t="t" r="r" b="b"/>
              <a:pathLst>
                <a:path w="11689" h="11657" extrusionOk="0">
                  <a:moveTo>
                    <a:pt x="9547" y="725"/>
                  </a:moveTo>
                  <a:cubicBezTo>
                    <a:pt x="9704" y="725"/>
                    <a:pt x="9830" y="788"/>
                    <a:pt x="9893" y="914"/>
                  </a:cubicBezTo>
                  <a:lnTo>
                    <a:pt x="10681" y="2772"/>
                  </a:lnTo>
                  <a:lnTo>
                    <a:pt x="1135" y="2772"/>
                  </a:lnTo>
                  <a:lnTo>
                    <a:pt x="1891" y="914"/>
                  </a:lnTo>
                  <a:cubicBezTo>
                    <a:pt x="1922" y="788"/>
                    <a:pt x="2080" y="725"/>
                    <a:pt x="2206" y="725"/>
                  </a:cubicBezTo>
                  <a:close/>
                  <a:moveTo>
                    <a:pt x="10649" y="3403"/>
                  </a:moveTo>
                  <a:cubicBezTo>
                    <a:pt x="10870" y="3403"/>
                    <a:pt x="11027" y="3560"/>
                    <a:pt x="11027" y="3749"/>
                  </a:cubicBezTo>
                  <a:lnTo>
                    <a:pt x="11027" y="5167"/>
                  </a:lnTo>
                  <a:cubicBezTo>
                    <a:pt x="11027" y="5356"/>
                    <a:pt x="10870" y="5513"/>
                    <a:pt x="10649" y="5513"/>
                  </a:cubicBezTo>
                  <a:lnTo>
                    <a:pt x="1040" y="5513"/>
                  </a:lnTo>
                  <a:cubicBezTo>
                    <a:pt x="851" y="5513"/>
                    <a:pt x="694" y="5356"/>
                    <a:pt x="694" y="5167"/>
                  </a:cubicBezTo>
                  <a:lnTo>
                    <a:pt x="694" y="3749"/>
                  </a:lnTo>
                  <a:cubicBezTo>
                    <a:pt x="694" y="3560"/>
                    <a:pt x="851" y="3403"/>
                    <a:pt x="1040" y="3403"/>
                  </a:cubicBezTo>
                  <a:close/>
                  <a:moveTo>
                    <a:pt x="10681" y="6206"/>
                  </a:moveTo>
                  <a:cubicBezTo>
                    <a:pt x="10870" y="6238"/>
                    <a:pt x="11027" y="6364"/>
                    <a:pt x="11027" y="6553"/>
                  </a:cubicBezTo>
                  <a:lnTo>
                    <a:pt x="11027" y="7939"/>
                  </a:lnTo>
                  <a:cubicBezTo>
                    <a:pt x="11027" y="8128"/>
                    <a:pt x="10870" y="8286"/>
                    <a:pt x="10681" y="8286"/>
                  </a:cubicBezTo>
                  <a:lnTo>
                    <a:pt x="1072" y="8286"/>
                  </a:lnTo>
                  <a:cubicBezTo>
                    <a:pt x="851" y="8286"/>
                    <a:pt x="694" y="8128"/>
                    <a:pt x="694" y="7939"/>
                  </a:cubicBezTo>
                  <a:lnTo>
                    <a:pt x="694" y="6553"/>
                  </a:lnTo>
                  <a:cubicBezTo>
                    <a:pt x="694" y="6364"/>
                    <a:pt x="851" y="6206"/>
                    <a:pt x="1072" y="6206"/>
                  </a:cubicBezTo>
                  <a:close/>
                  <a:moveTo>
                    <a:pt x="10681" y="8947"/>
                  </a:moveTo>
                  <a:cubicBezTo>
                    <a:pt x="10870" y="8947"/>
                    <a:pt x="11027" y="9105"/>
                    <a:pt x="11027" y="9294"/>
                  </a:cubicBezTo>
                  <a:lnTo>
                    <a:pt x="11027" y="10680"/>
                  </a:lnTo>
                  <a:cubicBezTo>
                    <a:pt x="11027" y="10869"/>
                    <a:pt x="10870" y="11027"/>
                    <a:pt x="10681" y="11027"/>
                  </a:cubicBezTo>
                  <a:lnTo>
                    <a:pt x="1072" y="11027"/>
                  </a:lnTo>
                  <a:cubicBezTo>
                    <a:pt x="851" y="11027"/>
                    <a:pt x="694" y="10869"/>
                    <a:pt x="694" y="10680"/>
                  </a:cubicBezTo>
                  <a:lnTo>
                    <a:pt x="694" y="9294"/>
                  </a:lnTo>
                  <a:cubicBezTo>
                    <a:pt x="694" y="9105"/>
                    <a:pt x="851" y="8947"/>
                    <a:pt x="1072" y="8947"/>
                  </a:cubicBezTo>
                  <a:close/>
                  <a:moveTo>
                    <a:pt x="2174" y="0"/>
                  </a:moveTo>
                  <a:cubicBezTo>
                    <a:pt x="1733" y="0"/>
                    <a:pt x="1387" y="252"/>
                    <a:pt x="1229" y="630"/>
                  </a:cubicBezTo>
                  <a:lnTo>
                    <a:pt x="64" y="3403"/>
                  </a:lnTo>
                  <a:cubicBezTo>
                    <a:pt x="32" y="3529"/>
                    <a:pt x="0" y="3686"/>
                    <a:pt x="0" y="3781"/>
                  </a:cubicBezTo>
                  <a:lnTo>
                    <a:pt x="0" y="5198"/>
                  </a:lnTo>
                  <a:cubicBezTo>
                    <a:pt x="0" y="5482"/>
                    <a:pt x="127" y="5734"/>
                    <a:pt x="284" y="5860"/>
                  </a:cubicBezTo>
                  <a:cubicBezTo>
                    <a:pt x="127" y="6080"/>
                    <a:pt x="0" y="6301"/>
                    <a:pt x="0" y="6553"/>
                  </a:cubicBezTo>
                  <a:lnTo>
                    <a:pt x="0" y="7908"/>
                  </a:lnTo>
                  <a:cubicBezTo>
                    <a:pt x="0" y="8191"/>
                    <a:pt x="127" y="8443"/>
                    <a:pt x="284" y="8601"/>
                  </a:cubicBezTo>
                  <a:cubicBezTo>
                    <a:pt x="127" y="8790"/>
                    <a:pt x="0" y="9010"/>
                    <a:pt x="0" y="9262"/>
                  </a:cubicBezTo>
                  <a:lnTo>
                    <a:pt x="0" y="10649"/>
                  </a:lnTo>
                  <a:cubicBezTo>
                    <a:pt x="0" y="11184"/>
                    <a:pt x="473" y="11657"/>
                    <a:pt x="1009" y="11657"/>
                  </a:cubicBezTo>
                  <a:lnTo>
                    <a:pt x="10618" y="11657"/>
                  </a:lnTo>
                  <a:cubicBezTo>
                    <a:pt x="11185" y="11657"/>
                    <a:pt x="11657" y="11184"/>
                    <a:pt x="11657" y="10649"/>
                  </a:cubicBezTo>
                  <a:lnTo>
                    <a:pt x="11657" y="9262"/>
                  </a:lnTo>
                  <a:cubicBezTo>
                    <a:pt x="11657" y="8979"/>
                    <a:pt x="11531" y="8758"/>
                    <a:pt x="11374" y="8601"/>
                  </a:cubicBezTo>
                  <a:cubicBezTo>
                    <a:pt x="11531" y="8380"/>
                    <a:pt x="11657" y="8160"/>
                    <a:pt x="11657" y="7908"/>
                  </a:cubicBezTo>
                  <a:lnTo>
                    <a:pt x="11657" y="6553"/>
                  </a:lnTo>
                  <a:cubicBezTo>
                    <a:pt x="11657" y="6269"/>
                    <a:pt x="11531" y="6017"/>
                    <a:pt x="11374" y="5860"/>
                  </a:cubicBezTo>
                  <a:cubicBezTo>
                    <a:pt x="11531" y="5671"/>
                    <a:pt x="11657" y="5450"/>
                    <a:pt x="11657" y="5198"/>
                  </a:cubicBezTo>
                  <a:lnTo>
                    <a:pt x="11657" y="3781"/>
                  </a:lnTo>
                  <a:lnTo>
                    <a:pt x="11689" y="3781"/>
                  </a:lnTo>
                  <a:cubicBezTo>
                    <a:pt x="11689" y="3686"/>
                    <a:pt x="11657" y="3529"/>
                    <a:pt x="11594" y="3403"/>
                  </a:cubicBezTo>
                  <a:lnTo>
                    <a:pt x="10460" y="630"/>
                  </a:lnTo>
                  <a:cubicBezTo>
                    <a:pt x="10303" y="252"/>
                    <a:pt x="9925" y="0"/>
                    <a:pt x="951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19" name="Google Shape;8019;p77"/>
            <p:cNvSpPr/>
            <p:nvPr/>
          </p:nvSpPr>
          <p:spPr>
            <a:xfrm>
              <a:off x="-2485967" y="2649150"/>
              <a:ext cx="173300" cy="18150"/>
            </a:xfrm>
            <a:custGeom>
              <a:avLst/>
              <a:gdLst/>
              <a:ahLst/>
              <a:cxnLst/>
              <a:rect l="l" t="t" r="r" b="b"/>
              <a:pathLst>
                <a:path w="6932" h="726" extrusionOk="0">
                  <a:moveTo>
                    <a:pt x="378" y="1"/>
                  </a:moveTo>
                  <a:cubicBezTo>
                    <a:pt x="158" y="1"/>
                    <a:pt x="0" y="159"/>
                    <a:pt x="0" y="379"/>
                  </a:cubicBezTo>
                  <a:cubicBezTo>
                    <a:pt x="0" y="568"/>
                    <a:pt x="158" y="726"/>
                    <a:pt x="378" y="726"/>
                  </a:cubicBezTo>
                  <a:lnTo>
                    <a:pt x="6585" y="726"/>
                  </a:lnTo>
                  <a:cubicBezTo>
                    <a:pt x="6774" y="726"/>
                    <a:pt x="6931" y="568"/>
                    <a:pt x="6931" y="379"/>
                  </a:cubicBezTo>
                  <a:cubicBezTo>
                    <a:pt x="6931" y="159"/>
                    <a:pt x="677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0" name="Google Shape;8020;p77"/>
            <p:cNvSpPr/>
            <p:nvPr/>
          </p:nvSpPr>
          <p:spPr>
            <a:xfrm>
              <a:off x="-2485967" y="2511325"/>
              <a:ext cx="173300" cy="18150"/>
            </a:xfrm>
            <a:custGeom>
              <a:avLst/>
              <a:gdLst/>
              <a:ahLst/>
              <a:cxnLst/>
              <a:rect l="l" t="t" r="r" b="b"/>
              <a:pathLst>
                <a:path w="6932" h="726" extrusionOk="0">
                  <a:moveTo>
                    <a:pt x="378" y="1"/>
                  </a:moveTo>
                  <a:cubicBezTo>
                    <a:pt x="158" y="1"/>
                    <a:pt x="0" y="158"/>
                    <a:pt x="0" y="379"/>
                  </a:cubicBezTo>
                  <a:cubicBezTo>
                    <a:pt x="0" y="568"/>
                    <a:pt x="158" y="725"/>
                    <a:pt x="378" y="725"/>
                  </a:cubicBezTo>
                  <a:lnTo>
                    <a:pt x="6585" y="725"/>
                  </a:lnTo>
                  <a:cubicBezTo>
                    <a:pt x="6774" y="725"/>
                    <a:pt x="6931" y="568"/>
                    <a:pt x="6931" y="379"/>
                  </a:cubicBezTo>
                  <a:cubicBezTo>
                    <a:pt x="6931" y="158"/>
                    <a:pt x="6774" y="1"/>
                    <a:pt x="65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1" name="Google Shape;8021;p77"/>
            <p:cNvSpPr/>
            <p:nvPr/>
          </p:nvSpPr>
          <p:spPr>
            <a:xfrm>
              <a:off x="-2540185" y="2511325"/>
              <a:ext cx="18125" cy="18925"/>
            </a:xfrm>
            <a:custGeom>
              <a:avLst/>
              <a:gdLst/>
              <a:ahLst/>
              <a:cxnLst/>
              <a:rect l="l" t="t" r="r" b="b"/>
              <a:pathLst>
                <a:path w="725" h="757" extrusionOk="0">
                  <a:moveTo>
                    <a:pt x="378" y="1"/>
                  </a:moveTo>
                  <a:cubicBezTo>
                    <a:pt x="158" y="1"/>
                    <a:pt x="0" y="158"/>
                    <a:pt x="0" y="379"/>
                  </a:cubicBezTo>
                  <a:cubicBezTo>
                    <a:pt x="0" y="568"/>
                    <a:pt x="158" y="757"/>
                    <a:pt x="378" y="757"/>
                  </a:cubicBezTo>
                  <a:cubicBezTo>
                    <a:pt x="567" y="757"/>
                    <a:pt x="725" y="568"/>
                    <a:pt x="725" y="379"/>
                  </a:cubicBezTo>
                  <a:cubicBezTo>
                    <a:pt x="725" y="158"/>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2" name="Google Shape;8022;p77"/>
            <p:cNvSpPr/>
            <p:nvPr/>
          </p:nvSpPr>
          <p:spPr>
            <a:xfrm>
              <a:off x="-2485579" y="2580625"/>
              <a:ext cx="172525" cy="17350"/>
            </a:xfrm>
            <a:custGeom>
              <a:avLst/>
              <a:gdLst/>
              <a:ahLst/>
              <a:cxnLst/>
              <a:rect l="l" t="t" r="r" b="b"/>
              <a:pathLst>
                <a:path w="6901" h="694" extrusionOk="0">
                  <a:moveTo>
                    <a:pt x="347" y="0"/>
                  </a:moveTo>
                  <a:cubicBezTo>
                    <a:pt x="158" y="0"/>
                    <a:pt x="1" y="158"/>
                    <a:pt x="1" y="347"/>
                  </a:cubicBezTo>
                  <a:cubicBezTo>
                    <a:pt x="32" y="536"/>
                    <a:pt x="158" y="693"/>
                    <a:pt x="347" y="693"/>
                  </a:cubicBezTo>
                  <a:lnTo>
                    <a:pt x="6554" y="693"/>
                  </a:lnTo>
                  <a:cubicBezTo>
                    <a:pt x="6774" y="693"/>
                    <a:pt x="6900" y="536"/>
                    <a:pt x="6900" y="347"/>
                  </a:cubicBezTo>
                  <a:cubicBezTo>
                    <a:pt x="6900" y="158"/>
                    <a:pt x="6774" y="0"/>
                    <a:pt x="655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3" name="Google Shape;8023;p77"/>
            <p:cNvSpPr/>
            <p:nvPr/>
          </p:nvSpPr>
          <p:spPr>
            <a:xfrm>
              <a:off x="-2540185" y="2580625"/>
              <a:ext cx="18125" cy="17350"/>
            </a:xfrm>
            <a:custGeom>
              <a:avLst/>
              <a:gdLst/>
              <a:ahLst/>
              <a:cxnLst/>
              <a:rect l="l" t="t" r="r" b="b"/>
              <a:pathLst>
                <a:path w="725" h="694" extrusionOk="0">
                  <a:moveTo>
                    <a:pt x="378" y="0"/>
                  </a:moveTo>
                  <a:cubicBezTo>
                    <a:pt x="158" y="0"/>
                    <a:pt x="0" y="158"/>
                    <a:pt x="0" y="347"/>
                  </a:cubicBezTo>
                  <a:cubicBezTo>
                    <a:pt x="0" y="536"/>
                    <a:pt x="158" y="693"/>
                    <a:pt x="378" y="693"/>
                  </a:cubicBezTo>
                  <a:cubicBezTo>
                    <a:pt x="567" y="693"/>
                    <a:pt x="725" y="536"/>
                    <a:pt x="725" y="347"/>
                  </a:cubicBezTo>
                  <a:cubicBezTo>
                    <a:pt x="725" y="158"/>
                    <a:pt x="567" y="0"/>
                    <a:pt x="3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4" name="Google Shape;8024;p77"/>
            <p:cNvSpPr/>
            <p:nvPr/>
          </p:nvSpPr>
          <p:spPr>
            <a:xfrm>
              <a:off x="-2540185" y="2649150"/>
              <a:ext cx="18125" cy="18150"/>
            </a:xfrm>
            <a:custGeom>
              <a:avLst/>
              <a:gdLst/>
              <a:ahLst/>
              <a:cxnLst/>
              <a:rect l="l" t="t" r="r" b="b"/>
              <a:pathLst>
                <a:path w="725" h="726" extrusionOk="0">
                  <a:moveTo>
                    <a:pt x="378" y="1"/>
                  </a:moveTo>
                  <a:cubicBezTo>
                    <a:pt x="158" y="1"/>
                    <a:pt x="0" y="159"/>
                    <a:pt x="0" y="379"/>
                  </a:cubicBezTo>
                  <a:cubicBezTo>
                    <a:pt x="0" y="568"/>
                    <a:pt x="158" y="726"/>
                    <a:pt x="378" y="726"/>
                  </a:cubicBezTo>
                  <a:cubicBezTo>
                    <a:pt x="567" y="726"/>
                    <a:pt x="725" y="568"/>
                    <a:pt x="725" y="379"/>
                  </a:cubicBezTo>
                  <a:cubicBezTo>
                    <a:pt x="725" y="159"/>
                    <a:pt x="567"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25" name="Google Shape;8025;p77"/>
          <p:cNvGrpSpPr/>
          <p:nvPr/>
        </p:nvGrpSpPr>
        <p:grpSpPr>
          <a:xfrm>
            <a:off x="9094893" y="3548712"/>
            <a:ext cx="562552" cy="559520"/>
            <a:chOff x="-2571737" y="2764550"/>
            <a:chExt cx="292225" cy="290650"/>
          </a:xfrm>
        </p:grpSpPr>
        <p:sp>
          <p:nvSpPr>
            <p:cNvPr id="8026" name="Google Shape;8026;p77"/>
            <p:cNvSpPr/>
            <p:nvPr/>
          </p:nvSpPr>
          <p:spPr>
            <a:xfrm>
              <a:off x="-2496085" y="3009100"/>
              <a:ext cx="17350" cy="17350"/>
            </a:xfrm>
            <a:custGeom>
              <a:avLst/>
              <a:gdLst/>
              <a:ahLst/>
              <a:cxnLst/>
              <a:rect l="l" t="t" r="r" b="b"/>
              <a:pathLst>
                <a:path w="694" h="694" extrusionOk="0">
                  <a:moveTo>
                    <a:pt x="347" y="1"/>
                  </a:moveTo>
                  <a:cubicBezTo>
                    <a:pt x="127" y="1"/>
                    <a:pt x="0" y="158"/>
                    <a:pt x="0" y="347"/>
                  </a:cubicBezTo>
                  <a:cubicBezTo>
                    <a:pt x="0" y="536"/>
                    <a:pt x="127" y="694"/>
                    <a:pt x="347" y="694"/>
                  </a:cubicBezTo>
                  <a:cubicBezTo>
                    <a:pt x="536" y="694"/>
                    <a:pt x="694" y="536"/>
                    <a:pt x="694" y="347"/>
                  </a:cubicBezTo>
                  <a:cubicBezTo>
                    <a:pt x="662" y="158"/>
                    <a:pt x="505"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7" name="Google Shape;8027;p77"/>
            <p:cNvSpPr/>
            <p:nvPr/>
          </p:nvSpPr>
          <p:spPr>
            <a:xfrm>
              <a:off x="-2398548" y="2800375"/>
              <a:ext cx="52000" cy="120525"/>
            </a:xfrm>
            <a:custGeom>
              <a:avLst/>
              <a:gdLst/>
              <a:ahLst/>
              <a:cxnLst/>
              <a:rect l="l" t="t" r="r" b="b"/>
              <a:pathLst>
                <a:path w="2080" h="4821" extrusionOk="0">
                  <a:moveTo>
                    <a:pt x="1008" y="0"/>
                  </a:moveTo>
                  <a:cubicBezTo>
                    <a:pt x="819" y="0"/>
                    <a:pt x="662" y="158"/>
                    <a:pt x="662" y="378"/>
                  </a:cubicBezTo>
                  <a:lnTo>
                    <a:pt x="662" y="757"/>
                  </a:lnTo>
                  <a:cubicBezTo>
                    <a:pt x="252" y="914"/>
                    <a:pt x="0" y="1261"/>
                    <a:pt x="0" y="1733"/>
                  </a:cubicBezTo>
                  <a:cubicBezTo>
                    <a:pt x="0" y="2300"/>
                    <a:pt x="473" y="2773"/>
                    <a:pt x="1008" y="2773"/>
                  </a:cubicBezTo>
                  <a:cubicBezTo>
                    <a:pt x="1323" y="2773"/>
                    <a:pt x="1481" y="3119"/>
                    <a:pt x="1260" y="3371"/>
                  </a:cubicBezTo>
                  <a:cubicBezTo>
                    <a:pt x="1197" y="3419"/>
                    <a:pt x="1103" y="3442"/>
                    <a:pt x="1012" y="3442"/>
                  </a:cubicBezTo>
                  <a:cubicBezTo>
                    <a:pt x="922" y="3442"/>
                    <a:pt x="835" y="3419"/>
                    <a:pt x="788" y="3371"/>
                  </a:cubicBezTo>
                  <a:cubicBezTo>
                    <a:pt x="725" y="3308"/>
                    <a:pt x="630" y="3277"/>
                    <a:pt x="540" y="3277"/>
                  </a:cubicBezTo>
                  <a:cubicBezTo>
                    <a:pt x="449" y="3277"/>
                    <a:pt x="362" y="3308"/>
                    <a:pt x="315" y="3371"/>
                  </a:cubicBezTo>
                  <a:cubicBezTo>
                    <a:pt x="189" y="3466"/>
                    <a:pt x="189" y="3718"/>
                    <a:pt x="315" y="3844"/>
                  </a:cubicBezTo>
                  <a:cubicBezTo>
                    <a:pt x="410" y="3939"/>
                    <a:pt x="536" y="4033"/>
                    <a:pt x="693" y="4065"/>
                  </a:cubicBezTo>
                  <a:lnTo>
                    <a:pt x="693" y="4474"/>
                  </a:lnTo>
                  <a:cubicBezTo>
                    <a:pt x="693" y="4663"/>
                    <a:pt x="851" y="4821"/>
                    <a:pt x="1040" y="4821"/>
                  </a:cubicBezTo>
                  <a:cubicBezTo>
                    <a:pt x="1260" y="4821"/>
                    <a:pt x="1418" y="4663"/>
                    <a:pt x="1418" y="4474"/>
                  </a:cubicBezTo>
                  <a:lnTo>
                    <a:pt x="1418" y="4065"/>
                  </a:lnTo>
                  <a:cubicBezTo>
                    <a:pt x="1796" y="3907"/>
                    <a:pt x="2079" y="3560"/>
                    <a:pt x="2079" y="3088"/>
                  </a:cubicBezTo>
                  <a:cubicBezTo>
                    <a:pt x="2079" y="2521"/>
                    <a:pt x="1607" y="2048"/>
                    <a:pt x="1040" y="2048"/>
                  </a:cubicBezTo>
                  <a:cubicBezTo>
                    <a:pt x="851" y="2048"/>
                    <a:pt x="693" y="1891"/>
                    <a:pt x="693" y="1702"/>
                  </a:cubicBezTo>
                  <a:cubicBezTo>
                    <a:pt x="693" y="1495"/>
                    <a:pt x="842" y="1356"/>
                    <a:pt x="1016" y="1356"/>
                  </a:cubicBezTo>
                  <a:cubicBezTo>
                    <a:pt x="1107" y="1356"/>
                    <a:pt x="1205" y="1394"/>
                    <a:pt x="1292" y="1481"/>
                  </a:cubicBezTo>
                  <a:cubicBezTo>
                    <a:pt x="1355" y="1528"/>
                    <a:pt x="1441" y="1552"/>
                    <a:pt x="1528" y="1552"/>
                  </a:cubicBezTo>
                  <a:cubicBezTo>
                    <a:pt x="1615" y="1552"/>
                    <a:pt x="1701" y="1528"/>
                    <a:pt x="1764" y="1481"/>
                  </a:cubicBezTo>
                  <a:cubicBezTo>
                    <a:pt x="1859" y="1355"/>
                    <a:pt x="1859" y="1103"/>
                    <a:pt x="1764" y="1009"/>
                  </a:cubicBezTo>
                  <a:cubicBezTo>
                    <a:pt x="1638" y="883"/>
                    <a:pt x="1512" y="788"/>
                    <a:pt x="1355" y="757"/>
                  </a:cubicBezTo>
                  <a:lnTo>
                    <a:pt x="1355" y="378"/>
                  </a:lnTo>
                  <a:cubicBezTo>
                    <a:pt x="1355" y="158"/>
                    <a:pt x="1197" y="0"/>
                    <a:pt x="100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28" name="Google Shape;8028;p77"/>
            <p:cNvSpPr/>
            <p:nvPr/>
          </p:nvSpPr>
          <p:spPr>
            <a:xfrm>
              <a:off x="-2571737" y="2764550"/>
              <a:ext cx="292225" cy="290650"/>
            </a:xfrm>
            <a:custGeom>
              <a:avLst/>
              <a:gdLst/>
              <a:ahLst/>
              <a:cxnLst/>
              <a:rect l="l" t="t" r="r" b="b"/>
              <a:pathLst>
                <a:path w="11689" h="11626" extrusionOk="0">
                  <a:moveTo>
                    <a:pt x="5009" y="1355"/>
                  </a:moveTo>
                  <a:cubicBezTo>
                    <a:pt x="4789" y="1576"/>
                    <a:pt x="4694" y="1796"/>
                    <a:pt x="4537" y="2049"/>
                  </a:cubicBezTo>
                  <a:lnTo>
                    <a:pt x="662" y="2049"/>
                  </a:lnTo>
                  <a:lnTo>
                    <a:pt x="662" y="1670"/>
                  </a:lnTo>
                  <a:cubicBezTo>
                    <a:pt x="662" y="1513"/>
                    <a:pt x="819" y="1355"/>
                    <a:pt x="1008" y="1355"/>
                  </a:cubicBezTo>
                  <a:close/>
                  <a:moveTo>
                    <a:pt x="7908" y="694"/>
                  </a:moveTo>
                  <a:cubicBezTo>
                    <a:pt x="9609" y="694"/>
                    <a:pt x="10995" y="2080"/>
                    <a:pt x="10995" y="3781"/>
                  </a:cubicBezTo>
                  <a:cubicBezTo>
                    <a:pt x="10995" y="5451"/>
                    <a:pt x="9609" y="6837"/>
                    <a:pt x="7908" y="6837"/>
                  </a:cubicBezTo>
                  <a:cubicBezTo>
                    <a:pt x="7309" y="6837"/>
                    <a:pt x="6679" y="6680"/>
                    <a:pt x="6206" y="6365"/>
                  </a:cubicBezTo>
                  <a:cubicBezTo>
                    <a:pt x="6162" y="6342"/>
                    <a:pt x="6086" y="6320"/>
                    <a:pt x="6023" y="6320"/>
                  </a:cubicBezTo>
                  <a:cubicBezTo>
                    <a:pt x="5997" y="6320"/>
                    <a:pt x="5973" y="6324"/>
                    <a:pt x="5954" y="6333"/>
                  </a:cubicBezTo>
                  <a:cubicBezTo>
                    <a:pt x="5671" y="6396"/>
                    <a:pt x="5324" y="6522"/>
                    <a:pt x="5009" y="6648"/>
                  </a:cubicBezTo>
                  <a:lnTo>
                    <a:pt x="5324" y="5703"/>
                  </a:lnTo>
                  <a:cubicBezTo>
                    <a:pt x="5356" y="5609"/>
                    <a:pt x="5324" y="5514"/>
                    <a:pt x="5261" y="5420"/>
                  </a:cubicBezTo>
                  <a:cubicBezTo>
                    <a:pt x="4946" y="4947"/>
                    <a:pt x="4789" y="4348"/>
                    <a:pt x="4789" y="3781"/>
                  </a:cubicBezTo>
                  <a:cubicBezTo>
                    <a:pt x="4789" y="2080"/>
                    <a:pt x="6238" y="694"/>
                    <a:pt x="7908" y="694"/>
                  </a:cubicBezTo>
                  <a:close/>
                  <a:moveTo>
                    <a:pt x="4253" y="2710"/>
                  </a:moveTo>
                  <a:cubicBezTo>
                    <a:pt x="4190" y="3025"/>
                    <a:pt x="4096" y="3372"/>
                    <a:pt x="4096" y="3718"/>
                  </a:cubicBezTo>
                  <a:cubicBezTo>
                    <a:pt x="4096" y="4411"/>
                    <a:pt x="4253" y="5041"/>
                    <a:pt x="4600" y="5609"/>
                  </a:cubicBezTo>
                  <a:lnTo>
                    <a:pt x="4127" y="7089"/>
                  </a:lnTo>
                  <a:cubicBezTo>
                    <a:pt x="4096" y="7184"/>
                    <a:pt x="4127" y="7341"/>
                    <a:pt x="4222" y="7436"/>
                  </a:cubicBezTo>
                  <a:cubicBezTo>
                    <a:pt x="4266" y="7480"/>
                    <a:pt x="4358" y="7525"/>
                    <a:pt x="4453" y="7525"/>
                  </a:cubicBezTo>
                  <a:cubicBezTo>
                    <a:pt x="4492" y="7525"/>
                    <a:pt x="4531" y="7517"/>
                    <a:pt x="4568" y="7499"/>
                  </a:cubicBezTo>
                  <a:cubicBezTo>
                    <a:pt x="4568" y="7499"/>
                    <a:pt x="5387" y="7247"/>
                    <a:pt x="6017" y="7026"/>
                  </a:cubicBezTo>
                  <a:cubicBezTo>
                    <a:pt x="6080" y="7089"/>
                    <a:pt x="6143" y="7089"/>
                    <a:pt x="6175" y="7121"/>
                  </a:cubicBezTo>
                  <a:lnTo>
                    <a:pt x="6175" y="8223"/>
                  </a:lnTo>
                  <a:lnTo>
                    <a:pt x="662" y="8223"/>
                  </a:lnTo>
                  <a:lnTo>
                    <a:pt x="662" y="2710"/>
                  </a:lnTo>
                  <a:close/>
                  <a:moveTo>
                    <a:pt x="6112" y="8885"/>
                  </a:moveTo>
                  <a:lnTo>
                    <a:pt x="6112" y="10618"/>
                  </a:lnTo>
                  <a:cubicBezTo>
                    <a:pt x="6143" y="10807"/>
                    <a:pt x="5986" y="10964"/>
                    <a:pt x="5797" y="10964"/>
                  </a:cubicBezTo>
                  <a:lnTo>
                    <a:pt x="977" y="10964"/>
                  </a:lnTo>
                  <a:cubicBezTo>
                    <a:pt x="788" y="10964"/>
                    <a:pt x="630" y="10807"/>
                    <a:pt x="630" y="10618"/>
                  </a:cubicBezTo>
                  <a:lnTo>
                    <a:pt x="630" y="8885"/>
                  </a:lnTo>
                  <a:close/>
                  <a:moveTo>
                    <a:pt x="7908" y="1"/>
                  </a:moveTo>
                  <a:cubicBezTo>
                    <a:pt x="7120" y="1"/>
                    <a:pt x="6364" y="221"/>
                    <a:pt x="5734" y="662"/>
                  </a:cubicBezTo>
                  <a:lnTo>
                    <a:pt x="1008" y="662"/>
                  </a:lnTo>
                  <a:cubicBezTo>
                    <a:pt x="473" y="662"/>
                    <a:pt x="0" y="1135"/>
                    <a:pt x="0" y="1670"/>
                  </a:cubicBezTo>
                  <a:lnTo>
                    <a:pt x="0" y="10618"/>
                  </a:lnTo>
                  <a:cubicBezTo>
                    <a:pt x="0" y="11153"/>
                    <a:pt x="473" y="11626"/>
                    <a:pt x="1008" y="11626"/>
                  </a:cubicBezTo>
                  <a:lnTo>
                    <a:pt x="5828" y="11626"/>
                  </a:lnTo>
                  <a:cubicBezTo>
                    <a:pt x="6364" y="11626"/>
                    <a:pt x="6837" y="11153"/>
                    <a:pt x="6837" y="10618"/>
                  </a:cubicBezTo>
                  <a:lnTo>
                    <a:pt x="6837" y="7341"/>
                  </a:lnTo>
                  <a:cubicBezTo>
                    <a:pt x="7215" y="7436"/>
                    <a:pt x="7561" y="7499"/>
                    <a:pt x="7908" y="7499"/>
                  </a:cubicBezTo>
                  <a:cubicBezTo>
                    <a:pt x="9987" y="7499"/>
                    <a:pt x="11688" y="5798"/>
                    <a:pt x="11688" y="3718"/>
                  </a:cubicBezTo>
                  <a:cubicBezTo>
                    <a:pt x="11657" y="1670"/>
                    <a:pt x="9956"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29" name="Google Shape;8029;p77"/>
          <p:cNvGrpSpPr/>
          <p:nvPr/>
        </p:nvGrpSpPr>
        <p:grpSpPr>
          <a:xfrm>
            <a:off x="4027561" y="4307384"/>
            <a:ext cx="562552" cy="565152"/>
            <a:chOff x="-1333975" y="2365850"/>
            <a:chExt cx="292225" cy="293575"/>
          </a:xfrm>
        </p:grpSpPr>
        <p:sp>
          <p:nvSpPr>
            <p:cNvPr id="8030" name="Google Shape;8030;p77"/>
            <p:cNvSpPr/>
            <p:nvPr/>
          </p:nvSpPr>
          <p:spPr>
            <a:xfrm>
              <a:off x="-1285150" y="2365850"/>
              <a:ext cx="191225" cy="293575"/>
            </a:xfrm>
            <a:custGeom>
              <a:avLst/>
              <a:gdLst/>
              <a:ahLst/>
              <a:cxnLst/>
              <a:rect l="l" t="t" r="r" b="b"/>
              <a:pathLst>
                <a:path w="7649" h="11743" extrusionOk="0">
                  <a:moveTo>
                    <a:pt x="3813" y="684"/>
                  </a:moveTo>
                  <a:cubicBezTo>
                    <a:pt x="5545" y="684"/>
                    <a:pt x="6900" y="2039"/>
                    <a:pt x="6900" y="3740"/>
                  </a:cubicBezTo>
                  <a:cubicBezTo>
                    <a:pt x="6931" y="4780"/>
                    <a:pt x="6553" y="5347"/>
                    <a:pt x="6270" y="5788"/>
                  </a:cubicBezTo>
                  <a:cubicBezTo>
                    <a:pt x="5797" y="6544"/>
                    <a:pt x="5608" y="6922"/>
                    <a:pt x="5608" y="7930"/>
                  </a:cubicBezTo>
                  <a:cubicBezTo>
                    <a:pt x="5608" y="8119"/>
                    <a:pt x="5451" y="8277"/>
                    <a:pt x="5230" y="8277"/>
                  </a:cubicBezTo>
                  <a:lnTo>
                    <a:pt x="2489" y="8277"/>
                  </a:lnTo>
                  <a:cubicBezTo>
                    <a:pt x="2300" y="8277"/>
                    <a:pt x="2143" y="8119"/>
                    <a:pt x="2143" y="7930"/>
                  </a:cubicBezTo>
                  <a:cubicBezTo>
                    <a:pt x="2143" y="6922"/>
                    <a:pt x="1922" y="6576"/>
                    <a:pt x="1450" y="5820"/>
                  </a:cubicBezTo>
                  <a:cubicBezTo>
                    <a:pt x="1198" y="5347"/>
                    <a:pt x="567" y="4528"/>
                    <a:pt x="788" y="3205"/>
                  </a:cubicBezTo>
                  <a:cubicBezTo>
                    <a:pt x="1040" y="1819"/>
                    <a:pt x="2237" y="684"/>
                    <a:pt x="3813" y="684"/>
                  </a:cubicBezTo>
                  <a:close/>
                  <a:moveTo>
                    <a:pt x="4852" y="8907"/>
                  </a:moveTo>
                  <a:lnTo>
                    <a:pt x="4852" y="9569"/>
                  </a:lnTo>
                  <a:lnTo>
                    <a:pt x="4506" y="9569"/>
                  </a:lnTo>
                  <a:cubicBezTo>
                    <a:pt x="4285" y="9569"/>
                    <a:pt x="4128" y="9726"/>
                    <a:pt x="4128" y="9915"/>
                  </a:cubicBezTo>
                  <a:cubicBezTo>
                    <a:pt x="4128" y="10136"/>
                    <a:pt x="4285" y="10293"/>
                    <a:pt x="4506" y="10293"/>
                  </a:cubicBezTo>
                  <a:lnTo>
                    <a:pt x="4852" y="10293"/>
                  </a:lnTo>
                  <a:lnTo>
                    <a:pt x="4852" y="10640"/>
                  </a:lnTo>
                  <a:cubicBezTo>
                    <a:pt x="4884" y="10829"/>
                    <a:pt x="4726" y="10986"/>
                    <a:pt x="4537" y="10986"/>
                  </a:cubicBezTo>
                  <a:lnTo>
                    <a:pt x="3151" y="10986"/>
                  </a:lnTo>
                  <a:cubicBezTo>
                    <a:pt x="2962" y="10986"/>
                    <a:pt x="2804" y="10829"/>
                    <a:pt x="2804" y="10640"/>
                  </a:cubicBezTo>
                  <a:lnTo>
                    <a:pt x="2804" y="10293"/>
                  </a:lnTo>
                  <a:lnTo>
                    <a:pt x="3151" y="10293"/>
                  </a:lnTo>
                  <a:cubicBezTo>
                    <a:pt x="3371" y="10293"/>
                    <a:pt x="3529" y="10136"/>
                    <a:pt x="3529" y="9915"/>
                  </a:cubicBezTo>
                  <a:cubicBezTo>
                    <a:pt x="3529" y="9726"/>
                    <a:pt x="3371" y="9569"/>
                    <a:pt x="3151" y="9569"/>
                  </a:cubicBezTo>
                  <a:lnTo>
                    <a:pt x="2804" y="9569"/>
                  </a:lnTo>
                  <a:lnTo>
                    <a:pt x="2804" y="8907"/>
                  </a:lnTo>
                  <a:close/>
                  <a:moveTo>
                    <a:pt x="3897" y="1"/>
                  </a:moveTo>
                  <a:cubicBezTo>
                    <a:pt x="3632" y="1"/>
                    <a:pt x="3361" y="28"/>
                    <a:pt x="3088" y="86"/>
                  </a:cubicBezTo>
                  <a:cubicBezTo>
                    <a:pt x="1607" y="401"/>
                    <a:pt x="441" y="1566"/>
                    <a:pt x="158" y="3079"/>
                  </a:cubicBezTo>
                  <a:cubicBezTo>
                    <a:pt x="0" y="3992"/>
                    <a:pt x="158" y="4969"/>
                    <a:pt x="631" y="5757"/>
                  </a:cubicBezTo>
                  <a:cubicBezTo>
                    <a:pt x="757" y="5914"/>
                    <a:pt x="820" y="6072"/>
                    <a:pt x="914" y="6229"/>
                  </a:cubicBezTo>
                  <a:cubicBezTo>
                    <a:pt x="1355" y="6891"/>
                    <a:pt x="1450" y="7143"/>
                    <a:pt x="1450" y="7962"/>
                  </a:cubicBezTo>
                  <a:cubicBezTo>
                    <a:pt x="1450" y="8403"/>
                    <a:pt x="1733" y="8781"/>
                    <a:pt x="2143" y="8939"/>
                  </a:cubicBezTo>
                  <a:lnTo>
                    <a:pt x="2143" y="10703"/>
                  </a:lnTo>
                  <a:cubicBezTo>
                    <a:pt x="2143" y="11270"/>
                    <a:pt x="2615" y="11743"/>
                    <a:pt x="3151" y="11743"/>
                  </a:cubicBezTo>
                  <a:lnTo>
                    <a:pt x="4537" y="11743"/>
                  </a:lnTo>
                  <a:cubicBezTo>
                    <a:pt x="5073" y="11743"/>
                    <a:pt x="5545" y="11270"/>
                    <a:pt x="5545" y="10703"/>
                  </a:cubicBezTo>
                  <a:lnTo>
                    <a:pt x="5545" y="8939"/>
                  </a:lnTo>
                  <a:cubicBezTo>
                    <a:pt x="5955" y="8781"/>
                    <a:pt x="6238" y="8435"/>
                    <a:pt x="6238" y="7962"/>
                  </a:cubicBezTo>
                  <a:lnTo>
                    <a:pt x="6238" y="7930"/>
                  </a:lnTo>
                  <a:cubicBezTo>
                    <a:pt x="6238" y="7143"/>
                    <a:pt x="6427" y="6828"/>
                    <a:pt x="6805" y="6229"/>
                  </a:cubicBezTo>
                  <a:cubicBezTo>
                    <a:pt x="7089" y="5788"/>
                    <a:pt x="7593" y="5032"/>
                    <a:pt x="7593" y="3835"/>
                  </a:cubicBezTo>
                  <a:cubicBezTo>
                    <a:pt x="7649" y="1658"/>
                    <a:pt x="5950" y="1"/>
                    <a:pt x="389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1" name="Google Shape;8031;p77"/>
            <p:cNvSpPr/>
            <p:nvPr/>
          </p:nvSpPr>
          <p:spPr>
            <a:xfrm>
              <a:off x="-107642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40" y="725"/>
                  </a:lnTo>
                  <a:cubicBezTo>
                    <a:pt x="1229" y="725"/>
                    <a:pt x="1386" y="568"/>
                    <a:pt x="1386" y="379"/>
                  </a:cubicBezTo>
                  <a:cubicBezTo>
                    <a:pt x="1386" y="158"/>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2" name="Google Shape;8032;p77"/>
            <p:cNvSpPr/>
            <p:nvPr/>
          </p:nvSpPr>
          <p:spPr>
            <a:xfrm>
              <a:off x="-1333975" y="2452250"/>
              <a:ext cx="34675" cy="18150"/>
            </a:xfrm>
            <a:custGeom>
              <a:avLst/>
              <a:gdLst/>
              <a:ahLst/>
              <a:cxnLst/>
              <a:rect l="l" t="t" r="r" b="b"/>
              <a:pathLst>
                <a:path w="1387" h="726" extrusionOk="0">
                  <a:moveTo>
                    <a:pt x="347" y="1"/>
                  </a:moveTo>
                  <a:cubicBezTo>
                    <a:pt x="158" y="1"/>
                    <a:pt x="0" y="158"/>
                    <a:pt x="0" y="379"/>
                  </a:cubicBezTo>
                  <a:cubicBezTo>
                    <a:pt x="0" y="568"/>
                    <a:pt x="158" y="725"/>
                    <a:pt x="347" y="725"/>
                  </a:cubicBezTo>
                  <a:lnTo>
                    <a:pt x="1008" y="725"/>
                  </a:lnTo>
                  <a:cubicBezTo>
                    <a:pt x="1197" y="694"/>
                    <a:pt x="1386" y="536"/>
                    <a:pt x="1386" y="379"/>
                  </a:cubicBezTo>
                  <a:cubicBezTo>
                    <a:pt x="1386" y="158"/>
                    <a:pt x="1197" y="1"/>
                    <a:pt x="10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3" name="Google Shape;8033;p77"/>
            <p:cNvSpPr/>
            <p:nvPr/>
          </p:nvSpPr>
          <p:spPr>
            <a:xfrm>
              <a:off x="-1093750" y="2383050"/>
              <a:ext cx="35450" cy="26575"/>
            </a:xfrm>
            <a:custGeom>
              <a:avLst/>
              <a:gdLst/>
              <a:ahLst/>
              <a:cxnLst/>
              <a:rect l="l" t="t" r="r" b="b"/>
              <a:pathLst>
                <a:path w="1418" h="1063" extrusionOk="0">
                  <a:moveTo>
                    <a:pt x="992" y="1"/>
                  </a:moveTo>
                  <a:cubicBezTo>
                    <a:pt x="931" y="1"/>
                    <a:pt x="870" y="19"/>
                    <a:pt x="819" y="59"/>
                  </a:cubicBezTo>
                  <a:lnTo>
                    <a:pt x="221" y="406"/>
                  </a:lnTo>
                  <a:cubicBezTo>
                    <a:pt x="63" y="500"/>
                    <a:pt x="0" y="721"/>
                    <a:pt x="95" y="878"/>
                  </a:cubicBezTo>
                  <a:cubicBezTo>
                    <a:pt x="159" y="985"/>
                    <a:pt x="295" y="1063"/>
                    <a:pt x="415" y="1063"/>
                  </a:cubicBezTo>
                  <a:cubicBezTo>
                    <a:pt x="473" y="1063"/>
                    <a:pt x="527" y="1045"/>
                    <a:pt x="567" y="1005"/>
                  </a:cubicBezTo>
                  <a:lnTo>
                    <a:pt x="1166" y="658"/>
                  </a:lnTo>
                  <a:cubicBezTo>
                    <a:pt x="1323" y="563"/>
                    <a:pt x="1418" y="343"/>
                    <a:pt x="1292" y="185"/>
                  </a:cubicBezTo>
                  <a:cubicBezTo>
                    <a:pt x="1249" y="79"/>
                    <a:pt x="1120" y="1"/>
                    <a:pt x="9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4" name="Google Shape;8034;p77"/>
            <p:cNvSpPr/>
            <p:nvPr/>
          </p:nvSpPr>
          <p:spPr>
            <a:xfrm>
              <a:off x="-1317450" y="2512575"/>
              <a:ext cx="35475" cy="26225"/>
            </a:xfrm>
            <a:custGeom>
              <a:avLst/>
              <a:gdLst/>
              <a:ahLst/>
              <a:cxnLst/>
              <a:rect l="l" t="t" r="r" b="b"/>
              <a:pathLst>
                <a:path w="1419" h="1049" extrusionOk="0">
                  <a:moveTo>
                    <a:pt x="1005" y="1"/>
                  </a:moveTo>
                  <a:cubicBezTo>
                    <a:pt x="944" y="1"/>
                    <a:pt x="880" y="15"/>
                    <a:pt x="820" y="45"/>
                  </a:cubicBezTo>
                  <a:lnTo>
                    <a:pt x="221" y="392"/>
                  </a:lnTo>
                  <a:cubicBezTo>
                    <a:pt x="64" y="486"/>
                    <a:pt x="1" y="707"/>
                    <a:pt x="127" y="864"/>
                  </a:cubicBezTo>
                  <a:cubicBezTo>
                    <a:pt x="169" y="971"/>
                    <a:pt x="299" y="1049"/>
                    <a:pt x="427" y="1049"/>
                  </a:cubicBezTo>
                  <a:cubicBezTo>
                    <a:pt x="488" y="1049"/>
                    <a:pt x="548" y="1031"/>
                    <a:pt x="599" y="990"/>
                  </a:cubicBezTo>
                  <a:lnTo>
                    <a:pt x="1166" y="644"/>
                  </a:lnTo>
                  <a:cubicBezTo>
                    <a:pt x="1324" y="549"/>
                    <a:pt x="1418" y="329"/>
                    <a:pt x="1292" y="171"/>
                  </a:cubicBezTo>
                  <a:cubicBezTo>
                    <a:pt x="1250" y="64"/>
                    <a:pt x="1134" y="1"/>
                    <a:pt x="10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5" name="Google Shape;8035;p77"/>
            <p:cNvSpPr/>
            <p:nvPr/>
          </p:nvSpPr>
          <p:spPr>
            <a:xfrm>
              <a:off x="-1092975" y="2512575"/>
              <a:ext cx="34675" cy="25525"/>
            </a:xfrm>
            <a:custGeom>
              <a:avLst/>
              <a:gdLst/>
              <a:ahLst/>
              <a:cxnLst/>
              <a:rect l="l" t="t" r="r" b="b"/>
              <a:pathLst>
                <a:path w="1387" h="1021" extrusionOk="0">
                  <a:moveTo>
                    <a:pt x="378" y="1"/>
                  </a:moveTo>
                  <a:cubicBezTo>
                    <a:pt x="264" y="1"/>
                    <a:pt x="149" y="64"/>
                    <a:pt x="64" y="171"/>
                  </a:cubicBezTo>
                  <a:cubicBezTo>
                    <a:pt x="1" y="329"/>
                    <a:pt x="32" y="518"/>
                    <a:pt x="190" y="644"/>
                  </a:cubicBezTo>
                  <a:lnTo>
                    <a:pt x="788" y="990"/>
                  </a:lnTo>
                  <a:cubicBezTo>
                    <a:pt x="838" y="1010"/>
                    <a:pt x="891" y="1021"/>
                    <a:pt x="944" y="1021"/>
                  </a:cubicBezTo>
                  <a:cubicBezTo>
                    <a:pt x="1059" y="1021"/>
                    <a:pt x="1175" y="972"/>
                    <a:pt x="1261" y="864"/>
                  </a:cubicBezTo>
                  <a:cubicBezTo>
                    <a:pt x="1387" y="675"/>
                    <a:pt x="1292" y="486"/>
                    <a:pt x="1135" y="392"/>
                  </a:cubicBezTo>
                  <a:lnTo>
                    <a:pt x="536" y="45"/>
                  </a:lnTo>
                  <a:cubicBezTo>
                    <a:pt x="486" y="15"/>
                    <a:pt x="432" y="1"/>
                    <a:pt x="37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6" name="Google Shape;8036;p77"/>
            <p:cNvSpPr/>
            <p:nvPr/>
          </p:nvSpPr>
          <p:spPr>
            <a:xfrm>
              <a:off x="-1316650" y="2383750"/>
              <a:ext cx="34675" cy="25525"/>
            </a:xfrm>
            <a:custGeom>
              <a:avLst/>
              <a:gdLst/>
              <a:ahLst/>
              <a:cxnLst/>
              <a:rect l="l" t="t" r="r" b="b"/>
              <a:pathLst>
                <a:path w="1387" h="1021" extrusionOk="0">
                  <a:moveTo>
                    <a:pt x="405" y="1"/>
                  </a:moveTo>
                  <a:cubicBezTo>
                    <a:pt x="283" y="1"/>
                    <a:pt x="159" y="50"/>
                    <a:pt x="95" y="157"/>
                  </a:cubicBezTo>
                  <a:cubicBezTo>
                    <a:pt x="0" y="315"/>
                    <a:pt x="63" y="504"/>
                    <a:pt x="221" y="630"/>
                  </a:cubicBezTo>
                  <a:lnTo>
                    <a:pt x="788" y="977"/>
                  </a:lnTo>
                  <a:cubicBezTo>
                    <a:pt x="838" y="1007"/>
                    <a:pt x="895" y="1021"/>
                    <a:pt x="953" y="1021"/>
                  </a:cubicBezTo>
                  <a:cubicBezTo>
                    <a:pt x="1074" y="1021"/>
                    <a:pt x="1196" y="958"/>
                    <a:pt x="1260" y="850"/>
                  </a:cubicBezTo>
                  <a:cubicBezTo>
                    <a:pt x="1386" y="693"/>
                    <a:pt x="1292" y="504"/>
                    <a:pt x="1134" y="378"/>
                  </a:cubicBezTo>
                  <a:lnTo>
                    <a:pt x="567" y="31"/>
                  </a:lnTo>
                  <a:cubicBezTo>
                    <a:pt x="517" y="11"/>
                    <a:pt x="461" y="1"/>
                    <a:pt x="40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37" name="Google Shape;8037;p77"/>
            <p:cNvSpPr/>
            <p:nvPr/>
          </p:nvSpPr>
          <p:spPr>
            <a:xfrm>
              <a:off x="-1239475" y="2401575"/>
              <a:ext cx="102425" cy="153100"/>
            </a:xfrm>
            <a:custGeom>
              <a:avLst/>
              <a:gdLst/>
              <a:ahLst/>
              <a:cxnLst/>
              <a:rect l="l" t="t" r="r" b="b"/>
              <a:pathLst>
                <a:path w="4097" h="6124" extrusionOk="0">
                  <a:moveTo>
                    <a:pt x="1733" y="1492"/>
                  </a:moveTo>
                  <a:lnTo>
                    <a:pt x="1733" y="2343"/>
                  </a:lnTo>
                  <a:cubicBezTo>
                    <a:pt x="1733" y="2500"/>
                    <a:pt x="1796" y="2626"/>
                    <a:pt x="1922" y="2658"/>
                  </a:cubicBezTo>
                  <a:lnTo>
                    <a:pt x="3246" y="3225"/>
                  </a:lnTo>
                  <a:lnTo>
                    <a:pt x="2395" y="4611"/>
                  </a:lnTo>
                  <a:lnTo>
                    <a:pt x="2395" y="3729"/>
                  </a:lnTo>
                  <a:cubicBezTo>
                    <a:pt x="2395" y="3572"/>
                    <a:pt x="2332" y="3445"/>
                    <a:pt x="2206" y="3414"/>
                  </a:cubicBezTo>
                  <a:lnTo>
                    <a:pt x="851" y="2878"/>
                  </a:lnTo>
                  <a:lnTo>
                    <a:pt x="1733" y="1492"/>
                  </a:lnTo>
                  <a:close/>
                  <a:moveTo>
                    <a:pt x="2038" y="0"/>
                  </a:moveTo>
                  <a:cubicBezTo>
                    <a:pt x="1919" y="0"/>
                    <a:pt x="1814" y="47"/>
                    <a:pt x="1765" y="169"/>
                  </a:cubicBezTo>
                  <a:lnTo>
                    <a:pt x="64" y="2941"/>
                  </a:lnTo>
                  <a:cubicBezTo>
                    <a:pt x="32" y="3004"/>
                    <a:pt x="1" y="3130"/>
                    <a:pt x="32" y="3225"/>
                  </a:cubicBezTo>
                  <a:cubicBezTo>
                    <a:pt x="64" y="3288"/>
                    <a:pt x="158" y="3382"/>
                    <a:pt x="221" y="3414"/>
                  </a:cubicBezTo>
                  <a:lnTo>
                    <a:pt x="1733" y="4013"/>
                  </a:lnTo>
                  <a:lnTo>
                    <a:pt x="1733" y="5808"/>
                  </a:lnTo>
                  <a:cubicBezTo>
                    <a:pt x="1733" y="5966"/>
                    <a:pt x="1859" y="6092"/>
                    <a:pt x="1954" y="6123"/>
                  </a:cubicBezTo>
                  <a:lnTo>
                    <a:pt x="2049" y="6123"/>
                  </a:lnTo>
                  <a:cubicBezTo>
                    <a:pt x="2143" y="6123"/>
                    <a:pt x="2269" y="6092"/>
                    <a:pt x="2301" y="5966"/>
                  </a:cubicBezTo>
                  <a:lnTo>
                    <a:pt x="4002" y="3225"/>
                  </a:lnTo>
                  <a:cubicBezTo>
                    <a:pt x="4033" y="3130"/>
                    <a:pt x="4096" y="3004"/>
                    <a:pt x="4033" y="2941"/>
                  </a:cubicBezTo>
                  <a:cubicBezTo>
                    <a:pt x="4033" y="2878"/>
                    <a:pt x="3970" y="2784"/>
                    <a:pt x="3907" y="2752"/>
                  </a:cubicBezTo>
                  <a:lnTo>
                    <a:pt x="2395" y="2154"/>
                  </a:lnTo>
                  <a:lnTo>
                    <a:pt x="2395" y="358"/>
                  </a:lnTo>
                  <a:cubicBezTo>
                    <a:pt x="2395" y="169"/>
                    <a:pt x="2269" y="74"/>
                    <a:pt x="2143" y="11"/>
                  </a:cubicBezTo>
                  <a:cubicBezTo>
                    <a:pt x="2108" y="4"/>
                    <a:pt x="2072" y="0"/>
                    <a:pt x="203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38" name="Google Shape;8038;p77"/>
          <p:cNvGrpSpPr/>
          <p:nvPr/>
        </p:nvGrpSpPr>
        <p:grpSpPr>
          <a:xfrm>
            <a:off x="2605528" y="3547196"/>
            <a:ext cx="530693" cy="562552"/>
            <a:chOff x="-5995925" y="2757850"/>
            <a:chExt cx="275675" cy="292225"/>
          </a:xfrm>
        </p:grpSpPr>
        <p:sp>
          <p:nvSpPr>
            <p:cNvPr id="8039" name="Google Shape;8039;p77"/>
            <p:cNvSpPr/>
            <p:nvPr/>
          </p:nvSpPr>
          <p:spPr>
            <a:xfrm>
              <a:off x="-5995925" y="2757850"/>
              <a:ext cx="275675" cy="292225"/>
            </a:xfrm>
            <a:custGeom>
              <a:avLst/>
              <a:gdLst/>
              <a:ahLst/>
              <a:cxnLst/>
              <a:rect l="l" t="t" r="r" b="b"/>
              <a:pathLst>
                <a:path w="11027" h="11689" extrusionOk="0">
                  <a:moveTo>
                    <a:pt x="9924" y="1324"/>
                  </a:moveTo>
                  <a:cubicBezTo>
                    <a:pt x="10113" y="1324"/>
                    <a:pt x="10271" y="1481"/>
                    <a:pt x="10271" y="1702"/>
                  </a:cubicBezTo>
                  <a:lnTo>
                    <a:pt x="10271" y="9263"/>
                  </a:lnTo>
                  <a:lnTo>
                    <a:pt x="10302" y="9263"/>
                  </a:lnTo>
                  <a:cubicBezTo>
                    <a:pt x="10302" y="9452"/>
                    <a:pt x="10145" y="9610"/>
                    <a:pt x="9956" y="9610"/>
                  </a:cubicBezTo>
                  <a:lnTo>
                    <a:pt x="9609" y="9610"/>
                  </a:lnTo>
                  <a:lnTo>
                    <a:pt x="9609" y="8570"/>
                  </a:lnTo>
                  <a:cubicBezTo>
                    <a:pt x="9609" y="8381"/>
                    <a:pt x="9452" y="8223"/>
                    <a:pt x="9263" y="8223"/>
                  </a:cubicBezTo>
                  <a:lnTo>
                    <a:pt x="4442" y="8223"/>
                  </a:lnTo>
                  <a:cubicBezTo>
                    <a:pt x="4253" y="8223"/>
                    <a:pt x="4096" y="8381"/>
                    <a:pt x="4096" y="8570"/>
                  </a:cubicBezTo>
                  <a:lnTo>
                    <a:pt x="4096" y="9610"/>
                  </a:lnTo>
                  <a:lnTo>
                    <a:pt x="3434" y="9610"/>
                  </a:lnTo>
                  <a:lnTo>
                    <a:pt x="3434" y="1324"/>
                  </a:lnTo>
                  <a:close/>
                  <a:moveTo>
                    <a:pt x="2426" y="631"/>
                  </a:moveTo>
                  <a:cubicBezTo>
                    <a:pt x="2647" y="631"/>
                    <a:pt x="2804" y="788"/>
                    <a:pt x="2804" y="977"/>
                  </a:cubicBezTo>
                  <a:lnTo>
                    <a:pt x="2804" y="9925"/>
                  </a:lnTo>
                  <a:cubicBezTo>
                    <a:pt x="2804" y="10114"/>
                    <a:pt x="2647" y="10271"/>
                    <a:pt x="2426" y="10271"/>
                  </a:cubicBezTo>
                  <a:lnTo>
                    <a:pt x="1071" y="10271"/>
                  </a:lnTo>
                  <a:cubicBezTo>
                    <a:pt x="851" y="10271"/>
                    <a:pt x="693" y="10114"/>
                    <a:pt x="693" y="9925"/>
                  </a:cubicBezTo>
                  <a:lnTo>
                    <a:pt x="693" y="977"/>
                  </a:lnTo>
                  <a:cubicBezTo>
                    <a:pt x="693" y="788"/>
                    <a:pt x="851" y="631"/>
                    <a:pt x="1071" y="631"/>
                  </a:cubicBezTo>
                  <a:close/>
                  <a:moveTo>
                    <a:pt x="8948" y="8948"/>
                  </a:moveTo>
                  <a:lnTo>
                    <a:pt x="8948" y="10996"/>
                  </a:lnTo>
                  <a:lnTo>
                    <a:pt x="4852" y="10996"/>
                  </a:lnTo>
                  <a:lnTo>
                    <a:pt x="4852" y="8948"/>
                  </a:lnTo>
                  <a:close/>
                  <a:moveTo>
                    <a:pt x="1008" y="1"/>
                  </a:moveTo>
                  <a:cubicBezTo>
                    <a:pt x="473" y="1"/>
                    <a:pt x="0" y="473"/>
                    <a:pt x="0" y="1009"/>
                  </a:cubicBezTo>
                  <a:lnTo>
                    <a:pt x="0" y="9956"/>
                  </a:lnTo>
                  <a:cubicBezTo>
                    <a:pt x="0" y="10523"/>
                    <a:pt x="473" y="10996"/>
                    <a:pt x="1008" y="10996"/>
                  </a:cubicBezTo>
                  <a:lnTo>
                    <a:pt x="2395" y="10996"/>
                  </a:lnTo>
                  <a:cubicBezTo>
                    <a:pt x="2836" y="10996"/>
                    <a:pt x="3214" y="10712"/>
                    <a:pt x="3371" y="10303"/>
                  </a:cubicBezTo>
                  <a:lnTo>
                    <a:pt x="4127" y="10303"/>
                  </a:lnTo>
                  <a:lnTo>
                    <a:pt x="4127" y="11342"/>
                  </a:lnTo>
                  <a:cubicBezTo>
                    <a:pt x="4127" y="11531"/>
                    <a:pt x="4285" y="11689"/>
                    <a:pt x="4474" y="11689"/>
                  </a:cubicBezTo>
                  <a:lnTo>
                    <a:pt x="9294" y="11689"/>
                  </a:lnTo>
                  <a:cubicBezTo>
                    <a:pt x="9483" y="11689"/>
                    <a:pt x="9641" y="11531"/>
                    <a:pt x="9641" y="11342"/>
                  </a:cubicBezTo>
                  <a:lnTo>
                    <a:pt x="9641" y="10271"/>
                  </a:lnTo>
                  <a:lnTo>
                    <a:pt x="9987" y="10271"/>
                  </a:lnTo>
                  <a:cubicBezTo>
                    <a:pt x="10554" y="10271"/>
                    <a:pt x="11027" y="9799"/>
                    <a:pt x="11027" y="9263"/>
                  </a:cubicBezTo>
                  <a:lnTo>
                    <a:pt x="11027" y="1702"/>
                  </a:lnTo>
                  <a:cubicBezTo>
                    <a:pt x="10995" y="1103"/>
                    <a:pt x="10554" y="662"/>
                    <a:pt x="9956" y="662"/>
                  </a:cubicBezTo>
                  <a:lnTo>
                    <a:pt x="3371" y="662"/>
                  </a:lnTo>
                  <a:cubicBezTo>
                    <a:pt x="3214" y="284"/>
                    <a:pt x="2867"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0" name="Google Shape;8040;p77"/>
            <p:cNvSpPr/>
            <p:nvPr/>
          </p:nvSpPr>
          <p:spPr>
            <a:xfrm>
              <a:off x="-5892750" y="2808250"/>
              <a:ext cx="137850" cy="69350"/>
            </a:xfrm>
            <a:custGeom>
              <a:avLst/>
              <a:gdLst/>
              <a:ahLst/>
              <a:cxnLst/>
              <a:rect l="l" t="t" r="r" b="b"/>
              <a:pathLst>
                <a:path w="5514" h="2774" extrusionOk="0">
                  <a:moveTo>
                    <a:pt x="4821" y="694"/>
                  </a:moveTo>
                  <a:lnTo>
                    <a:pt x="4821" y="2112"/>
                  </a:lnTo>
                  <a:lnTo>
                    <a:pt x="725" y="2112"/>
                  </a:lnTo>
                  <a:lnTo>
                    <a:pt x="725" y="694"/>
                  </a:lnTo>
                  <a:close/>
                  <a:moveTo>
                    <a:pt x="347" y="1"/>
                  </a:moveTo>
                  <a:cubicBezTo>
                    <a:pt x="158" y="1"/>
                    <a:pt x="0" y="158"/>
                    <a:pt x="0" y="348"/>
                  </a:cubicBezTo>
                  <a:lnTo>
                    <a:pt x="0" y="2427"/>
                  </a:lnTo>
                  <a:cubicBezTo>
                    <a:pt x="0" y="2616"/>
                    <a:pt x="158" y="2773"/>
                    <a:pt x="347" y="2773"/>
                  </a:cubicBezTo>
                  <a:lnTo>
                    <a:pt x="5167" y="2773"/>
                  </a:lnTo>
                  <a:cubicBezTo>
                    <a:pt x="5356" y="2773"/>
                    <a:pt x="5514" y="2616"/>
                    <a:pt x="5514" y="2427"/>
                  </a:cubicBezTo>
                  <a:lnTo>
                    <a:pt x="5514" y="348"/>
                  </a:lnTo>
                  <a:cubicBezTo>
                    <a:pt x="5514" y="158"/>
                    <a:pt x="5356" y="1"/>
                    <a:pt x="516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1" name="Google Shape;8041;p77"/>
            <p:cNvSpPr/>
            <p:nvPr/>
          </p:nvSpPr>
          <p:spPr>
            <a:xfrm>
              <a:off x="-5891975" y="2895675"/>
              <a:ext cx="34700" cy="17375"/>
            </a:xfrm>
            <a:custGeom>
              <a:avLst/>
              <a:gdLst/>
              <a:ahLst/>
              <a:cxnLst/>
              <a:rect l="l" t="t" r="r" b="b"/>
              <a:pathLst>
                <a:path w="1388" h="695" extrusionOk="0">
                  <a:moveTo>
                    <a:pt x="379" y="1"/>
                  </a:moveTo>
                  <a:cubicBezTo>
                    <a:pt x="158" y="1"/>
                    <a:pt x="1" y="159"/>
                    <a:pt x="1" y="348"/>
                  </a:cubicBezTo>
                  <a:cubicBezTo>
                    <a:pt x="1" y="537"/>
                    <a:pt x="158" y="694"/>
                    <a:pt x="379" y="694"/>
                  </a:cubicBezTo>
                  <a:lnTo>
                    <a:pt x="1041" y="694"/>
                  </a:lnTo>
                  <a:cubicBezTo>
                    <a:pt x="1230" y="694"/>
                    <a:pt x="1387" y="537"/>
                    <a:pt x="1387" y="348"/>
                  </a:cubicBezTo>
                  <a:cubicBezTo>
                    <a:pt x="1356" y="127"/>
                    <a:pt x="1198" y="1"/>
                    <a:pt x="104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2" name="Google Shape;8042;p77"/>
            <p:cNvSpPr/>
            <p:nvPr/>
          </p:nvSpPr>
          <p:spPr>
            <a:xfrm>
              <a:off x="-5891975" y="2928775"/>
              <a:ext cx="34700" cy="18125"/>
            </a:xfrm>
            <a:custGeom>
              <a:avLst/>
              <a:gdLst/>
              <a:ahLst/>
              <a:cxnLst/>
              <a:rect l="l" t="t" r="r" b="b"/>
              <a:pathLst>
                <a:path w="1388" h="725" extrusionOk="0">
                  <a:moveTo>
                    <a:pt x="379" y="0"/>
                  </a:moveTo>
                  <a:cubicBezTo>
                    <a:pt x="158" y="0"/>
                    <a:pt x="1" y="158"/>
                    <a:pt x="1" y="378"/>
                  </a:cubicBezTo>
                  <a:cubicBezTo>
                    <a:pt x="1" y="567"/>
                    <a:pt x="158" y="725"/>
                    <a:pt x="379" y="725"/>
                  </a:cubicBezTo>
                  <a:lnTo>
                    <a:pt x="1041" y="725"/>
                  </a:lnTo>
                  <a:cubicBezTo>
                    <a:pt x="1230" y="725"/>
                    <a:pt x="1387" y="567"/>
                    <a:pt x="1387" y="378"/>
                  </a:cubicBezTo>
                  <a:cubicBezTo>
                    <a:pt x="1356" y="158"/>
                    <a:pt x="1198" y="0"/>
                    <a:pt x="104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3" name="Google Shape;8043;p77"/>
            <p:cNvSpPr/>
            <p:nvPr/>
          </p:nvSpPr>
          <p:spPr>
            <a:xfrm>
              <a:off x="-58407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4" name="Google Shape;8044;p77"/>
            <p:cNvSpPr/>
            <p:nvPr/>
          </p:nvSpPr>
          <p:spPr>
            <a:xfrm>
              <a:off x="-58407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5" name="Google Shape;8045;p77"/>
            <p:cNvSpPr/>
            <p:nvPr/>
          </p:nvSpPr>
          <p:spPr>
            <a:xfrm>
              <a:off x="-5789575" y="2895675"/>
              <a:ext cx="34675" cy="17375"/>
            </a:xfrm>
            <a:custGeom>
              <a:avLst/>
              <a:gdLst/>
              <a:ahLst/>
              <a:cxnLst/>
              <a:rect l="l" t="t" r="r" b="b"/>
              <a:pathLst>
                <a:path w="1387" h="695" extrusionOk="0">
                  <a:moveTo>
                    <a:pt x="379" y="1"/>
                  </a:moveTo>
                  <a:cubicBezTo>
                    <a:pt x="158" y="1"/>
                    <a:pt x="1" y="159"/>
                    <a:pt x="1" y="348"/>
                  </a:cubicBezTo>
                  <a:cubicBezTo>
                    <a:pt x="1" y="537"/>
                    <a:pt x="158" y="694"/>
                    <a:pt x="379" y="694"/>
                  </a:cubicBezTo>
                  <a:lnTo>
                    <a:pt x="1040" y="694"/>
                  </a:lnTo>
                  <a:cubicBezTo>
                    <a:pt x="1229" y="694"/>
                    <a:pt x="1387" y="537"/>
                    <a:pt x="1387" y="348"/>
                  </a:cubicBezTo>
                  <a:cubicBezTo>
                    <a:pt x="1387" y="127"/>
                    <a:pt x="1229" y="1"/>
                    <a:pt x="104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6" name="Google Shape;8046;p77"/>
            <p:cNvSpPr/>
            <p:nvPr/>
          </p:nvSpPr>
          <p:spPr>
            <a:xfrm>
              <a:off x="-5789575" y="2928775"/>
              <a:ext cx="34675" cy="18125"/>
            </a:xfrm>
            <a:custGeom>
              <a:avLst/>
              <a:gdLst/>
              <a:ahLst/>
              <a:cxnLst/>
              <a:rect l="l" t="t" r="r" b="b"/>
              <a:pathLst>
                <a:path w="1387" h="725" extrusionOk="0">
                  <a:moveTo>
                    <a:pt x="379" y="0"/>
                  </a:moveTo>
                  <a:cubicBezTo>
                    <a:pt x="158" y="0"/>
                    <a:pt x="1" y="158"/>
                    <a:pt x="1" y="378"/>
                  </a:cubicBezTo>
                  <a:cubicBezTo>
                    <a:pt x="1" y="567"/>
                    <a:pt x="158" y="725"/>
                    <a:pt x="379" y="725"/>
                  </a:cubicBezTo>
                  <a:lnTo>
                    <a:pt x="1040" y="725"/>
                  </a:lnTo>
                  <a:cubicBezTo>
                    <a:pt x="1229" y="725"/>
                    <a:pt x="1387" y="567"/>
                    <a:pt x="1387" y="378"/>
                  </a:cubicBezTo>
                  <a:cubicBezTo>
                    <a:pt x="1387" y="158"/>
                    <a:pt x="1229"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47" name="Google Shape;8047;p77"/>
            <p:cNvSpPr/>
            <p:nvPr/>
          </p:nvSpPr>
          <p:spPr>
            <a:xfrm>
              <a:off x="-5858100" y="2998075"/>
              <a:ext cx="68550" cy="17350"/>
            </a:xfrm>
            <a:custGeom>
              <a:avLst/>
              <a:gdLst/>
              <a:ahLst/>
              <a:cxnLst/>
              <a:rect l="l" t="t" r="r" b="b"/>
              <a:pathLst>
                <a:path w="2742" h="694" extrusionOk="0">
                  <a:moveTo>
                    <a:pt x="347" y="1"/>
                  </a:moveTo>
                  <a:cubicBezTo>
                    <a:pt x="158" y="1"/>
                    <a:pt x="1" y="158"/>
                    <a:pt x="1" y="347"/>
                  </a:cubicBezTo>
                  <a:cubicBezTo>
                    <a:pt x="1" y="536"/>
                    <a:pt x="158" y="694"/>
                    <a:pt x="347" y="694"/>
                  </a:cubicBezTo>
                  <a:lnTo>
                    <a:pt x="2395" y="694"/>
                  </a:lnTo>
                  <a:cubicBezTo>
                    <a:pt x="2584" y="694"/>
                    <a:pt x="2742" y="536"/>
                    <a:pt x="2742" y="347"/>
                  </a:cubicBezTo>
                  <a:cubicBezTo>
                    <a:pt x="2742" y="158"/>
                    <a:pt x="2584"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48" name="Google Shape;8048;p77"/>
          <p:cNvGrpSpPr/>
          <p:nvPr/>
        </p:nvGrpSpPr>
        <p:grpSpPr>
          <a:xfrm>
            <a:off x="6179245" y="2175756"/>
            <a:ext cx="562601" cy="559569"/>
            <a:chOff x="-4211975" y="2046625"/>
            <a:chExt cx="292250" cy="290675"/>
          </a:xfrm>
        </p:grpSpPr>
        <p:sp>
          <p:nvSpPr>
            <p:cNvPr id="8049" name="Google Shape;8049;p77"/>
            <p:cNvSpPr/>
            <p:nvPr/>
          </p:nvSpPr>
          <p:spPr>
            <a:xfrm>
              <a:off x="-4211975" y="2081300"/>
              <a:ext cx="256025" cy="256000"/>
            </a:xfrm>
            <a:custGeom>
              <a:avLst/>
              <a:gdLst/>
              <a:ahLst/>
              <a:cxnLst/>
              <a:rect l="l" t="t" r="r" b="b"/>
              <a:pathLst>
                <a:path w="10241" h="10240" extrusionOk="0">
                  <a:moveTo>
                    <a:pt x="4758" y="693"/>
                  </a:moveTo>
                  <a:lnTo>
                    <a:pt x="4758" y="5167"/>
                  </a:lnTo>
                  <a:cubicBezTo>
                    <a:pt x="4758" y="5356"/>
                    <a:pt x="4916" y="5513"/>
                    <a:pt x="5105" y="5513"/>
                  </a:cubicBezTo>
                  <a:lnTo>
                    <a:pt x="9578" y="5513"/>
                  </a:lnTo>
                  <a:cubicBezTo>
                    <a:pt x="9358" y="7813"/>
                    <a:pt x="7436" y="9609"/>
                    <a:pt x="5105" y="9609"/>
                  </a:cubicBezTo>
                  <a:cubicBezTo>
                    <a:pt x="2679" y="9609"/>
                    <a:pt x="663" y="7593"/>
                    <a:pt x="663" y="5167"/>
                  </a:cubicBezTo>
                  <a:cubicBezTo>
                    <a:pt x="663" y="2835"/>
                    <a:pt x="2490" y="914"/>
                    <a:pt x="4758" y="693"/>
                  </a:cubicBezTo>
                  <a:close/>
                  <a:moveTo>
                    <a:pt x="5105" y="0"/>
                  </a:moveTo>
                  <a:cubicBezTo>
                    <a:pt x="2269" y="0"/>
                    <a:pt x="1" y="2300"/>
                    <a:pt x="1" y="5104"/>
                  </a:cubicBezTo>
                  <a:cubicBezTo>
                    <a:pt x="1" y="7939"/>
                    <a:pt x="2269" y="10239"/>
                    <a:pt x="5105" y="10239"/>
                  </a:cubicBezTo>
                  <a:cubicBezTo>
                    <a:pt x="7940" y="10239"/>
                    <a:pt x="10240" y="7939"/>
                    <a:pt x="10240" y="5104"/>
                  </a:cubicBezTo>
                  <a:cubicBezTo>
                    <a:pt x="10240" y="4978"/>
                    <a:pt x="10083" y="4820"/>
                    <a:pt x="9925" y="4820"/>
                  </a:cubicBezTo>
                  <a:lnTo>
                    <a:pt x="5483" y="4820"/>
                  </a:lnTo>
                  <a:lnTo>
                    <a:pt x="5483" y="347"/>
                  </a:lnTo>
                  <a:cubicBezTo>
                    <a:pt x="5483" y="158"/>
                    <a:pt x="5325" y="0"/>
                    <a:pt x="510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50" name="Google Shape;8050;p77"/>
            <p:cNvSpPr/>
            <p:nvPr/>
          </p:nvSpPr>
          <p:spPr>
            <a:xfrm>
              <a:off x="-4057600" y="2046625"/>
              <a:ext cx="137875" cy="137875"/>
            </a:xfrm>
            <a:custGeom>
              <a:avLst/>
              <a:gdLst/>
              <a:ahLst/>
              <a:cxnLst/>
              <a:rect l="l" t="t" r="r" b="b"/>
              <a:pathLst>
                <a:path w="5515" h="5515" extrusionOk="0">
                  <a:moveTo>
                    <a:pt x="663" y="694"/>
                  </a:moveTo>
                  <a:cubicBezTo>
                    <a:pt x="2836" y="851"/>
                    <a:pt x="4601" y="2616"/>
                    <a:pt x="4758" y="4790"/>
                  </a:cubicBezTo>
                  <a:lnTo>
                    <a:pt x="663" y="4790"/>
                  </a:lnTo>
                  <a:lnTo>
                    <a:pt x="663" y="694"/>
                  </a:lnTo>
                  <a:close/>
                  <a:moveTo>
                    <a:pt x="348" y="1"/>
                  </a:moveTo>
                  <a:cubicBezTo>
                    <a:pt x="158" y="1"/>
                    <a:pt x="1" y="158"/>
                    <a:pt x="1" y="379"/>
                  </a:cubicBezTo>
                  <a:lnTo>
                    <a:pt x="1" y="5168"/>
                  </a:lnTo>
                  <a:cubicBezTo>
                    <a:pt x="1" y="5357"/>
                    <a:pt x="158" y="5514"/>
                    <a:pt x="348" y="5514"/>
                  </a:cubicBezTo>
                  <a:lnTo>
                    <a:pt x="5168" y="5514"/>
                  </a:lnTo>
                  <a:cubicBezTo>
                    <a:pt x="5357" y="5514"/>
                    <a:pt x="5514" y="5357"/>
                    <a:pt x="5514" y="5168"/>
                  </a:cubicBezTo>
                  <a:cubicBezTo>
                    <a:pt x="5483" y="3750"/>
                    <a:pt x="4979" y="2490"/>
                    <a:pt x="3971" y="1513"/>
                  </a:cubicBezTo>
                  <a:cubicBezTo>
                    <a:pt x="2994" y="536"/>
                    <a:pt x="1734" y="1"/>
                    <a:pt x="3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51" name="Google Shape;8051;p77"/>
          <p:cNvGrpSpPr/>
          <p:nvPr/>
        </p:nvGrpSpPr>
        <p:grpSpPr>
          <a:xfrm>
            <a:off x="6245973" y="2851600"/>
            <a:ext cx="429145" cy="565633"/>
            <a:chOff x="-4178875" y="2405775"/>
            <a:chExt cx="222925" cy="293825"/>
          </a:xfrm>
        </p:grpSpPr>
        <p:sp>
          <p:nvSpPr>
            <p:cNvPr id="8052" name="Google Shape;8052;p77"/>
            <p:cNvSpPr/>
            <p:nvPr/>
          </p:nvSpPr>
          <p:spPr>
            <a:xfrm>
              <a:off x="-4178875" y="2405775"/>
              <a:ext cx="222925" cy="293825"/>
            </a:xfrm>
            <a:custGeom>
              <a:avLst/>
              <a:gdLst/>
              <a:ahLst/>
              <a:cxnLst/>
              <a:rect l="l" t="t" r="r" b="b"/>
              <a:pathLst>
                <a:path w="8917" h="11753" extrusionOk="0">
                  <a:moveTo>
                    <a:pt x="4474" y="694"/>
                  </a:moveTo>
                  <a:cubicBezTo>
                    <a:pt x="6553" y="694"/>
                    <a:pt x="8254" y="2395"/>
                    <a:pt x="8254" y="4475"/>
                  </a:cubicBezTo>
                  <a:cubicBezTo>
                    <a:pt x="8191" y="5262"/>
                    <a:pt x="7971" y="6018"/>
                    <a:pt x="7530" y="6649"/>
                  </a:cubicBezTo>
                  <a:lnTo>
                    <a:pt x="4474" y="10776"/>
                  </a:lnTo>
                  <a:lnTo>
                    <a:pt x="1418" y="6712"/>
                  </a:lnTo>
                  <a:cubicBezTo>
                    <a:pt x="945" y="6050"/>
                    <a:pt x="693" y="5294"/>
                    <a:pt x="693" y="4475"/>
                  </a:cubicBezTo>
                  <a:cubicBezTo>
                    <a:pt x="693" y="2395"/>
                    <a:pt x="2363" y="694"/>
                    <a:pt x="4474" y="694"/>
                  </a:cubicBezTo>
                  <a:close/>
                  <a:moveTo>
                    <a:pt x="4474" y="1"/>
                  </a:moveTo>
                  <a:cubicBezTo>
                    <a:pt x="2017" y="1"/>
                    <a:pt x="0" y="2017"/>
                    <a:pt x="0" y="4475"/>
                  </a:cubicBezTo>
                  <a:cubicBezTo>
                    <a:pt x="0" y="5451"/>
                    <a:pt x="315" y="6365"/>
                    <a:pt x="882" y="7153"/>
                  </a:cubicBezTo>
                  <a:lnTo>
                    <a:pt x="4190" y="11595"/>
                  </a:lnTo>
                  <a:cubicBezTo>
                    <a:pt x="4253" y="11689"/>
                    <a:pt x="4348" y="11752"/>
                    <a:pt x="4474" y="11752"/>
                  </a:cubicBezTo>
                  <a:cubicBezTo>
                    <a:pt x="4568" y="11752"/>
                    <a:pt x="4663" y="11721"/>
                    <a:pt x="4726" y="11595"/>
                  </a:cubicBezTo>
                  <a:lnTo>
                    <a:pt x="8097" y="7058"/>
                  </a:lnTo>
                  <a:cubicBezTo>
                    <a:pt x="8633" y="6333"/>
                    <a:pt x="8916" y="5420"/>
                    <a:pt x="8916" y="4506"/>
                  </a:cubicBezTo>
                  <a:cubicBezTo>
                    <a:pt x="8916" y="1986"/>
                    <a:pt x="6900" y="1"/>
                    <a:pt x="447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53" name="Google Shape;8053;p77"/>
            <p:cNvSpPr/>
            <p:nvPr/>
          </p:nvSpPr>
          <p:spPr>
            <a:xfrm>
              <a:off x="-4093025" y="2491650"/>
              <a:ext cx="51225" cy="51200"/>
            </a:xfrm>
            <a:custGeom>
              <a:avLst/>
              <a:gdLst/>
              <a:ahLst/>
              <a:cxnLst/>
              <a:rect l="l" t="t" r="r" b="b"/>
              <a:pathLst>
                <a:path w="2049" h="2048" extrusionOk="0">
                  <a:moveTo>
                    <a:pt x="1040" y="630"/>
                  </a:moveTo>
                  <a:cubicBezTo>
                    <a:pt x="1229" y="630"/>
                    <a:pt x="1386" y="788"/>
                    <a:pt x="1386" y="1008"/>
                  </a:cubicBezTo>
                  <a:cubicBezTo>
                    <a:pt x="1386" y="1197"/>
                    <a:pt x="1197" y="1355"/>
                    <a:pt x="1040" y="1355"/>
                  </a:cubicBezTo>
                  <a:cubicBezTo>
                    <a:pt x="819" y="1355"/>
                    <a:pt x="662" y="1197"/>
                    <a:pt x="662" y="1008"/>
                  </a:cubicBezTo>
                  <a:cubicBezTo>
                    <a:pt x="662" y="788"/>
                    <a:pt x="819" y="630"/>
                    <a:pt x="1040" y="630"/>
                  </a:cubicBezTo>
                  <a:close/>
                  <a:moveTo>
                    <a:pt x="1040" y="0"/>
                  </a:moveTo>
                  <a:cubicBezTo>
                    <a:pt x="473" y="0"/>
                    <a:pt x="0" y="473"/>
                    <a:pt x="0" y="1040"/>
                  </a:cubicBezTo>
                  <a:cubicBezTo>
                    <a:pt x="0" y="1575"/>
                    <a:pt x="473" y="2048"/>
                    <a:pt x="1040" y="2048"/>
                  </a:cubicBezTo>
                  <a:cubicBezTo>
                    <a:pt x="1575" y="2048"/>
                    <a:pt x="2048" y="1575"/>
                    <a:pt x="2048" y="1040"/>
                  </a:cubicBezTo>
                  <a:cubicBezTo>
                    <a:pt x="2048" y="441"/>
                    <a:pt x="1575" y="0"/>
                    <a:pt x="104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54" name="Google Shape;8054;p77"/>
            <p:cNvSpPr/>
            <p:nvPr/>
          </p:nvSpPr>
          <p:spPr>
            <a:xfrm>
              <a:off x="-4145800" y="2439650"/>
              <a:ext cx="155975" cy="155200"/>
            </a:xfrm>
            <a:custGeom>
              <a:avLst/>
              <a:gdLst/>
              <a:ahLst/>
              <a:cxnLst/>
              <a:rect l="l" t="t" r="r" b="b"/>
              <a:pathLst>
                <a:path w="6239" h="6208" extrusionOk="0">
                  <a:moveTo>
                    <a:pt x="3403" y="694"/>
                  </a:moveTo>
                  <a:lnTo>
                    <a:pt x="3403" y="1166"/>
                  </a:lnTo>
                  <a:cubicBezTo>
                    <a:pt x="3403" y="1324"/>
                    <a:pt x="3497" y="1450"/>
                    <a:pt x="3655" y="1481"/>
                  </a:cubicBezTo>
                  <a:cubicBezTo>
                    <a:pt x="3844" y="1576"/>
                    <a:pt x="4033" y="1670"/>
                    <a:pt x="4191" y="1828"/>
                  </a:cubicBezTo>
                  <a:cubicBezTo>
                    <a:pt x="4268" y="1867"/>
                    <a:pt x="4358" y="1894"/>
                    <a:pt x="4445" y="1894"/>
                  </a:cubicBezTo>
                  <a:cubicBezTo>
                    <a:pt x="4499" y="1894"/>
                    <a:pt x="4552" y="1884"/>
                    <a:pt x="4600" y="1859"/>
                  </a:cubicBezTo>
                  <a:lnTo>
                    <a:pt x="4978" y="1607"/>
                  </a:lnTo>
                  <a:lnTo>
                    <a:pt x="5356" y="2206"/>
                  </a:lnTo>
                  <a:lnTo>
                    <a:pt x="4947" y="2458"/>
                  </a:lnTo>
                  <a:cubicBezTo>
                    <a:pt x="4821" y="2521"/>
                    <a:pt x="4789" y="2647"/>
                    <a:pt x="4789" y="2805"/>
                  </a:cubicBezTo>
                  <a:cubicBezTo>
                    <a:pt x="4821" y="3025"/>
                    <a:pt x="4821" y="3183"/>
                    <a:pt x="4789" y="3435"/>
                  </a:cubicBezTo>
                  <a:cubicBezTo>
                    <a:pt x="4758" y="3592"/>
                    <a:pt x="4821" y="3687"/>
                    <a:pt x="4947" y="3781"/>
                  </a:cubicBezTo>
                  <a:lnTo>
                    <a:pt x="5356" y="4033"/>
                  </a:lnTo>
                  <a:lnTo>
                    <a:pt x="4978" y="4600"/>
                  </a:lnTo>
                  <a:lnTo>
                    <a:pt x="4600" y="4380"/>
                  </a:lnTo>
                  <a:cubicBezTo>
                    <a:pt x="4554" y="4345"/>
                    <a:pt x="4503" y="4332"/>
                    <a:pt x="4452" y="4332"/>
                  </a:cubicBezTo>
                  <a:cubicBezTo>
                    <a:pt x="4363" y="4332"/>
                    <a:pt x="4270" y="4372"/>
                    <a:pt x="4191" y="4411"/>
                  </a:cubicBezTo>
                  <a:cubicBezTo>
                    <a:pt x="4033" y="4537"/>
                    <a:pt x="3844" y="4632"/>
                    <a:pt x="3655" y="4726"/>
                  </a:cubicBezTo>
                  <a:cubicBezTo>
                    <a:pt x="3529" y="4758"/>
                    <a:pt x="3403" y="4915"/>
                    <a:pt x="3403" y="5041"/>
                  </a:cubicBezTo>
                  <a:lnTo>
                    <a:pt x="3403" y="5514"/>
                  </a:lnTo>
                  <a:lnTo>
                    <a:pt x="2741" y="5514"/>
                  </a:lnTo>
                  <a:lnTo>
                    <a:pt x="2741" y="5041"/>
                  </a:lnTo>
                  <a:cubicBezTo>
                    <a:pt x="2741" y="4884"/>
                    <a:pt x="2678" y="4758"/>
                    <a:pt x="2521" y="4726"/>
                  </a:cubicBezTo>
                  <a:cubicBezTo>
                    <a:pt x="2300" y="4663"/>
                    <a:pt x="2111" y="4569"/>
                    <a:pt x="1954" y="4411"/>
                  </a:cubicBezTo>
                  <a:cubicBezTo>
                    <a:pt x="1874" y="4372"/>
                    <a:pt x="1782" y="4332"/>
                    <a:pt x="1701" y="4332"/>
                  </a:cubicBezTo>
                  <a:cubicBezTo>
                    <a:pt x="1654" y="4332"/>
                    <a:pt x="1610" y="4345"/>
                    <a:pt x="1576" y="4380"/>
                  </a:cubicBezTo>
                  <a:lnTo>
                    <a:pt x="1166" y="4600"/>
                  </a:lnTo>
                  <a:lnTo>
                    <a:pt x="820" y="4033"/>
                  </a:lnTo>
                  <a:lnTo>
                    <a:pt x="1198" y="3781"/>
                  </a:lnTo>
                  <a:cubicBezTo>
                    <a:pt x="1324" y="3718"/>
                    <a:pt x="1418" y="3592"/>
                    <a:pt x="1355" y="3435"/>
                  </a:cubicBezTo>
                  <a:cubicBezTo>
                    <a:pt x="1324" y="3183"/>
                    <a:pt x="1324" y="3025"/>
                    <a:pt x="1355" y="2805"/>
                  </a:cubicBezTo>
                  <a:cubicBezTo>
                    <a:pt x="1418" y="2647"/>
                    <a:pt x="1324" y="2521"/>
                    <a:pt x="1198" y="2458"/>
                  </a:cubicBezTo>
                  <a:lnTo>
                    <a:pt x="820" y="2206"/>
                  </a:lnTo>
                  <a:lnTo>
                    <a:pt x="1166" y="1607"/>
                  </a:lnTo>
                  <a:lnTo>
                    <a:pt x="1576" y="1859"/>
                  </a:lnTo>
                  <a:cubicBezTo>
                    <a:pt x="1612" y="1884"/>
                    <a:pt x="1657" y="1894"/>
                    <a:pt x="1706" y="1894"/>
                  </a:cubicBezTo>
                  <a:cubicBezTo>
                    <a:pt x="1786" y="1894"/>
                    <a:pt x="1876" y="1867"/>
                    <a:pt x="1954" y="1828"/>
                  </a:cubicBezTo>
                  <a:cubicBezTo>
                    <a:pt x="2111" y="1702"/>
                    <a:pt x="2300" y="1576"/>
                    <a:pt x="2521" y="1481"/>
                  </a:cubicBezTo>
                  <a:cubicBezTo>
                    <a:pt x="2615" y="1450"/>
                    <a:pt x="2741" y="1292"/>
                    <a:pt x="2741" y="1166"/>
                  </a:cubicBezTo>
                  <a:lnTo>
                    <a:pt x="2741" y="694"/>
                  </a:lnTo>
                  <a:close/>
                  <a:moveTo>
                    <a:pt x="2426" y="1"/>
                  </a:moveTo>
                  <a:cubicBezTo>
                    <a:pt x="2237" y="1"/>
                    <a:pt x="2080" y="158"/>
                    <a:pt x="2080" y="347"/>
                  </a:cubicBezTo>
                  <a:lnTo>
                    <a:pt x="2080" y="946"/>
                  </a:lnTo>
                  <a:cubicBezTo>
                    <a:pt x="1954" y="977"/>
                    <a:pt x="1828" y="1072"/>
                    <a:pt x="1765" y="1135"/>
                  </a:cubicBezTo>
                  <a:lnTo>
                    <a:pt x="1261" y="851"/>
                  </a:lnTo>
                  <a:cubicBezTo>
                    <a:pt x="1211" y="831"/>
                    <a:pt x="1158" y="821"/>
                    <a:pt x="1104" y="821"/>
                  </a:cubicBezTo>
                  <a:cubicBezTo>
                    <a:pt x="990" y="821"/>
                    <a:pt x="874" y="870"/>
                    <a:pt x="788" y="977"/>
                  </a:cubicBezTo>
                  <a:lnTo>
                    <a:pt x="126" y="2175"/>
                  </a:lnTo>
                  <a:cubicBezTo>
                    <a:pt x="32" y="2332"/>
                    <a:pt x="63" y="2521"/>
                    <a:pt x="221" y="2647"/>
                  </a:cubicBezTo>
                  <a:lnTo>
                    <a:pt x="757" y="2899"/>
                  </a:lnTo>
                  <a:lnTo>
                    <a:pt x="757" y="3120"/>
                  </a:lnTo>
                  <a:lnTo>
                    <a:pt x="757" y="3309"/>
                  </a:lnTo>
                  <a:lnTo>
                    <a:pt x="221" y="3592"/>
                  </a:lnTo>
                  <a:cubicBezTo>
                    <a:pt x="63" y="3655"/>
                    <a:pt x="0" y="3907"/>
                    <a:pt x="126" y="4065"/>
                  </a:cubicBezTo>
                  <a:lnTo>
                    <a:pt x="788" y="5231"/>
                  </a:lnTo>
                  <a:cubicBezTo>
                    <a:pt x="831" y="5337"/>
                    <a:pt x="960" y="5415"/>
                    <a:pt x="1088" y="5415"/>
                  </a:cubicBezTo>
                  <a:cubicBezTo>
                    <a:pt x="1149" y="5415"/>
                    <a:pt x="1210" y="5397"/>
                    <a:pt x="1261" y="5357"/>
                  </a:cubicBezTo>
                  <a:lnTo>
                    <a:pt x="1765" y="5073"/>
                  </a:lnTo>
                  <a:cubicBezTo>
                    <a:pt x="1891" y="5167"/>
                    <a:pt x="1954" y="5199"/>
                    <a:pt x="2080" y="5262"/>
                  </a:cubicBezTo>
                  <a:lnTo>
                    <a:pt x="2080" y="5861"/>
                  </a:lnTo>
                  <a:cubicBezTo>
                    <a:pt x="2080" y="6050"/>
                    <a:pt x="2237" y="6207"/>
                    <a:pt x="2426" y="6207"/>
                  </a:cubicBezTo>
                  <a:lnTo>
                    <a:pt x="3812" y="6207"/>
                  </a:lnTo>
                  <a:cubicBezTo>
                    <a:pt x="4002" y="6207"/>
                    <a:pt x="4159" y="6050"/>
                    <a:pt x="4159" y="5861"/>
                  </a:cubicBezTo>
                  <a:lnTo>
                    <a:pt x="4159" y="5262"/>
                  </a:lnTo>
                  <a:cubicBezTo>
                    <a:pt x="4285" y="5231"/>
                    <a:pt x="4411" y="5167"/>
                    <a:pt x="4474" y="5073"/>
                  </a:cubicBezTo>
                  <a:lnTo>
                    <a:pt x="4978" y="5357"/>
                  </a:lnTo>
                  <a:cubicBezTo>
                    <a:pt x="5028" y="5376"/>
                    <a:pt x="5084" y="5387"/>
                    <a:pt x="5141" y="5387"/>
                  </a:cubicBezTo>
                  <a:cubicBezTo>
                    <a:pt x="5263" y="5387"/>
                    <a:pt x="5386" y="5338"/>
                    <a:pt x="5451" y="5231"/>
                  </a:cubicBezTo>
                  <a:lnTo>
                    <a:pt x="6144" y="4065"/>
                  </a:lnTo>
                  <a:cubicBezTo>
                    <a:pt x="6207" y="3907"/>
                    <a:pt x="6175" y="3687"/>
                    <a:pt x="6018" y="3592"/>
                  </a:cubicBezTo>
                  <a:lnTo>
                    <a:pt x="5514" y="3309"/>
                  </a:lnTo>
                  <a:lnTo>
                    <a:pt x="5514" y="3120"/>
                  </a:lnTo>
                  <a:lnTo>
                    <a:pt x="5514" y="2899"/>
                  </a:lnTo>
                  <a:lnTo>
                    <a:pt x="6018" y="2647"/>
                  </a:lnTo>
                  <a:cubicBezTo>
                    <a:pt x="6175" y="2521"/>
                    <a:pt x="6238" y="2332"/>
                    <a:pt x="6144" y="2175"/>
                  </a:cubicBezTo>
                  <a:lnTo>
                    <a:pt x="5451" y="977"/>
                  </a:lnTo>
                  <a:cubicBezTo>
                    <a:pt x="5408" y="870"/>
                    <a:pt x="5278" y="807"/>
                    <a:pt x="5149" y="807"/>
                  </a:cubicBezTo>
                  <a:cubicBezTo>
                    <a:pt x="5089" y="807"/>
                    <a:pt x="5029" y="821"/>
                    <a:pt x="4978" y="851"/>
                  </a:cubicBezTo>
                  <a:lnTo>
                    <a:pt x="4474" y="1135"/>
                  </a:lnTo>
                  <a:cubicBezTo>
                    <a:pt x="4348" y="1072"/>
                    <a:pt x="4285" y="1009"/>
                    <a:pt x="4159" y="946"/>
                  </a:cubicBezTo>
                  <a:lnTo>
                    <a:pt x="4159" y="347"/>
                  </a:lnTo>
                  <a:cubicBezTo>
                    <a:pt x="4159" y="158"/>
                    <a:pt x="4002" y="1"/>
                    <a:pt x="38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55" name="Google Shape;8055;p77"/>
          <p:cNvGrpSpPr/>
          <p:nvPr/>
        </p:nvGrpSpPr>
        <p:grpSpPr>
          <a:xfrm>
            <a:off x="6195923" y="3564644"/>
            <a:ext cx="561061" cy="527661"/>
            <a:chOff x="-4211975" y="2783850"/>
            <a:chExt cx="291450" cy="274100"/>
          </a:xfrm>
        </p:grpSpPr>
        <p:sp>
          <p:nvSpPr>
            <p:cNvPr id="8056" name="Google Shape;8056;p77"/>
            <p:cNvSpPr/>
            <p:nvPr/>
          </p:nvSpPr>
          <p:spPr>
            <a:xfrm>
              <a:off x="-4211975" y="2937125"/>
              <a:ext cx="291450" cy="120825"/>
            </a:xfrm>
            <a:custGeom>
              <a:avLst/>
              <a:gdLst/>
              <a:ahLst/>
              <a:cxnLst/>
              <a:rect l="l" t="t" r="r" b="b"/>
              <a:pathLst>
                <a:path w="11658" h="4833" extrusionOk="0">
                  <a:moveTo>
                    <a:pt x="978" y="706"/>
                  </a:moveTo>
                  <a:cubicBezTo>
                    <a:pt x="1167" y="706"/>
                    <a:pt x="1324" y="863"/>
                    <a:pt x="1324" y="1052"/>
                  </a:cubicBezTo>
                  <a:lnTo>
                    <a:pt x="1324" y="3762"/>
                  </a:lnTo>
                  <a:cubicBezTo>
                    <a:pt x="1324" y="3982"/>
                    <a:pt x="1167" y="4140"/>
                    <a:pt x="978" y="4140"/>
                  </a:cubicBezTo>
                  <a:lnTo>
                    <a:pt x="631" y="4140"/>
                  </a:lnTo>
                  <a:lnTo>
                    <a:pt x="631" y="706"/>
                  </a:lnTo>
                  <a:close/>
                  <a:moveTo>
                    <a:pt x="3866" y="717"/>
                  </a:moveTo>
                  <a:cubicBezTo>
                    <a:pt x="4374" y="717"/>
                    <a:pt x="4886" y="859"/>
                    <a:pt x="5325" y="1147"/>
                  </a:cubicBezTo>
                  <a:cubicBezTo>
                    <a:pt x="5672" y="1367"/>
                    <a:pt x="5703" y="1399"/>
                    <a:pt x="5829" y="1399"/>
                  </a:cubicBezTo>
                  <a:lnTo>
                    <a:pt x="7247" y="1399"/>
                  </a:lnTo>
                  <a:cubicBezTo>
                    <a:pt x="7436" y="1399"/>
                    <a:pt x="7594" y="1556"/>
                    <a:pt x="7594" y="1777"/>
                  </a:cubicBezTo>
                  <a:cubicBezTo>
                    <a:pt x="7594" y="1966"/>
                    <a:pt x="7436" y="2124"/>
                    <a:pt x="7247" y="2124"/>
                  </a:cubicBezTo>
                  <a:lnTo>
                    <a:pt x="4758" y="2124"/>
                  </a:lnTo>
                  <a:cubicBezTo>
                    <a:pt x="4380" y="2124"/>
                    <a:pt x="4034" y="2344"/>
                    <a:pt x="3845" y="2659"/>
                  </a:cubicBezTo>
                  <a:cubicBezTo>
                    <a:pt x="3782" y="2817"/>
                    <a:pt x="3845" y="3069"/>
                    <a:pt x="4002" y="3132"/>
                  </a:cubicBezTo>
                  <a:cubicBezTo>
                    <a:pt x="4045" y="3158"/>
                    <a:pt x="4096" y="3169"/>
                    <a:pt x="4148" y="3169"/>
                  </a:cubicBezTo>
                  <a:cubicBezTo>
                    <a:pt x="4284" y="3169"/>
                    <a:pt x="4429" y="3088"/>
                    <a:pt x="4475" y="2974"/>
                  </a:cubicBezTo>
                  <a:cubicBezTo>
                    <a:pt x="4538" y="2848"/>
                    <a:pt x="4632" y="2785"/>
                    <a:pt x="4790" y="2785"/>
                  </a:cubicBezTo>
                  <a:lnTo>
                    <a:pt x="7562" y="2785"/>
                  </a:lnTo>
                  <a:cubicBezTo>
                    <a:pt x="7783" y="2785"/>
                    <a:pt x="8003" y="2722"/>
                    <a:pt x="8192" y="2596"/>
                  </a:cubicBezTo>
                  <a:lnTo>
                    <a:pt x="10555" y="769"/>
                  </a:lnTo>
                  <a:cubicBezTo>
                    <a:pt x="10603" y="747"/>
                    <a:pt x="10649" y="737"/>
                    <a:pt x="10693" y="737"/>
                  </a:cubicBezTo>
                  <a:cubicBezTo>
                    <a:pt x="10969" y="737"/>
                    <a:pt x="11146" y="1123"/>
                    <a:pt x="10902" y="1367"/>
                  </a:cubicBezTo>
                  <a:cubicBezTo>
                    <a:pt x="10844" y="1406"/>
                    <a:pt x="10817" y="1419"/>
                    <a:pt x="10805" y="1419"/>
                  </a:cubicBezTo>
                  <a:cubicBezTo>
                    <a:pt x="10780" y="1419"/>
                    <a:pt x="10836" y="1354"/>
                    <a:pt x="10826" y="1354"/>
                  </a:cubicBezTo>
                  <a:cubicBezTo>
                    <a:pt x="10804" y="1354"/>
                    <a:pt x="10447" y="1686"/>
                    <a:pt x="8066" y="3856"/>
                  </a:cubicBezTo>
                  <a:cubicBezTo>
                    <a:pt x="7877" y="4014"/>
                    <a:pt x="7625" y="4140"/>
                    <a:pt x="7373" y="4140"/>
                  </a:cubicBezTo>
                  <a:lnTo>
                    <a:pt x="3435" y="4140"/>
                  </a:lnTo>
                  <a:cubicBezTo>
                    <a:pt x="2962" y="4140"/>
                    <a:pt x="2490" y="4014"/>
                    <a:pt x="2049" y="3825"/>
                  </a:cubicBezTo>
                  <a:lnTo>
                    <a:pt x="2049" y="1399"/>
                  </a:lnTo>
                  <a:lnTo>
                    <a:pt x="2332" y="1210"/>
                  </a:lnTo>
                  <a:cubicBezTo>
                    <a:pt x="2774" y="883"/>
                    <a:pt x="3318" y="717"/>
                    <a:pt x="3866" y="717"/>
                  </a:cubicBezTo>
                  <a:close/>
                  <a:moveTo>
                    <a:pt x="3817" y="0"/>
                  </a:moveTo>
                  <a:cubicBezTo>
                    <a:pt x="3151" y="0"/>
                    <a:pt x="2491" y="205"/>
                    <a:pt x="1923" y="611"/>
                  </a:cubicBezTo>
                  <a:cubicBezTo>
                    <a:pt x="1765" y="265"/>
                    <a:pt x="1419" y="13"/>
                    <a:pt x="1009" y="13"/>
                  </a:cubicBezTo>
                  <a:lnTo>
                    <a:pt x="348" y="13"/>
                  </a:lnTo>
                  <a:cubicBezTo>
                    <a:pt x="159" y="13"/>
                    <a:pt x="1" y="170"/>
                    <a:pt x="1" y="391"/>
                  </a:cubicBezTo>
                  <a:lnTo>
                    <a:pt x="1" y="4486"/>
                  </a:lnTo>
                  <a:cubicBezTo>
                    <a:pt x="1" y="4675"/>
                    <a:pt x="159" y="4833"/>
                    <a:pt x="348" y="4833"/>
                  </a:cubicBezTo>
                  <a:lnTo>
                    <a:pt x="1009" y="4833"/>
                  </a:lnTo>
                  <a:cubicBezTo>
                    <a:pt x="1324" y="4833"/>
                    <a:pt x="1608" y="4675"/>
                    <a:pt x="1797" y="4486"/>
                  </a:cubicBezTo>
                  <a:cubicBezTo>
                    <a:pt x="2332" y="4707"/>
                    <a:pt x="2868" y="4833"/>
                    <a:pt x="3435" y="4833"/>
                  </a:cubicBezTo>
                  <a:lnTo>
                    <a:pt x="7373" y="4833"/>
                  </a:lnTo>
                  <a:cubicBezTo>
                    <a:pt x="7783" y="4833"/>
                    <a:pt x="8192" y="4675"/>
                    <a:pt x="8507" y="4392"/>
                  </a:cubicBezTo>
                  <a:cubicBezTo>
                    <a:pt x="8539" y="4392"/>
                    <a:pt x="11217" y="1903"/>
                    <a:pt x="11248" y="1872"/>
                  </a:cubicBezTo>
                  <a:cubicBezTo>
                    <a:pt x="11406" y="1809"/>
                    <a:pt x="11658" y="1493"/>
                    <a:pt x="11658" y="1084"/>
                  </a:cubicBezTo>
                  <a:cubicBezTo>
                    <a:pt x="11658" y="454"/>
                    <a:pt x="11185" y="44"/>
                    <a:pt x="10618" y="44"/>
                  </a:cubicBezTo>
                  <a:cubicBezTo>
                    <a:pt x="10303" y="44"/>
                    <a:pt x="10051" y="202"/>
                    <a:pt x="9925" y="296"/>
                  </a:cubicBezTo>
                  <a:lnTo>
                    <a:pt x="8192" y="1619"/>
                  </a:lnTo>
                  <a:cubicBezTo>
                    <a:pt x="8098" y="1084"/>
                    <a:pt x="7688" y="706"/>
                    <a:pt x="7153" y="706"/>
                  </a:cubicBezTo>
                  <a:lnTo>
                    <a:pt x="5861" y="706"/>
                  </a:lnTo>
                  <a:lnTo>
                    <a:pt x="5640" y="548"/>
                  </a:lnTo>
                  <a:cubicBezTo>
                    <a:pt x="5075" y="182"/>
                    <a:pt x="4444" y="0"/>
                    <a:pt x="38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57" name="Google Shape;8057;p77"/>
            <p:cNvSpPr/>
            <p:nvPr/>
          </p:nvSpPr>
          <p:spPr>
            <a:xfrm>
              <a:off x="-4109575" y="2783850"/>
              <a:ext cx="153625" cy="154400"/>
            </a:xfrm>
            <a:custGeom>
              <a:avLst/>
              <a:gdLst/>
              <a:ahLst/>
              <a:cxnLst/>
              <a:rect l="l" t="t" r="r" b="b"/>
              <a:pathLst>
                <a:path w="6145" h="6176" extrusionOk="0">
                  <a:moveTo>
                    <a:pt x="3057" y="693"/>
                  </a:moveTo>
                  <a:cubicBezTo>
                    <a:pt x="4411" y="693"/>
                    <a:pt x="5482" y="1765"/>
                    <a:pt x="5482" y="3088"/>
                  </a:cubicBezTo>
                  <a:cubicBezTo>
                    <a:pt x="5482" y="4442"/>
                    <a:pt x="4411" y="5482"/>
                    <a:pt x="3057" y="5482"/>
                  </a:cubicBezTo>
                  <a:cubicBezTo>
                    <a:pt x="1733" y="5482"/>
                    <a:pt x="662" y="4442"/>
                    <a:pt x="662" y="3088"/>
                  </a:cubicBezTo>
                  <a:cubicBezTo>
                    <a:pt x="662" y="1765"/>
                    <a:pt x="1733" y="693"/>
                    <a:pt x="3057" y="693"/>
                  </a:cubicBezTo>
                  <a:close/>
                  <a:moveTo>
                    <a:pt x="3057" y="0"/>
                  </a:moveTo>
                  <a:cubicBezTo>
                    <a:pt x="1387" y="0"/>
                    <a:pt x="1" y="1387"/>
                    <a:pt x="1" y="3088"/>
                  </a:cubicBezTo>
                  <a:cubicBezTo>
                    <a:pt x="1" y="4789"/>
                    <a:pt x="1387" y="6175"/>
                    <a:pt x="3057" y="6175"/>
                  </a:cubicBezTo>
                  <a:cubicBezTo>
                    <a:pt x="4758" y="6175"/>
                    <a:pt x="6144" y="4789"/>
                    <a:pt x="6144" y="3088"/>
                  </a:cubicBezTo>
                  <a:cubicBezTo>
                    <a:pt x="6144" y="1387"/>
                    <a:pt x="4758" y="0"/>
                    <a:pt x="30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58" name="Google Shape;8058;p77"/>
            <p:cNvSpPr/>
            <p:nvPr/>
          </p:nvSpPr>
          <p:spPr>
            <a:xfrm>
              <a:off x="-4074925" y="2818500"/>
              <a:ext cx="84300" cy="85100"/>
            </a:xfrm>
            <a:custGeom>
              <a:avLst/>
              <a:gdLst/>
              <a:ahLst/>
              <a:cxnLst/>
              <a:rect l="l" t="t" r="r" b="b"/>
              <a:pathLst>
                <a:path w="3372" h="3404" extrusionOk="0">
                  <a:moveTo>
                    <a:pt x="1671" y="631"/>
                  </a:moveTo>
                  <a:cubicBezTo>
                    <a:pt x="2238" y="631"/>
                    <a:pt x="2710" y="1103"/>
                    <a:pt x="2710" y="1670"/>
                  </a:cubicBezTo>
                  <a:cubicBezTo>
                    <a:pt x="2710" y="2206"/>
                    <a:pt x="2238" y="2678"/>
                    <a:pt x="1671" y="2678"/>
                  </a:cubicBezTo>
                  <a:cubicBezTo>
                    <a:pt x="1135" y="2678"/>
                    <a:pt x="662" y="2206"/>
                    <a:pt x="662" y="1670"/>
                  </a:cubicBezTo>
                  <a:cubicBezTo>
                    <a:pt x="662" y="1103"/>
                    <a:pt x="1135" y="631"/>
                    <a:pt x="1671" y="631"/>
                  </a:cubicBezTo>
                  <a:close/>
                  <a:moveTo>
                    <a:pt x="1671" y="1"/>
                  </a:moveTo>
                  <a:cubicBezTo>
                    <a:pt x="725" y="1"/>
                    <a:pt x="1" y="757"/>
                    <a:pt x="1" y="1702"/>
                  </a:cubicBezTo>
                  <a:cubicBezTo>
                    <a:pt x="1" y="2647"/>
                    <a:pt x="725" y="3403"/>
                    <a:pt x="1671" y="3403"/>
                  </a:cubicBezTo>
                  <a:cubicBezTo>
                    <a:pt x="2616" y="3403"/>
                    <a:pt x="3372" y="2647"/>
                    <a:pt x="3372" y="1702"/>
                  </a:cubicBezTo>
                  <a:cubicBezTo>
                    <a:pt x="3372" y="757"/>
                    <a:pt x="2616" y="1"/>
                    <a:pt x="16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59" name="Google Shape;8059;p77"/>
          <p:cNvSpPr/>
          <p:nvPr/>
        </p:nvSpPr>
        <p:spPr>
          <a:xfrm>
            <a:off x="9817116" y="2173327"/>
            <a:ext cx="532233" cy="564092"/>
          </a:xfrm>
          <a:custGeom>
            <a:avLst/>
            <a:gdLst/>
            <a:ahLst/>
            <a:cxnLst/>
            <a:rect l="l" t="t" r="r" b="b"/>
            <a:pathLst>
              <a:path w="11059" h="11721" extrusionOk="0">
                <a:moveTo>
                  <a:pt x="1418" y="693"/>
                </a:moveTo>
                <a:lnTo>
                  <a:pt x="1418" y="1387"/>
                </a:lnTo>
                <a:lnTo>
                  <a:pt x="725" y="1387"/>
                </a:lnTo>
                <a:lnTo>
                  <a:pt x="725" y="693"/>
                </a:lnTo>
                <a:close/>
                <a:moveTo>
                  <a:pt x="9011" y="693"/>
                </a:moveTo>
                <a:lnTo>
                  <a:pt x="9011" y="1387"/>
                </a:lnTo>
                <a:lnTo>
                  <a:pt x="8349" y="1387"/>
                </a:lnTo>
                <a:lnTo>
                  <a:pt x="8349" y="693"/>
                </a:lnTo>
                <a:close/>
                <a:moveTo>
                  <a:pt x="7656" y="1324"/>
                </a:moveTo>
                <a:lnTo>
                  <a:pt x="7656" y="1670"/>
                </a:lnTo>
                <a:cubicBezTo>
                  <a:pt x="7656" y="1891"/>
                  <a:pt x="7813" y="2048"/>
                  <a:pt x="8034" y="2048"/>
                </a:cubicBezTo>
                <a:lnTo>
                  <a:pt x="8381" y="2048"/>
                </a:lnTo>
                <a:lnTo>
                  <a:pt x="8381" y="4222"/>
                </a:lnTo>
                <a:cubicBezTo>
                  <a:pt x="8255" y="4253"/>
                  <a:pt x="8160" y="4316"/>
                  <a:pt x="8034" y="4411"/>
                </a:cubicBezTo>
                <a:cubicBezTo>
                  <a:pt x="7845" y="4243"/>
                  <a:pt x="7614" y="4159"/>
                  <a:pt x="7369" y="4159"/>
                </a:cubicBezTo>
                <a:cubicBezTo>
                  <a:pt x="7246" y="4159"/>
                  <a:pt x="7120" y="4180"/>
                  <a:pt x="6994" y="4222"/>
                </a:cubicBezTo>
                <a:lnTo>
                  <a:pt x="6994" y="3088"/>
                </a:lnTo>
                <a:cubicBezTo>
                  <a:pt x="6994" y="2552"/>
                  <a:pt x="6522" y="2080"/>
                  <a:pt x="5986" y="2080"/>
                </a:cubicBezTo>
                <a:cubicBezTo>
                  <a:pt x="5419" y="2080"/>
                  <a:pt x="4947" y="2552"/>
                  <a:pt x="4947" y="3088"/>
                </a:cubicBezTo>
                <a:lnTo>
                  <a:pt x="4947" y="6459"/>
                </a:lnTo>
                <a:lnTo>
                  <a:pt x="4789" y="6301"/>
                </a:lnTo>
                <a:cubicBezTo>
                  <a:pt x="4600" y="6097"/>
                  <a:pt x="4340" y="5994"/>
                  <a:pt x="4076" y="5994"/>
                </a:cubicBezTo>
                <a:cubicBezTo>
                  <a:pt x="3812" y="5994"/>
                  <a:pt x="3545" y="6097"/>
                  <a:pt x="3340" y="6301"/>
                </a:cubicBezTo>
                <a:cubicBezTo>
                  <a:pt x="2962" y="6679"/>
                  <a:pt x="2962" y="7341"/>
                  <a:pt x="3340" y="7751"/>
                </a:cubicBezTo>
                <a:lnTo>
                  <a:pt x="3812" y="8223"/>
                </a:lnTo>
                <a:lnTo>
                  <a:pt x="2111" y="8223"/>
                </a:lnTo>
                <a:lnTo>
                  <a:pt x="2111" y="7908"/>
                </a:lnTo>
                <a:cubicBezTo>
                  <a:pt x="2111" y="7719"/>
                  <a:pt x="1954" y="7561"/>
                  <a:pt x="1765" y="7561"/>
                </a:cubicBezTo>
                <a:lnTo>
                  <a:pt x="1418" y="7561"/>
                </a:lnTo>
                <a:lnTo>
                  <a:pt x="1418" y="2048"/>
                </a:lnTo>
                <a:lnTo>
                  <a:pt x="1765" y="2048"/>
                </a:lnTo>
                <a:cubicBezTo>
                  <a:pt x="1954" y="2048"/>
                  <a:pt x="2111" y="1891"/>
                  <a:pt x="2111" y="1670"/>
                </a:cubicBezTo>
                <a:lnTo>
                  <a:pt x="2111" y="1324"/>
                </a:lnTo>
                <a:close/>
                <a:moveTo>
                  <a:pt x="1418" y="8255"/>
                </a:moveTo>
                <a:lnTo>
                  <a:pt x="1418" y="8948"/>
                </a:lnTo>
                <a:lnTo>
                  <a:pt x="725" y="8948"/>
                </a:lnTo>
                <a:lnTo>
                  <a:pt x="725" y="8255"/>
                </a:lnTo>
                <a:close/>
                <a:moveTo>
                  <a:pt x="5955" y="2836"/>
                </a:moveTo>
                <a:cubicBezTo>
                  <a:pt x="6144" y="2836"/>
                  <a:pt x="6301" y="2993"/>
                  <a:pt x="6301" y="3182"/>
                </a:cubicBezTo>
                <a:lnTo>
                  <a:pt x="6301" y="6616"/>
                </a:lnTo>
                <a:cubicBezTo>
                  <a:pt x="6301" y="6805"/>
                  <a:pt x="6459" y="6963"/>
                  <a:pt x="6648" y="6963"/>
                </a:cubicBezTo>
                <a:cubicBezTo>
                  <a:pt x="6837" y="6963"/>
                  <a:pt x="6994" y="6805"/>
                  <a:pt x="6994" y="6616"/>
                </a:cubicBezTo>
                <a:lnTo>
                  <a:pt x="6994" y="5230"/>
                </a:lnTo>
                <a:cubicBezTo>
                  <a:pt x="6994" y="5041"/>
                  <a:pt x="7152" y="4884"/>
                  <a:pt x="7372" y="4884"/>
                </a:cubicBezTo>
                <a:cubicBezTo>
                  <a:pt x="7561" y="4884"/>
                  <a:pt x="7719" y="5041"/>
                  <a:pt x="7719" y="5230"/>
                </a:cubicBezTo>
                <a:lnTo>
                  <a:pt x="7719" y="6616"/>
                </a:lnTo>
                <a:cubicBezTo>
                  <a:pt x="7719" y="6805"/>
                  <a:pt x="7876" y="6963"/>
                  <a:pt x="8066" y="6963"/>
                </a:cubicBezTo>
                <a:cubicBezTo>
                  <a:pt x="8255" y="6963"/>
                  <a:pt x="8412" y="6805"/>
                  <a:pt x="8412" y="6616"/>
                </a:cubicBezTo>
                <a:lnTo>
                  <a:pt x="8412" y="5230"/>
                </a:lnTo>
                <a:cubicBezTo>
                  <a:pt x="8412" y="5041"/>
                  <a:pt x="8570" y="4884"/>
                  <a:pt x="8790" y="4884"/>
                </a:cubicBezTo>
                <a:cubicBezTo>
                  <a:pt x="8979" y="4884"/>
                  <a:pt x="9137" y="5041"/>
                  <a:pt x="9137" y="5230"/>
                </a:cubicBezTo>
                <a:lnTo>
                  <a:pt x="9137" y="6616"/>
                </a:lnTo>
                <a:cubicBezTo>
                  <a:pt x="9137" y="6805"/>
                  <a:pt x="9294" y="6963"/>
                  <a:pt x="9483" y="6963"/>
                </a:cubicBezTo>
                <a:cubicBezTo>
                  <a:pt x="9672" y="6963"/>
                  <a:pt x="9830" y="6805"/>
                  <a:pt x="9830" y="6616"/>
                </a:cubicBezTo>
                <a:lnTo>
                  <a:pt x="9830" y="5955"/>
                </a:lnTo>
                <a:cubicBezTo>
                  <a:pt x="9704" y="5703"/>
                  <a:pt x="9861" y="5545"/>
                  <a:pt x="10019" y="5545"/>
                </a:cubicBezTo>
                <a:cubicBezTo>
                  <a:pt x="10239" y="5545"/>
                  <a:pt x="10397" y="5703"/>
                  <a:pt x="10397" y="5892"/>
                </a:cubicBezTo>
                <a:lnTo>
                  <a:pt x="10397" y="7057"/>
                </a:lnTo>
                <a:cubicBezTo>
                  <a:pt x="10397" y="8003"/>
                  <a:pt x="10176" y="8885"/>
                  <a:pt x="9830" y="9672"/>
                </a:cubicBezTo>
                <a:lnTo>
                  <a:pt x="6144" y="9672"/>
                </a:lnTo>
                <a:lnTo>
                  <a:pt x="3812" y="7372"/>
                </a:lnTo>
                <a:cubicBezTo>
                  <a:pt x="3686" y="7246"/>
                  <a:pt x="3686" y="6994"/>
                  <a:pt x="3812" y="6900"/>
                </a:cubicBezTo>
                <a:cubicBezTo>
                  <a:pt x="3875" y="6837"/>
                  <a:pt x="3962" y="6805"/>
                  <a:pt x="4049" y="6805"/>
                </a:cubicBezTo>
                <a:cubicBezTo>
                  <a:pt x="4135" y="6805"/>
                  <a:pt x="4222" y="6837"/>
                  <a:pt x="4285" y="6900"/>
                </a:cubicBezTo>
                <a:lnTo>
                  <a:pt x="5010" y="7593"/>
                </a:lnTo>
                <a:cubicBezTo>
                  <a:pt x="5075" y="7659"/>
                  <a:pt x="5163" y="7690"/>
                  <a:pt x="5251" y="7690"/>
                </a:cubicBezTo>
                <a:cubicBezTo>
                  <a:pt x="5415" y="7690"/>
                  <a:pt x="5577" y="7578"/>
                  <a:pt x="5577" y="7372"/>
                </a:cubicBezTo>
                <a:lnTo>
                  <a:pt x="5577" y="3182"/>
                </a:lnTo>
                <a:cubicBezTo>
                  <a:pt x="5577" y="2993"/>
                  <a:pt x="5734" y="2836"/>
                  <a:pt x="5955" y="2836"/>
                </a:cubicBezTo>
                <a:close/>
                <a:moveTo>
                  <a:pt x="9672" y="10302"/>
                </a:moveTo>
                <a:lnTo>
                  <a:pt x="9672" y="10680"/>
                </a:lnTo>
                <a:cubicBezTo>
                  <a:pt x="9704" y="10869"/>
                  <a:pt x="9546" y="11027"/>
                  <a:pt x="9357" y="11027"/>
                </a:cubicBezTo>
                <a:lnTo>
                  <a:pt x="6616" y="11027"/>
                </a:lnTo>
                <a:cubicBezTo>
                  <a:pt x="6396" y="11027"/>
                  <a:pt x="6238" y="10869"/>
                  <a:pt x="6238" y="10680"/>
                </a:cubicBezTo>
                <a:lnTo>
                  <a:pt x="6238" y="10302"/>
                </a:lnTo>
                <a:close/>
                <a:moveTo>
                  <a:pt x="347" y="0"/>
                </a:moveTo>
                <a:cubicBezTo>
                  <a:pt x="158" y="0"/>
                  <a:pt x="0" y="158"/>
                  <a:pt x="0" y="347"/>
                </a:cubicBezTo>
                <a:lnTo>
                  <a:pt x="0" y="1733"/>
                </a:lnTo>
                <a:cubicBezTo>
                  <a:pt x="0" y="1922"/>
                  <a:pt x="158" y="2080"/>
                  <a:pt x="347" y="2080"/>
                </a:cubicBezTo>
                <a:lnTo>
                  <a:pt x="693" y="2080"/>
                </a:lnTo>
                <a:lnTo>
                  <a:pt x="693" y="7593"/>
                </a:lnTo>
                <a:lnTo>
                  <a:pt x="347" y="7593"/>
                </a:lnTo>
                <a:cubicBezTo>
                  <a:pt x="158" y="7593"/>
                  <a:pt x="0" y="7751"/>
                  <a:pt x="0" y="7940"/>
                </a:cubicBezTo>
                <a:lnTo>
                  <a:pt x="0" y="9326"/>
                </a:lnTo>
                <a:cubicBezTo>
                  <a:pt x="0" y="9515"/>
                  <a:pt x="158" y="9672"/>
                  <a:pt x="347" y="9672"/>
                </a:cubicBezTo>
                <a:lnTo>
                  <a:pt x="1733" y="9672"/>
                </a:lnTo>
                <a:cubicBezTo>
                  <a:pt x="1922" y="9672"/>
                  <a:pt x="2080" y="9515"/>
                  <a:pt x="2080" y="9326"/>
                </a:cubicBezTo>
                <a:lnTo>
                  <a:pt x="2080" y="8979"/>
                </a:lnTo>
                <a:lnTo>
                  <a:pt x="4442" y="8979"/>
                </a:lnTo>
                <a:lnTo>
                  <a:pt x="5577" y="10113"/>
                </a:lnTo>
                <a:lnTo>
                  <a:pt x="5577" y="10712"/>
                </a:lnTo>
                <a:cubicBezTo>
                  <a:pt x="5577" y="11248"/>
                  <a:pt x="6049" y="11720"/>
                  <a:pt x="6616" y="11720"/>
                </a:cubicBezTo>
                <a:lnTo>
                  <a:pt x="9357" y="11720"/>
                </a:lnTo>
                <a:cubicBezTo>
                  <a:pt x="9924" y="11720"/>
                  <a:pt x="10397" y="11248"/>
                  <a:pt x="10397" y="10712"/>
                </a:cubicBezTo>
                <a:lnTo>
                  <a:pt x="10397" y="10113"/>
                </a:lnTo>
                <a:cubicBezTo>
                  <a:pt x="10806" y="9200"/>
                  <a:pt x="11058" y="8160"/>
                  <a:pt x="11058" y="7026"/>
                </a:cubicBezTo>
                <a:lnTo>
                  <a:pt x="11058" y="5892"/>
                </a:lnTo>
                <a:cubicBezTo>
                  <a:pt x="11058" y="5325"/>
                  <a:pt x="10617" y="4884"/>
                  <a:pt x="10019" y="4884"/>
                </a:cubicBezTo>
                <a:cubicBezTo>
                  <a:pt x="9924" y="4884"/>
                  <a:pt x="9767" y="4915"/>
                  <a:pt x="9641" y="4947"/>
                </a:cubicBezTo>
                <a:cubicBezTo>
                  <a:pt x="9546" y="4632"/>
                  <a:pt x="9326" y="4379"/>
                  <a:pt x="9011" y="4253"/>
                </a:cubicBezTo>
                <a:lnTo>
                  <a:pt x="9011" y="2080"/>
                </a:lnTo>
                <a:lnTo>
                  <a:pt x="9357" y="2080"/>
                </a:lnTo>
                <a:cubicBezTo>
                  <a:pt x="9546" y="2080"/>
                  <a:pt x="9735" y="1922"/>
                  <a:pt x="9735" y="1733"/>
                </a:cubicBezTo>
                <a:lnTo>
                  <a:pt x="9735" y="347"/>
                </a:lnTo>
                <a:cubicBezTo>
                  <a:pt x="9735" y="158"/>
                  <a:pt x="9546" y="0"/>
                  <a:pt x="9357" y="0"/>
                </a:cubicBezTo>
                <a:lnTo>
                  <a:pt x="7971" y="0"/>
                </a:lnTo>
                <a:cubicBezTo>
                  <a:pt x="7782" y="0"/>
                  <a:pt x="7624" y="158"/>
                  <a:pt x="7624" y="347"/>
                </a:cubicBezTo>
                <a:lnTo>
                  <a:pt x="7624" y="693"/>
                </a:lnTo>
                <a:lnTo>
                  <a:pt x="2080" y="693"/>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060" name="Google Shape;8060;p77"/>
          <p:cNvGrpSpPr/>
          <p:nvPr/>
        </p:nvGrpSpPr>
        <p:grpSpPr>
          <a:xfrm>
            <a:off x="9802495" y="2853884"/>
            <a:ext cx="561061" cy="561061"/>
            <a:chOff x="-2419325" y="2408150"/>
            <a:chExt cx="291450" cy="291450"/>
          </a:xfrm>
        </p:grpSpPr>
        <p:sp>
          <p:nvSpPr>
            <p:cNvPr id="8061" name="Google Shape;8061;p77"/>
            <p:cNvSpPr/>
            <p:nvPr/>
          </p:nvSpPr>
          <p:spPr>
            <a:xfrm>
              <a:off x="-2419325" y="2408150"/>
              <a:ext cx="291450" cy="291450"/>
            </a:xfrm>
            <a:custGeom>
              <a:avLst/>
              <a:gdLst/>
              <a:ahLst/>
              <a:cxnLst/>
              <a:rect l="l" t="t" r="r" b="b"/>
              <a:pathLst>
                <a:path w="11658" h="11658" extrusionOk="0">
                  <a:moveTo>
                    <a:pt x="8948" y="725"/>
                  </a:moveTo>
                  <a:lnTo>
                    <a:pt x="8948" y="2489"/>
                  </a:lnTo>
                  <a:lnTo>
                    <a:pt x="8948" y="10366"/>
                  </a:lnTo>
                  <a:cubicBezTo>
                    <a:pt x="8948" y="10586"/>
                    <a:pt x="9011" y="10838"/>
                    <a:pt x="9137" y="11027"/>
                  </a:cubicBezTo>
                  <a:lnTo>
                    <a:pt x="1733" y="11027"/>
                  </a:lnTo>
                  <a:cubicBezTo>
                    <a:pt x="1134" y="11027"/>
                    <a:pt x="662" y="10586"/>
                    <a:pt x="662" y="10019"/>
                  </a:cubicBezTo>
                  <a:lnTo>
                    <a:pt x="662" y="725"/>
                  </a:lnTo>
                  <a:close/>
                  <a:moveTo>
                    <a:pt x="11027" y="2836"/>
                  </a:moveTo>
                  <a:lnTo>
                    <a:pt x="11027" y="10366"/>
                  </a:lnTo>
                  <a:lnTo>
                    <a:pt x="10995" y="10366"/>
                  </a:lnTo>
                  <a:cubicBezTo>
                    <a:pt x="10995" y="10744"/>
                    <a:pt x="10680" y="11027"/>
                    <a:pt x="10334" y="11027"/>
                  </a:cubicBezTo>
                  <a:cubicBezTo>
                    <a:pt x="9987" y="11027"/>
                    <a:pt x="9672" y="10712"/>
                    <a:pt x="9672" y="10366"/>
                  </a:cubicBezTo>
                  <a:lnTo>
                    <a:pt x="9672" y="2836"/>
                  </a:lnTo>
                  <a:close/>
                  <a:moveTo>
                    <a:pt x="347" y="1"/>
                  </a:moveTo>
                  <a:cubicBezTo>
                    <a:pt x="158" y="1"/>
                    <a:pt x="0" y="158"/>
                    <a:pt x="0" y="347"/>
                  </a:cubicBezTo>
                  <a:lnTo>
                    <a:pt x="0" y="9956"/>
                  </a:lnTo>
                  <a:cubicBezTo>
                    <a:pt x="0" y="10901"/>
                    <a:pt x="756" y="11657"/>
                    <a:pt x="1702" y="11657"/>
                  </a:cubicBezTo>
                  <a:lnTo>
                    <a:pt x="10302" y="11657"/>
                  </a:lnTo>
                  <a:cubicBezTo>
                    <a:pt x="11027" y="11657"/>
                    <a:pt x="11657" y="11027"/>
                    <a:pt x="11657" y="10271"/>
                  </a:cubicBezTo>
                  <a:lnTo>
                    <a:pt x="11657" y="2395"/>
                  </a:lnTo>
                  <a:cubicBezTo>
                    <a:pt x="11657" y="2300"/>
                    <a:pt x="11500" y="2143"/>
                    <a:pt x="11342" y="2143"/>
                  </a:cubicBezTo>
                  <a:lnTo>
                    <a:pt x="9641" y="2143"/>
                  </a:lnTo>
                  <a:lnTo>
                    <a:pt x="9641" y="347"/>
                  </a:lnTo>
                  <a:cubicBezTo>
                    <a:pt x="9641" y="158"/>
                    <a:pt x="9483" y="1"/>
                    <a:pt x="929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2" name="Google Shape;8062;p77"/>
            <p:cNvSpPr/>
            <p:nvPr/>
          </p:nvSpPr>
          <p:spPr>
            <a:xfrm>
              <a:off x="-2385475" y="2444375"/>
              <a:ext cx="173325" cy="86675"/>
            </a:xfrm>
            <a:custGeom>
              <a:avLst/>
              <a:gdLst/>
              <a:ahLst/>
              <a:cxnLst/>
              <a:rect l="l" t="t" r="r" b="b"/>
              <a:pathLst>
                <a:path w="6933" h="3467" extrusionOk="0">
                  <a:moveTo>
                    <a:pt x="6207" y="694"/>
                  </a:moveTo>
                  <a:lnTo>
                    <a:pt x="6207" y="2742"/>
                  </a:lnTo>
                  <a:lnTo>
                    <a:pt x="694" y="2742"/>
                  </a:lnTo>
                  <a:lnTo>
                    <a:pt x="694" y="694"/>
                  </a:lnTo>
                  <a:close/>
                  <a:moveTo>
                    <a:pt x="348" y="1"/>
                  </a:moveTo>
                  <a:cubicBezTo>
                    <a:pt x="159" y="1"/>
                    <a:pt x="1" y="158"/>
                    <a:pt x="1" y="379"/>
                  </a:cubicBezTo>
                  <a:lnTo>
                    <a:pt x="1" y="3120"/>
                  </a:lnTo>
                  <a:cubicBezTo>
                    <a:pt x="1" y="3309"/>
                    <a:pt x="159" y="3466"/>
                    <a:pt x="348" y="3466"/>
                  </a:cubicBezTo>
                  <a:lnTo>
                    <a:pt x="6554" y="3466"/>
                  </a:lnTo>
                  <a:cubicBezTo>
                    <a:pt x="6775" y="3466"/>
                    <a:pt x="6932" y="3309"/>
                    <a:pt x="6932" y="3120"/>
                  </a:cubicBezTo>
                  <a:lnTo>
                    <a:pt x="6932" y="379"/>
                  </a:lnTo>
                  <a:cubicBezTo>
                    <a:pt x="6869" y="158"/>
                    <a:pt x="6712" y="1"/>
                    <a:pt x="65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3" name="Google Shape;8063;p77"/>
            <p:cNvSpPr/>
            <p:nvPr/>
          </p:nvSpPr>
          <p:spPr>
            <a:xfrm>
              <a:off x="-2385475" y="2545975"/>
              <a:ext cx="86675" cy="86675"/>
            </a:xfrm>
            <a:custGeom>
              <a:avLst/>
              <a:gdLst/>
              <a:ahLst/>
              <a:cxnLst/>
              <a:rect l="l" t="t" r="r" b="b"/>
              <a:pathLst>
                <a:path w="3467" h="3467" extrusionOk="0">
                  <a:moveTo>
                    <a:pt x="2742" y="757"/>
                  </a:moveTo>
                  <a:lnTo>
                    <a:pt x="2742" y="2805"/>
                  </a:lnTo>
                  <a:lnTo>
                    <a:pt x="694" y="2805"/>
                  </a:lnTo>
                  <a:lnTo>
                    <a:pt x="694" y="757"/>
                  </a:lnTo>
                  <a:close/>
                  <a:moveTo>
                    <a:pt x="348" y="1"/>
                  </a:moveTo>
                  <a:cubicBezTo>
                    <a:pt x="159" y="1"/>
                    <a:pt x="1" y="158"/>
                    <a:pt x="1" y="347"/>
                  </a:cubicBezTo>
                  <a:lnTo>
                    <a:pt x="1" y="3120"/>
                  </a:lnTo>
                  <a:cubicBezTo>
                    <a:pt x="1" y="3309"/>
                    <a:pt x="159" y="3466"/>
                    <a:pt x="348" y="3466"/>
                  </a:cubicBezTo>
                  <a:lnTo>
                    <a:pt x="3088" y="3466"/>
                  </a:lnTo>
                  <a:cubicBezTo>
                    <a:pt x="3309" y="3466"/>
                    <a:pt x="3467" y="3309"/>
                    <a:pt x="3467" y="3120"/>
                  </a:cubicBezTo>
                  <a:lnTo>
                    <a:pt x="3467" y="347"/>
                  </a:lnTo>
                  <a:cubicBezTo>
                    <a:pt x="3467" y="158"/>
                    <a:pt x="3309" y="1"/>
                    <a:pt x="3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4" name="Google Shape;8064;p77"/>
            <p:cNvSpPr/>
            <p:nvPr/>
          </p:nvSpPr>
          <p:spPr>
            <a:xfrm>
              <a:off x="-2281500" y="2546775"/>
              <a:ext cx="69350" cy="18125"/>
            </a:xfrm>
            <a:custGeom>
              <a:avLst/>
              <a:gdLst/>
              <a:ahLst/>
              <a:cxnLst/>
              <a:rect l="l" t="t" r="r" b="b"/>
              <a:pathLst>
                <a:path w="2774" h="725" extrusionOk="0">
                  <a:moveTo>
                    <a:pt x="347" y="0"/>
                  </a:moveTo>
                  <a:cubicBezTo>
                    <a:pt x="158" y="0"/>
                    <a:pt x="1" y="158"/>
                    <a:pt x="1" y="378"/>
                  </a:cubicBezTo>
                  <a:cubicBezTo>
                    <a:pt x="1" y="567"/>
                    <a:pt x="158" y="725"/>
                    <a:pt x="347" y="725"/>
                  </a:cubicBezTo>
                  <a:lnTo>
                    <a:pt x="2395" y="725"/>
                  </a:lnTo>
                  <a:cubicBezTo>
                    <a:pt x="2616" y="725"/>
                    <a:pt x="2773" y="567"/>
                    <a:pt x="2773" y="378"/>
                  </a:cubicBezTo>
                  <a:cubicBezTo>
                    <a:pt x="2710" y="158"/>
                    <a:pt x="2553" y="0"/>
                    <a:pt x="239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5" name="Google Shape;8065;p77"/>
            <p:cNvSpPr/>
            <p:nvPr/>
          </p:nvSpPr>
          <p:spPr>
            <a:xfrm>
              <a:off x="-2281500" y="2581425"/>
              <a:ext cx="69350" cy="18150"/>
            </a:xfrm>
            <a:custGeom>
              <a:avLst/>
              <a:gdLst/>
              <a:ahLst/>
              <a:cxnLst/>
              <a:rect l="l" t="t" r="r" b="b"/>
              <a:pathLst>
                <a:path w="2774" h="726" extrusionOk="0">
                  <a:moveTo>
                    <a:pt x="347" y="1"/>
                  </a:moveTo>
                  <a:cubicBezTo>
                    <a:pt x="158" y="1"/>
                    <a:pt x="1" y="158"/>
                    <a:pt x="1" y="347"/>
                  </a:cubicBezTo>
                  <a:cubicBezTo>
                    <a:pt x="1" y="568"/>
                    <a:pt x="158" y="725"/>
                    <a:pt x="347" y="725"/>
                  </a:cubicBezTo>
                  <a:lnTo>
                    <a:pt x="2395" y="725"/>
                  </a:lnTo>
                  <a:cubicBezTo>
                    <a:pt x="2616" y="725"/>
                    <a:pt x="2773" y="568"/>
                    <a:pt x="2773" y="347"/>
                  </a:cubicBezTo>
                  <a:cubicBezTo>
                    <a:pt x="2710" y="158"/>
                    <a:pt x="2553"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6" name="Google Shape;8066;p77"/>
            <p:cNvSpPr/>
            <p:nvPr/>
          </p:nvSpPr>
          <p:spPr>
            <a:xfrm>
              <a:off x="-2281500" y="2616075"/>
              <a:ext cx="69350" cy="17350"/>
            </a:xfrm>
            <a:custGeom>
              <a:avLst/>
              <a:gdLst/>
              <a:ahLst/>
              <a:cxnLst/>
              <a:rect l="l" t="t" r="r" b="b"/>
              <a:pathLst>
                <a:path w="2774" h="694" extrusionOk="0">
                  <a:moveTo>
                    <a:pt x="347" y="1"/>
                  </a:moveTo>
                  <a:cubicBezTo>
                    <a:pt x="158" y="1"/>
                    <a:pt x="1" y="158"/>
                    <a:pt x="1" y="347"/>
                  </a:cubicBezTo>
                  <a:cubicBezTo>
                    <a:pt x="1" y="536"/>
                    <a:pt x="158" y="694"/>
                    <a:pt x="347" y="694"/>
                  </a:cubicBezTo>
                  <a:lnTo>
                    <a:pt x="2395" y="694"/>
                  </a:lnTo>
                  <a:cubicBezTo>
                    <a:pt x="2616" y="694"/>
                    <a:pt x="2773" y="536"/>
                    <a:pt x="2773" y="347"/>
                  </a:cubicBezTo>
                  <a:cubicBezTo>
                    <a:pt x="2710" y="158"/>
                    <a:pt x="2553" y="1"/>
                    <a:pt x="239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67" name="Google Shape;8067;p77"/>
            <p:cNvSpPr/>
            <p:nvPr/>
          </p:nvSpPr>
          <p:spPr>
            <a:xfrm>
              <a:off x="-2385475" y="2649150"/>
              <a:ext cx="173325" cy="18150"/>
            </a:xfrm>
            <a:custGeom>
              <a:avLst/>
              <a:gdLst/>
              <a:ahLst/>
              <a:cxnLst/>
              <a:rect l="l" t="t" r="r" b="b"/>
              <a:pathLst>
                <a:path w="6933" h="726" extrusionOk="0">
                  <a:moveTo>
                    <a:pt x="348" y="1"/>
                  </a:moveTo>
                  <a:cubicBezTo>
                    <a:pt x="159" y="1"/>
                    <a:pt x="1" y="159"/>
                    <a:pt x="1" y="379"/>
                  </a:cubicBezTo>
                  <a:cubicBezTo>
                    <a:pt x="1" y="568"/>
                    <a:pt x="159" y="726"/>
                    <a:pt x="348" y="726"/>
                  </a:cubicBezTo>
                  <a:lnTo>
                    <a:pt x="6554" y="726"/>
                  </a:lnTo>
                  <a:cubicBezTo>
                    <a:pt x="6775" y="726"/>
                    <a:pt x="6932" y="568"/>
                    <a:pt x="6932" y="379"/>
                  </a:cubicBezTo>
                  <a:cubicBezTo>
                    <a:pt x="6869" y="159"/>
                    <a:pt x="6712" y="1"/>
                    <a:pt x="65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68" name="Google Shape;8068;p77"/>
          <p:cNvSpPr/>
          <p:nvPr/>
        </p:nvSpPr>
        <p:spPr>
          <a:xfrm>
            <a:off x="9816347" y="3546202"/>
            <a:ext cx="565584" cy="564092"/>
          </a:xfrm>
          <a:custGeom>
            <a:avLst/>
            <a:gdLst/>
            <a:ahLst/>
            <a:cxnLst/>
            <a:rect l="l" t="t" r="r" b="b"/>
            <a:pathLst>
              <a:path w="11752" h="11721" extrusionOk="0">
                <a:moveTo>
                  <a:pt x="6490" y="662"/>
                </a:moveTo>
                <a:cubicBezTo>
                  <a:pt x="6711" y="662"/>
                  <a:pt x="6868" y="820"/>
                  <a:pt x="6868" y="1009"/>
                </a:cubicBezTo>
                <a:lnTo>
                  <a:pt x="6868" y="1355"/>
                </a:lnTo>
                <a:lnTo>
                  <a:pt x="5167" y="1355"/>
                </a:lnTo>
                <a:cubicBezTo>
                  <a:pt x="4600" y="1355"/>
                  <a:pt x="4127" y="1828"/>
                  <a:pt x="4127" y="2395"/>
                </a:cubicBezTo>
                <a:lnTo>
                  <a:pt x="4127" y="2773"/>
                </a:lnTo>
                <a:lnTo>
                  <a:pt x="3088" y="2773"/>
                </a:lnTo>
                <a:cubicBezTo>
                  <a:pt x="2993" y="2773"/>
                  <a:pt x="2867" y="2836"/>
                  <a:pt x="2836" y="2899"/>
                </a:cubicBezTo>
                <a:lnTo>
                  <a:pt x="2048" y="3687"/>
                </a:lnTo>
                <a:lnTo>
                  <a:pt x="2048" y="3151"/>
                </a:lnTo>
                <a:cubicBezTo>
                  <a:pt x="2048" y="2931"/>
                  <a:pt x="1891" y="2773"/>
                  <a:pt x="1702" y="2773"/>
                </a:cubicBezTo>
                <a:lnTo>
                  <a:pt x="1040" y="2773"/>
                </a:lnTo>
                <a:cubicBezTo>
                  <a:pt x="819" y="2773"/>
                  <a:pt x="662" y="2616"/>
                  <a:pt x="662" y="2427"/>
                </a:cubicBezTo>
                <a:lnTo>
                  <a:pt x="662" y="1009"/>
                </a:lnTo>
                <a:cubicBezTo>
                  <a:pt x="662" y="820"/>
                  <a:pt x="819" y="662"/>
                  <a:pt x="1040" y="662"/>
                </a:cubicBezTo>
                <a:close/>
                <a:moveTo>
                  <a:pt x="10649" y="1986"/>
                </a:moveTo>
                <a:cubicBezTo>
                  <a:pt x="10838" y="1986"/>
                  <a:pt x="10995" y="2143"/>
                  <a:pt x="10995" y="2364"/>
                </a:cubicBezTo>
                <a:lnTo>
                  <a:pt x="10995" y="3781"/>
                </a:lnTo>
                <a:cubicBezTo>
                  <a:pt x="10995" y="3970"/>
                  <a:pt x="10838" y="4128"/>
                  <a:pt x="10649" y="4128"/>
                </a:cubicBezTo>
                <a:lnTo>
                  <a:pt x="8601" y="4128"/>
                </a:lnTo>
                <a:cubicBezTo>
                  <a:pt x="8412" y="4128"/>
                  <a:pt x="8255" y="4285"/>
                  <a:pt x="8255" y="4474"/>
                </a:cubicBezTo>
                <a:lnTo>
                  <a:pt x="8255" y="5041"/>
                </a:lnTo>
                <a:lnTo>
                  <a:pt x="7404" y="4191"/>
                </a:lnTo>
                <a:cubicBezTo>
                  <a:pt x="7372" y="4159"/>
                  <a:pt x="7246" y="4128"/>
                  <a:pt x="7183" y="4128"/>
                </a:cubicBezTo>
                <a:lnTo>
                  <a:pt x="5136" y="4128"/>
                </a:lnTo>
                <a:cubicBezTo>
                  <a:pt x="4947" y="4128"/>
                  <a:pt x="4789" y="3970"/>
                  <a:pt x="4789" y="3781"/>
                </a:cubicBezTo>
                <a:lnTo>
                  <a:pt x="4789" y="2364"/>
                </a:lnTo>
                <a:cubicBezTo>
                  <a:pt x="4789" y="2143"/>
                  <a:pt x="4947" y="1986"/>
                  <a:pt x="5136" y="1986"/>
                </a:cubicBezTo>
                <a:close/>
                <a:moveTo>
                  <a:pt x="3088" y="6207"/>
                </a:moveTo>
                <a:cubicBezTo>
                  <a:pt x="3623" y="6207"/>
                  <a:pt x="4096" y="6680"/>
                  <a:pt x="4096" y="7247"/>
                </a:cubicBezTo>
                <a:cubicBezTo>
                  <a:pt x="4096" y="7782"/>
                  <a:pt x="3623" y="8255"/>
                  <a:pt x="3088" y="8255"/>
                </a:cubicBezTo>
                <a:cubicBezTo>
                  <a:pt x="2521" y="8255"/>
                  <a:pt x="2048" y="7782"/>
                  <a:pt x="2048" y="7247"/>
                </a:cubicBezTo>
                <a:cubicBezTo>
                  <a:pt x="2048" y="6648"/>
                  <a:pt x="2489" y="6207"/>
                  <a:pt x="3088" y="6207"/>
                </a:cubicBezTo>
                <a:close/>
                <a:moveTo>
                  <a:pt x="8601" y="6207"/>
                </a:moveTo>
                <a:cubicBezTo>
                  <a:pt x="9137" y="6207"/>
                  <a:pt x="9609" y="6648"/>
                  <a:pt x="9609" y="7247"/>
                </a:cubicBezTo>
                <a:cubicBezTo>
                  <a:pt x="9609" y="7782"/>
                  <a:pt x="9137" y="8255"/>
                  <a:pt x="8601" y="8255"/>
                </a:cubicBezTo>
                <a:cubicBezTo>
                  <a:pt x="8003" y="8255"/>
                  <a:pt x="7530" y="7782"/>
                  <a:pt x="7530" y="7247"/>
                </a:cubicBezTo>
                <a:cubicBezTo>
                  <a:pt x="7530" y="6680"/>
                  <a:pt x="8003" y="6207"/>
                  <a:pt x="8601" y="6207"/>
                </a:cubicBezTo>
                <a:close/>
                <a:moveTo>
                  <a:pt x="3749" y="8980"/>
                </a:moveTo>
                <a:cubicBezTo>
                  <a:pt x="4695" y="8980"/>
                  <a:pt x="5451" y="9704"/>
                  <a:pt x="5451" y="10649"/>
                </a:cubicBezTo>
                <a:lnTo>
                  <a:pt x="5451" y="11027"/>
                </a:lnTo>
                <a:lnTo>
                  <a:pt x="630" y="11027"/>
                </a:lnTo>
                <a:lnTo>
                  <a:pt x="630" y="10649"/>
                </a:lnTo>
                <a:lnTo>
                  <a:pt x="662" y="10649"/>
                </a:lnTo>
                <a:cubicBezTo>
                  <a:pt x="662" y="9704"/>
                  <a:pt x="1418" y="8980"/>
                  <a:pt x="2363" y="8980"/>
                </a:cubicBezTo>
                <a:close/>
                <a:moveTo>
                  <a:pt x="9369" y="8976"/>
                </a:moveTo>
                <a:cubicBezTo>
                  <a:pt x="10266" y="8976"/>
                  <a:pt x="10995" y="9740"/>
                  <a:pt x="10995" y="10649"/>
                </a:cubicBezTo>
                <a:lnTo>
                  <a:pt x="10995" y="11027"/>
                </a:lnTo>
                <a:lnTo>
                  <a:pt x="6144" y="11027"/>
                </a:lnTo>
                <a:lnTo>
                  <a:pt x="6144" y="10649"/>
                </a:lnTo>
                <a:cubicBezTo>
                  <a:pt x="6144" y="9704"/>
                  <a:pt x="6900" y="8980"/>
                  <a:pt x="7845" y="8980"/>
                </a:cubicBezTo>
                <a:lnTo>
                  <a:pt x="9263" y="8980"/>
                </a:lnTo>
                <a:cubicBezTo>
                  <a:pt x="9298" y="8977"/>
                  <a:pt x="9334" y="8976"/>
                  <a:pt x="9369" y="8976"/>
                </a:cubicBezTo>
                <a:close/>
                <a:moveTo>
                  <a:pt x="1040" y="1"/>
                </a:moveTo>
                <a:cubicBezTo>
                  <a:pt x="473" y="1"/>
                  <a:pt x="0" y="473"/>
                  <a:pt x="0" y="1009"/>
                </a:cubicBezTo>
                <a:lnTo>
                  <a:pt x="0" y="2427"/>
                </a:lnTo>
                <a:cubicBezTo>
                  <a:pt x="0" y="2994"/>
                  <a:pt x="473" y="3466"/>
                  <a:pt x="1040" y="3466"/>
                </a:cubicBezTo>
                <a:lnTo>
                  <a:pt x="1386" y="3466"/>
                </a:lnTo>
                <a:lnTo>
                  <a:pt x="1386" y="4474"/>
                </a:lnTo>
                <a:cubicBezTo>
                  <a:pt x="1386" y="4688"/>
                  <a:pt x="1546" y="4829"/>
                  <a:pt x="1727" y="4829"/>
                </a:cubicBezTo>
                <a:cubicBezTo>
                  <a:pt x="1813" y="4829"/>
                  <a:pt x="1904" y="4797"/>
                  <a:pt x="1985" y="4726"/>
                </a:cubicBezTo>
                <a:lnTo>
                  <a:pt x="3245" y="3466"/>
                </a:lnTo>
                <a:lnTo>
                  <a:pt x="4096" y="3466"/>
                </a:lnTo>
                <a:lnTo>
                  <a:pt x="4096" y="3813"/>
                </a:lnTo>
                <a:cubicBezTo>
                  <a:pt x="4096" y="4348"/>
                  <a:pt x="4568" y="4821"/>
                  <a:pt x="5136" y="4821"/>
                </a:cubicBezTo>
                <a:lnTo>
                  <a:pt x="7057" y="4821"/>
                </a:lnTo>
                <a:lnTo>
                  <a:pt x="7908" y="5672"/>
                </a:lnTo>
                <a:cubicBezTo>
                  <a:pt x="7341" y="5924"/>
                  <a:pt x="6868" y="6522"/>
                  <a:pt x="6868" y="7247"/>
                </a:cubicBezTo>
                <a:cubicBezTo>
                  <a:pt x="6868" y="7625"/>
                  <a:pt x="7026" y="8034"/>
                  <a:pt x="7278" y="8349"/>
                </a:cubicBezTo>
                <a:cubicBezTo>
                  <a:pt x="6648" y="8507"/>
                  <a:pt x="6144" y="8885"/>
                  <a:pt x="5829" y="9452"/>
                </a:cubicBezTo>
                <a:cubicBezTo>
                  <a:pt x="5514" y="8917"/>
                  <a:pt x="5010" y="8539"/>
                  <a:pt x="4411" y="8381"/>
                </a:cubicBezTo>
                <a:cubicBezTo>
                  <a:pt x="4663" y="8066"/>
                  <a:pt x="4821" y="7719"/>
                  <a:pt x="4821" y="7278"/>
                </a:cubicBezTo>
                <a:cubicBezTo>
                  <a:pt x="4821" y="6333"/>
                  <a:pt x="4064" y="5577"/>
                  <a:pt x="3119" y="5577"/>
                </a:cubicBezTo>
                <a:cubicBezTo>
                  <a:pt x="2174" y="5577"/>
                  <a:pt x="1418" y="6333"/>
                  <a:pt x="1418" y="7278"/>
                </a:cubicBezTo>
                <a:cubicBezTo>
                  <a:pt x="1418" y="7719"/>
                  <a:pt x="1576" y="8097"/>
                  <a:pt x="1828" y="8381"/>
                </a:cubicBezTo>
                <a:cubicBezTo>
                  <a:pt x="788" y="8665"/>
                  <a:pt x="32" y="9610"/>
                  <a:pt x="32" y="10712"/>
                </a:cubicBezTo>
                <a:lnTo>
                  <a:pt x="32" y="11374"/>
                </a:lnTo>
                <a:cubicBezTo>
                  <a:pt x="32" y="11563"/>
                  <a:pt x="189" y="11721"/>
                  <a:pt x="410" y="11721"/>
                </a:cubicBezTo>
                <a:lnTo>
                  <a:pt x="11374" y="11721"/>
                </a:lnTo>
                <a:cubicBezTo>
                  <a:pt x="11594" y="11721"/>
                  <a:pt x="11752" y="11563"/>
                  <a:pt x="11752" y="11374"/>
                </a:cubicBezTo>
                <a:lnTo>
                  <a:pt x="11752" y="10712"/>
                </a:lnTo>
                <a:cubicBezTo>
                  <a:pt x="11752" y="9610"/>
                  <a:pt x="10995" y="8665"/>
                  <a:pt x="9956" y="8381"/>
                </a:cubicBezTo>
                <a:cubicBezTo>
                  <a:pt x="10208" y="8066"/>
                  <a:pt x="10365" y="7719"/>
                  <a:pt x="10365" y="7278"/>
                </a:cubicBezTo>
                <a:cubicBezTo>
                  <a:pt x="10365" y="6459"/>
                  <a:pt x="9767" y="5735"/>
                  <a:pt x="8979" y="5577"/>
                </a:cubicBezTo>
                <a:lnTo>
                  <a:pt x="8979" y="4884"/>
                </a:lnTo>
                <a:lnTo>
                  <a:pt x="10649" y="4884"/>
                </a:lnTo>
                <a:lnTo>
                  <a:pt x="10649" y="4821"/>
                </a:lnTo>
                <a:cubicBezTo>
                  <a:pt x="11185" y="4821"/>
                  <a:pt x="11657" y="4348"/>
                  <a:pt x="11657" y="3813"/>
                </a:cubicBezTo>
                <a:lnTo>
                  <a:pt x="11657" y="2395"/>
                </a:lnTo>
                <a:cubicBezTo>
                  <a:pt x="11657" y="1828"/>
                  <a:pt x="11185" y="1355"/>
                  <a:pt x="10649" y="1355"/>
                </a:cubicBezTo>
                <a:lnTo>
                  <a:pt x="7530" y="1355"/>
                </a:lnTo>
                <a:lnTo>
                  <a:pt x="7530" y="1009"/>
                </a:lnTo>
                <a:cubicBezTo>
                  <a:pt x="7530" y="473"/>
                  <a:pt x="7057" y="1"/>
                  <a:pt x="649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069" name="Google Shape;8069;p77"/>
          <p:cNvGrpSpPr/>
          <p:nvPr/>
        </p:nvGrpSpPr>
        <p:grpSpPr>
          <a:xfrm>
            <a:off x="6231195" y="4308685"/>
            <a:ext cx="561061" cy="562552"/>
            <a:chOff x="-1333200" y="2770450"/>
            <a:chExt cx="291450" cy="292225"/>
          </a:xfrm>
        </p:grpSpPr>
        <p:sp>
          <p:nvSpPr>
            <p:cNvPr id="8070" name="Google Shape;8070;p77"/>
            <p:cNvSpPr/>
            <p:nvPr/>
          </p:nvSpPr>
          <p:spPr>
            <a:xfrm>
              <a:off x="-1299325" y="2808250"/>
              <a:ext cx="222925" cy="134725"/>
            </a:xfrm>
            <a:custGeom>
              <a:avLst/>
              <a:gdLst/>
              <a:ahLst/>
              <a:cxnLst/>
              <a:rect l="l" t="t" r="r" b="b"/>
              <a:pathLst>
                <a:path w="8917" h="5389" extrusionOk="0">
                  <a:moveTo>
                    <a:pt x="7877" y="631"/>
                  </a:moveTo>
                  <a:cubicBezTo>
                    <a:pt x="8066" y="631"/>
                    <a:pt x="8223" y="789"/>
                    <a:pt x="8223" y="978"/>
                  </a:cubicBezTo>
                  <a:cubicBezTo>
                    <a:pt x="8223" y="1167"/>
                    <a:pt x="8066" y="1324"/>
                    <a:pt x="7877" y="1324"/>
                  </a:cubicBezTo>
                  <a:cubicBezTo>
                    <a:pt x="7656" y="1324"/>
                    <a:pt x="7498" y="1167"/>
                    <a:pt x="7498" y="978"/>
                  </a:cubicBezTo>
                  <a:cubicBezTo>
                    <a:pt x="7498" y="789"/>
                    <a:pt x="7656" y="631"/>
                    <a:pt x="7877" y="631"/>
                  </a:cubicBezTo>
                  <a:close/>
                  <a:moveTo>
                    <a:pt x="3056" y="1293"/>
                  </a:moveTo>
                  <a:cubicBezTo>
                    <a:pt x="3245" y="1293"/>
                    <a:pt x="3403" y="1450"/>
                    <a:pt x="3403" y="1639"/>
                  </a:cubicBezTo>
                  <a:cubicBezTo>
                    <a:pt x="3403" y="1828"/>
                    <a:pt x="3245" y="1986"/>
                    <a:pt x="3056" y="1986"/>
                  </a:cubicBezTo>
                  <a:cubicBezTo>
                    <a:pt x="2867" y="1986"/>
                    <a:pt x="2710" y="1828"/>
                    <a:pt x="2710" y="1639"/>
                  </a:cubicBezTo>
                  <a:cubicBezTo>
                    <a:pt x="2741" y="1450"/>
                    <a:pt x="2899" y="1293"/>
                    <a:pt x="3056" y="1293"/>
                  </a:cubicBezTo>
                  <a:close/>
                  <a:moveTo>
                    <a:pt x="5797" y="3340"/>
                  </a:moveTo>
                  <a:cubicBezTo>
                    <a:pt x="6018" y="3340"/>
                    <a:pt x="6175" y="3498"/>
                    <a:pt x="6175" y="3687"/>
                  </a:cubicBezTo>
                  <a:cubicBezTo>
                    <a:pt x="6175" y="3876"/>
                    <a:pt x="6018" y="4034"/>
                    <a:pt x="5797" y="4034"/>
                  </a:cubicBezTo>
                  <a:cubicBezTo>
                    <a:pt x="5608" y="4034"/>
                    <a:pt x="5451" y="3876"/>
                    <a:pt x="5451" y="3687"/>
                  </a:cubicBezTo>
                  <a:cubicBezTo>
                    <a:pt x="5451" y="3498"/>
                    <a:pt x="5608" y="3340"/>
                    <a:pt x="5797" y="3340"/>
                  </a:cubicBezTo>
                  <a:close/>
                  <a:moveTo>
                    <a:pt x="1008" y="4034"/>
                  </a:moveTo>
                  <a:cubicBezTo>
                    <a:pt x="1198" y="4034"/>
                    <a:pt x="1355" y="4191"/>
                    <a:pt x="1355" y="4412"/>
                  </a:cubicBezTo>
                  <a:cubicBezTo>
                    <a:pt x="1355" y="4601"/>
                    <a:pt x="1198" y="4758"/>
                    <a:pt x="1008" y="4758"/>
                  </a:cubicBezTo>
                  <a:cubicBezTo>
                    <a:pt x="819" y="4758"/>
                    <a:pt x="662" y="4601"/>
                    <a:pt x="662" y="4412"/>
                  </a:cubicBezTo>
                  <a:cubicBezTo>
                    <a:pt x="662" y="4191"/>
                    <a:pt x="819" y="4034"/>
                    <a:pt x="1008" y="4034"/>
                  </a:cubicBezTo>
                  <a:close/>
                  <a:moveTo>
                    <a:pt x="7908" y="1"/>
                  </a:moveTo>
                  <a:cubicBezTo>
                    <a:pt x="7341" y="1"/>
                    <a:pt x="6868" y="474"/>
                    <a:pt x="6868" y="1009"/>
                  </a:cubicBezTo>
                  <a:cubicBezTo>
                    <a:pt x="6868" y="1198"/>
                    <a:pt x="6963" y="1419"/>
                    <a:pt x="7026" y="1576"/>
                  </a:cubicBezTo>
                  <a:lnTo>
                    <a:pt x="6112" y="2742"/>
                  </a:lnTo>
                  <a:cubicBezTo>
                    <a:pt x="6032" y="2722"/>
                    <a:pt x="5943" y="2711"/>
                    <a:pt x="5850" y="2711"/>
                  </a:cubicBezTo>
                  <a:cubicBezTo>
                    <a:pt x="5650" y="2711"/>
                    <a:pt x="5434" y="2760"/>
                    <a:pt x="5262" y="2868"/>
                  </a:cubicBezTo>
                  <a:lnTo>
                    <a:pt x="4096" y="1954"/>
                  </a:lnTo>
                  <a:cubicBezTo>
                    <a:pt x="4127" y="1891"/>
                    <a:pt x="4127" y="1765"/>
                    <a:pt x="4127" y="1639"/>
                  </a:cubicBezTo>
                  <a:cubicBezTo>
                    <a:pt x="4127" y="1104"/>
                    <a:pt x="3655" y="631"/>
                    <a:pt x="3088" y="631"/>
                  </a:cubicBezTo>
                  <a:cubicBezTo>
                    <a:pt x="2552" y="631"/>
                    <a:pt x="2080" y="1104"/>
                    <a:pt x="2080" y="1639"/>
                  </a:cubicBezTo>
                  <a:cubicBezTo>
                    <a:pt x="2080" y="1828"/>
                    <a:pt x="2143" y="2049"/>
                    <a:pt x="2237" y="2206"/>
                  </a:cubicBezTo>
                  <a:lnTo>
                    <a:pt x="1324" y="3372"/>
                  </a:lnTo>
                  <a:cubicBezTo>
                    <a:pt x="1261" y="3340"/>
                    <a:pt x="1134" y="3340"/>
                    <a:pt x="1008" y="3340"/>
                  </a:cubicBezTo>
                  <a:cubicBezTo>
                    <a:pt x="441" y="3340"/>
                    <a:pt x="0" y="3813"/>
                    <a:pt x="0" y="4349"/>
                  </a:cubicBezTo>
                  <a:cubicBezTo>
                    <a:pt x="0" y="4947"/>
                    <a:pt x="441" y="5388"/>
                    <a:pt x="1008" y="5388"/>
                  </a:cubicBezTo>
                  <a:cubicBezTo>
                    <a:pt x="1576" y="5388"/>
                    <a:pt x="2017" y="4916"/>
                    <a:pt x="2017" y="4349"/>
                  </a:cubicBezTo>
                  <a:cubicBezTo>
                    <a:pt x="2017" y="4160"/>
                    <a:pt x="1954" y="3971"/>
                    <a:pt x="1859" y="3813"/>
                  </a:cubicBezTo>
                  <a:lnTo>
                    <a:pt x="2773" y="2616"/>
                  </a:lnTo>
                  <a:cubicBezTo>
                    <a:pt x="2875" y="2650"/>
                    <a:pt x="2980" y="2667"/>
                    <a:pt x="3087" y="2667"/>
                  </a:cubicBezTo>
                  <a:cubicBezTo>
                    <a:pt x="3278" y="2667"/>
                    <a:pt x="3473" y="2611"/>
                    <a:pt x="3655" y="2490"/>
                  </a:cubicBezTo>
                  <a:lnTo>
                    <a:pt x="4821" y="3403"/>
                  </a:lnTo>
                  <a:cubicBezTo>
                    <a:pt x="4789" y="3498"/>
                    <a:pt x="4789" y="3624"/>
                    <a:pt x="4789" y="3719"/>
                  </a:cubicBezTo>
                  <a:cubicBezTo>
                    <a:pt x="4789" y="4286"/>
                    <a:pt x="5262" y="4758"/>
                    <a:pt x="5797" y="4758"/>
                  </a:cubicBezTo>
                  <a:cubicBezTo>
                    <a:pt x="6364" y="4758"/>
                    <a:pt x="6837" y="4286"/>
                    <a:pt x="6837" y="3719"/>
                  </a:cubicBezTo>
                  <a:cubicBezTo>
                    <a:pt x="6837" y="3529"/>
                    <a:pt x="6742" y="3340"/>
                    <a:pt x="6679" y="3183"/>
                  </a:cubicBezTo>
                  <a:lnTo>
                    <a:pt x="7593" y="1986"/>
                  </a:lnTo>
                  <a:cubicBezTo>
                    <a:pt x="7656" y="2049"/>
                    <a:pt x="7782" y="2049"/>
                    <a:pt x="7908" y="2049"/>
                  </a:cubicBezTo>
                  <a:cubicBezTo>
                    <a:pt x="8444" y="2049"/>
                    <a:pt x="8916" y="1576"/>
                    <a:pt x="8916" y="1009"/>
                  </a:cubicBezTo>
                  <a:cubicBezTo>
                    <a:pt x="8916" y="474"/>
                    <a:pt x="8444" y="1"/>
                    <a:pt x="790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71" name="Google Shape;8071;p77"/>
            <p:cNvSpPr/>
            <p:nvPr/>
          </p:nvSpPr>
          <p:spPr>
            <a:xfrm>
              <a:off x="-1333200" y="2770450"/>
              <a:ext cx="291450" cy="292225"/>
            </a:xfrm>
            <a:custGeom>
              <a:avLst/>
              <a:gdLst/>
              <a:ahLst/>
              <a:cxnLst/>
              <a:rect l="l" t="t" r="r" b="b"/>
              <a:pathLst>
                <a:path w="11658" h="11689" extrusionOk="0">
                  <a:moveTo>
                    <a:pt x="10586" y="725"/>
                  </a:moveTo>
                  <a:cubicBezTo>
                    <a:pt x="10807" y="725"/>
                    <a:pt x="10964" y="883"/>
                    <a:pt x="10964" y="1072"/>
                  </a:cubicBezTo>
                  <a:lnTo>
                    <a:pt x="10964" y="7593"/>
                  </a:lnTo>
                  <a:lnTo>
                    <a:pt x="631" y="7593"/>
                  </a:lnTo>
                  <a:lnTo>
                    <a:pt x="631" y="1072"/>
                  </a:lnTo>
                  <a:cubicBezTo>
                    <a:pt x="662" y="883"/>
                    <a:pt x="820" y="725"/>
                    <a:pt x="977" y="725"/>
                  </a:cubicBezTo>
                  <a:close/>
                  <a:moveTo>
                    <a:pt x="10996" y="8286"/>
                  </a:moveTo>
                  <a:lnTo>
                    <a:pt x="10996" y="8633"/>
                  </a:lnTo>
                  <a:cubicBezTo>
                    <a:pt x="10996" y="8822"/>
                    <a:pt x="10838" y="8980"/>
                    <a:pt x="10618" y="8980"/>
                  </a:cubicBezTo>
                  <a:lnTo>
                    <a:pt x="1009" y="8980"/>
                  </a:lnTo>
                  <a:cubicBezTo>
                    <a:pt x="820" y="8980"/>
                    <a:pt x="662" y="8822"/>
                    <a:pt x="662" y="8633"/>
                  </a:cubicBezTo>
                  <a:lnTo>
                    <a:pt x="662" y="8286"/>
                  </a:lnTo>
                  <a:close/>
                  <a:moveTo>
                    <a:pt x="6617" y="9641"/>
                  </a:moveTo>
                  <a:lnTo>
                    <a:pt x="6932" y="11027"/>
                  </a:lnTo>
                  <a:lnTo>
                    <a:pt x="4632" y="11027"/>
                  </a:lnTo>
                  <a:lnTo>
                    <a:pt x="4947" y="9641"/>
                  </a:lnTo>
                  <a:close/>
                  <a:moveTo>
                    <a:pt x="1009" y="1"/>
                  </a:moveTo>
                  <a:cubicBezTo>
                    <a:pt x="473" y="1"/>
                    <a:pt x="1" y="473"/>
                    <a:pt x="1" y="1040"/>
                  </a:cubicBezTo>
                  <a:lnTo>
                    <a:pt x="1" y="8570"/>
                  </a:lnTo>
                  <a:cubicBezTo>
                    <a:pt x="1" y="9137"/>
                    <a:pt x="473" y="9610"/>
                    <a:pt x="1009" y="9610"/>
                  </a:cubicBezTo>
                  <a:lnTo>
                    <a:pt x="4285" y="9610"/>
                  </a:lnTo>
                  <a:lnTo>
                    <a:pt x="3970" y="10996"/>
                  </a:lnTo>
                  <a:lnTo>
                    <a:pt x="3057" y="10996"/>
                  </a:lnTo>
                  <a:cubicBezTo>
                    <a:pt x="2868" y="10996"/>
                    <a:pt x="2710" y="11153"/>
                    <a:pt x="2710" y="11342"/>
                  </a:cubicBezTo>
                  <a:cubicBezTo>
                    <a:pt x="2710" y="11531"/>
                    <a:pt x="2868" y="11689"/>
                    <a:pt x="3057" y="11689"/>
                  </a:cubicBezTo>
                  <a:lnTo>
                    <a:pt x="8538" y="11689"/>
                  </a:lnTo>
                  <a:cubicBezTo>
                    <a:pt x="8727" y="11689"/>
                    <a:pt x="8885" y="11531"/>
                    <a:pt x="8885" y="11342"/>
                  </a:cubicBezTo>
                  <a:cubicBezTo>
                    <a:pt x="8885" y="11153"/>
                    <a:pt x="8727" y="10996"/>
                    <a:pt x="8538" y="10996"/>
                  </a:cubicBezTo>
                  <a:lnTo>
                    <a:pt x="7625" y="10996"/>
                  </a:lnTo>
                  <a:lnTo>
                    <a:pt x="7310" y="9610"/>
                  </a:lnTo>
                  <a:lnTo>
                    <a:pt x="10618" y="9610"/>
                  </a:lnTo>
                  <a:cubicBezTo>
                    <a:pt x="11185" y="9610"/>
                    <a:pt x="11657" y="9137"/>
                    <a:pt x="11657" y="8570"/>
                  </a:cubicBezTo>
                  <a:lnTo>
                    <a:pt x="11657" y="1040"/>
                  </a:lnTo>
                  <a:cubicBezTo>
                    <a:pt x="11657" y="473"/>
                    <a:pt x="11185" y="1"/>
                    <a:pt x="106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72" name="Google Shape;8072;p77"/>
          <p:cNvGrpSpPr/>
          <p:nvPr/>
        </p:nvGrpSpPr>
        <p:grpSpPr>
          <a:xfrm>
            <a:off x="3293346" y="2175008"/>
            <a:ext cx="564092" cy="561061"/>
            <a:chOff x="-5635200" y="2037975"/>
            <a:chExt cx="293025" cy="291450"/>
          </a:xfrm>
        </p:grpSpPr>
        <p:sp>
          <p:nvSpPr>
            <p:cNvPr id="8073" name="Google Shape;8073;p77"/>
            <p:cNvSpPr/>
            <p:nvPr/>
          </p:nvSpPr>
          <p:spPr>
            <a:xfrm>
              <a:off x="-5635200" y="2037975"/>
              <a:ext cx="293025" cy="291450"/>
            </a:xfrm>
            <a:custGeom>
              <a:avLst/>
              <a:gdLst/>
              <a:ahLst/>
              <a:cxnLst/>
              <a:rect l="l" t="t" r="r" b="b"/>
              <a:pathLst>
                <a:path w="11721" h="11658" extrusionOk="0">
                  <a:moveTo>
                    <a:pt x="2395" y="725"/>
                  </a:moveTo>
                  <a:cubicBezTo>
                    <a:pt x="2930" y="725"/>
                    <a:pt x="3403" y="1197"/>
                    <a:pt x="3403" y="1733"/>
                  </a:cubicBezTo>
                  <a:cubicBezTo>
                    <a:pt x="3403" y="2300"/>
                    <a:pt x="2930" y="2773"/>
                    <a:pt x="2395" y="2773"/>
                  </a:cubicBezTo>
                  <a:cubicBezTo>
                    <a:pt x="1828" y="2773"/>
                    <a:pt x="1355" y="2300"/>
                    <a:pt x="1355" y="1733"/>
                  </a:cubicBezTo>
                  <a:cubicBezTo>
                    <a:pt x="1355" y="1197"/>
                    <a:pt x="1828" y="725"/>
                    <a:pt x="2395" y="725"/>
                  </a:cubicBezTo>
                  <a:close/>
                  <a:moveTo>
                    <a:pt x="10303" y="725"/>
                  </a:moveTo>
                  <a:lnTo>
                    <a:pt x="10303" y="6585"/>
                  </a:lnTo>
                  <a:lnTo>
                    <a:pt x="10334" y="6585"/>
                  </a:lnTo>
                  <a:cubicBezTo>
                    <a:pt x="10334" y="6774"/>
                    <a:pt x="10177" y="6931"/>
                    <a:pt x="9988" y="6931"/>
                  </a:cubicBezTo>
                  <a:lnTo>
                    <a:pt x="4789" y="6931"/>
                  </a:lnTo>
                  <a:lnTo>
                    <a:pt x="4789" y="5167"/>
                  </a:lnTo>
                  <a:cubicBezTo>
                    <a:pt x="4789" y="4253"/>
                    <a:pt x="4285" y="3434"/>
                    <a:pt x="3498" y="3025"/>
                  </a:cubicBezTo>
                  <a:cubicBezTo>
                    <a:pt x="3844" y="2710"/>
                    <a:pt x="4096" y="2237"/>
                    <a:pt x="4096" y="1733"/>
                  </a:cubicBezTo>
                  <a:cubicBezTo>
                    <a:pt x="4096" y="1355"/>
                    <a:pt x="3970" y="977"/>
                    <a:pt x="3718" y="725"/>
                  </a:cubicBezTo>
                  <a:close/>
                  <a:moveTo>
                    <a:pt x="2710" y="3466"/>
                  </a:moveTo>
                  <a:cubicBezTo>
                    <a:pt x="3498" y="3623"/>
                    <a:pt x="4096" y="4316"/>
                    <a:pt x="4096" y="5167"/>
                  </a:cubicBezTo>
                  <a:lnTo>
                    <a:pt x="4096" y="7246"/>
                  </a:lnTo>
                  <a:cubicBezTo>
                    <a:pt x="4128" y="7435"/>
                    <a:pt x="3970" y="7593"/>
                    <a:pt x="3750" y="7593"/>
                  </a:cubicBezTo>
                  <a:cubicBezTo>
                    <a:pt x="3561" y="7593"/>
                    <a:pt x="3403" y="7750"/>
                    <a:pt x="3403" y="7971"/>
                  </a:cubicBezTo>
                  <a:lnTo>
                    <a:pt x="3403" y="10712"/>
                  </a:lnTo>
                  <a:cubicBezTo>
                    <a:pt x="3403" y="10901"/>
                    <a:pt x="3246" y="11058"/>
                    <a:pt x="3056" y="11058"/>
                  </a:cubicBezTo>
                  <a:lnTo>
                    <a:pt x="1670" y="11058"/>
                  </a:lnTo>
                  <a:cubicBezTo>
                    <a:pt x="1481" y="11058"/>
                    <a:pt x="1324" y="10901"/>
                    <a:pt x="1324" y="10712"/>
                  </a:cubicBezTo>
                  <a:lnTo>
                    <a:pt x="1324" y="7971"/>
                  </a:lnTo>
                  <a:cubicBezTo>
                    <a:pt x="1324" y="7750"/>
                    <a:pt x="1166" y="7593"/>
                    <a:pt x="977" y="7593"/>
                  </a:cubicBezTo>
                  <a:cubicBezTo>
                    <a:pt x="788" y="7593"/>
                    <a:pt x="631" y="7435"/>
                    <a:pt x="631" y="7246"/>
                  </a:cubicBezTo>
                  <a:lnTo>
                    <a:pt x="631" y="5167"/>
                  </a:lnTo>
                  <a:cubicBezTo>
                    <a:pt x="631" y="4316"/>
                    <a:pt x="1198" y="3623"/>
                    <a:pt x="1985" y="3466"/>
                  </a:cubicBezTo>
                  <a:lnTo>
                    <a:pt x="1985" y="5829"/>
                  </a:lnTo>
                  <a:cubicBezTo>
                    <a:pt x="1985" y="6018"/>
                    <a:pt x="2143" y="6175"/>
                    <a:pt x="2363" y="6175"/>
                  </a:cubicBezTo>
                  <a:cubicBezTo>
                    <a:pt x="2552" y="6175"/>
                    <a:pt x="2710" y="6018"/>
                    <a:pt x="2710" y="5829"/>
                  </a:cubicBezTo>
                  <a:lnTo>
                    <a:pt x="2710" y="3466"/>
                  </a:lnTo>
                  <a:close/>
                  <a:moveTo>
                    <a:pt x="2395" y="0"/>
                  </a:moveTo>
                  <a:cubicBezTo>
                    <a:pt x="1450" y="0"/>
                    <a:pt x="694" y="756"/>
                    <a:pt x="694" y="1702"/>
                  </a:cubicBezTo>
                  <a:cubicBezTo>
                    <a:pt x="694" y="2206"/>
                    <a:pt x="946" y="2678"/>
                    <a:pt x="1292" y="2993"/>
                  </a:cubicBezTo>
                  <a:cubicBezTo>
                    <a:pt x="536" y="3403"/>
                    <a:pt x="1" y="4222"/>
                    <a:pt x="1" y="5136"/>
                  </a:cubicBezTo>
                  <a:lnTo>
                    <a:pt x="1" y="7215"/>
                  </a:lnTo>
                  <a:cubicBezTo>
                    <a:pt x="1" y="7656"/>
                    <a:pt x="253" y="8034"/>
                    <a:pt x="662" y="8192"/>
                  </a:cubicBezTo>
                  <a:lnTo>
                    <a:pt x="662" y="10649"/>
                  </a:lnTo>
                  <a:cubicBezTo>
                    <a:pt x="662" y="11184"/>
                    <a:pt x="1135" y="11657"/>
                    <a:pt x="1670" y="11657"/>
                  </a:cubicBezTo>
                  <a:lnTo>
                    <a:pt x="3056" y="11657"/>
                  </a:lnTo>
                  <a:cubicBezTo>
                    <a:pt x="3624" y="11657"/>
                    <a:pt x="4096" y="11184"/>
                    <a:pt x="4096" y="10649"/>
                  </a:cubicBezTo>
                  <a:lnTo>
                    <a:pt x="4096" y="8192"/>
                  </a:lnTo>
                  <a:cubicBezTo>
                    <a:pt x="4348" y="8065"/>
                    <a:pt x="4600" y="7876"/>
                    <a:pt x="4726" y="7561"/>
                  </a:cubicBezTo>
                  <a:lnTo>
                    <a:pt x="9988" y="7561"/>
                  </a:lnTo>
                  <a:cubicBezTo>
                    <a:pt x="10555" y="7561"/>
                    <a:pt x="11027" y="7089"/>
                    <a:pt x="11027" y="6553"/>
                  </a:cubicBezTo>
                  <a:lnTo>
                    <a:pt x="11027" y="662"/>
                  </a:lnTo>
                  <a:lnTo>
                    <a:pt x="11374" y="662"/>
                  </a:lnTo>
                  <a:cubicBezTo>
                    <a:pt x="11563" y="662"/>
                    <a:pt x="11720" y="504"/>
                    <a:pt x="11720" y="315"/>
                  </a:cubicBezTo>
                  <a:cubicBezTo>
                    <a:pt x="11720" y="158"/>
                    <a:pt x="11563" y="0"/>
                    <a:pt x="1137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74" name="Google Shape;8074;p77"/>
            <p:cNvSpPr/>
            <p:nvPr/>
          </p:nvSpPr>
          <p:spPr>
            <a:xfrm>
              <a:off x="-5496575" y="2072625"/>
              <a:ext cx="102425" cy="102425"/>
            </a:xfrm>
            <a:custGeom>
              <a:avLst/>
              <a:gdLst/>
              <a:ahLst/>
              <a:cxnLst/>
              <a:rect l="l" t="t" r="r" b="b"/>
              <a:pathLst>
                <a:path w="4097" h="4097" extrusionOk="0">
                  <a:moveTo>
                    <a:pt x="2395" y="725"/>
                  </a:moveTo>
                  <a:cubicBezTo>
                    <a:pt x="2867" y="851"/>
                    <a:pt x="3245" y="1229"/>
                    <a:pt x="3371" y="1733"/>
                  </a:cubicBezTo>
                  <a:lnTo>
                    <a:pt x="2395" y="1733"/>
                  </a:lnTo>
                  <a:lnTo>
                    <a:pt x="2395" y="725"/>
                  </a:lnTo>
                  <a:close/>
                  <a:moveTo>
                    <a:pt x="1733" y="757"/>
                  </a:moveTo>
                  <a:lnTo>
                    <a:pt x="1733" y="2080"/>
                  </a:lnTo>
                  <a:cubicBezTo>
                    <a:pt x="1733" y="2269"/>
                    <a:pt x="1891" y="2426"/>
                    <a:pt x="2080" y="2426"/>
                  </a:cubicBezTo>
                  <a:lnTo>
                    <a:pt x="3403" y="2426"/>
                  </a:lnTo>
                  <a:cubicBezTo>
                    <a:pt x="3245" y="3025"/>
                    <a:pt x="2741" y="3466"/>
                    <a:pt x="2080" y="3466"/>
                  </a:cubicBezTo>
                  <a:cubicBezTo>
                    <a:pt x="1324" y="3466"/>
                    <a:pt x="693" y="2836"/>
                    <a:pt x="693" y="2080"/>
                  </a:cubicBezTo>
                  <a:cubicBezTo>
                    <a:pt x="693" y="1418"/>
                    <a:pt x="1135" y="851"/>
                    <a:pt x="1733" y="757"/>
                  </a:cubicBezTo>
                  <a:close/>
                  <a:moveTo>
                    <a:pt x="2048" y="0"/>
                  </a:moveTo>
                  <a:cubicBezTo>
                    <a:pt x="883" y="0"/>
                    <a:pt x="0" y="914"/>
                    <a:pt x="0" y="2048"/>
                  </a:cubicBezTo>
                  <a:cubicBezTo>
                    <a:pt x="0" y="3182"/>
                    <a:pt x="946" y="4096"/>
                    <a:pt x="2048" y="4096"/>
                  </a:cubicBezTo>
                  <a:cubicBezTo>
                    <a:pt x="3182" y="4096"/>
                    <a:pt x="4096" y="3182"/>
                    <a:pt x="4096" y="2048"/>
                  </a:cubicBezTo>
                  <a:cubicBezTo>
                    <a:pt x="4096" y="914"/>
                    <a:pt x="3182" y="0"/>
                    <a:pt x="204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75" name="Google Shape;8075;p77"/>
          <p:cNvGrpSpPr/>
          <p:nvPr/>
        </p:nvGrpSpPr>
        <p:grpSpPr>
          <a:xfrm>
            <a:off x="3291061" y="2853883"/>
            <a:ext cx="568665" cy="561061"/>
            <a:chOff x="-5637575" y="2397900"/>
            <a:chExt cx="295400" cy="291450"/>
          </a:xfrm>
        </p:grpSpPr>
        <p:sp>
          <p:nvSpPr>
            <p:cNvPr id="8076" name="Google Shape;8076;p77"/>
            <p:cNvSpPr/>
            <p:nvPr/>
          </p:nvSpPr>
          <p:spPr>
            <a:xfrm>
              <a:off x="-5575350" y="2547550"/>
              <a:ext cx="79575" cy="88250"/>
            </a:xfrm>
            <a:custGeom>
              <a:avLst/>
              <a:gdLst/>
              <a:ahLst/>
              <a:cxnLst/>
              <a:rect l="l" t="t" r="r" b="b"/>
              <a:pathLst>
                <a:path w="3183" h="3530" extrusionOk="0">
                  <a:moveTo>
                    <a:pt x="1088" y="1"/>
                  </a:moveTo>
                  <a:cubicBezTo>
                    <a:pt x="1001" y="1"/>
                    <a:pt x="915" y="32"/>
                    <a:pt x="852" y="95"/>
                  </a:cubicBezTo>
                  <a:lnTo>
                    <a:pt x="379" y="568"/>
                  </a:lnTo>
                  <a:cubicBezTo>
                    <a:pt x="1" y="978"/>
                    <a:pt x="1" y="1639"/>
                    <a:pt x="379" y="2017"/>
                  </a:cubicBezTo>
                  <a:cubicBezTo>
                    <a:pt x="584" y="2222"/>
                    <a:pt x="852" y="2324"/>
                    <a:pt x="1115" y="2324"/>
                  </a:cubicBezTo>
                  <a:cubicBezTo>
                    <a:pt x="1379" y="2324"/>
                    <a:pt x="1639" y="2222"/>
                    <a:pt x="1828" y="2017"/>
                  </a:cubicBezTo>
                  <a:cubicBezTo>
                    <a:pt x="1891" y="1970"/>
                    <a:pt x="1986" y="1946"/>
                    <a:pt x="2076" y="1946"/>
                  </a:cubicBezTo>
                  <a:cubicBezTo>
                    <a:pt x="2167" y="1946"/>
                    <a:pt x="2253" y="1970"/>
                    <a:pt x="2301" y="2017"/>
                  </a:cubicBezTo>
                  <a:cubicBezTo>
                    <a:pt x="2427" y="2143"/>
                    <a:pt x="2427" y="2395"/>
                    <a:pt x="2301" y="2490"/>
                  </a:cubicBezTo>
                  <a:lnTo>
                    <a:pt x="1828" y="2962"/>
                  </a:lnTo>
                  <a:cubicBezTo>
                    <a:pt x="1734" y="3088"/>
                    <a:pt x="1734" y="3340"/>
                    <a:pt x="1828" y="3435"/>
                  </a:cubicBezTo>
                  <a:cubicBezTo>
                    <a:pt x="1891" y="3498"/>
                    <a:pt x="1986" y="3529"/>
                    <a:pt x="2076" y="3529"/>
                  </a:cubicBezTo>
                  <a:cubicBezTo>
                    <a:pt x="2167" y="3529"/>
                    <a:pt x="2253" y="3498"/>
                    <a:pt x="2301" y="3435"/>
                  </a:cubicBezTo>
                  <a:lnTo>
                    <a:pt x="2773" y="2962"/>
                  </a:lnTo>
                  <a:cubicBezTo>
                    <a:pt x="3183" y="2584"/>
                    <a:pt x="3183" y="1923"/>
                    <a:pt x="2773" y="1513"/>
                  </a:cubicBezTo>
                  <a:cubicBezTo>
                    <a:pt x="2569" y="1293"/>
                    <a:pt x="2309" y="1182"/>
                    <a:pt x="2049" y="1182"/>
                  </a:cubicBezTo>
                  <a:cubicBezTo>
                    <a:pt x="1789" y="1182"/>
                    <a:pt x="1529" y="1293"/>
                    <a:pt x="1324" y="1513"/>
                  </a:cubicBezTo>
                  <a:cubicBezTo>
                    <a:pt x="1261" y="1576"/>
                    <a:pt x="1174" y="1608"/>
                    <a:pt x="1088" y="1608"/>
                  </a:cubicBezTo>
                  <a:cubicBezTo>
                    <a:pt x="1001" y="1608"/>
                    <a:pt x="915" y="1576"/>
                    <a:pt x="852" y="1513"/>
                  </a:cubicBezTo>
                  <a:cubicBezTo>
                    <a:pt x="726" y="1387"/>
                    <a:pt x="726" y="1167"/>
                    <a:pt x="852" y="1041"/>
                  </a:cubicBezTo>
                  <a:lnTo>
                    <a:pt x="1324" y="568"/>
                  </a:lnTo>
                  <a:cubicBezTo>
                    <a:pt x="1450" y="442"/>
                    <a:pt x="1450" y="221"/>
                    <a:pt x="1324" y="95"/>
                  </a:cubicBezTo>
                  <a:cubicBezTo>
                    <a:pt x="1261" y="32"/>
                    <a:pt x="1174" y="1"/>
                    <a:pt x="108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77" name="Google Shape;8077;p77"/>
            <p:cNvSpPr/>
            <p:nvPr/>
          </p:nvSpPr>
          <p:spPr>
            <a:xfrm>
              <a:off x="-5526500" y="2499525"/>
              <a:ext cx="85075" cy="81725"/>
            </a:xfrm>
            <a:custGeom>
              <a:avLst/>
              <a:gdLst/>
              <a:ahLst/>
              <a:cxnLst/>
              <a:rect l="l" t="t" r="r" b="b"/>
              <a:pathLst>
                <a:path w="3403" h="3269" extrusionOk="0">
                  <a:moveTo>
                    <a:pt x="1107" y="0"/>
                  </a:moveTo>
                  <a:cubicBezTo>
                    <a:pt x="1016" y="0"/>
                    <a:pt x="930" y="32"/>
                    <a:pt x="882" y="95"/>
                  </a:cubicBezTo>
                  <a:lnTo>
                    <a:pt x="410" y="567"/>
                  </a:lnTo>
                  <a:cubicBezTo>
                    <a:pt x="0" y="945"/>
                    <a:pt x="0" y="1638"/>
                    <a:pt x="410" y="2016"/>
                  </a:cubicBezTo>
                  <a:lnTo>
                    <a:pt x="882" y="2489"/>
                  </a:lnTo>
                  <a:lnTo>
                    <a:pt x="1355" y="2962"/>
                  </a:lnTo>
                  <a:cubicBezTo>
                    <a:pt x="1544" y="3166"/>
                    <a:pt x="1804" y="3269"/>
                    <a:pt x="2068" y="3269"/>
                  </a:cubicBezTo>
                  <a:cubicBezTo>
                    <a:pt x="2332" y="3269"/>
                    <a:pt x="2599" y="3166"/>
                    <a:pt x="2804" y="2962"/>
                  </a:cubicBezTo>
                  <a:lnTo>
                    <a:pt x="3277" y="2489"/>
                  </a:lnTo>
                  <a:cubicBezTo>
                    <a:pt x="3403" y="2363"/>
                    <a:pt x="3403" y="2142"/>
                    <a:pt x="3277" y="2016"/>
                  </a:cubicBezTo>
                  <a:cubicBezTo>
                    <a:pt x="3178" y="1918"/>
                    <a:pt x="3070" y="1870"/>
                    <a:pt x="2977" y="1870"/>
                  </a:cubicBezTo>
                  <a:cubicBezTo>
                    <a:pt x="2892" y="1870"/>
                    <a:pt x="2818" y="1910"/>
                    <a:pt x="2773" y="1985"/>
                  </a:cubicBezTo>
                  <a:lnTo>
                    <a:pt x="2300" y="2457"/>
                  </a:lnTo>
                  <a:cubicBezTo>
                    <a:pt x="2237" y="2520"/>
                    <a:pt x="2143" y="2552"/>
                    <a:pt x="2052" y="2552"/>
                  </a:cubicBezTo>
                  <a:cubicBezTo>
                    <a:pt x="1961" y="2552"/>
                    <a:pt x="1875" y="2520"/>
                    <a:pt x="1827" y="2457"/>
                  </a:cubicBezTo>
                  <a:lnTo>
                    <a:pt x="1575" y="2205"/>
                  </a:lnTo>
                  <a:lnTo>
                    <a:pt x="2300" y="1512"/>
                  </a:lnTo>
                  <a:cubicBezTo>
                    <a:pt x="2395" y="1386"/>
                    <a:pt x="2395" y="1134"/>
                    <a:pt x="2300" y="1040"/>
                  </a:cubicBezTo>
                  <a:cubicBezTo>
                    <a:pt x="2237" y="977"/>
                    <a:pt x="2143" y="945"/>
                    <a:pt x="2052" y="945"/>
                  </a:cubicBezTo>
                  <a:cubicBezTo>
                    <a:pt x="1961" y="945"/>
                    <a:pt x="1875" y="977"/>
                    <a:pt x="1827" y="1040"/>
                  </a:cubicBezTo>
                  <a:lnTo>
                    <a:pt x="1103" y="1733"/>
                  </a:lnTo>
                  <a:lnTo>
                    <a:pt x="882" y="1512"/>
                  </a:lnTo>
                  <a:cubicBezTo>
                    <a:pt x="756" y="1386"/>
                    <a:pt x="756" y="1166"/>
                    <a:pt x="882" y="1040"/>
                  </a:cubicBezTo>
                  <a:lnTo>
                    <a:pt x="1355" y="567"/>
                  </a:lnTo>
                  <a:cubicBezTo>
                    <a:pt x="1449" y="441"/>
                    <a:pt x="1449" y="221"/>
                    <a:pt x="1355" y="95"/>
                  </a:cubicBezTo>
                  <a:cubicBezTo>
                    <a:pt x="1292" y="32"/>
                    <a:pt x="1197" y="0"/>
                    <a:pt x="110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78" name="Google Shape;8078;p77"/>
            <p:cNvSpPr/>
            <p:nvPr/>
          </p:nvSpPr>
          <p:spPr>
            <a:xfrm>
              <a:off x="-5480050" y="2456975"/>
              <a:ext cx="80375" cy="75650"/>
            </a:xfrm>
            <a:custGeom>
              <a:avLst/>
              <a:gdLst/>
              <a:ahLst/>
              <a:cxnLst/>
              <a:rect l="l" t="t" r="r" b="b"/>
              <a:pathLst>
                <a:path w="3215" h="3026" extrusionOk="0">
                  <a:moveTo>
                    <a:pt x="1100" y="686"/>
                  </a:moveTo>
                  <a:cubicBezTo>
                    <a:pt x="1190" y="686"/>
                    <a:pt x="1277" y="710"/>
                    <a:pt x="1324" y="757"/>
                  </a:cubicBezTo>
                  <a:lnTo>
                    <a:pt x="2332" y="1765"/>
                  </a:lnTo>
                  <a:cubicBezTo>
                    <a:pt x="2490" y="1860"/>
                    <a:pt x="2490" y="2112"/>
                    <a:pt x="2332" y="2238"/>
                  </a:cubicBezTo>
                  <a:cubicBezTo>
                    <a:pt x="2269" y="2285"/>
                    <a:pt x="2183" y="2309"/>
                    <a:pt x="2096" y="2309"/>
                  </a:cubicBezTo>
                  <a:cubicBezTo>
                    <a:pt x="2009" y="2309"/>
                    <a:pt x="1923" y="2285"/>
                    <a:pt x="1860" y="2238"/>
                  </a:cubicBezTo>
                  <a:lnTo>
                    <a:pt x="852" y="1229"/>
                  </a:lnTo>
                  <a:cubicBezTo>
                    <a:pt x="757" y="1135"/>
                    <a:pt x="757" y="883"/>
                    <a:pt x="852" y="757"/>
                  </a:cubicBezTo>
                  <a:cubicBezTo>
                    <a:pt x="915" y="710"/>
                    <a:pt x="1009" y="686"/>
                    <a:pt x="1100" y="686"/>
                  </a:cubicBezTo>
                  <a:close/>
                  <a:moveTo>
                    <a:pt x="1119" y="1"/>
                  </a:moveTo>
                  <a:cubicBezTo>
                    <a:pt x="852" y="1"/>
                    <a:pt x="584" y="95"/>
                    <a:pt x="379" y="284"/>
                  </a:cubicBezTo>
                  <a:cubicBezTo>
                    <a:pt x="1" y="694"/>
                    <a:pt x="1" y="1356"/>
                    <a:pt x="379" y="1765"/>
                  </a:cubicBezTo>
                  <a:lnTo>
                    <a:pt x="1387" y="2742"/>
                  </a:lnTo>
                  <a:cubicBezTo>
                    <a:pt x="1576" y="2931"/>
                    <a:pt x="1836" y="3025"/>
                    <a:pt x="2100" y="3025"/>
                  </a:cubicBezTo>
                  <a:cubicBezTo>
                    <a:pt x="2364" y="3025"/>
                    <a:pt x="2632" y="2931"/>
                    <a:pt x="2836" y="2742"/>
                  </a:cubicBezTo>
                  <a:cubicBezTo>
                    <a:pt x="3214" y="2332"/>
                    <a:pt x="3214" y="1671"/>
                    <a:pt x="2836" y="1293"/>
                  </a:cubicBezTo>
                  <a:lnTo>
                    <a:pt x="1860" y="284"/>
                  </a:lnTo>
                  <a:cubicBezTo>
                    <a:pt x="1655" y="95"/>
                    <a:pt x="1387" y="1"/>
                    <a:pt x="111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79" name="Google Shape;8079;p77"/>
            <p:cNvSpPr/>
            <p:nvPr/>
          </p:nvSpPr>
          <p:spPr>
            <a:xfrm>
              <a:off x="-5637575" y="2397900"/>
              <a:ext cx="295400" cy="291450"/>
            </a:xfrm>
            <a:custGeom>
              <a:avLst/>
              <a:gdLst/>
              <a:ahLst/>
              <a:cxnLst/>
              <a:rect l="l" t="t" r="r" b="b"/>
              <a:pathLst>
                <a:path w="11816" h="11658" extrusionOk="0">
                  <a:moveTo>
                    <a:pt x="9185" y="1479"/>
                  </a:moveTo>
                  <a:cubicBezTo>
                    <a:pt x="9245" y="1479"/>
                    <a:pt x="9245" y="1482"/>
                    <a:pt x="9263" y="1482"/>
                  </a:cubicBezTo>
                  <a:cubicBezTo>
                    <a:pt x="9421" y="1482"/>
                    <a:pt x="9579" y="1513"/>
                    <a:pt x="9673" y="1545"/>
                  </a:cubicBezTo>
                  <a:lnTo>
                    <a:pt x="9106" y="2143"/>
                  </a:lnTo>
                  <a:cubicBezTo>
                    <a:pt x="8980" y="2269"/>
                    <a:pt x="8980" y="2490"/>
                    <a:pt x="9106" y="2616"/>
                  </a:cubicBezTo>
                  <a:cubicBezTo>
                    <a:pt x="9153" y="2679"/>
                    <a:pt x="9240" y="2710"/>
                    <a:pt x="9330" y="2710"/>
                  </a:cubicBezTo>
                  <a:cubicBezTo>
                    <a:pt x="9421" y="2710"/>
                    <a:pt x="9515" y="2679"/>
                    <a:pt x="9579" y="2616"/>
                  </a:cubicBezTo>
                  <a:lnTo>
                    <a:pt x="10146" y="2017"/>
                  </a:lnTo>
                  <a:cubicBezTo>
                    <a:pt x="10272" y="2175"/>
                    <a:pt x="10303" y="2332"/>
                    <a:pt x="10303" y="2553"/>
                  </a:cubicBezTo>
                  <a:lnTo>
                    <a:pt x="10146" y="5325"/>
                  </a:lnTo>
                  <a:cubicBezTo>
                    <a:pt x="10114" y="5798"/>
                    <a:pt x="9925" y="6239"/>
                    <a:pt x="9515" y="6554"/>
                  </a:cubicBezTo>
                  <a:lnTo>
                    <a:pt x="9484" y="6585"/>
                  </a:lnTo>
                  <a:lnTo>
                    <a:pt x="8570" y="7499"/>
                  </a:lnTo>
                  <a:cubicBezTo>
                    <a:pt x="5231" y="10902"/>
                    <a:pt x="5829" y="10303"/>
                    <a:pt x="5199" y="10902"/>
                  </a:cubicBezTo>
                  <a:cubicBezTo>
                    <a:pt x="5136" y="10949"/>
                    <a:pt x="5050" y="10972"/>
                    <a:pt x="4963" y="10972"/>
                  </a:cubicBezTo>
                  <a:cubicBezTo>
                    <a:pt x="4876" y="10972"/>
                    <a:pt x="4790" y="10949"/>
                    <a:pt x="4727" y="10902"/>
                  </a:cubicBezTo>
                  <a:lnTo>
                    <a:pt x="820" y="6995"/>
                  </a:lnTo>
                  <a:cubicBezTo>
                    <a:pt x="694" y="6869"/>
                    <a:pt x="694" y="6648"/>
                    <a:pt x="820" y="6522"/>
                  </a:cubicBezTo>
                  <a:lnTo>
                    <a:pt x="5262" y="2112"/>
                  </a:lnTo>
                  <a:cubicBezTo>
                    <a:pt x="5577" y="1797"/>
                    <a:pt x="5987" y="1639"/>
                    <a:pt x="6365" y="1608"/>
                  </a:cubicBezTo>
                  <a:cubicBezTo>
                    <a:pt x="8503" y="1495"/>
                    <a:pt x="9033" y="1479"/>
                    <a:pt x="9185" y="1479"/>
                  </a:cubicBezTo>
                  <a:close/>
                  <a:moveTo>
                    <a:pt x="11422" y="1"/>
                  </a:moveTo>
                  <a:cubicBezTo>
                    <a:pt x="11335" y="1"/>
                    <a:pt x="11248" y="32"/>
                    <a:pt x="11185" y="95"/>
                  </a:cubicBezTo>
                  <a:lnTo>
                    <a:pt x="10240" y="1041"/>
                  </a:lnTo>
                  <a:cubicBezTo>
                    <a:pt x="9958" y="871"/>
                    <a:pt x="9650" y="752"/>
                    <a:pt x="9316" y="752"/>
                  </a:cubicBezTo>
                  <a:cubicBezTo>
                    <a:pt x="9278" y="752"/>
                    <a:pt x="9239" y="754"/>
                    <a:pt x="9200" y="757"/>
                  </a:cubicBezTo>
                  <a:lnTo>
                    <a:pt x="6428" y="883"/>
                  </a:lnTo>
                  <a:cubicBezTo>
                    <a:pt x="5829" y="915"/>
                    <a:pt x="5262" y="1167"/>
                    <a:pt x="4853" y="1608"/>
                  </a:cubicBezTo>
                  <a:lnTo>
                    <a:pt x="379" y="6018"/>
                  </a:lnTo>
                  <a:cubicBezTo>
                    <a:pt x="1" y="6396"/>
                    <a:pt x="1" y="7058"/>
                    <a:pt x="379" y="7468"/>
                  </a:cubicBezTo>
                  <a:lnTo>
                    <a:pt x="4286" y="11374"/>
                  </a:lnTo>
                  <a:cubicBezTo>
                    <a:pt x="4490" y="11563"/>
                    <a:pt x="4758" y="11658"/>
                    <a:pt x="5022" y="11658"/>
                  </a:cubicBezTo>
                  <a:cubicBezTo>
                    <a:pt x="5286" y="11658"/>
                    <a:pt x="5546" y="11563"/>
                    <a:pt x="5735" y="11374"/>
                  </a:cubicBezTo>
                  <a:lnTo>
                    <a:pt x="9137" y="7972"/>
                  </a:lnTo>
                  <a:lnTo>
                    <a:pt x="10051" y="7058"/>
                  </a:lnTo>
                  <a:cubicBezTo>
                    <a:pt x="10555" y="6648"/>
                    <a:pt x="10870" y="6018"/>
                    <a:pt x="10902" y="5388"/>
                  </a:cubicBezTo>
                  <a:lnTo>
                    <a:pt x="11059" y="2584"/>
                  </a:lnTo>
                  <a:cubicBezTo>
                    <a:pt x="11059" y="2238"/>
                    <a:pt x="10996" y="1828"/>
                    <a:pt x="10776" y="1545"/>
                  </a:cubicBezTo>
                  <a:lnTo>
                    <a:pt x="11721" y="600"/>
                  </a:lnTo>
                  <a:cubicBezTo>
                    <a:pt x="11815" y="442"/>
                    <a:pt x="11815" y="221"/>
                    <a:pt x="11658" y="95"/>
                  </a:cubicBezTo>
                  <a:cubicBezTo>
                    <a:pt x="11595" y="32"/>
                    <a:pt x="11508" y="1"/>
                    <a:pt x="1142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80" name="Google Shape;8080;p77"/>
          <p:cNvGrpSpPr/>
          <p:nvPr/>
        </p:nvGrpSpPr>
        <p:grpSpPr>
          <a:xfrm>
            <a:off x="3309278" y="3547196"/>
            <a:ext cx="564044" cy="562552"/>
            <a:chOff x="-5635975" y="2757075"/>
            <a:chExt cx="293000" cy="292225"/>
          </a:xfrm>
        </p:grpSpPr>
        <p:sp>
          <p:nvSpPr>
            <p:cNvPr id="8081" name="Google Shape;8081;p77"/>
            <p:cNvSpPr/>
            <p:nvPr/>
          </p:nvSpPr>
          <p:spPr>
            <a:xfrm>
              <a:off x="-5635975" y="2757075"/>
              <a:ext cx="293000" cy="292225"/>
            </a:xfrm>
            <a:custGeom>
              <a:avLst/>
              <a:gdLst/>
              <a:ahLst/>
              <a:cxnLst/>
              <a:rect l="l" t="t" r="r" b="b"/>
              <a:pathLst>
                <a:path w="11720" h="11689" extrusionOk="0">
                  <a:moveTo>
                    <a:pt x="10649" y="693"/>
                  </a:moveTo>
                  <a:cubicBezTo>
                    <a:pt x="10838" y="693"/>
                    <a:pt x="10995" y="851"/>
                    <a:pt x="10995" y="1040"/>
                  </a:cubicBezTo>
                  <a:lnTo>
                    <a:pt x="10995" y="7593"/>
                  </a:lnTo>
                  <a:lnTo>
                    <a:pt x="693" y="7593"/>
                  </a:lnTo>
                  <a:lnTo>
                    <a:pt x="693" y="1040"/>
                  </a:lnTo>
                  <a:cubicBezTo>
                    <a:pt x="725" y="851"/>
                    <a:pt x="882" y="693"/>
                    <a:pt x="1040" y="693"/>
                  </a:cubicBezTo>
                  <a:close/>
                  <a:moveTo>
                    <a:pt x="10995" y="8223"/>
                  </a:moveTo>
                  <a:lnTo>
                    <a:pt x="10995" y="8569"/>
                  </a:lnTo>
                  <a:cubicBezTo>
                    <a:pt x="11027" y="8821"/>
                    <a:pt x="10869" y="8916"/>
                    <a:pt x="10680" y="8916"/>
                  </a:cubicBezTo>
                  <a:lnTo>
                    <a:pt x="1040" y="8916"/>
                  </a:lnTo>
                  <a:cubicBezTo>
                    <a:pt x="851" y="8916"/>
                    <a:pt x="693" y="8758"/>
                    <a:pt x="693" y="8569"/>
                  </a:cubicBezTo>
                  <a:lnTo>
                    <a:pt x="693" y="8223"/>
                  </a:lnTo>
                  <a:close/>
                  <a:moveTo>
                    <a:pt x="6679" y="9641"/>
                  </a:moveTo>
                  <a:lnTo>
                    <a:pt x="6994" y="11027"/>
                  </a:lnTo>
                  <a:lnTo>
                    <a:pt x="4694" y="11027"/>
                  </a:lnTo>
                  <a:lnTo>
                    <a:pt x="5009" y="9641"/>
                  </a:lnTo>
                  <a:close/>
                  <a:moveTo>
                    <a:pt x="1040" y="0"/>
                  </a:moveTo>
                  <a:cubicBezTo>
                    <a:pt x="473" y="0"/>
                    <a:pt x="0" y="473"/>
                    <a:pt x="0" y="1008"/>
                  </a:cubicBezTo>
                  <a:lnTo>
                    <a:pt x="0" y="8569"/>
                  </a:lnTo>
                  <a:cubicBezTo>
                    <a:pt x="0" y="9137"/>
                    <a:pt x="473" y="9609"/>
                    <a:pt x="1040" y="9609"/>
                  </a:cubicBezTo>
                  <a:lnTo>
                    <a:pt x="4316" y="9609"/>
                  </a:lnTo>
                  <a:lnTo>
                    <a:pt x="4001" y="10964"/>
                  </a:lnTo>
                  <a:lnTo>
                    <a:pt x="3087" y="10964"/>
                  </a:lnTo>
                  <a:cubicBezTo>
                    <a:pt x="2898" y="10964"/>
                    <a:pt x="2741" y="11121"/>
                    <a:pt x="2741" y="11342"/>
                  </a:cubicBezTo>
                  <a:cubicBezTo>
                    <a:pt x="2741" y="11531"/>
                    <a:pt x="2898" y="11688"/>
                    <a:pt x="3087" y="11688"/>
                  </a:cubicBezTo>
                  <a:lnTo>
                    <a:pt x="8569" y="11688"/>
                  </a:lnTo>
                  <a:cubicBezTo>
                    <a:pt x="8758" y="11688"/>
                    <a:pt x="8916" y="11531"/>
                    <a:pt x="8916" y="11342"/>
                  </a:cubicBezTo>
                  <a:cubicBezTo>
                    <a:pt x="8916" y="11121"/>
                    <a:pt x="8758" y="10964"/>
                    <a:pt x="8569" y="10964"/>
                  </a:cubicBezTo>
                  <a:lnTo>
                    <a:pt x="7656" y="10964"/>
                  </a:lnTo>
                  <a:lnTo>
                    <a:pt x="7341" y="9609"/>
                  </a:lnTo>
                  <a:lnTo>
                    <a:pt x="10649" y="9609"/>
                  </a:lnTo>
                  <a:cubicBezTo>
                    <a:pt x="11216" y="9609"/>
                    <a:pt x="11688" y="9137"/>
                    <a:pt x="11688" y="8569"/>
                  </a:cubicBezTo>
                  <a:lnTo>
                    <a:pt x="11688" y="1008"/>
                  </a:lnTo>
                  <a:cubicBezTo>
                    <a:pt x="11720" y="473"/>
                    <a:pt x="11247" y="0"/>
                    <a:pt x="10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82" name="Google Shape;8082;p77"/>
            <p:cNvSpPr/>
            <p:nvPr/>
          </p:nvSpPr>
          <p:spPr>
            <a:xfrm>
              <a:off x="-5584800" y="2790150"/>
              <a:ext cx="189850" cy="138050"/>
            </a:xfrm>
            <a:custGeom>
              <a:avLst/>
              <a:gdLst/>
              <a:ahLst/>
              <a:cxnLst/>
              <a:rect l="l" t="t" r="r" b="b"/>
              <a:pathLst>
                <a:path w="7594" h="5522" extrusionOk="0">
                  <a:moveTo>
                    <a:pt x="2994" y="725"/>
                  </a:moveTo>
                  <a:lnTo>
                    <a:pt x="2332" y="1387"/>
                  </a:lnTo>
                  <a:lnTo>
                    <a:pt x="1230" y="1387"/>
                  </a:lnTo>
                  <a:lnTo>
                    <a:pt x="1891" y="725"/>
                  </a:lnTo>
                  <a:close/>
                  <a:moveTo>
                    <a:pt x="3781" y="882"/>
                  </a:moveTo>
                  <a:lnTo>
                    <a:pt x="4349" y="1418"/>
                  </a:lnTo>
                  <a:lnTo>
                    <a:pt x="3246" y="1418"/>
                  </a:lnTo>
                  <a:lnTo>
                    <a:pt x="3781" y="882"/>
                  </a:lnTo>
                  <a:close/>
                  <a:moveTo>
                    <a:pt x="5735" y="756"/>
                  </a:moveTo>
                  <a:lnTo>
                    <a:pt x="6396" y="1418"/>
                  </a:lnTo>
                  <a:lnTo>
                    <a:pt x="5294" y="1418"/>
                  </a:lnTo>
                  <a:lnTo>
                    <a:pt x="4632" y="756"/>
                  </a:lnTo>
                  <a:close/>
                  <a:moveTo>
                    <a:pt x="2175" y="2080"/>
                  </a:moveTo>
                  <a:lnTo>
                    <a:pt x="2868" y="3749"/>
                  </a:lnTo>
                  <a:lnTo>
                    <a:pt x="1198" y="2080"/>
                  </a:lnTo>
                  <a:close/>
                  <a:moveTo>
                    <a:pt x="6396" y="2080"/>
                  </a:moveTo>
                  <a:lnTo>
                    <a:pt x="4727" y="3749"/>
                  </a:lnTo>
                  <a:lnTo>
                    <a:pt x="5420" y="2080"/>
                  </a:lnTo>
                  <a:close/>
                  <a:moveTo>
                    <a:pt x="4664" y="2080"/>
                  </a:moveTo>
                  <a:lnTo>
                    <a:pt x="3781" y="4253"/>
                  </a:lnTo>
                  <a:lnTo>
                    <a:pt x="2931" y="2080"/>
                  </a:lnTo>
                  <a:close/>
                  <a:moveTo>
                    <a:pt x="1734" y="0"/>
                  </a:moveTo>
                  <a:cubicBezTo>
                    <a:pt x="1671" y="0"/>
                    <a:pt x="1545" y="32"/>
                    <a:pt x="1513" y="126"/>
                  </a:cubicBezTo>
                  <a:lnTo>
                    <a:pt x="127" y="1513"/>
                  </a:lnTo>
                  <a:cubicBezTo>
                    <a:pt x="1" y="1670"/>
                    <a:pt x="1" y="1859"/>
                    <a:pt x="127" y="2017"/>
                  </a:cubicBezTo>
                  <a:lnTo>
                    <a:pt x="3561" y="5451"/>
                  </a:lnTo>
                  <a:cubicBezTo>
                    <a:pt x="3624" y="5498"/>
                    <a:pt x="3711" y="5522"/>
                    <a:pt x="3797" y="5522"/>
                  </a:cubicBezTo>
                  <a:cubicBezTo>
                    <a:pt x="3884" y="5522"/>
                    <a:pt x="3970" y="5498"/>
                    <a:pt x="4033" y="5451"/>
                  </a:cubicBezTo>
                  <a:lnTo>
                    <a:pt x="7468" y="2017"/>
                  </a:lnTo>
                  <a:cubicBezTo>
                    <a:pt x="7594" y="1891"/>
                    <a:pt x="7594" y="1702"/>
                    <a:pt x="7499" y="1544"/>
                  </a:cubicBezTo>
                  <a:lnTo>
                    <a:pt x="7468" y="1513"/>
                  </a:lnTo>
                  <a:lnTo>
                    <a:pt x="6081" y="126"/>
                  </a:lnTo>
                  <a:cubicBezTo>
                    <a:pt x="6018" y="32"/>
                    <a:pt x="5924" y="0"/>
                    <a:pt x="586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83" name="Google Shape;8083;p77"/>
          <p:cNvGrpSpPr/>
          <p:nvPr/>
        </p:nvGrpSpPr>
        <p:grpSpPr>
          <a:xfrm>
            <a:off x="6887858" y="2175008"/>
            <a:ext cx="564092" cy="561061"/>
            <a:chOff x="-3854375" y="2046625"/>
            <a:chExt cx="293025" cy="291450"/>
          </a:xfrm>
        </p:grpSpPr>
        <p:sp>
          <p:nvSpPr>
            <p:cNvPr id="8084" name="Google Shape;8084;p77"/>
            <p:cNvSpPr/>
            <p:nvPr/>
          </p:nvSpPr>
          <p:spPr>
            <a:xfrm>
              <a:off x="-3854375" y="2046625"/>
              <a:ext cx="293025" cy="291450"/>
            </a:xfrm>
            <a:custGeom>
              <a:avLst/>
              <a:gdLst/>
              <a:ahLst/>
              <a:cxnLst/>
              <a:rect l="l" t="t" r="r" b="b"/>
              <a:pathLst>
                <a:path w="11721" h="11658" extrusionOk="0">
                  <a:moveTo>
                    <a:pt x="7624" y="694"/>
                  </a:moveTo>
                  <a:cubicBezTo>
                    <a:pt x="9515" y="694"/>
                    <a:pt x="11058" y="2206"/>
                    <a:pt x="11058" y="4096"/>
                  </a:cubicBezTo>
                  <a:cubicBezTo>
                    <a:pt x="11058" y="5987"/>
                    <a:pt x="9515" y="7530"/>
                    <a:pt x="7624" y="7530"/>
                  </a:cubicBezTo>
                  <a:cubicBezTo>
                    <a:pt x="5734" y="7530"/>
                    <a:pt x="4190" y="5987"/>
                    <a:pt x="4190" y="4096"/>
                  </a:cubicBezTo>
                  <a:cubicBezTo>
                    <a:pt x="4190" y="2206"/>
                    <a:pt x="5734" y="694"/>
                    <a:pt x="7624" y="694"/>
                  </a:cubicBezTo>
                  <a:close/>
                  <a:moveTo>
                    <a:pt x="3336" y="8066"/>
                  </a:moveTo>
                  <a:cubicBezTo>
                    <a:pt x="3426" y="8066"/>
                    <a:pt x="3513" y="8098"/>
                    <a:pt x="3560" y="8161"/>
                  </a:cubicBezTo>
                  <a:cubicBezTo>
                    <a:pt x="3686" y="8287"/>
                    <a:pt x="3686" y="8507"/>
                    <a:pt x="3560" y="8633"/>
                  </a:cubicBezTo>
                  <a:lnTo>
                    <a:pt x="1323" y="10870"/>
                  </a:lnTo>
                  <a:cubicBezTo>
                    <a:pt x="1260" y="10933"/>
                    <a:pt x="1174" y="10964"/>
                    <a:pt x="1087" y="10964"/>
                  </a:cubicBezTo>
                  <a:cubicBezTo>
                    <a:pt x="1001" y="10964"/>
                    <a:pt x="914" y="10933"/>
                    <a:pt x="851" y="10870"/>
                  </a:cubicBezTo>
                  <a:cubicBezTo>
                    <a:pt x="725" y="10744"/>
                    <a:pt x="725" y="10523"/>
                    <a:pt x="851" y="10397"/>
                  </a:cubicBezTo>
                  <a:lnTo>
                    <a:pt x="3088" y="8161"/>
                  </a:lnTo>
                  <a:cubicBezTo>
                    <a:pt x="3151" y="8098"/>
                    <a:pt x="3245" y="8066"/>
                    <a:pt x="3336" y="8066"/>
                  </a:cubicBezTo>
                  <a:close/>
                  <a:moveTo>
                    <a:pt x="7624" y="1"/>
                  </a:moveTo>
                  <a:cubicBezTo>
                    <a:pt x="5356" y="1"/>
                    <a:pt x="3529" y="1860"/>
                    <a:pt x="3529" y="4096"/>
                  </a:cubicBezTo>
                  <a:cubicBezTo>
                    <a:pt x="3529" y="5136"/>
                    <a:pt x="3875" y="6050"/>
                    <a:pt x="4505" y="6743"/>
                  </a:cubicBezTo>
                  <a:lnTo>
                    <a:pt x="3812" y="7467"/>
                  </a:lnTo>
                  <a:cubicBezTo>
                    <a:pt x="3661" y="7386"/>
                    <a:pt x="3500" y="7347"/>
                    <a:pt x="3342" y="7347"/>
                  </a:cubicBezTo>
                  <a:cubicBezTo>
                    <a:pt x="3074" y="7347"/>
                    <a:pt x="2813" y="7458"/>
                    <a:pt x="2615" y="7656"/>
                  </a:cubicBezTo>
                  <a:lnTo>
                    <a:pt x="378" y="9893"/>
                  </a:lnTo>
                  <a:cubicBezTo>
                    <a:pt x="0" y="10271"/>
                    <a:pt x="0" y="10964"/>
                    <a:pt x="378" y="11343"/>
                  </a:cubicBezTo>
                  <a:cubicBezTo>
                    <a:pt x="567" y="11532"/>
                    <a:pt x="851" y="11658"/>
                    <a:pt x="1103" y="11658"/>
                  </a:cubicBezTo>
                  <a:cubicBezTo>
                    <a:pt x="1355" y="11658"/>
                    <a:pt x="1607" y="11532"/>
                    <a:pt x="1796" y="11343"/>
                  </a:cubicBezTo>
                  <a:lnTo>
                    <a:pt x="4033" y="9106"/>
                  </a:lnTo>
                  <a:cubicBezTo>
                    <a:pt x="4348" y="8791"/>
                    <a:pt x="4442" y="8318"/>
                    <a:pt x="4253" y="7909"/>
                  </a:cubicBezTo>
                  <a:lnTo>
                    <a:pt x="4947" y="7215"/>
                  </a:lnTo>
                  <a:cubicBezTo>
                    <a:pt x="5671" y="7814"/>
                    <a:pt x="6616" y="8192"/>
                    <a:pt x="7593" y="8192"/>
                  </a:cubicBezTo>
                  <a:cubicBezTo>
                    <a:pt x="9861" y="8192"/>
                    <a:pt x="11689" y="6333"/>
                    <a:pt x="11689" y="4096"/>
                  </a:cubicBezTo>
                  <a:cubicBezTo>
                    <a:pt x="11720" y="1828"/>
                    <a:pt x="9861" y="1"/>
                    <a:pt x="762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85" name="Google Shape;8085;p77"/>
            <p:cNvSpPr/>
            <p:nvPr/>
          </p:nvSpPr>
          <p:spPr>
            <a:xfrm>
              <a:off x="-3714975" y="2080500"/>
              <a:ext cx="103200" cy="119750"/>
            </a:xfrm>
            <a:custGeom>
              <a:avLst/>
              <a:gdLst/>
              <a:ahLst/>
              <a:cxnLst/>
              <a:rect l="l" t="t" r="r" b="b"/>
              <a:pathLst>
                <a:path w="4128" h="4790" extrusionOk="0">
                  <a:moveTo>
                    <a:pt x="2048" y="694"/>
                  </a:moveTo>
                  <a:cubicBezTo>
                    <a:pt x="2458" y="694"/>
                    <a:pt x="2710" y="1009"/>
                    <a:pt x="2710" y="1387"/>
                  </a:cubicBezTo>
                  <a:cubicBezTo>
                    <a:pt x="2710" y="1765"/>
                    <a:pt x="2395" y="2048"/>
                    <a:pt x="2048" y="2048"/>
                  </a:cubicBezTo>
                  <a:cubicBezTo>
                    <a:pt x="1702" y="2048"/>
                    <a:pt x="1387" y="1733"/>
                    <a:pt x="1387" y="1387"/>
                  </a:cubicBezTo>
                  <a:cubicBezTo>
                    <a:pt x="1355" y="1009"/>
                    <a:pt x="1670" y="694"/>
                    <a:pt x="2048" y="694"/>
                  </a:cubicBezTo>
                  <a:close/>
                  <a:moveTo>
                    <a:pt x="2363" y="2741"/>
                  </a:moveTo>
                  <a:cubicBezTo>
                    <a:pt x="2931" y="2741"/>
                    <a:pt x="3403" y="3214"/>
                    <a:pt x="3403" y="3781"/>
                  </a:cubicBezTo>
                  <a:lnTo>
                    <a:pt x="3403" y="4128"/>
                  </a:lnTo>
                  <a:lnTo>
                    <a:pt x="662" y="4128"/>
                  </a:lnTo>
                  <a:lnTo>
                    <a:pt x="662" y="3781"/>
                  </a:lnTo>
                  <a:cubicBezTo>
                    <a:pt x="662" y="3214"/>
                    <a:pt x="1135" y="2741"/>
                    <a:pt x="1702" y="2741"/>
                  </a:cubicBezTo>
                  <a:close/>
                  <a:moveTo>
                    <a:pt x="2048" y="1"/>
                  </a:moveTo>
                  <a:cubicBezTo>
                    <a:pt x="1292" y="1"/>
                    <a:pt x="662" y="631"/>
                    <a:pt x="662" y="1387"/>
                  </a:cubicBezTo>
                  <a:cubicBezTo>
                    <a:pt x="662" y="1702"/>
                    <a:pt x="788" y="2017"/>
                    <a:pt x="977" y="2237"/>
                  </a:cubicBezTo>
                  <a:cubicBezTo>
                    <a:pt x="410" y="2521"/>
                    <a:pt x="1" y="3119"/>
                    <a:pt x="1" y="3781"/>
                  </a:cubicBezTo>
                  <a:lnTo>
                    <a:pt x="1" y="4443"/>
                  </a:lnTo>
                  <a:cubicBezTo>
                    <a:pt x="1" y="4632"/>
                    <a:pt x="158" y="4789"/>
                    <a:pt x="347" y="4789"/>
                  </a:cubicBezTo>
                  <a:lnTo>
                    <a:pt x="3781" y="4789"/>
                  </a:lnTo>
                  <a:cubicBezTo>
                    <a:pt x="3970" y="4789"/>
                    <a:pt x="4128" y="4632"/>
                    <a:pt x="4128" y="4443"/>
                  </a:cubicBezTo>
                  <a:lnTo>
                    <a:pt x="4128" y="3781"/>
                  </a:lnTo>
                  <a:cubicBezTo>
                    <a:pt x="4096" y="3119"/>
                    <a:pt x="3718" y="2521"/>
                    <a:pt x="3120" y="2237"/>
                  </a:cubicBezTo>
                  <a:cubicBezTo>
                    <a:pt x="3309" y="2017"/>
                    <a:pt x="3435" y="1733"/>
                    <a:pt x="3435" y="1387"/>
                  </a:cubicBezTo>
                  <a:cubicBezTo>
                    <a:pt x="3435" y="631"/>
                    <a:pt x="2805" y="1"/>
                    <a:pt x="204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86" name="Google Shape;8086;p77"/>
          <p:cNvGrpSpPr/>
          <p:nvPr/>
        </p:nvGrpSpPr>
        <p:grpSpPr>
          <a:xfrm>
            <a:off x="6886342" y="2851623"/>
            <a:ext cx="567124" cy="565584"/>
            <a:chOff x="-3854375" y="2405000"/>
            <a:chExt cx="294600" cy="293800"/>
          </a:xfrm>
        </p:grpSpPr>
        <p:sp>
          <p:nvSpPr>
            <p:cNvPr id="8087" name="Google Shape;8087;p77"/>
            <p:cNvSpPr/>
            <p:nvPr/>
          </p:nvSpPr>
          <p:spPr>
            <a:xfrm>
              <a:off x="-3854375" y="2405000"/>
              <a:ext cx="294600" cy="293800"/>
            </a:xfrm>
            <a:custGeom>
              <a:avLst/>
              <a:gdLst/>
              <a:ahLst/>
              <a:cxnLst/>
              <a:rect l="l" t="t" r="r" b="b"/>
              <a:pathLst>
                <a:path w="11784" h="11752" extrusionOk="0">
                  <a:moveTo>
                    <a:pt x="6994" y="694"/>
                  </a:moveTo>
                  <a:lnTo>
                    <a:pt x="6994" y="1103"/>
                  </a:lnTo>
                  <a:cubicBezTo>
                    <a:pt x="6994" y="1261"/>
                    <a:pt x="7120" y="1387"/>
                    <a:pt x="7278" y="1418"/>
                  </a:cubicBezTo>
                  <a:cubicBezTo>
                    <a:pt x="7467" y="1481"/>
                    <a:pt x="7719" y="1576"/>
                    <a:pt x="7908" y="1702"/>
                  </a:cubicBezTo>
                  <a:cubicBezTo>
                    <a:pt x="7954" y="1736"/>
                    <a:pt x="8009" y="1750"/>
                    <a:pt x="8066" y="1750"/>
                  </a:cubicBezTo>
                  <a:cubicBezTo>
                    <a:pt x="8164" y="1750"/>
                    <a:pt x="8269" y="1710"/>
                    <a:pt x="8349" y="1670"/>
                  </a:cubicBezTo>
                  <a:lnTo>
                    <a:pt x="8664" y="1355"/>
                  </a:lnTo>
                  <a:lnTo>
                    <a:pt x="9137" y="1828"/>
                  </a:lnTo>
                  <a:lnTo>
                    <a:pt x="8822" y="2143"/>
                  </a:lnTo>
                  <a:cubicBezTo>
                    <a:pt x="8696" y="2269"/>
                    <a:pt x="8696" y="2426"/>
                    <a:pt x="8759" y="2584"/>
                  </a:cubicBezTo>
                  <a:cubicBezTo>
                    <a:pt x="8885" y="2773"/>
                    <a:pt x="8979" y="2962"/>
                    <a:pt x="9042" y="3214"/>
                  </a:cubicBezTo>
                  <a:cubicBezTo>
                    <a:pt x="9074" y="3372"/>
                    <a:pt x="9200" y="3466"/>
                    <a:pt x="9357" y="3466"/>
                  </a:cubicBezTo>
                  <a:lnTo>
                    <a:pt x="9798" y="3466"/>
                  </a:lnTo>
                  <a:lnTo>
                    <a:pt x="9798" y="4159"/>
                  </a:lnTo>
                  <a:lnTo>
                    <a:pt x="9357" y="4159"/>
                  </a:lnTo>
                  <a:cubicBezTo>
                    <a:pt x="9200" y="4159"/>
                    <a:pt x="9074" y="4222"/>
                    <a:pt x="9042" y="4380"/>
                  </a:cubicBezTo>
                  <a:cubicBezTo>
                    <a:pt x="9011" y="4569"/>
                    <a:pt x="8885" y="4821"/>
                    <a:pt x="8759" y="5010"/>
                  </a:cubicBezTo>
                  <a:cubicBezTo>
                    <a:pt x="8696" y="5136"/>
                    <a:pt x="8727" y="5325"/>
                    <a:pt x="8822" y="5451"/>
                  </a:cubicBezTo>
                  <a:lnTo>
                    <a:pt x="9137" y="5766"/>
                  </a:lnTo>
                  <a:lnTo>
                    <a:pt x="8664" y="6238"/>
                  </a:lnTo>
                  <a:lnTo>
                    <a:pt x="8349" y="5923"/>
                  </a:lnTo>
                  <a:cubicBezTo>
                    <a:pt x="8275" y="5850"/>
                    <a:pt x="8191" y="5819"/>
                    <a:pt x="8101" y="5819"/>
                  </a:cubicBezTo>
                  <a:cubicBezTo>
                    <a:pt x="8038" y="5819"/>
                    <a:pt x="7973" y="5834"/>
                    <a:pt x="7908" y="5860"/>
                  </a:cubicBezTo>
                  <a:cubicBezTo>
                    <a:pt x="7719" y="5986"/>
                    <a:pt x="7498" y="6081"/>
                    <a:pt x="7278" y="6144"/>
                  </a:cubicBezTo>
                  <a:cubicBezTo>
                    <a:pt x="7120" y="6175"/>
                    <a:pt x="6994" y="6301"/>
                    <a:pt x="6994" y="6459"/>
                  </a:cubicBezTo>
                  <a:lnTo>
                    <a:pt x="6994" y="6900"/>
                  </a:lnTo>
                  <a:lnTo>
                    <a:pt x="6333" y="6900"/>
                  </a:lnTo>
                  <a:lnTo>
                    <a:pt x="6333" y="6459"/>
                  </a:lnTo>
                  <a:cubicBezTo>
                    <a:pt x="6333" y="6301"/>
                    <a:pt x="6207" y="6207"/>
                    <a:pt x="6049" y="6144"/>
                  </a:cubicBezTo>
                  <a:cubicBezTo>
                    <a:pt x="5860" y="6112"/>
                    <a:pt x="5608" y="5986"/>
                    <a:pt x="5419" y="5860"/>
                  </a:cubicBezTo>
                  <a:cubicBezTo>
                    <a:pt x="5374" y="5838"/>
                    <a:pt x="5322" y="5828"/>
                    <a:pt x="5267" y="5828"/>
                  </a:cubicBezTo>
                  <a:cubicBezTo>
                    <a:pt x="5167" y="5828"/>
                    <a:pt x="5059" y="5862"/>
                    <a:pt x="4978" y="5923"/>
                  </a:cubicBezTo>
                  <a:lnTo>
                    <a:pt x="4663" y="6238"/>
                  </a:lnTo>
                  <a:lnTo>
                    <a:pt x="4190" y="5766"/>
                  </a:lnTo>
                  <a:lnTo>
                    <a:pt x="4505" y="5451"/>
                  </a:lnTo>
                  <a:cubicBezTo>
                    <a:pt x="4631" y="5325"/>
                    <a:pt x="4631" y="5167"/>
                    <a:pt x="4568" y="5010"/>
                  </a:cubicBezTo>
                  <a:cubicBezTo>
                    <a:pt x="4442" y="4821"/>
                    <a:pt x="4348" y="4632"/>
                    <a:pt x="4285" y="4380"/>
                  </a:cubicBezTo>
                  <a:cubicBezTo>
                    <a:pt x="4253" y="4254"/>
                    <a:pt x="4127" y="4159"/>
                    <a:pt x="4001" y="4159"/>
                  </a:cubicBezTo>
                  <a:lnTo>
                    <a:pt x="3529" y="4159"/>
                  </a:lnTo>
                  <a:lnTo>
                    <a:pt x="3529" y="3466"/>
                  </a:lnTo>
                  <a:lnTo>
                    <a:pt x="3970" y="3466"/>
                  </a:lnTo>
                  <a:cubicBezTo>
                    <a:pt x="4127" y="3466"/>
                    <a:pt x="4253" y="3372"/>
                    <a:pt x="4285" y="3214"/>
                  </a:cubicBezTo>
                  <a:cubicBezTo>
                    <a:pt x="4316" y="2993"/>
                    <a:pt x="4442" y="2773"/>
                    <a:pt x="4568" y="2584"/>
                  </a:cubicBezTo>
                  <a:cubicBezTo>
                    <a:pt x="4631" y="2458"/>
                    <a:pt x="4600" y="2269"/>
                    <a:pt x="4505" y="2143"/>
                  </a:cubicBezTo>
                  <a:lnTo>
                    <a:pt x="4190" y="1828"/>
                  </a:lnTo>
                  <a:lnTo>
                    <a:pt x="4663" y="1355"/>
                  </a:lnTo>
                  <a:lnTo>
                    <a:pt x="4978" y="1670"/>
                  </a:lnTo>
                  <a:cubicBezTo>
                    <a:pt x="5046" y="1738"/>
                    <a:pt x="5122" y="1769"/>
                    <a:pt x="5203" y="1769"/>
                  </a:cubicBezTo>
                  <a:cubicBezTo>
                    <a:pt x="5273" y="1769"/>
                    <a:pt x="5346" y="1746"/>
                    <a:pt x="5419" y="1702"/>
                  </a:cubicBezTo>
                  <a:cubicBezTo>
                    <a:pt x="5608" y="1576"/>
                    <a:pt x="5829" y="1513"/>
                    <a:pt x="6049" y="1418"/>
                  </a:cubicBezTo>
                  <a:cubicBezTo>
                    <a:pt x="6207" y="1387"/>
                    <a:pt x="6333" y="1261"/>
                    <a:pt x="6333" y="1103"/>
                  </a:cubicBezTo>
                  <a:lnTo>
                    <a:pt x="6333" y="694"/>
                  </a:lnTo>
                  <a:close/>
                  <a:moveTo>
                    <a:pt x="10964" y="4821"/>
                  </a:moveTo>
                  <a:lnTo>
                    <a:pt x="9830" y="8255"/>
                  </a:lnTo>
                  <a:lnTo>
                    <a:pt x="2773" y="8255"/>
                  </a:lnTo>
                  <a:lnTo>
                    <a:pt x="2143" y="4821"/>
                  </a:lnTo>
                  <a:lnTo>
                    <a:pt x="3686" y="4821"/>
                  </a:lnTo>
                  <a:cubicBezTo>
                    <a:pt x="3718" y="4947"/>
                    <a:pt x="3781" y="5010"/>
                    <a:pt x="3812" y="5136"/>
                  </a:cubicBezTo>
                  <a:lnTo>
                    <a:pt x="3466" y="5482"/>
                  </a:lnTo>
                  <a:cubicBezTo>
                    <a:pt x="3340" y="5608"/>
                    <a:pt x="3340" y="5829"/>
                    <a:pt x="3466" y="5955"/>
                  </a:cubicBezTo>
                  <a:lnTo>
                    <a:pt x="4442" y="6932"/>
                  </a:lnTo>
                  <a:cubicBezTo>
                    <a:pt x="4505" y="6995"/>
                    <a:pt x="4592" y="7026"/>
                    <a:pt x="4679" y="7026"/>
                  </a:cubicBezTo>
                  <a:cubicBezTo>
                    <a:pt x="4765" y="7026"/>
                    <a:pt x="4852" y="6995"/>
                    <a:pt x="4915" y="6932"/>
                  </a:cubicBezTo>
                  <a:lnTo>
                    <a:pt x="5262" y="6585"/>
                  </a:lnTo>
                  <a:cubicBezTo>
                    <a:pt x="5356" y="6617"/>
                    <a:pt x="5451" y="6680"/>
                    <a:pt x="5577" y="6711"/>
                  </a:cubicBezTo>
                  <a:lnTo>
                    <a:pt x="5577" y="7215"/>
                  </a:lnTo>
                  <a:cubicBezTo>
                    <a:pt x="5577" y="7404"/>
                    <a:pt x="5734" y="7562"/>
                    <a:pt x="5923" y="7562"/>
                  </a:cubicBezTo>
                  <a:lnTo>
                    <a:pt x="7309" y="7562"/>
                  </a:lnTo>
                  <a:cubicBezTo>
                    <a:pt x="7498" y="7562"/>
                    <a:pt x="7656" y="7404"/>
                    <a:pt x="7656" y="7215"/>
                  </a:cubicBezTo>
                  <a:lnTo>
                    <a:pt x="7656" y="6711"/>
                  </a:lnTo>
                  <a:cubicBezTo>
                    <a:pt x="7782" y="6680"/>
                    <a:pt x="7876" y="6617"/>
                    <a:pt x="7971" y="6585"/>
                  </a:cubicBezTo>
                  <a:lnTo>
                    <a:pt x="8349" y="6932"/>
                  </a:lnTo>
                  <a:cubicBezTo>
                    <a:pt x="8396" y="6995"/>
                    <a:pt x="8483" y="7026"/>
                    <a:pt x="8574" y="7026"/>
                  </a:cubicBezTo>
                  <a:cubicBezTo>
                    <a:pt x="8664" y="7026"/>
                    <a:pt x="8759" y="6995"/>
                    <a:pt x="8822" y="6932"/>
                  </a:cubicBezTo>
                  <a:lnTo>
                    <a:pt x="9798" y="5955"/>
                  </a:lnTo>
                  <a:cubicBezTo>
                    <a:pt x="9924" y="5829"/>
                    <a:pt x="9924" y="5608"/>
                    <a:pt x="9798" y="5482"/>
                  </a:cubicBezTo>
                  <a:lnTo>
                    <a:pt x="9452" y="5136"/>
                  </a:lnTo>
                  <a:cubicBezTo>
                    <a:pt x="9483" y="5041"/>
                    <a:pt x="9515" y="4947"/>
                    <a:pt x="9546" y="4821"/>
                  </a:cubicBezTo>
                  <a:close/>
                  <a:moveTo>
                    <a:pt x="3907" y="10334"/>
                  </a:moveTo>
                  <a:cubicBezTo>
                    <a:pt x="4096" y="10366"/>
                    <a:pt x="4253" y="10523"/>
                    <a:pt x="4253" y="10681"/>
                  </a:cubicBezTo>
                  <a:cubicBezTo>
                    <a:pt x="4253" y="10870"/>
                    <a:pt x="4096" y="11027"/>
                    <a:pt x="3907" y="11027"/>
                  </a:cubicBezTo>
                  <a:cubicBezTo>
                    <a:pt x="3686" y="11027"/>
                    <a:pt x="3529" y="10870"/>
                    <a:pt x="3529" y="10681"/>
                  </a:cubicBezTo>
                  <a:cubicBezTo>
                    <a:pt x="3529" y="10492"/>
                    <a:pt x="3686" y="10334"/>
                    <a:pt x="3907" y="10334"/>
                  </a:cubicBezTo>
                  <a:close/>
                  <a:moveTo>
                    <a:pt x="8664" y="10334"/>
                  </a:moveTo>
                  <a:cubicBezTo>
                    <a:pt x="8853" y="10366"/>
                    <a:pt x="9011" y="10523"/>
                    <a:pt x="9011" y="10681"/>
                  </a:cubicBezTo>
                  <a:cubicBezTo>
                    <a:pt x="9011" y="10870"/>
                    <a:pt x="8853" y="11027"/>
                    <a:pt x="8664" y="11027"/>
                  </a:cubicBezTo>
                  <a:cubicBezTo>
                    <a:pt x="8444" y="11027"/>
                    <a:pt x="8286" y="10870"/>
                    <a:pt x="8286" y="10681"/>
                  </a:cubicBezTo>
                  <a:cubicBezTo>
                    <a:pt x="8286" y="10492"/>
                    <a:pt x="8444" y="10334"/>
                    <a:pt x="8664" y="10334"/>
                  </a:cubicBezTo>
                  <a:close/>
                  <a:moveTo>
                    <a:pt x="5892" y="0"/>
                  </a:moveTo>
                  <a:cubicBezTo>
                    <a:pt x="5703" y="0"/>
                    <a:pt x="5545" y="158"/>
                    <a:pt x="5545" y="379"/>
                  </a:cubicBezTo>
                  <a:lnTo>
                    <a:pt x="5545" y="883"/>
                  </a:lnTo>
                  <a:cubicBezTo>
                    <a:pt x="5419" y="914"/>
                    <a:pt x="5356" y="946"/>
                    <a:pt x="5230" y="1009"/>
                  </a:cubicBezTo>
                  <a:lnTo>
                    <a:pt x="4883" y="631"/>
                  </a:lnTo>
                  <a:cubicBezTo>
                    <a:pt x="4820" y="583"/>
                    <a:pt x="4734" y="560"/>
                    <a:pt x="4647" y="560"/>
                  </a:cubicBezTo>
                  <a:cubicBezTo>
                    <a:pt x="4561" y="560"/>
                    <a:pt x="4474" y="583"/>
                    <a:pt x="4411" y="631"/>
                  </a:cubicBezTo>
                  <a:lnTo>
                    <a:pt x="3434" y="1639"/>
                  </a:lnTo>
                  <a:cubicBezTo>
                    <a:pt x="3308" y="1733"/>
                    <a:pt x="3308" y="1985"/>
                    <a:pt x="3434" y="2111"/>
                  </a:cubicBezTo>
                  <a:lnTo>
                    <a:pt x="3781" y="2458"/>
                  </a:lnTo>
                  <a:cubicBezTo>
                    <a:pt x="3718" y="2521"/>
                    <a:pt x="3686" y="2647"/>
                    <a:pt x="3655" y="2773"/>
                  </a:cubicBezTo>
                  <a:lnTo>
                    <a:pt x="3151" y="2773"/>
                  </a:lnTo>
                  <a:cubicBezTo>
                    <a:pt x="2930" y="2773"/>
                    <a:pt x="2773" y="2930"/>
                    <a:pt x="2773" y="3119"/>
                  </a:cubicBezTo>
                  <a:lnTo>
                    <a:pt x="2773" y="4159"/>
                  </a:lnTo>
                  <a:lnTo>
                    <a:pt x="1985" y="4159"/>
                  </a:lnTo>
                  <a:lnTo>
                    <a:pt x="1765" y="2930"/>
                  </a:lnTo>
                  <a:cubicBezTo>
                    <a:pt x="1670" y="2458"/>
                    <a:pt x="1197" y="2111"/>
                    <a:pt x="693" y="2111"/>
                  </a:cubicBezTo>
                  <a:lnTo>
                    <a:pt x="347" y="2111"/>
                  </a:lnTo>
                  <a:cubicBezTo>
                    <a:pt x="158" y="2111"/>
                    <a:pt x="0" y="2269"/>
                    <a:pt x="0" y="2458"/>
                  </a:cubicBezTo>
                  <a:cubicBezTo>
                    <a:pt x="0" y="2647"/>
                    <a:pt x="158" y="2804"/>
                    <a:pt x="347" y="2804"/>
                  </a:cubicBezTo>
                  <a:lnTo>
                    <a:pt x="693" y="2804"/>
                  </a:lnTo>
                  <a:cubicBezTo>
                    <a:pt x="882" y="2804"/>
                    <a:pt x="1103" y="2930"/>
                    <a:pt x="1103" y="3088"/>
                  </a:cubicBezTo>
                  <a:lnTo>
                    <a:pt x="2080" y="8570"/>
                  </a:lnTo>
                  <a:cubicBezTo>
                    <a:pt x="1891" y="8759"/>
                    <a:pt x="1765" y="9042"/>
                    <a:pt x="1765" y="9357"/>
                  </a:cubicBezTo>
                  <a:cubicBezTo>
                    <a:pt x="1765" y="9861"/>
                    <a:pt x="2143" y="10366"/>
                    <a:pt x="2867" y="10366"/>
                  </a:cubicBezTo>
                  <a:cubicBezTo>
                    <a:pt x="2836" y="10492"/>
                    <a:pt x="2836" y="10618"/>
                    <a:pt x="2836" y="10712"/>
                  </a:cubicBezTo>
                  <a:cubicBezTo>
                    <a:pt x="2836" y="11279"/>
                    <a:pt x="3308" y="11752"/>
                    <a:pt x="3844" y="11752"/>
                  </a:cubicBezTo>
                  <a:cubicBezTo>
                    <a:pt x="4411" y="11752"/>
                    <a:pt x="4883" y="11279"/>
                    <a:pt x="4883" y="10712"/>
                  </a:cubicBezTo>
                  <a:cubicBezTo>
                    <a:pt x="4883" y="10618"/>
                    <a:pt x="4820" y="10492"/>
                    <a:pt x="4820" y="10366"/>
                  </a:cubicBezTo>
                  <a:lnTo>
                    <a:pt x="7719" y="10366"/>
                  </a:lnTo>
                  <a:cubicBezTo>
                    <a:pt x="7656" y="10492"/>
                    <a:pt x="7656" y="10618"/>
                    <a:pt x="7656" y="10712"/>
                  </a:cubicBezTo>
                  <a:cubicBezTo>
                    <a:pt x="7656" y="11279"/>
                    <a:pt x="8129" y="11752"/>
                    <a:pt x="8696" y="11752"/>
                  </a:cubicBezTo>
                  <a:cubicBezTo>
                    <a:pt x="9231" y="11752"/>
                    <a:pt x="9735" y="11279"/>
                    <a:pt x="9735" y="10712"/>
                  </a:cubicBezTo>
                  <a:cubicBezTo>
                    <a:pt x="9735" y="10618"/>
                    <a:pt x="9672" y="10492"/>
                    <a:pt x="9672" y="10366"/>
                  </a:cubicBezTo>
                  <a:lnTo>
                    <a:pt x="10082" y="10366"/>
                  </a:lnTo>
                  <a:cubicBezTo>
                    <a:pt x="10271" y="10366"/>
                    <a:pt x="10428" y="10208"/>
                    <a:pt x="10428" y="10019"/>
                  </a:cubicBezTo>
                  <a:cubicBezTo>
                    <a:pt x="10428" y="9830"/>
                    <a:pt x="10271" y="9672"/>
                    <a:pt x="10082" y="9672"/>
                  </a:cubicBezTo>
                  <a:lnTo>
                    <a:pt x="2867" y="9672"/>
                  </a:lnTo>
                  <a:cubicBezTo>
                    <a:pt x="2678" y="9672"/>
                    <a:pt x="2521" y="9515"/>
                    <a:pt x="2521" y="9294"/>
                  </a:cubicBezTo>
                  <a:cubicBezTo>
                    <a:pt x="2521" y="9137"/>
                    <a:pt x="2678" y="8948"/>
                    <a:pt x="2867" y="8948"/>
                  </a:cubicBezTo>
                  <a:lnTo>
                    <a:pt x="10082" y="8948"/>
                  </a:lnTo>
                  <a:cubicBezTo>
                    <a:pt x="10239" y="8948"/>
                    <a:pt x="10334" y="8885"/>
                    <a:pt x="10397" y="8727"/>
                  </a:cubicBezTo>
                  <a:lnTo>
                    <a:pt x="11720" y="4663"/>
                  </a:lnTo>
                  <a:cubicBezTo>
                    <a:pt x="11783" y="4537"/>
                    <a:pt x="11720" y="4411"/>
                    <a:pt x="11689" y="4348"/>
                  </a:cubicBezTo>
                  <a:cubicBezTo>
                    <a:pt x="11563" y="4191"/>
                    <a:pt x="11405" y="4191"/>
                    <a:pt x="11279" y="4191"/>
                  </a:cubicBezTo>
                  <a:lnTo>
                    <a:pt x="10397" y="4191"/>
                  </a:lnTo>
                  <a:lnTo>
                    <a:pt x="10397" y="3119"/>
                  </a:lnTo>
                  <a:cubicBezTo>
                    <a:pt x="10397" y="2930"/>
                    <a:pt x="10239" y="2773"/>
                    <a:pt x="10019" y="2773"/>
                  </a:cubicBezTo>
                  <a:lnTo>
                    <a:pt x="9515" y="2773"/>
                  </a:lnTo>
                  <a:cubicBezTo>
                    <a:pt x="9483" y="2647"/>
                    <a:pt x="9452" y="2584"/>
                    <a:pt x="9389" y="2458"/>
                  </a:cubicBezTo>
                  <a:lnTo>
                    <a:pt x="9767" y="2080"/>
                  </a:lnTo>
                  <a:cubicBezTo>
                    <a:pt x="9861" y="1985"/>
                    <a:pt x="9861" y="1733"/>
                    <a:pt x="9767" y="1607"/>
                  </a:cubicBezTo>
                  <a:lnTo>
                    <a:pt x="8759" y="631"/>
                  </a:lnTo>
                  <a:cubicBezTo>
                    <a:pt x="8711" y="568"/>
                    <a:pt x="8625" y="536"/>
                    <a:pt x="8534" y="536"/>
                  </a:cubicBezTo>
                  <a:cubicBezTo>
                    <a:pt x="8444" y="536"/>
                    <a:pt x="8349" y="568"/>
                    <a:pt x="8286" y="631"/>
                  </a:cubicBezTo>
                  <a:lnTo>
                    <a:pt x="7939" y="1009"/>
                  </a:lnTo>
                  <a:cubicBezTo>
                    <a:pt x="7876" y="946"/>
                    <a:pt x="7750" y="914"/>
                    <a:pt x="7624" y="883"/>
                  </a:cubicBezTo>
                  <a:lnTo>
                    <a:pt x="7624" y="379"/>
                  </a:lnTo>
                  <a:cubicBezTo>
                    <a:pt x="7624" y="158"/>
                    <a:pt x="7467" y="0"/>
                    <a:pt x="727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88" name="Google Shape;8088;p77"/>
            <p:cNvSpPr/>
            <p:nvPr/>
          </p:nvSpPr>
          <p:spPr>
            <a:xfrm>
              <a:off x="-3731500" y="2458550"/>
              <a:ext cx="84300" cy="84300"/>
            </a:xfrm>
            <a:custGeom>
              <a:avLst/>
              <a:gdLst/>
              <a:ahLst/>
              <a:cxnLst/>
              <a:rect l="l" t="t" r="r" b="b"/>
              <a:pathLst>
                <a:path w="3372" h="3372" extrusionOk="0">
                  <a:moveTo>
                    <a:pt x="1701" y="631"/>
                  </a:moveTo>
                  <a:cubicBezTo>
                    <a:pt x="2237" y="631"/>
                    <a:pt x="2709" y="1103"/>
                    <a:pt x="2709" y="1639"/>
                  </a:cubicBezTo>
                  <a:cubicBezTo>
                    <a:pt x="2709" y="2206"/>
                    <a:pt x="2237" y="2679"/>
                    <a:pt x="1701" y="2679"/>
                  </a:cubicBezTo>
                  <a:cubicBezTo>
                    <a:pt x="1134" y="2679"/>
                    <a:pt x="662" y="2206"/>
                    <a:pt x="662" y="1639"/>
                  </a:cubicBezTo>
                  <a:cubicBezTo>
                    <a:pt x="662" y="1103"/>
                    <a:pt x="1134" y="631"/>
                    <a:pt x="1701" y="631"/>
                  </a:cubicBezTo>
                  <a:close/>
                  <a:moveTo>
                    <a:pt x="1701" y="1"/>
                  </a:moveTo>
                  <a:cubicBezTo>
                    <a:pt x="756" y="1"/>
                    <a:pt x="0" y="725"/>
                    <a:pt x="0" y="1702"/>
                  </a:cubicBezTo>
                  <a:cubicBezTo>
                    <a:pt x="0" y="2647"/>
                    <a:pt x="756" y="3372"/>
                    <a:pt x="1701" y="3372"/>
                  </a:cubicBezTo>
                  <a:cubicBezTo>
                    <a:pt x="2646" y="3372"/>
                    <a:pt x="3371" y="2647"/>
                    <a:pt x="3371" y="1702"/>
                  </a:cubicBezTo>
                  <a:cubicBezTo>
                    <a:pt x="3371" y="725"/>
                    <a:pt x="2646" y="1"/>
                    <a:pt x="170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89" name="Google Shape;8089;p77"/>
          <p:cNvGrpSpPr/>
          <p:nvPr/>
        </p:nvGrpSpPr>
        <p:grpSpPr>
          <a:xfrm>
            <a:off x="6905282" y="3546451"/>
            <a:ext cx="561061" cy="564044"/>
            <a:chOff x="-3852025" y="2764950"/>
            <a:chExt cx="291450" cy="293000"/>
          </a:xfrm>
        </p:grpSpPr>
        <p:sp>
          <p:nvSpPr>
            <p:cNvPr id="8090" name="Google Shape;8090;p77"/>
            <p:cNvSpPr/>
            <p:nvPr/>
          </p:nvSpPr>
          <p:spPr>
            <a:xfrm>
              <a:off x="-3852025" y="2764950"/>
              <a:ext cx="291450" cy="293000"/>
            </a:xfrm>
            <a:custGeom>
              <a:avLst/>
              <a:gdLst/>
              <a:ahLst/>
              <a:cxnLst/>
              <a:rect l="l" t="t" r="r" b="b"/>
              <a:pathLst>
                <a:path w="11658" h="11720" extrusionOk="0">
                  <a:moveTo>
                    <a:pt x="4380" y="693"/>
                  </a:moveTo>
                  <a:cubicBezTo>
                    <a:pt x="6774" y="693"/>
                    <a:pt x="8161" y="1355"/>
                    <a:pt x="8161" y="1733"/>
                  </a:cubicBezTo>
                  <a:cubicBezTo>
                    <a:pt x="8161" y="2080"/>
                    <a:pt x="6774" y="2741"/>
                    <a:pt x="4380" y="2741"/>
                  </a:cubicBezTo>
                  <a:cubicBezTo>
                    <a:pt x="1986" y="2741"/>
                    <a:pt x="599" y="2080"/>
                    <a:pt x="599" y="1733"/>
                  </a:cubicBezTo>
                  <a:cubicBezTo>
                    <a:pt x="631" y="1355"/>
                    <a:pt x="2017" y="693"/>
                    <a:pt x="4380" y="693"/>
                  </a:cubicBezTo>
                  <a:close/>
                  <a:moveTo>
                    <a:pt x="8224" y="2710"/>
                  </a:moveTo>
                  <a:lnTo>
                    <a:pt x="8224" y="4190"/>
                  </a:lnTo>
                  <a:lnTo>
                    <a:pt x="7845" y="4190"/>
                  </a:lnTo>
                  <a:cubicBezTo>
                    <a:pt x="7815" y="4189"/>
                    <a:pt x="7784" y="4189"/>
                    <a:pt x="7753" y="4189"/>
                  </a:cubicBezTo>
                  <a:cubicBezTo>
                    <a:pt x="6625" y="4189"/>
                    <a:pt x="5622" y="4748"/>
                    <a:pt x="4947" y="5545"/>
                  </a:cubicBezTo>
                  <a:cubicBezTo>
                    <a:pt x="4743" y="5555"/>
                    <a:pt x="4544" y="5560"/>
                    <a:pt x="4352" y="5560"/>
                  </a:cubicBezTo>
                  <a:cubicBezTo>
                    <a:pt x="2081" y="5560"/>
                    <a:pt x="662" y="4912"/>
                    <a:pt x="662" y="4505"/>
                  </a:cubicBezTo>
                  <a:lnTo>
                    <a:pt x="662" y="2710"/>
                  </a:lnTo>
                  <a:cubicBezTo>
                    <a:pt x="1639" y="3308"/>
                    <a:pt x="3246" y="3466"/>
                    <a:pt x="4443" y="3466"/>
                  </a:cubicBezTo>
                  <a:cubicBezTo>
                    <a:pt x="5577" y="3466"/>
                    <a:pt x="7215" y="3308"/>
                    <a:pt x="8224" y="2710"/>
                  </a:cubicBezTo>
                  <a:close/>
                  <a:moveTo>
                    <a:pt x="631" y="5514"/>
                  </a:moveTo>
                  <a:cubicBezTo>
                    <a:pt x="1639" y="6081"/>
                    <a:pt x="3309" y="6238"/>
                    <a:pt x="4474" y="6238"/>
                  </a:cubicBezTo>
                  <a:cubicBezTo>
                    <a:pt x="4222" y="6711"/>
                    <a:pt x="4065" y="7309"/>
                    <a:pt x="4065" y="7939"/>
                  </a:cubicBezTo>
                  <a:lnTo>
                    <a:pt x="4065" y="8286"/>
                  </a:lnTo>
                  <a:cubicBezTo>
                    <a:pt x="1860" y="8223"/>
                    <a:pt x="631" y="7624"/>
                    <a:pt x="631" y="7278"/>
                  </a:cubicBezTo>
                  <a:lnTo>
                    <a:pt x="631" y="5514"/>
                  </a:lnTo>
                  <a:close/>
                  <a:moveTo>
                    <a:pt x="631" y="8223"/>
                  </a:moveTo>
                  <a:cubicBezTo>
                    <a:pt x="1576" y="8759"/>
                    <a:pt x="3120" y="8979"/>
                    <a:pt x="4222" y="8979"/>
                  </a:cubicBezTo>
                  <a:cubicBezTo>
                    <a:pt x="4474" y="9798"/>
                    <a:pt x="4947" y="10460"/>
                    <a:pt x="5609" y="10964"/>
                  </a:cubicBezTo>
                  <a:cubicBezTo>
                    <a:pt x="5199" y="11005"/>
                    <a:pt x="4802" y="11024"/>
                    <a:pt x="4424" y="11024"/>
                  </a:cubicBezTo>
                  <a:cubicBezTo>
                    <a:pt x="2216" y="11024"/>
                    <a:pt x="631" y="10391"/>
                    <a:pt x="631" y="9987"/>
                  </a:cubicBezTo>
                  <a:lnTo>
                    <a:pt x="631" y="8223"/>
                  </a:lnTo>
                  <a:close/>
                  <a:moveTo>
                    <a:pt x="7814" y="4852"/>
                  </a:moveTo>
                  <a:cubicBezTo>
                    <a:pt x="9515" y="4852"/>
                    <a:pt x="10933" y="6238"/>
                    <a:pt x="10933" y="7939"/>
                  </a:cubicBezTo>
                  <a:cubicBezTo>
                    <a:pt x="10964" y="9641"/>
                    <a:pt x="9547" y="11027"/>
                    <a:pt x="7814" y="11027"/>
                  </a:cubicBezTo>
                  <a:cubicBezTo>
                    <a:pt x="6113" y="11027"/>
                    <a:pt x="4726" y="9641"/>
                    <a:pt x="4726" y="7939"/>
                  </a:cubicBezTo>
                  <a:cubicBezTo>
                    <a:pt x="4726" y="6238"/>
                    <a:pt x="6113" y="4852"/>
                    <a:pt x="7814" y="4852"/>
                  </a:cubicBezTo>
                  <a:close/>
                  <a:moveTo>
                    <a:pt x="4411" y="0"/>
                  </a:moveTo>
                  <a:cubicBezTo>
                    <a:pt x="3277" y="0"/>
                    <a:pt x="2206" y="158"/>
                    <a:pt x="1418" y="410"/>
                  </a:cubicBezTo>
                  <a:cubicBezTo>
                    <a:pt x="253" y="819"/>
                    <a:pt x="1" y="1323"/>
                    <a:pt x="1" y="1733"/>
                  </a:cubicBezTo>
                  <a:lnTo>
                    <a:pt x="1" y="9987"/>
                  </a:lnTo>
                  <a:cubicBezTo>
                    <a:pt x="1" y="10334"/>
                    <a:pt x="253" y="10901"/>
                    <a:pt x="1418" y="11279"/>
                  </a:cubicBezTo>
                  <a:cubicBezTo>
                    <a:pt x="2269" y="11562"/>
                    <a:pt x="3309" y="11720"/>
                    <a:pt x="4411" y="11720"/>
                  </a:cubicBezTo>
                  <a:cubicBezTo>
                    <a:pt x="5199" y="11720"/>
                    <a:pt x="5955" y="11657"/>
                    <a:pt x="6617" y="11531"/>
                  </a:cubicBezTo>
                  <a:cubicBezTo>
                    <a:pt x="7026" y="11657"/>
                    <a:pt x="7404" y="11720"/>
                    <a:pt x="7845" y="11720"/>
                  </a:cubicBezTo>
                  <a:cubicBezTo>
                    <a:pt x="9925" y="11720"/>
                    <a:pt x="11658" y="10019"/>
                    <a:pt x="11658" y="7939"/>
                  </a:cubicBezTo>
                  <a:cubicBezTo>
                    <a:pt x="11626" y="6175"/>
                    <a:pt x="10397" y="4757"/>
                    <a:pt x="8822" y="4316"/>
                  </a:cubicBezTo>
                  <a:lnTo>
                    <a:pt x="8822" y="1733"/>
                  </a:lnTo>
                  <a:cubicBezTo>
                    <a:pt x="8822" y="1355"/>
                    <a:pt x="8602" y="819"/>
                    <a:pt x="7404" y="410"/>
                  </a:cubicBezTo>
                  <a:cubicBezTo>
                    <a:pt x="6585" y="158"/>
                    <a:pt x="5514" y="0"/>
                    <a:pt x="441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1" name="Google Shape;8091;p77"/>
            <p:cNvSpPr/>
            <p:nvPr/>
          </p:nvSpPr>
          <p:spPr>
            <a:xfrm>
              <a:off x="-3707100" y="2937425"/>
              <a:ext cx="103200" cy="67775"/>
            </a:xfrm>
            <a:custGeom>
              <a:avLst/>
              <a:gdLst/>
              <a:ahLst/>
              <a:cxnLst/>
              <a:rect l="l" t="t" r="r" b="b"/>
              <a:pathLst>
                <a:path w="4128" h="2711" extrusionOk="0">
                  <a:moveTo>
                    <a:pt x="3785" y="1"/>
                  </a:moveTo>
                  <a:cubicBezTo>
                    <a:pt x="3695" y="1"/>
                    <a:pt x="3608" y="32"/>
                    <a:pt x="3561" y="95"/>
                  </a:cubicBezTo>
                  <a:lnTo>
                    <a:pt x="1733" y="1923"/>
                  </a:lnTo>
                  <a:lnTo>
                    <a:pt x="599" y="757"/>
                  </a:lnTo>
                  <a:cubicBezTo>
                    <a:pt x="536" y="710"/>
                    <a:pt x="450" y="686"/>
                    <a:pt x="363" y="686"/>
                  </a:cubicBezTo>
                  <a:cubicBezTo>
                    <a:pt x="276" y="686"/>
                    <a:pt x="190" y="710"/>
                    <a:pt x="127" y="757"/>
                  </a:cubicBezTo>
                  <a:cubicBezTo>
                    <a:pt x="1" y="883"/>
                    <a:pt x="1" y="1135"/>
                    <a:pt x="127" y="1229"/>
                  </a:cubicBezTo>
                  <a:lnTo>
                    <a:pt x="1513" y="2616"/>
                  </a:lnTo>
                  <a:cubicBezTo>
                    <a:pt x="1560" y="2679"/>
                    <a:pt x="1647" y="2710"/>
                    <a:pt x="1737" y="2710"/>
                  </a:cubicBezTo>
                  <a:cubicBezTo>
                    <a:pt x="1828" y="2710"/>
                    <a:pt x="1922" y="2679"/>
                    <a:pt x="1985" y="2616"/>
                  </a:cubicBezTo>
                  <a:lnTo>
                    <a:pt x="4033" y="568"/>
                  </a:lnTo>
                  <a:cubicBezTo>
                    <a:pt x="4128" y="442"/>
                    <a:pt x="4128" y="221"/>
                    <a:pt x="4033" y="95"/>
                  </a:cubicBezTo>
                  <a:cubicBezTo>
                    <a:pt x="3970" y="32"/>
                    <a:pt x="3876" y="1"/>
                    <a:pt x="378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092" name="Google Shape;8092;p77"/>
          <p:cNvSpPr/>
          <p:nvPr/>
        </p:nvSpPr>
        <p:spPr>
          <a:xfrm>
            <a:off x="10534655" y="2242338"/>
            <a:ext cx="562552" cy="426065"/>
          </a:xfrm>
          <a:custGeom>
            <a:avLst/>
            <a:gdLst/>
            <a:ahLst/>
            <a:cxnLst/>
            <a:rect l="l" t="t" r="r" b="b"/>
            <a:pathLst>
              <a:path w="11689" h="8853" extrusionOk="0">
                <a:moveTo>
                  <a:pt x="1040" y="2709"/>
                </a:moveTo>
                <a:cubicBezTo>
                  <a:pt x="1229" y="2709"/>
                  <a:pt x="1386" y="2867"/>
                  <a:pt x="1386" y="3056"/>
                </a:cubicBezTo>
                <a:lnTo>
                  <a:pt x="1386" y="5828"/>
                </a:lnTo>
                <a:cubicBezTo>
                  <a:pt x="1386" y="6017"/>
                  <a:pt x="1229" y="6175"/>
                  <a:pt x="1040" y="6175"/>
                </a:cubicBezTo>
                <a:cubicBezTo>
                  <a:pt x="819" y="6175"/>
                  <a:pt x="662" y="6017"/>
                  <a:pt x="662" y="5828"/>
                </a:cubicBezTo>
                <a:lnTo>
                  <a:pt x="662" y="3056"/>
                </a:lnTo>
                <a:cubicBezTo>
                  <a:pt x="662" y="2867"/>
                  <a:pt x="819" y="2709"/>
                  <a:pt x="1040" y="2709"/>
                </a:cubicBezTo>
                <a:close/>
                <a:moveTo>
                  <a:pt x="9641" y="1449"/>
                </a:moveTo>
                <a:lnTo>
                  <a:pt x="9641" y="7435"/>
                </a:lnTo>
                <a:lnTo>
                  <a:pt x="2079" y="5545"/>
                </a:lnTo>
                <a:lnTo>
                  <a:pt x="2079" y="3340"/>
                </a:lnTo>
                <a:lnTo>
                  <a:pt x="9641" y="1449"/>
                </a:lnTo>
                <a:close/>
                <a:moveTo>
                  <a:pt x="3466" y="6616"/>
                </a:moveTo>
                <a:lnTo>
                  <a:pt x="6112" y="7278"/>
                </a:lnTo>
                <a:cubicBezTo>
                  <a:pt x="5954" y="7845"/>
                  <a:pt x="5450" y="8223"/>
                  <a:pt x="4820" y="8223"/>
                </a:cubicBezTo>
                <a:cubicBezTo>
                  <a:pt x="4064" y="8223"/>
                  <a:pt x="3434" y="7593"/>
                  <a:pt x="3434" y="6837"/>
                </a:cubicBezTo>
                <a:cubicBezTo>
                  <a:pt x="3434" y="6774"/>
                  <a:pt x="3434" y="6679"/>
                  <a:pt x="3466" y="6616"/>
                </a:cubicBezTo>
                <a:close/>
                <a:moveTo>
                  <a:pt x="10680" y="662"/>
                </a:moveTo>
                <a:cubicBezTo>
                  <a:pt x="10869" y="662"/>
                  <a:pt x="11027" y="819"/>
                  <a:pt x="11027" y="1008"/>
                </a:cubicBezTo>
                <a:lnTo>
                  <a:pt x="11027" y="7876"/>
                </a:lnTo>
                <a:cubicBezTo>
                  <a:pt x="11027" y="8065"/>
                  <a:pt x="10869" y="8223"/>
                  <a:pt x="10680" y="8223"/>
                </a:cubicBezTo>
                <a:cubicBezTo>
                  <a:pt x="10491" y="8223"/>
                  <a:pt x="10334" y="8065"/>
                  <a:pt x="10334" y="7876"/>
                </a:cubicBezTo>
                <a:lnTo>
                  <a:pt x="10334" y="1008"/>
                </a:lnTo>
                <a:cubicBezTo>
                  <a:pt x="10334" y="819"/>
                  <a:pt x="10491" y="662"/>
                  <a:pt x="10680" y="662"/>
                </a:cubicBezTo>
                <a:close/>
                <a:moveTo>
                  <a:pt x="10680" y="0"/>
                </a:moveTo>
                <a:cubicBezTo>
                  <a:pt x="10208" y="0"/>
                  <a:pt x="9798" y="315"/>
                  <a:pt x="9704" y="756"/>
                </a:cubicBezTo>
                <a:lnTo>
                  <a:pt x="1985" y="2678"/>
                </a:lnTo>
                <a:cubicBezTo>
                  <a:pt x="1827" y="2331"/>
                  <a:pt x="1449" y="2048"/>
                  <a:pt x="1040" y="2048"/>
                </a:cubicBezTo>
                <a:cubicBezTo>
                  <a:pt x="473" y="2048"/>
                  <a:pt x="0" y="2520"/>
                  <a:pt x="0" y="3056"/>
                </a:cubicBezTo>
                <a:lnTo>
                  <a:pt x="0" y="5828"/>
                </a:lnTo>
                <a:cubicBezTo>
                  <a:pt x="0" y="6364"/>
                  <a:pt x="473" y="6837"/>
                  <a:pt x="1040" y="6837"/>
                </a:cubicBezTo>
                <a:cubicBezTo>
                  <a:pt x="1449" y="6837"/>
                  <a:pt x="1827" y="6616"/>
                  <a:pt x="1985" y="6206"/>
                </a:cubicBezTo>
                <a:lnTo>
                  <a:pt x="2804" y="6427"/>
                </a:lnTo>
                <a:cubicBezTo>
                  <a:pt x="2772" y="6522"/>
                  <a:pt x="2772" y="6679"/>
                  <a:pt x="2772" y="6805"/>
                </a:cubicBezTo>
                <a:cubicBezTo>
                  <a:pt x="2772" y="7939"/>
                  <a:pt x="3655" y="8853"/>
                  <a:pt x="4820" y="8853"/>
                </a:cubicBezTo>
                <a:cubicBezTo>
                  <a:pt x="5324" y="8853"/>
                  <a:pt x="5828" y="8664"/>
                  <a:pt x="6175" y="8317"/>
                </a:cubicBezTo>
                <a:cubicBezTo>
                  <a:pt x="6459" y="8065"/>
                  <a:pt x="6648" y="7719"/>
                  <a:pt x="6774" y="7341"/>
                </a:cubicBezTo>
                <a:lnTo>
                  <a:pt x="9704" y="8065"/>
                </a:lnTo>
                <a:cubicBezTo>
                  <a:pt x="9798" y="8506"/>
                  <a:pt x="10208" y="8821"/>
                  <a:pt x="10680" y="8821"/>
                </a:cubicBezTo>
                <a:cubicBezTo>
                  <a:pt x="11216" y="8821"/>
                  <a:pt x="11688" y="8349"/>
                  <a:pt x="11688" y="7782"/>
                </a:cubicBezTo>
                <a:lnTo>
                  <a:pt x="11688" y="945"/>
                </a:lnTo>
                <a:cubicBezTo>
                  <a:pt x="11688" y="473"/>
                  <a:pt x="11279" y="0"/>
                  <a:pt x="1068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3" name="Google Shape;8093;p77"/>
          <p:cNvSpPr/>
          <p:nvPr/>
        </p:nvSpPr>
        <p:spPr>
          <a:xfrm>
            <a:off x="10534655" y="2853713"/>
            <a:ext cx="562552" cy="561012"/>
          </a:xfrm>
          <a:custGeom>
            <a:avLst/>
            <a:gdLst/>
            <a:ahLst/>
            <a:cxnLst/>
            <a:rect l="l" t="t" r="r" b="b"/>
            <a:pathLst>
              <a:path w="11689" h="11657" extrusionOk="0">
                <a:moveTo>
                  <a:pt x="5860" y="662"/>
                </a:moveTo>
                <a:cubicBezTo>
                  <a:pt x="6080" y="662"/>
                  <a:pt x="6238" y="851"/>
                  <a:pt x="6238" y="1040"/>
                </a:cubicBezTo>
                <a:lnTo>
                  <a:pt x="6238" y="1386"/>
                </a:lnTo>
                <a:lnTo>
                  <a:pt x="756" y="1386"/>
                </a:lnTo>
                <a:lnTo>
                  <a:pt x="756" y="1040"/>
                </a:lnTo>
                <a:cubicBezTo>
                  <a:pt x="725" y="851"/>
                  <a:pt x="882" y="662"/>
                  <a:pt x="1071" y="662"/>
                </a:cubicBezTo>
                <a:close/>
                <a:moveTo>
                  <a:pt x="6175" y="2048"/>
                </a:moveTo>
                <a:lnTo>
                  <a:pt x="6175" y="3686"/>
                </a:lnTo>
                <a:cubicBezTo>
                  <a:pt x="5639" y="3686"/>
                  <a:pt x="5198" y="4096"/>
                  <a:pt x="5198" y="4663"/>
                </a:cubicBezTo>
                <a:cubicBezTo>
                  <a:pt x="4820" y="4694"/>
                  <a:pt x="4505" y="4883"/>
                  <a:pt x="4348" y="5261"/>
                </a:cubicBezTo>
                <a:lnTo>
                  <a:pt x="3592" y="4505"/>
                </a:lnTo>
                <a:cubicBezTo>
                  <a:pt x="3403" y="4300"/>
                  <a:pt x="3135" y="4198"/>
                  <a:pt x="2867" y="4198"/>
                </a:cubicBezTo>
                <a:cubicBezTo>
                  <a:pt x="2599" y="4198"/>
                  <a:pt x="2331" y="4300"/>
                  <a:pt x="2142" y="4505"/>
                </a:cubicBezTo>
                <a:cubicBezTo>
                  <a:pt x="1733" y="4883"/>
                  <a:pt x="1733" y="5576"/>
                  <a:pt x="2142" y="5954"/>
                </a:cubicBezTo>
                <a:lnTo>
                  <a:pt x="4505" y="8317"/>
                </a:lnTo>
                <a:lnTo>
                  <a:pt x="4316" y="8317"/>
                </a:lnTo>
                <a:cubicBezTo>
                  <a:pt x="3875" y="8317"/>
                  <a:pt x="3466" y="8601"/>
                  <a:pt x="3308" y="9042"/>
                </a:cubicBezTo>
                <a:lnTo>
                  <a:pt x="725" y="9042"/>
                </a:lnTo>
                <a:lnTo>
                  <a:pt x="725" y="8979"/>
                </a:lnTo>
                <a:lnTo>
                  <a:pt x="725" y="2048"/>
                </a:lnTo>
                <a:close/>
                <a:moveTo>
                  <a:pt x="7640" y="3907"/>
                </a:moveTo>
                <a:cubicBezTo>
                  <a:pt x="7727" y="3907"/>
                  <a:pt x="7813" y="3938"/>
                  <a:pt x="7876" y="4001"/>
                </a:cubicBezTo>
                <a:lnTo>
                  <a:pt x="8664" y="4789"/>
                </a:lnTo>
                <a:cubicBezTo>
                  <a:pt x="9325" y="5450"/>
                  <a:pt x="9861" y="6238"/>
                  <a:pt x="10113" y="7026"/>
                </a:cubicBezTo>
                <a:lnTo>
                  <a:pt x="7530" y="9609"/>
                </a:lnTo>
                <a:lnTo>
                  <a:pt x="4222" y="9609"/>
                </a:lnTo>
                <a:cubicBezTo>
                  <a:pt x="4033" y="9609"/>
                  <a:pt x="3875" y="9451"/>
                  <a:pt x="3875" y="9262"/>
                </a:cubicBezTo>
                <a:cubicBezTo>
                  <a:pt x="3875" y="9073"/>
                  <a:pt x="4033" y="8916"/>
                  <a:pt x="4222" y="8916"/>
                </a:cubicBezTo>
                <a:lnTo>
                  <a:pt x="5230" y="8916"/>
                </a:lnTo>
                <a:cubicBezTo>
                  <a:pt x="5387" y="8916"/>
                  <a:pt x="5513" y="8821"/>
                  <a:pt x="5545" y="8695"/>
                </a:cubicBezTo>
                <a:cubicBezTo>
                  <a:pt x="5608" y="8601"/>
                  <a:pt x="5608" y="8443"/>
                  <a:pt x="5482" y="8349"/>
                </a:cubicBezTo>
                <a:lnTo>
                  <a:pt x="2520" y="5387"/>
                </a:lnTo>
                <a:cubicBezTo>
                  <a:pt x="2394" y="5293"/>
                  <a:pt x="2394" y="5041"/>
                  <a:pt x="2520" y="4915"/>
                </a:cubicBezTo>
                <a:cubicBezTo>
                  <a:pt x="2583" y="4868"/>
                  <a:pt x="2670" y="4844"/>
                  <a:pt x="2757" y="4844"/>
                </a:cubicBezTo>
                <a:cubicBezTo>
                  <a:pt x="2843" y="4844"/>
                  <a:pt x="2930" y="4868"/>
                  <a:pt x="2993" y="4915"/>
                </a:cubicBezTo>
                <a:lnTo>
                  <a:pt x="4442" y="6395"/>
                </a:lnTo>
                <a:lnTo>
                  <a:pt x="5450" y="7372"/>
                </a:lnTo>
                <a:cubicBezTo>
                  <a:pt x="5498" y="7435"/>
                  <a:pt x="5584" y="7467"/>
                  <a:pt x="5675" y="7467"/>
                </a:cubicBezTo>
                <a:cubicBezTo>
                  <a:pt x="5765" y="7467"/>
                  <a:pt x="5860" y="7435"/>
                  <a:pt x="5923" y="7372"/>
                </a:cubicBezTo>
                <a:cubicBezTo>
                  <a:pt x="6017" y="7246"/>
                  <a:pt x="6017" y="7026"/>
                  <a:pt x="5923" y="6900"/>
                </a:cubicBezTo>
                <a:lnTo>
                  <a:pt x="4915" y="5923"/>
                </a:lnTo>
                <a:cubicBezTo>
                  <a:pt x="4820" y="5797"/>
                  <a:pt x="4820" y="5545"/>
                  <a:pt x="4915" y="5450"/>
                </a:cubicBezTo>
                <a:cubicBezTo>
                  <a:pt x="4978" y="5387"/>
                  <a:pt x="5072" y="5356"/>
                  <a:pt x="5163" y="5356"/>
                </a:cubicBezTo>
                <a:cubicBezTo>
                  <a:pt x="5253" y="5356"/>
                  <a:pt x="5340" y="5387"/>
                  <a:pt x="5387" y="5450"/>
                </a:cubicBezTo>
                <a:lnTo>
                  <a:pt x="6396" y="6427"/>
                </a:lnTo>
                <a:cubicBezTo>
                  <a:pt x="6443" y="6490"/>
                  <a:pt x="6529" y="6522"/>
                  <a:pt x="6620" y="6522"/>
                </a:cubicBezTo>
                <a:cubicBezTo>
                  <a:pt x="6711" y="6522"/>
                  <a:pt x="6805" y="6490"/>
                  <a:pt x="6868" y="6427"/>
                </a:cubicBezTo>
                <a:cubicBezTo>
                  <a:pt x="6963" y="6301"/>
                  <a:pt x="6963" y="6080"/>
                  <a:pt x="6868" y="5954"/>
                </a:cubicBezTo>
                <a:lnTo>
                  <a:pt x="5860" y="4978"/>
                </a:lnTo>
                <a:cubicBezTo>
                  <a:pt x="5765" y="4852"/>
                  <a:pt x="5765" y="4631"/>
                  <a:pt x="5860" y="4505"/>
                </a:cubicBezTo>
                <a:cubicBezTo>
                  <a:pt x="5923" y="4442"/>
                  <a:pt x="6017" y="4411"/>
                  <a:pt x="6108" y="4411"/>
                </a:cubicBezTo>
                <a:cubicBezTo>
                  <a:pt x="6199" y="4411"/>
                  <a:pt x="6285" y="4442"/>
                  <a:pt x="6333" y="4505"/>
                </a:cubicBezTo>
                <a:lnTo>
                  <a:pt x="7341" y="5482"/>
                </a:lnTo>
                <a:cubicBezTo>
                  <a:pt x="7388" y="5545"/>
                  <a:pt x="7475" y="5576"/>
                  <a:pt x="7565" y="5576"/>
                </a:cubicBezTo>
                <a:cubicBezTo>
                  <a:pt x="7656" y="5576"/>
                  <a:pt x="7750" y="5545"/>
                  <a:pt x="7813" y="5482"/>
                </a:cubicBezTo>
                <a:cubicBezTo>
                  <a:pt x="7908" y="5356"/>
                  <a:pt x="7908" y="5135"/>
                  <a:pt x="7813" y="5009"/>
                </a:cubicBezTo>
                <a:lnTo>
                  <a:pt x="7341" y="4537"/>
                </a:lnTo>
                <a:cubicBezTo>
                  <a:pt x="7278" y="4348"/>
                  <a:pt x="7278" y="4096"/>
                  <a:pt x="7404" y="4001"/>
                </a:cubicBezTo>
                <a:cubicBezTo>
                  <a:pt x="7467" y="3938"/>
                  <a:pt x="7553" y="3907"/>
                  <a:pt x="7640" y="3907"/>
                </a:cubicBezTo>
                <a:close/>
                <a:moveTo>
                  <a:pt x="10554" y="7624"/>
                </a:moveTo>
                <a:lnTo>
                  <a:pt x="10806" y="7845"/>
                </a:lnTo>
                <a:cubicBezTo>
                  <a:pt x="10964" y="8002"/>
                  <a:pt x="10964" y="8191"/>
                  <a:pt x="10806" y="8317"/>
                </a:cubicBezTo>
                <a:lnTo>
                  <a:pt x="8853" y="10239"/>
                </a:lnTo>
                <a:cubicBezTo>
                  <a:pt x="8806" y="10302"/>
                  <a:pt x="8719" y="10334"/>
                  <a:pt x="8628" y="10334"/>
                </a:cubicBezTo>
                <a:cubicBezTo>
                  <a:pt x="8538" y="10334"/>
                  <a:pt x="8443" y="10302"/>
                  <a:pt x="8380" y="10239"/>
                </a:cubicBezTo>
                <a:lnTo>
                  <a:pt x="8160" y="10019"/>
                </a:lnTo>
                <a:lnTo>
                  <a:pt x="10554" y="7624"/>
                </a:lnTo>
                <a:close/>
                <a:moveTo>
                  <a:pt x="3277" y="9672"/>
                </a:moveTo>
                <a:cubicBezTo>
                  <a:pt x="3434" y="10050"/>
                  <a:pt x="3781" y="10334"/>
                  <a:pt x="4222" y="10334"/>
                </a:cubicBezTo>
                <a:lnTo>
                  <a:pt x="6143" y="10334"/>
                </a:lnTo>
                <a:lnTo>
                  <a:pt x="6143" y="10680"/>
                </a:lnTo>
                <a:lnTo>
                  <a:pt x="6175" y="10680"/>
                </a:lnTo>
                <a:cubicBezTo>
                  <a:pt x="6175" y="10869"/>
                  <a:pt x="6017" y="11027"/>
                  <a:pt x="5828" y="11027"/>
                </a:cubicBezTo>
                <a:lnTo>
                  <a:pt x="1040" y="11027"/>
                </a:lnTo>
                <a:cubicBezTo>
                  <a:pt x="819" y="11027"/>
                  <a:pt x="662" y="10869"/>
                  <a:pt x="662" y="10680"/>
                </a:cubicBezTo>
                <a:lnTo>
                  <a:pt x="662" y="9672"/>
                </a:lnTo>
                <a:close/>
                <a:moveTo>
                  <a:pt x="1040" y="0"/>
                </a:moveTo>
                <a:cubicBezTo>
                  <a:pt x="473" y="0"/>
                  <a:pt x="0" y="473"/>
                  <a:pt x="0" y="1040"/>
                </a:cubicBezTo>
                <a:lnTo>
                  <a:pt x="0" y="10649"/>
                </a:lnTo>
                <a:cubicBezTo>
                  <a:pt x="0" y="11184"/>
                  <a:pt x="473" y="11657"/>
                  <a:pt x="1040" y="11657"/>
                </a:cubicBezTo>
                <a:lnTo>
                  <a:pt x="5828" y="11657"/>
                </a:lnTo>
                <a:cubicBezTo>
                  <a:pt x="6396" y="11657"/>
                  <a:pt x="6868" y="11184"/>
                  <a:pt x="6868" y="10649"/>
                </a:cubicBezTo>
                <a:lnTo>
                  <a:pt x="6868" y="10334"/>
                </a:lnTo>
                <a:lnTo>
                  <a:pt x="7467" y="10334"/>
                </a:lnTo>
                <a:lnTo>
                  <a:pt x="7876" y="10775"/>
                </a:lnTo>
                <a:cubicBezTo>
                  <a:pt x="8081" y="10964"/>
                  <a:pt x="8349" y="11058"/>
                  <a:pt x="8613" y="11058"/>
                </a:cubicBezTo>
                <a:cubicBezTo>
                  <a:pt x="8877" y="11058"/>
                  <a:pt x="9136" y="10964"/>
                  <a:pt x="9325" y="10775"/>
                </a:cubicBezTo>
                <a:lnTo>
                  <a:pt x="11279" y="8821"/>
                </a:lnTo>
                <a:cubicBezTo>
                  <a:pt x="11688" y="8443"/>
                  <a:pt x="11688" y="7782"/>
                  <a:pt x="11310" y="7372"/>
                </a:cubicBezTo>
                <a:lnTo>
                  <a:pt x="10869" y="6931"/>
                </a:lnTo>
                <a:cubicBezTo>
                  <a:pt x="10554" y="6080"/>
                  <a:pt x="10082" y="5261"/>
                  <a:pt x="9420" y="4505"/>
                </a:cubicBezTo>
                <a:lnTo>
                  <a:pt x="8380" y="3466"/>
                </a:lnTo>
                <a:cubicBezTo>
                  <a:pt x="8191" y="3277"/>
                  <a:pt x="7931" y="3182"/>
                  <a:pt x="7668" y="3182"/>
                </a:cubicBezTo>
                <a:cubicBezTo>
                  <a:pt x="7404" y="3182"/>
                  <a:pt x="7136" y="3277"/>
                  <a:pt x="6931" y="3466"/>
                </a:cubicBezTo>
                <a:lnTo>
                  <a:pt x="6868" y="3560"/>
                </a:lnTo>
                <a:lnTo>
                  <a:pt x="6868" y="1040"/>
                </a:lnTo>
                <a:cubicBezTo>
                  <a:pt x="6868" y="473"/>
                  <a:pt x="6396" y="0"/>
                  <a:pt x="58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094" name="Google Shape;8094;p77"/>
          <p:cNvGrpSpPr/>
          <p:nvPr/>
        </p:nvGrpSpPr>
        <p:grpSpPr>
          <a:xfrm>
            <a:off x="10535400" y="3547197"/>
            <a:ext cx="561061" cy="562552"/>
            <a:chOff x="-2060175" y="2768875"/>
            <a:chExt cx="291450" cy="292225"/>
          </a:xfrm>
        </p:grpSpPr>
        <p:sp>
          <p:nvSpPr>
            <p:cNvPr id="8095" name="Google Shape;8095;p77"/>
            <p:cNvSpPr/>
            <p:nvPr/>
          </p:nvSpPr>
          <p:spPr>
            <a:xfrm>
              <a:off x="-2060175" y="2768875"/>
              <a:ext cx="291450" cy="292225"/>
            </a:xfrm>
            <a:custGeom>
              <a:avLst/>
              <a:gdLst/>
              <a:ahLst/>
              <a:cxnLst/>
              <a:rect l="l" t="t" r="r" b="b"/>
              <a:pathLst>
                <a:path w="11658" h="11689" extrusionOk="0">
                  <a:moveTo>
                    <a:pt x="10649" y="662"/>
                  </a:moveTo>
                  <a:cubicBezTo>
                    <a:pt x="10838" y="662"/>
                    <a:pt x="10996" y="820"/>
                    <a:pt x="10996" y="1009"/>
                  </a:cubicBezTo>
                  <a:cubicBezTo>
                    <a:pt x="10996" y="1198"/>
                    <a:pt x="10838" y="1355"/>
                    <a:pt x="10649" y="1355"/>
                  </a:cubicBezTo>
                  <a:lnTo>
                    <a:pt x="1040" y="1355"/>
                  </a:lnTo>
                  <a:cubicBezTo>
                    <a:pt x="851" y="1355"/>
                    <a:pt x="694" y="1198"/>
                    <a:pt x="694" y="1009"/>
                  </a:cubicBezTo>
                  <a:cubicBezTo>
                    <a:pt x="694" y="820"/>
                    <a:pt x="851" y="662"/>
                    <a:pt x="1040" y="662"/>
                  </a:cubicBezTo>
                  <a:close/>
                  <a:moveTo>
                    <a:pt x="10303" y="2049"/>
                  </a:moveTo>
                  <a:lnTo>
                    <a:pt x="10303" y="7908"/>
                  </a:lnTo>
                  <a:cubicBezTo>
                    <a:pt x="10334" y="8097"/>
                    <a:pt x="10177" y="8255"/>
                    <a:pt x="9988" y="8255"/>
                  </a:cubicBezTo>
                  <a:lnTo>
                    <a:pt x="1702" y="8255"/>
                  </a:lnTo>
                  <a:cubicBezTo>
                    <a:pt x="1513" y="8255"/>
                    <a:pt x="1355" y="8097"/>
                    <a:pt x="1355" y="7908"/>
                  </a:cubicBezTo>
                  <a:lnTo>
                    <a:pt x="1355" y="2049"/>
                  </a:lnTo>
                  <a:close/>
                  <a:moveTo>
                    <a:pt x="5797" y="10271"/>
                  </a:moveTo>
                  <a:cubicBezTo>
                    <a:pt x="5986" y="10271"/>
                    <a:pt x="6144" y="10429"/>
                    <a:pt x="6144" y="10618"/>
                  </a:cubicBezTo>
                  <a:cubicBezTo>
                    <a:pt x="6144" y="10807"/>
                    <a:pt x="5986" y="10964"/>
                    <a:pt x="5797" y="10964"/>
                  </a:cubicBezTo>
                  <a:cubicBezTo>
                    <a:pt x="5608" y="10964"/>
                    <a:pt x="5451" y="10807"/>
                    <a:pt x="5451" y="10618"/>
                  </a:cubicBezTo>
                  <a:cubicBezTo>
                    <a:pt x="5451" y="10429"/>
                    <a:pt x="5608" y="10271"/>
                    <a:pt x="5797" y="10271"/>
                  </a:cubicBezTo>
                  <a:close/>
                  <a:moveTo>
                    <a:pt x="1040" y="1"/>
                  </a:moveTo>
                  <a:cubicBezTo>
                    <a:pt x="473" y="1"/>
                    <a:pt x="1" y="473"/>
                    <a:pt x="1" y="1009"/>
                  </a:cubicBezTo>
                  <a:cubicBezTo>
                    <a:pt x="1" y="1450"/>
                    <a:pt x="284" y="1828"/>
                    <a:pt x="694" y="1986"/>
                  </a:cubicBezTo>
                  <a:lnTo>
                    <a:pt x="694" y="7908"/>
                  </a:lnTo>
                  <a:cubicBezTo>
                    <a:pt x="694" y="8444"/>
                    <a:pt x="1166" y="8917"/>
                    <a:pt x="1702" y="8917"/>
                  </a:cubicBezTo>
                  <a:lnTo>
                    <a:pt x="5482" y="8917"/>
                  </a:lnTo>
                  <a:lnTo>
                    <a:pt x="5482" y="9673"/>
                  </a:lnTo>
                  <a:cubicBezTo>
                    <a:pt x="5104" y="9830"/>
                    <a:pt x="4821" y="10177"/>
                    <a:pt x="4821" y="10649"/>
                  </a:cubicBezTo>
                  <a:cubicBezTo>
                    <a:pt x="4821" y="11216"/>
                    <a:pt x="5293" y="11689"/>
                    <a:pt x="5829" y="11689"/>
                  </a:cubicBezTo>
                  <a:cubicBezTo>
                    <a:pt x="6396" y="11689"/>
                    <a:pt x="6869" y="11216"/>
                    <a:pt x="6869" y="10649"/>
                  </a:cubicBezTo>
                  <a:cubicBezTo>
                    <a:pt x="6869" y="10240"/>
                    <a:pt x="6585" y="9830"/>
                    <a:pt x="6207" y="9673"/>
                  </a:cubicBezTo>
                  <a:lnTo>
                    <a:pt x="6207" y="8917"/>
                  </a:lnTo>
                  <a:lnTo>
                    <a:pt x="10019" y="8917"/>
                  </a:lnTo>
                  <a:cubicBezTo>
                    <a:pt x="10555" y="8917"/>
                    <a:pt x="11027" y="8444"/>
                    <a:pt x="11027" y="7908"/>
                  </a:cubicBezTo>
                  <a:lnTo>
                    <a:pt x="11027" y="1986"/>
                  </a:lnTo>
                  <a:cubicBezTo>
                    <a:pt x="11405" y="1828"/>
                    <a:pt x="11657" y="1450"/>
                    <a:pt x="11657" y="1009"/>
                  </a:cubicBezTo>
                  <a:cubicBezTo>
                    <a:pt x="11657" y="473"/>
                    <a:pt x="11185" y="1"/>
                    <a:pt x="1064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6" name="Google Shape;8096;p77"/>
            <p:cNvSpPr/>
            <p:nvPr/>
          </p:nvSpPr>
          <p:spPr>
            <a:xfrm>
              <a:off x="-2008975" y="2855525"/>
              <a:ext cx="189050" cy="84500"/>
            </a:xfrm>
            <a:custGeom>
              <a:avLst/>
              <a:gdLst/>
              <a:ahLst/>
              <a:cxnLst/>
              <a:rect l="l" t="t" r="r" b="b"/>
              <a:pathLst>
                <a:path w="7562" h="3380" extrusionOk="0">
                  <a:moveTo>
                    <a:pt x="6553" y="0"/>
                  </a:moveTo>
                  <a:cubicBezTo>
                    <a:pt x="6144" y="0"/>
                    <a:pt x="6081" y="504"/>
                    <a:pt x="6427" y="662"/>
                  </a:cubicBezTo>
                  <a:lnTo>
                    <a:pt x="4474" y="2584"/>
                  </a:lnTo>
                  <a:lnTo>
                    <a:pt x="2647" y="788"/>
                  </a:lnTo>
                  <a:cubicBezTo>
                    <a:pt x="2584" y="725"/>
                    <a:pt x="2497" y="693"/>
                    <a:pt x="2410" y="693"/>
                  </a:cubicBezTo>
                  <a:cubicBezTo>
                    <a:pt x="2324" y="693"/>
                    <a:pt x="2237" y="725"/>
                    <a:pt x="2174" y="788"/>
                  </a:cubicBezTo>
                  <a:lnTo>
                    <a:pt x="126" y="2836"/>
                  </a:lnTo>
                  <a:cubicBezTo>
                    <a:pt x="0" y="2930"/>
                    <a:pt x="0" y="3182"/>
                    <a:pt x="126" y="3308"/>
                  </a:cubicBezTo>
                  <a:cubicBezTo>
                    <a:pt x="189" y="3356"/>
                    <a:pt x="276" y="3379"/>
                    <a:pt x="363" y="3379"/>
                  </a:cubicBezTo>
                  <a:cubicBezTo>
                    <a:pt x="449" y="3379"/>
                    <a:pt x="536" y="3356"/>
                    <a:pt x="599" y="3308"/>
                  </a:cubicBezTo>
                  <a:lnTo>
                    <a:pt x="2426" y="1481"/>
                  </a:lnTo>
                  <a:lnTo>
                    <a:pt x="4222" y="3308"/>
                  </a:lnTo>
                  <a:cubicBezTo>
                    <a:pt x="4285" y="3356"/>
                    <a:pt x="4372" y="3379"/>
                    <a:pt x="4458" y="3379"/>
                  </a:cubicBezTo>
                  <a:cubicBezTo>
                    <a:pt x="4545" y="3379"/>
                    <a:pt x="4632" y="3356"/>
                    <a:pt x="4695" y="3308"/>
                  </a:cubicBezTo>
                  <a:lnTo>
                    <a:pt x="6900" y="1134"/>
                  </a:lnTo>
                  <a:cubicBezTo>
                    <a:pt x="6931" y="1260"/>
                    <a:pt x="7057" y="1355"/>
                    <a:pt x="7215" y="1355"/>
                  </a:cubicBezTo>
                  <a:cubicBezTo>
                    <a:pt x="7404" y="1355"/>
                    <a:pt x="7562" y="1197"/>
                    <a:pt x="7562" y="1008"/>
                  </a:cubicBezTo>
                  <a:lnTo>
                    <a:pt x="7562" y="347"/>
                  </a:lnTo>
                  <a:cubicBezTo>
                    <a:pt x="7562" y="158"/>
                    <a:pt x="7467" y="0"/>
                    <a:pt x="724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097" name="Google Shape;8097;p77"/>
          <p:cNvGrpSpPr/>
          <p:nvPr/>
        </p:nvGrpSpPr>
        <p:grpSpPr>
          <a:xfrm>
            <a:off x="2553547" y="4309428"/>
            <a:ext cx="562552" cy="561061"/>
            <a:chOff x="-937025" y="2064750"/>
            <a:chExt cx="292225" cy="291450"/>
          </a:xfrm>
        </p:grpSpPr>
        <p:sp>
          <p:nvSpPr>
            <p:cNvPr id="8098" name="Google Shape;8098;p77"/>
            <p:cNvSpPr/>
            <p:nvPr/>
          </p:nvSpPr>
          <p:spPr>
            <a:xfrm>
              <a:off x="-834625" y="2134850"/>
              <a:ext cx="86650" cy="85075"/>
            </a:xfrm>
            <a:custGeom>
              <a:avLst/>
              <a:gdLst/>
              <a:ahLst/>
              <a:cxnLst/>
              <a:rect l="l" t="t" r="r" b="b"/>
              <a:pathLst>
                <a:path w="3466" h="3403" extrusionOk="0">
                  <a:moveTo>
                    <a:pt x="1702" y="599"/>
                  </a:moveTo>
                  <a:cubicBezTo>
                    <a:pt x="1922" y="599"/>
                    <a:pt x="2080" y="788"/>
                    <a:pt x="2080" y="977"/>
                  </a:cubicBezTo>
                  <a:cubicBezTo>
                    <a:pt x="2080" y="1166"/>
                    <a:pt x="1922" y="1324"/>
                    <a:pt x="1702" y="1324"/>
                  </a:cubicBezTo>
                  <a:cubicBezTo>
                    <a:pt x="1512" y="1324"/>
                    <a:pt x="1355" y="1166"/>
                    <a:pt x="1355" y="977"/>
                  </a:cubicBezTo>
                  <a:cubicBezTo>
                    <a:pt x="1355" y="788"/>
                    <a:pt x="1512" y="599"/>
                    <a:pt x="1702" y="599"/>
                  </a:cubicBezTo>
                  <a:close/>
                  <a:moveTo>
                    <a:pt x="1765" y="2048"/>
                  </a:moveTo>
                  <a:cubicBezTo>
                    <a:pt x="2174" y="2048"/>
                    <a:pt x="2584" y="2300"/>
                    <a:pt x="2741" y="2710"/>
                  </a:cubicBezTo>
                  <a:lnTo>
                    <a:pt x="756" y="2710"/>
                  </a:lnTo>
                  <a:cubicBezTo>
                    <a:pt x="914" y="2300"/>
                    <a:pt x="1292" y="2048"/>
                    <a:pt x="1765" y="2048"/>
                  </a:cubicBezTo>
                  <a:close/>
                  <a:moveTo>
                    <a:pt x="1702" y="0"/>
                  </a:moveTo>
                  <a:cubicBezTo>
                    <a:pt x="1166" y="0"/>
                    <a:pt x="693" y="441"/>
                    <a:pt x="693" y="1009"/>
                  </a:cubicBezTo>
                  <a:cubicBezTo>
                    <a:pt x="693" y="1198"/>
                    <a:pt x="788" y="1387"/>
                    <a:pt x="851" y="1576"/>
                  </a:cubicBezTo>
                  <a:cubicBezTo>
                    <a:pt x="347" y="1891"/>
                    <a:pt x="0" y="2426"/>
                    <a:pt x="0" y="3056"/>
                  </a:cubicBezTo>
                  <a:cubicBezTo>
                    <a:pt x="0" y="3245"/>
                    <a:pt x="158" y="3403"/>
                    <a:pt x="347" y="3403"/>
                  </a:cubicBezTo>
                  <a:lnTo>
                    <a:pt x="3088" y="3403"/>
                  </a:lnTo>
                  <a:cubicBezTo>
                    <a:pt x="3308" y="3403"/>
                    <a:pt x="3466" y="3245"/>
                    <a:pt x="3466" y="3056"/>
                  </a:cubicBezTo>
                  <a:cubicBezTo>
                    <a:pt x="3434" y="2426"/>
                    <a:pt x="3088" y="1828"/>
                    <a:pt x="2584" y="1576"/>
                  </a:cubicBezTo>
                  <a:cubicBezTo>
                    <a:pt x="2710" y="1387"/>
                    <a:pt x="2741" y="1198"/>
                    <a:pt x="2741" y="1009"/>
                  </a:cubicBezTo>
                  <a:cubicBezTo>
                    <a:pt x="2741" y="441"/>
                    <a:pt x="2269" y="0"/>
                    <a:pt x="170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099" name="Google Shape;8099;p77"/>
            <p:cNvSpPr/>
            <p:nvPr/>
          </p:nvSpPr>
          <p:spPr>
            <a:xfrm>
              <a:off x="-936225" y="2304975"/>
              <a:ext cx="289850" cy="51225"/>
            </a:xfrm>
            <a:custGeom>
              <a:avLst/>
              <a:gdLst/>
              <a:ahLst/>
              <a:cxnLst/>
              <a:rect l="l" t="t" r="r" b="b"/>
              <a:pathLst>
                <a:path w="11594" h="2049" extrusionOk="0">
                  <a:moveTo>
                    <a:pt x="3056" y="662"/>
                  </a:moveTo>
                  <a:cubicBezTo>
                    <a:pt x="3277" y="662"/>
                    <a:pt x="3434" y="820"/>
                    <a:pt x="3434" y="1009"/>
                  </a:cubicBezTo>
                  <a:cubicBezTo>
                    <a:pt x="3434" y="1229"/>
                    <a:pt x="3277" y="1387"/>
                    <a:pt x="3056" y="1387"/>
                  </a:cubicBezTo>
                  <a:lnTo>
                    <a:pt x="1008" y="1387"/>
                  </a:lnTo>
                  <a:cubicBezTo>
                    <a:pt x="819" y="1387"/>
                    <a:pt x="662" y="1229"/>
                    <a:pt x="662" y="1009"/>
                  </a:cubicBezTo>
                  <a:cubicBezTo>
                    <a:pt x="662" y="820"/>
                    <a:pt x="819" y="662"/>
                    <a:pt x="1008" y="662"/>
                  </a:cubicBezTo>
                  <a:close/>
                  <a:moveTo>
                    <a:pt x="10586" y="693"/>
                  </a:moveTo>
                  <a:cubicBezTo>
                    <a:pt x="10775" y="693"/>
                    <a:pt x="10932" y="851"/>
                    <a:pt x="10932" y="1072"/>
                  </a:cubicBezTo>
                  <a:cubicBezTo>
                    <a:pt x="10901" y="1229"/>
                    <a:pt x="10775" y="1387"/>
                    <a:pt x="10586" y="1387"/>
                  </a:cubicBezTo>
                  <a:lnTo>
                    <a:pt x="4001" y="1387"/>
                  </a:lnTo>
                  <a:cubicBezTo>
                    <a:pt x="4096" y="1166"/>
                    <a:pt x="4096" y="914"/>
                    <a:pt x="4001" y="693"/>
                  </a:cubicBezTo>
                  <a:close/>
                  <a:moveTo>
                    <a:pt x="1008" y="0"/>
                  </a:moveTo>
                  <a:cubicBezTo>
                    <a:pt x="473" y="0"/>
                    <a:pt x="0" y="473"/>
                    <a:pt x="0" y="1009"/>
                  </a:cubicBezTo>
                  <a:cubicBezTo>
                    <a:pt x="0" y="1576"/>
                    <a:pt x="473" y="2048"/>
                    <a:pt x="1008" y="2048"/>
                  </a:cubicBezTo>
                  <a:lnTo>
                    <a:pt x="10586" y="2048"/>
                  </a:lnTo>
                  <a:cubicBezTo>
                    <a:pt x="11121" y="2048"/>
                    <a:pt x="11594" y="1576"/>
                    <a:pt x="11594" y="1009"/>
                  </a:cubicBezTo>
                  <a:cubicBezTo>
                    <a:pt x="11594" y="473"/>
                    <a:pt x="11121" y="0"/>
                    <a:pt x="10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0" name="Google Shape;8100;p77"/>
            <p:cNvSpPr/>
            <p:nvPr/>
          </p:nvSpPr>
          <p:spPr>
            <a:xfrm>
              <a:off x="-937025" y="2064750"/>
              <a:ext cx="292225" cy="223125"/>
            </a:xfrm>
            <a:custGeom>
              <a:avLst/>
              <a:gdLst/>
              <a:ahLst/>
              <a:cxnLst/>
              <a:rect l="l" t="t" r="r" b="b"/>
              <a:pathLst>
                <a:path w="11689" h="8925" extrusionOk="0">
                  <a:moveTo>
                    <a:pt x="3813" y="662"/>
                  </a:moveTo>
                  <a:cubicBezTo>
                    <a:pt x="4002" y="662"/>
                    <a:pt x="4159" y="820"/>
                    <a:pt x="4159" y="1009"/>
                  </a:cubicBezTo>
                  <a:lnTo>
                    <a:pt x="4159" y="1355"/>
                  </a:lnTo>
                  <a:lnTo>
                    <a:pt x="3813" y="1355"/>
                  </a:lnTo>
                  <a:cubicBezTo>
                    <a:pt x="3246" y="1355"/>
                    <a:pt x="2773" y="1828"/>
                    <a:pt x="2773" y="2395"/>
                  </a:cubicBezTo>
                  <a:lnTo>
                    <a:pt x="2773" y="4978"/>
                  </a:lnTo>
                  <a:lnTo>
                    <a:pt x="2080" y="5703"/>
                  </a:lnTo>
                  <a:lnTo>
                    <a:pt x="2080" y="5199"/>
                  </a:lnTo>
                  <a:cubicBezTo>
                    <a:pt x="2080" y="4978"/>
                    <a:pt x="1922" y="4821"/>
                    <a:pt x="1702" y="4821"/>
                  </a:cubicBezTo>
                  <a:lnTo>
                    <a:pt x="1040" y="4821"/>
                  </a:lnTo>
                  <a:cubicBezTo>
                    <a:pt x="851" y="4821"/>
                    <a:pt x="694" y="4663"/>
                    <a:pt x="694" y="4474"/>
                  </a:cubicBezTo>
                  <a:lnTo>
                    <a:pt x="694" y="1009"/>
                  </a:lnTo>
                  <a:cubicBezTo>
                    <a:pt x="694" y="820"/>
                    <a:pt x="851" y="662"/>
                    <a:pt x="1040" y="662"/>
                  </a:cubicBezTo>
                  <a:close/>
                  <a:moveTo>
                    <a:pt x="10649" y="662"/>
                  </a:moveTo>
                  <a:cubicBezTo>
                    <a:pt x="10838" y="662"/>
                    <a:pt x="10996" y="820"/>
                    <a:pt x="10996" y="1009"/>
                  </a:cubicBezTo>
                  <a:lnTo>
                    <a:pt x="10996" y="4474"/>
                  </a:lnTo>
                  <a:cubicBezTo>
                    <a:pt x="10996" y="4695"/>
                    <a:pt x="10838" y="4852"/>
                    <a:pt x="10649" y="4852"/>
                  </a:cubicBezTo>
                  <a:lnTo>
                    <a:pt x="9893" y="4852"/>
                  </a:lnTo>
                  <a:cubicBezTo>
                    <a:pt x="9704" y="4852"/>
                    <a:pt x="9547" y="5010"/>
                    <a:pt x="9547" y="5199"/>
                  </a:cubicBezTo>
                  <a:lnTo>
                    <a:pt x="9547" y="5703"/>
                  </a:lnTo>
                  <a:lnTo>
                    <a:pt x="8885" y="5010"/>
                  </a:lnTo>
                  <a:lnTo>
                    <a:pt x="8885" y="2395"/>
                  </a:lnTo>
                  <a:cubicBezTo>
                    <a:pt x="8885" y="1859"/>
                    <a:pt x="8412" y="1387"/>
                    <a:pt x="7845" y="1387"/>
                  </a:cubicBezTo>
                  <a:lnTo>
                    <a:pt x="7499" y="1387"/>
                  </a:lnTo>
                  <a:lnTo>
                    <a:pt x="7499" y="1009"/>
                  </a:lnTo>
                  <a:cubicBezTo>
                    <a:pt x="7499" y="820"/>
                    <a:pt x="7656" y="662"/>
                    <a:pt x="7845" y="662"/>
                  </a:cubicBezTo>
                  <a:close/>
                  <a:moveTo>
                    <a:pt x="7845" y="2048"/>
                  </a:moveTo>
                  <a:cubicBezTo>
                    <a:pt x="8066" y="2048"/>
                    <a:pt x="8223" y="2206"/>
                    <a:pt x="8223" y="2395"/>
                  </a:cubicBezTo>
                  <a:lnTo>
                    <a:pt x="8223" y="6522"/>
                  </a:lnTo>
                  <a:cubicBezTo>
                    <a:pt x="8223" y="6742"/>
                    <a:pt x="8066" y="6900"/>
                    <a:pt x="7845" y="6900"/>
                  </a:cubicBezTo>
                  <a:lnTo>
                    <a:pt x="6711" y="6900"/>
                  </a:lnTo>
                  <a:cubicBezTo>
                    <a:pt x="6585" y="6900"/>
                    <a:pt x="6491" y="6931"/>
                    <a:pt x="6428" y="7057"/>
                  </a:cubicBezTo>
                  <a:lnTo>
                    <a:pt x="5798" y="8003"/>
                  </a:lnTo>
                  <a:lnTo>
                    <a:pt x="5167" y="7057"/>
                  </a:lnTo>
                  <a:cubicBezTo>
                    <a:pt x="5104" y="6963"/>
                    <a:pt x="5010" y="6900"/>
                    <a:pt x="4915" y="6900"/>
                  </a:cubicBezTo>
                  <a:lnTo>
                    <a:pt x="3750" y="6900"/>
                  </a:lnTo>
                  <a:cubicBezTo>
                    <a:pt x="3561" y="6900"/>
                    <a:pt x="3403" y="6742"/>
                    <a:pt x="3403" y="6522"/>
                  </a:cubicBezTo>
                  <a:lnTo>
                    <a:pt x="3403" y="2395"/>
                  </a:lnTo>
                  <a:cubicBezTo>
                    <a:pt x="3403" y="2206"/>
                    <a:pt x="3561" y="2048"/>
                    <a:pt x="3750" y="2048"/>
                  </a:cubicBezTo>
                  <a:close/>
                  <a:moveTo>
                    <a:pt x="1009" y="0"/>
                  </a:moveTo>
                  <a:cubicBezTo>
                    <a:pt x="473" y="0"/>
                    <a:pt x="1" y="473"/>
                    <a:pt x="1" y="1009"/>
                  </a:cubicBezTo>
                  <a:lnTo>
                    <a:pt x="1" y="4474"/>
                  </a:lnTo>
                  <a:cubicBezTo>
                    <a:pt x="1" y="5041"/>
                    <a:pt x="473" y="5514"/>
                    <a:pt x="1009" y="5514"/>
                  </a:cubicBezTo>
                  <a:lnTo>
                    <a:pt x="1355" y="5514"/>
                  </a:lnTo>
                  <a:lnTo>
                    <a:pt x="1355" y="6522"/>
                  </a:lnTo>
                  <a:cubicBezTo>
                    <a:pt x="1355" y="6736"/>
                    <a:pt x="1544" y="6877"/>
                    <a:pt x="1724" y="6877"/>
                  </a:cubicBezTo>
                  <a:cubicBezTo>
                    <a:pt x="1809" y="6877"/>
                    <a:pt x="1893" y="6845"/>
                    <a:pt x="1954" y="6774"/>
                  </a:cubicBezTo>
                  <a:lnTo>
                    <a:pt x="2742" y="5986"/>
                  </a:lnTo>
                  <a:lnTo>
                    <a:pt x="2742" y="6522"/>
                  </a:lnTo>
                  <a:cubicBezTo>
                    <a:pt x="2742" y="7089"/>
                    <a:pt x="3214" y="7562"/>
                    <a:pt x="3781" y="7562"/>
                  </a:cubicBezTo>
                  <a:lnTo>
                    <a:pt x="4726" y="7562"/>
                  </a:lnTo>
                  <a:lnTo>
                    <a:pt x="5545" y="8759"/>
                  </a:lnTo>
                  <a:cubicBezTo>
                    <a:pt x="5608" y="8869"/>
                    <a:pt x="5719" y="8924"/>
                    <a:pt x="5825" y="8924"/>
                  </a:cubicBezTo>
                  <a:cubicBezTo>
                    <a:pt x="5931" y="8924"/>
                    <a:pt x="6034" y="8869"/>
                    <a:pt x="6081" y="8759"/>
                  </a:cubicBezTo>
                  <a:lnTo>
                    <a:pt x="6932" y="7562"/>
                  </a:lnTo>
                  <a:lnTo>
                    <a:pt x="7877" y="7562"/>
                  </a:lnTo>
                  <a:cubicBezTo>
                    <a:pt x="8412" y="7562"/>
                    <a:pt x="8885" y="7089"/>
                    <a:pt x="8885" y="6522"/>
                  </a:cubicBezTo>
                  <a:lnTo>
                    <a:pt x="8885" y="5986"/>
                  </a:lnTo>
                  <a:lnTo>
                    <a:pt x="9673" y="6774"/>
                  </a:lnTo>
                  <a:cubicBezTo>
                    <a:pt x="9733" y="6845"/>
                    <a:pt x="9817" y="6877"/>
                    <a:pt x="9903" y="6877"/>
                  </a:cubicBezTo>
                  <a:cubicBezTo>
                    <a:pt x="10083" y="6877"/>
                    <a:pt x="10271" y="6736"/>
                    <a:pt x="10271" y="6522"/>
                  </a:cubicBezTo>
                  <a:lnTo>
                    <a:pt x="10271" y="5514"/>
                  </a:lnTo>
                  <a:lnTo>
                    <a:pt x="10649" y="5514"/>
                  </a:lnTo>
                  <a:cubicBezTo>
                    <a:pt x="11216" y="5514"/>
                    <a:pt x="11689" y="5041"/>
                    <a:pt x="11689" y="4474"/>
                  </a:cubicBezTo>
                  <a:lnTo>
                    <a:pt x="11689" y="1009"/>
                  </a:lnTo>
                  <a:cubicBezTo>
                    <a:pt x="11689" y="441"/>
                    <a:pt x="11216" y="0"/>
                    <a:pt x="10649" y="0"/>
                  </a:cubicBezTo>
                  <a:lnTo>
                    <a:pt x="7845" y="0"/>
                  </a:lnTo>
                  <a:cubicBezTo>
                    <a:pt x="7310" y="0"/>
                    <a:pt x="6837" y="473"/>
                    <a:pt x="6837" y="1009"/>
                  </a:cubicBezTo>
                  <a:lnTo>
                    <a:pt x="6837" y="1387"/>
                  </a:lnTo>
                  <a:lnTo>
                    <a:pt x="4789" y="1387"/>
                  </a:lnTo>
                  <a:lnTo>
                    <a:pt x="4789" y="1009"/>
                  </a:lnTo>
                  <a:cubicBezTo>
                    <a:pt x="4789" y="473"/>
                    <a:pt x="4317" y="0"/>
                    <a:pt x="378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01" name="Google Shape;8101;p77"/>
          <p:cNvGrpSpPr/>
          <p:nvPr/>
        </p:nvGrpSpPr>
        <p:grpSpPr>
          <a:xfrm>
            <a:off x="4024432" y="2174263"/>
            <a:ext cx="562601" cy="562552"/>
            <a:chOff x="-5276050" y="2037975"/>
            <a:chExt cx="292250" cy="292225"/>
          </a:xfrm>
        </p:grpSpPr>
        <p:sp>
          <p:nvSpPr>
            <p:cNvPr id="8102" name="Google Shape;8102;p77"/>
            <p:cNvSpPr/>
            <p:nvPr/>
          </p:nvSpPr>
          <p:spPr>
            <a:xfrm>
              <a:off x="-5102775" y="2211250"/>
              <a:ext cx="51225" cy="49650"/>
            </a:xfrm>
            <a:custGeom>
              <a:avLst/>
              <a:gdLst/>
              <a:ahLst/>
              <a:cxnLst/>
              <a:rect l="l" t="t" r="r" b="b"/>
              <a:pathLst>
                <a:path w="2049" h="1986" extrusionOk="0">
                  <a:moveTo>
                    <a:pt x="343" y="0"/>
                  </a:moveTo>
                  <a:cubicBezTo>
                    <a:pt x="253" y="0"/>
                    <a:pt x="158" y="32"/>
                    <a:pt x="95" y="95"/>
                  </a:cubicBezTo>
                  <a:cubicBezTo>
                    <a:pt x="1" y="189"/>
                    <a:pt x="1" y="441"/>
                    <a:pt x="95" y="536"/>
                  </a:cubicBezTo>
                  <a:lnTo>
                    <a:pt x="536" y="977"/>
                  </a:lnTo>
                  <a:lnTo>
                    <a:pt x="95" y="1418"/>
                  </a:lnTo>
                  <a:cubicBezTo>
                    <a:pt x="1" y="1544"/>
                    <a:pt x="1" y="1765"/>
                    <a:pt x="95" y="1891"/>
                  </a:cubicBezTo>
                  <a:cubicBezTo>
                    <a:pt x="158" y="1954"/>
                    <a:pt x="253" y="1985"/>
                    <a:pt x="343" y="1985"/>
                  </a:cubicBezTo>
                  <a:cubicBezTo>
                    <a:pt x="434" y="1985"/>
                    <a:pt x="521" y="1954"/>
                    <a:pt x="568" y="1891"/>
                  </a:cubicBezTo>
                  <a:lnTo>
                    <a:pt x="1009" y="1450"/>
                  </a:lnTo>
                  <a:lnTo>
                    <a:pt x="1450" y="1891"/>
                  </a:lnTo>
                  <a:cubicBezTo>
                    <a:pt x="1513" y="1954"/>
                    <a:pt x="1600" y="1985"/>
                    <a:pt x="1686" y="1985"/>
                  </a:cubicBezTo>
                  <a:cubicBezTo>
                    <a:pt x="1773" y="1985"/>
                    <a:pt x="1860" y="1954"/>
                    <a:pt x="1923" y="1891"/>
                  </a:cubicBezTo>
                  <a:cubicBezTo>
                    <a:pt x="2049" y="1765"/>
                    <a:pt x="2049" y="1544"/>
                    <a:pt x="1923" y="1418"/>
                  </a:cubicBezTo>
                  <a:lnTo>
                    <a:pt x="1482" y="977"/>
                  </a:lnTo>
                  <a:lnTo>
                    <a:pt x="1923" y="536"/>
                  </a:lnTo>
                  <a:cubicBezTo>
                    <a:pt x="2049" y="441"/>
                    <a:pt x="2049" y="189"/>
                    <a:pt x="1923" y="95"/>
                  </a:cubicBezTo>
                  <a:cubicBezTo>
                    <a:pt x="1860" y="32"/>
                    <a:pt x="1773" y="0"/>
                    <a:pt x="1686" y="0"/>
                  </a:cubicBezTo>
                  <a:cubicBezTo>
                    <a:pt x="1600" y="0"/>
                    <a:pt x="1513" y="32"/>
                    <a:pt x="1450" y="95"/>
                  </a:cubicBezTo>
                  <a:lnTo>
                    <a:pt x="1009" y="504"/>
                  </a:lnTo>
                  <a:lnTo>
                    <a:pt x="568" y="95"/>
                  </a:lnTo>
                  <a:cubicBezTo>
                    <a:pt x="521" y="32"/>
                    <a:pt x="434" y="0"/>
                    <a:pt x="3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3" name="Google Shape;8103;p77"/>
            <p:cNvSpPr/>
            <p:nvPr/>
          </p:nvSpPr>
          <p:spPr>
            <a:xfrm>
              <a:off x="-5224050" y="2107875"/>
              <a:ext cx="51200" cy="49825"/>
            </a:xfrm>
            <a:custGeom>
              <a:avLst/>
              <a:gdLst/>
              <a:ahLst/>
              <a:cxnLst/>
              <a:rect l="l" t="t" r="r" b="b"/>
              <a:pathLst>
                <a:path w="2048" h="1993" extrusionOk="0">
                  <a:moveTo>
                    <a:pt x="351" y="0"/>
                  </a:moveTo>
                  <a:cubicBezTo>
                    <a:pt x="260" y="0"/>
                    <a:pt x="173" y="24"/>
                    <a:pt x="126" y="71"/>
                  </a:cubicBezTo>
                  <a:cubicBezTo>
                    <a:pt x="0" y="197"/>
                    <a:pt x="0" y="449"/>
                    <a:pt x="126" y="544"/>
                  </a:cubicBezTo>
                  <a:lnTo>
                    <a:pt x="536" y="985"/>
                  </a:lnTo>
                  <a:lnTo>
                    <a:pt x="126" y="1426"/>
                  </a:lnTo>
                  <a:cubicBezTo>
                    <a:pt x="0" y="1552"/>
                    <a:pt x="0" y="1772"/>
                    <a:pt x="126" y="1898"/>
                  </a:cubicBezTo>
                  <a:cubicBezTo>
                    <a:pt x="173" y="1961"/>
                    <a:pt x="260" y="1993"/>
                    <a:pt x="351" y="1993"/>
                  </a:cubicBezTo>
                  <a:cubicBezTo>
                    <a:pt x="441" y="1993"/>
                    <a:pt x="536" y="1961"/>
                    <a:pt x="599" y="1898"/>
                  </a:cubicBezTo>
                  <a:lnTo>
                    <a:pt x="1008" y="1457"/>
                  </a:lnTo>
                  <a:lnTo>
                    <a:pt x="1449" y="1898"/>
                  </a:lnTo>
                  <a:cubicBezTo>
                    <a:pt x="1512" y="1961"/>
                    <a:pt x="1599" y="1993"/>
                    <a:pt x="1686" y="1993"/>
                  </a:cubicBezTo>
                  <a:cubicBezTo>
                    <a:pt x="1772" y="1993"/>
                    <a:pt x="1859" y="1961"/>
                    <a:pt x="1922" y="1898"/>
                  </a:cubicBezTo>
                  <a:cubicBezTo>
                    <a:pt x="2048" y="1772"/>
                    <a:pt x="2048" y="1520"/>
                    <a:pt x="1922" y="1426"/>
                  </a:cubicBezTo>
                  <a:lnTo>
                    <a:pt x="1481" y="985"/>
                  </a:lnTo>
                  <a:lnTo>
                    <a:pt x="1922" y="544"/>
                  </a:lnTo>
                  <a:cubicBezTo>
                    <a:pt x="2048" y="449"/>
                    <a:pt x="2048" y="197"/>
                    <a:pt x="1922" y="71"/>
                  </a:cubicBezTo>
                  <a:cubicBezTo>
                    <a:pt x="1875" y="24"/>
                    <a:pt x="1788" y="0"/>
                    <a:pt x="1697" y="0"/>
                  </a:cubicBezTo>
                  <a:cubicBezTo>
                    <a:pt x="1607" y="0"/>
                    <a:pt x="1512" y="24"/>
                    <a:pt x="1449" y="71"/>
                  </a:cubicBezTo>
                  <a:lnTo>
                    <a:pt x="1008" y="512"/>
                  </a:lnTo>
                  <a:lnTo>
                    <a:pt x="599" y="71"/>
                  </a:lnTo>
                  <a:cubicBezTo>
                    <a:pt x="536" y="24"/>
                    <a:pt x="441" y="0"/>
                    <a:pt x="35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4" name="Google Shape;8104;p77"/>
            <p:cNvSpPr/>
            <p:nvPr/>
          </p:nvSpPr>
          <p:spPr>
            <a:xfrm>
              <a:off x="-5276050" y="2037975"/>
              <a:ext cx="292250" cy="292225"/>
            </a:xfrm>
            <a:custGeom>
              <a:avLst/>
              <a:gdLst/>
              <a:ahLst/>
              <a:cxnLst/>
              <a:rect l="l" t="t" r="r" b="b"/>
              <a:pathLst>
                <a:path w="11690" h="11689" extrusionOk="0">
                  <a:moveTo>
                    <a:pt x="10334" y="3119"/>
                  </a:moveTo>
                  <a:cubicBezTo>
                    <a:pt x="10712" y="3119"/>
                    <a:pt x="11028" y="3403"/>
                    <a:pt x="11028" y="3781"/>
                  </a:cubicBezTo>
                  <a:cubicBezTo>
                    <a:pt x="11028" y="4190"/>
                    <a:pt x="10712" y="4442"/>
                    <a:pt x="10334" y="4442"/>
                  </a:cubicBezTo>
                  <a:cubicBezTo>
                    <a:pt x="9956" y="4442"/>
                    <a:pt x="9673" y="4127"/>
                    <a:pt x="9673" y="3781"/>
                  </a:cubicBezTo>
                  <a:cubicBezTo>
                    <a:pt x="9673" y="3403"/>
                    <a:pt x="9988" y="3119"/>
                    <a:pt x="10334" y="3119"/>
                  </a:cubicBezTo>
                  <a:close/>
                  <a:moveTo>
                    <a:pt x="4443" y="7593"/>
                  </a:moveTo>
                  <a:cubicBezTo>
                    <a:pt x="4853" y="7593"/>
                    <a:pt x="5105" y="7908"/>
                    <a:pt x="5105" y="8255"/>
                  </a:cubicBezTo>
                  <a:cubicBezTo>
                    <a:pt x="5105" y="8664"/>
                    <a:pt x="4790" y="8948"/>
                    <a:pt x="4443" y="8948"/>
                  </a:cubicBezTo>
                  <a:cubicBezTo>
                    <a:pt x="4065" y="8948"/>
                    <a:pt x="3781" y="8633"/>
                    <a:pt x="3781" y="8255"/>
                  </a:cubicBezTo>
                  <a:cubicBezTo>
                    <a:pt x="3781" y="7876"/>
                    <a:pt x="4096" y="7593"/>
                    <a:pt x="4443" y="7593"/>
                  </a:cubicBezTo>
                  <a:close/>
                  <a:moveTo>
                    <a:pt x="5829" y="725"/>
                  </a:moveTo>
                  <a:cubicBezTo>
                    <a:pt x="7341" y="725"/>
                    <a:pt x="8822" y="1386"/>
                    <a:pt x="9799" y="2521"/>
                  </a:cubicBezTo>
                  <a:cubicBezTo>
                    <a:pt x="9326" y="2710"/>
                    <a:pt x="8980" y="3245"/>
                    <a:pt x="8980" y="3781"/>
                  </a:cubicBezTo>
                  <a:cubicBezTo>
                    <a:pt x="8980" y="3718"/>
                    <a:pt x="8917" y="3623"/>
                    <a:pt x="8885" y="3560"/>
                  </a:cubicBezTo>
                  <a:lnTo>
                    <a:pt x="8854" y="3497"/>
                  </a:lnTo>
                  <a:lnTo>
                    <a:pt x="8192" y="2836"/>
                  </a:lnTo>
                  <a:cubicBezTo>
                    <a:pt x="8129" y="2773"/>
                    <a:pt x="8035" y="2741"/>
                    <a:pt x="7944" y="2741"/>
                  </a:cubicBezTo>
                  <a:cubicBezTo>
                    <a:pt x="7853" y="2741"/>
                    <a:pt x="7767" y="2773"/>
                    <a:pt x="7719" y="2836"/>
                  </a:cubicBezTo>
                  <a:cubicBezTo>
                    <a:pt x="7593" y="2962"/>
                    <a:pt x="7593" y="3182"/>
                    <a:pt x="7719" y="3308"/>
                  </a:cubicBezTo>
                  <a:lnTo>
                    <a:pt x="7814" y="3434"/>
                  </a:lnTo>
                  <a:cubicBezTo>
                    <a:pt x="6869" y="3466"/>
                    <a:pt x="5987" y="3875"/>
                    <a:pt x="5262" y="4568"/>
                  </a:cubicBezTo>
                  <a:cubicBezTo>
                    <a:pt x="4600" y="5230"/>
                    <a:pt x="4254" y="6081"/>
                    <a:pt x="4159" y="6963"/>
                  </a:cubicBezTo>
                  <a:cubicBezTo>
                    <a:pt x="3561" y="7120"/>
                    <a:pt x="3151" y="7656"/>
                    <a:pt x="3151" y="8318"/>
                  </a:cubicBezTo>
                  <a:cubicBezTo>
                    <a:pt x="3151" y="9074"/>
                    <a:pt x="3781" y="9704"/>
                    <a:pt x="4506" y="9704"/>
                  </a:cubicBezTo>
                  <a:cubicBezTo>
                    <a:pt x="5262" y="9704"/>
                    <a:pt x="5892" y="9074"/>
                    <a:pt x="5892" y="8318"/>
                  </a:cubicBezTo>
                  <a:cubicBezTo>
                    <a:pt x="5892" y="7687"/>
                    <a:pt x="5451" y="7120"/>
                    <a:pt x="4884" y="6963"/>
                  </a:cubicBezTo>
                  <a:cubicBezTo>
                    <a:pt x="5042" y="5482"/>
                    <a:pt x="6302" y="4222"/>
                    <a:pt x="7814" y="4127"/>
                  </a:cubicBezTo>
                  <a:lnTo>
                    <a:pt x="7814" y="4127"/>
                  </a:lnTo>
                  <a:lnTo>
                    <a:pt x="7751" y="4222"/>
                  </a:lnTo>
                  <a:cubicBezTo>
                    <a:pt x="7625" y="4348"/>
                    <a:pt x="7625" y="4568"/>
                    <a:pt x="7751" y="4694"/>
                  </a:cubicBezTo>
                  <a:cubicBezTo>
                    <a:pt x="7814" y="4757"/>
                    <a:pt x="7901" y="4789"/>
                    <a:pt x="7987" y="4789"/>
                  </a:cubicBezTo>
                  <a:cubicBezTo>
                    <a:pt x="8074" y="4789"/>
                    <a:pt x="8161" y="4757"/>
                    <a:pt x="8224" y="4694"/>
                  </a:cubicBezTo>
                  <a:lnTo>
                    <a:pt x="8885" y="4033"/>
                  </a:lnTo>
                  <a:cubicBezTo>
                    <a:pt x="8980" y="3938"/>
                    <a:pt x="9011" y="3875"/>
                    <a:pt x="9011" y="3781"/>
                  </a:cubicBezTo>
                  <a:cubicBezTo>
                    <a:pt x="9011" y="4537"/>
                    <a:pt x="9641" y="5167"/>
                    <a:pt x="10397" y="5167"/>
                  </a:cubicBezTo>
                  <a:cubicBezTo>
                    <a:pt x="10618" y="5167"/>
                    <a:pt x="10807" y="5136"/>
                    <a:pt x="11028" y="5010"/>
                  </a:cubicBezTo>
                  <a:cubicBezTo>
                    <a:pt x="11059" y="5293"/>
                    <a:pt x="11091" y="5545"/>
                    <a:pt x="11091" y="5829"/>
                  </a:cubicBezTo>
                  <a:cubicBezTo>
                    <a:pt x="11028" y="8696"/>
                    <a:pt x="8696" y="11027"/>
                    <a:pt x="5829" y="11027"/>
                  </a:cubicBezTo>
                  <a:cubicBezTo>
                    <a:pt x="2994" y="11027"/>
                    <a:pt x="694" y="8696"/>
                    <a:pt x="694" y="5829"/>
                  </a:cubicBezTo>
                  <a:cubicBezTo>
                    <a:pt x="694" y="2993"/>
                    <a:pt x="2994" y="725"/>
                    <a:pt x="5829" y="725"/>
                  </a:cubicBezTo>
                  <a:close/>
                  <a:moveTo>
                    <a:pt x="5829" y="0"/>
                  </a:moveTo>
                  <a:cubicBezTo>
                    <a:pt x="2584" y="0"/>
                    <a:pt x="1" y="2615"/>
                    <a:pt x="1" y="5829"/>
                  </a:cubicBezTo>
                  <a:cubicBezTo>
                    <a:pt x="1" y="7404"/>
                    <a:pt x="599" y="8853"/>
                    <a:pt x="1702" y="9956"/>
                  </a:cubicBezTo>
                  <a:cubicBezTo>
                    <a:pt x="2773" y="11058"/>
                    <a:pt x="4254" y="11689"/>
                    <a:pt x="5829" y="11689"/>
                  </a:cubicBezTo>
                  <a:cubicBezTo>
                    <a:pt x="6617" y="11689"/>
                    <a:pt x="7341" y="11531"/>
                    <a:pt x="8098" y="11216"/>
                  </a:cubicBezTo>
                  <a:cubicBezTo>
                    <a:pt x="8822" y="10901"/>
                    <a:pt x="9452" y="10523"/>
                    <a:pt x="9956" y="9956"/>
                  </a:cubicBezTo>
                  <a:cubicBezTo>
                    <a:pt x="10492" y="9420"/>
                    <a:pt x="10901" y="8790"/>
                    <a:pt x="11217" y="8128"/>
                  </a:cubicBezTo>
                  <a:cubicBezTo>
                    <a:pt x="11532" y="7404"/>
                    <a:pt x="11689" y="6616"/>
                    <a:pt x="11689" y="5829"/>
                  </a:cubicBezTo>
                  <a:cubicBezTo>
                    <a:pt x="11689" y="5356"/>
                    <a:pt x="11658" y="4884"/>
                    <a:pt x="11532" y="4442"/>
                  </a:cubicBezTo>
                  <a:cubicBezTo>
                    <a:pt x="11595" y="4253"/>
                    <a:pt x="11689" y="4033"/>
                    <a:pt x="11689" y="3781"/>
                  </a:cubicBezTo>
                  <a:cubicBezTo>
                    <a:pt x="11689" y="3119"/>
                    <a:pt x="11217" y="2552"/>
                    <a:pt x="10586" y="2458"/>
                  </a:cubicBezTo>
                  <a:cubicBezTo>
                    <a:pt x="9484" y="945"/>
                    <a:pt x="7719" y="0"/>
                    <a:pt x="582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105" name="Google Shape;8105;p77"/>
          <p:cNvSpPr/>
          <p:nvPr/>
        </p:nvSpPr>
        <p:spPr>
          <a:xfrm>
            <a:off x="4019587" y="2870557"/>
            <a:ext cx="573188" cy="527324"/>
          </a:xfrm>
          <a:custGeom>
            <a:avLst/>
            <a:gdLst/>
            <a:ahLst/>
            <a:cxnLst/>
            <a:rect l="l" t="t" r="r" b="b"/>
            <a:pathLst>
              <a:path w="11910" h="10957" extrusionOk="0">
                <a:moveTo>
                  <a:pt x="7325" y="654"/>
                </a:moveTo>
                <a:cubicBezTo>
                  <a:pt x="7412" y="654"/>
                  <a:pt x="7498" y="686"/>
                  <a:pt x="7561" y="749"/>
                </a:cubicBezTo>
                <a:lnTo>
                  <a:pt x="10995" y="4088"/>
                </a:lnTo>
                <a:cubicBezTo>
                  <a:pt x="11122" y="4246"/>
                  <a:pt x="11122" y="4466"/>
                  <a:pt x="10995" y="4592"/>
                </a:cubicBezTo>
                <a:lnTo>
                  <a:pt x="10082" y="5506"/>
                </a:lnTo>
                <a:lnTo>
                  <a:pt x="7404" y="2859"/>
                </a:lnTo>
                <a:cubicBezTo>
                  <a:pt x="7215" y="2670"/>
                  <a:pt x="6955" y="2576"/>
                  <a:pt x="6691" y="2576"/>
                </a:cubicBezTo>
                <a:cubicBezTo>
                  <a:pt x="6427" y="2576"/>
                  <a:pt x="6159" y="2670"/>
                  <a:pt x="5955" y="2859"/>
                </a:cubicBezTo>
                <a:lnTo>
                  <a:pt x="4978" y="3805"/>
                </a:lnTo>
                <a:cubicBezTo>
                  <a:pt x="4915" y="3868"/>
                  <a:pt x="4828" y="3899"/>
                  <a:pt x="4742" y="3899"/>
                </a:cubicBezTo>
                <a:cubicBezTo>
                  <a:pt x="4655" y="3899"/>
                  <a:pt x="4568" y="3868"/>
                  <a:pt x="4505" y="3805"/>
                </a:cubicBezTo>
                <a:cubicBezTo>
                  <a:pt x="4379" y="3679"/>
                  <a:pt x="4379" y="3458"/>
                  <a:pt x="4505" y="3332"/>
                </a:cubicBezTo>
                <a:lnTo>
                  <a:pt x="5955" y="1883"/>
                </a:lnTo>
                <a:lnTo>
                  <a:pt x="7089" y="749"/>
                </a:lnTo>
                <a:cubicBezTo>
                  <a:pt x="7152" y="686"/>
                  <a:pt x="7239" y="654"/>
                  <a:pt x="7325" y="654"/>
                </a:cubicBezTo>
                <a:close/>
                <a:moveTo>
                  <a:pt x="2808" y="5183"/>
                </a:moveTo>
                <a:cubicBezTo>
                  <a:pt x="2899" y="5183"/>
                  <a:pt x="2993" y="5207"/>
                  <a:pt x="3056" y="5254"/>
                </a:cubicBezTo>
                <a:cubicBezTo>
                  <a:pt x="3151" y="5380"/>
                  <a:pt x="3151" y="5632"/>
                  <a:pt x="3056" y="5726"/>
                </a:cubicBezTo>
                <a:lnTo>
                  <a:pt x="2048" y="6735"/>
                </a:lnTo>
                <a:cubicBezTo>
                  <a:pt x="2001" y="6782"/>
                  <a:pt x="1914" y="6805"/>
                  <a:pt x="1824" y="6805"/>
                </a:cubicBezTo>
                <a:cubicBezTo>
                  <a:pt x="1733" y="6805"/>
                  <a:pt x="1639" y="6782"/>
                  <a:pt x="1576" y="6735"/>
                </a:cubicBezTo>
                <a:cubicBezTo>
                  <a:pt x="1449" y="6609"/>
                  <a:pt x="1449" y="6357"/>
                  <a:pt x="1576" y="6262"/>
                </a:cubicBezTo>
                <a:lnTo>
                  <a:pt x="2584" y="5254"/>
                </a:lnTo>
                <a:cubicBezTo>
                  <a:pt x="2631" y="5207"/>
                  <a:pt x="2718" y="5183"/>
                  <a:pt x="2808" y="5183"/>
                </a:cubicBezTo>
                <a:close/>
                <a:moveTo>
                  <a:pt x="3785" y="6167"/>
                </a:moveTo>
                <a:cubicBezTo>
                  <a:pt x="3875" y="6167"/>
                  <a:pt x="3970" y="6199"/>
                  <a:pt x="4033" y="6262"/>
                </a:cubicBezTo>
                <a:cubicBezTo>
                  <a:pt x="4159" y="6357"/>
                  <a:pt x="4159" y="6609"/>
                  <a:pt x="4033" y="6735"/>
                </a:cubicBezTo>
                <a:lnTo>
                  <a:pt x="3056" y="7711"/>
                </a:lnTo>
                <a:cubicBezTo>
                  <a:pt x="2993" y="7774"/>
                  <a:pt x="2899" y="7806"/>
                  <a:pt x="2808" y="7806"/>
                </a:cubicBezTo>
                <a:cubicBezTo>
                  <a:pt x="2718" y="7806"/>
                  <a:pt x="2631" y="7774"/>
                  <a:pt x="2584" y="7711"/>
                </a:cubicBezTo>
                <a:cubicBezTo>
                  <a:pt x="2395" y="7554"/>
                  <a:pt x="2395" y="7365"/>
                  <a:pt x="2584" y="7239"/>
                </a:cubicBezTo>
                <a:lnTo>
                  <a:pt x="3560" y="6262"/>
                </a:lnTo>
                <a:cubicBezTo>
                  <a:pt x="3608" y="6199"/>
                  <a:pt x="3694" y="6167"/>
                  <a:pt x="3785" y="6167"/>
                </a:cubicBezTo>
                <a:close/>
                <a:moveTo>
                  <a:pt x="4730" y="7113"/>
                </a:moveTo>
                <a:cubicBezTo>
                  <a:pt x="4821" y="7113"/>
                  <a:pt x="4915" y="7144"/>
                  <a:pt x="4978" y="7207"/>
                </a:cubicBezTo>
                <a:cubicBezTo>
                  <a:pt x="5073" y="7302"/>
                  <a:pt x="5073" y="7554"/>
                  <a:pt x="4978" y="7680"/>
                </a:cubicBezTo>
                <a:lnTo>
                  <a:pt x="4001" y="8656"/>
                </a:lnTo>
                <a:cubicBezTo>
                  <a:pt x="3938" y="8719"/>
                  <a:pt x="3844" y="8751"/>
                  <a:pt x="3749" y="8751"/>
                </a:cubicBezTo>
                <a:cubicBezTo>
                  <a:pt x="3655" y="8751"/>
                  <a:pt x="3560" y="8719"/>
                  <a:pt x="3497" y="8656"/>
                </a:cubicBezTo>
                <a:cubicBezTo>
                  <a:pt x="3403" y="8530"/>
                  <a:pt x="3403" y="8310"/>
                  <a:pt x="3497" y="8184"/>
                </a:cubicBezTo>
                <a:lnTo>
                  <a:pt x="4505" y="7207"/>
                </a:lnTo>
                <a:cubicBezTo>
                  <a:pt x="4553" y="7144"/>
                  <a:pt x="4639" y="7113"/>
                  <a:pt x="4730" y="7113"/>
                </a:cubicBezTo>
                <a:close/>
                <a:moveTo>
                  <a:pt x="4100" y="969"/>
                </a:moveTo>
                <a:cubicBezTo>
                  <a:pt x="4190" y="969"/>
                  <a:pt x="4285" y="1001"/>
                  <a:pt x="4348" y="1064"/>
                </a:cubicBezTo>
                <a:lnTo>
                  <a:pt x="5041" y="1725"/>
                </a:lnTo>
                <a:lnTo>
                  <a:pt x="3938" y="2828"/>
                </a:lnTo>
                <a:cubicBezTo>
                  <a:pt x="3560" y="3206"/>
                  <a:pt x="3560" y="3899"/>
                  <a:pt x="3938" y="4277"/>
                </a:cubicBezTo>
                <a:cubicBezTo>
                  <a:pt x="4143" y="4482"/>
                  <a:pt x="4411" y="4584"/>
                  <a:pt x="4675" y="4584"/>
                </a:cubicBezTo>
                <a:cubicBezTo>
                  <a:pt x="4939" y="4584"/>
                  <a:pt x="5199" y="4482"/>
                  <a:pt x="5388" y="4277"/>
                </a:cubicBezTo>
                <a:lnTo>
                  <a:pt x="6396" y="3332"/>
                </a:lnTo>
                <a:cubicBezTo>
                  <a:pt x="6443" y="3269"/>
                  <a:pt x="6530" y="3238"/>
                  <a:pt x="6620" y="3238"/>
                </a:cubicBezTo>
                <a:cubicBezTo>
                  <a:pt x="6711" y="3238"/>
                  <a:pt x="6805" y="3269"/>
                  <a:pt x="6868" y="3332"/>
                </a:cubicBezTo>
                <a:lnTo>
                  <a:pt x="10334" y="6735"/>
                </a:lnTo>
                <a:cubicBezTo>
                  <a:pt x="10491" y="6829"/>
                  <a:pt x="10491" y="7113"/>
                  <a:pt x="10365" y="7239"/>
                </a:cubicBezTo>
                <a:cubicBezTo>
                  <a:pt x="10302" y="7302"/>
                  <a:pt x="10216" y="7333"/>
                  <a:pt x="10129" y="7333"/>
                </a:cubicBezTo>
                <a:cubicBezTo>
                  <a:pt x="10042" y="7333"/>
                  <a:pt x="9956" y="7302"/>
                  <a:pt x="9893" y="7239"/>
                </a:cubicBezTo>
                <a:lnTo>
                  <a:pt x="8444" y="5789"/>
                </a:lnTo>
                <a:cubicBezTo>
                  <a:pt x="8381" y="5726"/>
                  <a:pt x="8286" y="5695"/>
                  <a:pt x="8195" y="5695"/>
                </a:cubicBezTo>
                <a:cubicBezTo>
                  <a:pt x="8105" y="5695"/>
                  <a:pt x="8018" y="5726"/>
                  <a:pt x="7971" y="5789"/>
                </a:cubicBezTo>
                <a:cubicBezTo>
                  <a:pt x="7845" y="5884"/>
                  <a:pt x="7845" y="6136"/>
                  <a:pt x="7971" y="6262"/>
                </a:cubicBezTo>
                <a:lnTo>
                  <a:pt x="9420" y="7711"/>
                </a:lnTo>
                <a:cubicBezTo>
                  <a:pt x="9546" y="7837"/>
                  <a:pt x="9546" y="8058"/>
                  <a:pt x="9420" y="8184"/>
                </a:cubicBezTo>
                <a:cubicBezTo>
                  <a:pt x="9357" y="8247"/>
                  <a:pt x="9271" y="8278"/>
                  <a:pt x="9184" y="8278"/>
                </a:cubicBezTo>
                <a:cubicBezTo>
                  <a:pt x="9097" y="8278"/>
                  <a:pt x="9011" y="8247"/>
                  <a:pt x="8948" y="8184"/>
                </a:cubicBezTo>
                <a:lnTo>
                  <a:pt x="7498" y="6735"/>
                </a:lnTo>
                <a:cubicBezTo>
                  <a:pt x="7435" y="6672"/>
                  <a:pt x="7341" y="6640"/>
                  <a:pt x="7250" y="6640"/>
                </a:cubicBezTo>
                <a:cubicBezTo>
                  <a:pt x="7160" y="6640"/>
                  <a:pt x="7073" y="6672"/>
                  <a:pt x="7026" y="6735"/>
                </a:cubicBezTo>
                <a:cubicBezTo>
                  <a:pt x="6900" y="6829"/>
                  <a:pt x="6900" y="7081"/>
                  <a:pt x="7026" y="7176"/>
                </a:cubicBezTo>
                <a:lnTo>
                  <a:pt x="8475" y="8656"/>
                </a:lnTo>
                <a:cubicBezTo>
                  <a:pt x="8601" y="8751"/>
                  <a:pt x="8601" y="9003"/>
                  <a:pt x="8475" y="9129"/>
                </a:cubicBezTo>
                <a:cubicBezTo>
                  <a:pt x="8412" y="9176"/>
                  <a:pt x="8325" y="9200"/>
                  <a:pt x="8239" y="9200"/>
                </a:cubicBezTo>
                <a:cubicBezTo>
                  <a:pt x="8152" y="9200"/>
                  <a:pt x="8066" y="9176"/>
                  <a:pt x="8003" y="9129"/>
                </a:cubicBezTo>
                <a:lnTo>
                  <a:pt x="6459" y="7648"/>
                </a:lnTo>
                <a:cubicBezTo>
                  <a:pt x="6270" y="7459"/>
                  <a:pt x="6018" y="7396"/>
                  <a:pt x="5797" y="7396"/>
                </a:cubicBezTo>
                <a:cubicBezTo>
                  <a:pt x="5797" y="7144"/>
                  <a:pt x="5671" y="6924"/>
                  <a:pt x="5482" y="6735"/>
                </a:cubicBezTo>
                <a:cubicBezTo>
                  <a:pt x="5293" y="6514"/>
                  <a:pt x="5041" y="6451"/>
                  <a:pt x="4821" y="6388"/>
                </a:cubicBezTo>
                <a:cubicBezTo>
                  <a:pt x="4821" y="6167"/>
                  <a:pt x="4694" y="5947"/>
                  <a:pt x="4505" y="5726"/>
                </a:cubicBezTo>
                <a:cubicBezTo>
                  <a:pt x="4285" y="5537"/>
                  <a:pt x="4064" y="5474"/>
                  <a:pt x="3812" y="5411"/>
                </a:cubicBezTo>
                <a:cubicBezTo>
                  <a:pt x="3812" y="5191"/>
                  <a:pt x="3718" y="4939"/>
                  <a:pt x="3497" y="4750"/>
                </a:cubicBezTo>
                <a:cubicBezTo>
                  <a:pt x="3308" y="4561"/>
                  <a:pt x="3048" y="4466"/>
                  <a:pt x="2785" y="4466"/>
                </a:cubicBezTo>
                <a:cubicBezTo>
                  <a:pt x="2521" y="4466"/>
                  <a:pt x="2253" y="4561"/>
                  <a:pt x="2048" y="4750"/>
                </a:cubicBezTo>
                <a:lnTo>
                  <a:pt x="1544" y="5254"/>
                </a:lnTo>
                <a:lnTo>
                  <a:pt x="819" y="4561"/>
                </a:lnTo>
                <a:cubicBezTo>
                  <a:pt x="725" y="4435"/>
                  <a:pt x="725" y="4183"/>
                  <a:pt x="819" y="4088"/>
                </a:cubicBezTo>
                <a:lnTo>
                  <a:pt x="3875" y="1064"/>
                </a:lnTo>
                <a:cubicBezTo>
                  <a:pt x="3923" y="1001"/>
                  <a:pt x="4009" y="969"/>
                  <a:pt x="4100" y="969"/>
                </a:cubicBezTo>
                <a:close/>
                <a:moveTo>
                  <a:pt x="5718" y="8089"/>
                </a:moveTo>
                <a:cubicBezTo>
                  <a:pt x="5805" y="8089"/>
                  <a:pt x="5892" y="8121"/>
                  <a:pt x="5955" y="8184"/>
                </a:cubicBezTo>
                <a:cubicBezTo>
                  <a:pt x="6081" y="8310"/>
                  <a:pt x="6081" y="8530"/>
                  <a:pt x="5955" y="8656"/>
                </a:cubicBezTo>
                <a:lnTo>
                  <a:pt x="4978" y="9633"/>
                </a:lnTo>
                <a:cubicBezTo>
                  <a:pt x="4915" y="9696"/>
                  <a:pt x="4821" y="9728"/>
                  <a:pt x="4730" y="9728"/>
                </a:cubicBezTo>
                <a:cubicBezTo>
                  <a:pt x="4639" y="9728"/>
                  <a:pt x="4553" y="9696"/>
                  <a:pt x="4505" y="9633"/>
                </a:cubicBezTo>
                <a:cubicBezTo>
                  <a:pt x="4379" y="9507"/>
                  <a:pt x="4379" y="9286"/>
                  <a:pt x="4505" y="9160"/>
                </a:cubicBezTo>
                <a:lnTo>
                  <a:pt x="5482" y="8184"/>
                </a:lnTo>
                <a:cubicBezTo>
                  <a:pt x="5545" y="8121"/>
                  <a:pt x="5632" y="8089"/>
                  <a:pt x="5718" y="8089"/>
                </a:cubicBezTo>
                <a:close/>
                <a:moveTo>
                  <a:pt x="6616" y="8877"/>
                </a:moveTo>
                <a:lnTo>
                  <a:pt x="7467" y="9665"/>
                </a:lnTo>
                <a:cubicBezTo>
                  <a:pt x="7593" y="9759"/>
                  <a:pt x="7593" y="9980"/>
                  <a:pt x="7435" y="10106"/>
                </a:cubicBezTo>
                <a:cubicBezTo>
                  <a:pt x="7388" y="10169"/>
                  <a:pt x="7286" y="10200"/>
                  <a:pt x="7179" y="10200"/>
                </a:cubicBezTo>
                <a:cubicBezTo>
                  <a:pt x="7073" y="10200"/>
                  <a:pt x="6963" y="10169"/>
                  <a:pt x="6900" y="10106"/>
                </a:cubicBezTo>
                <a:lnTo>
                  <a:pt x="6207" y="9412"/>
                </a:lnTo>
                <a:lnTo>
                  <a:pt x="6427" y="9160"/>
                </a:lnTo>
                <a:cubicBezTo>
                  <a:pt x="6522" y="9097"/>
                  <a:pt x="6585" y="8971"/>
                  <a:pt x="6616" y="8877"/>
                </a:cubicBezTo>
                <a:close/>
                <a:moveTo>
                  <a:pt x="7309" y="0"/>
                </a:moveTo>
                <a:cubicBezTo>
                  <a:pt x="7042" y="0"/>
                  <a:pt x="6774" y="103"/>
                  <a:pt x="6585" y="308"/>
                </a:cubicBezTo>
                <a:lnTo>
                  <a:pt x="5608" y="1284"/>
                </a:lnTo>
                <a:lnTo>
                  <a:pt x="4852" y="560"/>
                </a:lnTo>
                <a:cubicBezTo>
                  <a:pt x="4656" y="394"/>
                  <a:pt x="4409" y="307"/>
                  <a:pt x="4163" y="307"/>
                </a:cubicBezTo>
                <a:cubicBezTo>
                  <a:pt x="3897" y="307"/>
                  <a:pt x="3631" y="409"/>
                  <a:pt x="3434" y="623"/>
                </a:cubicBezTo>
                <a:lnTo>
                  <a:pt x="410" y="3647"/>
                </a:lnTo>
                <a:cubicBezTo>
                  <a:pt x="0" y="4025"/>
                  <a:pt x="0" y="4718"/>
                  <a:pt x="410" y="5096"/>
                </a:cubicBezTo>
                <a:lnTo>
                  <a:pt x="1103" y="5821"/>
                </a:lnTo>
                <a:cubicBezTo>
                  <a:pt x="725" y="6199"/>
                  <a:pt x="725" y="6829"/>
                  <a:pt x="1103" y="7239"/>
                </a:cubicBezTo>
                <a:cubicBezTo>
                  <a:pt x="1292" y="7428"/>
                  <a:pt x="1544" y="7491"/>
                  <a:pt x="1765" y="7554"/>
                </a:cubicBezTo>
                <a:cubicBezTo>
                  <a:pt x="1765" y="7774"/>
                  <a:pt x="1891" y="8026"/>
                  <a:pt x="2080" y="8215"/>
                </a:cubicBezTo>
                <a:cubicBezTo>
                  <a:pt x="2300" y="8404"/>
                  <a:pt x="2521" y="8499"/>
                  <a:pt x="2773" y="8530"/>
                </a:cubicBezTo>
                <a:cubicBezTo>
                  <a:pt x="2773" y="8751"/>
                  <a:pt x="2867" y="9003"/>
                  <a:pt x="3088" y="9192"/>
                </a:cubicBezTo>
                <a:cubicBezTo>
                  <a:pt x="3277" y="9381"/>
                  <a:pt x="3497" y="9475"/>
                  <a:pt x="3749" y="9507"/>
                </a:cubicBezTo>
                <a:cubicBezTo>
                  <a:pt x="3749" y="9759"/>
                  <a:pt x="3875" y="9980"/>
                  <a:pt x="4064" y="10169"/>
                </a:cubicBezTo>
                <a:cubicBezTo>
                  <a:pt x="4253" y="10373"/>
                  <a:pt x="4521" y="10476"/>
                  <a:pt x="4789" y="10476"/>
                </a:cubicBezTo>
                <a:cubicBezTo>
                  <a:pt x="5057" y="10476"/>
                  <a:pt x="5325" y="10373"/>
                  <a:pt x="5514" y="10169"/>
                </a:cubicBezTo>
                <a:lnTo>
                  <a:pt x="5766" y="9948"/>
                </a:lnTo>
                <a:lnTo>
                  <a:pt x="6459" y="10673"/>
                </a:lnTo>
                <a:cubicBezTo>
                  <a:pt x="6664" y="10862"/>
                  <a:pt x="6939" y="10956"/>
                  <a:pt x="7219" y="10956"/>
                </a:cubicBezTo>
                <a:cubicBezTo>
                  <a:pt x="7498" y="10956"/>
                  <a:pt x="7782" y="10862"/>
                  <a:pt x="8003" y="10673"/>
                </a:cubicBezTo>
                <a:cubicBezTo>
                  <a:pt x="8192" y="10452"/>
                  <a:pt x="8286" y="10232"/>
                  <a:pt x="8318" y="9980"/>
                </a:cubicBezTo>
                <a:cubicBezTo>
                  <a:pt x="8538" y="9980"/>
                  <a:pt x="8790" y="9885"/>
                  <a:pt x="8979" y="9665"/>
                </a:cubicBezTo>
                <a:cubicBezTo>
                  <a:pt x="9168" y="9475"/>
                  <a:pt x="9263" y="9255"/>
                  <a:pt x="9294" y="9003"/>
                </a:cubicBezTo>
                <a:cubicBezTo>
                  <a:pt x="9546" y="9003"/>
                  <a:pt x="9767" y="8877"/>
                  <a:pt x="9956" y="8688"/>
                </a:cubicBezTo>
                <a:cubicBezTo>
                  <a:pt x="10176" y="8499"/>
                  <a:pt x="10239" y="8247"/>
                  <a:pt x="10271" y="8026"/>
                </a:cubicBezTo>
                <a:cubicBezTo>
                  <a:pt x="10523" y="8026"/>
                  <a:pt x="10743" y="7900"/>
                  <a:pt x="10964" y="7711"/>
                </a:cubicBezTo>
                <a:cubicBezTo>
                  <a:pt x="11342" y="7302"/>
                  <a:pt x="11342" y="6640"/>
                  <a:pt x="10964" y="6262"/>
                </a:cubicBezTo>
                <a:lnTo>
                  <a:pt x="10680" y="5978"/>
                </a:lnTo>
                <a:lnTo>
                  <a:pt x="11594" y="5065"/>
                </a:lnTo>
                <a:cubicBezTo>
                  <a:pt x="11909" y="4687"/>
                  <a:pt x="11909" y="4057"/>
                  <a:pt x="11468" y="3647"/>
                </a:cubicBezTo>
                <a:lnTo>
                  <a:pt x="8034" y="308"/>
                </a:lnTo>
                <a:cubicBezTo>
                  <a:pt x="7845" y="103"/>
                  <a:pt x="7577" y="0"/>
                  <a:pt x="73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6" name="Google Shape;8106;p77"/>
          <p:cNvSpPr/>
          <p:nvPr/>
        </p:nvSpPr>
        <p:spPr>
          <a:xfrm>
            <a:off x="4040812" y="3547742"/>
            <a:ext cx="562552" cy="561012"/>
          </a:xfrm>
          <a:custGeom>
            <a:avLst/>
            <a:gdLst/>
            <a:ahLst/>
            <a:cxnLst/>
            <a:rect l="l" t="t" r="r" b="b"/>
            <a:pathLst>
              <a:path w="11689" h="11657" extrusionOk="0">
                <a:moveTo>
                  <a:pt x="5797" y="2111"/>
                </a:moveTo>
                <a:cubicBezTo>
                  <a:pt x="6175" y="2111"/>
                  <a:pt x="6459" y="2426"/>
                  <a:pt x="6459" y="2773"/>
                </a:cubicBezTo>
                <a:cubicBezTo>
                  <a:pt x="6459" y="3151"/>
                  <a:pt x="6175" y="3466"/>
                  <a:pt x="5797" y="3466"/>
                </a:cubicBezTo>
                <a:cubicBezTo>
                  <a:pt x="5388" y="3466"/>
                  <a:pt x="5104" y="3151"/>
                  <a:pt x="5104" y="2773"/>
                </a:cubicBezTo>
                <a:cubicBezTo>
                  <a:pt x="5104" y="2426"/>
                  <a:pt x="5419" y="2111"/>
                  <a:pt x="5797" y="2111"/>
                </a:cubicBezTo>
                <a:close/>
                <a:moveTo>
                  <a:pt x="6112" y="4159"/>
                </a:moveTo>
                <a:cubicBezTo>
                  <a:pt x="6648" y="4159"/>
                  <a:pt x="7120" y="4631"/>
                  <a:pt x="7120" y="5198"/>
                </a:cubicBezTo>
                <a:lnTo>
                  <a:pt x="7120" y="5545"/>
                </a:lnTo>
                <a:lnTo>
                  <a:pt x="4379" y="5545"/>
                </a:lnTo>
                <a:lnTo>
                  <a:pt x="4379" y="5198"/>
                </a:lnTo>
                <a:cubicBezTo>
                  <a:pt x="4411" y="4600"/>
                  <a:pt x="4884" y="4159"/>
                  <a:pt x="5419" y="4159"/>
                </a:cubicBezTo>
                <a:close/>
                <a:moveTo>
                  <a:pt x="10586" y="662"/>
                </a:moveTo>
                <a:cubicBezTo>
                  <a:pt x="10775" y="662"/>
                  <a:pt x="10932" y="819"/>
                  <a:pt x="10932" y="1008"/>
                </a:cubicBezTo>
                <a:lnTo>
                  <a:pt x="10932" y="5860"/>
                </a:lnTo>
                <a:lnTo>
                  <a:pt x="10996" y="5860"/>
                </a:lnTo>
                <a:cubicBezTo>
                  <a:pt x="10996" y="6049"/>
                  <a:pt x="10838" y="6207"/>
                  <a:pt x="10617" y="6207"/>
                </a:cubicBezTo>
                <a:lnTo>
                  <a:pt x="9483" y="6207"/>
                </a:lnTo>
                <a:cubicBezTo>
                  <a:pt x="9326" y="5829"/>
                  <a:pt x="8979" y="5545"/>
                  <a:pt x="8507" y="5545"/>
                </a:cubicBezTo>
                <a:lnTo>
                  <a:pt x="7845" y="5545"/>
                </a:lnTo>
                <a:lnTo>
                  <a:pt x="7845" y="5198"/>
                </a:lnTo>
                <a:cubicBezTo>
                  <a:pt x="7845" y="4505"/>
                  <a:pt x="7435" y="3938"/>
                  <a:pt x="6837" y="3655"/>
                </a:cubicBezTo>
                <a:cubicBezTo>
                  <a:pt x="7057" y="3403"/>
                  <a:pt x="7152" y="3151"/>
                  <a:pt x="7152" y="2773"/>
                </a:cubicBezTo>
                <a:cubicBezTo>
                  <a:pt x="7152" y="2048"/>
                  <a:pt x="6522" y="1418"/>
                  <a:pt x="5797" y="1418"/>
                </a:cubicBezTo>
                <a:cubicBezTo>
                  <a:pt x="5041" y="1418"/>
                  <a:pt x="4411" y="2048"/>
                  <a:pt x="4411" y="2773"/>
                </a:cubicBezTo>
                <a:cubicBezTo>
                  <a:pt x="4411" y="3088"/>
                  <a:pt x="4537" y="3403"/>
                  <a:pt x="4726" y="3655"/>
                </a:cubicBezTo>
                <a:cubicBezTo>
                  <a:pt x="4127" y="3938"/>
                  <a:pt x="3749" y="4505"/>
                  <a:pt x="3749" y="5198"/>
                </a:cubicBezTo>
                <a:lnTo>
                  <a:pt x="3749" y="5545"/>
                </a:lnTo>
                <a:lnTo>
                  <a:pt x="3056" y="5545"/>
                </a:lnTo>
                <a:cubicBezTo>
                  <a:pt x="2647" y="5545"/>
                  <a:pt x="2237" y="5829"/>
                  <a:pt x="2080" y="6207"/>
                </a:cubicBezTo>
                <a:lnTo>
                  <a:pt x="977" y="6207"/>
                </a:lnTo>
                <a:cubicBezTo>
                  <a:pt x="788" y="6207"/>
                  <a:pt x="630" y="6049"/>
                  <a:pt x="630" y="5860"/>
                </a:cubicBezTo>
                <a:lnTo>
                  <a:pt x="630" y="1008"/>
                </a:lnTo>
                <a:cubicBezTo>
                  <a:pt x="630" y="819"/>
                  <a:pt x="788" y="662"/>
                  <a:pt x="977" y="662"/>
                </a:cubicBezTo>
                <a:close/>
                <a:moveTo>
                  <a:pt x="8538" y="6175"/>
                </a:moveTo>
                <a:cubicBezTo>
                  <a:pt x="8759" y="6175"/>
                  <a:pt x="8916" y="6333"/>
                  <a:pt x="8916" y="6522"/>
                </a:cubicBezTo>
                <a:cubicBezTo>
                  <a:pt x="8853" y="6711"/>
                  <a:pt x="8696" y="6868"/>
                  <a:pt x="8538" y="6868"/>
                </a:cubicBezTo>
                <a:lnTo>
                  <a:pt x="3088" y="6868"/>
                </a:lnTo>
                <a:cubicBezTo>
                  <a:pt x="2867" y="6868"/>
                  <a:pt x="2710" y="6711"/>
                  <a:pt x="2710" y="6522"/>
                </a:cubicBezTo>
                <a:cubicBezTo>
                  <a:pt x="2710" y="6333"/>
                  <a:pt x="2867" y="6175"/>
                  <a:pt x="3088" y="6175"/>
                </a:cubicBezTo>
                <a:close/>
                <a:moveTo>
                  <a:pt x="8160" y="7593"/>
                </a:moveTo>
                <a:lnTo>
                  <a:pt x="7561" y="11027"/>
                </a:lnTo>
                <a:lnTo>
                  <a:pt x="4033" y="11027"/>
                </a:lnTo>
                <a:lnTo>
                  <a:pt x="3466" y="7593"/>
                </a:lnTo>
                <a:close/>
                <a:moveTo>
                  <a:pt x="1008" y="0"/>
                </a:moveTo>
                <a:cubicBezTo>
                  <a:pt x="473" y="0"/>
                  <a:pt x="0" y="473"/>
                  <a:pt x="0" y="1008"/>
                </a:cubicBezTo>
                <a:lnTo>
                  <a:pt x="0" y="5860"/>
                </a:lnTo>
                <a:cubicBezTo>
                  <a:pt x="0" y="6396"/>
                  <a:pt x="473" y="6868"/>
                  <a:pt x="1008" y="6868"/>
                </a:cubicBezTo>
                <a:lnTo>
                  <a:pt x="2111" y="6868"/>
                </a:lnTo>
                <a:cubicBezTo>
                  <a:pt x="2237" y="7183"/>
                  <a:pt x="2489" y="7435"/>
                  <a:pt x="2804" y="7498"/>
                </a:cubicBezTo>
                <a:lnTo>
                  <a:pt x="3434" y="11373"/>
                </a:lnTo>
                <a:cubicBezTo>
                  <a:pt x="3466" y="11531"/>
                  <a:pt x="3592" y="11657"/>
                  <a:pt x="3781" y="11657"/>
                </a:cubicBezTo>
                <a:lnTo>
                  <a:pt x="7877" y="11657"/>
                </a:lnTo>
                <a:cubicBezTo>
                  <a:pt x="8034" y="11657"/>
                  <a:pt x="8192" y="11531"/>
                  <a:pt x="8223" y="11373"/>
                </a:cubicBezTo>
                <a:lnTo>
                  <a:pt x="8853" y="7498"/>
                </a:lnTo>
                <a:cubicBezTo>
                  <a:pt x="9168" y="7435"/>
                  <a:pt x="9420" y="7183"/>
                  <a:pt x="9546" y="6868"/>
                </a:cubicBezTo>
                <a:lnTo>
                  <a:pt x="10680" y="6868"/>
                </a:lnTo>
                <a:cubicBezTo>
                  <a:pt x="11216" y="6868"/>
                  <a:pt x="11689" y="6396"/>
                  <a:pt x="11689" y="5860"/>
                </a:cubicBezTo>
                <a:lnTo>
                  <a:pt x="11689" y="1008"/>
                </a:lnTo>
                <a:cubicBezTo>
                  <a:pt x="11657" y="473"/>
                  <a:pt x="11185" y="0"/>
                  <a:pt x="1061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107" name="Google Shape;8107;p77"/>
          <p:cNvGrpSpPr/>
          <p:nvPr/>
        </p:nvGrpSpPr>
        <p:grpSpPr>
          <a:xfrm>
            <a:off x="7702849" y="2175008"/>
            <a:ext cx="432177" cy="561061"/>
            <a:chOff x="-3462150" y="2046625"/>
            <a:chExt cx="224500" cy="291450"/>
          </a:xfrm>
        </p:grpSpPr>
        <p:sp>
          <p:nvSpPr>
            <p:cNvPr id="8108" name="Google Shape;8108;p77"/>
            <p:cNvSpPr/>
            <p:nvPr/>
          </p:nvSpPr>
          <p:spPr>
            <a:xfrm>
              <a:off x="-3425125" y="2253000"/>
              <a:ext cx="51225" cy="50425"/>
            </a:xfrm>
            <a:custGeom>
              <a:avLst/>
              <a:gdLst/>
              <a:ahLst/>
              <a:cxnLst/>
              <a:rect l="l" t="t" r="r" b="b"/>
              <a:pathLst>
                <a:path w="2049" h="2017" extrusionOk="0">
                  <a:moveTo>
                    <a:pt x="1009" y="662"/>
                  </a:moveTo>
                  <a:cubicBezTo>
                    <a:pt x="1198" y="662"/>
                    <a:pt x="1355" y="819"/>
                    <a:pt x="1355" y="1008"/>
                  </a:cubicBezTo>
                  <a:cubicBezTo>
                    <a:pt x="1355" y="1197"/>
                    <a:pt x="1166" y="1355"/>
                    <a:pt x="1009" y="1355"/>
                  </a:cubicBezTo>
                  <a:cubicBezTo>
                    <a:pt x="820" y="1355"/>
                    <a:pt x="662" y="1197"/>
                    <a:pt x="662" y="1008"/>
                  </a:cubicBezTo>
                  <a:cubicBezTo>
                    <a:pt x="662" y="819"/>
                    <a:pt x="820" y="662"/>
                    <a:pt x="1009" y="662"/>
                  </a:cubicBezTo>
                  <a:close/>
                  <a:moveTo>
                    <a:pt x="1009" y="0"/>
                  </a:moveTo>
                  <a:cubicBezTo>
                    <a:pt x="473" y="0"/>
                    <a:pt x="0" y="441"/>
                    <a:pt x="0" y="1008"/>
                  </a:cubicBezTo>
                  <a:cubicBezTo>
                    <a:pt x="0" y="1575"/>
                    <a:pt x="473" y="2016"/>
                    <a:pt x="1009" y="2016"/>
                  </a:cubicBezTo>
                  <a:cubicBezTo>
                    <a:pt x="1576" y="2016"/>
                    <a:pt x="2048" y="1575"/>
                    <a:pt x="2048" y="1008"/>
                  </a:cubicBezTo>
                  <a:cubicBezTo>
                    <a:pt x="2048" y="441"/>
                    <a:pt x="1576" y="0"/>
                    <a:pt x="100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09" name="Google Shape;8109;p77"/>
            <p:cNvSpPr/>
            <p:nvPr/>
          </p:nvSpPr>
          <p:spPr>
            <a:xfrm>
              <a:off x="-3425125" y="2116725"/>
              <a:ext cx="51225" cy="49650"/>
            </a:xfrm>
            <a:custGeom>
              <a:avLst/>
              <a:gdLst/>
              <a:ahLst/>
              <a:cxnLst/>
              <a:rect l="l" t="t" r="r" b="b"/>
              <a:pathLst>
                <a:path w="2049" h="1986" extrusionOk="0">
                  <a:moveTo>
                    <a:pt x="343" y="1"/>
                  </a:moveTo>
                  <a:cubicBezTo>
                    <a:pt x="252" y="1"/>
                    <a:pt x="158" y="32"/>
                    <a:pt x="95" y="95"/>
                  </a:cubicBezTo>
                  <a:cubicBezTo>
                    <a:pt x="0" y="190"/>
                    <a:pt x="0" y="442"/>
                    <a:pt x="95" y="536"/>
                  </a:cubicBezTo>
                  <a:lnTo>
                    <a:pt x="536" y="977"/>
                  </a:lnTo>
                  <a:lnTo>
                    <a:pt x="95" y="1418"/>
                  </a:lnTo>
                  <a:cubicBezTo>
                    <a:pt x="0" y="1544"/>
                    <a:pt x="0" y="1765"/>
                    <a:pt x="95" y="1891"/>
                  </a:cubicBezTo>
                  <a:cubicBezTo>
                    <a:pt x="158" y="1954"/>
                    <a:pt x="252" y="1986"/>
                    <a:pt x="343" y="1986"/>
                  </a:cubicBezTo>
                  <a:cubicBezTo>
                    <a:pt x="434" y="1986"/>
                    <a:pt x="520" y="1954"/>
                    <a:pt x="568" y="1891"/>
                  </a:cubicBezTo>
                  <a:lnTo>
                    <a:pt x="1009" y="1450"/>
                  </a:lnTo>
                  <a:lnTo>
                    <a:pt x="1450" y="1891"/>
                  </a:lnTo>
                  <a:cubicBezTo>
                    <a:pt x="1513" y="1954"/>
                    <a:pt x="1599" y="1986"/>
                    <a:pt x="1686" y="1986"/>
                  </a:cubicBezTo>
                  <a:cubicBezTo>
                    <a:pt x="1773" y="1986"/>
                    <a:pt x="1859" y="1954"/>
                    <a:pt x="1922" y="1891"/>
                  </a:cubicBezTo>
                  <a:cubicBezTo>
                    <a:pt x="2048" y="1765"/>
                    <a:pt x="2048" y="1544"/>
                    <a:pt x="1922" y="1418"/>
                  </a:cubicBezTo>
                  <a:lnTo>
                    <a:pt x="1481" y="977"/>
                  </a:lnTo>
                  <a:lnTo>
                    <a:pt x="1922" y="536"/>
                  </a:lnTo>
                  <a:cubicBezTo>
                    <a:pt x="2048" y="442"/>
                    <a:pt x="2048" y="190"/>
                    <a:pt x="1922" y="95"/>
                  </a:cubicBezTo>
                  <a:cubicBezTo>
                    <a:pt x="1859" y="32"/>
                    <a:pt x="1773" y="1"/>
                    <a:pt x="1686" y="1"/>
                  </a:cubicBezTo>
                  <a:cubicBezTo>
                    <a:pt x="1599" y="1"/>
                    <a:pt x="1513" y="32"/>
                    <a:pt x="1450" y="95"/>
                  </a:cubicBezTo>
                  <a:lnTo>
                    <a:pt x="1009" y="505"/>
                  </a:lnTo>
                  <a:lnTo>
                    <a:pt x="568" y="95"/>
                  </a:lnTo>
                  <a:cubicBezTo>
                    <a:pt x="520" y="32"/>
                    <a:pt x="434"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0" name="Google Shape;8110;p77"/>
            <p:cNvSpPr/>
            <p:nvPr/>
          </p:nvSpPr>
          <p:spPr>
            <a:xfrm>
              <a:off x="-3425125" y="2185250"/>
              <a:ext cx="51225" cy="49650"/>
            </a:xfrm>
            <a:custGeom>
              <a:avLst/>
              <a:gdLst/>
              <a:ahLst/>
              <a:cxnLst/>
              <a:rect l="l" t="t" r="r" b="b"/>
              <a:pathLst>
                <a:path w="2049" h="1986" extrusionOk="0">
                  <a:moveTo>
                    <a:pt x="343" y="1"/>
                  </a:moveTo>
                  <a:cubicBezTo>
                    <a:pt x="252" y="1"/>
                    <a:pt x="158" y="32"/>
                    <a:pt x="95" y="95"/>
                  </a:cubicBezTo>
                  <a:cubicBezTo>
                    <a:pt x="0" y="221"/>
                    <a:pt x="0" y="442"/>
                    <a:pt x="95" y="568"/>
                  </a:cubicBezTo>
                  <a:lnTo>
                    <a:pt x="536" y="1009"/>
                  </a:lnTo>
                  <a:lnTo>
                    <a:pt x="95" y="1418"/>
                  </a:lnTo>
                  <a:cubicBezTo>
                    <a:pt x="0" y="1544"/>
                    <a:pt x="0" y="1796"/>
                    <a:pt x="95" y="1891"/>
                  </a:cubicBezTo>
                  <a:cubicBezTo>
                    <a:pt x="158" y="1954"/>
                    <a:pt x="252" y="1985"/>
                    <a:pt x="343" y="1985"/>
                  </a:cubicBezTo>
                  <a:cubicBezTo>
                    <a:pt x="434" y="1985"/>
                    <a:pt x="520" y="1954"/>
                    <a:pt x="568" y="1891"/>
                  </a:cubicBezTo>
                  <a:lnTo>
                    <a:pt x="1009" y="1481"/>
                  </a:lnTo>
                  <a:lnTo>
                    <a:pt x="1450" y="1891"/>
                  </a:lnTo>
                  <a:cubicBezTo>
                    <a:pt x="1513" y="1954"/>
                    <a:pt x="1599" y="1985"/>
                    <a:pt x="1686" y="1985"/>
                  </a:cubicBezTo>
                  <a:cubicBezTo>
                    <a:pt x="1773" y="1985"/>
                    <a:pt x="1859" y="1954"/>
                    <a:pt x="1922" y="1891"/>
                  </a:cubicBezTo>
                  <a:cubicBezTo>
                    <a:pt x="2048" y="1796"/>
                    <a:pt x="2048" y="1544"/>
                    <a:pt x="1922" y="1418"/>
                  </a:cubicBezTo>
                  <a:lnTo>
                    <a:pt x="1481" y="1009"/>
                  </a:lnTo>
                  <a:lnTo>
                    <a:pt x="1922" y="568"/>
                  </a:lnTo>
                  <a:cubicBezTo>
                    <a:pt x="2048" y="410"/>
                    <a:pt x="2048" y="221"/>
                    <a:pt x="1922" y="95"/>
                  </a:cubicBezTo>
                  <a:cubicBezTo>
                    <a:pt x="1859" y="32"/>
                    <a:pt x="1773" y="1"/>
                    <a:pt x="1686" y="1"/>
                  </a:cubicBezTo>
                  <a:cubicBezTo>
                    <a:pt x="1599" y="1"/>
                    <a:pt x="1513" y="32"/>
                    <a:pt x="1450" y="95"/>
                  </a:cubicBezTo>
                  <a:lnTo>
                    <a:pt x="1009" y="536"/>
                  </a:lnTo>
                  <a:lnTo>
                    <a:pt x="568" y="95"/>
                  </a:lnTo>
                  <a:cubicBezTo>
                    <a:pt x="520" y="32"/>
                    <a:pt x="434" y="1"/>
                    <a:pt x="3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1" name="Google Shape;8111;p77"/>
            <p:cNvSpPr/>
            <p:nvPr/>
          </p:nvSpPr>
          <p:spPr>
            <a:xfrm>
              <a:off x="-3462150" y="2046625"/>
              <a:ext cx="224500" cy="291450"/>
            </a:xfrm>
            <a:custGeom>
              <a:avLst/>
              <a:gdLst/>
              <a:ahLst/>
              <a:cxnLst/>
              <a:rect l="l" t="t" r="r" b="b"/>
              <a:pathLst>
                <a:path w="8980" h="11658" extrusionOk="0">
                  <a:moveTo>
                    <a:pt x="5924" y="694"/>
                  </a:moveTo>
                  <a:cubicBezTo>
                    <a:pt x="6113" y="694"/>
                    <a:pt x="6270" y="851"/>
                    <a:pt x="6270" y="1040"/>
                  </a:cubicBezTo>
                  <a:cubicBezTo>
                    <a:pt x="6270" y="1229"/>
                    <a:pt x="6113" y="1387"/>
                    <a:pt x="5924" y="1387"/>
                  </a:cubicBezTo>
                  <a:lnTo>
                    <a:pt x="3151" y="1387"/>
                  </a:lnTo>
                  <a:cubicBezTo>
                    <a:pt x="2962" y="1387"/>
                    <a:pt x="2805" y="1229"/>
                    <a:pt x="2805" y="1040"/>
                  </a:cubicBezTo>
                  <a:cubicBezTo>
                    <a:pt x="2805" y="851"/>
                    <a:pt x="2962" y="694"/>
                    <a:pt x="3151" y="694"/>
                  </a:cubicBezTo>
                  <a:close/>
                  <a:moveTo>
                    <a:pt x="8034" y="1356"/>
                  </a:moveTo>
                  <a:cubicBezTo>
                    <a:pt x="8255" y="1356"/>
                    <a:pt x="8413" y="1513"/>
                    <a:pt x="8413" y="1702"/>
                  </a:cubicBezTo>
                  <a:lnTo>
                    <a:pt x="8413" y="10649"/>
                  </a:lnTo>
                  <a:lnTo>
                    <a:pt x="8287" y="10649"/>
                  </a:lnTo>
                  <a:cubicBezTo>
                    <a:pt x="8287" y="10838"/>
                    <a:pt x="8129" y="10996"/>
                    <a:pt x="7940" y="10996"/>
                  </a:cubicBezTo>
                  <a:lnTo>
                    <a:pt x="1103" y="10996"/>
                  </a:lnTo>
                  <a:cubicBezTo>
                    <a:pt x="914" y="10996"/>
                    <a:pt x="757" y="10838"/>
                    <a:pt x="757" y="10649"/>
                  </a:cubicBezTo>
                  <a:lnTo>
                    <a:pt x="757" y="1702"/>
                  </a:lnTo>
                  <a:cubicBezTo>
                    <a:pt x="757" y="1513"/>
                    <a:pt x="914" y="1356"/>
                    <a:pt x="1103" y="1356"/>
                  </a:cubicBezTo>
                  <a:lnTo>
                    <a:pt x="2206" y="1356"/>
                  </a:lnTo>
                  <a:cubicBezTo>
                    <a:pt x="2364" y="1734"/>
                    <a:pt x="2742" y="2017"/>
                    <a:pt x="3214" y="2017"/>
                  </a:cubicBezTo>
                  <a:lnTo>
                    <a:pt x="5955" y="2017"/>
                  </a:lnTo>
                  <a:cubicBezTo>
                    <a:pt x="6396" y="2017"/>
                    <a:pt x="6774" y="1734"/>
                    <a:pt x="6932" y="1356"/>
                  </a:cubicBezTo>
                  <a:close/>
                  <a:moveTo>
                    <a:pt x="3120" y="1"/>
                  </a:moveTo>
                  <a:cubicBezTo>
                    <a:pt x="2679" y="1"/>
                    <a:pt x="2301" y="284"/>
                    <a:pt x="2143" y="694"/>
                  </a:cubicBezTo>
                  <a:lnTo>
                    <a:pt x="1040" y="694"/>
                  </a:lnTo>
                  <a:cubicBezTo>
                    <a:pt x="473" y="694"/>
                    <a:pt x="1" y="1166"/>
                    <a:pt x="1" y="1702"/>
                  </a:cubicBezTo>
                  <a:lnTo>
                    <a:pt x="1" y="10649"/>
                  </a:lnTo>
                  <a:cubicBezTo>
                    <a:pt x="1" y="11185"/>
                    <a:pt x="473" y="11658"/>
                    <a:pt x="1040" y="11658"/>
                  </a:cubicBezTo>
                  <a:lnTo>
                    <a:pt x="7877" y="11658"/>
                  </a:lnTo>
                  <a:cubicBezTo>
                    <a:pt x="8444" y="11658"/>
                    <a:pt x="8917" y="11185"/>
                    <a:pt x="8917" y="10649"/>
                  </a:cubicBezTo>
                  <a:lnTo>
                    <a:pt x="8917" y="1702"/>
                  </a:lnTo>
                  <a:cubicBezTo>
                    <a:pt x="8980" y="1166"/>
                    <a:pt x="8507" y="694"/>
                    <a:pt x="7971" y="694"/>
                  </a:cubicBezTo>
                  <a:lnTo>
                    <a:pt x="6869" y="694"/>
                  </a:lnTo>
                  <a:cubicBezTo>
                    <a:pt x="6711" y="284"/>
                    <a:pt x="6365" y="1"/>
                    <a:pt x="58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2" name="Google Shape;8112;p77"/>
            <p:cNvSpPr/>
            <p:nvPr/>
          </p:nvSpPr>
          <p:spPr>
            <a:xfrm>
              <a:off x="-3358175" y="2133275"/>
              <a:ext cx="86650" cy="18125"/>
            </a:xfrm>
            <a:custGeom>
              <a:avLst/>
              <a:gdLst/>
              <a:ahLst/>
              <a:cxnLst/>
              <a:rect l="l" t="t" r="r" b="b"/>
              <a:pathLst>
                <a:path w="3466" h="725" extrusionOk="0">
                  <a:moveTo>
                    <a:pt x="347" y="0"/>
                  </a:moveTo>
                  <a:cubicBezTo>
                    <a:pt x="158" y="0"/>
                    <a:pt x="0" y="158"/>
                    <a:pt x="0" y="378"/>
                  </a:cubicBezTo>
                  <a:cubicBezTo>
                    <a:pt x="0" y="567"/>
                    <a:pt x="158" y="725"/>
                    <a:pt x="347" y="725"/>
                  </a:cubicBezTo>
                  <a:lnTo>
                    <a:pt x="3088" y="725"/>
                  </a:lnTo>
                  <a:cubicBezTo>
                    <a:pt x="3308" y="725"/>
                    <a:pt x="3466" y="567"/>
                    <a:pt x="3466" y="378"/>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3" name="Google Shape;8113;p77"/>
            <p:cNvSpPr/>
            <p:nvPr/>
          </p:nvSpPr>
          <p:spPr>
            <a:xfrm>
              <a:off x="-3358175" y="2201800"/>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088" y="693"/>
                  </a:lnTo>
                  <a:cubicBezTo>
                    <a:pt x="3308" y="693"/>
                    <a:pt x="3466" y="536"/>
                    <a:pt x="3466" y="347"/>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4" name="Google Shape;8114;p77"/>
            <p:cNvSpPr/>
            <p:nvPr/>
          </p:nvSpPr>
          <p:spPr>
            <a:xfrm>
              <a:off x="-3358175" y="2270325"/>
              <a:ext cx="86650" cy="18125"/>
            </a:xfrm>
            <a:custGeom>
              <a:avLst/>
              <a:gdLst/>
              <a:ahLst/>
              <a:cxnLst/>
              <a:rect l="l" t="t" r="r" b="b"/>
              <a:pathLst>
                <a:path w="3466" h="725" extrusionOk="0">
                  <a:moveTo>
                    <a:pt x="347" y="0"/>
                  </a:moveTo>
                  <a:cubicBezTo>
                    <a:pt x="158" y="0"/>
                    <a:pt x="0" y="158"/>
                    <a:pt x="0" y="347"/>
                  </a:cubicBezTo>
                  <a:cubicBezTo>
                    <a:pt x="0" y="567"/>
                    <a:pt x="158" y="725"/>
                    <a:pt x="347" y="725"/>
                  </a:cubicBezTo>
                  <a:lnTo>
                    <a:pt x="3088" y="725"/>
                  </a:lnTo>
                  <a:cubicBezTo>
                    <a:pt x="3308" y="725"/>
                    <a:pt x="3466" y="567"/>
                    <a:pt x="3466" y="347"/>
                  </a:cubicBezTo>
                  <a:cubicBezTo>
                    <a:pt x="3466" y="158"/>
                    <a:pt x="3308" y="0"/>
                    <a:pt x="308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15" name="Google Shape;8115;p77"/>
          <p:cNvGrpSpPr/>
          <p:nvPr/>
        </p:nvGrpSpPr>
        <p:grpSpPr>
          <a:xfrm>
            <a:off x="7670267" y="2852369"/>
            <a:ext cx="497341" cy="564092"/>
            <a:chOff x="-3478675" y="2405775"/>
            <a:chExt cx="258350" cy="293025"/>
          </a:xfrm>
        </p:grpSpPr>
        <p:sp>
          <p:nvSpPr>
            <p:cNvPr id="8116" name="Google Shape;8116;p77"/>
            <p:cNvSpPr/>
            <p:nvPr/>
          </p:nvSpPr>
          <p:spPr>
            <a:xfrm>
              <a:off x="-3478675" y="2405775"/>
              <a:ext cx="258350" cy="293025"/>
            </a:xfrm>
            <a:custGeom>
              <a:avLst/>
              <a:gdLst/>
              <a:ahLst/>
              <a:cxnLst/>
              <a:rect l="l" t="t" r="r" b="b"/>
              <a:pathLst>
                <a:path w="10334" h="11721" extrusionOk="0">
                  <a:moveTo>
                    <a:pt x="6018" y="694"/>
                  </a:moveTo>
                  <a:cubicBezTo>
                    <a:pt x="6175" y="694"/>
                    <a:pt x="6301" y="757"/>
                    <a:pt x="6333" y="915"/>
                  </a:cubicBezTo>
                  <a:lnTo>
                    <a:pt x="6490" y="1450"/>
                  </a:lnTo>
                  <a:lnTo>
                    <a:pt x="3781" y="1450"/>
                  </a:lnTo>
                  <a:lnTo>
                    <a:pt x="3970" y="915"/>
                  </a:lnTo>
                  <a:cubicBezTo>
                    <a:pt x="4033" y="757"/>
                    <a:pt x="4127" y="694"/>
                    <a:pt x="4285" y="694"/>
                  </a:cubicBezTo>
                  <a:close/>
                  <a:moveTo>
                    <a:pt x="9326" y="2049"/>
                  </a:moveTo>
                  <a:cubicBezTo>
                    <a:pt x="9546" y="2049"/>
                    <a:pt x="9704" y="2206"/>
                    <a:pt x="9704" y="2427"/>
                  </a:cubicBezTo>
                  <a:lnTo>
                    <a:pt x="9704" y="2773"/>
                  </a:lnTo>
                  <a:lnTo>
                    <a:pt x="756" y="2773"/>
                  </a:lnTo>
                  <a:lnTo>
                    <a:pt x="756" y="2427"/>
                  </a:lnTo>
                  <a:cubicBezTo>
                    <a:pt x="756" y="2206"/>
                    <a:pt x="914" y="2049"/>
                    <a:pt x="1103" y="2049"/>
                  </a:cubicBezTo>
                  <a:close/>
                  <a:moveTo>
                    <a:pt x="8916" y="3498"/>
                  </a:moveTo>
                  <a:lnTo>
                    <a:pt x="8317" y="10681"/>
                  </a:lnTo>
                  <a:cubicBezTo>
                    <a:pt x="8317" y="10839"/>
                    <a:pt x="8160" y="10996"/>
                    <a:pt x="7971" y="10996"/>
                  </a:cubicBezTo>
                  <a:lnTo>
                    <a:pt x="2363" y="10996"/>
                  </a:lnTo>
                  <a:cubicBezTo>
                    <a:pt x="2174" y="10996"/>
                    <a:pt x="2048" y="10902"/>
                    <a:pt x="2016" y="10681"/>
                  </a:cubicBezTo>
                  <a:lnTo>
                    <a:pt x="1418" y="3498"/>
                  </a:lnTo>
                  <a:close/>
                  <a:moveTo>
                    <a:pt x="4285" y="1"/>
                  </a:moveTo>
                  <a:cubicBezTo>
                    <a:pt x="3875" y="1"/>
                    <a:pt x="3466" y="285"/>
                    <a:pt x="3308" y="726"/>
                  </a:cubicBezTo>
                  <a:lnTo>
                    <a:pt x="3088" y="1450"/>
                  </a:lnTo>
                  <a:lnTo>
                    <a:pt x="1040" y="1450"/>
                  </a:lnTo>
                  <a:cubicBezTo>
                    <a:pt x="473" y="1450"/>
                    <a:pt x="0" y="1923"/>
                    <a:pt x="0" y="2458"/>
                  </a:cubicBezTo>
                  <a:lnTo>
                    <a:pt x="0" y="3120"/>
                  </a:lnTo>
                  <a:cubicBezTo>
                    <a:pt x="0" y="3341"/>
                    <a:pt x="158" y="3498"/>
                    <a:pt x="347" y="3498"/>
                  </a:cubicBezTo>
                  <a:lnTo>
                    <a:pt x="725" y="3498"/>
                  </a:lnTo>
                  <a:lnTo>
                    <a:pt x="1292" y="10776"/>
                  </a:lnTo>
                  <a:cubicBezTo>
                    <a:pt x="1355" y="11311"/>
                    <a:pt x="1764" y="11721"/>
                    <a:pt x="2331" y="11721"/>
                  </a:cubicBezTo>
                  <a:lnTo>
                    <a:pt x="7908" y="11721"/>
                  </a:lnTo>
                  <a:cubicBezTo>
                    <a:pt x="8475" y="11721"/>
                    <a:pt x="8916" y="11311"/>
                    <a:pt x="8948" y="10776"/>
                  </a:cubicBezTo>
                  <a:lnTo>
                    <a:pt x="9546" y="3498"/>
                  </a:lnTo>
                  <a:lnTo>
                    <a:pt x="9893" y="3498"/>
                  </a:lnTo>
                  <a:cubicBezTo>
                    <a:pt x="10082" y="3498"/>
                    <a:pt x="10239" y="3341"/>
                    <a:pt x="10239" y="3120"/>
                  </a:cubicBezTo>
                  <a:lnTo>
                    <a:pt x="10239" y="2458"/>
                  </a:lnTo>
                  <a:cubicBezTo>
                    <a:pt x="10334" y="1860"/>
                    <a:pt x="9861" y="1450"/>
                    <a:pt x="9294" y="1450"/>
                  </a:cubicBezTo>
                  <a:lnTo>
                    <a:pt x="7246" y="1450"/>
                  </a:lnTo>
                  <a:lnTo>
                    <a:pt x="7026" y="726"/>
                  </a:lnTo>
                  <a:cubicBezTo>
                    <a:pt x="6868" y="285"/>
                    <a:pt x="6490" y="1"/>
                    <a:pt x="601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7" name="Google Shape;8117;p77"/>
            <p:cNvSpPr/>
            <p:nvPr/>
          </p:nvSpPr>
          <p:spPr>
            <a:xfrm>
              <a:off x="-3408575" y="2509750"/>
              <a:ext cx="17350" cy="154400"/>
            </a:xfrm>
            <a:custGeom>
              <a:avLst/>
              <a:gdLst/>
              <a:ahLst/>
              <a:cxnLst/>
              <a:rect l="l" t="t" r="r" b="b"/>
              <a:pathLst>
                <a:path w="694" h="6176" extrusionOk="0">
                  <a:moveTo>
                    <a:pt x="347" y="1"/>
                  </a:moveTo>
                  <a:cubicBezTo>
                    <a:pt x="158" y="1"/>
                    <a:pt x="0" y="158"/>
                    <a:pt x="0" y="347"/>
                  </a:cubicBezTo>
                  <a:lnTo>
                    <a:pt x="0" y="5829"/>
                  </a:lnTo>
                  <a:cubicBezTo>
                    <a:pt x="0" y="6018"/>
                    <a:pt x="158" y="6176"/>
                    <a:pt x="347" y="6176"/>
                  </a:cubicBezTo>
                  <a:cubicBezTo>
                    <a:pt x="536" y="6176"/>
                    <a:pt x="693" y="6018"/>
                    <a:pt x="693" y="5829"/>
                  </a:cubicBezTo>
                  <a:lnTo>
                    <a:pt x="693" y="347"/>
                  </a:ln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8" name="Google Shape;8118;p77"/>
            <p:cNvSpPr/>
            <p:nvPr/>
          </p:nvSpPr>
          <p:spPr>
            <a:xfrm>
              <a:off x="-33574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19" name="Google Shape;8119;p77"/>
            <p:cNvSpPr/>
            <p:nvPr/>
          </p:nvSpPr>
          <p:spPr>
            <a:xfrm>
              <a:off x="-3306200" y="2509750"/>
              <a:ext cx="17350" cy="154400"/>
            </a:xfrm>
            <a:custGeom>
              <a:avLst/>
              <a:gdLst/>
              <a:ahLst/>
              <a:cxnLst/>
              <a:rect l="l" t="t" r="r" b="b"/>
              <a:pathLst>
                <a:path w="694" h="6176" extrusionOk="0">
                  <a:moveTo>
                    <a:pt x="347" y="1"/>
                  </a:moveTo>
                  <a:cubicBezTo>
                    <a:pt x="158" y="1"/>
                    <a:pt x="1" y="158"/>
                    <a:pt x="1" y="347"/>
                  </a:cubicBezTo>
                  <a:lnTo>
                    <a:pt x="1" y="5829"/>
                  </a:lnTo>
                  <a:cubicBezTo>
                    <a:pt x="1" y="6018"/>
                    <a:pt x="158" y="6176"/>
                    <a:pt x="347" y="6176"/>
                  </a:cubicBezTo>
                  <a:cubicBezTo>
                    <a:pt x="536" y="6176"/>
                    <a:pt x="694" y="6018"/>
                    <a:pt x="694" y="5829"/>
                  </a:cubicBezTo>
                  <a:lnTo>
                    <a:pt x="694" y="347"/>
                  </a:ln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20" name="Google Shape;8120;p77"/>
          <p:cNvGrpSpPr/>
          <p:nvPr/>
        </p:nvGrpSpPr>
        <p:grpSpPr>
          <a:xfrm>
            <a:off x="7753625" y="3547197"/>
            <a:ext cx="362441" cy="562552"/>
            <a:chOff x="-3443250" y="2765725"/>
            <a:chExt cx="188275" cy="292225"/>
          </a:xfrm>
        </p:grpSpPr>
        <p:sp>
          <p:nvSpPr>
            <p:cNvPr id="8121" name="Google Shape;8121;p77"/>
            <p:cNvSpPr/>
            <p:nvPr/>
          </p:nvSpPr>
          <p:spPr>
            <a:xfrm>
              <a:off x="-3443250" y="2765725"/>
              <a:ext cx="188275" cy="292225"/>
            </a:xfrm>
            <a:custGeom>
              <a:avLst/>
              <a:gdLst/>
              <a:ahLst/>
              <a:cxnLst/>
              <a:rect l="l" t="t" r="r" b="b"/>
              <a:pathLst>
                <a:path w="7531" h="11689" extrusionOk="0">
                  <a:moveTo>
                    <a:pt x="6491" y="662"/>
                  </a:moveTo>
                  <a:cubicBezTo>
                    <a:pt x="6711" y="662"/>
                    <a:pt x="6869" y="820"/>
                    <a:pt x="6869" y="1009"/>
                  </a:cubicBezTo>
                  <a:lnTo>
                    <a:pt x="6869" y="7908"/>
                  </a:lnTo>
                  <a:cubicBezTo>
                    <a:pt x="6869" y="8097"/>
                    <a:pt x="6711" y="8255"/>
                    <a:pt x="6491" y="8255"/>
                  </a:cubicBezTo>
                  <a:lnTo>
                    <a:pt x="1040" y="8255"/>
                  </a:lnTo>
                  <a:cubicBezTo>
                    <a:pt x="851" y="8255"/>
                    <a:pt x="694" y="8097"/>
                    <a:pt x="694" y="7908"/>
                  </a:cubicBezTo>
                  <a:lnTo>
                    <a:pt x="694" y="1009"/>
                  </a:lnTo>
                  <a:cubicBezTo>
                    <a:pt x="694" y="820"/>
                    <a:pt x="851" y="662"/>
                    <a:pt x="1040" y="662"/>
                  </a:cubicBezTo>
                  <a:close/>
                  <a:moveTo>
                    <a:pt x="4821" y="8948"/>
                  </a:moveTo>
                  <a:lnTo>
                    <a:pt x="4821" y="10996"/>
                  </a:lnTo>
                  <a:lnTo>
                    <a:pt x="2773" y="10996"/>
                  </a:lnTo>
                  <a:lnTo>
                    <a:pt x="2773" y="8948"/>
                  </a:lnTo>
                  <a:close/>
                  <a:moveTo>
                    <a:pt x="1040" y="1"/>
                  </a:moveTo>
                  <a:cubicBezTo>
                    <a:pt x="473" y="1"/>
                    <a:pt x="1" y="473"/>
                    <a:pt x="1" y="1009"/>
                  </a:cubicBezTo>
                  <a:lnTo>
                    <a:pt x="1" y="7908"/>
                  </a:lnTo>
                  <a:cubicBezTo>
                    <a:pt x="1" y="8475"/>
                    <a:pt x="473" y="8917"/>
                    <a:pt x="1040" y="8917"/>
                  </a:cubicBezTo>
                  <a:lnTo>
                    <a:pt x="2049" y="8917"/>
                  </a:lnTo>
                  <a:lnTo>
                    <a:pt x="2049" y="10964"/>
                  </a:lnTo>
                  <a:lnTo>
                    <a:pt x="1040" y="10964"/>
                  </a:lnTo>
                  <a:cubicBezTo>
                    <a:pt x="851" y="10964"/>
                    <a:pt x="694" y="11122"/>
                    <a:pt x="694" y="11342"/>
                  </a:cubicBezTo>
                  <a:cubicBezTo>
                    <a:pt x="694" y="11531"/>
                    <a:pt x="851" y="11689"/>
                    <a:pt x="1040" y="11689"/>
                  </a:cubicBezTo>
                  <a:lnTo>
                    <a:pt x="6491" y="11689"/>
                  </a:lnTo>
                  <a:cubicBezTo>
                    <a:pt x="6711" y="11689"/>
                    <a:pt x="6869" y="11531"/>
                    <a:pt x="6869" y="11342"/>
                  </a:cubicBezTo>
                  <a:cubicBezTo>
                    <a:pt x="6869" y="11122"/>
                    <a:pt x="6711" y="10964"/>
                    <a:pt x="6491" y="10964"/>
                  </a:cubicBezTo>
                  <a:lnTo>
                    <a:pt x="5483" y="10964"/>
                  </a:lnTo>
                  <a:lnTo>
                    <a:pt x="5483" y="8917"/>
                  </a:lnTo>
                  <a:lnTo>
                    <a:pt x="6491" y="8917"/>
                  </a:lnTo>
                  <a:cubicBezTo>
                    <a:pt x="7058" y="8917"/>
                    <a:pt x="7531" y="8475"/>
                    <a:pt x="7531" y="7908"/>
                  </a:cubicBezTo>
                  <a:lnTo>
                    <a:pt x="7531" y="1009"/>
                  </a:lnTo>
                  <a:cubicBezTo>
                    <a:pt x="7531" y="442"/>
                    <a:pt x="7089" y="1"/>
                    <a:pt x="649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2" name="Google Shape;8122;p77"/>
            <p:cNvSpPr/>
            <p:nvPr/>
          </p:nvSpPr>
          <p:spPr>
            <a:xfrm>
              <a:off x="-3411725" y="2799375"/>
              <a:ext cx="124450" cy="86100"/>
            </a:xfrm>
            <a:custGeom>
              <a:avLst/>
              <a:gdLst/>
              <a:ahLst/>
              <a:cxnLst/>
              <a:rect l="l" t="t" r="r" b="b"/>
              <a:pathLst>
                <a:path w="4978" h="3444" extrusionOk="0">
                  <a:moveTo>
                    <a:pt x="1859" y="1144"/>
                  </a:moveTo>
                  <a:lnTo>
                    <a:pt x="2678" y="2750"/>
                  </a:lnTo>
                  <a:lnTo>
                    <a:pt x="1040" y="2750"/>
                  </a:lnTo>
                  <a:lnTo>
                    <a:pt x="1859" y="1144"/>
                  </a:lnTo>
                  <a:close/>
                  <a:moveTo>
                    <a:pt x="3151" y="1049"/>
                  </a:moveTo>
                  <a:lnTo>
                    <a:pt x="4033" y="2782"/>
                  </a:lnTo>
                  <a:lnTo>
                    <a:pt x="3403" y="2782"/>
                  </a:lnTo>
                  <a:lnTo>
                    <a:pt x="3403" y="2750"/>
                  </a:lnTo>
                  <a:lnTo>
                    <a:pt x="2804" y="1553"/>
                  </a:lnTo>
                  <a:lnTo>
                    <a:pt x="3151" y="1049"/>
                  </a:lnTo>
                  <a:close/>
                  <a:moveTo>
                    <a:pt x="3213" y="1"/>
                  </a:moveTo>
                  <a:cubicBezTo>
                    <a:pt x="3110" y="1"/>
                    <a:pt x="3003" y="48"/>
                    <a:pt x="2930" y="135"/>
                  </a:cubicBezTo>
                  <a:lnTo>
                    <a:pt x="2457" y="829"/>
                  </a:lnTo>
                  <a:lnTo>
                    <a:pt x="2142" y="198"/>
                  </a:lnTo>
                  <a:cubicBezTo>
                    <a:pt x="2079" y="72"/>
                    <a:pt x="1961" y="9"/>
                    <a:pt x="1839" y="9"/>
                  </a:cubicBezTo>
                  <a:cubicBezTo>
                    <a:pt x="1717" y="9"/>
                    <a:pt x="1591" y="72"/>
                    <a:pt x="1512" y="198"/>
                  </a:cubicBezTo>
                  <a:lnTo>
                    <a:pt x="126" y="2939"/>
                  </a:lnTo>
                  <a:cubicBezTo>
                    <a:pt x="0" y="3191"/>
                    <a:pt x="158" y="3443"/>
                    <a:pt x="441" y="3443"/>
                  </a:cubicBezTo>
                  <a:lnTo>
                    <a:pt x="4537" y="3443"/>
                  </a:lnTo>
                  <a:cubicBezTo>
                    <a:pt x="4757" y="3443"/>
                    <a:pt x="4978" y="3191"/>
                    <a:pt x="4852" y="2939"/>
                  </a:cubicBezTo>
                  <a:lnTo>
                    <a:pt x="3497" y="198"/>
                  </a:lnTo>
                  <a:cubicBezTo>
                    <a:pt x="3446" y="63"/>
                    <a:pt x="3332" y="1"/>
                    <a:pt x="321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3" name="Google Shape;8123;p77"/>
            <p:cNvSpPr/>
            <p:nvPr/>
          </p:nvSpPr>
          <p:spPr>
            <a:xfrm>
              <a:off x="-3392825" y="290357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4" name="Google Shape;8124;p77"/>
            <p:cNvSpPr/>
            <p:nvPr/>
          </p:nvSpPr>
          <p:spPr>
            <a:xfrm>
              <a:off x="-3392825" y="2938225"/>
              <a:ext cx="86650" cy="17350"/>
            </a:xfrm>
            <a:custGeom>
              <a:avLst/>
              <a:gdLst/>
              <a:ahLst/>
              <a:cxnLst/>
              <a:rect l="l" t="t" r="r" b="b"/>
              <a:pathLst>
                <a:path w="3466" h="694" extrusionOk="0">
                  <a:moveTo>
                    <a:pt x="347" y="0"/>
                  </a:moveTo>
                  <a:cubicBezTo>
                    <a:pt x="158" y="0"/>
                    <a:pt x="0" y="158"/>
                    <a:pt x="0" y="347"/>
                  </a:cubicBezTo>
                  <a:cubicBezTo>
                    <a:pt x="0" y="536"/>
                    <a:pt x="158" y="693"/>
                    <a:pt x="347" y="693"/>
                  </a:cubicBezTo>
                  <a:lnTo>
                    <a:pt x="3119" y="693"/>
                  </a:lnTo>
                  <a:cubicBezTo>
                    <a:pt x="3308" y="693"/>
                    <a:pt x="3466" y="536"/>
                    <a:pt x="3466" y="347"/>
                  </a:cubicBezTo>
                  <a:cubicBezTo>
                    <a:pt x="3466" y="158"/>
                    <a:pt x="3308" y="0"/>
                    <a:pt x="311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25" name="Google Shape;8125;p77"/>
          <p:cNvGrpSpPr/>
          <p:nvPr/>
        </p:nvGrpSpPr>
        <p:grpSpPr>
          <a:xfrm>
            <a:off x="1125486" y="4307913"/>
            <a:ext cx="495849" cy="564092"/>
            <a:chOff x="-1684475" y="2049000"/>
            <a:chExt cx="257575" cy="293025"/>
          </a:xfrm>
        </p:grpSpPr>
        <p:sp>
          <p:nvSpPr>
            <p:cNvPr id="8126" name="Google Shape;8126;p77"/>
            <p:cNvSpPr/>
            <p:nvPr/>
          </p:nvSpPr>
          <p:spPr>
            <a:xfrm>
              <a:off x="-1684475" y="2049000"/>
              <a:ext cx="257575" cy="293025"/>
            </a:xfrm>
            <a:custGeom>
              <a:avLst/>
              <a:gdLst/>
              <a:ahLst/>
              <a:cxnLst/>
              <a:rect l="l" t="t" r="r" b="b"/>
              <a:pathLst>
                <a:path w="10303" h="11721" extrusionOk="0">
                  <a:moveTo>
                    <a:pt x="1355" y="693"/>
                  </a:moveTo>
                  <a:lnTo>
                    <a:pt x="1355" y="1387"/>
                  </a:lnTo>
                  <a:lnTo>
                    <a:pt x="694" y="1387"/>
                  </a:lnTo>
                  <a:lnTo>
                    <a:pt x="694" y="693"/>
                  </a:lnTo>
                  <a:close/>
                  <a:moveTo>
                    <a:pt x="9546" y="693"/>
                  </a:moveTo>
                  <a:lnTo>
                    <a:pt x="9546" y="1387"/>
                  </a:lnTo>
                  <a:lnTo>
                    <a:pt x="8885" y="1387"/>
                  </a:lnTo>
                  <a:lnTo>
                    <a:pt x="8885" y="693"/>
                  </a:lnTo>
                  <a:close/>
                  <a:moveTo>
                    <a:pt x="8223" y="1387"/>
                  </a:moveTo>
                  <a:lnTo>
                    <a:pt x="8223" y="1733"/>
                  </a:lnTo>
                  <a:cubicBezTo>
                    <a:pt x="8223" y="1922"/>
                    <a:pt x="8381" y="2080"/>
                    <a:pt x="8570" y="2080"/>
                  </a:cubicBezTo>
                  <a:lnTo>
                    <a:pt x="8916" y="2080"/>
                  </a:lnTo>
                  <a:lnTo>
                    <a:pt x="8916" y="9641"/>
                  </a:lnTo>
                  <a:lnTo>
                    <a:pt x="8538" y="9641"/>
                  </a:lnTo>
                  <a:cubicBezTo>
                    <a:pt x="8349" y="9641"/>
                    <a:pt x="8192" y="9798"/>
                    <a:pt x="8192" y="9987"/>
                  </a:cubicBezTo>
                  <a:lnTo>
                    <a:pt x="8192" y="10365"/>
                  </a:lnTo>
                  <a:lnTo>
                    <a:pt x="2080" y="10365"/>
                  </a:lnTo>
                  <a:lnTo>
                    <a:pt x="2080" y="9987"/>
                  </a:lnTo>
                  <a:cubicBezTo>
                    <a:pt x="2080" y="9798"/>
                    <a:pt x="1922" y="9641"/>
                    <a:pt x="1733" y="9641"/>
                  </a:cubicBezTo>
                  <a:lnTo>
                    <a:pt x="1355" y="9641"/>
                  </a:lnTo>
                  <a:lnTo>
                    <a:pt x="1355" y="2080"/>
                  </a:lnTo>
                  <a:lnTo>
                    <a:pt x="1733" y="2080"/>
                  </a:lnTo>
                  <a:cubicBezTo>
                    <a:pt x="1922" y="2080"/>
                    <a:pt x="2080" y="1922"/>
                    <a:pt x="2080" y="1733"/>
                  </a:cubicBezTo>
                  <a:lnTo>
                    <a:pt x="2080" y="1387"/>
                  </a:lnTo>
                  <a:close/>
                  <a:moveTo>
                    <a:pt x="1355" y="10365"/>
                  </a:moveTo>
                  <a:lnTo>
                    <a:pt x="1355" y="11027"/>
                  </a:lnTo>
                  <a:lnTo>
                    <a:pt x="694" y="11027"/>
                  </a:lnTo>
                  <a:lnTo>
                    <a:pt x="694" y="10365"/>
                  </a:lnTo>
                  <a:close/>
                  <a:moveTo>
                    <a:pt x="9609" y="10365"/>
                  </a:moveTo>
                  <a:lnTo>
                    <a:pt x="9609" y="11027"/>
                  </a:lnTo>
                  <a:lnTo>
                    <a:pt x="8916" y="11027"/>
                  </a:lnTo>
                  <a:lnTo>
                    <a:pt x="8916" y="10365"/>
                  </a:lnTo>
                  <a:close/>
                  <a:moveTo>
                    <a:pt x="347" y="0"/>
                  </a:moveTo>
                  <a:cubicBezTo>
                    <a:pt x="158" y="0"/>
                    <a:pt x="0" y="158"/>
                    <a:pt x="0" y="347"/>
                  </a:cubicBezTo>
                  <a:lnTo>
                    <a:pt x="0" y="1733"/>
                  </a:lnTo>
                  <a:cubicBezTo>
                    <a:pt x="0" y="1922"/>
                    <a:pt x="158" y="2080"/>
                    <a:pt x="347" y="2080"/>
                  </a:cubicBezTo>
                  <a:lnTo>
                    <a:pt x="694" y="2080"/>
                  </a:lnTo>
                  <a:lnTo>
                    <a:pt x="694" y="9641"/>
                  </a:lnTo>
                  <a:lnTo>
                    <a:pt x="347" y="9641"/>
                  </a:lnTo>
                  <a:cubicBezTo>
                    <a:pt x="158" y="9641"/>
                    <a:pt x="0" y="9798"/>
                    <a:pt x="0" y="9987"/>
                  </a:cubicBezTo>
                  <a:lnTo>
                    <a:pt x="0" y="11374"/>
                  </a:lnTo>
                  <a:cubicBezTo>
                    <a:pt x="0" y="11563"/>
                    <a:pt x="158" y="11720"/>
                    <a:pt x="347" y="11720"/>
                  </a:cubicBezTo>
                  <a:lnTo>
                    <a:pt x="1733" y="11720"/>
                  </a:lnTo>
                  <a:cubicBezTo>
                    <a:pt x="1922" y="11720"/>
                    <a:pt x="2080" y="11563"/>
                    <a:pt x="2080" y="11374"/>
                  </a:cubicBezTo>
                  <a:lnTo>
                    <a:pt x="2080" y="11027"/>
                  </a:lnTo>
                  <a:lnTo>
                    <a:pt x="8223" y="11027"/>
                  </a:lnTo>
                  <a:lnTo>
                    <a:pt x="8223" y="11374"/>
                  </a:lnTo>
                  <a:cubicBezTo>
                    <a:pt x="8223" y="11563"/>
                    <a:pt x="8381" y="11720"/>
                    <a:pt x="8570" y="11720"/>
                  </a:cubicBezTo>
                  <a:lnTo>
                    <a:pt x="9956" y="11720"/>
                  </a:lnTo>
                  <a:cubicBezTo>
                    <a:pt x="10145" y="11720"/>
                    <a:pt x="10303" y="11563"/>
                    <a:pt x="10303" y="11374"/>
                  </a:cubicBezTo>
                  <a:lnTo>
                    <a:pt x="10303" y="9987"/>
                  </a:lnTo>
                  <a:cubicBezTo>
                    <a:pt x="10303" y="9798"/>
                    <a:pt x="10145" y="9641"/>
                    <a:pt x="9956" y="9641"/>
                  </a:cubicBezTo>
                  <a:lnTo>
                    <a:pt x="9609" y="9641"/>
                  </a:lnTo>
                  <a:lnTo>
                    <a:pt x="9609" y="2080"/>
                  </a:lnTo>
                  <a:lnTo>
                    <a:pt x="9924" y="2080"/>
                  </a:lnTo>
                  <a:cubicBezTo>
                    <a:pt x="10113" y="2080"/>
                    <a:pt x="10271" y="1922"/>
                    <a:pt x="10271" y="1733"/>
                  </a:cubicBezTo>
                  <a:lnTo>
                    <a:pt x="10271" y="347"/>
                  </a:lnTo>
                  <a:cubicBezTo>
                    <a:pt x="10271" y="158"/>
                    <a:pt x="10113" y="0"/>
                    <a:pt x="9924" y="0"/>
                  </a:cubicBezTo>
                  <a:lnTo>
                    <a:pt x="8538" y="0"/>
                  </a:lnTo>
                  <a:cubicBezTo>
                    <a:pt x="8349" y="0"/>
                    <a:pt x="8192" y="158"/>
                    <a:pt x="8192" y="347"/>
                  </a:cubicBezTo>
                  <a:lnTo>
                    <a:pt x="8192" y="693"/>
                  </a:lnTo>
                  <a:lnTo>
                    <a:pt x="2080" y="693"/>
                  </a:lnTo>
                  <a:lnTo>
                    <a:pt x="2080" y="347"/>
                  </a:lnTo>
                  <a:cubicBezTo>
                    <a:pt x="2080" y="158"/>
                    <a:pt x="1922" y="0"/>
                    <a:pt x="17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7" name="Google Shape;8127;p77"/>
            <p:cNvSpPr/>
            <p:nvPr/>
          </p:nvSpPr>
          <p:spPr>
            <a:xfrm>
              <a:off x="-1615950" y="2238800"/>
              <a:ext cx="120525" cy="18150"/>
            </a:xfrm>
            <a:custGeom>
              <a:avLst/>
              <a:gdLst/>
              <a:ahLst/>
              <a:cxnLst/>
              <a:rect l="l" t="t" r="r" b="b"/>
              <a:pathLst>
                <a:path w="4821" h="726" extrusionOk="0">
                  <a:moveTo>
                    <a:pt x="347" y="1"/>
                  </a:moveTo>
                  <a:cubicBezTo>
                    <a:pt x="158" y="1"/>
                    <a:pt x="0" y="159"/>
                    <a:pt x="0" y="348"/>
                  </a:cubicBezTo>
                  <a:cubicBezTo>
                    <a:pt x="0" y="568"/>
                    <a:pt x="158" y="726"/>
                    <a:pt x="347" y="726"/>
                  </a:cubicBezTo>
                  <a:lnTo>
                    <a:pt x="4443" y="726"/>
                  </a:lnTo>
                  <a:cubicBezTo>
                    <a:pt x="4663" y="726"/>
                    <a:pt x="4821" y="568"/>
                    <a:pt x="4821" y="348"/>
                  </a:cubicBezTo>
                  <a:cubicBezTo>
                    <a:pt x="4821" y="159"/>
                    <a:pt x="4663" y="1"/>
                    <a:pt x="444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8" name="Google Shape;8128;p77"/>
            <p:cNvSpPr/>
            <p:nvPr/>
          </p:nvSpPr>
          <p:spPr>
            <a:xfrm>
              <a:off x="-1615950" y="2273475"/>
              <a:ext cx="120525" cy="17350"/>
            </a:xfrm>
            <a:custGeom>
              <a:avLst/>
              <a:gdLst/>
              <a:ahLst/>
              <a:cxnLst/>
              <a:rect l="l" t="t" r="r" b="b"/>
              <a:pathLst>
                <a:path w="4821" h="694" extrusionOk="0">
                  <a:moveTo>
                    <a:pt x="347" y="0"/>
                  </a:moveTo>
                  <a:cubicBezTo>
                    <a:pt x="158" y="0"/>
                    <a:pt x="0" y="158"/>
                    <a:pt x="0" y="347"/>
                  </a:cubicBezTo>
                  <a:cubicBezTo>
                    <a:pt x="0" y="536"/>
                    <a:pt x="158" y="693"/>
                    <a:pt x="347" y="693"/>
                  </a:cubicBezTo>
                  <a:lnTo>
                    <a:pt x="4443" y="693"/>
                  </a:lnTo>
                  <a:cubicBezTo>
                    <a:pt x="4663" y="693"/>
                    <a:pt x="4821" y="536"/>
                    <a:pt x="4821" y="347"/>
                  </a:cubicBezTo>
                  <a:cubicBezTo>
                    <a:pt x="4821" y="158"/>
                    <a:pt x="4663" y="0"/>
                    <a:pt x="444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29" name="Google Shape;8129;p77"/>
            <p:cNvSpPr/>
            <p:nvPr/>
          </p:nvSpPr>
          <p:spPr>
            <a:xfrm>
              <a:off x="-1630925" y="2100975"/>
              <a:ext cx="153625" cy="116600"/>
            </a:xfrm>
            <a:custGeom>
              <a:avLst/>
              <a:gdLst/>
              <a:ahLst/>
              <a:cxnLst/>
              <a:rect l="l" t="t" r="r" b="b"/>
              <a:pathLst>
                <a:path w="6145" h="4664" extrusionOk="0">
                  <a:moveTo>
                    <a:pt x="4695" y="662"/>
                  </a:moveTo>
                  <a:lnTo>
                    <a:pt x="2994" y="1985"/>
                  </a:lnTo>
                  <a:lnTo>
                    <a:pt x="1261" y="662"/>
                  </a:lnTo>
                  <a:close/>
                  <a:moveTo>
                    <a:pt x="599" y="1040"/>
                  </a:moveTo>
                  <a:lnTo>
                    <a:pt x="2427" y="2395"/>
                  </a:lnTo>
                  <a:lnTo>
                    <a:pt x="599" y="3781"/>
                  </a:lnTo>
                  <a:lnTo>
                    <a:pt x="599" y="1040"/>
                  </a:lnTo>
                  <a:close/>
                  <a:moveTo>
                    <a:pt x="5357" y="1040"/>
                  </a:moveTo>
                  <a:lnTo>
                    <a:pt x="5357" y="3781"/>
                  </a:lnTo>
                  <a:lnTo>
                    <a:pt x="3561" y="2395"/>
                  </a:lnTo>
                  <a:lnTo>
                    <a:pt x="5357" y="1040"/>
                  </a:lnTo>
                  <a:close/>
                  <a:moveTo>
                    <a:pt x="2994" y="2836"/>
                  </a:moveTo>
                  <a:lnTo>
                    <a:pt x="4695" y="4128"/>
                  </a:lnTo>
                  <a:lnTo>
                    <a:pt x="1292" y="4128"/>
                  </a:lnTo>
                  <a:lnTo>
                    <a:pt x="2994" y="2836"/>
                  </a:lnTo>
                  <a:close/>
                  <a:moveTo>
                    <a:pt x="316" y="1"/>
                  </a:moveTo>
                  <a:cubicBezTo>
                    <a:pt x="158" y="1"/>
                    <a:pt x="1" y="127"/>
                    <a:pt x="1" y="284"/>
                  </a:cubicBezTo>
                  <a:lnTo>
                    <a:pt x="1" y="4380"/>
                  </a:lnTo>
                  <a:cubicBezTo>
                    <a:pt x="64" y="4506"/>
                    <a:pt x="127" y="4600"/>
                    <a:pt x="253" y="4663"/>
                  </a:cubicBezTo>
                  <a:lnTo>
                    <a:pt x="5798" y="4663"/>
                  </a:lnTo>
                  <a:cubicBezTo>
                    <a:pt x="5955" y="4663"/>
                    <a:pt x="6113" y="4537"/>
                    <a:pt x="6144" y="4317"/>
                  </a:cubicBezTo>
                  <a:lnTo>
                    <a:pt x="6081" y="316"/>
                  </a:lnTo>
                  <a:cubicBezTo>
                    <a:pt x="6081" y="158"/>
                    <a:pt x="5955" y="32"/>
                    <a:pt x="579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130" name="Google Shape;8130;p77"/>
          <p:cNvSpPr/>
          <p:nvPr/>
        </p:nvSpPr>
        <p:spPr>
          <a:xfrm>
            <a:off x="3296393" y="4309034"/>
            <a:ext cx="586808" cy="561831"/>
          </a:xfrm>
          <a:custGeom>
            <a:avLst/>
            <a:gdLst/>
            <a:ahLst/>
            <a:cxnLst/>
            <a:rect l="l" t="t" r="r" b="b"/>
            <a:pathLst>
              <a:path w="12193" h="11674" extrusionOk="0">
                <a:moveTo>
                  <a:pt x="9483" y="1174"/>
                </a:moveTo>
                <a:lnTo>
                  <a:pt x="9483" y="2308"/>
                </a:lnTo>
                <a:cubicBezTo>
                  <a:pt x="9483" y="2497"/>
                  <a:pt x="9641" y="2655"/>
                  <a:pt x="9830" y="2655"/>
                </a:cubicBezTo>
                <a:lnTo>
                  <a:pt x="10901" y="2655"/>
                </a:lnTo>
                <a:lnTo>
                  <a:pt x="9515" y="4041"/>
                </a:lnTo>
                <a:lnTo>
                  <a:pt x="8097" y="4041"/>
                </a:lnTo>
                <a:lnTo>
                  <a:pt x="8097" y="2560"/>
                </a:lnTo>
                <a:lnTo>
                  <a:pt x="9483" y="1174"/>
                </a:lnTo>
                <a:close/>
                <a:moveTo>
                  <a:pt x="4885" y="6181"/>
                </a:moveTo>
                <a:cubicBezTo>
                  <a:pt x="5033" y="6181"/>
                  <a:pt x="5183" y="6212"/>
                  <a:pt x="5325" y="6278"/>
                </a:cubicBezTo>
                <a:lnTo>
                  <a:pt x="4600" y="7003"/>
                </a:lnTo>
                <a:cubicBezTo>
                  <a:pt x="4474" y="7129"/>
                  <a:pt x="4474" y="7349"/>
                  <a:pt x="4600" y="7475"/>
                </a:cubicBezTo>
                <a:cubicBezTo>
                  <a:pt x="4663" y="7538"/>
                  <a:pt x="4750" y="7570"/>
                  <a:pt x="4836" y="7570"/>
                </a:cubicBezTo>
                <a:cubicBezTo>
                  <a:pt x="4923" y="7570"/>
                  <a:pt x="5010" y="7538"/>
                  <a:pt x="5073" y="7475"/>
                </a:cubicBezTo>
                <a:lnTo>
                  <a:pt x="5797" y="6751"/>
                </a:lnTo>
                <a:lnTo>
                  <a:pt x="5797" y="6751"/>
                </a:lnTo>
                <a:cubicBezTo>
                  <a:pt x="5986" y="7160"/>
                  <a:pt x="5892" y="7633"/>
                  <a:pt x="5577" y="7948"/>
                </a:cubicBezTo>
                <a:cubicBezTo>
                  <a:pt x="5388" y="8137"/>
                  <a:pt x="5128" y="8231"/>
                  <a:pt x="4864" y="8231"/>
                </a:cubicBezTo>
                <a:cubicBezTo>
                  <a:pt x="4600" y="8231"/>
                  <a:pt x="4332" y="8137"/>
                  <a:pt x="4127" y="7948"/>
                </a:cubicBezTo>
                <a:cubicBezTo>
                  <a:pt x="3749" y="7538"/>
                  <a:pt x="3749" y="6877"/>
                  <a:pt x="4127" y="6499"/>
                </a:cubicBezTo>
                <a:cubicBezTo>
                  <a:pt x="4333" y="6293"/>
                  <a:pt x="4606" y="6181"/>
                  <a:pt x="4885" y="6181"/>
                </a:cubicBezTo>
                <a:close/>
                <a:moveTo>
                  <a:pt x="4897" y="4831"/>
                </a:moveTo>
                <a:cubicBezTo>
                  <a:pt x="5396" y="4831"/>
                  <a:pt x="5890" y="4990"/>
                  <a:pt x="6301" y="5301"/>
                </a:cubicBezTo>
                <a:lnTo>
                  <a:pt x="5829" y="5774"/>
                </a:lnTo>
                <a:cubicBezTo>
                  <a:pt x="5553" y="5590"/>
                  <a:pt x="5233" y="5499"/>
                  <a:pt x="4911" y="5499"/>
                </a:cubicBezTo>
                <a:cubicBezTo>
                  <a:pt x="4460" y="5499"/>
                  <a:pt x="4004" y="5677"/>
                  <a:pt x="3655" y="6026"/>
                </a:cubicBezTo>
                <a:cubicBezTo>
                  <a:pt x="2993" y="6688"/>
                  <a:pt x="2993" y="7790"/>
                  <a:pt x="3655" y="8420"/>
                </a:cubicBezTo>
                <a:cubicBezTo>
                  <a:pt x="3986" y="8751"/>
                  <a:pt x="4427" y="8917"/>
                  <a:pt x="4864" y="8917"/>
                </a:cubicBezTo>
                <a:cubicBezTo>
                  <a:pt x="5301" y="8917"/>
                  <a:pt x="5734" y="8751"/>
                  <a:pt x="6049" y="8420"/>
                </a:cubicBezTo>
                <a:cubicBezTo>
                  <a:pt x="6648" y="7822"/>
                  <a:pt x="6742" y="6908"/>
                  <a:pt x="6301" y="6246"/>
                </a:cubicBezTo>
                <a:lnTo>
                  <a:pt x="6774" y="5774"/>
                </a:lnTo>
                <a:lnTo>
                  <a:pt x="6774" y="5774"/>
                </a:lnTo>
                <a:cubicBezTo>
                  <a:pt x="7467" y="6719"/>
                  <a:pt x="7404" y="8074"/>
                  <a:pt x="6585" y="8924"/>
                </a:cubicBezTo>
                <a:cubicBezTo>
                  <a:pt x="6112" y="9397"/>
                  <a:pt x="5498" y="9633"/>
                  <a:pt x="4883" y="9633"/>
                </a:cubicBezTo>
                <a:cubicBezTo>
                  <a:pt x="4269" y="9633"/>
                  <a:pt x="3655" y="9397"/>
                  <a:pt x="3182" y="8924"/>
                </a:cubicBezTo>
                <a:cubicBezTo>
                  <a:pt x="2237" y="7979"/>
                  <a:pt x="2237" y="6499"/>
                  <a:pt x="3182" y="5553"/>
                </a:cubicBezTo>
                <a:cubicBezTo>
                  <a:pt x="3667" y="5068"/>
                  <a:pt x="4286" y="4831"/>
                  <a:pt x="4897" y="4831"/>
                </a:cubicBezTo>
                <a:close/>
                <a:moveTo>
                  <a:pt x="4873" y="3463"/>
                </a:moveTo>
                <a:cubicBezTo>
                  <a:pt x="5728" y="3463"/>
                  <a:pt x="6583" y="3748"/>
                  <a:pt x="7278" y="4325"/>
                </a:cubicBezTo>
                <a:lnTo>
                  <a:pt x="6805" y="4797"/>
                </a:lnTo>
                <a:cubicBezTo>
                  <a:pt x="6228" y="4353"/>
                  <a:pt x="5533" y="4125"/>
                  <a:pt x="4844" y="4125"/>
                </a:cubicBezTo>
                <a:cubicBezTo>
                  <a:pt x="4065" y="4125"/>
                  <a:pt x="3294" y="4416"/>
                  <a:pt x="2710" y="5018"/>
                </a:cubicBezTo>
                <a:cubicBezTo>
                  <a:pt x="1481" y="6246"/>
                  <a:pt x="1481" y="8168"/>
                  <a:pt x="2710" y="9397"/>
                </a:cubicBezTo>
                <a:cubicBezTo>
                  <a:pt x="3324" y="10011"/>
                  <a:pt x="4112" y="10318"/>
                  <a:pt x="4899" y="10318"/>
                </a:cubicBezTo>
                <a:cubicBezTo>
                  <a:pt x="5687" y="10318"/>
                  <a:pt x="6474" y="10011"/>
                  <a:pt x="7089" y="9397"/>
                </a:cubicBezTo>
                <a:cubicBezTo>
                  <a:pt x="8223" y="8263"/>
                  <a:pt x="8255" y="6467"/>
                  <a:pt x="7309" y="5301"/>
                </a:cubicBezTo>
                <a:lnTo>
                  <a:pt x="7782" y="4829"/>
                </a:lnTo>
                <a:lnTo>
                  <a:pt x="7782" y="4829"/>
                </a:lnTo>
                <a:cubicBezTo>
                  <a:pt x="8979" y="6278"/>
                  <a:pt x="8885" y="8483"/>
                  <a:pt x="7530" y="9870"/>
                </a:cubicBezTo>
                <a:cubicBezTo>
                  <a:pt x="6790" y="10594"/>
                  <a:pt x="5821" y="10956"/>
                  <a:pt x="4856" y="10956"/>
                </a:cubicBezTo>
                <a:cubicBezTo>
                  <a:pt x="3891" y="10956"/>
                  <a:pt x="2930" y="10594"/>
                  <a:pt x="2206" y="9870"/>
                </a:cubicBezTo>
                <a:cubicBezTo>
                  <a:pt x="756" y="8420"/>
                  <a:pt x="756" y="6026"/>
                  <a:pt x="2206" y="4545"/>
                </a:cubicBezTo>
                <a:cubicBezTo>
                  <a:pt x="2941" y="3827"/>
                  <a:pt x="3907" y="3463"/>
                  <a:pt x="4873" y="3463"/>
                </a:cubicBezTo>
                <a:close/>
                <a:moveTo>
                  <a:pt x="9899" y="0"/>
                </a:moveTo>
                <a:cubicBezTo>
                  <a:pt x="9813" y="0"/>
                  <a:pt x="9722" y="32"/>
                  <a:pt x="9641" y="103"/>
                </a:cubicBezTo>
                <a:lnTo>
                  <a:pt x="7561" y="2182"/>
                </a:lnTo>
                <a:cubicBezTo>
                  <a:pt x="7467" y="2277"/>
                  <a:pt x="7435" y="2340"/>
                  <a:pt x="7435" y="2434"/>
                </a:cubicBezTo>
                <a:lnTo>
                  <a:pt x="7435" y="3600"/>
                </a:lnTo>
                <a:cubicBezTo>
                  <a:pt x="6670" y="3071"/>
                  <a:pt x="5769" y="2807"/>
                  <a:pt x="4868" y="2807"/>
                </a:cubicBezTo>
                <a:cubicBezTo>
                  <a:pt x="3731" y="2807"/>
                  <a:pt x="2595" y="3229"/>
                  <a:pt x="1733" y="4073"/>
                </a:cubicBezTo>
                <a:cubicBezTo>
                  <a:pt x="0" y="5805"/>
                  <a:pt x="0" y="8641"/>
                  <a:pt x="1733" y="10374"/>
                </a:cubicBezTo>
                <a:cubicBezTo>
                  <a:pt x="2599" y="11240"/>
                  <a:pt x="3741" y="11673"/>
                  <a:pt x="4883" y="11673"/>
                </a:cubicBezTo>
                <a:cubicBezTo>
                  <a:pt x="6026" y="11673"/>
                  <a:pt x="7168" y="11240"/>
                  <a:pt x="8034" y="10374"/>
                </a:cubicBezTo>
                <a:cubicBezTo>
                  <a:pt x="9578" y="8861"/>
                  <a:pt x="9735" y="6436"/>
                  <a:pt x="8538" y="4703"/>
                </a:cubicBezTo>
                <a:lnTo>
                  <a:pt x="9672" y="4703"/>
                </a:lnTo>
                <a:cubicBezTo>
                  <a:pt x="9767" y="4703"/>
                  <a:pt x="9893" y="4671"/>
                  <a:pt x="9924" y="4608"/>
                </a:cubicBezTo>
                <a:lnTo>
                  <a:pt x="12004" y="2497"/>
                </a:lnTo>
                <a:cubicBezTo>
                  <a:pt x="12193" y="2308"/>
                  <a:pt x="12035" y="1962"/>
                  <a:pt x="11783" y="1962"/>
                </a:cubicBezTo>
                <a:lnTo>
                  <a:pt x="10239" y="1962"/>
                </a:lnTo>
                <a:lnTo>
                  <a:pt x="10239" y="355"/>
                </a:lnTo>
                <a:cubicBezTo>
                  <a:pt x="10239" y="141"/>
                  <a:pt x="10080" y="0"/>
                  <a:pt x="98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131" name="Google Shape;8131;p77"/>
          <p:cNvGrpSpPr/>
          <p:nvPr/>
        </p:nvGrpSpPr>
        <p:grpSpPr>
          <a:xfrm>
            <a:off x="5512010" y="4308685"/>
            <a:ext cx="561061" cy="562552"/>
            <a:chOff x="-1700225" y="2768875"/>
            <a:chExt cx="291450" cy="292225"/>
          </a:xfrm>
        </p:grpSpPr>
        <p:sp>
          <p:nvSpPr>
            <p:cNvPr id="8132" name="Google Shape;8132;p77"/>
            <p:cNvSpPr/>
            <p:nvPr/>
          </p:nvSpPr>
          <p:spPr>
            <a:xfrm>
              <a:off x="-1700225" y="2768875"/>
              <a:ext cx="291450" cy="292225"/>
            </a:xfrm>
            <a:custGeom>
              <a:avLst/>
              <a:gdLst/>
              <a:ahLst/>
              <a:cxnLst/>
              <a:rect l="l" t="t" r="r" b="b"/>
              <a:pathLst>
                <a:path w="11658" h="11689" extrusionOk="0">
                  <a:moveTo>
                    <a:pt x="10617" y="662"/>
                  </a:moveTo>
                  <a:cubicBezTo>
                    <a:pt x="10806" y="662"/>
                    <a:pt x="10964" y="820"/>
                    <a:pt x="10964" y="1009"/>
                  </a:cubicBezTo>
                  <a:lnTo>
                    <a:pt x="10964" y="2710"/>
                  </a:lnTo>
                  <a:lnTo>
                    <a:pt x="662" y="2710"/>
                  </a:lnTo>
                  <a:lnTo>
                    <a:pt x="662" y="1009"/>
                  </a:lnTo>
                  <a:cubicBezTo>
                    <a:pt x="662" y="820"/>
                    <a:pt x="819" y="662"/>
                    <a:pt x="1008" y="662"/>
                  </a:cubicBezTo>
                  <a:close/>
                  <a:moveTo>
                    <a:pt x="10933" y="3372"/>
                  </a:moveTo>
                  <a:lnTo>
                    <a:pt x="10933" y="9232"/>
                  </a:lnTo>
                  <a:cubicBezTo>
                    <a:pt x="10964" y="9484"/>
                    <a:pt x="10806" y="9610"/>
                    <a:pt x="10617" y="9610"/>
                  </a:cubicBezTo>
                  <a:lnTo>
                    <a:pt x="8916" y="9610"/>
                  </a:lnTo>
                  <a:lnTo>
                    <a:pt x="8570" y="9232"/>
                  </a:lnTo>
                  <a:cubicBezTo>
                    <a:pt x="8601" y="9169"/>
                    <a:pt x="8664" y="9043"/>
                    <a:pt x="8696" y="8917"/>
                  </a:cubicBezTo>
                  <a:lnTo>
                    <a:pt x="9200" y="8917"/>
                  </a:lnTo>
                  <a:cubicBezTo>
                    <a:pt x="9389" y="8917"/>
                    <a:pt x="9546" y="8759"/>
                    <a:pt x="9546" y="8570"/>
                  </a:cubicBezTo>
                  <a:lnTo>
                    <a:pt x="9546" y="7184"/>
                  </a:lnTo>
                  <a:cubicBezTo>
                    <a:pt x="9546" y="6995"/>
                    <a:pt x="9389" y="6837"/>
                    <a:pt x="9200" y="6837"/>
                  </a:cubicBezTo>
                  <a:lnTo>
                    <a:pt x="8696" y="6837"/>
                  </a:lnTo>
                  <a:cubicBezTo>
                    <a:pt x="8664" y="6711"/>
                    <a:pt x="8601" y="6648"/>
                    <a:pt x="8570" y="6522"/>
                  </a:cubicBezTo>
                  <a:lnTo>
                    <a:pt x="8916" y="6176"/>
                  </a:lnTo>
                  <a:cubicBezTo>
                    <a:pt x="9042" y="6050"/>
                    <a:pt x="9042" y="5798"/>
                    <a:pt x="8916" y="5703"/>
                  </a:cubicBezTo>
                  <a:lnTo>
                    <a:pt x="7940" y="4695"/>
                  </a:lnTo>
                  <a:cubicBezTo>
                    <a:pt x="7877" y="4648"/>
                    <a:pt x="7790" y="4624"/>
                    <a:pt x="7703" y="4624"/>
                  </a:cubicBezTo>
                  <a:cubicBezTo>
                    <a:pt x="7617" y="4624"/>
                    <a:pt x="7530" y="4648"/>
                    <a:pt x="7467" y="4695"/>
                  </a:cubicBezTo>
                  <a:lnTo>
                    <a:pt x="7120" y="5073"/>
                  </a:lnTo>
                  <a:cubicBezTo>
                    <a:pt x="7026" y="5041"/>
                    <a:pt x="6931" y="4978"/>
                    <a:pt x="6805" y="4947"/>
                  </a:cubicBezTo>
                  <a:lnTo>
                    <a:pt x="6805" y="4443"/>
                  </a:lnTo>
                  <a:cubicBezTo>
                    <a:pt x="6805" y="4222"/>
                    <a:pt x="6648" y="4065"/>
                    <a:pt x="6459" y="4065"/>
                  </a:cubicBezTo>
                  <a:lnTo>
                    <a:pt x="5073" y="4065"/>
                  </a:lnTo>
                  <a:cubicBezTo>
                    <a:pt x="4884" y="4065"/>
                    <a:pt x="4726" y="4222"/>
                    <a:pt x="4726" y="4443"/>
                  </a:cubicBezTo>
                  <a:lnTo>
                    <a:pt x="4726" y="4947"/>
                  </a:lnTo>
                  <a:cubicBezTo>
                    <a:pt x="4600" y="4978"/>
                    <a:pt x="4506" y="5010"/>
                    <a:pt x="4411" y="5073"/>
                  </a:cubicBezTo>
                  <a:lnTo>
                    <a:pt x="4033" y="4695"/>
                  </a:lnTo>
                  <a:cubicBezTo>
                    <a:pt x="3986" y="4648"/>
                    <a:pt x="3899" y="4624"/>
                    <a:pt x="3808" y="4624"/>
                  </a:cubicBezTo>
                  <a:cubicBezTo>
                    <a:pt x="3718" y="4624"/>
                    <a:pt x="3623" y="4648"/>
                    <a:pt x="3560" y="4695"/>
                  </a:cubicBezTo>
                  <a:lnTo>
                    <a:pt x="2584" y="5703"/>
                  </a:lnTo>
                  <a:cubicBezTo>
                    <a:pt x="2458" y="5829"/>
                    <a:pt x="2458" y="6050"/>
                    <a:pt x="2584" y="6176"/>
                  </a:cubicBezTo>
                  <a:lnTo>
                    <a:pt x="2930" y="6522"/>
                  </a:lnTo>
                  <a:cubicBezTo>
                    <a:pt x="2899" y="6585"/>
                    <a:pt x="2867" y="6711"/>
                    <a:pt x="2836" y="6837"/>
                  </a:cubicBezTo>
                  <a:lnTo>
                    <a:pt x="2300" y="6837"/>
                  </a:lnTo>
                  <a:cubicBezTo>
                    <a:pt x="2111" y="6837"/>
                    <a:pt x="1954" y="6995"/>
                    <a:pt x="1954" y="7184"/>
                  </a:cubicBezTo>
                  <a:lnTo>
                    <a:pt x="1954" y="8570"/>
                  </a:lnTo>
                  <a:cubicBezTo>
                    <a:pt x="1954" y="8759"/>
                    <a:pt x="2111" y="8917"/>
                    <a:pt x="2300" y="8917"/>
                  </a:cubicBezTo>
                  <a:lnTo>
                    <a:pt x="2836" y="8917"/>
                  </a:lnTo>
                  <a:cubicBezTo>
                    <a:pt x="2867" y="9043"/>
                    <a:pt x="2899" y="9137"/>
                    <a:pt x="2930" y="9232"/>
                  </a:cubicBezTo>
                  <a:lnTo>
                    <a:pt x="2584" y="9610"/>
                  </a:lnTo>
                  <a:lnTo>
                    <a:pt x="977" y="9610"/>
                  </a:lnTo>
                  <a:cubicBezTo>
                    <a:pt x="788" y="9610"/>
                    <a:pt x="630" y="9452"/>
                    <a:pt x="630" y="9232"/>
                  </a:cubicBezTo>
                  <a:lnTo>
                    <a:pt x="630" y="3372"/>
                  </a:lnTo>
                  <a:close/>
                  <a:moveTo>
                    <a:pt x="6112" y="4726"/>
                  </a:moveTo>
                  <a:lnTo>
                    <a:pt x="6112" y="5136"/>
                  </a:lnTo>
                  <a:cubicBezTo>
                    <a:pt x="6112" y="5294"/>
                    <a:pt x="6207" y="5420"/>
                    <a:pt x="6364" y="5451"/>
                  </a:cubicBezTo>
                  <a:cubicBezTo>
                    <a:pt x="6553" y="5514"/>
                    <a:pt x="6805" y="5609"/>
                    <a:pt x="6994" y="5735"/>
                  </a:cubicBezTo>
                  <a:cubicBezTo>
                    <a:pt x="7041" y="5769"/>
                    <a:pt x="7096" y="5783"/>
                    <a:pt x="7153" y="5783"/>
                  </a:cubicBezTo>
                  <a:cubicBezTo>
                    <a:pt x="7251" y="5783"/>
                    <a:pt x="7356" y="5743"/>
                    <a:pt x="7435" y="5703"/>
                  </a:cubicBezTo>
                  <a:lnTo>
                    <a:pt x="7751" y="5388"/>
                  </a:lnTo>
                  <a:lnTo>
                    <a:pt x="8223" y="5861"/>
                  </a:lnTo>
                  <a:lnTo>
                    <a:pt x="7908" y="6176"/>
                  </a:lnTo>
                  <a:cubicBezTo>
                    <a:pt x="7782" y="6302"/>
                    <a:pt x="7782" y="6459"/>
                    <a:pt x="7877" y="6617"/>
                  </a:cubicBezTo>
                  <a:cubicBezTo>
                    <a:pt x="7971" y="6806"/>
                    <a:pt x="8066" y="6995"/>
                    <a:pt x="8129" y="7247"/>
                  </a:cubicBezTo>
                  <a:cubicBezTo>
                    <a:pt x="8192" y="7404"/>
                    <a:pt x="8286" y="7499"/>
                    <a:pt x="8444" y="7499"/>
                  </a:cubicBezTo>
                  <a:lnTo>
                    <a:pt x="8885" y="7499"/>
                  </a:lnTo>
                  <a:lnTo>
                    <a:pt x="8885" y="8192"/>
                  </a:lnTo>
                  <a:lnTo>
                    <a:pt x="8444" y="8192"/>
                  </a:lnTo>
                  <a:cubicBezTo>
                    <a:pt x="8286" y="8192"/>
                    <a:pt x="8192" y="8286"/>
                    <a:pt x="8129" y="8444"/>
                  </a:cubicBezTo>
                  <a:cubicBezTo>
                    <a:pt x="8097" y="8665"/>
                    <a:pt x="7971" y="8885"/>
                    <a:pt x="7877" y="9074"/>
                  </a:cubicBezTo>
                  <a:cubicBezTo>
                    <a:pt x="7782" y="9200"/>
                    <a:pt x="7814" y="9389"/>
                    <a:pt x="7908" y="9515"/>
                  </a:cubicBezTo>
                  <a:lnTo>
                    <a:pt x="8223" y="9830"/>
                  </a:lnTo>
                  <a:lnTo>
                    <a:pt x="7751" y="10303"/>
                  </a:lnTo>
                  <a:lnTo>
                    <a:pt x="7435" y="9988"/>
                  </a:lnTo>
                  <a:cubicBezTo>
                    <a:pt x="7368" y="9920"/>
                    <a:pt x="7291" y="9889"/>
                    <a:pt x="7211" y="9889"/>
                  </a:cubicBezTo>
                  <a:cubicBezTo>
                    <a:pt x="7141" y="9889"/>
                    <a:pt x="7068" y="9912"/>
                    <a:pt x="6994" y="9956"/>
                  </a:cubicBezTo>
                  <a:cubicBezTo>
                    <a:pt x="6805" y="10082"/>
                    <a:pt x="6616" y="10145"/>
                    <a:pt x="6364" y="10208"/>
                  </a:cubicBezTo>
                  <a:cubicBezTo>
                    <a:pt x="6207" y="10271"/>
                    <a:pt x="6112" y="10366"/>
                    <a:pt x="6112" y="10555"/>
                  </a:cubicBezTo>
                  <a:lnTo>
                    <a:pt x="6112" y="10964"/>
                  </a:lnTo>
                  <a:lnTo>
                    <a:pt x="5419" y="10964"/>
                  </a:lnTo>
                  <a:lnTo>
                    <a:pt x="5419" y="10555"/>
                  </a:lnTo>
                  <a:cubicBezTo>
                    <a:pt x="5419" y="10366"/>
                    <a:pt x="5325" y="10271"/>
                    <a:pt x="5167" y="10208"/>
                  </a:cubicBezTo>
                  <a:cubicBezTo>
                    <a:pt x="4947" y="10177"/>
                    <a:pt x="4726" y="10051"/>
                    <a:pt x="4537" y="9956"/>
                  </a:cubicBezTo>
                  <a:cubicBezTo>
                    <a:pt x="4491" y="9921"/>
                    <a:pt x="4436" y="9908"/>
                    <a:pt x="4379" y="9908"/>
                  </a:cubicBezTo>
                  <a:cubicBezTo>
                    <a:pt x="4281" y="9908"/>
                    <a:pt x="4176" y="9948"/>
                    <a:pt x="4096" y="9988"/>
                  </a:cubicBezTo>
                  <a:lnTo>
                    <a:pt x="3781" y="10303"/>
                  </a:lnTo>
                  <a:lnTo>
                    <a:pt x="3308" y="9830"/>
                  </a:lnTo>
                  <a:lnTo>
                    <a:pt x="3623" y="9515"/>
                  </a:lnTo>
                  <a:cubicBezTo>
                    <a:pt x="3749" y="9389"/>
                    <a:pt x="3749" y="9232"/>
                    <a:pt x="3655" y="9074"/>
                  </a:cubicBezTo>
                  <a:cubicBezTo>
                    <a:pt x="3529" y="8885"/>
                    <a:pt x="3466" y="8696"/>
                    <a:pt x="3371" y="8444"/>
                  </a:cubicBezTo>
                  <a:cubicBezTo>
                    <a:pt x="3340" y="8286"/>
                    <a:pt x="3214" y="8192"/>
                    <a:pt x="3056" y="8192"/>
                  </a:cubicBezTo>
                  <a:lnTo>
                    <a:pt x="2647" y="8192"/>
                  </a:lnTo>
                  <a:lnTo>
                    <a:pt x="2647" y="7499"/>
                  </a:lnTo>
                  <a:lnTo>
                    <a:pt x="3056" y="7499"/>
                  </a:lnTo>
                  <a:cubicBezTo>
                    <a:pt x="3214" y="7499"/>
                    <a:pt x="3340" y="7404"/>
                    <a:pt x="3371" y="7247"/>
                  </a:cubicBezTo>
                  <a:cubicBezTo>
                    <a:pt x="3434" y="7026"/>
                    <a:pt x="3529" y="6806"/>
                    <a:pt x="3655" y="6617"/>
                  </a:cubicBezTo>
                  <a:cubicBezTo>
                    <a:pt x="3749" y="6491"/>
                    <a:pt x="3686" y="6302"/>
                    <a:pt x="3623" y="6176"/>
                  </a:cubicBezTo>
                  <a:lnTo>
                    <a:pt x="3308" y="5861"/>
                  </a:lnTo>
                  <a:lnTo>
                    <a:pt x="3781" y="5388"/>
                  </a:lnTo>
                  <a:lnTo>
                    <a:pt x="4096" y="5703"/>
                  </a:lnTo>
                  <a:cubicBezTo>
                    <a:pt x="4163" y="5771"/>
                    <a:pt x="4240" y="5802"/>
                    <a:pt x="4321" y="5802"/>
                  </a:cubicBezTo>
                  <a:cubicBezTo>
                    <a:pt x="4391" y="5802"/>
                    <a:pt x="4464" y="5778"/>
                    <a:pt x="4537" y="5735"/>
                  </a:cubicBezTo>
                  <a:cubicBezTo>
                    <a:pt x="4726" y="5609"/>
                    <a:pt x="4915" y="5546"/>
                    <a:pt x="5167" y="5451"/>
                  </a:cubicBezTo>
                  <a:cubicBezTo>
                    <a:pt x="5325" y="5420"/>
                    <a:pt x="5419" y="5294"/>
                    <a:pt x="5419" y="5136"/>
                  </a:cubicBezTo>
                  <a:lnTo>
                    <a:pt x="5419" y="4726"/>
                  </a:lnTo>
                  <a:close/>
                  <a:moveTo>
                    <a:pt x="1008" y="1"/>
                  </a:moveTo>
                  <a:cubicBezTo>
                    <a:pt x="473" y="1"/>
                    <a:pt x="0" y="473"/>
                    <a:pt x="0" y="1009"/>
                  </a:cubicBezTo>
                  <a:lnTo>
                    <a:pt x="0" y="9295"/>
                  </a:lnTo>
                  <a:cubicBezTo>
                    <a:pt x="0" y="9830"/>
                    <a:pt x="473" y="10303"/>
                    <a:pt x="1008" y="10303"/>
                  </a:cubicBezTo>
                  <a:lnTo>
                    <a:pt x="2867" y="10303"/>
                  </a:lnTo>
                  <a:lnTo>
                    <a:pt x="3623" y="11059"/>
                  </a:lnTo>
                  <a:cubicBezTo>
                    <a:pt x="3671" y="11122"/>
                    <a:pt x="3757" y="11153"/>
                    <a:pt x="3848" y="11153"/>
                  </a:cubicBezTo>
                  <a:cubicBezTo>
                    <a:pt x="3938" y="11153"/>
                    <a:pt x="4033" y="11122"/>
                    <a:pt x="4096" y="11059"/>
                  </a:cubicBezTo>
                  <a:lnTo>
                    <a:pt x="4442" y="10712"/>
                  </a:lnTo>
                  <a:cubicBezTo>
                    <a:pt x="4506" y="10744"/>
                    <a:pt x="4632" y="10775"/>
                    <a:pt x="4758" y="10807"/>
                  </a:cubicBezTo>
                  <a:lnTo>
                    <a:pt x="4758" y="11342"/>
                  </a:lnTo>
                  <a:cubicBezTo>
                    <a:pt x="4758" y="11531"/>
                    <a:pt x="4915" y="11689"/>
                    <a:pt x="5104" y="11689"/>
                  </a:cubicBezTo>
                  <a:lnTo>
                    <a:pt x="6490" y="11689"/>
                  </a:lnTo>
                  <a:cubicBezTo>
                    <a:pt x="6679" y="11689"/>
                    <a:pt x="6837" y="11531"/>
                    <a:pt x="6837" y="11342"/>
                  </a:cubicBezTo>
                  <a:lnTo>
                    <a:pt x="6837" y="10807"/>
                  </a:lnTo>
                  <a:cubicBezTo>
                    <a:pt x="6963" y="10775"/>
                    <a:pt x="7026" y="10744"/>
                    <a:pt x="7152" y="10712"/>
                  </a:cubicBezTo>
                  <a:lnTo>
                    <a:pt x="7498" y="11059"/>
                  </a:lnTo>
                  <a:cubicBezTo>
                    <a:pt x="7561" y="11122"/>
                    <a:pt x="7656" y="11153"/>
                    <a:pt x="7747" y="11153"/>
                  </a:cubicBezTo>
                  <a:cubicBezTo>
                    <a:pt x="7837" y="11153"/>
                    <a:pt x="7924" y="11122"/>
                    <a:pt x="7971" y="11059"/>
                  </a:cubicBezTo>
                  <a:lnTo>
                    <a:pt x="8727" y="10303"/>
                  </a:lnTo>
                  <a:lnTo>
                    <a:pt x="10617" y="10303"/>
                  </a:lnTo>
                  <a:cubicBezTo>
                    <a:pt x="11185" y="10303"/>
                    <a:pt x="11657" y="9830"/>
                    <a:pt x="11657" y="9295"/>
                  </a:cubicBezTo>
                  <a:lnTo>
                    <a:pt x="11657" y="1009"/>
                  </a:lnTo>
                  <a:cubicBezTo>
                    <a:pt x="11657" y="473"/>
                    <a:pt x="11216" y="1"/>
                    <a:pt x="106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3" name="Google Shape;8133;p77"/>
            <p:cNvSpPr/>
            <p:nvPr/>
          </p:nvSpPr>
          <p:spPr>
            <a:xfrm>
              <a:off x="-1667150" y="2801950"/>
              <a:ext cx="18150" cy="18150"/>
            </a:xfrm>
            <a:custGeom>
              <a:avLst/>
              <a:gdLst/>
              <a:ahLst/>
              <a:cxnLst/>
              <a:rect l="l" t="t" r="r" b="b"/>
              <a:pathLst>
                <a:path w="726" h="726" extrusionOk="0">
                  <a:moveTo>
                    <a:pt x="347" y="1"/>
                  </a:moveTo>
                  <a:cubicBezTo>
                    <a:pt x="158" y="1"/>
                    <a:pt x="1" y="158"/>
                    <a:pt x="1" y="347"/>
                  </a:cubicBezTo>
                  <a:cubicBezTo>
                    <a:pt x="1" y="536"/>
                    <a:pt x="158" y="726"/>
                    <a:pt x="347" y="726"/>
                  </a:cubicBezTo>
                  <a:cubicBezTo>
                    <a:pt x="568" y="726"/>
                    <a:pt x="725" y="536"/>
                    <a:pt x="725" y="347"/>
                  </a:cubicBezTo>
                  <a:cubicBezTo>
                    <a:pt x="725" y="158"/>
                    <a:pt x="568"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4" name="Google Shape;8134;p77"/>
            <p:cNvSpPr/>
            <p:nvPr/>
          </p:nvSpPr>
          <p:spPr>
            <a:xfrm>
              <a:off x="-1632500" y="2801950"/>
              <a:ext cx="17350" cy="18150"/>
            </a:xfrm>
            <a:custGeom>
              <a:avLst/>
              <a:gdLst/>
              <a:ahLst/>
              <a:cxnLst/>
              <a:rect l="l" t="t" r="r" b="b"/>
              <a:pathLst>
                <a:path w="694" h="726" extrusionOk="0">
                  <a:moveTo>
                    <a:pt x="347" y="1"/>
                  </a:moveTo>
                  <a:cubicBezTo>
                    <a:pt x="158" y="1"/>
                    <a:pt x="1" y="158"/>
                    <a:pt x="1" y="347"/>
                  </a:cubicBezTo>
                  <a:cubicBezTo>
                    <a:pt x="1" y="568"/>
                    <a:pt x="158" y="726"/>
                    <a:pt x="347" y="726"/>
                  </a:cubicBezTo>
                  <a:cubicBezTo>
                    <a:pt x="536" y="726"/>
                    <a:pt x="694" y="568"/>
                    <a:pt x="694" y="347"/>
                  </a:cubicBezTo>
                  <a:cubicBezTo>
                    <a:pt x="694"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5" name="Google Shape;8135;p77"/>
            <p:cNvSpPr/>
            <p:nvPr/>
          </p:nvSpPr>
          <p:spPr>
            <a:xfrm>
              <a:off x="-1597850" y="2801950"/>
              <a:ext cx="17375" cy="18150"/>
            </a:xfrm>
            <a:custGeom>
              <a:avLst/>
              <a:gdLst/>
              <a:ahLst/>
              <a:cxnLst/>
              <a:rect l="l" t="t" r="r" b="b"/>
              <a:pathLst>
                <a:path w="695" h="726" extrusionOk="0">
                  <a:moveTo>
                    <a:pt x="347" y="1"/>
                  </a:moveTo>
                  <a:cubicBezTo>
                    <a:pt x="158" y="1"/>
                    <a:pt x="1" y="158"/>
                    <a:pt x="1" y="347"/>
                  </a:cubicBezTo>
                  <a:cubicBezTo>
                    <a:pt x="1" y="568"/>
                    <a:pt x="158" y="726"/>
                    <a:pt x="347" y="726"/>
                  </a:cubicBezTo>
                  <a:cubicBezTo>
                    <a:pt x="537" y="726"/>
                    <a:pt x="694" y="568"/>
                    <a:pt x="694" y="347"/>
                  </a:cubicBezTo>
                  <a:cubicBezTo>
                    <a:pt x="694" y="158"/>
                    <a:pt x="537"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6" name="Google Shape;8136;p77"/>
            <p:cNvSpPr/>
            <p:nvPr/>
          </p:nvSpPr>
          <p:spPr>
            <a:xfrm>
              <a:off x="-1564750" y="2801950"/>
              <a:ext cx="120525" cy="18150"/>
            </a:xfrm>
            <a:custGeom>
              <a:avLst/>
              <a:gdLst/>
              <a:ahLst/>
              <a:cxnLst/>
              <a:rect l="l" t="t" r="r" b="b"/>
              <a:pathLst>
                <a:path w="4821" h="726" extrusionOk="0">
                  <a:moveTo>
                    <a:pt x="347" y="1"/>
                  </a:moveTo>
                  <a:cubicBezTo>
                    <a:pt x="158" y="1"/>
                    <a:pt x="0" y="158"/>
                    <a:pt x="0" y="347"/>
                  </a:cubicBezTo>
                  <a:cubicBezTo>
                    <a:pt x="32" y="568"/>
                    <a:pt x="189" y="726"/>
                    <a:pt x="347" y="726"/>
                  </a:cubicBezTo>
                  <a:lnTo>
                    <a:pt x="4442" y="726"/>
                  </a:lnTo>
                  <a:cubicBezTo>
                    <a:pt x="4663" y="726"/>
                    <a:pt x="4820" y="568"/>
                    <a:pt x="4820" y="347"/>
                  </a:cubicBezTo>
                  <a:cubicBezTo>
                    <a:pt x="4820" y="158"/>
                    <a:pt x="4663" y="1"/>
                    <a:pt x="444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37" name="Google Shape;8137;p77"/>
            <p:cNvSpPr/>
            <p:nvPr/>
          </p:nvSpPr>
          <p:spPr>
            <a:xfrm>
              <a:off x="-1597850" y="2924050"/>
              <a:ext cx="85100" cy="85075"/>
            </a:xfrm>
            <a:custGeom>
              <a:avLst/>
              <a:gdLst/>
              <a:ahLst/>
              <a:cxnLst/>
              <a:rect l="l" t="t" r="r" b="b"/>
              <a:pathLst>
                <a:path w="3404" h="3403" extrusionOk="0">
                  <a:moveTo>
                    <a:pt x="1671" y="662"/>
                  </a:moveTo>
                  <a:cubicBezTo>
                    <a:pt x="2238" y="662"/>
                    <a:pt x="2710" y="1134"/>
                    <a:pt x="2710" y="1701"/>
                  </a:cubicBezTo>
                  <a:cubicBezTo>
                    <a:pt x="2710" y="2237"/>
                    <a:pt x="2269" y="2710"/>
                    <a:pt x="1671" y="2710"/>
                  </a:cubicBezTo>
                  <a:cubicBezTo>
                    <a:pt x="1135" y="2710"/>
                    <a:pt x="663" y="2237"/>
                    <a:pt x="663" y="1701"/>
                  </a:cubicBezTo>
                  <a:cubicBezTo>
                    <a:pt x="663" y="1134"/>
                    <a:pt x="1135" y="662"/>
                    <a:pt x="1671" y="662"/>
                  </a:cubicBezTo>
                  <a:close/>
                  <a:moveTo>
                    <a:pt x="1671" y="0"/>
                  </a:moveTo>
                  <a:cubicBezTo>
                    <a:pt x="726" y="0"/>
                    <a:pt x="1" y="756"/>
                    <a:pt x="1" y="1701"/>
                  </a:cubicBezTo>
                  <a:cubicBezTo>
                    <a:pt x="1" y="2647"/>
                    <a:pt x="726" y="3403"/>
                    <a:pt x="1671" y="3403"/>
                  </a:cubicBezTo>
                  <a:cubicBezTo>
                    <a:pt x="2616" y="3403"/>
                    <a:pt x="3372" y="2647"/>
                    <a:pt x="3372" y="1701"/>
                  </a:cubicBezTo>
                  <a:cubicBezTo>
                    <a:pt x="3403" y="756"/>
                    <a:pt x="2616" y="0"/>
                    <a:pt x="167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38" name="Google Shape;8138;p77"/>
          <p:cNvGrpSpPr/>
          <p:nvPr/>
        </p:nvGrpSpPr>
        <p:grpSpPr>
          <a:xfrm>
            <a:off x="4803141" y="4307914"/>
            <a:ext cx="495849" cy="564092"/>
            <a:chOff x="-919700" y="2420750"/>
            <a:chExt cx="257575" cy="293025"/>
          </a:xfrm>
        </p:grpSpPr>
        <p:sp>
          <p:nvSpPr>
            <p:cNvPr id="8139" name="Google Shape;8139;p77"/>
            <p:cNvSpPr/>
            <p:nvPr/>
          </p:nvSpPr>
          <p:spPr>
            <a:xfrm>
              <a:off x="-884250" y="2490850"/>
              <a:ext cx="84300" cy="51225"/>
            </a:xfrm>
            <a:custGeom>
              <a:avLst/>
              <a:gdLst/>
              <a:ahLst/>
              <a:cxnLst/>
              <a:rect l="l" t="t" r="r" b="b"/>
              <a:pathLst>
                <a:path w="3372" h="2049" extrusionOk="0">
                  <a:moveTo>
                    <a:pt x="977" y="631"/>
                  </a:moveTo>
                  <a:cubicBezTo>
                    <a:pt x="1166" y="631"/>
                    <a:pt x="1324" y="788"/>
                    <a:pt x="1324" y="977"/>
                  </a:cubicBezTo>
                  <a:cubicBezTo>
                    <a:pt x="1324" y="1198"/>
                    <a:pt x="1166" y="1355"/>
                    <a:pt x="977" y="1355"/>
                  </a:cubicBezTo>
                  <a:cubicBezTo>
                    <a:pt x="788" y="1355"/>
                    <a:pt x="631" y="1198"/>
                    <a:pt x="631" y="977"/>
                  </a:cubicBezTo>
                  <a:cubicBezTo>
                    <a:pt x="631" y="788"/>
                    <a:pt x="788" y="631"/>
                    <a:pt x="977" y="631"/>
                  </a:cubicBezTo>
                  <a:close/>
                  <a:moveTo>
                    <a:pt x="2363" y="631"/>
                  </a:moveTo>
                  <a:cubicBezTo>
                    <a:pt x="2552" y="631"/>
                    <a:pt x="2710" y="788"/>
                    <a:pt x="2710" y="977"/>
                  </a:cubicBezTo>
                  <a:cubicBezTo>
                    <a:pt x="2710" y="1198"/>
                    <a:pt x="2552" y="1355"/>
                    <a:pt x="2363" y="1355"/>
                  </a:cubicBezTo>
                  <a:cubicBezTo>
                    <a:pt x="2174" y="1355"/>
                    <a:pt x="2017" y="1198"/>
                    <a:pt x="2017" y="977"/>
                  </a:cubicBezTo>
                  <a:cubicBezTo>
                    <a:pt x="2017" y="788"/>
                    <a:pt x="2174" y="631"/>
                    <a:pt x="2363" y="631"/>
                  </a:cubicBezTo>
                  <a:close/>
                  <a:moveTo>
                    <a:pt x="1009" y="1"/>
                  </a:moveTo>
                  <a:cubicBezTo>
                    <a:pt x="473" y="1"/>
                    <a:pt x="0" y="473"/>
                    <a:pt x="0" y="1040"/>
                  </a:cubicBezTo>
                  <a:cubicBezTo>
                    <a:pt x="0" y="1576"/>
                    <a:pt x="473" y="2048"/>
                    <a:pt x="1009" y="2048"/>
                  </a:cubicBezTo>
                  <a:cubicBezTo>
                    <a:pt x="1292" y="2048"/>
                    <a:pt x="1544" y="1922"/>
                    <a:pt x="1702" y="1765"/>
                  </a:cubicBezTo>
                  <a:cubicBezTo>
                    <a:pt x="1891" y="1922"/>
                    <a:pt x="2111" y="2048"/>
                    <a:pt x="2363" y="2048"/>
                  </a:cubicBezTo>
                  <a:cubicBezTo>
                    <a:pt x="2899" y="2048"/>
                    <a:pt x="3371" y="1576"/>
                    <a:pt x="3371" y="1040"/>
                  </a:cubicBezTo>
                  <a:cubicBezTo>
                    <a:pt x="3371" y="442"/>
                    <a:pt x="2899" y="1"/>
                    <a:pt x="2363" y="1"/>
                  </a:cubicBezTo>
                  <a:cubicBezTo>
                    <a:pt x="2080" y="1"/>
                    <a:pt x="1859" y="127"/>
                    <a:pt x="1702" y="284"/>
                  </a:cubicBezTo>
                  <a:cubicBezTo>
                    <a:pt x="1481" y="127"/>
                    <a:pt x="1261" y="1"/>
                    <a:pt x="100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0" name="Google Shape;8140;p77"/>
            <p:cNvSpPr/>
            <p:nvPr/>
          </p:nvSpPr>
          <p:spPr>
            <a:xfrm>
              <a:off x="-919700" y="2420750"/>
              <a:ext cx="257575" cy="293025"/>
            </a:xfrm>
            <a:custGeom>
              <a:avLst/>
              <a:gdLst/>
              <a:ahLst/>
              <a:cxnLst/>
              <a:rect l="l" t="t" r="r" b="b"/>
              <a:pathLst>
                <a:path w="10303" h="11721" extrusionOk="0">
                  <a:moveTo>
                    <a:pt x="7152" y="694"/>
                  </a:moveTo>
                  <a:cubicBezTo>
                    <a:pt x="7373" y="694"/>
                    <a:pt x="7530" y="851"/>
                    <a:pt x="7530" y="1040"/>
                  </a:cubicBezTo>
                  <a:lnTo>
                    <a:pt x="7530" y="1418"/>
                  </a:lnTo>
                  <a:lnTo>
                    <a:pt x="662" y="1418"/>
                  </a:lnTo>
                  <a:lnTo>
                    <a:pt x="662" y="1040"/>
                  </a:lnTo>
                  <a:cubicBezTo>
                    <a:pt x="694" y="851"/>
                    <a:pt x="851" y="694"/>
                    <a:pt x="1009" y="694"/>
                  </a:cubicBezTo>
                  <a:close/>
                  <a:moveTo>
                    <a:pt x="7562" y="2111"/>
                  </a:moveTo>
                  <a:lnTo>
                    <a:pt x="7562" y="3403"/>
                  </a:lnTo>
                  <a:lnTo>
                    <a:pt x="7247" y="3088"/>
                  </a:lnTo>
                  <a:cubicBezTo>
                    <a:pt x="7042" y="2883"/>
                    <a:pt x="6784" y="2792"/>
                    <a:pt x="6528" y="2792"/>
                  </a:cubicBezTo>
                  <a:cubicBezTo>
                    <a:pt x="5999" y="2792"/>
                    <a:pt x="5483" y="3186"/>
                    <a:pt x="5483" y="3781"/>
                  </a:cubicBezTo>
                  <a:cubicBezTo>
                    <a:pt x="5483" y="4065"/>
                    <a:pt x="5577" y="4348"/>
                    <a:pt x="5798" y="4506"/>
                  </a:cubicBezTo>
                  <a:lnTo>
                    <a:pt x="6774" y="5482"/>
                  </a:lnTo>
                  <a:lnTo>
                    <a:pt x="1009" y="5482"/>
                  </a:lnTo>
                  <a:cubicBezTo>
                    <a:pt x="995" y="5485"/>
                    <a:pt x="982" y="5486"/>
                    <a:pt x="968" y="5486"/>
                  </a:cubicBezTo>
                  <a:cubicBezTo>
                    <a:pt x="825" y="5486"/>
                    <a:pt x="694" y="5340"/>
                    <a:pt x="694" y="5167"/>
                  </a:cubicBezTo>
                  <a:lnTo>
                    <a:pt x="694" y="2111"/>
                  </a:lnTo>
                  <a:close/>
                  <a:moveTo>
                    <a:pt x="8160" y="2584"/>
                  </a:moveTo>
                  <a:lnTo>
                    <a:pt x="9200" y="3624"/>
                  </a:lnTo>
                  <a:cubicBezTo>
                    <a:pt x="9421" y="3844"/>
                    <a:pt x="9515" y="4065"/>
                    <a:pt x="9515" y="4348"/>
                  </a:cubicBezTo>
                  <a:lnTo>
                    <a:pt x="9515" y="6900"/>
                  </a:lnTo>
                  <a:cubicBezTo>
                    <a:pt x="9515" y="7373"/>
                    <a:pt x="9358" y="7845"/>
                    <a:pt x="9043" y="8192"/>
                  </a:cubicBezTo>
                  <a:lnTo>
                    <a:pt x="5955" y="8192"/>
                  </a:lnTo>
                  <a:cubicBezTo>
                    <a:pt x="5640" y="7845"/>
                    <a:pt x="5483" y="7373"/>
                    <a:pt x="5483" y="6900"/>
                  </a:cubicBezTo>
                  <a:lnTo>
                    <a:pt x="5483" y="6144"/>
                  </a:lnTo>
                  <a:lnTo>
                    <a:pt x="6837" y="6144"/>
                  </a:lnTo>
                  <a:lnTo>
                    <a:pt x="6837" y="6207"/>
                  </a:lnTo>
                  <a:cubicBezTo>
                    <a:pt x="6837" y="6585"/>
                    <a:pt x="6900" y="6932"/>
                    <a:pt x="7089" y="7373"/>
                  </a:cubicBezTo>
                  <a:cubicBezTo>
                    <a:pt x="7135" y="7487"/>
                    <a:pt x="7263" y="7568"/>
                    <a:pt x="7403" y="7568"/>
                  </a:cubicBezTo>
                  <a:cubicBezTo>
                    <a:pt x="7455" y="7568"/>
                    <a:pt x="7510" y="7556"/>
                    <a:pt x="7562" y="7530"/>
                  </a:cubicBezTo>
                  <a:cubicBezTo>
                    <a:pt x="7719" y="7467"/>
                    <a:pt x="7782" y="7247"/>
                    <a:pt x="7719" y="7058"/>
                  </a:cubicBezTo>
                  <a:cubicBezTo>
                    <a:pt x="7593" y="6774"/>
                    <a:pt x="7530" y="6522"/>
                    <a:pt x="7530" y="6239"/>
                  </a:cubicBezTo>
                  <a:lnTo>
                    <a:pt x="7530" y="5451"/>
                  </a:lnTo>
                  <a:cubicBezTo>
                    <a:pt x="7530" y="5356"/>
                    <a:pt x="7467" y="5262"/>
                    <a:pt x="7404" y="5199"/>
                  </a:cubicBezTo>
                  <a:lnTo>
                    <a:pt x="6207" y="4033"/>
                  </a:lnTo>
                  <a:cubicBezTo>
                    <a:pt x="6018" y="3844"/>
                    <a:pt x="6144" y="3435"/>
                    <a:pt x="6459" y="3435"/>
                  </a:cubicBezTo>
                  <a:cubicBezTo>
                    <a:pt x="6522" y="3435"/>
                    <a:pt x="6648" y="3466"/>
                    <a:pt x="6680" y="3561"/>
                  </a:cubicBezTo>
                  <a:lnTo>
                    <a:pt x="8255" y="5136"/>
                  </a:lnTo>
                  <a:cubicBezTo>
                    <a:pt x="8318" y="5199"/>
                    <a:pt x="8413" y="5230"/>
                    <a:pt x="8503" y="5230"/>
                  </a:cubicBezTo>
                  <a:cubicBezTo>
                    <a:pt x="8594" y="5230"/>
                    <a:pt x="8680" y="5199"/>
                    <a:pt x="8728" y="5136"/>
                  </a:cubicBezTo>
                  <a:cubicBezTo>
                    <a:pt x="8854" y="5010"/>
                    <a:pt x="8854" y="4789"/>
                    <a:pt x="8728" y="4663"/>
                  </a:cubicBezTo>
                  <a:lnTo>
                    <a:pt x="8160" y="4065"/>
                  </a:lnTo>
                  <a:lnTo>
                    <a:pt x="8160" y="2584"/>
                  </a:lnTo>
                  <a:close/>
                  <a:moveTo>
                    <a:pt x="9295" y="8948"/>
                  </a:moveTo>
                  <a:cubicBezTo>
                    <a:pt x="9484" y="8948"/>
                    <a:pt x="9641" y="9105"/>
                    <a:pt x="9641" y="9295"/>
                  </a:cubicBezTo>
                  <a:lnTo>
                    <a:pt x="9641" y="10996"/>
                  </a:lnTo>
                  <a:lnTo>
                    <a:pt x="5514" y="10996"/>
                  </a:lnTo>
                  <a:lnTo>
                    <a:pt x="5514" y="9295"/>
                  </a:lnTo>
                  <a:cubicBezTo>
                    <a:pt x="5514" y="9105"/>
                    <a:pt x="5672" y="8948"/>
                    <a:pt x="5861" y="8948"/>
                  </a:cubicBezTo>
                  <a:close/>
                  <a:moveTo>
                    <a:pt x="1009" y="1"/>
                  </a:moveTo>
                  <a:cubicBezTo>
                    <a:pt x="473" y="1"/>
                    <a:pt x="1" y="473"/>
                    <a:pt x="1" y="1040"/>
                  </a:cubicBezTo>
                  <a:lnTo>
                    <a:pt x="1" y="5167"/>
                  </a:lnTo>
                  <a:cubicBezTo>
                    <a:pt x="1" y="5734"/>
                    <a:pt x="473" y="6207"/>
                    <a:pt x="1009" y="6207"/>
                  </a:cubicBezTo>
                  <a:lnTo>
                    <a:pt x="4789" y="6207"/>
                  </a:lnTo>
                  <a:lnTo>
                    <a:pt x="4789" y="6932"/>
                  </a:lnTo>
                  <a:cubicBezTo>
                    <a:pt x="4789" y="7499"/>
                    <a:pt x="4947" y="8003"/>
                    <a:pt x="5231" y="8444"/>
                  </a:cubicBezTo>
                  <a:cubicBezTo>
                    <a:pt x="4947" y="8633"/>
                    <a:pt x="4789" y="8948"/>
                    <a:pt x="4789" y="9295"/>
                  </a:cubicBezTo>
                  <a:lnTo>
                    <a:pt x="4789" y="11342"/>
                  </a:lnTo>
                  <a:cubicBezTo>
                    <a:pt x="4789" y="11563"/>
                    <a:pt x="4947" y="11720"/>
                    <a:pt x="5168" y="11720"/>
                  </a:cubicBezTo>
                  <a:lnTo>
                    <a:pt x="9956" y="11720"/>
                  </a:lnTo>
                  <a:cubicBezTo>
                    <a:pt x="10145" y="11720"/>
                    <a:pt x="10303" y="11563"/>
                    <a:pt x="10303" y="11342"/>
                  </a:cubicBezTo>
                  <a:lnTo>
                    <a:pt x="10303" y="9295"/>
                  </a:lnTo>
                  <a:cubicBezTo>
                    <a:pt x="10303" y="8948"/>
                    <a:pt x="10114" y="8633"/>
                    <a:pt x="9893" y="8444"/>
                  </a:cubicBezTo>
                  <a:cubicBezTo>
                    <a:pt x="10177" y="8003"/>
                    <a:pt x="10303" y="7499"/>
                    <a:pt x="10303" y="6932"/>
                  </a:cubicBezTo>
                  <a:lnTo>
                    <a:pt x="10303" y="4380"/>
                  </a:lnTo>
                  <a:lnTo>
                    <a:pt x="10271" y="4380"/>
                  </a:lnTo>
                  <a:cubicBezTo>
                    <a:pt x="10271" y="3907"/>
                    <a:pt x="10082" y="3466"/>
                    <a:pt x="9767" y="3151"/>
                  </a:cubicBezTo>
                  <a:lnTo>
                    <a:pt x="8224" y="1639"/>
                  </a:lnTo>
                  <a:lnTo>
                    <a:pt x="8224" y="1040"/>
                  </a:lnTo>
                  <a:cubicBezTo>
                    <a:pt x="8224" y="473"/>
                    <a:pt x="7751" y="1"/>
                    <a:pt x="72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1" name="Google Shape;8141;p77"/>
            <p:cNvSpPr/>
            <p:nvPr/>
          </p:nvSpPr>
          <p:spPr>
            <a:xfrm>
              <a:off x="-766100" y="2660975"/>
              <a:ext cx="18125" cy="18150"/>
            </a:xfrm>
            <a:custGeom>
              <a:avLst/>
              <a:gdLst/>
              <a:ahLst/>
              <a:cxnLst/>
              <a:rect l="l" t="t" r="r" b="b"/>
              <a:pathLst>
                <a:path w="725" h="726" extrusionOk="0">
                  <a:moveTo>
                    <a:pt x="347" y="1"/>
                  </a:moveTo>
                  <a:cubicBezTo>
                    <a:pt x="158" y="1"/>
                    <a:pt x="0" y="158"/>
                    <a:pt x="0" y="379"/>
                  </a:cubicBezTo>
                  <a:cubicBezTo>
                    <a:pt x="0" y="568"/>
                    <a:pt x="158" y="725"/>
                    <a:pt x="347" y="725"/>
                  </a:cubicBezTo>
                  <a:cubicBezTo>
                    <a:pt x="536" y="725"/>
                    <a:pt x="725" y="568"/>
                    <a:pt x="725" y="379"/>
                  </a:cubicBezTo>
                  <a:cubicBezTo>
                    <a:pt x="693" y="158"/>
                    <a:pt x="536" y="1"/>
                    <a:pt x="34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42" name="Google Shape;8142;p77"/>
          <p:cNvGrpSpPr/>
          <p:nvPr/>
        </p:nvGrpSpPr>
        <p:grpSpPr>
          <a:xfrm>
            <a:off x="2583397" y="2194601"/>
            <a:ext cx="546041" cy="547489"/>
            <a:chOff x="6679825" y="2693700"/>
            <a:chExt cx="257875" cy="258575"/>
          </a:xfrm>
        </p:grpSpPr>
        <p:sp>
          <p:nvSpPr>
            <p:cNvPr id="8143" name="Google Shape;8143;p77"/>
            <p:cNvSpPr/>
            <p:nvPr/>
          </p:nvSpPr>
          <p:spPr>
            <a:xfrm>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4" name="Google Shape;8144;p77"/>
            <p:cNvSpPr/>
            <p:nvPr/>
          </p:nvSpPr>
          <p:spPr>
            <a:xfrm flipH="1">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45" name="Google Shape;8145;p77"/>
          <p:cNvGrpSpPr/>
          <p:nvPr/>
        </p:nvGrpSpPr>
        <p:grpSpPr>
          <a:xfrm>
            <a:off x="2569495" y="2856147"/>
            <a:ext cx="560708" cy="556349"/>
            <a:chOff x="6790450" y="3119050"/>
            <a:chExt cx="262750" cy="260675"/>
          </a:xfrm>
        </p:grpSpPr>
        <p:sp>
          <p:nvSpPr>
            <p:cNvPr id="8146" name="Google Shape;8146;p77"/>
            <p:cNvSpPr/>
            <p:nvPr/>
          </p:nvSpPr>
          <p:spPr>
            <a:xfrm>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47" name="Google Shape;8147;p77"/>
            <p:cNvSpPr/>
            <p:nvPr/>
          </p:nvSpPr>
          <p:spPr>
            <a:xfrm flipH="1">
              <a:off x="6790450" y="3119050"/>
              <a:ext cx="262750" cy="260675"/>
            </a:xfrm>
            <a:custGeom>
              <a:avLst/>
              <a:gdLst/>
              <a:ahLst/>
              <a:cxnLst/>
              <a:rect l="l" t="t" r="r" b="b"/>
              <a:pathLst>
                <a:path w="10510" h="10427" extrusionOk="0">
                  <a:moveTo>
                    <a:pt x="5269" y="1924"/>
                  </a:moveTo>
                  <a:cubicBezTo>
                    <a:pt x="6022" y="1924"/>
                    <a:pt x="6635" y="2454"/>
                    <a:pt x="6774" y="3151"/>
                  </a:cubicBezTo>
                  <a:lnTo>
                    <a:pt x="3791" y="3151"/>
                  </a:lnTo>
                  <a:cubicBezTo>
                    <a:pt x="3931" y="2454"/>
                    <a:pt x="4544" y="1924"/>
                    <a:pt x="5269" y="1924"/>
                  </a:cubicBezTo>
                  <a:close/>
                  <a:moveTo>
                    <a:pt x="4962" y="3764"/>
                  </a:moveTo>
                  <a:lnTo>
                    <a:pt x="4962" y="9785"/>
                  </a:lnTo>
                  <a:cubicBezTo>
                    <a:pt x="3959" y="9646"/>
                    <a:pt x="3150" y="8754"/>
                    <a:pt x="3150" y="7694"/>
                  </a:cubicBezTo>
                  <a:lnTo>
                    <a:pt x="3150" y="4071"/>
                  </a:lnTo>
                  <a:cubicBezTo>
                    <a:pt x="3150" y="3903"/>
                    <a:pt x="3290" y="3764"/>
                    <a:pt x="3485" y="3764"/>
                  </a:cubicBezTo>
                  <a:close/>
                  <a:moveTo>
                    <a:pt x="7109" y="3764"/>
                  </a:moveTo>
                  <a:cubicBezTo>
                    <a:pt x="7276" y="3764"/>
                    <a:pt x="7415" y="3903"/>
                    <a:pt x="7415" y="4071"/>
                  </a:cubicBezTo>
                  <a:lnTo>
                    <a:pt x="7415" y="7694"/>
                  </a:lnTo>
                  <a:cubicBezTo>
                    <a:pt x="7415" y="8754"/>
                    <a:pt x="6607" y="9646"/>
                    <a:pt x="5603" y="9785"/>
                  </a:cubicBezTo>
                  <a:lnTo>
                    <a:pt x="5603" y="3764"/>
                  </a:lnTo>
                  <a:close/>
                  <a:moveTo>
                    <a:pt x="3987" y="1"/>
                  </a:moveTo>
                  <a:cubicBezTo>
                    <a:pt x="3819" y="1"/>
                    <a:pt x="3680" y="140"/>
                    <a:pt x="3680" y="307"/>
                  </a:cubicBezTo>
                  <a:lnTo>
                    <a:pt x="3680" y="921"/>
                  </a:lnTo>
                  <a:cubicBezTo>
                    <a:pt x="3680" y="1199"/>
                    <a:pt x="3819" y="1422"/>
                    <a:pt x="3987" y="1618"/>
                  </a:cubicBezTo>
                  <a:cubicBezTo>
                    <a:pt x="3513" y="1952"/>
                    <a:pt x="3150" y="2482"/>
                    <a:pt x="3095" y="3095"/>
                  </a:cubicBezTo>
                  <a:cubicBezTo>
                    <a:pt x="2732" y="3206"/>
                    <a:pt x="2453" y="3569"/>
                    <a:pt x="2453" y="3987"/>
                  </a:cubicBezTo>
                  <a:lnTo>
                    <a:pt x="2453" y="4294"/>
                  </a:lnTo>
                  <a:lnTo>
                    <a:pt x="1840" y="4294"/>
                  </a:lnTo>
                  <a:cubicBezTo>
                    <a:pt x="1450" y="4294"/>
                    <a:pt x="1115" y="4043"/>
                    <a:pt x="976" y="3652"/>
                  </a:cubicBezTo>
                  <a:lnTo>
                    <a:pt x="642" y="2677"/>
                  </a:lnTo>
                  <a:cubicBezTo>
                    <a:pt x="600" y="2551"/>
                    <a:pt x="511" y="2489"/>
                    <a:pt x="399" y="2489"/>
                  </a:cubicBezTo>
                  <a:cubicBezTo>
                    <a:pt x="361" y="2489"/>
                    <a:pt x="321" y="2496"/>
                    <a:pt x="279" y="2510"/>
                  </a:cubicBezTo>
                  <a:cubicBezTo>
                    <a:pt x="84" y="2565"/>
                    <a:pt x="28" y="2705"/>
                    <a:pt x="84" y="2900"/>
                  </a:cubicBezTo>
                  <a:lnTo>
                    <a:pt x="419" y="3875"/>
                  </a:lnTo>
                  <a:cubicBezTo>
                    <a:pt x="614" y="4489"/>
                    <a:pt x="1171" y="4907"/>
                    <a:pt x="1840" y="4907"/>
                  </a:cubicBezTo>
                  <a:lnTo>
                    <a:pt x="2453" y="4907"/>
                  </a:lnTo>
                  <a:lnTo>
                    <a:pt x="2453" y="6133"/>
                  </a:lnTo>
                  <a:lnTo>
                    <a:pt x="335" y="6133"/>
                  </a:lnTo>
                  <a:cubicBezTo>
                    <a:pt x="168" y="6133"/>
                    <a:pt x="28" y="6273"/>
                    <a:pt x="28" y="6440"/>
                  </a:cubicBezTo>
                  <a:cubicBezTo>
                    <a:pt x="28" y="6635"/>
                    <a:pt x="168" y="6775"/>
                    <a:pt x="335" y="6775"/>
                  </a:cubicBezTo>
                  <a:lnTo>
                    <a:pt x="2453" y="6775"/>
                  </a:lnTo>
                  <a:lnTo>
                    <a:pt x="2453" y="7667"/>
                  </a:lnTo>
                  <a:lnTo>
                    <a:pt x="2453" y="7973"/>
                  </a:lnTo>
                  <a:lnTo>
                    <a:pt x="1812" y="7973"/>
                  </a:lnTo>
                  <a:cubicBezTo>
                    <a:pt x="1143" y="7973"/>
                    <a:pt x="586" y="8391"/>
                    <a:pt x="363" y="9032"/>
                  </a:cubicBezTo>
                  <a:lnTo>
                    <a:pt x="56" y="10008"/>
                  </a:lnTo>
                  <a:cubicBezTo>
                    <a:pt x="0" y="10175"/>
                    <a:pt x="84" y="10315"/>
                    <a:pt x="223" y="10398"/>
                  </a:cubicBezTo>
                  <a:cubicBezTo>
                    <a:pt x="259" y="10408"/>
                    <a:pt x="292" y="10413"/>
                    <a:pt x="323" y="10413"/>
                  </a:cubicBezTo>
                  <a:cubicBezTo>
                    <a:pt x="466" y="10413"/>
                    <a:pt x="568" y="10317"/>
                    <a:pt x="614" y="10203"/>
                  </a:cubicBezTo>
                  <a:lnTo>
                    <a:pt x="920" y="9228"/>
                  </a:lnTo>
                  <a:cubicBezTo>
                    <a:pt x="1060" y="8865"/>
                    <a:pt x="1394" y="8614"/>
                    <a:pt x="1812" y="8614"/>
                  </a:cubicBezTo>
                  <a:lnTo>
                    <a:pt x="2593" y="8614"/>
                  </a:lnTo>
                  <a:cubicBezTo>
                    <a:pt x="2983" y="9646"/>
                    <a:pt x="3987" y="10426"/>
                    <a:pt x="5185" y="10426"/>
                  </a:cubicBezTo>
                  <a:cubicBezTo>
                    <a:pt x="6356" y="10426"/>
                    <a:pt x="7387" y="9646"/>
                    <a:pt x="7750" y="8614"/>
                  </a:cubicBezTo>
                  <a:lnTo>
                    <a:pt x="8586" y="8614"/>
                  </a:lnTo>
                  <a:cubicBezTo>
                    <a:pt x="8976" y="8614"/>
                    <a:pt x="9339" y="8837"/>
                    <a:pt x="9478" y="9228"/>
                  </a:cubicBezTo>
                  <a:lnTo>
                    <a:pt x="9785" y="10203"/>
                  </a:lnTo>
                  <a:cubicBezTo>
                    <a:pt x="9827" y="10351"/>
                    <a:pt x="9917" y="10419"/>
                    <a:pt x="10043" y="10419"/>
                  </a:cubicBezTo>
                  <a:cubicBezTo>
                    <a:pt x="10084" y="10419"/>
                    <a:pt x="10128" y="10412"/>
                    <a:pt x="10175" y="10398"/>
                  </a:cubicBezTo>
                  <a:cubicBezTo>
                    <a:pt x="10342" y="10315"/>
                    <a:pt x="10398" y="10175"/>
                    <a:pt x="10342" y="10008"/>
                  </a:cubicBezTo>
                  <a:lnTo>
                    <a:pt x="10119" y="9032"/>
                  </a:lnTo>
                  <a:cubicBezTo>
                    <a:pt x="9924" y="8391"/>
                    <a:pt x="9367" y="7973"/>
                    <a:pt x="8698" y="7973"/>
                  </a:cubicBezTo>
                  <a:lnTo>
                    <a:pt x="8001" y="7973"/>
                  </a:lnTo>
                  <a:lnTo>
                    <a:pt x="8001" y="7667"/>
                  </a:lnTo>
                  <a:lnTo>
                    <a:pt x="8001" y="6775"/>
                  </a:lnTo>
                  <a:lnTo>
                    <a:pt x="10175" y="6775"/>
                  </a:lnTo>
                  <a:cubicBezTo>
                    <a:pt x="10342" y="6775"/>
                    <a:pt x="10482" y="6635"/>
                    <a:pt x="10482" y="6440"/>
                  </a:cubicBezTo>
                  <a:cubicBezTo>
                    <a:pt x="10482" y="6273"/>
                    <a:pt x="10342" y="6133"/>
                    <a:pt x="10175" y="6133"/>
                  </a:cubicBezTo>
                  <a:lnTo>
                    <a:pt x="8001" y="6133"/>
                  </a:lnTo>
                  <a:lnTo>
                    <a:pt x="8001" y="4907"/>
                  </a:lnTo>
                  <a:lnTo>
                    <a:pt x="8698" y="4907"/>
                  </a:lnTo>
                  <a:cubicBezTo>
                    <a:pt x="9367" y="4907"/>
                    <a:pt x="9924" y="4489"/>
                    <a:pt x="10119" y="3875"/>
                  </a:cubicBezTo>
                  <a:lnTo>
                    <a:pt x="10454" y="2900"/>
                  </a:lnTo>
                  <a:cubicBezTo>
                    <a:pt x="10509" y="2705"/>
                    <a:pt x="10398" y="2565"/>
                    <a:pt x="10259" y="2510"/>
                  </a:cubicBezTo>
                  <a:cubicBezTo>
                    <a:pt x="10223" y="2498"/>
                    <a:pt x="10188" y="2492"/>
                    <a:pt x="10156" y="2492"/>
                  </a:cubicBezTo>
                  <a:cubicBezTo>
                    <a:pt x="10036" y="2492"/>
                    <a:pt x="9940" y="2567"/>
                    <a:pt x="9896" y="2677"/>
                  </a:cubicBezTo>
                  <a:lnTo>
                    <a:pt x="9562" y="3652"/>
                  </a:lnTo>
                  <a:cubicBezTo>
                    <a:pt x="9422" y="4043"/>
                    <a:pt x="9116" y="4294"/>
                    <a:pt x="8698" y="4294"/>
                  </a:cubicBezTo>
                  <a:lnTo>
                    <a:pt x="8001" y="4294"/>
                  </a:lnTo>
                  <a:lnTo>
                    <a:pt x="8001" y="3987"/>
                  </a:lnTo>
                  <a:cubicBezTo>
                    <a:pt x="8001" y="3597"/>
                    <a:pt x="7750" y="3234"/>
                    <a:pt x="7387" y="3095"/>
                  </a:cubicBezTo>
                  <a:cubicBezTo>
                    <a:pt x="7304" y="2482"/>
                    <a:pt x="6969" y="1952"/>
                    <a:pt x="6468" y="1618"/>
                  </a:cubicBezTo>
                  <a:cubicBezTo>
                    <a:pt x="6691" y="1422"/>
                    <a:pt x="6774" y="1199"/>
                    <a:pt x="6774" y="921"/>
                  </a:cubicBezTo>
                  <a:lnTo>
                    <a:pt x="6774" y="307"/>
                  </a:lnTo>
                  <a:cubicBezTo>
                    <a:pt x="6774" y="140"/>
                    <a:pt x="6635" y="1"/>
                    <a:pt x="6468" y="1"/>
                  </a:cubicBezTo>
                  <a:cubicBezTo>
                    <a:pt x="6300" y="1"/>
                    <a:pt x="6161" y="140"/>
                    <a:pt x="6161" y="307"/>
                  </a:cubicBezTo>
                  <a:lnTo>
                    <a:pt x="6161" y="921"/>
                  </a:lnTo>
                  <a:cubicBezTo>
                    <a:pt x="6161" y="1088"/>
                    <a:pt x="6022" y="1255"/>
                    <a:pt x="5854" y="1255"/>
                  </a:cubicBezTo>
                  <a:lnTo>
                    <a:pt x="4628" y="1255"/>
                  </a:lnTo>
                  <a:cubicBezTo>
                    <a:pt x="4488" y="1255"/>
                    <a:pt x="4321" y="1088"/>
                    <a:pt x="4321" y="921"/>
                  </a:cubicBezTo>
                  <a:lnTo>
                    <a:pt x="4321" y="307"/>
                  </a:lnTo>
                  <a:cubicBezTo>
                    <a:pt x="4321" y="140"/>
                    <a:pt x="4182" y="1"/>
                    <a:pt x="398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48" name="Google Shape;8148;p77"/>
          <p:cNvGrpSpPr/>
          <p:nvPr/>
        </p:nvGrpSpPr>
        <p:grpSpPr>
          <a:xfrm>
            <a:off x="9137444" y="5007249"/>
            <a:ext cx="477457" cy="543188"/>
            <a:chOff x="7660859" y="2571753"/>
            <a:chExt cx="366561" cy="417024"/>
          </a:xfrm>
        </p:grpSpPr>
        <p:sp>
          <p:nvSpPr>
            <p:cNvPr id="8149" name="Google Shape;8149;p77"/>
            <p:cNvSpPr/>
            <p:nvPr/>
          </p:nvSpPr>
          <p:spPr>
            <a:xfrm>
              <a:off x="7770506" y="2633631"/>
              <a:ext cx="147259" cy="146633"/>
            </a:xfrm>
            <a:custGeom>
              <a:avLst/>
              <a:gdLst/>
              <a:ahLst/>
              <a:cxnLst/>
              <a:rect l="l" t="t" r="r" b="b"/>
              <a:pathLst>
                <a:path w="7056" h="7026" extrusionOk="0">
                  <a:moveTo>
                    <a:pt x="4114" y="2928"/>
                  </a:moveTo>
                  <a:lnTo>
                    <a:pt x="4114" y="4099"/>
                  </a:lnTo>
                  <a:lnTo>
                    <a:pt x="2943" y="4099"/>
                  </a:lnTo>
                  <a:lnTo>
                    <a:pt x="2943" y="2928"/>
                  </a:lnTo>
                  <a:close/>
                  <a:moveTo>
                    <a:pt x="2354" y="1"/>
                  </a:moveTo>
                  <a:cubicBezTo>
                    <a:pt x="2032" y="1"/>
                    <a:pt x="1771" y="263"/>
                    <a:pt x="1771" y="586"/>
                  </a:cubicBezTo>
                  <a:lnTo>
                    <a:pt x="1771" y="1757"/>
                  </a:lnTo>
                  <a:lnTo>
                    <a:pt x="618" y="1757"/>
                  </a:lnTo>
                  <a:cubicBezTo>
                    <a:pt x="301" y="1757"/>
                    <a:pt x="31" y="1999"/>
                    <a:pt x="17" y="2314"/>
                  </a:cubicBezTo>
                  <a:cubicBezTo>
                    <a:pt x="1" y="2650"/>
                    <a:pt x="268" y="2928"/>
                    <a:pt x="600" y="2928"/>
                  </a:cubicBezTo>
                  <a:lnTo>
                    <a:pt x="1771" y="2928"/>
                  </a:lnTo>
                  <a:lnTo>
                    <a:pt x="1771" y="4099"/>
                  </a:lnTo>
                  <a:lnTo>
                    <a:pt x="618" y="4099"/>
                  </a:lnTo>
                  <a:cubicBezTo>
                    <a:pt x="301" y="4099"/>
                    <a:pt x="31" y="4341"/>
                    <a:pt x="17" y="4656"/>
                  </a:cubicBezTo>
                  <a:cubicBezTo>
                    <a:pt x="1" y="4992"/>
                    <a:pt x="268" y="5270"/>
                    <a:pt x="600" y="5270"/>
                  </a:cubicBezTo>
                  <a:lnTo>
                    <a:pt x="1771" y="5270"/>
                  </a:lnTo>
                  <a:lnTo>
                    <a:pt x="1771" y="6423"/>
                  </a:lnTo>
                  <a:cubicBezTo>
                    <a:pt x="1771" y="6738"/>
                    <a:pt x="2014" y="7011"/>
                    <a:pt x="2329" y="7025"/>
                  </a:cubicBezTo>
                  <a:cubicBezTo>
                    <a:pt x="2338" y="7025"/>
                    <a:pt x="2348" y="7025"/>
                    <a:pt x="2357" y="7025"/>
                  </a:cubicBezTo>
                  <a:cubicBezTo>
                    <a:pt x="2680" y="7025"/>
                    <a:pt x="2943" y="6764"/>
                    <a:pt x="2943" y="6441"/>
                  </a:cubicBezTo>
                  <a:lnTo>
                    <a:pt x="2943" y="5270"/>
                  </a:lnTo>
                  <a:lnTo>
                    <a:pt x="4114" y="5270"/>
                  </a:lnTo>
                  <a:lnTo>
                    <a:pt x="4114" y="6423"/>
                  </a:lnTo>
                  <a:cubicBezTo>
                    <a:pt x="4114" y="6738"/>
                    <a:pt x="4356" y="7011"/>
                    <a:pt x="4671" y="7025"/>
                  </a:cubicBezTo>
                  <a:cubicBezTo>
                    <a:pt x="4680" y="7025"/>
                    <a:pt x="4690" y="7025"/>
                    <a:pt x="4699" y="7025"/>
                  </a:cubicBezTo>
                  <a:cubicBezTo>
                    <a:pt x="5023" y="7025"/>
                    <a:pt x="5285" y="6764"/>
                    <a:pt x="5285" y="6441"/>
                  </a:cubicBezTo>
                  <a:lnTo>
                    <a:pt x="5285" y="5270"/>
                  </a:lnTo>
                  <a:lnTo>
                    <a:pt x="6456" y="5270"/>
                  </a:lnTo>
                  <a:cubicBezTo>
                    <a:pt x="6788" y="5270"/>
                    <a:pt x="7056" y="4992"/>
                    <a:pt x="7040" y="4656"/>
                  </a:cubicBezTo>
                  <a:cubicBezTo>
                    <a:pt x="7025" y="4341"/>
                    <a:pt x="6753" y="4099"/>
                    <a:pt x="6438" y="4099"/>
                  </a:cubicBezTo>
                  <a:lnTo>
                    <a:pt x="5285" y="4099"/>
                  </a:lnTo>
                  <a:lnTo>
                    <a:pt x="5285" y="2928"/>
                  </a:lnTo>
                  <a:lnTo>
                    <a:pt x="6438" y="2928"/>
                  </a:lnTo>
                  <a:cubicBezTo>
                    <a:pt x="6753" y="2928"/>
                    <a:pt x="7025" y="2685"/>
                    <a:pt x="7040" y="2370"/>
                  </a:cubicBezTo>
                  <a:cubicBezTo>
                    <a:pt x="7056" y="2034"/>
                    <a:pt x="6788" y="1757"/>
                    <a:pt x="6456" y="1757"/>
                  </a:cubicBezTo>
                  <a:lnTo>
                    <a:pt x="5285" y="1757"/>
                  </a:lnTo>
                  <a:lnTo>
                    <a:pt x="5285" y="603"/>
                  </a:lnTo>
                  <a:cubicBezTo>
                    <a:pt x="5285" y="287"/>
                    <a:pt x="5042" y="16"/>
                    <a:pt x="4727" y="2"/>
                  </a:cubicBezTo>
                  <a:cubicBezTo>
                    <a:pt x="4717" y="1"/>
                    <a:pt x="4707" y="1"/>
                    <a:pt x="4696" y="1"/>
                  </a:cubicBezTo>
                  <a:cubicBezTo>
                    <a:pt x="4374" y="1"/>
                    <a:pt x="4114" y="263"/>
                    <a:pt x="4114" y="586"/>
                  </a:cubicBezTo>
                  <a:lnTo>
                    <a:pt x="4114" y="1757"/>
                  </a:lnTo>
                  <a:lnTo>
                    <a:pt x="2943" y="1757"/>
                  </a:lnTo>
                  <a:lnTo>
                    <a:pt x="2943" y="603"/>
                  </a:lnTo>
                  <a:cubicBezTo>
                    <a:pt x="2943" y="287"/>
                    <a:pt x="2700" y="16"/>
                    <a:pt x="2385" y="2"/>
                  </a:cubicBezTo>
                  <a:cubicBezTo>
                    <a:pt x="2375" y="1"/>
                    <a:pt x="2364" y="1"/>
                    <a:pt x="235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0" name="Google Shape;8150;p77"/>
            <p:cNvSpPr/>
            <p:nvPr/>
          </p:nvSpPr>
          <p:spPr>
            <a:xfrm>
              <a:off x="7730834" y="2792447"/>
              <a:ext cx="226648" cy="76781"/>
            </a:xfrm>
            <a:custGeom>
              <a:avLst/>
              <a:gdLst/>
              <a:ahLst/>
              <a:cxnLst/>
              <a:rect l="l" t="t" r="r" b="b"/>
              <a:pathLst>
                <a:path w="10860" h="3679" extrusionOk="0">
                  <a:moveTo>
                    <a:pt x="747" y="0"/>
                  </a:moveTo>
                  <a:cubicBezTo>
                    <a:pt x="280" y="0"/>
                    <a:pt x="0" y="520"/>
                    <a:pt x="258" y="910"/>
                  </a:cubicBezTo>
                  <a:cubicBezTo>
                    <a:pt x="1470" y="2730"/>
                    <a:pt x="3430" y="3678"/>
                    <a:pt x="5429" y="3678"/>
                  </a:cubicBezTo>
                  <a:cubicBezTo>
                    <a:pt x="7423" y="3678"/>
                    <a:pt x="9385" y="2733"/>
                    <a:pt x="10600" y="911"/>
                  </a:cubicBezTo>
                  <a:cubicBezTo>
                    <a:pt x="10860" y="523"/>
                    <a:pt x="10578" y="2"/>
                    <a:pt x="10116" y="2"/>
                  </a:cubicBezTo>
                  <a:cubicBezTo>
                    <a:pt x="10115" y="2"/>
                    <a:pt x="10114" y="2"/>
                    <a:pt x="10113" y="2"/>
                  </a:cubicBezTo>
                  <a:cubicBezTo>
                    <a:pt x="9924" y="2"/>
                    <a:pt x="9738" y="92"/>
                    <a:pt x="9625" y="262"/>
                  </a:cubicBezTo>
                  <a:cubicBezTo>
                    <a:pt x="8688" y="1668"/>
                    <a:pt x="7119" y="2507"/>
                    <a:pt x="5429" y="2507"/>
                  </a:cubicBezTo>
                  <a:cubicBezTo>
                    <a:pt x="3740" y="2507"/>
                    <a:pt x="2172" y="1668"/>
                    <a:pt x="1235" y="264"/>
                  </a:cubicBezTo>
                  <a:cubicBezTo>
                    <a:pt x="1125" y="101"/>
                    <a:pt x="943" y="0"/>
                    <a:pt x="74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1" name="Google Shape;8151;p77"/>
            <p:cNvSpPr/>
            <p:nvPr/>
          </p:nvSpPr>
          <p:spPr>
            <a:xfrm>
              <a:off x="7660859" y="2571753"/>
              <a:ext cx="366561" cy="417024"/>
            </a:xfrm>
            <a:custGeom>
              <a:avLst/>
              <a:gdLst/>
              <a:ahLst/>
              <a:cxnLst/>
              <a:rect l="l" t="t" r="r" b="b"/>
              <a:pathLst>
                <a:path w="17564" h="19982" extrusionOk="0">
                  <a:moveTo>
                    <a:pt x="14636" y="1169"/>
                  </a:moveTo>
                  <a:cubicBezTo>
                    <a:pt x="15587" y="1169"/>
                    <a:pt x="16392" y="1992"/>
                    <a:pt x="16392" y="2965"/>
                  </a:cubicBezTo>
                  <a:lnTo>
                    <a:pt x="16392" y="14674"/>
                  </a:lnTo>
                  <a:cubicBezTo>
                    <a:pt x="16392" y="15643"/>
                    <a:pt x="15607" y="16431"/>
                    <a:pt x="14636" y="16431"/>
                  </a:cubicBezTo>
                  <a:lnTo>
                    <a:pt x="11124" y="16431"/>
                  </a:lnTo>
                  <a:cubicBezTo>
                    <a:pt x="10967" y="16431"/>
                    <a:pt x="10816" y="16493"/>
                    <a:pt x="10707" y="16604"/>
                  </a:cubicBezTo>
                  <a:lnTo>
                    <a:pt x="8782" y="18561"/>
                  </a:lnTo>
                  <a:lnTo>
                    <a:pt x="6857" y="16604"/>
                  </a:lnTo>
                  <a:cubicBezTo>
                    <a:pt x="6748" y="16493"/>
                    <a:pt x="6597" y="16431"/>
                    <a:pt x="6440" y="16431"/>
                  </a:cubicBezTo>
                  <a:lnTo>
                    <a:pt x="2928" y="16431"/>
                  </a:lnTo>
                  <a:cubicBezTo>
                    <a:pt x="1959" y="16431"/>
                    <a:pt x="1172" y="15643"/>
                    <a:pt x="1172" y="14674"/>
                  </a:cubicBezTo>
                  <a:lnTo>
                    <a:pt x="1172" y="2965"/>
                  </a:lnTo>
                  <a:cubicBezTo>
                    <a:pt x="1172" y="1992"/>
                    <a:pt x="1977" y="1169"/>
                    <a:pt x="2928" y="1169"/>
                  </a:cubicBezTo>
                  <a:close/>
                  <a:moveTo>
                    <a:pt x="2928" y="0"/>
                  </a:moveTo>
                  <a:cubicBezTo>
                    <a:pt x="1310" y="0"/>
                    <a:pt x="1" y="1346"/>
                    <a:pt x="1" y="2965"/>
                  </a:cubicBezTo>
                  <a:lnTo>
                    <a:pt x="1" y="14674"/>
                  </a:lnTo>
                  <a:cubicBezTo>
                    <a:pt x="1" y="16291"/>
                    <a:pt x="1312" y="17600"/>
                    <a:pt x="2928" y="17600"/>
                  </a:cubicBezTo>
                  <a:lnTo>
                    <a:pt x="6196" y="17600"/>
                  </a:lnTo>
                  <a:lnTo>
                    <a:pt x="8365" y="19806"/>
                  </a:lnTo>
                  <a:cubicBezTo>
                    <a:pt x="8474" y="19919"/>
                    <a:pt x="8625" y="19981"/>
                    <a:pt x="8782" y="19981"/>
                  </a:cubicBezTo>
                  <a:cubicBezTo>
                    <a:pt x="8940" y="19981"/>
                    <a:pt x="9090" y="19919"/>
                    <a:pt x="9200" y="19806"/>
                  </a:cubicBezTo>
                  <a:lnTo>
                    <a:pt x="11370" y="17600"/>
                  </a:lnTo>
                  <a:lnTo>
                    <a:pt x="14636" y="17600"/>
                  </a:lnTo>
                  <a:cubicBezTo>
                    <a:pt x="16251" y="17600"/>
                    <a:pt x="17563" y="16287"/>
                    <a:pt x="17563" y="14674"/>
                  </a:cubicBezTo>
                  <a:lnTo>
                    <a:pt x="17563" y="2965"/>
                  </a:lnTo>
                  <a:cubicBezTo>
                    <a:pt x="17563" y="1348"/>
                    <a:pt x="16254" y="0"/>
                    <a:pt x="1463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52" name="Google Shape;8152;p77"/>
          <p:cNvGrpSpPr/>
          <p:nvPr/>
        </p:nvGrpSpPr>
        <p:grpSpPr>
          <a:xfrm>
            <a:off x="5850351" y="5007249"/>
            <a:ext cx="543188" cy="543188"/>
            <a:chOff x="5566722" y="2571753"/>
            <a:chExt cx="417024" cy="417024"/>
          </a:xfrm>
        </p:grpSpPr>
        <p:sp>
          <p:nvSpPr>
            <p:cNvPr id="8153" name="Google Shape;8153;p77"/>
            <p:cNvSpPr/>
            <p:nvPr/>
          </p:nvSpPr>
          <p:spPr>
            <a:xfrm>
              <a:off x="5566722" y="2571753"/>
              <a:ext cx="417024" cy="417024"/>
            </a:xfrm>
            <a:custGeom>
              <a:avLst/>
              <a:gdLst/>
              <a:ahLst/>
              <a:cxnLst/>
              <a:rect l="l" t="t" r="r" b="b"/>
              <a:pathLst>
                <a:path w="19982" h="19982" extrusionOk="0">
                  <a:moveTo>
                    <a:pt x="9990" y="1171"/>
                  </a:moveTo>
                  <a:cubicBezTo>
                    <a:pt x="14855" y="1171"/>
                    <a:pt x="18810" y="5127"/>
                    <a:pt x="18810" y="9991"/>
                  </a:cubicBezTo>
                  <a:cubicBezTo>
                    <a:pt x="18810" y="14854"/>
                    <a:pt x="14855" y="18810"/>
                    <a:pt x="9990" y="18810"/>
                  </a:cubicBezTo>
                  <a:cubicBezTo>
                    <a:pt x="5127" y="18810"/>
                    <a:pt x="1170" y="14854"/>
                    <a:pt x="1170" y="9991"/>
                  </a:cubicBezTo>
                  <a:cubicBezTo>
                    <a:pt x="1170" y="5127"/>
                    <a:pt x="5127" y="1171"/>
                    <a:pt x="9990" y="1171"/>
                  </a:cubicBezTo>
                  <a:close/>
                  <a:moveTo>
                    <a:pt x="9990" y="0"/>
                  </a:moveTo>
                  <a:cubicBezTo>
                    <a:pt x="4488" y="0"/>
                    <a:pt x="0" y="4490"/>
                    <a:pt x="0" y="9990"/>
                  </a:cubicBezTo>
                  <a:cubicBezTo>
                    <a:pt x="0" y="15493"/>
                    <a:pt x="4490" y="19981"/>
                    <a:pt x="9990" y="19981"/>
                  </a:cubicBezTo>
                  <a:cubicBezTo>
                    <a:pt x="15492" y="19981"/>
                    <a:pt x="19981" y="15491"/>
                    <a:pt x="19981" y="9990"/>
                  </a:cubicBezTo>
                  <a:cubicBezTo>
                    <a:pt x="19981" y="4488"/>
                    <a:pt x="15492" y="0"/>
                    <a:pt x="999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4" name="Google Shape;8154;p77"/>
            <p:cNvSpPr/>
            <p:nvPr/>
          </p:nvSpPr>
          <p:spPr>
            <a:xfrm>
              <a:off x="5653037" y="2658069"/>
              <a:ext cx="207719" cy="243052"/>
            </a:xfrm>
            <a:custGeom>
              <a:avLst/>
              <a:gdLst/>
              <a:ahLst/>
              <a:cxnLst/>
              <a:rect l="l" t="t" r="r" b="b"/>
              <a:pathLst>
                <a:path w="9953" h="11646" extrusionOk="0">
                  <a:moveTo>
                    <a:pt x="8782" y="1300"/>
                  </a:moveTo>
                  <a:lnTo>
                    <a:pt x="8782" y="2448"/>
                  </a:lnTo>
                  <a:lnTo>
                    <a:pt x="4099" y="3384"/>
                  </a:lnTo>
                  <a:lnTo>
                    <a:pt x="4099" y="2236"/>
                  </a:lnTo>
                  <a:lnTo>
                    <a:pt x="8782" y="1300"/>
                  </a:lnTo>
                  <a:close/>
                  <a:moveTo>
                    <a:pt x="8782" y="7304"/>
                  </a:moveTo>
                  <a:lnTo>
                    <a:pt x="8782" y="8447"/>
                  </a:lnTo>
                  <a:cubicBezTo>
                    <a:pt x="8782" y="8766"/>
                    <a:pt x="8591" y="9047"/>
                    <a:pt x="8295" y="9165"/>
                  </a:cubicBezTo>
                  <a:cubicBezTo>
                    <a:pt x="8163" y="9218"/>
                    <a:pt x="7987" y="9306"/>
                    <a:pt x="7782" y="9306"/>
                  </a:cubicBezTo>
                  <a:cubicBezTo>
                    <a:pt x="7653" y="9306"/>
                    <a:pt x="7513" y="9271"/>
                    <a:pt x="7365" y="9171"/>
                  </a:cubicBezTo>
                  <a:cubicBezTo>
                    <a:pt x="6850" y="8824"/>
                    <a:pt x="6937" y="8042"/>
                    <a:pt x="7512" y="7812"/>
                  </a:cubicBezTo>
                  <a:lnTo>
                    <a:pt x="8782" y="7304"/>
                  </a:lnTo>
                  <a:close/>
                  <a:moveTo>
                    <a:pt x="2928" y="8475"/>
                  </a:moveTo>
                  <a:lnTo>
                    <a:pt x="2928" y="9618"/>
                  </a:lnTo>
                  <a:cubicBezTo>
                    <a:pt x="2928" y="9937"/>
                    <a:pt x="2737" y="10218"/>
                    <a:pt x="2442" y="10336"/>
                  </a:cubicBezTo>
                  <a:cubicBezTo>
                    <a:pt x="2308" y="10389"/>
                    <a:pt x="2132" y="10476"/>
                    <a:pt x="1928" y="10476"/>
                  </a:cubicBezTo>
                  <a:cubicBezTo>
                    <a:pt x="1799" y="10476"/>
                    <a:pt x="1659" y="10442"/>
                    <a:pt x="1511" y="10342"/>
                  </a:cubicBezTo>
                  <a:cubicBezTo>
                    <a:pt x="996" y="9993"/>
                    <a:pt x="1083" y="9213"/>
                    <a:pt x="1658" y="8983"/>
                  </a:cubicBezTo>
                  <a:lnTo>
                    <a:pt x="2928" y="8475"/>
                  </a:lnTo>
                  <a:close/>
                  <a:moveTo>
                    <a:pt x="9369" y="1"/>
                  </a:moveTo>
                  <a:cubicBezTo>
                    <a:pt x="9330" y="1"/>
                    <a:pt x="9291" y="4"/>
                    <a:pt x="9252" y="12"/>
                  </a:cubicBezTo>
                  <a:lnTo>
                    <a:pt x="3399" y="1182"/>
                  </a:lnTo>
                  <a:cubicBezTo>
                    <a:pt x="3124" y="1237"/>
                    <a:pt x="2928" y="1477"/>
                    <a:pt x="2928" y="1757"/>
                  </a:cubicBezTo>
                  <a:lnTo>
                    <a:pt x="2928" y="7214"/>
                  </a:lnTo>
                  <a:lnTo>
                    <a:pt x="1223" y="7897"/>
                  </a:lnTo>
                  <a:cubicBezTo>
                    <a:pt x="480" y="8192"/>
                    <a:pt x="0" y="8902"/>
                    <a:pt x="0" y="9701"/>
                  </a:cubicBezTo>
                  <a:cubicBezTo>
                    <a:pt x="0" y="10782"/>
                    <a:pt x="880" y="11645"/>
                    <a:pt x="1944" y="11645"/>
                  </a:cubicBezTo>
                  <a:cubicBezTo>
                    <a:pt x="2362" y="11645"/>
                    <a:pt x="2624" y="11523"/>
                    <a:pt x="2877" y="11423"/>
                  </a:cubicBezTo>
                  <a:cubicBezTo>
                    <a:pt x="3618" y="11125"/>
                    <a:pt x="4099" y="10418"/>
                    <a:pt x="4099" y="9618"/>
                  </a:cubicBezTo>
                  <a:lnTo>
                    <a:pt x="4099" y="4578"/>
                  </a:lnTo>
                  <a:lnTo>
                    <a:pt x="8782" y="3641"/>
                  </a:lnTo>
                  <a:lnTo>
                    <a:pt x="8782" y="6043"/>
                  </a:lnTo>
                  <a:lnTo>
                    <a:pt x="7076" y="6726"/>
                  </a:lnTo>
                  <a:cubicBezTo>
                    <a:pt x="6335" y="7023"/>
                    <a:pt x="5854" y="7731"/>
                    <a:pt x="5854" y="8530"/>
                  </a:cubicBezTo>
                  <a:cubicBezTo>
                    <a:pt x="5854" y="9611"/>
                    <a:pt x="6733" y="10476"/>
                    <a:pt x="7798" y="10476"/>
                  </a:cubicBezTo>
                  <a:cubicBezTo>
                    <a:pt x="8216" y="10476"/>
                    <a:pt x="8477" y="10354"/>
                    <a:pt x="8730" y="10251"/>
                  </a:cubicBezTo>
                  <a:cubicBezTo>
                    <a:pt x="9473" y="9956"/>
                    <a:pt x="9953" y="9247"/>
                    <a:pt x="9953" y="8447"/>
                  </a:cubicBezTo>
                  <a:lnTo>
                    <a:pt x="9953" y="586"/>
                  </a:lnTo>
                  <a:cubicBezTo>
                    <a:pt x="9953" y="410"/>
                    <a:pt x="9873" y="244"/>
                    <a:pt x="9739" y="133"/>
                  </a:cubicBezTo>
                  <a:cubicBezTo>
                    <a:pt x="9633" y="47"/>
                    <a:pt x="9503" y="1"/>
                    <a:pt x="93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55" name="Google Shape;8155;p77"/>
          <p:cNvGrpSpPr/>
          <p:nvPr/>
        </p:nvGrpSpPr>
        <p:grpSpPr>
          <a:xfrm>
            <a:off x="6672129" y="5143589"/>
            <a:ext cx="543175" cy="270507"/>
            <a:chOff x="6090251" y="2676413"/>
            <a:chExt cx="417014" cy="207677"/>
          </a:xfrm>
        </p:grpSpPr>
        <p:sp>
          <p:nvSpPr>
            <p:cNvPr id="8156" name="Google Shape;8156;p77"/>
            <p:cNvSpPr/>
            <p:nvPr/>
          </p:nvSpPr>
          <p:spPr>
            <a:xfrm>
              <a:off x="6237672" y="2725248"/>
              <a:ext cx="61086" cy="158842"/>
            </a:xfrm>
            <a:custGeom>
              <a:avLst/>
              <a:gdLst/>
              <a:ahLst/>
              <a:cxnLst/>
              <a:rect l="l" t="t" r="r" b="b"/>
              <a:pathLst>
                <a:path w="2927" h="7611" extrusionOk="0">
                  <a:moveTo>
                    <a:pt x="1463" y="1172"/>
                  </a:moveTo>
                  <a:cubicBezTo>
                    <a:pt x="1624" y="1172"/>
                    <a:pt x="1757" y="1303"/>
                    <a:pt x="1757" y="1465"/>
                  </a:cubicBezTo>
                  <a:lnTo>
                    <a:pt x="1757" y="6148"/>
                  </a:lnTo>
                  <a:cubicBezTo>
                    <a:pt x="1757" y="6309"/>
                    <a:pt x="1624" y="6440"/>
                    <a:pt x="1463" y="6440"/>
                  </a:cubicBezTo>
                  <a:cubicBezTo>
                    <a:pt x="1302" y="6440"/>
                    <a:pt x="1171" y="6309"/>
                    <a:pt x="1171" y="6148"/>
                  </a:cubicBezTo>
                  <a:lnTo>
                    <a:pt x="1171" y="1465"/>
                  </a:lnTo>
                  <a:cubicBezTo>
                    <a:pt x="1171" y="1303"/>
                    <a:pt x="1302" y="1172"/>
                    <a:pt x="1463" y="1172"/>
                  </a:cubicBezTo>
                  <a:close/>
                  <a:moveTo>
                    <a:pt x="1463" y="1"/>
                  </a:moveTo>
                  <a:cubicBezTo>
                    <a:pt x="657" y="1"/>
                    <a:pt x="0" y="657"/>
                    <a:pt x="0" y="1465"/>
                  </a:cubicBezTo>
                  <a:lnTo>
                    <a:pt x="0" y="6148"/>
                  </a:lnTo>
                  <a:cubicBezTo>
                    <a:pt x="0" y="6955"/>
                    <a:pt x="657" y="7611"/>
                    <a:pt x="1463" y="7611"/>
                  </a:cubicBezTo>
                  <a:cubicBezTo>
                    <a:pt x="2270" y="7611"/>
                    <a:pt x="2926" y="6955"/>
                    <a:pt x="2926" y="6148"/>
                  </a:cubicBezTo>
                  <a:lnTo>
                    <a:pt x="2926" y="1465"/>
                  </a:lnTo>
                  <a:cubicBezTo>
                    <a:pt x="2926" y="657"/>
                    <a:pt x="2270" y="1"/>
                    <a:pt x="146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7" name="Google Shape;8157;p77"/>
            <p:cNvSpPr/>
            <p:nvPr/>
          </p:nvSpPr>
          <p:spPr>
            <a:xfrm>
              <a:off x="6446178" y="2761915"/>
              <a:ext cx="61086" cy="61086"/>
            </a:xfrm>
            <a:custGeom>
              <a:avLst/>
              <a:gdLst/>
              <a:ahLst/>
              <a:cxnLst/>
              <a:rect l="l" t="t" r="r" b="b"/>
              <a:pathLst>
                <a:path w="2927" h="2927" extrusionOk="0">
                  <a:moveTo>
                    <a:pt x="1464" y="1171"/>
                  </a:moveTo>
                  <a:cubicBezTo>
                    <a:pt x="1625" y="1171"/>
                    <a:pt x="1756" y="1302"/>
                    <a:pt x="1756" y="1463"/>
                  </a:cubicBezTo>
                  <a:cubicBezTo>
                    <a:pt x="1756" y="1626"/>
                    <a:pt x="1625" y="1757"/>
                    <a:pt x="1464" y="1757"/>
                  </a:cubicBezTo>
                  <a:cubicBezTo>
                    <a:pt x="1303" y="1757"/>
                    <a:pt x="1170" y="1626"/>
                    <a:pt x="1170" y="1463"/>
                  </a:cubicBezTo>
                  <a:cubicBezTo>
                    <a:pt x="1170" y="1302"/>
                    <a:pt x="1303" y="1171"/>
                    <a:pt x="1464" y="1171"/>
                  </a:cubicBezTo>
                  <a:close/>
                  <a:moveTo>
                    <a:pt x="1464" y="0"/>
                  </a:moveTo>
                  <a:cubicBezTo>
                    <a:pt x="657" y="0"/>
                    <a:pt x="1" y="657"/>
                    <a:pt x="1" y="1463"/>
                  </a:cubicBezTo>
                  <a:cubicBezTo>
                    <a:pt x="1" y="2270"/>
                    <a:pt x="657" y="2926"/>
                    <a:pt x="1464" y="2926"/>
                  </a:cubicBezTo>
                  <a:cubicBezTo>
                    <a:pt x="2270" y="2926"/>
                    <a:pt x="2927" y="2270"/>
                    <a:pt x="2927" y="1463"/>
                  </a:cubicBezTo>
                  <a:cubicBezTo>
                    <a:pt x="2927" y="657"/>
                    <a:pt x="2270" y="0"/>
                    <a:pt x="14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8" name="Google Shape;8158;p77"/>
            <p:cNvSpPr/>
            <p:nvPr/>
          </p:nvSpPr>
          <p:spPr>
            <a:xfrm>
              <a:off x="6311758" y="2676413"/>
              <a:ext cx="135446" cy="207677"/>
            </a:xfrm>
            <a:custGeom>
              <a:avLst/>
              <a:gdLst/>
              <a:ahLst/>
              <a:cxnLst/>
              <a:rect l="l" t="t" r="r" b="b"/>
              <a:pathLst>
                <a:path w="6490" h="9951" extrusionOk="0">
                  <a:moveTo>
                    <a:pt x="1466" y="1171"/>
                  </a:moveTo>
                  <a:cubicBezTo>
                    <a:pt x="1627" y="1171"/>
                    <a:pt x="1757" y="1302"/>
                    <a:pt x="1757" y="1463"/>
                  </a:cubicBezTo>
                  <a:lnTo>
                    <a:pt x="1757" y="6026"/>
                  </a:lnTo>
                  <a:lnTo>
                    <a:pt x="4186" y="3598"/>
                  </a:lnTo>
                  <a:cubicBezTo>
                    <a:pt x="4243" y="3541"/>
                    <a:pt x="4318" y="3512"/>
                    <a:pt x="4392" y="3512"/>
                  </a:cubicBezTo>
                  <a:cubicBezTo>
                    <a:pt x="4467" y="3512"/>
                    <a:pt x="4542" y="3541"/>
                    <a:pt x="4598" y="3598"/>
                  </a:cubicBezTo>
                  <a:cubicBezTo>
                    <a:pt x="4713" y="3712"/>
                    <a:pt x="4713" y="3897"/>
                    <a:pt x="4598" y="4012"/>
                  </a:cubicBezTo>
                  <a:lnTo>
                    <a:pt x="3247" y="5364"/>
                  </a:lnTo>
                  <a:lnTo>
                    <a:pt x="5221" y="8325"/>
                  </a:lnTo>
                  <a:cubicBezTo>
                    <a:pt x="5280" y="8414"/>
                    <a:pt x="5274" y="8500"/>
                    <a:pt x="5265" y="8546"/>
                  </a:cubicBezTo>
                  <a:cubicBezTo>
                    <a:pt x="5257" y="8591"/>
                    <a:pt x="5228" y="8674"/>
                    <a:pt x="5140" y="8732"/>
                  </a:cubicBezTo>
                  <a:cubicBezTo>
                    <a:pt x="5090" y="8764"/>
                    <a:pt x="5037" y="8780"/>
                    <a:pt x="4979" y="8780"/>
                  </a:cubicBezTo>
                  <a:cubicBezTo>
                    <a:pt x="4880" y="8780"/>
                    <a:pt x="4788" y="8732"/>
                    <a:pt x="4735" y="8651"/>
                  </a:cubicBezTo>
                  <a:lnTo>
                    <a:pt x="2824" y="5787"/>
                  </a:lnTo>
                  <a:lnTo>
                    <a:pt x="1757" y="6853"/>
                  </a:lnTo>
                  <a:lnTo>
                    <a:pt x="1757" y="8488"/>
                  </a:lnTo>
                  <a:cubicBezTo>
                    <a:pt x="1757" y="8649"/>
                    <a:pt x="1627" y="8782"/>
                    <a:pt x="1466" y="8782"/>
                  </a:cubicBezTo>
                  <a:cubicBezTo>
                    <a:pt x="1305" y="8782"/>
                    <a:pt x="1172" y="8649"/>
                    <a:pt x="1172" y="8488"/>
                  </a:cubicBezTo>
                  <a:lnTo>
                    <a:pt x="1172" y="1463"/>
                  </a:lnTo>
                  <a:cubicBezTo>
                    <a:pt x="1172" y="1302"/>
                    <a:pt x="1305" y="1171"/>
                    <a:pt x="1466" y="1171"/>
                  </a:cubicBezTo>
                  <a:close/>
                  <a:moveTo>
                    <a:pt x="1466" y="0"/>
                  </a:moveTo>
                  <a:cubicBezTo>
                    <a:pt x="659" y="0"/>
                    <a:pt x="1" y="657"/>
                    <a:pt x="1" y="1463"/>
                  </a:cubicBezTo>
                  <a:lnTo>
                    <a:pt x="1" y="8488"/>
                  </a:lnTo>
                  <a:cubicBezTo>
                    <a:pt x="1" y="9295"/>
                    <a:pt x="659" y="9951"/>
                    <a:pt x="1466" y="9951"/>
                  </a:cubicBezTo>
                  <a:cubicBezTo>
                    <a:pt x="2272" y="9951"/>
                    <a:pt x="2929" y="9295"/>
                    <a:pt x="2929" y="8488"/>
                  </a:cubicBezTo>
                  <a:lnTo>
                    <a:pt x="2929" y="8053"/>
                  </a:lnTo>
                  <a:lnTo>
                    <a:pt x="3760" y="9300"/>
                  </a:lnTo>
                  <a:cubicBezTo>
                    <a:pt x="4032" y="9709"/>
                    <a:pt x="4487" y="9951"/>
                    <a:pt x="4979" y="9951"/>
                  </a:cubicBezTo>
                  <a:cubicBezTo>
                    <a:pt x="5269" y="9951"/>
                    <a:pt x="5548" y="9866"/>
                    <a:pt x="5789" y="9705"/>
                  </a:cubicBezTo>
                  <a:cubicBezTo>
                    <a:pt x="6114" y="9489"/>
                    <a:pt x="6336" y="9158"/>
                    <a:pt x="6413" y="8775"/>
                  </a:cubicBezTo>
                  <a:cubicBezTo>
                    <a:pt x="6490" y="8391"/>
                    <a:pt x="6412" y="8001"/>
                    <a:pt x="6196" y="7676"/>
                  </a:cubicBezTo>
                  <a:lnTo>
                    <a:pt x="4754" y="5512"/>
                  </a:lnTo>
                  <a:lnTo>
                    <a:pt x="5426" y="4840"/>
                  </a:lnTo>
                  <a:cubicBezTo>
                    <a:pt x="5998" y="4269"/>
                    <a:pt x="5998" y="3340"/>
                    <a:pt x="5426" y="2771"/>
                  </a:cubicBezTo>
                  <a:cubicBezTo>
                    <a:pt x="5142" y="2485"/>
                    <a:pt x="4767" y="2342"/>
                    <a:pt x="4392" y="2342"/>
                  </a:cubicBezTo>
                  <a:cubicBezTo>
                    <a:pt x="4017" y="2342"/>
                    <a:pt x="3642" y="2485"/>
                    <a:pt x="3357" y="2771"/>
                  </a:cubicBezTo>
                  <a:lnTo>
                    <a:pt x="2929" y="3199"/>
                  </a:lnTo>
                  <a:lnTo>
                    <a:pt x="2929" y="1463"/>
                  </a:lnTo>
                  <a:cubicBezTo>
                    <a:pt x="2929" y="657"/>
                    <a:pt x="2272" y="0"/>
                    <a:pt x="146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59" name="Google Shape;8159;p77"/>
            <p:cNvSpPr/>
            <p:nvPr/>
          </p:nvSpPr>
          <p:spPr>
            <a:xfrm>
              <a:off x="6090251" y="2676413"/>
              <a:ext cx="135405" cy="207677"/>
            </a:xfrm>
            <a:custGeom>
              <a:avLst/>
              <a:gdLst/>
              <a:ahLst/>
              <a:cxnLst/>
              <a:rect l="l" t="t" r="r" b="b"/>
              <a:pathLst>
                <a:path w="6488" h="9951" extrusionOk="0">
                  <a:moveTo>
                    <a:pt x="1464" y="1171"/>
                  </a:moveTo>
                  <a:cubicBezTo>
                    <a:pt x="1625" y="1171"/>
                    <a:pt x="1757" y="1302"/>
                    <a:pt x="1757" y="1463"/>
                  </a:cubicBezTo>
                  <a:lnTo>
                    <a:pt x="1757" y="6026"/>
                  </a:lnTo>
                  <a:lnTo>
                    <a:pt x="4184" y="3598"/>
                  </a:lnTo>
                  <a:cubicBezTo>
                    <a:pt x="4241" y="3541"/>
                    <a:pt x="4316" y="3512"/>
                    <a:pt x="4391" y="3512"/>
                  </a:cubicBezTo>
                  <a:cubicBezTo>
                    <a:pt x="4466" y="3512"/>
                    <a:pt x="4541" y="3541"/>
                    <a:pt x="4598" y="3598"/>
                  </a:cubicBezTo>
                  <a:cubicBezTo>
                    <a:pt x="4712" y="3712"/>
                    <a:pt x="4712" y="3897"/>
                    <a:pt x="4598" y="4012"/>
                  </a:cubicBezTo>
                  <a:lnTo>
                    <a:pt x="3245" y="5364"/>
                  </a:lnTo>
                  <a:lnTo>
                    <a:pt x="5219" y="8325"/>
                  </a:lnTo>
                  <a:cubicBezTo>
                    <a:pt x="5278" y="8414"/>
                    <a:pt x="5272" y="8500"/>
                    <a:pt x="5264" y="8546"/>
                  </a:cubicBezTo>
                  <a:cubicBezTo>
                    <a:pt x="5255" y="8591"/>
                    <a:pt x="5226" y="8674"/>
                    <a:pt x="5138" y="8732"/>
                  </a:cubicBezTo>
                  <a:cubicBezTo>
                    <a:pt x="5090" y="8764"/>
                    <a:pt x="5035" y="8780"/>
                    <a:pt x="4977" y="8780"/>
                  </a:cubicBezTo>
                  <a:cubicBezTo>
                    <a:pt x="4878" y="8780"/>
                    <a:pt x="4788" y="8732"/>
                    <a:pt x="4733" y="8651"/>
                  </a:cubicBezTo>
                  <a:lnTo>
                    <a:pt x="2824" y="5787"/>
                  </a:lnTo>
                  <a:lnTo>
                    <a:pt x="1757" y="6853"/>
                  </a:lnTo>
                  <a:lnTo>
                    <a:pt x="1757" y="8488"/>
                  </a:lnTo>
                  <a:cubicBezTo>
                    <a:pt x="1757" y="8649"/>
                    <a:pt x="1625" y="8782"/>
                    <a:pt x="1464" y="8782"/>
                  </a:cubicBezTo>
                  <a:cubicBezTo>
                    <a:pt x="1303" y="8782"/>
                    <a:pt x="1172" y="8649"/>
                    <a:pt x="1172" y="8488"/>
                  </a:cubicBezTo>
                  <a:lnTo>
                    <a:pt x="1172" y="1463"/>
                  </a:lnTo>
                  <a:cubicBezTo>
                    <a:pt x="1172" y="1302"/>
                    <a:pt x="1303" y="1171"/>
                    <a:pt x="1464" y="1171"/>
                  </a:cubicBezTo>
                  <a:close/>
                  <a:moveTo>
                    <a:pt x="1464" y="0"/>
                  </a:moveTo>
                  <a:cubicBezTo>
                    <a:pt x="657" y="0"/>
                    <a:pt x="1" y="657"/>
                    <a:pt x="1" y="1463"/>
                  </a:cubicBezTo>
                  <a:lnTo>
                    <a:pt x="1" y="8488"/>
                  </a:lnTo>
                  <a:cubicBezTo>
                    <a:pt x="1" y="9295"/>
                    <a:pt x="657" y="9951"/>
                    <a:pt x="1464" y="9951"/>
                  </a:cubicBezTo>
                  <a:cubicBezTo>
                    <a:pt x="2270" y="9951"/>
                    <a:pt x="2927" y="9295"/>
                    <a:pt x="2927" y="8488"/>
                  </a:cubicBezTo>
                  <a:lnTo>
                    <a:pt x="2927" y="8053"/>
                  </a:lnTo>
                  <a:lnTo>
                    <a:pt x="3758" y="9300"/>
                  </a:lnTo>
                  <a:cubicBezTo>
                    <a:pt x="4031" y="9709"/>
                    <a:pt x="4485" y="9951"/>
                    <a:pt x="4977" y="9951"/>
                  </a:cubicBezTo>
                  <a:cubicBezTo>
                    <a:pt x="5267" y="9951"/>
                    <a:pt x="5548" y="9866"/>
                    <a:pt x="5787" y="9705"/>
                  </a:cubicBezTo>
                  <a:cubicBezTo>
                    <a:pt x="6113" y="9489"/>
                    <a:pt x="6336" y="9158"/>
                    <a:pt x="6412" y="8775"/>
                  </a:cubicBezTo>
                  <a:cubicBezTo>
                    <a:pt x="6488" y="8391"/>
                    <a:pt x="6410" y="8001"/>
                    <a:pt x="6194" y="7676"/>
                  </a:cubicBezTo>
                  <a:lnTo>
                    <a:pt x="4752" y="5512"/>
                  </a:lnTo>
                  <a:lnTo>
                    <a:pt x="5426" y="4840"/>
                  </a:lnTo>
                  <a:cubicBezTo>
                    <a:pt x="5996" y="4269"/>
                    <a:pt x="5996" y="3340"/>
                    <a:pt x="5426" y="2771"/>
                  </a:cubicBezTo>
                  <a:cubicBezTo>
                    <a:pt x="5141" y="2485"/>
                    <a:pt x="4766" y="2342"/>
                    <a:pt x="4391" y="2342"/>
                  </a:cubicBezTo>
                  <a:cubicBezTo>
                    <a:pt x="4016" y="2342"/>
                    <a:pt x="3641" y="2485"/>
                    <a:pt x="3357" y="2771"/>
                  </a:cubicBezTo>
                  <a:lnTo>
                    <a:pt x="2927" y="3199"/>
                  </a:lnTo>
                  <a:lnTo>
                    <a:pt x="2927" y="1463"/>
                  </a:lnTo>
                  <a:cubicBezTo>
                    <a:pt x="2927" y="657"/>
                    <a:pt x="2270" y="0"/>
                    <a:pt x="1464"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60" name="Google Shape;8160;p77"/>
          <p:cNvGrpSpPr/>
          <p:nvPr/>
        </p:nvGrpSpPr>
        <p:grpSpPr>
          <a:xfrm>
            <a:off x="8315667" y="5007249"/>
            <a:ext cx="543188" cy="543188"/>
            <a:chOff x="7137330" y="2571753"/>
            <a:chExt cx="417024" cy="417024"/>
          </a:xfrm>
        </p:grpSpPr>
        <p:sp>
          <p:nvSpPr>
            <p:cNvPr id="8161" name="Google Shape;8161;p77"/>
            <p:cNvSpPr/>
            <p:nvPr/>
          </p:nvSpPr>
          <p:spPr>
            <a:xfrm>
              <a:off x="7235854" y="2645840"/>
              <a:ext cx="219949" cy="268826"/>
            </a:xfrm>
            <a:custGeom>
              <a:avLst/>
              <a:gdLst/>
              <a:ahLst/>
              <a:cxnLst/>
              <a:rect l="l" t="t" r="r" b="b"/>
              <a:pathLst>
                <a:path w="10539" h="12881" extrusionOk="0">
                  <a:moveTo>
                    <a:pt x="5271" y="1172"/>
                  </a:moveTo>
                  <a:cubicBezTo>
                    <a:pt x="7530" y="1172"/>
                    <a:pt x="9368" y="3010"/>
                    <a:pt x="9368" y="5270"/>
                  </a:cubicBezTo>
                  <a:cubicBezTo>
                    <a:pt x="9368" y="6273"/>
                    <a:pt x="8717" y="7797"/>
                    <a:pt x="7624" y="9343"/>
                  </a:cubicBezTo>
                  <a:cubicBezTo>
                    <a:pt x="6513" y="10917"/>
                    <a:pt x="5536" y="11665"/>
                    <a:pt x="5271" y="11708"/>
                  </a:cubicBezTo>
                  <a:cubicBezTo>
                    <a:pt x="5004" y="11665"/>
                    <a:pt x="4029" y="10917"/>
                    <a:pt x="2916" y="9343"/>
                  </a:cubicBezTo>
                  <a:cubicBezTo>
                    <a:pt x="1825" y="7797"/>
                    <a:pt x="1172" y="6273"/>
                    <a:pt x="1172" y="5270"/>
                  </a:cubicBezTo>
                  <a:cubicBezTo>
                    <a:pt x="1172" y="3010"/>
                    <a:pt x="3010" y="1172"/>
                    <a:pt x="5271" y="1172"/>
                  </a:cubicBezTo>
                  <a:close/>
                  <a:moveTo>
                    <a:pt x="5271" y="1"/>
                  </a:moveTo>
                  <a:cubicBezTo>
                    <a:pt x="2366" y="1"/>
                    <a:pt x="1" y="2364"/>
                    <a:pt x="1" y="5270"/>
                  </a:cubicBezTo>
                  <a:cubicBezTo>
                    <a:pt x="1" y="7084"/>
                    <a:pt x="1409" y="9247"/>
                    <a:pt x="2014" y="10093"/>
                  </a:cubicBezTo>
                  <a:cubicBezTo>
                    <a:pt x="2481" y="10747"/>
                    <a:pt x="4098" y="12881"/>
                    <a:pt x="5271" y="12881"/>
                  </a:cubicBezTo>
                  <a:cubicBezTo>
                    <a:pt x="6444" y="12881"/>
                    <a:pt x="8059" y="10747"/>
                    <a:pt x="8528" y="10093"/>
                  </a:cubicBezTo>
                  <a:cubicBezTo>
                    <a:pt x="9133" y="9247"/>
                    <a:pt x="10539" y="7084"/>
                    <a:pt x="10539" y="5270"/>
                  </a:cubicBezTo>
                  <a:cubicBezTo>
                    <a:pt x="10539" y="2364"/>
                    <a:pt x="8175" y="1"/>
                    <a:pt x="52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2" name="Google Shape;8162;p77"/>
            <p:cNvSpPr/>
            <p:nvPr/>
          </p:nvSpPr>
          <p:spPr>
            <a:xfrm>
              <a:off x="7137330" y="2571753"/>
              <a:ext cx="417024" cy="417024"/>
            </a:xfrm>
            <a:custGeom>
              <a:avLst/>
              <a:gdLst/>
              <a:ahLst/>
              <a:cxnLst/>
              <a:rect l="l" t="t" r="r" b="b"/>
              <a:pathLst>
                <a:path w="19982" h="19982" extrusionOk="0">
                  <a:moveTo>
                    <a:pt x="9992" y="1171"/>
                  </a:moveTo>
                  <a:cubicBezTo>
                    <a:pt x="14855" y="1171"/>
                    <a:pt x="18812" y="5127"/>
                    <a:pt x="18812" y="9991"/>
                  </a:cubicBezTo>
                  <a:cubicBezTo>
                    <a:pt x="18812" y="14854"/>
                    <a:pt x="14855" y="18810"/>
                    <a:pt x="9992" y="18810"/>
                  </a:cubicBezTo>
                  <a:cubicBezTo>
                    <a:pt x="5127" y="18810"/>
                    <a:pt x="1171" y="14854"/>
                    <a:pt x="1171" y="9991"/>
                  </a:cubicBezTo>
                  <a:cubicBezTo>
                    <a:pt x="1171" y="5127"/>
                    <a:pt x="5127" y="1171"/>
                    <a:pt x="9992" y="1171"/>
                  </a:cubicBezTo>
                  <a:close/>
                  <a:moveTo>
                    <a:pt x="9992" y="0"/>
                  </a:moveTo>
                  <a:cubicBezTo>
                    <a:pt x="4490" y="0"/>
                    <a:pt x="0" y="4490"/>
                    <a:pt x="0" y="9990"/>
                  </a:cubicBezTo>
                  <a:cubicBezTo>
                    <a:pt x="0" y="15491"/>
                    <a:pt x="4490" y="19981"/>
                    <a:pt x="9992" y="19981"/>
                  </a:cubicBezTo>
                  <a:cubicBezTo>
                    <a:pt x="15493" y="19981"/>
                    <a:pt x="19981" y="15491"/>
                    <a:pt x="19981" y="9990"/>
                  </a:cubicBezTo>
                  <a:cubicBezTo>
                    <a:pt x="19981" y="4488"/>
                    <a:pt x="15492" y="0"/>
                    <a:pt x="999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3" name="Google Shape;8163;p77"/>
            <p:cNvSpPr/>
            <p:nvPr/>
          </p:nvSpPr>
          <p:spPr>
            <a:xfrm>
              <a:off x="7284751" y="2694716"/>
              <a:ext cx="122173" cy="122194"/>
            </a:xfrm>
            <a:custGeom>
              <a:avLst/>
              <a:gdLst/>
              <a:ahLst/>
              <a:cxnLst/>
              <a:rect l="l" t="t" r="r" b="b"/>
              <a:pathLst>
                <a:path w="5854" h="5855" extrusionOk="0">
                  <a:moveTo>
                    <a:pt x="2928" y="1172"/>
                  </a:moveTo>
                  <a:cubicBezTo>
                    <a:pt x="3895" y="1172"/>
                    <a:pt x="4684" y="1959"/>
                    <a:pt x="4684" y="2928"/>
                  </a:cubicBezTo>
                  <a:cubicBezTo>
                    <a:pt x="4684" y="3896"/>
                    <a:pt x="3895" y="4683"/>
                    <a:pt x="2928" y="4683"/>
                  </a:cubicBezTo>
                  <a:cubicBezTo>
                    <a:pt x="1958" y="4683"/>
                    <a:pt x="1171" y="3896"/>
                    <a:pt x="1171" y="2928"/>
                  </a:cubicBezTo>
                  <a:cubicBezTo>
                    <a:pt x="2139" y="2928"/>
                    <a:pt x="2928" y="2139"/>
                    <a:pt x="2928" y="1172"/>
                  </a:cubicBezTo>
                  <a:close/>
                  <a:moveTo>
                    <a:pt x="2928" y="1"/>
                  </a:moveTo>
                  <a:cubicBezTo>
                    <a:pt x="2655" y="1"/>
                    <a:pt x="2374" y="47"/>
                    <a:pt x="2066" y="142"/>
                  </a:cubicBezTo>
                  <a:cubicBezTo>
                    <a:pt x="1732" y="245"/>
                    <a:pt x="1562" y="616"/>
                    <a:pt x="1704" y="936"/>
                  </a:cubicBezTo>
                  <a:cubicBezTo>
                    <a:pt x="1885" y="1345"/>
                    <a:pt x="1569" y="1756"/>
                    <a:pt x="1177" y="1756"/>
                  </a:cubicBezTo>
                  <a:cubicBezTo>
                    <a:pt x="1099" y="1756"/>
                    <a:pt x="1018" y="1740"/>
                    <a:pt x="938" y="1704"/>
                  </a:cubicBezTo>
                  <a:cubicBezTo>
                    <a:pt x="860" y="1670"/>
                    <a:pt x="780" y="1654"/>
                    <a:pt x="701" y="1654"/>
                  </a:cubicBezTo>
                  <a:cubicBezTo>
                    <a:pt x="453" y="1654"/>
                    <a:pt x="219" y="1813"/>
                    <a:pt x="142" y="2067"/>
                  </a:cubicBezTo>
                  <a:cubicBezTo>
                    <a:pt x="46" y="2373"/>
                    <a:pt x="0" y="2656"/>
                    <a:pt x="0" y="2928"/>
                  </a:cubicBezTo>
                  <a:cubicBezTo>
                    <a:pt x="0" y="4542"/>
                    <a:pt x="1313" y="5854"/>
                    <a:pt x="2928" y="5854"/>
                  </a:cubicBezTo>
                  <a:cubicBezTo>
                    <a:pt x="4541" y="5854"/>
                    <a:pt x="5854" y="4542"/>
                    <a:pt x="5854" y="2928"/>
                  </a:cubicBezTo>
                  <a:cubicBezTo>
                    <a:pt x="5854" y="1313"/>
                    <a:pt x="4541" y="1"/>
                    <a:pt x="292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64" name="Google Shape;8164;p77"/>
          <p:cNvGrpSpPr/>
          <p:nvPr/>
        </p:nvGrpSpPr>
        <p:grpSpPr>
          <a:xfrm>
            <a:off x="7493891" y="5007249"/>
            <a:ext cx="543188" cy="543188"/>
            <a:chOff x="6613801" y="2571753"/>
            <a:chExt cx="417024" cy="417024"/>
          </a:xfrm>
        </p:grpSpPr>
        <p:sp>
          <p:nvSpPr>
            <p:cNvPr id="8165" name="Google Shape;8165;p77"/>
            <p:cNvSpPr/>
            <p:nvPr/>
          </p:nvSpPr>
          <p:spPr>
            <a:xfrm>
              <a:off x="6613801" y="2571753"/>
              <a:ext cx="417024" cy="417024"/>
            </a:xfrm>
            <a:custGeom>
              <a:avLst/>
              <a:gdLst/>
              <a:ahLst/>
              <a:cxnLst/>
              <a:rect l="l" t="t" r="r" b="b"/>
              <a:pathLst>
                <a:path w="19982" h="19982" extrusionOk="0">
                  <a:moveTo>
                    <a:pt x="9991" y="1171"/>
                  </a:moveTo>
                  <a:cubicBezTo>
                    <a:pt x="14854" y="1171"/>
                    <a:pt x="18812" y="5127"/>
                    <a:pt x="18812" y="9991"/>
                  </a:cubicBezTo>
                  <a:cubicBezTo>
                    <a:pt x="18812" y="14854"/>
                    <a:pt x="14854" y="18810"/>
                    <a:pt x="9991" y="18810"/>
                  </a:cubicBezTo>
                  <a:cubicBezTo>
                    <a:pt x="5127" y="18810"/>
                    <a:pt x="1171" y="14854"/>
                    <a:pt x="1171" y="9991"/>
                  </a:cubicBezTo>
                  <a:cubicBezTo>
                    <a:pt x="1171" y="5127"/>
                    <a:pt x="5127" y="1171"/>
                    <a:pt x="9991" y="1171"/>
                  </a:cubicBezTo>
                  <a:close/>
                  <a:moveTo>
                    <a:pt x="9991" y="0"/>
                  </a:moveTo>
                  <a:cubicBezTo>
                    <a:pt x="4490" y="0"/>
                    <a:pt x="0" y="4490"/>
                    <a:pt x="0" y="9990"/>
                  </a:cubicBezTo>
                  <a:cubicBezTo>
                    <a:pt x="0" y="15493"/>
                    <a:pt x="4490" y="19981"/>
                    <a:pt x="9991" y="19981"/>
                  </a:cubicBezTo>
                  <a:cubicBezTo>
                    <a:pt x="15493" y="19981"/>
                    <a:pt x="19981" y="15491"/>
                    <a:pt x="19981" y="9990"/>
                  </a:cubicBezTo>
                  <a:cubicBezTo>
                    <a:pt x="19981" y="4488"/>
                    <a:pt x="15491" y="0"/>
                    <a:pt x="9991"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6" name="Google Shape;8166;p77"/>
            <p:cNvSpPr/>
            <p:nvPr/>
          </p:nvSpPr>
          <p:spPr>
            <a:xfrm>
              <a:off x="6663449" y="2645840"/>
              <a:ext cx="317704" cy="268826"/>
            </a:xfrm>
            <a:custGeom>
              <a:avLst/>
              <a:gdLst/>
              <a:ahLst/>
              <a:cxnLst/>
              <a:rect l="l" t="t" r="r" b="b"/>
              <a:pathLst>
                <a:path w="15223" h="12881" extrusionOk="0">
                  <a:moveTo>
                    <a:pt x="12295" y="1172"/>
                  </a:moveTo>
                  <a:cubicBezTo>
                    <a:pt x="12619" y="1172"/>
                    <a:pt x="12881" y="1435"/>
                    <a:pt x="12881" y="1757"/>
                  </a:cubicBezTo>
                  <a:cubicBezTo>
                    <a:pt x="12881" y="2079"/>
                    <a:pt x="12617" y="2343"/>
                    <a:pt x="12295" y="2343"/>
                  </a:cubicBezTo>
                  <a:cubicBezTo>
                    <a:pt x="11973" y="2343"/>
                    <a:pt x="11709" y="2079"/>
                    <a:pt x="11709" y="1757"/>
                  </a:cubicBezTo>
                  <a:cubicBezTo>
                    <a:pt x="11709" y="1435"/>
                    <a:pt x="11973" y="1172"/>
                    <a:pt x="12295" y="1172"/>
                  </a:cubicBezTo>
                  <a:close/>
                  <a:moveTo>
                    <a:pt x="2343" y="4685"/>
                  </a:moveTo>
                  <a:cubicBezTo>
                    <a:pt x="2592" y="4685"/>
                    <a:pt x="2827" y="4763"/>
                    <a:pt x="3022" y="4902"/>
                  </a:cubicBezTo>
                  <a:cubicBezTo>
                    <a:pt x="2330" y="5410"/>
                    <a:pt x="1821" y="6015"/>
                    <a:pt x="1513" y="6677"/>
                  </a:cubicBezTo>
                  <a:cubicBezTo>
                    <a:pt x="1301" y="6461"/>
                    <a:pt x="1173" y="6167"/>
                    <a:pt x="1173" y="5856"/>
                  </a:cubicBezTo>
                  <a:cubicBezTo>
                    <a:pt x="1173" y="5210"/>
                    <a:pt x="1697" y="4685"/>
                    <a:pt x="2343" y="4685"/>
                  </a:cubicBezTo>
                  <a:close/>
                  <a:moveTo>
                    <a:pt x="12881" y="4685"/>
                  </a:moveTo>
                  <a:cubicBezTo>
                    <a:pt x="13526" y="4685"/>
                    <a:pt x="14052" y="5208"/>
                    <a:pt x="14052" y="5854"/>
                  </a:cubicBezTo>
                  <a:cubicBezTo>
                    <a:pt x="14052" y="6167"/>
                    <a:pt x="13923" y="6461"/>
                    <a:pt x="13712" y="6677"/>
                  </a:cubicBezTo>
                  <a:cubicBezTo>
                    <a:pt x="13404" y="6015"/>
                    <a:pt x="12893" y="5410"/>
                    <a:pt x="12201" y="4902"/>
                  </a:cubicBezTo>
                  <a:cubicBezTo>
                    <a:pt x="12396" y="4763"/>
                    <a:pt x="12633" y="4685"/>
                    <a:pt x="12881" y="4685"/>
                  </a:cubicBezTo>
                  <a:close/>
                  <a:moveTo>
                    <a:pt x="7616" y="4685"/>
                  </a:moveTo>
                  <a:cubicBezTo>
                    <a:pt x="9058" y="4685"/>
                    <a:pt x="10407" y="5074"/>
                    <a:pt x="11416" y="5778"/>
                  </a:cubicBezTo>
                  <a:cubicBezTo>
                    <a:pt x="12360" y="6440"/>
                    <a:pt x="12881" y="7299"/>
                    <a:pt x="12881" y="8196"/>
                  </a:cubicBezTo>
                  <a:cubicBezTo>
                    <a:pt x="12881" y="9095"/>
                    <a:pt x="12360" y="9953"/>
                    <a:pt x="11416" y="10615"/>
                  </a:cubicBezTo>
                  <a:cubicBezTo>
                    <a:pt x="10407" y="11320"/>
                    <a:pt x="9056" y="11710"/>
                    <a:pt x="7612" y="11710"/>
                  </a:cubicBezTo>
                  <a:cubicBezTo>
                    <a:pt x="6167" y="11710"/>
                    <a:pt x="4816" y="11320"/>
                    <a:pt x="3807" y="10615"/>
                  </a:cubicBezTo>
                  <a:cubicBezTo>
                    <a:pt x="2863" y="9953"/>
                    <a:pt x="2343" y="9095"/>
                    <a:pt x="2343" y="8196"/>
                  </a:cubicBezTo>
                  <a:cubicBezTo>
                    <a:pt x="2343" y="7299"/>
                    <a:pt x="2863" y="6440"/>
                    <a:pt x="3807" y="5778"/>
                  </a:cubicBezTo>
                  <a:cubicBezTo>
                    <a:pt x="4816" y="5074"/>
                    <a:pt x="6165" y="4685"/>
                    <a:pt x="7609" y="4685"/>
                  </a:cubicBezTo>
                  <a:close/>
                  <a:moveTo>
                    <a:pt x="8782" y="0"/>
                  </a:moveTo>
                  <a:cubicBezTo>
                    <a:pt x="8538" y="0"/>
                    <a:pt x="8309" y="156"/>
                    <a:pt x="8228" y="402"/>
                  </a:cubicBezTo>
                  <a:lnTo>
                    <a:pt x="7186" y="3524"/>
                  </a:lnTo>
                  <a:cubicBezTo>
                    <a:pt x="6065" y="3576"/>
                    <a:pt x="4998" y="3836"/>
                    <a:pt x="4073" y="4276"/>
                  </a:cubicBezTo>
                  <a:cubicBezTo>
                    <a:pt x="3634" y="3797"/>
                    <a:pt x="3011" y="3514"/>
                    <a:pt x="2343" y="3514"/>
                  </a:cubicBezTo>
                  <a:cubicBezTo>
                    <a:pt x="1051" y="3514"/>
                    <a:pt x="0" y="4565"/>
                    <a:pt x="0" y="5856"/>
                  </a:cubicBezTo>
                  <a:cubicBezTo>
                    <a:pt x="0" y="6702"/>
                    <a:pt x="469" y="7478"/>
                    <a:pt x="1186" y="7889"/>
                  </a:cubicBezTo>
                  <a:cubicBezTo>
                    <a:pt x="1177" y="7991"/>
                    <a:pt x="1171" y="8094"/>
                    <a:pt x="1171" y="8196"/>
                  </a:cubicBezTo>
                  <a:cubicBezTo>
                    <a:pt x="1171" y="9488"/>
                    <a:pt x="1870" y="10687"/>
                    <a:pt x="3137" y="11573"/>
                  </a:cubicBezTo>
                  <a:cubicBezTo>
                    <a:pt x="4340" y="12415"/>
                    <a:pt x="5928" y="12881"/>
                    <a:pt x="7611" y="12881"/>
                  </a:cubicBezTo>
                  <a:cubicBezTo>
                    <a:pt x="9293" y="12881"/>
                    <a:pt x="10883" y="12415"/>
                    <a:pt x="12086" y="11573"/>
                  </a:cubicBezTo>
                  <a:cubicBezTo>
                    <a:pt x="13353" y="10687"/>
                    <a:pt x="14050" y="9488"/>
                    <a:pt x="14050" y="8196"/>
                  </a:cubicBezTo>
                  <a:cubicBezTo>
                    <a:pt x="14050" y="8094"/>
                    <a:pt x="14046" y="7991"/>
                    <a:pt x="14037" y="7889"/>
                  </a:cubicBezTo>
                  <a:cubicBezTo>
                    <a:pt x="14754" y="7478"/>
                    <a:pt x="15223" y="6702"/>
                    <a:pt x="15223" y="5856"/>
                  </a:cubicBezTo>
                  <a:cubicBezTo>
                    <a:pt x="15223" y="4565"/>
                    <a:pt x="14172" y="3514"/>
                    <a:pt x="12881" y="3514"/>
                  </a:cubicBezTo>
                  <a:cubicBezTo>
                    <a:pt x="12212" y="3514"/>
                    <a:pt x="11589" y="3797"/>
                    <a:pt x="11152" y="4276"/>
                  </a:cubicBezTo>
                  <a:cubicBezTo>
                    <a:pt x="10330" y="3885"/>
                    <a:pt x="9396" y="3636"/>
                    <a:pt x="8412" y="3549"/>
                  </a:cubicBezTo>
                  <a:lnTo>
                    <a:pt x="9153" y="1327"/>
                  </a:lnTo>
                  <a:lnTo>
                    <a:pt x="10540" y="1789"/>
                  </a:lnTo>
                  <a:cubicBezTo>
                    <a:pt x="10556" y="2742"/>
                    <a:pt x="11338" y="3514"/>
                    <a:pt x="12295" y="3514"/>
                  </a:cubicBezTo>
                  <a:cubicBezTo>
                    <a:pt x="13263" y="3514"/>
                    <a:pt x="14052" y="2725"/>
                    <a:pt x="14052" y="1757"/>
                  </a:cubicBezTo>
                  <a:cubicBezTo>
                    <a:pt x="14052" y="790"/>
                    <a:pt x="13263" y="1"/>
                    <a:pt x="12295" y="1"/>
                  </a:cubicBezTo>
                  <a:cubicBezTo>
                    <a:pt x="11732" y="1"/>
                    <a:pt x="11232" y="268"/>
                    <a:pt x="10910" y="678"/>
                  </a:cubicBezTo>
                  <a:lnTo>
                    <a:pt x="8968" y="31"/>
                  </a:lnTo>
                  <a:cubicBezTo>
                    <a:pt x="8906" y="10"/>
                    <a:pt x="8844" y="0"/>
                    <a:pt x="8782"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7" name="Google Shape;8167;p77"/>
            <p:cNvSpPr/>
            <p:nvPr/>
          </p:nvSpPr>
          <p:spPr>
            <a:xfrm>
              <a:off x="6748992" y="2768030"/>
              <a:ext cx="48898" cy="48878"/>
            </a:xfrm>
            <a:custGeom>
              <a:avLst/>
              <a:gdLst/>
              <a:ahLst/>
              <a:cxnLst/>
              <a:rect l="l" t="t" r="r" b="b"/>
              <a:pathLst>
                <a:path w="2343" h="2342" extrusionOk="0">
                  <a:moveTo>
                    <a:pt x="1171" y="1"/>
                  </a:moveTo>
                  <a:cubicBezTo>
                    <a:pt x="526" y="1"/>
                    <a:pt x="0" y="525"/>
                    <a:pt x="0" y="1170"/>
                  </a:cubicBezTo>
                  <a:cubicBezTo>
                    <a:pt x="0" y="1816"/>
                    <a:pt x="526" y="2341"/>
                    <a:pt x="1171" y="2341"/>
                  </a:cubicBezTo>
                  <a:cubicBezTo>
                    <a:pt x="1817" y="2341"/>
                    <a:pt x="2342" y="1816"/>
                    <a:pt x="2342" y="1170"/>
                  </a:cubicBezTo>
                  <a:cubicBezTo>
                    <a:pt x="2342" y="525"/>
                    <a:pt x="1817" y="1"/>
                    <a:pt x="117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8" name="Google Shape;8168;p77"/>
            <p:cNvSpPr/>
            <p:nvPr/>
          </p:nvSpPr>
          <p:spPr>
            <a:xfrm>
              <a:off x="6846703" y="2768030"/>
              <a:ext cx="48898" cy="48878"/>
            </a:xfrm>
            <a:custGeom>
              <a:avLst/>
              <a:gdLst/>
              <a:ahLst/>
              <a:cxnLst/>
              <a:rect l="l" t="t" r="r" b="b"/>
              <a:pathLst>
                <a:path w="2343" h="2342" extrusionOk="0">
                  <a:moveTo>
                    <a:pt x="1172" y="1"/>
                  </a:moveTo>
                  <a:cubicBezTo>
                    <a:pt x="526" y="1"/>
                    <a:pt x="1" y="525"/>
                    <a:pt x="1" y="1170"/>
                  </a:cubicBezTo>
                  <a:cubicBezTo>
                    <a:pt x="1" y="1816"/>
                    <a:pt x="526" y="2341"/>
                    <a:pt x="1172" y="2341"/>
                  </a:cubicBezTo>
                  <a:cubicBezTo>
                    <a:pt x="1818" y="2341"/>
                    <a:pt x="2343" y="1816"/>
                    <a:pt x="2343" y="1170"/>
                  </a:cubicBezTo>
                  <a:cubicBezTo>
                    <a:pt x="2343" y="525"/>
                    <a:pt x="1818" y="1"/>
                    <a:pt x="117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69" name="Google Shape;8169;p77"/>
            <p:cNvSpPr/>
            <p:nvPr/>
          </p:nvSpPr>
          <p:spPr>
            <a:xfrm>
              <a:off x="6759469" y="2841323"/>
              <a:ext cx="125658" cy="35938"/>
            </a:xfrm>
            <a:custGeom>
              <a:avLst/>
              <a:gdLst/>
              <a:ahLst/>
              <a:cxnLst/>
              <a:rect l="l" t="t" r="r" b="b"/>
              <a:pathLst>
                <a:path w="6021" h="1722" extrusionOk="0">
                  <a:moveTo>
                    <a:pt x="670" y="0"/>
                  </a:moveTo>
                  <a:cubicBezTo>
                    <a:pt x="455" y="0"/>
                    <a:pt x="249" y="119"/>
                    <a:pt x="146" y="324"/>
                  </a:cubicBezTo>
                  <a:cubicBezTo>
                    <a:pt x="1" y="614"/>
                    <a:pt x="117" y="965"/>
                    <a:pt x="407" y="1110"/>
                  </a:cubicBezTo>
                  <a:cubicBezTo>
                    <a:pt x="1223" y="1516"/>
                    <a:pt x="2116" y="1722"/>
                    <a:pt x="3011" y="1722"/>
                  </a:cubicBezTo>
                  <a:cubicBezTo>
                    <a:pt x="3905" y="1722"/>
                    <a:pt x="4800" y="1518"/>
                    <a:pt x="5614" y="1110"/>
                  </a:cubicBezTo>
                  <a:cubicBezTo>
                    <a:pt x="5904" y="965"/>
                    <a:pt x="6021" y="614"/>
                    <a:pt x="5875" y="324"/>
                  </a:cubicBezTo>
                  <a:cubicBezTo>
                    <a:pt x="5774" y="119"/>
                    <a:pt x="5567" y="0"/>
                    <a:pt x="5352" y="0"/>
                  </a:cubicBezTo>
                  <a:cubicBezTo>
                    <a:pt x="5264" y="0"/>
                    <a:pt x="5174" y="20"/>
                    <a:pt x="5090" y="62"/>
                  </a:cubicBezTo>
                  <a:cubicBezTo>
                    <a:pt x="4439" y="388"/>
                    <a:pt x="3725" y="551"/>
                    <a:pt x="3011" y="551"/>
                  </a:cubicBezTo>
                  <a:cubicBezTo>
                    <a:pt x="2296" y="551"/>
                    <a:pt x="1582" y="388"/>
                    <a:pt x="931" y="62"/>
                  </a:cubicBezTo>
                  <a:cubicBezTo>
                    <a:pt x="847" y="20"/>
                    <a:pt x="758" y="0"/>
                    <a:pt x="6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70" name="Google Shape;8170;p77"/>
          <p:cNvGrpSpPr/>
          <p:nvPr/>
        </p:nvGrpSpPr>
        <p:grpSpPr>
          <a:xfrm>
            <a:off x="10544323" y="4318374"/>
            <a:ext cx="543215" cy="543215"/>
            <a:chOff x="2964567" y="2571753"/>
            <a:chExt cx="417045" cy="417045"/>
          </a:xfrm>
        </p:grpSpPr>
        <p:sp>
          <p:nvSpPr>
            <p:cNvPr id="8171" name="Google Shape;8171;p77"/>
            <p:cNvSpPr/>
            <p:nvPr/>
          </p:nvSpPr>
          <p:spPr>
            <a:xfrm>
              <a:off x="2964567" y="2571753"/>
              <a:ext cx="417045" cy="417045"/>
            </a:xfrm>
            <a:custGeom>
              <a:avLst/>
              <a:gdLst/>
              <a:ahLst/>
              <a:cxnLst/>
              <a:rect l="l" t="t" r="r" b="b"/>
              <a:pathLst>
                <a:path w="19983" h="19983" extrusionOk="0">
                  <a:moveTo>
                    <a:pt x="9992" y="1170"/>
                  </a:moveTo>
                  <a:cubicBezTo>
                    <a:pt x="14855" y="1170"/>
                    <a:pt x="18812" y="4866"/>
                    <a:pt x="18812" y="9405"/>
                  </a:cubicBezTo>
                  <a:cubicBezTo>
                    <a:pt x="18812" y="13925"/>
                    <a:pt x="14855" y="17601"/>
                    <a:pt x="9992" y="17601"/>
                  </a:cubicBezTo>
                  <a:cubicBezTo>
                    <a:pt x="9111" y="17601"/>
                    <a:pt x="8240" y="17481"/>
                    <a:pt x="7407" y="17242"/>
                  </a:cubicBezTo>
                  <a:cubicBezTo>
                    <a:pt x="7354" y="17226"/>
                    <a:pt x="7299" y="17218"/>
                    <a:pt x="7245" y="17218"/>
                  </a:cubicBezTo>
                  <a:cubicBezTo>
                    <a:pt x="7153" y="17218"/>
                    <a:pt x="7062" y="17240"/>
                    <a:pt x="6979" y="17282"/>
                  </a:cubicBezTo>
                  <a:lnTo>
                    <a:pt x="4723" y="18439"/>
                  </a:lnTo>
                  <a:lnTo>
                    <a:pt x="4723" y="16262"/>
                  </a:lnTo>
                  <a:cubicBezTo>
                    <a:pt x="4723" y="16078"/>
                    <a:pt x="4637" y="15904"/>
                    <a:pt x="4490" y="15793"/>
                  </a:cubicBezTo>
                  <a:cubicBezTo>
                    <a:pt x="2381" y="14208"/>
                    <a:pt x="1171" y="11880"/>
                    <a:pt x="1171" y="9405"/>
                  </a:cubicBezTo>
                  <a:cubicBezTo>
                    <a:pt x="1171" y="4866"/>
                    <a:pt x="5129" y="1170"/>
                    <a:pt x="9992" y="1170"/>
                  </a:cubicBezTo>
                  <a:close/>
                  <a:moveTo>
                    <a:pt x="9992" y="1"/>
                  </a:moveTo>
                  <a:cubicBezTo>
                    <a:pt x="4575" y="1"/>
                    <a:pt x="0" y="4153"/>
                    <a:pt x="0" y="9407"/>
                  </a:cubicBezTo>
                  <a:cubicBezTo>
                    <a:pt x="0" y="12221"/>
                    <a:pt x="1359" y="14795"/>
                    <a:pt x="3552" y="16548"/>
                  </a:cubicBezTo>
                  <a:lnTo>
                    <a:pt x="3552" y="19396"/>
                  </a:lnTo>
                  <a:cubicBezTo>
                    <a:pt x="3552" y="19602"/>
                    <a:pt x="3659" y="19791"/>
                    <a:pt x="3832" y="19897"/>
                  </a:cubicBezTo>
                  <a:cubicBezTo>
                    <a:pt x="3925" y="19953"/>
                    <a:pt x="4031" y="19982"/>
                    <a:pt x="4138" y="19982"/>
                  </a:cubicBezTo>
                  <a:cubicBezTo>
                    <a:pt x="4229" y="19982"/>
                    <a:pt x="4320" y="19961"/>
                    <a:pt x="4405" y="19918"/>
                  </a:cubicBezTo>
                  <a:lnTo>
                    <a:pt x="7310" y="18429"/>
                  </a:lnTo>
                  <a:cubicBezTo>
                    <a:pt x="8180" y="18657"/>
                    <a:pt x="9081" y="18772"/>
                    <a:pt x="9992" y="18772"/>
                  </a:cubicBezTo>
                  <a:cubicBezTo>
                    <a:pt x="15500" y="18772"/>
                    <a:pt x="19983" y="14570"/>
                    <a:pt x="19983" y="9407"/>
                  </a:cubicBezTo>
                  <a:cubicBezTo>
                    <a:pt x="19983" y="4151"/>
                    <a:pt x="15405" y="1"/>
                    <a:pt x="999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2" name="Google Shape;8172;p77"/>
            <p:cNvSpPr/>
            <p:nvPr/>
          </p:nvSpPr>
          <p:spPr>
            <a:xfrm>
              <a:off x="3037777" y="2694715"/>
              <a:ext cx="270642" cy="146633"/>
            </a:xfrm>
            <a:custGeom>
              <a:avLst/>
              <a:gdLst/>
              <a:ahLst/>
              <a:cxnLst/>
              <a:rect l="l" t="t" r="r" b="b"/>
              <a:pathLst>
                <a:path w="12968" h="7026" extrusionOk="0">
                  <a:moveTo>
                    <a:pt x="5362" y="1463"/>
                  </a:moveTo>
                  <a:lnTo>
                    <a:pt x="7241" y="3341"/>
                  </a:lnTo>
                  <a:cubicBezTo>
                    <a:pt x="7353" y="3454"/>
                    <a:pt x="7503" y="3513"/>
                    <a:pt x="7655" y="3513"/>
                  </a:cubicBezTo>
                  <a:cubicBezTo>
                    <a:pt x="7744" y="3513"/>
                    <a:pt x="7833" y="3493"/>
                    <a:pt x="7917" y="3451"/>
                  </a:cubicBezTo>
                  <a:lnTo>
                    <a:pt x="10216" y="2303"/>
                  </a:lnTo>
                  <a:lnTo>
                    <a:pt x="7605" y="5565"/>
                  </a:lnTo>
                  <a:lnTo>
                    <a:pt x="5726" y="3685"/>
                  </a:lnTo>
                  <a:cubicBezTo>
                    <a:pt x="5614" y="3573"/>
                    <a:pt x="5463" y="3514"/>
                    <a:pt x="5311" y="3514"/>
                  </a:cubicBezTo>
                  <a:cubicBezTo>
                    <a:pt x="5223" y="3514"/>
                    <a:pt x="5133" y="3534"/>
                    <a:pt x="5051" y="3575"/>
                  </a:cubicBezTo>
                  <a:lnTo>
                    <a:pt x="2751" y="4725"/>
                  </a:lnTo>
                  <a:lnTo>
                    <a:pt x="2751" y="4725"/>
                  </a:lnTo>
                  <a:lnTo>
                    <a:pt x="5362" y="1463"/>
                  </a:lnTo>
                  <a:close/>
                  <a:moveTo>
                    <a:pt x="5312" y="1"/>
                  </a:moveTo>
                  <a:cubicBezTo>
                    <a:pt x="5302" y="1"/>
                    <a:pt x="5291" y="1"/>
                    <a:pt x="5281" y="2"/>
                  </a:cubicBezTo>
                  <a:cubicBezTo>
                    <a:pt x="5114" y="12"/>
                    <a:pt x="4959" y="92"/>
                    <a:pt x="4856" y="221"/>
                  </a:cubicBezTo>
                  <a:lnTo>
                    <a:pt x="172" y="6075"/>
                  </a:lnTo>
                  <a:cubicBezTo>
                    <a:pt x="0" y="6290"/>
                    <a:pt x="2" y="6595"/>
                    <a:pt x="174" y="6809"/>
                  </a:cubicBezTo>
                  <a:cubicBezTo>
                    <a:pt x="288" y="6950"/>
                    <a:pt x="457" y="7026"/>
                    <a:pt x="630" y="7026"/>
                  </a:cubicBezTo>
                  <a:cubicBezTo>
                    <a:pt x="719" y="7026"/>
                    <a:pt x="808" y="7006"/>
                    <a:pt x="892" y="6964"/>
                  </a:cubicBezTo>
                  <a:lnTo>
                    <a:pt x="5198" y="4811"/>
                  </a:lnTo>
                  <a:lnTo>
                    <a:pt x="7241" y="6855"/>
                  </a:lnTo>
                  <a:cubicBezTo>
                    <a:pt x="7349" y="6964"/>
                    <a:pt x="7496" y="7026"/>
                    <a:pt x="7650" y="7026"/>
                  </a:cubicBezTo>
                  <a:cubicBezTo>
                    <a:pt x="7662" y="7026"/>
                    <a:pt x="7674" y="7025"/>
                    <a:pt x="7687" y="7024"/>
                  </a:cubicBezTo>
                  <a:cubicBezTo>
                    <a:pt x="7853" y="7016"/>
                    <a:pt x="8007" y="6936"/>
                    <a:pt x="8111" y="6807"/>
                  </a:cubicBezTo>
                  <a:lnTo>
                    <a:pt x="12795" y="951"/>
                  </a:lnTo>
                  <a:cubicBezTo>
                    <a:pt x="12967" y="737"/>
                    <a:pt x="12965" y="431"/>
                    <a:pt x="12792" y="219"/>
                  </a:cubicBezTo>
                  <a:cubicBezTo>
                    <a:pt x="12679" y="78"/>
                    <a:pt x="12510" y="1"/>
                    <a:pt x="12337" y="1"/>
                  </a:cubicBezTo>
                  <a:cubicBezTo>
                    <a:pt x="12249" y="1"/>
                    <a:pt x="12159" y="21"/>
                    <a:pt x="12075" y="63"/>
                  </a:cubicBezTo>
                  <a:lnTo>
                    <a:pt x="7770" y="2216"/>
                  </a:lnTo>
                  <a:lnTo>
                    <a:pt x="5726" y="173"/>
                  </a:lnTo>
                  <a:cubicBezTo>
                    <a:pt x="5617" y="62"/>
                    <a:pt x="5467" y="1"/>
                    <a:pt x="5312"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73" name="Google Shape;8173;p77"/>
          <p:cNvGrpSpPr/>
          <p:nvPr/>
        </p:nvGrpSpPr>
        <p:grpSpPr>
          <a:xfrm>
            <a:off x="2563219" y="5087863"/>
            <a:ext cx="543188" cy="381960"/>
            <a:chOff x="3476576" y="2633631"/>
            <a:chExt cx="417024" cy="293244"/>
          </a:xfrm>
        </p:grpSpPr>
        <p:sp>
          <p:nvSpPr>
            <p:cNvPr id="8174" name="Google Shape;8174;p77"/>
            <p:cNvSpPr/>
            <p:nvPr/>
          </p:nvSpPr>
          <p:spPr>
            <a:xfrm>
              <a:off x="3476576" y="2633631"/>
              <a:ext cx="417024" cy="293244"/>
            </a:xfrm>
            <a:custGeom>
              <a:avLst/>
              <a:gdLst/>
              <a:ahLst/>
              <a:cxnLst/>
              <a:rect l="l" t="t" r="r" b="b"/>
              <a:pathLst>
                <a:path w="19982" h="14051" extrusionOk="0">
                  <a:moveTo>
                    <a:pt x="17056" y="1172"/>
                  </a:moveTo>
                  <a:cubicBezTo>
                    <a:pt x="18023" y="1172"/>
                    <a:pt x="18811" y="1961"/>
                    <a:pt x="18811" y="2929"/>
                  </a:cubicBezTo>
                  <a:lnTo>
                    <a:pt x="18811" y="11124"/>
                  </a:lnTo>
                  <a:cubicBezTo>
                    <a:pt x="18811" y="12092"/>
                    <a:pt x="18023" y="12881"/>
                    <a:pt x="17056" y="12881"/>
                  </a:cubicBezTo>
                  <a:lnTo>
                    <a:pt x="2927" y="12881"/>
                  </a:lnTo>
                  <a:cubicBezTo>
                    <a:pt x="1959" y="12881"/>
                    <a:pt x="1172" y="12092"/>
                    <a:pt x="1172" y="11124"/>
                  </a:cubicBezTo>
                  <a:lnTo>
                    <a:pt x="1172" y="2929"/>
                  </a:lnTo>
                  <a:cubicBezTo>
                    <a:pt x="1172" y="1961"/>
                    <a:pt x="1959" y="1172"/>
                    <a:pt x="2927" y="1172"/>
                  </a:cubicBezTo>
                  <a:close/>
                  <a:moveTo>
                    <a:pt x="2927" y="1"/>
                  </a:moveTo>
                  <a:cubicBezTo>
                    <a:pt x="1313" y="1"/>
                    <a:pt x="1" y="1315"/>
                    <a:pt x="1" y="2929"/>
                  </a:cubicBezTo>
                  <a:lnTo>
                    <a:pt x="1" y="11124"/>
                  </a:lnTo>
                  <a:cubicBezTo>
                    <a:pt x="1" y="12738"/>
                    <a:pt x="1313" y="14050"/>
                    <a:pt x="2927" y="14050"/>
                  </a:cubicBezTo>
                  <a:lnTo>
                    <a:pt x="17056" y="14050"/>
                  </a:lnTo>
                  <a:cubicBezTo>
                    <a:pt x="18669" y="14050"/>
                    <a:pt x="19982" y="12738"/>
                    <a:pt x="19982" y="11124"/>
                  </a:cubicBezTo>
                  <a:lnTo>
                    <a:pt x="19982" y="2929"/>
                  </a:lnTo>
                  <a:cubicBezTo>
                    <a:pt x="19982" y="1315"/>
                    <a:pt x="18669" y="1"/>
                    <a:pt x="17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5" name="Google Shape;8175;p77"/>
            <p:cNvSpPr/>
            <p:nvPr/>
          </p:nvSpPr>
          <p:spPr>
            <a:xfrm>
              <a:off x="3636206" y="2706945"/>
              <a:ext cx="122194" cy="146633"/>
            </a:xfrm>
            <a:custGeom>
              <a:avLst/>
              <a:gdLst/>
              <a:ahLst/>
              <a:cxnLst/>
              <a:rect l="l" t="t" r="r" b="b"/>
              <a:pathLst>
                <a:path w="5855" h="7026" extrusionOk="0">
                  <a:moveTo>
                    <a:pt x="1172" y="1643"/>
                  </a:moveTo>
                  <a:lnTo>
                    <a:pt x="4165" y="3514"/>
                  </a:lnTo>
                  <a:lnTo>
                    <a:pt x="1172" y="5384"/>
                  </a:lnTo>
                  <a:lnTo>
                    <a:pt x="1172" y="1643"/>
                  </a:lnTo>
                  <a:close/>
                  <a:moveTo>
                    <a:pt x="586" y="0"/>
                  </a:moveTo>
                  <a:cubicBezTo>
                    <a:pt x="489" y="0"/>
                    <a:pt x="391" y="25"/>
                    <a:pt x="302" y="74"/>
                  </a:cubicBezTo>
                  <a:cubicBezTo>
                    <a:pt x="116" y="178"/>
                    <a:pt x="1" y="373"/>
                    <a:pt x="1" y="587"/>
                  </a:cubicBezTo>
                  <a:lnTo>
                    <a:pt x="1" y="6440"/>
                  </a:lnTo>
                  <a:cubicBezTo>
                    <a:pt x="1" y="6653"/>
                    <a:pt x="116" y="6849"/>
                    <a:pt x="302" y="6953"/>
                  </a:cubicBezTo>
                  <a:cubicBezTo>
                    <a:pt x="389" y="7001"/>
                    <a:pt x="487" y="7026"/>
                    <a:pt x="585" y="7026"/>
                  </a:cubicBezTo>
                  <a:cubicBezTo>
                    <a:pt x="693" y="7026"/>
                    <a:pt x="801" y="6997"/>
                    <a:pt x="896" y="6937"/>
                  </a:cubicBezTo>
                  <a:lnTo>
                    <a:pt x="5580" y="4010"/>
                  </a:lnTo>
                  <a:cubicBezTo>
                    <a:pt x="5750" y="3903"/>
                    <a:pt x="5854" y="3714"/>
                    <a:pt x="5854" y="3513"/>
                  </a:cubicBezTo>
                  <a:cubicBezTo>
                    <a:pt x="5854" y="3311"/>
                    <a:pt x="5750" y="3123"/>
                    <a:pt x="5580" y="3017"/>
                  </a:cubicBezTo>
                  <a:lnTo>
                    <a:pt x="896" y="90"/>
                  </a:lnTo>
                  <a:cubicBezTo>
                    <a:pt x="801" y="30"/>
                    <a:pt x="694" y="0"/>
                    <a:pt x="586"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76" name="Google Shape;8176;p77"/>
          <p:cNvGrpSpPr/>
          <p:nvPr/>
        </p:nvGrpSpPr>
        <p:grpSpPr>
          <a:xfrm>
            <a:off x="3384995" y="5007344"/>
            <a:ext cx="543215" cy="542997"/>
            <a:chOff x="3988564" y="2571836"/>
            <a:chExt cx="417045" cy="416878"/>
          </a:xfrm>
        </p:grpSpPr>
        <p:sp>
          <p:nvSpPr>
            <p:cNvPr id="8177" name="Google Shape;8177;p77"/>
            <p:cNvSpPr/>
            <p:nvPr/>
          </p:nvSpPr>
          <p:spPr>
            <a:xfrm>
              <a:off x="4090678" y="2650431"/>
              <a:ext cx="213124" cy="259268"/>
            </a:xfrm>
            <a:custGeom>
              <a:avLst/>
              <a:gdLst/>
              <a:ahLst/>
              <a:cxnLst/>
              <a:rect l="l" t="t" r="r" b="b"/>
              <a:pathLst>
                <a:path w="10212" h="12423" extrusionOk="0">
                  <a:moveTo>
                    <a:pt x="4938" y="1172"/>
                  </a:moveTo>
                  <a:cubicBezTo>
                    <a:pt x="7267" y="1172"/>
                    <a:pt x="8610" y="2621"/>
                    <a:pt x="8610" y="3081"/>
                  </a:cubicBezTo>
                  <a:cubicBezTo>
                    <a:pt x="8610" y="3348"/>
                    <a:pt x="8308" y="3471"/>
                    <a:pt x="8102" y="3471"/>
                  </a:cubicBezTo>
                  <a:cubicBezTo>
                    <a:pt x="7867" y="3471"/>
                    <a:pt x="7733" y="3357"/>
                    <a:pt x="7407" y="3026"/>
                  </a:cubicBezTo>
                  <a:cubicBezTo>
                    <a:pt x="6933" y="2541"/>
                    <a:pt x="6282" y="1879"/>
                    <a:pt x="4821" y="1879"/>
                  </a:cubicBezTo>
                  <a:cubicBezTo>
                    <a:pt x="4177" y="1879"/>
                    <a:pt x="3602" y="2046"/>
                    <a:pt x="3162" y="2362"/>
                  </a:cubicBezTo>
                  <a:cubicBezTo>
                    <a:pt x="2687" y="2700"/>
                    <a:pt x="2417" y="3188"/>
                    <a:pt x="2417" y="3701"/>
                  </a:cubicBezTo>
                  <a:cubicBezTo>
                    <a:pt x="2417" y="4145"/>
                    <a:pt x="2603" y="4758"/>
                    <a:pt x="3491" y="5152"/>
                  </a:cubicBezTo>
                  <a:cubicBezTo>
                    <a:pt x="3997" y="5378"/>
                    <a:pt x="4646" y="5506"/>
                    <a:pt x="5334" y="5642"/>
                  </a:cubicBezTo>
                  <a:cubicBezTo>
                    <a:pt x="7566" y="6081"/>
                    <a:pt x="9029" y="6514"/>
                    <a:pt x="9029" y="8449"/>
                  </a:cubicBezTo>
                  <a:cubicBezTo>
                    <a:pt x="9029" y="8455"/>
                    <a:pt x="9029" y="8464"/>
                    <a:pt x="9029" y="8478"/>
                  </a:cubicBezTo>
                  <a:cubicBezTo>
                    <a:pt x="9035" y="8646"/>
                    <a:pt x="9028" y="9518"/>
                    <a:pt x="8347" y="10222"/>
                  </a:cubicBezTo>
                  <a:cubicBezTo>
                    <a:pt x="7688" y="10903"/>
                    <a:pt x="6597" y="11248"/>
                    <a:pt x="5102" y="11252"/>
                  </a:cubicBezTo>
                  <a:cubicBezTo>
                    <a:pt x="2240" y="11250"/>
                    <a:pt x="1171" y="9891"/>
                    <a:pt x="1171" y="9033"/>
                  </a:cubicBezTo>
                  <a:cubicBezTo>
                    <a:pt x="1171" y="8780"/>
                    <a:pt x="1518" y="8672"/>
                    <a:pt x="1656" y="8672"/>
                  </a:cubicBezTo>
                  <a:cubicBezTo>
                    <a:pt x="1844" y="8672"/>
                    <a:pt x="2005" y="8837"/>
                    <a:pt x="2327" y="9212"/>
                  </a:cubicBezTo>
                  <a:cubicBezTo>
                    <a:pt x="2843" y="9813"/>
                    <a:pt x="3551" y="10636"/>
                    <a:pt x="5095" y="10636"/>
                  </a:cubicBezTo>
                  <a:cubicBezTo>
                    <a:pt x="6363" y="10636"/>
                    <a:pt x="7727" y="9881"/>
                    <a:pt x="7727" y="8612"/>
                  </a:cubicBezTo>
                  <a:cubicBezTo>
                    <a:pt x="7727" y="7951"/>
                    <a:pt x="7363" y="7445"/>
                    <a:pt x="6647" y="7109"/>
                  </a:cubicBezTo>
                  <a:cubicBezTo>
                    <a:pt x="6130" y="6866"/>
                    <a:pt x="5472" y="6726"/>
                    <a:pt x="4773" y="6578"/>
                  </a:cubicBezTo>
                  <a:cubicBezTo>
                    <a:pt x="2620" y="6120"/>
                    <a:pt x="1209" y="5683"/>
                    <a:pt x="1209" y="3859"/>
                  </a:cubicBezTo>
                  <a:cubicBezTo>
                    <a:pt x="1209" y="2893"/>
                    <a:pt x="1667" y="2191"/>
                    <a:pt x="2606" y="1711"/>
                  </a:cubicBezTo>
                  <a:cubicBezTo>
                    <a:pt x="3388" y="1313"/>
                    <a:pt x="4350" y="1172"/>
                    <a:pt x="4938" y="1172"/>
                  </a:cubicBezTo>
                  <a:close/>
                  <a:moveTo>
                    <a:pt x="4938" y="1"/>
                  </a:moveTo>
                  <a:cubicBezTo>
                    <a:pt x="2944" y="1"/>
                    <a:pt x="39" y="991"/>
                    <a:pt x="39" y="3861"/>
                  </a:cubicBezTo>
                  <a:cubicBezTo>
                    <a:pt x="39" y="5149"/>
                    <a:pt x="579" y="6129"/>
                    <a:pt x="1644" y="6772"/>
                  </a:cubicBezTo>
                  <a:cubicBezTo>
                    <a:pt x="2505" y="7293"/>
                    <a:pt x="3581" y="7523"/>
                    <a:pt x="4529" y="7724"/>
                  </a:cubicBezTo>
                  <a:cubicBezTo>
                    <a:pt x="5159" y="7857"/>
                    <a:pt x="5755" y="7984"/>
                    <a:pt x="6149" y="8170"/>
                  </a:cubicBezTo>
                  <a:cubicBezTo>
                    <a:pt x="6556" y="8359"/>
                    <a:pt x="6556" y="8518"/>
                    <a:pt x="6556" y="8612"/>
                  </a:cubicBezTo>
                  <a:cubicBezTo>
                    <a:pt x="6556" y="9100"/>
                    <a:pt x="5785" y="9465"/>
                    <a:pt x="5095" y="9465"/>
                  </a:cubicBezTo>
                  <a:cubicBezTo>
                    <a:pt x="4089" y="9465"/>
                    <a:pt x="3664" y="8971"/>
                    <a:pt x="3215" y="8449"/>
                  </a:cubicBezTo>
                  <a:cubicBezTo>
                    <a:pt x="2833" y="8005"/>
                    <a:pt x="2401" y="7501"/>
                    <a:pt x="1656" y="7501"/>
                  </a:cubicBezTo>
                  <a:cubicBezTo>
                    <a:pt x="860" y="7501"/>
                    <a:pt x="0" y="8087"/>
                    <a:pt x="0" y="9035"/>
                  </a:cubicBezTo>
                  <a:cubicBezTo>
                    <a:pt x="0" y="10459"/>
                    <a:pt x="1462" y="12423"/>
                    <a:pt x="5104" y="12423"/>
                  </a:cubicBezTo>
                  <a:cubicBezTo>
                    <a:pt x="6926" y="12419"/>
                    <a:pt x="8301" y="11954"/>
                    <a:pt x="9187" y="11036"/>
                  </a:cubicBezTo>
                  <a:cubicBezTo>
                    <a:pt x="10167" y="10024"/>
                    <a:pt x="10211" y="8803"/>
                    <a:pt x="10200" y="8442"/>
                  </a:cubicBezTo>
                  <a:cubicBezTo>
                    <a:pt x="10199" y="7101"/>
                    <a:pt x="9638" y="6090"/>
                    <a:pt x="8536" y="5435"/>
                  </a:cubicBezTo>
                  <a:cubicBezTo>
                    <a:pt x="7642" y="4904"/>
                    <a:pt x="6537" y="4685"/>
                    <a:pt x="5560" y="4492"/>
                  </a:cubicBezTo>
                  <a:cubicBezTo>
                    <a:pt x="4939" y="4370"/>
                    <a:pt x="4354" y="4255"/>
                    <a:pt x="3966" y="4084"/>
                  </a:cubicBezTo>
                  <a:cubicBezTo>
                    <a:pt x="3588" y="3916"/>
                    <a:pt x="3588" y="3781"/>
                    <a:pt x="3588" y="3703"/>
                  </a:cubicBezTo>
                  <a:cubicBezTo>
                    <a:pt x="3588" y="3429"/>
                    <a:pt x="4016" y="3050"/>
                    <a:pt x="4821" y="3050"/>
                  </a:cubicBezTo>
                  <a:cubicBezTo>
                    <a:pt x="5790" y="3050"/>
                    <a:pt x="6153" y="3418"/>
                    <a:pt x="6570" y="3847"/>
                  </a:cubicBezTo>
                  <a:cubicBezTo>
                    <a:pt x="6921" y="4202"/>
                    <a:pt x="7354" y="4644"/>
                    <a:pt x="8102" y="4644"/>
                  </a:cubicBezTo>
                  <a:cubicBezTo>
                    <a:pt x="8966" y="4644"/>
                    <a:pt x="9781" y="4016"/>
                    <a:pt x="9781" y="3082"/>
                  </a:cubicBezTo>
                  <a:cubicBezTo>
                    <a:pt x="9781" y="1768"/>
                    <a:pt x="7722" y="1"/>
                    <a:pt x="4938"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78" name="Google Shape;8178;p77"/>
            <p:cNvSpPr/>
            <p:nvPr/>
          </p:nvSpPr>
          <p:spPr>
            <a:xfrm>
              <a:off x="3988564" y="2571836"/>
              <a:ext cx="417045" cy="416878"/>
            </a:xfrm>
            <a:custGeom>
              <a:avLst/>
              <a:gdLst/>
              <a:ahLst/>
              <a:cxnLst/>
              <a:rect l="l" t="t" r="r" b="b"/>
              <a:pathLst>
                <a:path w="19983" h="19975" extrusionOk="0">
                  <a:moveTo>
                    <a:pt x="5465" y="1172"/>
                  </a:moveTo>
                  <a:cubicBezTo>
                    <a:pt x="6229" y="1172"/>
                    <a:pt x="6714" y="1356"/>
                    <a:pt x="7184" y="1548"/>
                  </a:cubicBezTo>
                  <a:cubicBezTo>
                    <a:pt x="7842" y="1820"/>
                    <a:pt x="8120" y="1882"/>
                    <a:pt x="8506" y="1882"/>
                  </a:cubicBezTo>
                  <a:cubicBezTo>
                    <a:pt x="8831" y="1882"/>
                    <a:pt x="9232" y="1838"/>
                    <a:pt x="10000" y="1838"/>
                  </a:cubicBezTo>
                  <a:cubicBezTo>
                    <a:pt x="13275" y="1838"/>
                    <a:pt x="15226" y="3478"/>
                    <a:pt x="16286" y="4855"/>
                  </a:cubicBezTo>
                  <a:cubicBezTo>
                    <a:pt x="17660" y="6641"/>
                    <a:pt x="18149" y="8709"/>
                    <a:pt x="18149" y="9937"/>
                  </a:cubicBezTo>
                  <a:cubicBezTo>
                    <a:pt x="18149" y="11304"/>
                    <a:pt x="17841" y="11405"/>
                    <a:pt x="18414" y="12744"/>
                  </a:cubicBezTo>
                  <a:cubicBezTo>
                    <a:pt x="18610" y="13203"/>
                    <a:pt x="18812" y="13675"/>
                    <a:pt x="18812" y="14565"/>
                  </a:cubicBezTo>
                  <a:cubicBezTo>
                    <a:pt x="18812" y="15702"/>
                    <a:pt x="18373" y="16765"/>
                    <a:pt x="17575" y="17561"/>
                  </a:cubicBezTo>
                  <a:cubicBezTo>
                    <a:pt x="16776" y="18358"/>
                    <a:pt x="15671" y="18803"/>
                    <a:pt x="14546" y="18803"/>
                  </a:cubicBezTo>
                  <a:cubicBezTo>
                    <a:pt x="14544" y="18803"/>
                    <a:pt x="14542" y="18803"/>
                    <a:pt x="14540" y="18803"/>
                  </a:cubicBezTo>
                  <a:lnTo>
                    <a:pt x="14519" y="18803"/>
                  </a:lnTo>
                  <a:cubicBezTo>
                    <a:pt x="13754" y="18803"/>
                    <a:pt x="13270" y="18612"/>
                    <a:pt x="12799" y="18418"/>
                  </a:cubicBezTo>
                  <a:cubicBezTo>
                    <a:pt x="12161" y="18154"/>
                    <a:pt x="11842" y="18085"/>
                    <a:pt x="11520" y="18085"/>
                  </a:cubicBezTo>
                  <a:cubicBezTo>
                    <a:pt x="11167" y="18085"/>
                    <a:pt x="10809" y="18168"/>
                    <a:pt x="10022" y="18168"/>
                  </a:cubicBezTo>
                  <a:cubicBezTo>
                    <a:pt x="6746" y="18168"/>
                    <a:pt x="4785" y="16516"/>
                    <a:pt x="3717" y="15131"/>
                  </a:cubicBezTo>
                  <a:cubicBezTo>
                    <a:pt x="2328" y="13328"/>
                    <a:pt x="1835" y="11257"/>
                    <a:pt x="1835" y="10031"/>
                  </a:cubicBezTo>
                  <a:cubicBezTo>
                    <a:pt x="1835" y="8674"/>
                    <a:pt x="2146" y="8571"/>
                    <a:pt x="1569" y="7222"/>
                  </a:cubicBezTo>
                  <a:cubicBezTo>
                    <a:pt x="1375" y="6765"/>
                    <a:pt x="1173" y="6293"/>
                    <a:pt x="1171" y="5408"/>
                  </a:cubicBezTo>
                  <a:cubicBezTo>
                    <a:pt x="1175" y="3063"/>
                    <a:pt x="3100" y="1172"/>
                    <a:pt x="5465" y="1172"/>
                  </a:cubicBezTo>
                  <a:close/>
                  <a:moveTo>
                    <a:pt x="5465" y="0"/>
                  </a:moveTo>
                  <a:cubicBezTo>
                    <a:pt x="3993" y="0"/>
                    <a:pt x="2617" y="552"/>
                    <a:pt x="1587" y="1582"/>
                  </a:cubicBezTo>
                  <a:cubicBezTo>
                    <a:pt x="566" y="2603"/>
                    <a:pt x="4" y="3960"/>
                    <a:pt x="0" y="5403"/>
                  </a:cubicBezTo>
                  <a:lnTo>
                    <a:pt x="0" y="5414"/>
                  </a:lnTo>
                  <a:cubicBezTo>
                    <a:pt x="2" y="6535"/>
                    <a:pt x="274" y="7170"/>
                    <a:pt x="492" y="7682"/>
                  </a:cubicBezTo>
                  <a:cubicBezTo>
                    <a:pt x="938" y="8725"/>
                    <a:pt x="664" y="8547"/>
                    <a:pt x="664" y="10031"/>
                  </a:cubicBezTo>
                  <a:cubicBezTo>
                    <a:pt x="664" y="11738"/>
                    <a:pt x="1385" y="14023"/>
                    <a:pt x="2790" y="15845"/>
                  </a:cubicBezTo>
                  <a:cubicBezTo>
                    <a:pt x="4019" y="17439"/>
                    <a:pt x="6270" y="19339"/>
                    <a:pt x="10022" y="19339"/>
                  </a:cubicBezTo>
                  <a:cubicBezTo>
                    <a:pt x="10942" y="19339"/>
                    <a:pt x="11234" y="19255"/>
                    <a:pt x="11494" y="19255"/>
                  </a:cubicBezTo>
                  <a:cubicBezTo>
                    <a:pt x="11700" y="19255"/>
                    <a:pt x="11887" y="19308"/>
                    <a:pt x="12353" y="19500"/>
                  </a:cubicBezTo>
                  <a:cubicBezTo>
                    <a:pt x="12875" y="19716"/>
                    <a:pt x="13523" y="19974"/>
                    <a:pt x="14519" y="19974"/>
                  </a:cubicBezTo>
                  <a:lnTo>
                    <a:pt x="14554" y="19974"/>
                  </a:lnTo>
                  <a:cubicBezTo>
                    <a:pt x="15985" y="19974"/>
                    <a:pt x="17386" y="19403"/>
                    <a:pt x="18402" y="18391"/>
                  </a:cubicBezTo>
                  <a:cubicBezTo>
                    <a:pt x="19422" y="17374"/>
                    <a:pt x="19983" y="16015"/>
                    <a:pt x="19983" y="14565"/>
                  </a:cubicBezTo>
                  <a:cubicBezTo>
                    <a:pt x="19983" y="13436"/>
                    <a:pt x="19711" y="12797"/>
                    <a:pt x="19491" y="12284"/>
                  </a:cubicBezTo>
                  <a:cubicBezTo>
                    <a:pt x="19045" y="11243"/>
                    <a:pt x="19320" y="11421"/>
                    <a:pt x="19320" y="9937"/>
                  </a:cubicBezTo>
                  <a:cubicBezTo>
                    <a:pt x="19320" y="8218"/>
                    <a:pt x="18603" y="5946"/>
                    <a:pt x="17213" y="4140"/>
                  </a:cubicBezTo>
                  <a:cubicBezTo>
                    <a:pt x="15994" y="2557"/>
                    <a:pt x="13753" y="667"/>
                    <a:pt x="10000" y="667"/>
                  </a:cubicBezTo>
                  <a:cubicBezTo>
                    <a:pt x="9146" y="667"/>
                    <a:pt x="8785" y="712"/>
                    <a:pt x="8528" y="712"/>
                  </a:cubicBezTo>
                  <a:cubicBezTo>
                    <a:pt x="8261" y="712"/>
                    <a:pt x="8109" y="664"/>
                    <a:pt x="7630" y="466"/>
                  </a:cubicBezTo>
                  <a:cubicBezTo>
                    <a:pt x="7110" y="252"/>
                    <a:pt x="6461" y="0"/>
                    <a:pt x="5465"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79" name="Google Shape;8179;p77"/>
          <p:cNvGrpSpPr/>
          <p:nvPr/>
        </p:nvGrpSpPr>
        <p:grpSpPr>
          <a:xfrm>
            <a:off x="4206799" y="5007249"/>
            <a:ext cx="543188" cy="543188"/>
            <a:chOff x="4500573" y="2571753"/>
            <a:chExt cx="417024" cy="417024"/>
          </a:xfrm>
        </p:grpSpPr>
        <p:sp>
          <p:nvSpPr>
            <p:cNvPr id="8180" name="Google Shape;8180;p77"/>
            <p:cNvSpPr/>
            <p:nvPr/>
          </p:nvSpPr>
          <p:spPr>
            <a:xfrm>
              <a:off x="4550263" y="2632817"/>
              <a:ext cx="317683" cy="293244"/>
            </a:xfrm>
            <a:custGeom>
              <a:avLst/>
              <a:gdLst/>
              <a:ahLst/>
              <a:cxnLst/>
              <a:rect l="l" t="t" r="r" b="b"/>
              <a:pathLst>
                <a:path w="15222" h="14051" extrusionOk="0">
                  <a:moveTo>
                    <a:pt x="7616" y="1172"/>
                  </a:moveTo>
                  <a:cubicBezTo>
                    <a:pt x="8529" y="1202"/>
                    <a:pt x="10613" y="1570"/>
                    <a:pt x="10613" y="4280"/>
                  </a:cubicBezTo>
                  <a:cubicBezTo>
                    <a:pt x="10613" y="4791"/>
                    <a:pt x="10565" y="5662"/>
                    <a:pt x="10565" y="5683"/>
                  </a:cubicBezTo>
                  <a:cubicBezTo>
                    <a:pt x="10565" y="6490"/>
                    <a:pt x="11186" y="6530"/>
                    <a:pt x="11312" y="6530"/>
                  </a:cubicBezTo>
                  <a:cubicBezTo>
                    <a:pt x="11563" y="6530"/>
                    <a:pt x="11867" y="6461"/>
                    <a:pt x="12149" y="6399"/>
                  </a:cubicBezTo>
                  <a:lnTo>
                    <a:pt x="12149" y="6399"/>
                  </a:lnTo>
                  <a:cubicBezTo>
                    <a:pt x="11697" y="6589"/>
                    <a:pt x="10875" y="6838"/>
                    <a:pt x="10875" y="7608"/>
                  </a:cubicBezTo>
                  <a:cubicBezTo>
                    <a:pt x="10875" y="9260"/>
                    <a:pt x="12294" y="9897"/>
                    <a:pt x="13233" y="10316"/>
                  </a:cubicBezTo>
                  <a:cubicBezTo>
                    <a:pt x="13419" y="10399"/>
                    <a:pt x="13661" y="10509"/>
                    <a:pt x="13838" y="10608"/>
                  </a:cubicBezTo>
                  <a:cubicBezTo>
                    <a:pt x="13590" y="10652"/>
                    <a:pt x="13247" y="10703"/>
                    <a:pt x="12826" y="10802"/>
                  </a:cubicBezTo>
                  <a:cubicBezTo>
                    <a:pt x="12446" y="10894"/>
                    <a:pt x="12149" y="11195"/>
                    <a:pt x="12067" y="11574"/>
                  </a:cubicBezTo>
                  <a:cubicBezTo>
                    <a:pt x="12058" y="11614"/>
                    <a:pt x="12049" y="11652"/>
                    <a:pt x="12041" y="11683"/>
                  </a:cubicBezTo>
                  <a:cubicBezTo>
                    <a:pt x="11837" y="11646"/>
                    <a:pt x="11549" y="11584"/>
                    <a:pt x="11156" y="11584"/>
                  </a:cubicBezTo>
                  <a:cubicBezTo>
                    <a:pt x="10220" y="11584"/>
                    <a:pt x="9658" y="11968"/>
                    <a:pt x="9161" y="12306"/>
                  </a:cubicBezTo>
                  <a:cubicBezTo>
                    <a:pt x="8711" y="12614"/>
                    <a:pt x="8322" y="12879"/>
                    <a:pt x="7611" y="12881"/>
                  </a:cubicBezTo>
                  <a:cubicBezTo>
                    <a:pt x="6900" y="12879"/>
                    <a:pt x="6511" y="12614"/>
                    <a:pt x="6060" y="12306"/>
                  </a:cubicBezTo>
                  <a:cubicBezTo>
                    <a:pt x="5563" y="11968"/>
                    <a:pt x="5000" y="11584"/>
                    <a:pt x="4064" y="11584"/>
                  </a:cubicBezTo>
                  <a:cubicBezTo>
                    <a:pt x="3671" y="11584"/>
                    <a:pt x="3381" y="11646"/>
                    <a:pt x="3180" y="11683"/>
                  </a:cubicBezTo>
                  <a:cubicBezTo>
                    <a:pt x="3171" y="11652"/>
                    <a:pt x="3164" y="11614"/>
                    <a:pt x="3155" y="11574"/>
                  </a:cubicBezTo>
                  <a:cubicBezTo>
                    <a:pt x="3072" y="11195"/>
                    <a:pt x="2775" y="10894"/>
                    <a:pt x="2394" y="10802"/>
                  </a:cubicBezTo>
                  <a:cubicBezTo>
                    <a:pt x="1973" y="10703"/>
                    <a:pt x="1630" y="10652"/>
                    <a:pt x="1384" y="10608"/>
                  </a:cubicBezTo>
                  <a:cubicBezTo>
                    <a:pt x="1559" y="10509"/>
                    <a:pt x="1803" y="10399"/>
                    <a:pt x="1987" y="10316"/>
                  </a:cubicBezTo>
                  <a:cubicBezTo>
                    <a:pt x="2927" y="9897"/>
                    <a:pt x="4347" y="9260"/>
                    <a:pt x="4347" y="7608"/>
                  </a:cubicBezTo>
                  <a:cubicBezTo>
                    <a:pt x="4347" y="6838"/>
                    <a:pt x="3525" y="6589"/>
                    <a:pt x="3072" y="6399"/>
                  </a:cubicBezTo>
                  <a:lnTo>
                    <a:pt x="3072" y="6399"/>
                  </a:lnTo>
                  <a:cubicBezTo>
                    <a:pt x="3355" y="6461"/>
                    <a:pt x="3657" y="6530"/>
                    <a:pt x="3910" y="6530"/>
                  </a:cubicBezTo>
                  <a:cubicBezTo>
                    <a:pt x="4034" y="6530"/>
                    <a:pt x="4655" y="6490"/>
                    <a:pt x="4655" y="5683"/>
                  </a:cubicBezTo>
                  <a:cubicBezTo>
                    <a:pt x="4655" y="5662"/>
                    <a:pt x="4609" y="4793"/>
                    <a:pt x="4609" y="4280"/>
                  </a:cubicBezTo>
                  <a:cubicBezTo>
                    <a:pt x="4609" y="1558"/>
                    <a:pt x="6698" y="1199"/>
                    <a:pt x="7616" y="1172"/>
                  </a:cubicBezTo>
                  <a:close/>
                  <a:moveTo>
                    <a:pt x="7602" y="1"/>
                  </a:moveTo>
                  <a:cubicBezTo>
                    <a:pt x="7201" y="11"/>
                    <a:pt x="6164" y="98"/>
                    <a:pt x="5219" y="691"/>
                  </a:cubicBezTo>
                  <a:cubicBezTo>
                    <a:pt x="4407" y="1200"/>
                    <a:pt x="3438" y="2237"/>
                    <a:pt x="3438" y="4280"/>
                  </a:cubicBezTo>
                  <a:cubicBezTo>
                    <a:pt x="3438" y="4714"/>
                    <a:pt x="3454" y="5041"/>
                    <a:pt x="3466" y="5288"/>
                  </a:cubicBezTo>
                  <a:cubicBezTo>
                    <a:pt x="3176" y="5225"/>
                    <a:pt x="2914" y="5159"/>
                    <a:pt x="2711" y="5159"/>
                  </a:cubicBezTo>
                  <a:cubicBezTo>
                    <a:pt x="2005" y="5159"/>
                    <a:pt x="1492" y="5593"/>
                    <a:pt x="1492" y="6187"/>
                  </a:cubicBezTo>
                  <a:cubicBezTo>
                    <a:pt x="1492" y="7031"/>
                    <a:pt x="2302" y="7355"/>
                    <a:pt x="2785" y="7547"/>
                  </a:cubicBezTo>
                  <a:cubicBezTo>
                    <a:pt x="2907" y="7595"/>
                    <a:pt x="3077" y="7664"/>
                    <a:pt x="3173" y="7717"/>
                  </a:cubicBezTo>
                  <a:cubicBezTo>
                    <a:pt x="3084" y="8885"/>
                    <a:pt x="1453" y="9124"/>
                    <a:pt x="595" y="9723"/>
                  </a:cubicBezTo>
                  <a:cubicBezTo>
                    <a:pt x="201" y="9999"/>
                    <a:pt x="1" y="10337"/>
                    <a:pt x="1" y="10730"/>
                  </a:cubicBezTo>
                  <a:cubicBezTo>
                    <a:pt x="1" y="11119"/>
                    <a:pt x="194" y="11425"/>
                    <a:pt x="547" y="11590"/>
                  </a:cubicBezTo>
                  <a:cubicBezTo>
                    <a:pt x="892" y="11752"/>
                    <a:pt x="1340" y="11765"/>
                    <a:pt x="2032" y="11920"/>
                  </a:cubicBezTo>
                  <a:cubicBezTo>
                    <a:pt x="2081" y="12138"/>
                    <a:pt x="2134" y="12318"/>
                    <a:pt x="2231" y="12474"/>
                  </a:cubicBezTo>
                  <a:cubicBezTo>
                    <a:pt x="2428" y="12789"/>
                    <a:pt x="2691" y="12874"/>
                    <a:pt x="2981" y="12874"/>
                  </a:cubicBezTo>
                  <a:cubicBezTo>
                    <a:pt x="3325" y="12874"/>
                    <a:pt x="3708" y="12754"/>
                    <a:pt x="4064" y="12754"/>
                  </a:cubicBezTo>
                  <a:cubicBezTo>
                    <a:pt x="4639" y="12754"/>
                    <a:pt x="4975" y="12984"/>
                    <a:pt x="5400" y="13274"/>
                  </a:cubicBezTo>
                  <a:cubicBezTo>
                    <a:pt x="5907" y="13619"/>
                    <a:pt x="6537" y="14050"/>
                    <a:pt x="7609" y="14050"/>
                  </a:cubicBezTo>
                  <a:lnTo>
                    <a:pt x="7611" y="14050"/>
                  </a:lnTo>
                  <a:cubicBezTo>
                    <a:pt x="8683" y="14050"/>
                    <a:pt x="9315" y="13620"/>
                    <a:pt x="9821" y="13274"/>
                  </a:cubicBezTo>
                  <a:cubicBezTo>
                    <a:pt x="10247" y="12984"/>
                    <a:pt x="10581" y="12754"/>
                    <a:pt x="11156" y="12754"/>
                  </a:cubicBezTo>
                  <a:cubicBezTo>
                    <a:pt x="11621" y="12754"/>
                    <a:pt x="11881" y="12881"/>
                    <a:pt x="12228" y="12881"/>
                  </a:cubicBezTo>
                  <a:cubicBezTo>
                    <a:pt x="12647" y="12881"/>
                    <a:pt x="12874" y="12660"/>
                    <a:pt x="12991" y="12474"/>
                  </a:cubicBezTo>
                  <a:cubicBezTo>
                    <a:pt x="13088" y="12318"/>
                    <a:pt x="13139" y="12136"/>
                    <a:pt x="13189" y="11920"/>
                  </a:cubicBezTo>
                  <a:cubicBezTo>
                    <a:pt x="13880" y="11765"/>
                    <a:pt x="14328" y="11752"/>
                    <a:pt x="14673" y="11590"/>
                  </a:cubicBezTo>
                  <a:cubicBezTo>
                    <a:pt x="15027" y="11425"/>
                    <a:pt x="15221" y="11119"/>
                    <a:pt x="15221" y="10730"/>
                  </a:cubicBezTo>
                  <a:cubicBezTo>
                    <a:pt x="15221" y="10337"/>
                    <a:pt x="15020" y="9999"/>
                    <a:pt x="14625" y="9723"/>
                  </a:cubicBezTo>
                  <a:cubicBezTo>
                    <a:pt x="13769" y="9124"/>
                    <a:pt x="12136" y="8885"/>
                    <a:pt x="12048" y="7717"/>
                  </a:cubicBezTo>
                  <a:cubicBezTo>
                    <a:pt x="12143" y="7664"/>
                    <a:pt x="12313" y="7595"/>
                    <a:pt x="12435" y="7547"/>
                  </a:cubicBezTo>
                  <a:cubicBezTo>
                    <a:pt x="12918" y="7355"/>
                    <a:pt x="13728" y="7031"/>
                    <a:pt x="13728" y="6187"/>
                  </a:cubicBezTo>
                  <a:cubicBezTo>
                    <a:pt x="13728" y="5593"/>
                    <a:pt x="13215" y="5159"/>
                    <a:pt x="12509" y="5159"/>
                  </a:cubicBezTo>
                  <a:cubicBezTo>
                    <a:pt x="12306" y="5159"/>
                    <a:pt x="12044" y="5225"/>
                    <a:pt x="11754" y="5288"/>
                  </a:cubicBezTo>
                  <a:cubicBezTo>
                    <a:pt x="11768" y="5041"/>
                    <a:pt x="11782" y="4714"/>
                    <a:pt x="11782" y="4280"/>
                  </a:cubicBezTo>
                  <a:cubicBezTo>
                    <a:pt x="11782" y="2246"/>
                    <a:pt x="10822" y="1211"/>
                    <a:pt x="10017" y="700"/>
                  </a:cubicBezTo>
                  <a:cubicBezTo>
                    <a:pt x="9076" y="105"/>
                    <a:pt x="8037" y="13"/>
                    <a:pt x="7634"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1" name="Google Shape;8181;p77"/>
            <p:cNvSpPr/>
            <p:nvPr/>
          </p:nvSpPr>
          <p:spPr>
            <a:xfrm>
              <a:off x="4500573" y="2571753"/>
              <a:ext cx="417024" cy="417024"/>
            </a:xfrm>
            <a:custGeom>
              <a:avLst/>
              <a:gdLst/>
              <a:ahLst/>
              <a:cxnLst/>
              <a:rect l="l" t="t" r="r" b="b"/>
              <a:pathLst>
                <a:path w="19982" h="19982" extrusionOk="0">
                  <a:moveTo>
                    <a:pt x="17017" y="1172"/>
                  </a:moveTo>
                  <a:cubicBezTo>
                    <a:pt x="17990" y="1172"/>
                    <a:pt x="18812" y="1975"/>
                    <a:pt x="18812" y="2927"/>
                  </a:cubicBezTo>
                  <a:lnTo>
                    <a:pt x="18812" y="17017"/>
                  </a:lnTo>
                  <a:cubicBezTo>
                    <a:pt x="18812" y="17990"/>
                    <a:pt x="17990" y="18811"/>
                    <a:pt x="17017" y="18811"/>
                  </a:cubicBezTo>
                  <a:lnTo>
                    <a:pt x="2966" y="18811"/>
                  </a:lnTo>
                  <a:cubicBezTo>
                    <a:pt x="1993" y="18811"/>
                    <a:pt x="1172" y="17990"/>
                    <a:pt x="1172" y="17017"/>
                  </a:cubicBezTo>
                  <a:lnTo>
                    <a:pt x="1172" y="2927"/>
                  </a:lnTo>
                  <a:cubicBezTo>
                    <a:pt x="1172" y="1975"/>
                    <a:pt x="1993" y="1172"/>
                    <a:pt x="2966" y="1172"/>
                  </a:cubicBezTo>
                  <a:close/>
                  <a:moveTo>
                    <a:pt x="2966" y="1"/>
                  </a:moveTo>
                  <a:cubicBezTo>
                    <a:pt x="1349" y="1"/>
                    <a:pt x="1" y="1310"/>
                    <a:pt x="1" y="2927"/>
                  </a:cubicBezTo>
                  <a:lnTo>
                    <a:pt x="1" y="17015"/>
                  </a:lnTo>
                  <a:cubicBezTo>
                    <a:pt x="1" y="18636"/>
                    <a:pt x="1349" y="19982"/>
                    <a:pt x="2966" y="19982"/>
                  </a:cubicBezTo>
                  <a:lnTo>
                    <a:pt x="17017" y="19982"/>
                  </a:lnTo>
                  <a:cubicBezTo>
                    <a:pt x="18635" y="19982"/>
                    <a:pt x="19982" y="18634"/>
                    <a:pt x="19982" y="17015"/>
                  </a:cubicBezTo>
                  <a:lnTo>
                    <a:pt x="19982" y="2927"/>
                  </a:lnTo>
                  <a:cubicBezTo>
                    <a:pt x="19982" y="1310"/>
                    <a:pt x="18635" y="1"/>
                    <a:pt x="170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82" name="Google Shape;8182;p77"/>
          <p:cNvGrpSpPr/>
          <p:nvPr/>
        </p:nvGrpSpPr>
        <p:grpSpPr>
          <a:xfrm>
            <a:off x="5028575" y="5007249"/>
            <a:ext cx="543188" cy="543188"/>
            <a:chOff x="5012603" y="2571753"/>
            <a:chExt cx="417024" cy="417024"/>
          </a:xfrm>
        </p:grpSpPr>
        <p:sp>
          <p:nvSpPr>
            <p:cNvPr id="8183" name="Google Shape;8183;p77"/>
            <p:cNvSpPr/>
            <p:nvPr/>
          </p:nvSpPr>
          <p:spPr>
            <a:xfrm>
              <a:off x="5133124" y="2631210"/>
              <a:ext cx="180818" cy="300048"/>
            </a:xfrm>
            <a:custGeom>
              <a:avLst/>
              <a:gdLst/>
              <a:ahLst/>
              <a:cxnLst/>
              <a:rect l="l" t="t" r="r" b="b"/>
              <a:pathLst>
                <a:path w="8664" h="14377" extrusionOk="0">
                  <a:moveTo>
                    <a:pt x="4683" y="1171"/>
                  </a:moveTo>
                  <a:lnTo>
                    <a:pt x="4683" y="3395"/>
                  </a:lnTo>
                  <a:cubicBezTo>
                    <a:pt x="4683" y="3719"/>
                    <a:pt x="4945" y="3980"/>
                    <a:pt x="5269" y="3980"/>
                  </a:cubicBezTo>
                  <a:lnTo>
                    <a:pt x="7493" y="3980"/>
                  </a:lnTo>
                  <a:lnTo>
                    <a:pt x="7493" y="5620"/>
                  </a:lnTo>
                  <a:lnTo>
                    <a:pt x="5269" y="5620"/>
                  </a:lnTo>
                  <a:cubicBezTo>
                    <a:pt x="4945" y="5620"/>
                    <a:pt x="4683" y="5882"/>
                    <a:pt x="4683" y="6206"/>
                  </a:cubicBezTo>
                  <a:lnTo>
                    <a:pt x="4683" y="9859"/>
                  </a:lnTo>
                  <a:cubicBezTo>
                    <a:pt x="4683" y="10227"/>
                    <a:pt x="4706" y="10648"/>
                    <a:pt x="4975" y="10986"/>
                  </a:cubicBezTo>
                  <a:cubicBezTo>
                    <a:pt x="5327" y="11423"/>
                    <a:pt x="5899" y="11474"/>
                    <a:pt x="6299" y="11474"/>
                  </a:cubicBezTo>
                  <a:lnTo>
                    <a:pt x="7494" y="11474"/>
                  </a:lnTo>
                  <a:lnTo>
                    <a:pt x="7494" y="13158"/>
                  </a:lnTo>
                  <a:cubicBezTo>
                    <a:pt x="7137" y="13183"/>
                    <a:pt x="6635" y="13207"/>
                    <a:pt x="6113" y="13207"/>
                  </a:cubicBezTo>
                  <a:cubicBezTo>
                    <a:pt x="3848" y="13207"/>
                    <a:pt x="3044" y="11806"/>
                    <a:pt x="3044" y="10607"/>
                  </a:cubicBezTo>
                  <a:lnTo>
                    <a:pt x="3044" y="6206"/>
                  </a:lnTo>
                  <a:cubicBezTo>
                    <a:pt x="3044" y="5882"/>
                    <a:pt x="2782" y="5620"/>
                    <a:pt x="2460" y="5620"/>
                  </a:cubicBezTo>
                  <a:lnTo>
                    <a:pt x="1172" y="5620"/>
                  </a:lnTo>
                  <a:lnTo>
                    <a:pt x="1172" y="4090"/>
                  </a:lnTo>
                  <a:cubicBezTo>
                    <a:pt x="2035" y="3913"/>
                    <a:pt x="2690" y="3487"/>
                    <a:pt x="3120" y="2820"/>
                  </a:cubicBezTo>
                  <a:cubicBezTo>
                    <a:pt x="3463" y="2289"/>
                    <a:pt x="3608" y="1697"/>
                    <a:pt x="3703" y="1171"/>
                  </a:cubicBezTo>
                  <a:close/>
                  <a:moveTo>
                    <a:pt x="3208" y="0"/>
                  </a:moveTo>
                  <a:cubicBezTo>
                    <a:pt x="2922" y="0"/>
                    <a:pt x="2677" y="207"/>
                    <a:pt x="2631" y="490"/>
                  </a:cubicBezTo>
                  <a:cubicBezTo>
                    <a:pt x="2409" y="1822"/>
                    <a:pt x="2209" y="2861"/>
                    <a:pt x="537" y="3000"/>
                  </a:cubicBezTo>
                  <a:cubicBezTo>
                    <a:pt x="234" y="3025"/>
                    <a:pt x="1" y="3278"/>
                    <a:pt x="1" y="3582"/>
                  </a:cubicBezTo>
                  <a:lnTo>
                    <a:pt x="1" y="6206"/>
                  </a:lnTo>
                  <a:cubicBezTo>
                    <a:pt x="1" y="6529"/>
                    <a:pt x="263" y="6791"/>
                    <a:pt x="586" y="6791"/>
                  </a:cubicBezTo>
                  <a:lnTo>
                    <a:pt x="1874" y="6791"/>
                  </a:lnTo>
                  <a:lnTo>
                    <a:pt x="1874" y="10607"/>
                  </a:lnTo>
                  <a:cubicBezTo>
                    <a:pt x="1874" y="12618"/>
                    <a:pt x="3355" y="14377"/>
                    <a:pt x="6111" y="14377"/>
                  </a:cubicBezTo>
                  <a:cubicBezTo>
                    <a:pt x="7158" y="14377"/>
                    <a:pt x="8098" y="14285"/>
                    <a:pt x="8137" y="14281"/>
                  </a:cubicBezTo>
                  <a:cubicBezTo>
                    <a:pt x="8436" y="14251"/>
                    <a:pt x="8664" y="14000"/>
                    <a:pt x="8664" y="13699"/>
                  </a:cubicBezTo>
                  <a:lnTo>
                    <a:pt x="8664" y="10888"/>
                  </a:lnTo>
                  <a:cubicBezTo>
                    <a:pt x="8664" y="10565"/>
                    <a:pt x="8402" y="10303"/>
                    <a:pt x="8078" y="10303"/>
                  </a:cubicBezTo>
                  <a:lnTo>
                    <a:pt x="6299" y="10303"/>
                  </a:lnTo>
                  <a:cubicBezTo>
                    <a:pt x="5828" y="10303"/>
                    <a:pt x="5855" y="10292"/>
                    <a:pt x="5855" y="9859"/>
                  </a:cubicBezTo>
                  <a:lnTo>
                    <a:pt x="5855" y="6791"/>
                  </a:lnTo>
                  <a:lnTo>
                    <a:pt x="8078" y="6791"/>
                  </a:lnTo>
                  <a:cubicBezTo>
                    <a:pt x="8402" y="6791"/>
                    <a:pt x="8664" y="6529"/>
                    <a:pt x="8664" y="6206"/>
                  </a:cubicBezTo>
                  <a:lnTo>
                    <a:pt x="8664" y="3397"/>
                  </a:lnTo>
                  <a:cubicBezTo>
                    <a:pt x="8664" y="3073"/>
                    <a:pt x="8402" y="2811"/>
                    <a:pt x="8078" y="2811"/>
                  </a:cubicBezTo>
                  <a:lnTo>
                    <a:pt x="5855" y="2811"/>
                  </a:lnTo>
                  <a:lnTo>
                    <a:pt x="5855" y="586"/>
                  </a:lnTo>
                  <a:cubicBezTo>
                    <a:pt x="5855" y="262"/>
                    <a:pt x="5593" y="0"/>
                    <a:pt x="526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4" name="Google Shape;8184;p77"/>
            <p:cNvSpPr/>
            <p:nvPr/>
          </p:nvSpPr>
          <p:spPr>
            <a:xfrm>
              <a:off x="5012603" y="2571753"/>
              <a:ext cx="417024" cy="417024"/>
            </a:xfrm>
            <a:custGeom>
              <a:avLst/>
              <a:gdLst/>
              <a:ahLst/>
              <a:cxnLst/>
              <a:rect l="l" t="t" r="r" b="b"/>
              <a:pathLst>
                <a:path w="19982" h="19982" extrusionOk="0">
                  <a:moveTo>
                    <a:pt x="17053" y="1172"/>
                  </a:moveTo>
                  <a:cubicBezTo>
                    <a:pt x="18007" y="1172"/>
                    <a:pt x="18810" y="1993"/>
                    <a:pt x="18810" y="2966"/>
                  </a:cubicBezTo>
                  <a:lnTo>
                    <a:pt x="18810" y="17017"/>
                  </a:lnTo>
                  <a:cubicBezTo>
                    <a:pt x="18810" y="17990"/>
                    <a:pt x="18007" y="18811"/>
                    <a:pt x="17053" y="18811"/>
                  </a:cubicBezTo>
                  <a:lnTo>
                    <a:pt x="2965" y="18811"/>
                  </a:lnTo>
                  <a:cubicBezTo>
                    <a:pt x="1992" y="18811"/>
                    <a:pt x="1169" y="17990"/>
                    <a:pt x="1169" y="17017"/>
                  </a:cubicBezTo>
                  <a:lnTo>
                    <a:pt x="1169" y="2966"/>
                  </a:lnTo>
                  <a:cubicBezTo>
                    <a:pt x="1169" y="1993"/>
                    <a:pt x="1992" y="1172"/>
                    <a:pt x="2965" y="1172"/>
                  </a:cubicBezTo>
                  <a:close/>
                  <a:moveTo>
                    <a:pt x="2965" y="1"/>
                  </a:moveTo>
                  <a:cubicBezTo>
                    <a:pt x="1346" y="1"/>
                    <a:pt x="0" y="1349"/>
                    <a:pt x="0" y="2966"/>
                  </a:cubicBezTo>
                  <a:lnTo>
                    <a:pt x="0" y="17015"/>
                  </a:lnTo>
                  <a:cubicBezTo>
                    <a:pt x="0" y="18636"/>
                    <a:pt x="1348" y="19982"/>
                    <a:pt x="2965" y="19982"/>
                  </a:cubicBezTo>
                  <a:lnTo>
                    <a:pt x="17053" y="19982"/>
                  </a:lnTo>
                  <a:cubicBezTo>
                    <a:pt x="18672" y="19982"/>
                    <a:pt x="19981" y="18634"/>
                    <a:pt x="19981" y="17015"/>
                  </a:cubicBezTo>
                  <a:lnTo>
                    <a:pt x="19981" y="2966"/>
                  </a:lnTo>
                  <a:cubicBezTo>
                    <a:pt x="19981" y="1349"/>
                    <a:pt x="18672" y="1"/>
                    <a:pt x="1705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185" name="Google Shape;8185;p77"/>
          <p:cNvSpPr/>
          <p:nvPr/>
        </p:nvSpPr>
        <p:spPr>
          <a:xfrm>
            <a:off x="6950386" y="4318470"/>
            <a:ext cx="543177" cy="543177"/>
          </a:xfrm>
          <a:custGeom>
            <a:avLst/>
            <a:gdLst/>
            <a:ahLst/>
            <a:cxnLst/>
            <a:rect l="l" t="t" r="r" b="b"/>
            <a:pathLst>
              <a:path w="19982" h="19982" extrusionOk="0">
                <a:moveTo>
                  <a:pt x="14602" y="3500"/>
                </a:moveTo>
                <a:cubicBezTo>
                  <a:pt x="15137" y="3500"/>
                  <a:pt x="15682" y="3563"/>
                  <a:pt x="16247" y="3689"/>
                </a:cubicBezTo>
                <a:cubicBezTo>
                  <a:pt x="16179" y="4154"/>
                  <a:pt x="16095" y="4705"/>
                  <a:pt x="16033" y="5120"/>
                </a:cubicBezTo>
                <a:cubicBezTo>
                  <a:pt x="15810" y="5075"/>
                  <a:pt x="15484" y="5035"/>
                  <a:pt x="15150" y="5035"/>
                </a:cubicBezTo>
                <a:cubicBezTo>
                  <a:pt x="14968" y="5035"/>
                  <a:pt x="14783" y="5047"/>
                  <a:pt x="14611" y="5076"/>
                </a:cubicBezTo>
                <a:cubicBezTo>
                  <a:pt x="13536" y="5258"/>
                  <a:pt x="12918" y="5925"/>
                  <a:pt x="12918" y="6907"/>
                </a:cubicBezTo>
                <a:lnTo>
                  <a:pt x="12918" y="8819"/>
                </a:lnTo>
                <a:cubicBezTo>
                  <a:pt x="12918" y="9143"/>
                  <a:pt x="13180" y="9405"/>
                  <a:pt x="13504" y="9405"/>
                </a:cubicBezTo>
                <a:lnTo>
                  <a:pt x="15681" y="9405"/>
                </a:lnTo>
                <a:lnTo>
                  <a:pt x="15388" y="10576"/>
                </a:lnTo>
                <a:lnTo>
                  <a:pt x="13504" y="10576"/>
                </a:lnTo>
                <a:cubicBezTo>
                  <a:pt x="13180" y="10576"/>
                  <a:pt x="12918" y="10838"/>
                  <a:pt x="12918" y="11161"/>
                </a:cubicBezTo>
                <a:lnTo>
                  <a:pt x="12918" y="18811"/>
                </a:lnTo>
                <a:lnTo>
                  <a:pt x="11162" y="18811"/>
                </a:lnTo>
                <a:lnTo>
                  <a:pt x="11162" y="11161"/>
                </a:lnTo>
                <a:cubicBezTo>
                  <a:pt x="11162" y="10838"/>
                  <a:pt x="10900" y="10576"/>
                  <a:pt x="10576" y="10576"/>
                </a:cubicBezTo>
                <a:lnTo>
                  <a:pt x="9407" y="10576"/>
                </a:lnTo>
                <a:lnTo>
                  <a:pt x="9407" y="9405"/>
                </a:lnTo>
                <a:lnTo>
                  <a:pt x="10576" y="9405"/>
                </a:lnTo>
                <a:cubicBezTo>
                  <a:pt x="10900" y="9405"/>
                  <a:pt x="11162" y="9143"/>
                  <a:pt x="11162" y="8821"/>
                </a:cubicBezTo>
                <a:cubicBezTo>
                  <a:pt x="11162" y="7215"/>
                  <a:pt x="11162" y="6481"/>
                  <a:pt x="11162" y="6143"/>
                </a:cubicBezTo>
                <a:cubicBezTo>
                  <a:pt x="11162" y="5520"/>
                  <a:pt x="11163" y="4843"/>
                  <a:pt x="11770" y="4324"/>
                </a:cubicBezTo>
                <a:cubicBezTo>
                  <a:pt x="12234" y="3928"/>
                  <a:pt x="12823" y="3687"/>
                  <a:pt x="13628" y="3571"/>
                </a:cubicBezTo>
                <a:cubicBezTo>
                  <a:pt x="13950" y="3524"/>
                  <a:pt x="14274" y="3500"/>
                  <a:pt x="14602" y="3500"/>
                </a:cubicBezTo>
                <a:close/>
                <a:moveTo>
                  <a:pt x="17017" y="1170"/>
                </a:moveTo>
                <a:cubicBezTo>
                  <a:pt x="17990" y="1170"/>
                  <a:pt x="18811" y="1975"/>
                  <a:pt x="18811" y="2927"/>
                </a:cubicBezTo>
                <a:lnTo>
                  <a:pt x="18811" y="17056"/>
                </a:lnTo>
                <a:cubicBezTo>
                  <a:pt x="18811" y="18023"/>
                  <a:pt x="18024" y="18811"/>
                  <a:pt x="17056" y="18811"/>
                </a:cubicBezTo>
                <a:lnTo>
                  <a:pt x="14089" y="18811"/>
                </a:lnTo>
                <a:lnTo>
                  <a:pt x="14089" y="11747"/>
                </a:lnTo>
                <a:lnTo>
                  <a:pt x="15846" y="11747"/>
                </a:lnTo>
                <a:cubicBezTo>
                  <a:pt x="16115" y="11747"/>
                  <a:pt x="16348" y="11565"/>
                  <a:pt x="16414" y="11305"/>
                </a:cubicBezTo>
                <a:lnTo>
                  <a:pt x="16999" y="8963"/>
                </a:lnTo>
                <a:cubicBezTo>
                  <a:pt x="17042" y="8787"/>
                  <a:pt x="17003" y="8602"/>
                  <a:pt x="16893" y="8460"/>
                </a:cubicBezTo>
                <a:cubicBezTo>
                  <a:pt x="16782" y="8317"/>
                  <a:pt x="16612" y="8235"/>
                  <a:pt x="16431" y="8235"/>
                </a:cubicBezTo>
                <a:lnTo>
                  <a:pt x="14089" y="8235"/>
                </a:lnTo>
                <a:lnTo>
                  <a:pt x="14089" y="6909"/>
                </a:lnTo>
                <a:cubicBezTo>
                  <a:pt x="14089" y="6638"/>
                  <a:pt x="14144" y="6343"/>
                  <a:pt x="14808" y="6229"/>
                </a:cubicBezTo>
                <a:cubicBezTo>
                  <a:pt x="14936" y="6208"/>
                  <a:pt x="15061" y="6199"/>
                  <a:pt x="15182" y="6199"/>
                </a:cubicBezTo>
                <a:cubicBezTo>
                  <a:pt x="15552" y="6199"/>
                  <a:pt x="15890" y="6283"/>
                  <a:pt x="16198" y="6360"/>
                </a:cubicBezTo>
                <a:cubicBezTo>
                  <a:pt x="16304" y="6387"/>
                  <a:pt x="16415" y="6421"/>
                  <a:pt x="16532" y="6421"/>
                </a:cubicBezTo>
                <a:cubicBezTo>
                  <a:pt x="16632" y="6421"/>
                  <a:pt x="16736" y="6396"/>
                  <a:pt x="16847" y="6321"/>
                </a:cubicBezTo>
                <a:cubicBezTo>
                  <a:pt x="16983" y="6229"/>
                  <a:pt x="17074" y="6084"/>
                  <a:pt x="17098" y="5923"/>
                </a:cubicBezTo>
                <a:cubicBezTo>
                  <a:pt x="17098" y="5923"/>
                  <a:pt x="17362" y="4156"/>
                  <a:pt x="17482" y="3339"/>
                </a:cubicBezTo>
                <a:cubicBezTo>
                  <a:pt x="17525" y="3049"/>
                  <a:pt x="17346" y="2769"/>
                  <a:pt x="17063" y="2690"/>
                </a:cubicBezTo>
                <a:cubicBezTo>
                  <a:pt x="16267" y="2463"/>
                  <a:pt x="15346" y="2343"/>
                  <a:pt x="14504" y="2343"/>
                </a:cubicBezTo>
                <a:cubicBezTo>
                  <a:pt x="14137" y="2343"/>
                  <a:pt x="13786" y="2365"/>
                  <a:pt x="13467" y="2412"/>
                </a:cubicBezTo>
                <a:cubicBezTo>
                  <a:pt x="12434" y="2562"/>
                  <a:pt x="11646" y="2888"/>
                  <a:pt x="11009" y="3434"/>
                </a:cubicBezTo>
                <a:cubicBezTo>
                  <a:pt x="10121" y="4193"/>
                  <a:pt x="10010" y="5168"/>
                  <a:pt x="9999" y="5833"/>
                </a:cubicBezTo>
                <a:cubicBezTo>
                  <a:pt x="9999" y="5847"/>
                  <a:pt x="9999" y="7029"/>
                  <a:pt x="9999" y="8235"/>
                </a:cubicBezTo>
                <a:lnTo>
                  <a:pt x="8821" y="8235"/>
                </a:lnTo>
                <a:cubicBezTo>
                  <a:pt x="8497" y="8235"/>
                  <a:pt x="8236" y="8497"/>
                  <a:pt x="8236" y="8819"/>
                </a:cubicBezTo>
                <a:lnTo>
                  <a:pt x="8236" y="11161"/>
                </a:lnTo>
                <a:cubicBezTo>
                  <a:pt x="8236" y="11485"/>
                  <a:pt x="8497" y="11747"/>
                  <a:pt x="8821" y="11747"/>
                </a:cubicBezTo>
                <a:lnTo>
                  <a:pt x="9991" y="11747"/>
                </a:lnTo>
                <a:lnTo>
                  <a:pt x="9991" y="18811"/>
                </a:lnTo>
                <a:lnTo>
                  <a:pt x="2927" y="18811"/>
                </a:lnTo>
                <a:cubicBezTo>
                  <a:pt x="1959" y="18811"/>
                  <a:pt x="1172" y="18023"/>
                  <a:pt x="1172" y="17054"/>
                </a:cubicBezTo>
                <a:lnTo>
                  <a:pt x="1172" y="2927"/>
                </a:lnTo>
                <a:cubicBezTo>
                  <a:pt x="1172" y="1959"/>
                  <a:pt x="1959" y="1170"/>
                  <a:pt x="2927" y="1170"/>
                </a:cubicBezTo>
                <a:close/>
                <a:moveTo>
                  <a:pt x="2927" y="1"/>
                </a:moveTo>
                <a:cubicBezTo>
                  <a:pt x="1314" y="1"/>
                  <a:pt x="1" y="1313"/>
                  <a:pt x="1" y="2927"/>
                </a:cubicBezTo>
                <a:lnTo>
                  <a:pt x="1" y="17056"/>
                </a:lnTo>
                <a:cubicBezTo>
                  <a:pt x="1" y="18669"/>
                  <a:pt x="1314" y="19982"/>
                  <a:pt x="2927" y="19982"/>
                </a:cubicBezTo>
                <a:lnTo>
                  <a:pt x="17054" y="19982"/>
                </a:lnTo>
                <a:cubicBezTo>
                  <a:pt x="18669" y="19982"/>
                  <a:pt x="19982" y="18669"/>
                  <a:pt x="19982" y="17056"/>
                </a:cubicBezTo>
                <a:lnTo>
                  <a:pt x="19982" y="2927"/>
                </a:lnTo>
                <a:cubicBezTo>
                  <a:pt x="19982" y="2145"/>
                  <a:pt x="19669" y="1409"/>
                  <a:pt x="19101" y="853"/>
                </a:cubicBezTo>
                <a:cubicBezTo>
                  <a:pt x="18538" y="303"/>
                  <a:pt x="17797" y="1"/>
                  <a:pt x="17015"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186" name="Google Shape;8186;p77"/>
          <p:cNvGrpSpPr/>
          <p:nvPr/>
        </p:nvGrpSpPr>
        <p:grpSpPr>
          <a:xfrm>
            <a:off x="7644439" y="4318387"/>
            <a:ext cx="543243" cy="543188"/>
            <a:chOff x="812101" y="2571761"/>
            <a:chExt cx="417066" cy="417024"/>
          </a:xfrm>
        </p:grpSpPr>
        <p:sp>
          <p:nvSpPr>
            <p:cNvPr id="8187" name="Google Shape;8187;p77"/>
            <p:cNvSpPr/>
            <p:nvPr/>
          </p:nvSpPr>
          <p:spPr>
            <a:xfrm>
              <a:off x="935084" y="2694744"/>
              <a:ext cx="171071" cy="171071"/>
            </a:xfrm>
            <a:custGeom>
              <a:avLst/>
              <a:gdLst/>
              <a:ahLst/>
              <a:cxnLst/>
              <a:rect l="l" t="t" r="r" b="b"/>
              <a:pathLst>
                <a:path w="8197" h="8197" extrusionOk="0">
                  <a:moveTo>
                    <a:pt x="4099" y="1171"/>
                  </a:moveTo>
                  <a:cubicBezTo>
                    <a:pt x="5712" y="1171"/>
                    <a:pt x="7027" y="2484"/>
                    <a:pt x="7027" y="4097"/>
                  </a:cubicBezTo>
                  <a:cubicBezTo>
                    <a:pt x="7027" y="5712"/>
                    <a:pt x="5712" y="7025"/>
                    <a:pt x="4099" y="7025"/>
                  </a:cubicBezTo>
                  <a:cubicBezTo>
                    <a:pt x="2486" y="7025"/>
                    <a:pt x="1171" y="5712"/>
                    <a:pt x="1171" y="4097"/>
                  </a:cubicBezTo>
                  <a:cubicBezTo>
                    <a:pt x="1171" y="2484"/>
                    <a:pt x="2486" y="1171"/>
                    <a:pt x="4099" y="1171"/>
                  </a:cubicBezTo>
                  <a:close/>
                  <a:moveTo>
                    <a:pt x="4099" y="0"/>
                  </a:moveTo>
                  <a:cubicBezTo>
                    <a:pt x="1840" y="0"/>
                    <a:pt x="0" y="1838"/>
                    <a:pt x="0" y="4097"/>
                  </a:cubicBezTo>
                  <a:cubicBezTo>
                    <a:pt x="0" y="6358"/>
                    <a:pt x="1840" y="8196"/>
                    <a:pt x="4099" y="8196"/>
                  </a:cubicBezTo>
                  <a:cubicBezTo>
                    <a:pt x="6358" y="8196"/>
                    <a:pt x="8196" y="6358"/>
                    <a:pt x="8196" y="4097"/>
                  </a:cubicBezTo>
                  <a:cubicBezTo>
                    <a:pt x="8196" y="1838"/>
                    <a:pt x="6358" y="0"/>
                    <a:pt x="4099"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8" name="Google Shape;8188;p77"/>
            <p:cNvSpPr/>
            <p:nvPr/>
          </p:nvSpPr>
          <p:spPr>
            <a:xfrm>
              <a:off x="860977" y="2620616"/>
              <a:ext cx="319311" cy="319290"/>
            </a:xfrm>
            <a:custGeom>
              <a:avLst/>
              <a:gdLst/>
              <a:ahLst/>
              <a:cxnLst/>
              <a:rect l="l" t="t" r="r" b="b"/>
              <a:pathLst>
                <a:path w="15300" h="15299" extrusionOk="0">
                  <a:moveTo>
                    <a:pt x="12333" y="1171"/>
                  </a:moveTo>
                  <a:cubicBezTo>
                    <a:pt x="13306" y="1171"/>
                    <a:pt x="14128" y="1994"/>
                    <a:pt x="14128" y="2967"/>
                  </a:cubicBezTo>
                  <a:lnTo>
                    <a:pt x="14128" y="12334"/>
                  </a:lnTo>
                  <a:cubicBezTo>
                    <a:pt x="14128" y="13307"/>
                    <a:pt x="13306" y="14129"/>
                    <a:pt x="12333" y="14129"/>
                  </a:cubicBezTo>
                  <a:lnTo>
                    <a:pt x="2968" y="14129"/>
                  </a:lnTo>
                  <a:cubicBezTo>
                    <a:pt x="1993" y="14129"/>
                    <a:pt x="1172" y="13307"/>
                    <a:pt x="1172" y="12334"/>
                  </a:cubicBezTo>
                  <a:lnTo>
                    <a:pt x="1172" y="2967"/>
                  </a:lnTo>
                  <a:cubicBezTo>
                    <a:pt x="1172" y="1994"/>
                    <a:pt x="1993" y="1171"/>
                    <a:pt x="2968" y="1171"/>
                  </a:cubicBezTo>
                  <a:close/>
                  <a:moveTo>
                    <a:pt x="2968" y="0"/>
                  </a:moveTo>
                  <a:cubicBezTo>
                    <a:pt x="1351" y="0"/>
                    <a:pt x="1" y="1346"/>
                    <a:pt x="1" y="2967"/>
                  </a:cubicBezTo>
                  <a:lnTo>
                    <a:pt x="1" y="12334"/>
                  </a:lnTo>
                  <a:cubicBezTo>
                    <a:pt x="1" y="13952"/>
                    <a:pt x="1349" y="15299"/>
                    <a:pt x="2968" y="15299"/>
                  </a:cubicBezTo>
                  <a:lnTo>
                    <a:pt x="12333" y="15299"/>
                  </a:lnTo>
                  <a:cubicBezTo>
                    <a:pt x="13953" y="15299"/>
                    <a:pt x="15299" y="13951"/>
                    <a:pt x="15299" y="12334"/>
                  </a:cubicBezTo>
                  <a:lnTo>
                    <a:pt x="15299" y="2967"/>
                  </a:lnTo>
                  <a:cubicBezTo>
                    <a:pt x="15299" y="1345"/>
                    <a:pt x="13948" y="0"/>
                    <a:pt x="1233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89" name="Google Shape;8189;p77"/>
            <p:cNvSpPr/>
            <p:nvPr/>
          </p:nvSpPr>
          <p:spPr>
            <a:xfrm>
              <a:off x="812101" y="2571761"/>
              <a:ext cx="417066" cy="417024"/>
            </a:xfrm>
            <a:custGeom>
              <a:avLst/>
              <a:gdLst/>
              <a:ahLst/>
              <a:cxnLst/>
              <a:rect l="l" t="t" r="r" b="b"/>
              <a:pathLst>
                <a:path w="19984" h="19982" extrusionOk="0">
                  <a:moveTo>
                    <a:pt x="17056" y="1172"/>
                  </a:moveTo>
                  <a:cubicBezTo>
                    <a:pt x="18025" y="1172"/>
                    <a:pt x="18812" y="1959"/>
                    <a:pt x="18812" y="2927"/>
                  </a:cubicBezTo>
                  <a:lnTo>
                    <a:pt x="18812" y="17056"/>
                  </a:lnTo>
                  <a:cubicBezTo>
                    <a:pt x="18812" y="18023"/>
                    <a:pt x="18025" y="18811"/>
                    <a:pt x="17056" y="18811"/>
                  </a:cubicBezTo>
                  <a:lnTo>
                    <a:pt x="2928" y="18811"/>
                  </a:lnTo>
                  <a:cubicBezTo>
                    <a:pt x="1961" y="18811"/>
                    <a:pt x="1172" y="18023"/>
                    <a:pt x="1172" y="17056"/>
                  </a:cubicBezTo>
                  <a:lnTo>
                    <a:pt x="1172" y="2927"/>
                  </a:lnTo>
                  <a:cubicBezTo>
                    <a:pt x="1172" y="1959"/>
                    <a:pt x="1961" y="1172"/>
                    <a:pt x="2928" y="1172"/>
                  </a:cubicBezTo>
                  <a:close/>
                  <a:moveTo>
                    <a:pt x="2928" y="1"/>
                  </a:moveTo>
                  <a:cubicBezTo>
                    <a:pt x="1313" y="1"/>
                    <a:pt x="1" y="1313"/>
                    <a:pt x="1" y="2927"/>
                  </a:cubicBezTo>
                  <a:lnTo>
                    <a:pt x="1" y="17056"/>
                  </a:lnTo>
                  <a:cubicBezTo>
                    <a:pt x="1" y="18669"/>
                    <a:pt x="1313" y="19982"/>
                    <a:pt x="2928" y="19982"/>
                  </a:cubicBezTo>
                  <a:lnTo>
                    <a:pt x="17056" y="19982"/>
                  </a:lnTo>
                  <a:cubicBezTo>
                    <a:pt x="18669" y="19982"/>
                    <a:pt x="19984" y="18669"/>
                    <a:pt x="19984" y="17056"/>
                  </a:cubicBezTo>
                  <a:lnTo>
                    <a:pt x="19984" y="2927"/>
                  </a:lnTo>
                  <a:cubicBezTo>
                    <a:pt x="19984" y="1313"/>
                    <a:pt x="18669" y="1"/>
                    <a:pt x="17056"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0" name="Google Shape;8190;p77"/>
            <p:cNvSpPr/>
            <p:nvPr/>
          </p:nvSpPr>
          <p:spPr>
            <a:xfrm>
              <a:off x="1081712" y="2670306"/>
              <a:ext cx="48878" cy="48898"/>
            </a:xfrm>
            <a:custGeom>
              <a:avLst/>
              <a:gdLst/>
              <a:ahLst/>
              <a:cxnLst/>
              <a:rect l="l" t="t" r="r" b="b"/>
              <a:pathLst>
                <a:path w="2342" h="2343" extrusionOk="0">
                  <a:moveTo>
                    <a:pt x="1170" y="0"/>
                  </a:moveTo>
                  <a:cubicBezTo>
                    <a:pt x="524" y="0"/>
                    <a:pt x="1" y="526"/>
                    <a:pt x="1" y="1171"/>
                  </a:cubicBezTo>
                  <a:cubicBezTo>
                    <a:pt x="1" y="1817"/>
                    <a:pt x="524" y="2342"/>
                    <a:pt x="1170" y="2342"/>
                  </a:cubicBezTo>
                  <a:cubicBezTo>
                    <a:pt x="1816" y="2342"/>
                    <a:pt x="2341" y="1817"/>
                    <a:pt x="2341" y="1171"/>
                  </a:cubicBezTo>
                  <a:cubicBezTo>
                    <a:pt x="2341" y="526"/>
                    <a:pt x="1816" y="0"/>
                    <a:pt x="1170"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grpSp>
        <p:nvGrpSpPr>
          <p:cNvPr id="8191" name="Google Shape;8191;p77"/>
          <p:cNvGrpSpPr/>
          <p:nvPr/>
        </p:nvGrpSpPr>
        <p:grpSpPr>
          <a:xfrm>
            <a:off x="8338565" y="4318387"/>
            <a:ext cx="543188" cy="543188"/>
            <a:chOff x="1323129" y="2571761"/>
            <a:chExt cx="417024" cy="417024"/>
          </a:xfrm>
        </p:grpSpPr>
        <p:sp>
          <p:nvSpPr>
            <p:cNvPr id="8192" name="Google Shape;8192;p77"/>
            <p:cNvSpPr/>
            <p:nvPr/>
          </p:nvSpPr>
          <p:spPr>
            <a:xfrm>
              <a:off x="1385007" y="2719183"/>
              <a:ext cx="73337" cy="219907"/>
            </a:xfrm>
            <a:custGeom>
              <a:avLst/>
              <a:gdLst/>
              <a:ahLst/>
              <a:cxnLst/>
              <a:rect l="l" t="t" r="r" b="b"/>
              <a:pathLst>
                <a:path w="3514" h="10537" extrusionOk="0">
                  <a:moveTo>
                    <a:pt x="2342" y="1171"/>
                  </a:moveTo>
                  <a:lnTo>
                    <a:pt x="2342" y="9367"/>
                  </a:lnTo>
                  <a:lnTo>
                    <a:pt x="1171" y="9367"/>
                  </a:lnTo>
                  <a:lnTo>
                    <a:pt x="1171" y="1171"/>
                  </a:lnTo>
                  <a:close/>
                  <a:moveTo>
                    <a:pt x="586" y="0"/>
                  </a:moveTo>
                  <a:cubicBezTo>
                    <a:pt x="264" y="0"/>
                    <a:pt x="0" y="262"/>
                    <a:pt x="0" y="586"/>
                  </a:cubicBezTo>
                  <a:lnTo>
                    <a:pt x="0" y="9951"/>
                  </a:lnTo>
                  <a:cubicBezTo>
                    <a:pt x="0" y="10275"/>
                    <a:pt x="264" y="10537"/>
                    <a:pt x="586" y="10537"/>
                  </a:cubicBezTo>
                  <a:lnTo>
                    <a:pt x="2928" y="10537"/>
                  </a:lnTo>
                  <a:cubicBezTo>
                    <a:pt x="3252" y="10537"/>
                    <a:pt x="3514" y="10275"/>
                    <a:pt x="3514" y="9951"/>
                  </a:cubicBezTo>
                  <a:lnTo>
                    <a:pt x="3514" y="586"/>
                  </a:lnTo>
                  <a:cubicBezTo>
                    <a:pt x="3514" y="262"/>
                    <a:pt x="3252" y="0"/>
                    <a:pt x="2928"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3" name="Google Shape;8193;p77"/>
            <p:cNvSpPr/>
            <p:nvPr/>
          </p:nvSpPr>
          <p:spPr>
            <a:xfrm>
              <a:off x="1385007" y="2621430"/>
              <a:ext cx="73337" cy="73337"/>
            </a:xfrm>
            <a:custGeom>
              <a:avLst/>
              <a:gdLst/>
              <a:ahLst/>
              <a:cxnLst/>
              <a:rect l="l" t="t" r="r" b="b"/>
              <a:pathLst>
                <a:path w="3514" h="3514" extrusionOk="0">
                  <a:moveTo>
                    <a:pt x="1757" y="1171"/>
                  </a:moveTo>
                  <a:cubicBezTo>
                    <a:pt x="2081" y="1171"/>
                    <a:pt x="2342" y="1435"/>
                    <a:pt x="2342" y="1757"/>
                  </a:cubicBezTo>
                  <a:cubicBezTo>
                    <a:pt x="2342" y="2080"/>
                    <a:pt x="2081" y="2342"/>
                    <a:pt x="1757" y="2342"/>
                  </a:cubicBezTo>
                  <a:cubicBezTo>
                    <a:pt x="1435" y="2342"/>
                    <a:pt x="1171" y="2080"/>
                    <a:pt x="1171" y="1757"/>
                  </a:cubicBezTo>
                  <a:cubicBezTo>
                    <a:pt x="1171" y="1435"/>
                    <a:pt x="1435" y="1171"/>
                    <a:pt x="1757" y="1171"/>
                  </a:cubicBezTo>
                  <a:close/>
                  <a:moveTo>
                    <a:pt x="1757" y="0"/>
                  </a:moveTo>
                  <a:cubicBezTo>
                    <a:pt x="789" y="0"/>
                    <a:pt x="0" y="789"/>
                    <a:pt x="0" y="1757"/>
                  </a:cubicBezTo>
                  <a:cubicBezTo>
                    <a:pt x="0" y="2726"/>
                    <a:pt x="789" y="3513"/>
                    <a:pt x="1757" y="3513"/>
                  </a:cubicBezTo>
                  <a:cubicBezTo>
                    <a:pt x="2726" y="3513"/>
                    <a:pt x="3514" y="2726"/>
                    <a:pt x="3514" y="1757"/>
                  </a:cubicBezTo>
                  <a:cubicBezTo>
                    <a:pt x="3514" y="789"/>
                    <a:pt x="2726" y="0"/>
                    <a:pt x="1757"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4" name="Google Shape;8194;p77"/>
            <p:cNvSpPr/>
            <p:nvPr/>
          </p:nvSpPr>
          <p:spPr>
            <a:xfrm>
              <a:off x="1482759" y="2718786"/>
              <a:ext cx="195510" cy="220304"/>
            </a:xfrm>
            <a:custGeom>
              <a:avLst/>
              <a:gdLst/>
              <a:ahLst/>
              <a:cxnLst/>
              <a:rect l="l" t="t" r="r" b="b"/>
              <a:pathLst>
                <a:path w="9368" h="10556" extrusionOk="0">
                  <a:moveTo>
                    <a:pt x="5559" y="1173"/>
                  </a:moveTo>
                  <a:cubicBezTo>
                    <a:pt x="5720" y="1173"/>
                    <a:pt x="5883" y="1186"/>
                    <a:pt x="6044" y="1212"/>
                  </a:cubicBezTo>
                  <a:cubicBezTo>
                    <a:pt x="7422" y="1435"/>
                    <a:pt x="8196" y="2535"/>
                    <a:pt x="8196" y="3669"/>
                  </a:cubicBezTo>
                  <a:lnTo>
                    <a:pt x="8196" y="9386"/>
                  </a:lnTo>
                  <a:lnTo>
                    <a:pt x="7025" y="9386"/>
                  </a:lnTo>
                  <a:lnTo>
                    <a:pt x="7025" y="4702"/>
                  </a:lnTo>
                  <a:cubicBezTo>
                    <a:pt x="7025" y="3411"/>
                    <a:pt x="5975" y="2360"/>
                    <a:pt x="4683" y="2360"/>
                  </a:cubicBezTo>
                  <a:cubicBezTo>
                    <a:pt x="3392" y="2360"/>
                    <a:pt x="2341" y="3411"/>
                    <a:pt x="2341" y="4702"/>
                  </a:cubicBezTo>
                  <a:lnTo>
                    <a:pt x="2341" y="9386"/>
                  </a:lnTo>
                  <a:lnTo>
                    <a:pt x="1170" y="9386"/>
                  </a:lnTo>
                  <a:lnTo>
                    <a:pt x="1170" y="1190"/>
                  </a:lnTo>
                  <a:lnTo>
                    <a:pt x="2341" y="1190"/>
                  </a:lnTo>
                  <a:lnTo>
                    <a:pt x="2341" y="1776"/>
                  </a:lnTo>
                  <a:cubicBezTo>
                    <a:pt x="2341" y="2011"/>
                    <a:pt x="2484" y="2225"/>
                    <a:pt x="2704" y="2316"/>
                  </a:cubicBezTo>
                  <a:cubicBezTo>
                    <a:pt x="2776" y="2346"/>
                    <a:pt x="2852" y="2361"/>
                    <a:pt x="2928" y="2361"/>
                  </a:cubicBezTo>
                  <a:cubicBezTo>
                    <a:pt x="3080" y="2361"/>
                    <a:pt x="3229" y="2301"/>
                    <a:pt x="3341" y="2190"/>
                  </a:cubicBezTo>
                  <a:lnTo>
                    <a:pt x="3615" y="1916"/>
                  </a:lnTo>
                  <a:cubicBezTo>
                    <a:pt x="4086" y="1443"/>
                    <a:pt x="4813" y="1173"/>
                    <a:pt x="5559" y="1173"/>
                  </a:cubicBezTo>
                  <a:close/>
                  <a:moveTo>
                    <a:pt x="5553" y="0"/>
                  </a:moveTo>
                  <a:cubicBezTo>
                    <a:pt x="4823" y="0"/>
                    <a:pt x="4110" y="189"/>
                    <a:pt x="3509" y="536"/>
                  </a:cubicBezTo>
                  <a:cubicBezTo>
                    <a:pt x="3475" y="246"/>
                    <a:pt x="3227" y="19"/>
                    <a:pt x="2927" y="19"/>
                  </a:cubicBezTo>
                  <a:lnTo>
                    <a:pt x="586" y="19"/>
                  </a:lnTo>
                  <a:cubicBezTo>
                    <a:pt x="262" y="19"/>
                    <a:pt x="1" y="281"/>
                    <a:pt x="1" y="605"/>
                  </a:cubicBezTo>
                  <a:lnTo>
                    <a:pt x="1" y="9970"/>
                  </a:lnTo>
                  <a:cubicBezTo>
                    <a:pt x="1" y="10294"/>
                    <a:pt x="262" y="10556"/>
                    <a:pt x="586" y="10556"/>
                  </a:cubicBezTo>
                  <a:lnTo>
                    <a:pt x="2927" y="10556"/>
                  </a:lnTo>
                  <a:cubicBezTo>
                    <a:pt x="3250" y="10556"/>
                    <a:pt x="3512" y="10294"/>
                    <a:pt x="3512" y="9970"/>
                  </a:cubicBezTo>
                  <a:lnTo>
                    <a:pt x="3512" y="4702"/>
                  </a:lnTo>
                  <a:cubicBezTo>
                    <a:pt x="3512" y="4056"/>
                    <a:pt x="4038" y="3531"/>
                    <a:pt x="4683" y="3531"/>
                  </a:cubicBezTo>
                  <a:cubicBezTo>
                    <a:pt x="5329" y="3531"/>
                    <a:pt x="5854" y="4056"/>
                    <a:pt x="5854" y="4702"/>
                  </a:cubicBezTo>
                  <a:lnTo>
                    <a:pt x="5854" y="9970"/>
                  </a:lnTo>
                  <a:cubicBezTo>
                    <a:pt x="5854" y="10294"/>
                    <a:pt x="6116" y="10556"/>
                    <a:pt x="6440" y="10556"/>
                  </a:cubicBezTo>
                  <a:lnTo>
                    <a:pt x="8782" y="10556"/>
                  </a:lnTo>
                  <a:cubicBezTo>
                    <a:pt x="9104" y="10556"/>
                    <a:pt x="9368" y="10294"/>
                    <a:pt x="9368" y="9970"/>
                  </a:cubicBezTo>
                  <a:lnTo>
                    <a:pt x="9368" y="3669"/>
                  </a:lnTo>
                  <a:cubicBezTo>
                    <a:pt x="9368" y="1921"/>
                    <a:pt x="8131" y="364"/>
                    <a:pt x="6231" y="55"/>
                  </a:cubicBezTo>
                  <a:cubicBezTo>
                    <a:pt x="6005" y="18"/>
                    <a:pt x="5779" y="0"/>
                    <a:pt x="5553" y="0"/>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5" name="Google Shape;8195;p77"/>
            <p:cNvSpPr/>
            <p:nvPr/>
          </p:nvSpPr>
          <p:spPr>
            <a:xfrm>
              <a:off x="1323129" y="2571761"/>
              <a:ext cx="417024" cy="417024"/>
            </a:xfrm>
            <a:custGeom>
              <a:avLst/>
              <a:gdLst/>
              <a:ahLst/>
              <a:cxnLst/>
              <a:rect l="l" t="t" r="r" b="b"/>
              <a:pathLst>
                <a:path w="19982" h="19982" extrusionOk="0">
                  <a:moveTo>
                    <a:pt x="17015" y="1170"/>
                  </a:moveTo>
                  <a:cubicBezTo>
                    <a:pt x="17989" y="1170"/>
                    <a:pt x="18810" y="1993"/>
                    <a:pt x="18810" y="2966"/>
                  </a:cubicBezTo>
                  <a:lnTo>
                    <a:pt x="18810" y="17015"/>
                  </a:lnTo>
                  <a:cubicBezTo>
                    <a:pt x="18810" y="17990"/>
                    <a:pt x="17989" y="18811"/>
                    <a:pt x="17015" y="18811"/>
                  </a:cubicBezTo>
                  <a:lnTo>
                    <a:pt x="2965" y="18811"/>
                  </a:lnTo>
                  <a:cubicBezTo>
                    <a:pt x="1992" y="18811"/>
                    <a:pt x="1170" y="17990"/>
                    <a:pt x="1170" y="17015"/>
                  </a:cubicBezTo>
                  <a:lnTo>
                    <a:pt x="1170" y="2966"/>
                  </a:lnTo>
                  <a:cubicBezTo>
                    <a:pt x="1170" y="1993"/>
                    <a:pt x="1992" y="1170"/>
                    <a:pt x="2965" y="1170"/>
                  </a:cubicBezTo>
                  <a:close/>
                  <a:moveTo>
                    <a:pt x="2965" y="1"/>
                  </a:moveTo>
                  <a:cubicBezTo>
                    <a:pt x="1347" y="1"/>
                    <a:pt x="0" y="1349"/>
                    <a:pt x="0" y="2966"/>
                  </a:cubicBezTo>
                  <a:lnTo>
                    <a:pt x="0" y="17015"/>
                  </a:lnTo>
                  <a:cubicBezTo>
                    <a:pt x="0" y="18635"/>
                    <a:pt x="1348" y="19982"/>
                    <a:pt x="2965" y="19982"/>
                  </a:cubicBezTo>
                  <a:lnTo>
                    <a:pt x="17017" y="19982"/>
                  </a:lnTo>
                  <a:cubicBezTo>
                    <a:pt x="18635" y="19982"/>
                    <a:pt x="19981" y="18634"/>
                    <a:pt x="19981" y="17015"/>
                  </a:cubicBezTo>
                  <a:lnTo>
                    <a:pt x="19981" y="2966"/>
                  </a:lnTo>
                  <a:cubicBezTo>
                    <a:pt x="19981" y="1347"/>
                    <a:pt x="18633" y="1"/>
                    <a:pt x="17017"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
        <p:nvSpPr>
          <p:cNvPr id="8196" name="Google Shape;8196;p77"/>
          <p:cNvSpPr/>
          <p:nvPr/>
        </p:nvSpPr>
        <p:spPr>
          <a:xfrm>
            <a:off x="9103237" y="4367471"/>
            <a:ext cx="545868" cy="445181"/>
          </a:xfrm>
          <a:custGeom>
            <a:avLst/>
            <a:gdLst/>
            <a:ahLst/>
            <a:cxnLst/>
            <a:rect l="l" t="t" r="r" b="b"/>
            <a:pathLst>
              <a:path w="20081" h="16377" extrusionOk="0">
                <a:moveTo>
                  <a:pt x="13632" y="1165"/>
                </a:moveTo>
                <a:cubicBezTo>
                  <a:pt x="14903" y="1165"/>
                  <a:pt x="15458" y="1658"/>
                  <a:pt x="15826" y="1984"/>
                </a:cubicBezTo>
                <a:cubicBezTo>
                  <a:pt x="16040" y="2173"/>
                  <a:pt x="16244" y="2353"/>
                  <a:pt x="16548" y="2353"/>
                </a:cubicBezTo>
                <a:cubicBezTo>
                  <a:pt x="16762" y="2353"/>
                  <a:pt x="17038" y="2293"/>
                  <a:pt x="17344" y="2196"/>
                </a:cubicBezTo>
                <a:lnTo>
                  <a:pt x="17344" y="2196"/>
                </a:lnTo>
                <a:cubicBezTo>
                  <a:pt x="17236" y="2288"/>
                  <a:pt x="17119" y="2376"/>
                  <a:pt x="16995" y="2461"/>
                </a:cubicBezTo>
                <a:cubicBezTo>
                  <a:pt x="16780" y="2612"/>
                  <a:pt x="16689" y="2889"/>
                  <a:pt x="16778" y="3137"/>
                </a:cubicBezTo>
                <a:cubicBezTo>
                  <a:pt x="16861" y="3373"/>
                  <a:pt x="17082" y="3528"/>
                  <a:pt x="17329" y="3528"/>
                </a:cubicBezTo>
                <a:cubicBezTo>
                  <a:pt x="17343" y="3528"/>
                  <a:pt x="17358" y="3527"/>
                  <a:pt x="17372" y="3526"/>
                </a:cubicBezTo>
                <a:cubicBezTo>
                  <a:pt x="17475" y="3519"/>
                  <a:pt x="17576" y="3508"/>
                  <a:pt x="17680" y="3494"/>
                </a:cubicBezTo>
                <a:lnTo>
                  <a:pt x="17680" y="3494"/>
                </a:lnTo>
                <a:cubicBezTo>
                  <a:pt x="17275" y="3802"/>
                  <a:pt x="16921" y="3990"/>
                  <a:pt x="16937" y="4786"/>
                </a:cubicBezTo>
                <a:cubicBezTo>
                  <a:pt x="16937" y="4826"/>
                  <a:pt x="16939" y="4881"/>
                  <a:pt x="16939" y="4971"/>
                </a:cubicBezTo>
                <a:cubicBezTo>
                  <a:pt x="16939" y="6510"/>
                  <a:pt x="16350" y="9097"/>
                  <a:pt x="14694" y="11320"/>
                </a:cubicBezTo>
                <a:cubicBezTo>
                  <a:pt x="13372" y="13093"/>
                  <a:pt x="10896" y="15207"/>
                  <a:pt x="6611" y="15207"/>
                </a:cubicBezTo>
                <a:cubicBezTo>
                  <a:pt x="5368" y="15207"/>
                  <a:pt x="4159" y="14996"/>
                  <a:pt x="3001" y="14582"/>
                </a:cubicBezTo>
                <a:cubicBezTo>
                  <a:pt x="4359" y="14345"/>
                  <a:pt x="5612" y="13799"/>
                  <a:pt x="6698" y="12960"/>
                </a:cubicBezTo>
                <a:cubicBezTo>
                  <a:pt x="6893" y="12812"/>
                  <a:pt x="6972" y="12557"/>
                  <a:pt x="6900" y="12323"/>
                </a:cubicBezTo>
                <a:cubicBezTo>
                  <a:pt x="6827" y="12090"/>
                  <a:pt x="6617" y="11925"/>
                  <a:pt x="6372" y="11913"/>
                </a:cubicBezTo>
                <a:cubicBezTo>
                  <a:pt x="5203" y="11849"/>
                  <a:pt x="4280" y="11209"/>
                  <a:pt x="3767" y="10448"/>
                </a:cubicBezTo>
                <a:cubicBezTo>
                  <a:pt x="3968" y="10434"/>
                  <a:pt x="4207" y="10404"/>
                  <a:pt x="4564" y="10340"/>
                </a:cubicBezTo>
                <a:cubicBezTo>
                  <a:pt x="4832" y="10294"/>
                  <a:pt x="5030" y="10071"/>
                  <a:pt x="5047" y="9801"/>
                </a:cubicBezTo>
                <a:cubicBezTo>
                  <a:pt x="5065" y="9532"/>
                  <a:pt x="4895" y="9286"/>
                  <a:pt x="4637" y="9205"/>
                </a:cubicBezTo>
                <a:cubicBezTo>
                  <a:pt x="3296" y="8787"/>
                  <a:pt x="2498" y="8025"/>
                  <a:pt x="2180" y="6838"/>
                </a:cubicBezTo>
                <a:lnTo>
                  <a:pt x="2180" y="6838"/>
                </a:lnTo>
                <a:cubicBezTo>
                  <a:pt x="2390" y="6891"/>
                  <a:pt x="2642" y="6933"/>
                  <a:pt x="3057" y="6986"/>
                </a:cubicBezTo>
                <a:cubicBezTo>
                  <a:pt x="3081" y="6989"/>
                  <a:pt x="3105" y="6991"/>
                  <a:pt x="3129" y="6991"/>
                </a:cubicBezTo>
                <a:cubicBezTo>
                  <a:pt x="3359" y="6991"/>
                  <a:pt x="3571" y="6854"/>
                  <a:pt x="3666" y="6640"/>
                </a:cubicBezTo>
                <a:cubicBezTo>
                  <a:pt x="3770" y="6403"/>
                  <a:pt x="3707" y="6125"/>
                  <a:pt x="3508" y="5957"/>
                </a:cubicBezTo>
                <a:cubicBezTo>
                  <a:pt x="2014" y="4697"/>
                  <a:pt x="1936" y="3409"/>
                  <a:pt x="2210" y="2373"/>
                </a:cubicBezTo>
                <a:lnTo>
                  <a:pt x="2210" y="2373"/>
                </a:lnTo>
                <a:cubicBezTo>
                  <a:pt x="4267" y="4464"/>
                  <a:pt x="6801" y="5670"/>
                  <a:pt x="9880" y="5882"/>
                </a:cubicBezTo>
                <a:cubicBezTo>
                  <a:pt x="9894" y="5883"/>
                  <a:pt x="9908" y="5884"/>
                  <a:pt x="9921" y="5884"/>
                </a:cubicBezTo>
                <a:cubicBezTo>
                  <a:pt x="10265" y="5884"/>
                  <a:pt x="10539" y="5586"/>
                  <a:pt x="10503" y="5239"/>
                </a:cubicBezTo>
                <a:cubicBezTo>
                  <a:pt x="10372" y="3940"/>
                  <a:pt x="10634" y="2919"/>
                  <a:pt x="11281" y="2203"/>
                </a:cubicBezTo>
                <a:cubicBezTo>
                  <a:pt x="11975" y="1437"/>
                  <a:pt x="12981" y="1165"/>
                  <a:pt x="13632" y="1165"/>
                </a:cubicBezTo>
                <a:close/>
                <a:moveTo>
                  <a:pt x="13631" y="1"/>
                </a:moveTo>
                <a:cubicBezTo>
                  <a:pt x="12698" y="1"/>
                  <a:pt x="11363" y="368"/>
                  <a:pt x="10413" y="1418"/>
                </a:cubicBezTo>
                <a:cubicBezTo>
                  <a:pt x="9665" y="2245"/>
                  <a:pt x="9291" y="3332"/>
                  <a:pt x="9300" y="4649"/>
                </a:cubicBezTo>
                <a:cubicBezTo>
                  <a:pt x="6556" y="4315"/>
                  <a:pt x="4306" y="3079"/>
                  <a:pt x="2438" y="887"/>
                </a:cubicBezTo>
                <a:cubicBezTo>
                  <a:pt x="2327" y="756"/>
                  <a:pt x="2163" y="681"/>
                  <a:pt x="1993" y="681"/>
                </a:cubicBezTo>
                <a:cubicBezTo>
                  <a:pt x="1966" y="681"/>
                  <a:pt x="1938" y="683"/>
                  <a:pt x="1911" y="687"/>
                </a:cubicBezTo>
                <a:cubicBezTo>
                  <a:pt x="1713" y="715"/>
                  <a:pt x="1541" y="843"/>
                  <a:pt x="1460" y="1025"/>
                </a:cubicBezTo>
                <a:cubicBezTo>
                  <a:pt x="1207" y="1582"/>
                  <a:pt x="876" y="2444"/>
                  <a:pt x="922" y="3466"/>
                </a:cubicBezTo>
                <a:cubicBezTo>
                  <a:pt x="952" y="4138"/>
                  <a:pt x="1138" y="4773"/>
                  <a:pt x="1479" y="5368"/>
                </a:cubicBezTo>
                <a:cubicBezTo>
                  <a:pt x="1469" y="5367"/>
                  <a:pt x="1459" y="5367"/>
                  <a:pt x="1449" y="5367"/>
                </a:cubicBezTo>
                <a:cubicBezTo>
                  <a:pt x="1114" y="5367"/>
                  <a:pt x="843" y="5650"/>
                  <a:pt x="865" y="5990"/>
                </a:cubicBezTo>
                <a:cubicBezTo>
                  <a:pt x="963" y="7455"/>
                  <a:pt x="1501" y="8589"/>
                  <a:pt x="2470" y="9380"/>
                </a:cubicBezTo>
                <a:cubicBezTo>
                  <a:pt x="2284" y="9528"/>
                  <a:pt x="2208" y="9773"/>
                  <a:pt x="2274" y="9999"/>
                </a:cubicBezTo>
                <a:cubicBezTo>
                  <a:pt x="2578" y="11057"/>
                  <a:pt x="3469" y="12207"/>
                  <a:pt x="4833" y="12757"/>
                </a:cubicBezTo>
                <a:cubicBezTo>
                  <a:pt x="3802" y="13279"/>
                  <a:pt x="2644" y="13546"/>
                  <a:pt x="1412" y="13546"/>
                </a:cubicBezTo>
                <a:cubicBezTo>
                  <a:pt x="1173" y="13546"/>
                  <a:pt x="932" y="13536"/>
                  <a:pt x="689" y="13516"/>
                </a:cubicBezTo>
                <a:cubicBezTo>
                  <a:pt x="673" y="13515"/>
                  <a:pt x="658" y="13514"/>
                  <a:pt x="642" y="13514"/>
                </a:cubicBezTo>
                <a:cubicBezTo>
                  <a:pt x="390" y="13514"/>
                  <a:pt x="164" y="13676"/>
                  <a:pt x="84" y="13919"/>
                </a:cubicBezTo>
                <a:cubicBezTo>
                  <a:pt x="0" y="14177"/>
                  <a:pt x="105" y="14460"/>
                  <a:pt x="338" y="14600"/>
                </a:cubicBezTo>
                <a:cubicBezTo>
                  <a:pt x="2284" y="15778"/>
                  <a:pt x="4395" y="16376"/>
                  <a:pt x="6611" y="16376"/>
                </a:cubicBezTo>
                <a:cubicBezTo>
                  <a:pt x="11382" y="16376"/>
                  <a:pt x="14151" y="14008"/>
                  <a:pt x="15631" y="12019"/>
                </a:cubicBezTo>
                <a:cubicBezTo>
                  <a:pt x="17461" y="9567"/>
                  <a:pt x="18108" y="6689"/>
                  <a:pt x="18108" y="4971"/>
                </a:cubicBezTo>
                <a:cubicBezTo>
                  <a:pt x="18108" y="4747"/>
                  <a:pt x="18103" y="4701"/>
                  <a:pt x="18110" y="4637"/>
                </a:cubicBezTo>
                <a:cubicBezTo>
                  <a:pt x="18336" y="4435"/>
                  <a:pt x="18964" y="4133"/>
                  <a:pt x="19935" y="2718"/>
                </a:cubicBezTo>
                <a:cubicBezTo>
                  <a:pt x="20080" y="2505"/>
                  <a:pt x="20070" y="2221"/>
                  <a:pt x="19909" y="2019"/>
                </a:cubicBezTo>
                <a:cubicBezTo>
                  <a:pt x="19795" y="1879"/>
                  <a:pt x="19625" y="1801"/>
                  <a:pt x="19451" y="1801"/>
                </a:cubicBezTo>
                <a:cubicBezTo>
                  <a:pt x="19377" y="1801"/>
                  <a:pt x="19303" y="1815"/>
                  <a:pt x="19231" y="1844"/>
                </a:cubicBezTo>
                <a:cubicBezTo>
                  <a:pt x="19194" y="1860"/>
                  <a:pt x="19155" y="1874"/>
                  <a:pt x="19118" y="1890"/>
                </a:cubicBezTo>
                <a:cubicBezTo>
                  <a:pt x="19269" y="1630"/>
                  <a:pt x="19392" y="1356"/>
                  <a:pt x="19490" y="1062"/>
                </a:cubicBezTo>
                <a:cubicBezTo>
                  <a:pt x="19564" y="841"/>
                  <a:pt x="19498" y="598"/>
                  <a:pt x="19327" y="443"/>
                </a:cubicBezTo>
                <a:cubicBezTo>
                  <a:pt x="19217" y="344"/>
                  <a:pt x="19076" y="292"/>
                  <a:pt x="18934" y="292"/>
                </a:cubicBezTo>
                <a:cubicBezTo>
                  <a:pt x="18853" y="292"/>
                  <a:pt x="18771" y="309"/>
                  <a:pt x="18694" y="344"/>
                </a:cubicBezTo>
                <a:cubicBezTo>
                  <a:pt x="18690" y="345"/>
                  <a:pt x="18676" y="351"/>
                  <a:pt x="18651" y="363"/>
                </a:cubicBezTo>
                <a:cubicBezTo>
                  <a:pt x="17724" y="830"/>
                  <a:pt x="16999" y="1103"/>
                  <a:pt x="16670" y="1166"/>
                </a:cubicBezTo>
                <a:cubicBezTo>
                  <a:pt x="16647" y="1147"/>
                  <a:pt x="16624" y="1126"/>
                  <a:pt x="16603" y="1106"/>
                </a:cubicBezTo>
                <a:cubicBezTo>
                  <a:pt x="16194" y="745"/>
                  <a:pt x="15347" y="1"/>
                  <a:pt x="13631"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nvGrpSpPr>
          <p:cNvPr id="8197" name="Google Shape;8197;p77"/>
          <p:cNvGrpSpPr/>
          <p:nvPr/>
        </p:nvGrpSpPr>
        <p:grpSpPr>
          <a:xfrm>
            <a:off x="9853865" y="4318458"/>
            <a:ext cx="544031" cy="543215"/>
            <a:chOff x="2344476" y="2571761"/>
            <a:chExt cx="417671" cy="417045"/>
          </a:xfrm>
        </p:grpSpPr>
        <p:sp>
          <p:nvSpPr>
            <p:cNvPr id="8198" name="Google Shape;8198;p77"/>
            <p:cNvSpPr/>
            <p:nvPr/>
          </p:nvSpPr>
          <p:spPr>
            <a:xfrm>
              <a:off x="2344476" y="2571761"/>
              <a:ext cx="417671" cy="417045"/>
            </a:xfrm>
            <a:custGeom>
              <a:avLst/>
              <a:gdLst/>
              <a:ahLst/>
              <a:cxnLst/>
              <a:rect l="l" t="t" r="r" b="b"/>
              <a:pathLst>
                <a:path w="20013" h="19983" extrusionOk="0">
                  <a:moveTo>
                    <a:pt x="10022" y="1170"/>
                  </a:moveTo>
                  <a:cubicBezTo>
                    <a:pt x="14886" y="1170"/>
                    <a:pt x="18842" y="5127"/>
                    <a:pt x="18842" y="9990"/>
                  </a:cubicBezTo>
                  <a:cubicBezTo>
                    <a:pt x="18842" y="14855"/>
                    <a:pt x="14886" y="18811"/>
                    <a:pt x="10023" y="18811"/>
                  </a:cubicBezTo>
                  <a:cubicBezTo>
                    <a:pt x="8516" y="18811"/>
                    <a:pt x="7030" y="18423"/>
                    <a:pt x="5726" y="17691"/>
                  </a:cubicBezTo>
                  <a:cubicBezTo>
                    <a:pt x="5638" y="17641"/>
                    <a:pt x="5539" y="17615"/>
                    <a:pt x="5440" y="17615"/>
                  </a:cubicBezTo>
                  <a:cubicBezTo>
                    <a:pt x="5393" y="17615"/>
                    <a:pt x="5345" y="17621"/>
                    <a:pt x="5298" y="17632"/>
                  </a:cubicBezTo>
                  <a:lnTo>
                    <a:pt x="1419" y="18595"/>
                  </a:lnTo>
                  <a:lnTo>
                    <a:pt x="2381" y="14715"/>
                  </a:lnTo>
                  <a:cubicBezTo>
                    <a:pt x="2417" y="14570"/>
                    <a:pt x="2395" y="14416"/>
                    <a:pt x="2323" y="14287"/>
                  </a:cubicBezTo>
                  <a:cubicBezTo>
                    <a:pt x="1590" y="12982"/>
                    <a:pt x="1203" y="11498"/>
                    <a:pt x="1203" y="9990"/>
                  </a:cubicBezTo>
                  <a:cubicBezTo>
                    <a:pt x="1203" y="5127"/>
                    <a:pt x="5159" y="1170"/>
                    <a:pt x="10022" y="1170"/>
                  </a:cubicBezTo>
                  <a:close/>
                  <a:moveTo>
                    <a:pt x="10023" y="1"/>
                  </a:moveTo>
                  <a:cubicBezTo>
                    <a:pt x="4522" y="1"/>
                    <a:pt x="32" y="4491"/>
                    <a:pt x="32" y="9990"/>
                  </a:cubicBezTo>
                  <a:cubicBezTo>
                    <a:pt x="32" y="11620"/>
                    <a:pt x="432" y="13226"/>
                    <a:pt x="1191" y="14655"/>
                  </a:cubicBezTo>
                  <a:lnTo>
                    <a:pt x="50" y="19256"/>
                  </a:lnTo>
                  <a:cubicBezTo>
                    <a:pt x="0" y="19455"/>
                    <a:pt x="58" y="19665"/>
                    <a:pt x="204" y="19810"/>
                  </a:cubicBezTo>
                  <a:cubicBezTo>
                    <a:pt x="313" y="19921"/>
                    <a:pt x="461" y="19982"/>
                    <a:pt x="614" y="19982"/>
                  </a:cubicBezTo>
                  <a:cubicBezTo>
                    <a:pt x="662" y="19982"/>
                    <a:pt x="710" y="19976"/>
                    <a:pt x="757" y="19964"/>
                  </a:cubicBezTo>
                  <a:lnTo>
                    <a:pt x="5358" y="18823"/>
                  </a:lnTo>
                  <a:cubicBezTo>
                    <a:pt x="6788" y="19582"/>
                    <a:pt x="8394" y="19982"/>
                    <a:pt x="10022" y="19982"/>
                  </a:cubicBezTo>
                  <a:cubicBezTo>
                    <a:pt x="12680" y="19982"/>
                    <a:pt x="15187" y="18940"/>
                    <a:pt x="17078" y="17047"/>
                  </a:cubicBezTo>
                  <a:cubicBezTo>
                    <a:pt x="18971" y="15156"/>
                    <a:pt x="20013" y="12649"/>
                    <a:pt x="20013" y="9990"/>
                  </a:cubicBezTo>
                  <a:cubicBezTo>
                    <a:pt x="20013" y="7333"/>
                    <a:pt x="18971" y="4827"/>
                    <a:pt x="17080" y="2934"/>
                  </a:cubicBezTo>
                  <a:cubicBezTo>
                    <a:pt x="15187" y="1043"/>
                    <a:pt x="12680" y="1"/>
                    <a:pt x="10023"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sp>
          <p:nvSpPr>
            <p:cNvPr id="8199" name="Google Shape;8199;p77"/>
            <p:cNvSpPr/>
            <p:nvPr/>
          </p:nvSpPr>
          <p:spPr>
            <a:xfrm>
              <a:off x="2421672" y="2657388"/>
              <a:ext cx="260625" cy="243636"/>
            </a:xfrm>
            <a:custGeom>
              <a:avLst/>
              <a:gdLst/>
              <a:ahLst/>
              <a:cxnLst/>
              <a:rect l="l" t="t" r="r" b="b"/>
              <a:pathLst>
                <a:path w="12488" h="11674" extrusionOk="0">
                  <a:moveTo>
                    <a:pt x="3164" y="1171"/>
                  </a:moveTo>
                  <a:cubicBezTo>
                    <a:pt x="3352" y="1171"/>
                    <a:pt x="3536" y="1247"/>
                    <a:pt x="3710" y="1424"/>
                  </a:cubicBezTo>
                  <a:lnTo>
                    <a:pt x="3719" y="1433"/>
                  </a:lnTo>
                  <a:cubicBezTo>
                    <a:pt x="4757" y="2473"/>
                    <a:pt x="4683" y="2832"/>
                    <a:pt x="4449" y="3068"/>
                  </a:cubicBezTo>
                  <a:cubicBezTo>
                    <a:pt x="4240" y="3275"/>
                    <a:pt x="3625" y="3692"/>
                    <a:pt x="3427" y="3892"/>
                  </a:cubicBezTo>
                  <a:cubicBezTo>
                    <a:pt x="2960" y="4359"/>
                    <a:pt x="3046" y="5081"/>
                    <a:pt x="3685" y="6039"/>
                  </a:cubicBezTo>
                  <a:cubicBezTo>
                    <a:pt x="4065" y="6611"/>
                    <a:pt x="4568" y="7166"/>
                    <a:pt x="4805" y="7405"/>
                  </a:cubicBezTo>
                  <a:lnTo>
                    <a:pt x="4806" y="7405"/>
                  </a:lnTo>
                  <a:cubicBezTo>
                    <a:pt x="5045" y="7642"/>
                    <a:pt x="5599" y="8146"/>
                    <a:pt x="6172" y="8527"/>
                  </a:cubicBezTo>
                  <a:cubicBezTo>
                    <a:pt x="6727" y="8895"/>
                    <a:pt x="7202" y="9079"/>
                    <a:pt x="7594" y="9079"/>
                  </a:cubicBezTo>
                  <a:cubicBezTo>
                    <a:pt x="7880" y="9079"/>
                    <a:pt x="8123" y="8981"/>
                    <a:pt x="8320" y="8785"/>
                  </a:cubicBezTo>
                  <a:cubicBezTo>
                    <a:pt x="8518" y="8585"/>
                    <a:pt x="8935" y="7971"/>
                    <a:pt x="9144" y="7762"/>
                  </a:cubicBezTo>
                  <a:cubicBezTo>
                    <a:pt x="9238" y="7668"/>
                    <a:pt x="9331" y="7609"/>
                    <a:pt x="9460" y="7609"/>
                  </a:cubicBezTo>
                  <a:cubicBezTo>
                    <a:pt x="9549" y="7609"/>
                    <a:pt x="9655" y="7637"/>
                    <a:pt x="9790" y="7702"/>
                  </a:cubicBezTo>
                  <a:cubicBezTo>
                    <a:pt x="10172" y="7886"/>
                    <a:pt x="10582" y="8297"/>
                    <a:pt x="10779" y="8493"/>
                  </a:cubicBezTo>
                  <a:lnTo>
                    <a:pt x="10788" y="8502"/>
                  </a:lnTo>
                  <a:cubicBezTo>
                    <a:pt x="11239" y="8944"/>
                    <a:pt x="11037" y="9452"/>
                    <a:pt x="10593" y="9898"/>
                  </a:cubicBezTo>
                  <a:cubicBezTo>
                    <a:pt x="10190" y="10300"/>
                    <a:pt x="9680" y="10502"/>
                    <a:pt x="9068" y="10502"/>
                  </a:cubicBezTo>
                  <a:cubicBezTo>
                    <a:pt x="8521" y="10502"/>
                    <a:pt x="7892" y="10341"/>
                    <a:pt x="7184" y="10020"/>
                  </a:cubicBezTo>
                  <a:cubicBezTo>
                    <a:pt x="5868" y="9420"/>
                    <a:pt x="4676" y="8428"/>
                    <a:pt x="4228" y="7984"/>
                  </a:cubicBezTo>
                  <a:cubicBezTo>
                    <a:pt x="3784" y="7536"/>
                    <a:pt x="2792" y="6344"/>
                    <a:pt x="2192" y="5028"/>
                  </a:cubicBezTo>
                  <a:cubicBezTo>
                    <a:pt x="1511" y="3527"/>
                    <a:pt x="1552" y="2381"/>
                    <a:pt x="2314" y="1619"/>
                  </a:cubicBezTo>
                  <a:cubicBezTo>
                    <a:pt x="2583" y="1350"/>
                    <a:pt x="2877" y="1171"/>
                    <a:pt x="3164" y="1171"/>
                  </a:cubicBezTo>
                  <a:close/>
                  <a:moveTo>
                    <a:pt x="3169" y="1"/>
                  </a:moveTo>
                  <a:cubicBezTo>
                    <a:pt x="2619" y="1"/>
                    <a:pt x="2030" y="247"/>
                    <a:pt x="1486" y="791"/>
                  </a:cubicBezTo>
                  <a:cubicBezTo>
                    <a:pt x="701" y="1576"/>
                    <a:pt x="0" y="3034"/>
                    <a:pt x="1127" y="5512"/>
                  </a:cubicBezTo>
                  <a:cubicBezTo>
                    <a:pt x="1794" y="6979"/>
                    <a:pt x="2868" y="8274"/>
                    <a:pt x="3398" y="8810"/>
                  </a:cubicBezTo>
                  <a:lnTo>
                    <a:pt x="3402" y="8813"/>
                  </a:lnTo>
                  <a:cubicBezTo>
                    <a:pt x="3938" y="9344"/>
                    <a:pt x="5235" y="10418"/>
                    <a:pt x="6699" y="11085"/>
                  </a:cubicBezTo>
                  <a:cubicBezTo>
                    <a:pt x="7490" y="11445"/>
                    <a:pt x="8308" y="11674"/>
                    <a:pt x="9088" y="11674"/>
                  </a:cubicBezTo>
                  <a:cubicBezTo>
                    <a:pt x="9940" y="11674"/>
                    <a:pt x="10746" y="11400"/>
                    <a:pt x="11421" y="10726"/>
                  </a:cubicBezTo>
                  <a:cubicBezTo>
                    <a:pt x="12488" y="9657"/>
                    <a:pt x="12399" y="8442"/>
                    <a:pt x="11607" y="7665"/>
                  </a:cubicBezTo>
                  <a:cubicBezTo>
                    <a:pt x="11219" y="7278"/>
                    <a:pt x="10791" y="6885"/>
                    <a:pt x="10297" y="6648"/>
                  </a:cubicBezTo>
                  <a:cubicBezTo>
                    <a:pt x="10009" y="6509"/>
                    <a:pt x="9725" y="6440"/>
                    <a:pt x="9455" y="6440"/>
                  </a:cubicBezTo>
                  <a:cubicBezTo>
                    <a:pt x="9034" y="6440"/>
                    <a:pt x="8646" y="6606"/>
                    <a:pt x="8316" y="6935"/>
                  </a:cubicBezTo>
                  <a:cubicBezTo>
                    <a:pt x="8070" y="7180"/>
                    <a:pt x="7732" y="7665"/>
                    <a:pt x="7538" y="7904"/>
                  </a:cubicBezTo>
                  <a:cubicBezTo>
                    <a:pt x="7035" y="7819"/>
                    <a:pt x="6032" y="6974"/>
                    <a:pt x="5634" y="6577"/>
                  </a:cubicBezTo>
                  <a:cubicBezTo>
                    <a:pt x="5236" y="6179"/>
                    <a:pt x="4393" y="5174"/>
                    <a:pt x="4308" y="4674"/>
                  </a:cubicBezTo>
                  <a:cubicBezTo>
                    <a:pt x="4545" y="4481"/>
                    <a:pt x="5031" y="4141"/>
                    <a:pt x="5277" y="3895"/>
                  </a:cubicBezTo>
                  <a:cubicBezTo>
                    <a:pt x="5817" y="3354"/>
                    <a:pt x="5919" y="2652"/>
                    <a:pt x="5564" y="1914"/>
                  </a:cubicBezTo>
                  <a:cubicBezTo>
                    <a:pt x="5327" y="1421"/>
                    <a:pt x="4934" y="993"/>
                    <a:pt x="4546" y="605"/>
                  </a:cubicBezTo>
                  <a:cubicBezTo>
                    <a:pt x="4165" y="216"/>
                    <a:pt x="3684" y="1"/>
                    <a:pt x="3169" y="1"/>
                  </a:cubicBezTo>
                  <a:close/>
                </a:path>
              </a:pathLst>
            </a:custGeom>
            <a:solidFill>
              <a:srgbClr val="5F7D95"/>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latin typeface="Arial"/>
                <a:cs typeface="Arial"/>
                <a:sym typeface="Arial"/>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831"/>
        <p:cNvGrpSpPr/>
        <p:nvPr/>
      </p:nvGrpSpPr>
      <p:grpSpPr>
        <a:xfrm>
          <a:off x="0" y="0"/>
          <a:ext cx="0" cy="0"/>
          <a:chOff x="0" y="0"/>
          <a:chExt cx="0" cy="0"/>
        </a:xfrm>
      </p:grpSpPr>
      <p:pic>
        <p:nvPicPr>
          <p:cNvPr id="3" name="图片 2">
            <a:extLst>
              <a:ext uri="{FF2B5EF4-FFF2-40B4-BE49-F238E27FC236}">
                <a16:creationId xmlns:a16="http://schemas.microsoft.com/office/drawing/2014/main" id="{8B377954-B88B-41EE-A1D1-7CCFBBF16AB8}"/>
              </a:ext>
            </a:extLst>
          </p:cNvPr>
          <p:cNvPicPr>
            <a:picLocks noChangeAspect="1"/>
          </p:cNvPicPr>
          <p:nvPr/>
        </p:nvPicPr>
        <p:blipFill>
          <a:blip r:embed="rId3"/>
          <a:stretch>
            <a:fillRect/>
          </a:stretch>
        </p:blipFill>
        <p:spPr>
          <a:xfrm>
            <a:off x="5143455" y="2206629"/>
            <a:ext cx="1812876" cy="444979"/>
          </a:xfrm>
          <a:prstGeom prst="rect">
            <a:avLst/>
          </a:prstGeom>
        </p:spPr>
      </p:pic>
      <p:sp>
        <p:nvSpPr>
          <p:cNvPr id="4" name="文本框 3">
            <a:extLst>
              <a:ext uri="{FF2B5EF4-FFF2-40B4-BE49-F238E27FC236}">
                <a16:creationId xmlns:a16="http://schemas.microsoft.com/office/drawing/2014/main" id="{665CAD2E-C59A-4C3C-B03F-01FD0BBCC838}"/>
              </a:ext>
            </a:extLst>
          </p:cNvPr>
          <p:cNvSpPr txBox="1"/>
          <p:nvPr/>
        </p:nvSpPr>
        <p:spPr>
          <a:xfrm>
            <a:off x="1429221" y="2937223"/>
            <a:ext cx="9241339" cy="1815882"/>
          </a:xfrm>
          <a:prstGeom prst="rect">
            <a:avLst/>
          </a:prstGeom>
          <a:noFill/>
        </p:spPr>
        <p:txBody>
          <a:bodyPr wrap="square" rtlCol="0">
            <a:spAutoFit/>
          </a:bodyPr>
          <a:lstStyle/>
          <a:p>
            <a:pPr algn="ctr" defTabSz="1219140">
              <a:buClr>
                <a:srgbClr val="000000"/>
              </a:buClr>
              <a:defRPr/>
            </a:pPr>
            <a:r>
              <a:rPr lang="en-US" altLang="zh-CN" sz="4800" kern="0" dirty="0">
                <a:solidFill>
                  <a:srgbClr val="FFFFFF"/>
                </a:solidFill>
                <a:latin typeface="Arial"/>
                <a:cs typeface="Arial"/>
                <a:sym typeface="Arial"/>
                <a:hlinkClick r:id="rId4"/>
              </a:rPr>
              <a:t>www.greatppt.com</a:t>
            </a:r>
            <a:endParaRPr lang="en-US" altLang="zh-CN" sz="4800" kern="0" dirty="0">
              <a:solidFill>
                <a:srgbClr val="FFFFFF"/>
              </a:solidFill>
              <a:latin typeface="Arial"/>
              <a:cs typeface="Arial"/>
              <a:sym typeface="Arial"/>
            </a:endParaRPr>
          </a:p>
          <a:p>
            <a:pPr algn="ctr" defTabSz="1219140">
              <a:buClr>
                <a:srgbClr val="000000"/>
              </a:buClr>
              <a:defRPr/>
            </a:pPr>
            <a:r>
              <a:rPr lang="en-US" altLang="zh-CN" sz="3200" kern="0" dirty="0">
                <a:solidFill>
                  <a:srgbClr val="78909C">
                    <a:lumMod val="20000"/>
                    <a:lumOff val="80000"/>
                  </a:srgbClr>
                </a:solidFill>
                <a:latin typeface="Arial"/>
                <a:cs typeface="Arial"/>
                <a:sym typeface="Arial"/>
              </a:rPr>
              <a:t>Free Templates and Themes</a:t>
            </a:r>
          </a:p>
          <a:p>
            <a:pPr algn="ctr" defTabSz="1219140">
              <a:buClr>
                <a:srgbClr val="000000"/>
              </a:buClr>
              <a:defRPr/>
            </a:pPr>
            <a:r>
              <a:rPr lang="en-US" altLang="zh-CN" sz="3200" kern="0" dirty="0">
                <a:solidFill>
                  <a:srgbClr val="78909C">
                    <a:lumMod val="20000"/>
                    <a:lumOff val="80000"/>
                  </a:srgbClr>
                </a:solidFill>
                <a:latin typeface="Arial"/>
                <a:cs typeface="Arial"/>
                <a:sym typeface="Arial"/>
              </a:rPr>
              <a:t>Create beautiful presentations in minutes</a:t>
            </a:r>
            <a:endParaRPr lang="zh-CN" altLang="en-US" sz="3200" kern="0" dirty="0">
              <a:solidFill>
                <a:srgbClr val="78909C">
                  <a:lumMod val="20000"/>
                  <a:lumOff val="80000"/>
                </a:srgbClr>
              </a:solidFill>
              <a:latin typeface="Arial"/>
              <a:cs typeface="Arial"/>
              <a:sym typeface="Arial"/>
            </a:endParaRPr>
          </a:p>
        </p:txBody>
      </p:sp>
    </p:spTree>
    <p:extLst>
      <p:ext uri="{BB962C8B-B14F-4D97-AF65-F5344CB8AC3E}">
        <p14:creationId xmlns:p14="http://schemas.microsoft.com/office/powerpoint/2010/main" val="453266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2"/>
            </p:custDataLst>
            <p:extLst>
              <p:ext uri="{D42A27DB-BD31-4B8C-83A1-F6EECF244321}">
                <p14:modId xmlns:p14="http://schemas.microsoft.com/office/powerpoint/2010/main" val="196839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reeform 5">
            <a:extLst>
              <a:ext uri="{FF2B5EF4-FFF2-40B4-BE49-F238E27FC236}">
                <a16:creationId xmlns:a16="http://schemas.microsoft.com/office/drawing/2014/main" id="{98F4FA47-5043-4AF9-B59E-FE6D0CE4384A}"/>
              </a:ext>
            </a:extLst>
          </p:cNvPr>
          <p:cNvSpPr>
            <a:spLocks/>
          </p:cNvSpPr>
          <p:nvPr/>
        </p:nvSpPr>
        <p:spPr bwMode="auto">
          <a:xfrm>
            <a:off x="5820229" y="1548157"/>
            <a:ext cx="6382249" cy="5309844"/>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5" name="Freeform 5">
            <a:extLst>
              <a:ext uri="{FF2B5EF4-FFF2-40B4-BE49-F238E27FC236}">
                <a16:creationId xmlns:a16="http://schemas.microsoft.com/office/drawing/2014/main" id="{19255547-7D91-45B4-9F68-C855C7143EA2}"/>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gradFill>
            <a:gsLst>
              <a:gs pos="100000">
                <a:srgbClr val="006496"/>
              </a:gs>
              <a:gs pos="62000">
                <a:srgbClr val="0077B5"/>
              </a:gs>
            </a:gsLst>
            <a:lin ang="5400000" scaled="1"/>
          </a:gradFill>
          <a:ln w="11113" cap="flat">
            <a:noFill/>
            <a:prstDash val="solid"/>
            <a:miter lim="800000"/>
            <a:headEnd/>
            <a:tailEnd/>
          </a:ln>
          <a:effectLst>
            <a:innerShdw blurRad="63500" dist="50800" dir="13500000">
              <a:prstClr val="black">
                <a:alpha val="20000"/>
              </a:prstClr>
            </a:inn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sp>
        <p:nvSpPr>
          <p:cNvPr id="8" name="TextBox 7">
            <a:extLst>
              <a:ext uri="{FF2B5EF4-FFF2-40B4-BE49-F238E27FC236}">
                <a16:creationId xmlns:a16="http://schemas.microsoft.com/office/drawing/2014/main" id="{0F588944-14FA-4D6E-95DB-89D3F0072D5F}"/>
              </a:ext>
            </a:extLst>
          </p:cNvPr>
          <p:cNvSpPr txBox="1"/>
          <p:nvPr/>
        </p:nvSpPr>
        <p:spPr>
          <a:xfrm>
            <a:off x="6257859" y="915490"/>
            <a:ext cx="5576293" cy="1107996"/>
          </a:xfrm>
          <a:prstGeom prst="rect">
            <a:avLst/>
          </a:prstGeom>
          <a:noFill/>
        </p:spPr>
        <p:txBody>
          <a:bodyPr wrap="square" lIns="0" tIns="0" rIns="0" bIns="0" rtlCol="0" anchor="b" anchorCtr="0">
            <a:spAutoFit/>
          </a:bodyPr>
          <a:lstStyle/>
          <a:p>
            <a:r>
              <a:rPr lang="en-US" sz="3600" b="1" dirty="0">
                <a:solidFill>
                  <a:srgbClr val="FB5252"/>
                </a:solidFill>
                <a:latin typeface="Arial Black" panose="020B0A04020102020204" pitchFamily="34" charset="0"/>
              </a:rPr>
              <a:t>How to Choose a Language to Learn?</a:t>
            </a:r>
            <a:endParaRPr lang="en-US" sz="2000" b="1" dirty="0">
              <a:solidFill>
                <a:srgbClr val="FB5252"/>
              </a:solidFill>
              <a:latin typeface="Arial Black" panose="020B0A04020102020204" pitchFamily="34" charset="0"/>
            </a:endParaRPr>
          </a:p>
        </p:txBody>
      </p:sp>
      <p:sp>
        <p:nvSpPr>
          <p:cNvPr id="479" name="Rectangle: Rounded Corners 478">
            <a:extLst>
              <a:ext uri="{FF2B5EF4-FFF2-40B4-BE49-F238E27FC236}">
                <a16:creationId xmlns:a16="http://schemas.microsoft.com/office/drawing/2014/main" id="{25A488B1-CCE4-43E2-BFC4-35A0CBC5D26A}"/>
              </a:ext>
            </a:extLst>
          </p:cNvPr>
          <p:cNvSpPr/>
          <p:nvPr/>
        </p:nvSpPr>
        <p:spPr>
          <a:xfrm>
            <a:off x="6287746" y="2275423"/>
            <a:ext cx="5546406" cy="3924604"/>
          </a:xfrm>
          <a:prstGeom prst="roundRect">
            <a:avLst>
              <a:gd name="adj" fmla="val 1874"/>
            </a:avLst>
          </a:prstGeom>
          <a:solidFill>
            <a:schemeClr val="bg1"/>
          </a:solidFill>
          <a:effectLst>
            <a:outerShdw blurRad="50800" dist="38100" dir="2700000" algn="tl" rotWithShape="0">
              <a:prstClr val="black">
                <a:alpha val="20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sp>
        <p:nvSpPr>
          <p:cNvPr id="6" name="Freeform 6">
            <a:extLst>
              <a:ext uri="{FF2B5EF4-FFF2-40B4-BE49-F238E27FC236}">
                <a16:creationId xmlns:a16="http://schemas.microsoft.com/office/drawing/2014/main" id="{075C8E7E-3F82-43AA-96B0-09C6E9BF0640}"/>
              </a:ext>
            </a:extLst>
          </p:cNvPr>
          <p:cNvSpPr>
            <a:spLocks/>
          </p:cNvSpPr>
          <p:nvPr/>
        </p:nvSpPr>
        <p:spPr bwMode="auto">
          <a:xfrm>
            <a:off x="-29028" y="-1"/>
            <a:ext cx="4523223" cy="3038439"/>
          </a:xfrm>
          <a:custGeom>
            <a:avLst/>
            <a:gdLst>
              <a:gd name="T0" fmla="*/ 2 w 873"/>
              <a:gd name="T1" fmla="*/ 457 h 587"/>
              <a:gd name="T2" fmla="*/ 362 w 873"/>
              <a:gd name="T3" fmla="*/ 508 h 587"/>
              <a:gd name="T4" fmla="*/ 726 w 873"/>
              <a:gd name="T5" fmla="*/ 103 h 587"/>
              <a:gd name="T6" fmla="*/ 873 w 873"/>
              <a:gd name="T7" fmla="*/ 0 h 587"/>
              <a:gd name="T8" fmla="*/ 0 w 873"/>
              <a:gd name="T9" fmla="*/ 0 h 587"/>
              <a:gd name="T10" fmla="*/ 2 w 873"/>
              <a:gd name="T11" fmla="*/ 457 h 587"/>
            </a:gdLst>
            <a:ahLst/>
            <a:cxnLst>
              <a:cxn ang="0">
                <a:pos x="T0" y="T1"/>
              </a:cxn>
              <a:cxn ang="0">
                <a:pos x="T2" y="T3"/>
              </a:cxn>
              <a:cxn ang="0">
                <a:pos x="T4" y="T5"/>
              </a:cxn>
              <a:cxn ang="0">
                <a:pos x="T6" y="T7"/>
              </a:cxn>
              <a:cxn ang="0">
                <a:pos x="T8" y="T9"/>
              </a:cxn>
              <a:cxn ang="0">
                <a:pos x="T10" y="T11"/>
              </a:cxn>
            </a:cxnLst>
            <a:rect l="0" t="0" r="r" b="b"/>
            <a:pathLst>
              <a:path w="873" h="587">
                <a:moveTo>
                  <a:pt x="2" y="457"/>
                </a:moveTo>
                <a:cubicBezTo>
                  <a:pt x="2" y="457"/>
                  <a:pt x="119" y="587"/>
                  <a:pt x="362" y="508"/>
                </a:cubicBezTo>
                <a:cubicBezTo>
                  <a:pt x="604" y="429"/>
                  <a:pt x="612" y="203"/>
                  <a:pt x="726" y="103"/>
                </a:cubicBezTo>
                <a:cubicBezTo>
                  <a:pt x="840" y="3"/>
                  <a:pt x="873" y="0"/>
                  <a:pt x="873" y="0"/>
                </a:cubicBezTo>
                <a:cubicBezTo>
                  <a:pt x="0" y="0"/>
                  <a:pt x="0" y="0"/>
                  <a:pt x="0" y="0"/>
                </a:cubicBezTo>
                <a:cubicBezTo>
                  <a:pt x="0" y="0"/>
                  <a:pt x="3" y="456"/>
                  <a:pt x="2" y="457"/>
                </a:cubicBezTo>
                <a:close/>
              </a:path>
            </a:pathLst>
          </a:custGeom>
          <a:gradFill>
            <a:gsLst>
              <a:gs pos="100000">
                <a:srgbClr val="006496"/>
              </a:gs>
              <a:gs pos="49000">
                <a:srgbClr val="0077B5"/>
              </a:gs>
            </a:gsLst>
            <a:lin ang="5400000" scaled="1"/>
          </a:gradFill>
          <a:ln w="11113" cap="flat">
            <a:noFill/>
            <a:prstDash val="solid"/>
            <a:miter lim="800000"/>
            <a:headEnd/>
            <a:tailEnd/>
          </a:ln>
          <a:effectLst>
            <a:innerShdw blurRad="63500" dist="50800" dir="2700000">
              <a:prstClr val="black">
                <a:alpha val="20000"/>
              </a:prstClr>
            </a:inn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EquipExtended-Light"/>
            </a:endParaRPr>
          </a:p>
        </p:txBody>
      </p:sp>
      <p:sp>
        <p:nvSpPr>
          <p:cNvPr id="9" name="Rectangle 8">
            <a:extLst>
              <a:ext uri="{FF2B5EF4-FFF2-40B4-BE49-F238E27FC236}">
                <a16:creationId xmlns:a16="http://schemas.microsoft.com/office/drawing/2014/main" id="{CEDF12CE-E3E9-45B3-A365-31239AE35270}"/>
              </a:ext>
            </a:extLst>
          </p:cNvPr>
          <p:cNvSpPr/>
          <p:nvPr/>
        </p:nvSpPr>
        <p:spPr>
          <a:xfrm>
            <a:off x="7180334" y="2537828"/>
            <a:ext cx="4401055" cy="553998"/>
          </a:xfrm>
          <a:prstGeom prst="rect">
            <a:avLst/>
          </a:prstGeom>
        </p:spPr>
        <p:txBody>
          <a:bodyPr wrap="square" lIns="0" tIns="0" rIns="0" bIns="0">
            <a:spAutoFit/>
          </a:bodyPr>
          <a:lstStyle/>
          <a:p>
            <a:r>
              <a:rPr lang="en-US" i="1" dirty="0">
                <a:solidFill>
                  <a:schemeClr val="tx1">
                    <a:lumMod val="85000"/>
                    <a:lumOff val="15000"/>
                  </a:schemeClr>
                </a:solidFill>
              </a:rPr>
              <a:t>Lorem ipsum dolor sit </a:t>
            </a:r>
            <a:r>
              <a:rPr lang="en-US" i="1" dirty="0" err="1">
                <a:solidFill>
                  <a:schemeClr val="tx1">
                    <a:lumMod val="85000"/>
                    <a:lumOff val="15000"/>
                  </a:schemeClr>
                </a:solidFill>
              </a:rPr>
              <a:t>amet</a:t>
            </a:r>
            <a:r>
              <a:rPr lang="en-US" i="1" dirty="0">
                <a:solidFill>
                  <a:schemeClr val="tx1">
                    <a:lumMod val="85000"/>
                    <a:lumOff val="15000"/>
                  </a:schemeClr>
                </a:solidFill>
              </a:rPr>
              <a:t>, </a:t>
            </a:r>
            <a:r>
              <a:rPr lang="en-US" i="1" dirty="0" err="1">
                <a:solidFill>
                  <a:schemeClr val="tx1">
                    <a:lumMod val="85000"/>
                    <a:lumOff val="15000"/>
                  </a:schemeClr>
                </a:solidFill>
              </a:rPr>
              <a:t>consectetur</a:t>
            </a:r>
            <a:r>
              <a:rPr lang="en-US" i="1" dirty="0">
                <a:solidFill>
                  <a:schemeClr val="tx1">
                    <a:lumMod val="85000"/>
                    <a:lumOff val="15000"/>
                  </a:schemeClr>
                </a:solidFill>
              </a:rPr>
              <a:t> </a:t>
            </a:r>
            <a:r>
              <a:rPr lang="en-US" i="1" dirty="0" err="1">
                <a:solidFill>
                  <a:schemeClr val="tx1">
                    <a:lumMod val="85000"/>
                    <a:lumOff val="15000"/>
                  </a:schemeClr>
                </a:solidFill>
              </a:rPr>
              <a:t>adipiscing</a:t>
            </a:r>
            <a:r>
              <a:rPr lang="en-US" i="1" dirty="0">
                <a:solidFill>
                  <a:schemeClr val="tx1">
                    <a:lumMod val="85000"/>
                    <a:lumOff val="15000"/>
                  </a:schemeClr>
                </a:solidFill>
              </a:rPr>
              <a:t> </a:t>
            </a:r>
            <a:r>
              <a:rPr lang="en-US" i="1" dirty="0" err="1">
                <a:solidFill>
                  <a:schemeClr val="tx1">
                    <a:lumMod val="85000"/>
                    <a:lumOff val="15000"/>
                  </a:schemeClr>
                </a:solidFill>
              </a:rPr>
              <a:t>elit</a:t>
            </a:r>
            <a:r>
              <a:rPr lang="en-US" i="1" dirty="0">
                <a:solidFill>
                  <a:schemeClr val="tx1">
                    <a:lumMod val="85000"/>
                    <a:lumOff val="15000"/>
                  </a:schemeClr>
                </a:solidFill>
              </a:rPr>
              <a:t>. Nunc in </a:t>
            </a:r>
            <a:r>
              <a:rPr lang="en-US" i="1" dirty="0" err="1">
                <a:solidFill>
                  <a:schemeClr val="tx1">
                    <a:lumMod val="85000"/>
                    <a:lumOff val="15000"/>
                  </a:schemeClr>
                </a:solidFill>
              </a:rPr>
              <a:t>aliquet</a:t>
            </a:r>
            <a:r>
              <a:rPr lang="en-US" i="1" dirty="0">
                <a:solidFill>
                  <a:schemeClr val="tx1">
                    <a:lumMod val="85000"/>
                    <a:lumOff val="15000"/>
                  </a:schemeClr>
                </a:solidFill>
              </a:rPr>
              <a:t> </a:t>
            </a:r>
            <a:r>
              <a:rPr lang="en-US" i="1" dirty="0" err="1">
                <a:solidFill>
                  <a:schemeClr val="tx1">
                    <a:lumMod val="85000"/>
                    <a:lumOff val="15000"/>
                  </a:schemeClr>
                </a:solidFill>
              </a:rPr>
              <a:t>nunc</a:t>
            </a:r>
            <a:r>
              <a:rPr lang="en-US" i="1" dirty="0">
                <a:solidFill>
                  <a:schemeClr val="tx1">
                    <a:lumMod val="85000"/>
                    <a:lumOff val="15000"/>
                  </a:schemeClr>
                </a:solidFill>
              </a:rPr>
              <a:t>. Morbi</a:t>
            </a:r>
          </a:p>
        </p:txBody>
      </p:sp>
      <p:grpSp>
        <p:nvGrpSpPr>
          <p:cNvPr id="13" name="Group 5">
            <a:extLst>
              <a:ext uri="{FF2B5EF4-FFF2-40B4-BE49-F238E27FC236}">
                <a16:creationId xmlns:a16="http://schemas.microsoft.com/office/drawing/2014/main" id="{6C95C814-A58F-424A-85DC-DC66D2B1D697}"/>
              </a:ext>
            </a:extLst>
          </p:cNvPr>
          <p:cNvGrpSpPr>
            <a:grpSpLocks noChangeAspect="1"/>
          </p:cNvGrpSpPr>
          <p:nvPr/>
        </p:nvGrpSpPr>
        <p:grpSpPr bwMode="auto">
          <a:xfrm>
            <a:off x="357848" y="617153"/>
            <a:ext cx="5410608" cy="5387835"/>
            <a:chOff x="357" y="150"/>
            <a:chExt cx="4039" cy="4022"/>
          </a:xfrm>
        </p:grpSpPr>
        <p:sp>
          <p:nvSpPr>
            <p:cNvPr id="15" name="Freeform 6">
              <a:extLst>
                <a:ext uri="{FF2B5EF4-FFF2-40B4-BE49-F238E27FC236}">
                  <a16:creationId xmlns:a16="http://schemas.microsoft.com/office/drawing/2014/main" id="{5B71BE0A-0C38-4318-8953-91F1621A24A2}"/>
                </a:ext>
              </a:extLst>
            </p:cNvPr>
            <p:cNvSpPr>
              <a:spLocks/>
            </p:cNvSpPr>
            <p:nvPr/>
          </p:nvSpPr>
          <p:spPr bwMode="auto">
            <a:xfrm>
              <a:off x="2332" y="3044"/>
              <a:ext cx="767" cy="1123"/>
            </a:xfrm>
            <a:custGeom>
              <a:avLst/>
              <a:gdLst>
                <a:gd name="T0" fmla="*/ 111 w 323"/>
                <a:gd name="T1" fmla="*/ 466 h 473"/>
                <a:gd name="T2" fmla="*/ 5 w 323"/>
                <a:gd name="T3" fmla="*/ 284 h 473"/>
                <a:gd name="T4" fmla="*/ 4 w 323"/>
                <a:gd name="T5" fmla="*/ 248 h 473"/>
                <a:gd name="T6" fmla="*/ 32 w 323"/>
                <a:gd name="T7" fmla="*/ 230 h 473"/>
                <a:gd name="T8" fmla="*/ 53 w 323"/>
                <a:gd name="T9" fmla="*/ 250 h 473"/>
                <a:gd name="T10" fmla="*/ 86 w 323"/>
                <a:gd name="T11" fmla="*/ 272 h 473"/>
                <a:gd name="T12" fmla="*/ 111 w 323"/>
                <a:gd name="T13" fmla="*/ 270 h 473"/>
                <a:gd name="T14" fmla="*/ 117 w 323"/>
                <a:gd name="T15" fmla="*/ 236 h 473"/>
                <a:gd name="T16" fmla="*/ 105 w 323"/>
                <a:gd name="T17" fmla="*/ 170 h 473"/>
                <a:gd name="T18" fmla="*/ 103 w 323"/>
                <a:gd name="T19" fmla="*/ 134 h 473"/>
                <a:gd name="T20" fmla="*/ 122 w 323"/>
                <a:gd name="T21" fmla="*/ 105 h 473"/>
                <a:gd name="T22" fmla="*/ 152 w 323"/>
                <a:gd name="T23" fmla="*/ 115 h 473"/>
                <a:gd name="T24" fmla="*/ 155 w 323"/>
                <a:gd name="T25" fmla="*/ 130 h 473"/>
                <a:gd name="T26" fmla="*/ 165 w 323"/>
                <a:gd name="T27" fmla="*/ 140 h 473"/>
                <a:gd name="T28" fmla="*/ 177 w 323"/>
                <a:gd name="T29" fmla="*/ 133 h 473"/>
                <a:gd name="T30" fmla="*/ 198 w 323"/>
                <a:gd name="T31" fmla="*/ 85 h 473"/>
                <a:gd name="T32" fmla="*/ 217 w 323"/>
                <a:gd name="T33" fmla="*/ 36 h 473"/>
                <a:gd name="T34" fmla="*/ 257 w 323"/>
                <a:gd name="T35" fmla="*/ 4 h 473"/>
                <a:gd name="T36" fmla="*/ 301 w 323"/>
                <a:gd name="T37" fmla="*/ 24 h 473"/>
                <a:gd name="T38" fmla="*/ 292 w 323"/>
                <a:gd name="T39" fmla="*/ 74 h 473"/>
                <a:gd name="T40" fmla="*/ 246 w 323"/>
                <a:gd name="T41" fmla="*/ 136 h 473"/>
                <a:gd name="T42" fmla="*/ 238 w 323"/>
                <a:gd name="T43" fmla="*/ 148 h 473"/>
                <a:gd name="T44" fmla="*/ 254 w 323"/>
                <a:gd name="T45" fmla="*/ 164 h 473"/>
                <a:gd name="T46" fmla="*/ 283 w 323"/>
                <a:gd name="T47" fmla="*/ 162 h 473"/>
                <a:gd name="T48" fmla="*/ 308 w 323"/>
                <a:gd name="T49" fmla="*/ 173 h 473"/>
                <a:gd name="T50" fmla="*/ 298 w 323"/>
                <a:gd name="T51" fmla="*/ 208 h 473"/>
                <a:gd name="T52" fmla="*/ 237 w 323"/>
                <a:gd name="T53" fmla="*/ 259 h 473"/>
                <a:gd name="T54" fmla="*/ 214 w 323"/>
                <a:gd name="T55" fmla="*/ 275 h 473"/>
                <a:gd name="T56" fmla="*/ 211 w 323"/>
                <a:gd name="T57" fmla="*/ 302 h 473"/>
                <a:gd name="T58" fmla="*/ 238 w 323"/>
                <a:gd name="T59" fmla="*/ 307 h 473"/>
                <a:gd name="T60" fmla="*/ 262 w 323"/>
                <a:gd name="T61" fmla="*/ 293 h 473"/>
                <a:gd name="T62" fmla="*/ 312 w 323"/>
                <a:gd name="T63" fmla="*/ 294 h 473"/>
                <a:gd name="T64" fmla="*/ 321 w 323"/>
                <a:gd name="T65" fmla="*/ 326 h 473"/>
                <a:gd name="T66" fmla="*/ 308 w 323"/>
                <a:gd name="T67" fmla="*/ 359 h 473"/>
                <a:gd name="T68" fmla="*/ 222 w 323"/>
                <a:gd name="T69" fmla="*/ 444 h 473"/>
                <a:gd name="T70" fmla="*/ 111 w 323"/>
                <a:gd name="T71" fmla="*/ 46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3" h="473">
                  <a:moveTo>
                    <a:pt x="111" y="466"/>
                  </a:moveTo>
                  <a:cubicBezTo>
                    <a:pt x="42" y="433"/>
                    <a:pt x="15" y="356"/>
                    <a:pt x="5" y="284"/>
                  </a:cubicBezTo>
                  <a:cubicBezTo>
                    <a:pt x="4" y="271"/>
                    <a:pt x="0" y="259"/>
                    <a:pt x="4" y="248"/>
                  </a:cubicBezTo>
                  <a:cubicBezTo>
                    <a:pt x="8" y="236"/>
                    <a:pt x="20" y="227"/>
                    <a:pt x="32" y="230"/>
                  </a:cubicBezTo>
                  <a:cubicBezTo>
                    <a:pt x="41" y="233"/>
                    <a:pt x="47" y="242"/>
                    <a:pt x="53" y="250"/>
                  </a:cubicBezTo>
                  <a:cubicBezTo>
                    <a:pt x="62" y="260"/>
                    <a:pt x="73" y="268"/>
                    <a:pt x="86" y="272"/>
                  </a:cubicBezTo>
                  <a:cubicBezTo>
                    <a:pt x="94" y="275"/>
                    <a:pt x="104" y="276"/>
                    <a:pt x="111" y="270"/>
                  </a:cubicBezTo>
                  <a:cubicBezTo>
                    <a:pt x="120" y="263"/>
                    <a:pt x="119" y="248"/>
                    <a:pt x="117" y="236"/>
                  </a:cubicBezTo>
                  <a:cubicBezTo>
                    <a:pt x="113" y="214"/>
                    <a:pt x="109" y="192"/>
                    <a:pt x="105" y="170"/>
                  </a:cubicBezTo>
                  <a:cubicBezTo>
                    <a:pt x="103" y="158"/>
                    <a:pt x="101" y="146"/>
                    <a:pt x="103" y="134"/>
                  </a:cubicBezTo>
                  <a:cubicBezTo>
                    <a:pt x="105" y="122"/>
                    <a:pt x="111" y="110"/>
                    <a:pt x="122" y="105"/>
                  </a:cubicBezTo>
                  <a:cubicBezTo>
                    <a:pt x="133" y="100"/>
                    <a:pt x="148" y="104"/>
                    <a:pt x="152" y="115"/>
                  </a:cubicBezTo>
                  <a:cubicBezTo>
                    <a:pt x="154" y="120"/>
                    <a:pt x="154" y="125"/>
                    <a:pt x="155" y="130"/>
                  </a:cubicBezTo>
                  <a:cubicBezTo>
                    <a:pt x="156" y="135"/>
                    <a:pt x="160" y="140"/>
                    <a:pt x="165" y="140"/>
                  </a:cubicBezTo>
                  <a:cubicBezTo>
                    <a:pt x="170" y="141"/>
                    <a:pt x="174" y="137"/>
                    <a:pt x="177" y="133"/>
                  </a:cubicBezTo>
                  <a:cubicBezTo>
                    <a:pt x="187" y="119"/>
                    <a:pt x="193" y="102"/>
                    <a:pt x="198" y="85"/>
                  </a:cubicBezTo>
                  <a:cubicBezTo>
                    <a:pt x="203" y="68"/>
                    <a:pt x="208" y="51"/>
                    <a:pt x="217" y="36"/>
                  </a:cubicBezTo>
                  <a:cubicBezTo>
                    <a:pt x="226" y="21"/>
                    <a:pt x="240" y="8"/>
                    <a:pt x="257" y="4"/>
                  </a:cubicBezTo>
                  <a:cubicBezTo>
                    <a:pt x="273" y="0"/>
                    <a:pt x="293" y="8"/>
                    <a:pt x="301" y="24"/>
                  </a:cubicBezTo>
                  <a:cubicBezTo>
                    <a:pt x="308" y="40"/>
                    <a:pt x="301" y="59"/>
                    <a:pt x="292" y="74"/>
                  </a:cubicBezTo>
                  <a:cubicBezTo>
                    <a:pt x="280" y="97"/>
                    <a:pt x="264" y="118"/>
                    <a:pt x="246" y="136"/>
                  </a:cubicBezTo>
                  <a:cubicBezTo>
                    <a:pt x="243" y="139"/>
                    <a:pt x="239" y="143"/>
                    <a:pt x="238" y="148"/>
                  </a:cubicBezTo>
                  <a:cubicBezTo>
                    <a:pt x="237" y="156"/>
                    <a:pt x="246" y="163"/>
                    <a:pt x="254" y="164"/>
                  </a:cubicBezTo>
                  <a:cubicBezTo>
                    <a:pt x="264" y="165"/>
                    <a:pt x="273" y="163"/>
                    <a:pt x="283" y="162"/>
                  </a:cubicBezTo>
                  <a:cubicBezTo>
                    <a:pt x="292" y="162"/>
                    <a:pt x="303" y="164"/>
                    <a:pt x="308" y="173"/>
                  </a:cubicBezTo>
                  <a:cubicBezTo>
                    <a:pt x="315" y="184"/>
                    <a:pt x="307" y="198"/>
                    <a:pt x="298" y="208"/>
                  </a:cubicBezTo>
                  <a:cubicBezTo>
                    <a:pt x="281" y="229"/>
                    <a:pt x="260" y="246"/>
                    <a:pt x="237" y="259"/>
                  </a:cubicBezTo>
                  <a:cubicBezTo>
                    <a:pt x="229" y="264"/>
                    <a:pt x="220" y="268"/>
                    <a:pt x="214" y="275"/>
                  </a:cubicBezTo>
                  <a:cubicBezTo>
                    <a:pt x="208" y="283"/>
                    <a:pt x="206" y="294"/>
                    <a:pt x="211" y="302"/>
                  </a:cubicBezTo>
                  <a:cubicBezTo>
                    <a:pt x="217" y="310"/>
                    <a:pt x="229" y="310"/>
                    <a:pt x="238" y="307"/>
                  </a:cubicBezTo>
                  <a:cubicBezTo>
                    <a:pt x="246" y="304"/>
                    <a:pt x="254" y="297"/>
                    <a:pt x="262" y="293"/>
                  </a:cubicBezTo>
                  <a:cubicBezTo>
                    <a:pt x="277" y="284"/>
                    <a:pt x="299" y="281"/>
                    <a:pt x="312" y="294"/>
                  </a:cubicBezTo>
                  <a:cubicBezTo>
                    <a:pt x="320" y="302"/>
                    <a:pt x="323" y="315"/>
                    <a:pt x="321" y="326"/>
                  </a:cubicBezTo>
                  <a:cubicBezTo>
                    <a:pt x="320" y="338"/>
                    <a:pt x="314" y="349"/>
                    <a:pt x="308" y="359"/>
                  </a:cubicBezTo>
                  <a:cubicBezTo>
                    <a:pt x="287" y="394"/>
                    <a:pt x="258" y="425"/>
                    <a:pt x="222" y="444"/>
                  </a:cubicBezTo>
                  <a:cubicBezTo>
                    <a:pt x="186" y="464"/>
                    <a:pt x="151" y="473"/>
                    <a:pt x="111" y="466"/>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a:extLst>
                <a:ext uri="{FF2B5EF4-FFF2-40B4-BE49-F238E27FC236}">
                  <a16:creationId xmlns:a16="http://schemas.microsoft.com/office/drawing/2014/main" id="{16CE7F70-9E80-46FF-9BB3-7BAA90576561}"/>
                </a:ext>
              </a:extLst>
            </p:cNvPr>
            <p:cNvSpPr>
              <a:spLocks/>
            </p:cNvSpPr>
            <p:nvPr/>
          </p:nvSpPr>
          <p:spPr bwMode="auto">
            <a:xfrm>
              <a:off x="2622" y="3068"/>
              <a:ext cx="377" cy="969"/>
            </a:xfrm>
            <a:custGeom>
              <a:avLst/>
              <a:gdLst>
                <a:gd name="T0" fmla="*/ 0 w 159"/>
                <a:gd name="T1" fmla="*/ 408 h 408"/>
                <a:gd name="T2" fmla="*/ 23 w 159"/>
                <a:gd name="T3" fmla="*/ 286 h 408"/>
                <a:gd name="T4" fmla="*/ 31 w 159"/>
                <a:gd name="T5" fmla="*/ 254 h 408"/>
                <a:gd name="T6" fmla="*/ 39 w 159"/>
                <a:gd name="T7" fmla="*/ 223 h 408"/>
                <a:gd name="T8" fmla="*/ 60 w 159"/>
                <a:gd name="T9" fmla="*/ 167 h 408"/>
                <a:gd name="T10" fmla="*/ 83 w 159"/>
                <a:gd name="T11" fmla="*/ 118 h 408"/>
                <a:gd name="T12" fmla="*/ 105 w 159"/>
                <a:gd name="T13" fmla="*/ 76 h 408"/>
                <a:gd name="T14" fmla="*/ 142 w 159"/>
                <a:gd name="T15" fmla="*/ 19 h 408"/>
                <a:gd name="T16" fmla="*/ 154 w 159"/>
                <a:gd name="T17" fmla="*/ 5 h 408"/>
                <a:gd name="T18" fmla="*/ 157 w 159"/>
                <a:gd name="T19" fmla="*/ 1 h 408"/>
                <a:gd name="T20" fmla="*/ 159 w 159"/>
                <a:gd name="T21" fmla="*/ 0 h 408"/>
                <a:gd name="T22" fmla="*/ 158 w 159"/>
                <a:gd name="T23" fmla="*/ 2 h 408"/>
                <a:gd name="T24" fmla="*/ 155 w 159"/>
                <a:gd name="T25" fmla="*/ 5 h 408"/>
                <a:gd name="T26" fmla="*/ 143 w 159"/>
                <a:gd name="T27" fmla="*/ 20 h 408"/>
                <a:gd name="T28" fmla="*/ 106 w 159"/>
                <a:gd name="T29" fmla="*/ 77 h 408"/>
                <a:gd name="T30" fmla="*/ 84 w 159"/>
                <a:gd name="T31" fmla="*/ 119 h 408"/>
                <a:gd name="T32" fmla="*/ 62 w 159"/>
                <a:gd name="T33" fmla="*/ 168 h 408"/>
                <a:gd name="T34" fmla="*/ 41 w 159"/>
                <a:gd name="T35" fmla="*/ 224 h 408"/>
                <a:gd name="T36" fmla="*/ 33 w 159"/>
                <a:gd name="T37" fmla="*/ 254 h 408"/>
                <a:gd name="T38" fmla="*/ 25 w 159"/>
                <a:gd name="T39" fmla="*/ 286 h 408"/>
                <a:gd name="T40" fmla="*/ 2 w 159"/>
                <a:gd name="T41" fmla="*/ 408 h 408"/>
                <a:gd name="T42" fmla="*/ 0 w 159"/>
                <a:gd name="T43"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408">
                  <a:moveTo>
                    <a:pt x="0" y="408"/>
                  </a:moveTo>
                  <a:cubicBezTo>
                    <a:pt x="5" y="370"/>
                    <a:pt x="13" y="328"/>
                    <a:pt x="23" y="286"/>
                  </a:cubicBezTo>
                  <a:cubicBezTo>
                    <a:pt x="26" y="275"/>
                    <a:pt x="28" y="264"/>
                    <a:pt x="31" y="254"/>
                  </a:cubicBezTo>
                  <a:cubicBezTo>
                    <a:pt x="33" y="243"/>
                    <a:pt x="36" y="233"/>
                    <a:pt x="39" y="223"/>
                  </a:cubicBezTo>
                  <a:cubicBezTo>
                    <a:pt x="45" y="203"/>
                    <a:pt x="52" y="185"/>
                    <a:pt x="60" y="167"/>
                  </a:cubicBezTo>
                  <a:cubicBezTo>
                    <a:pt x="68" y="149"/>
                    <a:pt x="75" y="133"/>
                    <a:pt x="83" y="118"/>
                  </a:cubicBezTo>
                  <a:cubicBezTo>
                    <a:pt x="90" y="103"/>
                    <a:pt x="97" y="89"/>
                    <a:pt x="105" y="76"/>
                  </a:cubicBezTo>
                  <a:cubicBezTo>
                    <a:pt x="119" y="51"/>
                    <a:pt x="132" y="32"/>
                    <a:pt x="142" y="19"/>
                  </a:cubicBezTo>
                  <a:cubicBezTo>
                    <a:pt x="147" y="13"/>
                    <a:pt x="152" y="8"/>
                    <a:pt x="154" y="5"/>
                  </a:cubicBezTo>
                  <a:cubicBezTo>
                    <a:pt x="156" y="4"/>
                    <a:pt x="157" y="2"/>
                    <a:pt x="157" y="1"/>
                  </a:cubicBezTo>
                  <a:cubicBezTo>
                    <a:pt x="158" y="1"/>
                    <a:pt x="159" y="0"/>
                    <a:pt x="159" y="0"/>
                  </a:cubicBezTo>
                  <a:cubicBezTo>
                    <a:pt x="159" y="0"/>
                    <a:pt x="158" y="1"/>
                    <a:pt x="158" y="2"/>
                  </a:cubicBezTo>
                  <a:cubicBezTo>
                    <a:pt x="157" y="3"/>
                    <a:pt x="156" y="4"/>
                    <a:pt x="155" y="5"/>
                  </a:cubicBezTo>
                  <a:cubicBezTo>
                    <a:pt x="152" y="9"/>
                    <a:pt x="148" y="13"/>
                    <a:pt x="143" y="20"/>
                  </a:cubicBezTo>
                  <a:cubicBezTo>
                    <a:pt x="133" y="33"/>
                    <a:pt x="120" y="52"/>
                    <a:pt x="106" y="77"/>
                  </a:cubicBezTo>
                  <a:cubicBezTo>
                    <a:pt x="99" y="89"/>
                    <a:pt x="92" y="103"/>
                    <a:pt x="84" y="119"/>
                  </a:cubicBezTo>
                  <a:cubicBezTo>
                    <a:pt x="77" y="134"/>
                    <a:pt x="69" y="150"/>
                    <a:pt x="62" y="168"/>
                  </a:cubicBezTo>
                  <a:cubicBezTo>
                    <a:pt x="54" y="185"/>
                    <a:pt x="47" y="204"/>
                    <a:pt x="41" y="224"/>
                  </a:cubicBezTo>
                  <a:cubicBezTo>
                    <a:pt x="38" y="234"/>
                    <a:pt x="36" y="244"/>
                    <a:pt x="33" y="254"/>
                  </a:cubicBezTo>
                  <a:cubicBezTo>
                    <a:pt x="31" y="265"/>
                    <a:pt x="28" y="275"/>
                    <a:pt x="25" y="286"/>
                  </a:cubicBezTo>
                  <a:cubicBezTo>
                    <a:pt x="15" y="329"/>
                    <a:pt x="7" y="370"/>
                    <a:pt x="2" y="408"/>
                  </a:cubicBezTo>
                  <a:cubicBezTo>
                    <a:pt x="0" y="408"/>
                    <a:pt x="0" y="408"/>
                    <a:pt x="0" y="40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a:extLst>
                <a:ext uri="{FF2B5EF4-FFF2-40B4-BE49-F238E27FC236}">
                  <a16:creationId xmlns:a16="http://schemas.microsoft.com/office/drawing/2014/main" id="{3D57E5F5-E299-42E6-8100-CE7E95379456}"/>
                </a:ext>
              </a:extLst>
            </p:cNvPr>
            <p:cNvSpPr>
              <a:spLocks/>
            </p:cNvSpPr>
            <p:nvPr/>
          </p:nvSpPr>
          <p:spPr bwMode="auto">
            <a:xfrm>
              <a:off x="2622" y="3294"/>
              <a:ext cx="95" cy="303"/>
            </a:xfrm>
            <a:custGeom>
              <a:avLst/>
              <a:gdLst>
                <a:gd name="T0" fmla="*/ 40 w 40"/>
                <a:gd name="T1" fmla="*/ 128 h 128"/>
                <a:gd name="T2" fmla="*/ 38 w 40"/>
                <a:gd name="T3" fmla="*/ 123 h 128"/>
                <a:gd name="T4" fmla="*/ 33 w 40"/>
                <a:gd name="T5" fmla="*/ 109 h 128"/>
                <a:gd name="T6" fmla="*/ 20 w 40"/>
                <a:gd name="T7" fmla="*/ 64 h 128"/>
                <a:gd name="T8" fmla="*/ 6 w 40"/>
                <a:gd name="T9" fmla="*/ 18 h 128"/>
                <a:gd name="T10" fmla="*/ 2 w 40"/>
                <a:gd name="T11" fmla="*/ 5 h 128"/>
                <a:gd name="T12" fmla="*/ 0 w 40"/>
                <a:gd name="T13" fmla="*/ 0 h 128"/>
                <a:gd name="T14" fmla="*/ 2 w 40"/>
                <a:gd name="T15" fmla="*/ 4 h 128"/>
                <a:gd name="T16" fmla="*/ 8 w 40"/>
                <a:gd name="T17" fmla="*/ 18 h 128"/>
                <a:gd name="T18" fmla="*/ 22 w 40"/>
                <a:gd name="T19" fmla="*/ 63 h 128"/>
                <a:gd name="T20" fmla="*/ 35 w 40"/>
                <a:gd name="T21" fmla="*/ 109 h 128"/>
                <a:gd name="T22" fmla="*/ 38 w 40"/>
                <a:gd name="T23" fmla="*/ 123 h 128"/>
                <a:gd name="T24" fmla="*/ 40 w 40"/>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128">
                  <a:moveTo>
                    <a:pt x="40" y="128"/>
                  </a:moveTo>
                  <a:cubicBezTo>
                    <a:pt x="39" y="128"/>
                    <a:pt x="39" y="126"/>
                    <a:pt x="38" y="123"/>
                  </a:cubicBezTo>
                  <a:cubicBezTo>
                    <a:pt x="36" y="120"/>
                    <a:pt x="35" y="115"/>
                    <a:pt x="33" y="109"/>
                  </a:cubicBezTo>
                  <a:cubicBezTo>
                    <a:pt x="29" y="98"/>
                    <a:pt x="25" y="82"/>
                    <a:pt x="20" y="64"/>
                  </a:cubicBezTo>
                  <a:cubicBezTo>
                    <a:pt x="15" y="46"/>
                    <a:pt x="10" y="30"/>
                    <a:pt x="6" y="18"/>
                  </a:cubicBezTo>
                  <a:cubicBezTo>
                    <a:pt x="4" y="13"/>
                    <a:pt x="3" y="8"/>
                    <a:pt x="2" y="5"/>
                  </a:cubicBezTo>
                  <a:cubicBezTo>
                    <a:pt x="0" y="1"/>
                    <a:pt x="0" y="0"/>
                    <a:pt x="0" y="0"/>
                  </a:cubicBezTo>
                  <a:cubicBezTo>
                    <a:pt x="0" y="0"/>
                    <a:pt x="1" y="1"/>
                    <a:pt x="2" y="4"/>
                  </a:cubicBezTo>
                  <a:cubicBezTo>
                    <a:pt x="4" y="7"/>
                    <a:pt x="6" y="12"/>
                    <a:pt x="8" y="18"/>
                  </a:cubicBezTo>
                  <a:cubicBezTo>
                    <a:pt x="12" y="29"/>
                    <a:pt x="17" y="45"/>
                    <a:pt x="22" y="63"/>
                  </a:cubicBezTo>
                  <a:cubicBezTo>
                    <a:pt x="27" y="81"/>
                    <a:pt x="31" y="97"/>
                    <a:pt x="35" y="109"/>
                  </a:cubicBezTo>
                  <a:cubicBezTo>
                    <a:pt x="36" y="114"/>
                    <a:pt x="37" y="119"/>
                    <a:pt x="38" y="123"/>
                  </a:cubicBezTo>
                  <a:cubicBezTo>
                    <a:pt x="39" y="126"/>
                    <a:pt x="40" y="128"/>
                    <a:pt x="4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a:extLst>
                <a:ext uri="{FF2B5EF4-FFF2-40B4-BE49-F238E27FC236}">
                  <a16:creationId xmlns:a16="http://schemas.microsoft.com/office/drawing/2014/main" id="{C4DA9EB3-8ED1-415F-BEC2-366678C7099A}"/>
                </a:ext>
              </a:extLst>
            </p:cNvPr>
            <p:cNvSpPr>
              <a:spLocks/>
            </p:cNvSpPr>
            <p:nvPr/>
          </p:nvSpPr>
          <p:spPr bwMode="auto">
            <a:xfrm>
              <a:off x="2717" y="3467"/>
              <a:ext cx="351" cy="130"/>
            </a:xfrm>
            <a:custGeom>
              <a:avLst/>
              <a:gdLst>
                <a:gd name="T0" fmla="*/ 148 w 148"/>
                <a:gd name="T1" fmla="*/ 0 h 55"/>
                <a:gd name="T2" fmla="*/ 142 w 148"/>
                <a:gd name="T3" fmla="*/ 2 h 55"/>
                <a:gd name="T4" fmla="*/ 126 w 148"/>
                <a:gd name="T5" fmla="*/ 7 h 55"/>
                <a:gd name="T6" fmla="*/ 73 w 148"/>
                <a:gd name="T7" fmla="*/ 24 h 55"/>
                <a:gd name="T8" fmla="*/ 21 w 148"/>
                <a:gd name="T9" fmla="*/ 45 h 55"/>
                <a:gd name="T10" fmla="*/ 5 w 148"/>
                <a:gd name="T11" fmla="*/ 52 h 55"/>
                <a:gd name="T12" fmla="*/ 0 w 148"/>
                <a:gd name="T13" fmla="*/ 55 h 55"/>
                <a:gd name="T14" fmla="*/ 5 w 148"/>
                <a:gd name="T15" fmla="*/ 52 h 55"/>
                <a:gd name="T16" fmla="*/ 20 w 148"/>
                <a:gd name="T17" fmla="*/ 44 h 55"/>
                <a:gd name="T18" fmla="*/ 72 w 148"/>
                <a:gd name="T19" fmla="*/ 22 h 55"/>
                <a:gd name="T20" fmla="*/ 125 w 148"/>
                <a:gd name="T21" fmla="*/ 5 h 55"/>
                <a:gd name="T22" fmla="*/ 142 w 148"/>
                <a:gd name="T23" fmla="*/ 1 h 55"/>
                <a:gd name="T24" fmla="*/ 148 w 148"/>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55">
                  <a:moveTo>
                    <a:pt x="148" y="0"/>
                  </a:moveTo>
                  <a:cubicBezTo>
                    <a:pt x="148" y="0"/>
                    <a:pt x="146" y="1"/>
                    <a:pt x="142" y="2"/>
                  </a:cubicBezTo>
                  <a:cubicBezTo>
                    <a:pt x="138" y="3"/>
                    <a:pt x="133" y="5"/>
                    <a:pt x="126" y="7"/>
                  </a:cubicBezTo>
                  <a:cubicBezTo>
                    <a:pt x="112" y="10"/>
                    <a:pt x="93" y="16"/>
                    <a:pt x="73" y="24"/>
                  </a:cubicBezTo>
                  <a:cubicBezTo>
                    <a:pt x="52" y="32"/>
                    <a:pt x="34" y="39"/>
                    <a:pt x="21" y="45"/>
                  </a:cubicBezTo>
                  <a:cubicBezTo>
                    <a:pt x="14" y="48"/>
                    <a:pt x="9" y="51"/>
                    <a:pt x="5" y="52"/>
                  </a:cubicBezTo>
                  <a:cubicBezTo>
                    <a:pt x="2" y="54"/>
                    <a:pt x="0" y="55"/>
                    <a:pt x="0" y="55"/>
                  </a:cubicBezTo>
                  <a:cubicBezTo>
                    <a:pt x="0" y="55"/>
                    <a:pt x="1" y="54"/>
                    <a:pt x="5" y="52"/>
                  </a:cubicBezTo>
                  <a:cubicBezTo>
                    <a:pt x="8" y="50"/>
                    <a:pt x="14" y="47"/>
                    <a:pt x="20" y="44"/>
                  </a:cubicBezTo>
                  <a:cubicBezTo>
                    <a:pt x="33" y="38"/>
                    <a:pt x="51" y="30"/>
                    <a:pt x="72" y="22"/>
                  </a:cubicBezTo>
                  <a:cubicBezTo>
                    <a:pt x="92" y="14"/>
                    <a:pt x="111" y="9"/>
                    <a:pt x="125" y="5"/>
                  </a:cubicBezTo>
                  <a:cubicBezTo>
                    <a:pt x="132" y="3"/>
                    <a:pt x="138" y="2"/>
                    <a:pt x="142" y="1"/>
                  </a:cubicBezTo>
                  <a:cubicBezTo>
                    <a:pt x="146" y="0"/>
                    <a:pt x="148" y="0"/>
                    <a:pt x="14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a:extLst>
                <a:ext uri="{FF2B5EF4-FFF2-40B4-BE49-F238E27FC236}">
                  <a16:creationId xmlns:a16="http://schemas.microsoft.com/office/drawing/2014/main" id="{E4294955-8F75-4B60-ACE3-25EF4A193160}"/>
                </a:ext>
              </a:extLst>
            </p:cNvPr>
            <p:cNvSpPr>
              <a:spLocks/>
            </p:cNvSpPr>
            <p:nvPr/>
          </p:nvSpPr>
          <p:spPr bwMode="auto">
            <a:xfrm>
              <a:off x="2363" y="3595"/>
              <a:ext cx="264" cy="435"/>
            </a:xfrm>
            <a:custGeom>
              <a:avLst/>
              <a:gdLst>
                <a:gd name="T0" fmla="*/ 111 w 111"/>
                <a:gd name="T1" fmla="*/ 183 h 183"/>
                <a:gd name="T2" fmla="*/ 109 w 111"/>
                <a:gd name="T3" fmla="*/ 181 h 183"/>
                <a:gd name="T4" fmla="*/ 106 w 111"/>
                <a:gd name="T5" fmla="*/ 176 h 183"/>
                <a:gd name="T6" fmla="*/ 93 w 111"/>
                <a:gd name="T7" fmla="*/ 157 h 183"/>
                <a:gd name="T8" fmla="*/ 55 w 111"/>
                <a:gd name="T9" fmla="*/ 92 h 183"/>
                <a:gd name="T10" fmla="*/ 16 w 111"/>
                <a:gd name="T11" fmla="*/ 27 h 183"/>
                <a:gd name="T12" fmla="*/ 4 w 111"/>
                <a:gd name="T13" fmla="*/ 7 h 183"/>
                <a:gd name="T14" fmla="*/ 1 w 111"/>
                <a:gd name="T15" fmla="*/ 2 h 183"/>
                <a:gd name="T16" fmla="*/ 0 w 111"/>
                <a:gd name="T17" fmla="*/ 0 h 183"/>
                <a:gd name="T18" fmla="*/ 2 w 111"/>
                <a:gd name="T19" fmla="*/ 2 h 183"/>
                <a:gd name="T20" fmla="*/ 5 w 111"/>
                <a:gd name="T21" fmla="*/ 7 h 183"/>
                <a:gd name="T22" fmla="*/ 18 w 111"/>
                <a:gd name="T23" fmla="*/ 26 h 183"/>
                <a:gd name="T24" fmla="*/ 56 w 111"/>
                <a:gd name="T25" fmla="*/ 91 h 183"/>
                <a:gd name="T26" fmla="*/ 95 w 111"/>
                <a:gd name="T27" fmla="*/ 156 h 183"/>
                <a:gd name="T28" fmla="*/ 106 w 111"/>
                <a:gd name="T29" fmla="*/ 175 h 183"/>
                <a:gd name="T30" fmla="*/ 110 w 111"/>
                <a:gd name="T31" fmla="*/ 181 h 183"/>
                <a:gd name="T32" fmla="*/ 111 w 111"/>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83">
                  <a:moveTo>
                    <a:pt x="111" y="183"/>
                  </a:moveTo>
                  <a:cubicBezTo>
                    <a:pt x="111" y="183"/>
                    <a:pt x="110" y="182"/>
                    <a:pt x="109" y="181"/>
                  </a:cubicBezTo>
                  <a:cubicBezTo>
                    <a:pt x="108" y="180"/>
                    <a:pt x="107" y="178"/>
                    <a:pt x="106" y="176"/>
                  </a:cubicBezTo>
                  <a:cubicBezTo>
                    <a:pt x="103" y="171"/>
                    <a:pt x="98" y="165"/>
                    <a:pt x="93" y="157"/>
                  </a:cubicBezTo>
                  <a:cubicBezTo>
                    <a:pt x="83" y="140"/>
                    <a:pt x="69" y="117"/>
                    <a:pt x="55" y="92"/>
                  </a:cubicBezTo>
                  <a:cubicBezTo>
                    <a:pt x="40" y="66"/>
                    <a:pt x="26" y="43"/>
                    <a:pt x="16" y="27"/>
                  </a:cubicBezTo>
                  <a:cubicBezTo>
                    <a:pt x="12" y="19"/>
                    <a:pt x="7" y="12"/>
                    <a:pt x="4" y="7"/>
                  </a:cubicBezTo>
                  <a:cubicBezTo>
                    <a:pt x="3" y="5"/>
                    <a:pt x="2" y="3"/>
                    <a:pt x="1" y="2"/>
                  </a:cubicBezTo>
                  <a:cubicBezTo>
                    <a:pt x="1" y="1"/>
                    <a:pt x="0" y="0"/>
                    <a:pt x="0" y="0"/>
                  </a:cubicBezTo>
                  <a:cubicBezTo>
                    <a:pt x="0" y="0"/>
                    <a:pt x="1" y="0"/>
                    <a:pt x="2" y="2"/>
                  </a:cubicBezTo>
                  <a:cubicBezTo>
                    <a:pt x="3" y="3"/>
                    <a:pt x="4" y="5"/>
                    <a:pt x="5" y="7"/>
                  </a:cubicBezTo>
                  <a:cubicBezTo>
                    <a:pt x="8" y="11"/>
                    <a:pt x="13" y="18"/>
                    <a:pt x="18" y="26"/>
                  </a:cubicBezTo>
                  <a:cubicBezTo>
                    <a:pt x="28" y="42"/>
                    <a:pt x="42" y="65"/>
                    <a:pt x="56" y="91"/>
                  </a:cubicBezTo>
                  <a:cubicBezTo>
                    <a:pt x="71" y="116"/>
                    <a:pt x="85" y="139"/>
                    <a:pt x="95" y="156"/>
                  </a:cubicBezTo>
                  <a:cubicBezTo>
                    <a:pt x="99" y="164"/>
                    <a:pt x="103" y="171"/>
                    <a:pt x="106" y="175"/>
                  </a:cubicBezTo>
                  <a:cubicBezTo>
                    <a:pt x="108" y="178"/>
                    <a:pt x="109" y="179"/>
                    <a:pt x="110" y="181"/>
                  </a:cubicBezTo>
                  <a:cubicBezTo>
                    <a:pt x="110" y="182"/>
                    <a:pt x="111" y="183"/>
                    <a:pt x="111" y="18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a:extLst>
                <a:ext uri="{FF2B5EF4-FFF2-40B4-BE49-F238E27FC236}">
                  <a16:creationId xmlns:a16="http://schemas.microsoft.com/office/drawing/2014/main" id="{903D304B-250C-483D-A6C2-6906D2DEE9F1}"/>
                </a:ext>
              </a:extLst>
            </p:cNvPr>
            <p:cNvSpPr>
              <a:spLocks/>
            </p:cNvSpPr>
            <p:nvPr/>
          </p:nvSpPr>
          <p:spPr bwMode="auto">
            <a:xfrm>
              <a:off x="2627" y="3790"/>
              <a:ext cx="456" cy="240"/>
            </a:xfrm>
            <a:custGeom>
              <a:avLst/>
              <a:gdLst>
                <a:gd name="T0" fmla="*/ 192 w 192"/>
                <a:gd name="T1" fmla="*/ 1 h 101"/>
                <a:gd name="T2" fmla="*/ 190 w 192"/>
                <a:gd name="T3" fmla="*/ 2 h 101"/>
                <a:gd name="T4" fmla="*/ 185 w 192"/>
                <a:gd name="T5" fmla="*/ 5 h 101"/>
                <a:gd name="T6" fmla="*/ 164 w 192"/>
                <a:gd name="T7" fmla="*/ 15 h 101"/>
                <a:gd name="T8" fmla="*/ 97 w 192"/>
                <a:gd name="T9" fmla="*/ 52 h 101"/>
                <a:gd name="T10" fmla="*/ 28 w 192"/>
                <a:gd name="T11" fmla="*/ 87 h 101"/>
                <a:gd name="T12" fmla="*/ 7 w 192"/>
                <a:gd name="T13" fmla="*/ 97 h 101"/>
                <a:gd name="T14" fmla="*/ 2 w 192"/>
                <a:gd name="T15" fmla="*/ 100 h 101"/>
                <a:gd name="T16" fmla="*/ 0 w 192"/>
                <a:gd name="T17" fmla="*/ 101 h 101"/>
                <a:gd name="T18" fmla="*/ 2 w 192"/>
                <a:gd name="T19" fmla="*/ 100 h 101"/>
                <a:gd name="T20" fmla="*/ 7 w 192"/>
                <a:gd name="T21" fmla="*/ 97 h 101"/>
                <a:gd name="T22" fmla="*/ 28 w 192"/>
                <a:gd name="T23" fmla="*/ 86 h 101"/>
                <a:gd name="T24" fmla="*/ 95 w 192"/>
                <a:gd name="T25" fmla="*/ 50 h 101"/>
                <a:gd name="T26" fmla="*/ 164 w 192"/>
                <a:gd name="T27" fmla="*/ 14 h 101"/>
                <a:gd name="T28" fmla="*/ 185 w 192"/>
                <a:gd name="T29" fmla="*/ 4 h 101"/>
                <a:gd name="T30" fmla="*/ 190 w 192"/>
                <a:gd name="T31" fmla="*/ 1 h 101"/>
                <a:gd name="T32" fmla="*/ 192 w 192"/>
                <a:gd name="T33" fmla="*/ 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01">
                  <a:moveTo>
                    <a:pt x="192" y="1"/>
                  </a:moveTo>
                  <a:cubicBezTo>
                    <a:pt x="192" y="1"/>
                    <a:pt x="192" y="1"/>
                    <a:pt x="190" y="2"/>
                  </a:cubicBezTo>
                  <a:cubicBezTo>
                    <a:pt x="189" y="2"/>
                    <a:pt x="187" y="3"/>
                    <a:pt x="185" y="5"/>
                  </a:cubicBezTo>
                  <a:cubicBezTo>
                    <a:pt x="180" y="7"/>
                    <a:pt x="173" y="11"/>
                    <a:pt x="164" y="15"/>
                  </a:cubicBezTo>
                  <a:cubicBezTo>
                    <a:pt x="147" y="25"/>
                    <a:pt x="123" y="37"/>
                    <a:pt x="97" y="52"/>
                  </a:cubicBezTo>
                  <a:cubicBezTo>
                    <a:pt x="70" y="66"/>
                    <a:pt x="46" y="78"/>
                    <a:pt x="28" y="87"/>
                  </a:cubicBezTo>
                  <a:cubicBezTo>
                    <a:pt x="20" y="92"/>
                    <a:pt x="12" y="95"/>
                    <a:pt x="7" y="97"/>
                  </a:cubicBezTo>
                  <a:cubicBezTo>
                    <a:pt x="5" y="98"/>
                    <a:pt x="3" y="99"/>
                    <a:pt x="2" y="100"/>
                  </a:cubicBezTo>
                  <a:cubicBezTo>
                    <a:pt x="0" y="100"/>
                    <a:pt x="0" y="101"/>
                    <a:pt x="0" y="101"/>
                  </a:cubicBezTo>
                  <a:cubicBezTo>
                    <a:pt x="0" y="101"/>
                    <a:pt x="0" y="100"/>
                    <a:pt x="2" y="100"/>
                  </a:cubicBezTo>
                  <a:cubicBezTo>
                    <a:pt x="3" y="99"/>
                    <a:pt x="5" y="98"/>
                    <a:pt x="7" y="97"/>
                  </a:cubicBezTo>
                  <a:cubicBezTo>
                    <a:pt x="12" y="94"/>
                    <a:pt x="19" y="90"/>
                    <a:pt x="28" y="86"/>
                  </a:cubicBezTo>
                  <a:cubicBezTo>
                    <a:pt x="45" y="77"/>
                    <a:pt x="69" y="64"/>
                    <a:pt x="95" y="50"/>
                  </a:cubicBezTo>
                  <a:cubicBezTo>
                    <a:pt x="122" y="35"/>
                    <a:pt x="146" y="23"/>
                    <a:pt x="164" y="14"/>
                  </a:cubicBezTo>
                  <a:cubicBezTo>
                    <a:pt x="172" y="10"/>
                    <a:pt x="180" y="6"/>
                    <a:pt x="185" y="4"/>
                  </a:cubicBezTo>
                  <a:cubicBezTo>
                    <a:pt x="187" y="3"/>
                    <a:pt x="189" y="2"/>
                    <a:pt x="190" y="1"/>
                  </a:cubicBezTo>
                  <a:cubicBezTo>
                    <a:pt x="192" y="1"/>
                    <a:pt x="192" y="0"/>
                    <a:pt x="192"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a:extLst>
                <a:ext uri="{FF2B5EF4-FFF2-40B4-BE49-F238E27FC236}">
                  <a16:creationId xmlns:a16="http://schemas.microsoft.com/office/drawing/2014/main" id="{FB114A70-2C77-4EAE-B7F4-55A81934FCCB}"/>
                </a:ext>
              </a:extLst>
            </p:cNvPr>
            <p:cNvSpPr>
              <a:spLocks/>
            </p:cNvSpPr>
            <p:nvPr/>
          </p:nvSpPr>
          <p:spPr bwMode="auto">
            <a:xfrm>
              <a:off x="1240" y="2069"/>
              <a:ext cx="1083" cy="2006"/>
            </a:xfrm>
            <a:custGeom>
              <a:avLst/>
              <a:gdLst>
                <a:gd name="T0" fmla="*/ 71 w 456"/>
                <a:gd name="T1" fmla="*/ 18 h 845"/>
                <a:gd name="T2" fmla="*/ 50 w 456"/>
                <a:gd name="T3" fmla="*/ 129 h 845"/>
                <a:gd name="T4" fmla="*/ 100 w 456"/>
                <a:gd name="T5" fmla="*/ 287 h 845"/>
                <a:gd name="T6" fmla="*/ 84 w 456"/>
                <a:gd name="T7" fmla="*/ 310 h 845"/>
                <a:gd name="T8" fmla="*/ 13 w 456"/>
                <a:gd name="T9" fmla="*/ 314 h 845"/>
                <a:gd name="T10" fmla="*/ 41 w 456"/>
                <a:gd name="T11" fmla="*/ 388 h 845"/>
                <a:gd name="T12" fmla="*/ 140 w 456"/>
                <a:gd name="T13" fmla="*/ 481 h 845"/>
                <a:gd name="T14" fmla="*/ 137 w 456"/>
                <a:gd name="T15" fmla="*/ 500 h 845"/>
                <a:gd name="T16" fmla="*/ 123 w 456"/>
                <a:gd name="T17" fmla="*/ 500 h 845"/>
                <a:gd name="T18" fmla="*/ 29 w 456"/>
                <a:gd name="T19" fmla="*/ 535 h 845"/>
                <a:gd name="T20" fmla="*/ 132 w 456"/>
                <a:gd name="T21" fmla="*/ 647 h 845"/>
                <a:gd name="T22" fmla="*/ 141 w 456"/>
                <a:gd name="T23" fmla="*/ 665 h 845"/>
                <a:gd name="T24" fmla="*/ 82 w 456"/>
                <a:gd name="T25" fmla="*/ 663 h 845"/>
                <a:gd name="T26" fmla="*/ 25 w 456"/>
                <a:gd name="T27" fmla="*/ 689 h 845"/>
                <a:gd name="T28" fmla="*/ 222 w 456"/>
                <a:gd name="T29" fmla="*/ 827 h 845"/>
                <a:gd name="T30" fmla="*/ 291 w 456"/>
                <a:gd name="T31" fmla="*/ 845 h 845"/>
                <a:gd name="T32" fmla="*/ 342 w 456"/>
                <a:gd name="T33" fmla="*/ 795 h 845"/>
                <a:gd name="T34" fmla="*/ 444 w 456"/>
                <a:gd name="T35" fmla="*/ 577 h 845"/>
                <a:gd name="T36" fmla="*/ 382 w 456"/>
                <a:gd name="T37" fmla="*/ 582 h 845"/>
                <a:gd name="T38" fmla="*/ 332 w 456"/>
                <a:gd name="T39" fmla="*/ 614 h 845"/>
                <a:gd name="T40" fmla="*/ 331 w 456"/>
                <a:gd name="T41" fmla="*/ 594 h 845"/>
                <a:gd name="T42" fmla="*/ 365 w 456"/>
                <a:gd name="T43" fmla="*/ 445 h 845"/>
                <a:gd name="T44" fmla="*/ 253 w 456"/>
                <a:gd name="T45" fmla="*/ 468 h 845"/>
                <a:gd name="T46" fmla="*/ 241 w 456"/>
                <a:gd name="T47" fmla="*/ 454 h 845"/>
                <a:gd name="T48" fmla="*/ 281 w 456"/>
                <a:gd name="T49" fmla="*/ 324 h 845"/>
                <a:gd name="T50" fmla="*/ 268 w 456"/>
                <a:gd name="T51" fmla="*/ 246 h 845"/>
                <a:gd name="T52" fmla="*/ 205 w 456"/>
                <a:gd name="T53" fmla="*/ 277 h 845"/>
                <a:gd name="T54" fmla="*/ 180 w 456"/>
                <a:gd name="T55" fmla="*/ 265 h 845"/>
                <a:gd name="T56" fmla="*/ 144 w 456"/>
                <a:gd name="T57" fmla="*/ 104 h 845"/>
                <a:gd name="T58" fmla="*/ 70 w 456"/>
                <a:gd name="T59" fmla="*/ 19 h 845"/>
                <a:gd name="T60" fmla="*/ 71 w 456"/>
                <a:gd name="T61" fmla="*/ 1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845">
                  <a:moveTo>
                    <a:pt x="71" y="18"/>
                  </a:moveTo>
                  <a:cubicBezTo>
                    <a:pt x="71" y="18"/>
                    <a:pt x="24" y="25"/>
                    <a:pt x="50" y="129"/>
                  </a:cubicBezTo>
                  <a:cubicBezTo>
                    <a:pt x="77" y="233"/>
                    <a:pt x="100" y="287"/>
                    <a:pt x="100" y="287"/>
                  </a:cubicBezTo>
                  <a:cubicBezTo>
                    <a:pt x="100" y="287"/>
                    <a:pt x="103" y="310"/>
                    <a:pt x="84" y="310"/>
                  </a:cubicBezTo>
                  <a:cubicBezTo>
                    <a:pt x="65" y="309"/>
                    <a:pt x="26" y="294"/>
                    <a:pt x="13" y="314"/>
                  </a:cubicBezTo>
                  <a:cubicBezTo>
                    <a:pt x="0" y="335"/>
                    <a:pt x="12" y="361"/>
                    <a:pt x="41" y="388"/>
                  </a:cubicBezTo>
                  <a:cubicBezTo>
                    <a:pt x="71" y="415"/>
                    <a:pt x="134" y="476"/>
                    <a:pt x="140" y="481"/>
                  </a:cubicBezTo>
                  <a:cubicBezTo>
                    <a:pt x="146" y="487"/>
                    <a:pt x="150" y="498"/>
                    <a:pt x="137" y="500"/>
                  </a:cubicBezTo>
                  <a:cubicBezTo>
                    <a:pt x="134" y="500"/>
                    <a:pt x="129" y="500"/>
                    <a:pt x="123" y="500"/>
                  </a:cubicBezTo>
                  <a:cubicBezTo>
                    <a:pt x="93" y="499"/>
                    <a:pt x="31" y="499"/>
                    <a:pt x="29" y="535"/>
                  </a:cubicBezTo>
                  <a:cubicBezTo>
                    <a:pt x="26" y="579"/>
                    <a:pt x="122" y="640"/>
                    <a:pt x="132" y="647"/>
                  </a:cubicBezTo>
                  <a:cubicBezTo>
                    <a:pt x="142" y="654"/>
                    <a:pt x="144" y="659"/>
                    <a:pt x="141" y="665"/>
                  </a:cubicBezTo>
                  <a:cubicBezTo>
                    <a:pt x="139" y="671"/>
                    <a:pt x="108" y="665"/>
                    <a:pt x="82" y="663"/>
                  </a:cubicBezTo>
                  <a:cubicBezTo>
                    <a:pt x="56" y="661"/>
                    <a:pt x="25" y="663"/>
                    <a:pt x="25" y="689"/>
                  </a:cubicBezTo>
                  <a:cubicBezTo>
                    <a:pt x="26" y="714"/>
                    <a:pt x="76" y="779"/>
                    <a:pt x="222" y="827"/>
                  </a:cubicBezTo>
                  <a:cubicBezTo>
                    <a:pt x="291" y="845"/>
                    <a:pt x="291" y="845"/>
                    <a:pt x="291" y="845"/>
                  </a:cubicBezTo>
                  <a:cubicBezTo>
                    <a:pt x="342" y="795"/>
                    <a:pt x="342" y="795"/>
                    <a:pt x="342" y="795"/>
                  </a:cubicBezTo>
                  <a:cubicBezTo>
                    <a:pt x="445" y="680"/>
                    <a:pt x="456" y="599"/>
                    <a:pt x="444" y="577"/>
                  </a:cubicBezTo>
                  <a:cubicBezTo>
                    <a:pt x="432" y="554"/>
                    <a:pt x="404" y="567"/>
                    <a:pt x="382" y="582"/>
                  </a:cubicBezTo>
                  <a:cubicBezTo>
                    <a:pt x="360" y="597"/>
                    <a:pt x="337" y="618"/>
                    <a:pt x="332" y="614"/>
                  </a:cubicBezTo>
                  <a:cubicBezTo>
                    <a:pt x="327" y="610"/>
                    <a:pt x="325" y="605"/>
                    <a:pt x="331" y="594"/>
                  </a:cubicBezTo>
                  <a:cubicBezTo>
                    <a:pt x="336" y="583"/>
                    <a:pt x="389" y="482"/>
                    <a:pt x="365" y="445"/>
                  </a:cubicBezTo>
                  <a:cubicBezTo>
                    <a:pt x="340" y="408"/>
                    <a:pt x="266" y="463"/>
                    <a:pt x="253" y="468"/>
                  </a:cubicBezTo>
                  <a:cubicBezTo>
                    <a:pt x="241" y="474"/>
                    <a:pt x="239" y="461"/>
                    <a:pt x="241" y="454"/>
                  </a:cubicBezTo>
                  <a:cubicBezTo>
                    <a:pt x="244" y="446"/>
                    <a:pt x="268" y="362"/>
                    <a:pt x="281" y="324"/>
                  </a:cubicBezTo>
                  <a:cubicBezTo>
                    <a:pt x="293" y="286"/>
                    <a:pt x="291" y="257"/>
                    <a:pt x="268" y="246"/>
                  </a:cubicBezTo>
                  <a:cubicBezTo>
                    <a:pt x="247" y="234"/>
                    <a:pt x="221" y="267"/>
                    <a:pt x="205" y="277"/>
                  </a:cubicBezTo>
                  <a:cubicBezTo>
                    <a:pt x="189" y="287"/>
                    <a:pt x="180" y="265"/>
                    <a:pt x="180" y="265"/>
                  </a:cubicBezTo>
                  <a:cubicBezTo>
                    <a:pt x="180" y="265"/>
                    <a:pt x="173" y="207"/>
                    <a:pt x="144" y="104"/>
                  </a:cubicBezTo>
                  <a:cubicBezTo>
                    <a:pt x="116" y="0"/>
                    <a:pt x="70" y="19"/>
                    <a:pt x="70" y="19"/>
                  </a:cubicBezTo>
                  <a:cubicBezTo>
                    <a:pt x="71" y="18"/>
                    <a:pt x="71" y="18"/>
                    <a:pt x="71" y="18"/>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a:extLst>
                <a:ext uri="{FF2B5EF4-FFF2-40B4-BE49-F238E27FC236}">
                  <a16:creationId xmlns:a16="http://schemas.microsoft.com/office/drawing/2014/main" id="{AB0E59D2-1E05-4644-9D18-ABB9ECDA390E}"/>
                </a:ext>
              </a:extLst>
            </p:cNvPr>
            <p:cNvSpPr>
              <a:spLocks/>
            </p:cNvSpPr>
            <p:nvPr/>
          </p:nvSpPr>
          <p:spPr bwMode="auto">
            <a:xfrm>
              <a:off x="1465" y="2334"/>
              <a:ext cx="471" cy="1781"/>
            </a:xfrm>
            <a:custGeom>
              <a:avLst/>
              <a:gdLst>
                <a:gd name="T0" fmla="*/ 196 w 198"/>
                <a:gd name="T1" fmla="*/ 750 h 750"/>
                <a:gd name="T2" fmla="*/ 111 w 198"/>
                <a:gd name="T3" fmla="*/ 421 h 750"/>
                <a:gd name="T4" fmla="*/ 33 w 198"/>
                <a:gd name="T5" fmla="*/ 123 h 750"/>
                <a:gd name="T6" fmla="*/ 9 w 198"/>
                <a:gd name="T7" fmla="*/ 33 h 750"/>
                <a:gd name="T8" fmla="*/ 2 w 198"/>
                <a:gd name="T9" fmla="*/ 8 h 750"/>
                <a:gd name="T10" fmla="*/ 0 w 198"/>
                <a:gd name="T11" fmla="*/ 2 h 750"/>
                <a:gd name="T12" fmla="*/ 0 w 198"/>
                <a:gd name="T13" fmla="*/ 0 h 750"/>
                <a:gd name="T14" fmla="*/ 1 w 198"/>
                <a:gd name="T15" fmla="*/ 2 h 750"/>
                <a:gd name="T16" fmla="*/ 2 w 198"/>
                <a:gd name="T17" fmla="*/ 8 h 750"/>
                <a:gd name="T18" fmla="*/ 9 w 198"/>
                <a:gd name="T19" fmla="*/ 33 h 750"/>
                <a:gd name="T20" fmla="*/ 34 w 198"/>
                <a:gd name="T21" fmla="*/ 123 h 750"/>
                <a:gd name="T22" fmla="*/ 113 w 198"/>
                <a:gd name="T23" fmla="*/ 421 h 750"/>
                <a:gd name="T24" fmla="*/ 198 w 198"/>
                <a:gd name="T25" fmla="*/ 750 h 750"/>
                <a:gd name="T26" fmla="*/ 196 w 198"/>
                <a:gd name="T27"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 h="750">
                  <a:moveTo>
                    <a:pt x="196" y="750"/>
                  </a:moveTo>
                  <a:cubicBezTo>
                    <a:pt x="175" y="674"/>
                    <a:pt x="141" y="538"/>
                    <a:pt x="111" y="421"/>
                  </a:cubicBezTo>
                  <a:cubicBezTo>
                    <a:pt x="80" y="305"/>
                    <a:pt x="53" y="199"/>
                    <a:pt x="33" y="123"/>
                  </a:cubicBezTo>
                  <a:cubicBezTo>
                    <a:pt x="23" y="85"/>
                    <a:pt x="14" y="54"/>
                    <a:pt x="9" y="33"/>
                  </a:cubicBezTo>
                  <a:cubicBezTo>
                    <a:pt x="6" y="22"/>
                    <a:pt x="4" y="14"/>
                    <a:pt x="2" y="8"/>
                  </a:cubicBezTo>
                  <a:cubicBezTo>
                    <a:pt x="1" y="6"/>
                    <a:pt x="1" y="3"/>
                    <a:pt x="0" y="2"/>
                  </a:cubicBezTo>
                  <a:cubicBezTo>
                    <a:pt x="0" y="0"/>
                    <a:pt x="0" y="0"/>
                    <a:pt x="0" y="0"/>
                  </a:cubicBezTo>
                  <a:cubicBezTo>
                    <a:pt x="0" y="0"/>
                    <a:pt x="0" y="0"/>
                    <a:pt x="1" y="2"/>
                  </a:cubicBezTo>
                  <a:cubicBezTo>
                    <a:pt x="1" y="3"/>
                    <a:pt x="2" y="5"/>
                    <a:pt x="2" y="8"/>
                  </a:cubicBezTo>
                  <a:cubicBezTo>
                    <a:pt x="4" y="14"/>
                    <a:pt x="6" y="22"/>
                    <a:pt x="9" y="33"/>
                  </a:cubicBezTo>
                  <a:cubicBezTo>
                    <a:pt x="15" y="54"/>
                    <a:pt x="24" y="85"/>
                    <a:pt x="34" y="123"/>
                  </a:cubicBezTo>
                  <a:cubicBezTo>
                    <a:pt x="55" y="199"/>
                    <a:pt x="83" y="304"/>
                    <a:pt x="113" y="421"/>
                  </a:cubicBezTo>
                  <a:cubicBezTo>
                    <a:pt x="143" y="537"/>
                    <a:pt x="177" y="674"/>
                    <a:pt x="198" y="750"/>
                  </a:cubicBezTo>
                  <a:cubicBezTo>
                    <a:pt x="196" y="750"/>
                    <a:pt x="196" y="750"/>
                    <a:pt x="196" y="75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a:extLst>
                <a:ext uri="{FF2B5EF4-FFF2-40B4-BE49-F238E27FC236}">
                  <a16:creationId xmlns:a16="http://schemas.microsoft.com/office/drawing/2014/main" id="{5D7ED8F9-4C6E-47FD-8019-18612A9523F6}"/>
                </a:ext>
              </a:extLst>
            </p:cNvPr>
            <p:cNvSpPr>
              <a:spLocks/>
            </p:cNvSpPr>
            <p:nvPr/>
          </p:nvSpPr>
          <p:spPr bwMode="auto">
            <a:xfrm>
              <a:off x="1399" y="2871"/>
              <a:ext cx="256" cy="176"/>
            </a:xfrm>
            <a:custGeom>
              <a:avLst/>
              <a:gdLst>
                <a:gd name="T0" fmla="*/ 0 w 108"/>
                <a:gd name="T1" fmla="*/ 0 h 74"/>
                <a:gd name="T2" fmla="*/ 4 w 108"/>
                <a:gd name="T3" fmla="*/ 2 h 74"/>
                <a:gd name="T4" fmla="*/ 16 w 108"/>
                <a:gd name="T5" fmla="*/ 10 h 74"/>
                <a:gd name="T6" fmla="*/ 54 w 108"/>
                <a:gd name="T7" fmla="*/ 36 h 74"/>
                <a:gd name="T8" fmla="*/ 92 w 108"/>
                <a:gd name="T9" fmla="*/ 63 h 74"/>
                <a:gd name="T10" fmla="*/ 104 w 108"/>
                <a:gd name="T11" fmla="*/ 71 h 74"/>
                <a:gd name="T12" fmla="*/ 108 w 108"/>
                <a:gd name="T13" fmla="*/ 74 h 74"/>
                <a:gd name="T14" fmla="*/ 103 w 108"/>
                <a:gd name="T15" fmla="*/ 72 h 74"/>
                <a:gd name="T16" fmla="*/ 91 w 108"/>
                <a:gd name="T17" fmla="*/ 64 h 74"/>
                <a:gd name="T18" fmla="*/ 53 w 108"/>
                <a:gd name="T19" fmla="*/ 38 h 74"/>
                <a:gd name="T20" fmla="*/ 15 w 108"/>
                <a:gd name="T21" fmla="*/ 11 h 74"/>
                <a:gd name="T22" fmla="*/ 4 w 108"/>
                <a:gd name="T23" fmla="*/ 3 h 74"/>
                <a:gd name="T24" fmla="*/ 0 w 108"/>
                <a:gd name="T2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4">
                  <a:moveTo>
                    <a:pt x="0" y="0"/>
                  </a:moveTo>
                  <a:cubicBezTo>
                    <a:pt x="0" y="0"/>
                    <a:pt x="1" y="1"/>
                    <a:pt x="4" y="2"/>
                  </a:cubicBezTo>
                  <a:cubicBezTo>
                    <a:pt x="7" y="4"/>
                    <a:pt x="11" y="7"/>
                    <a:pt x="16" y="10"/>
                  </a:cubicBezTo>
                  <a:cubicBezTo>
                    <a:pt x="26" y="16"/>
                    <a:pt x="40" y="25"/>
                    <a:pt x="54" y="36"/>
                  </a:cubicBezTo>
                  <a:cubicBezTo>
                    <a:pt x="69" y="46"/>
                    <a:pt x="82" y="56"/>
                    <a:pt x="92" y="63"/>
                  </a:cubicBezTo>
                  <a:cubicBezTo>
                    <a:pt x="97" y="66"/>
                    <a:pt x="100" y="69"/>
                    <a:pt x="104" y="71"/>
                  </a:cubicBezTo>
                  <a:cubicBezTo>
                    <a:pt x="106" y="73"/>
                    <a:pt x="108" y="74"/>
                    <a:pt x="108" y="74"/>
                  </a:cubicBezTo>
                  <a:cubicBezTo>
                    <a:pt x="108" y="74"/>
                    <a:pt x="106" y="73"/>
                    <a:pt x="103" y="72"/>
                  </a:cubicBezTo>
                  <a:cubicBezTo>
                    <a:pt x="100" y="70"/>
                    <a:pt x="96" y="67"/>
                    <a:pt x="91" y="64"/>
                  </a:cubicBezTo>
                  <a:cubicBezTo>
                    <a:pt x="81" y="57"/>
                    <a:pt x="68" y="48"/>
                    <a:pt x="53" y="38"/>
                  </a:cubicBezTo>
                  <a:cubicBezTo>
                    <a:pt x="39" y="27"/>
                    <a:pt x="25" y="18"/>
                    <a:pt x="15" y="11"/>
                  </a:cubicBezTo>
                  <a:cubicBezTo>
                    <a:pt x="11" y="8"/>
                    <a:pt x="7" y="5"/>
                    <a:pt x="4"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a:extLst>
                <a:ext uri="{FF2B5EF4-FFF2-40B4-BE49-F238E27FC236}">
                  <a16:creationId xmlns:a16="http://schemas.microsoft.com/office/drawing/2014/main" id="{48128445-81AF-488D-BD8C-94AE6F4D3E5E}"/>
                </a:ext>
              </a:extLst>
            </p:cNvPr>
            <p:cNvSpPr>
              <a:spLocks/>
            </p:cNvSpPr>
            <p:nvPr/>
          </p:nvSpPr>
          <p:spPr bwMode="auto">
            <a:xfrm>
              <a:off x="1667" y="2736"/>
              <a:ext cx="195" cy="304"/>
            </a:xfrm>
            <a:custGeom>
              <a:avLst/>
              <a:gdLst>
                <a:gd name="T0" fmla="*/ 0 w 82"/>
                <a:gd name="T1" fmla="*/ 128 h 128"/>
                <a:gd name="T2" fmla="*/ 40 w 82"/>
                <a:gd name="T3" fmla="*/ 63 h 128"/>
                <a:gd name="T4" fmla="*/ 82 w 82"/>
                <a:gd name="T5" fmla="*/ 0 h 128"/>
                <a:gd name="T6" fmla="*/ 42 w 82"/>
                <a:gd name="T7" fmla="*/ 64 h 128"/>
                <a:gd name="T8" fmla="*/ 0 w 82"/>
                <a:gd name="T9" fmla="*/ 128 h 128"/>
              </a:gdLst>
              <a:ahLst/>
              <a:cxnLst>
                <a:cxn ang="0">
                  <a:pos x="T0" y="T1"/>
                </a:cxn>
                <a:cxn ang="0">
                  <a:pos x="T2" y="T3"/>
                </a:cxn>
                <a:cxn ang="0">
                  <a:pos x="T4" y="T5"/>
                </a:cxn>
                <a:cxn ang="0">
                  <a:pos x="T6" y="T7"/>
                </a:cxn>
                <a:cxn ang="0">
                  <a:pos x="T8" y="T9"/>
                </a:cxn>
              </a:cxnLst>
              <a:rect l="0" t="0" r="r" b="b"/>
              <a:pathLst>
                <a:path w="82" h="128">
                  <a:moveTo>
                    <a:pt x="0" y="128"/>
                  </a:moveTo>
                  <a:cubicBezTo>
                    <a:pt x="0" y="127"/>
                    <a:pt x="18" y="98"/>
                    <a:pt x="40" y="63"/>
                  </a:cubicBezTo>
                  <a:cubicBezTo>
                    <a:pt x="63" y="28"/>
                    <a:pt x="81" y="0"/>
                    <a:pt x="82" y="0"/>
                  </a:cubicBezTo>
                  <a:cubicBezTo>
                    <a:pt x="82" y="1"/>
                    <a:pt x="65" y="29"/>
                    <a:pt x="42" y="64"/>
                  </a:cubicBezTo>
                  <a:cubicBezTo>
                    <a:pt x="20" y="100"/>
                    <a:pt x="1" y="128"/>
                    <a:pt x="0" y="12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a:extLst>
                <a:ext uri="{FF2B5EF4-FFF2-40B4-BE49-F238E27FC236}">
                  <a16:creationId xmlns:a16="http://schemas.microsoft.com/office/drawing/2014/main" id="{43BE2953-19FA-4FBE-9DFA-03FEA95A13E9}"/>
                </a:ext>
              </a:extLst>
            </p:cNvPr>
            <p:cNvSpPr>
              <a:spLocks/>
            </p:cNvSpPr>
            <p:nvPr/>
          </p:nvSpPr>
          <p:spPr bwMode="auto">
            <a:xfrm>
              <a:off x="1760" y="3248"/>
              <a:ext cx="230" cy="221"/>
            </a:xfrm>
            <a:custGeom>
              <a:avLst/>
              <a:gdLst>
                <a:gd name="T0" fmla="*/ 0 w 97"/>
                <a:gd name="T1" fmla="*/ 93 h 93"/>
                <a:gd name="T2" fmla="*/ 4 w 97"/>
                <a:gd name="T3" fmla="*/ 89 h 93"/>
                <a:gd name="T4" fmla="*/ 14 w 97"/>
                <a:gd name="T5" fmla="*/ 80 h 93"/>
                <a:gd name="T6" fmla="*/ 49 w 97"/>
                <a:gd name="T7" fmla="*/ 48 h 93"/>
                <a:gd name="T8" fmla="*/ 83 w 97"/>
                <a:gd name="T9" fmla="*/ 14 h 93"/>
                <a:gd name="T10" fmla="*/ 93 w 97"/>
                <a:gd name="T11" fmla="*/ 4 h 93"/>
                <a:gd name="T12" fmla="*/ 97 w 97"/>
                <a:gd name="T13" fmla="*/ 1 h 93"/>
                <a:gd name="T14" fmla="*/ 93 w 97"/>
                <a:gd name="T15" fmla="*/ 5 h 93"/>
                <a:gd name="T16" fmla="*/ 84 w 97"/>
                <a:gd name="T17" fmla="*/ 16 h 93"/>
                <a:gd name="T18" fmla="*/ 51 w 97"/>
                <a:gd name="T19" fmla="*/ 49 h 93"/>
                <a:gd name="T20" fmla="*/ 15 w 97"/>
                <a:gd name="T21" fmla="*/ 81 h 93"/>
                <a:gd name="T22" fmla="*/ 4 w 97"/>
                <a:gd name="T23" fmla="*/ 90 h 93"/>
                <a:gd name="T24" fmla="*/ 0 w 97"/>
                <a:gd name="T2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93">
                  <a:moveTo>
                    <a:pt x="0" y="93"/>
                  </a:moveTo>
                  <a:cubicBezTo>
                    <a:pt x="0" y="93"/>
                    <a:pt x="1" y="91"/>
                    <a:pt x="4" y="89"/>
                  </a:cubicBezTo>
                  <a:cubicBezTo>
                    <a:pt x="6" y="86"/>
                    <a:pt x="10" y="83"/>
                    <a:pt x="14" y="80"/>
                  </a:cubicBezTo>
                  <a:cubicBezTo>
                    <a:pt x="23" y="72"/>
                    <a:pt x="36" y="60"/>
                    <a:pt x="49" y="48"/>
                  </a:cubicBezTo>
                  <a:cubicBezTo>
                    <a:pt x="63" y="35"/>
                    <a:pt x="74" y="23"/>
                    <a:pt x="83" y="14"/>
                  </a:cubicBezTo>
                  <a:cubicBezTo>
                    <a:pt x="87" y="10"/>
                    <a:pt x="90" y="7"/>
                    <a:pt x="93" y="4"/>
                  </a:cubicBezTo>
                  <a:cubicBezTo>
                    <a:pt x="95" y="2"/>
                    <a:pt x="97" y="0"/>
                    <a:pt x="97" y="1"/>
                  </a:cubicBezTo>
                  <a:cubicBezTo>
                    <a:pt x="97" y="1"/>
                    <a:pt x="96" y="2"/>
                    <a:pt x="93" y="5"/>
                  </a:cubicBezTo>
                  <a:cubicBezTo>
                    <a:pt x="91" y="7"/>
                    <a:pt x="88" y="11"/>
                    <a:pt x="84" y="16"/>
                  </a:cubicBezTo>
                  <a:cubicBezTo>
                    <a:pt x="76" y="25"/>
                    <a:pt x="64" y="37"/>
                    <a:pt x="51" y="49"/>
                  </a:cubicBezTo>
                  <a:cubicBezTo>
                    <a:pt x="37" y="62"/>
                    <a:pt x="25" y="73"/>
                    <a:pt x="15" y="81"/>
                  </a:cubicBezTo>
                  <a:cubicBezTo>
                    <a:pt x="11" y="85"/>
                    <a:pt x="7" y="88"/>
                    <a:pt x="4" y="90"/>
                  </a:cubicBezTo>
                  <a:cubicBezTo>
                    <a:pt x="1" y="92"/>
                    <a:pt x="0" y="93"/>
                    <a:pt x="0" y="9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a:extLst>
                <a:ext uri="{FF2B5EF4-FFF2-40B4-BE49-F238E27FC236}">
                  <a16:creationId xmlns:a16="http://schemas.microsoft.com/office/drawing/2014/main" id="{CDAB7DC2-CD91-4932-91D2-E2438C28527B}"/>
                </a:ext>
              </a:extLst>
            </p:cNvPr>
            <p:cNvSpPr>
              <a:spLocks/>
            </p:cNvSpPr>
            <p:nvPr/>
          </p:nvSpPr>
          <p:spPr bwMode="auto">
            <a:xfrm>
              <a:off x="1482" y="3370"/>
              <a:ext cx="278" cy="95"/>
            </a:xfrm>
            <a:custGeom>
              <a:avLst/>
              <a:gdLst>
                <a:gd name="T0" fmla="*/ 0 w 117"/>
                <a:gd name="T1" fmla="*/ 0 h 40"/>
                <a:gd name="T2" fmla="*/ 4 w 117"/>
                <a:gd name="T3" fmla="*/ 1 h 40"/>
                <a:gd name="T4" fmla="*/ 17 w 117"/>
                <a:gd name="T5" fmla="*/ 5 h 40"/>
                <a:gd name="T6" fmla="*/ 59 w 117"/>
                <a:gd name="T7" fmla="*/ 19 h 40"/>
                <a:gd name="T8" fmla="*/ 100 w 117"/>
                <a:gd name="T9" fmla="*/ 33 h 40"/>
                <a:gd name="T10" fmla="*/ 112 w 117"/>
                <a:gd name="T11" fmla="*/ 38 h 40"/>
                <a:gd name="T12" fmla="*/ 117 w 117"/>
                <a:gd name="T13" fmla="*/ 40 h 40"/>
                <a:gd name="T14" fmla="*/ 112 w 117"/>
                <a:gd name="T15" fmla="*/ 39 h 40"/>
                <a:gd name="T16" fmla="*/ 99 w 117"/>
                <a:gd name="T17" fmla="*/ 35 h 40"/>
                <a:gd name="T18" fmla="*/ 58 w 117"/>
                <a:gd name="T19" fmla="*/ 21 h 40"/>
                <a:gd name="T20" fmla="*/ 17 w 117"/>
                <a:gd name="T21" fmla="*/ 7 h 40"/>
                <a:gd name="T22" fmla="*/ 4 w 117"/>
                <a:gd name="T23" fmla="*/ 2 h 40"/>
                <a:gd name="T24" fmla="*/ 0 w 11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40">
                  <a:moveTo>
                    <a:pt x="0" y="0"/>
                  </a:moveTo>
                  <a:cubicBezTo>
                    <a:pt x="0" y="0"/>
                    <a:pt x="1" y="1"/>
                    <a:pt x="4" y="1"/>
                  </a:cubicBezTo>
                  <a:cubicBezTo>
                    <a:pt x="8" y="3"/>
                    <a:pt x="12" y="4"/>
                    <a:pt x="17" y="5"/>
                  </a:cubicBezTo>
                  <a:cubicBezTo>
                    <a:pt x="28" y="9"/>
                    <a:pt x="42" y="14"/>
                    <a:pt x="59" y="19"/>
                  </a:cubicBezTo>
                  <a:cubicBezTo>
                    <a:pt x="75" y="25"/>
                    <a:pt x="89" y="30"/>
                    <a:pt x="100" y="33"/>
                  </a:cubicBezTo>
                  <a:cubicBezTo>
                    <a:pt x="105" y="35"/>
                    <a:pt x="109" y="37"/>
                    <a:pt x="112" y="38"/>
                  </a:cubicBezTo>
                  <a:cubicBezTo>
                    <a:pt x="115" y="39"/>
                    <a:pt x="117" y="40"/>
                    <a:pt x="117" y="40"/>
                  </a:cubicBezTo>
                  <a:cubicBezTo>
                    <a:pt x="117" y="40"/>
                    <a:pt x="115" y="40"/>
                    <a:pt x="112" y="39"/>
                  </a:cubicBezTo>
                  <a:cubicBezTo>
                    <a:pt x="109" y="38"/>
                    <a:pt x="104" y="36"/>
                    <a:pt x="99" y="35"/>
                  </a:cubicBezTo>
                  <a:cubicBezTo>
                    <a:pt x="89" y="32"/>
                    <a:pt x="74" y="27"/>
                    <a:pt x="58" y="21"/>
                  </a:cubicBezTo>
                  <a:cubicBezTo>
                    <a:pt x="42" y="16"/>
                    <a:pt x="27" y="11"/>
                    <a:pt x="17" y="7"/>
                  </a:cubicBezTo>
                  <a:cubicBezTo>
                    <a:pt x="12" y="5"/>
                    <a:pt x="8" y="4"/>
                    <a:pt x="4" y="2"/>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a:extLst>
                <a:ext uri="{FF2B5EF4-FFF2-40B4-BE49-F238E27FC236}">
                  <a16:creationId xmlns:a16="http://schemas.microsoft.com/office/drawing/2014/main" id="{06A2160D-E934-4BAC-A9FC-2B80ED351029}"/>
                </a:ext>
              </a:extLst>
            </p:cNvPr>
            <p:cNvSpPr>
              <a:spLocks/>
            </p:cNvSpPr>
            <p:nvPr/>
          </p:nvSpPr>
          <p:spPr bwMode="auto">
            <a:xfrm>
              <a:off x="1513" y="3759"/>
              <a:ext cx="359" cy="119"/>
            </a:xfrm>
            <a:custGeom>
              <a:avLst/>
              <a:gdLst>
                <a:gd name="T0" fmla="*/ 0 w 151"/>
                <a:gd name="T1" fmla="*/ 1 h 50"/>
                <a:gd name="T2" fmla="*/ 6 w 151"/>
                <a:gd name="T3" fmla="*/ 2 h 50"/>
                <a:gd name="T4" fmla="*/ 23 w 151"/>
                <a:gd name="T5" fmla="*/ 7 h 50"/>
                <a:gd name="T6" fmla="*/ 76 w 151"/>
                <a:gd name="T7" fmla="*/ 24 h 50"/>
                <a:gd name="T8" fmla="*/ 129 w 151"/>
                <a:gd name="T9" fmla="*/ 42 h 50"/>
                <a:gd name="T10" fmla="*/ 145 w 151"/>
                <a:gd name="T11" fmla="*/ 48 h 50"/>
                <a:gd name="T12" fmla="*/ 151 w 151"/>
                <a:gd name="T13" fmla="*/ 50 h 50"/>
                <a:gd name="T14" fmla="*/ 145 w 151"/>
                <a:gd name="T15" fmla="*/ 48 h 50"/>
                <a:gd name="T16" fmla="*/ 128 w 151"/>
                <a:gd name="T17" fmla="*/ 43 h 50"/>
                <a:gd name="T18" fmla="*/ 75 w 151"/>
                <a:gd name="T19" fmla="*/ 26 h 50"/>
                <a:gd name="T20" fmla="*/ 22 w 151"/>
                <a:gd name="T21" fmla="*/ 8 h 50"/>
                <a:gd name="T22" fmla="*/ 6 w 151"/>
                <a:gd name="T23" fmla="*/ 3 h 50"/>
                <a:gd name="T24" fmla="*/ 0 w 151"/>
                <a:gd name="T25"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50">
                  <a:moveTo>
                    <a:pt x="0" y="1"/>
                  </a:moveTo>
                  <a:cubicBezTo>
                    <a:pt x="0" y="0"/>
                    <a:pt x="2" y="1"/>
                    <a:pt x="6" y="2"/>
                  </a:cubicBezTo>
                  <a:cubicBezTo>
                    <a:pt x="11" y="3"/>
                    <a:pt x="16" y="5"/>
                    <a:pt x="23" y="7"/>
                  </a:cubicBezTo>
                  <a:cubicBezTo>
                    <a:pt x="36" y="11"/>
                    <a:pt x="55" y="17"/>
                    <a:pt x="76" y="24"/>
                  </a:cubicBezTo>
                  <a:cubicBezTo>
                    <a:pt x="97" y="31"/>
                    <a:pt x="115" y="37"/>
                    <a:pt x="129" y="42"/>
                  </a:cubicBezTo>
                  <a:cubicBezTo>
                    <a:pt x="135" y="44"/>
                    <a:pt x="141" y="46"/>
                    <a:pt x="145" y="48"/>
                  </a:cubicBezTo>
                  <a:cubicBezTo>
                    <a:pt x="149" y="49"/>
                    <a:pt x="151" y="50"/>
                    <a:pt x="151" y="50"/>
                  </a:cubicBezTo>
                  <a:cubicBezTo>
                    <a:pt x="151" y="50"/>
                    <a:pt x="149" y="50"/>
                    <a:pt x="145" y="48"/>
                  </a:cubicBezTo>
                  <a:cubicBezTo>
                    <a:pt x="141" y="47"/>
                    <a:pt x="135" y="45"/>
                    <a:pt x="128" y="43"/>
                  </a:cubicBezTo>
                  <a:cubicBezTo>
                    <a:pt x="115" y="39"/>
                    <a:pt x="96" y="33"/>
                    <a:pt x="75" y="26"/>
                  </a:cubicBezTo>
                  <a:cubicBezTo>
                    <a:pt x="54" y="19"/>
                    <a:pt x="36" y="13"/>
                    <a:pt x="22" y="8"/>
                  </a:cubicBezTo>
                  <a:cubicBezTo>
                    <a:pt x="16" y="6"/>
                    <a:pt x="10" y="4"/>
                    <a:pt x="6" y="3"/>
                  </a:cubicBezTo>
                  <a:cubicBezTo>
                    <a:pt x="2" y="1"/>
                    <a:pt x="0" y="1"/>
                    <a:pt x="0"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a:extLst>
                <a:ext uri="{FF2B5EF4-FFF2-40B4-BE49-F238E27FC236}">
                  <a16:creationId xmlns:a16="http://schemas.microsoft.com/office/drawing/2014/main" id="{9AE075B7-2211-420B-913D-B3A8A5A768E6}"/>
                </a:ext>
              </a:extLst>
            </p:cNvPr>
            <p:cNvSpPr>
              <a:spLocks/>
            </p:cNvSpPr>
            <p:nvPr/>
          </p:nvSpPr>
          <p:spPr bwMode="auto">
            <a:xfrm>
              <a:off x="1862" y="3586"/>
              <a:ext cx="285" cy="287"/>
            </a:xfrm>
            <a:custGeom>
              <a:avLst/>
              <a:gdLst>
                <a:gd name="T0" fmla="*/ 1 w 120"/>
                <a:gd name="T1" fmla="*/ 121 h 121"/>
                <a:gd name="T2" fmla="*/ 5 w 120"/>
                <a:gd name="T3" fmla="*/ 116 h 121"/>
                <a:gd name="T4" fmla="*/ 18 w 120"/>
                <a:gd name="T5" fmla="*/ 103 h 121"/>
                <a:gd name="T6" fmla="*/ 61 w 120"/>
                <a:gd name="T7" fmla="*/ 62 h 121"/>
                <a:gd name="T8" fmla="*/ 103 w 120"/>
                <a:gd name="T9" fmla="*/ 19 h 121"/>
                <a:gd name="T10" fmla="*/ 115 w 120"/>
                <a:gd name="T11" fmla="*/ 5 h 121"/>
                <a:gd name="T12" fmla="*/ 120 w 120"/>
                <a:gd name="T13" fmla="*/ 1 h 121"/>
                <a:gd name="T14" fmla="*/ 116 w 120"/>
                <a:gd name="T15" fmla="*/ 6 h 121"/>
                <a:gd name="T16" fmla="*/ 104 w 120"/>
                <a:gd name="T17" fmla="*/ 20 h 121"/>
                <a:gd name="T18" fmla="*/ 63 w 120"/>
                <a:gd name="T19" fmla="*/ 63 h 121"/>
                <a:gd name="T20" fmla="*/ 20 w 120"/>
                <a:gd name="T21" fmla="*/ 105 h 121"/>
                <a:gd name="T22" fmla="*/ 6 w 120"/>
                <a:gd name="T23" fmla="*/ 117 h 121"/>
                <a:gd name="T24" fmla="*/ 1 w 120"/>
                <a:gd name="T25"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1">
                  <a:moveTo>
                    <a:pt x="1" y="121"/>
                  </a:moveTo>
                  <a:cubicBezTo>
                    <a:pt x="0" y="121"/>
                    <a:pt x="2" y="119"/>
                    <a:pt x="5" y="116"/>
                  </a:cubicBezTo>
                  <a:cubicBezTo>
                    <a:pt x="9" y="113"/>
                    <a:pt x="13" y="109"/>
                    <a:pt x="18" y="103"/>
                  </a:cubicBezTo>
                  <a:cubicBezTo>
                    <a:pt x="30" y="93"/>
                    <a:pt x="45" y="78"/>
                    <a:pt x="61" y="62"/>
                  </a:cubicBezTo>
                  <a:cubicBezTo>
                    <a:pt x="78" y="45"/>
                    <a:pt x="93" y="30"/>
                    <a:pt x="103" y="19"/>
                  </a:cubicBezTo>
                  <a:cubicBezTo>
                    <a:pt x="108" y="13"/>
                    <a:pt x="112" y="9"/>
                    <a:pt x="115" y="5"/>
                  </a:cubicBezTo>
                  <a:cubicBezTo>
                    <a:pt x="118" y="2"/>
                    <a:pt x="120" y="0"/>
                    <a:pt x="120" y="1"/>
                  </a:cubicBezTo>
                  <a:cubicBezTo>
                    <a:pt x="120" y="1"/>
                    <a:pt x="119" y="3"/>
                    <a:pt x="116" y="6"/>
                  </a:cubicBezTo>
                  <a:cubicBezTo>
                    <a:pt x="113" y="9"/>
                    <a:pt x="109" y="14"/>
                    <a:pt x="104" y="20"/>
                  </a:cubicBezTo>
                  <a:cubicBezTo>
                    <a:pt x="94" y="31"/>
                    <a:pt x="80" y="47"/>
                    <a:pt x="63" y="63"/>
                  </a:cubicBezTo>
                  <a:cubicBezTo>
                    <a:pt x="47" y="80"/>
                    <a:pt x="31" y="94"/>
                    <a:pt x="20" y="105"/>
                  </a:cubicBezTo>
                  <a:cubicBezTo>
                    <a:pt x="14" y="110"/>
                    <a:pt x="9" y="114"/>
                    <a:pt x="6" y="117"/>
                  </a:cubicBezTo>
                  <a:cubicBezTo>
                    <a:pt x="2" y="119"/>
                    <a:pt x="1" y="121"/>
                    <a:pt x="1" y="12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a:extLst>
                <a:ext uri="{FF2B5EF4-FFF2-40B4-BE49-F238E27FC236}">
                  <a16:creationId xmlns:a16="http://schemas.microsoft.com/office/drawing/2014/main" id="{A3307F58-F85C-4AE2-A3BB-80E0E1B48312}"/>
                </a:ext>
              </a:extLst>
            </p:cNvPr>
            <p:cNvSpPr>
              <a:spLocks/>
            </p:cNvSpPr>
            <p:nvPr/>
          </p:nvSpPr>
          <p:spPr bwMode="auto">
            <a:xfrm>
              <a:off x="528" y="279"/>
              <a:ext cx="391" cy="524"/>
            </a:xfrm>
            <a:custGeom>
              <a:avLst/>
              <a:gdLst>
                <a:gd name="T0" fmla="*/ 165 w 165"/>
                <a:gd name="T1" fmla="*/ 152 h 221"/>
                <a:gd name="T2" fmla="*/ 126 w 165"/>
                <a:gd name="T3" fmla="*/ 140 h 221"/>
                <a:gd name="T4" fmla="*/ 81 w 165"/>
                <a:gd name="T5" fmla="*/ 162 h 221"/>
                <a:gd name="T6" fmla="*/ 57 w 165"/>
                <a:gd name="T7" fmla="*/ 133 h 221"/>
                <a:gd name="T8" fmla="*/ 70 w 165"/>
                <a:gd name="T9" fmla="*/ 102 h 221"/>
                <a:gd name="T10" fmla="*/ 122 w 165"/>
                <a:gd name="T11" fmla="*/ 100 h 221"/>
                <a:gd name="T12" fmla="*/ 150 w 165"/>
                <a:gd name="T13" fmla="*/ 12 h 221"/>
                <a:gd name="T14" fmla="*/ 111 w 165"/>
                <a:gd name="T15" fmla="*/ 0 h 221"/>
                <a:gd name="T16" fmla="*/ 95 w 165"/>
                <a:gd name="T17" fmla="*/ 52 h 221"/>
                <a:gd name="T18" fmla="*/ 18 w 165"/>
                <a:gd name="T19" fmla="*/ 109 h 221"/>
                <a:gd name="T20" fmla="*/ 69 w 165"/>
                <a:gd name="T21" fmla="*/ 202 h 221"/>
                <a:gd name="T22" fmla="*/ 165 w 165"/>
                <a:gd name="T23"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21">
                  <a:moveTo>
                    <a:pt x="165" y="152"/>
                  </a:moveTo>
                  <a:cubicBezTo>
                    <a:pt x="126" y="140"/>
                    <a:pt x="126" y="140"/>
                    <a:pt x="126" y="140"/>
                  </a:cubicBezTo>
                  <a:cubicBezTo>
                    <a:pt x="126" y="140"/>
                    <a:pt x="115" y="172"/>
                    <a:pt x="81" y="162"/>
                  </a:cubicBezTo>
                  <a:cubicBezTo>
                    <a:pt x="63" y="157"/>
                    <a:pt x="58" y="143"/>
                    <a:pt x="57" y="133"/>
                  </a:cubicBezTo>
                  <a:cubicBezTo>
                    <a:pt x="56" y="121"/>
                    <a:pt x="61" y="110"/>
                    <a:pt x="70" y="102"/>
                  </a:cubicBezTo>
                  <a:cubicBezTo>
                    <a:pt x="80" y="93"/>
                    <a:pt x="97" y="88"/>
                    <a:pt x="122" y="100"/>
                  </a:cubicBezTo>
                  <a:cubicBezTo>
                    <a:pt x="150" y="12"/>
                    <a:pt x="150" y="12"/>
                    <a:pt x="150" y="12"/>
                  </a:cubicBezTo>
                  <a:cubicBezTo>
                    <a:pt x="111" y="0"/>
                    <a:pt x="111" y="0"/>
                    <a:pt x="111" y="0"/>
                  </a:cubicBezTo>
                  <a:cubicBezTo>
                    <a:pt x="95" y="52"/>
                    <a:pt x="95" y="52"/>
                    <a:pt x="95" y="52"/>
                  </a:cubicBezTo>
                  <a:cubicBezTo>
                    <a:pt x="95" y="52"/>
                    <a:pt x="36" y="49"/>
                    <a:pt x="18" y="109"/>
                  </a:cubicBezTo>
                  <a:cubicBezTo>
                    <a:pt x="0" y="166"/>
                    <a:pt x="47" y="195"/>
                    <a:pt x="69" y="202"/>
                  </a:cubicBezTo>
                  <a:cubicBezTo>
                    <a:pt x="86" y="207"/>
                    <a:pt x="144" y="221"/>
                    <a:pt x="165" y="152"/>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a:extLst>
                <a:ext uri="{FF2B5EF4-FFF2-40B4-BE49-F238E27FC236}">
                  <a16:creationId xmlns:a16="http://schemas.microsoft.com/office/drawing/2014/main" id="{8104D746-B654-440B-AF93-12B62B428C12}"/>
                </a:ext>
              </a:extLst>
            </p:cNvPr>
            <p:cNvSpPr>
              <a:spLocks/>
            </p:cNvSpPr>
            <p:nvPr/>
          </p:nvSpPr>
          <p:spPr bwMode="auto">
            <a:xfrm>
              <a:off x="803" y="150"/>
              <a:ext cx="121" cy="114"/>
            </a:xfrm>
            <a:custGeom>
              <a:avLst/>
              <a:gdLst>
                <a:gd name="T0" fmla="*/ 28 w 121"/>
                <a:gd name="T1" fmla="*/ 0 h 114"/>
                <a:gd name="T2" fmla="*/ 121 w 121"/>
                <a:gd name="T3" fmla="*/ 29 h 114"/>
                <a:gd name="T4" fmla="*/ 93 w 121"/>
                <a:gd name="T5" fmla="*/ 114 h 114"/>
                <a:gd name="T6" fmla="*/ 0 w 121"/>
                <a:gd name="T7" fmla="*/ 86 h 114"/>
                <a:gd name="T8" fmla="*/ 28 w 121"/>
                <a:gd name="T9" fmla="*/ 0 h 114"/>
              </a:gdLst>
              <a:ahLst/>
              <a:cxnLst>
                <a:cxn ang="0">
                  <a:pos x="T0" y="T1"/>
                </a:cxn>
                <a:cxn ang="0">
                  <a:pos x="T2" y="T3"/>
                </a:cxn>
                <a:cxn ang="0">
                  <a:pos x="T4" y="T5"/>
                </a:cxn>
                <a:cxn ang="0">
                  <a:pos x="T6" y="T7"/>
                </a:cxn>
                <a:cxn ang="0">
                  <a:pos x="T8" y="T9"/>
                </a:cxn>
              </a:cxnLst>
              <a:rect l="0" t="0" r="r" b="b"/>
              <a:pathLst>
                <a:path w="121" h="114">
                  <a:moveTo>
                    <a:pt x="28" y="0"/>
                  </a:moveTo>
                  <a:lnTo>
                    <a:pt x="121" y="29"/>
                  </a:lnTo>
                  <a:lnTo>
                    <a:pt x="93" y="114"/>
                  </a:lnTo>
                  <a:lnTo>
                    <a:pt x="0" y="86"/>
                  </a:lnTo>
                  <a:lnTo>
                    <a:pt x="28"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
              <a:extLst>
                <a:ext uri="{FF2B5EF4-FFF2-40B4-BE49-F238E27FC236}">
                  <a16:creationId xmlns:a16="http://schemas.microsoft.com/office/drawing/2014/main" id="{E43CF2B8-150E-4F74-96AF-56A8947BA75E}"/>
                </a:ext>
              </a:extLst>
            </p:cNvPr>
            <p:cNvSpPr>
              <a:spLocks/>
            </p:cNvSpPr>
            <p:nvPr/>
          </p:nvSpPr>
          <p:spPr bwMode="auto">
            <a:xfrm>
              <a:off x="1157" y="309"/>
              <a:ext cx="171" cy="197"/>
            </a:xfrm>
            <a:custGeom>
              <a:avLst/>
              <a:gdLst>
                <a:gd name="T0" fmla="*/ 7 w 72"/>
                <a:gd name="T1" fmla="*/ 39 h 83"/>
                <a:gd name="T2" fmla="*/ 23 w 72"/>
                <a:gd name="T3" fmla="*/ 35 h 83"/>
                <a:gd name="T4" fmla="*/ 33 w 72"/>
                <a:gd name="T5" fmla="*/ 18 h 83"/>
                <a:gd name="T6" fmla="*/ 48 w 72"/>
                <a:gd name="T7" fmla="*/ 23 h 83"/>
                <a:gd name="T8" fmla="*/ 50 w 72"/>
                <a:gd name="T9" fmla="*/ 36 h 83"/>
                <a:gd name="T10" fmla="*/ 33 w 72"/>
                <a:gd name="T11" fmla="*/ 48 h 83"/>
                <a:gd name="T12" fmla="*/ 42 w 72"/>
                <a:gd name="T13" fmla="*/ 83 h 83"/>
                <a:gd name="T14" fmla="*/ 57 w 72"/>
                <a:gd name="T15" fmla="*/ 79 h 83"/>
                <a:gd name="T16" fmla="*/ 52 w 72"/>
                <a:gd name="T17" fmla="*/ 58 h 83"/>
                <a:gd name="T18" fmla="*/ 66 w 72"/>
                <a:gd name="T19" fmla="*/ 23 h 83"/>
                <a:gd name="T20" fmla="*/ 29 w 72"/>
                <a:gd name="T21" fmla="*/ 2 h 83"/>
                <a:gd name="T22" fmla="*/ 7 w 72"/>
                <a:gd name="T23" fmla="*/ 3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83">
                  <a:moveTo>
                    <a:pt x="7" y="39"/>
                  </a:moveTo>
                  <a:cubicBezTo>
                    <a:pt x="23" y="35"/>
                    <a:pt x="23" y="35"/>
                    <a:pt x="23" y="35"/>
                  </a:cubicBezTo>
                  <a:cubicBezTo>
                    <a:pt x="23" y="35"/>
                    <a:pt x="20" y="22"/>
                    <a:pt x="33" y="18"/>
                  </a:cubicBezTo>
                  <a:cubicBezTo>
                    <a:pt x="40" y="16"/>
                    <a:pt x="45" y="20"/>
                    <a:pt x="48" y="23"/>
                  </a:cubicBezTo>
                  <a:cubicBezTo>
                    <a:pt x="50" y="27"/>
                    <a:pt x="51" y="32"/>
                    <a:pt x="50" y="36"/>
                  </a:cubicBezTo>
                  <a:cubicBezTo>
                    <a:pt x="48" y="41"/>
                    <a:pt x="44" y="47"/>
                    <a:pt x="33" y="48"/>
                  </a:cubicBezTo>
                  <a:cubicBezTo>
                    <a:pt x="42" y="83"/>
                    <a:pt x="42" y="83"/>
                    <a:pt x="42" y="83"/>
                  </a:cubicBezTo>
                  <a:cubicBezTo>
                    <a:pt x="57" y="79"/>
                    <a:pt x="57" y="79"/>
                    <a:pt x="57" y="79"/>
                  </a:cubicBezTo>
                  <a:cubicBezTo>
                    <a:pt x="52" y="58"/>
                    <a:pt x="52" y="58"/>
                    <a:pt x="52" y="58"/>
                  </a:cubicBezTo>
                  <a:cubicBezTo>
                    <a:pt x="52" y="58"/>
                    <a:pt x="72" y="47"/>
                    <a:pt x="66" y="23"/>
                  </a:cubicBezTo>
                  <a:cubicBezTo>
                    <a:pt x="60" y="0"/>
                    <a:pt x="38" y="0"/>
                    <a:pt x="29" y="2"/>
                  </a:cubicBezTo>
                  <a:cubicBezTo>
                    <a:pt x="22" y="4"/>
                    <a:pt x="0" y="12"/>
                    <a:pt x="7" y="39"/>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3">
              <a:extLst>
                <a:ext uri="{FF2B5EF4-FFF2-40B4-BE49-F238E27FC236}">
                  <a16:creationId xmlns:a16="http://schemas.microsoft.com/office/drawing/2014/main" id="{72EF3AE5-2E8E-4939-85A2-A17FA2122BBE}"/>
                </a:ext>
              </a:extLst>
            </p:cNvPr>
            <p:cNvSpPr>
              <a:spLocks/>
            </p:cNvSpPr>
            <p:nvPr/>
          </p:nvSpPr>
          <p:spPr bwMode="auto">
            <a:xfrm>
              <a:off x="1261" y="514"/>
              <a:ext cx="45" cy="45"/>
            </a:xfrm>
            <a:custGeom>
              <a:avLst/>
              <a:gdLst>
                <a:gd name="T0" fmla="*/ 45 w 45"/>
                <a:gd name="T1" fmla="*/ 35 h 45"/>
                <a:gd name="T2" fmla="*/ 10 w 45"/>
                <a:gd name="T3" fmla="*/ 45 h 45"/>
                <a:gd name="T4" fmla="*/ 0 w 45"/>
                <a:gd name="T5" fmla="*/ 9 h 45"/>
                <a:gd name="T6" fmla="*/ 36 w 45"/>
                <a:gd name="T7" fmla="*/ 0 h 45"/>
                <a:gd name="T8" fmla="*/ 45 w 45"/>
                <a:gd name="T9" fmla="*/ 35 h 45"/>
              </a:gdLst>
              <a:ahLst/>
              <a:cxnLst>
                <a:cxn ang="0">
                  <a:pos x="T0" y="T1"/>
                </a:cxn>
                <a:cxn ang="0">
                  <a:pos x="T2" y="T3"/>
                </a:cxn>
                <a:cxn ang="0">
                  <a:pos x="T4" y="T5"/>
                </a:cxn>
                <a:cxn ang="0">
                  <a:pos x="T6" y="T7"/>
                </a:cxn>
                <a:cxn ang="0">
                  <a:pos x="T8" y="T9"/>
                </a:cxn>
              </a:cxnLst>
              <a:rect l="0" t="0" r="r" b="b"/>
              <a:pathLst>
                <a:path w="45" h="45">
                  <a:moveTo>
                    <a:pt x="45" y="35"/>
                  </a:moveTo>
                  <a:lnTo>
                    <a:pt x="10" y="45"/>
                  </a:lnTo>
                  <a:lnTo>
                    <a:pt x="0" y="9"/>
                  </a:lnTo>
                  <a:lnTo>
                    <a:pt x="36" y="0"/>
                  </a:lnTo>
                  <a:lnTo>
                    <a:pt x="45" y="3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
              <a:extLst>
                <a:ext uri="{FF2B5EF4-FFF2-40B4-BE49-F238E27FC236}">
                  <a16:creationId xmlns:a16="http://schemas.microsoft.com/office/drawing/2014/main" id="{EB46D431-9564-4E4C-88CA-F2A9A40BB9E4}"/>
                </a:ext>
              </a:extLst>
            </p:cNvPr>
            <p:cNvSpPr>
              <a:spLocks/>
            </p:cNvSpPr>
            <p:nvPr/>
          </p:nvSpPr>
          <p:spPr bwMode="auto">
            <a:xfrm>
              <a:off x="4241" y="1299"/>
              <a:ext cx="155" cy="209"/>
            </a:xfrm>
            <a:custGeom>
              <a:avLst/>
              <a:gdLst>
                <a:gd name="T0" fmla="*/ 0 w 65"/>
                <a:gd name="T1" fmla="*/ 27 h 88"/>
                <a:gd name="T2" fmla="*/ 15 w 65"/>
                <a:gd name="T3" fmla="*/ 33 h 88"/>
                <a:gd name="T4" fmla="*/ 33 w 65"/>
                <a:gd name="T5" fmla="*/ 25 h 88"/>
                <a:gd name="T6" fmla="*/ 42 w 65"/>
                <a:gd name="T7" fmla="*/ 37 h 88"/>
                <a:gd name="T8" fmla="*/ 36 w 65"/>
                <a:gd name="T9" fmla="*/ 49 h 88"/>
                <a:gd name="T10" fmla="*/ 16 w 65"/>
                <a:gd name="T11" fmla="*/ 48 h 88"/>
                <a:gd name="T12" fmla="*/ 3 w 65"/>
                <a:gd name="T13" fmla="*/ 82 h 88"/>
                <a:gd name="T14" fmla="*/ 18 w 65"/>
                <a:gd name="T15" fmla="*/ 88 h 88"/>
                <a:gd name="T16" fmla="*/ 26 w 65"/>
                <a:gd name="T17" fmla="*/ 68 h 88"/>
                <a:gd name="T18" fmla="*/ 57 w 65"/>
                <a:gd name="T19" fmla="*/ 47 h 88"/>
                <a:gd name="T20" fmla="*/ 38 w 65"/>
                <a:gd name="T21" fmla="*/ 9 h 88"/>
                <a:gd name="T22" fmla="*/ 0 w 65"/>
                <a:gd name="T23" fmla="*/ 2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8">
                  <a:moveTo>
                    <a:pt x="0" y="27"/>
                  </a:moveTo>
                  <a:cubicBezTo>
                    <a:pt x="15" y="33"/>
                    <a:pt x="15" y="33"/>
                    <a:pt x="15" y="33"/>
                  </a:cubicBezTo>
                  <a:cubicBezTo>
                    <a:pt x="15" y="33"/>
                    <a:pt x="20" y="20"/>
                    <a:pt x="33" y="25"/>
                  </a:cubicBezTo>
                  <a:cubicBezTo>
                    <a:pt x="40" y="27"/>
                    <a:pt x="42" y="33"/>
                    <a:pt x="42" y="37"/>
                  </a:cubicBezTo>
                  <a:cubicBezTo>
                    <a:pt x="42" y="41"/>
                    <a:pt x="40" y="46"/>
                    <a:pt x="36" y="49"/>
                  </a:cubicBezTo>
                  <a:cubicBezTo>
                    <a:pt x="32" y="52"/>
                    <a:pt x="25" y="54"/>
                    <a:pt x="16" y="48"/>
                  </a:cubicBezTo>
                  <a:cubicBezTo>
                    <a:pt x="3" y="82"/>
                    <a:pt x="3" y="82"/>
                    <a:pt x="3" y="82"/>
                  </a:cubicBezTo>
                  <a:cubicBezTo>
                    <a:pt x="18" y="88"/>
                    <a:pt x="18" y="88"/>
                    <a:pt x="18" y="88"/>
                  </a:cubicBezTo>
                  <a:cubicBezTo>
                    <a:pt x="26" y="68"/>
                    <a:pt x="26" y="68"/>
                    <a:pt x="26" y="68"/>
                  </a:cubicBezTo>
                  <a:cubicBezTo>
                    <a:pt x="26" y="68"/>
                    <a:pt x="49" y="70"/>
                    <a:pt x="57" y="47"/>
                  </a:cubicBezTo>
                  <a:cubicBezTo>
                    <a:pt x="65" y="25"/>
                    <a:pt x="47" y="12"/>
                    <a:pt x="38" y="9"/>
                  </a:cubicBezTo>
                  <a:cubicBezTo>
                    <a:pt x="32" y="7"/>
                    <a:pt x="9" y="0"/>
                    <a:pt x="0" y="2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5">
              <a:extLst>
                <a:ext uri="{FF2B5EF4-FFF2-40B4-BE49-F238E27FC236}">
                  <a16:creationId xmlns:a16="http://schemas.microsoft.com/office/drawing/2014/main" id="{9AB47D49-DE5A-47FC-BD7A-3F5289A37E32}"/>
                </a:ext>
              </a:extLst>
            </p:cNvPr>
            <p:cNvSpPr>
              <a:spLocks/>
            </p:cNvSpPr>
            <p:nvPr/>
          </p:nvSpPr>
          <p:spPr bwMode="auto">
            <a:xfrm>
              <a:off x="4230" y="1513"/>
              <a:ext cx="49" cy="45"/>
            </a:xfrm>
            <a:custGeom>
              <a:avLst/>
              <a:gdLst>
                <a:gd name="T0" fmla="*/ 38 w 49"/>
                <a:gd name="T1" fmla="*/ 45 h 45"/>
                <a:gd name="T2" fmla="*/ 0 w 49"/>
                <a:gd name="T3" fmla="*/ 33 h 45"/>
                <a:gd name="T4" fmla="*/ 14 w 49"/>
                <a:gd name="T5" fmla="*/ 0 h 45"/>
                <a:gd name="T6" fmla="*/ 49 w 49"/>
                <a:gd name="T7" fmla="*/ 12 h 45"/>
                <a:gd name="T8" fmla="*/ 38 w 49"/>
                <a:gd name="T9" fmla="*/ 45 h 45"/>
              </a:gdLst>
              <a:ahLst/>
              <a:cxnLst>
                <a:cxn ang="0">
                  <a:pos x="T0" y="T1"/>
                </a:cxn>
                <a:cxn ang="0">
                  <a:pos x="T2" y="T3"/>
                </a:cxn>
                <a:cxn ang="0">
                  <a:pos x="T4" y="T5"/>
                </a:cxn>
                <a:cxn ang="0">
                  <a:pos x="T6" y="T7"/>
                </a:cxn>
                <a:cxn ang="0">
                  <a:pos x="T8" y="T9"/>
                </a:cxn>
              </a:cxnLst>
              <a:rect l="0" t="0" r="r" b="b"/>
              <a:pathLst>
                <a:path w="49" h="45">
                  <a:moveTo>
                    <a:pt x="38" y="45"/>
                  </a:moveTo>
                  <a:lnTo>
                    <a:pt x="0" y="33"/>
                  </a:lnTo>
                  <a:lnTo>
                    <a:pt x="14" y="0"/>
                  </a:lnTo>
                  <a:lnTo>
                    <a:pt x="49" y="12"/>
                  </a:lnTo>
                  <a:lnTo>
                    <a:pt x="38" y="4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6">
              <a:extLst>
                <a:ext uri="{FF2B5EF4-FFF2-40B4-BE49-F238E27FC236}">
                  <a16:creationId xmlns:a16="http://schemas.microsoft.com/office/drawing/2014/main" id="{D962413C-B9BA-4E86-AEBD-4E9E69EC1818}"/>
                </a:ext>
              </a:extLst>
            </p:cNvPr>
            <p:cNvSpPr>
              <a:spLocks/>
            </p:cNvSpPr>
            <p:nvPr/>
          </p:nvSpPr>
          <p:spPr bwMode="auto">
            <a:xfrm>
              <a:off x="357" y="1551"/>
              <a:ext cx="382" cy="425"/>
            </a:xfrm>
            <a:custGeom>
              <a:avLst/>
              <a:gdLst>
                <a:gd name="T0" fmla="*/ 23 w 161"/>
                <a:gd name="T1" fmla="*/ 95 h 179"/>
                <a:gd name="T2" fmla="*/ 55 w 161"/>
                <a:gd name="T3" fmla="*/ 83 h 179"/>
                <a:gd name="T4" fmla="*/ 72 w 161"/>
                <a:gd name="T5" fmla="*/ 45 h 179"/>
                <a:gd name="T6" fmla="*/ 104 w 161"/>
                <a:gd name="T7" fmla="*/ 52 h 179"/>
                <a:gd name="T8" fmla="*/ 112 w 161"/>
                <a:gd name="T9" fmla="*/ 78 h 179"/>
                <a:gd name="T10" fmla="*/ 78 w 161"/>
                <a:gd name="T11" fmla="*/ 107 h 179"/>
                <a:gd name="T12" fmla="*/ 106 w 161"/>
                <a:gd name="T13" fmla="*/ 179 h 179"/>
                <a:gd name="T14" fmla="*/ 137 w 161"/>
                <a:gd name="T15" fmla="*/ 167 h 179"/>
                <a:gd name="T16" fmla="*/ 121 w 161"/>
                <a:gd name="T17" fmla="*/ 125 h 179"/>
                <a:gd name="T18" fmla="*/ 142 w 161"/>
                <a:gd name="T19" fmla="*/ 47 h 179"/>
                <a:gd name="T20" fmla="*/ 60 w 161"/>
                <a:gd name="T21" fmla="*/ 12 h 179"/>
                <a:gd name="T22" fmla="*/ 23 w 161"/>
                <a:gd name="T23" fmla="*/ 9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 h="179">
                  <a:moveTo>
                    <a:pt x="23" y="95"/>
                  </a:moveTo>
                  <a:cubicBezTo>
                    <a:pt x="55" y="83"/>
                    <a:pt x="55" y="83"/>
                    <a:pt x="55" y="83"/>
                  </a:cubicBezTo>
                  <a:cubicBezTo>
                    <a:pt x="55" y="83"/>
                    <a:pt x="44" y="56"/>
                    <a:pt x="72" y="45"/>
                  </a:cubicBezTo>
                  <a:cubicBezTo>
                    <a:pt x="87" y="39"/>
                    <a:pt x="98" y="45"/>
                    <a:pt x="104" y="52"/>
                  </a:cubicBezTo>
                  <a:cubicBezTo>
                    <a:pt x="111" y="59"/>
                    <a:pt x="113" y="69"/>
                    <a:pt x="112" y="78"/>
                  </a:cubicBezTo>
                  <a:cubicBezTo>
                    <a:pt x="110" y="90"/>
                    <a:pt x="101" y="102"/>
                    <a:pt x="78" y="107"/>
                  </a:cubicBezTo>
                  <a:cubicBezTo>
                    <a:pt x="106" y="179"/>
                    <a:pt x="106" y="179"/>
                    <a:pt x="106" y="179"/>
                  </a:cubicBezTo>
                  <a:cubicBezTo>
                    <a:pt x="137" y="167"/>
                    <a:pt x="137" y="167"/>
                    <a:pt x="137" y="167"/>
                  </a:cubicBezTo>
                  <a:cubicBezTo>
                    <a:pt x="121" y="125"/>
                    <a:pt x="121" y="125"/>
                    <a:pt x="121" y="125"/>
                  </a:cubicBezTo>
                  <a:cubicBezTo>
                    <a:pt x="121" y="125"/>
                    <a:pt x="161" y="96"/>
                    <a:pt x="142" y="47"/>
                  </a:cubicBezTo>
                  <a:cubicBezTo>
                    <a:pt x="124" y="0"/>
                    <a:pt x="78" y="5"/>
                    <a:pt x="60" y="12"/>
                  </a:cubicBezTo>
                  <a:cubicBezTo>
                    <a:pt x="46" y="17"/>
                    <a:pt x="0" y="39"/>
                    <a:pt x="23" y="95"/>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7">
              <a:extLst>
                <a:ext uri="{FF2B5EF4-FFF2-40B4-BE49-F238E27FC236}">
                  <a16:creationId xmlns:a16="http://schemas.microsoft.com/office/drawing/2014/main" id="{20560E94-1C97-4837-94FB-2A54767202CF}"/>
                </a:ext>
              </a:extLst>
            </p:cNvPr>
            <p:cNvSpPr>
              <a:spLocks/>
            </p:cNvSpPr>
            <p:nvPr/>
          </p:nvSpPr>
          <p:spPr bwMode="auto">
            <a:xfrm>
              <a:off x="620" y="1983"/>
              <a:ext cx="105" cy="102"/>
            </a:xfrm>
            <a:custGeom>
              <a:avLst/>
              <a:gdLst>
                <a:gd name="T0" fmla="*/ 105 w 105"/>
                <a:gd name="T1" fmla="*/ 71 h 102"/>
                <a:gd name="T2" fmla="*/ 29 w 105"/>
                <a:gd name="T3" fmla="*/ 102 h 102"/>
                <a:gd name="T4" fmla="*/ 0 w 105"/>
                <a:gd name="T5" fmla="*/ 29 h 102"/>
                <a:gd name="T6" fmla="*/ 79 w 105"/>
                <a:gd name="T7" fmla="*/ 0 h 102"/>
                <a:gd name="T8" fmla="*/ 105 w 105"/>
                <a:gd name="T9" fmla="*/ 71 h 102"/>
              </a:gdLst>
              <a:ahLst/>
              <a:cxnLst>
                <a:cxn ang="0">
                  <a:pos x="T0" y="T1"/>
                </a:cxn>
                <a:cxn ang="0">
                  <a:pos x="T2" y="T3"/>
                </a:cxn>
                <a:cxn ang="0">
                  <a:pos x="T4" y="T5"/>
                </a:cxn>
                <a:cxn ang="0">
                  <a:pos x="T6" y="T7"/>
                </a:cxn>
                <a:cxn ang="0">
                  <a:pos x="T8" y="T9"/>
                </a:cxn>
              </a:cxnLst>
              <a:rect l="0" t="0" r="r" b="b"/>
              <a:pathLst>
                <a:path w="105" h="102">
                  <a:moveTo>
                    <a:pt x="105" y="71"/>
                  </a:moveTo>
                  <a:lnTo>
                    <a:pt x="29" y="102"/>
                  </a:lnTo>
                  <a:lnTo>
                    <a:pt x="0" y="29"/>
                  </a:lnTo>
                  <a:lnTo>
                    <a:pt x="79" y="0"/>
                  </a:lnTo>
                  <a:lnTo>
                    <a:pt x="105" y="71"/>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8">
              <a:extLst>
                <a:ext uri="{FF2B5EF4-FFF2-40B4-BE49-F238E27FC236}">
                  <a16:creationId xmlns:a16="http://schemas.microsoft.com/office/drawing/2014/main" id="{6AAF8071-89EE-42EE-B2D0-3D5957593AD2}"/>
                </a:ext>
              </a:extLst>
            </p:cNvPr>
            <p:cNvSpPr>
              <a:spLocks/>
            </p:cNvSpPr>
            <p:nvPr/>
          </p:nvSpPr>
          <p:spPr bwMode="auto">
            <a:xfrm>
              <a:off x="4037" y="1926"/>
              <a:ext cx="271" cy="302"/>
            </a:xfrm>
            <a:custGeom>
              <a:avLst/>
              <a:gdLst>
                <a:gd name="T0" fmla="*/ 98 w 114"/>
                <a:gd name="T1" fmla="*/ 59 h 127"/>
                <a:gd name="T2" fmla="*/ 75 w 114"/>
                <a:gd name="T3" fmla="*/ 68 h 127"/>
                <a:gd name="T4" fmla="*/ 63 w 114"/>
                <a:gd name="T5" fmla="*/ 95 h 127"/>
                <a:gd name="T6" fmla="*/ 41 w 114"/>
                <a:gd name="T7" fmla="*/ 90 h 127"/>
                <a:gd name="T8" fmla="*/ 35 w 114"/>
                <a:gd name="T9" fmla="*/ 71 h 127"/>
                <a:gd name="T10" fmla="*/ 59 w 114"/>
                <a:gd name="T11" fmla="*/ 51 h 127"/>
                <a:gd name="T12" fmla="*/ 39 w 114"/>
                <a:gd name="T13" fmla="*/ 0 h 127"/>
                <a:gd name="T14" fmla="*/ 17 w 114"/>
                <a:gd name="T15" fmla="*/ 8 h 127"/>
                <a:gd name="T16" fmla="*/ 28 w 114"/>
                <a:gd name="T17" fmla="*/ 39 h 127"/>
                <a:gd name="T18" fmla="*/ 13 w 114"/>
                <a:gd name="T19" fmla="*/ 94 h 127"/>
                <a:gd name="T20" fmla="*/ 72 w 114"/>
                <a:gd name="T21" fmla="*/ 118 h 127"/>
                <a:gd name="T22" fmla="*/ 98 w 114"/>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27">
                  <a:moveTo>
                    <a:pt x="98" y="59"/>
                  </a:moveTo>
                  <a:cubicBezTo>
                    <a:pt x="75" y="68"/>
                    <a:pt x="75" y="68"/>
                    <a:pt x="75" y="68"/>
                  </a:cubicBezTo>
                  <a:cubicBezTo>
                    <a:pt x="75" y="68"/>
                    <a:pt x="83" y="87"/>
                    <a:pt x="63" y="95"/>
                  </a:cubicBezTo>
                  <a:cubicBezTo>
                    <a:pt x="53" y="99"/>
                    <a:pt x="45" y="95"/>
                    <a:pt x="41" y="90"/>
                  </a:cubicBezTo>
                  <a:cubicBezTo>
                    <a:pt x="36" y="85"/>
                    <a:pt x="34" y="78"/>
                    <a:pt x="35" y="71"/>
                  </a:cubicBezTo>
                  <a:cubicBezTo>
                    <a:pt x="37" y="63"/>
                    <a:pt x="43" y="54"/>
                    <a:pt x="59" y="51"/>
                  </a:cubicBezTo>
                  <a:cubicBezTo>
                    <a:pt x="39" y="0"/>
                    <a:pt x="39" y="0"/>
                    <a:pt x="39" y="0"/>
                  </a:cubicBezTo>
                  <a:cubicBezTo>
                    <a:pt x="17" y="8"/>
                    <a:pt x="17" y="8"/>
                    <a:pt x="17" y="8"/>
                  </a:cubicBezTo>
                  <a:cubicBezTo>
                    <a:pt x="28" y="39"/>
                    <a:pt x="28" y="39"/>
                    <a:pt x="28" y="39"/>
                  </a:cubicBezTo>
                  <a:cubicBezTo>
                    <a:pt x="28" y="39"/>
                    <a:pt x="0" y="59"/>
                    <a:pt x="13" y="94"/>
                  </a:cubicBezTo>
                  <a:cubicBezTo>
                    <a:pt x="26" y="127"/>
                    <a:pt x="59" y="123"/>
                    <a:pt x="72" y="118"/>
                  </a:cubicBezTo>
                  <a:cubicBezTo>
                    <a:pt x="82" y="115"/>
                    <a:pt x="114" y="99"/>
                    <a:pt x="98"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9">
              <a:extLst>
                <a:ext uri="{FF2B5EF4-FFF2-40B4-BE49-F238E27FC236}">
                  <a16:creationId xmlns:a16="http://schemas.microsoft.com/office/drawing/2014/main" id="{7160E538-C2EB-485E-AE50-26A1DB9D3832}"/>
                </a:ext>
              </a:extLst>
            </p:cNvPr>
            <p:cNvSpPr>
              <a:spLocks/>
            </p:cNvSpPr>
            <p:nvPr/>
          </p:nvSpPr>
          <p:spPr bwMode="auto">
            <a:xfrm>
              <a:off x="4047" y="1850"/>
              <a:ext cx="73" cy="71"/>
            </a:xfrm>
            <a:custGeom>
              <a:avLst/>
              <a:gdLst>
                <a:gd name="T0" fmla="*/ 0 w 73"/>
                <a:gd name="T1" fmla="*/ 22 h 71"/>
                <a:gd name="T2" fmla="*/ 54 w 73"/>
                <a:gd name="T3" fmla="*/ 0 h 71"/>
                <a:gd name="T4" fmla="*/ 73 w 73"/>
                <a:gd name="T5" fmla="*/ 50 h 71"/>
                <a:gd name="T6" fmla="*/ 21 w 73"/>
                <a:gd name="T7" fmla="*/ 71 h 71"/>
                <a:gd name="T8" fmla="*/ 0 w 73"/>
                <a:gd name="T9" fmla="*/ 22 h 71"/>
              </a:gdLst>
              <a:ahLst/>
              <a:cxnLst>
                <a:cxn ang="0">
                  <a:pos x="T0" y="T1"/>
                </a:cxn>
                <a:cxn ang="0">
                  <a:pos x="T2" y="T3"/>
                </a:cxn>
                <a:cxn ang="0">
                  <a:pos x="T4" y="T5"/>
                </a:cxn>
                <a:cxn ang="0">
                  <a:pos x="T6" y="T7"/>
                </a:cxn>
                <a:cxn ang="0">
                  <a:pos x="T8" y="T9"/>
                </a:cxn>
              </a:cxnLst>
              <a:rect l="0" t="0" r="r" b="b"/>
              <a:pathLst>
                <a:path w="73" h="71">
                  <a:moveTo>
                    <a:pt x="0" y="22"/>
                  </a:moveTo>
                  <a:lnTo>
                    <a:pt x="54" y="0"/>
                  </a:lnTo>
                  <a:lnTo>
                    <a:pt x="73" y="50"/>
                  </a:lnTo>
                  <a:lnTo>
                    <a:pt x="21" y="71"/>
                  </a:lnTo>
                  <a:lnTo>
                    <a:pt x="0" y="2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0">
              <a:extLst>
                <a:ext uri="{FF2B5EF4-FFF2-40B4-BE49-F238E27FC236}">
                  <a16:creationId xmlns:a16="http://schemas.microsoft.com/office/drawing/2014/main" id="{368664DE-0556-45B6-B683-DC8A2C0EBACE}"/>
                </a:ext>
              </a:extLst>
            </p:cNvPr>
            <p:cNvSpPr>
              <a:spLocks/>
            </p:cNvSpPr>
            <p:nvPr/>
          </p:nvSpPr>
          <p:spPr bwMode="auto">
            <a:xfrm>
              <a:off x="463" y="3218"/>
              <a:ext cx="442" cy="949"/>
            </a:xfrm>
            <a:custGeom>
              <a:avLst/>
              <a:gdLst>
                <a:gd name="T0" fmla="*/ 155 w 186"/>
                <a:gd name="T1" fmla="*/ 296 h 400"/>
                <a:gd name="T2" fmla="*/ 138 w 186"/>
                <a:gd name="T3" fmla="*/ 256 h 400"/>
                <a:gd name="T4" fmla="*/ 109 w 186"/>
                <a:gd name="T5" fmla="*/ 221 h 400"/>
                <a:gd name="T6" fmla="*/ 97 w 186"/>
                <a:gd name="T7" fmla="*/ 150 h 400"/>
                <a:gd name="T8" fmla="*/ 63 w 186"/>
                <a:gd name="T9" fmla="*/ 123 h 400"/>
                <a:gd name="T10" fmla="*/ 56 w 186"/>
                <a:gd name="T11" fmla="*/ 102 h 400"/>
                <a:gd name="T12" fmla="*/ 2 w 186"/>
                <a:gd name="T13" fmla="*/ 0 h 400"/>
                <a:gd name="T14" fmla="*/ 23 w 186"/>
                <a:gd name="T15" fmla="*/ 98 h 400"/>
                <a:gd name="T16" fmla="*/ 39 w 186"/>
                <a:gd name="T17" fmla="*/ 135 h 400"/>
                <a:gd name="T18" fmla="*/ 36 w 186"/>
                <a:gd name="T19" fmla="*/ 200 h 400"/>
                <a:gd name="T20" fmla="*/ 70 w 186"/>
                <a:gd name="T21" fmla="*/ 266 h 400"/>
                <a:gd name="T22" fmla="*/ 54 w 186"/>
                <a:gd name="T23" fmla="*/ 327 h 400"/>
                <a:gd name="T24" fmla="*/ 64 w 186"/>
                <a:gd name="T25" fmla="*/ 353 h 400"/>
                <a:gd name="T26" fmla="*/ 141 w 186"/>
                <a:gd name="T27" fmla="*/ 398 h 400"/>
                <a:gd name="T28" fmla="*/ 186 w 186"/>
                <a:gd name="T29" fmla="*/ 400 h 400"/>
                <a:gd name="T30" fmla="*/ 155 w 186"/>
                <a:gd name="T31" fmla="*/ 2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400">
                  <a:moveTo>
                    <a:pt x="155" y="296"/>
                  </a:moveTo>
                  <a:cubicBezTo>
                    <a:pt x="159" y="281"/>
                    <a:pt x="149" y="267"/>
                    <a:pt x="138" y="256"/>
                  </a:cubicBezTo>
                  <a:cubicBezTo>
                    <a:pt x="128" y="245"/>
                    <a:pt x="115" y="236"/>
                    <a:pt x="109" y="221"/>
                  </a:cubicBezTo>
                  <a:cubicBezTo>
                    <a:pt x="100" y="199"/>
                    <a:pt x="112" y="169"/>
                    <a:pt x="97" y="150"/>
                  </a:cubicBezTo>
                  <a:cubicBezTo>
                    <a:pt x="88" y="139"/>
                    <a:pt x="71" y="135"/>
                    <a:pt x="63" y="123"/>
                  </a:cubicBezTo>
                  <a:cubicBezTo>
                    <a:pt x="59" y="117"/>
                    <a:pt x="57" y="109"/>
                    <a:pt x="56" y="102"/>
                  </a:cubicBezTo>
                  <a:cubicBezTo>
                    <a:pt x="47" y="64"/>
                    <a:pt x="28" y="28"/>
                    <a:pt x="2" y="0"/>
                  </a:cubicBezTo>
                  <a:cubicBezTo>
                    <a:pt x="0" y="34"/>
                    <a:pt x="7" y="68"/>
                    <a:pt x="23" y="98"/>
                  </a:cubicBezTo>
                  <a:cubicBezTo>
                    <a:pt x="29" y="110"/>
                    <a:pt x="37" y="122"/>
                    <a:pt x="39" y="135"/>
                  </a:cubicBezTo>
                  <a:cubicBezTo>
                    <a:pt x="42" y="157"/>
                    <a:pt x="30" y="179"/>
                    <a:pt x="36" y="200"/>
                  </a:cubicBezTo>
                  <a:cubicBezTo>
                    <a:pt x="42" y="225"/>
                    <a:pt x="69" y="241"/>
                    <a:pt x="70" y="266"/>
                  </a:cubicBezTo>
                  <a:cubicBezTo>
                    <a:pt x="71" y="288"/>
                    <a:pt x="53" y="306"/>
                    <a:pt x="54" y="327"/>
                  </a:cubicBezTo>
                  <a:cubicBezTo>
                    <a:pt x="55" y="336"/>
                    <a:pt x="59" y="345"/>
                    <a:pt x="64" y="353"/>
                  </a:cubicBezTo>
                  <a:cubicBezTo>
                    <a:pt x="80" y="380"/>
                    <a:pt x="104" y="399"/>
                    <a:pt x="141" y="398"/>
                  </a:cubicBezTo>
                  <a:cubicBezTo>
                    <a:pt x="186" y="400"/>
                    <a:pt x="186" y="400"/>
                    <a:pt x="186" y="400"/>
                  </a:cubicBezTo>
                  <a:cubicBezTo>
                    <a:pt x="155" y="296"/>
                    <a:pt x="155" y="296"/>
                    <a:pt x="155" y="2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1">
              <a:extLst>
                <a:ext uri="{FF2B5EF4-FFF2-40B4-BE49-F238E27FC236}">
                  <a16:creationId xmlns:a16="http://schemas.microsoft.com/office/drawing/2014/main" id="{2459B7A6-94C5-434B-9D34-EBDE6C9BB76B}"/>
                </a:ext>
              </a:extLst>
            </p:cNvPr>
            <p:cNvSpPr>
              <a:spLocks/>
            </p:cNvSpPr>
            <p:nvPr/>
          </p:nvSpPr>
          <p:spPr bwMode="auto">
            <a:xfrm>
              <a:off x="466" y="3218"/>
              <a:ext cx="439" cy="949"/>
            </a:xfrm>
            <a:custGeom>
              <a:avLst/>
              <a:gdLst>
                <a:gd name="T0" fmla="*/ 1 w 185"/>
                <a:gd name="T1" fmla="*/ 0 h 400"/>
                <a:gd name="T2" fmla="*/ 0 w 185"/>
                <a:gd name="T3" fmla="*/ 10 h 400"/>
                <a:gd name="T4" fmla="*/ 22 w 185"/>
                <a:gd name="T5" fmla="*/ 98 h 400"/>
                <a:gd name="T6" fmla="*/ 38 w 185"/>
                <a:gd name="T7" fmla="*/ 135 h 400"/>
                <a:gd name="T8" fmla="*/ 39 w 185"/>
                <a:gd name="T9" fmla="*/ 143 h 400"/>
                <a:gd name="T10" fmla="*/ 33 w 185"/>
                <a:gd name="T11" fmla="*/ 188 h 400"/>
                <a:gd name="T12" fmla="*/ 35 w 185"/>
                <a:gd name="T13" fmla="*/ 200 h 400"/>
                <a:gd name="T14" fmla="*/ 69 w 185"/>
                <a:gd name="T15" fmla="*/ 266 h 400"/>
                <a:gd name="T16" fmla="*/ 69 w 185"/>
                <a:gd name="T17" fmla="*/ 268 h 400"/>
                <a:gd name="T18" fmla="*/ 53 w 185"/>
                <a:gd name="T19" fmla="*/ 325 h 400"/>
                <a:gd name="T20" fmla="*/ 53 w 185"/>
                <a:gd name="T21" fmla="*/ 327 h 400"/>
                <a:gd name="T22" fmla="*/ 63 w 185"/>
                <a:gd name="T23" fmla="*/ 353 h 400"/>
                <a:gd name="T24" fmla="*/ 138 w 185"/>
                <a:gd name="T25" fmla="*/ 398 h 400"/>
                <a:gd name="T26" fmla="*/ 140 w 185"/>
                <a:gd name="T27" fmla="*/ 398 h 400"/>
                <a:gd name="T28" fmla="*/ 185 w 185"/>
                <a:gd name="T29" fmla="*/ 400 h 400"/>
                <a:gd name="T30" fmla="*/ 154 w 185"/>
                <a:gd name="T31" fmla="*/ 296 h 400"/>
                <a:gd name="T32" fmla="*/ 154 w 185"/>
                <a:gd name="T33" fmla="*/ 296 h 400"/>
                <a:gd name="T34" fmla="*/ 155 w 185"/>
                <a:gd name="T35" fmla="*/ 289 h 400"/>
                <a:gd name="T36" fmla="*/ 137 w 185"/>
                <a:gd name="T37" fmla="*/ 256 h 400"/>
                <a:gd name="T38" fmla="*/ 108 w 185"/>
                <a:gd name="T39" fmla="*/ 221 h 400"/>
                <a:gd name="T40" fmla="*/ 104 w 185"/>
                <a:gd name="T41" fmla="*/ 194 h 400"/>
                <a:gd name="T42" fmla="*/ 104 w 185"/>
                <a:gd name="T43" fmla="*/ 185 h 400"/>
                <a:gd name="T44" fmla="*/ 96 w 185"/>
                <a:gd name="T45" fmla="*/ 150 h 400"/>
                <a:gd name="T46" fmla="*/ 62 w 185"/>
                <a:gd name="T47" fmla="*/ 123 h 400"/>
                <a:gd name="T48" fmla="*/ 55 w 185"/>
                <a:gd name="T49" fmla="*/ 102 h 400"/>
                <a:gd name="T50" fmla="*/ 1 w 185"/>
                <a:gd name="T5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400">
                  <a:moveTo>
                    <a:pt x="1" y="0"/>
                  </a:moveTo>
                  <a:cubicBezTo>
                    <a:pt x="0" y="4"/>
                    <a:pt x="0" y="7"/>
                    <a:pt x="0" y="10"/>
                  </a:cubicBezTo>
                  <a:cubicBezTo>
                    <a:pt x="0" y="41"/>
                    <a:pt x="8" y="71"/>
                    <a:pt x="22" y="98"/>
                  </a:cubicBezTo>
                  <a:cubicBezTo>
                    <a:pt x="28" y="110"/>
                    <a:pt x="36" y="122"/>
                    <a:pt x="38" y="135"/>
                  </a:cubicBezTo>
                  <a:cubicBezTo>
                    <a:pt x="38" y="138"/>
                    <a:pt x="39" y="140"/>
                    <a:pt x="39" y="143"/>
                  </a:cubicBezTo>
                  <a:cubicBezTo>
                    <a:pt x="39" y="158"/>
                    <a:pt x="33" y="174"/>
                    <a:pt x="33" y="188"/>
                  </a:cubicBezTo>
                  <a:cubicBezTo>
                    <a:pt x="33" y="192"/>
                    <a:pt x="34" y="196"/>
                    <a:pt x="35" y="200"/>
                  </a:cubicBezTo>
                  <a:cubicBezTo>
                    <a:pt x="41" y="225"/>
                    <a:pt x="68" y="241"/>
                    <a:pt x="69" y="266"/>
                  </a:cubicBezTo>
                  <a:cubicBezTo>
                    <a:pt x="69" y="267"/>
                    <a:pt x="69" y="268"/>
                    <a:pt x="69" y="268"/>
                  </a:cubicBezTo>
                  <a:cubicBezTo>
                    <a:pt x="69" y="288"/>
                    <a:pt x="53" y="305"/>
                    <a:pt x="53" y="325"/>
                  </a:cubicBezTo>
                  <a:cubicBezTo>
                    <a:pt x="53" y="326"/>
                    <a:pt x="53" y="327"/>
                    <a:pt x="53" y="327"/>
                  </a:cubicBezTo>
                  <a:cubicBezTo>
                    <a:pt x="54" y="336"/>
                    <a:pt x="58" y="345"/>
                    <a:pt x="63" y="353"/>
                  </a:cubicBezTo>
                  <a:cubicBezTo>
                    <a:pt x="79" y="379"/>
                    <a:pt x="103" y="398"/>
                    <a:pt x="138" y="398"/>
                  </a:cubicBezTo>
                  <a:cubicBezTo>
                    <a:pt x="139" y="398"/>
                    <a:pt x="139" y="398"/>
                    <a:pt x="140" y="398"/>
                  </a:cubicBezTo>
                  <a:cubicBezTo>
                    <a:pt x="185" y="400"/>
                    <a:pt x="185" y="400"/>
                    <a:pt x="185" y="400"/>
                  </a:cubicBezTo>
                  <a:cubicBezTo>
                    <a:pt x="154" y="296"/>
                    <a:pt x="154" y="296"/>
                    <a:pt x="154" y="296"/>
                  </a:cubicBezTo>
                  <a:cubicBezTo>
                    <a:pt x="154" y="296"/>
                    <a:pt x="154" y="296"/>
                    <a:pt x="154" y="296"/>
                  </a:cubicBezTo>
                  <a:cubicBezTo>
                    <a:pt x="155" y="294"/>
                    <a:pt x="155" y="292"/>
                    <a:pt x="155" y="289"/>
                  </a:cubicBezTo>
                  <a:cubicBezTo>
                    <a:pt x="155" y="277"/>
                    <a:pt x="147" y="265"/>
                    <a:pt x="137" y="256"/>
                  </a:cubicBezTo>
                  <a:cubicBezTo>
                    <a:pt x="127" y="245"/>
                    <a:pt x="114" y="236"/>
                    <a:pt x="108" y="221"/>
                  </a:cubicBezTo>
                  <a:cubicBezTo>
                    <a:pt x="105" y="213"/>
                    <a:pt x="104" y="203"/>
                    <a:pt x="104" y="194"/>
                  </a:cubicBezTo>
                  <a:cubicBezTo>
                    <a:pt x="104" y="191"/>
                    <a:pt x="104" y="188"/>
                    <a:pt x="104" y="185"/>
                  </a:cubicBezTo>
                  <a:cubicBezTo>
                    <a:pt x="104" y="172"/>
                    <a:pt x="104" y="160"/>
                    <a:pt x="96" y="150"/>
                  </a:cubicBezTo>
                  <a:cubicBezTo>
                    <a:pt x="87" y="139"/>
                    <a:pt x="70" y="135"/>
                    <a:pt x="62" y="123"/>
                  </a:cubicBezTo>
                  <a:cubicBezTo>
                    <a:pt x="58" y="117"/>
                    <a:pt x="56" y="109"/>
                    <a:pt x="55" y="102"/>
                  </a:cubicBezTo>
                  <a:cubicBezTo>
                    <a:pt x="46" y="64"/>
                    <a:pt x="27" y="28"/>
                    <a:pt x="1"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2">
              <a:extLst>
                <a:ext uri="{FF2B5EF4-FFF2-40B4-BE49-F238E27FC236}">
                  <a16:creationId xmlns:a16="http://schemas.microsoft.com/office/drawing/2014/main" id="{3E253808-AF77-4C88-B91E-FAEF8924931D}"/>
                </a:ext>
              </a:extLst>
            </p:cNvPr>
            <p:cNvSpPr>
              <a:spLocks/>
            </p:cNvSpPr>
            <p:nvPr/>
          </p:nvSpPr>
          <p:spPr bwMode="auto">
            <a:xfrm>
              <a:off x="872" y="2852"/>
              <a:ext cx="425" cy="1320"/>
            </a:xfrm>
            <a:custGeom>
              <a:avLst/>
              <a:gdLst>
                <a:gd name="T0" fmla="*/ 35 w 179"/>
                <a:gd name="T1" fmla="*/ 555 h 556"/>
                <a:gd name="T2" fmla="*/ 68 w 179"/>
                <a:gd name="T3" fmla="*/ 541 h 556"/>
                <a:gd name="T4" fmla="*/ 77 w 179"/>
                <a:gd name="T5" fmla="*/ 518 h 556"/>
                <a:gd name="T6" fmla="*/ 84 w 179"/>
                <a:gd name="T7" fmla="*/ 489 h 556"/>
                <a:gd name="T8" fmla="*/ 99 w 179"/>
                <a:gd name="T9" fmla="*/ 419 h 556"/>
                <a:gd name="T10" fmla="*/ 120 w 179"/>
                <a:gd name="T11" fmla="*/ 334 h 556"/>
                <a:gd name="T12" fmla="*/ 129 w 179"/>
                <a:gd name="T13" fmla="*/ 260 h 556"/>
                <a:gd name="T14" fmla="*/ 153 w 179"/>
                <a:gd name="T15" fmla="*/ 181 h 556"/>
                <a:gd name="T16" fmla="*/ 162 w 179"/>
                <a:gd name="T17" fmla="*/ 124 h 556"/>
                <a:gd name="T18" fmla="*/ 178 w 179"/>
                <a:gd name="T19" fmla="*/ 82 h 556"/>
                <a:gd name="T20" fmla="*/ 178 w 179"/>
                <a:gd name="T21" fmla="*/ 35 h 556"/>
                <a:gd name="T22" fmla="*/ 173 w 179"/>
                <a:gd name="T23" fmla="*/ 3 h 556"/>
                <a:gd name="T24" fmla="*/ 171 w 179"/>
                <a:gd name="T25" fmla="*/ 1 h 556"/>
                <a:gd name="T26" fmla="*/ 132 w 179"/>
                <a:gd name="T27" fmla="*/ 49 h 556"/>
                <a:gd name="T28" fmla="*/ 100 w 179"/>
                <a:gd name="T29" fmla="*/ 162 h 556"/>
                <a:gd name="T30" fmla="*/ 73 w 179"/>
                <a:gd name="T31" fmla="*/ 210 h 556"/>
                <a:gd name="T32" fmla="*/ 70 w 179"/>
                <a:gd name="T33" fmla="*/ 286 h 556"/>
                <a:gd name="T34" fmla="*/ 45 w 179"/>
                <a:gd name="T35" fmla="*/ 327 h 556"/>
                <a:gd name="T36" fmla="*/ 39 w 179"/>
                <a:gd name="T37" fmla="*/ 393 h 556"/>
                <a:gd name="T38" fmla="*/ 12 w 179"/>
                <a:gd name="T39" fmla="*/ 460 h 556"/>
                <a:gd name="T40" fmla="*/ 1 w 179"/>
                <a:gd name="T41" fmla="*/ 488 h 556"/>
                <a:gd name="T42" fmla="*/ 14 w 179"/>
                <a:gd name="T43" fmla="*/ 547 h 556"/>
                <a:gd name="T44" fmla="*/ 20 w 179"/>
                <a:gd name="T45" fmla="*/ 553 h 556"/>
                <a:gd name="T46" fmla="*/ 14 w 179"/>
                <a:gd name="T47" fmla="*/ 546 h 556"/>
                <a:gd name="T48" fmla="*/ 2 w 179"/>
                <a:gd name="T49" fmla="*/ 489 h 556"/>
                <a:gd name="T50" fmla="*/ 13 w 179"/>
                <a:gd name="T51" fmla="*/ 461 h 556"/>
                <a:gd name="T52" fmla="*/ 41 w 179"/>
                <a:gd name="T53" fmla="*/ 393 h 556"/>
                <a:gd name="T54" fmla="*/ 47 w 179"/>
                <a:gd name="T55" fmla="*/ 328 h 556"/>
                <a:gd name="T56" fmla="*/ 72 w 179"/>
                <a:gd name="T57" fmla="*/ 287 h 556"/>
                <a:gd name="T58" fmla="*/ 76 w 179"/>
                <a:gd name="T59" fmla="*/ 211 h 556"/>
                <a:gd name="T60" fmla="*/ 102 w 179"/>
                <a:gd name="T61" fmla="*/ 163 h 556"/>
                <a:gd name="T62" fmla="*/ 135 w 179"/>
                <a:gd name="T63" fmla="*/ 50 h 556"/>
                <a:gd name="T64" fmla="*/ 173 w 179"/>
                <a:gd name="T65" fmla="*/ 4 h 556"/>
                <a:gd name="T66" fmla="*/ 171 w 179"/>
                <a:gd name="T67" fmla="*/ 5 h 556"/>
                <a:gd name="T68" fmla="*/ 176 w 179"/>
                <a:gd name="T69" fmla="*/ 66 h 556"/>
                <a:gd name="T70" fmla="*/ 170 w 179"/>
                <a:gd name="T71" fmla="*/ 95 h 556"/>
                <a:gd name="T72" fmla="*/ 154 w 179"/>
                <a:gd name="T73" fmla="*/ 152 h 556"/>
                <a:gd name="T74" fmla="*/ 140 w 179"/>
                <a:gd name="T75" fmla="*/ 235 h 556"/>
                <a:gd name="T76" fmla="*/ 121 w 179"/>
                <a:gd name="T77" fmla="*/ 284 h 556"/>
                <a:gd name="T78" fmla="*/ 98 w 179"/>
                <a:gd name="T79" fmla="*/ 376 h 556"/>
                <a:gd name="T80" fmla="*/ 99 w 179"/>
                <a:gd name="T81" fmla="*/ 458 h 556"/>
                <a:gd name="T82" fmla="*/ 77 w 179"/>
                <a:gd name="T83" fmla="*/ 503 h 556"/>
                <a:gd name="T84" fmla="*/ 74 w 179"/>
                <a:gd name="T85" fmla="*/ 531 h 556"/>
                <a:gd name="T86" fmla="*/ 49 w 179"/>
                <a:gd name="T87" fmla="*/ 550 h 556"/>
                <a:gd name="T88" fmla="*/ 26 w 179"/>
                <a:gd name="T8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556">
                  <a:moveTo>
                    <a:pt x="23" y="555"/>
                  </a:moveTo>
                  <a:cubicBezTo>
                    <a:pt x="23" y="555"/>
                    <a:pt x="27" y="556"/>
                    <a:pt x="35" y="555"/>
                  </a:cubicBezTo>
                  <a:cubicBezTo>
                    <a:pt x="39" y="554"/>
                    <a:pt x="44" y="553"/>
                    <a:pt x="50" y="551"/>
                  </a:cubicBezTo>
                  <a:cubicBezTo>
                    <a:pt x="55" y="549"/>
                    <a:pt x="62" y="546"/>
                    <a:pt x="68" y="541"/>
                  </a:cubicBezTo>
                  <a:cubicBezTo>
                    <a:pt x="71" y="539"/>
                    <a:pt x="73" y="535"/>
                    <a:pt x="75" y="531"/>
                  </a:cubicBezTo>
                  <a:cubicBezTo>
                    <a:pt x="77" y="527"/>
                    <a:pt x="77" y="522"/>
                    <a:pt x="77" y="518"/>
                  </a:cubicBezTo>
                  <a:cubicBezTo>
                    <a:pt x="77" y="513"/>
                    <a:pt x="77" y="508"/>
                    <a:pt x="78" y="503"/>
                  </a:cubicBezTo>
                  <a:cubicBezTo>
                    <a:pt x="79" y="498"/>
                    <a:pt x="81" y="494"/>
                    <a:pt x="84" y="489"/>
                  </a:cubicBezTo>
                  <a:cubicBezTo>
                    <a:pt x="89" y="480"/>
                    <a:pt x="98" y="471"/>
                    <a:pt x="100" y="458"/>
                  </a:cubicBezTo>
                  <a:cubicBezTo>
                    <a:pt x="104" y="446"/>
                    <a:pt x="101" y="432"/>
                    <a:pt x="99" y="419"/>
                  </a:cubicBezTo>
                  <a:cubicBezTo>
                    <a:pt x="97" y="406"/>
                    <a:pt x="95" y="391"/>
                    <a:pt x="100" y="377"/>
                  </a:cubicBezTo>
                  <a:cubicBezTo>
                    <a:pt x="105" y="363"/>
                    <a:pt x="115" y="350"/>
                    <a:pt x="120" y="334"/>
                  </a:cubicBezTo>
                  <a:cubicBezTo>
                    <a:pt x="125" y="319"/>
                    <a:pt x="122" y="301"/>
                    <a:pt x="124" y="284"/>
                  </a:cubicBezTo>
                  <a:cubicBezTo>
                    <a:pt x="124" y="276"/>
                    <a:pt x="126" y="267"/>
                    <a:pt x="129" y="260"/>
                  </a:cubicBezTo>
                  <a:cubicBezTo>
                    <a:pt x="133" y="252"/>
                    <a:pt x="138" y="244"/>
                    <a:pt x="142" y="236"/>
                  </a:cubicBezTo>
                  <a:cubicBezTo>
                    <a:pt x="150" y="219"/>
                    <a:pt x="151" y="200"/>
                    <a:pt x="153" y="181"/>
                  </a:cubicBezTo>
                  <a:cubicBezTo>
                    <a:pt x="155" y="172"/>
                    <a:pt x="156" y="162"/>
                    <a:pt x="157" y="152"/>
                  </a:cubicBezTo>
                  <a:cubicBezTo>
                    <a:pt x="158" y="143"/>
                    <a:pt x="159" y="133"/>
                    <a:pt x="162" y="124"/>
                  </a:cubicBezTo>
                  <a:cubicBezTo>
                    <a:pt x="164" y="114"/>
                    <a:pt x="168" y="105"/>
                    <a:pt x="172" y="96"/>
                  </a:cubicBezTo>
                  <a:cubicBezTo>
                    <a:pt x="174" y="91"/>
                    <a:pt x="176" y="87"/>
                    <a:pt x="178" y="82"/>
                  </a:cubicBezTo>
                  <a:cubicBezTo>
                    <a:pt x="178" y="76"/>
                    <a:pt x="179" y="71"/>
                    <a:pt x="179" y="66"/>
                  </a:cubicBezTo>
                  <a:cubicBezTo>
                    <a:pt x="179" y="56"/>
                    <a:pt x="179" y="46"/>
                    <a:pt x="178" y="35"/>
                  </a:cubicBezTo>
                  <a:cubicBezTo>
                    <a:pt x="177" y="25"/>
                    <a:pt x="175" y="15"/>
                    <a:pt x="174" y="4"/>
                  </a:cubicBezTo>
                  <a:cubicBezTo>
                    <a:pt x="174" y="4"/>
                    <a:pt x="173" y="3"/>
                    <a:pt x="173" y="3"/>
                  </a:cubicBezTo>
                  <a:cubicBezTo>
                    <a:pt x="173" y="0"/>
                    <a:pt x="173" y="0"/>
                    <a:pt x="173" y="0"/>
                  </a:cubicBezTo>
                  <a:cubicBezTo>
                    <a:pt x="171" y="1"/>
                    <a:pt x="171" y="1"/>
                    <a:pt x="171" y="1"/>
                  </a:cubicBezTo>
                  <a:cubicBezTo>
                    <a:pt x="162" y="6"/>
                    <a:pt x="154" y="13"/>
                    <a:pt x="147" y="22"/>
                  </a:cubicBezTo>
                  <a:cubicBezTo>
                    <a:pt x="141" y="30"/>
                    <a:pt x="136" y="39"/>
                    <a:pt x="132" y="49"/>
                  </a:cubicBezTo>
                  <a:cubicBezTo>
                    <a:pt x="125" y="68"/>
                    <a:pt x="122" y="88"/>
                    <a:pt x="118" y="108"/>
                  </a:cubicBezTo>
                  <a:cubicBezTo>
                    <a:pt x="115" y="127"/>
                    <a:pt x="110" y="146"/>
                    <a:pt x="100" y="162"/>
                  </a:cubicBezTo>
                  <a:cubicBezTo>
                    <a:pt x="95" y="170"/>
                    <a:pt x="89" y="177"/>
                    <a:pt x="84" y="185"/>
                  </a:cubicBezTo>
                  <a:cubicBezTo>
                    <a:pt x="79" y="193"/>
                    <a:pt x="74" y="201"/>
                    <a:pt x="73" y="210"/>
                  </a:cubicBezTo>
                  <a:cubicBezTo>
                    <a:pt x="70" y="229"/>
                    <a:pt x="81" y="246"/>
                    <a:pt x="79" y="263"/>
                  </a:cubicBezTo>
                  <a:cubicBezTo>
                    <a:pt x="78" y="271"/>
                    <a:pt x="74" y="279"/>
                    <a:pt x="70" y="286"/>
                  </a:cubicBezTo>
                  <a:cubicBezTo>
                    <a:pt x="66" y="293"/>
                    <a:pt x="62" y="300"/>
                    <a:pt x="57" y="306"/>
                  </a:cubicBezTo>
                  <a:cubicBezTo>
                    <a:pt x="52" y="313"/>
                    <a:pt x="48" y="320"/>
                    <a:pt x="45" y="327"/>
                  </a:cubicBezTo>
                  <a:cubicBezTo>
                    <a:pt x="42" y="334"/>
                    <a:pt x="40" y="342"/>
                    <a:pt x="39" y="350"/>
                  </a:cubicBezTo>
                  <a:cubicBezTo>
                    <a:pt x="38" y="365"/>
                    <a:pt x="40" y="379"/>
                    <a:pt x="39" y="393"/>
                  </a:cubicBezTo>
                  <a:cubicBezTo>
                    <a:pt x="38" y="406"/>
                    <a:pt x="34" y="418"/>
                    <a:pt x="28" y="429"/>
                  </a:cubicBezTo>
                  <a:cubicBezTo>
                    <a:pt x="23" y="440"/>
                    <a:pt x="17" y="450"/>
                    <a:pt x="12" y="460"/>
                  </a:cubicBezTo>
                  <a:cubicBezTo>
                    <a:pt x="9" y="465"/>
                    <a:pt x="7" y="470"/>
                    <a:pt x="5" y="474"/>
                  </a:cubicBezTo>
                  <a:cubicBezTo>
                    <a:pt x="3" y="479"/>
                    <a:pt x="2" y="484"/>
                    <a:pt x="1" y="488"/>
                  </a:cubicBezTo>
                  <a:cubicBezTo>
                    <a:pt x="0" y="498"/>
                    <a:pt x="0" y="506"/>
                    <a:pt x="1" y="514"/>
                  </a:cubicBezTo>
                  <a:cubicBezTo>
                    <a:pt x="3" y="529"/>
                    <a:pt x="8" y="540"/>
                    <a:pt x="14" y="547"/>
                  </a:cubicBezTo>
                  <a:cubicBezTo>
                    <a:pt x="15" y="548"/>
                    <a:pt x="16" y="549"/>
                    <a:pt x="17" y="551"/>
                  </a:cubicBezTo>
                  <a:cubicBezTo>
                    <a:pt x="18" y="552"/>
                    <a:pt x="19" y="552"/>
                    <a:pt x="20" y="553"/>
                  </a:cubicBezTo>
                  <a:cubicBezTo>
                    <a:pt x="22" y="554"/>
                    <a:pt x="23" y="555"/>
                    <a:pt x="23" y="555"/>
                  </a:cubicBezTo>
                  <a:cubicBezTo>
                    <a:pt x="23" y="555"/>
                    <a:pt x="19" y="553"/>
                    <a:pt x="14" y="546"/>
                  </a:cubicBezTo>
                  <a:cubicBezTo>
                    <a:pt x="9" y="540"/>
                    <a:pt x="4" y="529"/>
                    <a:pt x="2" y="514"/>
                  </a:cubicBezTo>
                  <a:cubicBezTo>
                    <a:pt x="1" y="506"/>
                    <a:pt x="1" y="498"/>
                    <a:pt x="2" y="489"/>
                  </a:cubicBezTo>
                  <a:cubicBezTo>
                    <a:pt x="3" y="484"/>
                    <a:pt x="4" y="479"/>
                    <a:pt x="6" y="475"/>
                  </a:cubicBezTo>
                  <a:cubicBezTo>
                    <a:pt x="8" y="470"/>
                    <a:pt x="11" y="466"/>
                    <a:pt x="13" y="461"/>
                  </a:cubicBezTo>
                  <a:cubicBezTo>
                    <a:pt x="18" y="451"/>
                    <a:pt x="24" y="441"/>
                    <a:pt x="30" y="430"/>
                  </a:cubicBezTo>
                  <a:cubicBezTo>
                    <a:pt x="35" y="419"/>
                    <a:pt x="40" y="407"/>
                    <a:pt x="41" y="393"/>
                  </a:cubicBezTo>
                  <a:cubicBezTo>
                    <a:pt x="43" y="379"/>
                    <a:pt x="41" y="365"/>
                    <a:pt x="42" y="350"/>
                  </a:cubicBezTo>
                  <a:cubicBezTo>
                    <a:pt x="42" y="342"/>
                    <a:pt x="44" y="335"/>
                    <a:pt x="47" y="328"/>
                  </a:cubicBezTo>
                  <a:cubicBezTo>
                    <a:pt x="50" y="321"/>
                    <a:pt x="54" y="314"/>
                    <a:pt x="59" y="308"/>
                  </a:cubicBezTo>
                  <a:cubicBezTo>
                    <a:pt x="63" y="301"/>
                    <a:pt x="68" y="295"/>
                    <a:pt x="72" y="287"/>
                  </a:cubicBezTo>
                  <a:cubicBezTo>
                    <a:pt x="77" y="280"/>
                    <a:pt x="80" y="272"/>
                    <a:pt x="81" y="263"/>
                  </a:cubicBezTo>
                  <a:cubicBezTo>
                    <a:pt x="83" y="245"/>
                    <a:pt x="73" y="228"/>
                    <a:pt x="76" y="211"/>
                  </a:cubicBezTo>
                  <a:cubicBezTo>
                    <a:pt x="77" y="202"/>
                    <a:pt x="81" y="194"/>
                    <a:pt x="86" y="186"/>
                  </a:cubicBezTo>
                  <a:cubicBezTo>
                    <a:pt x="91" y="179"/>
                    <a:pt x="97" y="171"/>
                    <a:pt x="102" y="163"/>
                  </a:cubicBezTo>
                  <a:cubicBezTo>
                    <a:pt x="113" y="147"/>
                    <a:pt x="118" y="128"/>
                    <a:pt x="121" y="108"/>
                  </a:cubicBezTo>
                  <a:cubicBezTo>
                    <a:pt x="125" y="89"/>
                    <a:pt x="128" y="69"/>
                    <a:pt x="135" y="50"/>
                  </a:cubicBezTo>
                  <a:cubicBezTo>
                    <a:pt x="139" y="41"/>
                    <a:pt x="143" y="32"/>
                    <a:pt x="150" y="23"/>
                  </a:cubicBezTo>
                  <a:cubicBezTo>
                    <a:pt x="156" y="15"/>
                    <a:pt x="163" y="9"/>
                    <a:pt x="173" y="4"/>
                  </a:cubicBezTo>
                  <a:cubicBezTo>
                    <a:pt x="171" y="3"/>
                    <a:pt x="171" y="3"/>
                    <a:pt x="171" y="3"/>
                  </a:cubicBezTo>
                  <a:cubicBezTo>
                    <a:pt x="171" y="3"/>
                    <a:pt x="171" y="4"/>
                    <a:pt x="171" y="5"/>
                  </a:cubicBezTo>
                  <a:cubicBezTo>
                    <a:pt x="172" y="15"/>
                    <a:pt x="174" y="25"/>
                    <a:pt x="175" y="36"/>
                  </a:cubicBezTo>
                  <a:cubicBezTo>
                    <a:pt x="176" y="46"/>
                    <a:pt x="177" y="56"/>
                    <a:pt x="176" y="66"/>
                  </a:cubicBezTo>
                  <a:cubicBezTo>
                    <a:pt x="176" y="71"/>
                    <a:pt x="176" y="76"/>
                    <a:pt x="175" y="81"/>
                  </a:cubicBezTo>
                  <a:cubicBezTo>
                    <a:pt x="174" y="86"/>
                    <a:pt x="172" y="90"/>
                    <a:pt x="170" y="95"/>
                  </a:cubicBezTo>
                  <a:cubicBezTo>
                    <a:pt x="166" y="104"/>
                    <a:pt x="162" y="113"/>
                    <a:pt x="159" y="123"/>
                  </a:cubicBezTo>
                  <a:cubicBezTo>
                    <a:pt x="156" y="133"/>
                    <a:pt x="155" y="143"/>
                    <a:pt x="154" y="152"/>
                  </a:cubicBezTo>
                  <a:cubicBezTo>
                    <a:pt x="153" y="162"/>
                    <a:pt x="152" y="171"/>
                    <a:pt x="151" y="181"/>
                  </a:cubicBezTo>
                  <a:cubicBezTo>
                    <a:pt x="149" y="200"/>
                    <a:pt x="147" y="218"/>
                    <a:pt x="140" y="235"/>
                  </a:cubicBezTo>
                  <a:cubicBezTo>
                    <a:pt x="136" y="243"/>
                    <a:pt x="131" y="250"/>
                    <a:pt x="127" y="259"/>
                  </a:cubicBezTo>
                  <a:cubicBezTo>
                    <a:pt x="123" y="267"/>
                    <a:pt x="121" y="276"/>
                    <a:pt x="121" y="284"/>
                  </a:cubicBezTo>
                  <a:cubicBezTo>
                    <a:pt x="120" y="302"/>
                    <a:pt x="122" y="318"/>
                    <a:pt x="118" y="334"/>
                  </a:cubicBezTo>
                  <a:cubicBezTo>
                    <a:pt x="113" y="349"/>
                    <a:pt x="103" y="362"/>
                    <a:pt x="98" y="376"/>
                  </a:cubicBezTo>
                  <a:cubicBezTo>
                    <a:pt x="93" y="391"/>
                    <a:pt x="95" y="406"/>
                    <a:pt x="97" y="419"/>
                  </a:cubicBezTo>
                  <a:cubicBezTo>
                    <a:pt x="99" y="433"/>
                    <a:pt x="102" y="446"/>
                    <a:pt x="99" y="458"/>
                  </a:cubicBezTo>
                  <a:cubicBezTo>
                    <a:pt x="96" y="470"/>
                    <a:pt x="88" y="479"/>
                    <a:pt x="82" y="488"/>
                  </a:cubicBezTo>
                  <a:cubicBezTo>
                    <a:pt x="79" y="493"/>
                    <a:pt x="77" y="498"/>
                    <a:pt x="77" y="503"/>
                  </a:cubicBezTo>
                  <a:cubicBezTo>
                    <a:pt x="76" y="508"/>
                    <a:pt x="76" y="513"/>
                    <a:pt x="76" y="518"/>
                  </a:cubicBezTo>
                  <a:cubicBezTo>
                    <a:pt x="75" y="522"/>
                    <a:pt x="75" y="527"/>
                    <a:pt x="74" y="531"/>
                  </a:cubicBezTo>
                  <a:cubicBezTo>
                    <a:pt x="72" y="535"/>
                    <a:pt x="70" y="538"/>
                    <a:pt x="67" y="540"/>
                  </a:cubicBezTo>
                  <a:cubicBezTo>
                    <a:pt x="61" y="545"/>
                    <a:pt x="55" y="548"/>
                    <a:pt x="49" y="550"/>
                  </a:cubicBezTo>
                  <a:cubicBezTo>
                    <a:pt x="44" y="552"/>
                    <a:pt x="39" y="553"/>
                    <a:pt x="35" y="554"/>
                  </a:cubicBezTo>
                  <a:cubicBezTo>
                    <a:pt x="31" y="555"/>
                    <a:pt x="28" y="555"/>
                    <a:pt x="26" y="555"/>
                  </a:cubicBezTo>
                  <a:cubicBezTo>
                    <a:pt x="24" y="555"/>
                    <a:pt x="23" y="555"/>
                    <a:pt x="23" y="55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3">
              <a:extLst>
                <a:ext uri="{FF2B5EF4-FFF2-40B4-BE49-F238E27FC236}">
                  <a16:creationId xmlns:a16="http://schemas.microsoft.com/office/drawing/2014/main" id="{29F03C3A-0A59-4A61-81F9-23B7640EEA1D}"/>
                </a:ext>
              </a:extLst>
            </p:cNvPr>
            <p:cNvSpPr>
              <a:spLocks/>
            </p:cNvSpPr>
            <p:nvPr/>
          </p:nvSpPr>
          <p:spPr bwMode="auto">
            <a:xfrm>
              <a:off x="926" y="2916"/>
              <a:ext cx="335" cy="1254"/>
            </a:xfrm>
            <a:custGeom>
              <a:avLst/>
              <a:gdLst>
                <a:gd name="T0" fmla="*/ 141 w 141"/>
                <a:gd name="T1" fmla="*/ 0 h 528"/>
                <a:gd name="T2" fmla="*/ 141 w 141"/>
                <a:gd name="T3" fmla="*/ 2 h 528"/>
                <a:gd name="T4" fmla="*/ 140 w 141"/>
                <a:gd name="T5" fmla="*/ 6 h 528"/>
                <a:gd name="T6" fmla="*/ 136 w 141"/>
                <a:gd name="T7" fmla="*/ 21 h 528"/>
                <a:gd name="T8" fmla="*/ 127 w 141"/>
                <a:gd name="T9" fmla="*/ 44 h 528"/>
                <a:gd name="T10" fmla="*/ 116 w 141"/>
                <a:gd name="T11" fmla="*/ 76 h 528"/>
                <a:gd name="T12" fmla="*/ 107 w 141"/>
                <a:gd name="T13" fmla="*/ 116 h 528"/>
                <a:gd name="T14" fmla="*/ 92 w 141"/>
                <a:gd name="T15" fmla="*/ 159 h 528"/>
                <a:gd name="T16" fmla="*/ 81 w 141"/>
                <a:gd name="T17" fmla="*/ 182 h 528"/>
                <a:gd name="T18" fmla="*/ 75 w 141"/>
                <a:gd name="T19" fmla="*/ 208 h 528"/>
                <a:gd name="T20" fmla="*/ 65 w 141"/>
                <a:gd name="T21" fmla="*/ 262 h 528"/>
                <a:gd name="T22" fmla="*/ 40 w 141"/>
                <a:gd name="T23" fmla="*/ 365 h 528"/>
                <a:gd name="T24" fmla="*/ 19 w 141"/>
                <a:gd name="T25" fmla="*/ 450 h 528"/>
                <a:gd name="T26" fmla="*/ 5 w 141"/>
                <a:gd name="T27" fmla="*/ 507 h 528"/>
                <a:gd name="T28" fmla="*/ 1 w 141"/>
                <a:gd name="T29" fmla="*/ 522 h 528"/>
                <a:gd name="T30" fmla="*/ 0 w 141"/>
                <a:gd name="T31" fmla="*/ 526 h 528"/>
                <a:gd name="T32" fmla="*/ 0 w 141"/>
                <a:gd name="T33" fmla="*/ 528 h 528"/>
                <a:gd name="T34" fmla="*/ 0 w 141"/>
                <a:gd name="T35" fmla="*/ 526 h 528"/>
                <a:gd name="T36" fmla="*/ 1 w 141"/>
                <a:gd name="T37" fmla="*/ 523 h 528"/>
                <a:gd name="T38" fmla="*/ 6 w 141"/>
                <a:gd name="T39" fmla="*/ 507 h 528"/>
                <a:gd name="T40" fmla="*/ 21 w 141"/>
                <a:gd name="T41" fmla="*/ 450 h 528"/>
                <a:gd name="T42" fmla="*/ 42 w 141"/>
                <a:gd name="T43" fmla="*/ 366 h 528"/>
                <a:gd name="T44" fmla="*/ 68 w 141"/>
                <a:gd name="T45" fmla="*/ 263 h 528"/>
                <a:gd name="T46" fmla="*/ 78 w 141"/>
                <a:gd name="T47" fmla="*/ 208 h 528"/>
                <a:gd name="T48" fmla="*/ 84 w 141"/>
                <a:gd name="T49" fmla="*/ 183 h 528"/>
                <a:gd name="T50" fmla="*/ 95 w 141"/>
                <a:gd name="T51" fmla="*/ 161 h 528"/>
                <a:gd name="T52" fmla="*/ 109 w 141"/>
                <a:gd name="T53" fmla="*/ 116 h 528"/>
                <a:gd name="T54" fmla="*/ 118 w 141"/>
                <a:gd name="T55" fmla="*/ 77 h 528"/>
                <a:gd name="T56" fmla="*/ 128 w 141"/>
                <a:gd name="T57" fmla="*/ 45 h 528"/>
                <a:gd name="T58" fmla="*/ 137 w 141"/>
                <a:gd name="T59" fmla="*/ 21 h 528"/>
                <a:gd name="T60" fmla="*/ 140 w 141"/>
                <a:gd name="T61" fmla="*/ 6 h 528"/>
                <a:gd name="T62" fmla="*/ 141 w 141"/>
                <a:gd name="T63" fmla="*/ 2 h 528"/>
                <a:gd name="T64" fmla="*/ 141 w 141"/>
                <a:gd name="T65"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528">
                  <a:moveTo>
                    <a:pt x="141" y="0"/>
                  </a:moveTo>
                  <a:cubicBezTo>
                    <a:pt x="141" y="0"/>
                    <a:pt x="141" y="1"/>
                    <a:pt x="141" y="2"/>
                  </a:cubicBezTo>
                  <a:cubicBezTo>
                    <a:pt x="141" y="3"/>
                    <a:pt x="140" y="4"/>
                    <a:pt x="140" y="6"/>
                  </a:cubicBezTo>
                  <a:cubicBezTo>
                    <a:pt x="139" y="9"/>
                    <a:pt x="138" y="14"/>
                    <a:pt x="136" y="21"/>
                  </a:cubicBezTo>
                  <a:cubicBezTo>
                    <a:pt x="134" y="28"/>
                    <a:pt x="130" y="35"/>
                    <a:pt x="127" y="44"/>
                  </a:cubicBezTo>
                  <a:cubicBezTo>
                    <a:pt x="123" y="54"/>
                    <a:pt x="120" y="64"/>
                    <a:pt x="116" y="76"/>
                  </a:cubicBezTo>
                  <a:cubicBezTo>
                    <a:pt x="113" y="88"/>
                    <a:pt x="110" y="101"/>
                    <a:pt x="107" y="116"/>
                  </a:cubicBezTo>
                  <a:cubicBezTo>
                    <a:pt x="103" y="130"/>
                    <a:pt x="100" y="145"/>
                    <a:pt x="92" y="159"/>
                  </a:cubicBezTo>
                  <a:cubicBezTo>
                    <a:pt x="89" y="167"/>
                    <a:pt x="85" y="174"/>
                    <a:pt x="81" y="182"/>
                  </a:cubicBezTo>
                  <a:cubicBezTo>
                    <a:pt x="78" y="190"/>
                    <a:pt x="76" y="199"/>
                    <a:pt x="75" y="208"/>
                  </a:cubicBezTo>
                  <a:cubicBezTo>
                    <a:pt x="73" y="226"/>
                    <a:pt x="69" y="244"/>
                    <a:pt x="65" y="262"/>
                  </a:cubicBezTo>
                  <a:cubicBezTo>
                    <a:pt x="56" y="299"/>
                    <a:pt x="48" y="334"/>
                    <a:pt x="40" y="365"/>
                  </a:cubicBezTo>
                  <a:cubicBezTo>
                    <a:pt x="32" y="397"/>
                    <a:pt x="25" y="426"/>
                    <a:pt x="19" y="450"/>
                  </a:cubicBezTo>
                  <a:cubicBezTo>
                    <a:pt x="13" y="474"/>
                    <a:pt x="8" y="493"/>
                    <a:pt x="5" y="507"/>
                  </a:cubicBezTo>
                  <a:cubicBezTo>
                    <a:pt x="3" y="513"/>
                    <a:pt x="2" y="519"/>
                    <a:pt x="1" y="522"/>
                  </a:cubicBezTo>
                  <a:cubicBezTo>
                    <a:pt x="0" y="524"/>
                    <a:pt x="0" y="525"/>
                    <a:pt x="0" y="526"/>
                  </a:cubicBezTo>
                  <a:cubicBezTo>
                    <a:pt x="0" y="527"/>
                    <a:pt x="0" y="528"/>
                    <a:pt x="0" y="528"/>
                  </a:cubicBezTo>
                  <a:cubicBezTo>
                    <a:pt x="0" y="528"/>
                    <a:pt x="0" y="527"/>
                    <a:pt x="0" y="526"/>
                  </a:cubicBezTo>
                  <a:cubicBezTo>
                    <a:pt x="1" y="525"/>
                    <a:pt x="1" y="524"/>
                    <a:pt x="1" y="523"/>
                  </a:cubicBezTo>
                  <a:cubicBezTo>
                    <a:pt x="2" y="519"/>
                    <a:pt x="4" y="514"/>
                    <a:pt x="6" y="507"/>
                  </a:cubicBezTo>
                  <a:cubicBezTo>
                    <a:pt x="9" y="493"/>
                    <a:pt x="14" y="474"/>
                    <a:pt x="21" y="450"/>
                  </a:cubicBezTo>
                  <a:cubicBezTo>
                    <a:pt x="27" y="426"/>
                    <a:pt x="34" y="398"/>
                    <a:pt x="42" y="366"/>
                  </a:cubicBezTo>
                  <a:cubicBezTo>
                    <a:pt x="50" y="334"/>
                    <a:pt x="59" y="299"/>
                    <a:pt x="68" y="263"/>
                  </a:cubicBezTo>
                  <a:cubicBezTo>
                    <a:pt x="72" y="244"/>
                    <a:pt x="75" y="226"/>
                    <a:pt x="78" y="208"/>
                  </a:cubicBezTo>
                  <a:cubicBezTo>
                    <a:pt x="79" y="199"/>
                    <a:pt x="81" y="191"/>
                    <a:pt x="84" y="183"/>
                  </a:cubicBezTo>
                  <a:cubicBezTo>
                    <a:pt x="87" y="175"/>
                    <a:pt x="91" y="168"/>
                    <a:pt x="95" y="161"/>
                  </a:cubicBezTo>
                  <a:cubicBezTo>
                    <a:pt x="103" y="146"/>
                    <a:pt x="106" y="130"/>
                    <a:pt x="109" y="116"/>
                  </a:cubicBezTo>
                  <a:cubicBezTo>
                    <a:pt x="112" y="102"/>
                    <a:pt x="115" y="89"/>
                    <a:pt x="118" y="77"/>
                  </a:cubicBezTo>
                  <a:cubicBezTo>
                    <a:pt x="121" y="65"/>
                    <a:pt x="125" y="54"/>
                    <a:pt x="128" y="45"/>
                  </a:cubicBezTo>
                  <a:cubicBezTo>
                    <a:pt x="132" y="36"/>
                    <a:pt x="136" y="28"/>
                    <a:pt x="137" y="21"/>
                  </a:cubicBezTo>
                  <a:cubicBezTo>
                    <a:pt x="139" y="15"/>
                    <a:pt x="140" y="9"/>
                    <a:pt x="140" y="6"/>
                  </a:cubicBezTo>
                  <a:cubicBezTo>
                    <a:pt x="141" y="4"/>
                    <a:pt x="141" y="3"/>
                    <a:pt x="141" y="2"/>
                  </a:cubicBezTo>
                  <a:cubicBezTo>
                    <a:pt x="141" y="1"/>
                    <a:pt x="141" y="0"/>
                    <a:pt x="14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4">
              <a:extLst>
                <a:ext uri="{FF2B5EF4-FFF2-40B4-BE49-F238E27FC236}">
                  <a16:creationId xmlns:a16="http://schemas.microsoft.com/office/drawing/2014/main" id="{4ABBC7DB-50C3-4935-8ED0-24E0FF67C6B0}"/>
                </a:ext>
              </a:extLst>
            </p:cNvPr>
            <p:cNvSpPr>
              <a:spLocks/>
            </p:cNvSpPr>
            <p:nvPr/>
          </p:nvSpPr>
          <p:spPr bwMode="auto">
            <a:xfrm>
              <a:off x="556" y="2517"/>
              <a:ext cx="477" cy="1653"/>
            </a:xfrm>
            <a:custGeom>
              <a:avLst/>
              <a:gdLst>
                <a:gd name="T0" fmla="*/ 164 w 201"/>
                <a:gd name="T1" fmla="*/ 696 h 696"/>
                <a:gd name="T2" fmla="*/ 189 w 201"/>
                <a:gd name="T3" fmla="*/ 594 h 696"/>
                <a:gd name="T4" fmla="*/ 152 w 201"/>
                <a:gd name="T5" fmla="*/ 499 h 696"/>
                <a:gd name="T6" fmla="*/ 152 w 201"/>
                <a:gd name="T7" fmla="*/ 421 h 696"/>
                <a:gd name="T8" fmla="*/ 111 w 201"/>
                <a:gd name="T9" fmla="*/ 325 h 696"/>
                <a:gd name="T10" fmla="*/ 121 w 201"/>
                <a:gd name="T11" fmla="*/ 267 h 696"/>
                <a:gd name="T12" fmla="*/ 90 w 201"/>
                <a:gd name="T13" fmla="*/ 202 h 696"/>
                <a:gd name="T14" fmla="*/ 65 w 201"/>
                <a:gd name="T15" fmla="*/ 94 h 696"/>
                <a:gd name="T16" fmla="*/ 13 w 201"/>
                <a:gd name="T17" fmla="*/ 0 h 696"/>
                <a:gd name="T18" fmla="*/ 2 w 201"/>
                <a:gd name="T19" fmla="*/ 94 h 696"/>
                <a:gd name="T20" fmla="*/ 23 w 201"/>
                <a:gd name="T21" fmla="*/ 172 h 696"/>
                <a:gd name="T22" fmla="*/ 27 w 201"/>
                <a:gd name="T23" fmla="*/ 231 h 696"/>
                <a:gd name="T24" fmla="*/ 36 w 201"/>
                <a:gd name="T25" fmla="*/ 288 h 696"/>
                <a:gd name="T26" fmla="*/ 54 w 201"/>
                <a:gd name="T27" fmla="*/ 329 h 696"/>
                <a:gd name="T28" fmla="*/ 58 w 201"/>
                <a:gd name="T29" fmla="*/ 413 h 696"/>
                <a:gd name="T30" fmla="*/ 82 w 201"/>
                <a:gd name="T31" fmla="*/ 479 h 696"/>
                <a:gd name="T32" fmla="*/ 76 w 201"/>
                <a:gd name="T33" fmla="*/ 578 h 696"/>
                <a:gd name="T34" fmla="*/ 98 w 201"/>
                <a:gd name="T35" fmla="*/ 622 h 696"/>
                <a:gd name="T36" fmla="*/ 100 w 201"/>
                <a:gd name="T37" fmla="*/ 660 h 696"/>
                <a:gd name="T38" fmla="*/ 164 w 201"/>
                <a:gd name="T39"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696">
                  <a:moveTo>
                    <a:pt x="164" y="696"/>
                  </a:moveTo>
                  <a:cubicBezTo>
                    <a:pt x="193" y="679"/>
                    <a:pt x="201" y="626"/>
                    <a:pt x="189" y="594"/>
                  </a:cubicBezTo>
                  <a:cubicBezTo>
                    <a:pt x="177" y="562"/>
                    <a:pt x="156" y="533"/>
                    <a:pt x="152" y="499"/>
                  </a:cubicBezTo>
                  <a:cubicBezTo>
                    <a:pt x="150" y="473"/>
                    <a:pt x="158" y="447"/>
                    <a:pt x="152" y="421"/>
                  </a:cubicBezTo>
                  <a:cubicBezTo>
                    <a:pt x="144" y="387"/>
                    <a:pt x="110" y="360"/>
                    <a:pt x="111" y="325"/>
                  </a:cubicBezTo>
                  <a:cubicBezTo>
                    <a:pt x="111" y="305"/>
                    <a:pt x="122" y="286"/>
                    <a:pt x="121" y="267"/>
                  </a:cubicBezTo>
                  <a:cubicBezTo>
                    <a:pt x="120" y="242"/>
                    <a:pt x="102" y="223"/>
                    <a:pt x="90" y="202"/>
                  </a:cubicBezTo>
                  <a:cubicBezTo>
                    <a:pt x="72" y="169"/>
                    <a:pt x="71" y="130"/>
                    <a:pt x="65" y="94"/>
                  </a:cubicBezTo>
                  <a:cubicBezTo>
                    <a:pt x="59" y="57"/>
                    <a:pt x="45" y="18"/>
                    <a:pt x="13" y="0"/>
                  </a:cubicBezTo>
                  <a:cubicBezTo>
                    <a:pt x="8" y="31"/>
                    <a:pt x="0" y="52"/>
                    <a:pt x="2" y="94"/>
                  </a:cubicBezTo>
                  <a:cubicBezTo>
                    <a:pt x="3" y="109"/>
                    <a:pt x="21" y="138"/>
                    <a:pt x="23" y="172"/>
                  </a:cubicBezTo>
                  <a:cubicBezTo>
                    <a:pt x="25" y="192"/>
                    <a:pt x="26" y="211"/>
                    <a:pt x="27" y="231"/>
                  </a:cubicBezTo>
                  <a:cubicBezTo>
                    <a:pt x="28" y="251"/>
                    <a:pt x="29" y="270"/>
                    <a:pt x="36" y="288"/>
                  </a:cubicBezTo>
                  <a:cubicBezTo>
                    <a:pt x="42" y="302"/>
                    <a:pt x="50" y="315"/>
                    <a:pt x="54" y="329"/>
                  </a:cubicBezTo>
                  <a:cubicBezTo>
                    <a:pt x="61" y="356"/>
                    <a:pt x="52" y="385"/>
                    <a:pt x="58" y="413"/>
                  </a:cubicBezTo>
                  <a:cubicBezTo>
                    <a:pt x="63" y="436"/>
                    <a:pt x="79" y="456"/>
                    <a:pt x="82" y="479"/>
                  </a:cubicBezTo>
                  <a:cubicBezTo>
                    <a:pt x="87" y="512"/>
                    <a:pt x="65" y="546"/>
                    <a:pt x="76" y="578"/>
                  </a:cubicBezTo>
                  <a:cubicBezTo>
                    <a:pt x="82" y="593"/>
                    <a:pt x="94" y="606"/>
                    <a:pt x="98" y="622"/>
                  </a:cubicBezTo>
                  <a:cubicBezTo>
                    <a:pt x="101" y="634"/>
                    <a:pt x="98" y="647"/>
                    <a:pt x="100" y="660"/>
                  </a:cubicBezTo>
                  <a:cubicBezTo>
                    <a:pt x="105" y="680"/>
                    <a:pt x="143" y="696"/>
                    <a:pt x="164" y="69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5">
              <a:extLst>
                <a:ext uri="{FF2B5EF4-FFF2-40B4-BE49-F238E27FC236}">
                  <a16:creationId xmlns:a16="http://schemas.microsoft.com/office/drawing/2014/main" id="{A1F54105-3223-46DA-B016-7A4D4D76984D}"/>
                </a:ext>
              </a:extLst>
            </p:cNvPr>
            <p:cNvSpPr>
              <a:spLocks/>
            </p:cNvSpPr>
            <p:nvPr/>
          </p:nvSpPr>
          <p:spPr bwMode="auto">
            <a:xfrm>
              <a:off x="606" y="2588"/>
              <a:ext cx="339" cy="1579"/>
            </a:xfrm>
            <a:custGeom>
              <a:avLst/>
              <a:gdLst>
                <a:gd name="T0" fmla="*/ 0 w 143"/>
                <a:gd name="T1" fmla="*/ 0 h 665"/>
                <a:gd name="T2" fmla="*/ 0 w 143"/>
                <a:gd name="T3" fmla="*/ 2 h 665"/>
                <a:gd name="T4" fmla="*/ 1 w 143"/>
                <a:gd name="T5" fmla="*/ 7 h 665"/>
                <a:gd name="T6" fmla="*/ 4 w 143"/>
                <a:gd name="T7" fmla="*/ 27 h 665"/>
                <a:gd name="T8" fmla="*/ 13 w 143"/>
                <a:gd name="T9" fmla="*/ 57 h 665"/>
                <a:gd name="T10" fmla="*/ 24 w 143"/>
                <a:gd name="T11" fmla="*/ 97 h 665"/>
                <a:gd name="T12" fmla="*/ 33 w 143"/>
                <a:gd name="T13" fmla="*/ 147 h 665"/>
                <a:gd name="T14" fmla="*/ 48 w 143"/>
                <a:gd name="T15" fmla="*/ 202 h 665"/>
                <a:gd name="T16" fmla="*/ 60 w 143"/>
                <a:gd name="T17" fmla="*/ 231 h 665"/>
                <a:gd name="T18" fmla="*/ 66 w 143"/>
                <a:gd name="T19" fmla="*/ 263 h 665"/>
                <a:gd name="T20" fmla="*/ 75 w 143"/>
                <a:gd name="T21" fmla="*/ 331 h 665"/>
                <a:gd name="T22" fmla="*/ 100 w 143"/>
                <a:gd name="T23" fmla="*/ 461 h 665"/>
                <a:gd name="T24" fmla="*/ 122 w 143"/>
                <a:gd name="T25" fmla="*/ 567 h 665"/>
                <a:gd name="T26" fmla="*/ 137 w 143"/>
                <a:gd name="T27" fmla="*/ 639 h 665"/>
                <a:gd name="T28" fmla="*/ 141 w 143"/>
                <a:gd name="T29" fmla="*/ 658 h 665"/>
                <a:gd name="T30" fmla="*/ 142 w 143"/>
                <a:gd name="T31" fmla="*/ 663 h 665"/>
                <a:gd name="T32" fmla="*/ 143 w 143"/>
                <a:gd name="T33" fmla="*/ 665 h 665"/>
                <a:gd name="T34" fmla="*/ 142 w 143"/>
                <a:gd name="T35" fmla="*/ 663 h 665"/>
                <a:gd name="T36" fmla="*/ 142 w 143"/>
                <a:gd name="T37" fmla="*/ 658 h 665"/>
                <a:gd name="T38" fmla="*/ 138 w 143"/>
                <a:gd name="T39" fmla="*/ 638 h 665"/>
                <a:gd name="T40" fmla="*/ 124 w 143"/>
                <a:gd name="T41" fmla="*/ 567 h 665"/>
                <a:gd name="T42" fmla="*/ 103 w 143"/>
                <a:gd name="T43" fmla="*/ 461 h 665"/>
                <a:gd name="T44" fmla="*/ 78 w 143"/>
                <a:gd name="T45" fmla="*/ 330 h 665"/>
                <a:gd name="T46" fmla="*/ 69 w 143"/>
                <a:gd name="T47" fmla="*/ 263 h 665"/>
                <a:gd name="T48" fmla="*/ 63 w 143"/>
                <a:gd name="T49" fmla="*/ 230 h 665"/>
                <a:gd name="T50" fmla="*/ 50 w 143"/>
                <a:gd name="T51" fmla="*/ 201 h 665"/>
                <a:gd name="T52" fmla="*/ 35 w 143"/>
                <a:gd name="T53" fmla="*/ 146 h 665"/>
                <a:gd name="T54" fmla="*/ 26 w 143"/>
                <a:gd name="T55" fmla="*/ 97 h 665"/>
                <a:gd name="T56" fmla="*/ 15 w 143"/>
                <a:gd name="T57" fmla="*/ 56 h 665"/>
                <a:gd name="T58" fmla="*/ 5 w 143"/>
                <a:gd name="T59" fmla="*/ 27 h 665"/>
                <a:gd name="T60" fmla="*/ 1 w 143"/>
                <a:gd name="T61" fmla="*/ 7 h 665"/>
                <a:gd name="T62" fmla="*/ 0 w 143"/>
                <a:gd name="T63" fmla="*/ 2 h 665"/>
                <a:gd name="T64" fmla="*/ 0 w 143"/>
                <a:gd name="T6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665">
                  <a:moveTo>
                    <a:pt x="0" y="0"/>
                  </a:moveTo>
                  <a:cubicBezTo>
                    <a:pt x="0" y="0"/>
                    <a:pt x="0" y="1"/>
                    <a:pt x="0" y="2"/>
                  </a:cubicBezTo>
                  <a:cubicBezTo>
                    <a:pt x="0" y="4"/>
                    <a:pt x="0" y="5"/>
                    <a:pt x="1" y="7"/>
                  </a:cubicBezTo>
                  <a:cubicBezTo>
                    <a:pt x="1" y="12"/>
                    <a:pt x="2" y="18"/>
                    <a:pt x="4" y="27"/>
                  </a:cubicBezTo>
                  <a:cubicBezTo>
                    <a:pt x="5" y="36"/>
                    <a:pt x="10" y="45"/>
                    <a:pt x="13" y="57"/>
                  </a:cubicBezTo>
                  <a:cubicBezTo>
                    <a:pt x="17" y="69"/>
                    <a:pt x="21" y="82"/>
                    <a:pt x="24" y="97"/>
                  </a:cubicBezTo>
                  <a:cubicBezTo>
                    <a:pt x="27" y="112"/>
                    <a:pt x="30" y="129"/>
                    <a:pt x="33" y="147"/>
                  </a:cubicBezTo>
                  <a:cubicBezTo>
                    <a:pt x="36" y="164"/>
                    <a:pt x="39" y="184"/>
                    <a:pt x="48" y="202"/>
                  </a:cubicBezTo>
                  <a:cubicBezTo>
                    <a:pt x="52" y="212"/>
                    <a:pt x="57" y="221"/>
                    <a:pt x="60" y="231"/>
                  </a:cubicBezTo>
                  <a:cubicBezTo>
                    <a:pt x="64" y="241"/>
                    <a:pt x="65" y="252"/>
                    <a:pt x="66" y="263"/>
                  </a:cubicBezTo>
                  <a:cubicBezTo>
                    <a:pt x="68" y="285"/>
                    <a:pt x="71" y="308"/>
                    <a:pt x="75" y="331"/>
                  </a:cubicBezTo>
                  <a:cubicBezTo>
                    <a:pt x="84" y="377"/>
                    <a:pt x="92" y="421"/>
                    <a:pt x="100" y="461"/>
                  </a:cubicBezTo>
                  <a:cubicBezTo>
                    <a:pt x="108" y="501"/>
                    <a:pt x="116" y="537"/>
                    <a:pt x="122" y="567"/>
                  </a:cubicBezTo>
                  <a:cubicBezTo>
                    <a:pt x="128" y="597"/>
                    <a:pt x="133" y="621"/>
                    <a:pt x="137" y="639"/>
                  </a:cubicBezTo>
                  <a:cubicBezTo>
                    <a:pt x="139" y="647"/>
                    <a:pt x="140" y="653"/>
                    <a:pt x="141" y="658"/>
                  </a:cubicBezTo>
                  <a:cubicBezTo>
                    <a:pt x="141" y="660"/>
                    <a:pt x="142" y="662"/>
                    <a:pt x="142" y="663"/>
                  </a:cubicBezTo>
                  <a:cubicBezTo>
                    <a:pt x="142" y="664"/>
                    <a:pt x="143" y="665"/>
                    <a:pt x="143" y="665"/>
                  </a:cubicBezTo>
                  <a:cubicBezTo>
                    <a:pt x="143" y="665"/>
                    <a:pt x="143" y="664"/>
                    <a:pt x="142" y="663"/>
                  </a:cubicBezTo>
                  <a:cubicBezTo>
                    <a:pt x="142" y="662"/>
                    <a:pt x="142" y="660"/>
                    <a:pt x="142" y="658"/>
                  </a:cubicBezTo>
                  <a:cubicBezTo>
                    <a:pt x="141" y="653"/>
                    <a:pt x="139" y="647"/>
                    <a:pt x="138" y="638"/>
                  </a:cubicBezTo>
                  <a:cubicBezTo>
                    <a:pt x="135" y="621"/>
                    <a:pt x="130" y="597"/>
                    <a:pt x="124" y="567"/>
                  </a:cubicBezTo>
                  <a:cubicBezTo>
                    <a:pt x="118" y="536"/>
                    <a:pt x="111" y="500"/>
                    <a:pt x="103" y="461"/>
                  </a:cubicBezTo>
                  <a:cubicBezTo>
                    <a:pt x="95" y="421"/>
                    <a:pt x="87" y="377"/>
                    <a:pt x="78" y="330"/>
                  </a:cubicBezTo>
                  <a:cubicBezTo>
                    <a:pt x="74" y="307"/>
                    <a:pt x="71" y="285"/>
                    <a:pt x="69" y="263"/>
                  </a:cubicBezTo>
                  <a:cubicBezTo>
                    <a:pt x="68" y="251"/>
                    <a:pt x="66" y="240"/>
                    <a:pt x="63" y="230"/>
                  </a:cubicBezTo>
                  <a:cubicBezTo>
                    <a:pt x="59" y="220"/>
                    <a:pt x="54" y="211"/>
                    <a:pt x="50" y="201"/>
                  </a:cubicBezTo>
                  <a:cubicBezTo>
                    <a:pt x="42" y="183"/>
                    <a:pt x="38" y="164"/>
                    <a:pt x="35" y="146"/>
                  </a:cubicBezTo>
                  <a:cubicBezTo>
                    <a:pt x="32" y="128"/>
                    <a:pt x="29" y="112"/>
                    <a:pt x="26" y="97"/>
                  </a:cubicBezTo>
                  <a:cubicBezTo>
                    <a:pt x="22" y="82"/>
                    <a:pt x="19" y="68"/>
                    <a:pt x="15" y="56"/>
                  </a:cubicBezTo>
                  <a:cubicBezTo>
                    <a:pt x="11" y="45"/>
                    <a:pt x="6" y="35"/>
                    <a:pt x="5" y="27"/>
                  </a:cubicBezTo>
                  <a:cubicBezTo>
                    <a:pt x="3" y="18"/>
                    <a:pt x="2" y="12"/>
                    <a:pt x="1" y="7"/>
                  </a:cubicBezTo>
                  <a:cubicBezTo>
                    <a:pt x="1" y="5"/>
                    <a:pt x="0" y="3"/>
                    <a:pt x="0" y="2"/>
                  </a:cubicBezTo>
                  <a:cubicBezTo>
                    <a:pt x="0"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6">
              <a:extLst>
                <a:ext uri="{FF2B5EF4-FFF2-40B4-BE49-F238E27FC236}">
                  <a16:creationId xmlns:a16="http://schemas.microsoft.com/office/drawing/2014/main" id="{17515078-1C1B-4148-AC1C-68F77C487F05}"/>
                </a:ext>
              </a:extLst>
            </p:cNvPr>
            <p:cNvSpPr>
              <a:spLocks/>
            </p:cNvSpPr>
            <p:nvPr/>
          </p:nvSpPr>
          <p:spPr bwMode="auto">
            <a:xfrm>
              <a:off x="3814" y="487"/>
              <a:ext cx="142" cy="190"/>
            </a:xfrm>
            <a:custGeom>
              <a:avLst/>
              <a:gdLst>
                <a:gd name="T0" fmla="*/ 59 w 60"/>
                <a:gd name="T1" fmla="*/ 50 h 80"/>
                <a:gd name="T2" fmla="*/ 44 w 60"/>
                <a:gd name="T3" fmla="*/ 50 h 80"/>
                <a:gd name="T4" fmla="*/ 30 w 60"/>
                <a:gd name="T5" fmla="*/ 63 h 80"/>
                <a:gd name="T6" fmla="*/ 17 w 60"/>
                <a:gd name="T7" fmla="*/ 55 h 80"/>
                <a:gd name="T8" fmla="*/ 18 w 60"/>
                <a:gd name="T9" fmla="*/ 42 h 80"/>
                <a:gd name="T10" fmla="*/ 38 w 60"/>
                <a:gd name="T11" fmla="*/ 36 h 80"/>
                <a:gd name="T12" fmla="*/ 38 w 60"/>
                <a:gd name="T13" fmla="*/ 0 h 80"/>
                <a:gd name="T14" fmla="*/ 22 w 60"/>
                <a:gd name="T15" fmla="*/ 0 h 80"/>
                <a:gd name="T16" fmla="*/ 22 w 60"/>
                <a:gd name="T17" fmla="*/ 21 h 80"/>
                <a:gd name="T18" fmla="*/ 0 w 60"/>
                <a:gd name="T19" fmla="*/ 51 h 80"/>
                <a:gd name="T20" fmla="*/ 30 w 60"/>
                <a:gd name="T21" fmla="*/ 80 h 80"/>
                <a:gd name="T22" fmla="*/ 59 w 60"/>
                <a:gd name="T23" fmla="*/ 5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80">
                  <a:moveTo>
                    <a:pt x="59" y="50"/>
                  </a:moveTo>
                  <a:cubicBezTo>
                    <a:pt x="44" y="50"/>
                    <a:pt x="44" y="50"/>
                    <a:pt x="44" y="50"/>
                  </a:cubicBezTo>
                  <a:cubicBezTo>
                    <a:pt x="44" y="50"/>
                    <a:pt x="44" y="63"/>
                    <a:pt x="30" y="63"/>
                  </a:cubicBezTo>
                  <a:cubicBezTo>
                    <a:pt x="22" y="64"/>
                    <a:pt x="19" y="59"/>
                    <a:pt x="17" y="55"/>
                  </a:cubicBezTo>
                  <a:cubicBezTo>
                    <a:pt x="15" y="51"/>
                    <a:pt x="16" y="46"/>
                    <a:pt x="18" y="42"/>
                  </a:cubicBezTo>
                  <a:cubicBezTo>
                    <a:pt x="21" y="38"/>
                    <a:pt x="27" y="34"/>
                    <a:pt x="38" y="36"/>
                  </a:cubicBezTo>
                  <a:cubicBezTo>
                    <a:pt x="38" y="0"/>
                    <a:pt x="38" y="0"/>
                    <a:pt x="38" y="0"/>
                  </a:cubicBezTo>
                  <a:cubicBezTo>
                    <a:pt x="22" y="0"/>
                    <a:pt x="22" y="0"/>
                    <a:pt x="22" y="0"/>
                  </a:cubicBezTo>
                  <a:cubicBezTo>
                    <a:pt x="22" y="21"/>
                    <a:pt x="22" y="21"/>
                    <a:pt x="22" y="21"/>
                  </a:cubicBezTo>
                  <a:cubicBezTo>
                    <a:pt x="22" y="21"/>
                    <a:pt x="0" y="27"/>
                    <a:pt x="0" y="51"/>
                  </a:cubicBezTo>
                  <a:cubicBezTo>
                    <a:pt x="0" y="74"/>
                    <a:pt x="21" y="80"/>
                    <a:pt x="30" y="80"/>
                  </a:cubicBezTo>
                  <a:cubicBezTo>
                    <a:pt x="36" y="80"/>
                    <a:pt x="60" y="78"/>
                    <a:pt x="59" y="50"/>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7">
              <a:extLst>
                <a:ext uri="{FF2B5EF4-FFF2-40B4-BE49-F238E27FC236}">
                  <a16:creationId xmlns:a16="http://schemas.microsoft.com/office/drawing/2014/main" id="{7781530B-B421-45EE-AB52-A3754DA4B7EB}"/>
                </a:ext>
              </a:extLst>
            </p:cNvPr>
            <p:cNvSpPr>
              <a:spLocks noChangeArrowheads="1"/>
            </p:cNvSpPr>
            <p:nvPr/>
          </p:nvSpPr>
          <p:spPr bwMode="auto">
            <a:xfrm>
              <a:off x="3866" y="435"/>
              <a:ext cx="38" cy="33"/>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8">
              <a:extLst>
                <a:ext uri="{FF2B5EF4-FFF2-40B4-BE49-F238E27FC236}">
                  <a16:creationId xmlns:a16="http://schemas.microsoft.com/office/drawing/2014/main" id="{E464E816-8094-4A7A-818B-AE60D897A372}"/>
                </a:ext>
              </a:extLst>
            </p:cNvPr>
            <p:cNvSpPr>
              <a:spLocks/>
            </p:cNvSpPr>
            <p:nvPr/>
          </p:nvSpPr>
          <p:spPr bwMode="auto">
            <a:xfrm>
              <a:off x="3605" y="276"/>
              <a:ext cx="558" cy="558"/>
            </a:xfrm>
            <a:custGeom>
              <a:avLst/>
              <a:gdLst>
                <a:gd name="T0" fmla="*/ 235 w 235"/>
                <a:gd name="T1" fmla="*/ 116 h 235"/>
                <a:gd name="T2" fmla="*/ 234 w 235"/>
                <a:gd name="T3" fmla="*/ 105 h 235"/>
                <a:gd name="T4" fmla="*/ 233 w 235"/>
                <a:gd name="T5" fmla="*/ 94 h 235"/>
                <a:gd name="T6" fmla="*/ 217 w 235"/>
                <a:gd name="T7" fmla="*/ 54 h 235"/>
                <a:gd name="T8" fmla="*/ 129 w 235"/>
                <a:gd name="T9" fmla="*/ 1 h 235"/>
                <a:gd name="T10" fmla="*/ 105 w 235"/>
                <a:gd name="T11" fmla="*/ 1 h 235"/>
                <a:gd name="T12" fmla="*/ 64 w 235"/>
                <a:gd name="T13" fmla="*/ 13 h 235"/>
                <a:gd name="T14" fmla="*/ 13 w 235"/>
                <a:gd name="T15" fmla="*/ 65 h 235"/>
                <a:gd name="T16" fmla="*/ 1 w 235"/>
                <a:gd name="T17" fmla="*/ 112 h 235"/>
                <a:gd name="T18" fmla="*/ 3 w 235"/>
                <a:gd name="T19" fmla="*/ 142 h 235"/>
                <a:gd name="T20" fmla="*/ 20 w 235"/>
                <a:gd name="T21" fmla="*/ 181 h 235"/>
                <a:gd name="T22" fmla="*/ 3 w 235"/>
                <a:gd name="T23" fmla="*/ 224 h 235"/>
                <a:gd name="T24" fmla="*/ 49 w 235"/>
                <a:gd name="T25" fmla="*/ 212 h 235"/>
                <a:gd name="T26" fmla="*/ 97 w 235"/>
                <a:gd name="T27" fmla="*/ 233 h 235"/>
                <a:gd name="T28" fmla="*/ 135 w 235"/>
                <a:gd name="T29" fmla="*/ 234 h 235"/>
                <a:gd name="T30" fmla="*/ 147 w 235"/>
                <a:gd name="T31" fmla="*/ 231 h 235"/>
                <a:gd name="T32" fmla="*/ 228 w 235"/>
                <a:gd name="T33" fmla="*/ 159 h 235"/>
                <a:gd name="T34" fmla="*/ 231 w 235"/>
                <a:gd name="T35" fmla="*/ 147 h 235"/>
                <a:gd name="T36" fmla="*/ 233 w 235"/>
                <a:gd name="T37" fmla="*/ 137 h 235"/>
                <a:gd name="T38" fmla="*/ 235 w 235"/>
                <a:gd name="T39" fmla="*/ 122 h 235"/>
                <a:gd name="T40" fmla="*/ 235 w 235"/>
                <a:gd name="T41" fmla="*/ 118 h 235"/>
                <a:gd name="T42" fmla="*/ 234 w 235"/>
                <a:gd name="T43" fmla="*/ 122 h 235"/>
                <a:gd name="T44" fmla="*/ 233 w 235"/>
                <a:gd name="T45" fmla="*/ 137 h 235"/>
                <a:gd name="T46" fmla="*/ 147 w 235"/>
                <a:gd name="T47" fmla="*/ 229 h 235"/>
                <a:gd name="T48" fmla="*/ 135 w 235"/>
                <a:gd name="T49" fmla="*/ 232 h 235"/>
                <a:gd name="T50" fmla="*/ 98 w 235"/>
                <a:gd name="T51" fmla="*/ 231 h 235"/>
                <a:gd name="T52" fmla="*/ 49 w 235"/>
                <a:gd name="T53" fmla="*/ 209 h 235"/>
                <a:gd name="T54" fmla="*/ 4 w 235"/>
                <a:gd name="T55" fmla="*/ 221 h 235"/>
                <a:gd name="T56" fmla="*/ 22 w 235"/>
                <a:gd name="T57" fmla="*/ 182 h 235"/>
                <a:gd name="T58" fmla="*/ 22 w 235"/>
                <a:gd name="T59" fmla="*/ 181 h 235"/>
                <a:gd name="T60" fmla="*/ 3 w 235"/>
                <a:gd name="T61" fmla="*/ 122 h 235"/>
                <a:gd name="T62" fmla="*/ 4 w 235"/>
                <a:gd name="T63" fmla="*/ 103 h 235"/>
                <a:gd name="T64" fmla="*/ 37 w 235"/>
                <a:gd name="T65" fmla="*/ 36 h 235"/>
                <a:gd name="T66" fmla="*/ 97 w 235"/>
                <a:gd name="T67" fmla="*/ 4 h 235"/>
                <a:gd name="T68" fmla="*/ 113 w 235"/>
                <a:gd name="T69" fmla="*/ 3 h 235"/>
                <a:gd name="T70" fmla="*/ 182 w 235"/>
                <a:gd name="T71" fmla="*/ 22 h 235"/>
                <a:gd name="T72" fmla="*/ 230 w 235"/>
                <a:gd name="T73" fmla="*/ 87 h 235"/>
                <a:gd name="T74" fmla="*/ 233 w 235"/>
                <a:gd name="T75" fmla="*/ 100 h 235"/>
                <a:gd name="T76" fmla="*/ 234 w 235"/>
                <a:gd name="T77" fmla="*/ 110 h 235"/>
                <a:gd name="T78" fmla="*/ 235 w 235"/>
                <a:gd name="T79"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35">
                  <a:moveTo>
                    <a:pt x="235" y="118"/>
                  </a:moveTo>
                  <a:cubicBezTo>
                    <a:pt x="235" y="118"/>
                    <a:pt x="235" y="117"/>
                    <a:pt x="235" y="116"/>
                  </a:cubicBezTo>
                  <a:cubicBezTo>
                    <a:pt x="235" y="114"/>
                    <a:pt x="235" y="112"/>
                    <a:pt x="235" y="110"/>
                  </a:cubicBezTo>
                  <a:cubicBezTo>
                    <a:pt x="234" y="108"/>
                    <a:pt x="234" y="107"/>
                    <a:pt x="234" y="105"/>
                  </a:cubicBezTo>
                  <a:cubicBezTo>
                    <a:pt x="234" y="104"/>
                    <a:pt x="234" y="102"/>
                    <a:pt x="234" y="100"/>
                  </a:cubicBezTo>
                  <a:cubicBezTo>
                    <a:pt x="233" y="98"/>
                    <a:pt x="233" y="96"/>
                    <a:pt x="233" y="94"/>
                  </a:cubicBezTo>
                  <a:cubicBezTo>
                    <a:pt x="232" y="92"/>
                    <a:pt x="232" y="90"/>
                    <a:pt x="231" y="87"/>
                  </a:cubicBezTo>
                  <a:cubicBezTo>
                    <a:pt x="229" y="78"/>
                    <a:pt x="224" y="66"/>
                    <a:pt x="217" y="54"/>
                  </a:cubicBezTo>
                  <a:cubicBezTo>
                    <a:pt x="209" y="42"/>
                    <a:pt x="198" y="30"/>
                    <a:pt x="183" y="20"/>
                  </a:cubicBezTo>
                  <a:cubicBezTo>
                    <a:pt x="169" y="10"/>
                    <a:pt x="150" y="3"/>
                    <a:pt x="129" y="1"/>
                  </a:cubicBezTo>
                  <a:cubicBezTo>
                    <a:pt x="124" y="0"/>
                    <a:pt x="119" y="0"/>
                    <a:pt x="113" y="0"/>
                  </a:cubicBezTo>
                  <a:cubicBezTo>
                    <a:pt x="110" y="0"/>
                    <a:pt x="108" y="0"/>
                    <a:pt x="105" y="1"/>
                  </a:cubicBezTo>
                  <a:cubicBezTo>
                    <a:pt x="102" y="1"/>
                    <a:pt x="100" y="2"/>
                    <a:pt x="97" y="2"/>
                  </a:cubicBezTo>
                  <a:cubicBezTo>
                    <a:pt x="86" y="4"/>
                    <a:pt x="75" y="8"/>
                    <a:pt x="64" y="13"/>
                  </a:cubicBezTo>
                  <a:cubicBezTo>
                    <a:pt x="54" y="19"/>
                    <a:pt x="44" y="26"/>
                    <a:pt x="35" y="34"/>
                  </a:cubicBezTo>
                  <a:cubicBezTo>
                    <a:pt x="26" y="43"/>
                    <a:pt x="19" y="53"/>
                    <a:pt x="13" y="65"/>
                  </a:cubicBezTo>
                  <a:cubicBezTo>
                    <a:pt x="7" y="76"/>
                    <a:pt x="3" y="89"/>
                    <a:pt x="2" y="102"/>
                  </a:cubicBezTo>
                  <a:cubicBezTo>
                    <a:pt x="1" y="105"/>
                    <a:pt x="1" y="109"/>
                    <a:pt x="1" y="112"/>
                  </a:cubicBezTo>
                  <a:cubicBezTo>
                    <a:pt x="1" y="115"/>
                    <a:pt x="0" y="119"/>
                    <a:pt x="1" y="122"/>
                  </a:cubicBezTo>
                  <a:cubicBezTo>
                    <a:pt x="1" y="129"/>
                    <a:pt x="2" y="136"/>
                    <a:pt x="3" y="142"/>
                  </a:cubicBezTo>
                  <a:cubicBezTo>
                    <a:pt x="6" y="157"/>
                    <a:pt x="12" y="170"/>
                    <a:pt x="20" y="182"/>
                  </a:cubicBezTo>
                  <a:cubicBezTo>
                    <a:pt x="20" y="181"/>
                    <a:pt x="20" y="181"/>
                    <a:pt x="20" y="181"/>
                  </a:cubicBezTo>
                  <a:cubicBezTo>
                    <a:pt x="14" y="195"/>
                    <a:pt x="9" y="209"/>
                    <a:pt x="4" y="222"/>
                  </a:cubicBezTo>
                  <a:cubicBezTo>
                    <a:pt x="3" y="224"/>
                    <a:pt x="3" y="224"/>
                    <a:pt x="3" y="224"/>
                  </a:cubicBezTo>
                  <a:cubicBezTo>
                    <a:pt x="5" y="224"/>
                    <a:pt x="5" y="224"/>
                    <a:pt x="5" y="224"/>
                  </a:cubicBezTo>
                  <a:cubicBezTo>
                    <a:pt x="20" y="220"/>
                    <a:pt x="35" y="216"/>
                    <a:pt x="49" y="212"/>
                  </a:cubicBezTo>
                  <a:cubicBezTo>
                    <a:pt x="48" y="211"/>
                    <a:pt x="48" y="211"/>
                    <a:pt x="48" y="211"/>
                  </a:cubicBezTo>
                  <a:cubicBezTo>
                    <a:pt x="63" y="223"/>
                    <a:pt x="80" y="230"/>
                    <a:pt x="97" y="233"/>
                  </a:cubicBezTo>
                  <a:cubicBezTo>
                    <a:pt x="106" y="235"/>
                    <a:pt x="115" y="235"/>
                    <a:pt x="123" y="235"/>
                  </a:cubicBezTo>
                  <a:cubicBezTo>
                    <a:pt x="127" y="235"/>
                    <a:pt x="131" y="234"/>
                    <a:pt x="135" y="234"/>
                  </a:cubicBezTo>
                  <a:cubicBezTo>
                    <a:pt x="137" y="233"/>
                    <a:pt x="139" y="233"/>
                    <a:pt x="141" y="233"/>
                  </a:cubicBezTo>
                  <a:cubicBezTo>
                    <a:pt x="143" y="232"/>
                    <a:pt x="145" y="232"/>
                    <a:pt x="147" y="231"/>
                  </a:cubicBezTo>
                  <a:cubicBezTo>
                    <a:pt x="178" y="223"/>
                    <a:pt x="200" y="205"/>
                    <a:pt x="213" y="186"/>
                  </a:cubicBezTo>
                  <a:cubicBezTo>
                    <a:pt x="220" y="176"/>
                    <a:pt x="225" y="167"/>
                    <a:pt x="228" y="159"/>
                  </a:cubicBezTo>
                  <a:cubicBezTo>
                    <a:pt x="228" y="157"/>
                    <a:pt x="229" y="155"/>
                    <a:pt x="230" y="153"/>
                  </a:cubicBezTo>
                  <a:cubicBezTo>
                    <a:pt x="230" y="151"/>
                    <a:pt x="231" y="149"/>
                    <a:pt x="231" y="147"/>
                  </a:cubicBezTo>
                  <a:cubicBezTo>
                    <a:pt x="232" y="145"/>
                    <a:pt x="232" y="143"/>
                    <a:pt x="233" y="142"/>
                  </a:cubicBezTo>
                  <a:cubicBezTo>
                    <a:pt x="233" y="140"/>
                    <a:pt x="233" y="138"/>
                    <a:pt x="233" y="137"/>
                  </a:cubicBezTo>
                  <a:cubicBezTo>
                    <a:pt x="234" y="134"/>
                    <a:pt x="234" y="131"/>
                    <a:pt x="234" y="128"/>
                  </a:cubicBezTo>
                  <a:cubicBezTo>
                    <a:pt x="235" y="126"/>
                    <a:pt x="235" y="124"/>
                    <a:pt x="235" y="122"/>
                  </a:cubicBezTo>
                  <a:cubicBezTo>
                    <a:pt x="235" y="121"/>
                    <a:pt x="235" y="120"/>
                    <a:pt x="235" y="119"/>
                  </a:cubicBezTo>
                  <a:cubicBezTo>
                    <a:pt x="235" y="118"/>
                    <a:pt x="235" y="118"/>
                    <a:pt x="235" y="118"/>
                  </a:cubicBezTo>
                  <a:cubicBezTo>
                    <a:pt x="235" y="118"/>
                    <a:pt x="235" y="118"/>
                    <a:pt x="234" y="119"/>
                  </a:cubicBezTo>
                  <a:cubicBezTo>
                    <a:pt x="234" y="120"/>
                    <a:pt x="234" y="121"/>
                    <a:pt x="234" y="122"/>
                  </a:cubicBezTo>
                  <a:cubicBezTo>
                    <a:pt x="234" y="124"/>
                    <a:pt x="234" y="126"/>
                    <a:pt x="234" y="128"/>
                  </a:cubicBezTo>
                  <a:cubicBezTo>
                    <a:pt x="234" y="131"/>
                    <a:pt x="233" y="133"/>
                    <a:pt x="233" y="137"/>
                  </a:cubicBezTo>
                  <a:cubicBezTo>
                    <a:pt x="230" y="149"/>
                    <a:pt x="226" y="167"/>
                    <a:pt x="212" y="185"/>
                  </a:cubicBezTo>
                  <a:cubicBezTo>
                    <a:pt x="199" y="203"/>
                    <a:pt x="177" y="222"/>
                    <a:pt x="147" y="229"/>
                  </a:cubicBezTo>
                  <a:cubicBezTo>
                    <a:pt x="145" y="230"/>
                    <a:pt x="143" y="230"/>
                    <a:pt x="141" y="231"/>
                  </a:cubicBezTo>
                  <a:cubicBezTo>
                    <a:pt x="139" y="231"/>
                    <a:pt x="137" y="231"/>
                    <a:pt x="135" y="232"/>
                  </a:cubicBezTo>
                  <a:cubicBezTo>
                    <a:pt x="131" y="232"/>
                    <a:pt x="127" y="232"/>
                    <a:pt x="123" y="233"/>
                  </a:cubicBezTo>
                  <a:cubicBezTo>
                    <a:pt x="115" y="233"/>
                    <a:pt x="106" y="232"/>
                    <a:pt x="98" y="231"/>
                  </a:cubicBezTo>
                  <a:cubicBezTo>
                    <a:pt x="81" y="228"/>
                    <a:pt x="64" y="221"/>
                    <a:pt x="49" y="209"/>
                  </a:cubicBezTo>
                  <a:cubicBezTo>
                    <a:pt x="49" y="209"/>
                    <a:pt x="49" y="209"/>
                    <a:pt x="49" y="209"/>
                  </a:cubicBezTo>
                  <a:cubicBezTo>
                    <a:pt x="48" y="209"/>
                    <a:pt x="48" y="209"/>
                    <a:pt x="48" y="209"/>
                  </a:cubicBezTo>
                  <a:cubicBezTo>
                    <a:pt x="34" y="213"/>
                    <a:pt x="19" y="217"/>
                    <a:pt x="4" y="221"/>
                  </a:cubicBezTo>
                  <a:cubicBezTo>
                    <a:pt x="6" y="223"/>
                    <a:pt x="6" y="223"/>
                    <a:pt x="6" y="223"/>
                  </a:cubicBezTo>
                  <a:cubicBezTo>
                    <a:pt x="11" y="210"/>
                    <a:pt x="17" y="196"/>
                    <a:pt x="22" y="182"/>
                  </a:cubicBezTo>
                  <a:cubicBezTo>
                    <a:pt x="23" y="181"/>
                    <a:pt x="23" y="181"/>
                    <a:pt x="23" y="181"/>
                  </a:cubicBezTo>
                  <a:cubicBezTo>
                    <a:pt x="22" y="181"/>
                    <a:pt x="22" y="181"/>
                    <a:pt x="22" y="181"/>
                  </a:cubicBezTo>
                  <a:cubicBezTo>
                    <a:pt x="15" y="169"/>
                    <a:pt x="9" y="156"/>
                    <a:pt x="6" y="142"/>
                  </a:cubicBezTo>
                  <a:cubicBezTo>
                    <a:pt x="4" y="135"/>
                    <a:pt x="4" y="129"/>
                    <a:pt x="3" y="122"/>
                  </a:cubicBezTo>
                  <a:cubicBezTo>
                    <a:pt x="3" y="119"/>
                    <a:pt x="3" y="116"/>
                    <a:pt x="3" y="112"/>
                  </a:cubicBezTo>
                  <a:cubicBezTo>
                    <a:pt x="4" y="109"/>
                    <a:pt x="4" y="106"/>
                    <a:pt x="4" y="103"/>
                  </a:cubicBezTo>
                  <a:cubicBezTo>
                    <a:pt x="6" y="90"/>
                    <a:pt x="10" y="77"/>
                    <a:pt x="15" y="66"/>
                  </a:cubicBezTo>
                  <a:cubicBezTo>
                    <a:pt x="21" y="55"/>
                    <a:pt x="28" y="45"/>
                    <a:pt x="37" y="36"/>
                  </a:cubicBezTo>
                  <a:cubicBezTo>
                    <a:pt x="45" y="28"/>
                    <a:pt x="55" y="21"/>
                    <a:pt x="65" y="15"/>
                  </a:cubicBezTo>
                  <a:cubicBezTo>
                    <a:pt x="76" y="10"/>
                    <a:pt x="86" y="7"/>
                    <a:pt x="97" y="4"/>
                  </a:cubicBezTo>
                  <a:cubicBezTo>
                    <a:pt x="100" y="4"/>
                    <a:pt x="103" y="4"/>
                    <a:pt x="105" y="3"/>
                  </a:cubicBezTo>
                  <a:cubicBezTo>
                    <a:pt x="108" y="3"/>
                    <a:pt x="111" y="3"/>
                    <a:pt x="113" y="3"/>
                  </a:cubicBezTo>
                  <a:cubicBezTo>
                    <a:pt x="119" y="2"/>
                    <a:pt x="124" y="3"/>
                    <a:pt x="129" y="3"/>
                  </a:cubicBezTo>
                  <a:cubicBezTo>
                    <a:pt x="149" y="5"/>
                    <a:pt x="168" y="12"/>
                    <a:pt x="182" y="22"/>
                  </a:cubicBezTo>
                  <a:cubicBezTo>
                    <a:pt x="197" y="31"/>
                    <a:pt x="208" y="43"/>
                    <a:pt x="215" y="55"/>
                  </a:cubicBezTo>
                  <a:cubicBezTo>
                    <a:pt x="223" y="67"/>
                    <a:pt x="227" y="78"/>
                    <a:pt x="230" y="87"/>
                  </a:cubicBezTo>
                  <a:cubicBezTo>
                    <a:pt x="231" y="90"/>
                    <a:pt x="231" y="92"/>
                    <a:pt x="232" y="94"/>
                  </a:cubicBezTo>
                  <a:cubicBezTo>
                    <a:pt x="232" y="96"/>
                    <a:pt x="233" y="98"/>
                    <a:pt x="233" y="100"/>
                  </a:cubicBezTo>
                  <a:cubicBezTo>
                    <a:pt x="233" y="102"/>
                    <a:pt x="233" y="104"/>
                    <a:pt x="234" y="105"/>
                  </a:cubicBezTo>
                  <a:cubicBezTo>
                    <a:pt x="234" y="107"/>
                    <a:pt x="234" y="108"/>
                    <a:pt x="234" y="110"/>
                  </a:cubicBezTo>
                  <a:cubicBezTo>
                    <a:pt x="234" y="112"/>
                    <a:pt x="234" y="114"/>
                    <a:pt x="234" y="116"/>
                  </a:cubicBezTo>
                  <a:cubicBezTo>
                    <a:pt x="235" y="117"/>
                    <a:pt x="235" y="118"/>
                    <a:pt x="235" y="1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9">
              <a:extLst>
                <a:ext uri="{FF2B5EF4-FFF2-40B4-BE49-F238E27FC236}">
                  <a16:creationId xmlns:a16="http://schemas.microsoft.com/office/drawing/2014/main" id="{F9C8024B-5967-4971-A31A-76D32015B73A}"/>
                </a:ext>
              </a:extLst>
            </p:cNvPr>
            <p:cNvSpPr>
              <a:spLocks/>
            </p:cNvSpPr>
            <p:nvPr/>
          </p:nvSpPr>
          <p:spPr bwMode="auto">
            <a:xfrm>
              <a:off x="1323" y="637"/>
              <a:ext cx="2061" cy="2761"/>
            </a:xfrm>
            <a:custGeom>
              <a:avLst/>
              <a:gdLst>
                <a:gd name="T0" fmla="*/ 3 w 868"/>
                <a:gd name="T1" fmla="*/ 437 h 1163"/>
                <a:gd name="T2" fmla="*/ 234 w 868"/>
                <a:gd name="T3" fmla="*/ 437 h 1163"/>
                <a:gd name="T4" fmla="*/ 435 w 868"/>
                <a:gd name="T5" fmla="*/ 240 h 1163"/>
                <a:gd name="T6" fmla="*/ 616 w 868"/>
                <a:gd name="T7" fmla="*/ 359 h 1163"/>
                <a:gd name="T8" fmla="*/ 600 w 868"/>
                <a:gd name="T9" fmla="*/ 546 h 1163"/>
                <a:gd name="T10" fmla="*/ 321 w 868"/>
                <a:gd name="T11" fmla="*/ 648 h 1163"/>
                <a:gd name="T12" fmla="*/ 319 w 868"/>
                <a:gd name="T13" fmla="*/ 1163 h 1163"/>
                <a:gd name="T14" fmla="*/ 548 w 868"/>
                <a:gd name="T15" fmla="*/ 1163 h 1163"/>
                <a:gd name="T16" fmla="*/ 548 w 868"/>
                <a:gd name="T17" fmla="*/ 858 h 1163"/>
                <a:gd name="T18" fmla="*/ 868 w 868"/>
                <a:gd name="T19" fmla="*/ 422 h 1163"/>
                <a:gd name="T20" fmla="*/ 448 w 868"/>
                <a:gd name="T21" fmla="*/ 7 h 1163"/>
                <a:gd name="T22" fmla="*/ 236 w 868"/>
                <a:gd name="T23" fmla="*/ 15 h 1163"/>
                <a:gd name="T24" fmla="*/ 3 w 868"/>
                <a:gd name="T25" fmla="*/ 437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8" h="1163">
                  <a:moveTo>
                    <a:pt x="3" y="437"/>
                  </a:moveTo>
                  <a:cubicBezTo>
                    <a:pt x="234" y="437"/>
                    <a:pt x="234" y="437"/>
                    <a:pt x="234" y="437"/>
                  </a:cubicBezTo>
                  <a:cubicBezTo>
                    <a:pt x="234" y="437"/>
                    <a:pt x="234" y="243"/>
                    <a:pt x="435" y="240"/>
                  </a:cubicBezTo>
                  <a:cubicBezTo>
                    <a:pt x="540" y="238"/>
                    <a:pt x="594" y="307"/>
                    <a:pt x="616" y="359"/>
                  </a:cubicBezTo>
                  <a:cubicBezTo>
                    <a:pt x="642" y="420"/>
                    <a:pt x="634" y="490"/>
                    <a:pt x="600" y="546"/>
                  </a:cubicBezTo>
                  <a:cubicBezTo>
                    <a:pt x="561" y="611"/>
                    <a:pt x="476" y="676"/>
                    <a:pt x="321" y="648"/>
                  </a:cubicBezTo>
                  <a:cubicBezTo>
                    <a:pt x="319" y="1163"/>
                    <a:pt x="319" y="1163"/>
                    <a:pt x="319" y="1163"/>
                  </a:cubicBezTo>
                  <a:cubicBezTo>
                    <a:pt x="548" y="1163"/>
                    <a:pt x="548" y="1163"/>
                    <a:pt x="548" y="1163"/>
                  </a:cubicBezTo>
                  <a:cubicBezTo>
                    <a:pt x="548" y="858"/>
                    <a:pt x="548" y="858"/>
                    <a:pt x="548" y="858"/>
                  </a:cubicBezTo>
                  <a:cubicBezTo>
                    <a:pt x="548" y="858"/>
                    <a:pt x="868" y="775"/>
                    <a:pt x="868" y="422"/>
                  </a:cubicBezTo>
                  <a:cubicBezTo>
                    <a:pt x="868" y="84"/>
                    <a:pt x="595" y="11"/>
                    <a:pt x="448" y="7"/>
                  </a:cubicBezTo>
                  <a:cubicBezTo>
                    <a:pt x="366" y="4"/>
                    <a:pt x="337" y="0"/>
                    <a:pt x="236" y="15"/>
                  </a:cubicBezTo>
                  <a:cubicBezTo>
                    <a:pt x="107" y="33"/>
                    <a:pt x="0" y="183"/>
                    <a:pt x="3" y="43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40">
              <a:extLst>
                <a:ext uri="{FF2B5EF4-FFF2-40B4-BE49-F238E27FC236}">
                  <a16:creationId xmlns:a16="http://schemas.microsoft.com/office/drawing/2014/main" id="{5F176A88-B71C-4E1B-AEAA-37E85AC1DA53}"/>
                </a:ext>
              </a:extLst>
            </p:cNvPr>
            <p:cNvSpPr>
              <a:spLocks noChangeArrowheads="1"/>
            </p:cNvSpPr>
            <p:nvPr/>
          </p:nvSpPr>
          <p:spPr bwMode="auto">
            <a:xfrm>
              <a:off x="2081" y="3652"/>
              <a:ext cx="548"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41">
              <a:extLst>
                <a:ext uri="{FF2B5EF4-FFF2-40B4-BE49-F238E27FC236}">
                  <a16:creationId xmlns:a16="http://schemas.microsoft.com/office/drawing/2014/main" id="{53C383CC-C284-4188-8D7F-AE6C092E7952}"/>
                </a:ext>
              </a:extLst>
            </p:cNvPr>
            <p:cNvSpPr>
              <a:spLocks noChangeArrowheads="1"/>
            </p:cNvSpPr>
            <p:nvPr/>
          </p:nvSpPr>
          <p:spPr bwMode="auto">
            <a:xfrm>
              <a:off x="2081" y="3652"/>
              <a:ext cx="548"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2">
              <a:extLst>
                <a:ext uri="{FF2B5EF4-FFF2-40B4-BE49-F238E27FC236}">
                  <a16:creationId xmlns:a16="http://schemas.microsoft.com/office/drawing/2014/main" id="{1C385365-A7ED-4F53-A2BD-4DAC3834F805}"/>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3">
              <a:extLst>
                <a:ext uri="{FF2B5EF4-FFF2-40B4-BE49-F238E27FC236}">
                  <a16:creationId xmlns:a16="http://schemas.microsoft.com/office/drawing/2014/main" id="{4BD49338-4261-49E2-885D-E80D9C68651B}"/>
                </a:ext>
              </a:extLst>
            </p:cNvPr>
            <p:cNvSpPr>
              <a:spLocks/>
            </p:cNvSpPr>
            <p:nvPr/>
          </p:nvSpPr>
          <p:spPr bwMode="auto">
            <a:xfrm>
              <a:off x="2081" y="3652"/>
              <a:ext cx="548" cy="515"/>
            </a:xfrm>
            <a:custGeom>
              <a:avLst/>
              <a:gdLst>
                <a:gd name="T0" fmla="*/ 548 w 548"/>
                <a:gd name="T1" fmla="*/ 0 h 515"/>
                <a:gd name="T2" fmla="*/ 322 w 548"/>
                <a:gd name="T3" fmla="*/ 0 h 515"/>
                <a:gd name="T4" fmla="*/ 322 w 548"/>
                <a:gd name="T5" fmla="*/ 515 h 515"/>
                <a:gd name="T6" fmla="*/ 0 w 548"/>
                <a:gd name="T7" fmla="*/ 515 h 515"/>
                <a:gd name="T8" fmla="*/ 548 w 548"/>
                <a:gd name="T9" fmla="*/ 515 h 515"/>
                <a:gd name="T10" fmla="*/ 548 w 548"/>
                <a:gd name="T11" fmla="*/ 375 h 515"/>
                <a:gd name="T12" fmla="*/ 548 w 548"/>
                <a:gd name="T13" fmla="*/ 375 h 515"/>
                <a:gd name="T14" fmla="*/ 548 w 548"/>
                <a:gd name="T15" fmla="*/ 363 h 515"/>
                <a:gd name="T16" fmla="*/ 548 w 548"/>
                <a:gd name="T17" fmla="*/ 328 h 515"/>
                <a:gd name="T18" fmla="*/ 548 w 548"/>
                <a:gd name="T19"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8" h="515">
                  <a:moveTo>
                    <a:pt x="548" y="0"/>
                  </a:moveTo>
                  <a:lnTo>
                    <a:pt x="322" y="0"/>
                  </a:lnTo>
                  <a:lnTo>
                    <a:pt x="322" y="515"/>
                  </a:lnTo>
                  <a:lnTo>
                    <a:pt x="0" y="515"/>
                  </a:lnTo>
                  <a:lnTo>
                    <a:pt x="548" y="515"/>
                  </a:lnTo>
                  <a:lnTo>
                    <a:pt x="548" y="375"/>
                  </a:lnTo>
                  <a:lnTo>
                    <a:pt x="548" y="375"/>
                  </a:lnTo>
                  <a:lnTo>
                    <a:pt x="548" y="363"/>
                  </a:lnTo>
                  <a:lnTo>
                    <a:pt x="548" y="328"/>
                  </a:lnTo>
                  <a:lnTo>
                    <a:pt x="5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4">
              <a:extLst>
                <a:ext uri="{FF2B5EF4-FFF2-40B4-BE49-F238E27FC236}">
                  <a16:creationId xmlns:a16="http://schemas.microsoft.com/office/drawing/2014/main" id="{4427D34B-7107-4FBE-ABCC-8154149D0C27}"/>
                </a:ext>
              </a:extLst>
            </p:cNvPr>
            <p:cNvSpPr>
              <a:spLocks noEditPoints="1"/>
            </p:cNvSpPr>
            <p:nvPr/>
          </p:nvSpPr>
          <p:spPr bwMode="auto">
            <a:xfrm>
              <a:off x="1330" y="646"/>
              <a:ext cx="2030" cy="2752"/>
            </a:xfrm>
            <a:custGeom>
              <a:avLst/>
              <a:gdLst>
                <a:gd name="T0" fmla="*/ 318 w 855"/>
                <a:gd name="T1" fmla="*/ 644 h 1159"/>
                <a:gd name="T2" fmla="*/ 318 w 855"/>
                <a:gd name="T3" fmla="*/ 644 h 1159"/>
                <a:gd name="T4" fmla="*/ 318 w 855"/>
                <a:gd name="T5" fmla="*/ 644 h 1159"/>
                <a:gd name="T6" fmla="*/ 318 w 855"/>
                <a:gd name="T7" fmla="*/ 644 h 1159"/>
                <a:gd name="T8" fmla="*/ 760 w 855"/>
                <a:gd name="T9" fmla="*/ 520 h 1159"/>
                <a:gd name="T10" fmla="*/ 449 w 855"/>
                <a:gd name="T11" fmla="*/ 854 h 1159"/>
                <a:gd name="T12" fmla="*/ 449 w 855"/>
                <a:gd name="T13" fmla="*/ 1159 h 1159"/>
                <a:gd name="T14" fmla="*/ 316 w 855"/>
                <a:gd name="T15" fmla="*/ 1159 h 1159"/>
                <a:gd name="T16" fmla="*/ 545 w 855"/>
                <a:gd name="T17" fmla="*/ 1159 h 1159"/>
                <a:gd name="T18" fmla="*/ 545 w 855"/>
                <a:gd name="T19" fmla="*/ 1116 h 1159"/>
                <a:gd name="T20" fmla="*/ 545 w 855"/>
                <a:gd name="T21" fmla="*/ 1114 h 1159"/>
                <a:gd name="T22" fmla="*/ 545 w 855"/>
                <a:gd name="T23" fmla="*/ 854 h 1159"/>
                <a:gd name="T24" fmla="*/ 545 w 855"/>
                <a:gd name="T25" fmla="*/ 854 h 1159"/>
                <a:gd name="T26" fmla="*/ 855 w 855"/>
                <a:gd name="T27" fmla="*/ 522 h 1159"/>
                <a:gd name="T28" fmla="*/ 764 w 855"/>
                <a:gd name="T29" fmla="*/ 521 h 1159"/>
                <a:gd name="T30" fmla="*/ 760 w 855"/>
                <a:gd name="T31" fmla="*/ 520 h 1159"/>
                <a:gd name="T32" fmla="*/ 341 w 855"/>
                <a:gd name="T33" fmla="*/ 236 h 1159"/>
                <a:gd name="T34" fmla="*/ 337 w 855"/>
                <a:gd name="T35" fmla="*/ 236 h 1159"/>
                <a:gd name="T36" fmla="*/ 135 w 855"/>
                <a:gd name="T37" fmla="*/ 433 h 1159"/>
                <a:gd name="T38" fmla="*/ 135 w 855"/>
                <a:gd name="T39" fmla="*/ 433 h 1159"/>
                <a:gd name="T40" fmla="*/ 135 w 855"/>
                <a:gd name="T41" fmla="*/ 433 h 1159"/>
                <a:gd name="T42" fmla="*/ 135 w 855"/>
                <a:gd name="T43" fmla="*/ 433 h 1159"/>
                <a:gd name="T44" fmla="*/ 135 w 855"/>
                <a:gd name="T45" fmla="*/ 433 h 1159"/>
                <a:gd name="T46" fmla="*/ 135 w 855"/>
                <a:gd name="T47" fmla="*/ 433 h 1159"/>
                <a:gd name="T48" fmla="*/ 0 w 855"/>
                <a:gd name="T49" fmla="*/ 433 h 1159"/>
                <a:gd name="T50" fmla="*/ 0 w 855"/>
                <a:gd name="T51" fmla="*/ 433 h 1159"/>
                <a:gd name="T52" fmla="*/ 231 w 855"/>
                <a:gd name="T53" fmla="*/ 433 h 1159"/>
                <a:gd name="T54" fmla="*/ 231 w 855"/>
                <a:gd name="T55" fmla="*/ 433 h 1159"/>
                <a:gd name="T56" fmla="*/ 231 w 855"/>
                <a:gd name="T57" fmla="*/ 433 h 1159"/>
                <a:gd name="T58" fmla="*/ 231 w 855"/>
                <a:gd name="T59" fmla="*/ 433 h 1159"/>
                <a:gd name="T60" fmla="*/ 386 w 855"/>
                <a:gd name="T61" fmla="*/ 241 h 1159"/>
                <a:gd name="T62" fmla="*/ 341 w 855"/>
                <a:gd name="T63" fmla="*/ 236 h 1159"/>
                <a:gd name="T64" fmla="*/ 233 w 855"/>
                <a:gd name="T65" fmla="*/ 11 h 1159"/>
                <a:gd name="T66" fmla="*/ 213 w 855"/>
                <a:gd name="T67" fmla="*/ 15 h 1159"/>
                <a:gd name="T68" fmla="*/ 233 w 855"/>
                <a:gd name="T69" fmla="*/ 11 h 1159"/>
                <a:gd name="T70" fmla="*/ 360 w 855"/>
                <a:gd name="T71" fmla="*/ 0 h 1159"/>
                <a:gd name="T72" fmla="*/ 298 w 855"/>
                <a:gd name="T73" fmla="*/ 3 h 1159"/>
                <a:gd name="T74" fmla="*/ 337 w 855"/>
                <a:gd name="T75" fmla="*/ 2 h 1159"/>
                <a:gd name="T76" fmla="*/ 337 w 855"/>
                <a:gd name="T77" fmla="*/ 2 h 1159"/>
                <a:gd name="T78" fmla="*/ 717 w 855"/>
                <a:gd name="T79" fmla="*/ 206 h 1159"/>
                <a:gd name="T80" fmla="*/ 735 w 855"/>
                <a:gd name="T81" fmla="*/ 193 h 1159"/>
                <a:gd name="T82" fmla="*/ 752 w 855"/>
                <a:gd name="T83" fmla="*/ 184 h 1159"/>
                <a:gd name="T84" fmla="*/ 778 w 855"/>
                <a:gd name="T85" fmla="*/ 172 h 1159"/>
                <a:gd name="T86" fmla="*/ 781 w 855"/>
                <a:gd name="T87" fmla="*/ 177 h 1159"/>
                <a:gd name="T88" fmla="*/ 799 w 855"/>
                <a:gd name="T89" fmla="*/ 176 h 1159"/>
                <a:gd name="T90" fmla="*/ 445 w 855"/>
                <a:gd name="T91" fmla="*/ 3 h 1159"/>
                <a:gd name="T92" fmla="*/ 360 w 855"/>
                <a:gd name="T9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5" h="1159">
                  <a:moveTo>
                    <a:pt x="318" y="644"/>
                  </a:moveTo>
                  <a:cubicBezTo>
                    <a:pt x="318" y="644"/>
                    <a:pt x="318" y="644"/>
                    <a:pt x="318" y="644"/>
                  </a:cubicBezTo>
                  <a:cubicBezTo>
                    <a:pt x="318" y="644"/>
                    <a:pt x="318" y="644"/>
                    <a:pt x="318" y="644"/>
                  </a:cubicBezTo>
                  <a:cubicBezTo>
                    <a:pt x="318" y="644"/>
                    <a:pt x="318" y="644"/>
                    <a:pt x="318" y="644"/>
                  </a:cubicBezTo>
                  <a:moveTo>
                    <a:pt x="760" y="520"/>
                  </a:moveTo>
                  <a:cubicBezTo>
                    <a:pt x="706" y="787"/>
                    <a:pt x="449" y="854"/>
                    <a:pt x="449" y="854"/>
                  </a:cubicBezTo>
                  <a:cubicBezTo>
                    <a:pt x="449" y="1159"/>
                    <a:pt x="449" y="1159"/>
                    <a:pt x="449" y="1159"/>
                  </a:cubicBezTo>
                  <a:cubicBezTo>
                    <a:pt x="316" y="1159"/>
                    <a:pt x="316" y="1159"/>
                    <a:pt x="316" y="1159"/>
                  </a:cubicBezTo>
                  <a:cubicBezTo>
                    <a:pt x="545" y="1159"/>
                    <a:pt x="545" y="1159"/>
                    <a:pt x="545" y="1159"/>
                  </a:cubicBezTo>
                  <a:cubicBezTo>
                    <a:pt x="545" y="1116"/>
                    <a:pt x="545" y="1116"/>
                    <a:pt x="545" y="1116"/>
                  </a:cubicBezTo>
                  <a:cubicBezTo>
                    <a:pt x="545" y="1114"/>
                    <a:pt x="545" y="1114"/>
                    <a:pt x="545" y="1114"/>
                  </a:cubicBezTo>
                  <a:cubicBezTo>
                    <a:pt x="545" y="854"/>
                    <a:pt x="545" y="854"/>
                    <a:pt x="545" y="854"/>
                  </a:cubicBezTo>
                  <a:cubicBezTo>
                    <a:pt x="545" y="854"/>
                    <a:pt x="545" y="854"/>
                    <a:pt x="545" y="854"/>
                  </a:cubicBezTo>
                  <a:cubicBezTo>
                    <a:pt x="545" y="854"/>
                    <a:pt x="801" y="788"/>
                    <a:pt x="855" y="522"/>
                  </a:cubicBezTo>
                  <a:cubicBezTo>
                    <a:pt x="764" y="521"/>
                    <a:pt x="764" y="521"/>
                    <a:pt x="764" y="521"/>
                  </a:cubicBezTo>
                  <a:cubicBezTo>
                    <a:pt x="762" y="520"/>
                    <a:pt x="761" y="520"/>
                    <a:pt x="760" y="520"/>
                  </a:cubicBezTo>
                  <a:moveTo>
                    <a:pt x="341" y="236"/>
                  </a:moveTo>
                  <a:cubicBezTo>
                    <a:pt x="339" y="236"/>
                    <a:pt x="338" y="236"/>
                    <a:pt x="337" y="236"/>
                  </a:cubicBezTo>
                  <a:cubicBezTo>
                    <a:pt x="136" y="239"/>
                    <a:pt x="135" y="432"/>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135" y="433"/>
                    <a:pt x="135" y="433"/>
                    <a:pt x="135" y="433"/>
                  </a:cubicBezTo>
                  <a:cubicBezTo>
                    <a:pt x="0" y="433"/>
                    <a:pt x="0" y="433"/>
                    <a:pt x="0" y="433"/>
                  </a:cubicBezTo>
                  <a:cubicBezTo>
                    <a:pt x="0" y="433"/>
                    <a:pt x="0" y="433"/>
                    <a:pt x="0" y="433"/>
                  </a:cubicBezTo>
                  <a:cubicBezTo>
                    <a:pt x="231" y="433"/>
                    <a:pt x="231" y="433"/>
                    <a:pt x="231" y="433"/>
                  </a:cubicBezTo>
                  <a:cubicBezTo>
                    <a:pt x="231" y="433"/>
                    <a:pt x="231" y="433"/>
                    <a:pt x="231" y="433"/>
                  </a:cubicBezTo>
                  <a:cubicBezTo>
                    <a:pt x="231" y="433"/>
                    <a:pt x="231" y="433"/>
                    <a:pt x="231" y="433"/>
                  </a:cubicBezTo>
                  <a:cubicBezTo>
                    <a:pt x="231" y="433"/>
                    <a:pt x="231" y="433"/>
                    <a:pt x="231" y="433"/>
                  </a:cubicBezTo>
                  <a:cubicBezTo>
                    <a:pt x="231" y="432"/>
                    <a:pt x="231" y="271"/>
                    <a:pt x="386" y="241"/>
                  </a:cubicBezTo>
                  <a:cubicBezTo>
                    <a:pt x="372" y="238"/>
                    <a:pt x="357" y="236"/>
                    <a:pt x="341" y="236"/>
                  </a:cubicBezTo>
                  <a:moveTo>
                    <a:pt x="233" y="11"/>
                  </a:moveTo>
                  <a:cubicBezTo>
                    <a:pt x="226" y="12"/>
                    <a:pt x="219" y="13"/>
                    <a:pt x="213" y="15"/>
                  </a:cubicBezTo>
                  <a:cubicBezTo>
                    <a:pt x="219" y="13"/>
                    <a:pt x="226" y="12"/>
                    <a:pt x="233" y="11"/>
                  </a:cubicBezTo>
                  <a:moveTo>
                    <a:pt x="360" y="0"/>
                  </a:moveTo>
                  <a:cubicBezTo>
                    <a:pt x="341" y="0"/>
                    <a:pt x="321" y="1"/>
                    <a:pt x="298" y="3"/>
                  </a:cubicBezTo>
                  <a:cubicBezTo>
                    <a:pt x="313" y="2"/>
                    <a:pt x="326" y="2"/>
                    <a:pt x="337" y="2"/>
                  </a:cubicBezTo>
                  <a:cubicBezTo>
                    <a:pt x="337" y="2"/>
                    <a:pt x="337" y="2"/>
                    <a:pt x="337" y="2"/>
                  </a:cubicBezTo>
                  <a:cubicBezTo>
                    <a:pt x="433" y="2"/>
                    <a:pt x="625" y="45"/>
                    <a:pt x="717" y="206"/>
                  </a:cubicBezTo>
                  <a:cubicBezTo>
                    <a:pt x="724" y="201"/>
                    <a:pt x="731" y="197"/>
                    <a:pt x="735" y="193"/>
                  </a:cubicBezTo>
                  <a:cubicBezTo>
                    <a:pt x="741" y="190"/>
                    <a:pt x="746" y="187"/>
                    <a:pt x="752" y="184"/>
                  </a:cubicBezTo>
                  <a:cubicBezTo>
                    <a:pt x="778" y="172"/>
                    <a:pt x="778" y="172"/>
                    <a:pt x="778" y="172"/>
                  </a:cubicBezTo>
                  <a:cubicBezTo>
                    <a:pt x="781" y="177"/>
                    <a:pt x="781" y="177"/>
                    <a:pt x="781" y="177"/>
                  </a:cubicBezTo>
                  <a:cubicBezTo>
                    <a:pt x="799" y="176"/>
                    <a:pt x="799" y="176"/>
                    <a:pt x="799" y="176"/>
                  </a:cubicBezTo>
                  <a:cubicBezTo>
                    <a:pt x="709" y="42"/>
                    <a:pt x="547" y="6"/>
                    <a:pt x="445" y="3"/>
                  </a:cubicBezTo>
                  <a:cubicBezTo>
                    <a:pt x="410" y="1"/>
                    <a:pt x="385" y="0"/>
                    <a:pt x="360"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5">
              <a:extLst>
                <a:ext uri="{FF2B5EF4-FFF2-40B4-BE49-F238E27FC236}">
                  <a16:creationId xmlns:a16="http://schemas.microsoft.com/office/drawing/2014/main" id="{02F5DD19-3543-4AA4-A4F0-A1CC4388A549}"/>
                </a:ext>
              </a:extLst>
            </p:cNvPr>
            <p:cNvSpPr>
              <a:spLocks/>
            </p:cNvSpPr>
            <p:nvPr/>
          </p:nvSpPr>
          <p:spPr bwMode="auto">
            <a:xfrm>
              <a:off x="1093" y="651"/>
              <a:ext cx="2063" cy="2747"/>
            </a:xfrm>
            <a:custGeom>
              <a:avLst/>
              <a:gdLst>
                <a:gd name="T0" fmla="*/ 4 w 869"/>
                <a:gd name="T1" fmla="*/ 431 h 1157"/>
                <a:gd name="T2" fmla="*/ 235 w 869"/>
                <a:gd name="T3" fmla="*/ 431 h 1157"/>
                <a:gd name="T4" fmla="*/ 437 w 869"/>
                <a:gd name="T5" fmla="*/ 234 h 1157"/>
                <a:gd name="T6" fmla="*/ 618 w 869"/>
                <a:gd name="T7" fmla="*/ 353 h 1157"/>
                <a:gd name="T8" fmla="*/ 601 w 869"/>
                <a:gd name="T9" fmla="*/ 540 h 1157"/>
                <a:gd name="T10" fmla="*/ 321 w 869"/>
                <a:gd name="T11" fmla="*/ 636 h 1157"/>
                <a:gd name="T12" fmla="*/ 321 w 869"/>
                <a:gd name="T13" fmla="*/ 1157 h 1157"/>
                <a:gd name="T14" fmla="*/ 549 w 869"/>
                <a:gd name="T15" fmla="*/ 1157 h 1157"/>
                <a:gd name="T16" fmla="*/ 549 w 869"/>
                <a:gd name="T17" fmla="*/ 852 h 1157"/>
                <a:gd name="T18" fmla="*/ 869 w 869"/>
                <a:gd name="T19" fmla="*/ 416 h 1157"/>
                <a:gd name="T20" fmla="*/ 437 w 869"/>
                <a:gd name="T21" fmla="*/ 0 h 1157"/>
                <a:gd name="T22" fmla="*/ 4 w 869"/>
                <a:gd name="T23" fmla="*/ 4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1157">
                  <a:moveTo>
                    <a:pt x="4" y="431"/>
                  </a:moveTo>
                  <a:cubicBezTo>
                    <a:pt x="235" y="431"/>
                    <a:pt x="235" y="431"/>
                    <a:pt x="235" y="431"/>
                  </a:cubicBezTo>
                  <a:cubicBezTo>
                    <a:pt x="235" y="431"/>
                    <a:pt x="235" y="237"/>
                    <a:pt x="437" y="234"/>
                  </a:cubicBezTo>
                  <a:cubicBezTo>
                    <a:pt x="541" y="232"/>
                    <a:pt x="596" y="301"/>
                    <a:pt x="618" y="353"/>
                  </a:cubicBezTo>
                  <a:cubicBezTo>
                    <a:pt x="643" y="414"/>
                    <a:pt x="636" y="484"/>
                    <a:pt x="601" y="540"/>
                  </a:cubicBezTo>
                  <a:cubicBezTo>
                    <a:pt x="562" y="605"/>
                    <a:pt x="476" y="664"/>
                    <a:pt x="321" y="636"/>
                  </a:cubicBezTo>
                  <a:cubicBezTo>
                    <a:pt x="321" y="1157"/>
                    <a:pt x="321" y="1157"/>
                    <a:pt x="321" y="1157"/>
                  </a:cubicBezTo>
                  <a:cubicBezTo>
                    <a:pt x="549" y="1157"/>
                    <a:pt x="549" y="1157"/>
                    <a:pt x="549" y="1157"/>
                  </a:cubicBezTo>
                  <a:cubicBezTo>
                    <a:pt x="549" y="852"/>
                    <a:pt x="549" y="852"/>
                    <a:pt x="549" y="852"/>
                  </a:cubicBezTo>
                  <a:cubicBezTo>
                    <a:pt x="549" y="852"/>
                    <a:pt x="869" y="769"/>
                    <a:pt x="869" y="416"/>
                  </a:cubicBezTo>
                  <a:cubicBezTo>
                    <a:pt x="869" y="78"/>
                    <a:pt x="566" y="0"/>
                    <a:pt x="437" y="0"/>
                  </a:cubicBezTo>
                  <a:cubicBezTo>
                    <a:pt x="338" y="0"/>
                    <a:pt x="0" y="24"/>
                    <a:pt x="4" y="43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46">
              <a:extLst>
                <a:ext uri="{FF2B5EF4-FFF2-40B4-BE49-F238E27FC236}">
                  <a16:creationId xmlns:a16="http://schemas.microsoft.com/office/drawing/2014/main" id="{0CF18D3C-2CCB-430F-9E38-2C38E8737003}"/>
                </a:ext>
              </a:extLst>
            </p:cNvPr>
            <p:cNvSpPr>
              <a:spLocks noChangeArrowheads="1"/>
            </p:cNvSpPr>
            <p:nvPr/>
          </p:nvSpPr>
          <p:spPr bwMode="auto">
            <a:xfrm>
              <a:off x="2085" y="2175"/>
              <a:ext cx="1" cy="1"/>
            </a:xfrm>
            <a:prstGeom prst="ellipse">
              <a:avLst/>
            </a:prstGeom>
            <a:solidFill>
              <a:srgbClr val="913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7">
              <a:extLst>
                <a:ext uri="{FF2B5EF4-FFF2-40B4-BE49-F238E27FC236}">
                  <a16:creationId xmlns:a16="http://schemas.microsoft.com/office/drawing/2014/main" id="{8C024D4D-5AB9-4C99-BEE4-FF30380E8157}"/>
                </a:ext>
              </a:extLst>
            </p:cNvPr>
            <p:cNvSpPr>
              <a:spLocks/>
            </p:cNvSpPr>
            <p:nvPr/>
          </p:nvSpPr>
          <p:spPr bwMode="auto">
            <a:xfrm>
              <a:off x="1102" y="651"/>
              <a:ext cx="2033" cy="2747"/>
            </a:xfrm>
            <a:custGeom>
              <a:avLst/>
              <a:gdLst>
                <a:gd name="T0" fmla="*/ 433 w 856"/>
                <a:gd name="T1" fmla="*/ 0 h 1157"/>
                <a:gd name="T2" fmla="*/ 433 w 856"/>
                <a:gd name="T3" fmla="*/ 0 h 1157"/>
                <a:gd name="T4" fmla="*/ 0 w 856"/>
                <a:gd name="T5" fmla="*/ 424 h 1157"/>
                <a:gd name="T6" fmla="*/ 0 w 856"/>
                <a:gd name="T7" fmla="*/ 431 h 1157"/>
                <a:gd name="T8" fmla="*/ 231 w 856"/>
                <a:gd name="T9" fmla="*/ 431 h 1157"/>
                <a:gd name="T10" fmla="*/ 231 w 856"/>
                <a:gd name="T11" fmla="*/ 431 h 1157"/>
                <a:gd name="T12" fmla="*/ 231 w 856"/>
                <a:gd name="T13" fmla="*/ 431 h 1157"/>
                <a:gd name="T14" fmla="*/ 231 w 856"/>
                <a:gd name="T15" fmla="*/ 431 h 1157"/>
                <a:gd name="T16" fmla="*/ 433 w 856"/>
                <a:gd name="T17" fmla="*/ 234 h 1157"/>
                <a:gd name="T18" fmla="*/ 437 w 856"/>
                <a:gd name="T19" fmla="*/ 234 h 1157"/>
                <a:gd name="T20" fmla="*/ 614 w 856"/>
                <a:gd name="T21" fmla="*/ 353 h 1157"/>
                <a:gd name="T22" fmla="*/ 629 w 856"/>
                <a:gd name="T23" fmla="*/ 429 h 1157"/>
                <a:gd name="T24" fmla="*/ 597 w 856"/>
                <a:gd name="T25" fmla="*/ 540 h 1157"/>
                <a:gd name="T26" fmla="*/ 414 w 856"/>
                <a:gd name="T27" fmla="*/ 642 h 1157"/>
                <a:gd name="T28" fmla="*/ 414 w 856"/>
                <a:gd name="T29" fmla="*/ 642 h 1157"/>
                <a:gd name="T30" fmla="*/ 391 w 856"/>
                <a:gd name="T31" fmla="*/ 643 h 1157"/>
                <a:gd name="T32" fmla="*/ 317 w 856"/>
                <a:gd name="T33" fmla="*/ 636 h 1157"/>
                <a:gd name="T34" fmla="*/ 317 w 856"/>
                <a:gd name="T35" fmla="*/ 1157 h 1157"/>
                <a:gd name="T36" fmla="*/ 545 w 856"/>
                <a:gd name="T37" fmla="*/ 1157 h 1157"/>
                <a:gd name="T38" fmla="*/ 545 w 856"/>
                <a:gd name="T39" fmla="*/ 852 h 1157"/>
                <a:gd name="T40" fmla="*/ 545 w 856"/>
                <a:gd name="T41" fmla="*/ 852 h 1157"/>
                <a:gd name="T42" fmla="*/ 856 w 856"/>
                <a:gd name="T43" fmla="*/ 518 h 1157"/>
                <a:gd name="T44" fmla="*/ 841 w 856"/>
                <a:gd name="T45" fmla="*/ 497 h 1157"/>
                <a:gd name="T46" fmla="*/ 850 w 856"/>
                <a:gd name="T47" fmla="*/ 484 h 1157"/>
                <a:gd name="T48" fmla="*/ 826 w 856"/>
                <a:gd name="T49" fmla="*/ 419 h 1157"/>
                <a:gd name="T50" fmla="*/ 824 w 856"/>
                <a:gd name="T51" fmla="*/ 420 h 1157"/>
                <a:gd name="T52" fmla="*/ 814 w 856"/>
                <a:gd name="T53" fmla="*/ 420 h 1157"/>
                <a:gd name="T54" fmla="*/ 797 w 856"/>
                <a:gd name="T55" fmla="*/ 418 h 1157"/>
                <a:gd name="T56" fmla="*/ 777 w 856"/>
                <a:gd name="T57" fmla="*/ 405 h 1157"/>
                <a:gd name="T58" fmla="*/ 776 w 856"/>
                <a:gd name="T59" fmla="*/ 406 h 1157"/>
                <a:gd name="T60" fmla="*/ 764 w 856"/>
                <a:gd name="T61" fmla="*/ 260 h 1157"/>
                <a:gd name="T62" fmla="*/ 813 w 856"/>
                <a:gd name="T63" fmla="*/ 204 h 1157"/>
                <a:gd name="T64" fmla="*/ 433 w 856"/>
                <a:gd name="T65"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6" h="1157">
                  <a:moveTo>
                    <a:pt x="433" y="0"/>
                  </a:moveTo>
                  <a:cubicBezTo>
                    <a:pt x="433" y="0"/>
                    <a:pt x="433" y="0"/>
                    <a:pt x="433" y="0"/>
                  </a:cubicBezTo>
                  <a:cubicBezTo>
                    <a:pt x="334" y="0"/>
                    <a:pt x="0" y="23"/>
                    <a:pt x="0" y="424"/>
                  </a:cubicBezTo>
                  <a:cubicBezTo>
                    <a:pt x="0" y="426"/>
                    <a:pt x="0" y="429"/>
                    <a:pt x="0" y="431"/>
                  </a:cubicBezTo>
                  <a:cubicBezTo>
                    <a:pt x="231" y="431"/>
                    <a:pt x="231" y="431"/>
                    <a:pt x="231" y="431"/>
                  </a:cubicBezTo>
                  <a:cubicBezTo>
                    <a:pt x="231" y="431"/>
                    <a:pt x="231" y="431"/>
                    <a:pt x="231" y="431"/>
                  </a:cubicBezTo>
                  <a:cubicBezTo>
                    <a:pt x="231" y="431"/>
                    <a:pt x="231" y="431"/>
                    <a:pt x="231" y="431"/>
                  </a:cubicBezTo>
                  <a:cubicBezTo>
                    <a:pt x="231" y="431"/>
                    <a:pt x="231" y="431"/>
                    <a:pt x="231" y="431"/>
                  </a:cubicBezTo>
                  <a:cubicBezTo>
                    <a:pt x="231" y="430"/>
                    <a:pt x="232" y="237"/>
                    <a:pt x="433" y="234"/>
                  </a:cubicBezTo>
                  <a:cubicBezTo>
                    <a:pt x="434" y="234"/>
                    <a:pt x="435" y="234"/>
                    <a:pt x="437" y="234"/>
                  </a:cubicBezTo>
                  <a:cubicBezTo>
                    <a:pt x="539" y="234"/>
                    <a:pt x="592" y="301"/>
                    <a:pt x="614" y="353"/>
                  </a:cubicBezTo>
                  <a:cubicBezTo>
                    <a:pt x="624" y="378"/>
                    <a:pt x="629" y="403"/>
                    <a:pt x="629" y="429"/>
                  </a:cubicBezTo>
                  <a:cubicBezTo>
                    <a:pt x="629" y="468"/>
                    <a:pt x="618" y="506"/>
                    <a:pt x="597" y="540"/>
                  </a:cubicBezTo>
                  <a:cubicBezTo>
                    <a:pt x="567" y="590"/>
                    <a:pt x="509" y="636"/>
                    <a:pt x="414" y="642"/>
                  </a:cubicBezTo>
                  <a:cubicBezTo>
                    <a:pt x="414" y="642"/>
                    <a:pt x="414" y="642"/>
                    <a:pt x="414" y="642"/>
                  </a:cubicBezTo>
                  <a:cubicBezTo>
                    <a:pt x="406" y="643"/>
                    <a:pt x="399" y="643"/>
                    <a:pt x="391" y="643"/>
                  </a:cubicBezTo>
                  <a:cubicBezTo>
                    <a:pt x="368" y="643"/>
                    <a:pt x="344" y="641"/>
                    <a:pt x="317" y="636"/>
                  </a:cubicBezTo>
                  <a:cubicBezTo>
                    <a:pt x="317" y="1157"/>
                    <a:pt x="317" y="1157"/>
                    <a:pt x="317" y="1157"/>
                  </a:cubicBezTo>
                  <a:cubicBezTo>
                    <a:pt x="545" y="1157"/>
                    <a:pt x="545" y="1157"/>
                    <a:pt x="545" y="1157"/>
                  </a:cubicBezTo>
                  <a:cubicBezTo>
                    <a:pt x="545" y="852"/>
                    <a:pt x="545" y="852"/>
                    <a:pt x="545" y="852"/>
                  </a:cubicBezTo>
                  <a:cubicBezTo>
                    <a:pt x="545" y="852"/>
                    <a:pt x="545" y="852"/>
                    <a:pt x="545" y="852"/>
                  </a:cubicBezTo>
                  <a:cubicBezTo>
                    <a:pt x="545" y="852"/>
                    <a:pt x="802" y="785"/>
                    <a:pt x="856" y="518"/>
                  </a:cubicBezTo>
                  <a:cubicBezTo>
                    <a:pt x="845" y="514"/>
                    <a:pt x="841" y="505"/>
                    <a:pt x="841" y="497"/>
                  </a:cubicBezTo>
                  <a:cubicBezTo>
                    <a:pt x="842" y="489"/>
                    <a:pt x="850" y="484"/>
                    <a:pt x="850" y="484"/>
                  </a:cubicBezTo>
                  <a:cubicBezTo>
                    <a:pt x="826" y="419"/>
                    <a:pt x="826" y="419"/>
                    <a:pt x="826" y="419"/>
                  </a:cubicBezTo>
                  <a:cubicBezTo>
                    <a:pt x="825" y="420"/>
                    <a:pt x="824" y="420"/>
                    <a:pt x="824" y="420"/>
                  </a:cubicBezTo>
                  <a:cubicBezTo>
                    <a:pt x="820" y="420"/>
                    <a:pt x="817" y="420"/>
                    <a:pt x="814" y="420"/>
                  </a:cubicBezTo>
                  <a:cubicBezTo>
                    <a:pt x="808" y="420"/>
                    <a:pt x="802" y="419"/>
                    <a:pt x="797" y="418"/>
                  </a:cubicBezTo>
                  <a:cubicBezTo>
                    <a:pt x="790" y="416"/>
                    <a:pt x="779" y="411"/>
                    <a:pt x="777" y="405"/>
                  </a:cubicBezTo>
                  <a:cubicBezTo>
                    <a:pt x="776" y="406"/>
                    <a:pt x="776" y="406"/>
                    <a:pt x="776" y="406"/>
                  </a:cubicBezTo>
                  <a:cubicBezTo>
                    <a:pt x="776" y="406"/>
                    <a:pt x="746" y="329"/>
                    <a:pt x="764" y="260"/>
                  </a:cubicBezTo>
                  <a:cubicBezTo>
                    <a:pt x="770" y="238"/>
                    <a:pt x="794" y="218"/>
                    <a:pt x="813" y="204"/>
                  </a:cubicBezTo>
                  <a:cubicBezTo>
                    <a:pt x="721" y="43"/>
                    <a:pt x="529" y="0"/>
                    <a:pt x="433" y="0"/>
                  </a:cubicBezTo>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8">
              <a:extLst>
                <a:ext uri="{FF2B5EF4-FFF2-40B4-BE49-F238E27FC236}">
                  <a16:creationId xmlns:a16="http://schemas.microsoft.com/office/drawing/2014/main" id="{720AA291-6254-44AB-96A4-024E1FBBD7FE}"/>
                </a:ext>
              </a:extLst>
            </p:cNvPr>
            <p:cNvSpPr>
              <a:spLocks noChangeArrowheads="1"/>
            </p:cNvSpPr>
            <p:nvPr/>
          </p:nvSpPr>
          <p:spPr bwMode="auto">
            <a:xfrm>
              <a:off x="1853" y="3652"/>
              <a:ext cx="550" cy="51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9">
              <a:extLst>
                <a:ext uri="{FF2B5EF4-FFF2-40B4-BE49-F238E27FC236}">
                  <a16:creationId xmlns:a16="http://schemas.microsoft.com/office/drawing/2014/main" id="{66A65B76-F636-4FDA-A5A8-73F577ECA878}"/>
                </a:ext>
              </a:extLst>
            </p:cNvPr>
            <p:cNvSpPr>
              <a:spLocks noChangeArrowheads="1"/>
            </p:cNvSpPr>
            <p:nvPr/>
          </p:nvSpPr>
          <p:spPr bwMode="auto">
            <a:xfrm>
              <a:off x="1853" y="3652"/>
              <a:ext cx="550" cy="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0">
              <a:extLst>
                <a:ext uri="{FF2B5EF4-FFF2-40B4-BE49-F238E27FC236}">
                  <a16:creationId xmlns:a16="http://schemas.microsoft.com/office/drawing/2014/main" id="{AE4AAC32-B9B0-4D73-944B-BF168ECFDE50}"/>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close/>
                </a:path>
              </a:pathLst>
            </a:custGeom>
            <a:solidFill>
              <a:srgbClr val="8F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1">
              <a:extLst>
                <a:ext uri="{FF2B5EF4-FFF2-40B4-BE49-F238E27FC236}">
                  <a16:creationId xmlns:a16="http://schemas.microsoft.com/office/drawing/2014/main" id="{2BD1AA48-2DDD-4F25-8C0E-6689CDAA820A}"/>
                </a:ext>
              </a:extLst>
            </p:cNvPr>
            <p:cNvSpPr>
              <a:spLocks/>
            </p:cNvSpPr>
            <p:nvPr/>
          </p:nvSpPr>
          <p:spPr bwMode="auto">
            <a:xfrm>
              <a:off x="1853" y="3652"/>
              <a:ext cx="550" cy="515"/>
            </a:xfrm>
            <a:custGeom>
              <a:avLst/>
              <a:gdLst>
                <a:gd name="T0" fmla="*/ 550 w 550"/>
                <a:gd name="T1" fmla="*/ 0 h 515"/>
                <a:gd name="T2" fmla="*/ 237 w 550"/>
                <a:gd name="T3" fmla="*/ 0 h 515"/>
                <a:gd name="T4" fmla="*/ 232 w 550"/>
                <a:gd name="T5" fmla="*/ 0 h 515"/>
                <a:gd name="T6" fmla="*/ 0 w 550"/>
                <a:gd name="T7" fmla="*/ 0 h 515"/>
                <a:gd name="T8" fmla="*/ 0 w 550"/>
                <a:gd name="T9" fmla="*/ 515 h 515"/>
                <a:gd name="T10" fmla="*/ 550 w 550"/>
                <a:gd name="T11" fmla="*/ 515 h 515"/>
                <a:gd name="T12" fmla="*/ 550 w 550"/>
                <a:gd name="T13" fmla="*/ 0 h 515"/>
              </a:gdLst>
              <a:ahLst/>
              <a:cxnLst>
                <a:cxn ang="0">
                  <a:pos x="T0" y="T1"/>
                </a:cxn>
                <a:cxn ang="0">
                  <a:pos x="T2" y="T3"/>
                </a:cxn>
                <a:cxn ang="0">
                  <a:pos x="T4" y="T5"/>
                </a:cxn>
                <a:cxn ang="0">
                  <a:pos x="T6" y="T7"/>
                </a:cxn>
                <a:cxn ang="0">
                  <a:pos x="T8" y="T9"/>
                </a:cxn>
                <a:cxn ang="0">
                  <a:pos x="T10" y="T11"/>
                </a:cxn>
                <a:cxn ang="0">
                  <a:pos x="T12" y="T13"/>
                </a:cxn>
              </a:cxnLst>
              <a:rect l="0" t="0" r="r" b="b"/>
              <a:pathLst>
                <a:path w="550" h="515">
                  <a:moveTo>
                    <a:pt x="550" y="0"/>
                  </a:moveTo>
                  <a:lnTo>
                    <a:pt x="237" y="0"/>
                  </a:lnTo>
                  <a:lnTo>
                    <a:pt x="232" y="0"/>
                  </a:lnTo>
                  <a:lnTo>
                    <a:pt x="0" y="0"/>
                  </a:lnTo>
                  <a:lnTo>
                    <a:pt x="0" y="515"/>
                  </a:lnTo>
                  <a:lnTo>
                    <a:pt x="550" y="515"/>
                  </a:lnTo>
                  <a:lnTo>
                    <a:pt x="5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2">
              <a:extLst>
                <a:ext uri="{FF2B5EF4-FFF2-40B4-BE49-F238E27FC236}">
                  <a16:creationId xmlns:a16="http://schemas.microsoft.com/office/drawing/2014/main" id="{E27E1E0A-D35D-45FF-AC36-D7AF7BFC30FE}"/>
                </a:ext>
              </a:extLst>
            </p:cNvPr>
            <p:cNvSpPr>
              <a:spLocks/>
            </p:cNvSpPr>
            <p:nvPr/>
          </p:nvSpPr>
          <p:spPr bwMode="auto">
            <a:xfrm>
              <a:off x="1648" y="1202"/>
              <a:ext cx="544" cy="465"/>
            </a:xfrm>
            <a:custGeom>
              <a:avLst/>
              <a:gdLst>
                <a:gd name="T0" fmla="*/ 229 w 229"/>
                <a:gd name="T1" fmla="*/ 3 h 196"/>
                <a:gd name="T2" fmla="*/ 225 w 229"/>
                <a:gd name="T3" fmla="*/ 3 h 196"/>
                <a:gd name="T4" fmla="*/ 216 w 229"/>
                <a:gd name="T5" fmla="*/ 2 h 196"/>
                <a:gd name="T6" fmla="*/ 179 w 229"/>
                <a:gd name="T7" fmla="*/ 3 h 196"/>
                <a:gd name="T8" fmla="*/ 127 w 229"/>
                <a:gd name="T9" fmla="*/ 16 h 196"/>
                <a:gd name="T10" fmla="*/ 98 w 229"/>
                <a:gd name="T11" fmla="*/ 28 h 196"/>
                <a:gd name="T12" fmla="*/ 69 w 229"/>
                <a:gd name="T13" fmla="*/ 47 h 196"/>
                <a:gd name="T14" fmla="*/ 46 w 229"/>
                <a:gd name="T15" fmla="*/ 71 h 196"/>
                <a:gd name="T16" fmla="*/ 29 w 229"/>
                <a:gd name="T17" fmla="*/ 98 h 196"/>
                <a:gd name="T18" fmla="*/ 8 w 229"/>
                <a:gd name="T19" fmla="*/ 147 h 196"/>
                <a:gd name="T20" fmla="*/ 1 w 229"/>
                <a:gd name="T21" fmla="*/ 183 h 196"/>
                <a:gd name="T22" fmla="*/ 0 w 229"/>
                <a:gd name="T23" fmla="*/ 193 h 196"/>
                <a:gd name="T24" fmla="*/ 0 w 229"/>
                <a:gd name="T25" fmla="*/ 196 h 196"/>
                <a:gd name="T26" fmla="*/ 0 w 229"/>
                <a:gd name="T27" fmla="*/ 193 h 196"/>
                <a:gd name="T28" fmla="*/ 0 w 229"/>
                <a:gd name="T29" fmla="*/ 183 h 196"/>
                <a:gd name="T30" fmla="*/ 6 w 229"/>
                <a:gd name="T31" fmla="*/ 147 h 196"/>
                <a:gd name="T32" fmla="*/ 27 w 229"/>
                <a:gd name="T33" fmla="*/ 97 h 196"/>
                <a:gd name="T34" fmla="*/ 44 w 229"/>
                <a:gd name="T35" fmla="*/ 70 h 196"/>
                <a:gd name="T36" fmla="*/ 68 w 229"/>
                <a:gd name="T37" fmla="*/ 45 h 196"/>
                <a:gd name="T38" fmla="*/ 97 w 229"/>
                <a:gd name="T39" fmla="*/ 26 h 196"/>
                <a:gd name="T40" fmla="*/ 126 w 229"/>
                <a:gd name="T41" fmla="*/ 14 h 196"/>
                <a:gd name="T42" fmla="*/ 179 w 229"/>
                <a:gd name="T43" fmla="*/ 2 h 196"/>
                <a:gd name="T44" fmla="*/ 216 w 229"/>
                <a:gd name="T45" fmla="*/ 1 h 196"/>
                <a:gd name="T46" fmla="*/ 225 w 229"/>
                <a:gd name="T47" fmla="*/ 2 h 196"/>
                <a:gd name="T48" fmla="*/ 229 w 229"/>
                <a:gd name="T49" fmla="*/ 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196">
                  <a:moveTo>
                    <a:pt x="229" y="3"/>
                  </a:moveTo>
                  <a:cubicBezTo>
                    <a:pt x="229" y="3"/>
                    <a:pt x="228" y="3"/>
                    <a:pt x="225" y="3"/>
                  </a:cubicBezTo>
                  <a:cubicBezTo>
                    <a:pt x="223" y="3"/>
                    <a:pt x="220" y="2"/>
                    <a:pt x="216" y="2"/>
                  </a:cubicBezTo>
                  <a:cubicBezTo>
                    <a:pt x="207" y="1"/>
                    <a:pt x="194" y="2"/>
                    <a:pt x="179" y="3"/>
                  </a:cubicBezTo>
                  <a:cubicBezTo>
                    <a:pt x="164" y="5"/>
                    <a:pt x="146" y="9"/>
                    <a:pt x="127" y="16"/>
                  </a:cubicBezTo>
                  <a:cubicBezTo>
                    <a:pt x="117" y="19"/>
                    <a:pt x="108" y="23"/>
                    <a:pt x="98" y="28"/>
                  </a:cubicBezTo>
                  <a:cubicBezTo>
                    <a:pt x="88" y="33"/>
                    <a:pt x="78" y="39"/>
                    <a:pt x="69" y="47"/>
                  </a:cubicBezTo>
                  <a:cubicBezTo>
                    <a:pt x="60" y="54"/>
                    <a:pt x="53" y="63"/>
                    <a:pt x="46" y="71"/>
                  </a:cubicBezTo>
                  <a:cubicBezTo>
                    <a:pt x="39" y="80"/>
                    <a:pt x="34" y="89"/>
                    <a:pt x="29" y="98"/>
                  </a:cubicBezTo>
                  <a:cubicBezTo>
                    <a:pt x="19" y="116"/>
                    <a:pt x="12" y="133"/>
                    <a:pt x="8" y="147"/>
                  </a:cubicBezTo>
                  <a:cubicBezTo>
                    <a:pt x="4" y="162"/>
                    <a:pt x="2" y="174"/>
                    <a:pt x="1" y="183"/>
                  </a:cubicBezTo>
                  <a:cubicBezTo>
                    <a:pt x="0" y="187"/>
                    <a:pt x="0" y="191"/>
                    <a:pt x="0" y="193"/>
                  </a:cubicBezTo>
                  <a:cubicBezTo>
                    <a:pt x="0" y="195"/>
                    <a:pt x="0" y="196"/>
                    <a:pt x="0" y="196"/>
                  </a:cubicBezTo>
                  <a:cubicBezTo>
                    <a:pt x="0" y="196"/>
                    <a:pt x="0" y="195"/>
                    <a:pt x="0" y="193"/>
                  </a:cubicBezTo>
                  <a:cubicBezTo>
                    <a:pt x="0" y="191"/>
                    <a:pt x="0" y="187"/>
                    <a:pt x="0" y="183"/>
                  </a:cubicBezTo>
                  <a:cubicBezTo>
                    <a:pt x="1" y="174"/>
                    <a:pt x="2" y="162"/>
                    <a:pt x="6" y="147"/>
                  </a:cubicBezTo>
                  <a:cubicBezTo>
                    <a:pt x="10" y="132"/>
                    <a:pt x="17" y="115"/>
                    <a:pt x="27" y="97"/>
                  </a:cubicBezTo>
                  <a:cubicBezTo>
                    <a:pt x="32" y="88"/>
                    <a:pt x="38" y="79"/>
                    <a:pt x="44" y="70"/>
                  </a:cubicBezTo>
                  <a:cubicBezTo>
                    <a:pt x="51" y="61"/>
                    <a:pt x="59" y="53"/>
                    <a:pt x="68" y="45"/>
                  </a:cubicBezTo>
                  <a:cubicBezTo>
                    <a:pt x="77" y="38"/>
                    <a:pt x="87" y="31"/>
                    <a:pt x="97" y="26"/>
                  </a:cubicBezTo>
                  <a:cubicBezTo>
                    <a:pt x="107" y="21"/>
                    <a:pt x="117" y="17"/>
                    <a:pt x="126" y="14"/>
                  </a:cubicBezTo>
                  <a:cubicBezTo>
                    <a:pt x="146" y="7"/>
                    <a:pt x="164" y="4"/>
                    <a:pt x="179" y="2"/>
                  </a:cubicBezTo>
                  <a:cubicBezTo>
                    <a:pt x="194" y="0"/>
                    <a:pt x="207" y="0"/>
                    <a:pt x="216" y="1"/>
                  </a:cubicBezTo>
                  <a:cubicBezTo>
                    <a:pt x="220" y="1"/>
                    <a:pt x="223" y="2"/>
                    <a:pt x="225" y="2"/>
                  </a:cubicBezTo>
                  <a:cubicBezTo>
                    <a:pt x="228" y="3"/>
                    <a:pt x="229" y="3"/>
                    <a:pt x="229"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3">
              <a:extLst>
                <a:ext uri="{FF2B5EF4-FFF2-40B4-BE49-F238E27FC236}">
                  <a16:creationId xmlns:a16="http://schemas.microsoft.com/office/drawing/2014/main" id="{D67D43D8-83E7-422C-AE6C-E774E9E85736}"/>
                </a:ext>
              </a:extLst>
            </p:cNvPr>
            <p:cNvSpPr>
              <a:spLocks/>
            </p:cNvSpPr>
            <p:nvPr/>
          </p:nvSpPr>
          <p:spPr bwMode="auto">
            <a:xfrm>
              <a:off x="2092" y="651"/>
              <a:ext cx="926" cy="461"/>
            </a:xfrm>
            <a:custGeom>
              <a:avLst/>
              <a:gdLst>
                <a:gd name="T0" fmla="*/ 390 w 390"/>
                <a:gd name="T1" fmla="*/ 194 h 194"/>
                <a:gd name="T2" fmla="*/ 389 w 390"/>
                <a:gd name="T3" fmla="*/ 193 h 194"/>
                <a:gd name="T4" fmla="*/ 387 w 390"/>
                <a:gd name="T5" fmla="*/ 190 h 194"/>
                <a:gd name="T6" fmla="*/ 380 w 390"/>
                <a:gd name="T7" fmla="*/ 179 h 194"/>
                <a:gd name="T8" fmla="*/ 374 w 390"/>
                <a:gd name="T9" fmla="*/ 171 h 194"/>
                <a:gd name="T10" fmla="*/ 367 w 390"/>
                <a:gd name="T11" fmla="*/ 163 h 194"/>
                <a:gd name="T12" fmla="*/ 359 w 390"/>
                <a:gd name="T13" fmla="*/ 153 h 194"/>
                <a:gd name="T14" fmla="*/ 348 w 390"/>
                <a:gd name="T15" fmla="*/ 142 h 194"/>
                <a:gd name="T16" fmla="*/ 337 w 390"/>
                <a:gd name="T17" fmla="*/ 131 h 194"/>
                <a:gd name="T18" fmla="*/ 324 w 390"/>
                <a:gd name="T19" fmla="*/ 119 h 194"/>
                <a:gd name="T20" fmla="*/ 318 w 390"/>
                <a:gd name="T21" fmla="*/ 113 h 194"/>
                <a:gd name="T22" fmla="*/ 310 w 390"/>
                <a:gd name="T23" fmla="*/ 107 h 194"/>
                <a:gd name="T24" fmla="*/ 294 w 390"/>
                <a:gd name="T25" fmla="*/ 95 h 194"/>
                <a:gd name="T26" fmla="*/ 219 w 390"/>
                <a:gd name="T27" fmla="*/ 50 h 194"/>
                <a:gd name="T28" fmla="*/ 198 w 390"/>
                <a:gd name="T29" fmla="*/ 41 h 194"/>
                <a:gd name="T30" fmla="*/ 177 w 390"/>
                <a:gd name="T31" fmla="*/ 32 h 194"/>
                <a:gd name="T32" fmla="*/ 156 w 390"/>
                <a:gd name="T33" fmla="*/ 25 h 194"/>
                <a:gd name="T34" fmla="*/ 136 w 390"/>
                <a:gd name="T35" fmla="*/ 19 h 194"/>
                <a:gd name="T36" fmla="*/ 117 w 390"/>
                <a:gd name="T37" fmla="*/ 14 h 194"/>
                <a:gd name="T38" fmla="*/ 99 w 390"/>
                <a:gd name="T39" fmla="*/ 10 h 194"/>
                <a:gd name="T40" fmla="*/ 82 w 390"/>
                <a:gd name="T41" fmla="*/ 7 h 194"/>
                <a:gd name="T42" fmla="*/ 66 w 390"/>
                <a:gd name="T43" fmla="*/ 5 h 194"/>
                <a:gd name="T44" fmla="*/ 39 w 390"/>
                <a:gd name="T45" fmla="*/ 2 h 194"/>
                <a:gd name="T46" fmla="*/ 27 w 390"/>
                <a:gd name="T47" fmla="*/ 1 h 194"/>
                <a:gd name="T48" fmla="*/ 18 w 390"/>
                <a:gd name="T49" fmla="*/ 1 h 194"/>
                <a:gd name="T50" fmla="*/ 4 w 390"/>
                <a:gd name="T51" fmla="*/ 0 h 194"/>
                <a:gd name="T52" fmla="*/ 1 w 390"/>
                <a:gd name="T53" fmla="*/ 0 h 194"/>
                <a:gd name="T54" fmla="*/ 0 w 390"/>
                <a:gd name="T55" fmla="*/ 0 h 194"/>
                <a:gd name="T56" fmla="*/ 1 w 390"/>
                <a:gd name="T57" fmla="*/ 0 h 194"/>
                <a:gd name="T58" fmla="*/ 4 w 390"/>
                <a:gd name="T59" fmla="*/ 0 h 194"/>
                <a:gd name="T60" fmla="*/ 18 w 390"/>
                <a:gd name="T61" fmla="*/ 0 h 194"/>
                <a:gd name="T62" fmla="*/ 27 w 390"/>
                <a:gd name="T63" fmla="*/ 0 h 194"/>
                <a:gd name="T64" fmla="*/ 39 w 390"/>
                <a:gd name="T65" fmla="*/ 1 h 194"/>
                <a:gd name="T66" fmla="*/ 66 w 390"/>
                <a:gd name="T67" fmla="*/ 3 h 194"/>
                <a:gd name="T68" fmla="*/ 82 w 390"/>
                <a:gd name="T69" fmla="*/ 6 h 194"/>
                <a:gd name="T70" fmla="*/ 99 w 390"/>
                <a:gd name="T71" fmla="*/ 9 h 194"/>
                <a:gd name="T72" fmla="*/ 118 w 390"/>
                <a:gd name="T73" fmla="*/ 12 h 194"/>
                <a:gd name="T74" fmla="*/ 137 w 390"/>
                <a:gd name="T75" fmla="*/ 17 h 194"/>
                <a:gd name="T76" fmla="*/ 157 w 390"/>
                <a:gd name="T77" fmla="*/ 23 h 194"/>
                <a:gd name="T78" fmla="*/ 177 w 390"/>
                <a:gd name="T79" fmla="*/ 30 h 194"/>
                <a:gd name="T80" fmla="*/ 198 w 390"/>
                <a:gd name="T81" fmla="*/ 39 h 194"/>
                <a:gd name="T82" fmla="*/ 220 w 390"/>
                <a:gd name="T83" fmla="*/ 48 h 194"/>
                <a:gd name="T84" fmla="*/ 296 w 390"/>
                <a:gd name="T85" fmla="*/ 93 h 194"/>
                <a:gd name="T86" fmla="*/ 311 w 390"/>
                <a:gd name="T87" fmla="*/ 105 h 194"/>
                <a:gd name="T88" fmla="*/ 319 w 390"/>
                <a:gd name="T89" fmla="*/ 111 h 194"/>
                <a:gd name="T90" fmla="*/ 326 w 390"/>
                <a:gd name="T91" fmla="*/ 118 h 194"/>
                <a:gd name="T92" fmla="*/ 338 w 390"/>
                <a:gd name="T93" fmla="*/ 129 h 194"/>
                <a:gd name="T94" fmla="*/ 350 w 390"/>
                <a:gd name="T95" fmla="*/ 141 h 194"/>
                <a:gd name="T96" fmla="*/ 360 w 390"/>
                <a:gd name="T97" fmla="*/ 152 h 194"/>
                <a:gd name="T98" fmla="*/ 368 w 390"/>
                <a:gd name="T99" fmla="*/ 162 h 194"/>
                <a:gd name="T100" fmla="*/ 375 w 390"/>
                <a:gd name="T101" fmla="*/ 171 h 194"/>
                <a:gd name="T102" fmla="*/ 380 w 390"/>
                <a:gd name="T103" fmla="*/ 179 h 194"/>
                <a:gd name="T104" fmla="*/ 387 w 390"/>
                <a:gd name="T105" fmla="*/ 190 h 194"/>
                <a:gd name="T106" fmla="*/ 389 w 390"/>
                <a:gd name="T107" fmla="*/ 193 h 194"/>
                <a:gd name="T108" fmla="*/ 390 w 390"/>
                <a:gd name="T10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0" h="194">
                  <a:moveTo>
                    <a:pt x="390" y="194"/>
                  </a:moveTo>
                  <a:cubicBezTo>
                    <a:pt x="390" y="194"/>
                    <a:pt x="390" y="193"/>
                    <a:pt x="389" y="193"/>
                  </a:cubicBezTo>
                  <a:cubicBezTo>
                    <a:pt x="389" y="192"/>
                    <a:pt x="388" y="191"/>
                    <a:pt x="387" y="190"/>
                  </a:cubicBezTo>
                  <a:cubicBezTo>
                    <a:pt x="385" y="187"/>
                    <a:pt x="383" y="184"/>
                    <a:pt x="380" y="179"/>
                  </a:cubicBezTo>
                  <a:cubicBezTo>
                    <a:pt x="378" y="177"/>
                    <a:pt x="376" y="174"/>
                    <a:pt x="374" y="171"/>
                  </a:cubicBezTo>
                  <a:cubicBezTo>
                    <a:pt x="372" y="169"/>
                    <a:pt x="369" y="166"/>
                    <a:pt x="367" y="163"/>
                  </a:cubicBezTo>
                  <a:cubicBezTo>
                    <a:pt x="364" y="160"/>
                    <a:pt x="361" y="156"/>
                    <a:pt x="359" y="153"/>
                  </a:cubicBezTo>
                  <a:cubicBezTo>
                    <a:pt x="356" y="149"/>
                    <a:pt x="352" y="146"/>
                    <a:pt x="348" y="142"/>
                  </a:cubicBezTo>
                  <a:cubicBezTo>
                    <a:pt x="345" y="138"/>
                    <a:pt x="341" y="134"/>
                    <a:pt x="337" y="131"/>
                  </a:cubicBezTo>
                  <a:cubicBezTo>
                    <a:pt x="333" y="127"/>
                    <a:pt x="329" y="123"/>
                    <a:pt x="324" y="119"/>
                  </a:cubicBezTo>
                  <a:cubicBezTo>
                    <a:pt x="322" y="117"/>
                    <a:pt x="320" y="115"/>
                    <a:pt x="318" y="113"/>
                  </a:cubicBezTo>
                  <a:cubicBezTo>
                    <a:pt x="315" y="111"/>
                    <a:pt x="313" y="109"/>
                    <a:pt x="310" y="107"/>
                  </a:cubicBezTo>
                  <a:cubicBezTo>
                    <a:pt x="305" y="103"/>
                    <a:pt x="300" y="99"/>
                    <a:pt x="294" y="95"/>
                  </a:cubicBezTo>
                  <a:cubicBezTo>
                    <a:pt x="273" y="79"/>
                    <a:pt x="247" y="64"/>
                    <a:pt x="219" y="50"/>
                  </a:cubicBezTo>
                  <a:cubicBezTo>
                    <a:pt x="212" y="47"/>
                    <a:pt x="205" y="44"/>
                    <a:pt x="198" y="41"/>
                  </a:cubicBezTo>
                  <a:cubicBezTo>
                    <a:pt x="191" y="38"/>
                    <a:pt x="184" y="35"/>
                    <a:pt x="177" y="32"/>
                  </a:cubicBezTo>
                  <a:cubicBezTo>
                    <a:pt x="170" y="30"/>
                    <a:pt x="163" y="28"/>
                    <a:pt x="156" y="25"/>
                  </a:cubicBezTo>
                  <a:cubicBezTo>
                    <a:pt x="149" y="23"/>
                    <a:pt x="143" y="21"/>
                    <a:pt x="136" y="19"/>
                  </a:cubicBezTo>
                  <a:cubicBezTo>
                    <a:pt x="130" y="18"/>
                    <a:pt x="123" y="16"/>
                    <a:pt x="117" y="14"/>
                  </a:cubicBezTo>
                  <a:cubicBezTo>
                    <a:pt x="111" y="13"/>
                    <a:pt x="105" y="12"/>
                    <a:pt x="99" y="10"/>
                  </a:cubicBezTo>
                  <a:cubicBezTo>
                    <a:pt x="93" y="9"/>
                    <a:pt x="87" y="8"/>
                    <a:pt x="82" y="7"/>
                  </a:cubicBezTo>
                  <a:cubicBezTo>
                    <a:pt x="76" y="6"/>
                    <a:pt x="71" y="6"/>
                    <a:pt x="66" y="5"/>
                  </a:cubicBezTo>
                  <a:cubicBezTo>
                    <a:pt x="56" y="3"/>
                    <a:pt x="47" y="3"/>
                    <a:pt x="39" y="2"/>
                  </a:cubicBezTo>
                  <a:cubicBezTo>
                    <a:pt x="34" y="2"/>
                    <a:pt x="31" y="1"/>
                    <a:pt x="27" y="1"/>
                  </a:cubicBezTo>
                  <a:cubicBezTo>
                    <a:pt x="24" y="1"/>
                    <a:pt x="21" y="1"/>
                    <a:pt x="18" y="1"/>
                  </a:cubicBezTo>
                  <a:cubicBezTo>
                    <a:pt x="12" y="1"/>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8" y="0"/>
                  </a:cubicBezTo>
                  <a:cubicBezTo>
                    <a:pt x="21" y="0"/>
                    <a:pt x="24" y="0"/>
                    <a:pt x="27" y="0"/>
                  </a:cubicBezTo>
                  <a:cubicBezTo>
                    <a:pt x="31" y="0"/>
                    <a:pt x="35" y="0"/>
                    <a:pt x="39" y="1"/>
                  </a:cubicBezTo>
                  <a:cubicBezTo>
                    <a:pt x="47" y="1"/>
                    <a:pt x="56" y="2"/>
                    <a:pt x="66" y="3"/>
                  </a:cubicBezTo>
                  <a:cubicBezTo>
                    <a:pt x="71" y="4"/>
                    <a:pt x="77" y="5"/>
                    <a:pt x="82" y="6"/>
                  </a:cubicBezTo>
                  <a:cubicBezTo>
                    <a:pt x="88" y="6"/>
                    <a:pt x="93" y="8"/>
                    <a:pt x="99" y="9"/>
                  </a:cubicBezTo>
                  <a:cubicBezTo>
                    <a:pt x="105" y="10"/>
                    <a:pt x="111" y="11"/>
                    <a:pt x="118" y="12"/>
                  </a:cubicBezTo>
                  <a:cubicBezTo>
                    <a:pt x="124" y="14"/>
                    <a:pt x="130" y="16"/>
                    <a:pt x="137" y="17"/>
                  </a:cubicBezTo>
                  <a:cubicBezTo>
                    <a:pt x="144" y="19"/>
                    <a:pt x="150" y="21"/>
                    <a:pt x="157" y="23"/>
                  </a:cubicBezTo>
                  <a:cubicBezTo>
                    <a:pt x="164" y="26"/>
                    <a:pt x="171" y="28"/>
                    <a:pt x="177" y="30"/>
                  </a:cubicBezTo>
                  <a:cubicBezTo>
                    <a:pt x="184" y="33"/>
                    <a:pt x="191" y="36"/>
                    <a:pt x="198" y="39"/>
                  </a:cubicBezTo>
                  <a:cubicBezTo>
                    <a:pt x="205" y="42"/>
                    <a:pt x="213" y="45"/>
                    <a:pt x="220" y="48"/>
                  </a:cubicBezTo>
                  <a:cubicBezTo>
                    <a:pt x="248" y="62"/>
                    <a:pt x="274" y="77"/>
                    <a:pt x="296" y="93"/>
                  </a:cubicBezTo>
                  <a:cubicBezTo>
                    <a:pt x="301" y="97"/>
                    <a:pt x="306" y="102"/>
                    <a:pt x="311" y="105"/>
                  </a:cubicBezTo>
                  <a:cubicBezTo>
                    <a:pt x="314" y="107"/>
                    <a:pt x="316" y="109"/>
                    <a:pt x="319" y="111"/>
                  </a:cubicBezTo>
                  <a:cubicBezTo>
                    <a:pt x="321" y="113"/>
                    <a:pt x="323" y="116"/>
                    <a:pt x="326" y="118"/>
                  </a:cubicBezTo>
                  <a:cubicBezTo>
                    <a:pt x="330" y="122"/>
                    <a:pt x="334" y="126"/>
                    <a:pt x="338" y="129"/>
                  </a:cubicBezTo>
                  <a:cubicBezTo>
                    <a:pt x="342" y="133"/>
                    <a:pt x="346" y="137"/>
                    <a:pt x="350" y="141"/>
                  </a:cubicBezTo>
                  <a:cubicBezTo>
                    <a:pt x="353" y="145"/>
                    <a:pt x="357" y="148"/>
                    <a:pt x="360" y="152"/>
                  </a:cubicBezTo>
                  <a:cubicBezTo>
                    <a:pt x="362" y="155"/>
                    <a:pt x="365" y="159"/>
                    <a:pt x="368" y="162"/>
                  </a:cubicBezTo>
                  <a:cubicBezTo>
                    <a:pt x="370" y="165"/>
                    <a:pt x="373" y="168"/>
                    <a:pt x="375" y="171"/>
                  </a:cubicBezTo>
                  <a:cubicBezTo>
                    <a:pt x="377" y="174"/>
                    <a:pt x="379" y="176"/>
                    <a:pt x="380" y="179"/>
                  </a:cubicBezTo>
                  <a:cubicBezTo>
                    <a:pt x="383" y="183"/>
                    <a:pt x="386" y="187"/>
                    <a:pt x="387" y="190"/>
                  </a:cubicBezTo>
                  <a:cubicBezTo>
                    <a:pt x="388" y="191"/>
                    <a:pt x="389" y="192"/>
                    <a:pt x="389" y="193"/>
                  </a:cubicBezTo>
                  <a:cubicBezTo>
                    <a:pt x="390" y="193"/>
                    <a:pt x="390" y="194"/>
                    <a:pt x="390" y="1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4">
              <a:extLst>
                <a:ext uri="{FF2B5EF4-FFF2-40B4-BE49-F238E27FC236}">
                  <a16:creationId xmlns:a16="http://schemas.microsoft.com/office/drawing/2014/main" id="{FB32D823-B65A-4ED1-B816-E81B03D720F0}"/>
                </a:ext>
              </a:extLst>
            </p:cNvPr>
            <p:cNvSpPr>
              <a:spLocks/>
            </p:cNvSpPr>
            <p:nvPr/>
          </p:nvSpPr>
          <p:spPr bwMode="auto">
            <a:xfrm>
              <a:off x="2399" y="2289"/>
              <a:ext cx="562" cy="387"/>
            </a:xfrm>
            <a:custGeom>
              <a:avLst/>
              <a:gdLst>
                <a:gd name="T0" fmla="*/ 237 w 237"/>
                <a:gd name="T1" fmla="*/ 0 h 163"/>
                <a:gd name="T2" fmla="*/ 235 w 237"/>
                <a:gd name="T3" fmla="*/ 2 h 163"/>
                <a:gd name="T4" fmla="*/ 230 w 237"/>
                <a:gd name="T5" fmla="*/ 9 h 163"/>
                <a:gd name="T6" fmla="*/ 221 w 237"/>
                <a:gd name="T7" fmla="*/ 19 h 163"/>
                <a:gd name="T8" fmla="*/ 209 w 237"/>
                <a:gd name="T9" fmla="*/ 32 h 163"/>
                <a:gd name="T10" fmla="*/ 194 w 237"/>
                <a:gd name="T11" fmla="*/ 47 h 163"/>
                <a:gd name="T12" fmla="*/ 175 w 237"/>
                <a:gd name="T13" fmla="*/ 64 h 163"/>
                <a:gd name="T14" fmla="*/ 131 w 237"/>
                <a:gd name="T15" fmla="*/ 99 h 163"/>
                <a:gd name="T16" fmla="*/ 82 w 237"/>
                <a:gd name="T17" fmla="*/ 129 h 163"/>
                <a:gd name="T18" fmla="*/ 60 w 237"/>
                <a:gd name="T19" fmla="*/ 140 h 163"/>
                <a:gd name="T20" fmla="*/ 40 w 237"/>
                <a:gd name="T21" fmla="*/ 149 h 163"/>
                <a:gd name="T22" fmla="*/ 24 w 237"/>
                <a:gd name="T23" fmla="*/ 155 h 163"/>
                <a:gd name="T24" fmla="*/ 11 w 237"/>
                <a:gd name="T25" fmla="*/ 160 h 163"/>
                <a:gd name="T26" fmla="*/ 3 w 237"/>
                <a:gd name="T27" fmla="*/ 162 h 163"/>
                <a:gd name="T28" fmla="*/ 0 w 237"/>
                <a:gd name="T29" fmla="*/ 163 h 163"/>
                <a:gd name="T30" fmla="*/ 3 w 237"/>
                <a:gd name="T31" fmla="*/ 162 h 163"/>
                <a:gd name="T32" fmla="*/ 11 w 237"/>
                <a:gd name="T33" fmla="*/ 159 h 163"/>
                <a:gd name="T34" fmla="*/ 23 w 237"/>
                <a:gd name="T35" fmla="*/ 154 h 163"/>
                <a:gd name="T36" fmla="*/ 40 w 237"/>
                <a:gd name="T37" fmla="*/ 147 h 163"/>
                <a:gd name="T38" fmla="*/ 59 w 237"/>
                <a:gd name="T39" fmla="*/ 138 h 163"/>
                <a:gd name="T40" fmla="*/ 81 w 237"/>
                <a:gd name="T41" fmla="*/ 127 h 163"/>
                <a:gd name="T42" fmla="*/ 129 w 237"/>
                <a:gd name="T43" fmla="*/ 97 h 163"/>
                <a:gd name="T44" fmla="*/ 174 w 237"/>
                <a:gd name="T45" fmla="*/ 63 h 163"/>
                <a:gd name="T46" fmla="*/ 193 w 237"/>
                <a:gd name="T47" fmla="*/ 46 h 163"/>
                <a:gd name="T48" fmla="*/ 208 w 237"/>
                <a:gd name="T49" fmla="*/ 31 h 163"/>
                <a:gd name="T50" fmla="*/ 220 w 237"/>
                <a:gd name="T51" fmla="*/ 18 h 163"/>
                <a:gd name="T52" fmla="*/ 229 w 237"/>
                <a:gd name="T53" fmla="*/ 8 h 163"/>
                <a:gd name="T54" fmla="*/ 235 w 237"/>
                <a:gd name="T55" fmla="*/ 2 h 163"/>
                <a:gd name="T56" fmla="*/ 237 w 237"/>
                <a:gd name="T5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163">
                  <a:moveTo>
                    <a:pt x="237" y="0"/>
                  </a:moveTo>
                  <a:cubicBezTo>
                    <a:pt x="237" y="0"/>
                    <a:pt x="236" y="1"/>
                    <a:pt x="235" y="2"/>
                  </a:cubicBezTo>
                  <a:cubicBezTo>
                    <a:pt x="234" y="4"/>
                    <a:pt x="232" y="6"/>
                    <a:pt x="230" y="9"/>
                  </a:cubicBezTo>
                  <a:cubicBezTo>
                    <a:pt x="227" y="12"/>
                    <a:pt x="225" y="15"/>
                    <a:pt x="221" y="19"/>
                  </a:cubicBezTo>
                  <a:cubicBezTo>
                    <a:pt x="218" y="23"/>
                    <a:pt x="214" y="27"/>
                    <a:pt x="209" y="32"/>
                  </a:cubicBezTo>
                  <a:cubicBezTo>
                    <a:pt x="204" y="37"/>
                    <a:pt x="199" y="42"/>
                    <a:pt x="194" y="47"/>
                  </a:cubicBezTo>
                  <a:cubicBezTo>
                    <a:pt x="188" y="53"/>
                    <a:pt x="182" y="58"/>
                    <a:pt x="175" y="64"/>
                  </a:cubicBezTo>
                  <a:cubicBezTo>
                    <a:pt x="162" y="76"/>
                    <a:pt x="147" y="88"/>
                    <a:pt x="131" y="99"/>
                  </a:cubicBezTo>
                  <a:cubicBezTo>
                    <a:pt x="114" y="110"/>
                    <a:pt x="97" y="120"/>
                    <a:pt x="82" y="129"/>
                  </a:cubicBezTo>
                  <a:cubicBezTo>
                    <a:pt x="74" y="133"/>
                    <a:pt x="67" y="137"/>
                    <a:pt x="60" y="140"/>
                  </a:cubicBezTo>
                  <a:cubicBezTo>
                    <a:pt x="53" y="143"/>
                    <a:pt x="46" y="146"/>
                    <a:pt x="40" y="149"/>
                  </a:cubicBezTo>
                  <a:cubicBezTo>
                    <a:pt x="34" y="151"/>
                    <a:pt x="28" y="153"/>
                    <a:pt x="24" y="155"/>
                  </a:cubicBezTo>
                  <a:cubicBezTo>
                    <a:pt x="19" y="157"/>
                    <a:pt x="14" y="158"/>
                    <a:pt x="11" y="160"/>
                  </a:cubicBezTo>
                  <a:cubicBezTo>
                    <a:pt x="8" y="161"/>
                    <a:pt x="5" y="162"/>
                    <a:pt x="3" y="162"/>
                  </a:cubicBezTo>
                  <a:cubicBezTo>
                    <a:pt x="1" y="163"/>
                    <a:pt x="0" y="163"/>
                    <a:pt x="0" y="163"/>
                  </a:cubicBezTo>
                  <a:cubicBezTo>
                    <a:pt x="0" y="163"/>
                    <a:pt x="1" y="163"/>
                    <a:pt x="3" y="162"/>
                  </a:cubicBezTo>
                  <a:cubicBezTo>
                    <a:pt x="5" y="161"/>
                    <a:pt x="7" y="160"/>
                    <a:pt x="11" y="159"/>
                  </a:cubicBezTo>
                  <a:cubicBezTo>
                    <a:pt x="14" y="158"/>
                    <a:pt x="18" y="156"/>
                    <a:pt x="23" y="154"/>
                  </a:cubicBezTo>
                  <a:cubicBezTo>
                    <a:pt x="28" y="152"/>
                    <a:pt x="34" y="150"/>
                    <a:pt x="40" y="147"/>
                  </a:cubicBezTo>
                  <a:cubicBezTo>
                    <a:pt x="46" y="145"/>
                    <a:pt x="52" y="142"/>
                    <a:pt x="59" y="138"/>
                  </a:cubicBezTo>
                  <a:cubicBezTo>
                    <a:pt x="66" y="135"/>
                    <a:pt x="73" y="131"/>
                    <a:pt x="81" y="127"/>
                  </a:cubicBezTo>
                  <a:cubicBezTo>
                    <a:pt x="96" y="119"/>
                    <a:pt x="113" y="109"/>
                    <a:pt x="129" y="97"/>
                  </a:cubicBezTo>
                  <a:cubicBezTo>
                    <a:pt x="146" y="86"/>
                    <a:pt x="161" y="74"/>
                    <a:pt x="174" y="63"/>
                  </a:cubicBezTo>
                  <a:cubicBezTo>
                    <a:pt x="181" y="57"/>
                    <a:pt x="187" y="52"/>
                    <a:pt x="193" y="46"/>
                  </a:cubicBezTo>
                  <a:cubicBezTo>
                    <a:pt x="198" y="41"/>
                    <a:pt x="203" y="36"/>
                    <a:pt x="208" y="31"/>
                  </a:cubicBezTo>
                  <a:cubicBezTo>
                    <a:pt x="213" y="26"/>
                    <a:pt x="217" y="22"/>
                    <a:pt x="220" y="18"/>
                  </a:cubicBezTo>
                  <a:cubicBezTo>
                    <a:pt x="224" y="14"/>
                    <a:pt x="227" y="11"/>
                    <a:pt x="229" y="8"/>
                  </a:cubicBezTo>
                  <a:cubicBezTo>
                    <a:pt x="231" y="6"/>
                    <a:pt x="233" y="3"/>
                    <a:pt x="235" y="2"/>
                  </a:cubicBezTo>
                  <a:cubicBezTo>
                    <a:pt x="236" y="0"/>
                    <a:pt x="237" y="0"/>
                    <a:pt x="2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55">
              <a:extLst>
                <a:ext uri="{FF2B5EF4-FFF2-40B4-BE49-F238E27FC236}">
                  <a16:creationId xmlns:a16="http://schemas.microsoft.com/office/drawing/2014/main" id="{B82EFE85-7D5A-438F-B94D-20394FFA0A52}"/>
                </a:ext>
              </a:extLst>
            </p:cNvPr>
            <p:cNvSpPr>
              <a:spLocks noChangeArrowheads="1"/>
            </p:cNvSpPr>
            <p:nvPr/>
          </p:nvSpPr>
          <p:spPr bwMode="auto">
            <a:xfrm>
              <a:off x="2384" y="2674"/>
              <a:ext cx="5" cy="68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56">
              <a:extLst>
                <a:ext uri="{FF2B5EF4-FFF2-40B4-BE49-F238E27FC236}">
                  <a16:creationId xmlns:a16="http://schemas.microsoft.com/office/drawing/2014/main" id="{1C4E19E5-7390-44B8-89D8-82173C206427}"/>
                </a:ext>
              </a:extLst>
            </p:cNvPr>
            <p:cNvSpPr>
              <a:spLocks noChangeArrowheads="1"/>
            </p:cNvSpPr>
            <p:nvPr/>
          </p:nvSpPr>
          <p:spPr bwMode="auto">
            <a:xfrm>
              <a:off x="2406" y="3654"/>
              <a:ext cx="5" cy="478"/>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7">
              <a:extLst>
                <a:ext uri="{FF2B5EF4-FFF2-40B4-BE49-F238E27FC236}">
                  <a16:creationId xmlns:a16="http://schemas.microsoft.com/office/drawing/2014/main" id="{81C9B18E-5F5D-46E5-82F7-311458C4C272}"/>
                </a:ext>
              </a:extLst>
            </p:cNvPr>
            <p:cNvSpPr>
              <a:spLocks/>
            </p:cNvSpPr>
            <p:nvPr/>
          </p:nvSpPr>
          <p:spPr bwMode="auto">
            <a:xfrm>
              <a:off x="2938" y="1504"/>
              <a:ext cx="278" cy="144"/>
            </a:xfrm>
            <a:custGeom>
              <a:avLst/>
              <a:gdLst>
                <a:gd name="T0" fmla="*/ 4 w 117"/>
                <a:gd name="T1" fmla="*/ 42 h 61"/>
                <a:gd name="T2" fmla="*/ 24 w 117"/>
                <a:gd name="T3" fmla="*/ 59 h 61"/>
                <a:gd name="T4" fmla="*/ 51 w 117"/>
                <a:gd name="T5" fmla="*/ 61 h 61"/>
                <a:gd name="T6" fmla="*/ 85 w 117"/>
                <a:gd name="T7" fmla="*/ 53 h 61"/>
                <a:gd name="T8" fmla="*/ 106 w 117"/>
                <a:gd name="T9" fmla="*/ 30 h 61"/>
                <a:gd name="T10" fmla="*/ 117 w 117"/>
                <a:gd name="T11" fmla="*/ 0 h 61"/>
                <a:gd name="T12" fmla="*/ 4 w 117"/>
                <a:gd name="T13" fmla="*/ 42 h 61"/>
              </a:gdLst>
              <a:ahLst/>
              <a:cxnLst>
                <a:cxn ang="0">
                  <a:pos x="T0" y="T1"/>
                </a:cxn>
                <a:cxn ang="0">
                  <a:pos x="T2" y="T3"/>
                </a:cxn>
                <a:cxn ang="0">
                  <a:pos x="T4" y="T5"/>
                </a:cxn>
                <a:cxn ang="0">
                  <a:pos x="T6" y="T7"/>
                </a:cxn>
                <a:cxn ang="0">
                  <a:pos x="T8" y="T9"/>
                </a:cxn>
                <a:cxn ang="0">
                  <a:pos x="T10" y="T11"/>
                </a:cxn>
                <a:cxn ang="0">
                  <a:pos x="T12" y="T13"/>
                </a:cxn>
              </a:cxnLst>
              <a:rect l="0" t="0" r="r" b="b"/>
              <a:pathLst>
                <a:path w="117" h="61">
                  <a:moveTo>
                    <a:pt x="4" y="42"/>
                  </a:moveTo>
                  <a:cubicBezTo>
                    <a:pt x="0" y="50"/>
                    <a:pt x="15" y="56"/>
                    <a:pt x="24" y="59"/>
                  </a:cubicBezTo>
                  <a:cubicBezTo>
                    <a:pt x="32" y="61"/>
                    <a:pt x="42" y="61"/>
                    <a:pt x="51" y="61"/>
                  </a:cubicBezTo>
                  <a:cubicBezTo>
                    <a:pt x="62" y="60"/>
                    <a:pt x="75" y="59"/>
                    <a:pt x="85" y="53"/>
                  </a:cubicBezTo>
                  <a:cubicBezTo>
                    <a:pt x="94" y="48"/>
                    <a:pt x="101" y="39"/>
                    <a:pt x="106" y="30"/>
                  </a:cubicBezTo>
                  <a:cubicBezTo>
                    <a:pt x="111" y="20"/>
                    <a:pt x="114" y="10"/>
                    <a:pt x="117" y="0"/>
                  </a:cubicBezTo>
                  <a:cubicBezTo>
                    <a:pt x="117" y="0"/>
                    <a:pt x="22" y="6"/>
                    <a:pt x="4"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8">
              <a:extLst>
                <a:ext uri="{FF2B5EF4-FFF2-40B4-BE49-F238E27FC236}">
                  <a16:creationId xmlns:a16="http://schemas.microsoft.com/office/drawing/2014/main" id="{2D904C6B-CEE9-4EB4-B8F0-7DDD0FAADA6B}"/>
                </a:ext>
              </a:extLst>
            </p:cNvPr>
            <p:cNvSpPr>
              <a:spLocks/>
            </p:cNvSpPr>
            <p:nvPr/>
          </p:nvSpPr>
          <p:spPr bwMode="auto">
            <a:xfrm>
              <a:off x="2947" y="1553"/>
              <a:ext cx="117" cy="95"/>
            </a:xfrm>
            <a:custGeom>
              <a:avLst/>
              <a:gdLst>
                <a:gd name="T0" fmla="*/ 34 w 49"/>
                <a:gd name="T1" fmla="*/ 0 h 40"/>
                <a:gd name="T2" fmla="*/ 19 w 49"/>
                <a:gd name="T3" fmla="*/ 11 h 40"/>
                <a:gd name="T4" fmla="*/ 0 w 49"/>
                <a:gd name="T5" fmla="*/ 25 h 40"/>
                <a:gd name="T6" fmla="*/ 20 w 49"/>
                <a:gd name="T7" fmla="*/ 38 h 40"/>
                <a:gd name="T8" fmla="*/ 37 w 49"/>
                <a:gd name="T9" fmla="*/ 40 h 40"/>
                <a:gd name="T10" fmla="*/ 47 w 49"/>
                <a:gd name="T11" fmla="*/ 40 h 40"/>
                <a:gd name="T12" fmla="*/ 49 w 49"/>
                <a:gd name="T13" fmla="*/ 39 h 40"/>
                <a:gd name="T14" fmla="*/ 34 w 49"/>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34" y="0"/>
                  </a:moveTo>
                  <a:cubicBezTo>
                    <a:pt x="29" y="3"/>
                    <a:pt x="24" y="7"/>
                    <a:pt x="19" y="11"/>
                  </a:cubicBezTo>
                  <a:cubicBezTo>
                    <a:pt x="0" y="25"/>
                    <a:pt x="0" y="25"/>
                    <a:pt x="0" y="25"/>
                  </a:cubicBezTo>
                  <a:cubicBezTo>
                    <a:pt x="2" y="31"/>
                    <a:pt x="13" y="36"/>
                    <a:pt x="20" y="38"/>
                  </a:cubicBezTo>
                  <a:cubicBezTo>
                    <a:pt x="25" y="39"/>
                    <a:pt x="31" y="40"/>
                    <a:pt x="37" y="40"/>
                  </a:cubicBezTo>
                  <a:cubicBezTo>
                    <a:pt x="40" y="40"/>
                    <a:pt x="43" y="40"/>
                    <a:pt x="47" y="40"/>
                  </a:cubicBezTo>
                  <a:cubicBezTo>
                    <a:pt x="47" y="40"/>
                    <a:pt x="48" y="40"/>
                    <a:pt x="49" y="39"/>
                  </a:cubicBezTo>
                  <a:cubicBezTo>
                    <a:pt x="34" y="0"/>
                    <a:pt x="34" y="0"/>
                    <a:pt x="34"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9">
              <a:extLst>
                <a:ext uri="{FF2B5EF4-FFF2-40B4-BE49-F238E27FC236}">
                  <a16:creationId xmlns:a16="http://schemas.microsoft.com/office/drawing/2014/main" id="{7C7E1198-0EA9-452A-81A2-9228203E4647}"/>
                </a:ext>
              </a:extLst>
            </p:cNvPr>
            <p:cNvSpPr>
              <a:spLocks/>
            </p:cNvSpPr>
            <p:nvPr/>
          </p:nvSpPr>
          <p:spPr bwMode="auto">
            <a:xfrm>
              <a:off x="3567" y="1475"/>
              <a:ext cx="247" cy="107"/>
            </a:xfrm>
            <a:custGeom>
              <a:avLst/>
              <a:gdLst>
                <a:gd name="T0" fmla="*/ 6 w 104"/>
                <a:gd name="T1" fmla="*/ 28 h 45"/>
                <a:gd name="T2" fmla="*/ 59 w 104"/>
                <a:gd name="T3" fmla="*/ 45 h 45"/>
                <a:gd name="T4" fmla="*/ 85 w 104"/>
                <a:gd name="T5" fmla="*/ 37 h 45"/>
                <a:gd name="T6" fmla="*/ 93 w 104"/>
                <a:gd name="T7" fmla="*/ 28 h 45"/>
                <a:gd name="T8" fmla="*/ 100 w 104"/>
                <a:gd name="T9" fmla="*/ 22 h 45"/>
                <a:gd name="T10" fmla="*/ 103 w 104"/>
                <a:gd name="T11" fmla="*/ 15 h 45"/>
                <a:gd name="T12" fmla="*/ 98 w 104"/>
                <a:gd name="T13" fmla="*/ 6 h 45"/>
                <a:gd name="T14" fmla="*/ 61 w 104"/>
                <a:gd name="T15" fmla="*/ 0 h 45"/>
                <a:gd name="T16" fmla="*/ 25 w 104"/>
                <a:gd name="T17" fmla="*/ 8 h 45"/>
                <a:gd name="T18" fmla="*/ 0 w 104"/>
                <a:gd name="T19" fmla="*/ 24 h 45"/>
                <a:gd name="T20" fmla="*/ 6 w 104"/>
                <a:gd name="T21"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45">
                  <a:moveTo>
                    <a:pt x="6" y="28"/>
                  </a:moveTo>
                  <a:cubicBezTo>
                    <a:pt x="22" y="39"/>
                    <a:pt x="41" y="45"/>
                    <a:pt x="59" y="45"/>
                  </a:cubicBezTo>
                  <a:cubicBezTo>
                    <a:pt x="69" y="45"/>
                    <a:pt x="78" y="43"/>
                    <a:pt x="85" y="37"/>
                  </a:cubicBezTo>
                  <a:cubicBezTo>
                    <a:pt x="88" y="34"/>
                    <a:pt x="90" y="30"/>
                    <a:pt x="93" y="28"/>
                  </a:cubicBezTo>
                  <a:cubicBezTo>
                    <a:pt x="96" y="26"/>
                    <a:pt x="98" y="24"/>
                    <a:pt x="100" y="22"/>
                  </a:cubicBezTo>
                  <a:cubicBezTo>
                    <a:pt x="102" y="20"/>
                    <a:pt x="104" y="18"/>
                    <a:pt x="103" y="15"/>
                  </a:cubicBezTo>
                  <a:cubicBezTo>
                    <a:pt x="102" y="12"/>
                    <a:pt x="100" y="7"/>
                    <a:pt x="98" y="6"/>
                  </a:cubicBezTo>
                  <a:cubicBezTo>
                    <a:pt x="87" y="0"/>
                    <a:pt x="74" y="0"/>
                    <a:pt x="61" y="0"/>
                  </a:cubicBezTo>
                  <a:cubicBezTo>
                    <a:pt x="49" y="1"/>
                    <a:pt x="37" y="4"/>
                    <a:pt x="25" y="8"/>
                  </a:cubicBezTo>
                  <a:cubicBezTo>
                    <a:pt x="15" y="11"/>
                    <a:pt x="5" y="15"/>
                    <a:pt x="0" y="24"/>
                  </a:cubicBezTo>
                  <a:cubicBezTo>
                    <a:pt x="6" y="28"/>
                    <a:pt x="6" y="28"/>
                    <a:pt x="6"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0">
              <a:extLst>
                <a:ext uri="{FF2B5EF4-FFF2-40B4-BE49-F238E27FC236}">
                  <a16:creationId xmlns:a16="http://schemas.microsoft.com/office/drawing/2014/main" id="{6E6385F9-41C3-4E15-AC8B-5E4389F7A9AB}"/>
                </a:ext>
              </a:extLst>
            </p:cNvPr>
            <p:cNvSpPr>
              <a:spLocks noEditPoints="1"/>
            </p:cNvSpPr>
            <p:nvPr/>
          </p:nvSpPr>
          <p:spPr bwMode="auto">
            <a:xfrm>
              <a:off x="3584" y="1480"/>
              <a:ext cx="228" cy="102"/>
            </a:xfrm>
            <a:custGeom>
              <a:avLst/>
              <a:gdLst>
                <a:gd name="T0" fmla="*/ 95 w 96"/>
                <a:gd name="T1" fmla="*/ 11 h 43"/>
                <a:gd name="T2" fmla="*/ 96 w 96"/>
                <a:gd name="T3" fmla="*/ 13 h 43"/>
                <a:gd name="T4" fmla="*/ 95 w 96"/>
                <a:gd name="T5" fmla="*/ 11 h 43"/>
                <a:gd name="T6" fmla="*/ 72 w 96"/>
                <a:gd name="T7" fmla="*/ 0 h 43"/>
                <a:gd name="T8" fmla="*/ 72 w 96"/>
                <a:gd name="T9" fmla="*/ 0 h 43"/>
                <a:gd name="T10" fmla="*/ 2 w 96"/>
                <a:gd name="T11" fmla="*/ 14 h 43"/>
                <a:gd name="T12" fmla="*/ 2 w 96"/>
                <a:gd name="T13" fmla="*/ 16 h 43"/>
                <a:gd name="T14" fmla="*/ 0 w 96"/>
                <a:gd name="T15" fmla="*/ 27 h 43"/>
                <a:gd name="T16" fmla="*/ 0 w 96"/>
                <a:gd name="T17" fmla="*/ 27 h 43"/>
                <a:gd name="T18" fmla="*/ 51 w 96"/>
                <a:gd name="T19" fmla="*/ 43 h 43"/>
                <a:gd name="T20" fmla="*/ 52 w 96"/>
                <a:gd name="T21" fmla="*/ 43 h 43"/>
                <a:gd name="T22" fmla="*/ 78 w 96"/>
                <a:gd name="T23" fmla="*/ 35 h 43"/>
                <a:gd name="T24" fmla="*/ 86 w 96"/>
                <a:gd name="T25" fmla="*/ 26 h 43"/>
                <a:gd name="T26" fmla="*/ 93 w 96"/>
                <a:gd name="T27" fmla="*/ 20 h 43"/>
                <a:gd name="T28" fmla="*/ 96 w 96"/>
                <a:gd name="T29" fmla="*/ 14 h 43"/>
                <a:gd name="T30" fmla="*/ 96 w 96"/>
                <a:gd name="T31" fmla="*/ 13 h 43"/>
                <a:gd name="T32" fmla="*/ 96 w 96"/>
                <a:gd name="T33" fmla="*/ 13 h 43"/>
                <a:gd name="T34" fmla="*/ 96 w 96"/>
                <a:gd name="T35" fmla="*/ 13 h 43"/>
                <a:gd name="T36" fmla="*/ 72 w 96"/>
                <a:gd name="T3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43">
                  <a:moveTo>
                    <a:pt x="95" y="11"/>
                  </a:moveTo>
                  <a:cubicBezTo>
                    <a:pt x="96" y="13"/>
                    <a:pt x="96" y="13"/>
                    <a:pt x="96" y="13"/>
                  </a:cubicBezTo>
                  <a:cubicBezTo>
                    <a:pt x="96" y="12"/>
                    <a:pt x="96" y="11"/>
                    <a:pt x="95" y="11"/>
                  </a:cubicBezTo>
                  <a:moveTo>
                    <a:pt x="72" y="0"/>
                  </a:moveTo>
                  <a:cubicBezTo>
                    <a:pt x="72" y="0"/>
                    <a:pt x="72" y="0"/>
                    <a:pt x="72" y="0"/>
                  </a:cubicBezTo>
                  <a:cubicBezTo>
                    <a:pt x="39" y="0"/>
                    <a:pt x="16" y="7"/>
                    <a:pt x="2" y="14"/>
                  </a:cubicBezTo>
                  <a:cubicBezTo>
                    <a:pt x="2" y="14"/>
                    <a:pt x="2" y="15"/>
                    <a:pt x="2" y="16"/>
                  </a:cubicBezTo>
                  <a:cubicBezTo>
                    <a:pt x="1" y="20"/>
                    <a:pt x="1" y="24"/>
                    <a:pt x="0" y="27"/>
                  </a:cubicBezTo>
                  <a:cubicBezTo>
                    <a:pt x="0" y="27"/>
                    <a:pt x="0" y="27"/>
                    <a:pt x="0" y="27"/>
                  </a:cubicBezTo>
                  <a:cubicBezTo>
                    <a:pt x="15" y="37"/>
                    <a:pt x="33" y="43"/>
                    <a:pt x="51" y="43"/>
                  </a:cubicBezTo>
                  <a:cubicBezTo>
                    <a:pt x="52" y="43"/>
                    <a:pt x="52" y="43"/>
                    <a:pt x="52" y="43"/>
                  </a:cubicBezTo>
                  <a:cubicBezTo>
                    <a:pt x="62" y="43"/>
                    <a:pt x="71" y="41"/>
                    <a:pt x="78" y="35"/>
                  </a:cubicBezTo>
                  <a:cubicBezTo>
                    <a:pt x="81" y="32"/>
                    <a:pt x="83" y="28"/>
                    <a:pt x="86" y="26"/>
                  </a:cubicBezTo>
                  <a:cubicBezTo>
                    <a:pt x="89" y="24"/>
                    <a:pt x="91" y="22"/>
                    <a:pt x="93" y="20"/>
                  </a:cubicBezTo>
                  <a:cubicBezTo>
                    <a:pt x="95" y="19"/>
                    <a:pt x="96" y="16"/>
                    <a:pt x="96" y="14"/>
                  </a:cubicBezTo>
                  <a:cubicBezTo>
                    <a:pt x="96" y="14"/>
                    <a:pt x="96" y="13"/>
                    <a:pt x="96" y="13"/>
                  </a:cubicBezTo>
                  <a:cubicBezTo>
                    <a:pt x="96" y="13"/>
                    <a:pt x="96" y="13"/>
                    <a:pt x="96" y="13"/>
                  </a:cubicBezTo>
                  <a:cubicBezTo>
                    <a:pt x="96" y="13"/>
                    <a:pt x="96" y="13"/>
                    <a:pt x="96" y="13"/>
                  </a:cubicBezTo>
                  <a:cubicBezTo>
                    <a:pt x="96" y="13"/>
                    <a:pt x="87" y="0"/>
                    <a:pt x="7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1">
              <a:extLst>
                <a:ext uri="{FF2B5EF4-FFF2-40B4-BE49-F238E27FC236}">
                  <a16:creationId xmlns:a16="http://schemas.microsoft.com/office/drawing/2014/main" id="{7731B25A-E0C5-4D3C-810E-D3FEA0470E6C}"/>
                </a:ext>
              </a:extLst>
            </p:cNvPr>
            <p:cNvSpPr>
              <a:spLocks/>
            </p:cNvSpPr>
            <p:nvPr/>
          </p:nvSpPr>
          <p:spPr bwMode="auto">
            <a:xfrm>
              <a:off x="2874" y="1055"/>
              <a:ext cx="752" cy="833"/>
            </a:xfrm>
            <a:custGeom>
              <a:avLst/>
              <a:gdLst>
                <a:gd name="T0" fmla="*/ 114 w 317"/>
                <a:gd name="T1" fmla="*/ 349 h 351"/>
                <a:gd name="T2" fmla="*/ 313 w 317"/>
                <a:gd name="T3" fmla="*/ 351 h 351"/>
                <a:gd name="T4" fmla="*/ 316 w 317"/>
                <a:gd name="T5" fmla="*/ 348 h 351"/>
                <a:gd name="T6" fmla="*/ 292 w 317"/>
                <a:gd name="T7" fmla="*/ 275 h 351"/>
                <a:gd name="T8" fmla="*/ 300 w 317"/>
                <a:gd name="T9" fmla="*/ 195 h 351"/>
                <a:gd name="T10" fmla="*/ 317 w 317"/>
                <a:gd name="T11" fmla="*/ 45 h 351"/>
                <a:gd name="T12" fmla="*/ 223 w 317"/>
                <a:gd name="T13" fmla="*/ 0 h 351"/>
                <a:gd name="T14" fmla="*/ 131 w 317"/>
                <a:gd name="T15" fmla="*/ 5 h 351"/>
                <a:gd name="T16" fmla="*/ 128 w 317"/>
                <a:gd name="T17" fmla="*/ 0 h 351"/>
                <a:gd name="T18" fmla="*/ 102 w 317"/>
                <a:gd name="T19" fmla="*/ 12 h 351"/>
                <a:gd name="T20" fmla="*/ 85 w 317"/>
                <a:gd name="T21" fmla="*/ 21 h 351"/>
                <a:gd name="T22" fmla="*/ 18 w 317"/>
                <a:gd name="T23" fmla="*/ 90 h 351"/>
                <a:gd name="T24" fmla="*/ 30 w 317"/>
                <a:gd name="T25" fmla="*/ 236 h 351"/>
                <a:gd name="T26" fmla="*/ 50 w 317"/>
                <a:gd name="T27" fmla="*/ 221 h 351"/>
                <a:gd name="T28" fmla="*/ 65 w 317"/>
                <a:gd name="T29" fmla="*/ 210 h 351"/>
                <a:gd name="T30" fmla="*/ 104 w 317"/>
                <a:gd name="T31" fmla="*/ 314 h 351"/>
                <a:gd name="T32" fmla="*/ 95 w 317"/>
                <a:gd name="T33" fmla="*/ 327 h 351"/>
                <a:gd name="T34" fmla="*/ 114 w 317"/>
                <a:gd name="T35" fmla="*/ 349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7" h="351">
                  <a:moveTo>
                    <a:pt x="114" y="349"/>
                  </a:moveTo>
                  <a:cubicBezTo>
                    <a:pt x="313" y="351"/>
                    <a:pt x="313" y="351"/>
                    <a:pt x="313" y="351"/>
                  </a:cubicBezTo>
                  <a:cubicBezTo>
                    <a:pt x="315" y="351"/>
                    <a:pt x="316" y="350"/>
                    <a:pt x="316" y="348"/>
                  </a:cubicBezTo>
                  <a:cubicBezTo>
                    <a:pt x="292" y="275"/>
                    <a:pt x="292" y="275"/>
                    <a:pt x="292" y="275"/>
                  </a:cubicBezTo>
                  <a:cubicBezTo>
                    <a:pt x="292" y="275"/>
                    <a:pt x="296" y="238"/>
                    <a:pt x="300" y="195"/>
                  </a:cubicBezTo>
                  <a:cubicBezTo>
                    <a:pt x="308" y="128"/>
                    <a:pt x="317" y="44"/>
                    <a:pt x="317" y="45"/>
                  </a:cubicBezTo>
                  <a:cubicBezTo>
                    <a:pt x="304" y="6"/>
                    <a:pt x="223" y="0"/>
                    <a:pt x="223" y="0"/>
                  </a:cubicBezTo>
                  <a:cubicBezTo>
                    <a:pt x="131" y="5"/>
                    <a:pt x="131" y="5"/>
                    <a:pt x="131" y="5"/>
                  </a:cubicBezTo>
                  <a:cubicBezTo>
                    <a:pt x="128" y="0"/>
                    <a:pt x="128" y="0"/>
                    <a:pt x="128" y="0"/>
                  </a:cubicBezTo>
                  <a:cubicBezTo>
                    <a:pt x="102" y="12"/>
                    <a:pt x="102" y="12"/>
                    <a:pt x="102" y="12"/>
                  </a:cubicBezTo>
                  <a:cubicBezTo>
                    <a:pt x="96" y="15"/>
                    <a:pt x="91" y="18"/>
                    <a:pt x="85" y="21"/>
                  </a:cubicBezTo>
                  <a:cubicBezTo>
                    <a:pt x="68" y="33"/>
                    <a:pt x="26" y="60"/>
                    <a:pt x="18" y="90"/>
                  </a:cubicBezTo>
                  <a:cubicBezTo>
                    <a:pt x="0" y="159"/>
                    <a:pt x="30" y="236"/>
                    <a:pt x="30" y="236"/>
                  </a:cubicBezTo>
                  <a:cubicBezTo>
                    <a:pt x="50" y="221"/>
                    <a:pt x="50" y="221"/>
                    <a:pt x="50" y="221"/>
                  </a:cubicBezTo>
                  <a:cubicBezTo>
                    <a:pt x="55" y="217"/>
                    <a:pt x="60" y="213"/>
                    <a:pt x="65" y="210"/>
                  </a:cubicBezTo>
                  <a:cubicBezTo>
                    <a:pt x="104" y="314"/>
                    <a:pt x="104" y="314"/>
                    <a:pt x="104" y="314"/>
                  </a:cubicBezTo>
                  <a:cubicBezTo>
                    <a:pt x="104" y="314"/>
                    <a:pt x="96" y="319"/>
                    <a:pt x="95" y="327"/>
                  </a:cubicBezTo>
                  <a:cubicBezTo>
                    <a:pt x="95" y="336"/>
                    <a:pt x="99" y="346"/>
                    <a:pt x="114" y="34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2">
              <a:extLst>
                <a:ext uri="{FF2B5EF4-FFF2-40B4-BE49-F238E27FC236}">
                  <a16:creationId xmlns:a16="http://schemas.microsoft.com/office/drawing/2014/main" id="{955BA5E6-B6AD-48DF-B4E2-ACE404582F4C}"/>
                </a:ext>
              </a:extLst>
            </p:cNvPr>
            <p:cNvSpPr>
              <a:spLocks/>
            </p:cNvSpPr>
            <p:nvPr/>
          </p:nvSpPr>
          <p:spPr bwMode="auto">
            <a:xfrm>
              <a:off x="3284" y="1347"/>
              <a:ext cx="76" cy="256"/>
            </a:xfrm>
            <a:custGeom>
              <a:avLst/>
              <a:gdLst>
                <a:gd name="T0" fmla="*/ 26 w 32"/>
                <a:gd name="T1" fmla="*/ 0 h 108"/>
                <a:gd name="T2" fmla="*/ 3 w 32"/>
                <a:gd name="T3" fmla="*/ 88 h 108"/>
                <a:gd name="T4" fmla="*/ 0 w 32"/>
                <a:gd name="T5" fmla="*/ 97 h 108"/>
                <a:gd name="T6" fmla="*/ 3 w 32"/>
                <a:gd name="T7" fmla="*/ 106 h 108"/>
                <a:gd name="T8" fmla="*/ 8 w 32"/>
                <a:gd name="T9" fmla="*/ 108 h 108"/>
                <a:gd name="T10" fmla="*/ 15 w 32"/>
                <a:gd name="T11" fmla="*/ 107 h 108"/>
                <a:gd name="T12" fmla="*/ 26 w 32"/>
                <a:gd name="T13" fmla="*/ 104 h 108"/>
                <a:gd name="T14" fmla="*/ 26 w 32"/>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8">
                  <a:moveTo>
                    <a:pt x="26" y="0"/>
                  </a:moveTo>
                  <a:cubicBezTo>
                    <a:pt x="15" y="28"/>
                    <a:pt x="15" y="60"/>
                    <a:pt x="3" y="88"/>
                  </a:cubicBezTo>
                  <a:cubicBezTo>
                    <a:pt x="2" y="91"/>
                    <a:pt x="1" y="94"/>
                    <a:pt x="0" y="97"/>
                  </a:cubicBezTo>
                  <a:cubicBezTo>
                    <a:pt x="0" y="100"/>
                    <a:pt x="0" y="104"/>
                    <a:pt x="3" y="106"/>
                  </a:cubicBezTo>
                  <a:cubicBezTo>
                    <a:pt x="4" y="107"/>
                    <a:pt x="6" y="108"/>
                    <a:pt x="8" y="108"/>
                  </a:cubicBezTo>
                  <a:cubicBezTo>
                    <a:pt x="10" y="108"/>
                    <a:pt x="13" y="107"/>
                    <a:pt x="15" y="107"/>
                  </a:cubicBezTo>
                  <a:cubicBezTo>
                    <a:pt x="20" y="106"/>
                    <a:pt x="22" y="105"/>
                    <a:pt x="26" y="104"/>
                  </a:cubicBezTo>
                  <a:cubicBezTo>
                    <a:pt x="32" y="70"/>
                    <a:pt x="29" y="35"/>
                    <a:pt x="2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3">
              <a:extLst>
                <a:ext uri="{FF2B5EF4-FFF2-40B4-BE49-F238E27FC236}">
                  <a16:creationId xmlns:a16="http://schemas.microsoft.com/office/drawing/2014/main" id="{D5206EB6-E2F5-45C6-9555-4093DC23BD44}"/>
                </a:ext>
              </a:extLst>
            </p:cNvPr>
            <p:cNvSpPr>
              <a:spLocks/>
            </p:cNvSpPr>
            <p:nvPr/>
          </p:nvSpPr>
          <p:spPr bwMode="auto">
            <a:xfrm>
              <a:off x="3166" y="1720"/>
              <a:ext cx="403" cy="64"/>
            </a:xfrm>
            <a:custGeom>
              <a:avLst/>
              <a:gdLst>
                <a:gd name="T0" fmla="*/ 42 w 170"/>
                <a:gd name="T1" fmla="*/ 0 h 27"/>
                <a:gd name="T2" fmla="*/ 28 w 170"/>
                <a:gd name="T3" fmla="*/ 2 h 27"/>
                <a:gd name="T4" fmla="*/ 0 w 170"/>
                <a:gd name="T5" fmla="*/ 23 h 27"/>
                <a:gd name="T6" fmla="*/ 3 w 170"/>
                <a:gd name="T7" fmla="*/ 25 h 27"/>
                <a:gd name="T8" fmla="*/ 13 w 170"/>
                <a:gd name="T9" fmla="*/ 27 h 27"/>
                <a:gd name="T10" fmla="*/ 53 w 170"/>
                <a:gd name="T11" fmla="*/ 19 h 27"/>
                <a:gd name="T12" fmla="*/ 59 w 170"/>
                <a:gd name="T13" fmla="*/ 18 h 27"/>
                <a:gd name="T14" fmla="*/ 86 w 170"/>
                <a:gd name="T15" fmla="*/ 22 h 27"/>
                <a:gd name="T16" fmla="*/ 126 w 170"/>
                <a:gd name="T17" fmla="*/ 25 h 27"/>
                <a:gd name="T18" fmla="*/ 154 w 170"/>
                <a:gd name="T19" fmla="*/ 23 h 27"/>
                <a:gd name="T20" fmla="*/ 164 w 170"/>
                <a:gd name="T21" fmla="*/ 21 h 27"/>
                <a:gd name="T22" fmla="*/ 169 w 170"/>
                <a:gd name="T23" fmla="*/ 11 h 27"/>
                <a:gd name="T24" fmla="*/ 56 w 170"/>
                <a:gd name="T25" fmla="*/ 1 h 27"/>
                <a:gd name="T26" fmla="*/ 42 w 170"/>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27">
                  <a:moveTo>
                    <a:pt x="42" y="0"/>
                  </a:moveTo>
                  <a:cubicBezTo>
                    <a:pt x="37" y="0"/>
                    <a:pt x="33" y="0"/>
                    <a:pt x="28" y="2"/>
                  </a:cubicBezTo>
                  <a:cubicBezTo>
                    <a:pt x="17" y="5"/>
                    <a:pt x="8" y="14"/>
                    <a:pt x="0" y="23"/>
                  </a:cubicBezTo>
                  <a:cubicBezTo>
                    <a:pt x="3" y="25"/>
                    <a:pt x="3" y="25"/>
                    <a:pt x="3" y="25"/>
                  </a:cubicBezTo>
                  <a:cubicBezTo>
                    <a:pt x="6" y="26"/>
                    <a:pt x="9" y="27"/>
                    <a:pt x="13" y="27"/>
                  </a:cubicBezTo>
                  <a:cubicBezTo>
                    <a:pt x="26" y="27"/>
                    <a:pt x="39" y="20"/>
                    <a:pt x="53" y="19"/>
                  </a:cubicBezTo>
                  <a:cubicBezTo>
                    <a:pt x="55" y="18"/>
                    <a:pt x="57" y="18"/>
                    <a:pt x="59" y="18"/>
                  </a:cubicBezTo>
                  <a:cubicBezTo>
                    <a:pt x="68" y="18"/>
                    <a:pt x="77" y="20"/>
                    <a:pt x="86" y="22"/>
                  </a:cubicBezTo>
                  <a:cubicBezTo>
                    <a:pt x="99" y="24"/>
                    <a:pt x="113" y="25"/>
                    <a:pt x="126" y="25"/>
                  </a:cubicBezTo>
                  <a:cubicBezTo>
                    <a:pt x="136" y="25"/>
                    <a:pt x="145" y="24"/>
                    <a:pt x="154" y="23"/>
                  </a:cubicBezTo>
                  <a:cubicBezTo>
                    <a:pt x="158" y="23"/>
                    <a:pt x="161" y="23"/>
                    <a:pt x="164" y="21"/>
                  </a:cubicBezTo>
                  <a:cubicBezTo>
                    <a:pt x="167" y="19"/>
                    <a:pt x="170" y="14"/>
                    <a:pt x="169" y="11"/>
                  </a:cubicBezTo>
                  <a:cubicBezTo>
                    <a:pt x="132" y="7"/>
                    <a:pt x="94" y="5"/>
                    <a:pt x="56" y="1"/>
                  </a:cubicBezTo>
                  <a:cubicBezTo>
                    <a:pt x="52" y="0"/>
                    <a:pt x="47" y="0"/>
                    <a:pt x="4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4">
              <a:extLst>
                <a:ext uri="{FF2B5EF4-FFF2-40B4-BE49-F238E27FC236}">
                  <a16:creationId xmlns:a16="http://schemas.microsoft.com/office/drawing/2014/main" id="{1987B149-0CE0-4C8E-86BD-A15D06C3F448}"/>
                </a:ext>
              </a:extLst>
            </p:cNvPr>
            <p:cNvSpPr>
              <a:spLocks/>
            </p:cNvSpPr>
            <p:nvPr/>
          </p:nvSpPr>
          <p:spPr bwMode="auto">
            <a:xfrm>
              <a:off x="3517" y="1152"/>
              <a:ext cx="295" cy="392"/>
            </a:xfrm>
            <a:custGeom>
              <a:avLst/>
              <a:gdLst>
                <a:gd name="T0" fmla="*/ 118 w 124"/>
                <a:gd name="T1" fmla="*/ 138 h 165"/>
                <a:gd name="T2" fmla="*/ 45 w 124"/>
                <a:gd name="T3" fmla="*/ 0 h 165"/>
                <a:gd name="T4" fmla="*/ 0 w 124"/>
                <a:gd name="T5" fmla="*/ 55 h 165"/>
                <a:gd name="T6" fmla="*/ 11 w 124"/>
                <a:gd name="T7" fmla="*/ 165 h 165"/>
                <a:gd name="T8" fmla="*/ 100 w 124"/>
                <a:gd name="T9" fmla="*/ 138 h 165"/>
                <a:gd name="T10" fmla="*/ 124 w 124"/>
                <a:gd name="T11" fmla="*/ 151 h 165"/>
                <a:gd name="T12" fmla="*/ 118 w 124"/>
                <a:gd name="T13" fmla="*/ 138 h 165"/>
              </a:gdLst>
              <a:ahLst/>
              <a:cxnLst>
                <a:cxn ang="0">
                  <a:pos x="T0" y="T1"/>
                </a:cxn>
                <a:cxn ang="0">
                  <a:pos x="T2" y="T3"/>
                </a:cxn>
                <a:cxn ang="0">
                  <a:pos x="T4" y="T5"/>
                </a:cxn>
                <a:cxn ang="0">
                  <a:pos x="T6" y="T7"/>
                </a:cxn>
                <a:cxn ang="0">
                  <a:pos x="T8" y="T9"/>
                </a:cxn>
                <a:cxn ang="0">
                  <a:pos x="T10" y="T11"/>
                </a:cxn>
                <a:cxn ang="0">
                  <a:pos x="T12" y="T13"/>
                </a:cxn>
              </a:cxnLst>
              <a:rect l="0" t="0" r="r" b="b"/>
              <a:pathLst>
                <a:path w="124" h="165">
                  <a:moveTo>
                    <a:pt x="118" y="138"/>
                  </a:moveTo>
                  <a:cubicBezTo>
                    <a:pt x="102" y="101"/>
                    <a:pt x="45" y="0"/>
                    <a:pt x="45" y="0"/>
                  </a:cubicBezTo>
                  <a:cubicBezTo>
                    <a:pt x="0" y="55"/>
                    <a:pt x="0" y="55"/>
                    <a:pt x="0" y="55"/>
                  </a:cubicBezTo>
                  <a:cubicBezTo>
                    <a:pt x="11" y="165"/>
                    <a:pt x="11" y="165"/>
                    <a:pt x="11" y="165"/>
                  </a:cubicBezTo>
                  <a:cubicBezTo>
                    <a:pt x="11" y="165"/>
                    <a:pt x="34" y="138"/>
                    <a:pt x="100" y="138"/>
                  </a:cubicBezTo>
                  <a:cubicBezTo>
                    <a:pt x="115" y="138"/>
                    <a:pt x="124" y="151"/>
                    <a:pt x="124" y="151"/>
                  </a:cubicBezTo>
                  <a:cubicBezTo>
                    <a:pt x="118" y="138"/>
                    <a:pt x="118" y="138"/>
                    <a:pt x="118" y="138"/>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5">
              <a:extLst>
                <a:ext uri="{FF2B5EF4-FFF2-40B4-BE49-F238E27FC236}">
                  <a16:creationId xmlns:a16="http://schemas.microsoft.com/office/drawing/2014/main" id="{35DD6DC3-5F6E-4333-9D28-5EEAA3E36379}"/>
                </a:ext>
              </a:extLst>
            </p:cNvPr>
            <p:cNvSpPr>
              <a:spLocks/>
            </p:cNvSpPr>
            <p:nvPr/>
          </p:nvSpPr>
          <p:spPr bwMode="auto">
            <a:xfrm>
              <a:off x="3132" y="1318"/>
              <a:ext cx="34" cy="114"/>
            </a:xfrm>
            <a:custGeom>
              <a:avLst/>
              <a:gdLst>
                <a:gd name="T0" fmla="*/ 13 w 14"/>
                <a:gd name="T1" fmla="*/ 48 h 48"/>
                <a:gd name="T2" fmla="*/ 6 w 14"/>
                <a:gd name="T3" fmla="*/ 24 h 48"/>
                <a:gd name="T4" fmla="*/ 1 w 14"/>
                <a:gd name="T5" fmla="*/ 0 h 48"/>
                <a:gd name="T6" fmla="*/ 8 w 14"/>
                <a:gd name="T7" fmla="*/ 24 h 48"/>
                <a:gd name="T8" fmla="*/ 13 w 14"/>
                <a:gd name="T9" fmla="*/ 48 h 48"/>
              </a:gdLst>
              <a:ahLst/>
              <a:cxnLst>
                <a:cxn ang="0">
                  <a:pos x="T0" y="T1"/>
                </a:cxn>
                <a:cxn ang="0">
                  <a:pos x="T2" y="T3"/>
                </a:cxn>
                <a:cxn ang="0">
                  <a:pos x="T4" y="T5"/>
                </a:cxn>
                <a:cxn ang="0">
                  <a:pos x="T6" y="T7"/>
                </a:cxn>
                <a:cxn ang="0">
                  <a:pos x="T8" y="T9"/>
                </a:cxn>
              </a:cxnLst>
              <a:rect l="0" t="0" r="r" b="b"/>
              <a:pathLst>
                <a:path w="14" h="48">
                  <a:moveTo>
                    <a:pt x="13" y="48"/>
                  </a:moveTo>
                  <a:cubicBezTo>
                    <a:pt x="13" y="48"/>
                    <a:pt x="10" y="38"/>
                    <a:pt x="6" y="24"/>
                  </a:cubicBezTo>
                  <a:cubicBezTo>
                    <a:pt x="2" y="11"/>
                    <a:pt x="0" y="0"/>
                    <a:pt x="1" y="0"/>
                  </a:cubicBezTo>
                  <a:cubicBezTo>
                    <a:pt x="1" y="0"/>
                    <a:pt x="4" y="10"/>
                    <a:pt x="8" y="24"/>
                  </a:cubicBezTo>
                  <a:cubicBezTo>
                    <a:pt x="12" y="37"/>
                    <a:pt x="14" y="48"/>
                    <a:pt x="1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6">
              <a:extLst>
                <a:ext uri="{FF2B5EF4-FFF2-40B4-BE49-F238E27FC236}">
                  <a16:creationId xmlns:a16="http://schemas.microsoft.com/office/drawing/2014/main" id="{50EC8B1D-8306-400F-B0AF-A2A8D44A1E97}"/>
                </a:ext>
              </a:extLst>
            </p:cNvPr>
            <p:cNvSpPr>
              <a:spLocks/>
            </p:cNvSpPr>
            <p:nvPr/>
          </p:nvSpPr>
          <p:spPr bwMode="auto">
            <a:xfrm>
              <a:off x="3510" y="1266"/>
              <a:ext cx="88" cy="299"/>
            </a:xfrm>
            <a:custGeom>
              <a:avLst/>
              <a:gdLst>
                <a:gd name="T0" fmla="*/ 0 w 37"/>
                <a:gd name="T1" fmla="*/ 0 h 126"/>
                <a:gd name="T2" fmla="*/ 4 w 37"/>
                <a:gd name="T3" fmla="*/ 3 h 126"/>
                <a:gd name="T4" fmla="*/ 14 w 37"/>
                <a:gd name="T5" fmla="*/ 14 h 126"/>
                <a:gd name="T6" fmla="*/ 35 w 37"/>
                <a:gd name="T7" fmla="*/ 58 h 126"/>
                <a:gd name="T8" fmla="*/ 36 w 37"/>
                <a:gd name="T9" fmla="*/ 84 h 126"/>
                <a:gd name="T10" fmla="*/ 33 w 37"/>
                <a:gd name="T11" fmla="*/ 106 h 126"/>
                <a:gd name="T12" fmla="*/ 31 w 37"/>
                <a:gd name="T13" fmla="*/ 120 h 126"/>
                <a:gd name="T14" fmla="*/ 30 w 37"/>
                <a:gd name="T15" fmla="*/ 126 h 126"/>
                <a:gd name="T16" fmla="*/ 30 w 37"/>
                <a:gd name="T17" fmla="*/ 120 h 126"/>
                <a:gd name="T18" fmla="*/ 31 w 37"/>
                <a:gd name="T19" fmla="*/ 106 h 126"/>
                <a:gd name="T20" fmla="*/ 34 w 37"/>
                <a:gd name="T21" fmla="*/ 84 h 126"/>
                <a:gd name="T22" fmla="*/ 33 w 37"/>
                <a:gd name="T23" fmla="*/ 58 h 126"/>
                <a:gd name="T24" fmla="*/ 13 w 37"/>
                <a:gd name="T25" fmla="*/ 15 h 126"/>
                <a:gd name="T26" fmla="*/ 0 w 37"/>
                <a:gd name="T2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26">
                  <a:moveTo>
                    <a:pt x="0" y="0"/>
                  </a:moveTo>
                  <a:cubicBezTo>
                    <a:pt x="0" y="0"/>
                    <a:pt x="1" y="1"/>
                    <a:pt x="4" y="3"/>
                  </a:cubicBezTo>
                  <a:cubicBezTo>
                    <a:pt x="6" y="6"/>
                    <a:pt x="10" y="9"/>
                    <a:pt x="14" y="14"/>
                  </a:cubicBezTo>
                  <a:cubicBezTo>
                    <a:pt x="22" y="24"/>
                    <a:pt x="31" y="39"/>
                    <a:pt x="35" y="58"/>
                  </a:cubicBezTo>
                  <a:cubicBezTo>
                    <a:pt x="37" y="67"/>
                    <a:pt x="37" y="76"/>
                    <a:pt x="36" y="84"/>
                  </a:cubicBezTo>
                  <a:cubicBezTo>
                    <a:pt x="35" y="93"/>
                    <a:pt x="34" y="100"/>
                    <a:pt x="33" y="106"/>
                  </a:cubicBezTo>
                  <a:cubicBezTo>
                    <a:pt x="32" y="112"/>
                    <a:pt x="31" y="117"/>
                    <a:pt x="31" y="120"/>
                  </a:cubicBezTo>
                  <a:cubicBezTo>
                    <a:pt x="30" y="124"/>
                    <a:pt x="30" y="126"/>
                    <a:pt x="30" y="126"/>
                  </a:cubicBezTo>
                  <a:cubicBezTo>
                    <a:pt x="30" y="126"/>
                    <a:pt x="30" y="124"/>
                    <a:pt x="30" y="120"/>
                  </a:cubicBezTo>
                  <a:cubicBezTo>
                    <a:pt x="30" y="117"/>
                    <a:pt x="30" y="112"/>
                    <a:pt x="31" y="106"/>
                  </a:cubicBezTo>
                  <a:cubicBezTo>
                    <a:pt x="32" y="100"/>
                    <a:pt x="34" y="92"/>
                    <a:pt x="34" y="84"/>
                  </a:cubicBezTo>
                  <a:cubicBezTo>
                    <a:pt x="35" y="76"/>
                    <a:pt x="35" y="67"/>
                    <a:pt x="33" y="58"/>
                  </a:cubicBezTo>
                  <a:cubicBezTo>
                    <a:pt x="29" y="40"/>
                    <a:pt x="20" y="25"/>
                    <a:pt x="13" y="15"/>
                  </a:cubicBezTo>
                  <a:cubicBezTo>
                    <a:pt x="5" y="5"/>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7">
              <a:extLst>
                <a:ext uri="{FF2B5EF4-FFF2-40B4-BE49-F238E27FC236}">
                  <a16:creationId xmlns:a16="http://schemas.microsoft.com/office/drawing/2014/main" id="{06B8E566-F31F-4221-A276-02202D4DE934}"/>
                </a:ext>
              </a:extLst>
            </p:cNvPr>
            <p:cNvSpPr>
              <a:spLocks/>
            </p:cNvSpPr>
            <p:nvPr/>
          </p:nvSpPr>
          <p:spPr bwMode="auto">
            <a:xfrm>
              <a:off x="3166" y="1784"/>
              <a:ext cx="247" cy="85"/>
            </a:xfrm>
            <a:custGeom>
              <a:avLst/>
              <a:gdLst>
                <a:gd name="T0" fmla="*/ 104 w 104"/>
                <a:gd name="T1" fmla="*/ 33 h 36"/>
                <a:gd name="T2" fmla="*/ 100 w 104"/>
                <a:gd name="T3" fmla="*/ 34 h 36"/>
                <a:gd name="T4" fmla="*/ 95 w 104"/>
                <a:gd name="T5" fmla="*/ 35 h 36"/>
                <a:gd name="T6" fmla="*/ 88 w 104"/>
                <a:gd name="T7" fmla="*/ 36 h 36"/>
                <a:gd name="T8" fmla="*/ 69 w 104"/>
                <a:gd name="T9" fmla="*/ 36 h 36"/>
                <a:gd name="T10" fmla="*/ 47 w 104"/>
                <a:gd name="T11" fmla="*/ 31 h 36"/>
                <a:gd name="T12" fmla="*/ 27 w 104"/>
                <a:gd name="T13" fmla="*/ 23 h 36"/>
                <a:gd name="T14" fmla="*/ 11 w 104"/>
                <a:gd name="T15" fmla="*/ 12 h 36"/>
                <a:gd name="T16" fmla="*/ 6 w 104"/>
                <a:gd name="T17" fmla="*/ 8 h 36"/>
                <a:gd name="T18" fmla="*/ 2 w 104"/>
                <a:gd name="T19" fmla="*/ 4 h 36"/>
                <a:gd name="T20" fmla="*/ 0 w 104"/>
                <a:gd name="T21" fmla="*/ 0 h 36"/>
                <a:gd name="T22" fmla="*/ 12 w 104"/>
                <a:gd name="T23" fmla="*/ 11 h 36"/>
                <a:gd name="T24" fmla="*/ 28 w 104"/>
                <a:gd name="T25" fmla="*/ 21 h 36"/>
                <a:gd name="T26" fmla="*/ 48 w 104"/>
                <a:gd name="T27" fmla="*/ 29 h 36"/>
                <a:gd name="T28" fmla="*/ 69 w 104"/>
                <a:gd name="T29" fmla="*/ 34 h 36"/>
                <a:gd name="T30" fmla="*/ 87 w 104"/>
                <a:gd name="T31" fmla="*/ 35 h 36"/>
                <a:gd name="T32" fmla="*/ 104 w 104"/>
                <a:gd name="T33"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36">
                  <a:moveTo>
                    <a:pt x="104" y="33"/>
                  </a:moveTo>
                  <a:cubicBezTo>
                    <a:pt x="104" y="33"/>
                    <a:pt x="103" y="33"/>
                    <a:pt x="100" y="34"/>
                  </a:cubicBezTo>
                  <a:cubicBezTo>
                    <a:pt x="98" y="34"/>
                    <a:pt x="97" y="35"/>
                    <a:pt x="95" y="35"/>
                  </a:cubicBezTo>
                  <a:cubicBezTo>
                    <a:pt x="93" y="35"/>
                    <a:pt x="90" y="36"/>
                    <a:pt x="88" y="36"/>
                  </a:cubicBezTo>
                  <a:cubicBezTo>
                    <a:pt x="82" y="36"/>
                    <a:pt x="76" y="36"/>
                    <a:pt x="69" y="36"/>
                  </a:cubicBezTo>
                  <a:cubicBezTo>
                    <a:pt x="62" y="35"/>
                    <a:pt x="55" y="34"/>
                    <a:pt x="47" y="31"/>
                  </a:cubicBezTo>
                  <a:cubicBezTo>
                    <a:pt x="40" y="29"/>
                    <a:pt x="33" y="26"/>
                    <a:pt x="27" y="23"/>
                  </a:cubicBezTo>
                  <a:cubicBezTo>
                    <a:pt x="21" y="19"/>
                    <a:pt x="15" y="16"/>
                    <a:pt x="11" y="12"/>
                  </a:cubicBezTo>
                  <a:cubicBezTo>
                    <a:pt x="9" y="11"/>
                    <a:pt x="8" y="9"/>
                    <a:pt x="6" y="8"/>
                  </a:cubicBezTo>
                  <a:cubicBezTo>
                    <a:pt x="5" y="6"/>
                    <a:pt x="3" y="5"/>
                    <a:pt x="2" y="4"/>
                  </a:cubicBezTo>
                  <a:cubicBezTo>
                    <a:pt x="1" y="2"/>
                    <a:pt x="0" y="1"/>
                    <a:pt x="0" y="0"/>
                  </a:cubicBezTo>
                  <a:cubicBezTo>
                    <a:pt x="0" y="0"/>
                    <a:pt x="4" y="5"/>
                    <a:pt x="12" y="11"/>
                  </a:cubicBezTo>
                  <a:cubicBezTo>
                    <a:pt x="16" y="14"/>
                    <a:pt x="22" y="18"/>
                    <a:pt x="28" y="21"/>
                  </a:cubicBezTo>
                  <a:cubicBezTo>
                    <a:pt x="34" y="24"/>
                    <a:pt x="40" y="27"/>
                    <a:pt x="48" y="29"/>
                  </a:cubicBezTo>
                  <a:cubicBezTo>
                    <a:pt x="55" y="32"/>
                    <a:pt x="63" y="33"/>
                    <a:pt x="69" y="34"/>
                  </a:cubicBezTo>
                  <a:cubicBezTo>
                    <a:pt x="76" y="35"/>
                    <a:pt x="82" y="35"/>
                    <a:pt x="87" y="35"/>
                  </a:cubicBezTo>
                  <a:cubicBezTo>
                    <a:pt x="98" y="34"/>
                    <a:pt x="104" y="32"/>
                    <a:pt x="104" y="3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8">
              <a:extLst>
                <a:ext uri="{FF2B5EF4-FFF2-40B4-BE49-F238E27FC236}">
                  <a16:creationId xmlns:a16="http://schemas.microsoft.com/office/drawing/2014/main" id="{8153F4D3-62A4-4D2D-983B-5132B183E412}"/>
                </a:ext>
              </a:extLst>
            </p:cNvPr>
            <p:cNvSpPr>
              <a:spLocks/>
            </p:cNvSpPr>
            <p:nvPr/>
          </p:nvSpPr>
          <p:spPr bwMode="auto">
            <a:xfrm>
              <a:off x="3529" y="1807"/>
              <a:ext cx="36" cy="86"/>
            </a:xfrm>
            <a:custGeom>
              <a:avLst/>
              <a:gdLst>
                <a:gd name="T0" fmla="*/ 13 w 15"/>
                <a:gd name="T1" fmla="*/ 0 h 36"/>
                <a:gd name="T2" fmla="*/ 14 w 15"/>
                <a:gd name="T3" fmla="*/ 6 h 36"/>
                <a:gd name="T4" fmla="*/ 13 w 15"/>
                <a:gd name="T5" fmla="*/ 20 h 36"/>
                <a:gd name="T6" fmla="*/ 5 w 15"/>
                <a:gd name="T7" fmla="*/ 33 h 36"/>
                <a:gd name="T8" fmla="*/ 0 w 15"/>
                <a:gd name="T9" fmla="*/ 36 h 36"/>
                <a:gd name="T10" fmla="*/ 4 w 15"/>
                <a:gd name="T11" fmla="*/ 32 h 36"/>
                <a:gd name="T12" fmla="*/ 11 w 15"/>
                <a:gd name="T13" fmla="*/ 20 h 36"/>
                <a:gd name="T14" fmla="*/ 13 w 15"/>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6">
                  <a:moveTo>
                    <a:pt x="13" y="0"/>
                  </a:moveTo>
                  <a:cubicBezTo>
                    <a:pt x="13" y="0"/>
                    <a:pt x="14" y="2"/>
                    <a:pt x="14" y="6"/>
                  </a:cubicBezTo>
                  <a:cubicBezTo>
                    <a:pt x="15" y="10"/>
                    <a:pt x="15" y="15"/>
                    <a:pt x="13" y="20"/>
                  </a:cubicBezTo>
                  <a:cubicBezTo>
                    <a:pt x="12" y="26"/>
                    <a:pt x="8" y="30"/>
                    <a:pt x="5" y="33"/>
                  </a:cubicBezTo>
                  <a:cubicBezTo>
                    <a:pt x="2" y="35"/>
                    <a:pt x="0" y="36"/>
                    <a:pt x="0" y="36"/>
                  </a:cubicBezTo>
                  <a:cubicBezTo>
                    <a:pt x="0" y="36"/>
                    <a:pt x="2" y="34"/>
                    <a:pt x="4" y="32"/>
                  </a:cubicBezTo>
                  <a:cubicBezTo>
                    <a:pt x="7" y="29"/>
                    <a:pt x="10" y="25"/>
                    <a:pt x="11" y="20"/>
                  </a:cubicBezTo>
                  <a:cubicBezTo>
                    <a:pt x="14" y="9"/>
                    <a:pt x="12"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69">
              <a:extLst>
                <a:ext uri="{FF2B5EF4-FFF2-40B4-BE49-F238E27FC236}">
                  <a16:creationId xmlns:a16="http://schemas.microsoft.com/office/drawing/2014/main" id="{1E333612-9C42-4993-963A-822C6843ECFF}"/>
                </a:ext>
              </a:extLst>
            </p:cNvPr>
            <p:cNvSpPr>
              <a:spLocks/>
            </p:cNvSpPr>
            <p:nvPr/>
          </p:nvSpPr>
          <p:spPr bwMode="auto">
            <a:xfrm>
              <a:off x="3512" y="1841"/>
              <a:ext cx="24" cy="54"/>
            </a:xfrm>
            <a:custGeom>
              <a:avLst/>
              <a:gdLst>
                <a:gd name="T0" fmla="*/ 9 w 10"/>
                <a:gd name="T1" fmla="*/ 0 h 23"/>
                <a:gd name="T2" fmla="*/ 8 w 10"/>
                <a:gd name="T3" fmla="*/ 12 h 23"/>
                <a:gd name="T4" fmla="*/ 0 w 10"/>
                <a:gd name="T5" fmla="*/ 22 h 23"/>
                <a:gd name="T6" fmla="*/ 6 w 10"/>
                <a:gd name="T7" fmla="*/ 12 h 23"/>
                <a:gd name="T8" fmla="*/ 9 w 10"/>
                <a:gd name="T9" fmla="*/ 0 h 23"/>
              </a:gdLst>
              <a:ahLst/>
              <a:cxnLst>
                <a:cxn ang="0">
                  <a:pos x="T0" y="T1"/>
                </a:cxn>
                <a:cxn ang="0">
                  <a:pos x="T2" y="T3"/>
                </a:cxn>
                <a:cxn ang="0">
                  <a:pos x="T4" y="T5"/>
                </a:cxn>
                <a:cxn ang="0">
                  <a:pos x="T6" y="T7"/>
                </a:cxn>
                <a:cxn ang="0">
                  <a:pos x="T8" y="T9"/>
                </a:cxn>
              </a:cxnLst>
              <a:rect l="0" t="0" r="r" b="b"/>
              <a:pathLst>
                <a:path w="10" h="23">
                  <a:moveTo>
                    <a:pt x="9" y="0"/>
                  </a:moveTo>
                  <a:cubicBezTo>
                    <a:pt x="9" y="0"/>
                    <a:pt x="10" y="6"/>
                    <a:pt x="8" y="12"/>
                  </a:cubicBezTo>
                  <a:cubicBezTo>
                    <a:pt x="5" y="19"/>
                    <a:pt x="1" y="23"/>
                    <a:pt x="0" y="22"/>
                  </a:cubicBezTo>
                  <a:cubicBezTo>
                    <a:pt x="0" y="22"/>
                    <a:pt x="4" y="18"/>
                    <a:pt x="6" y="12"/>
                  </a:cubicBezTo>
                  <a:cubicBezTo>
                    <a:pt x="8" y="6"/>
                    <a:pt x="8" y="0"/>
                    <a:pt x="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0">
              <a:extLst>
                <a:ext uri="{FF2B5EF4-FFF2-40B4-BE49-F238E27FC236}">
                  <a16:creationId xmlns:a16="http://schemas.microsoft.com/office/drawing/2014/main" id="{8602BDD5-1998-49D3-B5BD-97C052259481}"/>
                </a:ext>
              </a:extLst>
            </p:cNvPr>
            <p:cNvSpPr>
              <a:spLocks/>
            </p:cNvSpPr>
            <p:nvPr/>
          </p:nvSpPr>
          <p:spPr bwMode="auto">
            <a:xfrm>
              <a:off x="3415" y="1527"/>
              <a:ext cx="36" cy="50"/>
            </a:xfrm>
            <a:custGeom>
              <a:avLst/>
              <a:gdLst>
                <a:gd name="T0" fmla="*/ 14 w 15"/>
                <a:gd name="T1" fmla="*/ 1 h 21"/>
                <a:gd name="T2" fmla="*/ 7 w 15"/>
                <a:gd name="T3" fmla="*/ 11 h 21"/>
                <a:gd name="T4" fmla="*/ 0 w 15"/>
                <a:gd name="T5" fmla="*/ 21 h 21"/>
                <a:gd name="T6" fmla="*/ 5 w 15"/>
                <a:gd name="T7" fmla="*/ 10 h 21"/>
                <a:gd name="T8" fmla="*/ 14 w 15"/>
                <a:gd name="T9" fmla="*/ 1 h 21"/>
              </a:gdLst>
              <a:ahLst/>
              <a:cxnLst>
                <a:cxn ang="0">
                  <a:pos x="T0" y="T1"/>
                </a:cxn>
                <a:cxn ang="0">
                  <a:pos x="T2" y="T3"/>
                </a:cxn>
                <a:cxn ang="0">
                  <a:pos x="T4" y="T5"/>
                </a:cxn>
                <a:cxn ang="0">
                  <a:pos x="T6" y="T7"/>
                </a:cxn>
                <a:cxn ang="0">
                  <a:pos x="T8" y="T9"/>
                </a:cxn>
              </a:cxnLst>
              <a:rect l="0" t="0" r="r" b="b"/>
              <a:pathLst>
                <a:path w="15" h="21">
                  <a:moveTo>
                    <a:pt x="14" y="1"/>
                  </a:moveTo>
                  <a:cubicBezTo>
                    <a:pt x="15" y="1"/>
                    <a:pt x="11" y="5"/>
                    <a:pt x="7" y="11"/>
                  </a:cubicBezTo>
                  <a:cubicBezTo>
                    <a:pt x="3" y="16"/>
                    <a:pt x="1" y="21"/>
                    <a:pt x="0" y="21"/>
                  </a:cubicBezTo>
                  <a:cubicBezTo>
                    <a:pt x="0" y="21"/>
                    <a:pt x="1" y="15"/>
                    <a:pt x="5" y="10"/>
                  </a:cubicBezTo>
                  <a:cubicBezTo>
                    <a:pt x="9" y="4"/>
                    <a:pt x="14" y="0"/>
                    <a:pt x="1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1">
              <a:extLst>
                <a:ext uri="{FF2B5EF4-FFF2-40B4-BE49-F238E27FC236}">
                  <a16:creationId xmlns:a16="http://schemas.microsoft.com/office/drawing/2014/main" id="{1872A725-2994-414F-A04E-51C3D8715060}"/>
                </a:ext>
              </a:extLst>
            </p:cNvPr>
            <p:cNvSpPr>
              <a:spLocks/>
            </p:cNvSpPr>
            <p:nvPr/>
          </p:nvSpPr>
          <p:spPr bwMode="auto">
            <a:xfrm>
              <a:off x="2966" y="1238"/>
              <a:ext cx="157" cy="61"/>
            </a:xfrm>
            <a:custGeom>
              <a:avLst/>
              <a:gdLst>
                <a:gd name="T0" fmla="*/ 66 w 66"/>
                <a:gd name="T1" fmla="*/ 26 h 26"/>
                <a:gd name="T2" fmla="*/ 57 w 66"/>
                <a:gd name="T3" fmla="*/ 20 h 26"/>
                <a:gd name="T4" fmla="*/ 35 w 66"/>
                <a:gd name="T5" fmla="*/ 8 h 26"/>
                <a:gd name="T6" fmla="*/ 10 w 66"/>
                <a:gd name="T7" fmla="*/ 2 h 26"/>
                <a:gd name="T8" fmla="*/ 0 w 66"/>
                <a:gd name="T9" fmla="*/ 1 h 26"/>
                <a:gd name="T10" fmla="*/ 10 w 66"/>
                <a:gd name="T11" fmla="*/ 1 h 26"/>
                <a:gd name="T12" fmla="*/ 36 w 66"/>
                <a:gd name="T13" fmla="*/ 6 h 26"/>
                <a:gd name="T14" fmla="*/ 58 w 66"/>
                <a:gd name="T15" fmla="*/ 19 h 26"/>
                <a:gd name="T16" fmla="*/ 66 w 66"/>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26">
                  <a:moveTo>
                    <a:pt x="66" y="26"/>
                  </a:moveTo>
                  <a:cubicBezTo>
                    <a:pt x="66" y="26"/>
                    <a:pt x="63" y="23"/>
                    <a:pt x="57" y="20"/>
                  </a:cubicBezTo>
                  <a:cubicBezTo>
                    <a:pt x="52" y="16"/>
                    <a:pt x="44" y="12"/>
                    <a:pt x="35" y="8"/>
                  </a:cubicBezTo>
                  <a:cubicBezTo>
                    <a:pt x="26" y="5"/>
                    <a:pt x="17" y="3"/>
                    <a:pt x="10" y="2"/>
                  </a:cubicBezTo>
                  <a:cubicBezTo>
                    <a:pt x="4" y="1"/>
                    <a:pt x="0" y="1"/>
                    <a:pt x="0" y="1"/>
                  </a:cubicBezTo>
                  <a:cubicBezTo>
                    <a:pt x="0" y="1"/>
                    <a:pt x="4" y="0"/>
                    <a:pt x="10" y="1"/>
                  </a:cubicBezTo>
                  <a:cubicBezTo>
                    <a:pt x="17" y="1"/>
                    <a:pt x="26" y="3"/>
                    <a:pt x="36" y="6"/>
                  </a:cubicBezTo>
                  <a:cubicBezTo>
                    <a:pt x="45" y="10"/>
                    <a:pt x="53" y="15"/>
                    <a:pt x="58" y="19"/>
                  </a:cubicBezTo>
                  <a:cubicBezTo>
                    <a:pt x="64" y="23"/>
                    <a:pt x="66" y="25"/>
                    <a:pt x="66"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2">
              <a:extLst>
                <a:ext uri="{FF2B5EF4-FFF2-40B4-BE49-F238E27FC236}">
                  <a16:creationId xmlns:a16="http://schemas.microsoft.com/office/drawing/2014/main" id="{B112776C-5001-4860-A44D-38E36CC9143B}"/>
                </a:ext>
              </a:extLst>
            </p:cNvPr>
            <p:cNvSpPr>
              <a:spLocks/>
            </p:cNvSpPr>
            <p:nvPr/>
          </p:nvSpPr>
          <p:spPr bwMode="auto">
            <a:xfrm>
              <a:off x="3539" y="1147"/>
              <a:ext cx="85" cy="103"/>
            </a:xfrm>
            <a:custGeom>
              <a:avLst/>
              <a:gdLst>
                <a:gd name="T0" fmla="*/ 36 w 36"/>
                <a:gd name="T1" fmla="*/ 0 h 43"/>
                <a:gd name="T2" fmla="*/ 15 w 36"/>
                <a:gd name="T3" fmla="*/ 19 h 43"/>
                <a:gd name="T4" fmla="*/ 0 w 36"/>
                <a:gd name="T5" fmla="*/ 42 h 43"/>
                <a:gd name="T6" fmla="*/ 3 w 36"/>
                <a:gd name="T7" fmla="*/ 35 h 43"/>
                <a:gd name="T8" fmla="*/ 14 w 36"/>
                <a:gd name="T9" fmla="*/ 18 h 43"/>
                <a:gd name="T10" fmla="*/ 28 w 36"/>
                <a:gd name="T11" fmla="*/ 4 h 43"/>
                <a:gd name="T12" fmla="*/ 36 w 36"/>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36" h="43">
                  <a:moveTo>
                    <a:pt x="36" y="0"/>
                  </a:moveTo>
                  <a:cubicBezTo>
                    <a:pt x="36" y="1"/>
                    <a:pt x="25" y="7"/>
                    <a:pt x="15" y="19"/>
                  </a:cubicBezTo>
                  <a:cubicBezTo>
                    <a:pt x="6" y="31"/>
                    <a:pt x="1" y="43"/>
                    <a:pt x="0" y="42"/>
                  </a:cubicBezTo>
                  <a:cubicBezTo>
                    <a:pt x="0" y="42"/>
                    <a:pt x="1" y="39"/>
                    <a:pt x="3" y="35"/>
                  </a:cubicBezTo>
                  <a:cubicBezTo>
                    <a:pt x="5" y="30"/>
                    <a:pt x="9" y="24"/>
                    <a:pt x="14" y="18"/>
                  </a:cubicBezTo>
                  <a:cubicBezTo>
                    <a:pt x="19" y="12"/>
                    <a:pt x="24" y="7"/>
                    <a:pt x="28" y="4"/>
                  </a:cubicBezTo>
                  <a:cubicBezTo>
                    <a:pt x="33" y="1"/>
                    <a:pt x="36" y="0"/>
                    <a:pt x="3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3">
              <a:extLst>
                <a:ext uri="{FF2B5EF4-FFF2-40B4-BE49-F238E27FC236}">
                  <a16:creationId xmlns:a16="http://schemas.microsoft.com/office/drawing/2014/main" id="{653CC321-D1F5-4E42-98A4-C6BBF5ED652E}"/>
                </a:ext>
              </a:extLst>
            </p:cNvPr>
            <p:cNvSpPr>
              <a:spLocks/>
            </p:cNvSpPr>
            <p:nvPr/>
          </p:nvSpPr>
          <p:spPr bwMode="auto">
            <a:xfrm>
              <a:off x="3154" y="1069"/>
              <a:ext cx="285" cy="166"/>
            </a:xfrm>
            <a:custGeom>
              <a:avLst/>
              <a:gdLst>
                <a:gd name="T0" fmla="*/ 115 w 120"/>
                <a:gd name="T1" fmla="*/ 0 h 70"/>
                <a:gd name="T2" fmla="*/ 116 w 120"/>
                <a:gd name="T3" fmla="*/ 2 h 70"/>
                <a:gd name="T4" fmla="*/ 118 w 120"/>
                <a:gd name="T5" fmla="*/ 8 h 70"/>
                <a:gd name="T6" fmla="*/ 118 w 120"/>
                <a:gd name="T7" fmla="*/ 29 h 70"/>
                <a:gd name="T8" fmla="*/ 102 w 120"/>
                <a:gd name="T9" fmla="*/ 57 h 70"/>
                <a:gd name="T10" fmla="*/ 65 w 120"/>
                <a:gd name="T11" fmla="*/ 70 h 70"/>
                <a:gd name="T12" fmla="*/ 28 w 120"/>
                <a:gd name="T13" fmla="*/ 58 h 70"/>
                <a:gd name="T14" fmla="*/ 7 w 120"/>
                <a:gd name="T15" fmla="*/ 33 h 70"/>
                <a:gd name="T16" fmla="*/ 0 w 120"/>
                <a:gd name="T17" fmla="*/ 12 h 70"/>
                <a:gd name="T18" fmla="*/ 0 w 120"/>
                <a:gd name="T19" fmla="*/ 6 h 70"/>
                <a:gd name="T20" fmla="*/ 0 w 120"/>
                <a:gd name="T21" fmla="*/ 4 h 70"/>
                <a:gd name="T22" fmla="*/ 1 w 120"/>
                <a:gd name="T23" fmla="*/ 12 h 70"/>
                <a:gd name="T24" fmla="*/ 9 w 120"/>
                <a:gd name="T25" fmla="*/ 32 h 70"/>
                <a:gd name="T26" fmla="*/ 29 w 120"/>
                <a:gd name="T27" fmla="*/ 56 h 70"/>
                <a:gd name="T28" fmla="*/ 65 w 120"/>
                <a:gd name="T29" fmla="*/ 68 h 70"/>
                <a:gd name="T30" fmla="*/ 100 w 120"/>
                <a:gd name="T31" fmla="*/ 55 h 70"/>
                <a:gd name="T32" fmla="*/ 117 w 120"/>
                <a:gd name="T33" fmla="*/ 29 h 70"/>
                <a:gd name="T34" fmla="*/ 117 w 120"/>
                <a:gd name="T35" fmla="*/ 8 h 70"/>
                <a:gd name="T36" fmla="*/ 115 w 120"/>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70">
                  <a:moveTo>
                    <a:pt x="115" y="0"/>
                  </a:moveTo>
                  <a:cubicBezTo>
                    <a:pt x="115" y="0"/>
                    <a:pt x="116" y="1"/>
                    <a:pt x="116" y="2"/>
                  </a:cubicBezTo>
                  <a:cubicBezTo>
                    <a:pt x="117" y="3"/>
                    <a:pt x="117" y="5"/>
                    <a:pt x="118" y="8"/>
                  </a:cubicBezTo>
                  <a:cubicBezTo>
                    <a:pt x="119" y="13"/>
                    <a:pt x="120" y="20"/>
                    <a:pt x="118" y="29"/>
                  </a:cubicBezTo>
                  <a:cubicBezTo>
                    <a:pt x="116" y="38"/>
                    <a:pt x="111" y="49"/>
                    <a:pt x="102" y="57"/>
                  </a:cubicBezTo>
                  <a:cubicBezTo>
                    <a:pt x="93" y="65"/>
                    <a:pt x="79" y="70"/>
                    <a:pt x="65" y="70"/>
                  </a:cubicBezTo>
                  <a:cubicBezTo>
                    <a:pt x="51" y="70"/>
                    <a:pt x="37" y="65"/>
                    <a:pt x="28" y="58"/>
                  </a:cubicBezTo>
                  <a:cubicBezTo>
                    <a:pt x="18" y="50"/>
                    <a:pt x="11" y="41"/>
                    <a:pt x="7" y="33"/>
                  </a:cubicBezTo>
                  <a:cubicBezTo>
                    <a:pt x="3" y="25"/>
                    <a:pt x="1" y="17"/>
                    <a:pt x="0" y="12"/>
                  </a:cubicBezTo>
                  <a:cubicBezTo>
                    <a:pt x="0" y="10"/>
                    <a:pt x="0" y="8"/>
                    <a:pt x="0" y="6"/>
                  </a:cubicBezTo>
                  <a:cubicBezTo>
                    <a:pt x="0" y="5"/>
                    <a:pt x="0" y="4"/>
                    <a:pt x="0" y="4"/>
                  </a:cubicBezTo>
                  <a:cubicBezTo>
                    <a:pt x="0" y="4"/>
                    <a:pt x="0" y="7"/>
                    <a:pt x="1" y="12"/>
                  </a:cubicBezTo>
                  <a:cubicBezTo>
                    <a:pt x="2" y="17"/>
                    <a:pt x="4" y="24"/>
                    <a:pt x="9" y="32"/>
                  </a:cubicBezTo>
                  <a:cubicBezTo>
                    <a:pt x="13" y="40"/>
                    <a:pt x="19" y="49"/>
                    <a:pt x="29" y="56"/>
                  </a:cubicBezTo>
                  <a:cubicBezTo>
                    <a:pt x="38" y="63"/>
                    <a:pt x="51" y="68"/>
                    <a:pt x="65" y="68"/>
                  </a:cubicBezTo>
                  <a:cubicBezTo>
                    <a:pt x="79" y="68"/>
                    <a:pt x="92" y="63"/>
                    <a:pt x="100" y="55"/>
                  </a:cubicBezTo>
                  <a:cubicBezTo>
                    <a:pt x="109" y="48"/>
                    <a:pt x="114" y="38"/>
                    <a:pt x="117" y="29"/>
                  </a:cubicBezTo>
                  <a:cubicBezTo>
                    <a:pt x="119" y="20"/>
                    <a:pt x="118" y="13"/>
                    <a:pt x="117" y="8"/>
                  </a:cubicBezTo>
                  <a:cubicBezTo>
                    <a:pt x="116" y="3"/>
                    <a:pt x="115" y="0"/>
                    <a:pt x="1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4">
              <a:extLst>
                <a:ext uri="{FF2B5EF4-FFF2-40B4-BE49-F238E27FC236}">
                  <a16:creationId xmlns:a16="http://schemas.microsoft.com/office/drawing/2014/main" id="{01852479-EDB0-4B51-A420-6B41B4AD5434}"/>
                </a:ext>
              </a:extLst>
            </p:cNvPr>
            <p:cNvSpPr>
              <a:spLocks/>
            </p:cNvSpPr>
            <p:nvPr/>
          </p:nvSpPr>
          <p:spPr bwMode="auto">
            <a:xfrm>
              <a:off x="3415" y="1532"/>
              <a:ext cx="48" cy="48"/>
            </a:xfrm>
            <a:custGeom>
              <a:avLst/>
              <a:gdLst>
                <a:gd name="T0" fmla="*/ 16 w 20"/>
                <a:gd name="T1" fmla="*/ 0 h 20"/>
                <a:gd name="T2" fmla="*/ 14 w 20"/>
                <a:gd name="T3" fmla="*/ 0 h 20"/>
                <a:gd name="T4" fmla="*/ 13 w 20"/>
                <a:gd name="T5" fmla="*/ 1 h 20"/>
                <a:gd name="T6" fmla="*/ 7 w 20"/>
                <a:gd name="T7" fmla="*/ 9 h 20"/>
                <a:gd name="T8" fmla="*/ 0 w 20"/>
                <a:gd name="T9" fmla="*/ 19 h 20"/>
                <a:gd name="T10" fmla="*/ 0 w 20"/>
                <a:gd name="T11" fmla="*/ 20 h 20"/>
                <a:gd name="T12" fmla="*/ 20 w 20"/>
                <a:gd name="T13" fmla="*/ 18 h 20"/>
                <a:gd name="T14" fmla="*/ 19 w 20"/>
                <a:gd name="T15" fmla="*/ 6 h 20"/>
                <a:gd name="T16" fmla="*/ 17 w 20"/>
                <a:gd name="T17" fmla="*/ 0 h 20"/>
                <a:gd name="T18" fmla="*/ 16 w 2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6" y="0"/>
                  </a:moveTo>
                  <a:cubicBezTo>
                    <a:pt x="15" y="0"/>
                    <a:pt x="14" y="0"/>
                    <a:pt x="14" y="0"/>
                  </a:cubicBezTo>
                  <a:cubicBezTo>
                    <a:pt x="13" y="0"/>
                    <a:pt x="13" y="1"/>
                    <a:pt x="13" y="1"/>
                  </a:cubicBezTo>
                  <a:cubicBezTo>
                    <a:pt x="12" y="3"/>
                    <a:pt x="9" y="5"/>
                    <a:pt x="7" y="9"/>
                  </a:cubicBezTo>
                  <a:cubicBezTo>
                    <a:pt x="4" y="14"/>
                    <a:pt x="1" y="18"/>
                    <a:pt x="0" y="19"/>
                  </a:cubicBezTo>
                  <a:cubicBezTo>
                    <a:pt x="0" y="19"/>
                    <a:pt x="0" y="20"/>
                    <a:pt x="0" y="20"/>
                  </a:cubicBezTo>
                  <a:cubicBezTo>
                    <a:pt x="20" y="18"/>
                    <a:pt x="20" y="18"/>
                    <a:pt x="20" y="18"/>
                  </a:cubicBezTo>
                  <a:cubicBezTo>
                    <a:pt x="20" y="14"/>
                    <a:pt x="19" y="10"/>
                    <a:pt x="19" y="6"/>
                  </a:cubicBezTo>
                  <a:cubicBezTo>
                    <a:pt x="19" y="4"/>
                    <a:pt x="19" y="1"/>
                    <a:pt x="17" y="0"/>
                  </a:cubicBezTo>
                  <a:cubicBezTo>
                    <a:pt x="17" y="0"/>
                    <a:pt x="16" y="0"/>
                    <a:pt x="1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5">
              <a:extLst>
                <a:ext uri="{FF2B5EF4-FFF2-40B4-BE49-F238E27FC236}">
                  <a16:creationId xmlns:a16="http://schemas.microsoft.com/office/drawing/2014/main" id="{FCACBEA6-0A03-43BA-9F33-631A340F0709}"/>
                </a:ext>
              </a:extLst>
            </p:cNvPr>
            <p:cNvSpPr>
              <a:spLocks/>
            </p:cNvSpPr>
            <p:nvPr/>
          </p:nvSpPr>
          <p:spPr bwMode="auto">
            <a:xfrm>
              <a:off x="3415" y="1534"/>
              <a:ext cx="31" cy="43"/>
            </a:xfrm>
            <a:custGeom>
              <a:avLst/>
              <a:gdLst>
                <a:gd name="T0" fmla="*/ 13 w 13"/>
                <a:gd name="T1" fmla="*/ 0 h 18"/>
                <a:gd name="T2" fmla="*/ 11 w 13"/>
                <a:gd name="T3" fmla="*/ 2 h 18"/>
                <a:gd name="T4" fmla="*/ 0 w 13"/>
                <a:gd name="T5" fmla="*/ 18 h 18"/>
                <a:gd name="T6" fmla="*/ 7 w 13"/>
                <a:gd name="T7" fmla="*/ 8 h 18"/>
                <a:gd name="T8" fmla="*/ 13 w 13"/>
                <a:gd name="T9" fmla="*/ 0 h 18"/>
              </a:gdLst>
              <a:ahLst/>
              <a:cxnLst>
                <a:cxn ang="0">
                  <a:pos x="T0" y="T1"/>
                </a:cxn>
                <a:cxn ang="0">
                  <a:pos x="T2" y="T3"/>
                </a:cxn>
                <a:cxn ang="0">
                  <a:pos x="T4" y="T5"/>
                </a:cxn>
                <a:cxn ang="0">
                  <a:pos x="T6" y="T7"/>
                </a:cxn>
                <a:cxn ang="0">
                  <a:pos x="T8" y="T9"/>
                </a:cxn>
              </a:cxnLst>
              <a:rect l="0" t="0" r="r" b="b"/>
              <a:pathLst>
                <a:path w="13" h="18">
                  <a:moveTo>
                    <a:pt x="13" y="0"/>
                  </a:moveTo>
                  <a:cubicBezTo>
                    <a:pt x="12" y="0"/>
                    <a:pt x="11" y="1"/>
                    <a:pt x="11" y="2"/>
                  </a:cubicBezTo>
                  <a:cubicBezTo>
                    <a:pt x="6" y="7"/>
                    <a:pt x="3" y="12"/>
                    <a:pt x="0" y="18"/>
                  </a:cubicBezTo>
                  <a:cubicBezTo>
                    <a:pt x="1" y="17"/>
                    <a:pt x="4" y="13"/>
                    <a:pt x="7" y="8"/>
                  </a:cubicBezTo>
                  <a:cubicBezTo>
                    <a:pt x="9" y="4"/>
                    <a:pt x="12" y="2"/>
                    <a:pt x="13"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6">
              <a:extLst>
                <a:ext uri="{FF2B5EF4-FFF2-40B4-BE49-F238E27FC236}">
                  <a16:creationId xmlns:a16="http://schemas.microsoft.com/office/drawing/2014/main" id="{A274CAE4-BBEB-44B7-BAE5-7E1C8B39AF54}"/>
                </a:ext>
              </a:extLst>
            </p:cNvPr>
            <p:cNvSpPr>
              <a:spLocks/>
            </p:cNvSpPr>
            <p:nvPr/>
          </p:nvSpPr>
          <p:spPr bwMode="auto">
            <a:xfrm>
              <a:off x="3588" y="1385"/>
              <a:ext cx="31" cy="128"/>
            </a:xfrm>
            <a:custGeom>
              <a:avLst/>
              <a:gdLst>
                <a:gd name="T0" fmla="*/ 0 w 13"/>
                <a:gd name="T1" fmla="*/ 0 h 54"/>
                <a:gd name="T2" fmla="*/ 2 w 13"/>
                <a:gd name="T3" fmla="*/ 8 h 54"/>
                <a:gd name="T4" fmla="*/ 3 w 13"/>
                <a:gd name="T5" fmla="*/ 34 h 54"/>
                <a:gd name="T6" fmla="*/ 0 w 13"/>
                <a:gd name="T7" fmla="*/ 54 h 54"/>
                <a:gd name="T8" fmla="*/ 11 w 13"/>
                <a:gd name="T9" fmla="*/ 26 h 54"/>
                <a:gd name="T10" fmla="*/ 0 w 13"/>
                <a:gd name="T11" fmla="*/ 0 h 54"/>
              </a:gdLst>
              <a:ahLst/>
              <a:cxnLst>
                <a:cxn ang="0">
                  <a:pos x="T0" y="T1"/>
                </a:cxn>
                <a:cxn ang="0">
                  <a:pos x="T2" y="T3"/>
                </a:cxn>
                <a:cxn ang="0">
                  <a:pos x="T4" y="T5"/>
                </a:cxn>
                <a:cxn ang="0">
                  <a:pos x="T6" y="T7"/>
                </a:cxn>
                <a:cxn ang="0">
                  <a:pos x="T8" y="T9"/>
                </a:cxn>
                <a:cxn ang="0">
                  <a:pos x="T10" y="T11"/>
                </a:cxn>
              </a:cxnLst>
              <a:rect l="0" t="0" r="r" b="b"/>
              <a:pathLst>
                <a:path w="13" h="54">
                  <a:moveTo>
                    <a:pt x="0" y="0"/>
                  </a:moveTo>
                  <a:cubicBezTo>
                    <a:pt x="1" y="2"/>
                    <a:pt x="1" y="5"/>
                    <a:pt x="2" y="8"/>
                  </a:cubicBezTo>
                  <a:cubicBezTo>
                    <a:pt x="4" y="17"/>
                    <a:pt x="4" y="26"/>
                    <a:pt x="3" y="34"/>
                  </a:cubicBezTo>
                  <a:cubicBezTo>
                    <a:pt x="2" y="42"/>
                    <a:pt x="1" y="48"/>
                    <a:pt x="0" y="54"/>
                  </a:cubicBezTo>
                  <a:cubicBezTo>
                    <a:pt x="6" y="44"/>
                    <a:pt x="13" y="37"/>
                    <a:pt x="11" y="26"/>
                  </a:cubicBezTo>
                  <a:cubicBezTo>
                    <a:pt x="10" y="17"/>
                    <a:pt x="6" y="8"/>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7">
              <a:extLst>
                <a:ext uri="{FF2B5EF4-FFF2-40B4-BE49-F238E27FC236}">
                  <a16:creationId xmlns:a16="http://schemas.microsoft.com/office/drawing/2014/main" id="{D55014E8-9C3B-48AB-81F5-BF2DBFF235E2}"/>
                </a:ext>
              </a:extLst>
            </p:cNvPr>
            <p:cNvSpPr>
              <a:spLocks/>
            </p:cNvSpPr>
            <p:nvPr/>
          </p:nvSpPr>
          <p:spPr bwMode="auto">
            <a:xfrm>
              <a:off x="3581" y="1375"/>
              <a:ext cx="22" cy="148"/>
            </a:xfrm>
            <a:custGeom>
              <a:avLst/>
              <a:gdLst>
                <a:gd name="T0" fmla="*/ 0 w 9"/>
                <a:gd name="T1" fmla="*/ 0 h 62"/>
                <a:gd name="T2" fmla="*/ 1 w 9"/>
                <a:gd name="T3" fmla="*/ 62 h 62"/>
                <a:gd name="T4" fmla="*/ 2 w 9"/>
                <a:gd name="T5" fmla="*/ 60 h 62"/>
                <a:gd name="T6" fmla="*/ 3 w 9"/>
                <a:gd name="T7" fmla="*/ 58 h 62"/>
                <a:gd name="T8" fmla="*/ 6 w 9"/>
                <a:gd name="T9" fmla="*/ 38 h 62"/>
                <a:gd name="T10" fmla="*/ 5 w 9"/>
                <a:gd name="T11" fmla="*/ 12 h 62"/>
                <a:gd name="T12" fmla="*/ 3 w 9"/>
                <a:gd name="T13" fmla="*/ 4 h 62"/>
                <a:gd name="T14" fmla="*/ 0 w 9"/>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2">
                  <a:moveTo>
                    <a:pt x="0" y="0"/>
                  </a:moveTo>
                  <a:cubicBezTo>
                    <a:pt x="9" y="28"/>
                    <a:pt x="6" y="43"/>
                    <a:pt x="1" y="62"/>
                  </a:cubicBezTo>
                  <a:cubicBezTo>
                    <a:pt x="2" y="60"/>
                    <a:pt x="2" y="60"/>
                    <a:pt x="2" y="60"/>
                  </a:cubicBezTo>
                  <a:cubicBezTo>
                    <a:pt x="2" y="59"/>
                    <a:pt x="3" y="58"/>
                    <a:pt x="3" y="58"/>
                  </a:cubicBezTo>
                  <a:cubicBezTo>
                    <a:pt x="4" y="52"/>
                    <a:pt x="5" y="46"/>
                    <a:pt x="6" y="38"/>
                  </a:cubicBezTo>
                  <a:cubicBezTo>
                    <a:pt x="7" y="30"/>
                    <a:pt x="7" y="21"/>
                    <a:pt x="5" y="12"/>
                  </a:cubicBezTo>
                  <a:cubicBezTo>
                    <a:pt x="4" y="9"/>
                    <a:pt x="4" y="6"/>
                    <a:pt x="3" y="4"/>
                  </a:cubicBezTo>
                  <a:cubicBezTo>
                    <a:pt x="2" y="3"/>
                    <a:pt x="1" y="1"/>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8">
              <a:extLst>
                <a:ext uri="{FF2B5EF4-FFF2-40B4-BE49-F238E27FC236}">
                  <a16:creationId xmlns:a16="http://schemas.microsoft.com/office/drawing/2014/main" id="{AAE87DF8-80BE-4BB3-878D-8DC7F2BBF2D7}"/>
                </a:ext>
              </a:extLst>
            </p:cNvPr>
            <p:cNvSpPr>
              <a:spLocks/>
            </p:cNvSpPr>
            <p:nvPr/>
          </p:nvSpPr>
          <p:spPr bwMode="auto">
            <a:xfrm>
              <a:off x="3280" y="3635"/>
              <a:ext cx="242" cy="447"/>
            </a:xfrm>
            <a:custGeom>
              <a:avLst/>
              <a:gdLst>
                <a:gd name="T0" fmla="*/ 242 w 242"/>
                <a:gd name="T1" fmla="*/ 19 h 447"/>
                <a:gd name="T2" fmla="*/ 213 w 242"/>
                <a:gd name="T3" fmla="*/ 447 h 447"/>
                <a:gd name="T4" fmla="*/ 28 w 242"/>
                <a:gd name="T5" fmla="*/ 444 h 447"/>
                <a:gd name="T6" fmla="*/ 0 w 242"/>
                <a:gd name="T7" fmla="*/ 0 h 447"/>
                <a:gd name="T8" fmla="*/ 242 w 242"/>
                <a:gd name="T9" fmla="*/ 19 h 447"/>
              </a:gdLst>
              <a:ahLst/>
              <a:cxnLst>
                <a:cxn ang="0">
                  <a:pos x="T0" y="T1"/>
                </a:cxn>
                <a:cxn ang="0">
                  <a:pos x="T2" y="T3"/>
                </a:cxn>
                <a:cxn ang="0">
                  <a:pos x="T4" y="T5"/>
                </a:cxn>
                <a:cxn ang="0">
                  <a:pos x="T6" y="T7"/>
                </a:cxn>
                <a:cxn ang="0">
                  <a:pos x="T8" y="T9"/>
                </a:cxn>
              </a:cxnLst>
              <a:rect l="0" t="0" r="r" b="b"/>
              <a:pathLst>
                <a:path w="242" h="447">
                  <a:moveTo>
                    <a:pt x="242" y="19"/>
                  </a:moveTo>
                  <a:lnTo>
                    <a:pt x="213" y="447"/>
                  </a:lnTo>
                  <a:lnTo>
                    <a:pt x="28" y="444"/>
                  </a:lnTo>
                  <a:lnTo>
                    <a:pt x="0" y="0"/>
                  </a:lnTo>
                  <a:lnTo>
                    <a:pt x="242" y="19"/>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9">
              <a:extLst>
                <a:ext uri="{FF2B5EF4-FFF2-40B4-BE49-F238E27FC236}">
                  <a16:creationId xmlns:a16="http://schemas.microsoft.com/office/drawing/2014/main" id="{27953D32-C2B6-4197-8282-D10DF1F042E9}"/>
                </a:ext>
              </a:extLst>
            </p:cNvPr>
            <p:cNvSpPr>
              <a:spLocks/>
            </p:cNvSpPr>
            <p:nvPr/>
          </p:nvSpPr>
          <p:spPr bwMode="auto">
            <a:xfrm>
              <a:off x="3296" y="4020"/>
              <a:ext cx="413" cy="140"/>
            </a:xfrm>
            <a:custGeom>
              <a:avLst/>
              <a:gdLst>
                <a:gd name="T0" fmla="*/ 85 w 174"/>
                <a:gd name="T1" fmla="*/ 2 h 59"/>
                <a:gd name="T2" fmla="*/ 86 w 174"/>
                <a:gd name="T3" fmla="*/ 7 h 59"/>
                <a:gd name="T4" fmla="*/ 174 w 174"/>
                <a:gd name="T5" fmla="*/ 59 h 59"/>
                <a:gd name="T6" fmla="*/ 0 w 174"/>
                <a:gd name="T7" fmla="*/ 58 h 59"/>
                <a:gd name="T8" fmla="*/ 2 w 174"/>
                <a:gd name="T9" fmla="*/ 0 h 59"/>
                <a:gd name="T10" fmla="*/ 85 w 174"/>
                <a:gd name="T11" fmla="*/ 2 h 59"/>
              </a:gdLst>
              <a:ahLst/>
              <a:cxnLst>
                <a:cxn ang="0">
                  <a:pos x="T0" y="T1"/>
                </a:cxn>
                <a:cxn ang="0">
                  <a:pos x="T2" y="T3"/>
                </a:cxn>
                <a:cxn ang="0">
                  <a:pos x="T4" y="T5"/>
                </a:cxn>
                <a:cxn ang="0">
                  <a:pos x="T6" y="T7"/>
                </a:cxn>
                <a:cxn ang="0">
                  <a:pos x="T8" y="T9"/>
                </a:cxn>
                <a:cxn ang="0">
                  <a:pos x="T10" y="T11"/>
                </a:cxn>
              </a:cxnLst>
              <a:rect l="0" t="0" r="r" b="b"/>
              <a:pathLst>
                <a:path w="174" h="59">
                  <a:moveTo>
                    <a:pt x="85" y="2"/>
                  </a:moveTo>
                  <a:cubicBezTo>
                    <a:pt x="86" y="7"/>
                    <a:pt x="86" y="7"/>
                    <a:pt x="86" y="7"/>
                  </a:cubicBezTo>
                  <a:cubicBezTo>
                    <a:pt x="86" y="7"/>
                    <a:pt x="173" y="43"/>
                    <a:pt x="174" y="59"/>
                  </a:cubicBezTo>
                  <a:cubicBezTo>
                    <a:pt x="0" y="58"/>
                    <a:pt x="0" y="58"/>
                    <a:pt x="0" y="58"/>
                  </a:cubicBezTo>
                  <a:cubicBezTo>
                    <a:pt x="2" y="0"/>
                    <a:pt x="2" y="0"/>
                    <a:pt x="2" y="0"/>
                  </a:cubicBezTo>
                  <a:cubicBezTo>
                    <a:pt x="28" y="12"/>
                    <a:pt x="55" y="14"/>
                    <a:pt x="85" y="2"/>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0">
              <a:extLst>
                <a:ext uri="{FF2B5EF4-FFF2-40B4-BE49-F238E27FC236}">
                  <a16:creationId xmlns:a16="http://schemas.microsoft.com/office/drawing/2014/main" id="{9CEDB61C-9002-41D3-B572-547B37B22F4E}"/>
                </a:ext>
              </a:extLst>
            </p:cNvPr>
            <p:cNvSpPr>
              <a:spLocks/>
            </p:cNvSpPr>
            <p:nvPr/>
          </p:nvSpPr>
          <p:spPr bwMode="auto">
            <a:xfrm>
              <a:off x="3330" y="4060"/>
              <a:ext cx="35" cy="38"/>
            </a:xfrm>
            <a:custGeom>
              <a:avLst/>
              <a:gdLst>
                <a:gd name="T0" fmla="*/ 6 w 15"/>
                <a:gd name="T1" fmla="*/ 2 h 16"/>
                <a:gd name="T2" fmla="*/ 1 w 15"/>
                <a:gd name="T3" fmla="*/ 10 h 16"/>
                <a:gd name="T4" fmla="*/ 9 w 15"/>
                <a:gd name="T5" fmla="*/ 15 h 16"/>
                <a:gd name="T6" fmla="*/ 14 w 15"/>
                <a:gd name="T7" fmla="*/ 6 h 16"/>
                <a:gd name="T8" fmla="*/ 5 w 15"/>
                <a:gd name="T9" fmla="*/ 2 h 16"/>
              </a:gdLst>
              <a:ahLst/>
              <a:cxnLst>
                <a:cxn ang="0">
                  <a:pos x="T0" y="T1"/>
                </a:cxn>
                <a:cxn ang="0">
                  <a:pos x="T2" y="T3"/>
                </a:cxn>
                <a:cxn ang="0">
                  <a:pos x="T4" y="T5"/>
                </a:cxn>
                <a:cxn ang="0">
                  <a:pos x="T6" y="T7"/>
                </a:cxn>
                <a:cxn ang="0">
                  <a:pos x="T8" y="T9"/>
                </a:cxn>
              </a:cxnLst>
              <a:rect l="0" t="0" r="r" b="b"/>
              <a:pathLst>
                <a:path w="15" h="16">
                  <a:moveTo>
                    <a:pt x="6" y="2"/>
                  </a:moveTo>
                  <a:cubicBezTo>
                    <a:pt x="3" y="3"/>
                    <a:pt x="0" y="7"/>
                    <a:pt x="1" y="10"/>
                  </a:cubicBezTo>
                  <a:cubicBezTo>
                    <a:pt x="2" y="13"/>
                    <a:pt x="6" y="16"/>
                    <a:pt x="9" y="15"/>
                  </a:cubicBezTo>
                  <a:cubicBezTo>
                    <a:pt x="12" y="14"/>
                    <a:pt x="15" y="10"/>
                    <a:pt x="14" y="6"/>
                  </a:cubicBezTo>
                  <a:cubicBezTo>
                    <a:pt x="13" y="3"/>
                    <a:pt x="8" y="0"/>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1">
              <a:extLst>
                <a:ext uri="{FF2B5EF4-FFF2-40B4-BE49-F238E27FC236}">
                  <a16:creationId xmlns:a16="http://schemas.microsoft.com/office/drawing/2014/main" id="{D02B68F5-FCDB-47F6-9EB6-DF2E266414A3}"/>
                </a:ext>
              </a:extLst>
            </p:cNvPr>
            <p:cNvSpPr>
              <a:spLocks/>
            </p:cNvSpPr>
            <p:nvPr/>
          </p:nvSpPr>
          <p:spPr bwMode="auto">
            <a:xfrm>
              <a:off x="3296" y="4125"/>
              <a:ext cx="416" cy="35"/>
            </a:xfrm>
            <a:custGeom>
              <a:avLst/>
              <a:gdLst>
                <a:gd name="T0" fmla="*/ 0 w 175"/>
                <a:gd name="T1" fmla="*/ 14 h 15"/>
                <a:gd name="T2" fmla="*/ 0 w 175"/>
                <a:gd name="T3" fmla="*/ 0 h 15"/>
                <a:gd name="T4" fmla="*/ 168 w 175"/>
                <a:gd name="T5" fmla="*/ 6 h 15"/>
                <a:gd name="T6" fmla="*/ 174 w 175"/>
                <a:gd name="T7" fmla="*/ 15 h 15"/>
                <a:gd name="T8" fmla="*/ 0 w 175"/>
                <a:gd name="T9" fmla="*/ 14 h 15"/>
              </a:gdLst>
              <a:ahLst/>
              <a:cxnLst>
                <a:cxn ang="0">
                  <a:pos x="T0" y="T1"/>
                </a:cxn>
                <a:cxn ang="0">
                  <a:pos x="T2" y="T3"/>
                </a:cxn>
                <a:cxn ang="0">
                  <a:pos x="T4" y="T5"/>
                </a:cxn>
                <a:cxn ang="0">
                  <a:pos x="T6" y="T7"/>
                </a:cxn>
                <a:cxn ang="0">
                  <a:pos x="T8" y="T9"/>
                </a:cxn>
              </a:cxnLst>
              <a:rect l="0" t="0" r="r" b="b"/>
              <a:pathLst>
                <a:path w="175" h="15">
                  <a:moveTo>
                    <a:pt x="0" y="14"/>
                  </a:moveTo>
                  <a:cubicBezTo>
                    <a:pt x="0" y="0"/>
                    <a:pt x="0" y="0"/>
                    <a:pt x="0" y="0"/>
                  </a:cubicBezTo>
                  <a:cubicBezTo>
                    <a:pt x="168" y="6"/>
                    <a:pt x="168" y="6"/>
                    <a:pt x="168" y="6"/>
                  </a:cubicBezTo>
                  <a:cubicBezTo>
                    <a:pt x="168" y="6"/>
                    <a:pt x="175" y="10"/>
                    <a:pt x="174" y="15"/>
                  </a:cubicBezTo>
                  <a:lnTo>
                    <a:pt x="0" y="14"/>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2">
              <a:extLst>
                <a:ext uri="{FF2B5EF4-FFF2-40B4-BE49-F238E27FC236}">
                  <a16:creationId xmlns:a16="http://schemas.microsoft.com/office/drawing/2014/main" id="{E5CE6CC5-4996-4D74-9F52-6BA9068C7E5D}"/>
                </a:ext>
              </a:extLst>
            </p:cNvPr>
            <p:cNvSpPr>
              <a:spLocks/>
            </p:cNvSpPr>
            <p:nvPr/>
          </p:nvSpPr>
          <p:spPr bwMode="auto">
            <a:xfrm>
              <a:off x="3463" y="4034"/>
              <a:ext cx="38" cy="29"/>
            </a:xfrm>
            <a:custGeom>
              <a:avLst/>
              <a:gdLst>
                <a:gd name="T0" fmla="*/ 16 w 16"/>
                <a:gd name="T1" fmla="*/ 2 h 12"/>
                <a:gd name="T2" fmla="*/ 8 w 16"/>
                <a:gd name="T3" fmla="*/ 6 h 12"/>
                <a:gd name="T4" fmla="*/ 0 w 16"/>
                <a:gd name="T5" fmla="*/ 12 h 12"/>
                <a:gd name="T6" fmla="*/ 6 w 16"/>
                <a:gd name="T7" fmla="*/ 3 h 12"/>
                <a:gd name="T8" fmla="*/ 16 w 16"/>
                <a:gd name="T9" fmla="*/ 2 h 12"/>
              </a:gdLst>
              <a:ahLst/>
              <a:cxnLst>
                <a:cxn ang="0">
                  <a:pos x="T0" y="T1"/>
                </a:cxn>
                <a:cxn ang="0">
                  <a:pos x="T2" y="T3"/>
                </a:cxn>
                <a:cxn ang="0">
                  <a:pos x="T4" y="T5"/>
                </a:cxn>
                <a:cxn ang="0">
                  <a:pos x="T6" y="T7"/>
                </a:cxn>
                <a:cxn ang="0">
                  <a:pos x="T8" y="T9"/>
                </a:cxn>
              </a:cxnLst>
              <a:rect l="0" t="0" r="r" b="b"/>
              <a:pathLst>
                <a:path w="16" h="12">
                  <a:moveTo>
                    <a:pt x="16" y="2"/>
                  </a:moveTo>
                  <a:cubicBezTo>
                    <a:pt x="16" y="3"/>
                    <a:pt x="12" y="3"/>
                    <a:pt x="8" y="6"/>
                  </a:cubicBezTo>
                  <a:cubicBezTo>
                    <a:pt x="3" y="8"/>
                    <a:pt x="1" y="12"/>
                    <a:pt x="0" y="12"/>
                  </a:cubicBezTo>
                  <a:cubicBezTo>
                    <a:pt x="0" y="11"/>
                    <a:pt x="1" y="6"/>
                    <a:pt x="6" y="3"/>
                  </a:cubicBezTo>
                  <a:cubicBezTo>
                    <a:pt x="11" y="0"/>
                    <a:pt x="16" y="1"/>
                    <a:pt x="16"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3">
              <a:extLst>
                <a:ext uri="{FF2B5EF4-FFF2-40B4-BE49-F238E27FC236}">
                  <a16:creationId xmlns:a16="http://schemas.microsoft.com/office/drawing/2014/main" id="{BF78CB90-47EA-4CFD-A0D8-702E28AB439D}"/>
                </a:ext>
              </a:extLst>
            </p:cNvPr>
            <p:cNvSpPr>
              <a:spLocks/>
            </p:cNvSpPr>
            <p:nvPr/>
          </p:nvSpPr>
          <p:spPr bwMode="auto">
            <a:xfrm>
              <a:off x="3515" y="4056"/>
              <a:ext cx="31" cy="33"/>
            </a:xfrm>
            <a:custGeom>
              <a:avLst/>
              <a:gdLst>
                <a:gd name="T0" fmla="*/ 12 w 13"/>
                <a:gd name="T1" fmla="*/ 0 h 14"/>
                <a:gd name="T2" fmla="*/ 6 w 13"/>
                <a:gd name="T3" fmla="*/ 6 h 14"/>
                <a:gd name="T4" fmla="*/ 1 w 13"/>
                <a:gd name="T5" fmla="*/ 14 h 14"/>
                <a:gd name="T6" fmla="*/ 4 w 13"/>
                <a:gd name="T7" fmla="*/ 4 h 14"/>
                <a:gd name="T8" fmla="*/ 12 w 13"/>
                <a:gd name="T9" fmla="*/ 0 h 14"/>
              </a:gdLst>
              <a:ahLst/>
              <a:cxnLst>
                <a:cxn ang="0">
                  <a:pos x="T0" y="T1"/>
                </a:cxn>
                <a:cxn ang="0">
                  <a:pos x="T2" y="T3"/>
                </a:cxn>
                <a:cxn ang="0">
                  <a:pos x="T4" y="T5"/>
                </a:cxn>
                <a:cxn ang="0">
                  <a:pos x="T6" y="T7"/>
                </a:cxn>
                <a:cxn ang="0">
                  <a:pos x="T8" y="T9"/>
                </a:cxn>
              </a:cxnLst>
              <a:rect l="0" t="0" r="r" b="b"/>
              <a:pathLst>
                <a:path w="13" h="14">
                  <a:moveTo>
                    <a:pt x="12" y="0"/>
                  </a:moveTo>
                  <a:cubicBezTo>
                    <a:pt x="13" y="1"/>
                    <a:pt x="9" y="3"/>
                    <a:pt x="6" y="6"/>
                  </a:cubicBezTo>
                  <a:cubicBezTo>
                    <a:pt x="3" y="10"/>
                    <a:pt x="2" y="14"/>
                    <a:pt x="1" y="14"/>
                  </a:cubicBezTo>
                  <a:cubicBezTo>
                    <a:pt x="1" y="14"/>
                    <a:pt x="0" y="9"/>
                    <a:pt x="4" y="4"/>
                  </a:cubicBezTo>
                  <a:cubicBezTo>
                    <a:pt x="7" y="0"/>
                    <a:pt x="12" y="0"/>
                    <a:pt x="1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4">
              <a:extLst>
                <a:ext uri="{FF2B5EF4-FFF2-40B4-BE49-F238E27FC236}">
                  <a16:creationId xmlns:a16="http://schemas.microsoft.com/office/drawing/2014/main" id="{0104D882-F3FA-41B4-AE0D-D43F4CE09CE8}"/>
                </a:ext>
              </a:extLst>
            </p:cNvPr>
            <p:cNvSpPr>
              <a:spLocks/>
            </p:cNvSpPr>
            <p:nvPr/>
          </p:nvSpPr>
          <p:spPr bwMode="auto">
            <a:xfrm>
              <a:off x="3565" y="4072"/>
              <a:ext cx="21" cy="38"/>
            </a:xfrm>
            <a:custGeom>
              <a:avLst/>
              <a:gdLst>
                <a:gd name="T0" fmla="*/ 2 w 9"/>
                <a:gd name="T1" fmla="*/ 15 h 16"/>
                <a:gd name="T2" fmla="*/ 2 w 9"/>
                <a:gd name="T3" fmla="*/ 7 h 16"/>
                <a:gd name="T4" fmla="*/ 9 w 9"/>
                <a:gd name="T5" fmla="*/ 1 h 16"/>
                <a:gd name="T6" fmla="*/ 5 w 9"/>
                <a:gd name="T7" fmla="*/ 8 h 16"/>
                <a:gd name="T8" fmla="*/ 2 w 9"/>
                <a:gd name="T9" fmla="*/ 15 h 16"/>
              </a:gdLst>
              <a:ahLst/>
              <a:cxnLst>
                <a:cxn ang="0">
                  <a:pos x="T0" y="T1"/>
                </a:cxn>
                <a:cxn ang="0">
                  <a:pos x="T2" y="T3"/>
                </a:cxn>
                <a:cxn ang="0">
                  <a:pos x="T4" y="T5"/>
                </a:cxn>
                <a:cxn ang="0">
                  <a:pos x="T6" y="T7"/>
                </a:cxn>
                <a:cxn ang="0">
                  <a:pos x="T8" y="T9"/>
                </a:cxn>
              </a:cxnLst>
              <a:rect l="0" t="0" r="r" b="b"/>
              <a:pathLst>
                <a:path w="9" h="16">
                  <a:moveTo>
                    <a:pt x="2" y="15"/>
                  </a:moveTo>
                  <a:cubicBezTo>
                    <a:pt x="1" y="16"/>
                    <a:pt x="0" y="11"/>
                    <a:pt x="2" y="7"/>
                  </a:cubicBezTo>
                  <a:cubicBezTo>
                    <a:pt x="4" y="2"/>
                    <a:pt x="8" y="0"/>
                    <a:pt x="9" y="1"/>
                  </a:cubicBezTo>
                  <a:cubicBezTo>
                    <a:pt x="9" y="2"/>
                    <a:pt x="6" y="4"/>
                    <a:pt x="5" y="8"/>
                  </a:cubicBezTo>
                  <a:cubicBezTo>
                    <a:pt x="3" y="12"/>
                    <a:pt x="3" y="15"/>
                    <a:pt x="2"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5">
              <a:extLst>
                <a:ext uri="{FF2B5EF4-FFF2-40B4-BE49-F238E27FC236}">
                  <a16:creationId xmlns:a16="http://schemas.microsoft.com/office/drawing/2014/main" id="{F3D6ED24-6911-4A87-880B-6DEE23953DEA}"/>
                </a:ext>
              </a:extLst>
            </p:cNvPr>
            <p:cNvSpPr>
              <a:spLocks/>
            </p:cNvSpPr>
            <p:nvPr/>
          </p:nvSpPr>
          <p:spPr bwMode="auto">
            <a:xfrm>
              <a:off x="3068" y="442"/>
              <a:ext cx="518" cy="487"/>
            </a:xfrm>
            <a:custGeom>
              <a:avLst/>
              <a:gdLst>
                <a:gd name="T0" fmla="*/ 177 w 218"/>
                <a:gd name="T1" fmla="*/ 41 h 205"/>
                <a:gd name="T2" fmla="*/ 166 w 218"/>
                <a:gd name="T3" fmla="*/ 9 h 205"/>
                <a:gd name="T4" fmla="*/ 132 w 218"/>
                <a:gd name="T5" fmla="*/ 2 h 205"/>
                <a:gd name="T6" fmla="*/ 97 w 218"/>
                <a:gd name="T7" fmla="*/ 14 h 205"/>
                <a:gd name="T8" fmla="*/ 58 w 218"/>
                <a:gd name="T9" fmla="*/ 5 h 205"/>
                <a:gd name="T10" fmla="*/ 32 w 218"/>
                <a:gd name="T11" fmla="*/ 36 h 205"/>
                <a:gd name="T12" fmla="*/ 8 w 218"/>
                <a:gd name="T13" fmla="*/ 43 h 205"/>
                <a:gd name="T14" fmla="*/ 3 w 218"/>
                <a:gd name="T15" fmla="*/ 68 h 205"/>
                <a:gd name="T16" fmla="*/ 57 w 218"/>
                <a:gd name="T17" fmla="*/ 87 h 205"/>
                <a:gd name="T18" fmla="*/ 116 w 218"/>
                <a:gd name="T19" fmla="*/ 191 h 205"/>
                <a:gd name="T20" fmla="*/ 178 w 218"/>
                <a:gd name="T21" fmla="*/ 190 h 205"/>
                <a:gd name="T22" fmla="*/ 186 w 218"/>
                <a:gd name="T23" fmla="*/ 128 h 205"/>
                <a:gd name="T24" fmla="*/ 194 w 218"/>
                <a:gd name="T25" fmla="*/ 118 h 205"/>
                <a:gd name="T26" fmla="*/ 213 w 218"/>
                <a:gd name="T27" fmla="*/ 92 h 205"/>
                <a:gd name="T28" fmla="*/ 177 w 218"/>
                <a:gd name="T29" fmla="*/ 4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205">
                  <a:moveTo>
                    <a:pt x="177" y="41"/>
                  </a:moveTo>
                  <a:cubicBezTo>
                    <a:pt x="182" y="30"/>
                    <a:pt x="176" y="16"/>
                    <a:pt x="166" y="9"/>
                  </a:cubicBezTo>
                  <a:cubicBezTo>
                    <a:pt x="157" y="2"/>
                    <a:pt x="144" y="1"/>
                    <a:pt x="132" y="2"/>
                  </a:cubicBezTo>
                  <a:cubicBezTo>
                    <a:pt x="120" y="4"/>
                    <a:pt x="109" y="9"/>
                    <a:pt x="97" y="14"/>
                  </a:cubicBezTo>
                  <a:cubicBezTo>
                    <a:pt x="87" y="4"/>
                    <a:pt x="72" y="0"/>
                    <a:pt x="58" y="5"/>
                  </a:cubicBezTo>
                  <a:cubicBezTo>
                    <a:pt x="45" y="9"/>
                    <a:pt x="34" y="22"/>
                    <a:pt x="32" y="36"/>
                  </a:cubicBezTo>
                  <a:cubicBezTo>
                    <a:pt x="23" y="33"/>
                    <a:pt x="14" y="36"/>
                    <a:pt x="8" y="43"/>
                  </a:cubicBezTo>
                  <a:cubicBezTo>
                    <a:pt x="2" y="50"/>
                    <a:pt x="0" y="59"/>
                    <a:pt x="3" y="68"/>
                  </a:cubicBezTo>
                  <a:cubicBezTo>
                    <a:pt x="57" y="87"/>
                    <a:pt x="57" y="87"/>
                    <a:pt x="57" y="87"/>
                  </a:cubicBezTo>
                  <a:cubicBezTo>
                    <a:pt x="116" y="191"/>
                    <a:pt x="116" y="191"/>
                    <a:pt x="116" y="191"/>
                  </a:cubicBezTo>
                  <a:cubicBezTo>
                    <a:pt x="133" y="205"/>
                    <a:pt x="162" y="205"/>
                    <a:pt x="178" y="190"/>
                  </a:cubicBezTo>
                  <a:cubicBezTo>
                    <a:pt x="195" y="175"/>
                    <a:pt x="199" y="147"/>
                    <a:pt x="186" y="128"/>
                  </a:cubicBezTo>
                  <a:cubicBezTo>
                    <a:pt x="189" y="125"/>
                    <a:pt x="192" y="121"/>
                    <a:pt x="194" y="118"/>
                  </a:cubicBezTo>
                  <a:cubicBezTo>
                    <a:pt x="203" y="112"/>
                    <a:pt x="211" y="103"/>
                    <a:pt x="213" y="92"/>
                  </a:cubicBezTo>
                  <a:cubicBezTo>
                    <a:pt x="218" y="69"/>
                    <a:pt x="200" y="44"/>
                    <a:pt x="177" y="4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6">
              <a:extLst>
                <a:ext uri="{FF2B5EF4-FFF2-40B4-BE49-F238E27FC236}">
                  <a16:creationId xmlns:a16="http://schemas.microsoft.com/office/drawing/2014/main" id="{BB0FCAE1-A530-4DB7-8A4A-E36B2608CBF0}"/>
                </a:ext>
              </a:extLst>
            </p:cNvPr>
            <p:cNvSpPr>
              <a:spLocks/>
            </p:cNvSpPr>
            <p:nvPr/>
          </p:nvSpPr>
          <p:spPr bwMode="auto">
            <a:xfrm>
              <a:off x="3085" y="521"/>
              <a:ext cx="380" cy="672"/>
            </a:xfrm>
            <a:custGeom>
              <a:avLst/>
              <a:gdLst>
                <a:gd name="T0" fmla="*/ 134 w 160"/>
                <a:gd name="T1" fmla="*/ 225 h 283"/>
                <a:gd name="T2" fmla="*/ 129 w 160"/>
                <a:gd name="T3" fmla="*/ 196 h 283"/>
                <a:gd name="T4" fmla="*/ 158 w 160"/>
                <a:gd name="T5" fmla="*/ 139 h 283"/>
                <a:gd name="T6" fmla="*/ 141 w 160"/>
                <a:gd name="T7" fmla="*/ 54 h 283"/>
                <a:gd name="T8" fmla="*/ 85 w 160"/>
                <a:gd name="T9" fmla="*/ 9 h 283"/>
                <a:gd name="T10" fmla="*/ 9 w 160"/>
                <a:gd name="T11" fmla="*/ 46 h 283"/>
                <a:gd name="T12" fmla="*/ 1 w 160"/>
                <a:gd name="T13" fmla="*/ 63 h 283"/>
                <a:gd name="T14" fmla="*/ 2 w 160"/>
                <a:gd name="T15" fmla="*/ 67 h 283"/>
                <a:gd name="T16" fmla="*/ 31 w 160"/>
                <a:gd name="T17" fmla="*/ 190 h 283"/>
                <a:gd name="T18" fmla="*/ 44 w 160"/>
                <a:gd name="T19" fmla="*/ 244 h 283"/>
                <a:gd name="T20" fmla="*/ 95 w 160"/>
                <a:gd name="T21" fmla="*/ 280 h 283"/>
                <a:gd name="T22" fmla="*/ 134 w 160"/>
                <a:gd name="T23" fmla="*/ 22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283">
                  <a:moveTo>
                    <a:pt x="134" y="225"/>
                  </a:moveTo>
                  <a:cubicBezTo>
                    <a:pt x="131" y="208"/>
                    <a:pt x="129" y="196"/>
                    <a:pt x="129" y="196"/>
                  </a:cubicBezTo>
                  <a:cubicBezTo>
                    <a:pt x="129" y="196"/>
                    <a:pt x="160" y="184"/>
                    <a:pt x="158" y="139"/>
                  </a:cubicBezTo>
                  <a:cubicBezTo>
                    <a:pt x="157" y="117"/>
                    <a:pt x="149" y="82"/>
                    <a:pt x="141" y="54"/>
                  </a:cubicBezTo>
                  <a:cubicBezTo>
                    <a:pt x="134" y="29"/>
                    <a:pt x="110" y="0"/>
                    <a:pt x="85" y="9"/>
                  </a:cubicBezTo>
                  <a:cubicBezTo>
                    <a:pt x="9" y="46"/>
                    <a:pt x="9" y="46"/>
                    <a:pt x="9" y="46"/>
                  </a:cubicBezTo>
                  <a:cubicBezTo>
                    <a:pt x="1" y="48"/>
                    <a:pt x="0" y="55"/>
                    <a:pt x="1" y="63"/>
                  </a:cubicBezTo>
                  <a:cubicBezTo>
                    <a:pt x="2" y="67"/>
                    <a:pt x="2" y="67"/>
                    <a:pt x="2" y="67"/>
                  </a:cubicBezTo>
                  <a:cubicBezTo>
                    <a:pt x="31" y="190"/>
                    <a:pt x="31" y="190"/>
                    <a:pt x="31" y="190"/>
                  </a:cubicBezTo>
                  <a:cubicBezTo>
                    <a:pt x="44" y="244"/>
                    <a:pt x="44" y="244"/>
                    <a:pt x="44" y="244"/>
                  </a:cubicBezTo>
                  <a:cubicBezTo>
                    <a:pt x="49" y="268"/>
                    <a:pt x="72" y="283"/>
                    <a:pt x="95" y="280"/>
                  </a:cubicBezTo>
                  <a:cubicBezTo>
                    <a:pt x="122" y="276"/>
                    <a:pt x="139" y="251"/>
                    <a:pt x="134" y="225"/>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7">
              <a:extLst>
                <a:ext uri="{FF2B5EF4-FFF2-40B4-BE49-F238E27FC236}">
                  <a16:creationId xmlns:a16="http://schemas.microsoft.com/office/drawing/2014/main" id="{4A66FD00-E98F-4811-B0AC-3752AB5328BF}"/>
                </a:ext>
              </a:extLst>
            </p:cNvPr>
            <p:cNvSpPr>
              <a:spLocks/>
            </p:cNvSpPr>
            <p:nvPr/>
          </p:nvSpPr>
          <p:spPr bwMode="auto">
            <a:xfrm>
              <a:off x="3391" y="708"/>
              <a:ext cx="29" cy="29"/>
            </a:xfrm>
            <a:custGeom>
              <a:avLst/>
              <a:gdLst>
                <a:gd name="T0" fmla="*/ 11 w 12"/>
                <a:gd name="T1" fmla="*/ 5 h 12"/>
                <a:gd name="T2" fmla="*/ 7 w 12"/>
                <a:gd name="T3" fmla="*/ 11 h 12"/>
                <a:gd name="T4" fmla="*/ 0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1"/>
                  </a:cubicBezTo>
                  <a:cubicBezTo>
                    <a:pt x="4" y="12"/>
                    <a:pt x="1" y="10"/>
                    <a:pt x="0"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8">
              <a:extLst>
                <a:ext uri="{FF2B5EF4-FFF2-40B4-BE49-F238E27FC236}">
                  <a16:creationId xmlns:a16="http://schemas.microsoft.com/office/drawing/2014/main" id="{868156F7-2E2F-499B-9A37-6B53A88799DD}"/>
                </a:ext>
              </a:extLst>
            </p:cNvPr>
            <p:cNvSpPr>
              <a:spLocks/>
            </p:cNvSpPr>
            <p:nvPr/>
          </p:nvSpPr>
          <p:spPr bwMode="auto">
            <a:xfrm>
              <a:off x="3358" y="689"/>
              <a:ext cx="52" cy="22"/>
            </a:xfrm>
            <a:custGeom>
              <a:avLst/>
              <a:gdLst>
                <a:gd name="T0" fmla="*/ 22 w 22"/>
                <a:gd name="T1" fmla="*/ 4 h 9"/>
                <a:gd name="T2" fmla="*/ 11 w 22"/>
                <a:gd name="T3" fmla="*/ 4 h 9"/>
                <a:gd name="T4" fmla="*/ 0 w 22"/>
                <a:gd name="T5" fmla="*/ 9 h 9"/>
                <a:gd name="T6" fmla="*/ 2 w 22"/>
                <a:gd name="T7" fmla="*/ 5 h 9"/>
                <a:gd name="T8" fmla="*/ 10 w 22"/>
                <a:gd name="T9" fmla="*/ 1 h 9"/>
                <a:gd name="T10" fmla="*/ 19 w 22"/>
                <a:gd name="T11" fmla="*/ 2 h 9"/>
                <a:gd name="T12" fmla="*/ 22 w 22"/>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4"/>
                  </a:moveTo>
                  <a:cubicBezTo>
                    <a:pt x="22" y="5"/>
                    <a:pt x="17" y="3"/>
                    <a:pt x="11" y="4"/>
                  </a:cubicBezTo>
                  <a:cubicBezTo>
                    <a:pt x="5" y="5"/>
                    <a:pt x="1" y="9"/>
                    <a:pt x="0" y="9"/>
                  </a:cubicBezTo>
                  <a:cubicBezTo>
                    <a:pt x="0" y="8"/>
                    <a:pt x="0" y="7"/>
                    <a:pt x="2" y="5"/>
                  </a:cubicBezTo>
                  <a:cubicBezTo>
                    <a:pt x="4" y="3"/>
                    <a:pt x="6" y="1"/>
                    <a:pt x="10" y="1"/>
                  </a:cubicBezTo>
                  <a:cubicBezTo>
                    <a:pt x="14" y="0"/>
                    <a:pt x="17" y="1"/>
                    <a:pt x="19" y="2"/>
                  </a:cubicBezTo>
                  <a:cubicBezTo>
                    <a:pt x="21" y="3"/>
                    <a:pt x="22" y="4"/>
                    <a:pt x="22"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9">
              <a:extLst>
                <a:ext uri="{FF2B5EF4-FFF2-40B4-BE49-F238E27FC236}">
                  <a16:creationId xmlns:a16="http://schemas.microsoft.com/office/drawing/2014/main" id="{24805E67-2806-48A8-9C14-41D6A2800F9A}"/>
                </a:ext>
              </a:extLst>
            </p:cNvPr>
            <p:cNvSpPr>
              <a:spLocks/>
            </p:cNvSpPr>
            <p:nvPr/>
          </p:nvSpPr>
          <p:spPr bwMode="auto">
            <a:xfrm>
              <a:off x="3254" y="739"/>
              <a:ext cx="28" cy="29"/>
            </a:xfrm>
            <a:custGeom>
              <a:avLst/>
              <a:gdLst>
                <a:gd name="T0" fmla="*/ 11 w 12"/>
                <a:gd name="T1" fmla="*/ 5 h 12"/>
                <a:gd name="T2" fmla="*/ 7 w 12"/>
                <a:gd name="T3" fmla="*/ 12 h 12"/>
                <a:gd name="T4" fmla="*/ 1 w 12"/>
                <a:gd name="T5" fmla="*/ 8 h 12"/>
                <a:gd name="T6" fmla="*/ 5 w 12"/>
                <a:gd name="T7" fmla="*/ 1 h 12"/>
                <a:gd name="T8" fmla="*/ 11 w 12"/>
                <a:gd name="T9" fmla="*/ 5 h 12"/>
              </a:gdLst>
              <a:ahLst/>
              <a:cxnLst>
                <a:cxn ang="0">
                  <a:pos x="T0" y="T1"/>
                </a:cxn>
                <a:cxn ang="0">
                  <a:pos x="T2" y="T3"/>
                </a:cxn>
                <a:cxn ang="0">
                  <a:pos x="T4" y="T5"/>
                </a:cxn>
                <a:cxn ang="0">
                  <a:pos x="T6" y="T7"/>
                </a:cxn>
                <a:cxn ang="0">
                  <a:pos x="T8" y="T9"/>
                </a:cxn>
              </a:cxnLst>
              <a:rect l="0" t="0" r="r" b="b"/>
              <a:pathLst>
                <a:path w="12" h="12">
                  <a:moveTo>
                    <a:pt x="11" y="5"/>
                  </a:moveTo>
                  <a:cubicBezTo>
                    <a:pt x="12" y="8"/>
                    <a:pt x="10" y="11"/>
                    <a:pt x="7" y="12"/>
                  </a:cubicBezTo>
                  <a:cubicBezTo>
                    <a:pt x="4" y="12"/>
                    <a:pt x="1" y="11"/>
                    <a:pt x="1" y="8"/>
                  </a:cubicBezTo>
                  <a:cubicBezTo>
                    <a:pt x="0" y="5"/>
                    <a:pt x="2" y="2"/>
                    <a:pt x="5" y="1"/>
                  </a:cubicBezTo>
                  <a:cubicBezTo>
                    <a:pt x="8" y="0"/>
                    <a:pt x="11" y="2"/>
                    <a:pt x="11"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0">
              <a:extLst>
                <a:ext uri="{FF2B5EF4-FFF2-40B4-BE49-F238E27FC236}">
                  <a16:creationId xmlns:a16="http://schemas.microsoft.com/office/drawing/2014/main" id="{FE87BDA6-5462-41CF-9074-78A4D5A41EAC}"/>
                </a:ext>
              </a:extLst>
            </p:cNvPr>
            <p:cNvSpPr>
              <a:spLocks/>
            </p:cNvSpPr>
            <p:nvPr/>
          </p:nvSpPr>
          <p:spPr bwMode="auto">
            <a:xfrm>
              <a:off x="3220" y="722"/>
              <a:ext cx="55" cy="22"/>
            </a:xfrm>
            <a:custGeom>
              <a:avLst/>
              <a:gdLst>
                <a:gd name="T0" fmla="*/ 23 w 23"/>
                <a:gd name="T1" fmla="*/ 4 h 9"/>
                <a:gd name="T2" fmla="*/ 11 w 23"/>
                <a:gd name="T3" fmla="*/ 4 h 9"/>
                <a:gd name="T4" fmla="*/ 1 w 23"/>
                <a:gd name="T5" fmla="*/ 9 h 9"/>
                <a:gd name="T6" fmla="*/ 2 w 23"/>
                <a:gd name="T7" fmla="*/ 5 h 9"/>
                <a:gd name="T8" fmla="*/ 11 w 23"/>
                <a:gd name="T9" fmla="*/ 1 h 9"/>
                <a:gd name="T10" fmla="*/ 20 w 23"/>
                <a:gd name="T11" fmla="*/ 2 h 9"/>
                <a:gd name="T12" fmla="*/ 23 w 2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23" h="9">
                  <a:moveTo>
                    <a:pt x="23" y="4"/>
                  </a:moveTo>
                  <a:cubicBezTo>
                    <a:pt x="22" y="5"/>
                    <a:pt x="17" y="3"/>
                    <a:pt x="11" y="4"/>
                  </a:cubicBezTo>
                  <a:cubicBezTo>
                    <a:pt x="5" y="5"/>
                    <a:pt x="2" y="9"/>
                    <a:pt x="1" y="9"/>
                  </a:cubicBezTo>
                  <a:cubicBezTo>
                    <a:pt x="0" y="8"/>
                    <a:pt x="1" y="7"/>
                    <a:pt x="2" y="5"/>
                  </a:cubicBezTo>
                  <a:cubicBezTo>
                    <a:pt x="4" y="3"/>
                    <a:pt x="7" y="1"/>
                    <a:pt x="11" y="1"/>
                  </a:cubicBezTo>
                  <a:cubicBezTo>
                    <a:pt x="14" y="0"/>
                    <a:pt x="18" y="1"/>
                    <a:pt x="20" y="2"/>
                  </a:cubicBezTo>
                  <a:cubicBezTo>
                    <a:pt x="22" y="3"/>
                    <a:pt x="23" y="4"/>
                    <a:pt x="23"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1">
              <a:extLst>
                <a:ext uri="{FF2B5EF4-FFF2-40B4-BE49-F238E27FC236}">
                  <a16:creationId xmlns:a16="http://schemas.microsoft.com/office/drawing/2014/main" id="{29898E7F-FAC9-4046-9FD5-E4E7596F08E4}"/>
                </a:ext>
              </a:extLst>
            </p:cNvPr>
            <p:cNvSpPr>
              <a:spLocks/>
            </p:cNvSpPr>
            <p:nvPr/>
          </p:nvSpPr>
          <p:spPr bwMode="auto">
            <a:xfrm>
              <a:off x="3313" y="706"/>
              <a:ext cx="66" cy="116"/>
            </a:xfrm>
            <a:custGeom>
              <a:avLst/>
              <a:gdLst>
                <a:gd name="T0" fmla="*/ 14 w 28"/>
                <a:gd name="T1" fmla="*/ 49 h 49"/>
                <a:gd name="T2" fmla="*/ 23 w 28"/>
                <a:gd name="T3" fmla="*/ 45 h 49"/>
                <a:gd name="T4" fmla="*/ 26 w 28"/>
                <a:gd name="T5" fmla="*/ 43 h 49"/>
                <a:gd name="T6" fmla="*/ 24 w 28"/>
                <a:gd name="T7" fmla="*/ 39 h 49"/>
                <a:gd name="T8" fmla="*/ 17 w 28"/>
                <a:gd name="T9" fmla="*/ 28 h 49"/>
                <a:gd name="T10" fmla="*/ 1 w 28"/>
                <a:gd name="T11" fmla="*/ 0 h 49"/>
                <a:gd name="T12" fmla="*/ 19 w 28"/>
                <a:gd name="T13" fmla="*/ 27 h 49"/>
                <a:gd name="T14" fmla="*/ 26 w 28"/>
                <a:gd name="T15" fmla="*/ 37 h 49"/>
                <a:gd name="T16" fmla="*/ 28 w 28"/>
                <a:gd name="T17" fmla="*/ 43 h 49"/>
                <a:gd name="T18" fmla="*/ 26 w 28"/>
                <a:gd name="T19" fmla="*/ 46 h 49"/>
                <a:gd name="T20" fmla="*/ 23 w 28"/>
                <a:gd name="T21" fmla="*/ 47 h 49"/>
                <a:gd name="T22" fmla="*/ 14 w 2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9">
                  <a:moveTo>
                    <a:pt x="14" y="49"/>
                  </a:moveTo>
                  <a:cubicBezTo>
                    <a:pt x="14" y="49"/>
                    <a:pt x="17" y="47"/>
                    <a:pt x="23" y="45"/>
                  </a:cubicBezTo>
                  <a:cubicBezTo>
                    <a:pt x="24" y="45"/>
                    <a:pt x="26" y="44"/>
                    <a:pt x="26" y="43"/>
                  </a:cubicBezTo>
                  <a:cubicBezTo>
                    <a:pt x="26" y="42"/>
                    <a:pt x="25" y="40"/>
                    <a:pt x="24" y="39"/>
                  </a:cubicBezTo>
                  <a:cubicBezTo>
                    <a:pt x="22" y="35"/>
                    <a:pt x="19" y="32"/>
                    <a:pt x="17" y="28"/>
                  </a:cubicBezTo>
                  <a:cubicBezTo>
                    <a:pt x="7" y="13"/>
                    <a:pt x="0" y="0"/>
                    <a:pt x="1" y="0"/>
                  </a:cubicBezTo>
                  <a:cubicBezTo>
                    <a:pt x="1" y="0"/>
                    <a:pt x="10" y="11"/>
                    <a:pt x="19" y="27"/>
                  </a:cubicBezTo>
                  <a:cubicBezTo>
                    <a:pt x="22" y="30"/>
                    <a:pt x="24" y="34"/>
                    <a:pt x="26" y="37"/>
                  </a:cubicBezTo>
                  <a:cubicBezTo>
                    <a:pt x="27" y="39"/>
                    <a:pt x="28" y="41"/>
                    <a:pt x="28" y="43"/>
                  </a:cubicBezTo>
                  <a:cubicBezTo>
                    <a:pt x="28" y="44"/>
                    <a:pt x="27" y="45"/>
                    <a:pt x="26" y="46"/>
                  </a:cubicBezTo>
                  <a:cubicBezTo>
                    <a:pt x="25" y="46"/>
                    <a:pt x="24" y="47"/>
                    <a:pt x="23" y="47"/>
                  </a:cubicBezTo>
                  <a:cubicBezTo>
                    <a:pt x="18" y="48"/>
                    <a:pt x="14" y="49"/>
                    <a:pt x="14" y="4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2">
              <a:extLst>
                <a:ext uri="{FF2B5EF4-FFF2-40B4-BE49-F238E27FC236}">
                  <a16:creationId xmlns:a16="http://schemas.microsoft.com/office/drawing/2014/main" id="{4F838D81-2E8A-4F61-9F15-621EF46F4966}"/>
                </a:ext>
              </a:extLst>
            </p:cNvPr>
            <p:cNvSpPr>
              <a:spLocks/>
            </p:cNvSpPr>
            <p:nvPr/>
          </p:nvSpPr>
          <p:spPr bwMode="auto">
            <a:xfrm>
              <a:off x="3246" y="979"/>
              <a:ext cx="150" cy="64"/>
            </a:xfrm>
            <a:custGeom>
              <a:avLst/>
              <a:gdLst>
                <a:gd name="T0" fmla="*/ 61 w 63"/>
                <a:gd name="T1" fmla="*/ 3 h 27"/>
                <a:gd name="T2" fmla="*/ 0 w 63"/>
                <a:gd name="T3" fmla="*/ 0 h 27"/>
                <a:gd name="T4" fmla="*/ 63 w 63"/>
                <a:gd name="T5" fmla="*/ 14 h 27"/>
                <a:gd name="T6" fmla="*/ 61 w 63"/>
                <a:gd name="T7" fmla="*/ 3 h 27"/>
              </a:gdLst>
              <a:ahLst/>
              <a:cxnLst>
                <a:cxn ang="0">
                  <a:pos x="T0" y="T1"/>
                </a:cxn>
                <a:cxn ang="0">
                  <a:pos x="T2" y="T3"/>
                </a:cxn>
                <a:cxn ang="0">
                  <a:pos x="T4" y="T5"/>
                </a:cxn>
                <a:cxn ang="0">
                  <a:pos x="T6" y="T7"/>
                </a:cxn>
              </a:cxnLst>
              <a:rect l="0" t="0" r="r" b="b"/>
              <a:pathLst>
                <a:path w="63" h="27">
                  <a:moveTo>
                    <a:pt x="61" y="3"/>
                  </a:moveTo>
                  <a:cubicBezTo>
                    <a:pt x="61" y="3"/>
                    <a:pt x="32" y="11"/>
                    <a:pt x="0" y="0"/>
                  </a:cubicBezTo>
                  <a:cubicBezTo>
                    <a:pt x="0" y="0"/>
                    <a:pt x="21" y="27"/>
                    <a:pt x="63" y="14"/>
                  </a:cubicBezTo>
                  <a:lnTo>
                    <a:pt x="61" y="3"/>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3">
              <a:extLst>
                <a:ext uri="{FF2B5EF4-FFF2-40B4-BE49-F238E27FC236}">
                  <a16:creationId xmlns:a16="http://schemas.microsoft.com/office/drawing/2014/main" id="{6916B5D6-4990-4E4C-89CC-84D3E2A3E713}"/>
                </a:ext>
              </a:extLst>
            </p:cNvPr>
            <p:cNvSpPr>
              <a:spLocks/>
            </p:cNvSpPr>
            <p:nvPr/>
          </p:nvSpPr>
          <p:spPr bwMode="auto">
            <a:xfrm>
              <a:off x="3211" y="703"/>
              <a:ext cx="66" cy="29"/>
            </a:xfrm>
            <a:custGeom>
              <a:avLst/>
              <a:gdLst>
                <a:gd name="T0" fmla="*/ 28 w 28"/>
                <a:gd name="T1" fmla="*/ 4 h 12"/>
                <a:gd name="T2" fmla="*/ 14 w 28"/>
                <a:gd name="T3" fmla="*/ 7 h 12"/>
                <a:gd name="T4" fmla="*/ 1 w 28"/>
                <a:gd name="T5" fmla="*/ 10 h 12"/>
                <a:gd name="T6" fmla="*/ 3 w 28"/>
                <a:gd name="T7" fmla="*/ 6 h 12"/>
                <a:gd name="T8" fmla="*/ 13 w 28"/>
                <a:gd name="T9" fmla="*/ 1 h 12"/>
                <a:gd name="T10" fmla="*/ 24 w 28"/>
                <a:gd name="T11" fmla="*/ 1 h 12"/>
                <a:gd name="T12" fmla="*/ 28 w 28"/>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8" y="4"/>
                  </a:moveTo>
                  <a:cubicBezTo>
                    <a:pt x="27" y="5"/>
                    <a:pt x="21" y="5"/>
                    <a:pt x="14" y="7"/>
                  </a:cubicBezTo>
                  <a:cubicBezTo>
                    <a:pt x="7" y="9"/>
                    <a:pt x="2" y="12"/>
                    <a:pt x="1" y="10"/>
                  </a:cubicBezTo>
                  <a:cubicBezTo>
                    <a:pt x="0" y="9"/>
                    <a:pt x="1" y="8"/>
                    <a:pt x="3" y="6"/>
                  </a:cubicBezTo>
                  <a:cubicBezTo>
                    <a:pt x="5" y="4"/>
                    <a:pt x="9" y="2"/>
                    <a:pt x="13" y="1"/>
                  </a:cubicBezTo>
                  <a:cubicBezTo>
                    <a:pt x="17" y="0"/>
                    <a:pt x="21" y="0"/>
                    <a:pt x="24" y="1"/>
                  </a:cubicBezTo>
                  <a:cubicBezTo>
                    <a:pt x="26" y="2"/>
                    <a:pt x="28" y="3"/>
                    <a:pt x="28"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4">
              <a:extLst>
                <a:ext uri="{FF2B5EF4-FFF2-40B4-BE49-F238E27FC236}">
                  <a16:creationId xmlns:a16="http://schemas.microsoft.com/office/drawing/2014/main" id="{250DF00B-F43B-4DFE-8E31-705B53B16D3E}"/>
                </a:ext>
              </a:extLst>
            </p:cNvPr>
            <p:cNvSpPr>
              <a:spLocks/>
            </p:cNvSpPr>
            <p:nvPr/>
          </p:nvSpPr>
          <p:spPr bwMode="auto">
            <a:xfrm>
              <a:off x="3346" y="644"/>
              <a:ext cx="60" cy="24"/>
            </a:xfrm>
            <a:custGeom>
              <a:avLst/>
              <a:gdLst>
                <a:gd name="T0" fmla="*/ 25 w 25"/>
                <a:gd name="T1" fmla="*/ 4 h 10"/>
                <a:gd name="T2" fmla="*/ 13 w 25"/>
                <a:gd name="T3" fmla="*/ 7 h 10"/>
                <a:gd name="T4" fmla="*/ 1 w 25"/>
                <a:gd name="T5" fmla="*/ 9 h 10"/>
                <a:gd name="T6" fmla="*/ 3 w 25"/>
                <a:gd name="T7" fmla="*/ 5 h 10"/>
                <a:gd name="T8" fmla="*/ 12 w 25"/>
                <a:gd name="T9" fmla="*/ 1 h 10"/>
                <a:gd name="T10" fmla="*/ 22 w 25"/>
                <a:gd name="T11" fmla="*/ 1 h 10"/>
                <a:gd name="T12" fmla="*/ 25 w 25"/>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25" y="4"/>
                  </a:moveTo>
                  <a:cubicBezTo>
                    <a:pt x="24" y="6"/>
                    <a:pt x="19" y="5"/>
                    <a:pt x="13" y="7"/>
                  </a:cubicBezTo>
                  <a:cubicBezTo>
                    <a:pt x="7" y="8"/>
                    <a:pt x="2" y="10"/>
                    <a:pt x="1" y="9"/>
                  </a:cubicBezTo>
                  <a:cubicBezTo>
                    <a:pt x="0" y="8"/>
                    <a:pt x="1" y="7"/>
                    <a:pt x="3" y="5"/>
                  </a:cubicBezTo>
                  <a:cubicBezTo>
                    <a:pt x="4" y="3"/>
                    <a:pt x="8" y="1"/>
                    <a:pt x="12" y="1"/>
                  </a:cubicBezTo>
                  <a:cubicBezTo>
                    <a:pt x="16" y="0"/>
                    <a:pt x="20" y="0"/>
                    <a:pt x="22" y="1"/>
                  </a:cubicBezTo>
                  <a:cubicBezTo>
                    <a:pt x="24" y="2"/>
                    <a:pt x="25" y="3"/>
                    <a:pt x="25"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5">
              <a:extLst>
                <a:ext uri="{FF2B5EF4-FFF2-40B4-BE49-F238E27FC236}">
                  <a16:creationId xmlns:a16="http://schemas.microsoft.com/office/drawing/2014/main" id="{28EF4867-61F1-49FF-84FA-A31A9CF7A1D3}"/>
                </a:ext>
              </a:extLst>
            </p:cNvPr>
            <p:cNvSpPr>
              <a:spLocks/>
            </p:cNvSpPr>
            <p:nvPr/>
          </p:nvSpPr>
          <p:spPr bwMode="auto">
            <a:xfrm>
              <a:off x="3144" y="511"/>
              <a:ext cx="357" cy="169"/>
            </a:xfrm>
            <a:custGeom>
              <a:avLst/>
              <a:gdLst>
                <a:gd name="T0" fmla="*/ 2 w 150"/>
                <a:gd name="T1" fmla="*/ 21 h 71"/>
                <a:gd name="T2" fmla="*/ 18 w 150"/>
                <a:gd name="T3" fmla="*/ 42 h 71"/>
                <a:gd name="T4" fmla="*/ 43 w 150"/>
                <a:gd name="T5" fmla="*/ 43 h 71"/>
                <a:gd name="T6" fmla="*/ 63 w 150"/>
                <a:gd name="T7" fmla="*/ 38 h 71"/>
                <a:gd name="T8" fmla="*/ 78 w 150"/>
                <a:gd name="T9" fmla="*/ 53 h 71"/>
                <a:gd name="T10" fmla="*/ 108 w 150"/>
                <a:gd name="T11" fmla="*/ 50 h 71"/>
                <a:gd name="T12" fmla="*/ 128 w 150"/>
                <a:gd name="T13" fmla="*/ 62 h 71"/>
                <a:gd name="T14" fmla="*/ 150 w 150"/>
                <a:gd name="T15" fmla="*/ 67 h 71"/>
                <a:gd name="T16" fmla="*/ 143 w 150"/>
                <a:gd name="T17" fmla="*/ 48 h 71"/>
                <a:gd name="T18" fmla="*/ 128 w 150"/>
                <a:gd name="T19" fmla="*/ 34 h 71"/>
                <a:gd name="T20" fmla="*/ 117 w 150"/>
                <a:gd name="T21" fmla="*/ 31 h 71"/>
                <a:gd name="T22" fmla="*/ 102 w 150"/>
                <a:gd name="T23" fmla="*/ 12 h 71"/>
                <a:gd name="T24" fmla="*/ 74 w 150"/>
                <a:gd name="T25" fmla="*/ 1 h 71"/>
                <a:gd name="T26" fmla="*/ 48 w 150"/>
                <a:gd name="T27" fmla="*/ 6 h 71"/>
                <a:gd name="T28" fmla="*/ 29 w 150"/>
                <a:gd name="T29" fmla="*/ 3 h 71"/>
                <a:gd name="T30" fmla="*/ 0 w 150"/>
                <a:gd name="T31" fmla="*/ 2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71">
                  <a:moveTo>
                    <a:pt x="2" y="21"/>
                  </a:moveTo>
                  <a:cubicBezTo>
                    <a:pt x="4" y="30"/>
                    <a:pt x="10" y="37"/>
                    <a:pt x="18" y="42"/>
                  </a:cubicBezTo>
                  <a:cubicBezTo>
                    <a:pt x="25" y="46"/>
                    <a:pt x="35" y="46"/>
                    <a:pt x="43" y="43"/>
                  </a:cubicBezTo>
                  <a:cubicBezTo>
                    <a:pt x="50" y="40"/>
                    <a:pt x="56" y="36"/>
                    <a:pt x="63" y="38"/>
                  </a:cubicBezTo>
                  <a:cubicBezTo>
                    <a:pt x="69" y="40"/>
                    <a:pt x="71" y="49"/>
                    <a:pt x="78" y="53"/>
                  </a:cubicBezTo>
                  <a:cubicBezTo>
                    <a:pt x="87" y="58"/>
                    <a:pt x="97" y="49"/>
                    <a:pt x="108" y="50"/>
                  </a:cubicBezTo>
                  <a:cubicBezTo>
                    <a:pt x="116" y="51"/>
                    <a:pt x="122" y="57"/>
                    <a:pt x="128" y="62"/>
                  </a:cubicBezTo>
                  <a:cubicBezTo>
                    <a:pt x="134" y="67"/>
                    <a:pt x="143" y="71"/>
                    <a:pt x="150" y="67"/>
                  </a:cubicBezTo>
                  <a:cubicBezTo>
                    <a:pt x="148" y="61"/>
                    <a:pt x="146" y="54"/>
                    <a:pt x="143" y="48"/>
                  </a:cubicBezTo>
                  <a:cubicBezTo>
                    <a:pt x="139" y="42"/>
                    <a:pt x="134" y="37"/>
                    <a:pt x="128" y="34"/>
                  </a:cubicBezTo>
                  <a:cubicBezTo>
                    <a:pt x="124" y="33"/>
                    <a:pt x="121" y="32"/>
                    <a:pt x="117" y="31"/>
                  </a:cubicBezTo>
                  <a:cubicBezTo>
                    <a:pt x="110" y="27"/>
                    <a:pt x="107" y="18"/>
                    <a:pt x="102" y="12"/>
                  </a:cubicBezTo>
                  <a:cubicBezTo>
                    <a:pt x="95" y="4"/>
                    <a:pt x="84" y="0"/>
                    <a:pt x="74" y="1"/>
                  </a:cubicBezTo>
                  <a:cubicBezTo>
                    <a:pt x="65" y="2"/>
                    <a:pt x="57" y="6"/>
                    <a:pt x="48" y="6"/>
                  </a:cubicBezTo>
                  <a:cubicBezTo>
                    <a:pt x="42" y="6"/>
                    <a:pt x="35" y="3"/>
                    <a:pt x="29" y="3"/>
                  </a:cubicBezTo>
                  <a:cubicBezTo>
                    <a:pt x="16" y="3"/>
                    <a:pt x="7" y="14"/>
                    <a:pt x="0" y="2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6">
              <a:extLst>
                <a:ext uri="{FF2B5EF4-FFF2-40B4-BE49-F238E27FC236}">
                  <a16:creationId xmlns:a16="http://schemas.microsoft.com/office/drawing/2014/main" id="{7F58A687-0BC1-4E5F-AAF6-A82B940A34B6}"/>
                </a:ext>
              </a:extLst>
            </p:cNvPr>
            <p:cNvSpPr>
              <a:spLocks/>
            </p:cNvSpPr>
            <p:nvPr/>
          </p:nvSpPr>
          <p:spPr bwMode="auto">
            <a:xfrm>
              <a:off x="2997" y="537"/>
              <a:ext cx="259" cy="437"/>
            </a:xfrm>
            <a:custGeom>
              <a:avLst/>
              <a:gdLst>
                <a:gd name="T0" fmla="*/ 107 w 109"/>
                <a:gd name="T1" fmla="*/ 19 h 184"/>
                <a:gd name="T2" fmla="*/ 85 w 109"/>
                <a:gd name="T3" fmla="*/ 14 h 184"/>
                <a:gd name="T4" fmla="*/ 53 w 109"/>
                <a:gd name="T5" fmla="*/ 3 h 184"/>
                <a:gd name="T6" fmla="*/ 33 w 109"/>
                <a:gd name="T7" fmla="*/ 30 h 184"/>
                <a:gd name="T8" fmla="*/ 4 w 109"/>
                <a:gd name="T9" fmla="*/ 58 h 184"/>
                <a:gd name="T10" fmla="*/ 14 w 109"/>
                <a:gd name="T11" fmla="*/ 100 h 184"/>
                <a:gd name="T12" fmla="*/ 20 w 109"/>
                <a:gd name="T13" fmla="*/ 110 h 184"/>
                <a:gd name="T14" fmla="*/ 13 w 109"/>
                <a:gd name="T15" fmla="*/ 121 h 184"/>
                <a:gd name="T16" fmla="*/ 29 w 109"/>
                <a:gd name="T17" fmla="*/ 149 h 184"/>
                <a:gd name="T18" fmla="*/ 49 w 109"/>
                <a:gd name="T19" fmla="*/ 162 h 184"/>
                <a:gd name="T20" fmla="*/ 68 w 109"/>
                <a:gd name="T21" fmla="*/ 183 h 184"/>
                <a:gd name="T22" fmla="*/ 62 w 109"/>
                <a:gd name="T23" fmla="*/ 116 h 184"/>
                <a:gd name="T24" fmla="*/ 65 w 109"/>
                <a:gd name="T25" fmla="*/ 117 h 184"/>
                <a:gd name="T26" fmla="*/ 71 w 109"/>
                <a:gd name="T27" fmla="*/ 81 h 184"/>
                <a:gd name="T28" fmla="*/ 82 w 109"/>
                <a:gd name="T29" fmla="*/ 63 h 184"/>
                <a:gd name="T30" fmla="*/ 83 w 109"/>
                <a:gd name="T31" fmla="*/ 32 h 184"/>
                <a:gd name="T32" fmla="*/ 107 w 109"/>
                <a:gd name="T33" fmla="*/ 1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 h="184">
                  <a:moveTo>
                    <a:pt x="107" y="19"/>
                  </a:moveTo>
                  <a:cubicBezTo>
                    <a:pt x="101" y="19"/>
                    <a:pt x="89" y="18"/>
                    <a:pt x="85" y="14"/>
                  </a:cubicBezTo>
                  <a:cubicBezTo>
                    <a:pt x="77" y="5"/>
                    <a:pt x="64" y="0"/>
                    <a:pt x="53" y="3"/>
                  </a:cubicBezTo>
                  <a:cubicBezTo>
                    <a:pt x="42" y="6"/>
                    <a:pt x="33" y="17"/>
                    <a:pt x="33" y="30"/>
                  </a:cubicBezTo>
                  <a:cubicBezTo>
                    <a:pt x="19" y="33"/>
                    <a:pt x="8" y="44"/>
                    <a:pt x="4" y="58"/>
                  </a:cubicBezTo>
                  <a:cubicBezTo>
                    <a:pt x="0" y="73"/>
                    <a:pt x="4" y="89"/>
                    <a:pt x="14" y="100"/>
                  </a:cubicBezTo>
                  <a:cubicBezTo>
                    <a:pt x="16" y="103"/>
                    <a:pt x="20" y="110"/>
                    <a:pt x="20" y="110"/>
                  </a:cubicBezTo>
                  <a:cubicBezTo>
                    <a:pt x="20" y="110"/>
                    <a:pt x="15" y="116"/>
                    <a:pt x="13" y="121"/>
                  </a:cubicBezTo>
                  <a:cubicBezTo>
                    <a:pt x="4" y="141"/>
                    <a:pt x="29" y="149"/>
                    <a:pt x="29" y="149"/>
                  </a:cubicBezTo>
                  <a:cubicBezTo>
                    <a:pt x="29" y="162"/>
                    <a:pt x="41" y="162"/>
                    <a:pt x="49" y="162"/>
                  </a:cubicBezTo>
                  <a:cubicBezTo>
                    <a:pt x="57" y="162"/>
                    <a:pt x="62" y="184"/>
                    <a:pt x="68" y="183"/>
                  </a:cubicBezTo>
                  <a:cubicBezTo>
                    <a:pt x="62" y="116"/>
                    <a:pt x="62" y="116"/>
                    <a:pt x="62" y="116"/>
                  </a:cubicBezTo>
                  <a:cubicBezTo>
                    <a:pt x="63" y="117"/>
                    <a:pt x="64" y="117"/>
                    <a:pt x="65" y="117"/>
                  </a:cubicBezTo>
                  <a:cubicBezTo>
                    <a:pt x="80" y="117"/>
                    <a:pt x="76" y="89"/>
                    <a:pt x="71" y="81"/>
                  </a:cubicBezTo>
                  <a:cubicBezTo>
                    <a:pt x="75" y="75"/>
                    <a:pt x="80" y="70"/>
                    <a:pt x="82" y="63"/>
                  </a:cubicBezTo>
                  <a:cubicBezTo>
                    <a:pt x="85" y="56"/>
                    <a:pt x="85" y="39"/>
                    <a:pt x="83" y="32"/>
                  </a:cubicBezTo>
                  <a:cubicBezTo>
                    <a:pt x="88" y="31"/>
                    <a:pt x="109" y="19"/>
                    <a:pt x="107" y="1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7">
              <a:extLst>
                <a:ext uri="{FF2B5EF4-FFF2-40B4-BE49-F238E27FC236}">
                  <a16:creationId xmlns:a16="http://schemas.microsoft.com/office/drawing/2014/main" id="{EBFBDA27-7EB6-4018-9494-9DF1CE913740}"/>
                </a:ext>
              </a:extLst>
            </p:cNvPr>
            <p:cNvSpPr>
              <a:spLocks/>
            </p:cNvSpPr>
            <p:nvPr/>
          </p:nvSpPr>
          <p:spPr bwMode="auto">
            <a:xfrm>
              <a:off x="3085" y="791"/>
              <a:ext cx="81" cy="121"/>
            </a:xfrm>
            <a:custGeom>
              <a:avLst/>
              <a:gdLst>
                <a:gd name="T0" fmla="*/ 27 w 34"/>
                <a:gd name="T1" fmla="*/ 13 h 51"/>
                <a:gd name="T2" fmla="*/ 7 w 34"/>
                <a:gd name="T3" fmla="*/ 6 h 51"/>
                <a:gd name="T4" fmla="*/ 3 w 34"/>
                <a:gd name="T5" fmla="*/ 25 h 51"/>
                <a:gd name="T6" fmla="*/ 34 w 34"/>
                <a:gd name="T7" fmla="*/ 38 h 51"/>
                <a:gd name="T8" fmla="*/ 27 w 34"/>
                <a:gd name="T9" fmla="*/ 13 h 51"/>
              </a:gdLst>
              <a:ahLst/>
              <a:cxnLst>
                <a:cxn ang="0">
                  <a:pos x="T0" y="T1"/>
                </a:cxn>
                <a:cxn ang="0">
                  <a:pos x="T2" y="T3"/>
                </a:cxn>
                <a:cxn ang="0">
                  <a:pos x="T4" y="T5"/>
                </a:cxn>
                <a:cxn ang="0">
                  <a:pos x="T6" y="T7"/>
                </a:cxn>
                <a:cxn ang="0">
                  <a:pos x="T8" y="T9"/>
                </a:cxn>
              </a:cxnLst>
              <a:rect l="0" t="0" r="r" b="b"/>
              <a:pathLst>
                <a:path w="34" h="51">
                  <a:moveTo>
                    <a:pt x="27" y="13"/>
                  </a:moveTo>
                  <a:cubicBezTo>
                    <a:pt x="25" y="4"/>
                    <a:pt x="14" y="0"/>
                    <a:pt x="7" y="6"/>
                  </a:cubicBezTo>
                  <a:cubicBezTo>
                    <a:pt x="3" y="9"/>
                    <a:pt x="0" y="15"/>
                    <a:pt x="3" y="25"/>
                  </a:cubicBezTo>
                  <a:cubicBezTo>
                    <a:pt x="9" y="51"/>
                    <a:pt x="34" y="39"/>
                    <a:pt x="34" y="38"/>
                  </a:cubicBezTo>
                  <a:cubicBezTo>
                    <a:pt x="34" y="38"/>
                    <a:pt x="30" y="24"/>
                    <a:pt x="27" y="13"/>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8">
              <a:extLst>
                <a:ext uri="{FF2B5EF4-FFF2-40B4-BE49-F238E27FC236}">
                  <a16:creationId xmlns:a16="http://schemas.microsoft.com/office/drawing/2014/main" id="{18472F5B-C7DE-4B64-962E-2AA53BF932B7}"/>
                </a:ext>
              </a:extLst>
            </p:cNvPr>
            <p:cNvSpPr>
              <a:spLocks/>
            </p:cNvSpPr>
            <p:nvPr/>
          </p:nvSpPr>
          <p:spPr bwMode="auto">
            <a:xfrm>
              <a:off x="3106" y="817"/>
              <a:ext cx="34" cy="55"/>
            </a:xfrm>
            <a:custGeom>
              <a:avLst/>
              <a:gdLst>
                <a:gd name="T0" fmla="*/ 14 w 14"/>
                <a:gd name="T1" fmla="*/ 19 h 23"/>
                <a:gd name="T2" fmla="*/ 13 w 14"/>
                <a:gd name="T3" fmla="*/ 20 h 23"/>
                <a:gd name="T4" fmla="*/ 10 w 14"/>
                <a:gd name="T5" fmla="*/ 21 h 23"/>
                <a:gd name="T6" fmla="*/ 2 w 14"/>
                <a:gd name="T7" fmla="*/ 13 h 23"/>
                <a:gd name="T8" fmla="*/ 2 w 14"/>
                <a:gd name="T9" fmla="*/ 6 h 23"/>
                <a:gd name="T10" fmla="*/ 4 w 14"/>
                <a:gd name="T11" fmla="*/ 2 h 23"/>
                <a:gd name="T12" fmla="*/ 7 w 14"/>
                <a:gd name="T13" fmla="*/ 2 h 23"/>
                <a:gd name="T14" fmla="*/ 8 w 14"/>
                <a:gd name="T15" fmla="*/ 3 h 23"/>
                <a:gd name="T16" fmla="*/ 8 w 14"/>
                <a:gd name="T17" fmla="*/ 2 h 23"/>
                <a:gd name="T18" fmla="*/ 7 w 14"/>
                <a:gd name="T19" fmla="*/ 0 h 23"/>
                <a:gd name="T20" fmla="*/ 4 w 14"/>
                <a:gd name="T21" fmla="*/ 0 h 23"/>
                <a:gd name="T22" fmla="*/ 0 w 14"/>
                <a:gd name="T23" fmla="*/ 5 h 23"/>
                <a:gd name="T24" fmla="*/ 1 w 14"/>
                <a:gd name="T25" fmla="*/ 13 h 23"/>
                <a:gd name="T26" fmla="*/ 10 w 14"/>
                <a:gd name="T27" fmla="*/ 23 h 23"/>
                <a:gd name="T28" fmla="*/ 14 w 14"/>
                <a:gd name="T29" fmla="*/ 21 h 23"/>
                <a:gd name="T30" fmla="*/ 14 w 14"/>
                <a:gd name="T31"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19"/>
                  </a:moveTo>
                  <a:cubicBezTo>
                    <a:pt x="14" y="19"/>
                    <a:pt x="14" y="20"/>
                    <a:pt x="13" y="20"/>
                  </a:cubicBezTo>
                  <a:cubicBezTo>
                    <a:pt x="13" y="21"/>
                    <a:pt x="11" y="21"/>
                    <a:pt x="10" y="21"/>
                  </a:cubicBezTo>
                  <a:cubicBezTo>
                    <a:pt x="7" y="21"/>
                    <a:pt x="4" y="17"/>
                    <a:pt x="2" y="13"/>
                  </a:cubicBezTo>
                  <a:cubicBezTo>
                    <a:pt x="2" y="10"/>
                    <a:pt x="2" y="8"/>
                    <a:pt x="2" y="6"/>
                  </a:cubicBezTo>
                  <a:cubicBezTo>
                    <a:pt x="2" y="4"/>
                    <a:pt x="3" y="2"/>
                    <a:pt x="4" y="2"/>
                  </a:cubicBezTo>
                  <a:cubicBezTo>
                    <a:pt x="6" y="1"/>
                    <a:pt x="7" y="1"/>
                    <a:pt x="7" y="2"/>
                  </a:cubicBezTo>
                  <a:cubicBezTo>
                    <a:pt x="8" y="3"/>
                    <a:pt x="8" y="3"/>
                    <a:pt x="8" y="3"/>
                  </a:cubicBezTo>
                  <a:cubicBezTo>
                    <a:pt x="8" y="3"/>
                    <a:pt x="9" y="3"/>
                    <a:pt x="8" y="2"/>
                  </a:cubicBezTo>
                  <a:cubicBezTo>
                    <a:pt x="8" y="1"/>
                    <a:pt x="7" y="1"/>
                    <a:pt x="7" y="0"/>
                  </a:cubicBezTo>
                  <a:cubicBezTo>
                    <a:pt x="6" y="0"/>
                    <a:pt x="5" y="0"/>
                    <a:pt x="4" y="0"/>
                  </a:cubicBezTo>
                  <a:cubicBezTo>
                    <a:pt x="2" y="1"/>
                    <a:pt x="1" y="3"/>
                    <a:pt x="0" y="5"/>
                  </a:cubicBezTo>
                  <a:cubicBezTo>
                    <a:pt x="0" y="8"/>
                    <a:pt x="0" y="10"/>
                    <a:pt x="1" y="13"/>
                  </a:cubicBezTo>
                  <a:cubicBezTo>
                    <a:pt x="2" y="18"/>
                    <a:pt x="6" y="22"/>
                    <a:pt x="10" y="23"/>
                  </a:cubicBezTo>
                  <a:cubicBezTo>
                    <a:pt x="12" y="23"/>
                    <a:pt x="13" y="22"/>
                    <a:pt x="14" y="21"/>
                  </a:cubicBezTo>
                  <a:cubicBezTo>
                    <a:pt x="14" y="20"/>
                    <a:pt x="14" y="19"/>
                    <a:pt x="14"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9">
              <a:extLst>
                <a:ext uri="{FF2B5EF4-FFF2-40B4-BE49-F238E27FC236}">
                  <a16:creationId xmlns:a16="http://schemas.microsoft.com/office/drawing/2014/main" id="{301E61D6-6A8B-485D-9935-58D31848CE52}"/>
                </a:ext>
              </a:extLst>
            </p:cNvPr>
            <p:cNvSpPr>
              <a:spLocks/>
            </p:cNvSpPr>
            <p:nvPr/>
          </p:nvSpPr>
          <p:spPr bwMode="auto">
            <a:xfrm>
              <a:off x="3182" y="554"/>
              <a:ext cx="333" cy="183"/>
            </a:xfrm>
            <a:custGeom>
              <a:avLst/>
              <a:gdLst>
                <a:gd name="T0" fmla="*/ 124 w 140"/>
                <a:gd name="T1" fmla="*/ 77 h 77"/>
                <a:gd name="T2" fmla="*/ 130 w 140"/>
                <a:gd name="T3" fmla="*/ 71 h 77"/>
                <a:gd name="T4" fmla="*/ 138 w 140"/>
                <a:gd name="T5" fmla="*/ 51 h 77"/>
                <a:gd name="T6" fmla="*/ 136 w 140"/>
                <a:gd name="T7" fmla="*/ 36 h 77"/>
                <a:gd name="T8" fmla="*/ 127 w 140"/>
                <a:gd name="T9" fmla="*/ 22 h 77"/>
                <a:gd name="T10" fmla="*/ 91 w 140"/>
                <a:gd name="T11" fmla="*/ 15 h 77"/>
                <a:gd name="T12" fmla="*/ 87 w 140"/>
                <a:gd name="T13" fmla="*/ 16 h 77"/>
                <a:gd name="T14" fmla="*/ 84 w 140"/>
                <a:gd name="T15" fmla="*/ 18 h 77"/>
                <a:gd name="T16" fmla="*/ 82 w 140"/>
                <a:gd name="T17" fmla="*/ 19 h 77"/>
                <a:gd name="T18" fmla="*/ 82 w 140"/>
                <a:gd name="T19" fmla="*/ 17 h 77"/>
                <a:gd name="T20" fmla="*/ 79 w 140"/>
                <a:gd name="T21" fmla="*/ 9 h 77"/>
                <a:gd name="T22" fmla="*/ 72 w 140"/>
                <a:gd name="T23" fmla="*/ 4 h 77"/>
                <a:gd name="T24" fmla="*/ 55 w 140"/>
                <a:gd name="T25" fmla="*/ 2 h 77"/>
                <a:gd name="T26" fmla="*/ 25 w 140"/>
                <a:gd name="T27" fmla="*/ 11 h 77"/>
                <a:gd name="T28" fmla="*/ 5 w 140"/>
                <a:gd name="T29" fmla="*/ 7 h 77"/>
                <a:gd name="T30" fmla="*/ 1 w 140"/>
                <a:gd name="T31" fmla="*/ 3 h 77"/>
                <a:gd name="T32" fmla="*/ 1 w 140"/>
                <a:gd name="T33" fmla="*/ 1 h 77"/>
                <a:gd name="T34" fmla="*/ 6 w 140"/>
                <a:gd name="T35" fmla="*/ 6 h 77"/>
                <a:gd name="T36" fmla="*/ 25 w 140"/>
                <a:gd name="T37" fmla="*/ 10 h 77"/>
                <a:gd name="T38" fmla="*/ 39 w 140"/>
                <a:gd name="T39" fmla="*/ 6 h 77"/>
                <a:gd name="T40" fmla="*/ 54 w 140"/>
                <a:gd name="T41" fmla="*/ 1 h 77"/>
                <a:gd name="T42" fmla="*/ 63 w 140"/>
                <a:gd name="T43" fmla="*/ 0 h 77"/>
                <a:gd name="T44" fmla="*/ 73 w 140"/>
                <a:gd name="T45" fmla="*/ 2 h 77"/>
                <a:gd name="T46" fmla="*/ 81 w 140"/>
                <a:gd name="T47" fmla="*/ 8 h 77"/>
                <a:gd name="T48" fmla="*/ 84 w 140"/>
                <a:gd name="T49" fmla="*/ 17 h 77"/>
                <a:gd name="T50" fmla="*/ 83 w 140"/>
                <a:gd name="T51" fmla="*/ 16 h 77"/>
                <a:gd name="T52" fmla="*/ 86 w 140"/>
                <a:gd name="T53" fmla="*/ 15 h 77"/>
                <a:gd name="T54" fmla="*/ 90 w 140"/>
                <a:gd name="T55" fmla="*/ 13 h 77"/>
                <a:gd name="T56" fmla="*/ 129 w 140"/>
                <a:gd name="T57" fmla="*/ 21 h 77"/>
                <a:gd name="T58" fmla="*/ 138 w 140"/>
                <a:gd name="T59" fmla="*/ 36 h 77"/>
                <a:gd name="T60" fmla="*/ 139 w 140"/>
                <a:gd name="T61" fmla="*/ 51 h 77"/>
                <a:gd name="T62" fmla="*/ 130 w 140"/>
                <a:gd name="T63" fmla="*/ 72 h 77"/>
                <a:gd name="T64" fmla="*/ 126 w 140"/>
                <a:gd name="T65" fmla="*/ 76 h 77"/>
                <a:gd name="T66" fmla="*/ 124 w 140"/>
                <a:gd name="T6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7">
                  <a:moveTo>
                    <a:pt x="124" y="77"/>
                  </a:moveTo>
                  <a:cubicBezTo>
                    <a:pt x="124" y="77"/>
                    <a:pt x="127" y="75"/>
                    <a:pt x="130" y="71"/>
                  </a:cubicBezTo>
                  <a:cubicBezTo>
                    <a:pt x="133" y="67"/>
                    <a:pt x="137" y="60"/>
                    <a:pt x="138" y="51"/>
                  </a:cubicBezTo>
                  <a:cubicBezTo>
                    <a:pt x="138" y="47"/>
                    <a:pt x="138" y="41"/>
                    <a:pt x="136" y="36"/>
                  </a:cubicBezTo>
                  <a:cubicBezTo>
                    <a:pt x="135" y="31"/>
                    <a:pt x="132" y="26"/>
                    <a:pt x="127" y="22"/>
                  </a:cubicBezTo>
                  <a:cubicBezTo>
                    <a:pt x="118" y="14"/>
                    <a:pt x="104" y="10"/>
                    <a:pt x="91" y="15"/>
                  </a:cubicBezTo>
                  <a:cubicBezTo>
                    <a:pt x="89" y="15"/>
                    <a:pt x="88" y="16"/>
                    <a:pt x="87" y="16"/>
                  </a:cubicBezTo>
                  <a:cubicBezTo>
                    <a:pt x="86" y="17"/>
                    <a:pt x="85" y="18"/>
                    <a:pt x="84" y="18"/>
                  </a:cubicBezTo>
                  <a:cubicBezTo>
                    <a:pt x="82" y="19"/>
                    <a:pt x="82" y="19"/>
                    <a:pt x="82" y="19"/>
                  </a:cubicBezTo>
                  <a:cubicBezTo>
                    <a:pt x="82" y="17"/>
                    <a:pt x="82" y="17"/>
                    <a:pt x="82" y="17"/>
                  </a:cubicBezTo>
                  <a:cubicBezTo>
                    <a:pt x="82" y="14"/>
                    <a:pt x="81" y="11"/>
                    <a:pt x="79" y="9"/>
                  </a:cubicBezTo>
                  <a:cubicBezTo>
                    <a:pt x="77" y="7"/>
                    <a:pt x="75" y="5"/>
                    <a:pt x="72" y="4"/>
                  </a:cubicBezTo>
                  <a:cubicBezTo>
                    <a:pt x="66" y="1"/>
                    <a:pt x="60" y="1"/>
                    <a:pt x="55" y="2"/>
                  </a:cubicBezTo>
                  <a:cubicBezTo>
                    <a:pt x="44" y="5"/>
                    <a:pt x="34" y="10"/>
                    <a:pt x="25" y="11"/>
                  </a:cubicBezTo>
                  <a:cubicBezTo>
                    <a:pt x="17" y="12"/>
                    <a:pt x="9" y="10"/>
                    <a:pt x="5" y="7"/>
                  </a:cubicBezTo>
                  <a:cubicBezTo>
                    <a:pt x="3" y="6"/>
                    <a:pt x="2" y="4"/>
                    <a:pt x="1" y="3"/>
                  </a:cubicBezTo>
                  <a:cubicBezTo>
                    <a:pt x="1" y="2"/>
                    <a:pt x="0" y="1"/>
                    <a:pt x="1" y="1"/>
                  </a:cubicBezTo>
                  <a:cubicBezTo>
                    <a:pt x="1" y="1"/>
                    <a:pt x="2" y="4"/>
                    <a:pt x="6" y="6"/>
                  </a:cubicBezTo>
                  <a:cubicBezTo>
                    <a:pt x="10" y="9"/>
                    <a:pt x="17" y="11"/>
                    <a:pt x="25" y="10"/>
                  </a:cubicBezTo>
                  <a:cubicBezTo>
                    <a:pt x="29" y="9"/>
                    <a:pt x="34" y="7"/>
                    <a:pt x="39" y="6"/>
                  </a:cubicBezTo>
                  <a:cubicBezTo>
                    <a:pt x="43" y="4"/>
                    <a:pt x="48" y="2"/>
                    <a:pt x="54" y="1"/>
                  </a:cubicBezTo>
                  <a:cubicBezTo>
                    <a:pt x="57" y="0"/>
                    <a:pt x="60" y="0"/>
                    <a:pt x="63" y="0"/>
                  </a:cubicBezTo>
                  <a:cubicBezTo>
                    <a:pt x="66" y="0"/>
                    <a:pt x="70" y="1"/>
                    <a:pt x="73" y="2"/>
                  </a:cubicBezTo>
                  <a:cubicBezTo>
                    <a:pt x="76" y="3"/>
                    <a:pt x="78" y="5"/>
                    <a:pt x="81" y="8"/>
                  </a:cubicBezTo>
                  <a:cubicBezTo>
                    <a:pt x="83" y="10"/>
                    <a:pt x="84" y="14"/>
                    <a:pt x="84" y="17"/>
                  </a:cubicBezTo>
                  <a:cubicBezTo>
                    <a:pt x="83" y="16"/>
                    <a:pt x="83" y="16"/>
                    <a:pt x="83" y="16"/>
                  </a:cubicBezTo>
                  <a:cubicBezTo>
                    <a:pt x="84" y="16"/>
                    <a:pt x="85" y="15"/>
                    <a:pt x="86" y="15"/>
                  </a:cubicBezTo>
                  <a:cubicBezTo>
                    <a:pt x="87" y="14"/>
                    <a:pt x="89" y="13"/>
                    <a:pt x="90" y="13"/>
                  </a:cubicBezTo>
                  <a:cubicBezTo>
                    <a:pt x="104" y="8"/>
                    <a:pt x="119" y="12"/>
                    <a:pt x="129" y="21"/>
                  </a:cubicBezTo>
                  <a:cubicBezTo>
                    <a:pt x="133" y="25"/>
                    <a:pt x="136" y="30"/>
                    <a:pt x="138" y="36"/>
                  </a:cubicBezTo>
                  <a:cubicBezTo>
                    <a:pt x="140" y="41"/>
                    <a:pt x="140" y="47"/>
                    <a:pt x="139" y="51"/>
                  </a:cubicBezTo>
                  <a:cubicBezTo>
                    <a:pt x="138" y="61"/>
                    <a:pt x="134" y="68"/>
                    <a:pt x="130" y="72"/>
                  </a:cubicBezTo>
                  <a:cubicBezTo>
                    <a:pt x="129" y="74"/>
                    <a:pt x="127" y="75"/>
                    <a:pt x="126" y="76"/>
                  </a:cubicBezTo>
                  <a:cubicBezTo>
                    <a:pt x="125" y="77"/>
                    <a:pt x="124" y="77"/>
                    <a:pt x="124"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0">
              <a:extLst>
                <a:ext uri="{FF2B5EF4-FFF2-40B4-BE49-F238E27FC236}">
                  <a16:creationId xmlns:a16="http://schemas.microsoft.com/office/drawing/2014/main" id="{6A14DDB2-5DA0-44BC-B93A-4008BF0305B3}"/>
                </a:ext>
              </a:extLst>
            </p:cNvPr>
            <p:cNvSpPr>
              <a:spLocks/>
            </p:cNvSpPr>
            <p:nvPr/>
          </p:nvSpPr>
          <p:spPr bwMode="auto">
            <a:xfrm>
              <a:off x="3192" y="485"/>
              <a:ext cx="273" cy="52"/>
            </a:xfrm>
            <a:custGeom>
              <a:avLst/>
              <a:gdLst>
                <a:gd name="T0" fmla="*/ 115 w 115"/>
                <a:gd name="T1" fmla="*/ 16 h 22"/>
                <a:gd name="T2" fmla="*/ 107 w 115"/>
                <a:gd name="T3" fmla="*/ 13 h 22"/>
                <a:gd name="T4" fmla="*/ 97 w 115"/>
                <a:gd name="T5" fmla="*/ 14 h 22"/>
                <a:gd name="T6" fmla="*/ 87 w 115"/>
                <a:gd name="T7" fmla="*/ 21 h 22"/>
                <a:gd name="T8" fmla="*/ 86 w 115"/>
                <a:gd name="T9" fmla="*/ 22 h 22"/>
                <a:gd name="T10" fmla="*/ 85 w 115"/>
                <a:gd name="T11" fmla="*/ 21 h 22"/>
                <a:gd name="T12" fmla="*/ 61 w 115"/>
                <a:gd name="T13" fmla="*/ 3 h 22"/>
                <a:gd name="T14" fmla="*/ 37 w 115"/>
                <a:gd name="T15" fmla="*/ 9 h 22"/>
                <a:gd name="T16" fmla="*/ 19 w 115"/>
                <a:gd name="T17" fmla="*/ 19 h 22"/>
                <a:gd name="T18" fmla="*/ 5 w 115"/>
                <a:gd name="T19" fmla="*/ 21 h 22"/>
                <a:gd name="T20" fmla="*/ 1 w 115"/>
                <a:gd name="T21" fmla="*/ 20 h 22"/>
                <a:gd name="T22" fmla="*/ 0 w 115"/>
                <a:gd name="T23" fmla="*/ 19 h 22"/>
                <a:gd name="T24" fmla="*/ 5 w 115"/>
                <a:gd name="T25" fmla="*/ 20 h 22"/>
                <a:gd name="T26" fmla="*/ 18 w 115"/>
                <a:gd name="T27" fmla="*/ 18 h 22"/>
                <a:gd name="T28" fmla="*/ 36 w 115"/>
                <a:gd name="T29" fmla="*/ 8 h 22"/>
                <a:gd name="T30" fmla="*/ 48 w 115"/>
                <a:gd name="T31" fmla="*/ 2 h 22"/>
                <a:gd name="T32" fmla="*/ 61 w 115"/>
                <a:gd name="T33" fmla="*/ 1 h 22"/>
                <a:gd name="T34" fmla="*/ 87 w 115"/>
                <a:gd name="T35" fmla="*/ 20 h 22"/>
                <a:gd name="T36" fmla="*/ 85 w 115"/>
                <a:gd name="T37" fmla="*/ 20 h 22"/>
                <a:gd name="T38" fmla="*/ 96 w 115"/>
                <a:gd name="T39" fmla="*/ 12 h 22"/>
                <a:gd name="T40" fmla="*/ 107 w 115"/>
                <a:gd name="T41" fmla="*/ 12 h 22"/>
                <a:gd name="T42" fmla="*/ 113 w 115"/>
                <a:gd name="T43" fmla="*/ 14 h 22"/>
                <a:gd name="T44" fmla="*/ 115 w 115"/>
                <a:gd name="T45"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2">
                  <a:moveTo>
                    <a:pt x="115" y="16"/>
                  </a:moveTo>
                  <a:cubicBezTo>
                    <a:pt x="115" y="16"/>
                    <a:pt x="112" y="14"/>
                    <a:pt x="107" y="13"/>
                  </a:cubicBezTo>
                  <a:cubicBezTo>
                    <a:pt x="104" y="12"/>
                    <a:pt x="101" y="12"/>
                    <a:pt x="97" y="14"/>
                  </a:cubicBezTo>
                  <a:cubicBezTo>
                    <a:pt x="93" y="15"/>
                    <a:pt x="89" y="17"/>
                    <a:pt x="87" y="21"/>
                  </a:cubicBezTo>
                  <a:cubicBezTo>
                    <a:pt x="86" y="22"/>
                    <a:pt x="86" y="22"/>
                    <a:pt x="86" y="22"/>
                  </a:cubicBezTo>
                  <a:cubicBezTo>
                    <a:pt x="85" y="21"/>
                    <a:pt x="85" y="21"/>
                    <a:pt x="85" y="21"/>
                  </a:cubicBezTo>
                  <a:cubicBezTo>
                    <a:pt x="82" y="12"/>
                    <a:pt x="72" y="4"/>
                    <a:pt x="61" y="3"/>
                  </a:cubicBezTo>
                  <a:cubicBezTo>
                    <a:pt x="52" y="2"/>
                    <a:pt x="44" y="6"/>
                    <a:pt x="37" y="9"/>
                  </a:cubicBezTo>
                  <a:cubicBezTo>
                    <a:pt x="31" y="13"/>
                    <a:pt x="24" y="17"/>
                    <a:pt x="19" y="19"/>
                  </a:cubicBezTo>
                  <a:cubicBezTo>
                    <a:pt x="13" y="21"/>
                    <a:pt x="8" y="21"/>
                    <a:pt x="5" y="21"/>
                  </a:cubicBezTo>
                  <a:cubicBezTo>
                    <a:pt x="3" y="20"/>
                    <a:pt x="2" y="20"/>
                    <a:pt x="1" y="20"/>
                  </a:cubicBezTo>
                  <a:cubicBezTo>
                    <a:pt x="0" y="19"/>
                    <a:pt x="0" y="19"/>
                    <a:pt x="0" y="19"/>
                  </a:cubicBezTo>
                  <a:cubicBezTo>
                    <a:pt x="0" y="19"/>
                    <a:pt x="2" y="20"/>
                    <a:pt x="5" y="20"/>
                  </a:cubicBezTo>
                  <a:cubicBezTo>
                    <a:pt x="8" y="20"/>
                    <a:pt x="13" y="20"/>
                    <a:pt x="18" y="18"/>
                  </a:cubicBezTo>
                  <a:cubicBezTo>
                    <a:pt x="24" y="16"/>
                    <a:pt x="30" y="12"/>
                    <a:pt x="36" y="8"/>
                  </a:cubicBezTo>
                  <a:cubicBezTo>
                    <a:pt x="40" y="6"/>
                    <a:pt x="43" y="4"/>
                    <a:pt x="48" y="2"/>
                  </a:cubicBezTo>
                  <a:cubicBezTo>
                    <a:pt x="52" y="1"/>
                    <a:pt x="56" y="0"/>
                    <a:pt x="61" y="1"/>
                  </a:cubicBezTo>
                  <a:cubicBezTo>
                    <a:pt x="74" y="2"/>
                    <a:pt x="84" y="11"/>
                    <a:pt x="87" y="20"/>
                  </a:cubicBezTo>
                  <a:cubicBezTo>
                    <a:pt x="85" y="20"/>
                    <a:pt x="85" y="20"/>
                    <a:pt x="85" y="20"/>
                  </a:cubicBezTo>
                  <a:cubicBezTo>
                    <a:pt x="88" y="16"/>
                    <a:pt x="93" y="13"/>
                    <a:pt x="96" y="12"/>
                  </a:cubicBezTo>
                  <a:cubicBezTo>
                    <a:pt x="100" y="11"/>
                    <a:pt x="104" y="11"/>
                    <a:pt x="107" y="12"/>
                  </a:cubicBezTo>
                  <a:cubicBezTo>
                    <a:pt x="110" y="12"/>
                    <a:pt x="112" y="13"/>
                    <a:pt x="113" y="14"/>
                  </a:cubicBezTo>
                  <a:cubicBezTo>
                    <a:pt x="114" y="15"/>
                    <a:pt x="115" y="15"/>
                    <a:pt x="115" y="1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1">
              <a:extLst>
                <a:ext uri="{FF2B5EF4-FFF2-40B4-BE49-F238E27FC236}">
                  <a16:creationId xmlns:a16="http://schemas.microsoft.com/office/drawing/2014/main" id="{33A46371-2E8D-4089-87E3-6A59B078EB04}"/>
                </a:ext>
              </a:extLst>
            </p:cNvPr>
            <p:cNvSpPr>
              <a:spLocks/>
            </p:cNvSpPr>
            <p:nvPr/>
          </p:nvSpPr>
          <p:spPr bwMode="auto">
            <a:xfrm>
              <a:off x="3306" y="844"/>
              <a:ext cx="40" cy="38"/>
            </a:xfrm>
            <a:custGeom>
              <a:avLst/>
              <a:gdLst>
                <a:gd name="T0" fmla="*/ 14 w 17"/>
                <a:gd name="T1" fmla="*/ 3 h 16"/>
                <a:gd name="T2" fmla="*/ 7 w 17"/>
                <a:gd name="T3" fmla="*/ 1 h 16"/>
                <a:gd name="T4" fmla="*/ 1 w 17"/>
                <a:gd name="T5" fmla="*/ 6 h 16"/>
                <a:gd name="T6" fmla="*/ 1 w 17"/>
                <a:gd name="T7" fmla="*/ 6 h 16"/>
                <a:gd name="T8" fmla="*/ 0 w 17"/>
                <a:gd name="T9" fmla="*/ 6 h 16"/>
                <a:gd name="T10" fmla="*/ 0 w 17"/>
                <a:gd name="T11" fmla="*/ 6 h 16"/>
                <a:gd name="T12" fmla="*/ 0 w 17"/>
                <a:gd name="T13" fmla="*/ 9 h 16"/>
                <a:gd name="T14" fmla="*/ 4 w 17"/>
                <a:gd name="T15" fmla="*/ 14 h 16"/>
                <a:gd name="T16" fmla="*/ 14 w 17"/>
                <a:gd name="T17" fmla="*/ 13 h 16"/>
                <a:gd name="T18" fmla="*/ 14 w 17"/>
                <a:gd name="T19"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3"/>
                  </a:moveTo>
                  <a:cubicBezTo>
                    <a:pt x="13" y="1"/>
                    <a:pt x="10" y="0"/>
                    <a:pt x="7" y="1"/>
                  </a:cubicBezTo>
                  <a:cubicBezTo>
                    <a:pt x="5" y="1"/>
                    <a:pt x="2" y="3"/>
                    <a:pt x="1" y="6"/>
                  </a:cubicBezTo>
                  <a:cubicBezTo>
                    <a:pt x="1" y="6"/>
                    <a:pt x="1" y="6"/>
                    <a:pt x="1" y="6"/>
                  </a:cubicBezTo>
                  <a:cubicBezTo>
                    <a:pt x="0" y="6"/>
                    <a:pt x="0" y="6"/>
                    <a:pt x="0" y="6"/>
                  </a:cubicBezTo>
                  <a:cubicBezTo>
                    <a:pt x="0" y="6"/>
                    <a:pt x="0" y="6"/>
                    <a:pt x="0" y="6"/>
                  </a:cubicBezTo>
                  <a:cubicBezTo>
                    <a:pt x="0" y="7"/>
                    <a:pt x="0" y="8"/>
                    <a:pt x="0" y="9"/>
                  </a:cubicBezTo>
                  <a:cubicBezTo>
                    <a:pt x="0" y="11"/>
                    <a:pt x="2" y="13"/>
                    <a:pt x="4" y="14"/>
                  </a:cubicBezTo>
                  <a:cubicBezTo>
                    <a:pt x="7" y="16"/>
                    <a:pt x="12" y="16"/>
                    <a:pt x="14" y="13"/>
                  </a:cubicBezTo>
                  <a:cubicBezTo>
                    <a:pt x="17" y="10"/>
                    <a:pt x="17" y="5"/>
                    <a:pt x="14" y="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2">
              <a:extLst>
                <a:ext uri="{FF2B5EF4-FFF2-40B4-BE49-F238E27FC236}">
                  <a16:creationId xmlns:a16="http://schemas.microsoft.com/office/drawing/2014/main" id="{598D076C-F88E-4391-AE2D-894279F610E8}"/>
                </a:ext>
              </a:extLst>
            </p:cNvPr>
            <p:cNvSpPr>
              <a:spLocks/>
            </p:cNvSpPr>
            <p:nvPr/>
          </p:nvSpPr>
          <p:spPr bwMode="auto">
            <a:xfrm>
              <a:off x="3301" y="853"/>
              <a:ext cx="45" cy="26"/>
            </a:xfrm>
            <a:custGeom>
              <a:avLst/>
              <a:gdLst>
                <a:gd name="T0" fmla="*/ 18 w 19"/>
                <a:gd name="T1" fmla="*/ 11 h 11"/>
                <a:gd name="T2" fmla="*/ 17 w 19"/>
                <a:gd name="T3" fmla="*/ 8 h 11"/>
                <a:gd name="T4" fmla="*/ 11 w 19"/>
                <a:gd name="T5" fmla="*/ 3 h 11"/>
                <a:gd name="T6" fmla="*/ 4 w 19"/>
                <a:gd name="T7" fmla="*/ 2 h 11"/>
                <a:gd name="T8" fmla="*/ 0 w 19"/>
                <a:gd name="T9" fmla="*/ 3 h 11"/>
                <a:gd name="T10" fmla="*/ 3 w 19"/>
                <a:gd name="T11" fmla="*/ 1 h 11"/>
                <a:gd name="T12" fmla="*/ 12 w 19"/>
                <a:gd name="T13" fmla="*/ 1 h 11"/>
                <a:gd name="T14" fmla="*/ 18 w 19"/>
                <a:gd name="T15" fmla="*/ 8 h 11"/>
                <a:gd name="T16" fmla="*/ 18 w 1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
                  <a:moveTo>
                    <a:pt x="18" y="11"/>
                  </a:moveTo>
                  <a:cubicBezTo>
                    <a:pt x="18" y="11"/>
                    <a:pt x="18" y="10"/>
                    <a:pt x="17" y="8"/>
                  </a:cubicBezTo>
                  <a:cubicBezTo>
                    <a:pt x="16" y="7"/>
                    <a:pt x="14" y="5"/>
                    <a:pt x="11" y="3"/>
                  </a:cubicBezTo>
                  <a:cubicBezTo>
                    <a:pt x="8" y="2"/>
                    <a:pt x="6" y="2"/>
                    <a:pt x="4" y="2"/>
                  </a:cubicBezTo>
                  <a:cubicBezTo>
                    <a:pt x="2" y="3"/>
                    <a:pt x="0" y="3"/>
                    <a:pt x="0" y="3"/>
                  </a:cubicBezTo>
                  <a:cubicBezTo>
                    <a:pt x="0" y="3"/>
                    <a:pt x="1" y="2"/>
                    <a:pt x="3" y="1"/>
                  </a:cubicBezTo>
                  <a:cubicBezTo>
                    <a:pt x="5" y="0"/>
                    <a:pt x="9" y="0"/>
                    <a:pt x="12" y="1"/>
                  </a:cubicBezTo>
                  <a:cubicBezTo>
                    <a:pt x="15" y="3"/>
                    <a:pt x="17" y="6"/>
                    <a:pt x="18" y="8"/>
                  </a:cubicBezTo>
                  <a:cubicBezTo>
                    <a:pt x="19" y="10"/>
                    <a:pt x="19" y="11"/>
                    <a:pt x="18"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3">
              <a:extLst>
                <a:ext uri="{FF2B5EF4-FFF2-40B4-BE49-F238E27FC236}">
                  <a16:creationId xmlns:a16="http://schemas.microsoft.com/office/drawing/2014/main" id="{767136E6-7ADD-479B-9260-338DA18ECD2B}"/>
                </a:ext>
              </a:extLst>
            </p:cNvPr>
            <p:cNvSpPr>
              <a:spLocks/>
            </p:cNvSpPr>
            <p:nvPr/>
          </p:nvSpPr>
          <p:spPr bwMode="auto">
            <a:xfrm>
              <a:off x="3113" y="877"/>
              <a:ext cx="41" cy="38"/>
            </a:xfrm>
            <a:custGeom>
              <a:avLst/>
              <a:gdLst>
                <a:gd name="T0" fmla="*/ 16 w 17"/>
                <a:gd name="T1" fmla="*/ 6 h 16"/>
                <a:gd name="T2" fmla="*/ 15 w 17"/>
                <a:gd name="T3" fmla="*/ 11 h 16"/>
                <a:gd name="T4" fmla="*/ 11 w 17"/>
                <a:gd name="T5" fmla="*/ 15 h 16"/>
                <a:gd name="T6" fmla="*/ 4 w 17"/>
                <a:gd name="T7" fmla="*/ 14 h 16"/>
                <a:gd name="T8" fmla="*/ 0 w 17"/>
                <a:gd name="T9" fmla="*/ 8 h 16"/>
                <a:gd name="T10" fmla="*/ 2 w 17"/>
                <a:gd name="T11" fmla="*/ 3 h 16"/>
                <a:gd name="T12" fmla="*/ 6 w 17"/>
                <a:gd name="T13" fmla="*/ 0 h 16"/>
                <a:gd name="T14" fmla="*/ 3 w 17"/>
                <a:gd name="T15" fmla="*/ 3 h 16"/>
                <a:gd name="T16" fmla="*/ 2 w 17"/>
                <a:gd name="T17" fmla="*/ 8 h 16"/>
                <a:gd name="T18" fmla="*/ 5 w 17"/>
                <a:gd name="T19" fmla="*/ 12 h 16"/>
                <a:gd name="T20" fmla="*/ 10 w 17"/>
                <a:gd name="T21" fmla="*/ 13 h 16"/>
                <a:gd name="T22" fmla="*/ 14 w 17"/>
                <a:gd name="T23" fmla="*/ 10 h 16"/>
                <a:gd name="T24" fmla="*/ 16 w 17"/>
                <a:gd name="T25"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6" y="6"/>
                  </a:moveTo>
                  <a:cubicBezTo>
                    <a:pt x="16" y="6"/>
                    <a:pt x="17" y="8"/>
                    <a:pt x="15" y="11"/>
                  </a:cubicBezTo>
                  <a:cubicBezTo>
                    <a:pt x="15" y="13"/>
                    <a:pt x="13" y="14"/>
                    <a:pt x="11" y="15"/>
                  </a:cubicBezTo>
                  <a:cubicBezTo>
                    <a:pt x="9" y="16"/>
                    <a:pt x="6" y="16"/>
                    <a:pt x="4" y="14"/>
                  </a:cubicBezTo>
                  <a:cubicBezTo>
                    <a:pt x="2" y="13"/>
                    <a:pt x="0" y="10"/>
                    <a:pt x="0" y="8"/>
                  </a:cubicBezTo>
                  <a:cubicBezTo>
                    <a:pt x="0" y="6"/>
                    <a:pt x="1" y="4"/>
                    <a:pt x="2" y="3"/>
                  </a:cubicBezTo>
                  <a:cubicBezTo>
                    <a:pt x="4" y="0"/>
                    <a:pt x="6" y="0"/>
                    <a:pt x="6" y="0"/>
                  </a:cubicBezTo>
                  <a:cubicBezTo>
                    <a:pt x="6" y="0"/>
                    <a:pt x="5" y="1"/>
                    <a:pt x="3" y="3"/>
                  </a:cubicBezTo>
                  <a:cubicBezTo>
                    <a:pt x="2" y="5"/>
                    <a:pt x="2" y="6"/>
                    <a:pt x="2" y="8"/>
                  </a:cubicBezTo>
                  <a:cubicBezTo>
                    <a:pt x="2" y="10"/>
                    <a:pt x="3" y="11"/>
                    <a:pt x="5" y="12"/>
                  </a:cubicBezTo>
                  <a:cubicBezTo>
                    <a:pt x="7" y="13"/>
                    <a:pt x="9" y="14"/>
                    <a:pt x="10" y="13"/>
                  </a:cubicBezTo>
                  <a:cubicBezTo>
                    <a:pt x="12" y="13"/>
                    <a:pt x="13" y="11"/>
                    <a:pt x="14" y="10"/>
                  </a:cubicBezTo>
                  <a:cubicBezTo>
                    <a:pt x="16" y="8"/>
                    <a:pt x="15" y="6"/>
                    <a:pt x="16" y="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4">
              <a:extLst>
                <a:ext uri="{FF2B5EF4-FFF2-40B4-BE49-F238E27FC236}">
                  <a16:creationId xmlns:a16="http://schemas.microsoft.com/office/drawing/2014/main" id="{D0F9405F-7F63-49E4-877E-5D383DBA1F9D}"/>
                </a:ext>
              </a:extLst>
            </p:cNvPr>
            <p:cNvSpPr>
              <a:spLocks/>
            </p:cNvSpPr>
            <p:nvPr/>
          </p:nvSpPr>
          <p:spPr bwMode="auto">
            <a:xfrm>
              <a:off x="3097" y="870"/>
              <a:ext cx="21" cy="23"/>
            </a:xfrm>
            <a:custGeom>
              <a:avLst/>
              <a:gdLst>
                <a:gd name="T0" fmla="*/ 9 w 9"/>
                <a:gd name="T1" fmla="*/ 8 h 10"/>
                <a:gd name="T2" fmla="*/ 7 w 9"/>
                <a:gd name="T3" fmla="*/ 10 h 10"/>
                <a:gd name="T4" fmla="*/ 4 w 9"/>
                <a:gd name="T5" fmla="*/ 10 h 10"/>
                <a:gd name="T6" fmla="*/ 1 w 9"/>
                <a:gd name="T7" fmla="*/ 7 h 10"/>
                <a:gd name="T8" fmla="*/ 0 w 9"/>
                <a:gd name="T9" fmla="*/ 3 h 10"/>
                <a:gd name="T10" fmla="*/ 2 w 9"/>
                <a:gd name="T11" fmla="*/ 1 h 10"/>
                <a:gd name="T12" fmla="*/ 5 w 9"/>
                <a:gd name="T13" fmla="*/ 0 h 10"/>
                <a:gd name="T14" fmla="*/ 3 w 9"/>
                <a:gd name="T15" fmla="*/ 2 h 10"/>
                <a:gd name="T16" fmla="*/ 3 w 9"/>
                <a:gd name="T17" fmla="*/ 6 h 10"/>
                <a:gd name="T18" fmla="*/ 7 w 9"/>
                <a:gd name="T19" fmla="*/ 8 h 10"/>
                <a:gd name="T20" fmla="*/ 9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9" y="8"/>
                  </a:moveTo>
                  <a:cubicBezTo>
                    <a:pt x="9" y="8"/>
                    <a:pt x="9" y="9"/>
                    <a:pt x="7" y="10"/>
                  </a:cubicBezTo>
                  <a:cubicBezTo>
                    <a:pt x="7" y="10"/>
                    <a:pt x="5" y="10"/>
                    <a:pt x="4" y="10"/>
                  </a:cubicBezTo>
                  <a:cubicBezTo>
                    <a:pt x="3" y="10"/>
                    <a:pt x="1" y="9"/>
                    <a:pt x="1" y="7"/>
                  </a:cubicBezTo>
                  <a:cubicBezTo>
                    <a:pt x="0" y="6"/>
                    <a:pt x="0" y="5"/>
                    <a:pt x="0" y="3"/>
                  </a:cubicBezTo>
                  <a:cubicBezTo>
                    <a:pt x="1" y="2"/>
                    <a:pt x="2" y="1"/>
                    <a:pt x="2" y="1"/>
                  </a:cubicBezTo>
                  <a:cubicBezTo>
                    <a:pt x="4" y="0"/>
                    <a:pt x="5" y="0"/>
                    <a:pt x="5" y="0"/>
                  </a:cubicBezTo>
                  <a:cubicBezTo>
                    <a:pt x="5" y="1"/>
                    <a:pt x="4" y="1"/>
                    <a:pt x="3" y="2"/>
                  </a:cubicBezTo>
                  <a:cubicBezTo>
                    <a:pt x="2" y="3"/>
                    <a:pt x="2" y="5"/>
                    <a:pt x="3" y="6"/>
                  </a:cubicBezTo>
                  <a:cubicBezTo>
                    <a:pt x="4" y="8"/>
                    <a:pt x="6" y="9"/>
                    <a:pt x="7" y="8"/>
                  </a:cubicBezTo>
                  <a:cubicBezTo>
                    <a:pt x="8" y="8"/>
                    <a:pt x="9" y="7"/>
                    <a:pt x="9"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5">
              <a:extLst>
                <a:ext uri="{FF2B5EF4-FFF2-40B4-BE49-F238E27FC236}">
                  <a16:creationId xmlns:a16="http://schemas.microsoft.com/office/drawing/2014/main" id="{87E704A9-4085-49C7-9480-B96BF1783717}"/>
                </a:ext>
              </a:extLst>
            </p:cNvPr>
            <p:cNvSpPr>
              <a:spLocks/>
            </p:cNvSpPr>
            <p:nvPr/>
          </p:nvSpPr>
          <p:spPr bwMode="auto">
            <a:xfrm>
              <a:off x="3223" y="1480"/>
              <a:ext cx="570" cy="266"/>
            </a:xfrm>
            <a:custGeom>
              <a:avLst/>
              <a:gdLst>
                <a:gd name="T0" fmla="*/ 0 w 240"/>
                <a:gd name="T1" fmla="*/ 106 h 112"/>
                <a:gd name="T2" fmla="*/ 158 w 240"/>
                <a:gd name="T3" fmla="*/ 112 h 112"/>
                <a:gd name="T4" fmla="*/ 232 w 240"/>
                <a:gd name="T5" fmla="*/ 71 h 112"/>
                <a:gd name="T6" fmla="*/ 224 w 240"/>
                <a:gd name="T7" fmla="*/ 0 h 112"/>
                <a:gd name="T8" fmla="*/ 154 w 240"/>
                <a:gd name="T9" fmla="*/ 14 h 112"/>
                <a:gd name="T10" fmla="*/ 160 w 240"/>
                <a:gd name="T11" fmla="*/ 35 h 112"/>
                <a:gd name="T12" fmla="*/ 0 w 240"/>
                <a:gd name="T13" fmla="*/ 49 h 112"/>
                <a:gd name="T14" fmla="*/ 0 w 240"/>
                <a:gd name="T15" fmla="*/ 106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112">
                  <a:moveTo>
                    <a:pt x="0" y="106"/>
                  </a:moveTo>
                  <a:cubicBezTo>
                    <a:pt x="0" y="106"/>
                    <a:pt x="99" y="112"/>
                    <a:pt x="158" y="112"/>
                  </a:cubicBezTo>
                  <a:cubicBezTo>
                    <a:pt x="203" y="112"/>
                    <a:pt x="223" y="100"/>
                    <a:pt x="232" y="71"/>
                  </a:cubicBezTo>
                  <a:cubicBezTo>
                    <a:pt x="240" y="47"/>
                    <a:pt x="224" y="0"/>
                    <a:pt x="224" y="0"/>
                  </a:cubicBezTo>
                  <a:cubicBezTo>
                    <a:pt x="193" y="0"/>
                    <a:pt x="174" y="4"/>
                    <a:pt x="154" y="14"/>
                  </a:cubicBezTo>
                  <a:cubicBezTo>
                    <a:pt x="160" y="35"/>
                    <a:pt x="160" y="35"/>
                    <a:pt x="160" y="35"/>
                  </a:cubicBezTo>
                  <a:cubicBezTo>
                    <a:pt x="0" y="49"/>
                    <a:pt x="0" y="49"/>
                    <a:pt x="0" y="49"/>
                  </a:cubicBezTo>
                  <a:lnTo>
                    <a:pt x="0" y="106"/>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6">
              <a:extLst>
                <a:ext uri="{FF2B5EF4-FFF2-40B4-BE49-F238E27FC236}">
                  <a16:creationId xmlns:a16="http://schemas.microsoft.com/office/drawing/2014/main" id="{20D417AC-3888-4EDC-A447-AB9FAAF2F7B8}"/>
                </a:ext>
              </a:extLst>
            </p:cNvPr>
            <p:cNvSpPr>
              <a:spLocks/>
            </p:cNvSpPr>
            <p:nvPr/>
          </p:nvSpPr>
          <p:spPr bwMode="auto">
            <a:xfrm>
              <a:off x="3600" y="1561"/>
              <a:ext cx="81" cy="56"/>
            </a:xfrm>
            <a:custGeom>
              <a:avLst/>
              <a:gdLst>
                <a:gd name="T0" fmla="*/ 34 w 34"/>
                <a:gd name="T1" fmla="*/ 24 h 24"/>
                <a:gd name="T2" fmla="*/ 19 w 34"/>
                <a:gd name="T3" fmla="*/ 9 h 24"/>
                <a:gd name="T4" fmla="*/ 0 w 34"/>
                <a:gd name="T5" fmla="*/ 1 h 24"/>
                <a:gd name="T6" fmla="*/ 6 w 34"/>
                <a:gd name="T7" fmla="*/ 1 h 24"/>
                <a:gd name="T8" fmla="*/ 20 w 34"/>
                <a:gd name="T9" fmla="*/ 7 h 24"/>
                <a:gd name="T10" fmla="*/ 31 w 34"/>
                <a:gd name="T11" fmla="*/ 18 h 24"/>
                <a:gd name="T12" fmla="*/ 34 w 3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34" h="24">
                  <a:moveTo>
                    <a:pt x="34" y="24"/>
                  </a:moveTo>
                  <a:cubicBezTo>
                    <a:pt x="33" y="24"/>
                    <a:pt x="29" y="16"/>
                    <a:pt x="19" y="9"/>
                  </a:cubicBezTo>
                  <a:cubicBezTo>
                    <a:pt x="9" y="2"/>
                    <a:pt x="0" y="1"/>
                    <a:pt x="0" y="1"/>
                  </a:cubicBezTo>
                  <a:cubicBezTo>
                    <a:pt x="0" y="0"/>
                    <a:pt x="2" y="0"/>
                    <a:pt x="6" y="1"/>
                  </a:cubicBezTo>
                  <a:cubicBezTo>
                    <a:pt x="10" y="2"/>
                    <a:pt x="15" y="4"/>
                    <a:pt x="20" y="7"/>
                  </a:cubicBezTo>
                  <a:cubicBezTo>
                    <a:pt x="25" y="11"/>
                    <a:pt x="29" y="15"/>
                    <a:pt x="31" y="18"/>
                  </a:cubicBezTo>
                  <a:cubicBezTo>
                    <a:pt x="33" y="21"/>
                    <a:pt x="34" y="24"/>
                    <a:pt x="34"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7">
              <a:extLst>
                <a:ext uri="{FF2B5EF4-FFF2-40B4-BE49-F238E27FC236}">
                  <a16:creationId xmlns:a16="http://schemas.microsoft.com/office/drawing/2014/main" id="{92D11D2D-DEB3-4EBE-B6CC-FD765D92552C}"/>
                </a:ext>
              </a:extLst>
            </p:cNvPr>
            <p:cNvSpPr>
              <a:spLocks/>
            </p:cNvSpPr>
            <p:nvPr/>
          </p:nvSpPr>
          <p:spPr bwMode="auto">
            <a:xfrm>
              <a:off x="3011" y="1185"/>
              <a:ext cx="354" cy="611"/>
            </a:xfrm>
            <a:custGeom>
              <a:avLst/>
              <a:gdLst>
                <a:gd name="T0" fmla="*/ 53 w 149"/>
                <a:gd name="T1" fmla="*/ 137 h 257"/>
                <a:gd name="T2" fmla="*/ 53 w 149"/>
                <a:gd name="T3" fmla="*/ 137 h 257"/>
                <a:gd name="T4" fmla="*/ 0 w 149"/>
                <a:gd name="T5" fmla="*/ 160 h 257"/>
                <a:gd name="T6" fmla="*/ 24 w 149"/>
                <a:gd name="T7" fmla="*/ 225 h 257"/>
                <a:gd name="T8" fmla="*/ 76 w 149"/>
                <a:gd name="T9" fmla="*/ 246 h 257"/>
                <a:gd name="T10" fmla="*/ 116 w 149"/>
                <a:gd name="T11" fmla="*/ 178 h 257"/>
                <a:gd name="T12" fmla="*/ 149 w 149"/>
                <a:gd name="T13" fmla="*/ 35 h 257"/>
                <a:gd name="T14" fmla="*/ 95 w 149"/>
                <a:gd name="T15" fmla="*/ 0 h 257"/>
                <a:gd name="T16" fmla="*/ 53 w 149"/>
                <a:gd name="T17" fmla="*/ 13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57">
                  <a:moveTo>
                    <a:pt x="53" y="137"/>
                  </a:moveTo>
                  <a:cubicBezTo>
                    <a:pt x="53" y="137"/>
                    <a:pt x="53" y="137"/>
                    <a:pt x="53" y="137"/>
                  </a:cubicBezTo>
                  <a:cubicBezTo>
                    <a:pt x="53" y="137"/>
                    <a:pt x="22" y="145"/>
                    <a:pt x="0" y="160"/>
                  </a:cubicBezTo>
                  <a:cubicBezTo>
                    <a:pt x="24" y="225"/>
                    <a:pt x="24" y="225"/>
                    <a:pt x="24" y="225"/>
                  </a:cubicBezTo>
                  <a:cubicBezTo>
                    <a:pt x="32" y="246"/>
                    <a:pt x="56" y="257"/>
                    <a:pt x="76" y="246"/>
                  </a:cubicBezTo>
                  <a:cubicBezTo>
                    <a:pt x="106" y="228"/>
                    <a:pt x="116" y="178"/>
                    <a:pt x="116" y="178"/>
                  </a:cubicBezTo>
                  <a:cubicBezTo>
                    <a:pt x="149" y="35"/>
                    <a:pt x="149" y="35"/>
                    <a:pt x="149" y="35"/>
                  </a:cubicBezTo>
                  <a:cubicBezTo>
                    <a:pt x="95" y="0"/>
                    <a:pt x="95" y="0"/>
                    <a:pt x="95" y="0"/>
                  </a:cubicBezTo>
                  <a:cubicBezTo>
                    <a:pt x="53" y="137"/>
                    <a:pt x="53" y="137"/>
                    <a:pt x="53" y="137"/>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8">
              <a:extLst>
                <a:ext uri="{FF2B5EF4-FFF2-40B4-BE49-F238E27FC236}">
                  <a16:creationId xmlns:a16="http://schemas.microsoft.com/office/drawing/2014/main" id="{D23CDEBC-95D7-4795-AD5E-2D42BF3BB521}"/>
                </a:ext>
              </a:extLst>
            </p:cNvPr>
            <p:cNvSpPr>
              <a:spLocks/>
            </p:cNvSpPr>
            <p:nvPr/>
          </p:nvSpPr>
          <p:spPr bwMode="auto">
            <a:xfrm>
              <a:off x="3211" y="939"/>
              <a:ext cx="228" cy="329"/>
            </a:xfrm>
            <a:custGeom>
              <a:avLst/>
              <a:gdLst>
                <a:gd name="T0" fmla="*/ 11 w 96"/>
                <a:gd name="T1" fmla="*/ 104 h 139"/>
                <a:gd name="T2" fmla="*/ 13 w 96"/>
                <a:gd name="T3" fmla="*/ 57 h 139"/>
                <a:gd name="T4" fmla="*/ 1 w 96"/>
                <a:gd name="T5" fmla="*/ 9 h 139"/>
                <a:gd name="T6" fmla="*/ 2 w 96"/>
                <a:gd name="T7" fmla="*/ 2 h 139"/>
                <a:gd name="T8" fmla="*/ 9 w 96"/>
                <a:gd name="T9" fmla="*/ 2 h 139"/>
                <a:gd name="T10" fmla="*/ 28 w 96"/>
                <a:gd name="T11" fmla="*/ 47 h 139"/>
                <a:gd name="T12" fmla="*/ 57 w 96"/>
                <a:gd name="T13" fmla="*/ 32 h 139"/>
                <a:gd name="T14" fmla="*/ 67 w 96"/>
                <a:gd name="T15" fmla="*/ 45 h 139"/>
                <a:gd name="T16" fmla="*/ 67 w 96"/>
                <a:gd name="T17" fmla="*/ 54 h 139"/>
                <a:gd name="T18" fmla="*/ 84 w 96"/>
                <a:gd name="T19" fmla="*/ 57 h 139"/>
                <a:gd name="T20" fmla="*/ 85 w 96"/>
                <a:gd name="T21" fmla="*/ 69 h 139"/>
                <a:gd name="T22" fmla="*/ 93 w 96"/>
                <a:gd name="T23" fmla="*/ 76 h 139"/>
                <a:gd name="T24" fmla="*/ 93 w 96"/>
                <a:gd name="T25" fmla="*/ 91 h 139"/>
                <a:gd name="T26" fmla="*/ 83 w 96"/>
                <a:gd name="T27" fmla="*/ 96 h 139"/>
                <a:gd name="T28" fmla="*/ 80 w 96"/>
                <a:gd name="T29" fmla="*/ 123 h 139"/>
                <a:gd name="T30" fmla="*/ 65 w 96"/>
                <a:gd name="T31" fmla="*/ 139 h 139"/>
                <a:gd name="T32" fmla="*/ 11 w 96"/>
                <a:gd name="T33"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39">
                  <a:moveTo>
                    <a:pt x="11" y="104"/>
                  </a:moveTo>
                  <a:cubicBezTo>
                    <a:pt x="13" y="57"/>
                    <a:pt x="13" y="57"/>
                    <a:pt x="13" y="57"/>
                  </a:cubicBezTo>
                  <a:cubicBezTo>
                    <a:pt x="1" y="9"/>
                    <a:pt x="1" y="9"/>
                    <a:pt x="1" y="9"/>
                  </a:cubicBezTo>
                  <a:cubicBezTo>
                    <a:pt x="0" y="7"/>
                    <a:pt x="0" y="3"/>
                    <a:pt x="2" y="2"/>
                  </a:cubicBezTo>
                  <a:cubicBezTo>
                    <a:pt x="4" y="0"/>
                    <a:pt x="7" y="0"/>
                    <a:pt x="9" y="2"/>
                  </a:cubicBezTo>
                  <a:cubicBezTo>
                    <a:pt x="12" y="5"/>
                    <a:pt x="28" y="47"/>
                    <a:pt x="28" y="47"/>
                  </a:cubicBezTo>
                  <a:cubicBezTo>
                    <a:pt x="28" y="47"/>
                    <a:pt x="53" y="33"/>
                    <a:pt x="57" y="32"/>
                  </a:cubicBezTo>
                  <a:cubicBezTo>
                    <a:pt x="61" y="31"/>
                    <a:pt x="67" y="44"/>
                    <a:pt x="67" y="45"/>
                  </a:cubicBezTo>
                  <a:cubicBezTo>
                    <a:pt x="67" y="47"/>
                    <a:pt x="67" y="54"/>
                    <a:pt x="67" y="54"/>
                  </a:cubicBezTo>
                  <a:cubicBezTo>
                    <a:pt x="67" y="54"/>
                    <a:pt x="82" y="55"/>
                    <a:pt x="84" y="57"/>
                  </a:cubicBezTo>
                  <a:cubicBezTo>
                    <a:pt x="85" y="59"/>
                    <a:pt x="85" y="69"/>
                    <a:pt x="85" y="69"/>
                  </a:cubicBezTo>
                  <a:cubicBezTo>
                    <a:pt x="85" y="69"/>
                    <a:pt x="92" y="72"/>
                    <a:pt x="93" y="76"/>
                  </a:cubicBezTo>
                  <a:cubicBezTo>
                    <a:pt x="94" y="81"/>
                    <a:pt x="96" y="89"/>
                    <a:pt x="93" y="91"/>
                  </a:cubicBezTo>
                  <a:cubicBezTo>
                    <a:pt x="90" y="93"/>
                    <a:pt x="83" y="96"/>
                    <a:pt x="83" y="96"/>
                  </a:cubicBezTo>
                  <a:cubicBezTo>
                    <a:pt x="83" y="96"/>
                    <a:pt x="81" y="121"/>
                    <a:pt x="80" y="123"/>
                  </a:cubicBezTo>
                  <a:cubicBezTo>
                    <a:pt x="80" y="125"/>
                    <a:pt x="65" y="139"/>
                    <a:pt x="65" y="139"/>
                  </a:cubicBezTo>
                  <a:lnTo>
                    <a:pt x="11" y="10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9">
              <a:extLst>
                <a:ext uri="{FF2B5EF4-FFF2-40B4-BE49-F238E27FC236}">
                  <a16:creationId xmlns:a16="http://schemas.microsoft.com/office/drawing/2014/main" id="{51D59823-0027-4C26-89F0-F76D7AC152D4}"/>
                </a:ext>
              </a:extLst>
            </p:cNvPr>
            <p:cNvSpPr>
              <a:spLocks/>
            </p:cNvSpPr>
            <p:nvPr/>
          </p:nvSpPr>
          <p:spPr bwMode="auto">
            <a:xfrm>
              <a:off x="3116" y="939"/>
              <a:ext cx="320" cy="842"/>
            </a:xfrm>
            <a:custGeom>
              <a:avLst/>
              <a:gdLst>
                <a:gd name="T0" fmla="*/ 4 w 135"/>
                <a:gd name="T1" fmla="*/ 352 h 355"/>
                <a:gd name="T2" fmla="*/ 39 w 135"/>
                <a:gd name="T3" fmla="*/ 344 h 355"/>
                <a:gd name="T4" fmla="*/ 65 w 135"/>
                <a:gd name="T5" fmla="*/ 304 h 355"/>
                <a:gd name="T6" fmla="*/ 81 w 135"/>
                <a:gd name="T7" fmla="*/ 241 h 355"/>
                <a:gd name="T8" fmla="*/ 105 w 135"/>
                <a:gd name="T9" fmla="*/ 138 h 355"/>
                <a:gd name="T10" fmla="*/ 113 w 135"/>
                <a:gd name="T11" fmla="*/ 130 h 355"/>
                <a:gd name="T12" fmla="*/ 119 w 135"/>
                <a:gd name="T13" fmla="*/ 123 h 355"/>
                <a:gd name="T14" fmla="*/ 122 w 135"/>
                <a:gd name="T15" fmla="*/ 96 h 355"/>
                <a:gd name="T16" fmla="*/ 123 w 135"/>
                <a:gd name="T17" fmla="*/ 95 h 355"/>
                <a:gd name="T18" fmla="*/ 132 w 135"/>
                <a:gd name="T19" fmla="*/ 90 h 355"/>
                <a:gd name="T20" fmla="*/ 133 w 135"/>
                <a:gd name="T21" fmla="*/ 84 h 355"/>
                <a:gd name="T22" fmla="*/ 125 w 135"/>
                <a:gd name="T23" fmla="*/ 70 h 355"/>
                <a:gd name="T24" fmla="*/ 124 w 135"/>
                <a:gd name="T25" fmla="*/ 70 h 355"/>
                <a:gd name="T26" fmla="*/ 123 w 135"/>
                <a:gd name="T27" fmla="*/ 59 h 355"/>
                <a:gd name="T28" fmla="*/ 122 w 135"/>
                <a:gd name="T29" fmla="*/ 57 h 355"/>
                <a:gd name="T30" fmla="*/ 107 w 135"/>
                <a:gd name="T31" fmla="*/ 55 h 355"/>
                <a:gd name="T32" fmla="*/ 106 w 135"/>
                <a:gd name="T33" fmla="*/ 54 h 355"/>
                <a:gd name="T34" fmla="*/ 105 w 135"/>
                <a:gd name="T35" fmla="*/ 44 h 355"/>
                <a:gd name="T36" fmla="*/ 101 w 135"/>
                <a:gd name="T37" fmla="*/ 36 h 355"/>
                <a:gd name="T38" fmla="*/ 96 w 135"/>
                <a:gd name="T39" fmla="*/ 33 h 355"/>
                <a:gd name="T40" fmla="*/ 69 w 135"/>
                <a:gd name="T41" fmla="*/ 48 h 355"/>
                <a:gd name="T42" fmla="*/ 67 w 135"/>
                <a:gd name="T43" fmla="*/ 48 h 355"/>
                <a:gd name="T44" fmla="*/ 51 w 135"/>
                <a:gd name="T45" fmla="*/ 6 h 355"/>
                <a:gd name="T46" fmla="*/ 41 w 135"/>
                <a:gd name="T47" fmla="*/ 4 h 355"/>
                <a:gd name="T48" fmla="*/ 41 w 135"/>
                <a:gd name="T49" fmla="*/ 10 h 355"/>
                <a:gd name="T50" fmla="*/ 47 w 135"/>
                <a:gd name="T51" fmla="*/ 30 h 355"/>
                <a:gd name="T52" fmla="*/ 54 w 135"/>
                <a:gd name="T53" fmla="*/ 57 h 355"/>
                <a:gd name="T54" fmla="*/ 51 w 135"/>
                <a:gd name="T55" fmla="*/ 104 h 355"/>
                <a:gd name="T56" fmla="*/ 51 w 135"/>
                <a:gd name="T57" fmla="*/ 105 h 355"/>
                <a:gd name="T58" fmla="*/ 5 w 135"/>
                <a:gd name="T59" fmla="*/ 256 h 355"/>
                <a:gd name="T60" fmla="*/ 1 w 135"/>
                <a:gd name="T61" fmla="*/ 268 h 355"/>
                <a:gd name="T62" fmla="*/ 4 w 135"/>
                <a:gd name="T63" fmla="*/ 256 h 355"/>
                <a:gd name="T64" fmla="*/ 50 w 135"/>
                <a:gd name="T65" fmla="*/ 104 h 355"/>
                <a:gd name="T66" fmla="*/ 52 w 135"/>
                <a:gd name="T67" fmla="*/ 57 h 355"/>
                <a:gd name="T68" fmla="*/ 45 w 135"/>
                <a:gd name="T69" fmla="*/ 31 h 355"/>
                <a:gd name="T70" fmla="*/ 39 w 135"/>
                <a:gd name="T71" fmla="*/ 10 h 355"/>
                <a:gd name="T72" fmla="*/ 39 w 135"/>
                <a:gd name="T73" fmla="*/ 3 h 355"/>
                <a:gd name="T74" fmla="*/ 47 w 135"/>
                <a:gd name="T75" fmla="*/ 0 h 355"/>
                <a:gd name="T76" fmla="*/ 53 w 135"/>
                <a:gd name="T77" fmla="*/ 5 h 355"/>
                <a:gd name="T78" fmla="*/ 69 w 135"/>
                <a:gd name="T79" fmla="*/ 47 h 355"/>
                <a:gd name="T80" fmla="*/ 90 w 135"/>
                <a:gd name="T81" fmla="*/ 34 h 355"/>
                <a:gd name="T82" fmla="*/ 98 w 135"/>
                <a:gd name="T83" fmla="*/ 31 h 355"/>
                <a:gd name="T84" fmla="*/ 102 w 135"/>
                <a:gd name="T85" fmla="*/ 34 h 355"/>
                <a:gd name="T86" fmla="*/ 107 w 135"/>
                <a:gd name="T87" fmla="*/ 43 h 355"/>
                <a:gd name="T88" fmla="*/ 108 w 135"/>
                <a:gd name="T89" fmla="*/ 54 h 355"/>
                <a:gd name="T90" fmla="*/ 122 w 135"/>
                <a:gd name="T91" fmla="*/ 55 h 355"/>
                <a:gd name="T92" fmla="*/ 125 w 135"/>
                <a:gd name="T93" fmla="*/ 56 h 355"/>
                <a:gd name="T94" fmla="*/ 126 w 135"/>
                <a:gd name="T95" fmla="*/ 62 h 355"/>
                <a:gd name="T96" fmla="*/ 126 w 135"/>
                <a:gd name="T97" fmla="*/ 69 h 355"/>
                <a:gd name="T98" fmla="*/ 135 w 135"/>
                <a:gd name="T99" fmla="*/ 84 h 355"/>
                <a:gd name="T100" fmla="*/ 134 w 135"/>
                <a:gd name="T101" fmla="*/ 91 h 355"/>
                <a:gd name="T102" fmla="*/ 124 w 135"/>
                <a:gd name="T103" fmla="*/ 97 h 355"/>
                <a:gd name="T104" fmla="*/ 122 w 135"/>
                <a:gd name="T105" fmla="*/ 121 h 355"/>
                <a:gd name="T106" fmla="*/ 121 w 135"/>
                <a:gd name="T107" fmla="*/ 124 h 355"/>
                <a:gd name="T108" fmla="*/ 114 w 135"/>
                <a:gd name="T109" fmla="*/ 131 h 355"/>
                <a:gd name="T110" fmla="*/ 106 w 135"/>
                <a:gd name="T111" fmla="*/ 139 h 355"/>
                <a:gd name="T112" fmla="*/ 72 w 135"/>
                <a:gd name="T113" fmla="*/ 285 h 355"/>
                <a:gd name="T114" fmla="*/ 59 w 135"/>
                <a:gd name="T115" fmla="*/ 321 h 355"/>
                <a:gd name="T116" fmla="*/ 18 w 135"/>
                <a:gd name="T117" fmla="*/ 354 h 355"/>
                <a:gd name="T118" fmla="*/ 1 w 135"/>
                <a:gd name="T119" fmla="*/ 35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 h="355">
                  <a:moveTo>
                    <a:pt x="0" y="351"/>
                  </a:moveTo>
                  <a:cubicBezTo>
                    <a:pt x="0" y="350"/>
                    <a:pt x="1" y="351"/>
                    <a:pt x="4" y="352"/>
                  </a:cubicBezTo>
                  <a:cubicBezTo>
                    <a:pt x="7" y="354"/>
                    <a:pt x="12" y="354"/>
                    <a:pt x="18" y="354"/>
                  </a:cubicBezTo>
                  <a:cubicBezTo>
                    <a:pt x="24" y="353"/>
                    <a:pt x="32" y="350"/>
                    <a:pt x="39" y="344"/>
                  </a:cubicBezTo>
                  <a:cubicBezTo>
                    <a:pt x="45" y="338"/>
                    <a:pt x="52" y="330"/>
                    <a:pt x="58" y="320"/>
                  </a:cubicBezTo>
                  <a:cubicBezTo>
                    <a:pt x="61" y="315"/>
                    <a:pt x="63" y="310"/>
                    <a:pt x="65" y="304"/>
                  </a:cubicBezTo>
                  <a:cubicBezTo>
                    <a:pt x="67" y="298"/>
                    <a:pt x="69" y="291"/>
                    <a:pt x="70" y="284"/>
                  </a:cubicBezTo>
                  <a:cubicBezTo>
                    <a:pt x="74" y="271"/>
                    <a:pt x="77" y="256"/>
                    <a:pt x="81" y="241"/>
                  </a:cubicBezTo>
                  <a:cubicBezTo>
                    <a:pt x="88" y="210"/>
                    <a:pt x="96" y="176"/>
                    <a:pt x="104" y="138"/>
                  </a:cubicBezTo>
                  <a:cubicBezTo>
                    <a:pt x="105" y="138"/>
                    <a:pt x="105" y="138"/>
                    <a:pt x="105" y="138"/>
                  </a:cubicBezTo>
                  <a:cubicBezTo>
                    <a:pt x="105" y="138"/>
                    <a:pt x="105" y="138"/>
                    <a:pt x="105" y="138"/>
                  </a:cubicBezTo>
                  <a:cubicBezTo>
                    <a:pt x="108" y="135"/>
                    <a:pt x="110" y="132"/>
                    <a:pt x="113" y="130"/>
                  </a:cubicBezTo>
                  <a:cubicBezTo>
                    <a:pt x="114" y="128"/>
                    <a:pt x="116" y="127"/>
                    <a:pt x="117" y="125"/>
                  </a:cubicBezTo>
                  <a:cubicBezTo>
                    <a:pt x="118" y="125"/>
                    <a:pt x="118" y="124"/>
                    <a:pt x="119" y="123"/>
                  </a:cubicBezTo>
                  <a:cubicBezTo>
                    <a:pt x="119" y="123"/>
                    <a:pt x="119" y="122"/>
                    <a:pt x="120" y="121"/>
                  </a:cubicBezTo>
                  <a:cubicBezTo>
                    <a:pt x="121" y="113"/>
                    <a:pt x="121" y="104"/>
                    <a:pt x="122" y="96"/>
                  </a:cubicBezTo>
                  <a:cubicBezTo>
                    <a:pt x="122" y="95"/>
                    <a:pt x="122" y="95"/>
                    <a:pt x="122" y="95"/>
                  </a:cubicBezTo>
                  <a:cubicBezTo>
                    <a:pt x="123" y="95"/>
                    <a:pt x="123" y="95"/>
                    <a:pt x="123" y="95"/>
                  </a:cubicBezTo>
                  <a:cubicBezTo>
                    <a:pt x="125" y="94"/>
                    <a:pt x="128" y="92"/>
                    <a:pt x="131" y="91"/>
                  </a:cubicBezTo>
                  <a:cubicBezTo>
                    <a:pt x="131" y="91"/>
                    <a:pt x="132" y="90"/>
                    <a:pt x="132" y="90"/>
                  </a:cubicBezTo>
                  <a:cubicBezTo>
                    <a:pt x="133" y="90"/>
                    <a:pt x="133" y="89"/>
                    <a:pt x="133" y="88"/>
                  </a:cubicBezTo>
                  <a:cubicBezTo>
                    <a:pt x="133" y="87"/>
                    <a:pt x="133" y="86"/>
                    <a:pt x="133" y="84"/>
                  </a:cubicBezTo>
                  <a:cubicBezTo>
                    <a:pt x="133" y="81"/>
                    <a:pt x="132" y="78"/>
                    <a:pt x="131" y="76"/>
                  </a:cubicBezTo>
                  <a:cubicBezTo>
                    <a:pt x="130" y="73"/>
                    <a:pt x="128" y="71"/>
                    <a:pt x="125" y="70"/>
                  </a:cubicBezTo>
                  <a:cubicBezTo>
                    <a:pt x="124" y="70"/>
                    <a:pt x="124" y="70"/>
                    <a:pt x="124" y="70"/>
                  </a:cubicBezTo>
                  <a:cubicBezTo>
                    <a:pt x="124" y="70"/>
                    <a:pt x="124" y="70"/>
                    <a:pt x="124" y="70"/>
                  </a:cubicBezTo>
                  <a:cubicBezTo>
                    <a:pt x="124" y="67"/>
                    <a:pt x="124" y="65"/>
                    <a:pt x="124" y="62"/>
                  </a:cubicBezTo>
                  <a:cubicBezTo>
                    <a:pt x="124" y="61"/>
                    <a:pt x="123" y="60"/>
                    <a:pt x="123" y="59"/>
                  </a:cubicBezTo>
                  <a:cubicBezTo>
                    <a:pt x="123" y="58"/>
                    <a:pt x="123" y="58"/>
                    <a:pt x="123" y="57"/>
                  </a:cubicBezTo>
                  <a:cubicBezTo>
                    <a:pt x="122" y="57"/>
                    <a:pt x="122" y="57"/>
                    <a:pt x="122" y="57"/>
                  </a:cubicBezTo>
                  <a:cubicBezTo>
                    <a:pt x="122" y="57"/>
                    <a:pt x="122" y="57"/>
                    <a:pt x="122" y="57"/>
                  </a:cubicBezTo>
                  <a:cubicBezTo>
                    <a:pt x="117" y="56"/>
                    <a:pt x="112" y="56"/>
                    <a:pt x="107" y="55"/>
                  </a:cubicBezTo>
                  <a:cubicBezTo>
                    <a:pt x="106" y="55"/>
                    <a:pt x="106" y="55"/>
                    <a:pt x="106" y="55"/>
                  </a:cubicBezTo>
                  <a:cubicBezTo>
                    <a:pt x="106" y="54"/>
                    <a:pt x="106" y="54"/>
                    <a:pt x="106" y="54"/>
                  </a:cubicBezTo>
                  <a:cubicBezTo>
                    <a:pt x="106" y="52"/>
                    <a:pt x="106" y="49"/>
                    <a:pt x="106" y="46"/>
                  </a:cubicBezTo>
                  <a:cubicBezTo>
                    <a:pt x="106" y="46"/>
                    <a:pt x="106" y="45"/>
                    <a:pt x="105" y="44"/>
                  </a:cubicBezTo>
                  <a:cubicBezTo>
                    <a:pt x="105" y="43"/>
                    <a:pt x="104" y="42"/>
                    <a:pt x="104" y="41"/>
                  </a:cubicBezTo>
                  <a:cubicBezTo>
                    <a:pt x="103" y="39"/>
                    <a:pt x="102" y="37"/>
                    <a:pt x="101" y="36"/>
                  </a:cubicBezTo>
                  <a:cubicBezTo>
                    <a:pt x="100" y="35"/>
                    <a:pt x="99" y="34"/>
                    <a:pt x="99" y="34"/>
                  </a:cubicBezTo>
                  <a:cubicBezTo>
                    <a:pt x="98" y="33"/>
                    <a:pt x="97" y="33"/>
                    <a:pt x="96" y="33"/>
                  </a:cubicBezTo>
                  <a:cubicBezTo>
                    <a:pt x="95" y="34"/>
                    <a:pt x="93" y="35"/>
                    <a:pt x="91" y="36"/>
                  </a:cubicBezTo>
                  <a:cubicBezTo>
                    <a:pt x="83" y="40"/>
                    <a:pt x="76" y="44"/>
                    <a:pt x="69" y="48"/>
                  </a:cubicBezTo>
                  <a:cubicBezTo>
                    <a:pt x="68" y="49"/>
                    <a:pt x="68" y="49"/>
                    <a:pt x="68" y="49"/>
                  </a:cubicBezTo>
                  <a:cubicBezTo>
                    <a:pt x="67" y="48"/>
                    <a:pt x="67" y="48"/>
                    <a:pt x="67" y="48"/>
                  </a:cubicBezTo>
                  <a:cubicBezTo>
                    <a:pt x="64" y="38"/>
                    <a:pt x="60" y="29"/>
                    <a:pt x="56" y="20"/>
                  </a:cubicBezTo>
                  <a:cubicBezTo>
                    <a:pt x="54" y="15"/>
                    <a:pt x="53" y="11"/>
                    <a:pt x="51" y="6"/>
                  </a:cubicBezTo>
                  <a:cubicBezTo>
                    <a:pt x="50" y="4"/>
                    <a:pt x="49" y="2"/>
                    <a:pt x="46" y="2"/>
                  </a:cubicBezTo>
                  <a:cubicBezTo>
                    <a:pt x="44" y="1"/>
                    <a:pt x="42" y="2"/>
                    <a:pt x="41" y="4"/>
                  </a:cubicBezTo>
                  <a:cubicBezTo>
                    <a:pt x="41" y="5"/>
                    <a:pt x="40" y="6"/>
                    <a:pt x="41" y="7"/>
                  </a:cubicBezTo>
                  <a:cubicBezTo>
                    <a:pt x="41" y="8"/>
                    <a:pt x="41" y="9"/>
                    <a:pt x="41" y="10"/>
                  </a:cubicBezTo>
                  <a:cubicBezTo>
                    <a:pt x="42" y="12"/>
                    <a:pt x="43" y="15"/>
                    <a:pt x="43" y="17"/>
                  </a:cubicBezTo>
                  <a:cubicBezTo>
                    <a:pt x="44" y="21"/>
                    <a:pt x="46" y="26"/>
                    <a:pt x="47" y="30"/>
                  </a:cubicBezTo>
                  <a:cubicBezTo>
                    <a:pt x="49" y="39"/>
                    <a:pt x="51" y="48"/>
                    <a:pt x="54" y="57"/>
                  </a:cubicBezTo>
                  <a:cubicBezTo>
                    <a:pt x="54" y="57"/>
                    <a:pt x="54" y="57"/>
                    <a:pt x="54" y="57"/>
                  </a:cubicBezTo>
                  <a:cubicBezTo>
                    <a:pt x="54" y="57"/>
                    <a:pt x="54" y="57"/>
                    <a:pt x="54" y="57"/>
                  </a:cubicBezTo>
                  <a:cubicBezTo>
                    <a:pt x="53" y="74"/>
                    <a:pt x="52" y="89"/>
                    <a:pt x="51" y="104"/>
                  </a:cubicBezTo>
                  <a:cubicBezTo>
                    <a:pt x="51" y="104"/>
                    <a:pt x="51" y="104"/>
                    <a:pt x="51" y="104"/>
                  </a:cubicBezTo>
                  <a:cubicBezTo>
                    <a:pt x="51" y="105"/>
                    <a:pt x="51" y="105"/>
                    <a:pt x="51" y="105"/>
                  </a:cubicBezTo>
                  <a:cubicBezTo>
                    <a:pt x="36" y="154"/>
                    <a:pt x="24" y="195"/>
                    <a:pt x="15" y="223"/>
                  </a:cubicBezTo>
                  <a:cubicBezTo>
                    <a:pt x="11" y="237"/>
                    <a:pt x="7" y="248"/>
                    <a:pt x="5" y="256"/>
                  </a:cubicBezTo>
                  <a:cubicBezTo>
                    <a:pt x="4" y="260"/>
                    <a:pt x="3" y="263"/>
                    <a:pt x="2" y="265"/>
                  </a:cubicBezTo>
                  <a:cubicBezTo>
                    <a:pt x="1" y="267"/>
                    <a:pt x="1" y="268"/>
                    <a:pt x="1" y="268"/>
                  </a:cubicBezTo>
                  <a:cubicBezTo>
                    <a:pt x="1" y="268"/>
                    <a:pt x="1" y="267"/>
                    <a:pt x="2" y="265"/>
                  </a:cubicBezTo>
                  <a:cubicBezTo>
                    <a:pt x="2" y="263"/>
                    <a:pt x="3" y="260"/>
                    <a:pt x="4" y="256"/>
                  </a:cubicBezTo>
                  <a:cubicBezTo>
                    <a:pt x="7" y="248"/>
                    <a:pt x="10" y="237"/>
                    <a:pt x="14" y="223"/>
                  </a:cubicBezTo>
                  <a:cubicBezTo>
                    <a:pt x="23" y="194"/>
                    <a:pt x="35" y="153"/>
                    <a:pt x="50" y="104"/>
                  </a:cubicBezTo>
                  <a:cubicBezTo>
                    <a:pt x="50" y="104"/>
                    <a:pt x="50" y="104"/>
                    <a:pt x="50" y="104"/>
                  </a:cubicBezTo>
                  <a:cubicBezTo>
                    <a:pt x="50" y="89"/>
                    <a:pt x="51" y="73"/>
                    <a:pt x="52" y="57"/>
                  </a:cubicBezTo>
                  <a:cubicBezTo>
                    <a:pt x="52" y="57"/>
                    <a:pt x="52" y="57"/>
                    <a:pt x="52" y="57"/>
                  </a:cubicBezTo>
                  <a:cubicBezTo>
                    <a:pt x="50" y="49"/>
                    <a:pt x="47" y="40"/>
                    <a:pt x="45" y="31"/>
                  </a:cubicBezTo>
                  <a:cubicBezTo>
                    <a:pt x="44" y="26"/>
                    <a:pt x="43" y="22"/>
                    <a:pt x="41" y="17"/>
                  </a:cubicBezTo>
                  <a:cubicBezTo>
                    <a:pt x="41" y="15"/>
                    <a:pt x="40" y="13"/>
                    <a:pt x="39" y="10"/>
                  </a:cubicBezTo>
                  <a:cubicBezTo>
                    <a:pt x="39" y="9"/>
                    <a:pt x="39" y="8"/>
                    <a:pt x="39" y="7"/>
                  </a:cubicBezTo>
                  <a:cubicBezTo>
                    <a:pt x="38" y="5"/>
                    <a:pt x="39" y="4"/>
                    <a:pt x="39" y="3"/>
                  </a:cubicBezTo>
                  <a:cubicBezTo>
                    <a:pt x="40" y="2"/>
                    <a:pt x="41" y="1"/>
                    <a:pt x="43" y="0"/>
                  </a:cubicBezTo>
                  <a:cubicBezTo>
                    <a:pt x="44" y="0"/>
                    <a:pt x="46" y="0"/>
                    <a:pt x="47" y="0"/>
                  </a:cubicBezTo>
                  <a:cubicBezTo>
                    <a:pt x="48" y="0"/>
                    <a:pt x="49" y="1"/>
                    <a:pt x="51" y="2"/>
                  </a:cubicBezTo>
                  <a:cubicBezTo>
                    <a:pt x="52" y="3"/>
                    <a:pt x="52" y="4"/>
                    <a:pt x="53" y="5"/>
                  </a:cubicBezTo>
                  <a:cubicBezTo>
                    <a:pt x="54" y="10"/>
                    <a:pt x="56" y="14"/>
                    <a:pt x="58" y="19"/>
                  </a:cubicBezTo>
                  <a:cubicBezTo>
                    <a:pt x="62" y="28"/>
                    <a:pt x="66" y="38"/>
                    <a:pt x="69" y="47"/>
                  </a:cubicBezTo>
                  <a:cubicBezTo>
                    <a:pt x="68" y="47"/>
                    <a:pt x="68" y="47"/>
                    <a:pt x="68" y="47"/>
                  </a:cubicBezTo>
                  <a:cubicBezTo>
                    <a:pt x="75" y="42"/>
                    <a:pt x="82" y="38"/>
                    <a:pt x="90" y="34"/>
                  </a:cubicBezTo>
                  <a:cubicBezTo>
                    <a:pt x="92" y="33"/>
                    <a:pt x="94" y="32"/>
                    <a:pt x="96" y="31"/>
                  </a:cubicBezTo>
                  <a:cubicBezTo>
                    <a:pt x="96" y="31"/>
                    <a:pt x="97" y="31"/>
                    <a:pt x="98" y="31"/>
                  </a:cubicBezTo>
                  <a:cubicBezTo>
                    <a:pt x="99" y="31"/>
                    <a:pt x="99" y="31"/>
                    <a:pt x="100" y="32"/>
                  </a:cubicBezTo>
                  <a:cubicBezTo>
                    <a:pt x="101" y="33"/>
                    <a:pt x="102" y="33"/>
                    <a:pt x="102" y="34"/>
                  </a:cubicBezTo>
                  <a:cubicBezTo>
                    <a:pt x="104" y="36"/>
                    <a:pt x="105" y="38"/>
                    <a:pt x="106" y="40"/>
                  </a:cubicBezTo>
                  <a:cubicBezTo>
                    <a:pt x="106" y="41"/>
                    <a:pt x="107" y="42"/>
                    <a:pt x="107" y="43"/>
                  </a:cubicBezTo>
                  <a:cubicBezTo>
                    <a:pt x="108" y="44"/>
                    <a:pt x="108" y="45"/>
                    <a:pt x="108" y="46"/>
                  </a:cubicBezTo>
                  <a:cubicBezTo>
                    <a:pt x="108" y="49"/>
                    <a:pt x="108" y="52"/>
                    <a:pt x="108" y="54"/>
                  </a:cubicBezTo>
                  <a:cubicBezTo>
                    <a:pt x="107" y="53"/>
                    <a:pt x="107" y="53"/>
                    <a:pt x="107" y="53"/>
                  </a:cubicBezTo>
                  <a:cubicBezTo>
                    <a:pt x="112" y="53"/>
                    <a:pt x="117" y="54"/>
                    <a:pt x="122" y="55"/>
                  </a:cubicBezTo>
                  <a:cubicBezTo>
                    <a:pt x="123" y="55"/>
                    <a:pt x="123" y="55"/>
                    <a:pt x="123" y="55"/>
                  </a:cubicBezTo>
                  <a:cubicBezTo>
                    <a:pt x="125" y="56"/>
                    <a:pt x="125" y="56"/>
                    <a:pt x="125" y="56"/>
                  </a:cubicBezTo>
                  <a:cubicBezTo>
                    <a:pt x="125" y="57"/>
                    <a:pt x="125" y="58"/>
                    <a:pt x="125" y="59"/>
                  </a:cubicBezTo>
                  <a:cubicBezTo>
                    <a:pt x="125" y="60"/>
                    <a:pt x="126" y="61"/>
                    <a:pt x="126" y="62"/>
                  </a:cubicBezTo>
                  <a:cubicBezTo>
                    <a:pt x="126" y="65"/>
                    <a:pt x="126" y="67"/>
                    <a:pt x="126" y="69"/>
                  </a:cubicBezTo>
                  <a:cubicBezTo>
                    <a:pt x="126" y="69"/>
                    <a:pt x="126" y="69"/>
                    <a:pt x="126" y="69"/>
                  </a:cubicBezTo>
                  <a:cubicBezTo>
                    <a:pt x="129" y="70"/>
                    <a:pt x="132" y="71"/>
                    <a:pt x="133" y="75"/>
                  </a:cubicBezTo>
                  <a:cubicBezTo>
                    <a:pt x="134" y="78"/>
                    <a:pt x="135" y="81"/>
                    <a:pt x="135" y="84"/>
                  </a:cubicBezTo>
                  <a:cubicBezTo>
                    <a:pt x="135" y="86"/>
                    <a:pt x="135" y="87"/>
                    <a:pt x="135" y="89"/>
                  </a:cubicBezTo>
                  <a:cubicBezTo>
                    <a:pt x="135" y="90"/>
                    <a:pt x="134" y="91"/>
                    <a:pt x="134" y="91"/>
                  </a:cubicBezTo>
                  <a:cubicBezTo>
                    <a:pt x="133" y="92"/>
                    <a:pt x="132" y="92"/>
                    <a:pt x="132" y="93"/>
                  </a:cubicBezTo>
                  <a:cubicBezTo>
                    <a:pt x="129" y="94"/>
                    <a:pt x="126" y="96"/>
                    <a:pt x="124" y="97"/>
                  </a:cubicBezTo>
                  <a:cubicBezTo>
                    <a:pt x="124" y="96"/>
                    <a:pt x="124" y="96"/>
                    <a:pt x="124" y="96"/>
                  </a:cubicBezTo>
                  <a:cubicBezTo>
                    <a:pt x="123" y="104"/>
                    <a:pt x="123" y="113"/>
                    <a:pt x="122" y="121"/>
                  </a:cubicBezTo>
                  <a:cubicBezTo>
                    <a:pt x="121" y="122"/>
                    <a:pt x="121" y="122"/>
                    <a:pt x="121" y="122"/>
                  </a:cubicBezTo>
                  <a:cubicBezTo>
                    <a:pt x="121" y="123"/>
                    <a:pt x="121" y="124"/>
                    <a:pt x="121" y="124"/>
                  </a:cubicBezTo>
                  <a:cubicBezTo>
                    <a:pt x="120" y="125"/>
                    <a:pt x="119" y="126"/>
                    <a:pt x="119" y="127"/>
                  </a:cubicBezTo>
                  <a:cubicBezTo>
                    <a:pt x="117" y="128"/>
                    <a:pt x="116" y="130"/>
                    <a:pt x="114" y="131"/>
                  </a:cubicBezTo>
                  <a:cubicBezTo>
                    <a:pt x="112" y="134"/>
                    <a:pt x="109" y="137"/>
                    <a:pt x="106" y="139"/>
                  </a:cubicBezTo>
                  <a:cubicBezTo>
                    <a:pt x="106" y="139"/>
                    <a:pt x="106" y="139"/>
                    <a:pt x="106" y="139"/>
                  </a:cubicBezTo>
                  <a:cubicBezTo>
                    <a:pt x="98" y="176"/>
                    <a:pt x="89" y="211"/>
                    <a:pt x="82" y="241"/>
                  </a:cubicBezTo>
                  <a:cubicBezTo>
                    <a:pt x="78" y="257"/>
                    <a:pt x="75" y="271"/>
                    <a:pt x="72" y="285"/>
                  </a:cubicBezTo>
                  <a:cubicBezTo>
                    <a:pt x="70" y="291"/>
                    <a:pt x="69" y="298"/>
                    <a:pt x="67" y="304"/>
                  </a:cubicBezTo>
                  <a:cubicBezTo>
                    <a:pt x="64" y="310"/>
                    <a:pt x="62" y="316"/>
                    <a:pt x="59" y="321"/>
                  </a:cubicBezTo>
                  <a:cubicBezTo>
                    <a:pt x="53" y="331"/>
                    <a:pt x="46" y="339"/>
                    <a:pt x="39" y="345"/>
                  </a:cubicBezTo>
                  <a:cubicBezTo>
                    <a:pt x="32" y="351"/>
                    <a:pt x="25" y="354"/>
                    <a:pt x="18" y="354"/>
                  </a:cubicBezTo>
                  <a:cubicBezTo>
                    <a:pt x="12" y="355"/>
                    <a:pt x="7" y="354"/>
                    <a:pt x="4" y="353"/>
                  </a:cubicBezTo>
                  <a:cubicBezTo>
                    <a:pt x="3" y="352"/>
                    <a:pt x="1" y="352"/>
                    <a:pt x="1" y="351"/>
                  </a:cubicBezTo>
                  <a:cubicBezTo>
                    <a:pt x="0" y="351"/>
                    <a:pt x="0" y="351"/>
                    <a:pt x="0" y="35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0">
              <a:extLst>
                <a:ext uri="{FF2B5EF4-FFF2-40B4-BE49-F238E27FC236}">
                  <a16:creationId xmlns:a16="http://schemas.microsoft.com/office/drawing/2014/main" id="{D674E906-7320-4FF9-9A7E-3007E2F0E0B0}"/>
                </a:ext>
              </a:extLst>
            </p:cNvPr>
            <p:cNvSpPr>
              <a:spLocks/>
            </p:cNvSpPr>
            <p:nvPr/>
          </p:nvSpPr>
          <p:spPr bwMode="auto">
            <a:xfrm>
              <a:off x="3320" y="1064"/>
              <a:ext cx="50" cy="22"/>
            </a:xfrm>
            <a:custGeom>
              <a:avLst/>
              <a:gdLst>
                <a:gd name="T0" fmla="*/ 21 w 21"/>
                <a:gd name="T1" fmla="*/ 1 h 9"/>
                <a:gd name="T2" fmla="*/ 18 w 21"/>
                <a:gd name="T3" fmla="*/ 2 h 9"/>
                <a:gd name="T4" fmla="*/ 10 w 21"/>
                <a:gd name="T5" fmla="*/ 3 h 9"/>
                <a:gd name="T6" fmla="*/ 3 w 21"/>
                <a:gd name="T7" fmla="*/ 6 h 9"/>
                <a:gd name="T8" fmla="*/ 1 w 21"/>
                <a:gd name="T9" fmla="*/ 9 h 9"/>
                <a:gd name="T10" fmla="*/ 2 w 21"/>
                <a:gd name="T11" fmla="*/ 5 h 9"/>
                <a:gd name="T12" fmla="*/ 9 w 21"/>
                <a:gd name="T13" fmla="*/ 1 h 9"/>
                <a:gd name="T14" fmla="*/ 18 w 21"/>
                <a:gd name="T15" fmla="*/ 0 h 9"/>
                <a:gd name="T16" fmla="*/ 21 w 21"/>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
                  <a:moveTo>
                    <a:pt x="21" y="1"/>
                  </a:moveTo>
                  <a:cubicBezTo>
                    <a:pt x="21" y="1"/>
                    <a:pt x="20" y="2"/>
                    <a:pt x="18" y="2"/>
                  </a:cubicBezTo>
                  <a:cubicBezTo>
                    <a:pt x="16" y="2"/>
                    <a:pt x="13" y="2"/>
                    <a:pt x="10" y="3"/>
                  </a:cubicBezTo>
                  <a:cubicBezTo>
                    <a:pt x="7" y="3"/>
                    <a:pt x="4" y="5"/>
                    <a:pt x="3" y="6"/>
                  </a:cubicBezTo>
                  <a:cubicBezTo>
                    <a:pt x="1" y="8"/>
                    <a:pt x="1" y="9"/>
                    <a:pt x="1" y="9"/>
                  </a:cubicBezTo>
                  <a:cubicBezTo>
                    <a:pt x="0" y="9"/>
                    <a:pt x="0" y="7"/>
                    <a:pt x="2" y="5"/>
                  </a:cubicBezTo>
                  <a:cubicBezTo>
                    <a:pt x="3" y="3"/>
                    <a:pt x="6" y="2"/>
                    <a:pt x="9" y="1"/>
                  </a:cubicBezTo>
                  <a:cubicBezTo>
                    <a:pt x="13" y="0"/>
                    <a:pt x="16" y="0"/>
                    <a:pt x="18" y="0"/>
                  </a:cubicBezTo>
                  <a:cubicBezTo>
                    <a:pt x="20" y="1"/>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1">
              <a:extLst>
                <a:ext uri="{FF2B5EF4-FFF2-40B4-BE49-F238E27FC236}">
                  <a16:creationId xmlns:a16="http://schemas.microsoft.com/office/drawing/2014/main" id="{3DE4E734-8156-4620-BEF2-8C46D9A469A6}"/>
                </a:ext>
              </a:extLst>
            </p:cNvPr>
            <p:cNvSpPr>
              <a:spLocks/>
            </p:cNvSpPr>
            <p:nvPr/>
          </p:nvSpPr>
          <p:spPr bwMode="auto">
            <a:xfrm>
              <a:off x="3341" y="1057"/>
              <a:ext cx="8" cy="12"/>
            </a:xfrm>
            <a:custGeom>
              <a:avLst/>
              <a:gdLst>
                <a:gd name="T0" fmla="*/ 0 w 3"/>
                <a:gd name="T1" fmla="*/ 5 h 5"/>
                <a:gd name="T2" fmla="*/ 0 w 3"/>
                <a:gd name="T3" fmla="*/ 2 h 5"/>
                <a:gd name="T4" fmla="*/ 2 w 3"/>
                <a:gd name="T5" fmla="*/ 0 h 5"/>
                <a:gd name="T6" fmla="*/ 2 w 3"/>
                <a:gd name="T7" fmla="*/ 3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cubicBezTo>
                    <a:pt x="0" y="4"/>
                    <a:pt x="0" y="3"/>
                    <a:pt x="0" y="2"/>
                  </a:cubicBezTo>
                  <a:cubicBezTo>
                    <a:pt x="1" y="1"/>
                    <a:pt x="2" y="0"/>
                    <a:pt x="2" y="0"/>
                  </a:cubicBezTo>
                  <a:cubicBezTo>
                    <a:pt x="3" y="0"/>
                    <a:pt x="3" y="1"/>
                    <a:pt x="2" y="3"/>
                  </a:cubicBezTo>
                  <a:cubicBezTo>
                    <a:pt x="2" y="4"/>
                    <a:pt x="1" y="5"/>
                    <a:pt x="0" y="5"/>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2">
              <a:extLst>
                <a:ext uri="{FF2B5EF4-FFF2-40B4-BE49-F238E27FC236}">
                  <a16:creationId xmlns:a16="http://schemas.microsoft.com/office/drawing/2014/main" id="{12035BF1-8FCD-4877-AC79-3F92E1C450C7}"/>
                </a:ext>
              </a:extLst>
            </p:cNvPr>
            <p:cNvSpPr>
              <a:spLocks/>
            </p:cNvSpPr>
            <p:nvPr/>
          </p:nvSpPr>
          <p:spPr bwMode="auto">
            <a:xfrm>
              <a:off x="3365" y="1100"/>
              <a:ext cx="50" cy="21"/>
            </a:xfrm>
            <a:custGeom>
              <a:avLst/>
              <a:gdLst>
                <a:gd name="T0" fmla="*/ 21 w 21"/>
                <a:gd name="T1" fmla="*/ 1 h 9"/>
                <a:gd name="T2" fmla="*/ 9 w 21"/>
                <a:gd name="T3" fmla="*/ 3 h 9"/>
                <a:gd name="T4" fmla="*/ 2 w 21"/>
                <a:gd name="T5" fmla="*/ 6 h 9"/>
                <a:gd name="T6" fmla="*/ 1 w 21"/>
                <a:gd name="T7" fmla="*/ 9 h 9"/>
                <a:gd name="T8" fmla="*/ 1 w 21"/>
                <a:gd name="T9" fmla="*/ 5 h 9"/>
                <a:gd name="T10" fmla="*/ 4 w 21"/>
                <a:gd name="T11" fmla="*/ 2 h 9"/>
                <a:gd name="T12" fmla="*/ 9 w 21"/>
                <a:gd name="T13" fmla="*/ 1 h 9"/>
                <a:gd name="T14" fmla="*/ 21 w 2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9">
                  <a:moveTo>
                    <a:pt x="21" y="1"/>
                  </a:moveTo>
                  <a:cubicBezTo>
                    <a:pt x="21" y="2"/>
                    <a:pt x="16" y="2"/>
                    <a:pt x="9" y="3"/>
                  </a:cubicBezTo>
                  <a:cubicBezTo>
                    <a:pt x="6" y="3"/>
                    <a:pt x="3" y="4"/>
                    <a:pt x="2" y="6"/>
                  </a:cubicBezTo>
                  <a:cubicBezTo>
                    <a:pt x="1" y="8"/>
                    <a:pt x="2" y="9"/>
                    <a:pt x="1" y="9"/>
                  </a:cubicBezTo>
                  <a:cubicBezTo>
                    <a:pt x="1" y="9"/>
                    <a:pt x="0" y="8"/>
                    <a:pt x="1" y="5"/>
                  </a:cubicBezTo>
                  <a:cubicBezTo>
                    <a:pt x="2" y="4"/>
                    <a:pt x="3" y="3"/>
                    <a:pt x="4" y="2"/>
                  </a:cubicBezTo>
                  <a:cubicBezTo>
                    <a:pt x="5" y="1"/>
                    <a:pt x="7" y="1"/>
                    <a:pt x="9" y="1"/>
                  </a:cubicBezTo>
                  <a:cubicBezTo>
                    <a:pt x="15" y="0"/>
                    <a:pt x="21" y="1"/>
                    <a:pt x="21" y="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3">
              <a:extLst>
                <a:ext uri="{FF2B5EF4-FFF2-40B4-BE49-F238E27FC236}">
                  <a16:creationId xmlns:a16="http://schemas.microsoft.com/office/drawing/2014/main" id="{15CBB57C-FEE4-4F17-9A46-84B74DCB7EF5}"/>
                </a:ext>
              </a:extLst>
            </p:cNvPr>
            <p:cNvSpPr>
              <a:spLocks/>
            </p:cNvSpPr>
            <p:nvPr/>
          </p:nvSpPr>
          <p:spPr bwMode="auto">
            <a:xfrm>
              <a:off x="3406" y="1138"/>
              <a:ext cx="4" cy="31"/>
            </a:xfrm>
            <a:custGeom>
              <a:avLst/>
              <a:gdLst>
                <a:gd name="T0" fmla="*/ 1 w 2"/>
                <a:gd name="T1" fmla="*/ 0 h 13"/>
                <a:gd name="T2" fmla="*/ 2 w 2"/>
                <a:gd name="T3" fmla="*/ 6 h 13"/>
                <a:gd name="T4" fmla="*/ 1 w 2"/>
                <a:gd name="T5" fmla="*/ 13 h 13"/>
                <a:gd name="T6" fmla="*/ 0 w 2"/>
                <a:gd name="T7" fmla="*/ 6 h 13"/>
                <a:gd name="T8" fmla="*/ 1 w 2"/>
                <a:gd name="T9" fmla="*/ 0 h 13"/>
              </a:gdLst>
              <a:ahLst/>
              <a:cxnLst>
                <a:cxn ang="0">
                  <a:pos x="T0" y="T1"/>
                </a:cxn>
                <a:cxn ang="0">
                  <a:pos x="T2" y="T3"/>
                </a:cxn>
                <a:cxn ang="0">
                  <a:pos x="T4" y="T5"/>
                </a:cxn>
                <a:cxn ang="0">
                  <a:pos x="T6" y="T7"/>
                </a:cxn>
                <a:cxn ang="0">
                  <a:pos x="T8" y="T9"/>
                </a:cxn>
              </a:cxnLst>
              <a:rect l="0" t="0" r="r" b="b"/>
              <a:pathLst>
                <a:path w="2" h="13">
                  <a:moveTo>
                    <a:pt x="1" y="0"/>
                  </a:moveTo>
                  <a:cubicBezTo>
                    <a:pt x="2" y="0"/>
                    <a:pt x="2" y="3"/>
                    <a:pt x="2" y="6"/>
                  </a:cubicBezTo>
                  <a:cubicBezTo>
                    <a:pt x="2" y="10"/>
                    <a:pt x="1" y="13"/>
                    <a:pt x="1" y="13"/>
                  </a:cubicBezTo>
                  <a:cubicBezTo>
                    <a:pt x="0" y="13"/>
                    <a:pt x="0" y="10"/>
                    <a:pt x="0" y="6"/>
                  </a:cubicBezTo>
                  <a:cubicBezTo>
                    <a:pt x="0" y="2"/>
                    <a:pt x="1" y="0"/>
                    <a:pt x="1"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4">
              <a:extLst>
                <a:ext uri="{FF2B5EF4-FFF2-40B4-BE49-F238E27FC236}">
                  <a16:creationId xmlns:a16="http://schemas.microsoft.com/office/drawing/2014/main" id="{C52236F3-0002-4CE9-8D29-641D4C7E0356}"/>
                </a:ext>
              </a:extLst>
            </p:cNvPr>
            <p:cNvSpPr>
              <a:spLocks/>
            </p:cNvSpPr>
            <p:nvPr/>
          </p:nvSpPr>
          <p:spPr bwMode="auto">
            <a:xfrm>
              <a:off x="3448" y="1335"/>
              <a:ext cx="69" cy="57"/>
            </a:xfrm>
            <a:custGeom>
              <a:avLst/>
              <a:gdLst>
                <a:gd name="T0" fmla="*/ 0 w 29"/>
                <a:gd name="T1" fmla="*/ 24 h 24"/>
                <a:gd name="T2" fmla="*/ 3 w 29"/>
                <a:gd name="T3" fmla="*/ 12 h 24"/>
                <a:gd name="T4" fmla="*/ 9 w 29"/>
                <a:gd name="T5" fmla="*/ 11 h 24"/>
                <a:gd name="T6" fmla="*/ 14 w 29"/>
                <a:gd name="T7" fmla="*/ 15 h 24"/>
                <a:gd name="T8" fmla="*/ 17 w 29"/>
                <a:gd name="T9" fmla="*/ 4 h 24"/>
                <a:gd name="T10" fmla="*/ 23 w 29"/>
                <a:gd name="T11" fmla="*/ 3 h 24"/>
                <a:gd name="T12" fmla="*/ 29 w 29"/>
                <a:gd name="T13" fmla="*/ 17 h 24"/>
                <a:gd name="T14" fmla="*/ 0 w 29"/>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4">
                  <a:moveTo>
                    <a:pt x="0" y="24"/>
                  </a:moveTo>
                  <a:cubicBezTo>
                    <a:pt x="3" y="12"/>
                    <a:pt x="3" y="12"/>
                    <a:pt x="3" y="12"/>
                  </a:cubicBezTo>
                  <a:cubicBezTo>
                    <a:pt x="4" y="10"/>
                    <a:pt x="7" y="9"/>
                    <a:pt x="9" y="11"/>
                  </a:cubicBezTo>
                  <a:cubicBezTo>
                    <a:pt x="14" y="15"/>
                    <a:pt x="14" y="15"/>
                    <a:pt x="14" y="15"/>
                  </a:cubicBezTo>
                  <a:cubicBezTo>
                    <a:pt x="17" y="4"/>
                    <a:pt x="17" y="4"/>
                    <a:pt x="17" y="4"/>
                  </a:cubicBezTo>
                  <a:cubicBezTo>
                    <a:pt x="17" y="1"/>
                    <a:pt x="21" y="0"/>
                    <a:pt x="23" y="3"/>
                  </a:cubicBezTo>
                  <a:cubicBezTo>
                    <a:pt x="29" y="17"/>
                    <a:pt x="29" y="17"/>
                    <a:pt x="29" y="17"/>
                  </a:cubicBezTo>
                  <a:lnTo>
                    <a:pt x="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5">
              <a:extLst>
                <a:ext uri="{FF2B5EF4-FFF2-40B4-BE49-F238E27FC236}">
                  <a16:creationId xmlns:a16="http://schemas.microsoft.com/office/drawing/2014/main" id="{0C0BB37A-83C0-417C-B0D5-555BFDC20A74}"/>
                </a:ext>
              </a:extLst>
            </p:cNvPr>
            <p:cNvSpPr>
              <a:spLocks/>
            </p:cNvSpPr>
            <p:nvPr/>
          </p:nvSpPr>
          <p:spPr bwMode="auto">
            <a:xfrm>
              <a:off x="3451" y="1387"/>
              <a:ext cx="69" cy="19"/>
            </a:xfrm>
            <a:custGeom>
              <a:avLst/>
              <a:gdLst>
                <a:gd name="T0" fmla="*/ 28 w 29"/>
                <a:gd name="T1" fmla="*/ 0 h 8"/>
                <a:gd name="T2" fmla="*/ 14 w 29"/>
                <a:gd name="T3" fmla="*/ 5 h 8"/>
                <a:gd name="T4" fmla="*/ 0 w 29"/>
                <a:gd name="T5" fmla="*/ 7 h 8"/>
                <a:gd name="T6" fmla="*/ 14 w 29"/>
                <a:gd name="T7" fmla="*/ 3 h 8"/>
                <a:gd name="T8" fmla="*/ 28 w 29"/>
                <a:gd name="T9" fmla="*/ 0 h 8"/>
              </a:gdLst>
              <a:ahLst/>
              <a:cxnLst>
                <a:cxn ang="0">
                  <a:pos x="T0" y="T1"/>
                </a:cxn>
                <a:cxn ang="0">
                  <a:pos x="T2" y="T3"/>
                </a:cxn>
                <a:cxn ang="0">
                  <a:pos x="T4" y="T5"/>
                </a:cxn>
                <a:cxn ang="0">
                  <a:pos x="T6" y="T7"/>
                </a:cxn>
                <a:cxn ang="0">
                  <a:pos x="T8" y="T9"/>
                </a:cxn>
              </a:cxnLst>
              <a:rect l="0" t="0" r="r" b="b"/>
              <a:pathLst>
                <a:path w="29" h="8">
                  <a:moveTo>
                    <a:pt x="28" y="0"/>
                  </a:moveTo>
                  <a:cubicBezTo>
                    <a:pt x="29" y="1"/>
                    <a:pt x="22" y="3"/>
                    <a:pt x="14" y="5"/>
                  </a:cubicBezTo>
                  <a:cubicBezTo>
                    <a:pt x="6" y="7"/>
                    <a:pt x="0" y="8"/>
                    <a:pt x="0" y="7"/>
                  </a:cubicBezTo>
                  <a:cubicBezTo>
                    <a:pt x="0" y="7"/>
                    <a:pt x="6" y="5"/>
                    <a:pt x="14" y="3"/>
                  </a:cubicBezTo>
                  <a:cubicBezTo>
                    <a:pt x="22" y="1"/>
                    <a:pt x="28" y="0"/>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6">
              <a:extLst>
                <a:ext uri="{FF2B5EF4-FFF2-40B4-BE49-F238E27FC236}">
                  <a16:creationId xmlns:a16="http://schemas.microsoft.com/office/drawing/2014/main" id="{E58EECD8-245D-423F-AB6A-A8661794CB72}"/>
                </a:ext>
              </a:extLst>
            </p:cNvPr>
            <p:cNvSpPr>
              <a:spLocks/>
            </p:cNvSpPr>
            <p:nvPr/>
          </p:nvSpPr>
          <p:spPr bwMode="auto">
            <a:xfrm>
              <a:off x="2928" y="1226"/>
              <a:ext cx="41" cy="349"/>
            </a:xfrm>
            <a:custGeom>
              <a:avLst/>
              <a:gdLst>
                <a:gd name="T0" fmla="*/ 11 w 17"/>
                <a:gd name="T1" fmla="*/ 0 h 147"/>
                <a:gd name="T2" fmla="*/ 7 w 17"/>
                <a:gd name="T3" fmla="*/ 4 h 147"/>
                <a:gd name="T4" fmla="*/ 2 w 17"/>
                <a:gd name="T5" fmla="*/ 20 h 147"/>
                <a:gd name="T6" fmla="*/ 1 w 17"/>
                <a:gd name="T7" fmla="*/ 44 h 147"/>
                <a:gd name="T8" fmla="*/ 3 w 17"/>
                <a:gd name="T9" fmla="*/ 73 h 147"/>
                <a:gd name="T10" fmla="*/ 12 w 17"/>
                <a:gd name="T11" fmla="*/ 126 h 147"/>
                <a:gd name="T12" fmla="*/ 15 w 17"/>
                <a:gd name="T13" fmla="*/ 142 h 147"/>
                <a:gd name="T14" fmla="*/ 16 w 17"/>
                <a:gd name="T15" fmla="*/ 146 h 147"/>
                <a:gd name="T16" fmla="*/ 17 w 17"/>
                <a:gd name="T17" fmla="*/ 147 h 147"/>
                <a:gd name="T18" fmla="*/ 16 w 17"/>
                <a:gd name="T19" fmla="*/ 146 h 147"/>
                <a:gd name="T20" fmla="*/ 15 w 17"/>
                <a:gd name="T21" fmla="*/ 142 h 147"/>
                <a:gd name="T22" fmla="*/ 11 w 17"/>
                <a:gd name="T23" fmla="*/ 126 h 147"/>
                <a:gd name="T24" fmla="*/ 2 w 17"/>
                <a:gd name="T25" fmla="*/ 73 h 147"/>
                <a:gd name="T26" fmla="*/ 0 w 17"/>
                <a:gd name="T27" fmla="*/ 44 h 147"/>
                <a:gd name="T28" fmla="*/ 1 w 17"/>
                <a:gd name="T29" fmla="*/ 19 h 147"/>
                <a:gd name="T30" fmla="*/ 7 w 17"/>
                <a:gd name="T31" fmla="*/ 4 h 147"/>
                <a:gd name="T32" fmla="*/ 11 w 17"/>
                <a:gd name="T3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47">
                  <a:moveTo>
                    <a:pt x="11" y="0"/>
                  </a:moveTo>
                  <a:cubicBezTo>
                    <a:pt x="11" y="0"/>
                    <a:pt x="9" y="1"/>
                    <a:pt x="7" y="4"/>
                  </a:cubicBezTo>
                  <a:cubicBezTo>
                    <a:pt x="5" y="8"/>
                    <a:pt x="3" y="13"/>
                    <a:pt x="2" y="20"/>
                  </a:cubicBezTo>
                  <a:cubicBezTo>
                    <a:pt x="0" y="26"/>
                    <a:pt x="0" y="34"/>
                    <a:pt x="1" y="44"/>
                  </a:cubicBezTo>
                  <a:cubicBezTo>
                    <a:pt x="1" y="53"/>
                    <a:pt x="2" y="63"/>
                    <a:pt x="3" y="73"/>
                  </a:cubicBezTo>
                  <a:cubicBezTo>
                    <a:pt x="5" y="94"/>
                    <a:pt x="9" y="112"/>
                    <a:pt x="12" y="126"/>
                  </a:cubicBezTo>
                  <a:cubicBezTo>
                    <a:pt x="13" y="132"/>
                    <a:pt x="14" y="138"/>
                    <a:pt x="15" y="142"/>
                  </a:cubicBezTo>
                  <a:cubicBezTo>
                    <a:pt x="16" y="143"/>
                    <a:pt x="16" y="145"/>
                    <a:pt x="16" y="146"/>
                  </a:cubicBezTo>
                  <a:cubicBezTo>
                    <a:pt x="16" y="147"/>
                    <a:pt x="17" y="147"/>
                    <a:pt x="17" y="147"/>
                  </a:cubicBezTo>
                  <a:cubicBezTo>
                    <a:pt x="17" y="147"/>
                    <a:pt x="16" y="147"/>
                    <a:pt x="16" y="146"/>
                  </a:cubicBezTo>
                  <a:cubicBezTo>
                    <a:pt x="16" y="145"/>
                    <a:pt x="15" y="143"/>
                    <a:pt x="15" y="142"/>
                  </a:cubicBezTo>
                  <a:cubicBezTo>
                    <a:pt x="14" y="138"/>
                    <a:pt x="13" y="133"/>
                    <a:pt x="11" y="126"/>
                  </a:cubicBezTo>
                  <a:cubicBezTo>
                    <a:pt x="8" y="113"/>
                    <a:pt x="5" y="94"/>
                    <a:pt x="2" y="73"/>
                  </a:cubicBezTo>
                  <a:cubicBezTo>
                    <a:pt x="1" y="63"/>
                    <a:pt x="1" y="53"/>
                    <a:pt x="0" y="44"/>
                  </a:cubicBezTo>
                  <a:cubicBezTo>
                    <a:pt x="0" y="34"/>
                    <a:pt x="0" y="26"/>
                    <a:pt x="1" y="19"/>
                  </a:cubicBezTo>
                  <a:cubicBezTo>
                    <a:pt x="2" y="13"/>
                    <a:pt x="5" y="7"/>
                    <a:pt x="7" y="4"/>
                  </a:cubicBezTo>
                  <a:cubicBezTo>
                    <a:pt x="9" y="1"/>
                    <a:pt x="11" y="0"/>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7">
              <a:extLst>
                <a:ext uri="{FF2B5EF4-FFF2-40B4-BE49-F238E27FC236}">
                  <a16:creationId xmlns:a16="http://schemas.microsoft.com/office/drawing/2014/main" id="{BFCFEBF9-E276-4489-97CD-E4D772C96247}"/>
                </a:ext>
              </a:extLst>
            </p:cNvPr>
            <p:cNvSpPr>
              <a:spLocks/>
            </p:cNvSpPr>
            <p:nvPr/>
          </p:nvSpPr>
          <p:spPr bwMode="auto">
            <a:xfrm>
              <a:off x="2954" y="1095"/>
              <a:ext cx="200" cy="131"/>
            </a:xfrm>
            <a:custGeom>
              <a:avLst/>
              <a:gdLst>
                <a:gd name="T0" fmla="*/ 84 w 84"/>
                <a:gd name="T1" fmla="*/ 0 h 55"/>
                <a:gd name="T2" fmla="*/ 83 w 84"/>
                <a:gd name="T3" fmla="*/ 1 h 55"/>
                <a:gd name="T4" fmla="*/ 80 w 84"/>
                <a:gd name="T5" fmla="*/ 2 h 55"/>
                <a:gd name="T6" fmla="*/ 71 w 84"/>
                <a:gd name="T7" fmla="*/ 7 h 55"/>
                <a:gd name="T8" fmla="*/ 41 w 84"/>
                <a:gd name="T9" fmla="*/ 26 h 55"/>
                <a:gd name="T10" fmla="*/ 12 w 84"/>
                <a:gd name="T11" fmla="*/ 46 h 55"/>
                <a:gd name="T12" fmla="*/ 3 w 84"/>
                <a:gd name="T13" fmla="*/ 53 h 55"/>
                <a:gd name="T14" fmla="*/ 0 w 84"/>
                <a:gd name="T15" fmla="*/ 54 h 55"/>
                <a:gd name="T16" fmla="*/ 0 w 84"/>
                <a:gd name="T17" fmla="*/ 55 h 55"/>
                <a:gd name="T18" fmla="*/ 0 w 84"/>
                <a:gd name="T19" fmla="*/ 54 h 55"/>
                <a:gd name="T20" fmla="*/ 3 w 84"/>
                <a:gd name="T21" fmla="*/ 52 h 55"/>
                <a:gd name="T22" fmla="*/ 11 w 84"/>
                <a:gd name="T23" fmla="*/ 46 h 55"/>
                <a:gd name="T24" fmla="*/ 40 w 84"/>
                <a:gd name="T25" fmla="*/ 25 h 55"/>
                <a:gd name="T26" fmla="*/ 70 w 84"/>
                <a:gd name="T27" fmla="*/ 6 h 55"/>
                <a:gd name="T28" fmla="*/ 80 w 84"/>
                <a:gd name="T29" fmla="*/ 2 h 55"/>
                <a:gd name="T30" fmla="*/ 83 w 84"/>
                <a:gd name="T31" fmla="*/ 1 h 55"/>
                <a:gd name="T32" fmla="*/ 84 w 8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55">
                  <a:moveTo>
                    <a:pt x="84" y="0"/>
                  </a:moveTo>
                  <a:cubicBezTo>
                    <a:pt x="84" y="0"/>
                    <a:pt x="83" y="1"/>
                    <a:pt x="83" y="1"/>
                  </a:cubicBezTo>
                  <a:cubicBezTo>
                    <a:pt x="82" y="1"/>
                    <a:pt x="81" y="2"/>
                    <a:pt x="80" y="2"/>
                  </a:cubicBezTo>
                  <a:cubicBezTo>
                    <a:pt x="78" y="3"/>
                    <a:pt x="75" y="5"/>
                    <a:pt x="71" y="7"/>
                  </a:cubicBezTo>
                  <a:cubicBezTo>
                    <a:pt x="63" y="11"/>
                    <a:pt x="52" y="18"/>
                    <a:pt x="41" y="26"/>
                  </a:cubicBezTo>
                  <a:cubicBezTo>
                    <a:pt x="29" y="34"/>
                    <a:pt x="19" y="41"/>
                    <a:pt x="12" y="46"/>
                  </a:cubicBezTo>
                  <a:cubicBezTo>
                    <a:pt x="8" y="49"/>
                    <a:pt x="5" y="51"/>
                    <a:pt x="3" y="53"/>
                  </a:cubicBezTo>
                  <a:cubicBezTo>
                    <a:pt x="2" y="53"/>
                    <a:pt x="1" y="54"/>
                    <a:pt x="0" y="54"/>
                  </a:cubicBezTo>
                  <a:cubicBezTo>
                    <a:pt x="0" y="55"/>
                    <a:pt x="0" y="55"/>
                    <a:pt x="0" y="55"/>
                  </a:cubicBezTo>
                  <a:cubicBezTo>
                    <a:pt x="0" y="55"/>
                    <a:pt x="0" y="54"/>
                    <a:pt x="0" y="54"/>
                  </a:cubicBezTo>
                  <a:cubicBezTo>
                    <a:pt x="1" y="53"/>
                    <a:pt x="2" y="53"/>
                    <a:pt x="3" y="52"/>
                  </a:cubicBezTo>
                  <a:cubicBezTo>
                    <a:pt x="5" y="50"/>
                    <a:pt x="8" y="48"/>
                    <a:pt x="11" y="46"/>
                  </a:cubicBezTo>
                  <a:cubicBezTo>
                    <a:pt x="19" y="40"/>
                    <a:pt x="29" y="33"/>
                    <a:pt x="40" y="25"/>
                  </a:cubicBezTo>
                  <a:cubicBezTo>
                    <a:pt x="52" y="17"/>
                    <a:pt x="62" y="11"/>
                    <a:pt x="70" y="6"/>
                  </a:cubicBezTo>
                  <a:cubicBezTo>
                    <a:pt x="74" y="4"/>
                    <a:pt x="78" y="3"/>
                    <a:pt x="80" y="2"/>
                  </a:cubicBezTo>
                  <a:cubicBezTo>
                    <a:pt x="81" y="1"/>
                    <a:pt x="82" y="1"/>
                    <a:pt x="83" y="1"/>
                  </a:cubicBezTo>
                  <a:cubicBezTo>
                    <a:pt x="83" y="0"/>
                    <a:pt x="84" y="0"/>
                    <a:pt x="8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8">
              <a:extLst>
                <a:ext uri="{FF2B5EF4-FFF2-40B4-BE49-F238E27FC236}">
                  <a16:creationId xmlns:a16="http://schemas.microsoft.com/office/drawing/2014/main" id="{D428C13E-FB7D-421C-A4DE-DB4201E037B4}"/>
                </a:ext>
              </a:extLst>
            </p:cNvPr>
            <p:cNvSpPr>
              <a:spLocks/>
            </p:cNvSpPr>
            <p:nvPr/>
          </p:nvSpPr>
          <p:spPr bwMode="auto">
            <a:xfrm>
              <a:off x="3429" y="1081"/>
              <a:ext cx="178" cy="76"/>
            </a:xfrm>
            <a:custGeom>
              <a:avLst/>
              <a:gdLst>
                <a:gd name="T0" fmla="*/ 75 w 75"/>
                <a:gd name="T1" fmla="*/ 32 h 32"/>
                <a:gd name="T2" fmla="*/ 74 w 75"/>
                <a:gd name="T3" fmla="*/ 32 h 32"/>
                <a:gd name="T4" fmla="*/ 72 w 75"/>
                <a:gd name="T5" fmla="*/ 30 h 32"/>
                <a:gd name="T6" fmla="*/ 65 w 75"/>
                <a:gd name="T7" fmla="*/ 25 h 32"/>
                <a:gd name="T8" fmla="*/ 39 w 75"/>
                <a:gd name="T9" fmla="*/ 12 h 32"/>
                <a:gd name="T10" fmla="*/ 12 w 75"/>
                <a:gd name="T11" fmla="*/ 3 h 32"/>
                <a:gd name="T12" fmla="*/ 3 w 75"/>
                <a:gd name="T13" fmla="*/ 1 h 32"/>
                <a:gd name="T14" fmla="*/ 1 w 75"/>
                <a:gd name="T15" fmla="*/ 0 h 32"/>
                <a:gd name="T16" fmla="*/ 0 w 75"/>
                <a:gd name="T17" fmla="*/ 0 h 32"/>
                <a:gd name="T18" fmla="*/ 1 w 75"/>
                <a:gd name="T19" fmla="*/ 0 h 32"/>
                <a:gd name="T20" fmla="*/ 3 w 75"/>
                <a:gd name="T21" fmla="*/ 0 h 32"/>
                <a:gd name="T22" fmla="*/ 12 w 75"/>
                <a:gd name="T23" fmla="*/ 2 h 32"/>
                <a:gd name="T24" fmla="*/ 40 w 75"/>
                <a:gd name="T25" fmla="*/ 11 h 32"/>
                <a:gd name="T26" fmla="*/ 65 w 75"/>
                <a:gd name="T27" fmla="*/ 25 h 32"/>
                <a:gd name="T28" fmla="*/ 75 w 75"/>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32">
                  <a:moveTo>
                    <a:pt x="75" y="32"/>
                  </a:moveTo>
                  <a:cubicBezTo>
                    <a:pt x="74" y="32"/>
                    <a:pt x="74" y="32"/>
                    <a:pt x="74" y="32"/>
                  </a:cubicBezTo>
                  <a:cubicBezTo>
                    <a:pt x="73" y="31"/>
                    <a:pt x="73" y="31"/>
                    <a:pt x="72" y="30"/>
                  </a:cubicBezTo>
                  <a:cubicBezTo>
                    <a:pt x="70" y="29"/>
                    <a:pt x="68" y="27"/>
                    <a:pt x="65" y="25"/>
                  </a:cubicBezTo>
                  <a:cubicBezTo>
                    <a:pt x="59" y="21"/>
                    <a:pt x="50" y="16"/>
                    <a:pt x="39" y="12"/>
                  </a:cubicBezTo>
                  <a:cubicBezTo>
                    <a:pt x="29" y="8"/>
                    <a:pt x="19" y="5"/>
                    <a:pt x="12" y="3"/>
                  </a:cubicBezTo>
                  <a:cubicBezTo>
                    <a:pt x="8" y="2"/>
                    <a:pt x="5" y="1"/>
                    <a:pt x="3" y="1"/>
                  </a:cubicBezTo>
                  <a:cubicBezTo>
                    <a:pt x="3" y="0"/>
                    <a:pt x="2" y="0"/>
                    <a:pt x="1" y="0"/>
                  </a:cubicBezTo>
                  <a:cubicBezTo>
                    <a:pt x="1" y="0"/>
                    <a:pt x="0" y="0"/>
                    <a:pt x="0" y="0"/>
                  </a:cubicBezTo>
                  <a:cubicBezTo>
                    <a:pt x="0" y="0"/>
                    <a:pt x="1" y="0"/>
                    <a:pt x="1" y="0"/>
                  </a:cubicBezTo>
                  <a:cubicBezTo>
                    <a:pt x="2" y="0"/>
                    <a:pt x="3" y="0"/>
                    <a:pt x="3" y="0"/>
                  </a:cubicBezTo>
                  <a:cubicBezTo>
                    <a:pt x="6" y="1"/>
                    <a:pt x="8" y="1"/>
                    <a:pt x="12" y="2"/>
                  </a:cubicBezTo>
                  <a:cubicBezTo>
                    <a:pt x="19" y="4"/>
                    <a:pt x="29" y="7"/>
                    <a:pt x="40" y="11"/>
                  </a:cubicBezTo>
                  <a:cubicBezTo>
                    <a:pt x="50" y="15"/>
                    <a:pt x="59" y="20"/>
                    <a:pt x="65" y="25"/>
                  </a:cubicBezTo>
                  <a:cubicBezTo>
                    <a:pt x="71" y="29"/>
                    <a:pt x="75" y="32"/>
                    <a:pt x="75"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9">
              <a:extLst>
                <a:ext uri="{FF2B5EF4-FFF2-40B4-BE49-F238E27FC236}">
                  <a16:creationId xmlns:a16="http://schemas.microsoft.com/office/drawing/2014/main" id="{BC532C13-2CB8-4777-BA27-8CF279A79033}"/>
                </a:ext>
              </a:extLst>
            </p:cNvPr>
            <p:cNvSpPr>
              <a:spLocks/>
            </p:cNvSpPr>
            <p:nvPr/>
          </p:nvSpPr>
          <p:spPr bwMode="auto">
            <a:xfrm>
              <a:off x="3118" y="1800"/>
              <a:ext cx="38" cy="83"/>
            </a:xfrm>
            <a:custGeom>
              <a:avLst/>
              <a:gdLst>
                <a:gd name="T0" fmla="*/ 16 w 16"/>
                <a:gd name="T1" fmla="*/ 35 h 35"/>
                <a:gd name="T2" fmla="*/ 14 w 16"/>
                <a:gd name="T3" fmla="*/ 34 h 35"/>
                <a:gd name="T4" fmla="*/ 10 w 16"/>
                <a:gd name="T5" fmla="*/ 32 h 35"/>
                <a:gd name="T6" fmla="*/ 2 w 16"/>
                <a:gd name="T7" fmla="*/ 20 h 35"/>
                <a:gd name="T8" fmla="*/ 3 w 16"/>
                <a:gd name="T9" fmla="*/ 6 h 35"/>
                <a:gd name="T10" fmla="*/ 6 w 16"/>
                <a:gd name="T11" fmla="*/ 2 h 35"/>
                <a:gd name="T12" fmla="*/ 7 w 16"/>
                <a:gd name="T13" fmla="*/ 0 h 35"/>
                <a:gd name="T14" fmla="*/ 4 w 16"/>
                <a:gd name="T15" fmla="*/ 6 h 35"/>
                <a:gd name="T16" fmla="*/ 2 w 16"/>
                <a:gd name="T17" fmla="*/ 20 h 35"/>
                <a:gd name="T18" fmla="*/ 11 w 16"/>
                <a:gd name="T19" fmla="*/ 32 h 35"/>
                <a:gd name="T20" fmla="*/ 16 w 16"/>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5">
                  <a:moveTo>
                    <a:pt x="16" y="35"/>
                  </a:moveTo>
                  <a:cubicBezTo>
                    <a:pt x="16" y="35"/>
                    <a:pt x="15" y="35"/>
                    <a:pt x="14" y="34"/>
                  </a:cubicBezTo>
                  <a:cubicBezTo>
                    <a:pt x="13" y="34"/>
                    <a:pt x="12" y="33"/>
                    <a:pt x="10" y="32"/>
                  </a:cubicBezTo>
                  <a:cubicBezTo>
                    <a:pt x="7" y="30"/>
                    <a:pt x="3" y="26"/>
                    <a:pt x="2" y="20"/>
                  </a:cubicBezTo>
                  <a:cubicBezTo>
                    <a:pt x="0" y="14"/>
                    <a:pt x="2" y="9"/>
                    <a:pt x="3" y="6"/>
                  </a:cubicBezTo>
                  <a:cubicBezTo>
                    <a:pt x="4" y="4"/>
                    <a:pt x="5" y="3"/>
                    <a:pt x="6" y="2"/>
                  </a:cubicBezTo>
                  <a:cubicBezTo>
                    <a:pt x="6" y="1"/>
                    <a:pt x="7" y="0"/>
                    <a:pt x="7" y="0"/>
                  </a:cubicBezTo>
                  <a:cubicBezTo>
                    <a:pt x="7" y="1"/>
                    <a:pt x="5" y="2"/>
                    <a:pt x="4" y="6"/>
                  </a:cubicBezTo>
                  <a:cubicBezTo>
                    <a:pt x="2" y="9"/>
                    <a:pt x="1" y="14"/>
                    <a:pt x="2" y="20"/>
                  </a:cubicBezTo>
                  <a:cubicBezTo>
                    <a:pt x="4" y="26"/>
                    <a:pt x="8" y="29"/>
                    <a:pt x="11" y="32"/>
                  </a:cubicBezTo>
                  <a:cubicBezTo>
                    <a:pt x="14" y="34"/>
                    <a:pt x="16" y="35"/>
                    <a:pt x="16"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0">
              <a:extLst>
                <a:ext uri="{FF2B5EF4-FFF2-40B4-BE49-F238E27FC236}">
                  <a16:creationId xmlns:a16="http://schemas.microsoft.com/office/drawing/2014/main" id="{C0B1AE4F-3B79-41BF-A4C8-C4D6662DE06B}"/>
                </a:ext>
              </a:extLst>
            </p:cNvPr>
            <p:cNvSpPr>
              <a:spLocks/>
            </p:cNvSpPr>
            <p:nvPr/>
          </p:nvSpPr>
          <p:spPr bwMode="auto">
            <a:xfrm>
              <a:off x="3125" y="1779"/>
              <a:ext cx="7" cy="26"/>
            </a:xfrm>
            <a:custGeom>
              <a:avLst/>
              <a:gdLst>
                <a:gd name="T0" fmla="*/ 0 w 3"/>
                <a:gd name="T1" fmla="*/ 0 h 11"/>
                <a:gd name="T2" fmla="*/ 2 w 3"/>
                <a:gd name="T3" fmla="*/ 5 h 11"/>
                <a:gd name="T4" fmla="*/ 3 w 3"/>
                <a:gd name="T5" fmla="*/ 11 h 11"/>
                <a:gd name="T6" fmla="*/ 1 w 3"/>
                <a:gd name="T7" fmla="*/ 6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0"/>
                    <a:pt x="1" y="3"/>
                    <a:pt x="2" y="5"/>
                  </a:cubicBezTo>
                  <a:cubicBezTo>
                    <a:pt x="3" y="8"/>
                    <a:pt x="3" y="11"/>
                    <a:pt x="3" y="11"/>
                  </a:cubicBezTo>
                  <a:cubicBezTo>
                    <a:pt x="3" y="11"/>
                    <a:pt x="2" y="8"/>
                    <a:pt x="1" y="6"/>
                  </a:cubicBezTo>
                  <a:cubicBezTo>
                    <a:pt x="0" y="3"/>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1">
              <a:extLst>
                <a:ext uri="{FF2B5EF4-FFF2-40B4-BE49-F238E27FC236}">
                  <a16:creationId xmlns:a16="http://schemas.microsoft.com/office/drawing/2014/main" id="{BB5C4641-C126-4010-BABB-CCCED8EE3B6E}"/>
                </a:ext>
              </a:extLst>
            </p:cNvPr>
            <p:cNvSpPr>
              <a:spLocks/>
            </p:cNvSpPr>
            <p:nvPr/>
          </p:nvSpPr>
          <p:spPr bwMode="auto">
            <a:xfrm>
              <a:off x="3014" y="1883"/>
              <a:ext cx="529" cy="2025"/>
            </a:xfrm>
            <a:custGeom>
              <a:avLst/>
              <a:gdLst>
                <a:gd name="T0" fmla="*/ 101 w 223"/>
                <a:gd name="T1" fmla="*/ 853 h 853"/>
                <a:gd name="T2" fmla="*/ 223 w 223"/>
                <a:gd name="T3" fmla="*/ 853 h 853"/>
                <a:gd name="T4" fmla="*/ 221 w 223"/>
                <a:gd name="T5" fmla="*/ 431 h 853"/>
                <a:gd name="T6" fmla="*/ 220 w 223"/>
                <a:gd name="T7" fmla="*/ 2 h 853"/>
                <a:gd name="T8" fmla="*/ 55 w 223"/>
                <a:gd name="T9" fmla="*/ 0 h 853"/>
                <a:gd name="T10" fmla="*/ 25 w 223"/>
                <a:gd name="T11" fmla="*/ 56 h 853"/>
                <a:gd name="T12" fmla="*/ 2 w 223"/>
                <a:gd name="T13" fmla="*/ 128 h 853"/>
                <a:gd name="T14" fmla="*/ 20 w 223"/>
                <a:gd name="T15" fmla="*/ 227 h 853"/>
                <a:gd name="T16" fmla="*/ 65 w 223"/>
                <a:gd name="T17" fmla="*/ 371 h 853"/>
                <a:gd name="T18" fmla="*/ 101 w 223"/>
                <a:gd name="T19" fmla="*/ 853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853">
                  <a:moveTo>
                    <a:pt x="101" y="853"/>
                  </a:moveTo>
                  <a:cubicBezTo>
                    <a:pt x="223" y="853"/>
                    <a:pt x="223" y="853"/>
                    <a:pt x="223" y="853"/>
                  </a:cubicBezTo>
                  <a:cubicBezTo>
                    <a:pt x="221" y="431"/>
                    <a:pt x="221" y="431"/>
                    <a:pt x="221" y="431"/>
                  </a:cubicBezTo>
                  <a:cubicBezTo>
                    <a:pt x="220" y="2"/>
                    <a:pt x="220" y="2"/>
                    <a:pt x="220" y="2"/>
                  </a:cubicBezTo>
                  <a:cubicBezTo>
                    <a:pt x="55" y="0"/>
                    <a:pt x="55" y="0"/>
                    <a:pt x="55" y="0"/>
                  </a:cubicBezTo>
                  <a:cubicBezTo>
                    <a:pt x="25" y="56"/>
                    <a:pt x="25" y="56"/>
                    <a:pt x="25" y="56"/>
                  </a:cubicBezTo>
                  <a:cubicBezTo>
                    <a:pt x="13" y="78"/>
                    <a:pt x="5" y="103"/>
                    <a:pt x="2" y="128"/>
                  </a:cubicBezTo>
                  <a:cubicBezTo>
                    <a:pt x="0" y="148"/>
                    <a:pt x="15" y="211"/>
                    <a:pt x="20" y="227"/>
                  </a:cubicBezTo>
                  <a:cubicBezTo>
                    <a:pt x="65" y="371"/>
                    <a:pt x="65" y="371"/>
                    <a:pt x="65" y="371"/>
                  </a:cubicBezTo>
                  <a:lnTo>
                    <a:pt x="101" y="85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2">
              <a:extLst>
                <a:ext uri="{FF2B5EF4-FFF2-40B4-BE49-F238E27FC236}">
                  <a16:creationId xmlns:a16="http://schemas.microsoft.com/office/drawing/2014/main" id="{BC770EE5-416A-41DF-A694-465A52B8E7B9}"/>
                </a:ext>
              </a:extLst>
            </p:cNvPr>
            <p:cNvSpPr>
              <a:spLocks/>
            </p:cNvSpPr>
            <p:nvPr/>
          </p:nvSpPr>
          <p:spPr bwMode="auto">
            <a:xfrm>
              <a:off x="3322" y="1888"/>
              <a:ext cx="656" cy="1928"/>
            </a:xfrm>
            <a:custGeom>
              <a:avLst/>
              <a:gdLst>
                <a:gd name="T0" fmla="*/ 126 w 276"/>
                <a:gd name="T1" fmla="*/ 0 h 812"/>
                <a:gd name="T2" fmla="*/ 260 w 276"/>
                <a:gd name="T3" fmla="*/ 366 h 812"/>
                <a:gd name="T4" fmla="*/ 243 w 276"/>
                <a:gd name="T5" fmla="*/ 509 h 812"/>
                <a:gd name="T6" fmla="*/ 88 w 276"/>
                <a:gd name="T7" fmla="*/ 812 h 812"/>
                <a:gd name="T8" fmla="*/ 0 w 276"/>
                <a:gd name="T9" fmla="*/ 703 h 812"/>
                <a:gd name="T10" fmla="*/ 130 w 276"/>
                <a:gd name="T11" fmla="*/ 431 h 812"/>
                <a:gd name="T12" fmla="*/ 15 w 276"/>
                <a:gd name="T13" fmla="*/ 245 h 812"/>
                <a:gd name="T14" fmla="*/ 35 w 276"/>
                <a:gd name="T15" fmla="*/ 1 h 812"/>
                <a:gd name="T16" fmla="*/ 89 w 276"/>
                <a:gd name="T17" fmla="*/ 0 h 812"/>
                <a:gd name="T18" fmla="*/ 126 w 276"/>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812">
                  <a:moveTo>
                    <a:pt x="126" y="0"/>
                  </a:moveTo>
                  <a:cubicBezTo>
                    <a:pt x="260" y="366"/>
                    <a:pt x="260" y="366"/>
                    <a:pt x="260" y="366"/>
                  </a:cubicBezTo>
                  <a:cubicBezTo>
                    <a:pt x="276" y="415"/>
                    <a:pt x="270" y="463"/>
                    <a:pt x="243" y="509"/>
                  </a:cubicBezTo>
                  <a:cubicBezTo>
                    <a:pt x="88" y="812"/>
                    <a:pt x="88" y="812"/>
                    <a:pt x="88" y="812"/>
                  </a:cubicBezTo>
                  <a:cubicBezTo>
                    <a:pt x="0" y="703"/>
                    <a:pt x="0" y="703"/>
                    <a:pt x="0" y="703"/>
                  </a:cubicBezTo>
                  <a:cubicBezTo>
                    <a:pt x="130" y="431"/>
                    <a:pt x="130" y="431"/>
                    <a:pt x="130" y="431"/>
                  </a:cubicBezTo>
                  <a:cubicBezTo>
                    <a:pt x="15" y="245"/>
                    <a:pt x="15" y="245"/>
                    <a:pt x="15" y="245"/>
                  </a:cubicBezTo>
                  <a:cubicBezTo>
                    <a:pt x="35" y="1"/>
                    <a:pt x="35" y="1"/>
                    <a:pt x="35" y="1"/>
                  </a:cubicBezTo>
                  <a:cubicBezTo>
                    <a:pt x="89" y="0"/>
                    <a:pt x="89" y="0"/>
                    <a:pt x="89" y="0"/>
                  </a:cubicBezTo>
                  <a:lnTo>
                    <a:pt x="126"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23">
              <a:extLst>
                <a:ext uri="{FF2B5EF4-FFF2-40B4-BE49-F238E27FC236}">
                  <a16:creationId xmlns:a16="http://schemas.microsoft.com/office/drawing/2014/main" id="{605B9158-1FCB-4E78-982D-E4D71C00D2B3}"/>
                </a:ext>
              </a:extLst>
            </p:cNvPr>
            <p:cNvSpPr>
              <a:spLocks/>
            </p:cNvSpPr>
            <p:nvPr/>
          </p:nvSpPr>
          <p:spPr bwMode="auto">
            <a:xfrm>
              <a:off x="3510" y="2180"/>
              <a:ext cx="36" cy="1728"/>
            </a:xfrm>
            <a:custGeom>
              <a:avLst/>
              <a:gdLst>
                <a:gd name="T0" fmla="*/ 0 w 15"/>
                <a:gd name="T1" fmla="*/ 0 h 728"/>
                <a:gd name="T2" fmla="*/ 0 w 15"/>
                <a:gd name="T3" fmla="*/ 2 h 728"/>
                <a:gd name="T4" fmla="*/ 0 w 15"/>
                <a:gd name="T5" fmla="*/ 7 h 728"/>
                <a:gd name="T6" fmla="*/ 1 w 15"/>
                <a:gd name="T7" fmla="*/ 28 h 728"/>
                <a:gd name="T8" fmla="*/ 5 w 15"/>
                <a:gd name="T9" fmla="*/ 106 h 728"/>
                <a:gd name="T10" fmla="*/ 11 w 15"/>
                <a:gd name="T11" fmla="*/ 222 h 728"/>
                <a:gd name="T12" fmla="*/ 14 w 15"/>
                <a:gd name="T13" fmla="*/ 290 h 728"/>
                <a:gd name="T14" fmla="*/ 14 w 15"/>
                <a:gd name="T15" fmla="*/ 326 h 728"/>
                <a:gd name="T16" fmla="*/ 14 w 15"/>
                <a:gd name="T17" fmla="*/ 363 h 728"/>
                <a:gd name="T18" fmla="*/ 15 w 15"/>
                <a:gd name="T19" fmla="*/ 621 h 728"/>
                <a:gd name="T20" fmla="*/ 15 w 15"/>
                <a:gd name="T21" fmla="*/ 699 h 728"/>
                <a:gd name="T22" fmla="*/ 14 w 15"/>
                <a:gd name="T23" fmla="*/ 720 h 728"/>
                <a:gd name="T24" fmla="*/ 14 w 15"/>
                <a:gd name="T25" fmla="*/ 726 h 728"/>
                <a:gd name="T26" fmla="*/ 14 w 15"/>
                <a:gd name="T27" fmla="*/ 728 h 728"/>
                <a:gd name="T28" fmla="*/ 14 w 15"/>
                <a:gd name="T29" fmla="*/ 726 h 728"/>
                <a:gd name="T30" fmla="*/ 14 w 15"/>
                <a:gd name="T31" fmla="*/ 720 h 728"/>
                <a:gd name="T32" fmla="*/ 14 w 15"/>
                <a:gd name="T33" fmla="*/ 699 h 728"/>
                <a:gd name="T34" fmla="*/ 13 w 15"/>
                <a:gd name="T35" fmla="*/ 621 h 728"/>
                <a:gd name="T36" fmla="*/ 12 w 15"/>
                <a:gd name="T37" fmla="*/ 363 h 728"/>
                <a:gd name="T38" fmla="*/ 12 w 15"/>
                <a:gd name="T39" fmla="*/ 326 h 728"/>
                <a:gd name="T40" fmla="*/ 12 w 15"/>
                <a:gd name="T41" fmla="*/ 290 h 728"/>
                <a:gd name="T42" fmla="*/ 9 w 15"/>
                <a:gd name="T43" fmla="*/ 222 h 728"/>
                <a:gd name="T44" fmla="*/ 4 w 15"/>
                <a:gd name="T45" fmla="*/ 106 h 728"/>
                <a:gd name="T46" fmla="*/ 1 w 15"/>
                <a:gd name="T47" fmla="*/ 28 h 728"/>
                <a:gd name="T48" fmla="*/ 0 w 15"/>
                <a:gd name="T49" fmla="*/ 7 h 728"/>
                <a:gd name="T50" fmla="*/ 0 w 15"/>
                <a:gd name="T51" fmla="*/ 2 h 728"/>
                <a:gd name="T52" fmla="*/ 0 w 15"/>
                <a:gd name="T53"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728">
                  <a:moveTo>
                    <a:pt x="0" y="0"/>
                  </a:moveTo>
                  <a:cubicBezTo>
                    <a:pt x="0" y="0"/>
                    <a:pt x="0" y="0"/>
                    <a:pt x="0" y="2"/>
                  </a:cubicBezTo>
                  <a:cubicBezTo>
                    <a:pt x="0" y="3"/>
                    <a:pt x="0" y="5"/>
                    <a:pt x="0" y="7"/>
                  </a:cubicBezTo>
                  <a:cubicBezTo>
                    <a:pt x="1" y="12"/>
                    <a:pt x="1" y="19"/>
                    <a:pt x="1" y="28"/>
                  </a:cubicBezTo>
                  <a:cubicBezTo>
                    <a:pt x="2" y="47"/>
                    <a:pt x="4" y="73"/>
                    <a:pt x="5" y="106"/>
                  </a:cubicBezTo>
                  <a:cubicBezTo>
                    <a:pt x="7" y="139"/>
                    <a:pt x="9" y="178"/>
                    <a:pt x="11" y="222"/>
                  </a:cubicBezTo>
                  <a:cubicBezTo>
                    <a:pt x="11" y="244"/>
                    <a:pt x="13" y="266"/>
                    <a:pt x="14" y="290"/>
                  </a:cubicBezTo>
                  <a:cubicBezTo>
                    <a:pt x="14" y="302"/>
                    <a:pt x="14" y="314"/>
                    <a:pt x="14" y="326"/>
                  </a:cubicBezTo>
                  <a:cubicBezTo>
                    <a:pt x="14" y="338"/>
                    <a:pt x="14" y="351"/>
                    <a:pt x="14" y="363"/>
                  </a:cubicBezTo>
                  <a:cubicBezTo>
                    <a:pt x="14" y="464"/>
                    <a:pt x="15" y="555"/>
                    <a:pt x="15" y="621"/>
                  </a:cubicBezTo>
                  <a:cubicBezTo>
                    <a:pt x="15" y="654"/>
                    <a:pt x="15" y="680"/>
                    <a:pt x="15" y="699"/>
                  </a:cubicBezTo>
                  <a:cubicBezTo>
                    <a:pt x="15" y="708"/>
                    <a:pt x="14" y="715"/>
                    <a:pt x="14" y="720"/>
                  </a:cubicBezTo>
                  <a:cubicBezTo>
                    <a:pt x="14" y="723"/>
                    <a:pt x="14" y="724"/>
                    <a:pt x="14" y="726"/>
                  </a:cubicBezTo>
                  <a:cubicBezTo>
                    <a:pt x="14" y="727"/>
                    <a:pt x="14" y="728"/>
                    <a:pt x="14" y="728"/>
                  </a:cubicBezTo>
                  <a:cubicBezTo>
                    <a:pt x="14" y="728"/>
                    <a:pt x="14" y="727"/>
                    <a:pt x="14" y="726"/>
                  </a:cubicBezTo>
                  <a:cubicBezTo>
                    <a:pt x="14" y="724"/>
                    <a:pt x="14" y="723"/>
                    <a:pt x="14" y="720"/>
                  </a:cubicBezTo>
                  <a:cubicBezTo>
                    <a:pt x="14" y="715"/>
                    <a:pt x="14" y="708"/>
                    <a:pt x="14" y="699"/>
                  </a:cubicBezTo>
                  <a:cubicBezTo>
                    <a:pt x="14" y="680"/>
                    <a:pt x="13" y="654"/>
                    <a:pt x="13" y="621"/>
                  </a:cubicBezTo>
                  <a:cubicBezTo>
                    <a:pt x="13" y="555"/>
                    <a:pt x="13" y="464"/>
                    <a:pt x="12" y="363"/>
                  </a:cubicBezTo>
                  <a:cubicBezTo>
                    <a:pt x="12" y="351"/>
                    <a:pt x="12" y="338"/>
                    <a:pt x="12" y="326"/>
                  </a:cubicBezTo>
                  <a:cubicBezTo>
                    <a:pt x="12" y="314"/>
                    <a:pt x="12" y="302"/>
                    <a:pt x="12" y="290"/>
                  </a:cubicBezTo>
                  <a:cubicBezTo>
                    <a:pt x="11" y="266"/>
                    <a:pt x="10" y="244"/>
                    <a:pt x="9" y="222"/>
                  </a:cubicBezTo>
                  <a:cubicBezTo>
                    <a:pt x="7" y="178"/>
                    <a:pt x="5" y="139"/>
                    <a:pt x="4" y="106"/>
                  </a:cubicBezTo>
                  <a:cubicBezTo>
                    <a:pt x="2" y="73"/>
                    <a:pt x="1" y="47"/>
                    <a:pt x="1" y="28"/>
                  </a:cubicBezTo>
                  <a:cubicBezTo>
                    <a:pt x="0" y="19"/>
                    <a:pt x="0" y="12"/>
                    <a:pt x="0" y="7"/>
                  </a:cubicBezTo>
                  <a:cubicBezTo>
                    <a:pt x="0" y="5"/>
                    <a:pt x="0" y="3"/>
                    <a:pt x="0" y="2"/>
                  </a:cubicBezTo>
                  <a:cubicBezTo>
                    <a:pt x="0" y="0"/>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4">
              <a:extLst>
                <a:ext uri="{FF2B5EF4-FFF2-40B4-BE49-F238E27FC236}">
                  <a16:creationId xmlns:a16="http://schemas.microsoft.com/office/drawing/2014/main" id="{E44CC511-EA75-462F-BBDA-D4A283BBF8B5}"/>
                </a:ext>
              </a:extLst>
            </p:cNvPr>
            <p:cNvSpPr>
              <a:spLocks/>
            </p:cNvSpPr>
            <p:nvPr/>
          </p:nvSpPr>
          <p:spPr bwMode="auto">
            <a:xfrm>
              <a:off x="3501" y="1905"/>
              <a:ext cx="14" cy="244"/>
            </a:xfrm>
            <a:custGeom>
              <a:avLst/>
              <a:gdLst>
                <a:gd name="T0" fmla="*/ 1 w 6"/>
                <a:gd name="T1" fmla="*/ 0 h 103"/>
                <a:gd name="T2" fmla="*/ 2 w 6"/>
                <a:gd name="T3" fmla="*/ 4 h 103"/>
                <a:gd name="T4" fmla="*/ 3 w 6"/>
                <a:gd name="T5" fmla="*/ 15 h 103"/>
                <a:gd name="T6" fmla="*/ 6 w 6"/>
                <a:gd name="T7" fmla="*/ 52 h 103"/>
                <a:gd name="T8" fmla="*/ 6 w 6"/>
                <a:gd name="T9" fmla="*/ 88 h 103"/>
                <a:gd name="T10" fmla="*/ 6 w 6"/>
                <a:gd name="T11" fmla="*/ 99 h 103"/>
                <a:gd name="T12" fmla="*/ 5 w 6"/>
                <a:gd name="T13" fmla="*/ 103 h 103"/>
                <a:gd name="T14" fmla="*/ 5 w 6"/>
                <a:gd name="T15" fmla="*/ 88 h 103"/>
                <a:gd name="T16" fmla="*/ 4 w 6"/>
                <a:gd name="T17" fmla="*/ 52 h 103"/>
                <a:gd name="T18" fmla="*/ 2 w 6"/>
                <a:gd name="T19" fmla="*/ 15 h 103"/>
                <a:gd name="T20" fmla="*/ 1 w 6"/>
                <a:gd name="T2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3">
                  <a:moveTo>
                    <a:pt x="1" y="0"/>
                  </a:moveTo>
                  <a:cubicBezTo>
                    <a:pt x="1" y="0"/>
                    <a:pt x="1" y="2"/>
                    <a:pt x="2" y="4"/>
                  </a:cubicBezTo>
                  <a:cubicBezTo>
                    <a:pt x="2" y="7"/>
                    <a:pt x="2" y="11"/>
                    <a:pt x="3" y="15"/>
                  </a:cubicBezTo>
                  <a:cubicBezTo>
                    <a:pt x="4" y="25"/>
                    <a:pt x="5" y="37"/>
                    <a:pt x="6" y="52"/>
                  </a:cubicBezTo>
                  <a:cubicBezTo>
                    <a:pt x="6" y="66"/>
                    <a:pt x="6" y="79"/>
                    <a:pt x="6" y="88"/>
                  </a:cubicBezTo>
                  <a:cubicBezTo>
                    <a:pt x="6" y="93"/>
                    <a:pt x="6" y="96"/>
                    <a:pt x="6" y="99"/>
                  </a:cubicBezTo>
                  <a:cubicBezTo>
                    <a:pt x="6" y="102"/>
                    <a:pt x="5" y="103"/>
                    <a:pt x="5" y="103"/>
                  </a:cubicBezTo>
                  <a:cubicBezTo>
                    <a:pt x="5" y="103"/>
                    <a:pt x="5" y="97"/>
                    <a:pt x="5" y="88"/>
                  </a:cubicBezTo>
                  <a:cubicBezTo>
                    <a:pt x="5" y="79"/>
                    <a:pt x="4" y="66"/>
                    <a:pt x="4" y="52"/>
                  </a:cubicBezTo>
                  <a:cubicBezTo>
                    <a:pt x="3" y="38"/>
                    <a:pt x="2" y="25"/>
                    <a:pt x="2" y="15"/>
                  </a:cubicBezTo>
                  <a:cubicBezTo>
                    <a:pt x="1" y="6"/>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5">
              <a:extLst>
                <a:ext uri="{FF2B5EF4-FFF2-40B4-BE49-F238E27FC236}">
                  <a16:creationId xmlns:a16="http://schemas.microsoft.com/office/drawing/2014/main" id="{9FB097C9-EC49-492C-AA4D-5D399C4B31C5}"/>
                </a:ext>
              </a:extLst>
            </p:cNvPr>
            <p:cNvSpPr>
              <a:spLocks/>
            </p:cNvSpPr>
            <p:nvPr/>
          </p:nvSpPr>
          <p:spPr bwMode="auto">
            <a:xfrm>
              <a:off x="3427" y="1921"/>
              <a:ext cx="36" cy="36"/>
            </a:xfrm>
            <a:custGeom>
              <a:avLst/>
              <a:gdLst>
                <a:gd name="T0" fmla="*/ 5 w 15"/>
                <a:gd name="T1" fmla="*/ 2 h 15"/>
                <a:gd name="T2" fmla="*/ 2 w 15"/>
                <a:gd name="T3" fmla="*/ 6 h 15"/>
                <a:gd name="T4" fmla="*/ 4 w 15"/>
                <a:gd name="T5" fmla="*/ 11 h 15"/>
                <a:gd name="T6" fmla="*/ 10 w 15"/>
                <a:gd name="T7" fmla="*/ 12 h 15"/>
                <a:gd name="T8" fmla="*/ 13 w 15"/>
                <a:gd name="T9" fmla="*/ 7 h 15"/>
                <a:gd name="T10" fmla="*/ 10 w 15"/>
                <a:gd name="T11" fmla="*/ 3 h 15"/>
                <a:gd name="T12" fmla="*/ 5 w 15"/>
                <a:gd name="T13" fmla="*/ 2 h 15"/>
                <a:gd name="T14" fmla="*/ 6 w 15"/>
                <a:gd name="T15" fmla="*/ 1 h 15"/>
                <a:gd name="T16" fmla="*/ 11 w 15"/>
                <a:gd name="T17" fmla="*/ 1 h 15"/>
                <a:gd name="T18" fmla="*/ 15 w 15"/>
                <a:gd name="T19" fmla="*/ 7 h 15"/>
                <a:gd name="T20" fmla="*/ 11 w 15"/>
                <a:gd name="T21" fmla="*/ 14 h 15"/>
                <a:gd name="T22" fmla="*/ 2 w 15"/>
                <a:gd name="T23" fmla="*/ 12 h 15"/>
                <a:gd name="T24" fmla="*/ 1 w 15"/>
                <a:gd name="T25" fmla="*/ 6 h 15"/>
                <a:gd name="T26" fmla="*/ 3 w 15"/>
                <a:gd name="T27" fmla="*/ 2 h 15"/>
                <a:gd name="T28" fmla="*/ 5 w 15"/>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5">
                  <a:moveTo>
                    <a:pt x="5" y="2"/>
                  </a:moveTo>
                  <a:cubicBezTo>
                    <a:pt x="5" y="2"/>
                    <a:pt x="3" y="3"/>
                    <a:pt x="2" y="6"/>
                  </a:cubicBezTo>
                  <a:cubicBezTo>
                    <a:pt x="2" y="8"/>
                    <a:pt x="2" y="10"/>
                    <a:pt x="4" y="11"/>
                  </a:cubicBezTo>
                  <a:cubicBezTo>
                    <a:pt x="5" y="12"/>
                    <a:pt x="8" y="13"/>
                    <a:pt x="10" y="12"/>
                  </a:cubicBezTo>
                  <a:cubicBezTo>
                    <a:pt x="12" y="11"/>
                    <a:pt x="13" y="9"/>
                    <a:pt x="13" y="7"/>
                  </a:cubicBezTo>
                  <a:cubicBezTo>
                    <a:pt x="13" y="5"/>
                    <a:pt x="11" y="3"/>
                    <a:pt x="10" y="3"/>
                  </a:cubicBezTo>
                  <a:cubicBezTo>
                    <a:pt x="7" y="1"/>
                    <a:pt x="5" y="2"/>
                    <a:pt x="5" y="2"/>
                  </a:cubicBezTo>
                  <a:cubicBezTo>
                    <a:pt x="5" y="2"/>
                    <a:pt x="5" y="1"/>
                    <a:pt x="6" y="1"/>
                  </a:cubicBezTo>
                  <a:cubicBezTo>
                    <a:pt x="7" y="1"/>
                    <a:pt x="9" y="0"/>
                    <a:pt x="11" y="1"/>
                  </a:cubicBezTo>
                  <a:cubicBezTo>
                    <a:pt x="13" y="2"/>
                    <a:pt x="15" y="4"/>
                    <a:pt x="15" y="7"/>
                  </a:cubicBezTo>
                  <a:cubicBezTo>
                    <a:pt x="15" y="10"/>
                    <a:pt x="14" y="13"/>
                    <a:pt x="11" y="14"/>
                  </a:cubicBezTo>
                  <a:cubicBezTo>
                    <a:pt x="7" y="15"/>
                    <a:pt x="4" y="14"/>
                    <a:pt x="2" y="12"/>
                  </a:cubicBezTo>
                  <a:cubicBezTo>
                    <a:pt x="0" y="11"/>
                    <a:pt x="0" y="8"/>
                    <a:pt x="1" y="6"/>
                  </a:cubicBezTo>
                  <a:cubicBezTo>
                    <a:pt x="1" y="4"/>
                    <a:pt x="2" y="3"/>
                    <a:pt x="3" y="2"/>
                  </a:cubicBezTo>
                  <a:cubicBezTo>
                    <a:pt x="4" y="2"/>
                    <a:pt x="5" y="2"/>
                    <a:pt x="5"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6">
              <a:extLst>
                <a:ext uri="{FF2B5EF4-FFF2-40B4-BE49-F238E27FC236}">
                  <a16:creationId xmlns:a16="http://schemas.microsoft.com/office/drawing/2014/main" id="{A95528C6-1947-4654-A3C6-5CE96C1A72A1}"/>
                </a:ext>
              </a:extLst>
            </p:cNvPr>
            <p:cNvSpPr>
              <a:spLocks/>
            </p:cNvSpPr>
            <p:nvPr/>
          </p:nvSpPr>
          <p:spPr bwMode="auto">
            <a:xfrm>
              <a:off x="3135" y="1907"/>
              <a:ext cx="157" cy="128"/>
            </a:xfrm>
            <a:custGeom>
              <a:avLst/>
              <a:gdLst>
                <a:gd name="T0" fmla="*/ 64 w 66"/>
                <a:gd name="T1" fmla="*/ 0 h 54"/>
                <a:gd name="T2" fmla="*/ 65 w 66"/>
                <a:gd name="T3" fmla="*/ 4 h 54"/>
                <a:gd name="T4" fmla="*/ 65 w 66"/>
                <a:gd name="T5" fmla="*/ 15 h 54"/>
                <a:gd name="T6" fmla="*/ 61 w 66"/>
                <a:gd name="T7" fmla="*/ 31 h 54"/>
                <a:gd name="T8" fmla="*/ 48 w 66"/>
                <a:gd name="T9" fmla="*/ 46 h 54"/>
                <a:gd name="T10" fmla="*/ 29 w 66"/>
                <a:gd name="T11" fmla="*/ 53 h 54"/>
                <a:gd name="T12" fmla="*/ 13 w 66"/>
                <a:gd name="T13" fmla="*/ 52 h 54"/>
                <a:gd name="T14" fmla="*/ 3 w 66"/>
                <a:gd name="T15" fmla="*/ 49 h 54"/>
                <a:gd name="T16" fmla="*/ 0 w 66"/>
                <a:gd name="T17" fmla="*/ 46 h 54"/>
                <a:gd name="T18" fmla="*/ 14 w 66"/>
                <a:gd name="T19" fmla="*/ 51 h 54"/>
                <a:gd name="T20" fmla="*/ 47 w 66"/>
                <a:gd name="T21" fmla="*/ 44 h 54"/>
                <a:gd name="T22" fmla="*/ 64 w 66"/>
                <a:gd name="T23" fmla="*/ 15 h 54"/>
                <a:gd name="T24" fmla="*/ 64 w 66"/>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54">
                  <a:moveTo>
                    <a:pt x="64" y="0"/>
                  </a:moveTo>
                  <a:cubicBezTo>
                    <a:pt x="64" y="0"/>
                    <a:pt x="64" y="2"/>
                    <a:pt x="65" y="4"/>
                  </a:cubicBezTo>
                  <a:cubicBezTo>
                    <a:pt x="65" y="7"/>
                    <a:pt x="66" y="11"/>
                    <a:pt x="65" y="15"/>
                  </a:cubicBezTo>
                  <a:cubicBezTo>
                    <a:pt x="65" y="20"/>
                    <a:pt x="63" y="25"/>
                    <a:pt x="61" y="31"/>
                  </a:cubicBezTo>
                  <a:cubicBezTo>
                    <a:pt x="58" y="36"/>
                    <a:pt x="54" y="42"/>
                    <a:pt x="48" y="46"/>
                  </a:cubicBezTo>
                  <a:cubicBezTo>
                    <a:pt x="42" y="50"/>
                    <a:pt x="35" y="52"/>
                    <a:pt x="29" y="53"/>
                  </a:cubicBezTo>
                  <a:cubicBezTo>
                    <a:pt x="23" y="54"/>
                    <a:pt x="18" y="54"/>
                    <a:pt x="13" y="52"/>
                  </a:cubicBezTo>
                  <a:cubicBezTo>
                    <a:pt x="9" y="51"/>
                    <a:pt x="5" y="50"/>
                    <a:pt x="3" y="49"/>
                  </a:cubicBezTo>
                  <a:cubicBezTo>
                    <a:pt x="1" y="47"/>
                    <a:pt x="0" y="46"/>
                    <a:pt x="0" y="46"/>
                  </a:cubicBezTo>
                  <a:cubicBezTo>
                    <a:pt x="0" y="46"/>
                    <a:pt x="5" y="49"/>
                    <a:pt x="14" y="51"/>
                  </a:cubicBezTo>
                  <a:cubicBezTo>
                    <a:pt x="22" y="53"/>
                    <a:pt x="35" y="52"/>
                    <a:pt x="47" y="44"/>
                  </a:cubicBezTo>
                  <a:cubicBezTo>
                    <a:pt x="58" y="36"/>
                    <a:pt x="63" y="24"/>
                    <a:pt x="64" y="15"/>
                  </a:cubicBezTo>
                  <a:cubicBezTo>
                    <a:pt x="65" y="6"/>
                    <a:pt x="63" y="0"/>
                    <a:pt x="6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7">
              <a:extLst>
                <a:ext uri="{FF2B5EF4-FFF2-40B4-BE49-F238E27FC236}">
                  <a16:creationId xmlns:a16="http://schemas.microsoft.com/office/drawing/2014/main" id="{E6C85169-31A7-48E3-96F4-F4DC23A00ECB}"/>
                </a:ext>
              </a:extLst>
            </p:cNvPr>
            <p:cNvSpPr>
              <a:spLocks/>
            </p:cNvSpPr>
            <p:nvPr/>
          </p:nvSpPr>
          <p:spPr bwMode="auto">
            <a:xfrm>
              <a:off x="3581" y="1907"/>
              <a:ext cx="79" cy="86"/>
            </a:xfrm>
            <a:custGeom>
              <a:avLst/>
              <a:gdLst>
                <a:gd name="T0" fmla="*/ 33 w 33"/>
                <a:gd name="T1" fmla="*/ 35 h 36"/>
                <a:gd name="T2" fmla="*/ 25 w 33"/>
                <a:gd name="T3" fmla="*/ 35 h 36"/>
                <a:gd name="T4" fmla="*/ 9 w 33"/>
                <a:gd name="T5" fmla="*/ 24 h 36"/>
                <a:gd name="T6" fmla="*/ 1 w 33"/>
                <a:gd name="T7" fmla="*/ 8 h 36"/>
                <a:gd name="T8" fmla="*/ 1 w 33"/>
                <a:gd name="T9" fmla="*/ 0 h 36"/>
                <a:gd name="T10" fmla="*/ 2 w 33"/>
                <a:gd name="T11" fmla="*/ 7 h 36"/>
                <a:gd name="T12" fmla="*/ 11 w 33"/>
                <a:gd name="T13" fmla="*/ 23 h 36"/>
                <a:gd name="T14" fmla="*/ 26 w 33"/>
                <a:gd name="T15" fmla="*/ 33 h 36"/>
                <a:gd name="T16" fmla="*/ 33 w 33"/>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6">
                  <a:moveTo>
                    <a:pt x="33" y="35"/>
                  </a:moveTo>
                  <a:cubicBezTo>
                    <a:pt x="33" y="36"/>
                    <a:pt x="30" y="36"/>
                    <a:pt x="25" y="35"/>
                  </a:cubicBezTo>
                  <a:cubicBezTo>
                    <a:pt x="20" y="33"/>
                    <a:pt x="14" y="30"/>
                    <a:pt x="9" y="24"/>
                  </a:cubicBezTo>
                  <a:cubicBezTo>
                    <a:pt x="4" y="19"/>
                    <a:pt x="2" y="13"/>
                    <a:pt x="1" y="8"/>
                  </a:cubicBezTo>
                  <a:cubicBezTo>
                    <a:pt x="0" y="3"/>
                    <a:pt x="0" y="0"/>
                    <a:pt x="1" y="0"/>
                  </a:cubicBezTo>
                  <a:cubicBezTo>
                    <a:pt x="1" y="0"/>
                    <a:pt x="1" y="3"/>
                    <a:pt x="2" y="7"/>
                  </a:cubicBezTo>
                  <a:cubicBezTo>
                    <a:pt x="3" y="12"/>
                    <a:pt x="6" y="18"/>
                    <a:pt x="11" y="23"/>
                  </a:cubicBezTo>
                  <a:cubicBezTo>
                    <a:pt x="16" y="28"/>
                    <a:pt x="21" y="32"/>
                    <a:pt x="26" y="33"/>
                  </a:cubicBezTo>
                  <a:cubicBezTo>
                    <a:pt x="30" y="35"/>
                    <a:pt x="33" y="35"/>
                    <a:pt x="33" y="3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8">
              <a:extLst>
                <a:ext uri="{FF2B5EF4-FFF2-40B4-BE49-F238E27FC236}">
                  <a16:creationId xmlns:a16="http://schemas.microsoft.com/office/drawing/2014/main" id="{CA268E98-652D-465F-8396-C04AD9406EDF}"/>
                </a:ext>
              </a:extLst>
            </p:cNvPr>
            <p:cNvSpPr>
              <a:spLocks/>
            </p:cNvSpPr>
            <p:nvPr/>
          </p:nvSpPr>
          <p:spPr bwMode="auto">
            <a:xfrm>
              <a:off x="3652" y="2897"/>
              <a:ext cx="122" cy="55"/>
            </a:xfrm>
            <a:custGeom>
              <a:avLst/>
              <a:gdLst>
                <a:gd name="T0" fmla="*/ 50 w 51"/>
                <a:gd name="T1" fmla="*/ 12 h 23"/>
                <a:gd name="T2" fmla="*/ 43 w 51"/>
                <a:gd name="T3" fmla="*/ 18 h 23"/>
                <a:gd name="T4" fmla="*/ 34 w 51"/>
                <a:gd name="T5" fmla="*/ 22 h 23"/>
                <a:gd name="T6" fmla="*/ 22 w 51"/>
                <a:gd name="T7" fmla="*/ 22 h 23"/>
                <a:gd name="T8" fmla="*/ 5 w 51"/>
                <a:gd name="T9" fmla="*/ 8 h 23"/>
                <a:gd name="T10" fmla="*/ 0 w 51"/>
                <a:gd name="T11" fmla="*/ 0 h 23"/>
                <a:gd name="T12" fmla="*/ 6 w 51"/>
                <a:gd name="T13" fmla="*/ 7 h 23"/>
                <a:gd name="T14" fmla="*/ 23 w 51"/>
                <a:gd name="T15" fmla="*/ 20 h 23"/>
                <a:gd name="T16" fmla="*/ 43 w 51"/>
                <a:gd name="T17" fmla="*/ 17 h 23"/>
                <a:gd name="T18" fmla="*/ 50 w 51"/>
                <a:gd name="T1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3">
                  <a:moveTo>
                    <a:pt x="50" y="12"/>
                  </a:moveTo>
                  <a:cubicBezTo>
                    <a:pt x="51" y="13"/>
                    <a:pt x="48" y="15"/>
                    <a:pt x="43" y="18"/>
                  </a:cubicBezTo>
                  <a:cubicBezTo>
                    <a:pt x="41" y="20"/>
                    <a:pt x="38" y="21"/>
                    <a:pt x="34" y="22"/>
                  </a:cubicBezTo>
                  <a:cubicBezTo>
                    <a:pt x="31" y="23"/>
                    <a:pt x="26" y="23"/>
                    <a:pt x="22" y="22"/>
                  </a:cubicBezTo>
                  <a:cubicBezTo>
                    <a:pt x="13" y="19"/>
                    <a:pt x="8" y="13"/>
                    <a:pt x="5" y="8"/>
                  </a:cubicBezTo>
                  <a:cubicBezTo>
                    <a:pt x="2" y="4"/>
                    <a:pt x="0" y="1"/>
                    <a:pt x="0" y="0"/>
                  </a:cubicBezTo>
                  <a:cubicBezTo>
                    <a:pt x="0" y="0"/>
                    <a:pt x="3" y="3"/>
                    <a:pt x="6" y="7"/>
                  </a:cubicBezTo>
                  <a:cubicBezTo>
                    <a:pt x="10" y="11"/>
                    <a:pt x="15" y="17"/>
                    <a:pt x="23" y="20"/>
                  </a:cubicBezTo>
                  <a:cubicBezTo>
                    <a:pt x="30" y="22"/>
                    <a:pt x="38" y="19"/>
                    <a:pt x="43" y="17"/>
                  </a:cubicBezTo>
                  <a:cubicBezTo>
                    <a:pt x="47" y="14"/>
                    <a:pt x="50" y="12"/>
                    <a:pt x="50" y="1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9">
              <a:extLst>
                <a:ext uri="{FF2B5EF4-FFF2-40B4-BE49-F238E27FC236}">
                  <a16:creationId xmlns:a16="http://schemas.microsoft.com/office/drawing/2014/main" id="{08FB040F-51C4-4278-80F0-A653D2EF8740}"/>
                </a:ext>
              </a:extLst>
            </p:cNvPr>
            <p:cNvSpPr>
              <a:spLocks/>
            </p:cNvSpPr>
            <p:nvPr/>
          </p:nvSpPr>
          <p:spPr bwMode="auto">
            <a:xfrm>
              <a:off x="3643" y="2902"/>
              <a:ext cx="57" cy="81"/>
            </a:xfrm>
            <a:custGeom>
              <a:avLst/>
              <a:gdLst>
                <a:gd name="T0" fmla="*/ 24 w 24"/>
                <a:gd name="T1" fmla="*/ 34 h 34"/>
                <a:gd name="T2" fmla="*/ 11 w 24"/>
                <a:gd name="T3" fmla="*/ 18 h 34"/>
                <a:gd name="T4" fmla="*/ 0 w 24"/>
                <a:gd name="T5" fmla="*/ 1 h 34"/>
                <a:gd name="T6" fmla="*/ 13 w 24"/>
                <a:gd name="T7" fmla="*/ 17 h 34"/>
                <a:gd name="T8" fmla="*/ 24 w 24"/>
                <a:gd name="T9" fmla="*/ 34 h 34"/>
              </a:gdLst>
              <a:ahLst/>
              <a:cxnLst>
                <a:cxn ang="0">
                  <a:pos x="T0" y="T1"/>
                </a:cxn>
                <a:cxn ang="0">
                  <a:pos x="T2" y="T3"/>
                </a:cxn>
                <a:cxn ang="0">
                  <a:pos x="T4" y="T5"/>
                </a:cxn>
                <a:cxn ang="0">
                  <a:pos x="T6" y="T7"/>
                </a:cxn>
                <a:cxn ang="0">
                  <a:pos x="T8" y="T9"/>
                </a:cxn>
              </a:cxnLst>
              <a:rect l="0" t="0" r="r" b="b"/>
              <a:pathLst>
                <a:path w="24" h="34">
                  <a:moveTo>
                    <a:pt x="24" y="34"/>
                  </a:moveTo>
                  <a:cubicBezTo>
                    <a:pt x="23" y="34"/>
                    <a:pt x="18" y="27"/>
                    <a:pt x="11" y="18"/>
                  </a:cubicBezTo>
                  <a:cubicBezTo>
                    <a:pt x="5" y="9"/>
                    <a:pt x="0" y="1"/>
                    <a:pt x="0" y="1"/>
                  </a:cubicBezTo>
                  <a:cubicBezTo>
                    <a:pt x="1" y="0"/>
                    <a:pt x="6" y="8"/>
                    <a:pt x="13" y="17"/>
                  </a:cubicBezTo>
                  <a:cubicBezTo>
                    <a:pt x="19" y="26"/>
                    <a:pt x="24" y="33"/>
                    <a:pt x="24" y="3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0">
              <a:extLst>
                <a:ext uri="{FF2B5EF4-FFF2-40B4-BE49-F238E27FC236}">
                  <a16:creationId xmlns:a16="http://schemas.microsoft.com/office/drawing/2014/main" id="{267DB50D-E214-4182-907E-78A6FBB36310}"/>
                </a:ext>
              </a:extLst>
            </p:cNvPr>
            <p:cNvSpPr>
              <a:spLocks/>
            </p:cNvSpPr>
            <p:nvPr/>
          </p:nvSpPr>
          <p:spPr bwMode="auto">
            <a:xfrm>
              <a:off x="3201" y="2187"/>
              <a:ext cx="12" cy="26"/>
            </a:xfrm>
            <a:custGeom>
              <a:avLst/>
              <a:gdLst>
                <a:gd name="T0" fmla="*/ 5 w 5"/>
                <a:gd name="T1" fmla="*/ 11 h 11"/>
                <a:gd name="T2" fmla="*/ 2 w 5"/>
                <a:gd name="T3" fmla="*/ 6 h 11"/>
                <a:gd name="T4" fmla="*/ 0 w 5"/>
                <a:gd name="T5" fmla="*/ 0 h 11"/>
                <a:gd name="T6" fmla="*/ 4 w 5"/>
                <a:gd name="T7" fmla="*/ 5 h 11"/>
                <a:gd name="T8" fmla="*/ 5 w 5"/>
                <a:gd name="T9" fmla="*/ 11 h 11"/>
              </a:gdLst>
              <a:ahLst/>
              <a:cxnLst>
                <a:cxn ang="0">
                  <a:pos x="T0" y="T1"/>
                </a:cxn>
                <a:cxn ang="0">
                  <a:pos x="T2" y="T3"/>
                </a:cxn>
                <a:cxn ang="0">
                  <a:pos x="T4" y="T5"/>
                </a:cxn>
                <a:cxn ang="0">
                  <a:pos x="T6" y="T7"/>
                </a:cxn>
                <a:cxn ang="0">
                  <a:pos x="T8" y="T9"/>
                </a:cxn>
              </a:cxnLst>
              <a:rect l="0" t="0" r="r" b="b"/>
              <a:pathLst>
                <a:path w="5" h="11">
                  <a:moveTo>
                    <a:pt x="5" y="11"/>
                  </a:moveTo>
                  <a:cubicBezTo>
                    <a:pt x="4" y="11"/>
                    <a:pt x="3" y="9"/>
                    <a:pt x="2" y="6"/>
                  </a:cubicBezTo>
                  <a:cubicBezTo>
                    <a:pt x="0" y="3"/>
                    <a:pt x="0" y="0"/>
                    <a:pt x="0" y="0"/>
                  </a:cubicBezTo>
                  <a:cubicBezTo>
                    <a:pt x="1" y="0"/>
                    <a:pt x="2" y="2"/>
                    <a:pt x="4" y="5"/>
                  </a:cubicBezTo>
                  <a:cubicBezTo>
                    <a:pt x="5" y="8"/>
                    <a:pt x="5" y="11"/>
                    <a:pt x="5"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1">
              <a:extLst>
                <a:ext uri="{FF2B5EF4-FFF2-40B4-BE49-F238E27FC236}">
                  <a16:creationId xmlns:a16="http://schemas.microsoft.com/office/drawing/2014/main" id="{EA251702-7F39-42B5-9305-EB43E241DD5A}"/>
                </a:ext>
              </a:extLst>
            </p:cNvPr>
            <p:cNvSpPr>
              <a:spLocks noChangeArrowheads="1"/>
            </p:cNvSpPr>
            <p:nvPr/>
          </p:nvSpPr>
          <p:spPr bwMode="auto">
            <a:xfrm>
              <a:off x="3394" y="2218"/>
              <a:ext cx="4" cy="21"/>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2">
              <a:extLst>
                <a:ext uri="{FF2B5EF4-FFF2-40B4-BE49-F238E27FC236}">
                  <a16:creationId xmlns:a16="http://schemas.microsoft.com/office/drawing/2014/main" id="{670780AC-89C3-4F9D-BD92-CDCD540CF367}"/>
                </a:ext>
              </a:extLst>
            </p:cNvPr>
            <p:cNvSpPr>
              <a:spLocks/>
            </p:cNvSpPr>
            <p:nvPr/>
          </p:nvSpPr>
          <p:spPr bwMode="auto">
            <a:xfrm>
              <a:off x="3318" y="2313"/>
              <a:ext cx="4" cy="26"/>
            </a:xfrm>
            <a:custGeom>
              <a:avLst/>
              <a:gdLst>
                <a:gd name="T0" fmla="*/ 1 w 2"/>
                <a:gd name="T1" fmla="*/ 11 h 11"/>
                <a:gd name="T2" fmla="*/ 0 w 2"/>
                <a:gd name="T3" fmla="*/ 6 h 11"/>
                <a:gd name="T4" fmla="*/ 1 w 2"/>
                <a:gd name="T5" fmla="*/ 0 h 11"/>
                <a:gd name="T6" fmla="*/ 2 w 2"/>
                <a:gd name="T7" fmla="*/ 5 h 11"/>
                <a:gd name="T8" fmla="*/ 1 w 2"/>
                <a:gd name="T9" fmla="*/ 11 h 11"/>
              </a:gdLst>
              <a:ahLst/>
              <a:cxnLst>
                <a:cxn ang="0">
                  <a:pos x="T0" y="T1"/>
                </a:cxn>
                <a:cxn ang="0">
                  <a:pos x="T2" y="T3"/>
                </a:cxn>
                <a:cxn ang="0">
                  <a:pos x="T4" y="T5"/>
                </a:cxn>
                <a:cxn ang="0">
                  <a:pos x="T6" y="T7"/>
                </a:cxn>
                <a:cxn ang="0">
                  <a:pos x="T8" y="T9"/>
                </a:cxn>
              </a:cxnLst>
              <a:rect l="0" t="0" r="r" b="b"/>
              <a:pathLst>
                <a:path w="2" h="11">
                  <a:moveTo>
                    <a:pt x="1" y="11"/>
                  </a:moveTo>
                  <a:cubicBezTo>
                    <a:pt x="1" y="11"/>
                    <a:pt x="0" y="9"/>
                    <a:pt x="0" y="6"/>
                  </a:cubicBezTo>
                  <a:cubicBezTo>
                    <a:pt x="0" y="2"/>
                    <a:pt x="0" y="0"/>
                    <a:pt x="1" y="0"/>
                  </a:cubicBezTo>
                  <a:cubicBezTo>
                    <a:pt x="1" y="0"/>
                    <a:pt x="2" y="2"/>
                    <a:pt x="2" y="5"/>
                  </a:cubicBezTo>
                  <a:cubicBezTo>
                    <a:pt x="2" y="8"/>
                    <a:pt x="2"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3">
              <a:extLst>
                <a:ext uri="{FF2B5EF4-FFF2-40B4-BE49-F238E27FC236}">
                  <a16:creationId xmlns:a16="http://schemas.microsoft.com/office/drawing/2014/main" id="{B0EB08FB-3A0A-483D-BC05-E75119E2F012}"/>
                </a:ext>
              </a:extLst>
            </p:cNvPr>
            <p:cNvSpPr>
              <a:spLocks/>
            </p:cNvSpPr>
            <p:nvPr/>
          </p:nvSpPr>
          <p:spPr bwMode="auto">
            <a:xfrm>
              <a:off x="3163" y="2399"/>
              <a:ext cx="22" cy="14"/>
            </a:xfrm>
            <a:custGeom>
              <a:avLst/>
              <a:gdLst>
                <a:gd name="T0" fmla="*/ 8 w 9"/>
                <a:gd name="T1" fmla="*/ 6 h 6"/>
                <a:gd name="T2" fmla="*/ 4 w 9"/>
                <a:gd name="T3" fmla="*/ 3 h 6"/>
                <a:gd name="T4" fmla="*/ 0 w 9"/>
                <a:gd name="T5" fmla="*/ 0 h 6"/>
                <a:gd name="T6" fmla="*/ 5 w 9"/>
                <a:gd name="T7" fmla="*/ 2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8" y="6"/>
                    <a:pt x="6" y="5"/>
                    <a:pt x="4" y="3"/>
                  </a:cubicBezTo>
                  <a:cubicBezTo>
                    <a:pt x="2" y="2"/>
                    <a:pt x="0" y="1"/>
                    <a:pt x="0" y="0"/>
                  </a:cubicBezTo>
                  <a:cubicBezTo>
                    <a:pt x="0" y="0"/>
                    <a:pt x="3" y="0"/>
                    <a:pt x="5" y="2"/>
                  </a:cubicBezTo>
                  <a:cubicBezTo>
                    <a:pt x="8" y="3"/>
                    <a:pt x="9" y="6"/>
                    <a:pt x="8"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4">
              <a:extLst>
                <a:ext uri="{FF2B5EF4-FFF2-40B4-BE49-F238E27FC236}">
                  <a16:creationId xmlns:a16="http://schemas.microsoft.com/office/drawing/2014/main" id="{E73A3453-8A8D-49CB-ADC9-3DB2D19E564B}"/>
                </a:ext>
              </a:extLst>
            </p:cNvPr>
            <p:cNvSpPr>
              <a:spLocks/>
            </p:cNvSpPr>
            <p:nvPr/>
          </p:nvSpPr>
          <p:spPr bwMode="auto">
            <a:xfrm>
              <a:off x="3425" y="2489"/>
              <a:ext cx="14" cy="16"/>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1"/>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35">
              <a:extLst>
                <a:ext uri="{FF2B5EF4-FFF2-40B4-BE49-F238E27FC236}">
                  <a16:creationId xmlns:a16="http://schemas.microsoft.com/office/drawing/2014/main" id="{3BDF8FE9-D5C9-4A6A-BF27-B21F73319356}"/>
                </a:ext>
              </a:extLst>
            </p:cNvPr>
            <p:cNvSpPr>
              <a:spLocks noChangeArrowheads="1"/>
            </p:cNvSpPr>
            <p:nvPr/>
          </p:nvSpPr>
          <p:spPr bwMode="auto">
            <a:xfrm>
              <a:off x="3273" y="2496"/>
              <a:ext cx="4" cy="36"/>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6">
              <a:extLst>
                <a:ext uri="{FF2B5EF4-FFF2-40B4-BE49-F238E27FC236}">
                  <a16:creationId xmlns:a16="http://schemas.microsoft.com/office/drawing/2014/main" id="{B0F3E417-2141-4E4A-9F09-DC9626914966}"/>
                </a:ext>
              </a:extLst>
            </p:cNvPr>
            <p:cNvSpPr>
              <a:spLocks/>
            </p:cNvSpPr>
            <p:nvPr/>
          </p:nvSpPr>
          <p:spPr bwMode="auto">
            <a:xfrm>
              <a:off x="3206" y="2624"/>
              <a:ext cx="21" cy="14"/>
            </a:xfrm>
            <a:custGeom>
              <a:avLst/>
              <a:gdLst>
                <a:gd name="T0" fmla="*/ 9 w 9"/>
                <a:gd name="T1" fmla="*/ 6 h 6"/>
                <a:gd name="T2" fmla="*/ 4 w 9"/>
                <a:gd name="T3" fmla="*/ 4 h 6"/>
                <a:gd name="T4" fmla="*/ 1 w 9"/>
                <a:gd name="T5" fmla="*/ 0 h 6"/>
                <a:gd name="T6" fmla="*/ 5 w 9"/>
                <a:gd name="T7" fmla="*/ 2 h 6"/>
                <a:gd name="T8" fmla="*/ 9 w 9"/>
                <a:gd name="T9" fmla="*/ 6 h 6"/>
              </a:gdLst>
              <a:ahLst/>
              <a:cxnLst>
                <a:cxn ang="0">
                  <a:pos x="T0" y="T1"/>
                </a:cxn>
                <a:cxn ang="0">
                  <a:pos x="T2" y="T3"/>
                </a:cxn>
                <a:cxn ang="0">
                  <a:pos x="T4" y="T5"/>
                </a:cxn>
                <a:cxn ang="0">
                  <a:pos x="T6" y="T7"/>
                </a:cxn>
                <a:cxn ang="0">
                  <a:pos x="T8" y="T9"/>
                </a:cxn>
              </a:cxnLst>
              <a:rect l="0" t="0" r="r" b="b"/>
              <a:pathLst>
                <a:path w="9" h="6">
                  <a:moveTo>
                    <a:pt x="9" y="6"/>
                  </a:moveTo>
                  <a:cubicBezTo>
                    <a:pt x="9" y="6"/>
                    <a:pt x="6" y="5"/>
                    <a:pt x="4" y="4"/>
                  </a:cubicBezTo>
                  <a:cubicBezTo>
                    <a:pt x="2" y="2"/>
                    <a:pt x="0" y="1"/>
                    <a:pt x="1" y="0"/>
                  </a:cubicBezTo>
                  <a:cubicBezTo>
                    <a:pt x="1" y="0"/>
                    <a:pt x="3" y="1"/>
                    <a:pt x="5" y="2"/>
                  </a:cubicBezTo>
                  <a:cubicBezTo>
                    <a:pt x="8" y="4"/>
                    <a:pt x="9" y="6"/>
                    <a:pt x="9"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7">
              <a:extLst>
                <a:ext uri="{FF2B5EF4-FFF2-40B4-BE49-F238E27FC236}">
                  <a16:creationId xmlns:a16="http://schemas.microsoft.com/office/drawing/2014/main" id="{F9C43D40-A83C-4B21-9302-DE2E9DCB0437}"/>
                </a:ext>
              </a:extLst>
            </p:cNvPr>
            <p:cNvSpPr>
              <a:spLocks/>
            </p:cNvSpPr>
            <p:nvPr/>
          </p:nvSpPr>
          <p:spPr bwMode="auto">
            <a:xfrm>
              <a:off x="3363" y="2674"/>
              <a:ext cx="16" cy="9"/>
            </a:xfrm>
            <a:custGeom>
              <a:avLst/>
              <a:gdLst>
                <a:gd name="T0" fmla="*/ 7 w 7"/>
                <a:gd name="T1" fmla="*/ 1 h 4"/>
                <a:gd name="T2" fmla="*/ 4 w 7"/>
                <a:gd name="T3" fmla="*/ 3 h 4"/>
                <a:gd name="T4" fmla="*/ 0 w 7"/>
                <a:gd name="T5" fmla="*/ 4 h 4"/>
                <a:gd name="T6" fmla="*/ 3 w 7"/>
                <a:gd name="T7" fmla="*/ 1 h 4"/>
                <a:gd name="T8" fmla="*/ 7 w 7"/>
                <a:gd name="T9" fmla="*/ 1 h 4"/>
              </a:gdLst>
              <a:ahLst/>
              <a:cxnLst>
                <a:cxn ang="0">
                  <a:pos x="T0" y="T1"/>
                </a:cxn>
                <a:cxn ang="0">
                  <a:pos x="T2" y="T3"/>
                </a:cxn>
                <a:cxn ang="0">
                  <a:pos x="T4" y="T5"/>
                </a:cxn>
                <a:cxn ang="0">
                  <a:pos x="T6" y="T7"/>
                </a:cxn>
                <a:cxn ang="0">
                  <a:pos x="T8" y="T9"/>
                </a:cxn>
              </a:cxnLst>
              <a:rect l="0" t="0" r="r" b="b"/>
              <a:pathLst>
                <a:path w="7" h="4">
                  <a:moveTo>
                    <a:pt x="7" y="1"/>
                  </a:moveTo>
                  <a:cubicBezTo>
                    <a:pt x="7" y="1"/>
                    <a:pt x="6" y="2"/>
                    <a:pt x="4" y="3"/>
                  </a:cubicBezTo>
                  <a:cubicBezTo>
                    <a:pt x="2" y="4"/>
                    <a:pt x="1" y="4"/>
                    <a:pt x="0" y="4"/>
                  </a:cubicBezTo>
                  <a:cubicBezTo>
                    <a:pt x="0" y="3"/>
                    <a:pt x="1" y="2"/>
                    <a:pt x="3" y="1"/>
                  </a:cubicBezTo>
                  <a:cubicBezTo>
                    <a:pt x="5" y="0"/>
                    <a:pt x="7" y="0"/>
                    <a:pt x="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8">
              <a:extLst>
                <a:ext uri="{FF2B5EF4-FFF2-40B4-BE49-F238E27FC236}">
                  <a16:creationId xmlns:a16="http://schemas.microsoft.com/office/drawing/2014/main" id="{3B824944-46EF-4F1C-B8FE-F95252AA1C82}"/>
                </a:ext>
              </a:extLst>
            </p:cNvPr>
            <p:cNvSpPr>
              <a:spLocks/>
            </p:cNvSpPr>
            <p:nvPr/>
          </p:nvSpPr>
          <p:spPr bwMode="auto">
            <a:xfrm>
              <a:off x="3258" y="2814"/>
              <a:ext cx="19" cy="36"/>
            </a:xfrm>
            <a:custGeom>
              <a:avLst/>
              <a:gdLst>
                <a:gd name="T0" fmla="*/ 7 w 8"/>
                <a:gd name="T1" fmla="*/ 15 h 15"/>
                <a:gd name="T2" fmla="*/ 3 w 8"/>
                <a:gd name="T3" fmla="*/ 8 h 15"/>
                <a:gd name="T4" fmla="*/ 0 w 8"/>
                <a:gd name="T5" fmla="*/ 0 h 15"/>
                <a:gd name="T6" fmla="*/ 5 w 8"/>
                <a:gd name="T7" fmla="*/ 7 h 15"/>
                <a:gd name="T8" fmla="*/ 7 w 8"/>
                <a:gd name="T9" fmla="*/ 15 h 15"/>
              </a:gdLst>
              <a:ahLst/>
              <a:cxnLst>
                <a:cxn ang="0">
                  <a:pos x="T0" y="T1"/>
                </a:cxn>
                <a:cxn ang="0">
                  <a:pos x="T2" y="T3"/>
                </a:cxn>
                <a:cxn ang="0">
                  <a:pos x="T4" y="T5"/>
                </a:cxn>
                <a:cxn ang="0">
                  <a:pos x="T6" y="T7"/>
                </a:cxn>
                <a:cxn ang="0">
                  <a:pos x="T8" y="T9"/>
                </a:cxn>
              </a:cxnLst>
              <a:rect l="0" t="0" r="r" b="b"/>
              <a:pathLst>
                <a:path w="8" h="15">
                  <a:moveTo>
                    <a:pt x="7" y="15"/>
                  </a:moveTo>
                  <a:cubicBezTo>
                    <a:pt x="7" y="15"/>
                    <a:pt x="5" y="12"/>
                    <a:pt x="3" y="8"/>
                  </a:cubicBezTo>
                  <a:cubicBezTo>
                    <a:pt x="1" y="4"/>
                    <a:pt x="0" y="0"/>
                    <a:pt x="0" y="0"/>
                  </a:cubicBezTo>
                  <a:cubicBezTo>
                    <a:pt x="1" y="0"/>
                    <a:pt x="3" y="3"/>
                    <a:pt x="5" y="7"/>
                  </a:cubicBezTo>
                  <a:cubicBezTo>
                    <a:pt x="7" y="11"/>
                    <a:pt x="8" y="14"/>
                    <a:pt x="7"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9">
              <a:extLst>
                <a:ext uri="{FF2B5EF4-FFF2-40B4-BE49-F238E27FC236}">
                  <a16:creationId xmlns:a16="http://schemas.microsoft.com/office/drawing/2014/main" id="{33D47C80-CE0A-4D87-949D-69152D84EA0A}"/>
                </a:ext>
              </a:extLst>
            </p:cNvPr>
            <p:cNvSpPr>
              <a:spLocks/>
            </p:cNvSpPr>
            <p:nvPr/>
          </p:nvSpPr>
          <p:spPr bwMode="auto">
            <a:xfrm>
              <a:off x="3444" y="2807"/>
              <a:ext cx="16" cy="26"/>
            </a:xfrm>
            <a:custGeom>
              <a:avLst/>
              <a:gdLst>
                <a:gd name="T0" fmla="*/ 0 w 7"/>
                <a:gd name="T1" fmla="*/ 11 h 11"/>
                <a:gd name="T2" fmla="*/ 2 w 7"/>
                <a:gd name="T3" fmla="*/ 5 h 11"/>
                <a:gd name="T4" fmla="*/ 6 w 7"/>
                <a:gd name="T5" fmla="*/ 0 h 11"/>
                <a:gd name="T6" fmla="*/ 4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1" y="8"/>
                    <a:pt x="2" y="5"/>
                  </a:cubicBezTo>
                  <a:cubicBezTo>
                    <a:pt x="4" y="2"/>
                    <a:pt x="6" y="0"/>
                    <a:pt x="6" y="0"/>
                  </a:cubicBezTo>
                  <a:cubicBezTo>
                    <a:pt x="7" y="0"/>
                    <a:pt x="6" y="3"/>
                    <a:pt x="4" y="6"/>
                  </a:cubicBezTo>
                  <a:cubicBezTo>
                    <a:pt x="2" y="9"/>
                    <a:pt x="1" y="11"/>
                    <a:pt x="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0">
              <a:extLst>
                <a:ext uri="{FF2B5EF4-FFF2-40B4-BE49-F238E27FC236}">
                  <a16:creationId xmlns:a16="http://schemas.microsoft.com/office/drawing/2014/main" id="{802EC777-949B-4E15-B055-7EF59FC47D0C}"/>
                </a:ext>
              </a:extLst>
            </p:cNvPr>
            <p:cNvSpPr>
              <a:spLocks/>
            </p:cNvSpPr>
            <p:nvPr/>
          </p:nvSpPr>
          <p:spPr bwMode="auto">
            <a:xfrm>
              <a:off x="3365" y="2947"/>
              <a:ext cx="10" cy="33"/>
            </a:xfrm>
            <a:custGeom>
              <a:avLst/>
              <a:gdLst>
                <a:gd name="T0" fmla="*/ 2 w 4"/>
                <a:gd name="T1" fmla="*/ 14 h 14"/>
                <a:gd name="T2" fmla="*/ 1 w 4"/>
                <a:gd name="T3" fmla="*/ 7 h 14"/>
                <a:gd name="T4" fmla="*/ 0 w 4"/>
                <a:gd name="T5" fmla="*/ 0 h 14"/>
                <a:gd name="T6" fmla="*/ 3 w 4"/>
                <a:gd name="T7" fmla="*/ 7 h 14"/>
                <a:gd name="T8" fmla="*/ 2 w 4"/>
                <a:gd name="T9" fmla="*/ 14 h 14"/>
              </a:gdLst>
              <a:ahLst/>
              <a:cxnLst>
                <a:cxn ang="0">
                  <a:pos x="T0" y="T1"/>
                </a:cxn>
                <a:cxn ang="0">
                  <a:pos x="T2" y="T3"/>
                </a:cxn>
                <a:cxn ang="0">
                  <a:pos x="T4" y="T5"/>
                </a:cxn>
                <a:cxn ang="0">
                  <a:pos x="T6" y="T7"/>
                </a:cxn>
                <a:cxn ang="0">
                  <a:pos x="T8" y="T9"/>
                </a:cxn>
              </a:cxnLst>
              <a:rect l="0" t="0" r="r" b="b"/>
              <a:pathLst>
                <a:path w="4" h="14">
                  <a:moveTo>
                    <a:pt x="2" y="14"/>
                  </a:moveTo>
                  <a:cubicBezTo>
                    <a:pt x="2" y="14"/>
                    <a:pt x="2" y="11"/>
                    <a:pt x="1" y="7"/>
                  </a:cubicBezTo>
                  <a:cubicBezTo>
                    <a:pt x="1" y="3"/>
                    <a:pt x="0" y="0"/>
                    <a:pt x="0" y="0"/>
                  </a:cubicBezTo>
                  <a:cubicBezTo>
                    <a:pt x="1" y="0"/>
                    <a:pt x="3" y="2"/>
                    <a:pt x="3" y="7"/>
                  </a:cubicBezTo>
                  <a:cubicBezTo>
                    <a:pt x="4" y="11"/>
                    <a:pt x="3" y="14"/>
                    <a:pt x="2"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1">
              <a:extLst>
                <a:ext uri="{FF2B5EF4-FFF2-40B4-BE49-F238E27FC236}">
                  <a16:creationId xmlns:a16="http://schemas.microsoft.com/office/drawing/2014/main" id="{DFB49929-4491-4A10-8164-B935CF8870EF}"/>
                </a:ext>
              </a:extLst>
            </p:cNvPr>
            <p:cNvSpPr>
              <a:spLocks/>
            </p:cNvSpPr>
            <p:nvPr/>
          </p:nvSpPr>
          <p:spPr bwMode="auto">
            <a:xfrm>
              <a:off x="3273" y="3044"/>
              <a:ext cx="19" cy="22"/>
            </a:xfrm>
            <a:custGeom>
              <a:avLst/>
              <a:gdLst>
                <a:gd name="T0" fmla="*/ 8 w 8"/>
                <a:gd name="T1" fmla="*/ 8 h 9"/>
                <a:gd name="T2" fmla="*/ 4 w 8"/>
                <a:gd name="T3" fmla="*/ 5 h 9"/>
                <a:gd name="T4" fmla="*/ 1 w 8"/>
                <a:gd name="T5" fmla="*/ 0 h 9"/>
                <a:gd name="T6" fmla="*/ 5 w 8"/>
                <a:gd name="T7" fmla="*/ 4 h 9"/>
                <a:gd name="T8" fmla="*/ 8 w 8"/>
                <a:gd name="T9" fmla="*/ 8 h 9"/>
              </a:gdLst>
              <a:ahLst/>
              <a:cxnLst>
                <a:cxn ang="0">
                  <a:pos x="T0" y="T1"/>
                </a:cxn>
                <a:cxn ang="0">
                  <a:pos x="T2" y="T3"/>
                </a:cxn>
                <a:cxn ang="0">
                  <a:pos x="T4" y="T5"/>
                </a:cxn>
                <a:cxn ang="0">
                  <a:pos x="T6" y="T7"/>
                </a:cxn>
                <a:cxn ang="0">
                  <a:pos x="T8" y="T9"/>
                </a:cxn>
              </a:cxnLst>
              <a:rect l="0" t="0" r="r" b="b"/>
              <a:pathLst>
                <a:path w="8" h="9">
                  <a:moveTo>
                    <a:pt x="8" y="8"/>
                  </a:moveTo>
                  <a:cubicBezTo>
                    <a:pt x="8" y="9"/>
                    <a:pt x="6" y="7"/>
                    <a:pt x="4" y="5"/>
                  </a:cubicBezTo>
                  <a:cubicBezTo>
                    <a:pt x="2" y="3"/>
                    <a:pt x="0" y="1"/>
                    <a:pt x="1" y="0"/>
                  </a:cubicBezTo>
                  <a:cubicBezTo>
                    <a:pt x="1" y="0"/>
                    <a:pt x="3" y="1"/>
                    <a:pt x="5" y="4"/>
                  </a:cubicBezTo>
                  <a:cubicBezTo>
                    <a:pt x="7" y="6"/>
                    <a:pt x="8" y="8"/>
                    <a:pt x="8"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2">
              <a:extLst>
                <a:ext uri="{FF2B5EF4-FFF2-40B4-BE49-F238E27FC236}">
                  <a16:creationId xmlns:a16="http://schemas.microsoft.com/office/drawing/2014/main" id="{D5321FA1-4635-4909-9D60-4597333AB534}"/>
                </a:ext>
              </a:extLst>
            </p:cNvPr>
            <p:cNvSpPr>
              <a:spLocks/>
            </p:cNvSpPr>
            <p:nvPr/>
          </p:nvSpPr>
          <p:spPr bwMode="auto">
            <a:xfrm>
              <a:off x="3482" y="3075"/>
              <a:ext cx="21" cy="22"/>
            </a:xfrm>
            <a:custGeom>
              <a:avLst/>
              <a:gdLst>
                <a:gd name="T0" fmla="*/ 1 w 9"/>
                <a:gd name="T1" fmla="*/ 9 h 9"/>
                <a:gd name="T2" fmla="*/ 4 w 9"/>
                <a:gd name="T3" fmla="*/ 4 h 9"/>
                <a:gd name="T4" fmla="*/ 9 w 9"/>
                <a:gd name="T5" fmla="*/ 1 h 9"/>
                <a:gd name="T6" fmla="*/ 5 w 9"/>
                <a:gd name="T7" fmla="*/ 5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cubicBezTo>
                    <a:pt x="0" y="8"/>
                    <a:pt x="2" y="6"/>
                    <a:pt x="4" y="4"/>
                  </a:cubicBezTo>
                  <a:cubicBezTo>
                    <a:pt x="6" y="2"/>
                    <a:pt x="8" y="0"/>
                    <a:pt x="9" y="1"/>
                  </a:cubicBezTo>
                  <a:cubicBezTo>
                    <a:pt x="9" y="1"/>
                    <a:pt x="8" y="3"/>
                    <a:pt x="5" y="5"/>
                  </a:cubicBezTo>
                  <a:cubicBezTo>
                    <a:pt x="3" y="8"/>
                    <a:pt x="1" y="9"/>
                    <a:pt x="1"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3">
              <a:extLst>
                <a:ext uri="{FF2B5EF4-FFF2-40B4-BE49-F238E27FC236}">
                  <a16:creationId xmlns:a16="http://schemas.microsoft.com/office/drawing/2014/main" id="{735403F5-BCE0-46F5-A649-EE14C5D3D02D}"/>
                </a:ext>
              </a:extLst>
            </p:cNvPr>
            <p:cNvSpPr>
              <a:spLocks/>
            </p:cNvSpPr>
            <p:nvPr/>
          </p:nvSpPr>
          <p:spPr bwMode="auto">
            <a:xfrm>
              <a:off x="3372" y="3189"/>
              <a:ext cx="7" cy="33"/>
            </a:xfrm>
            <a:custGeom>
              <a:avLst/>
              <a:gdLst>
                <a:gd name="T0" fmla="*/ 0 w 3"/>
                <a:gd name="T1" fmla="*/ 14 h 14"/>
                <a:gd name="T2" fmla="*/ 0 w 3"/>
                <a:gd name="T3" fmla="*/ 7 h 14"/>
                <a:gd name="T4" fmla="*/ 2 w 3"/>
                <a:gd name="T5" fmla="*/ 0 h 14"/>
                <a:gd name="T6" fmla="*/ 2 w 3"/>
                <a:gd name="T7" fmla="*/ 7 h 14"/>
                <a:gd name="T8" fmla="*/ 0 w 3"/>
                <a:gd name="T9" fmla="*/ 14 h 14"/>
              </a:gdLst>
              <a:ahLst/>
              <a:cxnLst>
                <a:cxn ang="0">
                  <a:pos x="T0" y="T1"/>
                </a:cxn>
                <a:cxn ang="0">
                  <a:pos x="T2" y="T3"/>
                </a:cxn>
                <a:cxn ang="0">
                  <a:pos x="T4" y="T5"/>
                </a:cxn>
                <a:cxn ang="0">
                  <a:pos x="T6" y="T7"/>
                </a:cxn>
                <a:cxn ang="0">
                  <a:pos x="T8" y="T9"/>
                </a:cxn>
              </a:cxnLst>
              <a:rect l="0" t="0" r="r" b="b"/>
              <a:pathLst>
                <a:path w="3" h="14">
                  <a:moveTo>
                    <a:pt x="0" y="14"/>
                  </a:moveTo>
                  <a:cubicBezTo>
                    <a:pt x="0" y="14"/>
                    <a:pt x="0" y="11"/>
                    <a:pt x="0" y="7"/>
                  </a:cubicBezTo>
                  <a:cubicBezTo>
                    <a:pt x="1" y="3"/>
                    <a:pt x="2" y="0"/>
                    <a:pt x="2" y="0"/>
                  </a:cubicBezTo>
                  <a:cubicBezTo>
                    <a:pt x="3" y="1"/>
                    <a:pt x="3" y="4"/>
                    <a:pt x="2" y="7"/>
                  </a:cubicBezTo>
                  <a:cubicBezTo>
                    <a:pt x="2" y="11"/>
                    <a:pt x="1" y="14"/>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4">
              <a:extLst>
                <a:ext uri="{FF2B5EF4-FFF2-40B4-BE49-F238E27FC236}">
                  <a16:creationId xmlns:a16="http://schemas.microsoft.com/office/drawing/2014/main" id="{275A1F17-BFB5-4668-9E76-592949490F2C}"/>
                </a:ext>
              </a:extLst>
            </p:cNvPr>
            <p:cNvSpPr>
              <a:spLocks/>
            </p:cNvSpPr>
            <p:nvPr/>
          </p:nvSpPr>
          <p:spPr bwMode="auto">
            <a:xfrm>
              <a:off x="3284" y="3258"/>
              <a:ext cx="17" cy="26"/>
            </a:xfrm>
            <a:custGeom>
              <a:avLst/>
              <a:gdLst>
                <a:gd name="T0" fmla="*/ 6 w 7"/>
                <a:gd name="T1" fmla="*/ 10 h 11"/>
                <a:gd name="T2" fmla="*/ 2 w 7"/>
                <a:gd name="T3" fmla="*/ 6 h 11"/>
                <a:gd name="T4" fmla="*/ 0 w 7"/>
                <a:gd name="T5" fmla="*/ 0 h 11"/>
                <a:gd name="T6" fmla="*/ 4 w 7"/>
                <a:gd name="T7" fmla="*/ 5 h 11"/>
                <a:gd name="T8" fmla="*/ 6 w 7"/>
                <a:gd name="T9" fmla="*/ 10 h 11"/>
              </a:gdLst>
              <a:ahLst/>
              <a:cxnLst>
                <a:cxn ang="0">
                  <a:pos x="T0" y="T1"/>
                </a:cxn>
                <a:cxn ang="0">
                  <a:pos x="T2" y="T3"/>
                </a:cxn>
                <a:cxn ang="0">
                  <a:pos x="T4" y="T5"/>
                </a:cxn>
                <a:cxn ang="0">
                  <a:pos x="T6" y="T7"/>
                </a:cxn>
                <a:cxn ang="0">
                  <a:pos x="T8" y="T9"/>
                </a:cxn>
              </a:cxnLst>
              <a:rect l="0" t="0" r="r" b="b"/>
              <a:pathLst>
                <a:path w="7" h="11">
                  <a:moveTo>
                    <a:pt x="6" y="10"/>
                  </a:moveTo>
                  <a:cubicBezTo>
                    <a:pt x="6" y="11"/>
                    <a:pt x="4" y="9"/>
                    <a:pt x="2" y="6"/>
                  </a:cubicBezTo>
                  <a:cubicBezTo>
                    <a:pt x="1" y="3"/>
                    <a:pt x="0" y="1"/>
                    <a:pt x="0" y="0"/>
                  </a:cubicBezTo>
                  <a:cubicBezTo>
                    <a:pt x="1" y="0"/>
                    <a:pt x="2" y="2"/>
                    <a:pt x="4" y="5"/>
                  </a:cubicBezTo>
                  <a:cubicBezTo>
                    <a:pt x="6" y="8"/>
                    <a:pt x="7" y="10"/>
                    <a:pt x="6"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5">
              <a:extLst>
                <a:ext uri="{FF2B5EF4-FFF2-40B4-BE49-F238E27FC236}">
                  <a16:creationId xmlns:a16="http://schemas.microsoft.com/office/drawing/2014/main" id="{FBDE3AB0-52C3-4C0E-898B-55A680DA9D10}"/>
                </a:ext>
              </a:extLst>
            </p:cNvPr>
            <p:cNvSpPr>
              <a:spLocks/>
            </p:cNvSpPr>
            <p:nvPr/>
          </p:nvSpPr>
          <p:spPr bwMode="auto">
            <a:xfrm>
              <a:off x="3453" y="3358"/>
              <a:ext cx="26" cy="21"/>
            </a:xfrm>
            <a:custGeom>
              <a:avLst/>
              <a:gdLst>
                <a:gd name="T0" fmla="*/ 10 w 11"/>
                <a:gd name="T1" fmla="*/ 1 h 9"/>
                <a:gd name="T2" fmla="*/ 6 w 11"/>
                <a:gd name="T3" fmla="*/ 5 h 9"/>
                <a:gd name="T4" fmla="*/ 0 w 11"/>
                <a:gd name="T5" fmla="*/ 8 h 9"/>
                <a:gd name="T6" fmla="*/ 4 w 11"/>
                <a:gd name="T7" fmla="*/ 4 h 9"/>
                <a:gd name="T8" fmla="*/ 10 w 11"/>
                <a:gd name="T9" fmla="*/ 1 h 9"/>
              </a:gdLst>
              <a:ahLst/>
              <a:cxnLst>
                <a:cxn ang="0">
                  <a:pos x="T0" y="T1"/>
                </a:cxn>
                <a:cxn ang="0">
                  <a:pos x="T2" y="T3"/>
                </a:cxn>
                <a:cxn ang="0">
                  <a:pos x="T4" y="T5"/>
                </a:cxn>
                <a:cxn ang="0">
                  <a:pos x="T6" y="T7"/>
                </a:cxn>
                <a:cxn ang="0">
                  <a:pos x="T8" y="T9"/>
                </a:cxn>
              </a:cxnLst>
              <a:rect l="0" t="0" r="r" b="b"/>
              <a:pathLst>
                <a:path w="11" h="9">
                  <a:moveTo>
                    <a:pt x="10" y="1"/>
                  </a:moveTo>
                  <a:cubicBezTo>
                    <a:pt x="11" y="1"/>
                    <a:pt x="9" y="3"/>
                    <a:pt x="6" y="5"/>
                  </a:cubicBezTo>
                  <a:cubicBezTo>
                    <a:pt x="3" y="8"/>
                    <a:pt x="0" y="9"/>
                    <a:pt x="0" y="8"/>
                  </a:cubicBezTo>
                  <a:cubicBezTo>
                    <a:pt x="0" y="8"/>
                    <a:pt x="2" y="6"/>
                    <a:pt x="4" y="4"/>
                  </a:cubicBezTo>
                  <a:cubicBezTo>
                    <a:pt x="7" y="2"/>
                    <a:pt x="10" y="0"/>
                    <a:pt x="1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6">
              <a:extLst>
                <a:ext uri="{FF2B5EF4-FFF2-40B4-BE49-F238E27FC236}">
                  <a16:creationId xmlns:a16="http://schemas.microsoft.com/office/drawing/2014/main" id="{733C55E0-7BE9-4EBC-B8D6-C6B2F9EDB245}"/>
                </a:ext>
              </a:extLst>
            </p:cNvPr>
            <p:cNvSpPr>
              <a:spLocks/>
            </p:cNvSpPr>
            <p:nvPr/>
          </p:nvSpPr>
          <p:spPr bwMode="auto">
            <a:xfrm>
              <a:off x="3327" y="3424"/>
              <a:ext cx="10" cy="36"/>
            </a:xfrm>
            <a:custGeom>
              <a:avLst/>
              <a:gdLst>
                <a:gd name="T0" fmla="*/ 1 w 4"/>
                <a:gd name="T1" fmla="*/ 15 h 15"/>
                <a:gd name="T2" fmla="*/ 1 w 4"/>
                <a:gd name="T3" fmla="*/ 8 h 15"/>
                <a:gd name="T4" fmla="*/ 2 w 4"/>
                <a:gd name="T5" fmla="*/ 0 h 15"/>
                <a:gd name="T6" fmla="*/ 3 w 4"/>
                <a:gd name="T7" fmla="*/ 8 h 15"/>
                <a:gd name="T8" fmla="*/ 1 w 4"/>
                <a:gd name="T9" fmla="*/ 15 h 15"/>
              </a:gdLst>
              <a:ahLst/>
              <a:cxnLst>
                <a:cxn ang="0">
                  <a:pos x="T0" y="T1"/>
                </a:cxn>
                <a:cxn ang="0">
                  <a:pos x="T2" y="T3"/>
                </a:cxn>
                <a:cxn ang="0">
                  <a:pos x="T4" y="T5"/>
                </a:cxn>
                <a:cxn ang="0">
                  <a:pos x="T6" y="T7"/>
                </a:cxn>
                <a:cxn ang="0">
                  <a:pos x="T8" y="T9"/>
                </a:cxn>
              </a:cxnLst>
              <a:rect l="0" t="0" r="r" b="b"/>
              <a:pathLst>
                <a:path w="4" h="15">
                  <a:moveTo>
                    <a:pt x="1" y="15"/>
                  </a:moveTo>
                  <a:cubicBezTo>
                    <a:pt x="0" y="15"/>
                    <a:pt x="1" y="12"/>
                    <a:pt x="1" y="8"/>
                  </a:cubicBezTo>
                  <a:cubicBezTo>
                    <a:pt x="2" y="4"/>
                    <a:pt x="1" y="0"/>
                    <a:pt x="2" y="0"/>
                  </a:cubicBezTo>
                  <a:cubicBezTo>
                    <a:pt x="3" y="0"/>
                    <a:pt x="4" y="4"/>
                    <a:pt x="3" y="8"/>
                  </a:cubicBezTo>
                  <a:cubicBezTo>
                    <a:pt x="3" y="12"/>
                    <a:pt x="1" y="15"/>
                    <a:pt x="1" y="1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7">
              <a:extLst>
                <a:ext uri="{FF2B5EF4-FFF2-40B4-BE49-F238E27FC236}">
                  <a16:creationId xmlns:a16="http://schemas.microsoft.com/office/drawing/2014/main" id="{FD9293F5-7711-4614-8970-559FB5F673BD}"/>
                </a:ext>
              </a:extLst>
            </p:cNvPr>
            <p:cNvSpPr>
              <a:spLocks/>
            </p:cNvSpPr>
            <p:nvPr/>
          </p:nvSpPr>
          <p:spPr bwMode="auto">
            <a:xfrm>
              <a:off x="3372" y="3586"/>
              <a:ext cx="17" cy="19"/>
            </a:xfrm>
            <a:custGeom>
              <a:avLst/>
              <a:gdLst>
                <a:gd name="T0" fmla="*/ 7 w 7"/>
                <a:gd name="T1" fmla="*/ 8 h 8"/>
                <a:gd name="T2" fmla="*/ 3 w 7"/>
                <a:gd name="T3" fmla="*/ 4 h 8"/>
                <a:gd name="T4" fmla="*/ 1 w 7"/>
                <a:gd name="T5" fmla="*/ 0 h 8"/>
                <a:gd name="T6" fmla="*/ 4 w 7"/>
                <a:gd name="T7" fmla="*/ 3 h 8"/>
                <a:gd name="T8" fmla="*/ 7 w 7"/>
                <a:gd name="T9" fmla="*/ 8 h 8"/>
              </a:gdLst>
              <a:ahLst/>
              <a:cxnLst>
                <a:cxn ang="0">
                  <a:pos x="T0" y="T1"/>
                </a:cxn>
                <a:cxn ang="0">
                  <a:pos x="T2" y="T3"/>
                </a:cxn>
                <a:cxn ang="0">
                  <a:pos x="T4" y="T5"/>
                </a:cxn>
                <a:cxn ang="0">
                  <a:pos x="T6" y="T7"/>
                </a:cxn>
                <a:cxn ang="0">
                  <a:pos x="T8" y="T9"/>
                </a:cxn>
              </a:cxnLst>
              <a:rect l="0" t="0" r="r" b="b"/>
              <a:pathLst>
                <a:path w="7" h="8">
                  <a:moveTo>
                    <a:pt x="7" y="8"/>
                  </a:moveTo>
                  <a:cubicBezTo>
                    <a:pt x="6" y="8"/>
                    <a:pt x="4" y="7"/>
                    <a:pt x="3" y="4"/>
                  </a:cubicBezTo>
                  <a:cubicBezTo>
                    <a:pt x="1" y="2"/>
                    <a:pt x="0" y="1"/>
                    <a:pt x="1" y="0"/>
                  </a:cubicBezTo>
                  <a:cubicBezTo>
                    <a:pt x="1" y="0"/>
                    <a:pt x="3" y="1"/>
                    <a:pt x="4" y="3"/>
                  </a:cubicBezTo>
                  <a:cubicBezTo>
                    <a:pt x="6" y="5"/>
                    <a:pt x="7" y="7"/>
                    <a:pt x="7"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8">
              <a:extLst>
                <a:ext uri="{FF2B5EF4-FFF2-40B4-BE49-F238E27FC236}">
                  <a16:creationId xmlns:a16="http://schemas.microsoft.com/office/drawing/2014/main" id="{5701E409-C003-46A1-BCE9-E5E88ECE69E6}"/>
                </a:ext>
              </a:extLst>
            </p:cNvPr>
            <p:cNvSpPr>
              <a:spLocks/>
            </p:cNvSpPr>
            <p:nvPr/>
          </p:nvSpPr>
          <p:spPr bwMode="auto">
            <a:xfrm>
              <a:off x="3303" y="3671"/>
              <a:ext cx="22" cy="29"/>
            </a:xfrm>
            <a:custGeom>
              <a:avLst/>
              <a:gdLst>
                <a:gd name="T0" fmla="*/ 8 w 9"/>
                <a:gd name="T1" fmla="*/ 12 h 12"/>
                <a:gd name="T2" fmla="*/ 3 w 9"/>
                <a:gd name="T3" fmla="*/ 7 h 12"/>
                <a:gd name="T4" fmla="*/ 0 w 9"/>
                <a:gd name="T5" fmla="*/ 0 h 12"/>
                <a:gd name="T6" fmla="*/ 5 w 9"/>
                <a:gd name="T7" fmla="*/ 6 h 12"/>
                <a:gd name="T8" fmla="*/ 8 w 9"/>
                <a:gd name="T9" fmla="*/ 12 h 12"/>
              </a:gdLst>
              <a:ahLst/>
              <a:cxnLst>
                <a:cxn ang="0">
                  <a:pos x="T0" y="T1"/>
                </a:cxn>
                <a:cxn ang="0">
                  <a:pos x="T2" y="T3"/>
                </a:cxn>
                <a:cxn ang="0">
                  <a:pos x="T4" y="T5"/>
                </a:cxn>
                <a:cxn ang="0">
                  <a:pos x="T6" y="T7"/>
                </a:cxn>
                <a:cxn ang="0">
                  <a:pos x="T8" y="T9"/>
                </a:cxn>
              </a:cxnLst>
              <a:rect l="0" t="0" r="r" b="b"/>
              <a:pathLst>
                <a:path w="9" h="12">
                  <a:moveTo>
                    <a:pt x="8" y="12"/>
                  </a:moveTo>
                  <a:cubicBezTo>
                    <a:pt x="8" y="12"/>
                    <a:pt x="6" y="10"/>
                    <a:pt x="3" y="7"/>
                  </a:cubicBezTo>
                  <a:cubicBezTo>
                    <a:pt x="1" y="4"/>
                    <a:pt x="0" y="1"/>
                    <a:pt x="0" y="0"/>
                  </a:cubicBezTo>
                  <a:cubicBezTo>
                    <a:pt x="1" y="0"/>
                    <a:pt x="3" y="2"/>
                    <a:pt x="5" y="6"/>
                  </a:cubicBezTo>
                  <a:cubicBezTo>
                    <a:pt x="7" y="9"/>
                    <a:pt x="9" y="12"/>
                    <a:pt x="8"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9">
              <a:extLst>
                <a:ext uri="{FF2B5EF4-FFF2-40B4-BE49-F238E27FC236}">
                  <a16:creationId xmlns:a16="http://schemas.microsoft.com/office/drawing/2014/main" id="{5CCD8D2B-0E88-4EDB-88F8-7DAD504BCE43}"/>
                </a:ext>
              </a:extLst>
            </p:cNvPr>
            <p:cNvSpPr>
              <a:spLocks/>
            </p:cNvSpPr>
            <p:nvPr/>
          </p:nvSpPr>
          <p:spPr bwMode="auto">
            <a:xfrm>
              <a:off x="3501" y="3564"/>
              <a:ext cx="7" cy="14"/>
            </a:xfrm>
            <a:custGeom>
              <a:avLst/>
              <a:gdLst>
                <a:gd name="T0" fmla="*/ 1 w 3"/>
                <a:gd name="T1" fmla="*/ 6 h 6"/>
                <a:gd name="T2" fmla="*/ 1 w 3"/>
                <a:gd name="T3" fmla="*/ 3 h 6"/>
                <a:gd name="T4" fmla="*/ 3 w 3"/>
                <a:gd name="T5" fmla="*/ 0 h 6"/>
                <a:gd name="T6" fmla="*/ 3 w 3"/>
                <a:gd name="T7" fmla="*/ 4 h 6"/>
                <a:gd name="T8" fmla="*/ 1 w 3"/>
                <a:gd name="T9" fmla="*/ 6 h 6"/>
              </a:gdLst>
              <a:ahLst/>
              <a:cxnLst>
                <a:cxn ang="0">
                  <a:pos x="T0" y="T1"/>
                </a:cxn>
                <a:cxn ang="0">
                  <a:pos x="T2" y="T3"/>
                </a:cxn>
                <a:cxn ang="0">
                  <a:pos x="T4" y="T5"/>
                </a:cxn>
                <a:cxn ang="0">
                  <a:pos x="T6" y="T7"/>
                </a:cxn>
                <a:cxn ang="0">
                  <a:pos x="T8" y="T9"/>
                </a:cxn>
              </a:cxnLst>
              <a:rect l="0" t="0" r="r" b="b"/>
              <a:pathLst>
                <a:path w="3" h="6">
                  <a:moveTo>
                    <a:pt x="1" y="6"/>
                  </a:moveTo>
                  <a:cubicBezTo>
                    <a:pt x="0" y="6"/>
                    <a:pt x="0" y="5"/>
                    <a:pt x="1" y="3"/>
                  </a:cubicBezTo>
                  <a:cubicBezTo>
                    <a:pt x="1" y="1"/>
                    <a:pt x="2" y="0"/>
                    <a:pt x="3" y="0"/>
                  </a:cubicBezTo>
                  <a:cubicBezTo>
                    <a:pt x="3" y="1"/>
                    <a:pt x="3" y="2"/>
                    <a:pt x="3" y="4"/>
                  </a:cubicBezTo>
                  <a:cubicBezTo>
                    <a:pt x="2" y="5"/>
                    <a:pt x="1" y="6"/>
                    <a:pt x="1"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0">
              <a:extLst>
                <a:ext uri="{FF2B5EF4-FFF2-40B4-BE49-F238E27FC236}">
                  <a16:creationId xmlns:a16="http://schemas.microsoft.com/office/drawing/2014/main" id="{72DD6896-E6D0-4C47-B073-C14E4FD7F205}"/>
                </a:ext>
              </a:extLst>
            </p:cNvPr>
            <p:cNvSpPr>
              <a:spLocks/>
            </p:cNvSpPr>
            <p:nvPr/>
          </p:nvSpPr>
          <p:spPr bwMode="auto">
            <a:xfrm>
              <a:off x="3422" y="3778"/>
              <a:ext cx="12" cy="31"/>
            </a:xfrm>
            <a:custGeom>
              <a:avLst/>
              <a:gdLst>
                <a:gd name="T0" fmla="*/ 0 w 5"/>
                <a:gd name="T1" fmla="*/ 13 h 13"/>
                <a:gd name="T2" fmla="*/ 2 w 5"/>
                <a:gd name="T3" fmla="*/ 6 h 13"/>
                <a:gd name="T4" fmla="*/ 3 w 5"/>
                <a:gd name="T5" fmla="*/ 0 h 13"/>
                <a:gd name="T6" fmla="*/ 4 w 5"/>
                <a:gd name="T7" fmla="*/ 7 h 13"/>
                <a:gd name="T8" fmla="*/ 0 w 5"/>
                <a:gd name="T9" fmla="*/ 13 h 13"/>
              </a:gdLst>
              <a:ahLst/>
              <a:cxnLst>
                <a:cxn ang="0">
                  <a:pos x="T0" y="T1"/>
                </a:cxn>
                <a:cxn ang="0">
                  <a:pos x="T2" y="T3"/>
                </a:cxn>
                <a:cxn ang="0">
                  <a:pos x="T4" y="T5"/>
                </a:cxn>
                <a:cxn ang="0">
                  <a:pos x="T6" y="T7"/>
                </a:cxn>
                <a:cxn ang="0">
                  <a:pos x="T8" y="T9"/>
                </a:cxn>
              </a:cxnLst>
              <a:rect l="0" t="0" r="r" b="b"/>
              <a:pathLst>
                <a:path w="5" h="13">
                  <a:moveTo>
                    <a:pt x="0" y="13"/>
                  </a:moveTo>
                  <a:cubicBezTo>
                    <a:pt x="0" y="13"/>
                    <a:pt x="1" y="10"/>
                    <a:pt x="2" y="6"/>
                  </a:cubicBezTo>
                  <a:cubicBezTo>
                    <a:pt x="2" y="3"/>
                    <a:pt x="3" y="0"/>
                    <a:pt x="3" y="0"/>
                  </a:cubicBezTo>
                  <a:cubicBezTo>
                    <a:pt x="4" y="0"/>
                    <a:pt x="5" y="3"/>
                    <a:pt x="4" y="7"/>
                  </a:cubicBezTo>
                  <a:cubicBezTo>
                    <a:pt x="3" y="10"/>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1">
              <a:extLst>
                <a:ext uri="{FF2B5EF4-FFF2-40B4-BE49-F238E27FC236}">
                  <a16:creationId xmlns:a16="http://schemas.microsoft.com/office/drawing/2014/main" id="{B08ED966-3B12-45E5-9823-075D7929C5C1}"/>
                </a:ext>
              </a:extLst>
            </p:cNvPr>
            <p:cNvSpPr>
              <a:spLocks/>
            </p:cNvSpPr>
            <p:nvPr/>
          </p:nvSpPr>
          <p:spPr bwMode="auto">
            <a:xfrm>
              <a:off x="3465" y="2320"/>
              <a:ext cx="9" cy="22"/>
            </a:xfrm>
            <a:custGeom>
              <a:avLst/>
              <a:gdLst>
                <a:gd name="T0" fmla="*/ 4 w 4"/>
                <a:gd name="T1" fmla="*/ 9 h 9"/>
                <a:gd name="T2" fmla="*/ 1 w 4"/>
                <a:gd name="T3" fmla="*/ 5 h 9"/>
                <a:gd name="T4" fmla="*/ 0 w 4"/>
                <a:gd name="T5" fmla="*/ 1 h 9"/>
                <a:gd name="T6" fmla="*/ 3 w 4"/>
                <a:gd name="T7" fmla="*/ 4 h 9"/>
                <a:gd name="T8" fmla="*/ 4 w 4"/>
                <a:gd name="T9" fmla="*/ 9 h 9"/>
              </a:gdLst>
              <a:ahLst/>
              <a:cxnLst>
                <a:cxn ang="0">
                  <a:pos x="T0" y="T1"/>
                </a:cxn>
                <a:cxn ang="0">
                  <a:pos x="T2" y="T3"/>
                </a:cxn>
                <a:cxn ang="0">
                  <a:pos x="T4" y="T5"/>
                </a:cxn>
                <a:cxn ang="0">
                  <a:pos x="T6" y="T7"/>
                </a:cxn>
                <a:cxn ang="0">
                  <a:pos x="T8" y="T9"/>
                </a:cxn>
              </a:cxnLst>
              <a:rect l="0" t="0" r="r" b="b"/>
              <a:pathLst>
                <a:path w="4" h="9">
                  <a:moveTo>
                    <a:pt x="4" y="9"/>
                  </a:moveTo>
                  <a:cubicBezTo>
                    <a:pt x="3" y="9"/>
                    <a:pt x="2" y="7"/>
                    <a:pt x="1" y="5"/>
                  </a:cubicBezTo>
                  <a:cubicBezTo>
                    <a:pt x="0" y="3"/>
                    <a:pt x="0" y="1"/>
                    <a:pt x="0" y="1"/>
                  </a:cubicBezTo>
                  <a:cubicBezTo>
                    <a:pt x="1" y="0"/>
                    <a:pt x="2" y="2"/>
                    <a:pt x="3" y="4"/>
                  </a:cubicBezTo>
                  <a:cubicBezTo>
                    <a:pt x="4" y="6"/>
                    <a:pt x="4" y="8"/>
                    <a:pt x="4" y="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2">
              <a:extLst>
                <a:ext uri="{FF2B5EF4-FFF2-40B4-BE49-F238E27FC236}">
                  <a16:creationId xmlns:a16="http://schemas.microsoft.com/office/drawing/2014/main" id="{004AB1DA-B998-450B-AFDE-A913191EEBE4}"/>
                </a:ext>
              </a:extLst>
            </p:cNvPr>
            <p:cNvSpPr>
              <a:spLocks/>
            </p:cNvSpPr>
            <p:nvPr/>
          </p:nvSpPr>
          <p:spPr bwMode="auto">
            <a:xfrm>
              <a:off x="3315" y="2045"/>
              <a:ext cx="29" cy="28"/>
            </a:xfrm>
            <a:custGeom>
              <a:avLst/>
              <a:gdLst>
                <a:gd name="T0" fmla="*/ 11 w 12"/>
                <a:gd name="T1" fmla="*/ 0 h 12"/>
                <a:gd name="T2" fmla="*/ 6 w 12"/>
                <a:gd name="T3" fmla="*/ 6 h 12"/>
                <a:gd name="T4" fmla="*/ 0 w 12"/>
                <a:gd name="T5" fmla="*/ 12 h 12"/>
                <a:gd name="T6" fmla="*/ 4 w 12"/>
                <a:gd name="T7" fmla="*/ 5 h 12"/>
                <a:gd name="T8" fmla="*/ 11 w 12"/>
                <a:gd name="T9" fmla="*/ 0 h 12"/>
              </a:gdLst>
              <a:ahLst/>
              <a:cxnLst>
                <a:cxn ang="0">
                  <a:pos x="T0" y="T1"/>
                </a:cxn>
                <a:cxn ang="0">
                  <a:pos x="T2" y="T3"/>
                </a:cxn>
                <a:cxn ang="0">
                  <a:pos x="T4" y="T5"/>
                </a:cxn>
                <a:cxn ang="0">
                  <a:pos x="T6" y="T7"/>
                </a:cxn>
                <a:cxn ang="0">
                  <a:pos x="T8" y="T9"/>
                </a:cxn>
              </a:cxnLst>
              <a:rect l="0" t="0" r="r" b="b"/>
              <a:pathLst>
                <a:path w="12" h="12">
                  <a:moveTo>
                    <a:pt x="11" y="0"/>
                  </a:moveTo>
                  <a:cubicBezTo>
                    <a:pt x="12" y="1"/>
                    <a:pt x="9" y="3"/>
                    <a:pt x="6" y="6"/>
                  </a:cubicBezTo>
                  <a:cubicBezTo>
                    <a:pt x="3" y="9"/>
                    <a:pt x="1" y="12"/>
                    <a:pt x="0" y="12"/>
                  </a:cubicBezTo>
                  <a:cubicBezTo>
                    <a:pt x="0" y="12"/>
                    <a:pt x="1" y="8"/>
                    <a:pt x="4" y="5"/>
                  </a:cubicBezTo>
                  <a:cubicBezTo>
                    <a:pt x="8" y="1"/>
                    <a:pt x="11" y="0"/>
                    <a:pt x="11"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3">
              <a:extLst>
                <a:ext uri="{FF2B5EF4-FFF2-40B4-BE49-F238E27FC236}">
                  <a16:creationId xmlns:a16="http://schemas.microsoft.com/office/drawing/2014/main" id="{B8B8F57F-3EC0-41B4-BD10-FCA960F04DDE}"/>
                </a:ext>
              </a:extLst>
            </p:cNvPr>
            <p:cNvSpPr>
              <a:spLocks/>
            </p:cNvSpPr>
            <p:nvPr/>
          </p:nvSpPr>
          <p:spPr bwMode="auto">
            <a:xfrm>
              <a:off x="3446" y="2016"/>
              <a:ext cx="14" cy="26"/>
            </a:xfrm>
            <a:custGeom>
              <a:avLst/>
              <a:gdLst>
                <a:gd name="T0" fmla="*/ 6 w 6"/>
                <a:gd name="T1" fmla="*/ 11 h 11"/>
                <a:gd name="T2" fmla="*/ 3 w 6"/>
                <a:gd name="T3" fmla="*/ 6 h 11"/>
                <a:gd name="T4" fmla="*/ 1 w 6"/>
                <a:gd name="T5" fmla="*/ 0 h 11"/>
                <a:gd name="T6" fmla="*/ 5 w 6"/>
                <a:gd name="T7" fmla="*/ 5 h 11"/>
                <a:gd name="T8" fmla="*/ 6 w 6"/>
                <a:gd name="T9" fmla="*/ 11 h 11"/>
              </a:gdLst>
              <a:ahLst/>
              <a:cxnLst>
                <a:cxn ang="0">
                  <a:pos x="T0" y="T1"/>
                </a:cxn>
                <a:cxn ang="0">
                  <a:pos x="T2" y="T3"/>
                </a:cxn>
                <a:cxn ang="0">
                  <a:pos x="T4" y="T5"/>
                </a:cxn>
                <a:cxn ang="0">
                  <a:pos x="T6" y="T7"/>
                </a:cxn>
                <a:cxn ang="0">
                  <a:pos x="T8" y="T9"/>
                </a:cxn>
              </a:cxnLst>
              <a:rect l="0" t="0" r="r" b="b"/>
              <a:pathLst>
                <a:path w="6" h="11">
                  <a:moveTo>
                    <a:pt x="6" y="11"/>
                  </a:moveTo>
                  <a:cubicBezTo>
                    <a:pt x="5" y="11"/>
                    <a:pt x="4" y="8"/>
                    <a:pt x="3" y="6"/>
                  </a:cubicBezTo>
                  <a:cubicBezTo>
                    <a:pt x="2" y="3"/>
                    <a:pt x="0" y="1"/>
                    <a:pt x="1" y="0"/>
                  </a:cubicBezTo>
                  <a:cubicBezTo>
                    <a:pt x="1" y="0"/>
                    <a:pt x="3" y="2"/>
                    <a:pt x="5" y="5"/>
                  </a:cubicBezTo>
                  <a:cubicBezTo>
                    <a:pt x="6" y="8"/>
                    <a:pt x="6" y="10"/>
                    <a:pt x="6"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4">
              <a:extLst>
                <a:ext uri="{FF2B5EF4-FFF2-40B4-BE49-F238E27FC236}">
                  <a16:creationId xmlns:a16="http://schemas.microsoft.com/office/drawing/2014/main" id="{8C63FA77-71D2-4778-A1B2-CD37203AF922}"/>
                </a:ext>
              </a:extLst>
            </p:cNvPr>
            <p:cNvSpPr>
              <a:spLocks/>
            </p:cNvSpPr>
            <p:nvPr/>
          </p:nvSpPr>
          <p:spPr bwMode="auto">
            <a:xfrm>
              <a:off x="3092" y="2111"/>
              <a:ext cx="14" cy="26"/>
            </a:xfrm>
            <a:custGeom>
              <a:avLst/>
              <a:gdLst>
                <a:gd name="T0" fmla="*/ 1 w 6"/>
                <a:gd name="T1" fmla="*/ 11 h 11"/>
                <a:gd name="T2" fmla="*/ 2 w 6"/>
                <a:gd name="T3" fmla="*/ 5 h 11"/>
                <a:gd name="T4" fmla="*/ 5 w 6"/>
                <a:gd name="T5" fmla="*/ 0 h 11"/>
                <a:gd name="T6" fmla="*/ 4 w 6"/>
                <a:gd name="T7" fmla="*/ 6 h 11"/>
                <a:gd name="T8" fmla="*/ 1 w 6"/>
                <a:gd name="T9" fmla="*/ 11 h 11"/>
              </a:gdLst>
              <a:ahLst/>
              <a:cxnLst>
                <a:cxn ang="0">
                  <a:pos x="T0" y="T1"/>
                </a:cxn>
                <a:cxn ang="0">
                  <a:pos x="T2" y="T3"/>
                </a:cxn>
                <a:cxn ang="0">
                  <a:pos x="T4" y="T5"/>
                </a:cxn>
                <a:cxn ang="0">
                  <a:pos x="T6" y="T7"/>
                </a:cxn>
                <a:cxn ang="0">
                  <a:pos x="T8" y="T9"/>
                </a:cxn>
              </a:cxnLst>
              <a:rect l="0" t="0" r="r" b="b"/>
              <a:pathLst>
                <a:path w="6" h="11">
                  <a:moveTo>
                    <a:pt x="1" y="11"/>
                  </a:moveTo>
                  <a:cubicBezTo>
                    <a:pt x="0" y="11"/>
                    <a:pt x="1" y="8"/>
                    <a:pt x="2" y="5"/>
                  </a:cubicBezTo>
                  <a:cubicBezTo>
                    <a:pt x="3" y="2"/>
                    <a:pt x="5" y="0"/>
                    <a:pt x="5" y="0"/>
                  </a:cubicBezTo>
                  <a:cubicBezTo>
                    <a:pt x="6" y="0"/>
                    <a:pt x="5" y="3"/>
                    <a:pt x="4" y="6"/>
                  </a:cubicBezTo>
                  <a:cubicBezTo>
                    <a:pt x="3"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5">
              <a:extLst>
                <a:ext uri="{FF2B5EF4-FFF2-40B4-BE49-F238E27FC236}">
                  <a16:creationId xmlns:a16="http://schemas.microsoft.com/office/drawing/2014/main" id="{56E0BED6-3D90-49DE-BFB1-9AAD4808F851}"/>
                </a:ext>
              </a:extLst>
            </p:cNvPr>
            <p:cNvSpPr>
              <a:spLocks/>
            </p:cNvSpPr>
            <p:nvPr/>
          </p:nvSpPr>
          <p:spPr bwMode="auto">
            <a:xfrm>
              <a:off x="3085" y="2263"/>
              <a:ext cx="21" cy="19"/>
            </a:xfrm>
            <a:custGeom>
              <a:avLst/>
              <a:gdLst>
                <a:gd name="T0" fmla="*/ 9 w 9"/>
                <a:gd name="T1" fmla="*/ 8 h 8"/>
                <a:gd name="T2" fmla="*/ 4 w 9"/>
                <a:gd name="T3" fmla="*/ 5 h 8"/>
                <a:gd name="T4" fmla="*/ 0 w 9"/>
                <a:gd name="T5" fmla="*/ 0 h 8"/>
                <a:gd name="T6" fmla="*/ 5 w 9"/>
                <a:gd name="T7" fmla="*/ 3 h 8"/>
                <a:gd name="T8" fmla="*/ 9 w 9"/>
                <a:gd name="T9" fmla="*/ 8 h 8"/>
              </a:gdLst>
              <a:ahLst/>
              <a:cxnLst>
                <a:cxn ang="0">
                  <a:pos x="T0" y="T1"/>
                </a:cxn>
                <a:cxn ang="0">
                  <a:pos x="T2" y="T3"/>
                </a:cxn>
                <a:cxn ang="0">
                  <a:pos x="T4" y="T5"/>
                </a:cxn>
                <a:cxn ang="0">
                  <a:pos x="T6" y="T7"/>
                </a:cxn>
                <a:cxn ang="0">
                  <a:pos x="T8" y="T9"/>
                </a:cxn>
              </a:cxnLst>
              <a:rect l="0" t="0" r="r" b="b"/>
              <a:pathLst>
                <a:path w="9" h="8">
                  <a:moveTo>
                    <a:pt x="9" y="8"/>
                  </a:moveTo>
                  <a:cubicBezTo>
                    <a:pt x="8" y="8"/>
                    <a:pt x="6" y="7"/>
                    <a:pt x="4" y="5"/>
                  </a:cubicBezTo>
                  <a:cubicBezTo>
                    <a:pt x="1" y="3"/>
                    <a:pt x="0" y="1"/>
                    <a:pt x="0" y="0"/>
                  </a:cubicBezTo>
                  <a:cubicBezTo>
                    <a:pt x="0" y="0"/>
                    <a:pt x="3" y="1"/>
                    <a:pt x="5" y="3"/>
                  </a:cubicBezTo>
                  <a:cubicBezTo>
                    <a:pt x="8" y="5"/>
                    <a:pt x="9" y="7"/>
                    <a:pt x="9" y="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6">
              <a:extLst>
                <a:ext uri="{FF2B5EF4-FFF2-40B4-BE49-F238E27FC236}">
                  <a16:creationId xmlns:a16="http://schemas.microsoft.com/office/drawing/2014/main" id="{AC9E37B1-EEF5-425B-BCA5-402A2CB81465}"/>
                </a:ext>
              </a:extLst>
            </p:cNvPr>
            <p:cNvSpPr>
              <a:spLocks/>
            </p:cNvSpPr>
            <p:nvPr/>
          </p:nvSpPr>
          <p:spPr bwMode="auto">
            <a:xfrm>
              <a:off x="3337" y="1914"/>
              <a:ext cx="9" cy="17"/>
            </a:xfrm>
            <a:custGeom>
              <a:avLst/>
              <a:gdLst>
                <a:gd name="T0" fmla="*/ 4 w 4"/>
                <a:gd name="T1" fmla="*/ 7 h 7"/>
                <a:gd name="T2" fmla="*/ 1 w 4"/>
                <a:gd name="T3" fmla="*/ 4 h 7"/>
                <a:gd name="T4" fmla="*/ 1 w 4"/>
                <a:gd name="T5" fmla="*/ 0 h 7"/>
                <a:gd name="T6" fmla="*/ 3 w 4"/>
                <a:gd name="T7" fmla="*/ 3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3" y="7"/>
                    <a:pt x="2" y="6"/>
                    <a:pt x="1" y="4"/>
                  </a:cubicBezTo>
                  <a:cubicBezTo>
                    <a:pt x="1" y="2"/>
                    <a:pt x="0" y="0"/>
                    <a:pt x="1" y="0"/>
                  </a:cubicBezTo>
                  <a:cubicBezTo>
                    <a:pt x="2" y="0"/>
                    <a:pt x="3" y="1"/>
                    <a:pt x="3" y="3"/>
                  </a:cubicBezTo>
                  <a:cubicBezTo>
                    <a:pt x="4" y="5"/>
                    <a:pt x="4" y="7"/>
                    <a:pt x="4"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57">
              <a:extLst>
                <a:ext uri="{FF2B5EF4-FFF2-40B4-BE49-F238E27FC236}">
                  <a16:creationId xmlns:a16="http://schemas.microsoft.com/office/drawing/2014/main" id="{4E951275-442C-48F8-A286-DB3C62DDE47F}"/>
                </a:ext>
              </a:extLst>
            </p:cNvPr>
            <p:cNvSpPr>
              <a:spLocks/>
            </p:cNvSpPr>
            <p:nvPr/>
          </p:nvSpPr>
          <p:spPr bwMode="auto">
            <a:xfrm>
              <a:off x="3574" y="1976"/>
              <a:ext cx="7" cy="26"/>
            </a:xfrm>
            <a:custGeom>
              <a:avLst/>
              <a:gdLst>
                <a:gd name="T0" fmla="*/ 1 w 3"/>
                <a:gd name="T1" fmla="*/ 11 h 11"/>
                <a:gd name="T2" fmla="*/ 1 w 3"/>
                <a:gd name="T3" fmla="*/ 5 h 11"/>
                <a:gd name="T4" fmla="*/ 3 w 3"/>
                <a:gd name="T5" fmla="*/ 0 h 11"/>
                <a:gd name="T6" fmla="*/ 3 w 3"/>
                <a:gd name="T7" fmla="*/ 6 h 11"/>
                <a:gd name="T8" fmla="*/ 1 w 3"/>
                <a:gd name="T9" fmla="*/ 11 h 11"/>
              </a:gdLst>
              <a:ahLst/>
              <a:cxnLst>
                <a:cxn ang="0">
                  <a:pos x="T0" y="T1"/>
                </a:cxn>
                <a:cxn ang="0">
                  <a:pos x="T2" y="T3"/>
                </a:cxn>
                <a:cxn ang="0">
                  <a:pos x="T4" y="T5"/>
                </a:cxn>
                <a:cxn ang="0">
                  <a:pos x="T6" y="T7"/>
                </a:cxn>
                <a:cxn ang="0">
                  <a:pos x="T8" y="T9"/>
                </a:cxn>
              </a:cxnLst>
              <a:rect l="0" t="0" r="r" b="b"/>
              <a:pathLst>
                <a:path w="3" h="11">
                  <a:moveTo>
                    <a:pt x="1" y="11"/>
                  </a:moveTo>
                  <a:cubicBezTo>
                    <a:pt x="0" y="11"/>
                    <a:pt x="0" y="8"/>
                    <a:pt x="1" y="5"/>
                  </a:cubicBezTo>
                  <a:cubicBezTo>
                    <a:pt x="1" y="2"/>
                    <a:pt x="2" y="0"/>
                    <a:pt x="3" y="0"/>
                  </a:cubicBezTo>
                  <a:cubicBezTo>
                    <a:pt x="3" y="0"/>
                    <a:pt x="3" y="3"/>
                    <a:pt x="3" y="6"/>
                  </a:cubicBezTo>
                  <a:cubicBezTo>
                    <a:pt x="2" y="9"/>
                    <a:pt x="1" y="11"/>
                    <a:pt x="1"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8">
              <a:extLst>
                <a:ext uri="{FF2B5EF4-FFF2-40B4-BE49-F238E27FC236}">
                  <a16:creationId xmlns:a16="http://schemas.microsoft.com/office/drawing/2014/main" id="{F3C34B0A-7C8D-4390-8027-3E6807B26243}"/>
                </a:ext>
              </a:extLst>
            </p:cNvPr>
            <p:cNvSpPr>
              <a:spLocks/>
            </p:cNvSpPr>
            <p:nvPr/>
          </p:nvSpPr>
          <p:spPr bwMode="auto">
            <a:xfrm>
              <a:off x="3629" y="2080"/>
              <a:ext cx="14" cy="31"/>
            </a:xfrm>
            <a:custGeom>
              <a:avLst/>
              <a:gdLst>
                <a:gd name="T0" fmla="*/ 0 w 6"/>
                <a:gd name="T1" fmla="*/ 12 h 13"/>
                <a:gd name="T2" fmla="*/ 2 w 6"/>
                <a:gd name="T3" fmla="*/ 6 h 13"/>
                <a:gd name="T4" fmla="*/ 6 w 6"/>
                <a:gd name="T5" fmla="*/ 0 h 13"/>
                <a:gd name="T6" fmla="*/ 4 w 6"/>
                <a:gd name="T7" fmla="*/ 6 h 13"/>
                <a:gd name="T8" fmla="*/ 0 w 6"/>
                <a:gd name="T9" fmla="*/ 12 h 13"/>
              </a:gdLst>
              <a:ahLst/>
              <a:cxnLst>
                <a:cxn ang="0">
                  <a:pos x="T0" y="T1"/>
                </a:cxn>
                <a:cxn ang="0">
                  <a:pos x="T2" y="T3"/>
                </a:cxn>
                <a:cxn ang="0">
                  <a:pos x="T4" y="T5"/>
                </a:cxn>
                <a:cxn ang="0">
                  <a:pos x="T6" y="T7"/>
                </a:cxn>
                <a:cxn ang="0">
                  <a:pos x="T8" y="T9"/>
                </a:cxn>
              </a:cxnLst>
              <a:rect l="0" t="0" r="r" b="b"/>
              <a:pathLst>
                <a:path w="6" h="13">
                  <a:moveTo>
                    <a:pt x="0" y="12"/>
                  </a:moveTo>
                  <a:cubicBezTo>
                    <a:pt x="0" y="12"/>
                    <a:pt x="1" y="9"/>
                    <a:pt x="2" y="6"/>
                  </a:cubicBezTo>
                  <a:cubicBezTo>
                    <a:pt x="3" y="2"/>
                    <a:pt x="5" y="0"/>
                    <a:pt x="6" y="0"/>
                  </a:cubicBezTo>
                  <a:cubicBezTo>
                    <a:pt x="6" y="0"/>
                    <a:pt x="5" y="3"/>
                    <a:pt x="4" y="6"/>
                  </a:cubicBezTo>
                  <a:cubicBezTo>
                    <a:pt x="3" y="10"/>
                    <a:pt x="1" y="13"/>
                    <a:pt x="0"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9">
              <a:extLst>
                <a:ext uri="{FF2B5EF4-FFF2-40B4-BE49-F238E27FC236}">
                  <a16:creationId xmlns:a16="http://schemas.microsoft.com/office/drawing/2014/main" id="{194A1182-0CD4-41ED-982B-F2DB433E2E3F}"/>
                </a:ext>
              </a:extLst>
            </p:cNvPr>
            <p:cNvSpPr>
              <a:spLocks/>
            </p:cNvSpPr>
            <p:nvPr/>
          </p:nvSpPr>
          <p:spPr bwMode="auto">
            <a:xfrm>
              <a:off x="3574" y="2166"/>
              <a:ext cx="19" cy="31"/>
            </a:xfrm>
            <a:custGeom>
              <a:avLst/>
              <a:gdLst>
                <a:gd name="T0" fmla="*/ 7 w 8"/>
                <a:gd name="T1" fmla="*/ 13 h 13"/>
                <a:gd name="T2" fmla="*/ 3 w 8"/>
                <a:gd name="T3" fmla="*/ 7 h 13"/>
                <a:gd name="T4" fmla="*/ 1 w 8"/>
                <a:gd name="T5" fmla="*/ 0 h 13"/>
                <a:gd name="T6" fmla="*/ 5 w 8"/>
                <a:gd name="T7" fmla="*/ 6 h 13"/>
                <a:gd name="T8" fmla="*/ 7 w 8"/>
                <a:gd name="T9" fmla="*/ 13 h 13"/>
              </a:gdLst>
              <a:ahLst/>
              <a:cxnLst>
                <a:cxn ang="0">
                  <a:pos x="T0" y="T1"/>
                </a:cxn>
                <a:cxn ang="0">
                  <a:pos x="T2" y="T3"/>
                </a:cxn>
                <a:cxn ang="0">
                  <a:pos x="T4" y="T5"/>
                </a:cxn>
                <a:cxn ang="0">
                  <a:pos x="T6" y="T7"/>
                </a:cxn>
                <a:cxn ang="0">
                  <a:pos x="T8" y="T9"/>
                </a:cxn>
              </a:cxnLst>
              <a:rect l="0" t="0" r="r" b="b"/>
              <a:pathLst>
                <a:path w="8" h="13">
                  <a:moveTo>
                    <a:pt x="7" y="13"/>
                  </a:moveTo>
                  <a:cubicBezTo>
                    <a:pt x="7" y="13"/>
                    <a:pt x="5" y="11"/>
                    <a:pt x="3" y="7"/>
                  </a:cubicBezTo>
                  <a:cubicBezTo>
                    <a:pt x="1" y="3"/>
                    <a:pt x="0" y="0"/>
                    <a:pt x="1" y="0"/>
                  </a:cubicBezTo>
                  <a:cubicBezTo>
                    <a:pt x="1" y="0"/>
                    <a:pt x="3" y="2"/>
                    <a:pt x="5" y="6"/>
                  </a:cubicBezTo>
                  <a:cubicBezTo>
                    <a:pt x="7" y="10"/>
                    <a:pt x="8" y="13"/>
                    <a:pt x="7"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0">
              <a:extLst>
                <a:ext uri="{FF2B5EF4-FFF2-40B4-BE49-F238E27FC236}">
                  <a16:creationId xmlns:a16="http://schemas.microsoft.com/office/drawing/2014/main" id="{0A12EB76-1C5D-4778-AC32-7D7E1285003F}"/>
                </a:ext>
              </a:extLst>
            </p:cNvPr>
            <p:cNvSpPr>
              <a:spLocks/>
            </p:cNvSpPr>
            <p:nvPr/>
          </p:nvSpPr>
          <p:spPr bwMode="auto">
            <a:xfrm>
              <a:off x="3671" y="2261"/>
              <a:ext cx="12" cy="24"/>
            </a:xfrm>
            <a:custGeom>
              <a:avLst/>
              <a:gdLst>
                <a:gd name="T0" fmla="*/ 1 w 5"/>
                <a:gd name="T1" fmla="*/ 10 h 10"/>
                <a:gd name="T2" fmla="*/ 2 w 5"/>
                <a:gd name="T3" fmla="*/ 5 h 10"/>
                <a:gd name="T4" fmla="*/ 5 w 5"/>
                <a:gd name="T5" fmla="*/ 1 h 10"/>
                <a:gd name="T6" fmla="*/ 4 w 5"/>
                <a:gd name="T7" fmla="*/ 6 h 10"/>
                <a:gd name="T8" fmla="*/ 1 w 5"/>
                <a:gd name="T9" fmla="*/ 10 h 10"/>
              </a:gdLst>
              <a:ahLst/>
              <a:cxnLst>
                <a:cxn ang="0">
                  <a:pos x="T0" y="T1"/>
                </a:cxn>
                <a:cxn ang="0">
                  <a:pos x="T2" y="T3"/>
                </a:cxn>
                <a:cxn ang="0">
                  <a:pos x="T4" y="T5"/>
                </a:cxn>
                <a:cxn ang="0">
                  <a:pos x="T6" y="T7"/>
                </a:cxn>
                <a:cxn ang="0">
                  <a:pos x="T8" y="T9"/>
                </a:cxn>
              </a:cxnLst>
              <a:rect l="0" t="0" r="r" b="b"/>
              <a:pathLst>
                <a:path w="5" h="10">
                  <a:moveTo>
                    <a:pt x="1" y="10"/>
                  </a:moveTo>
                  <a:cubicBezTo>
                    <a:pt x="0" y="10"/>
                    <a:pt x="1" y="8"/>
                    <a:pt x="2" y="5"/>
                  </a:cubicBezTo>
                  <a:cubicBezTo>
                    <a:pt x="3" y="2"/>
                    <a:pt x="4" y="0"/>
                    <a:pt x="5" y="1"/>
                  </a:cubicBezTo>
                  <a:cubicBezTo>
                    <a:pt x="5" y="1"/>
                    <a:pt x="5" y="3"/>
                    <a:pt x="4" y="6"/>
                  </a:cubicBezTo>
                  <a:cubicBezTo>
                    <a:pt x="3" y="8"/>
                    <a:pt x="1" y="10"/>
                    <a:pt x="1"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1">
              <a:extLst>
                <a:ext uri="{FF2B5EF4-FFF2-40B4-BE49-F238E27FC236}">
                  <a16:creationId xmlns:a16="http://schemas.microsoft.com/office/drawing/2014/main" id="{0BEAB922-DF27-4D67-876C-121C2DF3512A}"/>
                </a:ext>
              </a:extLst>
            </p:cNvPr>
            <p:cNvSpPr>
              <a:spLocks/>
            </p:cNvSpPr>
            <p:nvPr/>
          </p:nvSpPr>
          <p:spPr bwMode="auto">
            <a:xfrm>
              <a:off x="3591" y="2356"/>
              <a:ext cx="9" cy="16"/>
            </a:xfrm>
            <a:custGeom>
              <a:avLst/>
              <a:gdLst>
                <a:gd name="T0" fmla="*/ 4 w 4"/>
                <a:gd name="T1" fmla="*/ 6 h 7"/>
                <a:gd name="T2" fmla="*/ 1 w 4"/>
                <a:gd name="T3" fmla="*/ 4 h 7"/>
                <a:gd name="T4" fmla="*/ 0 w 4"/>
                <a:gd name="T5" fmla="*/ 0 h 7"/>
                <a:gd name="T6" fmla="*/ 3 w 4"/>
                <a:gd name="T7" fmla="*/ 3 h 7"/>
                <a:gd name="T8" fmla="*/ 4 w 4"/>
                <a:gd name="T9" fmla="*/ 6 h 7"/>
              </a:gdLst>
              <a:ahLst/>
              <a:cxnLst>
                <a:cxn ang="0">
                  <a:pos x="T0" y="T1"/>
                </a:cxn>
                <a:cxn ang="0">
                  <a:pos x="T2" y="T3"/>
                </a:cxn>
                <a:cxn ang="0">
                  <a:pos x="T4" y="T5"/>
                </a:cxn>
                <a:cxn ang="0">
                  <a:pos x="T6" y="T7"/>
                </a:cxn>
                <a:cxn ang="0">
                  <a:pos x="T8" y="T9"/>
                </a:cxn>
              </a:cxnLst>
              <a:rect l="0" t="0" r="r" b="b"/>
              <a:pathLst>
                <a:path w="4" h="7">
                  <a:moveTo>
                    <a:pt x="4" y="6"/>
                  </a:moveTo>
                  <a:cubicBezTo>
                    <a:pt x="3" y="7"/>
                    <a:pt x="2" y="5"/>
                    <a:pt x="1" y="4"/>
                  </a:cubicBezTo>
                  <a:cubicBezTo>
                    <a:pt x="0" y="2"/>
                    <a:pt x="0" y="1"/>
                    <a:pt x="0" y="0"/>
                  </a:cubicBezTo>
                  <a:cubicBezTo>
                    <a:pt x="1" y="0"/>
                    <a:pt x="2" y="1"/>
                    <a:pt x="3" y="3"/>
                  </a:cubicBezTo>
                  <a:cubicBezTo>
                    <a:pt x="4" y="4"/>
                    <a:pt x="4" y="6"/>
                    <a:pt x="4" y="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2">
              <a:extLst>
                <a:ext uri="{FF2B5EF4-FFF2-40B4-BE49-F238E27FC236}">
                  <a16:creationId xmlns:a16="http://schemas.microsoft.com/office/drawing/2014/main" id="{B68D5273-358D-478E-BFDF-0B710B65A578}"/>
                </a:ext>
              </a:extLst>
            </p:cNvPr>
            <p:cNvSpPr>
              <a:spLocks/>
            </p:cNvSpPr>
            <p:nvPr/>
          </p:nvSpPr>
          <p:spPr bwMode="auto">
            <a:xfrm>
              <a:off x="3591" y="2522"/>
              <a:ext cx="26" cy="26"/>
            </a:xfrm>
            <a:custGeom>
              <a:avLst/>
              <a:gdLst>
                <a:gd name="T0" fmla="*/ 10 w 11"/>
                <a:gd name="T1" fmla="*/ 11 h 11"/>
                <a:gd name="T2" fmla="*/ 5 w 11"/>
                <a:gd name="T3" fmla="*/ 6 h 11"/>
                <a:gd name="T4" fmla="*/ 1 w 11"/>
                <a:gd name="T5" fmla="*/ 0 h 11"/>
                <a:gd name="T6" fmla="*/ 6 w 11"/>
                <a:gd name="T7" fmla="*/ 5 h 11"/>
                <a:gd name="T8" fmla="*/ 10 w 11"/>
                <a:gd name="T9" fmla="*/ 11 h 11"/>
              </a:gdLst>
              <a:ahLst/>
              <a:cxnLst>
                <a:cxn ang="0">
                  <a:pos x="T0" y="T1"/>
                </a:cxn>
                <a:cxn ang="0">
                  <a:pos x="T2" y="T3"/>
                </a:cxn>
                <a:cxn ang="0">
                  <a:pos x="T4" y="T5"/>
                </a:cxn>
                <a:cxn ang="0">
                  <a:pos x="T6" y="T7"/>
                </a:cxn>
                <a:cxn ang="0">
                  <a:pos x="T8" y="T9"/>
                </a:cxn>
              </a:cxnLst>
              <a:rect l="0" t="0" r="r" b="b"/>
              <a:pathLst>
                <a:path w="11" h="11">
                  <a:moveTo>
                    <a:pt x="10" y="11"/>
                  </a:moveTo>
                  <a:cubicBezTo>
                    <a:pt x="10" y="11"/>
                    <a:pt x="8" y="9"/>
                    <a:pt x="5" y="6"/>
                  </a:cubicBezTo>
                  <a:cubicBezTo>
                    <a:pt x="2" y="3"/>
                    <a:pt x="0" y="1"/>
                    <a:pt x="1" y="0"/>
                  </a:cubicBezTo>
                  <a:cubicBezTo>
                    <a:pt x="1" y="0"/>
                    <a:pt x="4" y="2"/>
                    <a:pt x="6" y="5"/>
                  </a:cubicBezTo>
                  <a:cubicBezTo>
                    <a:pt x="9" y="8"/>
                    <a:pt x="11" y="10"/>
                    <a:pt x="10"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3">
              <a:extLst>
                <a:ext uri="{FF2B5EF4-FFF2-40B4-BE49-F238E27FC236}">
                  <a16:creationId xmlns:a16="http://schemas.microsoft.com/office/drawing/2014/main" id="{07822A51-8C5D-43FE-8611-ABD7A7B1671E}"/>
                </a:ext>
              </a:extLst>
            </p:cNvPr>
            <p:cNvSpPr>
              <a:spLocks/>
            </p:cNvSpPr>
            <p:nvPr/>
          </p:nvSpPr>
          <p:spPr bwMode="auto">
            <a:xfrm>
              <a:off x="3693" y="2420"/>
              <a:ext cx="21" cy="26"/>
            </a:xfrm>
            <a:custGeom>
              <a:avLst/>
              <a:gdLst>
                <a:gd name="T0" fmla="*/ 8 w 9"/>
                <a:gd name="T1" fmla="*/ 11 h 11"/>
                <a:gd name="T2" fmla="*/ 3 w 9"/>
                <a:gd name="T3" fmla="*/ 6 h 11"/>
                <a:gd name="T4" fmla="*/ 0 w 9"/>
                <a:gd name="T5" fmla="*/ 1 h 11"/>
                <a:gd name="T6" fmla="*/ 5 w 9"/>
                <a:gd name="T7" fmla="*/ 5 h 11"/>
                <a:gd name="T8" fmla="*/ 8 w 9"/>
                <a:gd name="T9" fmla="*/ 11 h 11"/>
              </a:gdLst>
              <a:ahLst/>
              <a:cxnLst>
                <a:cxn ang="0">
                  <a:pos x="T0" y="T1"/>
                </a:cxn>
                <a:cxn ang="0">
                  <a:pos x="T2" y="T3"/>
                </a:cxn>
                <a:cxn ang="0">
                  <a:pos x="T4" y="T5"/>
                </a:cxn>
                <a:cxn ang="0">
                  <a:pos x="T6" y="T7"/>
                </a:cxn>
                <a:cxn ang="0">
                  <a:pos x="T8" y="T9"/>
                </a:cxn>
              </a:cxnLst>
              <a:rect l="0" t="0" r="r" b="b"/>
              <a:pathLst>
                <a:path w="9" h="11">
                  <a:moveTo>
                    <a:pt x="8" y="11"/>
                  </a:moveTo>
                  <a:cubicBezTo>
                    <a:pt x="8" y="11"/>
                    <a:pt x="5" y="9"/>
                    <a:pt x="3" y="6"/>
                  </a:cubicBezTo>
                  <a:cubicBezTo>
                    <a:pt x="1" y="4"/>
                    <a:pt x="0" y="1"/>
                    <a:pt x="0" y="1"/>
                  </a:cubicBezTo>
                  <a:cubicBezTo>
                    <a:pt x="0" y="0"/>
                    <a:pt x="3" y="2"/>
                    <a:pt x="5" y="5"/>
                  </a:cubicBezTo>
                  <a:cubicBezTo>
                    <a:pt x="7" y="8"/>
                    <a:pt x="9" y="11"/>
                    <a:pt x="8" y="1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4">
              <a:extLst>
                <a:ext uri="{FF2B5EF4-FFF2-40B4-BE49-F238E27FC236}">
                  <a16:creationId xmlns:a16="http://schemas.microsoft.com/office/drawing/2014/main" id="{C1AB8CA0-55B6-4F5D-B300-948AA05233BC}"/>
                </a:ext>
              </a:extLst>
            </p:cNvPr>
            <p:cNvSpPr>
              <a:spLocks/>
            </p:cNvSpPr>
            <p:nvPr/>
          </p:nvSpPr>
          <p:spPr bwMode="auto">
            <a:xfrm>
              <a:off x="3764" y="2555"/>
              <a:ext cx="17" cy="31"/>
            </a:xfrm>
            <a:custGeom>
              <a:avLst/>
              <a:gdLst>
                <a:gd name="T0" fmla="*/ 0 w 7"/>
                <a:gd name="T1" fmla="*/ 13 h 13"/>
                <a:gd name="T2" fmla="*/ 2 w 7"/>
                <a:gd name="T3" fmla="*/ 6 h 13"/>
                <a:gd name="T4" fmla="*/ 6 w 7"/>
                <a:gd name="T5" fmla="*/ 1 h 13"/>
                <a:gd name="T6" fmla="*/ 4 w 7"/>
                <a:gd name="T7" fmla="*/ 7 h 13"/>
                <a:gd name="T8" fmla="*/ 0 w 7"/>
                <a:gd name="T9" fmla="*/ 13 h 13"/>
              </a:gdLst>
              <a:ahLst/>
              <a:cxnLst>
                <a:cxn ang="0">
                  <a:pos x="T0" y="T1"/>
                </a:cxn>
                <a:cxn ang="0">
                  <a:pos x="T2" y="T3"/>
                </a:cxn>
                <a:cxn ang="0">
                  <a:pos x="T4" y="T5"/>
                </a:cxn>
                <a:cxn ang="0">
                  <a:pos x="T6" y="T7"/>
                </a:cxn>
                <a:cxn ang="0">
                  <a:pos x="T8" y="T9"/>
                </a:cxn>
              </a:cxnLst>
              <a:rect l="0" t="0" r="r" b="b"/>
              <a:pathLst>
                <a:path w="7" h="13">
                  <a:moveTo>
                    <a:pt x="0" y="13"/>
                  </a:moveTo>
                  <a:cubicBezTo>
                    <a:pt x="0" y="13"/>
                    <a:pt x="1" y="10"/>
                    <a:pt x="2" y="6"/>
                  </a:cubicBezTo>
                  <a:cubicBezTo>
                    <a:pt x="4" y="3"/>
                    <a:pt x="6" y="0"/>
                    <a:pt x="6" y="1"/>
                  </a:cubicBezTo>
                  <a:cubicBezTo>
                    <a:pt x="7" y="1"/>
                    <a:pt x="6" y="4"/>
                    <a:pt x="4" y="7"/>
                  </a:cubicBezTo>
                  <a:cubicBezTo>
                    <a:pt x="3" y="11"/>
                    <a:pt x="1" y="13"/>
                    <a:pt x="0"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5">
              <a:extLst>
                <a:ext uri="{FF2B5EF4-FFF2-40B4-BE49-F238E27FC236}">
                  <a16:creationId xmlns:a16="http://schemas.microsoft.com/office/drawing/2014/main" id="{AE8E8CCD-4DF2-4531-90B3-0B7F226CC407}"/>
                </a:ext>
              </a:extLst>
            </p:cNvPr>
            <p:cNvSpPr>
              <a:spLocks/>
            </p:cNvSpPr>
            <p:nvPr/>
          </p:nvSpPr>
          <p:spPr bwMode="auto">
            <a:xfrm>
              <a:off x="3629" y="2679"/>
              <a:ext cx="23" cy="23"/>
            </a:xfrm>
            <a:custGeom>
              <a:avLst/>
              <a:gdLst>
                <a:gd name="T0" fmla="*/ 10 w 10"/>
                <a:gd name="T1" fmla="*/ 10 h 10"/>
                <a:gd name="T2" fmla="*/ 5 w 10"/>
                <a:gd name="T3" fmla="*/ 5 h 10"/>
                <a:gd name="T4" fmla="*/ 0 w 10"/>
                <a:gd name="T5" fmla="*/ 1 h 10"/>
                <a:gd name="T6" fmla="*/ 6 w 10"/>
                <a:gd name="T7" fmla="*/ 4 h 10"/>
                <a:gd name="T8" fmla="*/ 10 w 10"/>
                <a:gd name="T9" fmla="*/ 10 h 10"/>
              </a:gdLst>
              <a:ahLst/>
              <a:cxnLst>
                <a:cxn ang="0">
                  <a:pos x="T0" y="T1"/>
                </a:cxn>
                <a:cxn ang="0">
                  <a:pos x="T2" y="T3"/>
                </a:cxn>
                <a:cxn ang="0">
                  <a:pos x="T4" y="T5"/>
                </a:cxn>
                <a:cxn ang="0">
                  <a:pos x="T6" y="T7"/>
                </a:cxn>
                <a:cxn ang="0">
                  <a:pos x="T8" y="T9"/>
                </a:cxn>
              </a:cxnLst>
              <a:rect l="0" t="0" r="r" b="b"/>
              <a:pathLst>
                <a:path w="10" h="10">
                  <a:moveTo>
                    <a:pt x="10" y="10"/>
                  </a:moveTo>
                  <a:cubicBezTo>
                    <a:pt x="9" y="10"/>
                    <a:pt x="8" y="8"/>
                    <a:pt x="5" y="5"/>
                  </a:cubicBezTo>
                  <a:cubicBezTo>
                    <a:pt x="3" y="3"/>
                    <a:pt x="0" y="1"/>
                    <a:pt x="0" y="1"/>
                  </a:cubicBezTo>
                  <a:cubicBezTo>
                    <a:pt x="1" y="0"/>
                    <a:pt x="4" y="1"/>
                    <a:pt x="6" y="4"/>
                  </a:cubicBezTo>
                  <a:cubicBezTo>
                    <a:pt x="9" y="6"/>
                    <a:pt x="10" y="9"/>
                    <a:pt x="10" y="1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66">
              <a:extLst>
                <a:ext uri="{FF2B5EF4-FFF2-40B4-BE49-F238E27FC236}">
                  <a16:creationId xmlns:a16="http://schemas.microsoft.com/office/drawing/2014/main" id="{05B2F7EF-708B-4236-A736-D2F9D4D2881E}"/>
                </a:ext>
              </a:extLst>
            </p:cNvPr>
            <p:cNvSpPr>
              <a:spLocks noChangeArrowheads="1"/>
            </p:cNvSpPr>
            <p:nvPr/>
          </p:nvSpPr>
          <p:spPr bwMode="auto">
            <a:xfrm>
              <a:off x="3638" y="2819"/>
              <a:ext cx="22"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7">
              <a:extLst>
                <a:ext uri="{FF2B5EF4-FFF2-40B4-BE49-F238E27FC236}">
                  <a16:creationId xmlns:a16="http://schemas.microsoft.com/office/drawing/2014/main" id="{51D78ED3-A71F-4E4B-B60D-F28FC28CC69A}"/>
                </a:ext>
              </a:extLst>
            </p:cNvPr>
            <p:cNvSpPr>
              <a:spLocks/>
            </p:cNvSpPr>
            <p:nvPr/>
          </p:nvSpPr>
          <p:spPr bwMode="auto">
            <a:xfrm>
              <a:off x="3774" y="2759"/>
              <a:ext cx="11" cy="29"/>
            </a:xfrm>
            <a:custGeom>
              <a:avLst/>
              <a:gdLst>
                <a:gd name="T0" fmla="*/ 1 w 5"/>
                <a:gd name="T1" fmla="*/ 12 h 12"/>
                <a:gd name="T2" fmla="*/ 2 w 5"/>
                <a:gd name="T3" fmla="*/ 6 h 12"/>
                <a:gd name="T4" fmla="*/ 4 w 5"/>
                <a:gd name="T5" fmla="*/ 0 h 12"/>
                <a:gd name="T6" fmla="*/ 4 w 5"/>
                <a:gd name="T7" fmla="*/ 6 h 12"/>
                <a:gd name="T8" fmla="*/ 1 w 5"/>
                <a:gd name="T9" fmla="*/ 12 h 12"/>
              </a:gdLst>
              <a:ahLst/>
              <a:cxnLst>
                <a:cxn ang="0">
                  <a:pos x="T0" y="T1"/>
                </a:cxn>
                <a:cxn ang="0">
                  <a:pos x="T2" y="T3"/>
                </a:cxn>
                <a:cxn ang="0">
                  <a:pos x="T4" y="T5"/>
                </a:cxn>
                <a:cxn ang="0">
                  <a:pos x="T6" y="T7"/>
                </a:cxn>
                <a:cxn ang="0">
                  <a:pos x="T8" y="T9"/>
                </a:cxn>
              </a:cxnLst>
              <a:rect l="0" t="0" r="r" b="b"/>
              <a:pathLst>
                <a:path w="5" h="12">
                  <a:moveTo>
                    <a:pt x="1" y="12"/>
                  </a:moveTo>
                  <a:cubicBezTo>
                    <a:pt x="0" y="11"/>
                    <a:pt x="1" y="9"/>
                    <a:pt x="2" y="6"/>
                  </a:cubicBezTo>
                  <a:cubicBezTo>
                    <a:pt x="3" y="3"/>
                    <a:pt x="3" y="0"/>
                    <a:pt x="4" y="0"/>
                  </a:cubicBezTo>
                  <a:cubicBezTo>
                    <a:pt x="4" y="0"/>
                    <a:pt x="5" y="3"/>
                    <a:pt x="4" y="6"/>
                  </a:cubicBezTo>
                  <a:cubicBezTo>
                    <a:pt x="3" y="10"/>
                    <a:pt x="1" y="12"/>
                    <a:pt x="1"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8">
              <a:extLst>
                <a:ext uri="{FF2B5EF4-FFF2-40B4-BE49-F238E27FC236}">
                  <a16:creationId xmlns:a16="http://schemas.microsoft.com/office/drawing/2014/main" id="{320931F5-9B96-48C1-8EB5-797BE079570C}"/>
                </a:ext>
              </a:extLst>
            </p:cNvPr>
            <p:cNvSpPr>
              <a:spLocks/>
            </p:cNvSpPr>
            <p:nvPr/>
          </p:nvSpPr>
          <p:spPr bwMode="auto">
            <a:xfrm>
              <a:off x="3878" y="2795"/>
              <a:ext cx="14" cy="33"/>
            </a:xfrm>
            <a:custGeom>
              <a:avLst/>
              <a:gdLst>
                <a:gd name="T0" fmla="*/ 5 w 6"/>
                <a:gd name="T1" fmla="*/ 14 h 14"/>
                <a:gd name="T2" fmla="*/ 2 w 6"/>
                <a:gd name="T3" fmla="*/ 7 h 14"/>
                <a:gd name="T4" fmla="*/ 0 w 6"/>
                <a:gd name="T5" fmla="*/ 0 h 14"/>
                <a:gd name="T6" fmla="*/ 4 w 6"/>
                <a:gd name="T7" fmla="*/ 7 h 14"/>
                <a:gd name="T8" fmla="*/ 5 w 6"/>
                <a:gd name="T9" fmla="*/ 14 h 14"/>
              </a:gdLst>
              <a:ahLst/>
              <a:cxnLst>
                <a:cxn ang="0">
                  <a:pos x="T0" y="T1"/>
                </a:cxn>
                <a:cxn ang="0">
                  <a:pos x="T2" y="T3"/>
                </a:cxn>
                <a:cxn ang="0">
                  <a:pos x="T4" y="T5"/>
                </a:cxn>
                <a:cxn ang="0">
                  <a:pos x="T6" y="T7"/>
                </a:cxn>
                <a:cxn ang="0">
                  <a:pos x="T8" y="T9"/>
                </a:cxn>
              </a:cxnLst>
              <a:rect l="0" t="0" r="r" b="b"/>
              <a:pathLst>
                <a:path w="6" h="14">
                  <a:moveTo>
                    <a:pt x="5" y="14"/>
                  </a:moveTo>
                  <a:cubicBezTo>
                    <a:pt x="4" y="14"/>
                    <a:pt x="3" y="11"/>
                    <a:pt x="2" y="7"/>
                  </a:cubicBezTo>
                  <a:cubicBezTo>
                    <a:pt x="0" y="4"/>
                    <a:pt x="0" y="1"/>
                    <a:pt x="0" y="0"/>
                  </a:cubicBezTo>
                  <a:cubicBezTo>
                    <a:pt x="1" y="0"/>
                    <a:pt x="2" y="3"/>
                    <a:pt x="4" y="7"/>
                  </a:cubicBezTo>
                  <a:cubicBezTo>
                    <a:pt x="5" y="10"/>
                    <a:pt x="6" y="13"/>
                    <a:pt x="5"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9">
              <a:extLst>
                <a:ext uri="{FF2B5EF4-FFF2-40B4-BE49-F238E27FC236}">
                  <a16:creationId xmlns:a16="http://schemas.microsoft.com/office/drawing/2014/main" id="{E75C23AE-1A92-4C6E-876B-D11334A4817D}"/>
                </a:ext>
              </a:extLst>
            </p:cNvPr>
            <p:cNvSpPr>
              <a:spLocks/>
            </p:cNvSpPr>
            <p:nvPr/>
          </p:nvSpPr>
          <p:spPr bwMode="auto">
            <a:xfrm>
              <a:off x="3871" y="2956"/>
              <a:ext cx="19" cy="36"/>
            </a:xfrm>
            <a:custGeom>
              <a:avLst/>
              <a:gdLst>
                <a:gd name="T0" fmla="*/ 0 w 8"/>
                <a:gd name="T1" fmla="*/ 14 h 15"/>
                <a:gd name="T2" fmla="*/ 3 w 8"/>
                <a:gd name="T3" fmla="*/ 7 h 15"/>
                <a:gd name="T4" fmla="*/ 8 w 8"/>
                <a:gd name="T5" fmla="*/ 0 h 15"/>
                <a:gd name="T6" fmla="*/ 5 w 8"/>
                <a:gd name="T7" fmla="*/ 8 h 15"/>
                <a:gd name="T8" fmla="*/ 0 w 8"/>
                <a:gd name="T9" fmla="*/ 14 h 15"/>
              </a:gdLst>
              <a:ahLst/>
              <a:cxnLst>
                <a:cxn ang="0">
                  <a:pos x="T0" y="T1"/>
                </a:cxn>
                <a:cxn ang="0">
                  <a:pos x="T2" y="T3"/>
                </a:cxn>
                <a:cxn ang="0">
                  <a:pos x="T4" y="T5"/>
                </a:cxn>
                <a:cxn ang="0">
                  <a:pos x="T6" y="T7"/>
                </a:cxn>
                <a:cxn ang="0">
                  <a:pos x="T8" y="T9"/>
                </a:cxn>
              </a:cxnLst>
              <a:rect l="0" t="0" r="r" b="b"/>
              <a:pathLst>
                <a:path w="8" h="15">
                  <a:moveTo>
                    <a:pt x="0" y="14"/>
                  </a:moveTo>
                  <a:cubicBezTo>
                    <a:pt x="0" y="14"/>
                    <a:pt x="1" y="11"/>
                    <a:pt x="3" y="7"/>
                  </a:cubicBezTo>
                  <a:cubicBezTo>
                    <a:pt x="5" y="3"/>
                    <a:pt x="7" y="0"/>
                    <a:pt x="8" y="0"/>
                  </a:cubicBezTo>
                  <a:cubicBezTo>
                    <a:pt x="8" y="1"/>
                    <a:pt x="7" y="4"/>
                    <a:pt x="5" y="8"/>
                  </a:cubicBezTo>
                  <a:cubicBezTo>
                    <a:pt x="3" y="12"/>
                    <a:pt x="1" y="15"/>
                    <a:pt x="0"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0">
              <a:extLst>
                <a:ext uri="{FF2B5EF4-FFF2-40B4-BE49-F238E27FC236}">
                  <a16:creationId xmlns:a16="http://schemas.microsoft.com/office/drawing/2014/main" id="{DFF22927-0C73-40AA-8124-69E929B17F8B}"/>
                </a:ext>
              </a:extLst>
            </p:cNvPr>
            <p:cNvSpPr>
              <a:spLocks/>
            </p:cNvSpPr>
            <p:nvPr/>
          </p:nvSpPr>
          <p:spPr bwMode="auto">
            <a:xfrm>
              <a:off x="3752" y="3054"/>
              <a:ext cx="17" cy="33"/>
            </a:xfrm>
            <a:custGeom>
              <a:avLst/>
              <a:gdLst>
                <a:gd name="T0" fmla="*/ 6 w 7"/>
                <a:gd name="T1" fmla="*/ 14 h 14"/>
                <a:gd name="T2" fmla="*/ 2 w 7"/>
                <a:gd name="T3" fmla="*/ 8 h 14"/>
                <a:gd name="T4" fmla="*/ 1 w 7"/>
                <a:gd name="T5" fmla="*/ 1 h 14"/>
                <a:gd name="T6" fmla="*/ 4 w 7"/>
                <a:gd name="T7" fmla="*/ 7 h 14"/>
                <a:gd name="T8" fmla="*/ 6 w 7"/>
                <a:gd name="T9" fmla="*/ 14 h 14"/>
              </a:gdLst>
              <a:ahLst/>
              <a:cxnLst>
                <a:cxn ang="0">
                  <a:pos x="T0" y="T1"/>
                </a:cxn>
                <a:cxn ang="0">
                  <a:pos x="T2" y="T3"/>
                </a:cxn>
                <a:cxn ang="0">
                  <a:pos x="T4" y="T5"/>
                </a:cxn>
                <a:cxn ang="0">
                  <a:pos x="T6" y="T7"/>
                </a:cxn>
                <a:cxn ang="0">
                  <a:pos x="T8" y="T9"/>
                </a:cxn>
              </a:cxnLst>
              <a:rect l="0" t="0" r="r" b="b"/>
              <a:pathLst>
                <a:path w="7" h="14">
                  <a:moveTo>
                    <a:pt x="6" y="14"/>
                  </a:moveTo>
                  <a:cubicBezTo>
                    <a:pt x="6" y="14"/>
                    <a:pt x="4" y="11"/>
                    <a:pt x="2" y="8"/>
                  </a:cubicBezTo>
                  <a:cubicBezTo>
                    <a:pt x="1" y="4"/>
                    <a:pt x="0" y="1"/>
                    <a:pt x="1" y="1"/>
                  </a:cubicBezTo>
                  <a:cubicBezTo>
                    <a:pt x="1" y="0"/>
                    <a:pt x="3" y="3"/>
                    <a:pt x="4" y="7"/>
                  </a:cubicBezTo>
                  <a:cubicBezTo>
                    <a:pt x="6" y="10"/>
                    <a:pt x="7" y="14"/>
                    <a:pt x="6" y="1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71">
              <a:extLst>
                <a:ext uri="{FF2B5EF4-FFF2-40B4-BE49-F238E27FC236}">
                  <a16:creationId xmlns:a16="http://schemas.microsoft.com/office/drawing/2014/main" id="{36BA3BB4-872B-401E-8C3D-B42838ABCEC6}"/>
                </a:ext>
              </a:extLst>
            </p:cNvPr>
            <p:cNvSpPr>
              <a:spLocks noChangeArrowheads="1"/>
            </p:cNvSpPr>
            <p:nvPr/>
          </p:nvSpPr>
          <p:spPr bwMode="auto">
            <a:xfrm>
              <a:off x="3633" y="3120"/>
              <a:ext cx="17" cy="5"/>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2">
              <a:extLst>
                <a:ext uri="{FF2B5EF4-FFF2-40B4-BE49-F238E27FC236}">
                  <a16:creationId xmlns:a16="http://schemas.microsoft.com/office/drawing/2014/main" id="{80D920FE-8E59-4D3B-AB77-DEAB28D1082D}"/>
                </a:ext>
              </a:extLst>
            </p:cNvPr>
            <p:cNvSpPr>
              <a:spLocks/>
            </p:cNvSpPr>
            <p:nvPr/>
          </p:nvSpPr>
          <p:spPr bwMode="auto">
            <a:xfrm>
              <a:off x="3709" y="3248"/>
              <a:ext cx="10" cy="29"/>
            </a:xfrm>
            <a:custGeom>
              <a:avLst/>
              <a:gdLst>
                <a:gd name="T0" fmla="*/ 3 w 4"/>
                <a:gd name="T1" fmla="*/ 12 h 12"/>
                <a:gd name="T2" fmla="*/ 1 w 4"/>
                <a:gd name="T3" fmla="*/ 6 h 12"/>
                <a:gd name="T4" fmla="*/ 0 w 4"/>
                <a:gd name="T5" fmla="*/ 1 h 12"/>
                <a:gd name="T6" fmla="*/ 3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3" y="12"/>
                    <a:pt x="2" y="9"/>
                    <a:pt x="1" y="6"/>
                  </a:cubicBezTo>
                  <a:cubicBezTo>
                    <a:pt x="0" y="3"/>
                    <a:pt x="0" y="1"/>
                    <a:pt x="0" y="1"/>
                  </a:cubicBezTo>
                  <a:cubicBezTo>
                    <a:pt x="1" y="0"/>
                    <a:pt x="2" y="3"/>
                    <a:pt x="3" y="6"/>
                  </a:cubicBezTo>
                  <a:cubicBezTo>
                    <a:pt x="4" y="9"/>
                    <a:pt x="4" y="11"/>
                    <a:pt x="3" y="1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3">
              <a:extLst>
                <a:ext uri="{FF2B5EF4-FFF2-40B4-BE49-F238E27FC236}">
                  <a16:creationId xmlns:a16="http://schemas.microsoft.com/office/drawing/2014/main" id="{B72EBADF-E09E-4A5A-8877-58ACD2190BF1}"/>
                </a:ext>
              </a:extLst>
            </p:cNvPr>
            <p:cNvSpPr>
              <a:spLocks/>
            </p:cNvSpPr>
            <p:nvPr/>
          </p:nvSpPr>
          <p:spPr bwMode="auto">
            <a:xfrm>
              <a:off x="3631" y="3208"/>
              <a:ext cx="14" cy="17"/>
            </a:xfrm>
            <a:custGeom>
              <a:avLst/>
              <a:gdLst>
                <a:gd name="T0" fmla="*/ 1 w 6"/>
                <a:gd name="T1" fmla="*/ 7 h 7"/>
                <a:gd name="T2" fmla="*/ 2 w 6"/>
                <a:gd name="T3" fmla="*/ 3 h 7"/>
                <a:gd name="T4" fmla="*/ 5 w 6"/>
                <a:gd name="T5" fmla="*/ 0 h 7"/>
                <a:gd name="T6" fmla="*/ 4 w 6"/>
                <a:gd name="T7" fmla="*/ 4 h 7"/>
                <a:gd name="T8" fmla="*/ 1 w 6"/>
                <a:gd name="T9" fmla="*/ 7 h 7"/>
              </a:gdLst>
              <a:ahLst/>
              <a:cxnLst>
                <a:cxn ang="0">
                  <a:pos x="T0" y="T1"/>
                </a:cxn>
                <a:cxn ang="0">
                  <a:pos x="T2" y="T3"/>
                </a:cxn>
                <a:cxn ang="0">
                  <a:pos x="T4" y="T5"/>
                </a:cxn>
                <a:cxn ang="0">
                  <a:pos x="T6" y="T7"/>
                </a:cxn>
                <a:cxn ang="0">
                  <a:pos x="T8" y="T9"/>
                </a:cxn>
              </a:cxnLst>
              <a:rect l="0" t="0" r="r" b="b"/>
              <a:pathLst>
                <a:path w="6" h="7">
                  <a:moveTo>
                    <a:pt x="1" y="7"/>
                  </a:moveTo>
                  <a:cubicBezTo>
                    <a:pt x="0" y="7"/>
                    <a:pt x="1" y="5"/>
                    <a:pt x="2" y="3"/>
                  </a:cubicBezTo>
                  <a:cubicBezTo>
                    <a:pt x="3" y="1"/>
                    <a:pt x="5" y="0"/>
                    <a:pt x="5" y="0"/>
                  </a:cubicBezTo>
                  <a:cubicBezTo>
                    <a:pt x="6" y="0"/>
                    <a:pt x="5" y="2"/>
                    <a:pt x="4" y="4"/>
                  </a:cubicBezTo>
                  <a:cubicBezTo>
                    <a:pt x="3" y="6"/>
                    <a:pt x="1" y="7"/>
                    <a:pt x="1" y="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4">
              <a:extLst>
                <a:ext uri="{FF2B5EF4-FFF2-40B4-BE49-F238E27FC236}">
                  <a16:creationId xmlns:a16="http://schemas.microsoft.com/office/drawing/2014/main" id="{9984A3FC-55AD-4686-9B61-BBB15FE7BC8F}"/>
                </a:ext>
              </a:extLst>
            </p:cNvPr>
            <p:cNvSpPr>
              <a:spLocks/>
            </p:cNvSpPr>
            <p:nvPr/>
          </p:nvSpPr>
          <p:spPr bwMode="auto">
            <a:xfrm>
              <a:off x="3626" y="3362"/>
              <a:ext cx="7" cy="31"/>
            </a:xfrm>
            <a:custGeom>
              <a:avLst/>
              <a:gdLst>
                <a:gd name="T0" fmla="*/ 2 w 3"/>
                <a:gd name="T1" fmla="*/ 13 h 13"/>
                <a:gd name="T2" fmla="*/ 0 w 3"/>
                <a:gd name="T3" fmla="*/ 7 h 13"/>
                <a:gd name="T4" fmla="*/ 1 w 3"/>
                <a:gd name="T5" fmla="*/ 0 h 13"/>
                <a:gd name="T6" fmla="*/ 2 w 3"/>
                <a:gd name="T7" fmla="*/ 7 h 13"/>
                <a:gd name="T8" fmla="*/ 2 w 3"/>
                <a:gd name="T9" fmla="*/ 13 h 13"/>
              </a:gdLst>
              <a:ahLst/>
              <a:cxnLst>
                <a:cxn ang="0">
                  <a:pos x="T0" y="T1"/>
                </a:cxn>
                <a:cxn ang="0">
                  <a:pos x="T2" y="T3"/>
                </a:cxn>
                <a:cxn ang="0">
                  <a:pos x="T4" y="T5"/>
                </a:cxn>
                <a:cxn ang="0">
                  <a:pos x="T6" y="T7"/>
                </a:cxn>
                <a:cxn ang="0">
                  <a:pos x="T8" y="T9"/>
                </a:cxn>
              </a:cxnLst>
              <a:rect l="0" t="0" r="r" b="b"/>
              <a:pathLst>
                <a:path w="3" h="13">
                  <a:moveTo>
                    <a:pt x="2" y="13"/>
                  </a:moveTo>
                  <a:cubicBezTo>
                    <a:pt x="2" y="13"/>
                    <a:pt x="1" y="10"/>
                    <a:pt x="0" y="7"/>
                  </a:cubicBezTo>
                  <a:cubicBezTo>
                    <a:pt x="0" y="3"/>
                    <a:pt x="0" y="1"/>
                    <a:pt x="1" y="0"/>
                  </a:cubicBezTo>
                  <a:cubicBezTo>
                    <a:pt x="1" y="0"/>
                    <a:pt x="2" y="3"/>
                    <a:pt x="2" y="7"/>
                  </a:cubicBezTo>
                  <a:cubicBezTo>
                    <a:pt x="3" y="10"/>
                    <a:pt x="3" y="13"/>
                    <a:pt x="2" y="1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0" name="Rectangle 479">
            <a:extLst>
              <a:ext uri="{FF2B5EF4-FFF2-40B4-BE49-F238E27FC236}">
                <a16:creationId xmlns:a16="http://schemas.microsoft.com/office/drawing/2014/main" id="{74C14E4F-424D-4179-B125-CE6FB5D125B5}"/>
              </a:ext>
            </a:extLst>
          </p:cNvPr>
          <p:cNvSpPr/>
          <p:nvPr/>
        </p:nvSpPr>
        <p:spPr>
          <a:xfrm>
            <a:off x="6628792" y="2537828"/>
            <a:ext cx="480123" cy="492443"/>
          </a:xfrm>
          <a:prstGeom prst="rect">
            <a:avLst/>
          </a:prstGeom>
        </p:spPr>
        <p:txBody>
          <a:bodyPr wrap="square" lIns="0" tIns="0" rIns="0" bIns="0">
            <a:spAutoFit/>
          </a:bodyPr>
          <a:lstStyle/>
          <a:p>
            <a:r>
              <a:rPr lang="en-US" sz="3200" b="1" i="1" dirty="0">
                <a:solidFill>
                  <a:schemeClr val="tx1">
                    <a:lumMod val="85000"/>
                    <a:lumOff val="15000"/>
                  </a:schemeClr>
                </a:solidFill>
              </a:rPr>
              <a:t>1.</a:t>
            </a:r>
          </a:p>
        </p:txBody>
      </p:sp>
      <p:sp>
        <p:nvSpPr>
          <p:cNvPr id="481" name="Rectangle 480">
            <a:extLst>
              <a:ext uri="{FF2B5EF4-FFF2-40B4-BE49-F238E27FC236}">
                <a16:creationId xmlns:a16="http://schemas.microsoft.com/office/drawing/2014/main" id="{81B40E89-7857-4E75-8A35-0E0BB9622E22}"/>
              </a:ext>
            </a:extLst>
          </p:cNvPr>
          <p:cNvSpPr/>
          <p:nvPr/>
        </p:nvSpPr>
        <p:spPr>
          <a:xfrm>
            <a:off x="7180334" y="3457410"/>
            <a:ext cx="4401055" cy="553998"/>
          </a:xfrm>
          <a:prstGeom prst="rect">
            <a:avLst/>
          </a:prstGeom>
        </p:spPr>
        <p:txBody>
          <a:bodyPr wrap="square" lIns="0" tIns="0" rIns="0" bIns="0">
            <a:spAutoFit/>
          </a:bodyPr>
          <a:lstStyle/>
          <a:p>
            <a:r>
              <a:rPr lang="en-US" i="1" dirty="0">
                <a:solidFill>
                  <a:schemeClr val="tx1">
                    <a:lumMod val="85000"/>
                    <a:lumOff val="15000"/>
                  </a:schemeClr>
                </a:solidFill>
              </a:rPr>
              <a:t>Lorem ipsum dolor sit </a:t>
            </a:r>
            <a:r>
              <a:rPr lang="en-US" i="1" dirty="0" err="1">
                <a:solidFill>
                  <a:schemeClr val="tx1">
                    <a:lumMod val="85000"/>
                    <a:lumOff val="15000"/>
                  </a:schemeClr>
                </a:solidFill>
              </a:rPr>
              <a:t>amet</a:t>
            </a:r>
            <a:r>
              <a:rPr lang="en-US" i="1" dirty="0">
                <a:solidFill>
                  <a:schemeClr val="tx1">
                    <a:lumMod val="85000"/>
                    <a:lumOff val="15000"/>
                  </a:schemeClr>
                </a:solidFill>
              </a:rPr>
              <a:t>, </a:t>
            </a:r>
            <a:r>
              <a:rPr lang="en-US" i="1" dirty="0" err="1">
                <a:solidFill>
                  <a:schemeClr val="tx1">
                    <a:lumMod val="85000"/>
                    <a:lumOff val="15000"/>
                  </a:schemeClr>
                </a:solidFill>
              </a:rPr>
              <a:t>consectetur</a:t>
            </a:r>
            <a:r>
              <a:rPr lang="en-US" i="1" dirty="0">
                <a:solidFill>
                  <a:schemeClr val="tx1">
                    <a:lumMod val="85000"/>
                    <a:lumOff val="15000"/>
                  </a:schemeClr>
                </a:solidFill>
              </a:rPr>
              <a:t> </a:t>
            </a:r>
            <a:r>
              <a:rPr lang="en-US" i="1" dirty="0" err="1">
                <a:solidFill>
                  <a:schemeClr val="tx1">
                    <a:lumMod val="85000"/>
                    <a:lumOff val="15000"/>
                  </a:schemeClr>
                </a:solidFill>
              </a:rPr>
              <a:t>adipiscing</a:t>
            </a:r>
            <a:r>
              <a:rPr lang="en-US" i="1" dirty="0">
                <a:solidFill>
                  <a:schemeClr val="tx1">
                    <a:lumMod val="85000"/>
                    <a:lumOff val="15000"/>
                  </a:schemeClr>
                </a:solidFill>
              </a:rPr>
              <a:t> </a:t>
            </a:r>
            <a:r>
              <a:rPr lang="en-US" i="1" dirty="0" err="1">
                <a:solidFill>
                  <a:schemeClr val="tx1">
                    <a:lumMod val="85000"/>
                    <a:lumOff val="15000"/>
                  </a:schemeClr>
                </a:solidFill>
              </a:rPr>
              <a:t>elit</a:t>
            </a:r>
            <a:r>
              <a:rPr lang="en-US" i="1" dirty="0">
                <a:solidFill>
                  <a:schemeClr val="tx1">
                    <a:lumMod val="85000"/>
                    <a:lumOff val="15000"/>
                  </a:schemeClr>
                </a:solidFill>
              </a:rPr>
              <a:t>. Nunc in </a:t>
            </a:r>
            <a:r>
              <a:rPr lang="en-US" i="1" dirty="0" err="1">
                <a:solidFill>
                  <a:schemeClr val="tx1">
                    <a:lumMod val="85000"/>
                    <a:lumOff val="15000"/>
                  </a:schemeClr>
                </a:solidFill>
              </a:rPr>
              <a:t>aliquet</a:t>
            </a:r>
            <a:r>
              <a:rPr lang="en-US" i="1" dirty="0">
                <a:solidFill>
                  <a:schemeClr val="tx1">
                    <a:lumMod val="85000"/>
                    <a:lumOff val="15000"/>
                  </a:schemeClr>
                </a:solidFill>
              </a:rPr>
              <a:t> </a:t>
            </a:r>
            <a:r>
              <a:rPr lang="en-US" i="1" dirty="0" err="1">
                <a:solidFill>
                  <a:schemeClr val="tx1">
                    <a:lumMod val="85000"/>
                    <a:lumOff val="15000"/>
                  </a:schemeClr>
                </a:solidFill>
              </a:rPr>
              <a:t>nunc</a:t>
            </a:r>
            <a:r>
              <a:rPr lang="en-US" i="1" dirty="0">
                <a:solidFill>
                  <a:schemeClr val="tx1">
                    <a:lumMod val="85000"/>
                    <a:lumOff val="15000"/>
                  </a:schemeClr>
                </a:solidFill>
              </a:rPr>
              <a:t>. Morbi</a:t>
            </a:r>
          </a:p>
        </p:txBody>
      </p:sp>
      <p:sp>
        <p:nvSpPr>
          <p:cNvPr id="482" name="Rectangle 481">
            <a:extLst>
              <a:ext uri="{FF2B5EF4-FFF2-40B4-BE49-F238E27FC236}">
                <a16:creationId xmlns:a16="http://schemas.microsoft.com/office/drawing/2014/main" id="{EEE65808-AED1-4380-A38C-8430A7F60A6C}"/>
              </a:ext>
            </a:extLst>
          </p:cNvPr>
          <p:cNvSpPr/>
          <p:nvPr/>
        </p:nvSpPr>
        <p:spPr>
          <a:xfrm>
            <a:off x="6628792" y="3457410"/>
            <a:ext cx="480123" cy="492443"/>
          </a:xfrm>
          <a:prstGeom prst="rect">
            <a:avLst/>
          </a:prstGeom>
        </p:spPr>
        <p:txBody>
          <a:bodyPr wrap="square" lIns="0" tIns="0" rIns="0" bIns="0">
            <a:spAutoFit/>
          </a:bodyPr>
          <a:lstStyle/>
          <a:p>
            <a:r>
              <a:rPr lang="en-US" sz="3200" b="1" i="1" dirty="0">
                <a:solidFill>
                  <a:schemeClr val="tx1">
                    <a:lumMod val="85000"/>
                    <a:lumOff val="15000"/>
                  </a:schemeClr>
                </a:solidFill>
              </a:rPr>
              <a:t>2.</a:t>
            </a:r>
          </a:p>
        </p:txBody>
      </p:sp>
      <p:sp>
        <p:nvSpPr>
          <p:cNvPr id="483" name="Rectangle 482">
            <a:extLst>
              <a:ext uri="{FF2B5EF4-FFF2-40B4-BE49-F238E27FC236}">
                <a16:creationId xmlns:a16="http://schemas.microsoft.com/office/drawing/2014/main" id="{9ABA08F9-FDD2-4B9A-9E57-181931B999E6}"/>
              </a:ext>
            </a:extLst>
          </p:cNvPr>
          <p:cNvSpPr/>
          <p:nvPr/>
        </p:nvSpPr>
        <p:spPr>
          <a:xfrm>
            <a:off x="7180334" y="4376992"/>
            <a:ext cx="4401055" cy="553998"/>
          </a:xfrm>
          <a:prstGeom prst="rect">
            <a:avLst/>
          </a:prstGeom>
        </p:spPr>
        <p:txBody>
          <a:bodyPr wrap="square" lIns="0" tIns="0" rIns="0" bIns="0">
            <a:spAutoFit/>
          </a:bodyPr>
          <a:lstStyle/>
          <a:p>
            <a:r>
              <a:rPr lang="en-US" i="1" dirty="0">
                <a:solidFill>
                  <a:schemeClr val="tx1">
                    <a:lumMod val="85000"/>
                    <a:lumOff val="15000"/>
                  </a:schemeClr>
                </a:solidFill>
              </a:rPr>
              <a:t>Lorem ipsum dolor sit </a:t>
            </a:r>
            <a:r>
              <a:rPr lang="en-US" i="1" dirty="0" err="1">
                <a:solidFill>
                  <a:schemeClr val="tx1">
                    <a:lumMod val="85000"/>
                    <a:lumOff val="15000"/>
                  </a:schemeClr>
                </a:solidFill>
              </a:rPr>
              <a:t>amet</a:t>
            </a:r>
            <a:r>
              <a:rPr lang="en-US" i="1" dirty="0">
                <a:solidFill>
                  <a:schemeClr val="tx1">
                    <a:lumMod val="85000"/>
                    <a:lumOff val="15000"/>
                  </a:schemeClr>
                </a:solidFill>
              </a:rPr>
              <a:t>, </a:t>
            </a:r>
            <a:r>
              <a:rPr lang="en-US" i="1" dirty="0" err="1">
                <a:solidFill>
                  <a:schemeClr val="tx1">
                    <a:lumMod val="85000"/>
                    <a:lumOff val="15000"/>
                  </a:schemeClr>
                </a:solidFill>
              </a:rPr>
              <a:t>consectetur</a:t>
            </a:r>
            <a:r>
              <a:rPr lang="en-US" i="1" dirty="0">
                <a:solidFill>
                  <a:schemeClr val="tx1">
                    <a:lumMod val="85000"/>
                    <a:lumOff val="15000"/>
                  </a:schemeClr>
                </a:solidFill>
              </a:rPr>
              <a:t> </a:t>
            </a:r>
            <a:r>
              <a:rPr lang="en-US" i="1" dirty="0" err="1">
                <a:solidFill>
                  <a:schemeClr val="tx1">
                    <a:lumMod val="85000"/>
                    <a:lumOff val="15000"/>
                  </a:schemeClr>
                </a:solidFill>
              </a:rPr>
              <a:t>adipiscing</a:t>
            </a:r>
            <a:r>
              <a:rPr lang="en-US" i="1" dirty="0">
                <a:solidFill>
                  <a:schemeClr val="tx1">
                    <a:lumMod val="85000"/>
                    <a:lumOff val="15000"/>
                  </a:schemeClr>
                </a:solidFill>
              </a:rPr>
              <a:t> </a:t>
            </a:r>
            <a:r>
              <a:rPr lang="en-US" i="1" dirty="0" err="1">
                <a:solidFill>
                  <a:schemeClr val="tx1">
                    <a:lumMod val="85000"/>
                    <a:lumOff val="15000"/>
                  </a:schemeClr>
                </a:solidFill>
              </a:rPr>
              <a:t>elit</a:t>
            </a:r>
            <a:r>
              <a:rPr lang="en-US" i="1" dirty="0">
                <a:solidFill>
                  <a:schemeClr val="tx1">
                    <a:lumMod val="85000"/>
                    <a:lumOff val="15000"/>
                  </a:schemeClr>
                </a:solidFill>
              </a:rPr>
              <a:t>. Nunc in </a:t>
            </a:r>
            <a:r>
              <a:rPr lang="en-US" i="1" dirty="0" err="1">
                <a:solidFill>
                  <a:schemeClr val="tx1">
                    <a:lumMod val="85000"/>
                    <a:lumOff val="15000"/>
                  </a:schemeClr>
                </a:solidFill>
              </a:rPr>
              <a:t>aliquet</a:t>
            </a:r>
            <a:r>
              <a:rPr lang="en-US" i="1" dirty="0">
                <a:solidFill>
                  <a:schemeClr val="tx1">
                    <a:lumMod val="85000"/>
                    <a:lumOff val="15000"/>
                  </a:schemeClr>
                </a:solidFill>
              </a:rPr>
              <a:t> </a:t>
            </a:r>
            <a:r>
              <a:rPr lang="en-US" i="1" dirty="0" err="1">
                <a:solidFill>
                  <a:schemeClr val="tx1">
                    <a:lumMod val="85000"/>
                    <a:lumOff val="15000"/>
                  </a:schemeClr>
                </a:solidFill>
              </a:rPr>
              <a:t>nunc</a:t>
            </a:r>
            <a:r>
              <a:rPr lang="en-US" i="1" dirty="0">
                <a:solidFill>
                  <a:schemeClr val="tx1">
                    <a:lumMod val="85000"/>
                    <a:lumOff val="15000"/>
                  </a:schemeClr>
                </a:solidFill>
              </a:rPr>
              <a:t>. Morbi</a:t>
            </a:r>
          </a:p>
        </p:txBody>
      </p:sp>
      <p:sp>
        <p:nvSpPr>
          <p:cNvPr id="484" name="Rectangle 483">
            <a:extLst>
              <a:ext uri="{FF2B5EF4-FFF2-40B4-BE49-F238E27FC236}">
                <a16:creationId xmlns:a16="http://schemas.microsoft.com/office/drawing/2014/main" id="{85CA5FED-5DF3-4875-B705-21F0DF6C3EFC}"/>
              </a:ext>
            </a:extLst>
          </p:cNvPr>
          <p:cNvSpPr/>
          <p:nvPr/>
        </p:nvSpPr>
        <p:spPr>
          <a:xfrm>
            <a:off x="6628792" y="4376992"/>
            <a:ext cx="480123" cy="492443"/>
          </a:xfrm>
          <a:prstGeom prst="rect">
            <a:avLst/>
          </a:prstGeom>
        </p:spPr>
        <p:txBody>
          <a:bodyPr wrap="square" lIns="0" tIns="0" rIns="0" bIns="0">
            <a:spAutoFit/>
          </a:bodyPr>
          <a:lstStyle/>
          <a:p>
            <a:r>
              <a:rPr lang="en-US" sz="3200" b="1" i="1" dirty="0">
                <a:solidFill>
                  <a:schemeClr val="tx1">
                    <a:lumMod val="85000"/>
                    <a:lumOff val="15000"/>
                  </a:schemeClr>
                </a:solidFill>
              </a:rPr>
              <a:t>3.</a:t>
            </a:r>
          </a:p>
        </p:txBody>
      </p:sp>
      <p:sp>
        <p:nvSpPr>
          <p:cNvPr id="485" name="Rectangle 484">
            <a:extLst>
              <a:ext uri="{FF2B5EF4-FFF2-40B4-BE49-F238E27FC236}">
                <a16:creationId xmlns:a16="http://schemas.microsoft.com/office/drawing/2014/main" id="{E069D941-0660-4A01-BDDD-3291507F27AB}"/>
              </a:ext>
            </a:extLst>
          </p:cNvPr>
          <p:cNvSpPr/>
          <p:nvPr/>
        </p:nvSpPr>
        <p:spPr>
          <a:xfrm>
            <a:off x="7180334" y="5296574"/>
            <a:ext cx="4401055" cy="553998"/>
          </a:xfrm>
          <a:prstGeom prst="rect">
            <a:avLst/>
          </a:prstGeom>
        </p:spPr>
        <p:txBody>
          <a:bodyPr wrap="square" lIns="0" tIns="0" rIns="0" bIns="0">
            <a:spAutoFit/>
          </a:bodyPr>
          <a:lstStyle/>
          <a:p>
            <a:r>
              <a:rPr lang="en-US" i="1" dirty="0">
                <a:solidFill>
                  <a:schemeClr val="tx1">
                    <a:lumMod val="85000"/>
                    <a:lumOff val="15000"/>
                  </a:schemeClr>
                </a:solidFill>
              </a:rPr>
              <a:t>Lorem ipsum dolor sit </a:t>
            </a:r>
            <a:r>
              <a:rPr lang="en-US" i="1" dirty="0" err="1">
                <a:solidFill>
                  <a:schemeClr val="tx1">
                    <a:lumMod val="85000"/>
                    <a:lumOff val="15000"/>
                  </a:schemeClr>
                </a:solidFill>
              </a:rPr>
              <a:t>amet</a:t>
            </a:r>
            <a:r>
              <a:rPr lang="en-US" i="1" dirty="0">
                <a:solidFill>
                  <a:schemeClr val="tx1">
                    <a:lumMod val="85000"/>
                    <a:lumOff val="15000"/>
                  </a:schemeClr>
                </a:solidFill>
              </a:rPr>
              <a:t>, </a:t>
            </a:r>
            <a:r>
              <a:rPr lang="en-US" i="1" dirty="0" err="1">
                <a:solidFill>
                  <a:schemeClr val="tx1">
                    <a:lumMod val="85000"/>
                    <a:lumOff val="15000"/>
                  </a:schemeClr>
                </a:solidFill>
              </a:rPr>
              <a:t>consectetur</a:t>
            </a:r>
            <a:r>
              <a:rPr lang="en-US" i="1" dirty="0">
                <a:solidFill>
                  <a:schemeClr val="tx1">
                    <a:lumMod val="85000"/>
                    <a:lumOff val="15000"/>
                  </a:schemeClr>
                </a:solidFill>
              </a:rPr>
              <a:t> </a:t>
            </a:r>
            <a:r>
              <a:rPr lang="en-US" i="1" dirty="0" err="1">
                <a:solidFill>
                  <a:schemeClr val="tx1">
                    <a:lumMod val="85000"/>
                    <a:lumOff val="15000"/>
                  </a:schemeClr>
                </a:solidFill>
              </a:rPr>
              <a:t>adipiscing</a:t>
            </a:r>
            <a:r>
              <a:rPr lang="en-US" i="1" dirty="0">
                <a:solidFill>
                  <a:schemeClr val="tx1">
                    <a:lumMod val="85000"/>
                    <a:lumOff val="15000"/>
                  </a:schemeClr>
                </a:solidFill>
              </a:rPr>
              <a:t> </a:t>
            </a:r>
            <a:r>
              <a:rPr lang="en-US" i="1" dirty="0" err="1">
                <a:solidFill>
                  <a:schemeClr val="tx1">
                    <a:lumMod val="85000"/>
                    <a:lumOff val="15000"/>
                  </a:schemeClr>
                </a:solidFill>
              </a:rPr>
              <a:t>elit</a:t>
            </a:r>
            <a:r>
              <a:rPr lang="en-US" i="1" dirty="0">
                <a:solidFill>
                  <a:schemeClr val="tx1">
                    <a:lumMod val="85000"/>
                    <a:lumOff val="15000"/>
                  </a:schemeClr>
                </a:solidFill>
              </a:rPr>
              <a:t>. Nunc in </a:t>
            </a:r>
            <a:r>
              <a:rPr lang="en-US" i="1" dirty="0" err="1">
                <a:solidFill>
                  <a:schemeClr val="tx1">
                    <a:lumMod val="85000"/>
                    <a:lumOff val="15000"/>
                  </a:schemeClr>
                </a:solidFill>
              </a:rPr>
              <a:t>aliquet</a:t>
            </a:r>
            <a:r>
              <a:rPr lang="en-US" i="1" dirty="0">
                <a:solidFill>
                  <a:schemeClr val="tx1">
                    <a:lumMod val="85000"/>
                    <a:lumOff val="15000"/>
                  </a:schemeClr>
                </a:solidFill>
              </a:rPr>
              <a:t> </a:t>
            </a:r>
            <a:r>
              <a:rPr lang="en-US" i="1" dirty="0" err="1">
                <a:solidFill>
                  <a:schemeClr val="tx1">
                    <a:lumMod val="85000"/>
                    <a:lumOff val="15000"/>
                  </a:schemeClr>
                </a:solidFill>
              </a:rPr>
              <a:t>nunc</a:t>
            </a:r>
            <a:r>
              <a:rPr lang="en-US" i="1" dirty="0">
                <a:solidFill>
                  <a:schemeClr val="tx1">
                    <a:lumMod val="85000"/>
                    <a:lumOff val="15000"/>
                  </a:schemeClr>
                </a:solidFill>
              </a:rPr>
              <a:t>. Morbi</a:t>
            </a:r>
          </a:p>
        </p:txBody>
      </p:sp>
      <p:sp>
        <p:nvSpPr>
          <p:cNvPr id="486" name="Rectangle 485">
            <a:extLst>
              <a:ext uri="{FF2B5EF4-FFF2-40B4-BE49-F238E27FC236}">
                <a16:creationId xmlns:a16="http://schemas.microsoft.com/office/drawing/2014/main" id="{3A2CCE42-2C17-4000-B0B0-65329E6D591C}"/>
              </a:ext>
            </a:extLst>
          </p:cNvPr>
          <p:cNvSpPr/>
          <p:nvPr/>
        </p:nvSpPr>
        <p:spPr>
          <a:xfrm>
            <a:off x="6628792" y="5296574"/>
            <a:ext cx="480123" cy="492443"/>
          </a:xfrm>
          <a:prstGeom prst="rect">
            <a:avLst/>
          </a:prstGeom>
        </p:spPr>
        <p:txBody>
          <a:bodyPr wrap="square" lIns="0" tIns="0" rIns="0" bIns="0">
            <a:spAutoFit/>
          </a:bodyPr>
          <a:lstStyle/>
          <a:p>
            <a:r>
              <a:rPr lang="en-US" sz="3200" b="1" i="1" dirty="0">
                <a:solidFill>
                  <a:schemeClr val="tx1">
                    <a:lumMod val="85000"/>
                    <a:lumOff val="15000"/>
                  </a:schemeClr>
                </a:solidFill>
              </a:rPr>
              <a:t>4.</a:t>
            </a:r>
          </a:p>
        </p:txBody>
      </p:sp>
      <p:cxnSp>
        <p:nvCxnSpPr>
          <p:cNvPr id="488" name="Straight Connector 487">
            <a:extLst>
              <a:ext uri="{FF2B5EF4-FFF2-40B4-BE49-F238E27FC236}">
                <a16:creationId xmlns:a16="http://schemas.microsoft.com/office/drawing/2014/main" id="{924CA0BB-5546-460E-8847-3948D3314A69}"/>
              </a:ext>
            </a:extLst>
          </p:cNvPr>
          <p:cNvCxnSpPr>
            <a:cxnSpLocks/>
          </p:cNvCxnSpPr>
          <p:nvPr/>
        </p:nvCxnSpPr>
        <p:spPr>
          <a:xfrm>
            <a:off x="6608035" y="3311071"/>
            <a:ext cx="490582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0FF43450-BE1B-4C9B-B323-D187B54C6FDB}"/>
              </a:ext>
            </a:extLst>
          </p:cNvPr>
          <p:cNvCxnSpPr>
            <a:cxnSpLocks/>
          </p:cNvCxnSpPr>
          <p:nvPr/>
        </p:nvCxnSpPr>
        <p:spPr>
          <a:xfrm>
            <a:off x="6608035" y="4225471"/>
            <a:ext cx="490582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8E64F211-4307-4130-A1FA-4F362B7AA6D4}"/>
              </a:ext>
            </a:extLst>
          </p:cNvPr>
          <p:cNvCxnSpPr>
            <a:cxnSpLocks/>
          </p:cNvCxnSpPr>
          <p:nvPr/>
        </p:nvCxnSpPr>
        <p:spPr>
          <a:xfrm>
            <a:off x="6608035" y="5110842"/>
            <a:ext cx="490582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0B8575FC-C231-40D6-AF54-1B84E7E2856D}"/>
              </a:ext>
            </a:extLst>
          </p:cNvPr>
          <p:cNvSpPr>
            <a:spLocks noGrp="1"/>
          </p:cNvSpPr>
          <p:nvPr>
            <p:ph type="sldNum" sz="quarter" idx="12"/>
          </p:nvPr>
        </p:nvSpPr>
        <p:spPr/>
        <p:txBody>
          <a:bodyPr/>
          <a:lstStyle/>
          <a:p>
            <a:fld id="{89CD6E39-4852-418B-BA35-BEEEB494AB9E}" type="slidenum">
              <a:rPr lang="en-US" smtClean="0"/>
              <a:t>3</a:t>
            </a:fld>
            <a:endParaRPr lang="en-US"/>
          </a:p>
        </p:txBody>
      </p:sp>
    </p:spTree>
    <p:extLst>
      <p:ext uri="{BB962C8B-B14F-4D97-AF65-F5344CB8AC3E}">
        <p14:creationId xmlns:p14="http://schemas.microsoft.com/office/powerpoint/2010/main" val="30188938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55501-3DB7-419E-BAF3-C8DEFA8D0DA2}"/>
              </a:ext>
            </a:extLst>
          </p:cNvPr>
          <p:cNvGraphicFramePr>
            <a:graphicFrameLocks noChangeAspect="1"/>
          </p:cNvGraphicFramePr>
          <p:nvPr>
            <p:custDataLst>
              <p:tags r:id="rId2"/>
            </p:custDataLst>
            <p:extLst>
              <p:ext uri="{D42A27DB-BD31-4B8C-83A1-F6EECF244321}">
                <p14:modId xmlns:p14="http://schemas.microsoft.com/office/powerpoint/2010/main" val="309503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9"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D1855501-3DB7-419E-BAF3-C8DEFA8D0D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9" name="Freeform: Shape 288">
            <a:extLst>
              <a:ext uri="{FF2B5EF4-FFF2-40B4-BE49-F238E27FC236}">
                <a16:creationId xmlns:a16="http://schemas.microsoft.com/office/drawing/2014/main" id="{E4D5299E-341F-4AC4-B404-A1683E7EA3D8}"/>
              </a:ext>
            </a:extLst>
          </p:cNvPr>
          <p:cNvSpPr/>
          <p:nvPr/>
        </p:nvSpPr>
        <p:spPr>
          <a:xfrm>
            <a:off x="6428328" y="0"/>
            <a:ext cx="5763673" cy="6858000"/>
          </a:xfrm>
          <a:custGeom>
            <a:avLst/>
            <a:gdLst>
              <a:gd name="connsiteX0" fmla="*/ 4884170 w 5763673"/>
              <a:gd name="connsiteY0" fmla="*/ 0 h 6858000"/>
              <a:gd name="connsiteX1" fmla="*/ 5763673 w 5763673"/>
              <a:gd name="connsiteY1" fmla="*/ 0 h 6858000"/>
              <a:gd name="connsiteX2" fmla="*/ 5763673 w 5763673"/>
              <a:gd name="connsiteY2" fmla="*/ 6858000 h 6858000"/>
              <a:gd name="connsiteX3" fmla="*/ 5359147 w 5763673"/>
              <a:gd name="connsiteY3" fmla="*/ 6858000 h 6858000"/>
              <a:gd name="connsiteX4" fmla="*/ 4884170 w 5763673"/>
              <a:gd name="connsiteY4" fmla="*/ 6858000 h 6858000"/>
              <a:gd name="connsiteX5" fmla="*/ 0 w 5763673"/>
              <a:gd name="connsiteY5" fmla="*/ 6858000 h 6858000"/>
              <a:gd name="connsiteX6" fmla="*/ 113257 w 5763673"/>
              <a:gd name="connsiteY6" fmla="*/ 6768223 h 6858000"/>
              <a:gd name="connsiteX7" fmla="*/ 806198 w 5763673"/>
              <a:gd name="connsiteY7" fmla="*/ 5905501 h 6858000"/>
              <a:gd name="connsiteX8" fmla="*/ 272798 w 5763673"/>
              <a:gd name="connsiteY8" fmla="*/ 3009901 h 6858000"/>
              <a:gd name="connsiteX9" fmla="*/ 2292098 w 5763673"/>
              <a:gd name="connsiteY9" fmla="*/ 1 h 6858000"/>
              <a:gd name="connsiteX10" fmla="*/ 4884170 w 5763673"/>
              <a:gd name="connsiteY10"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3673" h="6858000">
                <a:moveTo>
                  <a:pt x="4884170" y="0"/>
                </a:moveTo>
                <a:lnTo>
                  <a:pt x="5763673" y="0"/>
                </a:lnTo>
                <a:lnTo>
                  <a:pt x="5763673" y="6858000"/>
                </a:lnTo>
                <a:lnTo>
                  <a:pt x="5359147" y="6858000"/>
                </a:lnTo>
                <a:lnTo>
                  <a:pt x="4884170" y="6858000"/>
                </a:lnTo>
                <a:lnTo>
                  <a:pt x="0" y="6858000"/>
                </a:lnTo>
                <a:lnTo>
                  <a:pt x="113257" y="6768223"/>
                </a:lnTo>
                <a:cubicBezTo>
                  <a:pt x="424988" y="6521898"/>
                  <a:pt x="781195" y="6231931"/>
                  <a:pt x="806198" y="5905501"/>
                </a:cubicBezTo>
                <a:cubicBezTo>
                  <a:pt x="863348" y="5159376"/>
                  <a:pt x="25148" y="3994151"/>
                  <a:pt x="272798" y="3009901"/>
                </a:cubicBezTo>
                <a:cubicBezTo>
                  <a:pt x="520448" y="2025651"/>
                  <a:pt x="1844423" y="609601"/>
                  <a:pt x="2292098" y="1"/>
                </a:cubicBezTo>
                <a:lnTo>
                  <a:pt x="4884170" y="1"/>
                </a:lnTo>
                <a:close/>
              </a:path>
            </a:pathLst>
          </a:custGeom>
          <a:gradFill>
            <a:gsLst>
              <a:gs pos="100000">
                <a:srgbClr val="006496"/>
              </a:gs>
              <a:gs pos="49000">
                <a:srgbClr val="0077B5"/>
              </a:gs>
            </a:gsLst>
            <a:lin ang="5400000" scaled="1"/>
          </a:gradFill>
          <a:ln>
            <a:noFill/>
          </a:ln>
          <a:effectLst>
            <a:innerShdw blurRad="63500" dist="50800" dir="108000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extBox 7">
            <a:extLst>
              <a:ext uri="{FF2B5EF4-FFF2-40B4-BE49-F238E27FC236}">
                <a16:creationId xmlns:a16="http://schemas.microsoft.com/office/drawing/2014/main" id="{0F588944-14FA-4D6E-95DB-89D3F0072D5F}"/>
              </a:ext>
            </a:extLst>
          </p:cNvPr>
          <p:cNvSpPr txBox="1"/>
          <p:nvPr/>
        </p:nvSpPr>
        <p:spPr>
          <a:xfrm>
            <a:off x="618786" y="527627"/>
            <a:ext cx="6298240" cy="1107996"/>
          </a:xfrm>
          <a:prstGeom prst="rect">
            <a:avLst/>
          </a:prstGeom>
          <a:noFill/>
        </p:spPr>
        <p:txBody>
          <a:bodyPr wrap="square" lIns="0" tIns="0" rIns="0" bIns="0" rtlCol="0" anchor="t" anchorCtr="0">
            <a:spAutoFit/>
          </a:bodyPr>
          <a:lstStyle/>
          <a:p>
            <a:r>
              <a:rPr lang="en-US" sz="3600" b="1" dirty="0">
                <a:solidFill>
                  <a:srgbClr val="FB5252"/>
                </a:solidFill>
                <a:latin typeface="Arial Black" panose="020B0A04020102020204" pitchFamily="34" charset="0"/>
              </a:rPr>
              <a:t>BENEFITS OF LEARNING A FOREIGN LANGUAGE</a:t>
            </a:r>
            <a:endParaRPr lang="en-US" sz="2000" b="1" dirty="0">
              <a:solidFill>
                <a:srgbClr val="FB5252"/>
              </a:solidFill>
              <a:latin typeface="Arial Black" panose="020B0A04020102020204" pitchFamily="34" charset="0"/>
            </a:endParaRPr>
          </a:p>
        </p:txBody>
      </p:sp>
      <p:grpSp>
        <p:nvGrpSpPr>
          <p:cNvPr id="3" name="Group 5">
            <a:extLst>
              <a:ext uri="{FF2B5EF4-FFF2-40B4-BE49-F238E27FC236}">
                <a16:creationId xmlns:a16="http://schemas.microsoft.com/office/drawing/2014/main" id="{76D1D3DB-0532-4B6A-A9AA-EAE96090F7AA}"/>
              </a:ext>
            </a:extLst>
          </p:cNvPr>
          <p:cNvGrpSpPr>
            <a:grpSpLocks noChangeAspect="1"/>
          </p:cNvGrpSpPr>
          <p:nvPr/>
        </p:nvGrpSpPr>
        <p:grpSpPr bwMode="auto">
          <a:xfrm>
            <a:off x="7467650" y="1437369"/>
            <a:ext cx="4270400" cy="4320948"/>
            <a:chOff x="131" y="-251"/>
            <a:chExt cx="4308" cy="4359"/>
          </a:xfrm>
        </p:grpSpPr>
        <p:grpSp>
          <p:nvGrpSpPr>
            <p:cNvPr id="14" name="Group 206">
              <a:extLst>
                <a:ext uri="{FF2B5EF4-FFF2-40B4-BE49-F238E27FC236}">
                  <a16:creationId xmlns:a16="http://schemas.microsoft.com/office/drawing/2014/main" id="{00F59794-65CE-4564-B1E5-F23F5E6AAA5F}"/>
                </a:ext>
              </a:extLst>
            </p:cNvPr>
            <p:cNvGrpSpPr>
              <a:grpSpLocks/>
            </p:cNvGrpSpPr>
            <p:nvPr/>
          </p:nvGrpSpPr>
          <p:grpSpPr bwMode="auto">
            <a:xfrm>
              <a:off x="288" y="-251"/>
              <a:ext cx="4028" cy="4359"/>
              <a:chOff x="288" y="-251"/>
              <a:chExt cx="4028" cy="4359"/>
            </a:xfrm>
          </p:grpSpPr>
          <p:sp>
            <p:nvSpPr>
              <p:cNvPr id="42" name="Freeform 6">
                <a:extLst>
                  <a:ext uri="{FF2B5EF4-FFF2-40B4-BE49-F238E27FC236}">
                    <a16:creationId xmlns:a16="http://schemas.microsoft.com/office/drawing/2014/main" id="{244394AD-4B67-4EA3-9C6A-B174BF78BD58}"/>
                  </a:ext>
                </a:extLst>
              </p:cNvPr>
              <p:cNvSpPr>
                <a:spLocks noEditPoints="1"/>
              </p:cNvSpPr>
              <p:nvPr/>
            </p:nvSpPr>
            <p:spPr bwMode="auto">
              <a:xfrm>
                <a:off x="2974" y="2154"/>
                <a:ext cx="1220" cy="1104"/>
              </a:xfrm>
              <a:custGeom>
                <a:avLst/>
                <a:gdLst>
                  <a:gd name="T0" fmla="*/ 829 w 1220"/>
                  <a:gd name="T1" fmla="*/ 888 h 1104"/>
                  <a:gd name="T2" fmla="*/ 385 w 1220"/>
                  <a:gd name="T3" fmla="*/ 888 h 1104"/>
                  <a:gd name="T4" fmla="*/ 301 w 1220"/>
                  <a:gd name="T5" fmla="*/ 1104 h 1104"/>
                  <a:gd name="T6" fmla="*/ 0 w 1220"/>
                  <a:gd name="T7" fmla="*/ 1104 h 1104"/>
                  <a:gd name="T8" fmla="*/ 463 w 1220"/>
                  <a:gd name="T9" fmla="*/ 0 h 1104"/>
                  <a:gd name="T10" fmla="*/ 755 w 1220"/>
                  <a:gd name="T11" fmla="*/ 0 h 1104"/>
                  <a:gd name="T12" fmla="*/ 1220 w 1220"/>
                  <a:gd name="T13" fmla="*/ 1104 h 1104"/>
                  <a:gd name="T14" fmla="*/ 912 w 1220"/>
                  <a:gd name="T15" fmla="*/ 1104 h 1104"/>
                  <a:gd name="T16" fmla="*/ 829 w 1220"/>
                  <a:gd name="T17" fmla="*/ 888 h 1104"/>
                  <a:gd name="T18" fmla="*/ 741 w 1220"/>
                  <a:gd name="T19" fmla="*/ 658 h 1104"/>
                  <a:gd name="T20" fmla="*/ 605 w 1220"/>
                  <a:gd name="T21" fmla="*/ 307 h 1104"/>
                  <a:gd name="T22" fmla="*/ 472 w 1220"/>
                  <a:gd name="T23" fmla="*/ 658 h 1104"/>
                  <a:gd name="T24" fmla="*/ 741 w 1220"/>
                  <a:gd name="T25" fmla="*/ 658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104">
                    <a:moveTo>
                      <a:pt x="829" y="888"/>
                    </a:moveTo>
                    <a:lnTo>
                      <a:pt x="385" y="888"/>
                    </a:lnTo>
                    <a:lnTo>
                      <a:pt x="301" y="1104"/>
                    </a:lnTo>
                    <a:lnTo>
                      <a:pt x="0" y="1104"/>
                    </a:lnTo>
                    <a:lnTo>
                      <a:pt x="463" y="0"/>
                    </a:lnTo>
                    <a:lnTo>
                      <a:pt x="755" y="0"/>
                    </a:lnTo>
                    <a:lnTo>
                      <a:pt x="1220" y="1104"/>
                    </a:lnTo>
                    <a:lnTo>
                      <a:pt x="912" y="1104"/>
                    </a:lnTo>
                    <a:lnTo>
                      <a:pt x="829" y="888"/>
                    </a:lnTo>
                    <a:close/>
                    <a:moveTo>
                      <a:pt x="741" y="658"/>
                    </a:moveTo>
                    <a:lnTo>
                      <a:pt x="605" y="307"/>
                    </a:lnTo>
                    <a:lnTo>
                      <a:pt x="472" y="658"/>
                    </a:lnTo>
                    <a:lnTo>
                      <a:pt x="741" y="65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7">
                <a:extLst>
                  <a:ext uri="{FF2B5EF4-FFF2-40B4-BE49-F238E27FC236}">
                    <a16:creationId xmlns:a16="http://schemas.microsoft.com/office/drawing/2014/main" id="{CE2B75F3-7538-4CC6-8D25-190E9C4246CF}"/>
                  </a:ext>
                </a:extLst>
              </p:cNvPr>
              <p:cNvSpPr>
                <a:spLocks noEditPoints="1"/>
              </p:cNvSpPr>
              <p:nvPr/>
            </p:nvSpPr>
            <p:spPr bwMode="auto">
              <a:xfrm>
                <a:off x="2974" y="2154"/>
                <a:ext cx="1220" cy="1104"/>
              </a:xfrm>
              <a:custGeom>
                <a:avLst/>
                <a:gdLst>
                  <a:gd name="T0" fmla="*/ 829 w 1220"/>
                  <a:gd name="T1" fmla="*/ 888 h 1104"/>
                  <a:gd name="T2" fmla="*/ 385 w 1220"/>
                  <a:gd name="T3" fmla="*/ 888 h 1104"/>
                  <a:gd name="T4" fmla="*/ 301 w 1220"/>
                  <a:gd name="T5" fmla="*/ 1104 h 1104"/>
                  <a:gd name="T6" fmla="*/ 0 w 1220"/>
                  <a:gd name="T7" fmla="*/ 1104 h 1104"/>
                  <a:gd name="T8" fmla="*/ 463 w 1220"/>
                  <a:gd name="T9" fmla="*/ 0 h 1104"/>
                  <a:gd name="T10" fmla="*/ 755 w 1220"/>
                  <a:gd name="T11" fmla="*/ 0 h 1104"/>
                  <a:gd name="T12" fmla="*/ 1220 w 1220"/>
                  <a:gd name="T13" fmla="*/ 1104 h 1104"/>
                  <a:gd name="T14" fmla="*/ 912 w 1220"/>
                  <a:gd name="T15" fmla="*/ 1104 h 1104"/>
                  <a:gd name="T16" fmla="*/ 829 w 1220"/>
                  <a:gd name="T17" fmla="*/ 888 h 1104"/>
                  <a:gd name="T18" fmla="*/ 741 w 1220"/>
                  <a:gd name="T19" fmla="*/ 658 h 1104"/>
                  <a:gd name="T20" fmla="*/ 605 w 1220"/>
                  <a:gd name="T21" fmla="*/ 307 h 1104"/>
                  <a:gd name="T22" fmla="*/ 472 w 1220"/>
                  <a:gd name="T23" fmla="*/ 658 h 1104"/>
                  <a:gd name="T24" fmla="*/ 741 w 1220"/>
                  <a:gd name="T25" fmla="*/ 658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0" h="1104">
                    <a:moveTo>
                      <a:pt x="829" y="888"/>
                    </a:moveTo>
                    <a:lnTo>
                      <a:pt x="385" y="888"/>
                    </a:lnTo>
                    <a:lnTo>
                      <a:pt x="301" y="1104"/>
                    </a:lnTo>
                    <a:lnTo>
                      <a:pt x="0" y="1104"/>
                    </a:lnTo>
                    <a:lnTo>
                      <a:pt x="463" y="0"/>
                    </a:lnTo>
                    <a:lnTo>
                      <a:pt x="755" y="0"/>
                    </a:lnTo>
                    <a:lnTo>
                      <a:pt x="1220" y="1104"/>
                    </a:lnTo>
                    <a:lnTo>
                      <a:pt x="912" y="1104"/>
                    </a:lnTo>
                    <a:lnTo>
                      <a:pt x="829" y="888"/>
                    </a:lnTo>
                    <a:moveTo>
                      <a:pt x="741" y="658"/>
                    </a:moveTo>
                    <a:lnTo>
                      <a:pt x="605" y="307"/>
                    </a:lnTo>
                    <a:lnTo>
                      <a:pt x="472" y="658"/>
                    </a:lnTo>
                    <a:lnTo>
                      <a:pt x="741" y="6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6B22B11B-972D-4C00-87AE-25FB00BFEEBB}"/>
                  </a:ext>
                </a:extLst>
              </p:cNvPr>
              <p:cNvSpPr>
                <a:spLocks noEditPoints="1"/>
              </p:cNvSpPr>
              <p:nvPr/>
            </p:nvSpPr>
            <p:spPr bwMode="auto">
              <a:xfrm>
                <a:off x="877" y="1169"/>
                <a:ext cx="869" cy="916"/>
              </a:xfrm>
              <a:custGeom>
                <a:avLst/>
                <a:gdLst>
                  <a:gd name="T0" fmla="*/ 366 w 366"/>
                  <a:gd name="T1" fmla="*/ 280 h 386"/>
                  <a:gd name="T2" fmla="*/ 208 w 366"/>
                  <a:gd name="T3" fmla="*/ 386 h 386"/>
                  <a:gd name="T4" fmla="*/ 0 w 366"/>
                  <a:gd name="T5" fmla="*/ 386 h 386"/>
                  <a:gd name="T6" fmla="*/ 0 w 366"/>
                  <a:gd name="T7" fmla="*/ 0 h 386"/>
                  <a:gd name="T8" fmla="*/ 197 w 366"/>
                  <a:gd name="T9" fmla="*/ 0 h 386"/>
                  <a:gd name="T10" fmla="*/ 348 w 366"/>
                  <a:gd name="T11" fmla="*/ 101 h 386"/>
                  <a:gd name="T12" fmla="*/ 296 w 366"/>
                  <a:gd name="T13" fmla="*/ 185 h 386"/>
                  <a:gd name="T14" fmla="*/ 366 w 366"/>
                  <a:gd name="T15" fmla="*/ 280 h 386"/>
                  <a:gd name="T16" fmla="*/ 108 w 366"/>
                  <a:gd name="T17" fmla="*/ 79 h 386"/>
                  <a:gd name="T18" fmla="*/ 108 w 366"/>
                  <a:gd name="T19" fmla="*/ 153 h 386"/>
                  <a:gd name="T20" fmla="*/ 183 w 366"/>
                  <a:gd name="T21" fmla="*/ 153 h 386"/>
                  <a:gd name="T22" fmla="*/ 238 w 366"/>
                  <a:gd name="T23" fmla="*/ 116 h 386"/>
                  <a:gd name="T24" fmla="*/ 183 w 366"/>
                  <a:gd name="T25" fmla="*/ 79 h 386"/>
                  <a:gd name="T26" fmla="*/ 108 w 366"/>
                  <a:gd name="T27" fmla="*/ 79 h 386"/>
                  <a:gd name="T28" fmla="*/ 256 w 366"/>
                  <a:gd name="T29" fmla="*/ 268 h 386"/>
                  <a:gd name="T30" fmla="*/ 199 w 366"/>
                  <a:gd name="T31" fmla="*/ 229 h 386"/>
                  <a:gd name="T32" fmla="*/ 108 w 366"/>
                  <a:gd name="T33" fmla="*/ 229 h 386"/>
                  <a:gd name="T34" fmla="*/ 108 w 366"/>
                  <a:gd name="T35" fmla="*/ 307 h 386"/>
                  <a:gd name="T36" fmla="*/ 199 w 366"/>
                  <a:gd name="T37" fmla="*/ 307 h 386"/>
                  <a:gd name="T38" fmla="*/ 256 w 366"/>
                  <a:gd name="T39" fmla="*/ 26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6" h="386">
                    <a:moveTo>
                      <a:pt x="366" y="280"/>
                    </a:moveTo>
                    <a:cubicBezTo>
                      <a:pt x="366" y="347"/>
                      <a:pt x="311" y="386"/>
                      <a:pt x="208" y="386"/>
                    </a:cubicBezTo>
                    <a:cubicBezTo>
                      <a:pt x="0" y="386"/>
                      <a:pt x="0" y="386"/>
                      <a:pt x="0" y="386"/>
                    </a:cubicBezTo>
                    <a:cubicBezTo>
                      <a:pt x="0" y="0"/>
                      <a:pt x="0" y="0"/>
                      <a:pt x="0" y="0"/>
                    </a:cubicBezTo>
                    <a:cubicBezTo>
                      <a:pt x="197" y="0"/>
                      <a:pt x="197" y="0"/>
                      <a:pt x="197" y="0"/>
                    </a:cubicBezTo>
                    <a:cubicBezTo>
                      <a:pt x="298" y="0"/>
                      <a:pt x="348" y="42"/>
                      <a:pt x="348" y="101"/>
                    </a:cubicBezTo>
                    <a:cubicBezTo>
                      <a:pt x="348" y="138"/>
                      <a:pt x="329" y="168"/>
                      <a:pt x="296" y="185"/>
                    </a:cubicBezTo>
                    <a:cubicBezTo>
                      <a:pt x="340" y="200"/>
                      <a:pt x="366" y="233"/>
                      <a:pt x="366" y="280"/>
                    </a:cubicBezTo>
                    <a:close/>
                    <a:moveTo>
                      <a:pt x="108" y="79"/>
                    </a:moveTo>
                    <a:cubicBezTo>
                      <a:pt x="108" y="153"/>
                      <a:pt x="108" y="153"/>
                      <a:pt x="108" y="153"/>
                    </a:cubicBezTo>
                    <a:cubicBezTo>
                      <a:pt x="183" y="153"/>
                      <a:pt x="183" y="153"/>
                      <a:pt x="183" y="153"/>
                    </a:cubicBezTo>
                    <a:cubicBezTo>
                      <a:pt x="219" y="153"/>
                      <a:pt x="238" y="141"/>
                      <a:pt x="238" y="116"/>
                    </a:cubicBezTo>
                    <a:cubicBezTo>
                      <a:pt x="238" y="92"/>
                      <a:pt x="219" y="79"/>
                      <a:pt x="183" y="79"/>
                    </a:cubicBezTo>
                    <a:lnTo>
                      <a:pt x="108" y="79"/>
                    </a:lnTo>
                    <a:close/>
                    <a:moveTo>
                      <a:pt x="256" y="268"/>
                    </a:moveTo>
                    <a:cubicBezTo>
                      <a:pt x="256" y="242"/>
                      <a:pt x="237" y="229"/>
                      <a:pt x="199" y="229"/>
                    </a:cubicBezTo>
                    <a:cubicBezTo>
                      <a:pt x="108" y="229"/>
                      <a:pt x="108" y="229"/>
                      <a:pt x="108" y="229"/>
                    </a:cubicBezTo>
                    <a:cubicBezTo>
                      <a:pt x="108" y="307"/>
                      <a:pt x="108" y="307"/>
                      <a:pt x="108" y="307"/>
                    </a:cubicBezTo>
                    <a:cubicBezTo>
                      <a:pt x="199" y="307"/>
                      <a:pt x="199" y="307"/>
                      <a:pt x="199" y="307"/>
                    </a:cubicBezTo>
                    <a:cubicBezTo>
                      <a:pt x="237" y="307"/>
                      <a:pt x="256" y="294"/>
                      <a:pt x="256" y="268"/>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
                <a:extLst>
                  <a:ext uri="{FF2B5EF4-FFF2-40B4-BE49-F238E27FC236}">
                    <a16:creationId xmlns:a16="http://schemas.microsoft.com/office/drawing/2014/main" id="{249C3864-2321-4935-A244-FC1817D908C1}"/>
                  </a:ext>
                </a:extLst>
              </p:cNvPr>
              <p:cNvSpPr>
                <a:spLocks/>
              </p:cNvSpPr>
              <p:nvPr/>
            </p:nvSpPr>
            <p:spPr bwMode="auto">
              <a:xfrm>
                <a:off x="288" y="2226"/>
                <a:ext cx="727" cy="1742"/>
              </a:xfrm>
              <a:custGeom>
                <a:avLst/>
                <a:gdLst>
                  <a:gd name="T0" fmla="*/ 77 w 306"/>
                  <a:gd name="T1" fmla="*/ 734 h 734"/>
                  <a:gd name="T2" fmla="*/ 0 w 306"/>
                  <a:gd name="T3" fmla="*/ 254 h 734"/>
                  <a:gd name="T4" fmla="*/ 86 w 306"/>
                  <a:gd name="T5" fmla="*/ 96 h 734"/>
                  <a:gd name="T6" fmla="*/ 53 w 306"/>
                  <a:gd name="T7" fmla="*/ 0 h 734"/>
                  <a:gd name="T8" fmla="*/ 238 w 306"/>
                  <a:gd name="T9" fmla="*/ 0 h 734"/>
                  <a:gd name="T10" fmla="*/ 209 w 306"/>
                  <a:gd name="T11" fmla="*/ 95 h 734"/>
                  <a:gd name="T12" fmla="*/ 293 w 306"/>
                  <a:gd name="T13" fmla="*/ 265 h 734"/>
                  <a:gd name="T14" fmla="*/ 227 w 306"/>
                  <a:gd name="T15" fmla="*/ 734 h 734"/>
                  <a:gd name="T16" fmla="*/ 77 w 306"/>
                  <a:gd name="T17" fmla="*/ 734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734">
                    <a:moveTo>
                      <a:pt x="77" y="734"/>
                    </a:moveTo>
                    <a:cubicBezTo>
                      <a:pt x="77" y="734"/>
                      <a:pt x="0" y="336"/>
                      <a:pt x="0" y="254"/>
                    </a:cubicBezTo>
                    <a:cubicBezTo>
                      <a:pt x="0" y="141"/>
                      <a:pt x="86" y="96"/>
                      <a:pt x="86" y="96"/>
                    </a:cubicBezTo>
                    <a:cubicBezTo>
                      <a:pt x="53" y="0"/>
                      <a:pt x="53" y="0"/>
                      <a:pt x="53" y="0"/>
                    </a:cubicBezTo>
                    <a:cubicBezTo>
                      <a:pt x="238" y="0"/>
                      <a:pt x="238" y="0"/>
                      <a:pt x="238" y="0"/>
                    </a:cubicBezTo>
                    <a:cubicBezTo>
                      <a:pt x="209" y="95"/>
                      <a:pt x="209" y="95"/>
                      <a:pt x="209" y="95"/>
                    </a:cubicBezTo>
                    <a:cubicBezTo>
                      <a:pt x="209" y="95"/>
                      <a:pt x="306" y="147"/>
                      <a:pt x="293" y="265"/>
                    </a:cubicBezTo>
                    <a:cubicBezTo>
                      <a:pt x="267" y="484"/>
                      <a:pt x="227" y="734"/>
                      <a:pt x="227" y="734"/>
                    </a:cubicBezTo>
                    <a:lnTo>
                      <a:pt x="77" y="734"/>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a:extLst>
                  <a:ext uri="{FF2B5EF4-FFF2-40B4-BE49-F238E27FC236}">
                    <a16:creationId xmlns:a16="http://schemas.microsoft.com/office/drawing/2014/main" id="{5E0184CB-D2BA-49E2-B930-24BE4EFAB05F}"/>
                  </a:ext>
                </a:extLst>
              </p:cNvPr>
              <p:cNvSpPr>
                <a:spLocks/>
              </p:cNvSpPr>
              <p:nvPr/>
            </p:nvSpPr>
            <p:spPr bwMode="auto">
              <a:xfrm>
                <a:off x="319" y="2558"/>
                <a:ext cx="572" cy="539"/>
              </a:xfrm>
              <a:custGeom>
                <a:avLst/>
                <a:gdLst>
                  <a:gd name="T0" fmla="*/ 241 w 241"/>
                  <a:gd name="T1" fmla="*/ 1 h 227"/>
                  <a:gd name="T2" fmla="*/ 239 w 241"/>
                  <a:gd name="T3" fmla="*/ 1 h 227"/>
                  <a:gd name="T4" fmla="*/ 233 w 241"/>
                  <a:gd name="T5" fmla="*/ 1 h 227"/>
                  <a:gd name="T6" fmla="*/ 210 w 241"/>
                  <a:gd name="T7" fmla="*/ 6 h 227"/>
                  <a:gd name="T8" fmla="*/ 181 w 241"/>
                  <a:gd name="T9" fmla="*/ 28 h 227"/>
                  <a:gd name="T10" fmla="*/ 168 w 241"/>
                  <a:gd name="T11" fmla="*/ 46 h 227"/>
                  <a:gd name="T12" fmla="*/ 156 w 241"/>
                  <a:gd name="T13" fmla="*/ 69 h 227"/>
                  <a:gd name="T14" fmla="*/ 151 w 241"/>
                  <a:gd name="T15" fmla="*/ 97 h 227"/>
                  <a:gd name="T16" fmla="*/ 162 w 241"/>
                  <a:gd name="T17" fmla="*/ 124 h 227"/>
                  <a:gd name="T18" fmla="*/ 175 w 241"/>
                  <a:gd name="T19" fmla="*/ 132 h 227"/>
                  <a:gd name="T20" fmla="*/ 191 w 241"/>
                  <a:gd name="T21" fmla="*/ 132 h 227"/>
                  <a:gd name="T22" fmla="*/ 213 w 241"/>
                  <a:gd name="T23" fmla="*/ 108 h 227"/>
                  <a:gd name="T24" fmla="*/ 205 w 241"/>
                  <a:gd name="T25" fmla="*/ 74 h 227"/>
                  <a:gd name="T26" fmla="*/ 173 w 241"/>
                  <a:gd name="T27" fmla="*/ 56 h 227"/>
                  <a:gd name="T28" fmla="*/ 135 w 241"/>
                  <a:gd name="T29" fmla="*/ 61 h 227"/>
                  <a:gd name="T30" fmla="*/ 101 w 241"/>
                  <a:gd name="T31" fmla="*/ 82 h 227"/>
                  <a:gd name="T32" fmla="*/ 60 w 241"/>
                  <a:gd name="T33" fmla="*/ 149 h 227"/>
                  <a:gd name="T34" fmla="*/ 61 w 241"/>
                  <a:gd name="T35" fmla="*/ 186 h 227"/>
                  <a:gd name="T36" fmla="*/ 79 w 241"/>
                  <a:gd name="T37" fmla="*/ 217 h 227"/>
                  <a:gd name="T38" fmla="*/ 95 w 241"/>
                  <a:gd name="T39" fmla="*/ 224 h 227"/>
                  <a:gd name="T40" fmla="*/ 110 w 241"/>
                  <a:gd name="T41" fmla="*/ 221 h 227"/>
                  <a:gd name="T42" fmla="*/ 125 w 241"/>
                  <a:gd name="T43" fmla="*/ 193 h 227"/>
                  <a:gd name="T44" fmla="*/ 122 w 241"/>
                  <a:gd name="T45" fmla="*/ 179 h 227"/>
                  <a:gd name="T46" fmla="*/ 113 w 241"/>
                  <a:gd name="T47" fmla="*/ 167 h 227"/>
                  <a:gd name="T48" fmla="*/ 88 w 241"/>
                  <a:gd name="T49" fmla="*/ 155 h 227"/>
                  <a:gd name="T50" fmla="*/ 41 w 241"/>
                  <a:gd name="T51" fmla="*/ 163 h 227"/>
                  <a:gd name="T52" fmla="*/ 13 w 241"/>
                  <a:gd name="T53" fmla="*/ 187 h 227"/>
                  <a:gd name="T54" fmla="*/ 2 w 241"/>
                  <a:gd name="T55" fmla="*/ 207 h 227"/>
                  <a:gd name="T56" fmla="*/ 0 w 241"/>
                  <a:gd name="T57" fmla="*/ 215 h 227"/>
                  <a:gd name="T58" fmla="*/ 2 w 241"/>
                  <a:gd name="T59" fmla="*/ 207 h 227"/>
                  <a:gd name="T60" fmla="*/ 13 w 241"/>
                  <a:gd name="T61" fmla="*/ 187 h 227"/>
                  <a:gd name="T62" fmla="*/ 40 w 241"/>
                  <a:gd name="T63" fmla="*/ 162 h 227"/>
                  <a:gd name="T64" fmla="*/ 88 w 241"/>
                  <a:gd name="T65" fmla="*/ 153 h 227"/>
                  <a:gd name="T66" fmla="*/ 114 w 241"/>
                  <a:gd name="T67" fmla="*/ 165 h 227"/>
                  <a:gd name="T68" fmla="*/ 123 w 241"/>
                  <a:gd name="T69" fmla="*/ 178 h 227"/>
                  <a:gd name="T70" fmla="*/ 127 w 241"/>
                  <a:gd name="T71" fmla="*/ 193 h 227"/>
                  <a:gd name="T72" fmla="*/ 112 w 241"/>
                  <a:gd name="T73" fmla="*/ 223 h 227"/>
                  <a:gd name="T74" fmla="*/ 94 w 241"/>
                  <a:gd name="T75" fmla="*/ 226 h 227"/>
                  <a:gd name="T76" fmla="*/ 78 w 241"/>
                  <a:gd name="T77" fmla="*/ 219 h 227"/>
                  <a:gd name="T78" fmla="*/ 58 w 241"/>
                  <a:gd name="T79" fmla="*/ 187 h 227"/>
                  <a:gd name="T80" fmla="*/ 58 w 241"/>
                  <a:gd name="T81" fmla="*/ 148 h 227"/>
                  <a:gd name="T82" fmla="*/ 99 w 241"/>
                  <a:gd name="T83" fmla="*/ 80 h 227"/>
                  <a:gd name="T84" fmla="*/ 134 w 241"/>
                  <a:gd name="T85" fmla="*/ 58 h 227"/>
                  <a:gd name="T86" fmla="*/ 174 w 241"/>
                  <a:gd name="T87" fmla="*/ 53 h 227"/>
                  <a:gd name="T88" fmla="*/ 207 w 241"/>
                  <a:gd name="T89" fmla="*/ 73 h 227"/>
                  <a:gd name="T90" fmla="*/ 216 w 241"/>
                  <a:gd name="T91" fmla="*/ 90 h 227"/>
                  <a:gd name="T92" fmla="*/ 215 w 241"/>
                  <a:gd name="T93" fmla="*/ 108 h 227"/>
                  <a:gd name="T94" fmla="*/ 192 w 241"/>
                  <a:gd name="T95" fmla="*/ 134 h 227"/>
                  <a:gd name="T96" fmla="*/ 174 w 241"/>
                  <a:gd name="T97" fmla="*/ 134 h 227"/>
                  <a:gd name="T98" fmla="*/ 160 w 241"/>
                  <a:gd name="T99" fmla="*/ 125 h 227"/>
                  <a:gd name="T100" fmla="*/ 149 w 241"/>
                  <a:gd name="T101" fmla="*/ 97 h 227"/>
                  <a:gd name="T102" fmla="*/ 155 w 241"/>
                  <a:gd name="T103" fmla="*/ 68 h 227"/>
                  <a:gd name="T104" fmla="*/ 167 w 241"/>
                  <a:gd name="T105" fmla="*/ 45 h 227"/>
                  <a:gd name="T106" fmla="*/ 180 w 241"/>
                  <a:gd name="T107" fmla="*/ 27 h 227"/>
                  <a:gd name="T108" fmla="*/ 210 w 241"/>
                  <a:gd name="T109" fmla="*/ 5 h 227"/>
                  <a:gd name="T110" fmla="*/ 233 w 241"/>
                  <a:gd name="T111" fmla="*/ 0 h 227"/>
                  <a:gd name="T112" fmla="*/ 241 w 241"/>
                  <a:gd name="T113" fmla="*/ 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1" h="227">
                    <a:moveTo>
                      <a:pt x="241" y="1"/>
                    </a:moveTo>
                    <a:cubicBezTo>
                      <a:pt x="241" y="1"/>
                      <a:pt x="240" y="1"/>
                      <a:pt x="239" y="1"/>
                    </a:cubicBezTo>
                    <a:cubicBezTo>
                      <a:pt x="237" y="1"/>
                      <a:pt x="235" y="1"/>
                      <a:pt x="233" y="1"/>
                    </a:cubicBezTo>
                    <a:cubicBezTo>
                      <a:pt x="227" y="1"/>
                      <a:pt x="219" y="2"/>
                      <a:pt x="210" y="6"/>
                    </a:cubicBezTo>
                    <a:cubicBezTo>
                      <a:pt x="201" y="9"/>
                      <a:pt x="191" y="17"/>
                      <a:pt x="181" y="28"/>
                    </a:cubicBezTo>
                    <a:cubicBezTo>
                      <a:pt x="177" y="33"/>
                      <a:pt x="172" y="39"/>
                      <a:pt x="168" y="46"/>
                    </a:cubicBezTo>
                    <a:cubicBezTo>
                      <a:pt x="164" y="53"/>
                      <a:pt x="160" y="61"/>
                      <a:pt x="156" y="69"/>
                    </a:cubicBezTo>
                    <a:cubicBezTo>
                      <a:pt x="153" y="78"/>
                      <a:pt x="151" y="87"/>
                      <a:pt x="151" y="97"/>
                    </a:cubicBezTo>
                    <a:cubicBezTo>
                      <a:pt x="151" y="106"/>
                      <a:pt x="155" y="116"/>
                      <a:pt x="162" y="124"/>
                    </a:cubicBezTo>
                    <a:cubicBezTo>
                      <a:pt x="165" y="128"/>
                      <a:pt x="170" y="131"/>
                      <a:pt x="175" y="132"/>
                    </a:cubicBezTo>
                    <a:cubicBezTo>
                      <a:pt x="180" y="134"/>
                      <a:pt x="186" y="133"/>
                      <a:pt x="191" y="132"/>
                    </a:cubicBezTo>
                    <a:cubicBezTo>
                      <a:pt x="201" y="128"/>
                      <a:pt x="210" y="119"/>
                      <a:pt x="213" y="108"/>
                    </a:cubicBezTo>
                    <a:cubicBezTo>
                      <a:pt x="217" y="97"/>
                      <a:pt x="213" y="84"/>
                      <a:pt x="205" y="74"/>
                    </a:cubicBezTo>
                    <a:cubicBezTo>
                      <a:pt x="198" y="65"/>
                      <a:pt x="186" y="58"/>
                      <a:pt x="173" y="56"/>
                    </a:cubicBezTo>
                    <a:cubicBezTo>
                      <a:pt x="161" y="54"/>
                      <a:pt x="148" y="56"/>
                      <a:pt x="135" y="61"/>
                    </a:cubicBezTo>
                    <a:cubicBezTo>
                      <a:pt x="123" y="65"/>
                      <a:pt x="111" y="73"/>
                      <a:pt x="101" y="82"/>
                    </a:cubicBezTo>
                    <a:cubicBezTo>
                      <a:pt x="80" y="99"/>
                      <a:pt x="65" y="123"/>
                      <a:pt x="60" y="149"/>
                    </a:cubicBezTo>
                    <a:cubicBezTo>
                      <a:pt x="58" y="161"/>
                      <a:pt x="58" y="174"/>
                      <a:pt x="61" y="186"/>
                    </a:cubicBezTo>
                    <a:cubicBezTo>
                      <a:pt x="64" y="198"/>
                      <a:pt x="70" y="209"/>
                      <a:pt x="79" y="217"/>
                    </a:cubicBezTo>
                    <a:cubicBezTo>
                      <a:pt x="84" y="220"/>
                      <a:pt x="89" y="223"/>
                      <a:pt x="95" y="224"/>
                    </a:cubicBezTo>
                    <a:cubicBezTo>
                      <a:pt x="100" y="225"/>
                      <a:pt x="106" y="223"/>
                      <a:pt x="110" y="221"/>
                    </a:cubicBezTo>
                    <a:cubicBezTo>
                      <a:pt x="120" y="215"/>
                      <a:pt x="124" y="204"/>
                      <a:pt x="125" y="193"/>
                    </a:cubicBezTo>
                    <a:cubicBezTo>
                      <a:pt x="125" y="188"/>
                      <a:pt x="124" y="183"/>
                      <a:pt x="122" y="179"/>
                    </a:cubicBezTo>
                    <a:cubicBezTo>
                      <a:pt x="119" y="174"/>
                      <a:pt x="116" y="170"/>
                      <a:pt x="113" y="167"/>
                    </a:cubicBezTo>
                    <a:cubicBezTo>
                      <a:pt x="105" y="160"/>
                      <a:pt x="96" y="157"/>
                      <a:pt x="88" y="155"/>
                    </a:cubicBezTo>
                    <a:cubicBezTo>
                      <a:pt x="70" y="152"/>
                      <a:pt x="53" y="157"/>
                      <a:pt x="41" y="163"/>
                    </a:cubicBezTo>
                    <a:cubicBezTo>
                      <a:pt x="28" y="170"/>
                      <a:pt x="19" y="179"/>
                      <a:pt x="13" y="187"/>
                    </a:cubicBezTo>
                    <a:cubicBezTo>
                      <a:pt x="7" y="195"/>
                      <a:pt x="4" y="202"/>
                      <a:pt x="2" y="207"/>
                    </a:cubicBezTo>
                    <a:cubicBezTo>
                      <a:pt x="0" y="212"/>
                      <a:pt x="0" y="215"/>
                      <a:pt x="0" y="215"/>
                    </a:cubicBezTo>
                    <a:cubicBezTo>
                      <a:pt x="0" y="215"/>
                      <a:pt x="0" y="212"/>
                      <a:pt x="2" y="207"/>
                    </a:cubicBezTo>
                    <a:cubicBezTo>
                      <a:pt x="3" y="202"/>
                      <a:pt x="7" y="195"/>
                      <a:pt x="13" y="187"/>
                    </a:cubicBezTo>
                    <a:cubicBezTo>
                      <a:pt x="19" y="178"/>
                      <a:pt x="27" y="169"/>
                      <a:pt x="40" y="162"/>
                    </a:cubicBezTo>
                    <a:cubicBezTo>
                      <a:pt x="53" y="155"/>
                      <a:pt x="70" y="150"/>
                      <a:pt x="88" y="153"/>
                    </a:cubicBezTo>
                    <a:cubicBezTo>
                      <a:pt x="97" y="155"/>
                      <a:pt x="106" y="159"/>
                      <a:pt x="114" y="165"/>
                    </a:cubicBezTo>
                    <a:cubicBezTo>
                      <a:pt x="118" y="169"/>
                      <a:pt x="121" y="173"/>
                      <a:pt x="123" y="178"/>
                    </a:cubicBezTo>
                    <a:cubicBezTo>
                      <a:pt x="126" y="182"/>
                      <a:pt x="127" y="188"/>
                      <a:pt x="127" y="193"/>
                    </a:cubicBezTo>
                    <a:cubicBezTo>
                      <a:pt x="127" y="204"/>
                      <a:pt x="122" y="216"/>
                      <a:pt x="112" y="223"/>
                    </a:cubicBezTo>
                    <a:cubicBezTo>
                      <a:pt x="107" y="226"/>
                      <a:pt x="100" y="227"/>
                      <a:pt x="94" y="226"/>
                    </a:cubicBezTo>
                    <a:cubicBezTo>
                      <a:pt x="88" y="225"/>
                      <a:pt x="82" y="222"/>
                      <a:pt x="78" y="219"/>
                    </a:cubicBezTo>
                    <a:cubicBezTo>
                      <a:pt x="68" y="211"/>
                      <a:pt x="61" y="199"/>
                      <a:pt x="58" y="187"/>
                    </a:cubicBezTo>
                    <a:cubicBezTo>
                      <a:pt x="55" y="175"/>
                      <a:pt x="55" y="161"/>
                      <a:pt x="58" y="148"/>
                    </a:cubicBezTo>
                    <a:cubicBezTo>
                      <a:pt x="63" y="122"/>
                      <a:pt x="78" y="98"/>
                      <a:pt x="99" y="80"/>
                    </a:cubicBezTo>
                    <a:cubicBezTo>
                      <a:pt x="110" y="70"/>
                      <a:pt x="121" y="63"/>
                      <a:pt x="134" y="58"/>
                    </a:cubicBezTo>
                    <a:cubicBezTo>
                      <a:pt x="147" y="53"/>
                      <a:pt x="161" y="51"/>
                      <a:pt x="174" y="53"/>
                    </a:cubicBezTo>
                    <a:cubicBezTo>
                      <a:pt x="187" y="56"/>
                      <a:pt x="199" y="63"/>
                      <a:pt x="207" y="73"/>
                    </a:cubicBezTo>
                    <a:cubicBezTo>
                      <a:pt x="211" y="78"/>
                      <a:pt x="214" y="84"/>
                      <a:pt x="216" y="90"/>
                    </a:cubicBezTo>
                    <a:cubicBezTo>
                      <a:pt x="218" y="96"/>
                      <a:pt x="217" y="102"/>
                      <a:pt x="215" y="108"/>
                    </a:cubicBezTo>
                    <a:cubicBezTo>
                      <a:pt x="212" y="120"/>
                      <a:pt x="203" y="130"/>
                      <a:pt x="192" y="134"/>
                    </a:cubicBezTo>
                    <a:cubicBezTo>
                      <a:pt x="186" y="136"/>
                      <a:pt x="180" y="136"/>
                      <a:pt x="174" y="134"/>
                    </a:cubicBezTo>
                    <a:cubicBezTo>
                      <a:pt x="169" y="133"/>
                      <a:pt x="164" y="129"/>
                      <a:pt x="160" y="125"/>
                    </a:cubicBezTo>
                    <a:cubicBezTo>
                      <a:pt x="153" y="117"/>
                      <a:pt x="149" y="107"/>
                      <a:pt x="149" y="97"/>
                    </a:cubicBezTo>
                    <a:cubicBezTo>
                      <a:pt x="149" y="86"/>
                      <a:pt x="151" y="77"/>
                      <a:pt x="155" y="68"/>
                    </a:cubicBezTo>
                    <a:cubicBezTo>
                      <a:pt x="158" y="60"/>
                      <a:pt x="162" y="52"/>
                      <a:pt x="167" y="45"/>
                    </a:cubicBezTo>
                    <a:cubicBezTo>
                      <a:pt x="171" y="38"/>
                      <a:pt x="175" y="32"/>
                      <a:pt x="180" y="27"/>
                    </a:cubicBezTo>
                    <a:cubicBezTo>
                      <a:pt x="190" y="16"/>
                      <a:pt x="200" y="8"/>
                      <a:pt x="210" y="5"/>
                    </a:cubicBezTo>
                    <a:cubicBezTo>
                      <a:pt x="219" y="1"/>
                      <a:pt x="227" y="0"/>
                      <a:pt x="233" y="0"/>
                    </a:cubicBezTo>
                    <a:cubicBezTo>
                      <a:pt x="238" y="0"/>
                      <a:pt x="241" y="1"/>
                      <a:pt x="241"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a:extLst>
                  <a:ext uri="{FF2B5EF4-FFF2-40B4-BE49-F238E27FC236}">
                    <a16:creationId xmlns:a16="http://schemas.microsoft.com/office/drawing/2014/main" id="{3087C9C6-5881-4864-B933-AC03EC67536B}"/>
                  </a:ext>
                </a:extLst>
              </p:cNvPr>
              <p:cNvSpPr>
                <a:spLocks/>
              </p:cNvSpPr>
              <p:nvPr/>
            </p:nvSpPr>
            <p:spPr bwMode="auto">
              <a:xfrm>
                <a:off x="350" y="3215"/>
                <a:ext cx="556" cy="271"/>
              </a:xfrm>
              <a:custGeom>
                <a:avLst/>
                <a:gdLst>
                  <a:gd name="T0" fmla="*/ 233 w 234"/>
                  <a:gd name="T1" fmla="*/ 25 h 114"/>
                  <a:gd name="T2" fmla="*/ 231 w 234"/>
                  <a:gd name="T3" fmla="*/ 45 h 114"/>
                  <a:gd name="T4" fmla="*/ 223 w 234"/>
                  <a:gd name="T5" fmla="*/ 67 h 114"/>
                  <a:gd name="T6" fmla="*/ 203 w 234"/>
                  <a:gd name="T7" fmla="*/ 92 h 114"/>
                  <a:gd name="T8" fmla="*/ 169 w 234"/>
                  <a:gd name="T9" fmla="*/ 110 h 114"/>
                  <a:gd name="T10" fmla="*/ 125 w 234"/>
                  <a:gd name="T11" fmla="*/ 110 h 114"/>
                  <a:gd name="T12" fmla="*/ 86 w 234"/>
                  <a:gd name="T13" fmla="*/ 82 h 114"/>
                  <a:gd name="T14" fmla="*/ 71 w 234"/>
                  <a:gd name="T15" fmla="*/ 32 h 114"/>
                  <a:gd name="T16" fmla="*/ 82 w 234"/>
                  <a:gd name="T17" fmla="*/ 8 h 114"/>
                  <a:gd name="T18" fmla="*/ 107 w 234"/>
                  <a:gd name="T19" fmla="*/ 3 h 114"/>
                  <a:gd name="T20" fmla="*/ 127 w 234"/>
                  <a:gd name="T21" fmla="*/ 18 h 114"/>
                  <a:gd name="T22" fmla="*/ 129 w 234"/>
                  <a:gd name="T23" fmla="*/ 42 h 114"/>
                  <a:gd name="T24" fmla="*/ 118 w 234"/>
                  <a:gd name="T25" fmla="*/ 63 h 114"/>
                  <a:gd name="T26" fmla="*/ 101 w 234"/>
                  <a:gd name="T27" fmla="*/ 75 h 114"/>
                  <a:gd name="T28" fmla="*/ 63 w 234"/>
                  <a:gd name="T29" fmla="*/ 80 h 114"/>
                  <a:gd name="T30" fmla="*/ 32 w 234"/>
                  <a:gd name="T31" fmla="*/ 70 h 114"/>
                  <a:gd name="T32" fmla="*/ 13 w 234"/>
                  <a:gd name="T33" fmla="*/ 57 h 114"/>
                  <a:gd name="T34" fmla="*/ 0 w 234"/>
                  <a:gd name="T35" fmla="*/ 41 h 114"/>
                  <a:gd name="T36" fmla="*/ 1 w 234"/>
                  <a:gd name="T37" fmla="*/ 42 h 114"/>
                  <a:gd name="T38" fmla="*/ 3 w 234"/>
                  <a:gd name="T39" fmla="*/ 45 h 114"/>
                  <a:gd name="T40" fmla="*/ 13 w 234"/>
                  <a:gd name="T41" fmla="*/ 56 h 114"/>
                  <a:gd name="T42" fmla="*/ 33 w 234"/>
                  <a:gd name="T43" fmla="*/ 69 h 114"/>
                  <a:gd name="T44" fmla="*/ 63 w 234"/>
                  <a:gd name="T45" fmla="*/ 78 h 114"/>
                  <a:gd name="T46" fmla="*/ 100 w 234"/>
                  <a:gd name="T47" fmla="*/ 73 h 114"/>
                  <a:gd name="T48" fmla="*/ 117 w 234"/>
                  <a:gd name="T49" fmla="*/ 61 h 114"/>
                  <a:gd name="T50" fmla="*/ 127 w 234"/>
                  <a:gd name="T51" fmla="*/ 42 h 114"/>
                  <a:gd name="T52" fmla="*/ 124 w 234"/>
                  <a:gd name="T53" fmla="*/ 20 h 114"/>
                  <a:gd name="T54" fmla="*/ 106 w 234"/>
                  <a:gd name="T55" fmla="*/ 5 h 114"/>
                  <a:gd name="T56" fmla="*/ 83 w 234"/>
                  <a:gd name="T57" fmla="*/ 10 h 114"/>
                  <a:gd name="T58" fmla="*/ 73 w 234"/>
                  <a:gd name="T59" fmla="*/ 32 h 114"/>
                  <a:gd name="T60" fmla="*/ 88 w 234"/>
                  <a:gd name="T61" fmla="*/ 80 h 114"/>
                  <a:gd name="T62" fmla="*/ 126 w 234"/>
                  <a:gd name="T63" fmla="*/ 107 h 114"/>
                  <a:gd name="T64" fmla="*/ 169 w 234"/>
                  <a:gd name="T65" fmla="*/ 108 h 114"/>
                  <a:gd name="T66" fmla="*/ 202 w 234"/>
                  <a:gd name="T67" fmla="*/ 91 h 114"/>
                  <a:gd name="T68" fmla="*/ 221 w 234"/>
                  <a:gd name="T69" fmla="*/ 67 h 114"/>
                  <a:gd name="T70" fmla="*/ 230 w 234"/>
                  <a:gd name="T71" fmla="*/ 45 h 114"/>
                  <a:gd name="T72" fmla="*/ 232 w 234"/>
                  <a:gd name="T73" fmla="*/ 30 h 114"/>
                  <a:gd name="T74" fmla="*/ 232 w 234"/>
                  <a:gd name="T75" fmla="*/ 26 h 114"/>
                  <a:gd name="T76" fmla="*/ 233 w 234"/>
                  <a:gd name="T77" fmla="*/ 2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114">
                    <a:moveTo>
                      <a:pt x="233" y="25"/>
                    </a:moveTo>
                    <a:cubicBezTo>
                      <a:pt x="233" y="25"/>
                      <a:pt x="234" y="32"/>
                      <a:pt x="231" y="45"/>
                    </a:cubicBezTo>
                    <a:cubicBezTo>
                      <a:pt x="229" y="51"/>
                      <a:pt x="227" y="59"/>
                      <a:pt x="223" y="67"/>
                    </a:cubicBezTo>
                    <a:cubicBezTo>
                      <a:pt x="218" y="76"/>
                      <a:pt x="212" y="85"/>
                      <a:pt x="203" y="92"/>
                    </a:cubicBezTo>
                    <a:cubicBezTo>
                      <a:pt x="195" y="100"/>
                      <a:pt x="183" y="107"/>
                      <a:pt x="169" y="110"/>
                    </a:cubicBezTo>
                    <a:cubicBezTo>
                      <a:pt x="156" y="114"/>
                      <a:pt x="141" y="114"/>
                      <a:pt x="125" y="110"/>
                    </a:cubicBezTo>
                    <a:cubicBezTo>
                      <a:pt x="110" y="105"/>
                      <a:pt x="96" y="95"/>
                      <a:pt x="86" y="82"/>
                    </a:cubicBezTo>
                    <a:cubicBezTo>
                      <a:pt x="76" y="68"/>
                      <a:pt x="69" y="50"/>
                      <a:pt x="71" y="32"/>
                    </a:cubicBezTo>
                    <a:cubicBezTo>
                      <a:pt x="71" y="23"/>
                      <a:pt x="75" y="14"/>
                      <a:pt x="82" y="8"/>
                    </a:cubicBezTo>
                    <a:cubicBezTo>
                      <a:pt x="89" y="1"/>
                      <a:pt x="99" y="0"/>
                      <a:pt x="107" y="3"/>
                    </a:cubicBezTo>
                    <a:cubicBezTo>
                      <a:pt x="115" y="5"/>
                      <a:pt x="123" y="11"/>
                      <a:pt x="127" y="18"/>
                    </a:cubicBezTo>
                    <a:cubicBezTo>
                      <a:pt x="130" y="26"/>
                      <a:pt x="131" y="35"/>
                      <a:pt x="129" y="42"/>
                    </a:cubicBezTo>
                    <a:cubicBezTo>
                      <a:pt x="127" y="50"/>
                      <a:pt x="124" y="57"/>
                      <a:pt x="118" y="63"/>
                    </a:cubicBezTo>
                    <a:cubicBezTo>
                      <a:pt x="113" y="68"/>
                      <a:pt x="107" y="72"/>
                      <a:pt x="101" y="75"/>
                    </a:cubicBezTo>
                    <a:cubicBezTo>
                      <a:pt x="88" y="80"/>
                      <a:pt x="74" y="81"/>
                      <a:pt x="63" y="80"/>
                    </a:cubicBezTo>
                    <a:cubicBezTo>
                      <a:pt x="51" y="78"/>
                      <a:pt x="41" y="75"/>
                      <a:pt x="32" y="70"/>
                    </a:cubicBezTo>
                    <a:cubicBezTo>
                      <a:pt x="24" y="66"/>
                      <a:pt x="18" y="61"/>
                      <a:pt x="13" y="57"/>
                    </a:cubicBezTo>
                    <a:cubicBezTo>
                      <a:pt x="3" y="48"/>
                      <a:pt x="0" y="41"/>
                      <a:pt x="0" y="41"/>
                    </a:cubicBezTo>
                    <a:cubicBezTo>
                      <a:pt x="0" y="41"/>
                      <a:pt x="0" y="42"/>
                      <a:pt x="1" y="42"/>
                    </a:cubicBezTo>
                    <a:cubicBezTo>
                      <a:pt x="1" y="43"/>
                      <a:pt x="2" y="44"/>
                      <a:pt x="3" y="45"/>
                    </a:cubicBezTo>
                    <a:cubicBezTo>
                      <a:pt x="5" y="48"/>
                      <a:pt x="8" y="52"/>
                      <a:pt x="13" y="56"/>
                    </a:cubicBezTo>
                    <a:cubicBezTo>
                      <a:pt x="18" y="60"/>
                      <a:pt x="25" y="65"/>
                      <a:pt x="33" y="69"/>
                    </a:cubicBezTo>
                    <a:cubicBezTo>
                      <a:pt x="41" y="73"/>
                      <a:pt x="51" y="77"/>
                      <a:pt x="63" y="78"/>
                    </a:cubicBezTo>
                    <a:cubicBezTo>
                      <a:pt x="74" y="79"/>
                      <a:pt x="87" y="78"/>
                      <a:pt x="100" y="73"/>
                    </a:cubicBezTo>
                    <a:cubicBezTo>
                      <a:pt x="106" y="70"/>
                      <a:pt x="112" y="66"/>
                      <a:pt x="117" y="61"/>
                    </a:cubicBezTo>
                    <a:cubicBezTo>
                      <a:pt x="122" y="56"/>
                      <a:pt x="125" y="49"/>
                      <a:pt x="127" y="42"/>
                    </a:cubicBezTo>
                    <a:cubicBezTo>
                      <a:pt x="128" y="35"/>
                      <a:pt x="128" y="26"/>
                      <a:pt x="124" y="20"/>
                    </a:cubicBezTo>
                    <a:cubicBezTo>
                      <a:pt x="121" y="13"/>
                      <a:pt x="114" y="7"/>
                      <a:pt x="106" y="5"/>
                    </a:cubicBezTo>
                    <a:cubicBezTo>
                      <a:pt x="99" y="3"/>
                      <a:pt x="90" y="4"/>
                      <a:pt x="83" y="10"/>
                    </a:cubicBezTo>
                    <a:cubicBezTo>
                      <a:pt x="77" y="15"/>
                      <a:pt x="74" y="24"/>
                      <a:pt x="73" y="32"/>
                    </a:cubicBezTo>
                    <a:cubicBezTo>
                      <a:pt x="72" y="50"/>
                      <a:pt x="78" y="67"/>
                      <a:pt x="88" y="80"/>
                    </a:cubicBezTo>
                    <a:cubicBezTo>
                      <a:pt x="98" y="93"/>
                      <a:pt x="112" y="103"/>
                      <a:pt x="126" y="107"/>
                    </a:cubicBezTo>
                    <a:cubicBezTo>
                      <a:pt x="141" y="112"/>
                      <a:pt x="156" y="111"/>
                      <a:pt x="169" y="108"/>
                    </a:cubicBezTo>
                    <a:cubicBezTo>
                      <a:pt x="182" y="105"/>
                      <a:pt x="193" y="99"/>
                      <a:pt x="202" y="91"/>
                    </a:cubicBezTo>
                    <a:cubicBezTo>
                      <a:pt x="211" y="83"/>
                      <a:pt x="217" y="75"/>
                      <a:pt x="221" y="67"/>
                    </a:cubicBezTo>
                    <a:cubicBezTo>
                      <a:pt x="226" y="59"/>
                      <a:pt x="228" y="51"/>
                      <a:pt x="230" y="45"/>
                    </a:cubicBezTo>
                    <a:cubicBezTo>
                      <a:pt x="231" y="38"/>
                      <a:pt x="232" y="33"/>
                      <a:pt x="232" y="30"/>
                    </a:cubicBezTo>
                    <a:cubicBezTo>
                      <a:pt x="232" y="28"/>
                      <a:pt x="232" y="27"/>
                      <a:pt x="232" y="26"/>
                    </a:cubicBezTo>
                    <a:cubicBezTo>
                      <a:pt x="232" y="25"/>
                      <a:pt x="233" y="25"/>
                      <a:pt x="233" y="25"/>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a:extLst>
                  <a:ext uri="{FF2B5EF4-FFF2-40B4-BE49-F238E27FC236}">
                    <a16:creationId xmlns:a16="http://schemas.microsoft.com/office/drawing/2014/main" id="{EA227F32-02CF-481E-A13F-6C9DECE2C26A}"/>
                  </a:ext>
                </a:extLst>
              </p:cNvPr>
              <p:cNvSpPr>
                <a:spLocks/>
              </p:cNvSpPr>
              <p:nvPr/>
            </p:nvSpPr>
            <p:spPr bwMode="auto">
              <a:xfrm>
                <a:off x="457" y="3681"/>
                <a:ext cx="363" cy="80"/>
              </a:xfrm>
              <a:custGeom>
                <a:avLst/>
                <a:gdLst>
                  <a:gd name="T0" fmla="*/ 153 w 153"/>
                  <a:gd name="T1" fmla="*/ 16 h 34"/>
                  <a:gd name="T2" fmla="*/ 131 w 153"/>
                  <a:gd name="T3" fmla="*/ 8 h 34"/>
                  <a:gd name="T4" fmla="*/ 119 w 153"/>
                  <a:gd name="T5" fmla="*/ 6 h 34"/>
                  <a:gd name="T6" fmla="*/ 106 w 153"/>
                  <a:gd name="T7" fmla="*/ 4 h 34"/>
                  <a:gd name="T8" fmla="*/ 74 w 153"/>
                  <a:gd name="T9" fmla="*/ 4 h 34"/>
                  <a:gd name="T10" fmla="*/ 44 w 153"/>
                  <a:gd name="T11" fmla="*/ 11 h 34"/>
                  <a:gd name="T12" fmla="*/ 31 w 153"/>
                  <a:gd name="T13" fmla="*/ 15 h 34"/>
                  <a:gd name="T14" fmla="*/ 20 w 153"/>
                  <a:gd name="T15" fmla="*/ 21 h 34"/>
                  <a:gd name="T16" fmla="*/ 0 w 153"/>
                  <a:gd name="T17" fmla="*/ 33 h 34"/>
                  <a:gd name="T18" fmla="*/ 5 w 153"/>
                  <a:gd name="T19" fmla="*/ 29 h 34"/>
                  <a:gd name="T20" fmla="*/ 11 w 153"/>
                  <a:gd name="T21" fmla="*/ 25 h 34"/>
                  <a:gd name="T22" fmla="*/ 19 w 153"/>
                  <a:gd name="T23" fmla="*/ 19 h 34"/>
                  <a:gd name="T24" fmla="*/ 30 w 153"/>
                  <a:gd name="T25" fmla="*/ 13 h 34"/>
                  <a:gd name="T26" fmla="*/ 43 w 153"/>
                  <a:gd name="T27" fmla="*/ 8 h 34"/>
                  <a:gd name="T28" fmla="*/ 74 w 153"/>
                  <a:gd name="T29" fmla="*/ 1 h 34"/>
                  <a:gd name="T30" fmla="*/ 106 w 153"/>
                  <a:gd name="T31" fmla="*/ 1 h 34"/>
                  <a:gd name="T32" fmla="*/ 120 w 153"/>
                  <a:gd name="T33" fmla="*/ 4 h 34"/>
                  <a:gd name="T34" fmla="*/ 131 w 153"/>
                  <a:gd name="T35" fmla="*/ 7 h 34"/>
                  <a:gd name="T36" fmla="*/ 141 w 153"/>
                  <a:gd name="T37" fmla="*/ 10 h 34"/>
                  <a:gd name="T38" fmla="*/ 147 w 153"/>
                  <a:gd name="T39" fmla="*/ 13 h 34"/>
                  <a:gd name="T40" fmla="*/ 153 w 153"/>
                  <a:gd name="T41"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34">
                    <a:moveTo>
                      <a:pt x="153" y="16"/>
                    </a:moveTo>
                    <a:cubicBezTo>
                      <a:pt x="153" y="17"/>
                      <a:pt x="145" y="13"/>
                      <a:pt x="131" y="8"/>
                    </a:cubicBezTo>
                    <a:cubicBezTo>
                      <a:pt x="127" y="7"/>
                      <a:pt x="123" y="6"/>
                      <a:pt x="119" y="6"/>
                    </a:cubicBezTo>
                    <a:cubicBezTo>
                      <a:pt x="115" y="5"/>
                      <a:pt x="110" y="4"/>
                      <a:pt x="106" y="4"/>
                    </a:cubicBezTo>
                    <a:cubicBezTo>
                      <a:pt x="96" y="3"/>
                      <a:pt x="85" y="3"/>
                      <a:pt x="74" y="4"/>
                    </a:cubicBezTo>
                    <a:cubicBezTo>
                      <a:pt x="63" y="5"/>
                      <a:pt x="53" y="8"/>
                      <a:pt x="44" y="11"/>
                    </a:cubicBezTo>
                    <a:cubicBezTo>
                      <a:pt x="39" y="12"/>
                      <a:pt x="35" y="14"/>
                      <a:pt x="31" y="15"/>
                    </a:cubicBezTo>
                    <a:cubicBezTo>
                      <a:pt x="27" y="17"/>
                      <a:pt x="23" y="19"/>
                      <a:pt x="20" y="21"/>
                    </a:cubicBezTo>
                    <a:cubicBezTo>
                      <a:pt x="7" y="28"/>
                      <a:pt x="1" y="34"/>
                      <a:pt x="0" y="33"/>
                    </a:cubicBezTo>
                    <a:cubicBezTo>
                      <a:pt x="0" y="33"/>
                      <a:pt x="2" y="32"/>
                      <a:pt x="5" y="29"/>
                    </a:cubicBezTo>
                    <a:cubicBezTo>
                      <a:pt x="7" y="28"/>
                      <a:pt x="8" y="26"/>
                      <a:pt x="11" y="25"/>
                    </a:cubicBezTo>
                    <a:cubicBezTo>
                      <a:pt x="13" y="23"/>
                      <a:pt x="16" y="21"/>
                      <a:pt x="19" y="19"/>
                    </a:cubicBezTo>
                    <a:cubicBezTo>
                      <a:pt x="23" y="17"/>
                      <a:pt x="26" y="15"/>
                      <a:pt x="30" y="13"/>
                    </a:cubicBezTo>
                    <a:cubicBezTo>
                      <a:pt x="34" y="12"/>
                      <a:pt x="38" y="10"/>
                      <a:pt x="43" y="8"/>
                    </a:cubicBezTo>
                    <a:cubicBezTo>
                      <a:pt x="52" y="5"/>
                      <a:pt x="63" y="2"/>
                      <a:pt x="74" y="1"/>
                    </a:cubicBezTo>
                    <a:cubicBezTo>
                      <a:pt x="85" y="0"/>
                      <a:pt x="96" y="0"/>
                      <a:pt x="106" y="1"/>
                    </a:cubicBezTo>
                    <a:cubicBezTo>
                      <a:pt x="111" y="2"/>
                      <a:pt x="115" y="2"/>
                      <a:pt x="120" y="4"/>
                    </a:cubicBezTo>
                    <a:cubicBezTo>
                      <a:pt x="124" y="4"/>
                      <a:pt x="128" y="6"/>
                      <a:pt x="131" y="7"/>
                    </a:cubicBezTo>
                    <a:cubicBezTo>
                      <a:pt x="135" y="8"/>
                      <a:pt x="138" y="9"/>
                      <a:pt x="141" y="10"/>
                    </a:cubicBezTo>
                    <a:cubicBezTo>
                      <a:pt x="143" y="11"/>
                      <a:pt x="146" y="12"/>
                      <a:pt x="147" y="13"/>
                    </a:cubicBezTo>
                    <a:cubicBezTo>
                      <a:pt x="151" y="15"/>
                      <a:pt x="153" y="16"/>
                      <a:pt x="153" y="1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3">
                <a:extLst>
                  <a:ext uri="{FF2B5EF4-FFF2-40B4-BE49-F238E27FC236}">
                    <a16:creationId xmlns:a16="http://schemas.microsoft.com/office/drawing/2014/main" id="{53FCC807-C2F4-4757-B942-A689D75807AC}"/>
                  </a:ext>
                </a:extLst>
              </p:cNvPr>
              <p:cNvSpPr>
                <a:spLocks/>
              </p:cNvSpPr>
              <p:nvPr/>
            </p:nvSpPr>
            <p:spPr bwMode="auto">
              <a:xfrm>
                <a:off x="359" y="2465"/>
                <a:ext cx="430" cy="117"/>
              </a:xfrm>
              <a:custGeom>
                <a:avLst/>
                <a:gdLst>
                  <a:gd name="T0" fmla="*/ 181 w 181"/>
                  <a:gd name="T1" fmla="*/ 0 h 49"/>
                  <a:gd name="T2" fmla="*/ 175 w 181"/>
                  <a:gd name="T3" fmla="*/ 4 h 49"/>
                  <a:gd name="T4" fmla="*/ 157 w 181"/>
                  <a:gd name="T5" fmla="*/ 14 h 49"/>
                  <a:gd name="T6" fmla="*/ 95 w 181"/>
                  <a:gd name="T7" fmla="*/ 39 h 49"/>
                  <a:gd name="T8" fmla="*/ 28 w 181"/>
                  <a:gd name="T9" fmla="*/ 49 h 49"/>
                  <a:gd name="T10" fmla="*/ 8 w 181"/>
                  <a:gd name="T11" fmla="*/ 49 h 49"/>
                  <a:gd name="T12" fmla="*/ 0 w 181"/>
                  <a:gd name="T13" fmla="*/ 48 h 49"/>
                  <a:gd name="T14" fmla="*/ 8 w 181"/>
                  <a:gd name="T15" fmla="*/ 48 h 49"/>
                  <a:gd name="T16" fmla="*/ 28 w 181"/>
                  <a:gd name="T17" fmla="*/ 47 h 49"/>
                  <a:gd name="T18" fmla="*/ 94 w 181"/>
                  <a:gd name="T19" fmla="*/ 36 h 49"/>
                  <a:gd name="T20" fmla="*/ 156 w 181"/>
                  <a:gd name="T21" fmla="*/ 13 h 49"/>
                  <a:gd name="T22" fmla="*/ 174 w 181"/>
                  <a:gd name="T23" fmla="*/ 3 h 49"/>
                  <a:gd name="T24" fmla="*/ 181 w 181"/>
                  <a:gd name="T2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 h="49">
                    <a:moveTo>
                      <a:pt x="181" y="0"/>
                    </a:moveTo>
                    <a:cubicBezTo>
                      <a:pt x="181" y="0"/>
                      <a:pt x="179" y="2"/>
                      <a:pt x="175" y="4"/>
                    </a:cubicBezTo>
                    <a:cubicBezTo>
                      <a:pt x="171" y="7"/>
                      <a:pt x="165" y="10"/>
                      <a:pt x="157" y="14"/>
                    </a:cubicBezTo>
                    <a:cubicBezTo>
                      <a:pt x="142" y="22"/>
                      <a:pt x="120" y="32"/>
                      <a:pt x="95" y="39"/>
                    </a:cubicBezTo>
                    <a:cubicBezTo>
                      <a:pt x="69" y="46"/>
                      <a:pt x="45" y="48"/>
                      <a:pt x="28" y="49"/>
                    </a:cubicBezTo>
                    <a:cubicBezTo>
                      <a:pt x="19" y="49"/>
                      <a:pt x="12" y="49"/>
                      <a:pt x="8" y="49"/>
                    </a:cubicBezTo>
                    <a:cubicBezTo>
                      <a:pt x="3" y="49"/>
                      <a:pt x="0" y="49"/>
                      <a:pt x="0" y="48"/>
                    </a:cubicBezTo>
                    <a:cubicBezTo>
                      <a:pt x="0" y="48"/>
                      <a:pt x="3" y="48"/>
                      <a:pt x="8" y="48"/>
                    </a:cubicBezTo>
                    <a:cubicBezTo>
                      <a:pt x="12" y="48"/>
                      <a:pt x="19" y="48"/>
                      <a:pt x="28" y="47"/>
                    </a:cubicBezTo>
                    <a:cubicBezTo>
                      <a:pt x="45" y="46"/>
                      <a:pt x="69" y="43"/>
                      <a:pt x="94" y="36"/>
                    </a:cubicBezTo>
                    <a:cubicBezTo>
                      <a:pt x="119" y="30"/>
                      <a:pt x="141" y="20"/>
                      <a:pt x="156" y="13"/>
                    </a:cubicBezTo>
                    <a:cubicBezTo>
                      <a:pt x="164" y="9"/>
                      <a:pt x="170" y="6"/>
                      <a:pt x="174" y="3"/>
                    </a:cubicBezTo>
                    <a:cubicBezTo>
                      <a:pt x="179" y="1"/>
                      <a:pt x="181" y="0"/>
                      <a:pt x="181"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4">
                <a:extLst>
                  <a:ext uri="{FF2B5EF4-FFF2-40B4-BE49-F238E27FC236}">
                    <a16:creationId xmlns:a16="http://schemas.microsoft.com/office/drawing/2014/main" id="{FD88D02E-9FC2-4C65-BFEF-4B5DF672085D}"/>
                  </a:ext>
                </a:extLst>
              </p:cNvPr>
              <p:cNvSpPr>
                <a:spLocks/>
              </p:cNvSpPr>
              <p:nvPr/>
            </p:nvSpPr>
            <p:spPr bwMode="auto">
              <a:xfrm>
                <a:off x="447" y="2233"/>
                <a:ext cx="397" cy="171"/>
              </a:xfrm>
              <a:custGeom>
                <a:avLst/>
                <a:gdLst>
                  <a:gd name="T0" fmla="*/ 167 w 167"/>
                  <a:gd name="T1" fmla="*/ 1 h 72"/>
                  <a:gd name="T2" fmla="*/ 155 w 167"/>
                  <a:gd name="T3" fmla="*/ 1 h 72"/>
                  <a:gd name="T4" fmla="*/ 121 w 167"/>
                  <a:gd name="T5" fmla="*/ 6 h 72"/>
                  <a:gd name="T6" fmla="*/ 99 w 167"/>
                  <a:gd name="T7" fmla="*/ 16 h 72"/>
                  <a:gd name="T8" fmla="*/ 88 w 167"/>
                  <a:gd name="T9" fmla="*/ 24 h 72"/>
                  <a:gd name="T10" fmla="*/ 78 w 167"/>
                  <a:gd name="T11" fmla="*/ 34 h 72"/>
                  <a:gd name="T12" fmla="*/ 72 w 167"/>
                  <a:gd name="T13" fmla="*/ 46 h 72"/>
                  <a:gd name="T14" fmla="*/ 76 w 167"/>
                  <a:gd name="T15" fmla="*/ 60 h 72"/>
                  <a:gd name="T16" fmla="*/ 90 w 167"/>
                  <a:gd name="T17" fmla="*/ 66 h 72"/>
                  <a:gd name="T18" fmla="*/ 106 w 167"/>
                  <a:gd name="T19" fmla="*/ 68 h 72"/>
                  <a:gd name="T20" fmla="*/ 114 w 167"/>
                  <a:gd name="T21" fmla="*/ 57 h 72"/>
                  <a:gd name="T22" fmla="*/ 111 w 167"/>
                  <a:gd name="T23" fmla="*/ 42 h 72"/>
                  <a:gd name="T24" fmla="*/ 90 w 167"/>
                  <a:gd name="T25" fmla="*/ 21 h 72"/>
                  <a:gd name="T26" fmla="*/ 64 w 167"/>
                  <a:gd name="T27" fmla="*/ 14 h 72"/>
                  <a:gd name="T28" fmla="*/ 41 w 167"/>
                  <a:gd name="T29" fmla="*/ 18 h 72"/>
                  <a:gd name="T30" fmla="*/ 10 w 167"/>
                  <a:gd name="T31" fmla="*/ 34 h 72"/>
                  <a:gd name="T32" fmla="*/ 3 w 167"/>
                  <a:gd name="T33" fmla="*/ 40 h 72"/>
                  <a:gd name="T34" fmla="*/ 0 w 167"/>
                  <a:gd name="T35" fmla="*/ 42 h 72"/>
                  <a:gd name="T36" fmla="*/ 2 w 167"/>
                  <a:gd name="T37" fmla="*/ 39 h 72"/>
                  <a:gd name="T38" fmla="*/ 10 w 167"/>
                  <a:gd name="T39" fmla="*/ 33 h 72"/>
                  <a:gd name="T40" fmla="*/ 40 w 167"/>
                  <a:gd name="T41" fmla="*/ 16 h 72"/>
                  <a:gd name="T42" fmla="*/ 64 w 167"/>
                  <a:gd name="T43" fmla="*/ 12 h 72"/>
                  <a:gd name="T44" fmla="*/ 91 w 167"/>
                  <a:gd name="T45" fmla="*/ 19 h 72"/>
                  <a:gd name="T46" fmla="*/ 113 w 167"/>
                  <a:gd name="T47" fmla="*/ 41 h 72"/>
                  <a:gd name="T48" fmla="*/ 117 w 167"/>
                  <a:gd name="T49" fmla="*/ 57 h 72"/>
                  <a:gd name="T50" fmla="*/ 114 w 167"/>
                  <a:gd name="T51" fmla="*/ 66 h 72"/>
                  <a:gd name="T52" fmla="*/ 106 w 167"/>
                  <a:gd name="T53" fmla="*/ 71 h 72"/>
                  <a:gd name="T54" fmla="*/ 89 w 167"/>
                  <a:gd name="T55" fmla="*/ 69 h 72"/>
                  <a:gd name="T56" fmla="*/ 74 w 167"/>
                  <a:gd name="T57" fmla="*/ 61 h 72"/>
                  <a:gd name="T58" fmla="*/ 69 w 167"/>
                  <a:gd name="T59" fmla="*/ 46 h 72"/>
                  <a:gd name="T60" fmla="*/ 76 w 167"/>
                  <a:gd name="T61" fmla="*/ 32 h 72"/>
                  <a:gd name="T62" fmla="*/ 86 w 167"/>
                  <a:gd name="T63" fmla="*/ 22 h 72"/>
                  <a:gd name="T64" fmla="*/ 98 w 167"/>
                  <a:gd name="T65" fmla="*/ 14 h 72"/>
                  <a:gd name="T66" fmla="*/ 120 w 167"/>
                  <a:gd name="T67" fmla="*/ 5 h 72"/>
                  <a:gd name="T68" fmla="*/ 155 w 167"/>
                  <a:gd name="T69" fmla="*/ 0 h 72"/>
                  <a:gd name="T70" fmla="*/ 164 w 167"/>
                  <a:gd name="T71" fmla="*/ 1 h 72"/>
                  <a:gd name="T72" fmla="*/ 167 w 167"/>
                  <a:gd name="T73"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 h="72">
                    <a:moveTo>
                      <a:pt x="167" y="1"/>
                    </a:moveTo>
                    <a:cubicBezTo>
                      <a:pt x="167" y="2"/>
                      <a:pt x="163" y="1"/>
                      <a:pt x="155" y="1"/>
                    </a:cubicBezTo>
                    <a:cubicBezTo>
                      <a:pt x="146" y="1"/>
                      <a:pt x="134" y="2"/>
                      <a:pt x="121" y="6"/>
                    </a:cubicBezTo>
                    <a:cubicBezTo>
                      <a:pt x="114" y="9"/>
                      <a:pt x="106" y="12"/>
                      <a:pt x="99" y="16"/>
                    </a:cubicBezTo>
                    <a:cubicBezTo>
                      <a:pt x="95" y="19"/>
                      <a:pt x="92" y="21"/>
                      <a:pt x="88" y="24"/>
                    </a:cubicBezTo>
                    <a:cubicBezTo>
                      <a:pt x="84" y="27"/>
                      <a:pt x="81" y="30"/>
                      <a:pt x="78" y="34"/>
                    </a:cubicBezTo>
                    <a:cubicBezTo>
                      <a:pt x="75" y="37"/>
                      <a:pt x="73" y="42"/>
                      <a:pt x="72" y="46"/>
                    </a:cubicBezTo>
                    <a:cubicBezTo>
                      <a:pt x="71" y="51"/>
                      <a:pt x="73" y="56"/>
                      <a:pt x="76" y="60"/>
                    </a:cubicBezTo>
                    <a:cubicBezTo>
                      <a:pt x="80" y="63"/>
                      <a:pt x="85" y="65"/>
                      <a:pt x="90" y="66"/>
                    </a:cubicBezTo>
                    <a:cubicBezTo>
                      <a:pt x="95" y="68"/>
                      <a:pt x="101" y="69"/>
                      <a:pt x="106" y="68"/>
                    </a:cubicBezTo>
                    <a:cubicBezTo>
                      <a:pt x="111" y="67"/>
                      <a:pt x="114" y="62"/>
                      <a:pt x="114" y="57"/>
                    </a:cubicBezTo>
                    <a:cubicBezTo>
                      <a:pt x="115" y="52"/>
                      <a:pt x="113" y="47"/>
                      <a:pt x="111" y="42"/>
                    </a:cubicBezTo>
                    <a:cubicBezTo>
                      <a:pt x="106" y="33"/>
                      <a:pt x="99" y="26"/>
                      <a:pt x="90" y="21"/>
                    </a:cubicBezTo>
                    <a:cubicBezTo>
                      <a:pt x="82" y="17"/>
                      <a:pt x="73" y="15"/>
                      <a:pt x="64" y="14"/>
                    </a:cubicBezTo>
                    <a:cubicBezTo>
                      <a:pt x="56" y="14"/>
                      <a:pt x="48" y="16"/>
                      <a:pt x="41" y="18"/>
                    </a:cubicBezTo>
                    <a:cubicBezTo>
                      <a:pt x="27" y="22"/>
                      <a:pt x="17" y="29"/>
                      <a:pt x="10" y="34"/>
                    </a:cubicBezTo>
                    <a:cubicBezTo>
                      <a:pt x="7" y="36"/>
                      <a:pt x="5" y="38"/>
                      <a:pt x="3" y="40"/>
                    </a:cubicBezTo>
                    <a:cubicBezTo>
                      <a:pt x="1" y="41"/>
                      <a:pt x="0" y="42"/>
                      <a:pt x="0" y="42"/>
                    </a:cubicBezTo>
                    <a:cubicBezTo>
                      <a:pt x="0" y="42"/>
                      <a:pt x="1" y="41"/>
                      <a:pt x="2" y="39"/>
                    </a:cubicBezTo>
                    <a:cubicBezTo>
                      <a:pt x="4" y="38"/>
                      <a:pt x="6" y="36"/>
                      <a:pt x="10" y="33"/>
                    </a:cubicBezTo>
                    <a:cubicBezTo>
                      <a:pt x="16" y="28"/>
                      <a:pt x="26" y="21"/>
                      <a:pt x="40" y="16"/>
                    </a:cubicBezTo>
                    <a:cubicBezTo>
                      <a:pt x="47" y="14"/>
                      <a:pt x="55" y="12"/>
                      <a:pt x="64" y="12"/>
                    </a:cubicBezTo>
                    <a:cubicBezTo>
                      <a:pt x="73" y="12"/>
                      <a:pt x="83" y="14"/>
                      <a:pt x="91" y="19"/>
                    </a:cubicBezTo>
                    <a:cubicBezTo>
                      <a:pt x="100" y="24"/>
                      <a:pt x="108" y="31"/>
                      <a:pt x="113" y="41"/>
                    </a:cubicBezTo>
                    <a:cubicBezTo>
                      <a:pt x="116" y="46"/>
                      <a:pt x="117" y="51"/>
                      <a:pt x="117" y="57"/>
                    </a:cubicBezTo>
                    <a:cubicBezTo>
                      <a:pt x="116" y="60"/>
                      <a:pt x="116" y="63"/>
                      <a:pt x="114" y="66"/>
                    </a:cubicBezTo>
                    <a:cubicBezTo>
                      <a:pt x="112" y="68"/>
                      <a:pt x="109" y="70"/>
                      <a:pt x="106" y="71"/>
                    </a:cubicBezTo>
                    <a:cubicBezTo>
                      <a:pt x="100" y="72"/>
                      <a:pt x="94" y="70"/>
                      <a:pt x="89" y="69"/>
                    </a:cubicBezTo>
                    <a:cubicBezTo>
                      <a:pt x="84" y="67"/>
                      <a:pt x="78" y="65"/>
                      <a:pt x="74" y="61"/>
                    </a:cubicBezTo>
                    <a:cubicBezTo>
                      <a:pt x="70" y="57"/>
                      <a:pt x="68" y="51"/>
                      <a:pt x="69" y="46"/>
                    </a:cubicBezTo>
                    <a:cubicBezTo>
                      <a:pt x="70" y="41"/>
                      <a:pt x="73" y="36"/>
                      <a:pt x="76" y="32"/>
                    </a:cubicBezTo>
                    <a:cubicBezTo>
                      <a:pt x="79" y="28"/>
                      <a:pt x="83" y="25"/>
                      <a:pt x="86" y="22"/>
                    </a:cubicBezTo>
                    <a:cubicBezTo>
                      <a:pt x="90" y="19"/>
                      <a:pt x="94" y="17"/>
                      <a:pt x="98" y="14"/>
                    </a:cubicBezTo>
                    <a:cubicBezTo>
                      <a:pt x="105" y="10"/>
                      <a:pt x="113" y="7"/>
                      <a:pt x="120" y="5"/>
                    </a:cubicBezTo>
                    <a:cubicBezTo>
                      <a:pt x="134" y="0"/>
                      <a:pt x="146" y="0"/>
                      <a:pt x="155" y="0"/>
                    </a:cubicBezTo>
                    <a:cubicBezTo>
                      <a:pt x="159" y="0"/>
                      <a:pt x="162" y="0"/>
                      <a:pt x="164" y="1"/>
                    </a:cubicBezTo>
                    <a:cubicBezTo>
                      <a:pt x="166" y="1"/>
                      <a:pt x="167" y="1"/>
                      <a:pt x="167"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5">
                <a:extLst>
                  <a:ext uri="{FF2B5EF4-FFF2-40B4-BE49-F238E27FC236}">
                    <a16:creationId xmlns:a16="http://schemas.microsoft.com/office/drawing/2014/main" id="{02D93FB9-E410-4948-BCFF-F49C5EEDB986}"/>
                  </a:ext>
                </a:extLst>
              </p:cNvPr>
              <p:cNvSpPr>
                <a:spLocks noChangeArrowheads="1"/>
              </p:cNvSpPr>
              <p:nvPr/>
            </p:nvSpPr>
            <p:spPr bwMode="auto">
              <a:xfrm>
                <a:off x="2948" y="-77"/>
                <a:ext cx="1187" cy="1721"/>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6">
                <a:extLst>
                  <a:ext uri="{FF2B5EF4-FFF2-40B4-BE49-F238E27FC236}">
                    <a16:creationId xmlns:a16="http://schemas.microsoft.com/office/drawing/2014/main" id="{69E66234-B38C-493A-98A3-94549B51FCA6}"/>
                  </a:ext>
                </a:extLst>
              </p:cNvPr>
              <p:cNvSpPr>
                <a:spLocks noChangeArrowheads="1"/>
              </p:cNvSpPr>
              <p:nvPr/>
            </p:nvSpPr>
            <p:spPr bwMode="auto">
              <a:xfrm>
                <a:off x="2888" y="-77"/>
                <a:ext cx="1188" cy="172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7">
                <a:extLst>
                  <a:ext uri="{FF2B5EF4-FFF2-40B4-BE49-F238E27FC236}">
                    <a16:creationId xmlns:a16="http://schemas.microsoft.com/office/drawing/2014/main" id="{83F1D894-9CF9-4D9E-9DA9-5AB9BC02A311}"/>
                  </a:ext>
                </a:extLst>
              </p:cNvPr>
              <p:cNvSpPr>
                <a:spLocks noChangeArrowheads="1"/>
              </p:cNvSpPr>
              <p:nvPr/>
            </p:nvSpPr>
            <p:spPr bwMode="auto">
              <a:xfrm>
                <a:off x="3036" y="110"/>
                <a:ext cx="893" cy="13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
                <a:extLst>
                  <a:ext uri="{FF2B5EF4-FFF2-40B4-BE49-F238E27FC236}">
                    <a16:creationId xmlns:a16="http://schemas.microsoft.com/office/drawing/2014/main" id="{8C098DAB-FE8C-4081-A818-EFF1BA905725}"/>
                  </a:ext>
                </a:extLst>
              </p:cNvPr>
              <p:cNvSpPr>
                <a:spLocks/>
              </p:cNvSpPr>
              <p:nvPr/>
            </p:nvSpPr>
            <p:spPr bwMode="auto">
              <a:xfrm>
                <a:off x="3031" y="106"/>
                <a:ext cx="900" cy="1355"/>
              </a:xfrm>
              <a:custGeom>
                <a:avLst/>
                <a:gdLst>
                  <a:gd name="T0" fmla="*/ 378 w 379"/>
                  <a:gd name="T1" fmla="*/ 570 h 571"/>
                  <a:gd name="T2" fmla="*/ 378 w 379"/>
                  <a:gd name="T3" fmla="*/ 567 h 571"/>
                  <a:gd name="T4" fmla="*/ 377 w 379"/>
                  <a:gd name="T5" fmla="*/ 559 h 571"/>
                  <a:gd name="T6" fmla="*/ 377 w 379"/>
                  <a:gd name="T7" fmla="*/ 528 h 571"/>
                  <a:gd name="T8" fmla="*/ 377 w 379"/>
                  <a:gd name="T9" fmla="*/ 411 h 571"/>
                  <a:gd name="T10" fmla="*/ 376 w 379"/>
                  <a:gd name="T11" fmla="*/ 2 h 571"/>
                  <a:gd name="T12" fmla="*/ 378 w 379"/>
                  <a:gd name="T13" fmla="*/ 3 h 571"/>
                  <a:gd name="T14" fmla="*/ 2 w 379"/>
                  <a:gd name="T15" fmla="*/ 3 h 571"/>
                  <a:gd name="T16" fmla="*/ 2 w 379"/>
                  <a:gd name="T17" fmla="*/ 3 h 571"/>
                  <a:gd name="T18" fmla="*/ 3 w 379"/>
                  <a:gd name="T19" fmla="*/ 2 h 571"/>
                  <a:gd name="T20" fmla="*/ 3 w 379"/>
                  <a:gd name="T21" fmla="*/ 570 h 571"/>
                  <a:gd name="T22" fmla="*/ 2 w 379"/>
                  <a:gd name="T23" fmla="*/ 569 h 571"/>
                  <a:gd name="T24" fmla="*/ 275 w 379"/>
                  <a:gd name="T25" fmla="*/ 569 h 571"/>
                  <a:gd name="T26" fmla="*/ 351 w 379"/>
                  <a:gd name="T27" fmla="*/ 569 h 571"/>
                  <a:gd name="T28" fmla="*/ 371 w 379"/>
                  <a:gd name="T29" fmla="*/ 570 h 571"/>
                  <a:gd name="T30" fmla="*/ 378 w 379"/>
                  <a:gd name="T31" fmla="*/ 570 h 571"/>
                  <a:gd name="T32" fmla="*/ 371 w 379"/>
                  <a:gd name="T33" fmla="*/ 570 h 571"/>
                  <a:gd name="T34" fmla="*/ 351 w 379"/>
                  <a:gd name="T35" fmla="*/ 570 h 571"/>
                  <a:gd name="T36" fmla="*/ 276 w 379"/>
                  <a:gd name="T37" fmla="*/ 570 h 571"/>
                  <a:gd name="T38" fmla="*/ 2 w 379"/>
                  <a:gd name="T39" fmla="*/ 571 h 571"/>
                  <a:gd name="T40" fmla="*/ 1 w 379"/>
                  <a:gd name="T41" fmla="*/ 571 h 571"/>
                  <a:gd name="T42" fmla="*/ 1 w 379"/>
                  <a:gd name="T43" fmla="*/ 570 h 571"/>
                  <a:gd name="T44" fmla="*/ 0 w 379"/>
                  <a:gd name="T45" fmla="*/ 2 h 571"/>
                  <a:gd name="T46" fmla="*/ 0 w 379"/>
                  <a:gd name="T47" fmla="*/ 0 h 571"/>
                  <a:gd name="T48" fmla="*/ 2 w 379"/>
                  <a:gd name="T49" fmla="*/ 0 h 571"/>
                  <a:gd name="T50" fmla="*/ 2 w 379"/>
                  <a:gd name="T51" fmla="*/ 0 h 571"/>
                  <a:gd name="T52" fmla="*/ 378 w 379"/>
                  <a:gd name="T53" fmla="*/ 0 h 571"/>
                  <a:gd name="T54" fmla="*/ 379 w 379"/>
                  <a:gd name="T55" fmla="*/ 0 h 571"/>
                  <a:gd name="T56" fmla="*/ 379 w 379"/>
                  <a:gd name="T57" fmla="*/ 2 h 571"/>
                  <a:gd name="T58" fmla="*/ 378 w 379"/>
                  <a:gd name="T59" fmla="*/ 412 h 571"/>
                  <a:gd name="T60" fmla="*/ 378 w 379"/>
                  <a:gd name="T61" fmla="*/ 528 h 571"/>
                  <a:gd name="T62" fmla="*/ 378 w 379"/>
                  <a:gd name="T63" fmla="*/ 559 h 571"/>
                  <a:gd name="T64" fmla="*/ 378 w 379"/>
                  <a:gd name="T65" fmla="*/ 567 h 571"/>
                  <a:gd name="T66" fmla="*/ 378 w 379"/>
                  <a:gd name="T67" fmla="*/ 57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571">
                    <a:moveTo>
                      <a:pt x="378" y="570"/>
                    </a:moveTo>
                    <a:cubicBezTo>
                      <a:pt x="378" y="570"/>
                      <a:pt x="378" y="569"/>
                      <a:pt x="378" y="567"/>
                    </a:cubicBezTo>
                    <a:cubicBezTo>
                      <a:pt x="377" y="565"/>
                      <a:pt x="377" y="562"/>
                      <a:pt x="377" y="559"/>
                    </a:cubicBezTo>
                    <a:cubicBezTo>
                      <a:pt x="377" y="552"/>
                      <a:pt x="377" y="541"/>
                      <a:pt x="377" y="528"/>
                    </a:cubicBezTo>
                    <a:cubicBezTo>
                      <a:pt x="377" y="500"/>
                      <a:pt x="377" y="461"/>
                      <a:pt x="377" y="411"/>
                    </a:cubicBezTo>
                    <a:cubicBezTo>
                      <a:pt x="377" y="311"/>
                      <a:pt x="377" y="169"/>
                      <a:pt x="376" y="2"/>
                    </a:cubicBezTo>
                    <a:cubicBezTo>
                      <a:pt x="378" y="3"/>
                      <a:pt x="378" y="3"/>
                      <a:pt x="378" y="3"/>
                    </a:cubicBezTo>
                    <a:cubicBezTo>
                      <a:pt x="263" y="3"/>
                      <a:pt x="135" y="3"/>
                      <a:pt x="2" y="3"/>
                    </a:cubicBezTo>
                    <a:cubicBezTo>
                      <a:pt x="2" y="3"/>
                      <a:pt x="2" y="3"/>
                      <a:pt x="2" y="3"/>
                    </a:cubicBezTo>
                    <a:cubicBezTo>
                      <a:pt x="3" y="2"/>
                      <a:pt x="3" y="2"/>
                      <a:pt x="3" y="2"/>
                    </a:cubicBezTo>
                    <a:cubicBezTo>
                      <a:pt x="3" y="216"/>
                      <a:pt x="3" y="414"/>
                      <a:pt x="3" y="570"/>
                    </a:cubicBezTo>
                    <a:cubicBezTo>
                      <a:pt x="2" y="569"/>
                      <a:pt x="2" y="569"/>
                      <a:pt x="2" y="569"/>
                    </a:cubicBezTo>
                    <a:cubicBezTo>
                      <a:pt x="116" y="569"/>
                      <a:pt x="210" y="569"/>
                      <a:pt x="275" y="569"/>
                    </a:cubicBezTo>
                    <a:cubicBezTo>
                      <a:pt x="308" y="569"/>
                      <a:pt x="333" y="569"/>
                      <a:pt x="351" y="569"/>
                    </a:cubicBezTo>
                    <a:cubicBezTo>
                      <a:pt x="360" y="569"/>
                      <a:pt x="366" y="570"/>
                      <a:pt x="371" y="570"/>
                    </a:cubicBezTo>
                    <a:cubicBezTo>
                      <a:pt x="375" y="570"/>
                      <a:pt x="378" y="570"/>
                      <a:pt x="378" y="570"/>
                    </a:cubicBezTo>
                    <a:cubicBezTo>
                      <a:pt x="378" y="570"/>
                      <a:pt x="375" y="570"/>
                      <a:pt x="371" y="570"/>
                    </a:cubicBezTo>
                    <a:cubicBezTo>
                      <a:pt x="366" y="570"/>
                      <a:pt x="360" y="570"/>
                      <a:pt x="351" y="570"/>
                    </a:cubicBezTo>
                    <a:cubicBezTo>
                      <a:pt x="334" y="570"/>
                      <a:pt x="309" y="570"/>
                      <a:pt x="276" y="570"/>
                    </a:cubicBezTo>
                    <a:cubicBezTo>
                      <a:pt x="211" y="570"/>
                      <a:pt x="116" y="571"/>
                      <a:pt x="2" y="571"/>
                    </a:cubicBezTo>
                    <a:cubicBezTo>
                      <a:pt x="1" y="571"/>
                      <a:pt x="1" y="571"/>
                      <a:pt x="1" y="571"/>
                    </a:cubicBezTo>
                    <a:cubicBezTo>
                      <a:pt x="1" y="570"/>
                      <a:pt x="1" y="570"/>
                      <a:pt x="1" y="570"/>
                    </a:cubicBezTo>
                    <a:cubicBezTo>
                      <a:pt x="1" y="414"/>
                      <a:pt x="0" y="216"/>
                      <a:pt x="0" y="2"/>
                    </a:cubicBezTo>
                    <a:cubicBezTo>
                      <a:pt x="0" y="0"/>
                      <a:pt x="0" y="0"/>
                      <a:pt x="0" y="0"/>
                    </a:cubicBezTo>
                    <a:cubicBezTo>
                      <a:pt x="2" y="0"/>
                      <a:pt x="2" y="0"/>
                      <a:pt x="2" y="0"/>
                    </a:cubicBezTo>
                    <a:cubicBezTo>
                      <a:pt x="2" y="0"/>
                      <a:pt x="2" y="0"/>
                      <a:pt x="2" y="0"/>
                    </a:cubicBezTo>
                    <a:cubicBezTo>
                      <a:pt x="135" y="0"/>
                      <a:pt x="263" y="0"/>
                      <a:pt x="378" y="0"/>
                    </a:cubicBezTo>
                    <a:cubicBezTo>
                      <a:pt x="379" y="0"/>
                      <a:pt x="379" y="0"/>
                      <a:pt x="379" y="0"/>
                    </a:cubicBezTo>
                    <a:cubicBezTo>
                      <a:pt x="379" y="2"/>
                      <a:pt x="379" y="2"/>
                      <a:pt x="379" y="2"/>
                    </a:cubicBezTo>
                    <a:cubicBezTo>
                      <a:pt x="379" y="169"/>
                      <a:pt x="378" y="311"/>
                      <a:pt x="378" y="412"/>
                    </a:cubicBezTo>
                    <a:cubicBezTo>
                      <a:pt x="378" y="462"/>
                      <a:pt x="378" y="501"/>
                      <a:pt x="378" y="528"/>
                    </a:cubicBezTo>
                    <a:cubicBezTo>
                      <a:pt x="378" y="542"/>
                      <a:pt x="378" y="552"/>
                      <a:pt x="378" y="559"/>
                    </a:cubicBezTo>
                    <a:cubicBezTo>
                      <a:pt x="378" y="563"/>
                      <a:pt x="378" y="565"/>
                      <a:pt x="378" y="567"/>
                    </a:cubicBezTo>
                    <a:cubicBezTo>
                      <a:pt x="378" y="569"/>
                      <a:pt x="378" y="570"/>
                      <a:pt x="378" y="57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9">
                <a:extLst>
                  <a:ext uri="{FF2B5EF4-FFF2-40B4-BE49-F238E27FC236}">
                    <a16:creationId xmlns:a16="http://schemas.microsoft.com/office/drawing/2014/main" id="{B7F0DD92-2653-4EAD-8751-86E3FFD4AE35}"/>
                  </a:ext>
                </a:extLst>
              </p:cNvPr>
              <p:cNvSpPr>
                <a:spLocks/>
              </p:cNvSpPr>
              <p:nvPr/>
            </p:nvSpPr>
            <p:spPr bwMode="auto">
              <a:xfrm>
                <a:off x="3917" y="-77"/>
                <a:ext cx="161" cy="197"/>
              </a:xfrm>
              <a:custGeom>
                <a:avLst/>
                <a:gdLst>
                  <a:gd name="T0" fmla="*/ 68 w 68"/>
                  <a:gd name="T1" fmla="*/ 0 h 83"/>
                  <a:gd name="T2" fmla="*/ 59 w 68"/>
                  <a:gd name="T3" fmla="*/ 13 h 83"/>
                  <a:gd name="T4" fmla="*/ 36 w 68"/>
                  <a:gd name="T5" fmla="*/ 43 h 83"/>
                  <a:gd name="T6" fmla="*/ 11 w 68"/>
                  <a:gd name="T7" fmla="*/ 72 h 83"/>
                  <a:gd name="T8" fmla="*/ 0 w 68"/>
                  <a:gd name="T9" fmla="*/ 83 h 83"/>
                  <a:gd name="T10" fmla="*/ 10 w 68"/>
                  <a:gd name="T11" fmla="*/ 70 h 83"/>
                  <a:gd name="T12" fmla="*/ 34 w 68"/>
                  <a:gd name="T13" fmla="*/ 41 h 83"/>
                  <a:gd name="T14" fmla="*/ 58 w 68"/>
                  <a:gd name="T15" fmla="*/ 12 h 83"/>
                  <a:gd name="T16" fmla="*/ 68 w 68"/>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83">
                    <a:moveTo>
                      <a:pt x="68" y="0"/>
                    </a:moveTo>
                    <a:cubicBezTo>
                      <a:pt x="68" y="0"/>
                      <a:pt x="65" y="5"/>
                      <a:pt x="59" y="13"/>
                    </a:cubicBezTo>
                    <a:cubicBezTo>
                      <a:pt x="53" y="21"/>
                      <a:pt x="45" y="32"/>
                      <a:pt x="36" y="43"/>
                    </a:cubicBezTo>
                    <a:cubicBezTo>
                      <a:pt x="26" y="54"/>
                      <a:pt x="18" y="64"/>
                      <a:pt x="11" y="72"/>
                    </a:cubicBezTo>
                    <a:cubicBezTo>
                      <a:pt x="5" y="79"/>
                      <a:pt x="0" y="83"/>
                      <a:pt x="0" y="83"/>
                    </a:cubicBezTo>
                    <a:cubicBezTo>
                      <a:pt x="0" y="83"/>
                      <a:pt x="3" y="78"/>
                      <a:pt x="10" y="70"/>
                    </a:cubicBezTo>
                    <a:cubicBezTo>
                      <a:pt x="16" y="62"/>
                      <a:pt x="25" y="52"/>
                      <a:pt x="34" y="41"/>
                    </a:cubicBezTo>
                    <a:cubicBezTo>
                      <a:pt x="43" y="30"/>
                      <a:pt x="51" y="20"/>
                      <a:pt x="58" y="12"/>
                    </a:cubicBezTo>
                    <a:cubicBezTo>
                      <a:pt x="64" y="5"/>
                      <a:pt x="68" y="0"/>
                      <a:pt x="6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0">
                <a:extLst>
                  <a:ext uri="{FF2B5EF4-FFF2-40B4-BE49-F238E27FC236}">
                    <a16:creationId xmlns:a16="http://schemas.microsoft.com/office/drawing/2014/main" id="{AC8C8709-1497-4CBD-85FD-820A33445DDF}"/>
                  </a:ext>
                </a:extLst>
              </p:cNvPr>
              <p:cNvSpPr>
                <a:spLocks/>
              </p:cNvSpPr>
              <p:nvPr/>
            </p:nvSpPr>
            <p:spPr bwMode="auto">
              <a:xfrm>
                <a:off x="3931" y="1454"/>
                <a:ext cx="157" cy="195"/>
              </a:xfrm>
              <a:custGeom>
                <a:avLst/>
                <a:gdLst>
                  <a:gd name="T0" fmla="*/ 0 w 66"/>
                  <a:gd name="T1" fmla="*/ 0 h 82"/>
                  <a:gd name="T2" fmla="*/ 66 w 66"/>
                  <a:gd name="T3" fmla="*/ 82 h 82"/>
                </a:gdLst>
                <a:ahLst/>
                <a:cxnLst>
                  <a:cxn ang="0">
                    <a:pos x="T0" y="T1"/>
                  </a:cxn>
                  <a:cxn ang="0">
                    <a:pos x="T2" y="T3"/>
                  </a:cxn>
                </a:cxnLst>
                <a:rect l="0" t="0" r="r" b="b"/>
                <a:pathLst>
                  <a:path w="66" h="82">
                    <a:moveTo>
                      <a:pt x="0" y="0"/>
                    </a:moveTo>
                    <a:cubicBezTo>
                      <a:pt x="19" y="30"/>
                      <a:pt x="41" y="57"/>
                      <a:pt x="66" y="8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1">
                <a:extLst>
                  <a:ext uri="{FF2B5EF4-FFF2-40B4-BE49-F238E27FC236}">
                    <a16:creationId xmlns:a16="http://schemas.microsoft.com/office/drawing/2014/main" id="{30CFFAD5-5D5B-4E36-8087-C1E1816A6782}"/>
                  </a:ext>
                </a:extLst>
              </p:cNvPr>
              <p:cNvSpPr>
                <a:spLocks/>
              </p:cNvSpPr>
              <p:nvPr/>
            </p:nvSpPr>
            <p:spPr bwMode="auto">
              <a:xfrm>
                <a:off x="3931" y="1454"/>
                <a:ext cx="157" cy="195"/>
              </a:xfrm>
              <a:custGeom>
                <a:avLst/>
                <a:gdLst>
                  <a:gd name="T0" fmla="*/ 66 w 66"/>
                  <a:gd name="T1" fmla="*/ 82 h 82"/>
                  <a:gd name="T2" fmla="*/ 55 w 66"/>
                  <a:gd name="T3" fmla="*/ 71 h 82"/>
                  <a:gd name="T4" fmla="*/ 30 w 66"/>
                  <a:gd name="T5" fmla="*/ 44 h 82"/>
                  <a:gd name="T6" fmla="*/ 8 w 66"/>
                  <a:gd name="T7" fmla="*/ 13 h 82"/>
                  <a:gd name="T8" fmla="*/ 0 w 66"/>
                  <a:gd name="T9" fmla="*/ 0 h 82"/>
                  <a:gd name="T10" fmla="*/ 10 w 66"/>
                  <a:gd name="T11" fmla="*/ 12 h 82"/>
                  <a:gd name="T12" fmla="*/ 32 w 66"/>
                  <a:gd name="T13" fmla="*/ 42 h 82"/>
                  <a:gd name="T14" fmla="*/ 56 w 66"/>
                  <a:gd name="T15" fmla="*/ 70 h 82"/>
                  <a:gd name="T16" fmla="*/ 66 w 66"/>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82">
                    <a:moveTo>
                      <a:pt x="66" y="82"/>
                    </a:moveTo>
                    <a:cubicBezTo>
                      <a:pt x="66" y="82"/>
                      <a:pt x="61" y="78"/>
                      <a:pt x="55" y="71"/>
                    </a:cubicBezTo>
                    <a:cubicBezTo>
                      <a:pt x="48" y="65"/>
                      <a:pt x="39" y="55"/>
                      <a:pt x="30" y="44"/>
                    </a:cubicBezTo>
                    <a:cubicBezTo>
                      <a:pt x="21" y="32"/>
                      <a:pt x="13" y="21"/>
                      <a:pt x="8" y="13"/>
                    </a:cubicBezTo>
                    <a:cubicBezTo>
                      <a:pt x="3" y="5"/>
                      <a:pt x="0" y="0"/>
                      <a:pt x="0" y="0"/>
                    </a:cubicBezTo>
                    <a:cubicBezTo>
                      <a:pt x="1" y="0"/>
                      <a:pt x="4" y="4"/>
                      <a:pt x="10" y="12"/>
                    </a:cubicBezTo>
                    <a:cubicBezTo>
                      <a:pt x="15" y="20"/>
                      <a:pt x="23" y="31"/>
                      <a:pt x="32" y="42"/>
                    </a:cubicBezTo>
                    <a:cubicBezTo>
                      <a:pt x="41" y="53"/>
                      <a:pt x="50" y="63"/>
                      <a:pt x="56" y="70"/>
                    </a:cubicBezTo>
                    <a:cubicBezTo>
                      <a:pt x="62" y="77"/>
                      <a:pt x="66" y="82"/>
                      <a:pt x="66" y="8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2">
                <a:extLst>
                  <a:ext uri="{FF2B5EF4-FFF2-40B4-BE49-F238E27FC236}">
                    <a16:creationId xmlns:a16="http://schemas.microsoft.com/office/drawing/2014/main" id="{8396ACC7-BA30-45E8-BA74-9FE94FC644A9}"/>
                  </a:ext>
                </a:extLst>
              </p:cNvPr>
              <p:cNvSpPr>
                <a:spLocks/>
              </p:cNvSpPr>
              <p:nvPr/>
            </p:nvSpPr>
            <p:spPr bwMode="auto">
              <a:xfrm>
                <a:off x="2886" y="1452"/>
                <a:ext cx="157" cy="192"/>
              </a:xfrm>
              <a:custGeom>
                <a:avLst/>
                <a:gdLst>
                  <a:gd name="T0" fmla="*/ 0 w 66"/>
                  <a:gd name="T1" fmla="*/ 81 h 81"/>
                  <a:gd name="T2" fmla="*/ 66 w 66"/>
                  <a:gd name="T3" fmla="*/ 0 h 81"/>
                </a:gdLst>
                <a:ahLst/>
                <a:cxnLst>
                  <a:cxn ang="0">
                    <a:pos x="T0" y="T1"/>
                  </a:cxn>
                  <a:cxn ang="0">
                    <a:pos x="T2" y="T3"/>
                  </a:cxn>
                </a:cxnLst>
                <a:rect l="0" t="0" r="r" b="b"/>
                <a:pathLst>
                  <a:path w="66" h="81">
                    <a:moveTo>
                      <a:pt x="0" y="81"/>
                    </a:moveTo>
                    <a:cubicBezTo>
                      <a:pt x="22" y="54"/>
                      <a:pt x="44" y="27"/>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23">
                <a:extLst>
                  <a:ext uri="{FF2B5EF4-FFF2-40B4-BE49-F238E27FC236}">
                    <a16:creationId xmlns:a16="http://schemas.microsoft.com/office/drawing/2014/main" id="{5249247E-546B-48D6-8AEA-ACF2E3CE6382}"/>
                  </a:ext>
                </a:extLst>
              </p:cNvPr>
              <p:cNvSpPr>
                <a:spLocks/>
              </p:cNvSpPr>
              <p:nvPr/>
            </p:nvSpPr>
            <p:spPr bwMode="auto">
              <a:xfrm>
                <a:off x="2886" y="1449"/>
                <a:ext cx="159" cy="195"/>
              </a:xfrm>
              <a:custGeom>
                <a:avLst/>
                <a:gdLst>
                  <a:gd name="T0" fmla="*/ 66 w 67"/>
                  <a:gd name="T1" fmla="*/ 1 h 82"/>
                  <a:gd name="T2" fmla="*/ 34 w 67"/>
                  <a:gd name="T3" fmla="*/ 42 h 82"/>
                  <a:gd name="T4" fmla="*/ 0 w 67"/>
                  <a:gd name="T5" fmla="*/ 82 h 82"/>
                  <a:gd name="T6" fmla="*/ 32 w 67"/>
                  <a:gd name="T7" fmla="*/ 40 h 82"/>
                  <a:gd name="T8" fmla="*/ 66 w 67"/>
                  <a:gd name="T9" fmla="*/ 1 h 82"/>
                </a:gdLst>
                <a:ahLst/>
                <a:cxnLst>
                  <a:cxn ang="0">
                    <a:pos x="T0" y="T1"/>
                  </a:cxn>
                  <a:cxn ang="0">
                    <a:pos x="T2" y="T3"/>
                  </a:cxn>
                  <a:cxn ang="0">
                    <a:pos x="T4" y="T5"/>
                  </a:cxn>
                  <a:cxn ang="0">
                    <a:pos x="T6" y="T7"/>
                  </a:cxn>
                  <a:cxn ang="0">
                    <a:pos x="T8" y="T9"/>
                  </a:cxn>
                </a:cxnLst>
                <a:rect l="0" t="0" r="r" b="b"/>
                <a:pathLst>
                  <a:path w="67" h="82">
                    <a:moveTo>
                      <a:pt x="66" y="1"/>
                    </a:moveTo>
                    <a:cubicBezTo>
                      <a:pt x="67" y="1"/>
                      <a:pt x="52" y="20"/>
                      <a:pt x="34" y="42"/>
                    </a:cubicBezTo>
                    <a:cubicBezTo>
                      <a:pt x="16" y="64"/>
                      <a:pt x="1" y="82"/>
                      <a:pt x="0" y="82"/>
                    </a:cubicBezTo>
                    <a:cubicBezTo>
                      <a:pt x="0" y="81"/>
                      <a:pt x="14" y="63"/>
                      <a:pt x="32" y="40"/>
                    </a:cubicBezTo>
                    <a:cubicBezTo>
                      <a:pt x="50" y="18"/>
                      <a:pt x="65" y="0"/>
                      <a:pt x="66"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4">
                <a:extLst>
                  <a:ext uri="{FF2B5EF4-FFF2-40B4-BE49-F238E27FC236}">
                    <a16:creationId xmlns:a16="http://schemas.microsoft.com/office/drawing/2014/main" id="{EE0EA334-A1F8-4140-8B51-2860753E89E1}"/>
                  </a:ext>
                </a:extLst>
              </p:cNvPr>
              <p:cNvSpPr>
                <a:spLocks/>
              </p:cNvSpPr>
              <p:nvPr/>
            </p:nvSpPr>
            <p:spPr bwMode="auto">
              <a:xfrm>
                <a:off x="2886" y="-77"/>
                <a:ext cx="150" cy="185"/>
              </a:xfrm>
              <a:custGeom>
                <a:avLst/>
                <a:gdLst>
                  <a:gd name="T0" fmla="*/ 1 w 63"/>
                  <a:gd name="T1" fmla="*/ 0 h 78"/>
                  <a:gd name="T2" fmla="*/ 32 w 63"/>
                  <a:gd name="T3" fmla="*/ 38 h 78"/>
                  <a:gd name="T4" fmla="*/ 62 w 63"/>
                  <a:gd name="T5" fmla="*/ 78 h 78"/>
                  <a:gd name="T6" fmla="*/ 30 w 63"/>
                  <a:gd name="T7" fmla="*/ 40 h 78"/>
                  <a:gd name="T8" fmla="*/ 1 w 63"/>
                  <a:gd name="T9" fmla="*/ 0 h 78"/>
                </a:gdLst>
                <a:ahLst/>
                <a:cxnLst>
                  <a:cxn ang="0">
                    <a:pos x="T0" y="T1"/>
                  </a:cxn>
                  <a:cxn ang="0">
                    <a:pos x="T2" y="T3"/>
                  </a:cxn>
                  <a:cxn ang="0">
                    <a:pos x="T4" y="T5"/>
                  </a:cxn>
                  <a:cxn ang="0">
                    <a:pos x="T6" y="T7"/>
                  </a:cxn>
                  <a:cxn ang="0">
                    <a:pos x="T8" y="T9"/>
                  </a:cxn>
                </a:cxnLst>
                <a:rect l="0" t="0" r="r" b="b"/>
                <a:pathLst>
                  <a:path w="63" h="78">
                    <a:moveTo>
                      <a:pt x="1" y="0"/>
                    </a:moveTo>
                    <a:cubicBezTo>
                      <a:pt x="1" y="0"/>
                      <a:pt x="15" y="17"/>
                      <a:pt x="32" y="38"/>
                    </a:cubicBezTo>
                    <a:cubicBezTo>
                      <a:pt x="49" y="60"/>
                      <a:pt x="63" y="77"/>
                      <a:pt x="62" y="78"/>
                    </a:cubicBezTo>
                    <a:cubicBezTo>
                      <a:pt x="61" y="78"/>
                      <a:pt x="47" y="61"/>
                      <a:pt x="30" y="40"/>
                    </a:cubicBezTo>
                    <a:cubicBezTo>
                      <a:pt x="13" y="18"/>
                      <a:pt x="0" y="1"/>
                      <a:pt x="1"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25">
                <a:extLst>
                  <a:ext uri="{FF2B5EF4-FFF2-40B4-BE49-F238E27FC236}">
                    <a16:creationId xmlns:a16="http://schemas.microsoft.com/office/drawing/2014/main" id="{05B2E681-6C29-44BE-A184-8872AFC0F08E}"/>
                  </a:ext>
                </a:extLst>
              </p:cNvPr>
              <p:cNvSpPr>
                <a:spLocks noChangeArrowheads="1"/>
              </p:cNvSpPr>
              <p:nvPr/>
            </p:nvSpPr>
            <p:spPr bwMode="auto">
              <a:xfrm>
                <a:off x="3351" y="383"/>
                <a:ext cx="297" cy="848"/>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26">
                <a:extLst>
                  <a:ext uri="{FF2B5EF4-FFF2-40B4-BE49-F238E27FC236}">
                    <a16:creationId xmlns:a16="http://schemas.microsoft.com/office/drawing/2014/main" id="{F72FA2E5-1184-4806-A27D-7384388B8157}"/>
                  </a:ext>
                </a:extLst>
              </p:cNvPr>
              <p:cNvSpPr>
                <a:spLocks noChangeArrowheads="1"/>
              </p:cNvSpPr>
              <p:nvPr/>
            </p:nvSpPr>
            <p:spPr bwMode="auto">
              <a:xfrm>
                <a:off x="4078" y="3206"/>
                <a:ext cx="183" cy="21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27">
                <a:extLst>
                  <a:ext uri="{FF2B5EF4-FFF2-40B4-BE49-F238E27FC236}">
                    <a16:creationId xmlns:a16="http://schemas.microsoft.com/office/drawing/2014/main" id="{F1F59280-B017-42CB-83EB-10FF480A80EA}"/>
                  </a:ext>
                </a:extLst>
              </p:cNvPr>
              <p:cNvSpPr>
                <a:spLocks noChangeArrowheads="1"/>
              </p:cNvSpPr>
              <p:nvPr/>
            </p:nvSpPr>
            <p:spPr bwMode="auto">
              <a:xfrm>
                <a:off x="3259" y="3194"/>
                <a:ext cx="826" cy="24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28">
                <a:extLst>
                  <a:ext uri="{FF2B5EF4-FFF2-40B4-BE49-F238E27FC236}">
                    <a16:creationId xmlns:a16="http://schemas.microsoft.com/office/drawing/2014/main" id="{9DCC252C-4090-4CF1-B644-65EB219F08AD}"/>
                  </a:ext>
                </a:extLst>
              </p:cNvPr>
              <p:cNvSpPr>
                <a:spLocks noChangeArrowheads="1"/>
              </p:cNvSpPr>
              <p:nvPr/>
            </p:nvSpPr>
            <p:spPr bwMode="auto">
              <a:xfrm>
                <a:off x="3259" y="3194"/>
                <a:ext cx="82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9">
                <a:extLst>
                  <a:ext uri="{FF2B5EF4-FFF2-40B4-BE49-F238E27FC236}">
                    <a16:creationId xmlns:a16="http://schemas.microsoft.com/office/drawing/2014/main" id="{48F9E99B-A0A1-4B62-AEC4-1AB9BC113DA0}"/>
                  </a:ext>
                </a:extLst>
              </p:cNvPr>
              <p:cNvSpPr>
                <a:spLocks/>
              </p:cNvSpPr>
              <p:nvPr/>
            </p:nvSpPr>
            <p:spPr bwMode="auto">
              <a:xfrm>
                <a:off x="4061" y="3194"/>
                <a:ext cx="217" cy="19"/>
              </a:xfrm>
              <a:custGeom>
                <a:avLst/>
                <a:gdLst>
                  <a:gd name="T0" fmla="*/ 86 w 91"/>
                  <a:gd name="T1" fmla="*/ 8 h 8"/>
                  <a:gd name="T2" fmla="*/ 0 w 91"/>
                  <a:gd name="T3" fmla="*/ 8 h 8"/>
                  <a:gd name="T4" fmla="*/ 0 w 91"/>
                  <a:gd name="T5" fmla="*/ 0 h 8"/>
                  <a:gd name="T6" fmla="*/ 86 w 91"/>
                  <a:gd name="T7" fmla="*/ 0 h 8"/>
                  <a:gd name="T8" fmla="*/ 91 w 91"/>
                  <a:gd name="T9" fmla="*/ 4 h 8"/>
                  <a:gd name="T10" fmla="*/ 86 w 91"/>
                  <a:gd name="T11" fmla="*/ 8 h 8"/>
                </a:gdLst>
                <a:ahLst/>
                <a:cxnLst>
                  <a:cxn ang="0">
                    <a:pos x="T0" y="T1"/>
                  </a:cxn>
                  <a:cxn ang="0">
                    <a:pos x="T2" y="T3"/>
                  </a:cxn>
                  <a:cxn ang="0">
                    <a:pos x="T4" y="T5"/>
                  </a:cxn>
                  <a:cxn ang="0">
                    <a:pos x="T6" y="T7"/>
                  </a:cxn>
                  <a:cxn ang="0">
                    <a:pos x="T8" y="T9"/>
                  </a:cxn>
                  <a:cxn ang="0">
                    <a:pos x="T10" y="T11"/>
                  </a:cxn>
                </a:cxnLst>
                <a:rect l="0" t="0" r="r" b="b"/>
                <a:pathLst>
                  <a:path w="91" h="8">
                    <a:moveTo>
                      <a:pt x="86" y="8"/>
                    </a:moveTo>
                    <a:cubicBezTo>
                      <a:pt x="0" y="8"/>
                      <a:pt x="0" y="8"/>
                      <a:pt x="0" y="8"/>
                    </a:cubicBezTo>
                    <a:cubicBezTo>
                      <a:pt x="0" y="0"/>
                      <a:pt x="0" y="0"/>
                      <a:pt x="0" y="0"/>
                    </a:cubicBezTo>
                    <a:cubicBezTo>
                      <a:pt x="86" y="0"/>
                      <a:pt x="86" y="0"/>
                      <a:pt x="86" y="0"/>
                    </a:cubicBezTo>
                    <a:cubicBezTo>
                      <a:pt x="89" y="0"/>
                      <a:pt x="91" y="1"/>
                      <a:pt x="91" y="4"/>
                    </a:cubicBezTo>
                    <a:cubicBezTo>
                      <a:pt x="91" y="6"/>
                      <a:pt x="89" y="8"/>
                      <a:pt x="86"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30">
                <a:extLst>
                  <a:ext uri="{FF2B5EF4-FFF2-40B4-BE49-F238E27FC236}">
                    <a16:creationId xmlns:a16="http://schemas.microsoft.com/office/drawing/2014/main" id="{A5198B63-8E51-4906-8C3D-922A3E7DADD1}"/>
                  </a:ext>
                </a:extLst>
              </p:cNvPr>
              <p:cNvSpPr>
                <a:spLocks/>
              </p:cNvSpPr>
              <p:nvPr/>
            </p:nvSpPr>
            <p:spPr bwMode="auto">
              <a:xfrm>
                <a:off x="4061" y="3417"/>
                <a:ext cx="217" cy="22"/>
              </a:xfrm>
              <a:custGeom>
                <a:avLst/>
                <a:gdLst>
                  <a:gd name="T0" fmla="*/ 86 w 91"/>
                  <a:gd name="T1" fmla="*/ 9 h 9"/>
                  <a:gd name="T2" fmla="*/ 0 w 91"/>
                  <a:gd name="T3" fmla="*/ 9 h 9"/>
                  <a:gd name="T4" fmla="*/ 0 w 91"/>
                  <a:gd name="T5" fmla="*/ 0 h 9"/>
                  <a:gd name="T6" fmla="*/ 86 w 91"/>
                  <a:gd name="T7" fmla="*/ 0 h 9"/>
                  <a:gd name="T8" fmla="*/ 91 w 91"/>
                  <a:gd name="T9" fmla="*/ 4 h 9"/>
                  <a:gd name="T10" fmla="*/ 86 w 91"/>
                  <a:gd name="T11" fmla="*/ 9 h 9"/>
                </a:gdLst>
                <a:ahLst/>
                <a:cxnLst>
                  <a:cxn ang="0">
                    <a:pos x="T0" y="T1"/>
                  </a:cxn>
                  <a:cxn ang="0">
                    <a:pos x="T2" y="T3"/>
                  </a:cxn>
                  <a:cxn ang="0">
                    <a:pos x="T4" y="T5"/>
                  </a:cxn>
                  <a:cxn ang="0">
                    <a:pos x="T6" y="T7"/>
                  </a:cxn>
                  <a:cxn ang="0">
                    <a:pos x="T8" y="T9"/>
                  </a:cxn>
                  <a:cxn ang="0">
                    <a:pos x="T10" y="T11"/>
                  </a:cxn>
                </a:cxnLst>
                <a:rect l="0" t="0" r="r" b="b"/>
                <a:pathLst>
                  <a:path w="91" h="9">
                    <a:moveTo>
                      <a:pt x="86" y="9"/>
                    </a:moveTo>
                    <a:cubicBezTo>
                      <a:pt x="0" y="9"/>
                      <a:pt x="0" y="9"/>
                      <a:pt x="0" y="9"/>
                    </a:cubicBezTo>
                    <a:cubicBezTo>
                      <a:pt x="0" y="0"/>
                      <a:pt x="0" y="0"/>
                      <a:pt x="0" y="0"/>
                    </a:cubicBezTo>
                    <a:cubicBezTo>
                      <a:pt x="86" y="0"/>
                      <a:pt x="86" y="0"/>
                      <a:pt x="86" y="0"/>
                    </a:cubicBezTo>
                    <a:cubicBezTo>
                      <a:pt x="89" y="0"/>
                      <a:pt x="91" y="2"/>
                      <a:pt x="91" y="4"/>
                    </a:cubicBezTo>
                    <a:cubicBezTo>
                      <a:pt x="91" y="7"/>
                      <a:pt x="89" y="9"/>
                      <a:pt x="86" y="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1">
                <a:extLst>
                  <a:ext uri="{FF2B5EF4-FFF2-40B4-BE49-F238E27FC236}">
                    <a16:creationId xmlns:a16="http://schemas.microsoft.com/office/drawing/2014/main" id="{2738E35D-FE38-4F32-BCFC-C81FF8DBB5A5}"/>
                  </a:ext>
                </a:extLst>
              </p:cNvPr>
              <p:cNvSpPr>
                <a:spLocks noChangeArrowheads="1"/>
              </p:cNvSpPr>
              <p:nvPr/>
            </p:nvSpPr>
            <p:spPr bwMode="auto">
              <a:xfrm>
                <a:off x="3921" y="3194"/>
                <a:ext cx="98" cy="245"/>
              </a:xfrm>
              <a:prstGeom prst="rect">
                <a:avLst/>
              </a:prstGeom>
              <a:solidFill>
                <a:srgbClr val="8B30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32">
                <a:extLst>
                  <a:ext uri="{FF2B5EF4-FFF2-40B4-BE49-F238E27FC236}">
                    <a16:creationId xmlns:a16="http://schemas.microsoft.com/office/drawing/2014/main" id="{55D0E486-4182-4ACE-A5E8-059B137891B9}"/>
                  </a:ext>
                </a:extLst>
              </p:cNvPr>
              <p:cNvSpPr>
                <a:spLocks noChangeArrowheads="1"/>
              </p:cNvSpPr>
              <p:nvPr/>
            </p:nvSpPr>
            <p:spPr bwMode="auto">
              <a:xfrm>
                <a:off x="3921" y="3194"/>
                <a:ext cx="98"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33">
                <a:extLst>
                  <a:ext uri="{FF2B5EF4-FFF2-40B4-BE49-F238E27FC236}">
                    <a16:creationId xmlns:a16="http://schemas.microsoft.com/office/drawing/2014/main" id="{E5572BC3-2A70-41D8-8F8A-6234E6766F68}"/>
                  </a:ext>
                </a:extLst>
              </p:cNvPr>
              <p:cNvSpPr>
                <a:spLocks noChangeArrowheads="1"/>
              </p:cNvSpPr>
              <p:nvPr/>
            </p:nvSpPr>
            <p:spPr bwMode="auto">
              <a:xfrm>
                <a:off x="3332" y="3194"/>
                <a:ext cx="98" cy="245"/>
              </a:xfrm>
              <a:prstGeom prst="rect">
                <a:avLst/>
              </a:prstGeom>
              <a:solidFill>
                <a:srgbClr val="8B30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4">
                <a:extLst>
                  <a:ext uri="{FF2B5EF4-FFF2-40B4-BE49-F238E27FC236}">
                    <a16:creationId xmlns:a16="http://schemas.microsoft.com/office/drawing/2014/main" id="{53261C6A-E515-4BE3-B4BC-E6B55987E3FB}"/>
                  </a:ext>
                </a:extLst>
              </p:cNvPr>
              <p:cNvSpPr>
                <a:spLocks noChangeArrowheads="1"/>
              </p:cNvSpPr>
              <p:nvPr/>
            </p:nvSpPr>
            <p:spPr bwMode="auto">
              <a:xfrm>
                <a:off x="3332" y="3194"/>
                <a:ext cx="98"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5">
                <a:extLst>
                  <a:ext uri="{FF2B5EF4-FFF2-40B4-BE49-F238E27FC236}">
                    <a16:creationId xmlns:a16="http://schemas.microsoft.com/office/drawing/2014/main" id="{F93A46CA-8900-48BE-A84A-6C698D4A9E55}"/>
                  </a:ext>
                </a:extLst>
              </p:cNvPr>
              <p:cNvSpPr>
                <a:spLocks noChangeArrowheads="1"/>
              </p:cNvSpPr>
              <p:nvPr/>
            </p:nvSpPr>
            <p:spPr bwMode="auto">
              <a:xfrm>
                <a:off x="4085" y="3242"/>
                <a:ext cx="176"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36">
                <a:extLst>
                  <a:ext uri="{FF2B5EF4-FFF2-40B4-BE49-F238E27FC236}">
                    <a16:creationId xmlns:a16="http://schemas.microsoft.com/office/drawing/2014/main" id="{4ABEB45C-2FE2-4260-AE2F-E44F02D84156}"/>
                  </a:ext>
                </a:extLst>
              </p:cNvPr>
              <p:cNvSpPr>
                <a:spLocks noChangeArrowheads="1"/>
              </p:cNvSpPr>
              <p:nvPr/>
            </p:nvSpPr>
            <p:spPr bwMode="auto">
              <a:xfrm>
                <a:off x="4085" y="3275"/>
                <a:ext cx="176"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37">
                <a:extLst>
                  <a:ext uri="{FF2B5EF4-FFF2-40B4-BE49-F238E27FC236}">
                    <a16:creationId xmlns:a16="http://schemas.microsoft.com/office/drawing/2014/main" id="{36529AC1-9233-4916-AB9F-DCB787470B37}"/>
                  </a:ext>
                </a:extLst>
              </p:cNvPr>
              <p:cNvSpPr>
                <a:spLocks noChangeArrowheads="1"/>
              </p:cNvSpPr>
              <p:nvPr/>
            </p:nvSpPr>
            <p:spPr bwMode="auto">
              <a:xfrm>
                <a:off x="4085" y="3315"/>
                <a:ext cx="176"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38">
                <a:extLst>
                  <a:ext uri="{FF2B5EF4-FFF2-40B4-BE49-F238E27FC236}">
                    <a16:creationId xmlns:a16="http://schemas.microsoft.com/office/drawing/2014/main" id="{4E623FDF-0C32-4064-A8EE-5B04F15E1F66}"/>
                  </a:ext>
                </a:extLst>
              </p:cNvPr>
              <p:cNvSpPr>
                <a:spLocks noChangeArrowheads="1"/>
              </p:cNvSpPr>
              <p:nvPr/>
            </p:nvSpPr>
            <p:spPr bwMode="auto">
              <a:xfrm>
                <a:off x="4085" y="3356"/>
                <a:ext cx="176" cy="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39">
                <a:extLst>
                  <a:ext uri="{FF2B5EF4-FFF2-40B4-BE49-F238E27FC236}">
                    <a16:creationId xmlns:a16="http://schemas.microsoft.com/office/drawing/2014/main" id="{57E8B5DF-6110-49D2-8FA9-560A44F619B5}"/>
                  </a:ext>
                </a:extLst>
              </p:cNvPr>
              <p:cNvSpPr>
                <a:spLocks noChangeArrowheads="1"/>
              </p:cNvSpPr>
              <p:nvPr/>
            </p:nvSpPr>
            <p:spPr bwMode="auto">
              <a:xfrm>
                <a:off x="4085" y="3394"/>
                <a:ext cx="176"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0">
                <a:extLst>
                  <a:ext uri="{FF2B5EF4-FFF2-40B4-BE49-F238E27FC236}">
                    <a16:creationId xmlns:a16="http://schemas.microsoft.com/office/drawing/2014/main" id="{77C3D7EE-A89C-4307-8925-3FFE28C6A0F9}"/>
                  </a:ext>
                </a:extLst>
              </p:cNvPr>
              <p:cNvSpPr>
                <a:spLocks noChangeArrowheads="1"/>
              </p:cNvSpPr>
              <p:nvPr/>
            </p:nvSpPr>
            <p:spPr bwMode="auto">
              <a:xfrm>
                <a:off x="3499" y="3294"/>
                <a:ext cx="370" cy="43"/>
              </a:xfrm>
              <a:prstGeom prst="rect">
                <a:avLst/>
              </a:prstGeom>
              <a:solidFill>
                <a:srgbClr val="BA40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1">
                <a:extLst>
                  <a:ext uri="{FF2B5EF4-FFF2-40B4-BE49-F238E27FC236}">
                    <a16:creationId xmlns:a16="http://schemas.microsoft.com/office/drawing/2014/main" id="{366A54B8-2A6F-4B65-ABD5-38B02F28E936}"/>
                  </a:ext>
                </a:extLst>
              </p:cNvPr>
              <p:cNvSpPr>
                <a:spLocks noChangeArrowheads="1"/>
              </p:cNvSpPr>
              <p:nvPr/>
            </p:nvSpPr>
            <p:spPr bwMode="auto">
              <a:xfrm>
                <a:off x="3499" y="3294"/>
                <a:ext cx="370" cy="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2">
                <a:extLst>
                  <a:ext uri="{FF2B5EF4-FFF2-40B4-BE49-F238E27FC236}">
                    <a16:creationId xmlns:a16="http://schemas.microsoft.com/office/drawing/2014/main" id="{E6A4E29A-8C87-4A67-94A7-CCAD0F690515}"/>
                  </a:ext>
                </a:extLst>
              </p:cNvPr>
              <p:cNvSpPr>
                <a:spLocks noChangeArrowheads="1"/>
              </p:cNvSpPr>
              <p:nvPr/>
            </p:nvSpPr>
            <p:spPr bwMode="auto">
              <a:xfrm>
                <a:off x="4073" y="3443"/>
                <a:ext cx="186" cy="131"/>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3">
                <a:extLst>
                  <a:ext uri="{FF2B5EF4-FFF2-40B4-BE49-F238E27FC236}">
                    <a16:creationId xmlns:a16="http://schemas.microsoft.com/office/drawing/2014/main" id="{939A8F9E-22B5-4B14-A6E8-E23F5296DD29}"/>
                  </a:ext>
                </a:extLst>
              </p:cNvPr>
              <p:cNvSpPr>
                <a:spLocks noChangeArrowheads="1"/>
              </p:cNvSpPr>
              <p:nvPr/>
            </p:nvSpPr>
            <p:spPr bwMode="auto">
              <a:xfrm>
                <a:off x="3287" y="3439"/>
                <a:ext cx="789" cy="140"/>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44">
                <a:extLst>
                  <a:ext uri="{FF2B5EF4-FFF2-40B4-BE49-F238E27FC236}">
                    <a16:creationId xmlns:a16="http://schemas.microsoft.com/office/drawing/2014/main" id="{D0C32FB4-5443-4A69-93E6-E5072EBD714C}"/>
                  </a:ext>
                </a:extLst>
              </p:cNvPr>
              <p:cNvSpPr>
                <a:spLocks noChangeArrowheads="1"/>
              </p:cNvSpPr>
              <p:nvPr/>
            </p:nvSpPr>
            <p:spPr bwMode="auto">
              <a:xfrm>
                <a:off x="3287" y="3439"/>
                <a:ext cx="789" cy="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5">
                <a:extLst>
                  <a:ext uri="{FF2B5EF4-FFF2-40B4-BE49-F238E27FC236}">
                    <a16:creationId xmlns:a16="http://schemas.microsoft.com/office/drawing/2014/main" id="{8B31CF3A-EC45-45CB-B754-88883B3BB894}"/>
                  </a:ext>
                </a:extLst>
              </p:cNvPr>
              <p:cNvSpPr>
                <a:spLocks/>
              </p:cNvSpPr>
              <p:nvPr/>
            </p:nvSpPr>
            <p:spPr bwMode="auto">
              <a:xfrm>
                <a:off x="4071" y="3439"/>
                <a:ext cx="202" cy="9"/>
              </a:xfrm>
              <a:custGeom>
                <a:avLst/>
                <a:gdLst>
                  <a:gd name="T0" fmla="*/ 0 w 85"/>
                  <a:gd name="T1" fmla="*/ 4 h 4"/>
                  <a:gd name="T2" fmla="*/ 83 w 85"/>
                  <a:gd name="T3" fmla="*/ 4 h 4"/>
                  <a:gd name="T4" fmla="*/ 85 w 85"/>
                  <a:gd name="T5" fmla="*/ 2 h 4"/>
                  <a:gd name="T6" fmla="*/ 83 w 85"/>
                  <a:gd name="T7" fmla="*/ 0 h 4"/>
                  <a:gd name="T8" fmla="*/ 0 w 85"/>
                  <a:gd name="T9" fmla="*/ 0 h 4"/>
                  <a:gd name="T10" fmla="*/ 0 w 85"/>
                  <a:gd name="T11" fmla="*/ 4 h 4"/>
                </a:gdLst>
                <a:ahLst/>
                <a:cxnLst>
                  <a:cxn ang="0">
                    <a:pos x="T0" y="T1"/>
                  </a:cxn>
                  <a:cxn ang="0">
                    <a:pos x="T2" y="T3"/>
                  </a:cxn>
                  <a:cxn ang="0">
                    <a:pos x="T4" y="T5"/>
                  </a:cxn>
                  <a:cxn ang="0">
                    <a:pos x="T6" y="T7"/>
                  </a:cxn>
                  <a:cxn ang="0">
                    <a:pos x="T8" y="T9"/>
                  </a:cxn>
                  <a:cxn ang="0">
                    <a:pos x="T10" y="T11"/>
                  </a:cxn>
                </a:cxnLst>
                <a:rect l="0" t="0" r="r" b="b"/>
                <a:pathLst>
                  <a:path w="85" h="4">
                    <a:moveTo>
                      <a:pt x="0" y="4"/>
                    </a:moveTo>
                    <a:cubicBezTo>
                      <a:pt x="83" y="4"/>
                      <a:pt x="83" y="4"/>
                      <a:pt x="83" y="4"/>
                    </a:cubicBezTo>
                    <a:cubicBezTo>
                      <a:pt x="85" y="4"/>
                      <a:pt x="85" y="3"/>
                      <a:pt x="85" y="2"/>
                    </a:cubicBezTo>
                    <a:cubicBezTo>
                      <a:pt x="85" y="0"/>
                      <a:pt x="85" y="0"/>
                      <a:pt x="83" y="0"/>
                    </a:cubicBezTo>
                    <a:cubicBezTo>
                      <a:pt x="0" y="0"/>
                      <a:pt x="0" y="0"/>
                      <a:pt x="0" y="0"/>
                    </a:cubicBezTo>
                    <a:lnTo>
                      <a:pt x="0" y="4"/>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46">
                <a:extLst>
                  <a:ext uri="{FF2B5EF4-FFF2-40B4-BE49-F238E27FC236}">
                    <a16:creationId xmlns:a16="http://schemas.microsoft.com/office/drawing/2014/main" id="{475E8721-E6E1-4D28-975A-C7AD68D2F742}"/>
                  </a:ext>
                </a:extLst>
              </p:cNvPr>
              <p:cNvSpPr>
                <a:spLocks/>
              </p:cNvSpPr>
              <p:nvPr/>
            </p:nvSpPr>
            <p:spPr bwMode="auto">
              <a:xfrm>
                <a:off x="4071" y="3569"/>
                <a:ext cx="202" cy="10"/>
              </a:xfrm>
              <a:custGeom>
                <a:avLst/>
                <a:gdLst>
                  <a:gd name="T0" fmla="*/ 0 w 85"/>
                  <a:gd name="T1" fmla="*/ 4 h 4"/>
                  <a:gd name="T2" fmla="*/ 84 w 85"/>
                  <a:gd name="T3" fmla="*/ 4 h 4"/>
                  <a:gd name="T4" fmla="*/ 85 w 85"/>
                  <a:gd name="T5" fmla="*/ 3 h 4"/>
                  <a:gd name="T6" fmla="*/ 85 w 85"/>
                  <a:gd name="T7" fmla="*/ 2 h 4"/>
                  <a:gd name="T8" fmla="*/ 84 w 85"/>
                  <a:gd name="T9" fmla="*/ 0 h 4"/>
                  <a:gd name="T10" fmla="*/ 0 w 85"/>
                  <a:gd name="T11" fmla="*/ 0 h 4"/>
                  <a:gd name="T12" fmla="*/ 0 w 8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5" h="4">
                    <a:moveTo>
                      <a:pt x="0" y="4"/>
                    </a:moveTo>
                    <a:cubicBezTo>
                      <a:pt x="84" y="4"/>
                      <a:pt x="84" y="4"/>
                      <a:pt x="84" y="4"/>
                    </a:cubicBezTo>
                    <a:cubicBezTo>
                      <a:pt x="85" y="4"/>
                      <a:pt x="85" y="4"/>
                      <a:pt x="85" y="3"/>
                    </a:cubicBezTo>
                    <a:cubicBezTo>
                      <a:pt x="85" y="2"/>
                      <a:pt x="85" y="2"/>
                      <a:pt x="85" y="2"/>
                    </a:cubicBezTo>
                    <a:cubicBezTo>
                      <a:pt x="85" y="1"/>
                      <a:pt x="85" y="0"/>
                      <a:pt x="84" y="0"/>
                    </a:cubicBezTo>
                    <a:cubicBezTo>
                      <a:pt x="0" y="0"/>
                      <a:pt x="0" y="0"/>
                      <a:pt x="0" y="0"/>
                    </a:cubicBezTo>
                    <a:lnTo>
                      <a:pt x="0" y="4"/>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7">
                <a:extLst>
                  <a:ext uri="{FF2B5EF4-FFF2-40B4-BE49-F238E27FC236}">
                    <a16:creationId xmlns:a16="http://schemas.microsoft.com/office/drawing/2014/main" id="{694AB7AC-CA48-4886-8A74-0B228C4008F2}"/>
                  </a:ext>
                </a:extLst>
              </p:cNvPr>
              <p:cNvSpPr>
                <a:spLocks noChangeArrowheads="1"/>
              </p:cNvSpPr>
              <p:nvPr/>
            </p:nvSpPr>
            <p:spPr bwMode="auto">
              <a:xfrm>
                <a:off x="4076" y="3467"/>
                <a:ext cx="183"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48">
                <a:extLst>
                  <a:ext uri="{FF2B5EF4-FFF2-40B4-BE49-F238E27FC236}">
                    <a16:creationId xmlns:a16="http://schemas.microsoft.com/office/drawing/2014/main" id="{9FB0B8F6-3ED9-4117-9BE9-6E9D4E3C9A0B}"/>
                  </a:ext>
                </a:extLst>
              </p:cNvPr>
              <p:cNvSpPr>
                <a:spLocks noChangeArrowheads="1"/>
              </p:cNvSpPr>
              <p:nvPr/>
            </p:nvSpPr>
            <p:spPr bwMode="auto">
              <a:xfrm>
                <a:off x="4076" y="3491"/>
                <a:ext cx="183"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49">
                <a:extLst>
                  <a:ext uri="{FF2B5EF4-FFF2-40B4-BE49-F238E27FC236}">
                    <a16:creationId xmlns:a16="http://schemas.microsoft.com/office/drawing/2014/main" id="{D38D46B1-399E-408B-8BDE-4C4A01C7B2D1}"/>
                  </a:ext>
                </a:extLst>
              </p:cNvPr>
              <p:cNvSpPr>
                <a:spLocks noChangeArrowheads="1"/>
              </p:cNvSpPr>
              <p:nvPr/>
            </p:nvSpPr>
            <p:spPr bwMode="auto">
              <a:xfrm>
                <a:off x="4076" y="3517"/>
                <a:ext cx="183"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50">
                <a:extLst>
                  <a:ext uri="{FF2B5EF4-FFF2-40B4-BE49-F238E27FC236}">
                    <a16:creationId xmlns:a16="http://schemas.microsoft.com/office/drawing/2014/main" id="{E688829F-6155-40E0-9D51-7AE5FE722269}"/>
                  </a:ext>
                </a:extLst>
              </p:cNvPr>
              <p:cNvSpPr>
                <a:spLocks noChangeArrowheads="1"/>
              </p:cNvSpPr>
              <p:nvPr/>
            </p:nvSpPr>
            <p:spPr bwMode="auto">
              <a:xfrm>
                <a:off x="4076" y="3541"/>
                <a:ext cx="183"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51">
                <a:extLst>
                  <a:ext uri="{FF2B5EF4-FFF2-40B4-BE49-F238E27FC236}">
                    <a16:creationId xmlns:a16="http://schemas.microsoft.com/office/drawing/2014/main" id="{381A8270-A635-46E2-91E9-8A4990DB5274}"/>
                  </a:ext>
                </a:extLst>
              </p:cNvPr>
              <p:cNvSpPr>
                <a:spLocks noChangeArrowheads="1"/>
              </p:cNvSpPr>
              <p:nvPr/>
            </p:nvSpPr>
            <p:spPr bwMode="auto">
              <a:xfrm>
                <a:off x="4097" y="3593"/>
                <a:ext cx="190" cy="35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52">
                <a:extLst>
                  <a:ext uri="{FF2B5EF4-FFF2-40B4-BE49-F238E27FC236}">
                    <a16:creationId xmlns:a16="http://schemas.microsoft.com/office/drawing/2014/main" id="{C23CE7C4-447A-4DC3-A2C8-B2A5EAA06FD2}"/>
                  </a:ext>
                </a:extLst>
              </p:cNvPr>
              <p:cNvSpPr>
                <a:spLocks noChangeArrowheads="1"/>
              </p:cNvSpPr>
              <p:nvPr/>
            </p:nvSpPr>
            <p:spPr bwMode="auto">
              <a:xfrm>
                <a:off x="3211" y="3579"/>
                <a:ext cx="886" cy="389"/>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53">
                <a:extLst>
                  <a:ext uri="{FF2B5EF4-FFF2-40B4-BE49-F238E27FC236}">
                    <a16:creationId xmlns:a16="http://schemas.microsoft.com/office/drawing/2014/main" id="{6A000CC0-B046-44D8-9C7C-EFCB73178A29}"/>
                  </a:ext>
                </a:extLst>
              </p:cNvPr>
              <p:cNvSpPr>
                <a:spLocks noChangeArrowheads="1"/>
              </p:cNvSpPr>
              <p:nvPr/>
            </p:nvSpPr>
            <p:spPr bwMode="auto">
              <a:xfrm>
                <a:off x="3211" y="3579"/>
                <a:ext cx="886" cy="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54">
                <a:extLst>
                  <a:ext uri="{FF2B5EF4-FFF2-40B4-BE49-F238E27FC236}">
                    <a16:creationId xmlns:a16="http://schemas.microsoft.com/office/drawing/2014/main" id="{C21FC4B8-BAB0-4489-8CE0-C9D8516CF4A8}"/>
                  </a:ext>
                </a:extLst>
              </p:cNvPr>
              <p:cNvSpPr>
                <a:spLocks/>
              </p:cNvSpPr>
              <p:nvPr/>
            </p:nvSpPr>
            <p:spPr bwMode="auto">
              <a:xfrm>
                <a:off x="4073" y="3942"/>
                <a:ext cx="243" cy="26"/>
              </a:xfrm>
              <a:custGeom>
                <a:avLst/>
                <a:gdLst>
                  <a:gd name="T0" fmla="*/ 96 w 102"/>
                  <a:gd name="T1" fmla="*/ 11 h 11"/>
                  <a:gd name="T2" fmla="*/ 0 w 102"/>
                  <a:gd name="T3" fmla="*/ 11 h 11"/>
                  <a:gd name="T4" fmla="*/ 0 w 102"/>
                  <a:gd name="T5" fmla="*/ 0 h 11"/>
                  <a:gd name="T6" fmla="*/ 96 w 102"/>
                  <a:gd name="T7" fmla="*/ 0 h 11"/>
                  <a:gd name="T8" fmla="*/ 102 w 102"/>
                  <a:gd name="T9" fmla="*/ 6 h 11"/>
                  <a:gd name="T10" fmla="*/ 96 w 102"/>
                  <a:gd name="T11" fmla="*/ 11 h 11"/>
                </a:gdLst>
                <a:ahLst/>
                <a:cxnLst>
                  <a:cxn ang="0">
                    <a:pos x="T0" y="T1"/>
                  </a:cxn>
                  <a:cxn ang="0">
                    <a:pos x="T2" y="T3"/>
                  </a:cxn>
                  <a:cxn ang="0">
                    <a:pos x="T4" y="T5"/>
                  </a:cxn>
                  <a:cxn ang="0">
                    <a:pos x="T6" y="T7"/>
                  </a:cxn>
                  <a:cxn ang="0">
                    <a:pos x="T8" y="T9"/>
                  </a:cxn>
                  <a:cxn ang="0">
                    <a:pos x="T10" y="T11"/>
                  </a:cxn>
                </a:cxnLst>
                <a:rect l="0" t="0" r="r" b="b"/>
                <a:pathLst>
                  <a:path w="102" h="11">
                    <a:moveTo>
                      <a:pt x="96" y="11"/>
                    </a:moveTo>
                    <a:cubicBezTo>
                      <a:pt x="0" y="11"/>
                      <a:pt x="0" y="11"/>
                      <a:pt x="0" y="11"/>
                    </a:cubicBezTo>
                    <a:cubicBezTo>
                      <a:pt x="0" y="0"/>
                      <a:pt x="0" y="0"/>
                      <a:pt x="0" y="0"/>
                    </a:cubicBezTo>
                    <a:cubicBezTo>
                      <a:pt x="96" y="0"/>
                      <a:pt x="96" y="0"/>
                      <a:pt x="96" y="0"/>
                    </a:cubicBezTo>
                    <a:cubicBezTo>
                      <a:pt x="99" y="0"/>
                      <a:pt x="102" y="3"/>
                      <a:pt x="102" y="6"/>
                    </a:cubicBezTo>
                    <a:cubicBezTo>
                      <a:pt x="102" y="9"/>
                      <a:pt x="99" y="11"/>
                      <a:pt x="96" y="1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55">
                <a:extLst>
                  <a:ext uri="{FF2B5EF4-FFF2-40B4-BE49-F238E27FC236}">
                    <a16:creationId xmlns:a16="http://schemas.microsoft.com/office/drawing/2014/main" id="{4D1B90AC-4870-409F-A1CC-9C16459BAD4D}"/>
                  </a:ext>
                </a:extLst>
              </p:cNvPr>
              <p:cNvSpPr>
                <a:spLocks/>
              </p:cNvSpPr>
              <p:nvPr/>
            </p:nvSpPr>
            <p:spPr bwMode="auto">
              <a:xfrm>
                <a:off x="4073" y="3579"/>
                <a:ext cx="243" cy="26"/>
              </a:xfrm>
              <a:custGeom>
                <a:avLst/>
                <a:gdLst>
                  <a:gd name="T0" fmla="*/ 97 w 102"/>
                  <a:gd name="T1" fmla="*/ 11 h 11"/>
                  <a:gd name="T2" fmla="*/ 0 w 102"/>
                  <a:gd name="T3" fmla="*/ 11 h 11"/>
                  <a:gd name="T4" fmla="*/ 0 w 102"/>
                  <a:gd name="T5" fmla="*/ 0 h 11"/>
                  <a:gd name="T6" fmla="*/ 97 w 102"/>
                  <a:gd name="T7" fmla="*/ 0 h 11"/>
                  <a:gd name="T8" fmla="*/ 102 w 102"/>
                  <a:gd name="T9" fmla="*/ 5 h 11"/>
                  <a:gd name="T10" fmla="*/ 102 w 102"/>
                  <a:gd name="T11" fmla="*/ 6 h 11"/>
                  <a:gd name="T12" fmla="*/ 97 w 10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02" h="11">
                    <a:moveTo>
                      <a:pt x="97" y="11"/>
                    </a:moveTo>
                    <a:cubicBezTo>
                      <a:pt x="0" y="11"/>
                      <a:pt x="0" y="11"/>
                      <a:pt x="0" y="11"/>
                    </a:cubicBezTo>
                    <a:cubicBezTo>
                      <a:pt x="0" y="0"/>
                      <a:pt x="0" y="0"/>
                      <a:pt x="0" y="0"/>
                    </a:cubicBezTo>
                    <a:cubicBezTo>
                      <a:pt x="97" y="0"/>
                      <a:pt x="97" y="0"/>
                      <a:pt x="97" y="0"/>
                    </a:cubicBezTo>
                    <a:cubicBezTo>
                      <a:pt x="100" y="0"/>
                      <a:pt x="102" y="2"/>
                      <a:pt x="102" y="5"/>
                    </a:cubicBezTo>
                    <a:cubicBezTo>
                      <a:pt x="102" y="6"/>
                      <a:pt x="102" y="6"/>
                      <a:pt x="102" y="6"/>
                    </a:cubicBezTo>
                    <a:cubicBezTo>
                      <a:pt x="102" y="9"/>
                      <a:pt x="100" y="11"/>
                      <a:pt x="97" y="1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56">
                <a:extLst>
                  <a:ext uri="{FF2B5EF4-FFF2-40B4-BE49-F238E27FC236}">
                    <a16:creationId xmlns:a16="http://schemas.microsoft.com/office/drawing/2014/main" id="{96CD69A8-A5E9-41BB-AD24-1F9F3E45DF3B}"/>
                  </a:ext>
                </a:extLst>
              </p:cNvPr>
              <p:cNvSpPr>
                <a:spLocks noChangeArrowheads="1"/>
              </p:cNvSpPr>
              <p:nvPr/>
            </p:nvSpPr>
            <p:spPr bwMode="auto">
              <a:xfrm>
                <a:off x="4097" y="3638"/>
                <a:ext cx="190"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57">
                <a:extLst>
                  <a:ext uri="{FF2B5EF4-FFF2-40B4-BE49-F238E27FC236}">
                    <a16:creationId xmlns:a16="http://schemas.microsoft.com/office/drawing/2014/main" id="{F3028A8B-76C1-4F11-AADC-985EDA9647E7}"/>
                  </a:ext>
                </a:extLst>
              </p:cNvPr>
              <p:cNvSpPr>
                <a:spLocks noChangeArrowheads="1"/>
              </p:cNvSpPr>
              <p:nvPr/>
            </p:nvSpPr>
            <p:spPr bwMode="auto">
              <a:xfrm>
                <a:off x="4097" y="3686"/>
                <a:ext cx="190"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58">
                <a:extLst>
                  <a:ext uri="{FF2B5EF4-FFF2-40B4-BE49-F238E27FC236}">
                    <a16:creationId xmlns:a16="http://schemas.microsoft.com/office/drawing/2014/main" id="{FC7387BA-DB0E-4C4E-AE0B-385AD7DB75D5}"/>
                  </a:ext>
                </a:extLst>
              </p:cNvPr>
              <p:cNvSpPr>
                <a:spLocks noChangeArrowheads="1"/>
              </p:cNvSpPr>
              <p:nvPr/>
            </p:nvSpPr>
            <p:spPr bwMode="auto">
              <a:xfrm>
                <a:off x="4097" y="3731"/>
                <a:ext cx="190"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59">
                <a:extLst>
                  <a:ext uri="{FF2B5EF4-FFF2-40B4-BE49-F238E27FC236}">
                    <a16:creationId xmlns:a16="http://schemas.microsoft.com/office/drawing/2014/main" id="{61458C6D-5939-4143-B2DF-8546C3433690}"/>
                  </a:ext>
                </a:extLst>
              </p:cNvPr>
              <p:cNvSpPr>
                <a:spLocks noChangeArrowheads="1"/>
              </p:cNvSpPr>
              <p:nvPr/>
            </p:nvSpPr>
            <p:spPr bwMode="auto">
              <a:xfrm>
                <a:off x="4097" y="3776"/>
                <a:ext cx="190"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60">
                <a:extLst>
                  <a:ext uri="{FF2B5EF4-FFF2-40B4-BE49-F238E27FC236}">
                    <a16:creationId xmlns:a16="http://schemas.microsoft.com/office/drawing/2014/main" id="{5659062C-5F28-4E1F-B5A3-02C46643C0D4}"/>
                  </a:ext>
                </a:extLst>
              </p:cNvPr>
              <p:cNvSpPr>
                <a:spLocks noChangeArrowheads="1"/>
              </p:cNvSpPr>
              <p:nvPr/>
            </p:nvSpPr>
            <p:spPr bwMode="auto">
              <a:xfrm>
                <a:off x="4097" y="3823"/>
                <a:ext cx="190"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61">
                <a:extLst>
                  <a:ext uri="{FF2B5EF4-FFF2-40B4-BE49-F238E27FC236}">
                    <a16:creationId xmlns:a16="http://schemas.microsoft.com/office/drawing/2014/main" id="{E1070358-A0CD-4068-831F-44C21EA2C3CA}"/>
                  </a:ext>
                </a:extLst>
              </p:cNvPr>
              <p:cNvSpPr>
                <a:spLocks noChangeArrowheads="1"/>
              </p:cNvSpPr>
              <p:nvPr/>
            </p:nvSpPr>
            <p:spPr bwMode="auto">
              <a:xfrm>
                <a:off x="4097" y="3868"/>
                <a:ext cx="190"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62">
                <a:extLst>
                  <a:ext uri="{FF2B5EF4-FFF2-40B4-BE49-F238E27FC236}">
                    <a16:creationId xmlns:a16="http://schemas.microsoft.com/office/drawing/2014/main" id="{B9C05D48-291C-47CF-BD98-FA6C92D07666}"/>
                  </a:ext>
                </a:extLst>
              </p:cNvPr>
              <p:cNvSpPr>
                <a:spLocks noChangeArrowheads="1"/>
              </p:cNvSpPr>
              <p:nvPr/>
            </p:nvSpPr>
            <p:spPr bwMode="auto">
              <a:xfrm>
                <a:off x="4097" y="3913"/>
                <a:ext cx="190"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63">
                <a:extLst>
                  <a:ext uri="{FF2B5EF4-FFF2-40B4-BE49-F238E27FC236}">
                    <a16:creationId xmlns:a16="http://schemas.microsoft.com/office/drawing/2014/main" id="{684A6E46-168E-4F9E-A5BF-0E1A1D970571}"/>
                  </a:ext>
                </a:extLst>
              </p:cNvPr>
              <p:cNvSpPr>
                <a:spLocks noChangeArrowheads="1"/>
              </p:cNvSpPr>
              <p:nvPr/>
            </p:nvSpPr>
            <p:spPr bwMode="auto">
              <a:xfrm>
                <a:off x="3211" y="3579"/>
                <a:ext cx="219" cy="389"/>
              </a:xfrm>
              <a:prstGeom prst="rect">
                <a:avLst/>
              </a:prstGeom>
              <a:solidFill>
                <a:srgbClr val="A238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4">
                <a:extLst>
                  <a:ext uri="{FF2B5EF4-FFF2-40B4-BE49-F238E27FC236}">
                    <a16:creationId xmlns:a16="http://schemas.microsoft.com/office/drawing/2014/main" id="{CFA92894-F6E9-42B8-B5DD-4F8BCE817451}"/>
                  </a:ext>
                </a:extLst>
              </p:cNvPr>
              <p:cNvSpPr>
                <a:spLocks noEditPoints="1"/>
              </p:cNvSpPr>
              <p:nvPr/>
            </p:nvSpPr>
            <p:spPr bwMode="auto">
              <a:xfrm>
                <a:off x="3318" y="3750"/>
                <a:ext cx="76" cy="76"/>
              </a:xfrm>
              <a:custGeom>
                <a:avLst/>
                <a:gdLst>
                  <a:gd name="T0" fmla="*/ 0 w 32"/>
                  <a:gd name="T1" fmla="*/ 0 h 32"/>
                  <a:gd name="T2" fmla="*/ 14 w 32"/>
                  <a:gd name="T3" fmla="*/ 0 h 32"/>
                  <a:gd name="T4" fmla="*/ 32 w 32"/>
                  <a:gd name="T5" fmla="*/ 16 h 32"/>
                  <a:gd name="T6" fmla="*/ 14 w 32"/>
                  <a:gd name="T7" fmla="*/ 32 h 32"/>
                  <a:gd name="T8" fmla="*/ 0 w 32"/>
                  <a:gd name="T9" fmla="*/ 32 h 32"/>
                  <a:gd name="T10" fmla="*/ 0 w 32"/>
                  <a:gd name="T11" fmla="*/ 0 h 32"/>
                  <a:gd name="T12" fmla="*/ 14 w 32"/>
                  <a:gd name="T13" fmla="*/ 26 h 32"/>
                  <a:gd name="T14" fmla="*/ 24 w 32"/>
                  <a:gd name="T15" fmla="*/ 16 h 32"/>
                  <a:gd name="T16" fmla="*/ 14 w 32"/>
                  <a:gd name="T17" fmla="*/ 6 h 32"/>
                  <a:gd name="T18" fmla="*/ 7 w 32"/>
                  <a:gd name="T19" fmla="*/ 6 h 32"/>
                  <a:gd name="T20" fmla="*/ 7 w 32"/>
                  <a:gd name="T21" fmla="*/ 26 h 32"/>
                  <a:gd name="T22" fmla="*/ 14 w 32"/>
                  <a:gd name="T23"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32">
                    <a:moveTo>
                      <a:pt x="0" y="0"/>
                    </a:moveTo>
                    <a:cubicBezTo>
                      <a:pt x="14" y="0"/>
                      <a:pt x="14" y="0"/>
                      <a:pt x="14" y="0"/>
                    </a:cubicBezTo>
                    <a:cubicBezTo>
                      <a:pt x="25" y="0"/>
                      <a:pt x="32" y="6"/>
                      <a:pt x="32" y="16"/>
                    </a:cubicBezTo>
                    <a:cubicBezTo>
                      <a:pt x="32" y="25"/>
                      <a:pt x="25" y="32"/>
                      <a:pt x="14" y="32"/>
                    </a:cubicBezTo>
                    <a:cubicBezTo>
                      <a:pt x="0" y="32"/>
                      <a:pt x="0" y="32"/>
                      <a:pt x="0" y="32"/>
                    </a:cubicBezTo>
                    <a:lnTo>
                      <a:pt x="0" y="0"/>
                    </a:lnTo>
                    <a:close/>
                    <a:moveTo>
                      <a:pt x="14" y="26"/>
                    </a:moveTo>
                    <a:cubicBezTo>
                      <a:pt x="20" y="26"/>
                      <a:pt x="24" y="22"/>
                      <a:pt x="24" y="16"/>
                    </a:cubicBezTo>
                    <a:cubicBezTo>
                      <a:pt x="24" y="10"/>
                      <a:pt x="20" y="6"/>
                      <a:pt x="14" y="6"/>
                    </a:cubicBezTo>
                    <a:cubicBezTo>
                      <a:pt x="7" y="6"/>
                      <a:pt x="7" y="6"/>
                      <a:pt x="7" y="6"/>
                    </a:cubicBezTo>
                    <a:cubicBezTo>
                      <a:pt x="7" y="26"/>
                      <a:pt x="7" y="26"/>
                      <a:pt x="7" y="26"/>
                    </a:cubicBezTo>
                    <a:lnTo>
                      <a:pt x="14"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65">
                <a:extLst>
                  <a:ext uri="{FF2B5EF4-FFF2-40B4-BE49-F238E27FC236}">
                    <a16:creationId xmlns:a16="http://schemas.microsoft.com/office/drawing/2014/main" id="{34FEA143-6A55-4850-9F79-0644773FD1C5}"/>
                  </a:ext>
                </a:extLst>
              </p:cNvPr>
              <p:cNvSpPr>
                <a:spLocks noChangeArrowheads="1"/>
              </p:cNvSpPr>
              <p:nvPr/>
            </p:nvSpPr>
            <p:spPr bwMode="auto">
              <a:xfrm>
                <a:off x="3406" y="3750"/>
                <a:ext cx="19"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6">
                <a:extLst>
                  <a:ext uri="{FF2B5EF4-FFF2-40B4-BE49-F238E27FC236}">
                    <a16:creationId xmlns:a16="http://schemas.microsoft.com/office/drawing/2014/main" id="{27C57A4E-9180-4254-B378-C1A955C4ABAB}"/>
                  </a:ext>
                </a:extLst>
              </p:cNvPr>
              <p:cNvSpPr>
                <a:spLocks/>
              </p:cNvSpPr>
              <p:nvPr/>
            </p:nvSpPr>
            <p:spPr bwMode="auto">
              <a:xfrm>
                <a:off x="3437" y="3747"/>
                <a:ext cx="74" cy="79"/>
              </a:xfrm>
              <a:custGeom>
                <a:avLst/>
                <a:gdLst>
                  <a:gd name="T0" fmla="*/ 0 w 31"/>
                  <a:gd name="T1" fmla="*/ 17 h 33"/>
                  <a:gd name="T2" fmla="*/ 18 w 31"/>
                  <a:gd name="T3" fmla="*/ 0 h 33"/>
                  <a:gd name="T4" fmla="*/ 31 w 31"/>
                  <a:gd name="T5" fmla="*/ 6 h 33"/>
                  <a:gd name="T6" fmla="*/ 26 w 31"/>
                  <a:gd name="T7" fmla="*/ 10 h 33"/>
                  <a:gd name="T8" fmla="*/ 18 w 31"/>
                  <a:gd name="T9" fmla="*/ 6 h 33"/>
                  <a:gd name="T10" fmla="*/ 8 w 31"/>
                  <a:gd name="T11" fmla="*/ 17 h 33"/>
                  <a:gd name="T12" fmla="*/ 18 w 31"/>
                  <a:gd name="T13" fmla="*/ 27 h 33"/>
                  <a:gd name="T14" fmla="*/ 26 w 31"/>
                  <a:gd name="T15" fmla="*/ 23 h 33"/>
                  <a:gd name="T16" fmla="*/ 31 w 31"/>
                  <a:gd name="T17" fmla="*/ 28 h 33"/>
                  <a:gd name="T18" fmla="*/ 18 w 31"/>
                  <a:gd name="T19" fmla="*/ 33 h 33"/>
                  <a:gd name="T20" fmla="*/ 0 w 31"/>
                  <a:gd name="T2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3">
                    <a:moveTo>
                      <a:pt x="0" y="17"/>
                    </a:moveTo>
                    <a:cubicBezTo>
                      <a:pt x="0" y="7"/>
                      <a:pt x="8" y="0"/>
                      <a:pt x="18" y="0"/>
                    </a:cubicBezTo>
                    <a:cubicBezTo>
                      <a:pt x="23" y="0"/>
                      <a:pt x="28" y="2"/>
                      <a:pt x="31" y="6"/>
                    </a:cubicBezTo>
                    <a:cubicBezTo>
                      <a:pt x="26" y="10"/>
                      <a:pt x="26" y="10"/>
                      <a:pt x="26" y="10"/>
                    </a:cubicBezTo>
                    <a:cubicBezTo>
                      <a:pt x="24" y="8"/>
                      <a:pt x="21" y="6"/>
                      <a:pt x="18" y="6"/>
                    </a:cubicBezTo>
                    <a:cubicBezTo>
                      <a:pt x="12" y="6"/>
                      <a:pt x="8" y="11"/>
                      <a:pt x="8" y="17"/>
                    </a:cubicBezTo>
                    <a:cubicBezTo>
                      <a:pt x="8" y="23"/>
                      <a:pt x="12" y="27"/>
                      <a:pt x="18" y="27"/>
                    </a:cubicBezTo>
                    <a:cubicBezTo>
                      <a:pt x="21" y="27"/>
                      <a:pt x="24" y="26"/>
                      <a:pt x="26" y="23"/>
                    </a:cubicBezTo>
                    <a:cubicBezTo>
                      <a:pt x="31" y="28"/>
                      <a:pt x="31" y="28"/>
                      <a:pt x="31" y="28"/>
                    </a:cubicBezTo>
                    <a:cubicBezTo>
                      <a:pt x="28" y="31"/>
                      <a:pt x="23" y="33"/>
                      <a:pt x="18" y="33"/>
                    </a:cubicBezTo>
                    <a:cubicBezTo>
                      <a:pt x="8" y="33"/>
                      <a:pt x="0" y="26"/>
                      <a:pt x="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7">
                <a:extLst>
                  <a:ext uri="{FF2B5EF4-FFF2-40B4-BE49-F238E27FC236}">
                    <a16:creationId xmlns:a16="http://schemas.microsoft.com/office/drawing/2014/main" id="{841C83A4-19F7-4F21-9B2B-D32E26B7466D}"/>
                  </a:ext>
                </a:extLst>
              </p:cNvPr>
              <p:cNvSpPr>
                <a:spLocks/>
              </p:cNvSpPr>
              <p:nvPr/>
            </p:nvSpPr>
            <p:spPr bwMode="auto">
              <a:xfrm>
                <a:off x="3513" y="3750"/>
                <a:ext cx="66" cy="76"/>
              </a:xfrm>
              <a:custGeom>
                <a:avLst/>
                <a:gdLst>
                  <a:gd name="T0" fmla="*/ 24 w 66"/>
                  <a:gd name="T1" fmla="*/ 14 h 76"/>
                  <a:gd name="T2" fmla="*/ 0 w 66"/>
                  <a:gd name="T3" fmla="*/ 14 h 76"/>
                  <a:gd name="T4" fmla="*/ 0 w 66"/>
                  <a:gd name="T5" fmla="*/ 0 h 76"/>
                  <a:gd name="T6" fmla="*/ 66 w 66"/>
                  <a:gd name="T7" fmla="*/ 0 h 76"/>
                  <a:gd name="T8" fmla="*/ 66 w 66"/>
                  <a:gd name="T9" fmla="*/ 14 h 76"/>
                  <a:gd name="T10" fmla="*/ 43 w 66"/>
                  <a:gd name="T11" fmla="*/ 14 h 76"/>
                  <a:gd name="T12" fmla="*/ 43 w 66"/>
                  <a:gd name="T13" fmla="*/ 76 h 76"/>
                  <a:gd name="T14" fmla="*/ 24 w 66"/>
                  <a:gd name="T15" fmla="*/ 76 h 76"/>
                  <a:gd name="T16" fmla="*/ 24 w 66"/>
                  <a:gd name="T17"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76">
                    <a:moveTo>
                      <a:pt x="24" y="14"/>
                    </a:moveTo>
                    <a:lnTo>
                      <a:pt x="0" y="14"/>
                    </a:lnTo>
                    <a:lnTo>
                      <a:pt x="0" y="0"/>
                    </a:lnTo>
                    <a:lnTo>
                      <a:pt x="66" y="0"/>
                    </a:lnTo>
                    <a:lnTo>
                      <a:pt x="66" y="14"/>
                    </a:lnTo>
                    <a:lnTo>
                      <a:pt x="43" y="14"/>
                    </a:lnTo>
                    <a:lnTo>
                      <a:pt x="43" y="76"/>
                    </a:lnTo>
                    <a:lnTo>
                      <a:pt x="24" y="76"/>
                    </a:lnTo>
                    <a:lnTo>
                      <a:pt x="24"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68">
                <a:extLst>
                  <a:ext uri="{FF2B5EF4-FFF2-40B4-BE49-F238E27FC236}">
                    <a16:creationId xmlns:a16="http://schemas.microsoft.com/office/drawing/2014/main" id="{8CA2F4AA-72BC-499B-883F-5CFB740F9F8C}"/>
                  </a:ext>
                </a:extLst>
              </p:cNvPr>
              <p:cNvSpPr>
                <a:spLocks noChangeArrowheads="1"/>
              </p:cNvSpPr>
              <p:nvPr/>
            </p:nvSpPr>
            <p:spPr bwMode="auto">
              <a:xfrm>
                <a:off x="3589" y="3750"/>
                <a:ext cx="17" cy="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9">
                <a:extLst>
                  <a:ext uri="{FF2B5EF4-FFF2-40B4-BE49-F238E27FC236}">
                    <a16:creationId xmlns:a16="http://schemas.microsoft.com/office/drawing/2014/main" id="{B58E4F47-0B70-4ABC-81C8-1883AACAB77A}"/>
                  </a:ext>
                </a:extLst>
              </p:cNvPr>
              <p:cNvSpPr>
                <a:spLocks noEditPoints="1"/>
              </p:cNvSpPr>
              <p:nvPr/>
            </p:nvSpPr>
            <p:spPr bwMode="auto">
              <a:xfrm>
                <a:off x="3620" y="3747"/>
                <a:ext cx="83" cy="79"/>
              </a:xfrm>
              <a:custGeom>
                <a:avLst/>
                <a:gdLst>
                  <a:gd name="T0" fmla="*/ 0 w 35"/>
                  <a:gd name="T1" fmla="*/ 17 h 33"/>
                  <a:gd name="T2" fmla="*/ 17 w 35"/>
                  <a:gd name="T3" fmla="*/ 0 h 33"/>
                  <a:gd name="T4" fmla="*/ 35 w 35"/>
                  <a:gd name="T5" fmla="*/ 17 h 33"/>
                  <a:gd name="T6" fmla="*/ 17 w 35"/>
                  <a:gd name="T7" fmla="*/ 33 h 33"/>
                  <a:gd name="T8" fmla="*/ 0 w 35"/>
                  <a:gd name="T9" fmla="*/ 17 h 33"/>
                  <a:gd name="T10" fmla="*/ 27 w 35"/>
                  <a:gd name="T11" fmla="*/ 17 h 33"/>
                  <a:gd name="T12" fmla="*/ 17 w 35"/>
                  <a:gd name="T13" fmla="*/ 6 h 33"/>
                  <a:gd name="T14" fmla="*/ 7 w 35"/>
                  <a:gd name="T15" fmla="*/ 17 h 33"/>
                  <a:gd name="T16" fmla="*/ 17 w 35"/>
                  <a:gd name="T17" fmla="*/ 27 h 33"/>
                  <a:gd name="T18" fmla="*/ 27 w 35"/>
                  <a:gd name="T1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3">
                    <a:moveTo>
                      <a:pt x="0" y="17"/>
                    </a:moveTo>
                    <a:cubicBezTo>
                      <a:pt x="0" y="7"/>
                      <a:pt x="7" y="0"/>
                      <a:pt x="17" y="0"/>
                    </a:cubicBezTo>
                    <a:cubicBezTo>
                      <a:pt x="27" y="0"/>
                      <a:pt x="35" y="7"/>
                      <a:pt x="35" y="17"/>
                    </a:cubicBezTo>
                    <a:cubicBezTo>
                      <a:pt x="35" y="26"/>
                      <a:pt x="27" y="33"/>
                      <a:pt x="17" y="33"/>
                    </a:cubicBezTo>
                    <a:cubicBezTo>
                      <a:pt x="7" y="33"/>
                      <a:pt x="0" y="26"/>
                      <a:pt x="0" y="17"/>
                    </a:cubicBezTo>
                    <a:close/>
                    <a:moveTo>
                      <a:pt x="27" y="17"/>
                    </a:moveTo>
                    <a:cubicBezTo>
                      <a:pt x="27" y="11"/>
                      <a:pt x="23" y="6"/>
                      <a:pt x="17" y="6"/>
                    </a:cubicBezTo>
                    <a:cubicBezTo>
                      <a:pt x="12" y="6"/>
                      <a:pt x="7" y="11"/>
                      <a:pt x="7" y="17"/>
                    </a:cubicBezTo>
                    <a:cubicBezTo>
                      <a:pt x="7" y="23"/>
                      <a:pt x="12" y="27"/>
                      <a:pt x="17" y="27"/>
                    </a:cubicBezTo>
                    <a:cubicBezTo>
                      <a:pt x="23" y="27"/>
                      <a:pt x="27" y="23"/>
                      <a:pt x="27"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70">
                <a:extLst>
                  <a:ext uri="{FF2B5EF4-FFF2-40B4-BE49-F238E27FC236}">
                    <a16:creationId xmlns:a16="http://schemas.microsoft.com/office/drawing/2014/main" id="{AE6FC28C-4F2F-4538-8B03-9BCF42BDE51A}"/>
                  </a:ext>
                </a:extLst>
              </p:cNvPr>
              <p:cNvSpPr>
                <a:spLocks/>
              </p:cNvSpPr>
              <p:nvPr/>
            </p:nvSpPr>
            <p:spPr bwMode="auto">
              <a:xfrm>
                <a:off x="3715" y="3750"/>
                <a:ext cx="71" cy="76"/>
              </a:xfrm>
              <a:custGeom>
                <a:avLst/>
                <a:gdLst>
                  <a:gd name="T0" fmla="*/ 71 w 71"/>
                  <a:gd name="T1" fmla="*/ 0 h 76"/>
                  <a:gd name="T2" fmla="*/ 71 w 71"/>
                  <a:gd name="T3" fmla="*/ 76 h 76"/>
                  <a:gd name="T4" fmla="*/ 57 w 71"/>
                  <a:gd name="T5" fmla="*/ 76 h 76"/>
                  <a:gd name="T6" fmla="*/ 19 w 71"/>
                  <a:gd name="T7" fmla="*/ 28 h 76"/>
                  <a:gd name="T8" fmla="*/ 19 w 71"/>
                  <a:gd name="T9" fmla="*/ 76 h 76"/>
                  <a:gd name="T10" fmla="*/ 0 w 71"/>
                  <a:gd name="T11" fmla="*/ 76 h 76"/>
                  <a:gd name="T12" fmla="*/ 0 w 71"/>
                  <a:gd name="T13" fmla="*/ 0 h 76"/>
                  <a:gd name="T14" fmla="*/ 16 w 71"/>
                  <a:gd name="T15" fmla="*/ 0 h 76"/>
                  <a:gd name="T16" fmla="*/ 52 w 71"/>
                  <a:gd name="T17" fmla="*/ 45 h 76"/>
                  <a:gd name="T18" fmla="*/ 52 w 71"/>
                  <a:gd name="T19" fmla="*/ 0 h 76"/>
                  <a:gd name="T20" fmla="*/ 71 w 71"/>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76">
                    <a:moveTo>
                      <a:pt x="71" y="0"/>
                    </a:moveTo>
                    <a:lnTo>
                      <a:pt x="71" y="76"/>
                    </a:lnTo>
                    <a:lnTo>
                      <a:pt x="57" y="76"/>
                    </a:lnTo>
                    <a:lnTo>
                      <a:pt x="19" y="28"/>
                    </a:lnTo>
                    <a:lnTo>
                      <a:pt x="19" y="76"/>
                    </a:lnTo>
                    <a:lnTo>
                      <a:pt x="0" y="76"/>
                    </a:lnTo>
                    <a:lnTo>
                      <a:pt x="0" y="0"/>
                    </a:lnTo>
                    <a:lnTo>
                      <a:pt x="16" y="0"/>
                    </a:lnTo>
                    <a:lnTo>
                      <a:pt x="52" y="45"/>
                    </a:lnTo>
                    <a:lnTo>
                      <a:pt x="52" y="0"/>
                    </a:lnTo>
                    <a:lnTo>
                      <a:pt x="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71">
                <a:extLst>
                  <a:ext uri="{FF2B5EF4-FFF2-40B4-BE49-F238E27FC236}">
                    <a16:creationId xmlns:a16="http://schemas.microsoft.com/office/drawing/2014/main" id="{3611447B-77AC-466B-AC4A-0E1161BD1461}"/>
                  </a:ext>
                </a:extLst>
              </p:cNvPr>
              <p:cNvSpPr>
                <a:spLocks noEditPoints="1"/>
              </p:cNvSpPr>
              <p:nvPr/>
            </p:nvSpPr>
            <p:spPr bwMode="auto">
              <a:xfrm>
                <a:off x="3793" y="3750"/>
                <a:ext cx="86" cy="76"/>
              </a:xfrm>
              <a:custGeom>
                <a:avLst/>
                <a:gdLst>
                  <a:gd name="T0" fmla="*/ 60 w 86"/>
                  <a:gd name="T1" fmla="*/ 59 h 76"/>
                  <a:gd name="T2" fmla="*/ 26 w 86"/>
                  <a:gd name="T3" fmla="*/ 59 h 76"/>
                  <a:gd name="T4" fmla="*/ 19 w 86"/>
                  <a:gd name="T5" fmla="*/ 76 h 76"/>
                  <a:gd name="T6" fmla="*/ 0 w 86"/>
                  <a:gd name="T7" fmla="*/ 76 h 76"/>
                  <a:gd name="T8" fmla="*/ 33 w 86"/>
                  <a:gd name="T9" fmla="*/ 0 h 76"/>
                  <a:gd name="T10" fmla="*/ 52 w 86"/>
                  <a:gd name="T11" fmla="*/ 0 h 76"/>
                  <a:gd name="T12" fmla="*/ 86 w 86"/>
                  <a:gd name="T13" fmla="*/ 76 h 76"/>
                  <a:gd name="T14" fmla="*/ 67 w 86"/>
                  <a:gd name="T15" fmla="*/ 76 h 76"/>
                  <a:gd name="T16" fmla="*/ 60 w 86"/>
                  <a:gd name="T17" fmla="*/ 59 h 76"/>
                  <a:gd name="T18" fmla="*/ 55 w 86"/>
                  <a:gd name="T19" fmla="*/ 45 h 76"/>
                  <a:gd name="T20" fmla="*/ 43 w 86"/>
                  <a:gd name="T21" fmla="*/ 16 h 76"/>
                  <a:gd name="T22" fmla="*/ 31 w 86"/>
                  <a:gd name="T23" fmla="*/ 45 h 76"/>
                  <a:gd name="T24" fmla="*/ 55 w 86"/>
                  <a:gd name="T25" fmla="*/ 4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76">
                    <a:moveTo>
                      <a:pt x="60" y="59"/>
                    </a:moveTo>
                    <a:lnTo>
                      <a:pt x="26" y="59"/>
                    </a:lnTo>
                    <a:lnTo>
                      <a:pt x="19" y="76"/>
                    </a:lnTo>
                    <a:lnTo>
                      <a:pt x="0" y="76"/>
                    </a:lnTo>
                    <a:lnTo>
                      <a:pt x="33" y="0"/>
                    </a:lnTo>
                    <a:lnTo>
                      <a:pt x="52" y="0"/>
                    </a:lnTo>
                    <a:lnTo>
                      <a:pt x="86" y="76"/>
                    </a:lnTo>
                    <a:lnTo>
                      <a:pt x="67" y="76"/>
                    </a:lnTo>
                    <a:lnTo>
                      <a:pt x="60" y="59"/>
                    </a:lnTo>
                    <a:close/>
                    <a:moveTo>
                      <a:pt x="55" y="45"/>
                    </a:moveTo>
                    <a:lnTo>
                      <a:pt x="43" y="16"/>
                    </a:lnTo>
                    <a:lnTo>
                      <a:pt x="31" y="45"/>
                    </a:lnTo>
                    <a:lnTo>
                      <a:pt x="5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72">
                <a:extLst>
                  <a:ext uri="{FF2B5EF4-FFF2-40B4-BE49-F238E27FC236}">
                    <a16:creationId xmlns:a16="http://schemas.microsoft.com/office/drawing/2014/main" id="{59EFFAB6-478F-42AF-BAA6-4C6BB33D831A}"/>
                  </a:ext>
                </a:extLst>
              </p:cNvPr>
              <p:cNvSpPr>
                <a:spLocks noEditPoints="1"/>
              </p:cNvSpPr>
              <p:nvPr/>
            </p:nvSpPr>
            <p:spPr bwMode="auto">
              <a:xfrm>
                <a:off x="3886" y="3750"/>
                <a:ext cx="69" cy="76"/>
              </a:xfrm>
              <a:custGeom>
                <a:avLst/>
                <a:gdLst>
                  <a:gd name="T0" fmla="*/ 21 w 29"/>
                  <a:gd name="T1" fmla="*/ 32 h 32"/>
                  <a:gd name="T2" fmla="*/ 15 w 29"/>
                  <a:gd name="T3" fmla="*/ 23 h 32"/>
                  <a:gd name="T4" fmla="*/ 14 w 29"/>
                  <a:gd name="T5" fmla="*/ 23 h 32"/>
                  <a:gd name="T6" fmla="*/ 8 w 29"/>
                  <a:gd name="T7" fmla="*/ 23 h 32"/>
                  <a:gd name="T8" fmla="*/ 8 w 29"/>
                  <a:gd name="T9" fmla="*/ 32 h 32"/>
                  <a:gd name="T10" fmla="*/ 0 w 29"/>
                  <a:gd name="T11" fmla="*/ 32 h 32"/>
                  <a:gd name="T12" fmla="*/ 0 w 29"/>
                  <a:gd name="T13" fmla="*/ 0 h 32"/>
                  <a:gd name="T14" fmla="*/ 14 w 29"/>
                  <a:gd name="T15" fmla="*/ 0 h 32"/>
                  <a:gd name="T16" fmla="*/ 28 w 29"/>
                  <a:gd name="T17" fmla="*/ 11 h 32"/>
                  <a:gd name="T18" fmla="*/ 22 w 29"/>
                  <a:gd name="T19" fmla="*/ 21 h 32"/>
                  <a:gd name="T20" fmla="*/ 29 w 29"/>
                  <a:gd name="T21" fmla="*/ 32 h 32"/>
                  <a:gd name="T22" fmla="*/ 21 w 29"/>
                  <a:gd name="T23" fmla="*/ 32 h 32"/>
                  <a:gd name="T24" fmla="*/ 14 w 29"/>
                  <a:gd name="T25" fmla="*/ 6 h 32"/>
                  <a:gd name="T26" fmla="*/ 8 w 29"/>
                  <a:gd name="T27" fmla="*/ 6 h 32"/>
                  <a:gd name="T28" fmla="*/ 8 w 29"/>
                  <a:gd name="T29" fmla="*/ 17 h 32"/>
                  <a:gd name="T30" fmla="*/ 14 w 29"/>
                  <a:gd name="T31" fmla="*/ 17 h 32"/>
                  <a:gd name="T32" fmla="*/ 21 w 29"/>
                  <a:gd name="T33" fmla="*/ 11 h 32"/>
                  <a:gd name="T34" fmla="*/ 14 w 29"/>
                  <a:gd name="T3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2">
                    <a:moveTo>
                      <a:pt x="21" y="32"/>
                    </a:moveTo>
                    <a:cubicBezTo>
                      <a:pt x="15" y="23"/>
                      <a:pt x="15" y="23"/>
                      <a:pt x="15" y="23"/>
                    </a:cubicBezTo>
                    <a:cubicBezTo>
                      <a:pt x="14" y="23"/>
                      <a:pt x="14" y="23"/>
                      <a:pt x="14" y="23"/>
                    </a:cubicBezTo>
                    <a:cubicBezTo>
                      <a:pt x="8" y="23"/>
                      <a:pt x="8" y="23"/>
                      <a:pt x="8" y="23"/>
                    </a:cubicBezTo>
                    <a:cubicBezTo>
                      <a:pt x="8" y="32"/>
                      <a:pt x="8" y="32"/>
                      <a:pt x="8" y="32"/>
                    </a:cubicBezTo>
                    <a:cubicBezTo>
                      <a:pt x="0" y="32"/>
                      <a:pt x="0" y="32"/>
                      <a:pt x="0" y="32"/>
                    </a:cubicBezTo>
                    <a:cubicBezTo>
                      <a:pt x="0" y="0"/>
                      <a:pt x="0" y="0"/>
                      <a:pt x="0" y="0"/>
                    </a:cubicBezTo>
                    <a:cubicBezTo>
                      <a:pt x="14" y="0"/>
                      <a:pt x="14" y="0"/>
                      <a:pt x="14" y="0"/>
                    </a:cubicBezTo>
                    <a:cubicBezTo>
                      <a:pt x="23" y="0"/>
                      <a:pt x="28" y="4"/>
                      <a:pt x="28" y="11"/>
                    </a:cubicBezTo>
                    <a:cubicBezTo>
                      <a:pt x="28" y="16"/>
                      <a:pt x="26" y="20"/>
                      <a:pt x="22" y="21"/>
                    </a:cubicBezTo>
                    <a:cubicBezTo>
                      <a:pt x="29" y="32"/>
                      <a:pt x="29" y="32"/>
                      <a:pt x="29" y="32"/>
                    </a:cubicBezTo>
                    <a:lnTo>
                      <a:pt x="21" y="32"/>
                    </a:lnTo>
                    <a:close/>
                    <a:moveTo>
                      <a:pt x="14" y="6"/>
                    </a:moveTo>
                    <a:cubicBezTo>
                      <a:pt x="8" y="6"/>
                      <a:pt x="8" y="6"/>
                      <a:pt x="8" y="6"/>
                    </a:cubicBezTo>
                    <a:cubicBezTo>
                      <a:pt x="8" y="17"/>
                      <a:pt x="8" y="17"/>
                      <a:pt x="8" y="17"/>
                    </a:cubicBezTo>
                    <a:cubicBezTo>
                      <a:pt x="14" y="17"/>
                      <a:pt x="14" y="17"/>
                      <a:pt x="14" y="17"/>
                    </a:cubicBezTo>
                    <a:cubicBezTo>
                      <a:pt x="18" y="17"/>
                      <a:pt x="21" y="15"/>
                      <a:pt x="21" y="11"/>
                    </a:cubicBezTo>
                    <a:cubicBezTo>
                      <a:pt x="21" y="8"/>
                      <a:pt x="18" y="6"/>
                      <a:pt x="14"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73">
                <a:extLst>
                  <a:ext uri="{FF2B5EF4-FFF2-40B4-BE49-F238E27FC236}">
                    <a16:creationId xmlns:a16="http://schemas.microsoft.com/office/drawing/2014/main" id="{DB102B61-F3A1-4155-BA37-E8A6AFB912BF}"/>
                  </a:ext>
                </a:extLst>
              </p:cNvPr>
              <p:cNvSpPr>
                <a:spLocks/>
              </p:cNvSpPr>
              <p:nvPr/>
            </p:nvSpPr>
            <p:spPr bwMode="auto">
              <a:xfrm>
                <a:off x="3955" y="3750"/>
                <a:ext cx="76" cy="76"/>
              </a:xfrm>
              <a:custGeom>
                <a:avLst/>
                <a:gdLst>
                  <a:gd name="T0" fmla="*/ 47 w 76"/>
                  <a:gd name="T1" fmla="*/ 47 h 76"/>
                  <a:gd name="T2" fmla="*/ 47 w 76"/>
                  <a:gd name="T3" fmla="*/ 76 h 76"/>
                  <a:gd name="T4" fmla="*/ 28 w 76"/>
                  <a:gd name="T5" fmla="*/ 76 h 76"/>
                  <a:gd name="T6" fmla="*/ 28 w 76"/>
                  <a:gd name="T7" fmla="*/ 47 h 76"/>
                  <a:gd name="T8" fmla="*/ 0 w 76"/>
                  <a:gd name="T9" fmla="*/ 0 h 76"/>
                  <a:gd name="T10" fmla="*/ 19 w 76"/>
                  <a:gd name="T11" fmla="*/ 0 h 76"/>
                  <a:gd name="T12" fmla="*/ 40 w 76"/>
                  <a:gd name="T13" fmla="*/ 33 h 76"/>
                  <a:gd name="T14" fmla="*/ 59 w 76"/>
                  <a:gd name="T15" fmla="*/ 0 h 76"/>
                  <a:gd name="T16" fmla="*/ 76 w 76"/>
                  <a:gd name="T17" fmla="*/ 0 h 76"/>
                  <a:gd name="T18" fmla="*/ 47 w 76"/>
                  <a:gd name="T19"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47" y="47"/>
                    </a:moveTo>
                    <a:lnTo>
                      <a:pt x="47" y="76"/>
                    </a:lnTo>
                    <a:lnTo>
                      <a:pt x="28" y="76"/>
                    </a:lnTo>
                    <a:lnTo>
                      <a:pt x="28" y="47"/>
                    </a:lnTo>
                    <a:lnTo>
                      <a:pt x="0" y="0"/>
                    </a:lnTo>
                    <a:lnTo>
                      <a:pt x="19" y="0"/>
                    </a:lnTo>
                    <a:lnTo>
                      <a:pt x="40" y="33"/>
                    </a:lnTo>
                    <a:lnTo>
                      <a:pt x="59" y="0"/>
                    </a:lnTo>
                    <a:lnTo>
                      <a:pt x="76" y="0"/>
                    </a:lnTo>
                    <a:lnTo>
                      <a:pt x="4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74">
                <a:extLst>
                  <a:ext uri="{FF2B5EF4-FFF2-40B4-BE49-F238E27FC236}">
                    <a16:creationId xmlns:a16="http://schemas.microsoft.com/office/drawing/2014/main" id="{0E0D44E1-ED88-4C58-AB25-6978981A726F}"/>
                  </a:ext>
                </a:extLst>
              </p:cNvPr>
              <p:cNvSpPr>
                <a:spLocks/>
              </p:cNvSpPr>
              <p:nvPr/>
            </p:nvSpPr>
            <p:spPr bwMode="auto">
              <a:xfrm>
                <a:off x="3511" y="3479"/>
                <a:ext cx="54" cy="62"/>
              </a:xfrm>
              <a:custGeom>
                <a:avLst/>
                <a:gdLst>
                  <a:gd name="T0" fmla="*/ 16 w 54"/>
                  <a:gd name="T1" fmla="*/ 5 h 62"/>
                  <a:gd name="T2" fmla="*/ 11 w 54"/>
                  <a:gd name="T3" fmla="*/ 31 h 62"/>
                  <a:gd name="T4" fmla="*/ 45 w 54"/>
                  <a:gd name="T5" fmla="*/ 31 h 62"/>
                  <a:gd name="T6" fmla="*/ 42 w 54"/>
                  <a:gd name="T7" fmla="*/ 36 h 62"/>
                  <a:gd name="T8" fmla="*/ 9 w 54"/>
                  <a:gd name="T9" fmla="*/ 36 h 62"/>
                  <a:gd name="T10" fmla="*/ 4 w 54"/>
                  <a:gd name="T11" fmla="*/ 62 h 62"/>
                  <a:gd name="T12" fmla="*/ 0 w 54"/>
                  <a:gd name="T13" fmla="*/ 62 h 62"/>
                  <a:gd name="T14" fmla="*/ 11 w 54"/>
                  <a:gd name="T15" fmla="*/ 0 h 62"/>
                  <a:gd name="T16" fmla="*/ 54 w 54"/>
                  <a:gd name="T17" fmla="*/ 0 h 62"/>
                  <a:gd name="T18" fmla="*/ 52 w 54"/>
                  <a:gd name="T19" fmla="*/ 5 h 62"/>
                  <a:gd name="T20" fmla="*/ 16 w 54"/>
                  <a:gd name="T21" fmla="*/ 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2">
                    <a:moveTo>
                      <a:pt x="16" y="5"/>
                    </a:moveTo>
                    <a:lnTo>
                      <a:pt x="11" y="31"/>
                    </a:lnTo>
                    <a:lnTo>
                      <a:pt x="45" y="31"/>
                    </a:lnTo>
                    <a:lnTo>
                      <a:pt x="42" y="36"/>
                    </a:lnTo>
                    <a:lnTo>
                      <a:pt x="9" y="36"/>
                    </a:lnTo>
                    <a:lnTo>
                      <a:pt x="4" y="62"/>
                    </a:lnTo>
                    <a:lnTo>
                      <a:pt x="0" y="62"/>
                    </a:lnTo>
                    <a:lnTo>
                      <a:pt x="11" y="0"/>
                    </a:lnTo>
                    <a:lnTo>
                      <a:pt x="54" y="0"/>
                    </a:lnTo>
                    <a:lnTo>
                      <a:pt x="52" y="5"/>
                    </a:ln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5">
                <a:extLst>
                  <a:ext uri="{FF2B5EF4-FFF2-40B4-BE49-F238E27FC236}">
                    <a16:creationId xmlns:a16="http://schemas.microsoft.com/office/drawing/2014/main" id="{94CE260F-44B9-45F2-B63F-2DB8CF8F70CA}"/>
                  </a:ext>
                </a:extLst>
              </p:cNvPr>
              <p:cNvSpPr>
                <a:spLocks/>
              </p:cNvSpPr>
              <p:nvPr/>
            </p:nvSpPr>
            <p:spPr bwMode="auto">
              <a:xfrm>
                <a:off x="3565" y="3496"/>
                <a:ext cx="31" cy="45"/>
              </a:xfrm>
              <a:custGeom>
                <a:avLst/>
                <a:gdLst>
                  <a:gd name="T0" fmla="*/ 13 w 13"/>
                  <a:gd name="T1" fmla="*/ 0 h 19"/>
                  <a:gd name="T2" fmla="*/ 13 w 13"/>
                  <a:gd name="T3" fmla="*/ 1 h 19"/>
                  <a:gd name="T4" fmla="*/ 12 w 13"/>
                  <a:gd name="T5" fmla="*/ 1 h 19"/>
                  <a:gd name="T6" fmla="*/ 4 w 13"/>
                  <a:gd name="T7" fmla="*/ 9 h 19"/>
                  <a:gd name="T8" fmla="*/ 2 w 13"/>
                  <a:gd name="T9" fmla="*/ 19 h 19"/>
                  <a:gd name="T10" fmla="*/ 0 w 13"/>
                  <a:gd name="T11" fmla="*/ 19 h 19"/>
                  <a:gd name="T12" fmla="*/ 4 w 13"/>
                  <a:gd name="T13" fmla="*/ 0 h 19"/>
                  <a:gd name="T14" fmla="*/ 5 w 13"/>
                  <a:gd name="T15" fmla="*/ 0 h 19"/>
                  <a:gd name="T16" fmla="*/ 5 w 13"/>
                  <a:gd name="T17" fmla="*/ 4 h 19"/>
                  <a:gd name="T18" fmla="*/ 13 w 13"/>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9">
                    <a:moveTo>
                      <a:pt x="13" y="0"/>
                    </a:moveTo>
                    <a:cubicBezTo>
                      <a:pt x="13" y="1"/>
                      <a:pt x="13" y="1"/>
                      <a:pt x="13" y="1"/>
                    </a:cubicBezTo>
                    <a:cubicBezTo>
                      <a:pt x="12" y="1"/>
                      <a:pt x="12" y="1"/>
                      <a:pt x="12" y="1"/>
                    </a:cubicBezTo>
                    <a:cubicBezTo>
                      <a:pt x="8" y="1"/>
                      <a:pt x="5" y="4"/>
                      <a:pt x="4" y="9"/>
                    </a:cubicBezTo>
                    <a:cubicBezTo>
                      <a:pt x="2" y="19"/>
                      <a:pt x="2" y="19"/>
                      <a:pt x="2" y="19"/>
                    </a:cubicBezTo>
                    <a:cubicBezTo>
                      <a:pt x="0" y="19"/>
                      <a:pt x="0" y="19"/>
                      <a:pt x="0" y="19"/>
                    </a:cubicBezTo>
                    <a:cubicBezTo>
                      <a:pt x="4" y="0"/>
                      <a:pt x="4" y="0"/>
                      <a:pt x="4" y="0"/>
                    </a:cubicBezTo>
                    <a:cubicBezTo>
                      <a:pt x="5" y="0"/>
                      <a:pt x="5" y="0"/>
                      <a:pt x="5" y="0"/>
                    </a:cubicBezTo>
                    <a:cubicBezTo>
                      <a:pt x="5" y="4"/>
                      <a:pt x="5" y="4"/>
                      <a:pt x="5" y="4"/>
                    </a:cubicBezTo>
                    <a:cubicBezTo>
                      <a:pt x="6" y="1"/>
                      <a:pt x="9" y="0"/>
                      <a:pt x="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6">
                <a:extLst>
                  <a:ext uri="{FF2B5EF4-FFF2-40B4-BE49-F238E27FC236}">
                    <a16:creationId xmlns:a16="http://schemas.microsoft.com/office/drawing/2014/main" id="{78DF442E-83C5-43BF-8E3A-AA1E267AFB46}"/>
                  </a:ext>
                </a:extLst>
              </p:cNvPr>
              <p:cNvSpPr>
                <a:spLocks noEditPoints="1"/>
              </p:cNvSpPr>
              <p:nvPr/>
            </p:nvSpPr>
            <p:spPr bwMode="auto">
              <a:xfrm>
                <a:off x="3598" y="3496"/>
                <a:ext cx="46" cy="45"/>
              </a:xfrm>
              <a:custGeom>
                <a:avLst/>
                <a:gdLst>
                  <a:gd name="T0" fmla="*/ 2 w 19"/>
                  <a:gd name="T1" fmla="*/ 10 h 19"/>
                  <a:gd name="T2" fmla="*/ 1 w 19"/>
                  <a:gd name="T3" fmla="*/ 11 h 19"/>
                  <a:gd name="T4" fmla="*/ 9 w 19"/>
                  <a:gd name="T5" fmla="*/ 18 h 19"/>
                  <a:gd name="T6" fmla="*/ 15 w 19"/>
                  <a:gd name="T7" fmla="*/ 15 h 19"/>
                  <a:gd name="T8" fmla="*/ 16 w 19"/>
                  <a:gd name="T9" fmla="*/ 16 h 19"/>
                  <a:gd name="T10" fmla="*/ 9 w 19"/>
                  <a:gd name="T11" fmla="*/ 19 h 19"/>
                  <a:gd name="T12" fmla="*/ 0 w 19"/>
                  <a:gd name="T13" fmla="*/ 11 h 19"/>
                  <a:gd name="T14" fmla="*/ 10 w 19"/>
                  <a:gd name="T15" fmla="*/ 0 h 19"/>
                  <a:gd name="T16" fmla="*/ 19 w 19"/>
                  <a:gd name="T17" fmla="*/ 8 h 19"/>
                  <a:gd name="T18" fmla="*/ 18 w 19"/>
                  <a:gd name="T19" fmla="*/ 10 h 19"/>
                  <a:gd name="T20" fmla="*/ 2 w 19"/>
                  <a:gd name="T21" fmla="*/ 10 h 19"/>
                  <a:gd name="T22" fmla="*/ 2 w 19"/>
                  <a:gd name="T23" fmla="*/ 8 h 19"/>
                  <a:gd name="T24" fmla="*/ 17 w 19"/>
                  <a:gd name="T25" fmla="*/ 8 h 19"/>
                  <a:gd name="T26" fmla="*/ 17 w 19"/>
                  <a:gd name="T27" fmla="*/ 7 h 19"/>
                  <a:gd name="T28" fmla="*/ 10 w 19"/>
                  <a:gd name="T29" fmla="*/ 1 h 19"/>
                  <a:gd name="T30" fmla="*/ 2 w 19"/>
                  <a:gd name="T31"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9">
                    <a:moveTo>
                      <a:pt x="2" y="10"/>
                    </a:moveTo>
                    <a:cubicBezTo>
                      <a:pt x="2" y="10"/>
                      <a:pt x="1" y="11"/>
                      <a:pt x="1" y="11"/>
                    </a:cubicBezTo>
                    <a:cubicBezTo>
                      <a:pt x="1" y="15"/>
                      <a:pt x="4" y="18"/>
                      <a:pt x="9" y="18"/>
                    </a:cubicBezTo>
                    <a:cubicBezTo>
                      <a:pt x="12" y="18"/>
                      <a:pt x="14" y="17"/>
                      <a:pt x="15" y="15"/>
                    </a:cubicBezTo>
                    <a:cubicBezTo>
                      <a:pt x="16" y="16"/>
                      <a:pt x="16" y="16"/>
                      <a:pt x="16" y="16"/>
                    </a:cubicBezTo>
                    <a:cubicBezTo>
                      <a:pt x="15" y="18"/>
                      <a:pt x="12" y="19"/>
                      <a:pt x="9" y="19"/>
                    </a:cubicBezTo>
                    <a:cubicBezTo>
                      <a:pt x="3" y="19"/>
                      <a:pt x="0" y="16"/>
                      <a:pt x="0" y="11"/>
                    </a:cubicBezTo>
                    <a:cubicBezTo>
                      <a:pt x="0" y="5"/>
                      <a:pt x="4" y="0"/>
                      <a:pt x="10" y="0"/>
                    </a:cubicBezTo>
                    <a:cubicBezTo>
                      <a:pt x="15" y="0"/>
                      <a:pt x="19" y="3"/>
                      <a:pt x="19" y="8"/>
                    </a:cubicBezTo>
                    <a:cubicBezTo>
                      <a:pt x="19" y="8"/>
                      <a:pt x="19" y="9"/>
                      <a:pt x="18" y="10"/>
                    </a:cubicBezTo>
                    <a:lnTo>
                      <a:pt x="2" y="10"/>
                    </a:lnTo>
                    <a:close/>
                    <a:moveTo>
                      <a:pt x="2" y="8"/>
                    </a:moveTo>
                    <a:cubicBezTo>
                      <a:pt x="17" y="8"/>
                      <a:pt x="17" y="8"/>
                      <a:pt x="17" y="8"/>
                    </a:cubicBezTo>
                    <a:cubicBezTo>
                      <a:pt x="17" y="7"/>
                      <a:pt x="17" y="7"/>
                      <a:pt x="17" y="7"/>
                    </a:cubicBezTo>
                    <a:cubicBezTo>
                      <a:pt x="17" y="3"/>
                      <a:pt x="14" y="1"/>
                      <a:pt x="10" y="1"/>
                    </a:cubicBezTo>
                    <a:cubicBezTo>
                      <a:pt x="6" y="1"/>
                      <a:pt x="3" y="4"/>
                      <a:pt x="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77">
                <a:extLst>
                  <a:ext uri="{FF2B5EF4-FFF2-40B4-BE49-F238E27FC236}">
                    <a16:creationId xmlns:a16="http://schemas.microsoft.com/office/drawing/2014/main" id="{216DBF10-8AE2-4336-8C9E-9EF9067EF591}"/>
                  </a:ext>
                </a:extLst>
              </p:cNvPr>
              <p:cNvSpPr>
                <a:spLocks/>
              </p:cNvSpPr>
              <p:nvPr/>
            </p:nvSpPr>
            <p:spPr bwMode="auto">
              <a:xfrm>
                <a:off x="3651" y="3496"/>
                <a:ext cx="47" cy="45"/>
              </a:xfrm>
              <a:custGeom>
                <a:avLst/>
                <a:gdLst>
                  <a:gd name="T0" fmla="*/ 20 w 20"/>
                  <a:gd name="T1" fmla="*/ 6 h 19"/>
                  <a:gd name="T2" fmla="*/ 20 w 20"/>
                  <a:gd name="T3" fmla="*/ 8 h 19"/>
                  <a:gd name="T4" fmla="*/ 18 w 20"/>
                  <a:gd name="T5" fmla="*/ 19 h 19"/>
                  <a:gd name="T6" fmla="*/ 16 w 20"/>
                  <a:gd name="T7" fmla="*/ 19 h 19"/>
                  <a:gd name="T8" fmla="*/ 18 w 20"/>
                  <a:gd name="T9" fmla="*/ 8 h 19"/>
                  <a:gd name="T10" fmla="*/ 19 w 20"/>
                  <a:gd name="T11" fmla="*/ 6 h 19"/>
                  <a:gd name="T12" fmla="*/ 13 w 20"/>
                  <a:gd name="T13" fmla="*/ 1 h 19"/>
                  <a:gd name="T14" fmla="*/ 4 w 20"/>
                  <a:gd name="T15" fmla="*/ 9 h 19"/>
                  <a:gd name="T16" fmla="*/ 2 w 20"/>
                  <a:gd name="T17" fmla="*/ 19 h 19"/>
                  <a:gd name="T18" fmla="*/ 0 w 20"/>
                  <a:gd name="T19" fmla="*/ 19 h 19"/>
                  <a:gd name="T20" fmla="*/ 4 w 20"/>
                  <a:gd name="T21" fmla="*/ 0 h 19"/>
                  <a:gd name="T22" fmla="*/ 6 w 20"/>
                  <a:gd name="T23" fmla="*/ 0 h 19"/>
                  <a:gd name="T24" fmla="*/ 5 w 20"/>
                  <a:gd name="T25" fmla="*/ 3 h 19"/>
                  <a:gd name="T26" fmla="*/ 13 w 20"/>
                  <a:gd name="T27" fmla="*/ 0 h 19"/>
                  <a:gd name="T28" fmla="*/ 20 w 20"/>
                  <a:gd name="T29"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9">
                    <a:moveTo>
                      <a:pt x="20" y="6"/>
                    </a:moveTo>
                    <a:cubicBezTo>
                      <a:pt x="20" y="6"/>
                      <a:pt x="20" y="7"/>
                      <a:pt x="20" y="8"/>
                    </a:cubicBezTo>
                    <a:cubicBezTo>
                      <a:pt x="18" y="19"/>
                      <a:pt x="18" y="19"/>
                      <a:pt x="18" y="19"/>
                    </a:cubicBezTo>
                    <a:cubicBezTo>
                      <a:pt x="16" y="19"/>
                      <a:pt x="16" y="19"/>
                      <a:pt x="16" y="19"/>
                    </a:cubicBezTo>
                    <a:cubicBezTo>
                      <a:pt x="18" y="8"/>
                      <a:pt x="18" y="8"/>
                      <a:pt x="18" y="8"/>
                    </a:cubicBezTo>
                    <a:cubicBezTo>
                      <a:pt x="18" y="7"/>
                      <a:pt x="19" y="7"/>
                      <a:pt x="19" y="6"/>
                    </a:cubicBezTo>
                    <a:cubicBezTo>
                      <a:pt x="19" y="3"/>
                      <a:pt x="17" y="1"/>
                      <a:pt x="13" y="1"/>
                    </a:cubicBezTo>
                    <a:cubicBezTo>
                      <a:pt x="9" y="1"/>
                      <a:pt x="5" y="4"/>
                      <a:pt x="4" y="9"/>
                    </a:cubicBezTo>
                    <a:cubicBezTo>
                      <a:pt x="2" y="19"/>
                      <a:pt x="2" y="19"/>
                      <a:pt x="2" y="19"/>
                    </a:cubicBezTo>
                    <a:cubicBezTo>
                      <a:pt x="0" y="19"/>
                      <a:pt x="0" y="19"/>
                      <a:pt x="0" y="19"/>
                    </a:cubicBezTo>
                    <a:cubicBezTo>
                      <a:pt x="4" y="0"/>
                      <a:pt x="4" y="0"/>
                      <a:pt x="4" y="0"/>
                    </a:cubicBezTo>
                    <a:cubicBezTo>
                      <a:pt x="6" y="0"/>
                      <a:pt x="6" y="0"/>
                      <a:pt x="6" y="0"/>
                    </a:cubicBezTo>
                    <a:cubicBezTo>
                      <a:pt x="5" y="3"/>
                      <a:pt x="5" y="3"/>
                      <a:pt x="5" y="3"/>
                    </a:cubicBezTo>
                    <a:cubicBezTo>
                      <a:pt x="7" y="1"/>
                      <a:pt x="10" y="0"/>
                      <a:pt x="13" y="0"/>
                    </a:cubicBezTo>
                    <a:cubicBezTo>
                      <a:pt x="18" y="0"/>
                      <a:pt x="20" y="2"/>
                      <a:pt x="20"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78">
                <a:extLst>
                  <a:ext uri="{FF2B5EF4-FFF2-40B4-BE49-F238E27FC236}">
                    <a16:creationId xmlns:a16="http://schemas.microsoft.com/office/drawing/2014/main" id="{C9ADFD57-EE28-4071-B06D-8C82C4BED7F2}"/>
                  </a:ext>
                </a:extLst>
              </p:cNvPr>
              <p:cNvSpPr>
                <a:spLocks/>
              </p:cNvSpPr>
              <p:nvPr/>
            </p:nvSpPr>
            <p:spPr bwMode="auto">
              <a:xfrm>
                <a:off x="3710" y="3496"/>
                <a:ext cx="45" cy="45"/>
              </a:xfrm>
              <a:custGeom>
                <a:avLst/>
                <a:gdLst>
                  <a:gd name="T0" fmla="*/ 0 w 19"/>
                  <a:gd name="T1" fmla="*/ 11 h 19"/>
                  <a:gd name="T2" fmla="*/ 12 w 19"/>
                  <a:gd name="T3" fmla="*/ 0 h 19"/>
                  <a:gd name="T4" fmla="*/ 19 w 19"/>
                  <a:gd name="T5" fmla="*/ 3 h 19"/>
                  <a:gd name="T6" fmla="*/ 18 w 19"/>
                  <a:gd name="T7" fmla="*/ 4 h 19"/>
                  <a:gd name="T8" fmla="*/ 12 w 19"/>
                  <a:gd name="T9" fmla="*/ 1 h 19"/>
                  <a:gd name="T10" fmla="*/ 2 w 19"/>
                  <a:gd name="T11" fmla="*/ 11 h 19"/>
                  <a:gd name="T12" fmla="*/ 9 w 19"/>
                  <a:gd name="T13" fmla="*/ 18 h 19"/>
                  <a:gd name="T14" fmla="*/ 16 w 19"/>
                  <a:gd name="T15" fmla="*/ 15 h 19"/>
                  <a:gd name="T16" fmla="*/ 17 w 19"/>
                  <a:gd name="T17" fmla="*/ 16 h 19"/>
                  <a:gd name="T18" fmla="*/ 9 w 19"/>
                  <a:gd name="T19" fmla="*/ 19 h 19"/>
                  <a:gd name="T20" fmla="*/ 0 w 19"/>
                  <a:gd name="T21"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0" y="11"/>
                    </a:moveTo>
                    <a:cubicBezTo>
                      <a:pt x="0" y="5"/>
                      <a:pt x="5" y="0"/>
                      <a:pt x="12" y="0"/>
                    </a:cubicBezTo>
                    <a:cubicBezTo>
                      <a:pt x="15" y="0"/>
                      <a:pt x="18" y="1"/>
                      <a:pt x="19" y="3"/>
                    </a:cubicBezTo>
                    <a:cubicBezTo>
                      <a:pt x="18" y="4"/>
                      <a:pt x="18" y="4"/>
                      <a:pt x="18" y="4"/>
                    </a:cubicBezTo>
                    <a:cubicBezTo>
                      <a:pt x="16" y="2"/>
                      <a:pt x="14" y="1"/>
                      <a:pt x="12" y="1"/>
                    </a:cubicBezTo>
                    <a:cubicBezTo>
                      <a:pt x="6" y="1"/>
                      <a:pt x="2" y="5"/>
                      <a:pt x="2" y="11"/>
                    </a:cubicBezTo>
                    <a:cubicBezTo>
                      <a:pt x="2" y="15"/>
                      <a:pt x="5" y="18"/>
                      <a:pt x="9" y="18"/>
                    </a:cubicBezTo>
                    <a:cubicBezTo>
                      <a:pt x="12" y="18"/>
                      <a:pt x="14" y="17"/>
                      <a:pt x="16" y="15"/>
                    </a:cubicBezTo>
                    <a:cubicBezTo>
                      <a:pt x="17" y="16"/>
                      <a:pt x="17" y="16"/>
                      <a:pt x="17" y="16"/>
                    </a:cubicBezTo>
                    <a:cubicBezTo>
                      <a:pt x="15" y="18"/>
                      <a:pt x="12" y="19"/>
                      <a:pt x="9" y="19"/>
                    </a:cubicBezTo>
                    <a:cubicBezTo>
                      <a:pt x="4" y="19"/>
                      <a:pt x="0" y="16"/>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79">
                <a:extLst>
                  <a:ext uri="{FF2B5EF4-FFF2-40B4-BE49-F238E27FC236}">
                    <a16:creationId xmlns:a16="http://schemas.microsoft.com/office/drawing/2014/main" id="{C72535AA-78D4-4793-BB50-B07DD92C3489}"/>
                  </a:ext>
                </a:extLst>
              </p:cNvPr>
              <p:cNvSpPr>
                <a:spLocks/>
              </p:cNvSpPr>
              <p:nvPr/>
            </p:nvSpPr>
            <p:spPr bwMode="auto">
              <a:xfrm>
                <a:off x="3760" y="3474"/>
                <a:ext cx="47" cy="67"/>
              </a:xfrm>
              <a:custGeom>
                <a:avLst/>
                <a:gdLst>
                  <a:gd name="T0" fmla="*/ 20 w 20"/>
                  <a:gd name="T1" fmla="*/ 15 h 28"/>
                  <a:gd name="T2" fmla="*/ 20 w 20"/>
                  <a:gd name="T3" fmla="*/ 17 h 28"/>
                  <a:gd name="T4" fmla="*/ 18 w 20"/>
                  <a:gd name="T5" fmla="*/ 28 h 28"/>
                  <a:gd name="T6" fmla="*/ 16 w 20"/>
                  <a:gd name="T7" fmla="*/ 28 h 28"/>
                  <a:gd name="T8" fmla="*/ 18 w 20"/>
                  <a:gd name="T9" fmla="*/ 17 h 28"/>
                  <a:gd name="T10" fmla="*/ 18 w 20"/>
                  <a:gd name="T11" fmla="*/ 15 h 28"/>
                  <a:gd name="T12" fmla="*/ 13 w 20"/>
                  <a:gd name="T13" fmla="*/ 10 h 28"/>
                  <a:gd name="T14" fmla="*/ 4 w 20"/>
                  <a:gd name="T15" fmla="*/ 18 h 28"/>
                  <a:gd name="T16" fmla="*/ 2 w 20"/>
                  <a:gd name="T17" fmla="*/ 28 h 28"/>
                  <a:gd name="T18" fmla="*/ 0 w 20"/>
                  <a:gd name="T19" fmla="*/ 28 h 28"/>
                  <a:gd name="T20" fmla="*/ 6 w 20"/>
                  <a:gd name="T21" fmla="*/ 0 h 28"/>
                  <a:gd name="T22" fmla="*/ 8 w 20"/>
                  <a:gd name="T23" fmla="*/ 0 h 28"/>
                  <a:gd name="T24" fmla="*/ 5 w 20"/>
                  <a:gd name="T25" fmla="*/ 12 h 28"/>
                  <a:gd name="T26" fmla="*/ 13 w 20"/>
                  <a:gd name="T27" fmla="*/ 9 h 28"/>
                  <a:gd name="T28" fmla="*/ 20 w 20"/>
                  <a:gd name="T29"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8">
                    <a:moveTo>
                      <a:pt x="20" y="15"/>
                    </a:moveTo>
                    <a:cubicBezTo>
                      <a:pt x="20" y="15"/>
                      <a:pt x="20" y="16"/>
                      <a:pt x="20" y="17"/>
                    </a:cubicBezTo>
                    <a:cubicBezTo>
                      <a:pt x="18" y="28"/>
                      <a:pt x="18" y="28"/>
                      <a:pt x="18" y="28"/>
                    </a:cubicBezTo>
                    <a:cubicBezTo>
                      <a:pt x="16" y="28"/>
                      <a:pt x="16" y="28"/>
                      <a:pt x="16" y="28"/>
                    </a:cubicBezTo>
                    <a:cubicBezTo>
                      <a:pt x="18" y="17"/>
                      <a:pt x="18" y="17"/>
                      <a:pt x="18" y="17"/>
                    </a:cubicBezTo>
                    <a:cubicBezTo>
                      <a:pt x="18" y="16"/>
                      <a:pt x="18" y="16"/>
                      <a:pt x="18" y="15"/>
                    </a:cubicBezTo>
                    <a:cubicBezTo>
                      <a:pt x="18" y="12"/>
                      <a:pt x="16" y="10"/>
                      <a:pt x="13" y="10"/>
                    </a:cubicBezTo>
                    <a:cubicBezTo>
                      <a:pt x="8" y="10"/>
                      <a:pt x="5" y="13"/>
                      <a:pt x="4" y="18"/>
                    </a:cubicBezTo>
                    <a:cubicBezTo>
                      <a:pt x="2" y="28"/>
                      <a:pt x="2" y="28"/>
                      <a:pt x="2" y="28"/>
                    </a:cubicBezTo>
                    <a:cubicBezTo>
                      <a:pt x="0" y="28"/>
                      <a:pt x="0" y="28"/>
                      <a:pt x="0" y="28"/>
                    </a:cubicBezTo>
                    <a:cubicBezTo>
                      <a:pt x="6" y="0"/>
                      <a:pt x="6" y="0"/>
                      <a:pt x="6" y="0"/>
                    </a:cubicBezTo>
                    <a:cubicBezTo>
                      <a:pt x="8" y="0"/>
                      <a:pt x="8" y="0"/>
                      <a:pt x="8" y="0"/>
                    </a:cubicBezTo>
                    <a:cubicBezTo>
                      <a:pt x="5" y="12"/>
                      <a:pt x="5" y="12"/>
                      <a:pt x="5" y="12"/>
                    </a:cubicBezTo>
                    <a:cubicBezTo>
                      <a:pt x="7" y="10"/>
                      <a:pt x="10" y="9"/>
                      <a:pt x="13" y="9"/>
                    </a:cubicBezTo>
                    <a:cubicBezTo>
                      <a:pt x="18" y="9"/>
                      <a:pt x="20" y="11"/>
                      <a:pt x="2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80">
                <a:extLst>
                  <a:ext uri="{FF2B5EF4-FFF2-40B4-BE49-F238E27FC236}">
                    <a16:creationId xmlns:a16="http://schemas.microsoft.com/office/drawing/2014/main" id="{88D558C7-771B-4742-B29E-44A1E0784BFC}"/>
                  </a:ext>
                </a:extLst>
              </p:cNvPr>
              <p:cNvSpPr>
                <a:spLocks/>
              </p:cNvSpPr>
              <p:nvPr/>
            </p:nvSpPr>
            <p:spPr bwMode="auto">
              <a:xfrm>
                <a:off x="3522" y="3277"/>
                <a:ext cx="24" cy="62"/>
              </a:xfrm>
              <a:custGeom>
                <a:avLst/>
                <a:gdLst>
                  <a:gd name="T0" fmla="*/ 12 w 24"/>
                  <a:gd name="T1" fmla="*/ 0 h 62"/>
                  <a:gd name="T2" fmla="*/ 24 w 24"/>
                  <a:gd name="T3" fmla="*/ 0 h 62"/>
                  <a:gd name="T4" fmla="*/ 12 w 24"/>
                  <a:gd name="T5" fmla="*/ 62 h 62"/>
                  <a:gd name="T6" fmla="*/ 0 w 24"/>
                  <a:gd name="T7" fmla="*/ 62 h 62"/>
                  <a:gd name="T8" fmla="*/ 12 w 24"/>
                  <a:gd name="T9" fmla="*/ 0 h 62"/>
                </a:gdLst>
                <a:ahLst/>
                <a:cxnLst>
                  <a:cxn ang="0">
                    <a:pos x="T0" y="T1"/>
                  </a:cxn>
                  <a:cxn ang="0">
                    <a:pos x="T2" y="T3"/>
                  </a:cxn>
                  <a:cxn ang="0">
                    <a:pos x="T4" y="T5"/>
                  </a:cxn>
                  <a:cxn ang="0">
                    <a:pos x="T6" y="T7"/>
                  </a:cxn>
                  <a:cxn ang="0">
                    <a:pos x="T8" y="T9"/>
                  </a:cxn>
                </a:cxnLst>
                <a:rect l="0" t="0" r="r" b="b"/>
                <a:pathLst>
                  <a:path w="24" h="62">
                    <a:moveTo>
                      <a:pt x="12" y="0"/>
                    </a:moveTo>
                    <a:lnTo>
                      <a:pt x="24" y="0"/>
                    </a:lnTo>
                    <a:lnTo>
                      <a:pt x="12" y="62"/>
                    </a:lnTo>
                    <a:lnTo>
                      <a:pt x="0" y="62"/>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81">
                <a:extLst>
                  <a:ext uri="{FF2B5EF4-FFF2-40B4-BE49-F238E27FC236}">
                    <a16:creationId xmlns:a16="http://schemas.microsoft.com/office/drawing/2014/main" id="{75D13173-4679-4F6C-973E-F0D56B5ED3BC}"/>
                  </a:ext>
                </a:extLst>
              </p:cNvPr>
              <p:cNvSpPr>
                <a:spLocks/>
              </p:cNvSpPr>
              <p:nvPr/>
            </p:nvSpPr>
            <p:spPr bwMode="auto">
              <a:xfrm>
                <a:off x="3551" y="3282"/>
                <a:ext cx="33" cy="57"/>
              </a:xfrm>
              <a:custGeom>
                <a:avLst/>
                <a:gdLst>
                  <a:gd name="T0" fmla="*/ 6 w 14"/>
                  <a:gd name="T1" fmla="*/ 17 h 24"/>
                  <a:gd name="T2" fmla="*/ 6 w 14"/>
                  <a:gd name="T3" fmla="*/ 18 h 24"/>
                  <a:gd name="T4" fmla="*/ 9 w 14"/>
                  <a:gd name="T5" fmla="*/ 21 h 24"/>
                  <a:gd name="T6" fmla="*/ 11 w 14"/>
                  <a:gd name="T7" fmla="*/ 20 h 24"/>
                  <a:gd name="T8" fmla="*/ 12 w 14"/>
                  <a:gd name="T9" fmla="*/ 23 h 24"/>
                  <a:gd name="T10" fmla="*/ 7 w 14"/>
                  <a:gd name="T11" fmla="*/ 24 h 24"/>
                  <a:gd name="T12" fmla="*/ 1 w 14"/>
                  <a:gd name="T13" fmla="*/ 19 h 24"/>
                  <a:gd name="T14" fmla="*/ 2 w 14"/>
                  <a:gd name="T15" fmla="*/ 18 h 24"/>
                  <a:gd name="T16" fmla="*/ 3 w 14"/>
                  <a:gd name="T17" fmla="*/ 8 h 24"/>
                  <a:gd name="T18" fmla="*/ 0 w 14"/>
                  <a:gd name="T19" fmla="*/ 8 h 24"/>
                  <a:gd name="T20" fmla="*/ 1 w 14"/>
                  <a:gd name="T21" fmla="*/ 4 h 24"/>
                  <a:gd name="T22" fmla="*/ 4 w 14"/>
                  <a:gd name="T23" fmla="*/ 4 h 24"/>
                  <a:gd name="T24" fmla="*/ 5 w 14"/>
                  <a:gd name="T25" fmla="*/ 0 h 24"/>
                  <a:gd name="T26" fmla="*/ 10 w 14"/>
                  <a:gd name="T27" fmla="*/ 0 h 24"/>
                  <a:gd name="T28" fmla="*/ 9 w 14"/>
                  <a:gd name="T29" fmla="*/ 4 h 24"/>
                  <a:gd name="T30" fmla="*/ 14 w 14"/>
                  <a:gd name="T31" fmla="*/ 4 h 24"/>
                  <a:gd name="T32" fmla="*/ 14 w 14"/>
                  <a:gd name="T33" fmla="*/ 8 h 24"/>
                  <a:gd name="T34" fmla="*/ 8 w 14"/>
                  <a:gd name="T35" fmla="*/ 8 h 24"/>
                  <a:gd name="T36" fmla="*/ 6 w 14"/>
                  <a:gd name="T37"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4">
                    <a:moveTo>
                      <a:pt x="6" y="17"/>
                    </a:moveTo>
                    <a:cubicBezTo>
                      <a:pt x="6" y="18"/>
                      <a:pt x="6" y="18"/>
                      <a:pt x="6" y="18"/>
                    </a:cubicBezTo>
                    <a:cubicBezTo>
                      <a:pt x="6" y="20"/>
                      <a:pt x="7" y="21"/>
                      <a:pt x="9" y="21"/>
                    </a:cubicBezTo>
                    <a:cubicBezTo>
                      <a:pt x="9" y="21"/>
                      <a:pt x="10" y="20"/>
                      <a:pt x="11" y="20"/>
                    </a:cubicBezTo>
                    <a:cubicBezTo>
                      <a:pt x="12" y="23"/>
                      <a:pt x="12" y="23"/>
                      <a:pt x="12" y="23"/>
                    </a:cubicBezTo>
                    <a:cubicBezTo>
                      <a:pt x="11" y="24"/>
                      <a:pt x="9" y="24"/>
                      <a:pt x="7" y="24"/>
                    </a:cubicBezTo>
                    <a:cubicBezTo>
                      <a:pt x="4" y="24"/>
                      <a:pt x="1" y="22"/>
                      <a:pt x="1" y="19"/>
                    </a:cubicBezTo>
                    <a:cubicBezTo>
                      <a:pt x="1" y="19"/>
                      <a:pt x="1" y="18"/>
                      <a:pt x="2" y="18"/>
                    </a:cubicBezTo>
                    <a:cubicBezTo>
                      <a:pt x="3" y="8"/>
                      <a:pt x="3" y="8"/>
                      <a:pt x="3" y="8"/>
                    </a:cubicBezTo>
                    <a:cubicBezTo>
                      <a:pt x="0" y="8"/>
                      <a:pt x="0" y="8"/>
                      <a:pt x="0" y="8"/>
                    </a:cubicBezTo>
                    <a:cubicBezTo>
                      <a:pt x="1" y="4"/>
                      <a:pt x="1" y="4"/>
                      <a:pt x="1" y="4"/>
                    </a:cubicBezTo>
                    <a:cubicBezTo>
                      <a:pt x="4" y="4"/>
                      <a:pt x="4" y="4"/>
                      <a:pt x="4" y="4"/>
                    </a:cubicBezTo>
                    <a:cubicBezTo>
                      <a:pt x="5" y="0"/>
                      <a:pt x="5" y="0"/>
                      <a:pt x="5" y="0"/>
                    </a:cubicBezTo>
                    <a:cubicBezTo>
                      <a:pt x="10" y="0"/>
                      <a:pt x="10" y="0"/>
                      <a:pt x="10" y="0"/>
                    </a:cubicBezTo>
                    <a:cubicBezTo>
                      <a:pt x="9" y="4"/>
                      <a:pt x="9" y="4"/>
                      <a:pt x="9" y="4"/>
                    </a:cubicBezTo>
                    <a:cubicBezTo>
                      <a:pt x="14" y="4"/>
                      <a:pt x="14" y="4"/>
                      <a:pt x="14" y="4"/>
                    </a:cubicBezTo>
                    <a:cubicBezTo>
                      <a:pt x="14" y="8"/>
                      <a:pt x="14" y="8"/>
                      <a:pt x="14" y="8"/>
                    </a:cubicBezTo>
                    <a:cubicBezTo>
                      <a:pt x="8" y="8"/>
                      <a:pt x="8" y="8"/>
                      <a:pt x="8" y="8"/>
                    </a:cubicBezTo>
                    <a:lnTo>
                      <a:pt x="6"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82">
                <a:extLst>
                  <a:ext uri="{FF2B5EF4-FFF2-40B4-BE49-F238E27FC236}">
                    <a16:creationId xmlns:a16="http://schemas.microsoft.com/office/drawing/2014/main" id="{B2F5DD01-C4FF-4505-8065-C69E63A4A590}"/>
                  </a:ext>
                </a:extLst>
              </p:cNvPr>
              <p:cNvSpPr>
                <a:spLocks noEditPoints="1"/>
              </p:cNvSpPr>
              <p:nvPr/>
            </p:nvSpPr>
            <p:spPr bwMode="auto">
              <a:xfrm>
                <a:off x="3587" y="3291"/>
                <a:ext cx="54" cy="48"/>
              </a:xfrm>
              <a:custGeom>
                <a:avLst/>
                <a:gdLst>
                  <a:gd name="T0" fmla="*/ 23 w 23"/>
                  <a:gd name="T1" fmla="*/ 0 h 20"/>
                  <a:gd name="T2" fmla="*/ 19 w 23"/>
                  <a:gd name="T3" fmla="*/ 20 h 20"/>
                  <a:gd name="T4" fmla="*/ 15 w 23"/>
                  <a:gd name="T5" fmla="*/ 20 h 20"/>
                  <a:gd name="T6" fmla="*/ 15 w 23"/>
                  <a:gd name="T7" fmla="*/ 18 h 20"/>
                  <a:gd name="T8" fmla="*/ 9 w 23"/>
                  <a:gd name="T9" fmla="*/ 20 h 20"/>
                  <a:gd name="T10" fmla="*/ 0 w 23"/>
                  <a:gd name="T11" fmla="*/ 12 h 20"/>
                  <a:gd name="T12" fmla="*/ 11 w 23"/>
                  <a:gd name="T13" fmla="*/ 0 h 20"/>
                  <a:gd name="T14" fmla="*/ 18 w 23"/>
                  <a:gd name="T15" fmla="*/ 3 h 20"/>
                  <a:gd name="T16" fmla="*/ 19 w 23"/>
                  <a:gd name="T17" fmla="*/ 0 h 20"/>
                  <a:gd name="T18" fmla="*/ 23 w 23"/>
                  <a:gd name="T19" fmla="*/ 0 h 20"/>
                  <a:gd name="T20" fmla="*/ 17 w 23"/>
                  <a:gd name="T21" fmla="*/ 9 h 20"/>
                  <a:gd name="T22" fmla="*/ 12 w 23"/>
                  <a:gd name="T23" fmla="*/ 4 h 20"/>
                  <a:gd name="T24" fmla="*/ 5 w 23"/>
                  <a:gd name="T25" fmla="*/ 11 h 20"/>
                  <a:gd name="T26" fmla="*/ 10 w 23"/>
                  <a:gd name="T27" fmla="*/ 16 h 20"/>
                  <a:gd name="T28" fmla="*/ 17 w 23"/>
                  <a:gd name="T29"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23" y="0"/>
                    </a:moveTo>
                    <a:cubicBezTo>
                      <a:pt x="19" y="20"/>
                      <a:pt x="19" y="20"/>
                      <a:pt x="19" y="20"/>
                    </a:cubicBezTo>
                    <a:cubicBezTo>
                      <a:pt x="15" y="20"/>
                      <a:pt x="15" y="20"/>
                      <a:pt x="15" y="20"/>
                    </a:cubicBezTo>
                    <a:cubicBezTo>
                      <a:pt x="15" y="18"/>
                      <a:pt x="15" y="18"/>
                      <a:pt x="15" y="18"/>
                    </a:cubicBezTo>
                    <a:cubicBezTo>
                      <a:pt x="14" y="20"/>
                      <a:pt x="12" y="20"/>
                      <a:pt x="9" y="20"/>
                    </a:cubicBezTo>
                    <a:cubicBezTo>
                      <a:pt x="4" y="20"/>
                      <a:pt x="0" y="17"/>
                      <a:pt x="0" y="12"/>
                    </a:cubicBezTo>
                    <a:cubicBezTo>
                      <a:pt x="0" y="5"/>
                      <a:pt x="5" y="0"/>
                      <a:pt x="11" y="0"/>
                    </a:cubicBezTo>
                    <a:cubicBezTo>
                      <a:pt x="14" y="0"/>
                      <a:pt x="17" y="1"/>
                      <a:pt x="18" y="3"/>
                    </a:cubicBezTo>
                    <a:cubicBezTo>
                      <a:pt x="19" y="0"/>
                      <a:pt x="19" y="0"/>
                      <a:pt x="19" y="0"/>
                    </a:cubicBezTo>
                    <a:lnTo>
                      <a:pt x="23" y="0"/>
                    </a:lnTo>
                    <a:close/>
                    <a:moveTo>
                      <a:pt x="17" y="9"/>
                    </a:moveTo>
                    <a:cubicBezTo>
                      <a:pt x="17" y="6"/>
                      <a:pt x="15" y="4"/>
                      <a:pt x="12" y="4"/>
                    </a:cubicBezTo>
                    <a:cubicBezTo>
                      <a:pt x="8" y="4"/>
                      <a:pt x="5" y="7"/>
                      <a:pt x="5" y="11"/>
                    </a:cubicBezTo>
                    <a:cubicBezTo>
                      <a:pt x="5" y="15"/>
                      <a:pt x="7" y="16"/>
                      <a:pt x="10" y="16"/>
                    </a:cubicBezTo>
                    <a:cubicBezTo>
                      <a:pt x="14" y="16"/>
                      <a:pt x="17" y="13"/>
                      <a:pt x="17"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83">
                <a:extLst>
                  <a:ext uri="{FF2B5EF4-FFF2-40B4-BE49-F238E27FC236}">
                    <a16:creationId xmlns:a16="http://schemas.microsoft.com/office/drawing/2014/main" id="{2E254CF0-0427-42C8-B97F-4234ACECF26A}"/>
                  </a:ext>
                </a:extLst>
              </p:cNvPr>
              <p:cNvSpPr>
                <a:spLocks/>
              </p:cNvSpPr>
              <p:nvPr/>
            </p:nvSpPr>
            <p:spPr bwMode="auto">
              <a:xfrm>
                <a:off x="3648" y="3272"/>
                <a:ext cx="24" cy="67"/>
              </a:xfrm>
              <a:custGeom>
                <a:avLst/>
                <a:gdLst>
                  <a:gd name="T0" fmla="*/ 12 w 24"/>
                  <a:gd name="T1" fmla="*/ 0 h 67"/>
                  <a:gd name="T2" fmla="*/ 24 w 24"/>
                  <a:gd name="T3" fmla="*/ 0 h 67"/>
                  <a:gd name="T4" fmla="*/ 10 w 24"/>
                  <a:gd name="T5" fmla="*/ 67 h 67"/>
                  <a:gd name="T6" fmla="*/ 0 w 24"/>
                  <a:gd name="T7" fmla="*/ 67 h 67"/>
                  <a:gd name="T8" fmla="*/ 12 w 24"/>
                  <a:gd name="T9" fmla="*/ 0 h 67"/>
                </a:gdLst>
                <a:ahLst/>
                <a:cxnLst>
                  <a:cxn ang="0">
                    <a:pos x="T0" y="T1"/>
                  </a:cxn>
                  <a:cxn ang="0">
                    <a:pos x="T2" y="T3"/>
                  </a:cxn>
                  <a:cxn ang="0">
                    <a:pos x="T4" y="T5"/>
                  </a:cxn>
                  <a:cxn ang="0">
                    <a:pos x="T6" y="T7"/>
                  </a:cxn>
                  <a:cxn ang="0">
                    <a:pos x="T8" y="T9"/>
                  </a:cxn>
                </a:cxnLst>
                <a:rect l="0" t="0" r="r" b="b"/>
                <a:pathLst>
                  <a:path w="24" h="67">
                    <a:moveTo>
                      <a:pt x="12" y="0"/>
                    </a:moveTo>
                    <a:lnTo>
                      <a:pt x="24" y="0"/>
                    </a:lnTo>
                    <a:lnTo>
                      <a:pt x="10" y="67"/>
                    </a:lnTo>
                    <a:lnTo>
                      <a:pt x="0" y="67"/>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84">
                <a:extLst>
                  <a:ext uri="{FF2B5EF4-FFF2-40B4-BE49-F238E27FC236}">
                    <a16:creationId xmlns:a16="http://schemas.microsoft.com/office/drawing/2014/main" id="{952AC8BA-0DB1-4895-AC08-CA3DDDFCBE28}"/>
                  </a:ext>
                </a:extLst>
              </p:cNvPr>
              <p:cNvSpPr>
                <a:spLocks noEditPoints="1"/>
              </p:cNvSpPr>
              <p:nvPr/>
            </p:nvSpPr>
            <p:spPr bwMode="auto">
              <a:xfrm>
                <a:off x="3672" y="3270"/>
                <a:ext cx="26" cy="69"/>
              </a:xfrm>
              <a:custGeom>
                <a:avLst/>
                <a:gdLst>
                  <a:gd name="T0" fmla="*/ 4 w 11"/>
                  <a:gd name="T1" fmla="*/ 9 h 29"/>
                  <a:gd name="T2" fmla="*/ 9 w 11"/>
                  <a:gd name="T3" fmla="*/ 9 h 29"/>
                  <a:gd name="T4" fmla="*/ 5 w 11"/>
                  <a:gd name="T5" fmla="*/ 29 h 29"/>
                  <a:gd name="T6" fmla="*/ 0 w 11"/>
                  <a:gd name="T7" fmla="*/ 29 h 29"/>
                  <a:gd name="T8" fmla="*/ 4 w 11"/>
                  <a:gd name="T9" fmla="*/ 9 h 29"/>
                  <a:gd name="T10" fmla="*/ 5 w 11"/>
                  <a:gd name="T11" fmla="*/ 3 h 29"/>
                  <a:gd name="T12" fmla="*/ 8 w 11"/>
                  <a:gd name="T13" fmla="*/ 0 h 29"/>
                  <a:gd name="T14" fmla="*/ 11 w 11"/>
                  <a:gd name="T15" fmla="*/ 3 h 29"/>
                  <a:gd name="T16" fmla="*/ 8 w 11"/>
                  <a:gd name="T17" fmla="*/ 6 h 29"/>
                  <a:gd name="T18" fmla="*/ 5 w 11"/>
                  <a:gd name="T19"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4" y="9"/>
                    </a:moveTo>
                    <a:cubicBezTo>
                      <a:pt x="9" y="9"/>
                      <a:pt x="9" y="9"/>
                      <a:pt x="9" y="9"/>
                    </a:cubicBezTo>
                    <a:cubicBezTo>
                      <a:pt x="5" y="29"/>
                      <a:pt x="5" y="29"/>
                      <a:pt x="5" y="29"/>
                    </a:cubicBezTo>
                    <a:cubicBezTo>
                      <a:pt x="0" y="29"/>
                      <a:pt x="0" y="29"/>
                      <a:pt x="0" y="29"/>
                    </a:cubicBezTo>
                    <a:lnTo>
                      <a:pt x="4" y="9"/>
                    </a:lnTo>
                    <a:close/>
                    <a:moveTo>
                      <a:pt x="5" y="3"/>
                    </a:moveTo>
                    <a:cubicBezTo>
                      <a:pt x="5" y="2"/>
                      <a:pt x="6" y="0"/>
                      <a:pt x="8" y="0"/>
                    </a:cubicBezTo>
                    <a:cubicBezTo>
                      <a:pt x="10" y="0"/>
                      <a:pt x="11" y="1"/>
                      <a:pt x="11" y="3"/>
                    </a:cubicBezTo>
                    <a:cubicBezTo>
                      <a:pt x="11" y="5"/>
                      <a:pt x="10" y="6"/>
                      <a:pt x="8" y="6"/>
                    </a:cubicBezTo>
                    <a:cubicBezTo>
                      <a:pt x="6" y="6"/>
                      <a:pt x="5" y="5"/>
                      <a:pt x="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85">
                <a:extLst>
                  <a:ext uri="{FF2B5EF4-FFF2-40B4-BE49-F238E27FC236}">
                    <a16:creationId xmlns:a16="http://schemas.microsoft.com/office/drawing/2014/main" id="{0B5E3161-79A1-4DA3-A17F-3156DD90D215}"/>
                  </a:ext>
                </a:extLst>
              </p:cNvPr>
              <p:cNvSpPr>
                <a:spLocks noEditPoints="1"/>
              </p:cNvSpPr>
              <p:nvPr/>
            </p:nvSpPr>
            <p:spPr bwMode="auto">
              <a:xfrm>
                <a:off x="3698" y="3291"/>
                <a:ext cx="57" cy="48"/>
              </a:xfrm>
              <a:custGeom>
                <a:avLst/>
                <a:gdLst>
                  <a:gd name="T0" fmla="*/ 24 w 24"/>
                  <a:gd name="T1" fmla="*/ 0 h 20"/>
                  <a:gd name="T2" fmla="*/ 20 w 24"/>
                  <a:gd name="T3" fmla="*/ 20 h 20"/>
                  <a:gd name="T4" fmla="*/ 15 w 24"/>
                  <a:gd name="T5" fmla="*/ 20 h 20"/>
                  <a:gd name="T6" fmla="*/ 16 w 24"/>
                  <a:gd name="T7" fmla="*/ 18 h 20"/>
                  <a:gd name="T8" fmla="*/ 9 w 24"/>
                  <a:gd name="T9" fmla="*/ 20 h 20"/>
                  <a:gd name="T10" fmla="*/ 0 w 24"/>
                  <a:gd name="T11" fmla="*/ 12 h 20"/>
                  <a:gd name="T12" fmla="*/ 12 w 24"/>
                  <a:gd name="T13" fmla="*/ 0 h 20"/>
                  <a:gd name="T14" fmla="*/ 19 w 24"/>
                  <a:gd name="T15" fmla="*/ 3 h 20"/>
                  <a:gd name="T16" fmla="*/ 19 w 24"/>
                  <a:gd name="T17" fmla="*/ 0 h 20"/>
                  <a:gd name="T18" fmla="*/ 24 w 24"/>
                  <a:gd name="T19" fmla="*/ 0 h 20"/>
                  <a:gd name="T20" fmla="*/ 17 w 24"/>
                  <a:gd name="T21" fmla="*/ 9 h 20"/>
                  <a:gd name="T22" fmla="*/ 12 w 24"/>
                  <a:gd name="T23" fmla="*/ 4 h 20"/>
                  <a:gd name="T24" fmla="*/ 5 w 24"/>
                  <a:gd name="T25" fmla="*/ 11 h 20"/>
                  <a:gd name="T26" fmla="*/ 11 w 24"/>
                  <a:gd name="T27" fmla="*/ 16 h 20"/>
                  <a:gd name="T28" fmla="*/ 17 w 24"/>
                  <a:gd name="T29"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0">
                    <a:moveTo>
                      <a:pt x="24" y="0"/>
                    </a:moveTo>
                    <a:cubicBezTo>
                      <a:pt x="20" y="20"/>
                      <a:pt x="20" y="20"/>
                      <a:pt x="20" y="20"/>
                    </a:cubicBezTo>
                    <a:cubicBezTo>
                      <a:pt x="15" y="20"/>
                      <a:pt x="15" y="20"/>
                      <a:pt x="15" y="20"/>
                    </a:cubicBezTo>
                    <a:cubicBezTo>
                      <a:pt x="16" y="18"/>
                      <a:pt x="16" y="18"/>
                      <a:pt x="16" y="18"/>
                    </a:cubicBezTo>
                    <a:cubicBezTo>
                      <a:pt x="14" y="20"/>
                      <a:pt x="12" y="20"/>
                      <a:pt x="9" y="20"/>
                    </a:cubicBezTo>
                    <a:cubicBezTo>
                      <a:pt x="4" y="20"/>
                      <a:pt x="0" y="17"/>
                      <a:pt x="0" y="12"/>
                    </a:cubicBezTo>
                    <a:cubicBezTo>
                      <a:pt x="0" y="5"/>
                      <a:pt x="5" y="0"/>
                      <a:pt x="12" y="0"/>
                    </a:cubicBezTo>
                    <a:cubicBezTo>
                      <a:pt x="15" y="0"/>
                      <a:pt x="17" y="1"/>
                      <a:pt x="19" y="3"/>
                    </a:cubicBezTo>
                    <a:cubicBezTo>
                      <a:pt x="19" y="0"/>
                      <a:pt x="19" y="0"/>
                      <a:pt x="19" y="0"/>
                    </a:cubicBezTo>
                    <a:lnTo>
                      <a:pt x="24" y="0"/>
                    </a:lnTo>
                    <a:close/>
                    <a:moveTo>
                      <a:pt x="17" y="9"/>
                    </a:moveTo>
                    <a:cubicBezTo>
                      <a:pt x="17" y="6"/>
                      <a:pt x="15" y="4"/>
                      <a:pt x="12" y="4"/>
                    </a:cubicBezTo>
                    <a:cubicBezTo>
                      <a:pt x="8" y="4"/>
                      <a:pt x="5" y="7"/>
                      <a:pt x="5" y="11"/>
                    </a:cubicBezTo>
                    <a:cubicBezTo>
                      <a:pt x="5" y="15"/>
                      <a:pt x="7" y="16"/>
                      <a:pt x="11" y="16"/>
                    </a:cubicBezTo>
                    <a:cubicBezTo>
                      <a:pt x="14" y="16"/>
                      <a:pt x="17" y="13"/>
                      <a:pt x="17"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86">
                <a:extLst>
                  <a:ext uri="{FF2B5EF4-FFF2-40B4-BE49-F238E27FC236}">
                    <a16:creationId xmlns:a16="http://schemas.microsoft.com/office/drawing/2014/main" id="{767D2906-8A8F-447A-91D8-BD4D3163260A}"/>
                  </a:ext>
                </a:extLst>
              </p:cNvPr>
              <p:cNvSpPr>
                <a:spLocks/>
              </p:cNvSpPr>
              <p:nvPr/>
            </p:nvSpPr>
            <p:spPr bwMode="auto">
              <a:xfrm>
                <a:off x="3760" y="3291"/>
                <a:ext cx="52" cy="48"/>
              </a:xfrm>
              <a:custGeom>
                <a:avLst/>
                <a:gdLst>
                  <a:gd name="T0" fmla="*/ 22 w 22"/>
                  <a:gd name="T1" fmla="*/ 7 h 20"/>
                  <a:gd name="T2" fmla="*/ 22 w 22"/>
                  <a:gd name="T3" fmla="*/ 9 h 20"/>
                  <a:gd name="T4" fmla="*/ 20 w 22"/>
                  <a:gd name="T5" fmla="*/ 20 h 20"/>
                  <a:gd name="T6" fmla="*/ 15 w 22"/>
                  <a:gd name="T7" fmla="*/ 20 h 20"/>
                  <a:gd name="T8" fmla="*/ 17 w 22"/>
                  <a:gd name="T9" fmla="*/ 9 h 20"/>
                  <a:gd name="T10" fmla="*/ 17 w 22"/>
                  <a:gd name="T11" fmla="*/ 8 h 20"/>
                  <a:gd name="T12" fmla="*/ 13 w 22"/>
                  <a:gd name="T13" fmla="*/ 4 h 20"/>
                  <a:gd name="T14" fmla="*/ 7 w 22"/>
                  <a:gd name="T15" fmla="*/ 10 h 20"/>
                  <a:gd name="T16" fmla="*/ 5 w 22"/>
                  <a:gd name="T17" fmla="*/ 20 h 20"/>
                  <a:gd name="T18" fmla="*/ 0 w 22"/>
                  <a:gd name="T19" fmla="*/ 20 h 20"/>
                  <a:gd name="T20" fmla="*/ 4 w 22"/>
                  <a:gd name="T21" fmla="*/ 0 h 20"/>
                  <a:gd name="T22" fmla="*/ 8 w 22"/>
                  <a:gd name="T23" fmla="*/ 0 h 20"/>
                  <a:gd name="T24" fmla="*/ 8 w 22"/>
                  <a:gd name="T25" fmla="*/ 2 h 20"/>
                  <a:gd name="T26" fmla="*/ 15 w 22"/>
                  <a:gd name="T27" fmla="*/ 0 h 20"/>
                  <a:gd name="T28" fmla="*/ 22 w 22"/>
                  <a:gd name="T29"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0">
                    <a:moveTo>
                      <a:pt x="22" y="7"/>
                    </a:moveTo>
                    <a:cubicBezTo>
                      <a:pt x="22" y="7"/>
                      <a:pt x="22" y="8"/>
                      <a:pt x="22" y="9"/>
                    </a:cubicBezTo>
                    <a:cubicBezTo>
                      <a:pt x="20" y="20"/>
                      <a:pt x="20" y="20"/>
                      <a:pt x="20" y="20"/>
                    </a:cubicBezTo>
                    <a:cubicBezTo>
                      <a:pt x="15" y="20"/>
                      <a:pt x="15" y="20"/>
                      <a:pt x="15" y="20"/>
                    </a:cubicBezTo>
                    <a:cubicBezTo>
                      <a:pt x="17" y="9"/>
                      <a:pt x="17" y="9"/>
                      <a:pt x="17" y="9"/>
                    </a:cubicBezTo>
                    <a:cubicBezTo>
                      <a:pt x="17" y="9"/>
                      <a:pt x="17" y="8"/>
                      <a:pt x="17" y="8"/>
                    </a:cubicBezTo>
                    <a:cubicBezTo>
                      <a:pt x="17" y="5"/>
                      <a:pt x="16" y="4"/>
                      <a:pt x="13" y="4"/>
                    </a:cubicBezTo>
                    <a:cubicBezTo>
                      <a:pt x="10" y="4"/>
                      <a:pt x="8" y="6"/>
                      <a:pt x="7" y="10"/>
                    </a:cubicBezTo>
                    <a:cubicBezTo>
                      <a:pt x="5" y="20"/>
                      <a:pt x="5" y="20"/>
                      <a:pt x="5" y="20"/>
                    </a:cubicBezTo>
                    <a:cubicBezTo>
                      <a:pt x="0" y="20"/>
                      <a:pt x="0" y="20"/>
                      <a:pt x="0" y="20"/>
                    </a:cubicBezTo>
                    <a:cubicBezTo>
                      <a:pt x="4" y="0"/>
                      <a:pt x="4" y="0"/>
                      <a:pt x="4" y="0"/>
                    </a:cubicBezTo>
                    <a:cubicBezTo>
                      <a:pt x="8" y="0"/>
                      <a:pt x="8" y="0"/>
                      <a:pt x="8" y="0"/>
                    </a:cubicBezTo>
                    <a:cubicBezTo>
                      <a:pt x="8" y="2"/>
                      <a:pt x="8" y="2"/>
                      <a:pt x="8" y="2"/>
                    </a:cubicBezTo>
                    <a:cubicBezTo>
                      <a:pt x="10" y="1"/>
                      <a:pt x="12" y="0"/>
                      <a:pt x="15" y="0"/>
                    </a:cubicBezTo>
                    <a:cubicBezTo>
                      <a:pt x="19" y="0"/>
                      <a:pt x="22" y="2"/>
                      <a:pt x="2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87">
                <a:extLst>
                  <a:ext uri="{FF2B5EF4-FFF2-40B4-BE49-F238E27FC236}">
                    <a16:creationId xmlns:a16="http://schemas.microsoft.com/office/drawing/2014/main" id="{28D29AD9-3AA7-4798-B3CA-D30EA47BE7EF}"/>
                  </a:ext>
                </a:extLst>
              </p:cNvPr>
              <p:cNvSpPr>
                <a:spLocks noChangeArrowheads="1"/>
              </p:cNvSpPr>
              <p:nvPr/>
            </p:nvSpPr>
            <p:spPr bwMode="auto">
              <a:xfrm>
                <a:off x="459" y="808"/>
                <a:ext cx="1299" cy="67"/>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88">
                <a:extLst>
                  <a:ext uri="{FF2B5EF4-FFF2-40B4-BE49-F238E27FC236}">
                    <a16:creationId xmlns:a16="http://schemas.microsoft.com/office/drawing/2014/main" id="{90960CA1-C6F4-4E0F-8837-47F0F4AD42E1}"/>
                  </a:ext>
                </a:extLst>
              </p:cNvPr>
              <p:cNvSpPr>
                <a:spLocks noChangeArrowheads="1"/>
              </p:cNvSpPr>
              <p:nvPr/>
            </p:nvSpPr>
            <p:spPr bwMode="auto">
              <a:xfrm>
                <a:off x="459" y="808"/>
                <a:ext cx="129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89">
                <a:extLst>
                  <a:ext uri="{FF2B5EF4-FFF2-40B4-BE49-F238E27FC236}">
                    <a16:creationId xmlns:a16="http://schemas.microsoft.com/office/drawing/2014/main" id="{BCA03796-AF8C-4A35-91F6-34F587412316}"/>
                  </a:ext>
                </a:extLst>
              </p:cNvPr>
              <p:cNvSpPr>
                <a:spLocks/>
              </p:cNvSpPr>
              <p:nvPr/>
            </p:nvSpPr>
            <p:spPr bwMode="auto">
              <a:xfrm>
                <a:off x="1067" y="13"/>
                <a:ext cx="454" cy="527"/>
              </a:xfrm>
              <a:custGeom>
                <a:avLst/>
                <a:gdLst>
                  <a:gd name="T0" fmla="*/ 191 w 191"/>
                  <a:gd name="T1" fmla="*/ 50 h 222"/>
                  <a:gd name="T2" fmla="*/ 190 w 191"/>
                  <a:gd name="T3" fmla="*/ 49 h 222"/>
                  <a:gd name="T4" fmla="*/ 189 w 191"/>
                  <a:gd name="T5" fmla="*/ 46 h 222"/>
                  <a:gd name="T6" fmla="*/ 183 w 191"/>
                  <a:gd name="T7" fmla="*/ 37 h 222"/>
                  <a:gd name="T8" fmla="*/ 155 w 191"/>
                  <a:gd name="T9" fmla="*/ 10 h 222"/>
                  <a:gd name="T10" fmla="*/ 129 w 191"/>
                  <a:gd name="T11" fmla="*/ 1 h 222"/>
                  <a:gd name="T12" fmla="*/ 98 w 191"/>
                  <a:gd name="T13" fmla="*/ 4 h 222"/>
                  <a:gd name="T14" fmla="*/ 71 w 191"/>
                  <a:gd name="T15" fmla="*/ 26 h 222"/>
                  <a:gd name="T16" fmla="*/ 60 w 191"/>
                  <a:gd name="T17" fmla="*/ 61 h 222"/>
                  <a:gd name="T18" fmla="*/ 52 w 191"/>
                  <a:gd name="T19" fmla="*/ 78 h 222"/>
                  <a:gd name="T20" fmla="*/ 39 w 191"/>
                  <a:gd name="T21" fmla="*/ 90 h 222"/>
                  <a:gd name="T22" fmla="*/ 25 w 191"/>
                  <a:gd name="T23" fmla="*/ 101 h 222"/>
                  <a:gd name="T24" fmla="*/ 14 w 191"/>
                  <a:gd name="T25" fmla="*/ 113 h 222"/>
                  <a:gd name="T26" fmla="*/ 2 w 191"/>
                  <a:gd name="T27" fmla="*/ 142 h 222"/>
                  <a:gd name="T28" fmla="*/ 0 w 191"/>
                  <a:gd name="T29" fmla="*/ 170 h 222"/>
                  <a:gd name="T30" fmla="*/ 7 w 191"/>
                  <a:gd name="T31" fmla="*/ 208 h 222"/>
                  <a:gd name="T32" fmla="*/ 10 w 191"/>
                  <a:gd name="T33" fmla="*/ 219 h 222"/>
                  <a:gd name="T34" fmla="*/ 11 w 191"/>
                  <a:gd name="T35" fmla="*/ 222 h 222"/>
                  <a:gd name="T36" fmla="*/ 10 w 191"/>
                  <a:gd name="T37" fmla="*/ 218 h 222"/>
                  <a:gd name="T38" fmla="*/ 8 w 191"/>
                  <a:gd name="T39" fmla="*/ 208 h 222"/>
                  <a:gd name="T40" fmla="*/ 2 w 191"/>
                  <a:gd name="T41" fmla="*/ 169 h 222"/>
                  <a:gd name="T42" fmla="*/ 4 w 191"/>
                  <a:gd name="T43" fmla="*/ 143 h 222"/>
                  <a:gd name="T44" fmla="*/ 15 w 191"/>
                  <a:gd name="T45" fmla="*/ 115 h 222"/>
                  <a:gd name="T46" fmla="*/ 27 w 191"/>
                  <a:gd name="T47" fmla="*/ 102 h 222"/>
                  <a:gd name="T48" fmla="*/ 41 w 191"/>
                  <a:gd name="T49" fmla="*/ 92 h 222"/>
                  <a:gd name="T50" fmla="*/ 54 w 191"/>
                  <a:gd name="T51" fmla="*/ 79 h 222"/>
                  <a:gd name="T52" fmla="*/ 62 w 191"/>
                  <a:gd name="T53" fmla="*/ 62 h 222"/>
                  <a:gd name="T54" fmla="*/ 73 w 191"/>
                  <a:gd name="T55" fmla="*/ 27 h 222"/>
                  <a:gd name="T56" fmla="*/ 99 w 191"/>
                  <a:gd name="T57" fmla="*/ 6 h 222"/>
                  <a:gd name="T58" fmla="*/ 129 w 191"/>
                  <a:gd name="T59" fmla="*/ 3 h 222"/>
                  <a:gd name="T60" fmla="*/ 154 w 191"/>
                  <a:gd name="T61" fmla="*/ 12 h 222"/>
                  <a:gd name="T62" fmla="*/ 182 w 191"/>
                  <a:gd name="T63" fmla="*/ 38 h 222"/>
                  <a:gd name="T64" fmla="*/ 188 w 191"/>
                  <a:gd name="T65" fmla="*/ 47 h 222"/>
                  <a:gd name="T66" fmla="*/ 191 w 191"/>
                  <a:gd name="T67" fmla="*/ 5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222">
                    <a:moveTo>
                      <a:pt x="191" y="50"/>
                    </a:moveTo>
                    <a:cubicBezTo>
                      <a:pt x="191" y="50"/>
                      <a:pt x="190" y="49"/>
                      <a:pt x="190" y="49"/>
                    </a:cubicBezTo>
                    <a:cubicBezTo>
                      <a:pt x="190" y="48"/>
                      <a:pt x="189" y="47"/>
                      <a:pt x="189" y="46"/>
                    </a:cubicBezTo>
                    <a:cubicBezTo>
                      <a:pt x="188" y="44"/>
                      <a:pt x="186" y="41"/>
                      <a:pt x="183" y="37"/>
                    </a:cubicBezTo>
                    <a:cubicBezTo>
                      <a:pt x="178" y="30"/>
                      <a:pt x="169" y="19"/>
                      <a:pt x="155" y="10"/>
                    </a:cubicBezTo>
                    <a:cubicBezTo>
                      <a:pt x="147" y="6"/>
                      <a:pt x="139" y="2"/>
                      <a:pt x="129" y="1"/>
                    </a:cubicBezTo>
                    <a:cubicBezTo>
                      <a:pt x="119" y="0"/>
                      <a:pt x="108" y="0"/>
                      <a:pt x="98" y="4"/>
                    </a:cubicBezTo>
                    <a:cubicBezTo>
                      <a:pt x="87" y="8"/>
                      <a:pt x="77" y="15"/>
                      <a:pt x="71" y="26"/>
                    </a:cubicBezTo>
                    <a:cubicBezTo>
                      <a:pt x="65" y="37"/>
                      <a:pt x="63" y="49"/>
                      <a:pt x="60" y="61"/>
                    </a:cubicBezTo>
                    <a:cubicBezTo>
                      <a:pt x="58" y="67"/>
                      <a:pt x="55" y="73"/>
                      <a:pt x="52" y="78"/>
                    </a:cubicBezTo>
                    <a:cubicBezTo>
                      <a:pt x="49" y="83"/>
                      <a:pt x="44" y="87"/>
                      <a:pt x="39" y="90"/>
                    </a:cubicBezTo>
                    <a:cubicBezTo>
                      <a:pt x="35" y="94"/>
                      <a:pt x="30" y="97"/>
                      <a:pt x="25" y="101"/>
                    </a:cubicBezTo>
                    <a:cubicBezTo>
                      <a:pt x="21" y="105"/>
                      <a:pt x="17" y="109"/>
                      <a:pt x="14" y="113"/>
                    </a:cubicBezTo>
                    <a:cubicBezTo>
                      <a:pt x="7" y="123"/>
                      <a:pt x="4" y="133"/>
                      <a:pt x="2" y="142"/>
                    </a:cubicBezTo>
                    <a:cubicBezTo>
                      <a:pt x="0" y="152"/>
                      <a:pt x="0" y="161"/>
                      <a:pt x="0" y="170"/>
                    </a:cubicBezTo>
                    <a:cubicBezTo>
                      <a:pt x="1" y="186"/>
                      <a:pt x="5" y="199"/>
                      <a:pt x="7" y="208"/>
                    </a:cubicBezTo>
                    <a:cubicBezTo>
                      <a:pt x="8" y="213"/>
                      <a:pt x="9" y="216"/>
                      <a:pt x="10" y="219"/>
                    </a:cubicBezTo>
                    <a:cubicBezTo>
                      <a:pt x="11" y="221"/>
                      <a:pt x="11" y="222"/>
                      <a:pt x="11" y="222"/>
                    </a:cubicBezTo>
                    <a:cubicBezTo>
                      <a:pt x="11" y="222"/>
                      <a:pt x="11" y="221"/>
                      <a:pt x="10" y="218"/>
                    </a:cubicBezTo>
                    <a:cubicBezTo>
                      <a:pt x="10" y="216"/>
                      <a:pt x="9" y="212"/>
                      <a:pt x="8" y="208"/>
                    </a:cubicBezTo>
                    <a:cubicBezTo>
                      <a:pt x="6" y="199"/>
                      <a:pt x="3" y="186"/>
                      <a:pt x="2" y="169"/>
                    </a:cubicBezTo>
                    <a:cubicBezTo>
                      <a:pt x="1" y="161"/>
                      <a:pt x="2" y="152"/>
                      <a:pt x="4" y="143"/>
                    </a:cubicBezTo>
                    <a:cubicBezTo>
                      <a:pt x="6" y="133"/>
                      <a:pt x="9" y="123"/>
                      <a:pt x="15" y="115"/>
                    </a:cubicBezTo>
                    <a:cubicBezTo>
                      <a:pt x="18" y="110"/>
                      <a:pt x="22" y="106"/>
                      <a:pt x="27" y="102"/>
                    </a:cubicBezTo>
                    <a:cubicBezTo>
                      <a:pt x="31" y="99"/>
                      <a:pt x="36" y="96"/>
                      <a:pt x="41" y="92"/>
                    </a:cubicBezTo>
                    <a:cubicBezTo>
                      <a:pt x="46" y="89"/>
                      <a:pt x="50" y="85"/>
                      <a:pt x="54" y="79"/>
                    </a:cubicBezTo>
                    <a:cubicBezTo>
                      <a:pt x="57" y="74"/>
                      <a:pt x="60" y="68"/>
                      <a:pt x="62" y="62"/>
                    </a:cubicBezTo>
                    <a:cubicBezTo>
                      <a:pt x="65" y="50"/>
                      <a:pt x="67" y="37"/>
                      <a:pt x="73" y="27"/>
                    </a:cubicBezTo>
                    <a:cubicBezTo>
                      <a:pt x="79" y="17"/>
                      <a:pt x="88" y="10"/>
                      <a:pt x="99" y="6"/>
                    </a:cubicBezTo>
                    <a:cubicBezTo>
                      <a:pt x="109" y="2"/>
                      <a:pt x="119" y="2"/>
                      <a:pt x="129" y="3"/>
                    </a:cubicBezTo>
                    <a:cubicBezTo>
                      <a:pt x="138" y="4"/>
                      <a:pt x="147" y="8"/>
                      <a:pt x="154" y="12"/>
                    </a:cubicBezTo>
                    <a:cubicBezTo>
                      <a:pt x="168" y="20"/>
                      <a:pt x="177" y="31"/>
                      <a:pt x="182" y="38"/>
                    </a:cubicBezTo>
                    <a:cubicBezTo>
                      <a:pt x="185" y="42"/>
                      <a:pt x="187" y="45"/>
                      <a:pt x="188" y="47"/>
                    </a:cubicBezTo>
                    <a:cubicBezTo>
                      <a:pt x="190" y="49"/>
                      <a:pt x="190" y="50"/>
                      <a:pt x="191" y="5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90">
                <a:extLst>
                  <a:ext uri="{FF2B5EF4-FFF2-40B4-BE49-F238E27FC236}">
                    <a16:creationId xmlns:a16="http://schemas.microsoft.com/office/drawing/2014/main" id="{887FDABB-7364-4E72-8A1A-AC2717A8510B}"/>
                  </a:ext>
                </a:extLst>
              </p:cNvPr>
              <p:cNvSpPr>
                <a:spLocks/>
              </p:cNvSpPr>
              <p:nvPr/>
            </p:nvSpPr>
            <p:spPr bwMode="auto">
              <a:xfrm>
                <a:off x="1133" y="229"/>
                <a:ext cx="117" cy="147"/>
              </a:xfrm>
              <a:custGeom>
                <a:avLst/>
                <a:gdLst>
                  <a:gd name="T0" fmla="*/ 6 w 49"/>
                  <a:gd name="T1" fmla="*/ 3 h 62"/>
                  <a:gd name="T2" fmla="*/ 15 w 49"/>
                  <a:gd name="T3" fmla="*/ 3 h 62"/>
                  <a:gd name="T4" fmla="*/ 27 w 49"/>
                  <a:gd name="T5" fmla="*/ 8 h 62"/>
                  <a:gd name="T6" fmla="*/ 44 w 49"/>
                  <a:gd name="T7" fmla="*/ 61 h 62"/>
                  <a:gd name="T8" fmla="*/ 8 w 49"/>
                  <a:gd name="T9" fmla="*/ 43 h 62"/>
                  <a:gd name="T10" fmla="*/ 7 w 49"/>
                  <a:gd name="T11" fmla="*/ 2 h 62"/>
                </a:gdLst>
                <a:ahLst/>
                <a:cxnLst>
                  <a:cxn ang="0">
                    <a:pos x="T0" y="T1"/>
                  </a:cxn>
                  <a:cxn ang="0">
                    <a:pos x="T2" y="T3"/>
                  </a:cxn>
                  <a:cxn ang="0">
                    <a:pos x="T4" y="T5"/>
                  </a:cxn>
                  <a:cxn ang="0">
                    <a:pos x="T6" y="T7"/>
                  </a:cxn>
                  <a:cxn ang="0">
                    <a:pos x="T8" y="T9"/>
                  </a:cxn>
                  <a:cxn ang="0">
                    <a:pos x="T10" y="T11"/>
                  </a:cxn>
                </a:cxnLst>
                <a:rect l="0" t="0" r="r" b="b"/>
                <a:pathLst>
                  <a:path w="49" h="62">
                    <a:moveTo>
                      <a:pt x="6" y="3"/>
                    </a:moveTo>
                    <a:cubicBezTo>
                      <a:pt x="9" y="0"/>
                      <a:pt x="11" y="2"/>
                      <a:pt x="15" y="3"/>
                    </a:cubicBezTo>
                    <a:cubicBezTo>
                      <a:pt x="20" y="3"/>
                      <a:pt x="24" y="6"/>
                      <a:pt x="27" y="8"/>
                    </a:cubicBezTo>
                    <a:cubicBezTo>
                      <a:pt x="43" y="21"/>
                      <a:pt x="49" y="43"/>
                      <a:pt x="44" y="61"/>
                    </a:cubicBezTo>
                    <a:cubicBezTo>
                      <a:pt x="29" y="62"/>
                      <a:pt x="15" y="55"/>
                      <a:pt x="8" y="43"/>
                    </a:cubicBezTo>
                    <a:cubicBezTo>
                      <a:pt x="0" y="31"/>
                      <a:pt x="0" y="14"/>
                      <a:pt x="7" y="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91">
                <a:extLst>
                  <a:ext uri="{FF2B5EF4-FFF2-40B4-BE49-F238E27FC236}">
                    <a16:creationId xmlns:a16="http://schemas.microsoft.com/office/drawing/2014/main" id="{E5B71E61-6FEB-483C-B4E3-30C20D7ABFE0}"/>
                  </a:ext>
                </a:extLst>
              </p:cNvPr>
              <p:cNvSpPr>
                <a:spLocks/>
              </p:cNvSpPr>
              <p:nvPr/>
            </p:nvSpPr>
            <p:spPr bwMode="auto">
              <a:xfrm>
                <a:off x="1468" y="77"/>
                <a:ext cx="143" cy="116"/>
              </a:xfrm>
              <a:custGeom>
                <a:avLst/>
                <a:gdLst>
                  <a:gd name="T0" fmla="*/ 0 w 60"/>
                  <a:gd name="T1" fmla="*/ 5 h 49"/>
                  <a:gd name="T2" fmla="*/ 9 w 60"/>
                  <a:gd name="T3" fmla="*/ 1 h 49"/>
                  <a:gd name="T4" fmla="*/ 22 w 60"/>
                  <a:gd name="T5" fmla="*/ 1 h 49"/>
                  <a:gd name="T6" fmla="*/ 60 w 60"/>
                  <a:gd name="T7" fmla="*/ 42 h 49"/>
                  <a:gd name="T8" fmla="*/ 19 w 60"/>
                  <a:gd name="T9" fmla="*/ 40 h 49"/>
                  <a:gd name="T10" fmla="*/ 2 w 60"/>
                  <a:gd name="T11" fmla="*/ 4 h 49"/>
                </a:gdLst>
                <a:ahLst/>
                <a:cxnLst>
                  <a:cxn ang="0">
                    <a:pos x="T0" y="T1"/>
                  </a:cxn>
                  <a:cxn ang="0">
                    <a:pos x="T2" y="T3"/>
                  </a:cxn>
                  <a:cxn ang="0">
                    <a:pos x="T4" y="T5"/>
                  </a:cxn>
                  <a:cxn ang="0">
                    <a:pos x="T6" y="T7"/>
                  </a:cxn>
                  <a:cxn ang="0">
                    <a:pos x="T8" y="T9"/>
                  </a:cxn>
                  <a:cxn ang="0">
                    <a:pos x="T10" y="T11"/>
                  </a:cxn>
                </a:cxnLst>
                <a:rect l="0" t="0" r="r" b="b"/>
                <a:pathLst>
                  <a:path w="60" h="49">
                    <a:moveTo>
                      <a:pt x="0" y="5"/>
                    </a:moveTo>
                    <a:cubicBezTo>
                      <a:pt x="2" y="1"/>
                      <a:pt x="4" y="2"/>
                      <a:pt x="9" y="1"/>
                    </a:cubicBezTo>
                    <a:cubicBezTo>
                      <a:pt x="13" y="0"/>
                      <a:pt x="18" y="0"/>
                      <a:pt x="22" y="1"/>
                    </a:cubicBezTo>
                    <a:cubicBezTo>
                      <a:pt x="41" y="6"/>
                      <a:pt x="57" y="22"/>
                      <a:pt x="60" y="42"/>
                    </a:cubicBezTo>
                    <a:cubicBezTo>
                      <a:pt x="47" y="49"/>
                      <a:pt x="31" y="48"/>
                      <a:pt x="19" y="40"/>
                    </a:cubicBezTo>
                    <a:cubicBezTo>
                      <a:pt x="7" y="33"/>
                      <a:pt x="0" y="18"/>
                      <a:pt x="2" y="4"/>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92">
                <a:extLst>
                  <a:ext uri="{FF2B5EF4-FFF2-40B4-BE49-F238E27FC236}">
                    <a16:creationId xmlns:a16="http://schemas.microsoft.com/office/drawing/2014/main" id="{8868D5D9-1BCD-4EA5-8ADA-B9083C816C2A}"/>
                  </a:ext>
                </a:extLst>
              </p:cNvPr>
              <p:cNvSpPr>
                <a:spLocks/>
              </p:cNvSpPr>
              <p:nvPr/>
            </p:nvSpPr>
            <p:spPr bwMode="auto">
              <a:xfrm>
                <a:off x="1069" y="395"/>
                <a:ext cx="176" cy="81"/>
              </a:xfrm>
              <a:custGeom>
                <a:avLst/>
                <a:gdLst>
                  <a:gd name="T0" fmla="*/ 3 w 74"/>
                  <a:gd name="T1" fmla="*/ 16 h 34"/>
                  <a:gd name="T2" fmla="*/ 40 w 74"/>
                  <a:gd name="T3" fmla="*/ 0 h 34"/>
                  <a:gd name="T4" fmla="*/ 74 w 74"/>
                  <a:gd name="T5" fmla="*/ 20 h 34"/>
                  <a:gd name="T6" fmla="*/ 37 w 74"/>
                  <a:gd name="T7" fmla="*/ 34 h 34"/>
                  <a:gd name="T8" fmla="*/ 0 w 74"/>
                  <a:gd name="T9" fmla="*/ 19 h 34"/>
                </a:gdLst>
                <a:ahLst/>
                <a:cxnLst>
                  <a:cxn ang="0">
                    <a:pos x="T0" y="T1"/>
                  </a:cxn>
                  <a:cxn ang="0">
                    <a:pos x="T2" y="T3"/>
                  </a:cxn>
                  <a:cxn ang="0">
                    <a:pos x="T4" y="T5"/>
                  </a:cxn>
                  <a:cxn ang="0">
                    <a:pos x="T6" y="T7"/>
                  </a:cxn>
                  <a:cxn ang="0">
                    <a:pos x="T8" y="T9"/>
                  </a:cxn>
                </a:cxnLst>
                <a:rect l="0" t="0" r="r" b="b"/>
                <a:pathLst>
                  <a:path w="74" h="34">
                    <a:moveTo>
                      <a:pt x="3" y="16"/>
                    </a:moveTo>
                    <a:cubicBezTo>
                      <a:pt x="12" y="6"/>
                      <a:pt x="26" y="0"/>
                      <a:pt x="40" y="0"/>
                    </a:cubicBezTo>
                    <a:cubicBezTo>
                      <a:pt x="53" y="1"/>
                      <a:pt x="67" y="8"/>
                      <a:pt x="74" y="20"/>
                    </a:cubicBezTo>
                    <a:cubicBezTo>
                      <a:pt x="64" y="29"/>
                      <a:pt x="51" y="34"/>
                      <a:pt x="37" y="34"/>
                    </a:cubicBezTo>
                    <a:cubicBezTo>
                      <a:pt x="24" y="34"/>
                      <a:pt x="10" y="28"/>
                      <a:pt x="0" y="19"/>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93">
                <a:extLst>
                  <a:ext uri="{FF2B5EF4-FFF2-40B4-BE49-F238E27FC236}">
                    <a16:creationId xmlns:a16="http://schemas.microsoft.com/office/drawing/2014/main" id="{951A2D16-9CD3-465C-BF41-1F1AE119CF23}"/>
                  </a:ext>
                </a:extLst>
              </p:cNvPr>
              <p:cNvSpPr>
                <a:spLocks/>
              </p:cNvSpPr>
              <p:nvPr/>
            </p:nvSpPr>
            <p:spPr bwMode="auto">
              <a:xfrm>
                <a:off x="986" y="148"/>
                <a:ext cx="133" cy="138"/>
              </a:xfrm>
              <a:custGeom>
                <a:avLst/>
                <a:gdLst>
                  <a:gd name="T0" fmla="*/ 49 w 56"/>
                  <a:gd name="T1" fmla="*/ 58 h 58"/>
                  <a:gd name="T2" fmla="*/ 13 w 56"/>
                  <a:gd name="T3" fmla="*/ 41 h 58"/>
                  <a:gd name="T4" fmla="*/ 3 w 56"/>
                  <a:gd name="T5" fmla="*/ 3 h 58"/>
                  <a:gd name="T6" fmla="*/ 43 w 56"/>
                  <a:gd name="T7" fmla="*/ 16 h 58"/>
                  <a:gd name="T8" fmla="*/ 51 w 56"/>
                  <a:gd name="T9" fmla="*/ 57 h 58"/>
                </a:gdLst>
                <a:ahLst/>
                <a:cxnLst>
                  <a:cxn ang="0">
                    <a:pos x="T0" y="T1"/>
                  </a:cxn>
                  <a:cxn ang="0">
                    <a:pos x="T2" y="T3"/>
                  </a:cxn>
                  <a:cxn ang="0">
                    <a:pos x="T4" y="T5"/>
                  </a:cxn>
                  <a:cxn ang="0">
                    <a:pos x="T6" y="T7"/>
                  </a:cxn>
                  <a:cxn ang="0">
                    <a:pos x="T8" y="T9"/>
                  </a:cxn>
                </a:cxnLst>
                <a:rect l="0" t="0" r="r" b="b"/>
                <a:pathLst>
                  <a:path w="56" h="58">
                    <a:moveTo>
                      <a:pt x="49" y="58"/>
                    </a:moveTo>
                    <a:cubicBezTo>
                      <a:pt x="35" y="58"/>
                      <a:pt x="22" y="52"/>
                      <a:pt x="13" y="41"/>
                    </a:cubicBezTo>
                    <a:cubicBezTo>
                      <a:pt x="4" y="31"/>
                      <a:pt x="0" y="16"/>
                      <a:pt x="3" y="3"/>
                    </a:cubicBezTo>
                    <a:cubicBezTo>
                      <a:pt x="17" y="0"/>
                      <a:pt x="33" y="5"/>
                      <a:pt x="43" y="16"/>
                    </a:cubicBezTo>
                    <a:cubicBezTo>
                      <a:pt x="53" y="27"/>
                      <a:pt x="56" y="43"/>
                      <a:pt x="51" y="57"/>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94">
                <a:extLst>
                  <a:ext uri="{FF2B5EF4-FFF2-40B4-BE49-F238E27FC236}">
                    <a16:creationId xmlns:a16="http://schemas.microsoft.com/office/drawing/2014/main" id="{0B014FF9-803B-43BF-9D80-E62DA8F44D09}"/>
                  </a:ext>
                </a:extLst>
              </p:cNvPr>
              <p:cNvSpPr>
                <a:spLocks/>
              </p:cNvSpPr>
              <p:nvPr/>
            </p:nvSpPr>
            <p:spPr bwMode="auto">
              <a:xfrm>
                <a:off x="1069" y="6"/>
                <a:ext cx="150" cy="116"/>
              </a:xfrm>
              <a:custGeom>
                <a:avLst/>
                <a:gdLst>
                  <a:gd name="T0" fmla="*/ 62 w 63"/>
                  <a:gd name="T1" fmla="*/ 44 h 49"/>
                  <a:gd name="T2" fmla="*/ 22 w 63"/>
                  <a:gd name="T3" fmla="*/ 41 h 49"/>
                  <a:gd name="T4" fmla="*/ 0 w 63"/>
                  <a:gd name="T5" fmla="*/ 8 h 49"/>
                  <a:gd name="T6" fmla="*/ 42 w 63"/>
                  <a:gd name="T7" fmla="*/ 7 h 49"/>
                  <a:gd name="T8" fmla="*/ 63 w 63"/>
                  <a:gd name="T9" fmla="*/ 44 h 49"/>
                </a:gdLst>
                <a:ahLst/>
                <a:cxnLst>
                  <a:cxn ang="0">
                    <a:pos x="T0" y="T1"/>
                  </a:cxn>
                  <a:cxn ang="0">
                    <a:pos x="T2" y="T3"/>
                  </a:cxn>
                  <a:cxn ang="0">
                    <a:pos x="T4" y="T5"/>
                  </a:cxn>
                  <a:cxn ang="0">
                    <a:pos x="T6" y="T7"/>
                  </a:cxn>
                  <a:cxn ang="0">
                    <a:pos x="T8" y="T9"/>
                  </a:cxn>
                </a:cxnLst>
                <a:rect l="0" t="0" r="r" b="b"/>
                <a:pathLst>
                  <a:path w="63" h="49">
                    <a:moveTo>
                      <a:pt x="62" y="44"/>
                    </a:moveTo>
                    <a:cubicBezTo>
                      <a:pt x="49" y="49"/>
                      <a:pt x="34" y="48"/>
                      <a:pt x="22" y="41"/>
                    </a:cubicBezTo>
                    <a:cubicBezTo>
                      <a:pt x="10" y="34"/>
                      <a:pt x="2" y="22"/>
                      <a:pt x="0" y="8"/>
                    </a:cubicBezTo>
                    <a:cubicBezTo>
                      <a:pt x="12" y="0"/>
                      <a:pt x="29" y="0"/>
                      <a:pt x="42" y="7"/>
                    </a:cubicBezTo>
                    <a:cubicBezTo>
                      <a:pt x="55" y="14"/>
                      <a:pt x="63" y="29"/>
                      <a:pt x="63" y="44"/>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95">
                <a:extLst>
                  <a:ext uri="{FF2B5EF4-FFF2-40B4-BE49-F238E27FC236}">
                    <a16:creationId xmlns:a16="http://schemas.microsoft.com/office/drawing/2014/main" id="{17326AC0-569F-4F38-AFB4-6C7F30F13E49}"/>
                  </a:ext>
                </a:extLst>
              </p:cNvPr>
              <p:cNvSpPr>
                <a:spLocks/>
              </p:cNvSpPr>
              <p:nvPr/>
            </p:nvSpPr>
            <p:spPr bwMode="auto">
              <a:xfrm>
                <a:off x="1250" y="44"/>
                <a:ext cx="152" cy="116"/>
              </a:xfrm>
              <a:custGeom>
                <a:avLst/>
                <a:gdLst>
                  <a:gd name="T0" fmla="*/ 2 w 64"/>
                  <a:gd name="T1" fmla="*/ 5 h 49"/>
                  <a:gd name="T2" fmla="*/ 42 w 64"/>
                  <a:gd name="T3" fmla="*/ 8 h 49"/>
                  <a:gd name="T4" fmla="*/ 64 w 64"/>
                  <a:gd name="T5" fmla="*/ 41 h 49"/>
                  <a:gd name="T6" fmla="*/ 22 w 64"/>
                  <a:gd name="T7" fmla="*/ 42 h 49"/>
                  <a:gd name="T8" fmla="*/ 1 w 64"/>
                  <a:gd name="T9" fmla="*/ 5 h 49"/>
                </a:gdLst>
                <a:ahLst/>
                <a:cxnLst>
                  <a:cxn ang="0">
                    <a:pos x="T0" y="T1"/>
                  </a:cxn>
                  <a:cxn ang="0">
                    <a:pos x="T2" y="T3"/>
                  </a:cxn>
                  <a:cxn ang="0">
                    <a:pos x="T4" y="T5"/>
                  </a:cxn>
                  <a:cxn ang="0">
                    <a:pos x="T6" y="T7"/>
                  </a:cxn>
                  <a:cxn ang="0">
                    <a:pos x="T8" y="T9"/>
                  </a:cxn>
                </a:cxnLst>
                <a:rect l="0" t="0" r="r" b="b"/>
                <a:pathLst>
                  <a:path w="64" h="49">
                    <a:moveTo>
                      <a:pt x="2" y="5"/>
                    </a:moveTo>
                    <a:cubicBezTo>
                      <a:pt x="15" y="0"/>
                      <a:pt x="30" y="1"/>
                      <a:pt x="42" y="8"/>
                    </a:cubicBezTo>
                    <a:cubicBezTo>
                      <a:pt x="54" y="15"/>
                      <a:pt x="62" y="27"/>
                      <a:pt x="64" y="41"/>
                    </a:cubicBezTo>
                    <a:cubicBezTo>
                      <a:pt x="51" y="49"/>
                      <a:pt x="35" y="49"/>
                      <a:pt x="22" y="42"/>
                    </a:cubicBezTo>
                    <a:cubicBezTo>
                      <a:pt x="9" y="35"/>
                      <a:pt x="0" y="20"/>
                      <a:pt x="1" y="5"/>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96">
                <a:extLst>
                  <a:ext uri="{FF2B5EF4-FFF2-40B4-BE49-F238E27FC236}">
                    <a16:creationId xmlns:a16="http://schemas.microsoft.com/office/drawing/2014/main" id="{ADC09AF4-E2AD-429D-BE43-F105C84602B2}"/>
                  </a:ext>
                </a:extLst>
              </p:cNvPr>
              <p:cNvSpPr>
                <a:spLocks/>
              </p:cNvSpPr>
              <p:nvPr/>
            </p:nvSpPr>
            <p:spPr bwMode="auto">
              <a:xfrm>
                <a:off x="1221" y="-137"/>
                <a:ext cx="112" cy="162"/>
              </a:xfrm>
              <a:custGeom>
                <a:avLst/>
                <a:gdLst>
                  <a:gd name="T0" fmla="*/ 33 w 47"/>
                  <a:gd name="T1" fmla="*/ 68 h 68"/>
                  <a:gd name="T2" fmla="*/ 4 w 47"/>
                  <a:gd name="T3" fmla="*/ 40 h 68"/>
                  <a:gd name="T4" fmla="*/ 8 w 47"/>
                  <a:gd name="T5" fmla="*/ 0 h 68"/>
                  <a:gd name="T6" fmla="*/ 42 w 47"/>
                  <a:gd name="T7" fmla="*/ 26 h 68"/>
                  <a:gd name="T8" fmla="*/ 34 w 47"/>
                  <a:gd name="T9" fmla="*/ 68 h 68"/>
                </a:gdLst>
                <a:ahLst/>
                <a:cxnLst>
                  <a:cxn ang="0">
                    <a:pos x="T0" y="T1"/>
                  </a:cxn>
                  <a:cxn ang="0">
                    <a:pos x="T2" y="T3"/>
                  </a:cxn>
                  <a:cxn ang="0">
                    <a:pos x="T4" y="T5"/>
                  </a:cxn>
                  <a:cxn ang="0">
                    <a:pos x="T6" y="T7"/>
                  </a:cxn>
                  <a:cxn ang="0">
                    <a:pos x="T8" y="T9"/>
                  </a:cxn>
                </a:cxnLst>
                <a:rect l="0" t="0" r="r" b="b"/>
                <a:pathLst>
                  <a:path w="47" h="68">
                    <a:moveTo>
                      <a:pt x="33" y="68"/>
                    </a:moveTo>
                    <a:cubicBezTo>
                      <a:pt x="20" y="63"/>
                      <a:pt x="9" y="53"/>
                      <a:pt x="4" y="40"/>
                    </a:cubicBezTo>
                    <a:cubicBezTo>
                      <a:pt x="0" y="27"/>
                      <a:pt x="1" y="12"/>
                      <a:pt x="8" y="0"/>
                    </a:cubicBezTo>
                    <a:cubicBezTo>
                      <a:pt x="23" y="2"/>
                      <a:pt x="36" y="12"/>
                      <a:pt x="42" y="26"/>
                    </a:cubicBezTo>
                    <a:cubicBezTo>
                      <a:pt x="47" y="40"/>
                      <a:pt x="44" y="57"/>
                      <a:pt x="34" y="6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97">
                <a:extLst>
                  <a:ext uri="{FF2B5EF4-FFF2-40B4-BE49-F238E27FC236}">
                    <a16:creationId xmlns:a16="http://schemas.microsoft.com/office/drawing/2014/main" id="{A5CFB6E5-57C6-4771-AFD7-2F973EA0F1EF}"/>
                  </a:ext>
                </a:extLst>
              </p:cNvPr>
              <p:cNvSpPr>
                <a:spLocks/>
              </p:cNvSpPr>
              <p:nvPr/>
            </p:nvSpPr>
            <p:spPr bwMode="auto">
              <a:xfrm>
                <a:off x="1404" y="-115"/>
                <a:ext cx="119" cy="149"/>
              </a:xfrm>
              <a:custGeom>
                <a:avLst/>
                <a:gdLst>
                  <a:gd name="T0" fmla="*/ 5 w 50"/>
                  <a:gd name="T1" fmla="*/ 61 h 63"/>
                  <a:gd name="T2" fmla="*/ 9 w 50"/>
                  <a:gd name="T3" fmla="*/ 21 h 63"/>
                  <a:gd name="T4" fmla="*/ 42 w 50"/>
                  <a:gd name="T5" fmla="*/ 0 h 63"/>
                  <a:gd name="T6" fmla="*/ 43 w 50"/>
                  <a:gd name="T7" fmla="*/ 42 h 63"/>
                  <a:gd name="T8" fmla="*/ 6 w 50"/>
                  <a:gd name="T9" fmla="*/ 62 h 63"/>
                </a:gdLst>
                <a:ahLst/>
                <a:cxnLst>
                  <a:cxn ang="0">
                    <a:pos x="T0" y="T1"/>
                  </a:cxn>
                  <a:cxn ang="0">
                    <a:pos x="T2" y="T3"/>
                  </a:cxn>
                  <a:cxn ang="0">
                    <a:pos x="T4" y="T5"/>
                  </a:cxn>
                  <a:cxn ang="0">
                    <a:pos x="T6" y="T7"/>
                  </a:cxn>
                  <a:cxn ang="0">
                    <a:pos x="T8" y="T9"/>
                  </a:cxn>
                </a:cxnLst>
                <a:rect l="0" t="0" r="r" b="b"/>
                <a:pathLst>
                  <a:path w="50" h="63">
                    <a:moveTo>
                      <a:pt x="5" y="61"/>
                    </a:moveTo>
                    <a:cubicBezTo>
                      <a:pt x="0" y="48"/>
                      <a:pt x="2" y="33"/>
                      <a:pt x="9" y="21"/>
                    </a:cubicBezTo>
                    <a:cubicBezTo>
                      <a:pt x="16" y="10"/>
                      <a:pt x="29" y="1"/>
                      <a:pt x="42" y="0"/>
                    </a:cubicBezTo>
                    <a:cubicBezTo>
                      <a:pt x="50" y="12"/>
                      <a:pt x="50" y="29"/>
                      <a:pt x="43" y="42"/>
                    </a:cubicBezTo>
                    <a:cubicBezTo>
                      <a:pt x="35" y="55"/>
                      <a:pt x="20" y="63"/>
                      <a:pt x="6" y="62"/>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98">
                <a:extLst>
                  <a:ext uri="{FF2B5EF4-FFF2-40B4-BE49-F238E27FC236}">
                    <a16:creationId xmlns:a16="http://schemas.microsoft.com/office/drawing/2014/main" id="{63E86EBE-CDFD-4B42-A67B-D01D58859930}"/>
                  </a:ext>
                </a:extLst>
              </p:cNvPr>
              <p:cNvSpPr>
                <a:spLocks/>
              </p:cNvSpPr>
              <p:nvPr/>
            </p:nvSpPr>
            <p:spPr bwMode="auto">
              <a:xfrm>
                <a:off x="887" y="426"/>
                <a:ext cx="472" cy="387"/>
              </a:xfrm>
              <a:custGeom>
                <a:avLst/>
                <a:gdLst>
                  <a:gd name="T0" fmla="*/ 61 w 472"/>
                  <a:gd name="T1" fmla="*/ 387 h 387"/>
                  <a:gd name="T2" fmla="*/ 0 w 472"/>
                  <a:gd name="T3" fmla="*/ 0 h 387"/>
                  <a:gd name="T4" fmla="*/ 472 w 472"/>
                  <a:gd name="T5" fmla="*/ 5 h 387"/>
                  <a:gd name="T6" fmla="*/ 427 w 472"/>
                  <a:gd name="T7" fmla="*/ 382 h 387"/>
                  <a:gd name="T8" fmla="*/ 61 w 472"/>
                  <a:gd name="T9" fmla="*/ 387 h 387"/>
                </a:gdLst>
                <a:ahLst/>
                <a:cxnLst>
                  <a:cxn ang="0">
                    <a:pos x="T0" y="T1"/>
                  </a:cxn>
                  <a:cxn ang="0">
                    <a:pos x="T2" y="T3"/>
                  </a:cxn>
                  <a:cxn ang="0">
                    <a:pos x="T4" y="T5"/>
                  </a:cxn>
                  <a:cxn ang="0">
                    <a:pos x="T6" y="T7"/>
                  </a:cxn>
                  <a:cxn ang="0">
                    <a:pos x="T8" y="T9"/>
                  </a:cxn>
                </a:cxnLst>
                <a:rect l="0" t="0" r="r" b="b"/>
                <a:pathLst>
                  <a:path w="472" h="387">
                    <a:moveTo>
                      <a:pt x="61" y="387"/>
                    </a:moveTo>
                    <a:lnTo>
                      <a:pt x="0" y="0"/>
                    </a:lnTo>
                    <a:lnTo>
                      <a:pt x="472" y="5"/>
                    </a:lnTo>
                    <a:lnTo>
                      <a:pt x="427" y="382"/>
                    </a:lnTo>
                    <a:lnTo>
                      <a:pt x="61" y="387"/>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99">
                <a:extLst>
                  <a:ext uri="{FF2B5EF4-FFF2-40B4-BE49-F238E27FC236}">
                    <a16:creationId xmlns:a16="http://schemas.microsoft.com/office/drawing/2014/main" id="{8C6D5C58-4FDA-422B-9E5B-3159095883E3}"/>
                  </a:ext>
                </a:extLst>
              </p:cNvPr>
              <p:cNvSpPr>
                <a:spLocks/>
              </p:cNvSpPr>
              <p:nvPr/>
            </p:nvSpPr>
            <p:spPr bwMode="auto">
              <a:xfrm>
                <a:off x="887" y="426"/>
                <a:ext cx="472" cy="387"/>
              </a:xfrm>
              <a:custGeom>
                <a:avLst/>
                <a:gdLst>
                  <a:gd name="T0" fmla="*/ 61 w 472"/>
                  <a:gd name="T1" fmla="*/ 387 h 387"/>
                  <a:gd name="T2" fmla="*/ 0 w 472"/>
                  <a:gd name="T3" fmla="*/ 0 h 387"/>
                  <a:gd name="T4" fmla="*/ 472 w 472"/>
                  <a:gd name="T5" fmla="*/ 5 h 387"/>
                  <a:gd name="T6" fmla="*/ 427 w 472"/>
                  <a:gd name="T7" fmla="*/ 382 h 387"/>
                  <a:gd name="T8" fmla="*/ 61 w 472"/>
                  <a:gd name="T9" fmla="*/ 387 h 387"/>
                </a:gdLst>
                <a:ahLst/>
                <a:cxnLst>
                  <a:cxn ang="0">
                    <a:pos x="T0" y="T1"/>
                  </a:cxn>
                  <a:cxn ang="0">
                    <a:pos x="T2" y="T3"/>
                  </a:cxn>
                  <a:cxn ang="0">
                    <a:pos x="T4" y="T5"/>
                  </a:cxn>
                  <a:cxn ang="0">
                    <a:pos x="T6" y="T7"/>
                  </a:cxn>
                  <a:cxn ang="0">
                    <a:pos x="T8" y="T9"/>
                  </a:cxn>
                </a:cxnLst>
                <a:rect l="0" t="0" r="r" b="b"/>
                <a:pathLst>
                  <a:path w="472" h="387">
                    <a:moveTo>
                      <a:pt x="61" y="387"/>
                    </a:moveTo>
                    <a:lnTo>
                      <a:pt x="0" y="0"/>
                    </a:lnTo>
                    <a:lnTo>
                      <a:pt x="472" y="5"/>
                    </a:lnTo>
                    <a:lnTo>
                      <a:pt x="427" y="382"/>
                    </a:lnTo>
                    <a:lnTo>
                      <a:pt x="61" y="3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00">
                <a:extLst>
                  <a:ext uri="{FF2B5EF4-FFF2-40B4-BE49-F238E27FC236}">
                    <a16:creationId xmlns:a16="http://schemas.microsoft.com/office/drawing/2014/main" id="{A4725ED8-AF77-4AA8-A174-1CCD8E40AE73}"/>
                  </a:ext>
                </a:extLst>
              </p:cNvPr>
              <p:cNvSpPr>
                <a:spLocks/>
              </p:cNvSpPr>
              <p:nvPr/>
            </p:nvSpPr>
            <p:spPr bwMode="auto">
              <a:xfrm>
                <a:off x="1143" y="279"/>
                <a:ext cx="131" cy="95"/>
              </a:xfrm>
              <a:custGeom>
                <a:avLst/>
                <a:gdLst>
                  <a:gd name="T0" fmla="*/ 4 w 55"/>
                  <a:gd name="T1" fmla="*/ 32 h 40"/>
                  <a:gd name="T2" fmla="*/ 37 w 55"/>
                  <a:gd name="T3" fmla="*/ 35 h 40"/>
                  <a:gd name="T4" fmla="*/ 55 w 55"/>
                  <a:gd name="T5" fmla="*/ 6 h 40"/>
                  <a:gd name="T6" fmla="*/ 22 w 55"/>
                  <a:gd name="T7" fmla="*/ 4 h 40"/>
                  <a:gd name="T8" fmla="*/ 0 w 55"/>
                  <a:gd name="T9" fmla="*/ 29 h 40"/>
                </a:gdLst>
                <a:ahLst/>
                <a:cxnLst>
                  <a:cxn ang="0">
                    <a:pos x="T0" y="T1"/>
                  </a:cxn>
                  <a:cxn ang="0">
                    <a:pos x="T2" y="T3"/>
                  </a:cxn>
                  <a:cxn ang="0">
                    <a:pos x="T4" y="T5"/>
                  </a:cxn>
                  <a:cxn ang="0">
                    <a:pos x="T6" y="T7"/>
                  </a:cxn>
                  <a:cxn ang="0">
                    <a:pos x="T8" y="T9"/>
                  </a:cxn>
                </a:cxnLst>
                <a:rect l="0" t="0" r="r" b="b"/>
                <a:pathLst>
                  <a:path w="55" h="40">
                    <a:moveTo>
                      <a:pt x="4" y="32"/>
                    </a:moveTo>
                    <a:cubicBezTo>
                      <a:pt x="15" y="39"/>
                      <a:pt x="27" y="40"/>
                      <a:pt x="37" y="35"/>
                    </a:cubicBezTo>
                    <a:cubicBezTo>
                      <a:pt x="47" y="30"/>
                      <a:pt x="54" y="19"/>
                      <a:pt x="55" y="6"/>
                    </a:cubicBezTo>
                    <a:cubicBezTo>
                      <a:pt x="44" y="1"/>
                      <a:pt x="32" y="0"/>
                      <a:pt x="22" y="4"/>
                    </a:cubicBezTo>
                    <a:cubicBezTo>
                      <a:pt x="12" y="9"/>
                      <a:pt x="4" y="18"/>
                      <a:pt x="0" y="2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01">
                <a:extLst>
                  <a:ext uri="{FF2B5EF4-FFF2-40B4-BE49-F238E27FC236}">
                    <a16:creationId xmlns:a16="http://schemas.microsoft.com/office/drawing/2014/main" id="{6B8F52DE-C552-42D1-9B92-374B9A94F63F}"/>
                  </a:ext>
                </a:extLst>
              </p:cNvPr>
              <p:cNvSpPr>
                <a:spLocks/>
              </p:cNvSpPr>
              <p:nvPr/>
            </p:nvSpPr>
            <p:spPr bwMode="auto">
              <a:xfrm>
                <a:off x="1359" y="362"/>
                <a:ext cx="131" cy="95"/>
              </a:xfrm>
              <a:custGeom>
                <a:avLst/>
                <a:gdLst>
                  <a:gd name="T0" fmla="*/ 4 w 55"/>
                  <a:gd name="T1" fmla="*/ 32 h 40"/>
                  <a:gd name="T2" fmla="*/ 37 w 55"/>
                  <a:gd name="T3" fmla="*/ 35 h 40"/>
                  <a:gd name="T4" fmla="*/ 55 w 55"/>
                  <a:gd name="T5" fmla="*/ 6 h 40"/>
                  <a:gd name="T6" fmla="*/ 22 w 55"/>
                  <a:gd name="T7" fmla="*/ 5 h 40"/>
                  <a:gd name="T8" fmla="*/ 0 w 55"/>
                  <a:gd name="T9" fmla="*/ 29 h 40"/>
                </a:gdLst>
                <a:ahLst/>
                <a:cxnLst>
                  <a:cxn ang="0">
                    <a:pos x="T0" y="T1"/>
                  </a:cxn>
                  <a:cxn ang="0">
                    <a:pos x="T2" y="T3"/>
                  </a:cxn>
                  <a:cxn ang="0">
                    <a:pos x="T4" y="T5"/>
                  </a:cxn>
                  <a:cxn ang="0">
                    <a:pos x="T6" y="T7"/>
                  </a:cxn>
                  <a:cxn ang="0">
                    <a:pos x="T8" y="T9"/>
                  </a:cxn>
                </a:cxnLst>
                <a:rect l="0" t="0" r="r" b="b"/>
                <a:pathLst>
                  <a:path w="55" h="40">
                    <a:moveTo>
                      <a:pt x="4" y="32"/>
                    </a:moveTo>
                    <a:cubicBezTo>
                      <a:pt x="15" y="39"/>
                      <a:pt x="27" y="40"/>
                      <a:pt x="37" y="35"/>
                    </a:cubicBezTo>
                    <a:cubicBezTo>
                      <a:pt x="47" y="30"/>
                      <a:pt x="54" y="19"/>
                      <a:pt x="55" y="6"/>
                    </a:cubicBezTo>
                    <a:cubicBezTo>
                      <a:pt x="44" y="1"/>
                      <a:pt x="32" y="0"/>
                      <a:pt x="22" y="5"/>
                    </a:cubicBezTo>
                    <a:cubicBezTo>
                      <a:pt x="12" y="9"/>
                      <a:pt x="4" y="18"/>
                      <a:pt x="0" y="2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02">
                <a:extLst>
                  <a:ext uri="{FF2B5EF4-FFF2-40B4-BE49-F238E27FC236}">
                    <a16:creationId xmlns:a16="http://schemas.microsoft.com/office/drawing/2014/main" id="{A14C1706-7EE4-4968-8CC2-9836E1BD6BDE}"/>
                  </a:ext>
                </a:extLst>
              </p:cNvPr>
              <p:cNvSpPr>
                <a:spLocks/>
              </p:cNvSpPr>
              <p:nvPr/>
            </p:nvSpPr>
            <p:spPr bwMode="auto">
              <a:xfrm>
                <a:off x="1243" y="217"/>
                <a:ext cx="140" cy="86"/>
              </a:xfrm>
              <a:custGeom>
                <a:avLst/>
                <a:gdLst>
                  <a:gd name="T0" fmla="*/ 2 w 59"/>
                  <a:gd name="T1" fmla="*/ 15 h 36"/>
                  <a:gd name="T2" fmla="*/ 28 w 59"/>
                  <a:gd name="T3" fmla="*/ 35 h 36"/>
                  <a:gd name="T4" fmla="*/ 59 w 59"/>
                  <a:gd name="T5" fmla="*/ 21 h 36"/>
                  <a:gd name="T6" fmla="*/ 32 w 59"/>
                  <a:gd name="T7" fmla="*/ 2 h 36"/>
                  <a:gd name="T8" fmla="*/ 0 w 59"/>
                  <a:gd name="T9" fmla="*/ 10 h 36"/>
                </a:gdLst>
                <a:ahLst/>
                <a:cxnLst>
                  <a:cxn ang="0">
                    <a:pos x="T0" y="T1"/>
                  </a:cxn>
                  <a:cxn ang="0">
                    <a:pos x="T2" y="T3"/>
                  </a:cxn>
                  <a:cxn ang="0">
                    <a:pos x="T4" y="T5"/>
                  </a:cxn>
                  <a:cxn ang="0">
                    <a:pos x="T6" y="T7"/>
                  </a:cxn>
                  <a:cxn ang="0">
                    <a:pos x="T8" y="T9"/>
                  </a:cxn>
                </a:cxnLst>
                <a:rect l="0" t="0" r="r" b="b"/>
                <a:pathLst>
                  <a:path w="59" h="36">
                    <a:moveTo>
                      <a:pt x="2" y="15"/>
                    </a:moveTo>
                    <a:cubicBezTo>
                      <a:pt x="7" y="26"/>
                      <a:pt x="17" y="34"/>
                      <a:pt x="28" y="35"/>
                    </a:cubicBezTo>
                    <a:cubicBezTo>
                      <a:pt x="39" y="36"/>
                      <a:pt x="51" y="31"/>
                      <a:pt x="59" y="21"/>
                    </a:cubicBezTo>
                    <a:cubicBezTo>
                      <a:pt x="53" y="11"/>
                      <a:pt x="43" y="4"/>
                      <a:pt x="32" y="2"/>
                    </a:cubicBezTo>
                    <a:cubicBezTo>
                      <a:pt x="21" y="0"/>
                      <a:pt x="10" y="3"/>
                      <a:pt x="0" y="1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03">
                <a:extLst>
                  <a:ext uri="{FF2B5EF4-FFF2-40B4-BE49-F238E27FC236}">
                    <a16:creationId xmlns:a16="http://schemas.microsoft.com/office/drawing/2014/main" id="{9C9167C7-1979-4B23-AB6B-5C74075F76F2}"/>
                  </a:ext>
                </a:extLst>
              </p:cNvPr>
              <p:cNvSpPr>
                <a:spLocks/>
              </p:cNvSpPr>
              <p:nvPr/>
            </p:nvSpPr>
            <p:spPr bwMode="auto">
              <a:xfrm>
                <a:off x="1240" y="348"/>
                <a:ext cx="102" cy="116"/>
              </a:xfrm>
              <a:custGeom>
                <a:avLst/>
                <a:gdLst>
                  <a:gd name="T0" fmla="*/ 36 w 43"/>
                  <a:gd name="T1" fmla="*/ 0 h 49"/>
                  <a:gd name="T2" fmla="*/ 6 w 43"/>
                  <a:gd name="T3" fmla="*/ 15 h 49"/>
                  <a:gd name="T4" fmla="*/ 6 w 43"/>
                  <a:gd name="T5" fmla="*/ 49 h 49"/>
                  <a:gd name="T6" fmla="*/ 35 w 43"/>
                  <a:gd name="T7" fmla="*/ 33 h 49"/>
                  <a:gd name="T8" fmla="*/ 41 w 43"/>
                  <a:gd name="T9" fmla="*/ 1 h 49"/>
                </a:gdLst>
                <a:ahLst/>
                <a:cxnLst>
                  <a:cxn ang="0">
                    <a:pos x="T0" y="T1"/>
                  </a:cxn>
                  <a:cxn ang="0">
                    <a:pos x="T2" y="T3"/>
                  </a:cxn>
                  <a:cxn ang="0">
                    <a:pos x="T4" y="T5"/>
                  </a:cxn>
                  <a:cxn ang="0">
                    <a:pos x="T6" y="T7"/>
                  </a:cxn>
                  <a:cxn ang="0">
                    <a:pos x="T8" y="T9"/>
                  </a:cxn>
                </a:cxnLst>
                <a:rect l="0" t="0" r="r" b="b"/>
                <a:pathLst>
                  <a:path w="43" h="49">
                    <a:moveTo>
                      <a:pt x="36" y="0"/>
                    </a:moveTo>
                    <a:cubicBezTo>
                      <a:pt x="24" y="0"/>
                      <a:pt x="12" y="6"/>
                      <a:pt x="6" y="15"/>
                    </a:cubicBezTo>
                    <a:cubicBezTo>
                      <a:pt x="1" y="24"/>
                      <a:pt x="0" y="37"/>
                      <a:pt x="6" y="49"/>
                    </a:cubicBezTo>
                    <a:cubicBezTo>
                      <a:pt x="18" y="48"/>
                      <a:pt x="28" y="42"/>
                      <a:pt x="35" y="33"/>
                    </a:cubicBezTo>
                    <a:cubicBezTo>
                      <a:pt x="41" y="24"/>
                      <a:pt x="43" y="13"/>
                      <a:pt x="41" y="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04">
                <a:extLst>
                  <a:ext uri="{FF2B5EF4-FFF2-40B4-BE49-F238E27FC236}">
                    <a16:creationId xmlns:a16="http://schemas.microsoft.com/office/drawing/2014/main" id="{DD979B2F-2E61-4609-A131-2B1A0E91FBB5}"/>
                  </a:ext>
                </a:extLst>
              </p:cNvPr>
              <p:cNvSpPr>
                <a:spLocks/>
              </p:cNvSpPr>
              <p:nvPr/>
            </p:nvSpPr>
            <p:spPr bwMode="auto">
              <a:xfrm>
                <a:off x="1390" y="497"/>
                <a:ext cx="97" cy="119"/>
              </a:xfrm>
              <a:custGeom>
                <a:avLst/>
                <a:gdLst>
                  <a:gd name="T0" fmla="*/ 5 w 41"/>
                  <a:gd name="T1" fmla="*/ 2 h 50"/>
                  <a:gd name="T2" fmla="*/ 6 w 41"/>
                  <a:gd name="T3" fmla="*/ 35 h 50"/>
                  <a:gd name="T4" fmla="*/ 36 w 41"/>
                  <a:gd name="T5" fmla="*/ 50 h 50"/>
                  <a:gd name="T6" fmla="*/ 35 w 41"/>
                  <a:gd name="T7" fmla="*/ 17 h 50"/>
                  <a:gd name="T8" fmla="*/ 8 w 41"/>
                  <a:gd name="T9" fmla="*/ 0 h 50"/>
                </a:gdLst>
                <a:ahLst/>
                <a:cxnLst>
                  <a:cxn ang="0">
                    <a:pos x="T0" y="T1"/>
                  </a:cxn>
                  <a:cxn ang="0">
                    <a:pos x="T2" y="T3"/>
                  </a:cxn>
                  <a:cxn ang="0">
                    <a:pos x="T4" y="T5"/>
                  </a:cxn>
                  <a:cxn ang="0">
                    <a:pos x="T6" y="T7"/>
                  </a:cxn>
                  <a:cxn ang="0">
                    <a:pos x="T8" y="T9"/>
                  </a:cxn>
                </a:cxnLst>
                <a:rect l="0" t="0" r="r" b="b"/>
                <a:pathLst>
                  <a:path w="41" h="50">
                    <a:moveTo>
                      <a:pt x="5" y="2"/>
                    </a:moveTo>
                    <a:cubicBezTo>
                      <a:pt x="0" y="13"/>
                      <a:pt x="0" y="26"/>
                      <a:pt x="6" y="35"/>
                    </a:cubicBezTo>
                    <a:cubicBezTo>
                      <a:pt x="12" y="44"/>
                      <a:pt x="24" y="50"/>
                      <a:pt x="36" y="50"/>
                    </a:cubicBezTo>
                    <a:cubicBezTo>
                      <a:pt x="41" y="38"/>
                      <a:pt x="40" y="26"/>
                      <a:pt x="35" y="17"/>
                    </a:cubicBezTo>
                    <a:cubicBezTo>
                      <a:pt x="29" y="7"/>
                      <a:pt x="20" y="2"/>
                      <a:pt x="8" y="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05">
                <a:extLst>
                  <a:ext uri="{FF2B5EF4-FFF2-40B4-BE49-F238E27FC236}">
                    <a16:creationId xmlns:a16="http://schemas.microsoft.com/office/drawing/2014/main" id="{62198778-9E24-4616-BF36-39F7D9CAAF97}"/>
                  </a:ext>
                </a:extLst>
              </p:cNvPr>
              <p:cNvSpPr>
                <a:spLocks/>
              </p:cNvSpPr>
              <p:nvPr/>
            </p:nvSpPr>
            <p:spPr bwMode="auto">
              <a:xfrm>
                <a:off x="1236" y="117"/>
                <a:ext cx="292" cy="402"/>
              </a:xfrm>
              <a:custGeom>
                <a:avLst/>
                <a:gdLst>
                  <a:gd name="T0" fmla="*/ 123 w 123"/>
                  <a:gd name="T1" fmla="*/ 169 h 169"/>
                  <a:gd name="T2" fmla="*/ 115 w 123"/>
                  <a:gd name="T3" fmla="*/ 164 h 169"/>
                  <a:gd name="T4" fmla="*/ 105 w 123"/>
                  <a:gd name="T5" fmla="*/ 162 h 169"/>
                  <a:gd name="T6" fmla="*/ 90 w 123"/>
                  <a:gd name="T7" fmla="*/ 163 h 169"/>
                  <a:gd name="T8" fmla="*/ 72 w 123"/>
                  <a:gd name="T9" fmla="*/ 162 h 169"/>
                  <a:gd name="T10" fmla="*/ 57 w 123"/>
                  <a:gd name="T11" fmla="*/ 147 h 169"/>
                  <a:gd name="T12" fmla="*/ 50 w 123"/>
                  <a:gd name="T13" fmla="*/ 125 h 169"/>
                  <a:gd name="T14" fmla="*/ 43 w 123"/>
                  <a:gd name="T15" fmla="*/ 102 h 169"/>
                  <a:gd name="T16" fmla="*/ 26 w 123"/>
                  <a:gd name="T17" fmla="*/ 85 h 169"/>
                  <a:gd name="T18" fmla="*/ 10 w 123"/>
                  <a:gd name="T19" fmla="*/ 69 h 169"/>
                  <a:gd name="T20" fmla="*/ 2 w 123"/>
                  <a:gd name="T21" fmla="*/ 31 h 169"/>
                  <a:gd name="T22" fmla="*/ 11 w 123"/>
                  <a:gd name="T23" fmla="*/ 7 h 169"/>
                  <a:gd name="T24" fmla="*/ 16 w 123"/>
                  <a:gd name="T25" fmla="*/ 2 h 169"/>
                  <a:gd name="T26" fmla="*/ 18 w 123"/>
                  <a:gd name="T27" fmla="*/ 0 h 169"/>
                  <a:gd name="T28" fmla="*/ 17 w 123"/>
                  <a:gd name="T29" fmla="*/ 2 h 169"/>
                  <a:gd name="T30" fmla="*/ 12 w 123"/>
                  <a:gd name="T31" fmla="*/ 8 h 169"/>
                  <a:gd name="T32" fmla="*/ 3 w 123"/>
                  <a:gd name="T33" fmla="*/ 32 h 169"/>
                  <a:gd name="T34" fmla="*/ 11 w 123"/>
                  <a:gd name="T35" fmla="*/ 68 h 169"/>
                  <a:gd name="T36" fmla="*/ 27 w 123"/>
                  <a:gd name="T37" fmla="*/ 84 h 169"/>
                  <a:gd name="T38" fmla="*/ 44 w 123"/>
                  <a:gd name="T39" fmla="*/ 101 h 169"/>
                  <a:gd name="T40" fmla="*/ 52 w 123"/>
                  <a:gd name="T41" fmla="*/ 125 h 169"/>
                  <a:gd name="T42" fmla="*/ 59 w 123"/>
                  <a:gd name="T43" fmla="*/ 146 h 169"/>
                  <a:gd name="T44" fmla="*/ 72 w 123"/>
                  <a:gd name="T45" fmla="*/ 160 h 169"/>
                  <a:gd name="T46" fmla="*/ 90 w 123"/>
                  <a:gd name="T47" fmla="*/ 162 h 169"/>
                  <a:gd name="T48" fmla="*/ 105 w 123"/>
                  <a:gd name="T49" fmla="*/ 161 h 169"/>
                  <a:gd name="T50" fmla="*/ 116 w 123"/>
                  <a:gd name="T51" fmla="*/ 163 h 169"/>
                  <a:gd name="T52" fmla="*/ 122 w 123"/>
                  <a:gd name="T53" fmla="*/ 167 h 169"/>
                  <a:gd name="T54" fmla="*/ 123 w 123"/>
                  <a:gd name="T5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169">
                    <a:moveTo>
                      <a:pt x="123" y="169"/>
                    </a:moveTo>
                    <a:cubicBezTo>
                      <a:pt x="123" y="169"/>
                      <a:pt x="121" y="166"/>
                      <a:pt x="115" y="164"/>
                    </a:cubicBezTo>
                    <a:cubicBezTo>
                      <a:pt x="113" y="163"/>
                      <a:pt x="109" y="162"/>
                      <a:pt x="105" y="162"/>
                    </a:cubicBezTo>
                    <a:cubicBezTo>
                      <a:pt x="100" y="162"/>
                      <a:pt x="95" y="163"/>
                      <a:pt x="90" y="163"/>
                    </a:cubicBezTo>
                    <a:cubicBezTo>
                      <a:pt x="84" y="163"/>
                      <a:pt x="78" y="164"/>
                      <a:pt x="72" y="162"/>
                    </a:cubicBezTo>
                    <a:cubicBezTo>
                      <a:pt x="65" y="159"/>
                      <a:pt x="60" y="154"/>
                      <a:pt x="57" y="147"/>
                    </a:cubicBezTo>
                    <a:cubicBezTo>
                      <a:pt x="53" y="140"/>
                      <a:pt x="52" y="133"/>
                      <a:pt x="50" y="125"/>
                    </a:cubicBezTo>
                    <a:cubicBezTo>
                      <a:pt x="49" y="117"/>
                      <a:pt x="47" y="109"/>
                      <a:pt x="43" y="102"/>
                    </a:cubicBezTo>
                    <a:cubicBezTo>
                      <a:pt x="38" y="95"/>
                      <a:pt x="32" y="90"/>
                      <a:pt x="26" y="85"/>
                    </a:cubicBezTo>
                    <a:cubicBezTo>
                      <a:pt x="20" y="80"/>
                      <a:pt x="14" y="75"/>
                      <a:pt x="10" y="69"/>
                    </a:cubicBezTo>
                    <a:cubicBezTo>
                      <a:pt x="1" y="56"/>
                      <a:pt x="0" y="42"/>
                      <a:pt x="2" y="31"/>
                    </a:cubicBezTo>
                    <a:cubicBezTo>
                      <a:pt x="3" y="20"/>
                      <a:pt x="8" y="12"/>
                      <a:pt x="11" y="7"/>
                    </a:cubicBezTo>
                    <a:cubicBezTo>
                      <a:pt x="13" y="5"/>
                      <a:pt x="15" y="3"/>
                      <a:pt x="16" y="2"/>
                    </a:cubicBezTo>
                    <a:cubicBezTo>
                      <a:pt x="17" y="1"/>
                      <a:pt x="18" y="0"/>
                      <a:pt x="18" y="0"/>
                    </a:cubicBezTo>
                    <a:cubicBezTo>
                      <a:pt x="18" y="0"/>
                      <a:pt x="18" y="1"/>
                      <a:pt x="17" y="2"/>
                    </a:cubicBezTo>
                    <a:cubicBezTo>
                      <a:pt x="15" y="3"/>
                      <a:pt x="14" y="5"/>
                      <a:pt x="12" y="8"/>
                    </a:cubicBezTo>
                    <a:cubicBezTo>
                      <a:pt x="9" y="13"/>
                      <a:pt x="5" y="21"/>
                      <a:pt x="3" y="32"/>
                    </a:cubicBezTo>
                    <a:cubicBezTo>
                      <a:pt x="2" y="42"/>
                      <a:pt x="3" y="56"/>
                      <a:pt x="11" y="68"/>
                    </a:cubicBezTo>
                    <a:cubicBezTo>
                      <a:pt x="15" y="74"/>
                      <a:pt x="21" y="79"/>
                      <a:pt x="27" y="84"/>
                    </a:cubicBezTo>
                    <a:cubicBezTo>
                      <a:pt x="33" y="89"/>
                      <a:pt x="40" y="94"/>
                      <a:pt x="44" y="101"/>
                    </a:cubicBezTo>
                    <a:cubicBezTo>
                      <a:pt x="49" y="109"/>
                      <a:pt x="51" y="117"/>
                      <a:pt x="52" y="125"/>
                    </a:cubicBezTo>
                    <a:cubicBezTo>
                      <a:pt x="54" y="132"/>
                      <a:pt x="55" y="140"/>
                      <a:pt x="59" y="146"/>
                    </a:cubicBezTo>
                    <a:cubicBezTo>
                      <a:pt x="62" y="153"/>
                      <a:pt x="66" y="158"/>
                      <a:pt x="72" y="160"/>
                    </a:cubicBezTo>
                    <a:cubicBezTo>
                      <a:pt x="78" y="162"/>
                      <a:pt x="84" y="162"/>
                      <a:pt x="90" y="162"/>
                    </a:cubicBezTo>
                    <a:cubicBezTo>
                      <a:pt x="95" y="161"/>
                      <a:pt x="100" y="161"/>
                      <a:pt x="105" y="161"/>
                    </a:cubicBezTo>
                    <a:cubicBezTo>
                      <a:pt x="109" y="161"/>
                      <a:pt x="113" y="162"/>
                      <a:pt x="116" y="163"/>
                    </a:cubicBezTo>
                    <a:cubicBezTo>
                      <a:pt x="119" y="165"/>
                      <a:pt x="121" y="166"/>
                      <a:pt x="122" y="167"/>
                    </a:cubicBezTo>
                    <a:cubicBezTo>
                      <a:pt x="122" y="168"/>
                      <a:pt x="123" y="168"/>
                      <a:pt x="123" y="16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06">
                <a:extLst>
                  <a:ext uri="{FF2B5EF4-FFF2-40B4-BE49-F238E27FC236}">
                    <a16:creationId xmlns:a16="http://schemas.microsoft.com/office/drawing/2014/main" id="{2CF5A94C-9B6E-434E-A1CF-950E7DC0AA38}"/>
                  </a:ext>
                </a:extLst>
              </p:cNvPr>
              <p:cNvSpPr>
                <a:spLocks/>
              </p:cNvSpPr>
              <p:nvPr/>
            </p:nvSpPr>
            <p:spPr bwMode="auto">
              <a:xfrm>
                <a:off x="1236" y="117"/>
                <a:ext cx="292" cy="402"/>
              </a:xfrm>
              <a:custGeom>
                <a:avLst/>
                <a:gdLst>
                  <a:gd name="T0" fmla="*/ 123 w 123"/>
                  <a:gd name="T1" fmla="*/ 169 h 169"/>
                  <a:gd name="T2" fmla="*/ 115 w 123"/>
                  <a:gd name="T3" fmla="*/ 164 h 169"/>
                  <a:gd name="T4" fmla="*/ 105 w 123"/>
                  <a:gd name="T5" fmla="*/ 162 h 169"/>
                  <a:gd name="T6" fmla="*/ 90 w 123"/>
                  <a:gd name="T7" fmla="*/ 163 h 169"/>
                  <a:gd name="T8" fmla="*/ 72 w 123"/>
                  <a:gd name="T9" fmla="*/ 162 h 169"/>
                  <a:gd name="T10" fmla="*/ 57 w 123"/>
                  <a:gd name="T11" fmla="*/ 147 h 169"/>
                  <a:gd name="T12" fmla="*/ 50 w 123"/>
                  <a:gd name="T13" fmla="*/ 125 h 169"/>
                  <a:gd name="T14" fmla="*/ 43 w 123"/>
                  <a:gd name="T15" fmla="*/ 102 h 169"/>
                  <a:gd name="T16" fmla="*/ 26 w 123"/>
                  <a:gd name="T17" fmla="*/ 85 h 169"/>
                  <a:gd name="T18" fmla="*/ 10 w 123"/>
                  <a:gd name="T19" fmla="*/ 69 h 169"/>
                  <a:gd name="T20" fmla="*/ 2 w 123"/>
                  <a:gd name="T21" fmla="*/ 31 h 169"/>
                  <a:gd name="T22" fmla="*/ 11 w 123"/>
                  <a:gd name="T23" fmla="*/ 7 h 169"/>
                  <a:gd name="T24" fmla="*/ 16 w 123"/>
                  <a:gd name="T25" fmla="*/ 2 h 169"/>
                  <a:gd name="T26" fmla="*/ 18 w 123"/>
                  <a:gd name="T27" fmla="*/ 0 h 169"/>
                  <a:gd name="T28" fmla="*/ 17 w 123"/>
                  <a:gd name="T29" fmla="*/ 2 h 169"/>
                  <a:gd name="T30" fmla="*/ 12 w 123"/>
                  <a:gd name="T31" fmla="*/ 8 h 169"/>
                  <a:gd name="T32" fmla="*/ 3 w 123"/>
                  <a:gd name="T33" fmla="*/ 32 h 169"/>
                  <a:gd name="T34" fmla="*/ 11 w 123"/>
                  <a:gd name="T35" fmla="*/ 68 h 169"/>
                  <a:gd name="T36" fmla="*/ 27 w 123"/>
                  <a:gd name="T37" fmla="*/ 84 h 169"/>
                  <a:gd name="T38" fmla="*/ 44 w 123"/>
                  <a:gd name="T39" fmla="*/ 101 h 169"/>
                  <a:gd name="T40" fmla="*/ 52 w 123"/>
                  <a:gd name="T41" fmla="*/ 125 h 169"/>
                  <a:gd name="T42" fmla="*/ 59 w 123"/>
                  <a:gd name="T43" fmla="*/ 146 h 169"/>
                  <a:gd name="T44" fmla="*/ 72 w 123"/>
                  <a:gd name="T45" fmla="*/ 160 h 169"/>
                  <a:gd name="T46" fmla="*/ 90 w 123"/>
                  <a:gd name="T47" fmla="*/ 162 h 169"/>
                  <a:gd name="T48" fmla="*/ 105 w 123"/>
                  <a:gd name="T49" fmla="*/ 161 h 169"/>
                  <a:gd name="T50" fmla="*/ 116 w 123"/>
                  <a:gd name="T51" fmla="*/ 163 h 169"/>
                  <a:gd name="T52" fmla="*/ 122 w 123"/>
                  <a:gd name="T53" fmla="*/ 167 h 169"/>
                  <a:gd name="T54" fmla="*/ 123 w 123"/>
                  <a:gd name="T5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169">
                    <a:moveTo>
                      <a:pt x="123" y="169"/>
                    </a:moveTo>
                    <a:cubicBezTo>
                      <a:pt x="123" y="169"/>
                      <a:pt x="121" y="166"/>
                      <a:pt x="115" y="164"/>
                    </a:cubicBezTo>
                    <a:cubicBezTo>
                      <a:pt x="113" y="163"/>
                      <a:pt x="109" y="162"/>
                      <a:pt x="105" y="162"/>
                    </a:cubicBezTo>
                    <a:cubicBezTo>
                      <a:pt x="100" y="162"/>
                      <a:pt x="95" y="163"/>
                      <a:pt x="90" y="163"/>
                    </a:cubicBezTo>
                    <a:cubicBezTo>
                      <a:pt x="84" y="163"/>
                      <a:pt x="78" y="164"/>
                      <a:pt x="72" y="162"/>
                    </a:cubicBezTo>
                    <a:cubicBezTo>
                      <a:pt x="65" y="159"/>
                      <a:pt x="60" y="154"/>
                      <a:pt x="57" y="147"/>
                    </a:cubicBezTo>
                    <a:cubicBezTo>
                      <a:pt x="53" y="140"/>
                      <a:pt x="52" y="133"/>
                      <a:pt x="50" y="125"/>
                    </a:cubicBezTo>
                    <a:cubicBezTo>
                      <a:pt x="49" y="117"/>
                      <a:pt x="47" y="109"/>
                      <a:pt x="43" y="102"/>
                    </a:cubicBezTo>
                    <a:cubicBezTo>
                      <a:pt x="38" y="95"/>
                      <a:pt x="32" y="90"/>
                      <a:pt x="26" y="85"/>
                    </a:cubicBezTo>
                    <a:cubicBezTo>
                      <a:pt x="20" y="80"/>
                      <a:pt x="14" y="75"/>
                      <a:pt x="10" y="69"/>
                    </a:cubicBezTo>
                    <a:cubicBezTo>
                      <a:pt x="1" y="56"/>
                      <a:pt x="0" y="42"/>
                      <a:pt x="2" y="31"/>
                    </a:cubicBezTo>
                    <a:cubicBezTo>
                      <a:pt x="3" y="20"/>
                      <a:pt x="8" y="12"/>
                      <a:pt x="11" y="7"/>
                    </a:cubicBezTo>
                    <a:cubicBezTo>
                      <a:pt x="13" y="5"/>
                      <a:pt x="15" y="3"/>
                      <a:pt x="16" y="2"/>
                    </a:cubicBezTo>
                    <a:cubicBezTo>
                      <a:pt x="17" y="1"/>
                      <a:pt x="18" y="0"/>
                      <a:pt x="18" y="0"/>
                    </a:cubicBezTo>
                    <a:cubicBezTo>
                      <a:pt x="18" y="0"/>
                      <a:pt x="18" y="1"/>
                      <a:pt x="17" y="2"/>
                    </a:cubicBezTo>
                    <a:cubicBezTo>
                      <a:pt x="15" y="3"/>
                      <a:pt x="14" y="5"/>
                      <a:pt x="12" y="8"/>
                    </a:cubicBezTo>
                    <a:cubicBezTo>
                      <a:pt x="9" y="13"/>
                      <a:pt x="5" y="21"/>
                      <a:pt x="3" y="32"/>
                    </a:cubicBezTo>
                    <a:cubicBezTo>
                      <a:pt x="2" y="42"/>
                      <a:pt x="3" y="56"/>
                      <a:pt x="11" y="68"/>
                    </a:cubicBezTo>
                    <a:cubicBezTo>
                      <a:pt x="15" y="74"/>
                      <a:pt x="21" y="79"/>
                      <a:pt x="27" y="84"/>
                    </a:cubicBezTo>
                    <a:cubicBezTo>
                      <a:pt x="33" y="89"/>
                      <a:pt x="40" y="94"/>
                      <a:pt x="44" y="101"/>
                    </a:cubicBezTo>
                    <a:cubicBezTo>
                      <a:pt x="49" y="109"/>
                      <a:pt x="51" y="117"/>
                      <a:pt x="52" y="125"/>
                    </a:cubicBezTo>
                    <a:cubicBezTo>
                      <a:pt x="54" y="132"/>
                      <a:pt x="55" y="140"/>
                      <a:pt x="59" y="146"/>
                    </a:cubicBezTo>
                    <a:cubicBezTo>
                      <a:pt x="62" y="153"/>
                      <a:pt x="66" y="158"/>
                      <a:pt x="72" y="160"/>
                    </a:cubicBezTo>
                    <a:cubicBezTo>
                      <a:pt x="78" y="162"/>
                      <a:pt x="84" y="162"/>
                      <a:pt x="90" y="162"/>
                    </a:cubicBezTo>
                    <a:cubicBezTo>
                      <a:pt x="95" y="161"/>
                      <a:pt x="100" y="161"/>
                      <a:pt x="105" y="161"/>
                    </a:cubicBezTo>
                    <a:cubicBezTo>
                      <a:pt x="109" y="161"/>
                      <a:pt x="113" y="162"/>
                      <a:pt x="116" y="163"/>
                    </a:cubicBezTo>
                    <a:cubicBezTo>
                      <a:pt x="119" y="165"/>
                      <a:pt x="121" y="166"/>
                      <a:pt x="122" y="167"/>
                    </a:cubicBezTo>
                    <a:cubicBezTo>
                      <a:pt x="122" y="168"/>
                      <a:pt x="123" y="168"/>
                      <a:pt x="123" y="16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07">
                <a:extLst>
                  <a:ext uri="{FF2B5EF4-FFF2-40B4-BE49-F238E27FC236}">
                    <a16:creationId xmlns:a16="http://schemas.microsoft.com/office/drawing/2014/main" id="{9932C1D6-098D-4EB3-B34D-A29E6FCAF6A8}"/>
                  </a:ext>
                </a:extLst>
              </p:cNvPr>
              <p:cNvSpPr>
                <a:spLocks/>
              </p:cNvSpPr>
              <p:nvPr/>
            </p:nvSpPr>
            <p:spPr bwMode="auto">
              <a:xfrm>
                <a:off x="461" y="426"/>
                <a:ext cx="164" cy="133"/>
              </a:xfrm>
              <a:custGeom>
                <a:avLst/>
                <a:gdLst>
                  <a:gd name="T0" fmla="*/ 69 w 69"/>
                  <a:gd name="T1" fmla="*/ 56 h 56"/>
                  <a:gd name="T2" fmla="*/ 48 w 69"/>
                  <a:gd name="T3" fmla="*/ 13 h 56"/>
                  <a:gd name="T4" fmla="*/ 0 w 69"/>
                  <a:gd name="T5" fmla="*/ 6 h 56"/>
                  <a:gd name="T6" fmla="*/ 67 w 69"/>
                  <a:gd name="T7" fmla="*/ 55 h 56"/>
                  <a:gd name="T8" fmla="*/ 69 w 69"/>
                  <a:gd name="T9" fmla="*/ 56 h 56"/>
                </a:gdLst>
                <a:ahLst/>
                <a:cxnLst>
                  <a:cxn ang="0">
                    <a:pos x="T0" y="T1"/>
                  </a:cxn>
                  <a:cxn ang="0">
                    <a:pos x="T2" y="T3"/>
                  </a:cxn>
                  <a:cxn ang="0">
                    <a:pos x="T4" y="T5"/>
                  </a:cxn>
                  <a:cxn ang="0">
                    <a:pos x="T6" y="T7"/>
                  </a:cxn>
                  <a:cxn ang="0">
                    <a:pos x="T8" y="T9"/>
                  </a:cxn>
                </a:cxnLst>
                <a:rect l="0" t="0" r="r" b="b"/>
                <a:pathLst>
                  <a:path w="69" h="56">
                    <a:moveTo>
                      <a:pt x="69" y="56"/>
                    </a:moveTo>
                    <a:cubicBezTo>
                      <a:pt x="69" y="39"/>
                      <a:pt x="61" y="22"/>
                      <a:pt x="48" y="13"/>
                    </a:cubicBezTo>
                    <a:cubicBezTo>
                      <a:pt x="34" y="3"/>
                      <a:pt x="16" y="0"/>
                      <a:pt x="0" y="6"/>
                    </a:cubicBezTo>
                    <a:cubicBezTo>
                      <a:pt x="12" y="33"/>
                      <a:pt x="38" y="52"/>
                      <a:pt x="67" y="55"/>
                    </a:cubicBezTo>
                    <a:cubicBezTo>
                      <a:pt x="69" y="56"/>
                      <a:pt x="69" y="56"/>
                      <a:pt x="69" y="5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08">
                <a:extLst>
                  <a:ext uri="{FF2B5EF4-FFF2-40B4-BE49-F238E27FC236}">
                    <a16:creationId xmlns:a16="http://schemas.microsoft.com/office/drawing/2014/main" id="{9A243EB1-8DEB-46BB-8427-F9CFF1993090}"/>
                  </a:ext>
                </a:extLst>
              </p:cNvPr>
              <p:cNvSpPr>
                <a:spLocks/>
              </p:cNvSpPr>
              <p:nvPr/>
            </p:nvSpPr>
            <p:spPr bwMode="auto">
              <a:xfrm>
                <a:off x="571" y="566"/>
                <a:ext cx="99" cy="176"/>
              </a:xfrm>
              <a:custGeom>
                <a:avLst/>
                <a:gdLst>
                  <a:gd name="T0" fmla="*/ 9 w 42"/>
                  <a:gd name="T1" fmla="*/ 4 h 74"/>
                  <a:gd name="T2" fmla="*/ 7 w 42"/>
                  <a:gd name="T3" fmla="*/ 44 h 74"/>
                  <a:gd name="T4" fmla="*/ 38 w 42"/>
                  <a:gd name="T5" fmla="*/ 74 h 74"/>
                  <a:gd name="T6" fmla="*/ 37 w 42"/>
                  <a:gd name="T7" fmla="*/ 32 h 74"/>
                  <a:gd name="T8" fmla="*/ 10 w 42"/>
                  <a:gd name="T9" fmla="*/ 0 h 74"/>
                  <a:gd name="T10" fmla="*/ 9 w 42"/>
                  <a:gd name="T11" fmla="*/ 4 h 74"/>
                </a:gdLst>
                <a:ahLst/>
                <a:cxnLst>
                  <a:cxn ang="0">
                    <a:pos x="T0" y="T1"/>
                  </a:cxn>
                  <a:cxn ang="0">
                    <a:pos x="T2" y="T3"/>
                  </a:cxn>
                  <a:cxn ang="0">
                    <a:pos x="T4" y="T5"/>
                  </a:cxn>
                  <a:cxn ang="0">
                    <a:pos x="T6" y="T7"/>
                  </a:cxn>
                  <a:cxn ang="0">
                    <a:pos x="T8" y="T9"/>
                  </a:cxn>
                  <a:cxn ang="0">
                    <a:pos x="T10" y="T11"/>
                  </a:cxn>
                </a:cxnLst>
                <a:rect l="0" t="0" r="r" b="b"/>
                <a:pathLst>
                  <a:path w="42" h="74">
                    <a:moveTo>
                      <a:pt x="9" y="4"/>
                    </a:moveTo>
                    <a:cubicBezTo>
                      <a:pt x="0" y="15"/>
                      <a:pt x="0" y="32"/>
                      <a:pt x="7" y="44"/>
                    </a:cubicBezTo>
                    <a:cubicBezTo>
                      <a:pt x="14" y="57"/>
                      <a:pt x="26" y="66"/>
                      <a:pt x="38" y="74"/>
                    </a:cubicBezTo>
                    <a:cubicBezTo>
                      <a:pt x="42" y="61"/>
                      <a:pt x="42" y="46"/>
                      <a:pt x="37" y="32"/>
                    </a:cubicBezTo>
                    <a:cubicBezTo>
                      <a:pt x="32" y="19"/>
                      <a:pt x="22" y="7"/>
                      <a:pt x="10" y="0"/>
                    </a:cubicBezTo>
                    <a:cubicBezTo>
                      <a:pt x="9" y="4"/>
                      <a:pt x="9" y="4"/>
                      <a:pt x="9" y="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09">
                <a:extLst>
                  <a:ext uri="{FF2B5EF4-FFF2-40B4-BE49-F238E27FC236}">
                    <a16:creationId xmlns:a16="http://schemas.microsoft.com/office/drawing/2014/main" id="{57D20A9E-09D4-4500-ADB3-92F329BAFB6B}"/>
                  </a:ext>
                </a:extLst>
              </p:cNvPr>
              <p:cNvSpPr>
                <a:spLocks/>
              </p:cNvSpPr>
              <p:nvPr/>
            </p:nvSpPr>
            <p:spPr bwMode="auto">
              <a:xfrm>
                <a:off x="704" y="445"/>
                <a:ext cx="159" cy="140"/>
              </a:xfrm>
              <a:custGeom>
                <a:avLst/>
                <a:gdLst>
                  <a:gd name="T0" fmla="*/ 1 w 67"/>
                  <a:gd name="T1" fmla="*/ 5 h 59"/>
                  <a:gd name="T2" fmla="*/ 23 w 67"/>
                  <a:gd name="T3" fmla="*/ 45 h 59"/>
                  <a:gd name="T4" fmla="*/ 67 w 67"/>
                  <a:gd name="T5" fmla="*/ 56 h 59"/>
                  <a:gd name="T6" fmla="*/ 45 w 67"/>
                  <a:gd name="T7" fmla="*/ 14 h 59"/>
                  <a:gd name="T8" fmla="*/ 0 w 67"/>
                  <a:gd name="T9" fmla="*/ 9 h 59"/>
                  <a:gd name="T10" fmla="*/ 1 w 67"/>
                  <a:gd name="T11" fmla="*/ 5 h 59"/>
                </a:gdLst>
                <a:ahLst/>
                <a:cxnLst>
                  <a:cxn ang="0">
                    <a:pos x="T0" y="T1"/>
                  </a:cxn>
                  <a:cxn ang="0">
                    <a:pos x="T2" y="T3"/>
                  </a:cxn>
                  <a:cxn ang="0">
                    <a:pos x="T4" y="T5"/>
                  </a:cxn>
                  <a:cxn ang="0">
                    <a:pos x="T6" y="T7"/>
                  </a:cxn>
                  <a:cxn ang="0">
                    <a:pos x="T8" y="T9"/>
                  </a:cxn>
                  <a:cxn ang="0">
                    <a:pos x="T10" y="T11"/>
                  </a:cxn>
                </a:cxnLst>
                <a:rect l="0" t="0" r="r" b="b"/>
                <a:pathLst>
                  <a:path w="67" h="59">
                    <a:moveTo>
                      <a:pt x="1" y="5"/>
                    </a:moveTo>
                    <a:cubicBezTo>
                      <a:pt x="2" y="20"/>
                      <a:pt x="10" y="35"/>
                      <a:pt x="23" y="45"/>
                    </a:cubicBezTo>
                    <a:cubicBezTo>
                      <a:pt x="35" y="54"/>
                      <a:pt x="51" y="59"/>
                      <a:pt x="67" y="56"/>
                    </a:cubicBezTo>
                    <a:cubicBezTo>
                      <a:pt x="63" y="41"/>
                      <a:pt x="57" y="25"/>
                      <a:pt x="45" y="14"/>
                    </a:cubicBezTo>
                    <a:cubicBezTo>
                      <a:pt x="33" y="4"/>
                      <a:pt x="13" y="0"/>
                      <a:pt x="0" y="9"/>
                    </a:cubicBezTo>
                    <a:cubicBezTo>
                      <a:pt x="1" y="5"/>
                      <a:pt x="1" y="5"/>
                      <a:pt x="1" y="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10">
                <a:extLst>
                  <a:ext uri="{FF2B5EF4-FFF2-40B4-BE49-F238E27FC236}">
                    <a16:creationId xmlns:a16="http://schemas.microsoft.com/office/drawing/2014/main" id="{22D5ED08-463F-43F4-BBF5-B89FB95855AB}"/>
                  </a:ext>
                </a:extLst>
              </p:cNvPr>
              <p:cNvSpPr>
                <a:spLocks/>
              </p:cNvSpPr>
              <p:nvPr/>
            </p:nvSpPr>
            <p:spPr bwMode="auto">
              <a:xfrm>
                <a:off x="535" y="352"/>
                <a:ext cx="171" cy="81"/>
              </a:xfrm>
              <a:custGeom>
                <a:avLst/>
                <a:gdLst>
                  <a:gd name="T0" fmla="*/ 71 w 72"/>
                  <a:gd name="T1" fmla="*/ 28 h 34"/>
                  <a:gd name="T2" fmla="*/ 40 w 72"/>
                  <a:gd name="T3" fmla="*/ 2 h 34"/>
                  <a:gd name="T4" fmla="*/ 0 w 72"/>
                  <a:gd name="T5" fmla="*/ 15 h 34"/>
                  <a:gd name="T6" fmla="*/ 35 w 72"/>
                  <a:gd name="T7" fmla="*/ 33 h 34"/>
                  <a:gd name="T8" fmla="*/ 72 w 72"/>
                  <a:gd name="T9" fmla="*/ 22 h 34"/>
                  <a:gd name="T10" fmla="*/ 71 w 72"/>
                  <a:gd name="T11" fmla="*/ 28 h 34"/>
                </a:gdLst>
                <a:ahLst/>
                <a:cxnLst>
                  <a:cxn ang="0">
                    <a:pos x="T0" y="T1"/>
                  </a:cxn>
                  <a:cxn ang="0">
                    <a:pos x="T2" y="T3"/>
                  </a:cxn>
                  <a:cxn ang="0">
                    <a:pos x="T4" y="T5"/>
                  </a:cxn>
                  <a:cxn ang="0">
                    <a:pos x="T6" y="T7"/>
                  </a:cxn>
                  <a:cxn ang="0">
                    <a:pos x="T8" y="T9"/>
                  </a:cxn>
                  <a:cxn ang="0">
                    <a:pos x="T10" y="T11"/>
                  </a:cxn>
                </a:cxnLst>
                <a:rect l="0" t="0" r="r" b="b"/>
                <a:pathLst>
                  <a:path w="72" h="34">
                    <a:moveTo>
                      <a:pt x="71" y="28"/>
                    </a:moveTo>
                    <a:cubicBezTo>
                      <a:pt x="69" y="13"/>
                      <a:pt x="55" y="3"/>
                      <a:pt x="40" y="2"/>
                    </a:cubicBezTo>
                    <a:cubicBezTo>
                      <a:pt x="26" y="0"/>
                      <a:pt x="12" y="6"/>
                      <a:pt x="0" y="15"/>
                    </a:cubicBezTo>
                    <a:cubicBezTo>
                      <a:pt x="9" y="25"/>
                      <a:pt x="21" y="32"/>
                      <a:pt x="35" y="33"/>
                    </a:cubicBezTo>
                    <a:cubicBezTo>
                      <a:pt x="48" y="34"/>
                      <a:pt x="61" y="30"/>
                      <a:pt x="72" y="22"/>
                    </a:cubicBezTo>
                    <a:cubicBezTo>
                      <a:pt x="71" y="28"/>
                      <a:pt x="71" y="28"/>
                      <a:pt x="71" y="2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11">
                <a:extLst>
                  <a:ext uri="{FF2B5EF4-FFF2-40B4-BE49-F238E27FC236}">
                    <a16:creationId xmlns:a16="http://schemas.microsoft.com/office/drawing/2014/main" id="{3EA53AE2-D54E-44E1-A586-676DF9D963C3}"/>
                  </a:ext>
                </a:extLst>
              </p:cNvPr>
              <p:cNvSpPr>
                <a:spLocks/>
              </p:cNvSpPr>
              <p:nvPr/>
            </p:nvSpPr>
            <p:spPr bwMode="auto">
              <a:xfrm>
                <a:off x="488" y="697"/>
                <a:ext cx="116" cy="223"/>
              </a:xfrm>
              <a:custGeom>
                <a:avLst/>
                <a:gdLst>
                  <a:gd name="T0" fmla="*/ 17 w 49"/>
                  <a:gd name="T1" fmla="*/ 4 h 94"/>
                  <a:gd name="T2" fmla="*/ 6 w 49"/>
                  <a:gd name="T3" fmla="*/ 54 h 94"/>
                  <a:gd name="T4" fmla="*/ 40 w 49"/>
                  <a:gd name="T5" fmla="*/ 94 h 94"/>
                  <a:gd name="T6" fmla="*/ 46 w 49"/>
                  <a:gd name="T7" fmla="*/ 42 h 94"/>
                  <a:gd name="T8" fmla="*/ 16 w 49"/>
                  <a:gd name="T9" fmla="*/ 0 h 94"/>
                  <a:gd name="T10" fmla="*/ 17 w 49"/>
                  <a:gd name="T11" fmla="*/ 4 h 94"/>
                </a:gdLst>
                <a:ahLst/>
                <a:cxnLst>
                  <a:cxn ang="0">
                    <a:pos x="T0" y="T1"/>
                  </a:cxn>
                  <a:cxn ang="0">
                    <a:pos x="T2" y="T3"/>
                  </a:cxn>
                  <a:cxn ang="0">
                    <a:pos x="T4" y="T5"/>
                  </a:cxn>
                  <a:cxn ang="0">
                    <a:pos x="T6" y="T7"/>
                  </a:cxn>
                  <a:cxn ang="0">
                    <a:pos x="T8" y="T9"/>
                  </a:cxn>
                  <a:cxn ang="0">
                    <a:pos x="T10" y="T11"/>
                  </a:cxn>
                </a:cxnLst>
                <a:rect l="0" t="0" r="r" b="b"/>
                <a:pathLst>
                  <a:path w="49" h="94">
                    <a:moveTo>
                      <a:pt x="17" y="4"/>
                    </a:moveTo>
                    <a:cubicBezTo>
                      <a:pt x="3" y="16"/>
                      <a:pt x="0" y="36"/>
                      <a:pt x="6" y="54"/>
                    </a:cubicBezTo>
                    <a:cubicBezTo>
                      <a:pt x="11" y="71"/>
                      <a:pt x="25" y="84"/>
                      <a:pt x="40" y="94"/>
                    </a:cubicBezTo>
                    <a:cubicBezTo>
                      <a:pt x="45" y="77"/>
                      <a:pt x="49" y="59"/>
                      <a:pt x="46" y="42"/>
                    </a:cubicBezTo>
                    <a:cubicBezTo>
                      <a:pt x="43" y="24"/>
                      <a:pt x="32" y="7"/>
                      <a:pt x="16" y="0"/>
                    </a:cubicBezTo>
                    <a:cubicBezTo>
                      <a:pt x="17" y="4"/>
                      <a:pt x="17" y="4"/>
                      <a:pt x="17" y="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12">
                <a:extLst>
                  <a:ext uri="{FF2B5EF4-FFF2-40B4-BE49-F238E27FC236}">
                    <a16:creationId xmlns:a16="http://schemas.microsoft.com/office/drawing/2014/main" id="{1E12C6DF-0161-43DC-8AB5-3B4B16D0D098}"/>
                  </a:ext>
                </a:extLst>
              </p:cNvPr>
              <p:cNvSpPr>
                <a:spLocks/>
              </p:cNvSpPr>
              <p:nvPr/>
            </p:nvSpPr>
            <p:spPr bwMode="auto">
              <a:xfrm>
                <a:off x="699" y="277"/>
                <a:ext cx="159" cy="90"/>
              </a:xfrm>
              <a:custGeom>
                <a:avLst/>
                <a:gdLst>
                  <a:gd name="T0" fmla="*/ 0 w 67"/>
                  <a:gd name="T1" fmla="*/ 20 h 38"/>
                  <a:gd name="T2" fmla="*/ 33 w 67"/>
                  <a:gd name="T3" fmla="*/ 1 h 38"/>
                  <a:gd name="T4" fmla="*/ 67 w 67"/>
                  <a:gd name="T5" fmla="*/ 16 h 38"/>
                  <a:gd name="T6" fmla="*/ 35 w 67"/>
                  <a:gd name="T7" fmla="*/ 37 h 38"/>
                  <a:gd name="T8" fmla="*/ 1 w 67"/>
                  <a:gd name="T9" fmla="*/ 17 h 38"/>
                  <a:gd name="T10" fmla="*/ 0 w 67"/>
                  <a:gd name="T11" fmla="*/ 20 h 38"/>
                </a:gdLst>
                <a:ahLst/>
                <a:cxnLst>
                  <a:cxn ang="0">
                    <a:pos x="T0" y="T1"/>
                  </a:cxn>
                  <a:cxn ang="0">
                    <a:pos x="T2" y="T3"/>
                  </a:cxn>
                  <a:cxn ang="0">
                    <a:pos x="T4" y="T5"/>
                  </a:cxn>
                  <a:cxn ang="0">
                    <a:pos x="T6" y="T7"/>
                  </a:cxn>
                  <a:cxn ang="0">
                    <a:pos x="T8" y="T9"/>
                  </a:cxn>
                  <a:cxn ang="0">
                    <a:pos x="T10" y="T11"/>
                  </a:cxn>
                </a:cxnLst>
                <a:rect l="0" t="0" r="r" b="b"/>
                <a:pathLst>
                  <a:path w="67" h="38">
                    <a:moveTo>
                      <a:pt x="0" y="20"/>
                    </a:moveTo>
                    <a:cubicBezTo>
                      <a:pt x="7" y="9"/>
                      <a:pt x="20" y="2"/>
                      <a:pt x="33" y="1"/>
                    </a:cubicBezTo>
                    <a:cubicBezTo>
                      <a:pt x="45" y="0"/>
                      <a:pt x="58" y="6"/>
                      <a:pt x="67" y="16"/>
                    </a:cubicBezTo>
                    <a:cubicBezTo>
                      <a:pt x="61" y="28"/>
                      <a:pt x="48" y="37"/>
                      <a:pt x="35" y="37"/>
                    </a:cubicBezTo>
                    <a:cubicBezTo>
                      <a:pt x="21" y="38"/>
                      <a:pt x="7" y="30"/>
                      <a:pt x="1" y="17"/>
                    </a:cubicBezTo>
                    <a:cubicBezTo>
                      <a:pt x="0" y="20"/>
                      <a:pt x="0" y="20"/>
                      <a:pt x="0" y="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13">
                <a:extLst>
                  <a:ext uri="{FF2B5EF4-FFF2-40B4-BE49-F238E27FC236}">
                    <a16:creationId xmlns:a16="http://schemas.microsoft.com/office/drawing/2014/main" id="{AA248342-AB57-4BC0-9E69-9E03E38B1A29}"/>
                  </a:ext>
                </a:extLst>
              </p:cNvPr>
              <p:cNvSpPr>
                <a:spLocks/>
              </p:cNvSpPr>
              <p:nvPr/>
            </p:nvSpPr>
            <p:spPr bwMode="auto">
              <a:xfrm>
                <a:off x="573" y="120"/>
                <a:ext cx="171" cy="116"/>
              </a:xfrm>
              <a:custGeom>
                <a:avLst/>
                <a:gdLst>
                  <a:gd name="T0" fmla="*/ 70 w 72"/>
                  <a:gd name="T1" fmla="*/ 44 h 49"/>
                  <a:gd name="T2" fmla="*/ 25 w 72"/>
                  <a:gd name="T3" fmla="*/ 39 h 49"/>
                  <a:gd name="T4" fmla="*/ 0 w 72"/>
                  <a:gd name="T5" fmla="*/ 2 h 49"/>
                  <a:gd name="T6" fmla="*/ 33 w 72"/>
                  <a:gd name="T7" fmla="*/ 2 h 49"/>
                  <a:gd name="T8" fmla="*/ 62 w 72"/>
                  <a:gd name="T9" fmla="*/ 17 h 49"/>
                  <a:gd name="T10" fmla="*/ 70 w 72"/>
                  <a:gd name="T11" fmla="*/ 44 h 49"/>
                </a:gdLst>
                <a:ahLst/>
                <a:cxnLst>
                  <a:cxn ang="0">
                    <a:pos x="T0" y="T1"/>
                  </a:cxn>
                  <a:cxn ang="0">
                    <a:pos x="T2" y="T3"/>
                  </a:cxn>
                  <a:cxn ang="0">
                    <a:pos x="T4" y="T5"/>
                  </a:cxn>
                  <a:cxn ang="0">
                    <a:pos x="T6" y="T7"/>
                  </a:cxn>
                  <a:cxn ang="0">
                    <a:pos x="T8" y="T9"/>
                  </a:cxn>
                  <a:cxn ang="0">
                    <a:pos x="T10" y="T11"/>
                  </a:cxn>
                </a:cxnLst>
                <a:rect l="0" t="0" r="r" b="b"/>
                <a:pathLst>
                  <a:path w="72" h="49">
                    <a:moveTo>
                      <a:pt x="70" y="44"/>
                    </a:moveTo>
                    <a:cubicBezTo>
                      <a:pt x="55" y="49"/>
                      <a:pt x="39" y="47"/>
                      <a:pt x="25" y="39"/>
                    </a:cubicBezTo>
                    <a:cubicBezTo>
                      <a:pt x="12" y="31"/>
                      <a:pt x="3" y="17"/>
                      <a:pt x="0" y="2"/>
                    </a:cubicBezTo>
                    <a:cubicBezTo>
                      <a:pt x="11" y="1"/>
                      <a:pt x="22" y="0"/>
                      <a:pt x="33" y="2"/>
                    </a:cubicBezTo>
                    <a:cubicBezTo>
                      <a:pt x="44" y="4"/>
                      <a:pt x="55" y="9"/>
                      <a:pt x="62" y="17"/>
                    </a:cubicBezTo>
                    <a:cubicBezTo>
                      <a:pt x="70" y="24"/>
                      <a:pt x="72" y="34"/>
                      <a:pt x="70" y="4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14">
                <a:extLst>
                  <a:ext uri="{FF2B5EF4-FFF2-40B4-BE49-F238E27FC236}">
                    <a16:creationId xmlns:a16="http://schemas.microsoft.com/office/drawing/2014/main" id="{250EDE91-9EFF-4038-8FD9-F0501398AF03}"/>
                  </a:ext>
                </a:extLst>
              </p:cNvPr>
              <p:cNvSpPr>
                <a:spLocks/>
              </p:cNvSpPr>
              <p:nvPr/>
            </p:nvSpPr>
            <p:spPr bwMode="auto">
              <a:xfrm>
                <a:off x="775" y="37"/>
                <a:ext cx="88" cy="166"/>
              </a:xfrm>
              <a:custGeom>
                <a:avLst/>
                <a:gdLst>
                  <a:gd name="T0" fmla="*/ 17 w 37"/>
                  <a:gd name="T1" fmla="*/ 69 h 70"/>
                  <a:gd name="T2" fmla="*/ 0 w 37"/>
                  <a:gd name="T3" fmla="*/ 34 h 70"/>
                  <a:gd name="T4" fmla="*/ 16 w 37"/>
                  <a:gd name="T5" fmla="*/ 0 h 70"/>
                  <a:gd name="T6" fmla="*/ 36 w 37"/>
                  <a:gd name="T7" fmla="*/ 42 h 70"/>
                  <a:gd name="T8" fmla="*/ 36 w 37"/>
                  <a:gd name="T9" fmla="*/ 59 h 70"/>
                  <a:gd name="T10" fmla="*/ 24 w 37"/>
                  <a:gd name="T11" fmla="*/ 70 h 70"/>
                  <a:gd name="T12" fmla="*/ 17 w 37"/>
                  <a:gd name="T13" fmla="*/ 69 h 70"/>
                </a:gdLst>
                <a:ahLst/>
                <a:cxnLst>
                  <a:cxn ang="0">
                    <a:pos x="T0" y="T1"/>
                  </a:cxn>
                  <a:cxn ang="0">
                    <a:pos x="T2" y="T3"/>
                  </a:cxn>
                  <a:cxn ang="0">
                    <a:pos x="T4" y="T5"/>
                  </a:cxn>
                  <a:cxn ang="0">
                    <a:pos x="T6" y="T7"/>
                  </a:cxn>
                  <a:cxn ang="0">
                    <a:pos x="T8" y="T9"/>
                  </a:cxn>
                  <a:cxn ang="0">
                    <a:pos x="T10" y="T11"/>
                  </a:cxn>
                  <a:cxn ang="0">
                    <a:pos x="T12" y="T13"/>
                  </a:cxn>
                </a:cxnLst>
                <a:rect l="0" t="0" r="r" b="b"/>
                <a:pathLst>
                  <a:path w="37" h="70">
                    <a:moveTo>
                      <a:pt x="17" y="69"/>
                    </a:moveTo>
                    <a:cubicBezTo>
                      <a:pt x="6" y="61"/>
                      <a:pt x="0" y="48"/>
                      <a:pt x="0" y="34"/>
                    </a:cubicBezTo>
                    <a:cubicBezTo>
                      <a:pt x="0" y="21"/>
                      <a:pt x="6" y="8"/>
                      <a:pt x="16" y="0"/>
                    </a:cubicBezTo>
                    <a:cubicBezTo>
                      <a:pt x="26" y="12"/>
                      <a:pt x="33" y="26"/>
                      <a:pt x="36" y="42"/>
                    </a:cubicBezTo>
                    <a:cubicBezTo>
                      <a:pt x="37" y="47"/>
                      <a:pt x="37" y="53"/>
                      <a:pt x="36" y="59"/>
                    </a:cubicBezTo>
                    <a:cubicBezTo>
                      <a:pt x="34" y="64"/>
                      <a:pt x="29" y="69"/>
                      <a:pt x="24" y="70"/>
                    </a:cubicBezTo>
                    <a:cubicBezTo>
                      <a:pt x="17" y="69"/>
                      <a:pt x="17" y="69"/>
                      <a:pt x="17" y="6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5">
                <a:extLst>
                  <a:ext uri="{FF2B5EF4-FFF2-40B4-BE49-F238E27FC236}">
                    <a16:creationId xmlns:a16="http://schemas.microsoft.com/office/drawing/2014/main" id="{C6C7F57B-CE80-45DF-8BE3-4F86720D5921}"/>
                  </a:ext>
                </a:extLst>
              </p:cNvPr>
              <p:cNvSpPr>
                <a:spLocks noEditPoints="1"/>
              </p:cNvSpPr>
              <p:nvPr/>
            </p:nvSpPr>
            <p:spPr bwMode="auto">
              <a:xfrm>
                <a:off x="461" y="433"/>
                <a:ext cx="164" cy="126"/>
              </a:xfrm>
              <a:custGeom>
                <a:avLst/>
                <a:gdLst>
                  <a:gd name="T0" fmla="*/ 69 w 69"/>
                  <a:gd name="T1" fmla="*/ 51 h 53"/>
                  <a:gd name="T2" fmla="*/ 67 w 69"/>
                  <a:gd name="T3" fmla="*/ 52 h 53"/>
                  <a:gd name="T4" fmla="*/ 67 w 69"/>
                  <a:gd name="T5" fmla="*/ 52 h 53"/>
                  <a:gd name="T6" fmla="*/ 69 w 69"/>
                  <a:gd name="T7" fmla="*/ 53 h 53"/>
                  <a:gd name="T8" fmla="*/ 69 w 69"/>
                  <a:gd name="T9" fmla="*/ 51 h 53"/>
                  <a:gd name="T10" fmla="*/ 18 w 69"/>
                  <a:gd name="T11" fmla="*/ 0 h 53"/>
                  <a:gd name="T12" fmla="*/ 0 w 69"/>
                  <a:gd name="T13" fmla="*/ 3 h 53"/>
                  <a:gd name="T14" fmla="*/ 63 w 69"/>
                  <a:gd name="T15" fmla="*/ 52 h 53"/>
                  <a:gd name="T16" fmla="*/ 69 w 69"/>
                  <a:gd name="T17" fmla="*/ 49 h 53"/>
                  <a:gd name="T18" fmla="*/ 48 w 69"/>
                  <a:gd name="T19" fmla="*/ 10 h 53"/>
                  <a:gd name="T20" fmla="*/ 18 w 69"/>
                  <a:gd name="T2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53">
                    <a:moveTo>
                      <a:pt x="69" y="51"/>
                    </a:moveTo>
                    <a:cubicBezTo>
                      <a:pt x="68" y="52"/>
                      <a:pt x="67" y="52"/>
                      <a:pt x="67" y="52"/>
                    </a:cubicBezTo>
                    <a:cubicBezTo>
                      <a:pt x="67" y="52"/>
                      <a:pt x="67" y="52"/>
                      <a:pt x="67" y="52"/>
                    </a:cubicBezTo>
                    <a:cubicBezTo>
                      <a:pt x="69" y="53"/>
                      <a:pt x="69" y="53"/>
                      <a:pt x="69" y="53"/>
                    </a:cubicBezTo>
                    <a:cubicBezTo>
                      <a:pt x="69" y="52"/>
                      <a:pt x="69" y="52"/>
                      <a:pt x="69" y="51"/>
                    </a:cubicBezTo>
                    <a:moveTo>
                      <a:pt x="18" y="0"/>
                    </a:moveTo>
                    <a:cubicBezTo>
                      <a:pt x="12" y="0"/>
                      <a:pt x="6" y="1"/>
                      <a:pt x="0" y="3"/>
                    </a:cubicBezTo>
                    <a:cubicBezTo>
                      <a:pt x="11" y="28"/>
                      <a:pt x="36" y="47"/>
                      <a:pt x="63" y="52"/>
                    </a:cubicBezTo>
                    <a:cubicBezTo>
                      <a:pt x="65" y="51"/>
                      <a:pt x="67" y="50"/>
                      <a:pt x="69" y="49"/>
                    </a:cubicBezTo>
                    <a:cubicBezTo>
                      <a:pt x="68" y="34"/>
                      <a:pt x="61" y="19"/>
                      <a:pt x="48" y="10"/>
                    </a:cubicBezTo>
                    <a:cubicBezTo>
                      <a:pt x="39" y="3"/>
                      <a:pt x="29" y="0"/>
                      <a:pt x="18"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16">
                <a:extLst>
                  <a:ext uri="{FF2B5EF4-FFF2-40B4-BE49-F238E27FC236}">
                    <a16:creationId xmlns:a16="http://schemas.microsoft.com/office/drawing/2014/main" id="{7940E931-235C-43DE-A212-78E3433FC2AC}"/>
                  </a:ext>
                </a:extLst>
              </p:cNvPr>
              <p:cNvSpPr>
                <a:spLocks/>
              </p:cNvSpPr>
              <p:nvPr/>
            </p:nvSpPr>
            <p:spPr bwMode="auto">
              <a:xfrm>
                <a:off x="575" y="566"/>
                <a:ext cx="93" cy="176"/>
              </a:xfrm>
              <a:custGeom>
                <a:avLst/>
                <a:gdLst>
                  <a:gd name="T0" fmla="*/ 9 w 39"/>
                  <a:gd name="T1" fmla="*/ 0 h 74"/>
                  <a:gd name="T2" fmla="*/ 8 w 39"/>
                  <a:gd name="T3" fmla="*/ 1 h 74"/>
                  <a:gd name="T4" fmla="*/ 7 w 39"/>
                  <a:gd name="T5" fmla="*/ 4 h 74"/>
                  <a:gd name="T6" fmla="*/ 0 w 39"/>
                  <a:gd name="T7" fmla="*/ 24 h 74"/>
                  <a:gd name="T8" fmla="*/ 5 w 39"/>
                  <a:gd name="T9" fmla="*/ 44 h 74"/>
                  <a:gd name="T10" fmla="*/ 36 w 39"/>
                  <a:gd name="T11" fmla="*/ 74 h 74"/>
                  <a:gd name="T12" fmla="*/ 39 w 39"/>
                  <a:gd name="T13" fmla="*/ 56 h 74"/>
                  <a:gd name="T14" fmla="*/ 35 w 39"/>
                  <a:gd name="T15" fmla="*/ 32 h 74"/>
                  <a:gd name="T16" fmla="*/ 9 w 39"/>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74">
                    <a:moveTo>
                      <a:pt x="9" y="0"/>
                    </a:moveTo>
                    <a:cubicBezTo>
                      <a:pt x="9" y="1"/>
                      <a:pt x="8" y="1"/>
                      <a:pt x="8" y="1"/>
                    </a:cubicBezTo>
                    <a:cubicBezTo>
                      <a:pt x="7" y="4"/>
                      <a:pt x="7" y="4"/>
                      <a:pt x="7" y="4"/>
                    </a:cubicBezTo>
                    <a:cubicBezTo>
                      <a:pt x="2" y="9"/>
                      <a:pt x="0" y="17"/>
                      <a:pt x="0" y="24"/>
                    </a:cubicBezTo>
                    <a:cubicBezTo>
                      <a:pt x="0" y="31"/>
                      <a:pt x="2" y="38"/>
                      <a:pt x="5" y="44"/>
                    </a:cubicBezTo>
                    <a:cubicBezTo>
                      <a:pt x="12" y="57"/>
                      <a:pt x="24" y="66"/>
                      <a:pt x="36" y="74"/>
                    </a:cubicBezTo>
                    <a:cubicBezTo>
                      <a:pt x="38" y="68"/>
                      <a:pt x="39" y="62"/>
                      <a:pt x="39" y="56"/>
                    </a:cubicBezTo>
                    <a:cubicBezTo>
                      <a:pt x="39" y="48"/>
                      <a:pt x="38" y="40"/>
                      <a:pt x="35" y="32"/>
                    </a:cubicBezTo>
                    <a:cubicBezTo>
                      <a:pt x="30" y="19"/>
                      <a:pt x="21" y="8"/>
                      <a:pt x="9"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17">
                <a:extLst>
                  <a:ext uri="{FF2B5EF4-FFF2-40B4-BE49-F238E27FC236}">
                    <a16:creationId xmlns:a16="http://schemas.microsoft.com/office/drawing/2014/main" id="{1F4811D1-B2A8-4854-8DC8-90CCC1254FDA}"/>
                  </a:ext>
                </a:extLst>
              </p:cNvPr>
              <p:cNvSpPr>
                <a:spLocks/>
              </p:cNvSpPr>
              <p:nvPr/>
            </p:nvSpPr>
            <p:spPr bwMode="auto">
              <a:xfrm>
                <a:off x="706" y="455"/>
                <a:ext cx="157" cy="125"/>
              </a:xfrm>
              <a:custGeom>
                <a:avLst/>
                <a:gdLst>
                  <a:gd name="T0" fmla="*/ 16 w 66"/>
                  <a:gd name="T1" fmla="*/ 0 h 53"/>
                  <a:gd name="T2" fmla="*/ 1 w 66"/>
                  <a:gd name="T3" fmla="*/ 4 h 53"/>
                  <a:gd name="T4" fmla="*/ 0 w 66"/>
                  <a:gd name="T5" fmla="*/ 5 h 53"/>
                  <a:gd name="T6" fmla="*/ 22 w 66"/>
                  <a:gd name="T7" fmla="*/ 41 h 53"/>
                  <a:gd name="T8" fmla="*/ 58 w 66"/>
                  <a:gd name="T9" fmla="*/ 53 h 53"/>
                  <a:gd name="T10" fmla="*/ 66 w 66"/>
                  <a:gd name="T11" fmla="*/ 52 h 53"/>
                  <a:gd name="T12" fmla="*/ 44 w 66"/>
                  <a:gd name="T13" fmla="*/ 10 h 53"/>
                  <a:gd name="T14" fmla="*/ 16 w 66"/>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53">
                    <a:moveTo>
                      <a:pt x="16" y="0"/>
                    </a:moveTo>
                    <a:cubicBezTo>
                      <a:pt x="11" y="0"/>
                      <a:pt x="5" y="1"/>
                      <a:pt x="1" y="4"/>
                    </a:cubicBezTo>
                    <a:cubicBezTo>
                      <a:pt x="0" y="4"/>
                      <a:pt x="0" y="5"/>
                      <a:pt x="0" y="5"/>
                    </a:cubicBezTo>
                    <a:cubicBezTo>
                      <a:pt x="3" y="19"/>
                      <a:pt x="11" y="32"/>
                      <a:pt x="22" y="41"/>
                    </a:cubicBezTo>
                    <a:cubicBezTo>
                      <a:pt x="32" y="49"/>
                      <a:pt x="45" y="53"/>
                      <a:pt x="58" y="53"/>
                    </a:cubicBezTo>
                    <a:cubicBezTo>
                      <a:pt x="61" y="53"/>
                      <a:pt x="63" y="53"/>
                      <a:pt x="66" y="52"/>
                    </a:cubicBezTo>
                    <a:cubicBezTo>
                      <a:pt x="62" y="37"/>
                      <a:pt x="56" y="21"/>
                      <a:pt x="44" y="10"/>
                    </a:cubicBezTo>
                    <a:cubicBezTo>
                      <a:pt x="36" y="4"/>
                      <a:pt x="26" y="0"/>
                      <a:pt x="16"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18">
                <a:extLst>
                  <a:ext uri="{FF2B5EF4-FFF2-40B4-BE49-F238E27FC236}">
                    <a16:creationId xmlns:a16="http://schemas.microsoft.com/office/drawing/2014/main" id="{0CD286C4-6D29-4188-9F4C-57E57671B5A1}"/>
                  </a:ext>
                </a:extLst>
              </p:cNvPr>
              <p:cNvSpPr>
                <a:spLocks/>
              </p:cNvSpPr>
              <p:nvPr/>
            </p:nvSpPr>
            <p:spPr bwMode="auto">
              <a:xfrm>
                <a:off x="535" y="355"/>
                <a:ext cx="166" cy="76"/>
              </a:xfrm>
              <a:custGeom>
                <a:avLst/>
                <a:gdLst>
                  <a:gd name="T0" fmla="*/ 36 w 70"/>
                  <a:gd name="T1" fmla="*/ 0 h 32"/>
                  <a:gd name="T2" fmla="*/ 0 w 70"/>
                  <a:gd name="T3" fmla="*/ 14 h 32"/>
                  <a:gd name="T4" fmla="*/ 35 w 70"/>
                  <a:gd name="T5" fmla="*/ 32 h 32"/>
                  <a:gd name="T6" fmla="*/ 39 w 70"/>
                  <a:gd name="T7" fmla="*/ 32 h 32"/>
                  <a:gd name="T8" fmla="*/ 70 w 70"/>
                  <a:gd name="T9" fmla="*/ 22 h 32"/>
                  <a:gd name="T10" fmla="*/ 40 w 70"/>
                  <a:gd name="T11" fmla="*/ 1 h 32"/>
                  <a:gd name="T12" fmla="*/ 36 w 7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70" h="32">
                    <a:moveTo>
                      <a:pt x="36" y="0"/>
                    </a:moveTo>
                    <a:cubicBezTo>
                      <a:pt x="23" y="0"/>
                      <a:pt x="11" y="6"/>
                      <a:pt x="0" y="14"/>
                    </a:cubicBezTo>
                    <a:cubicBezTo>
                      <a:pt x="9" y="24"/>
                      <a:pt x="21" y="31"/>
                      <a:pt x="35" y="32"/>
                    </a:cubicBezTo>
                    <a:cubicBezTo>
                      <a:pt x="36" y="32"/>
                      <a:pt x="38" y="32"/>
                      <a:pt x="39" y="32"/>
                    </a:cubicBezTo>
                    <a:cubicBezTo>
                      <a:pt x="50" y="32"/>
                      <a:pt x="61" y="29"/>
                      <a:pt x="70" y="22"/>
                    </a:cubicBezTo>
                    <a:cubicBezTo>
                      <a:pt x="66" y="10"/>
                      <a:pt x="53" y="2"/>
                      <a:pt x="40" y="1"/>
                    </a:cubicBezTo>
                    <a:cubicBezTo>
                      <a:pt x="39" y="1"/>
                      <a:pt x="38" y="0"/>
                      <a:pt x="36"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19">
                <a:extLst>
                  <a:ext uri="{FF2B5EF4-FFF2-40B4-BE49-F238E27FC236}">
                    <a16:creationId xmlns:a16="http://schemas.microsoft.com/office/drawing/2014/main" id="{9868711A-6C25-437C-8656-A09A511F9BC8}"/>
                  </a:ext>
                </a:extLst>
              </p:cNvPr>
              <p:cNvSpPr>
                <a:spLocks/>
              </p:cNvSpPr>
              <p:nvPr/>
            </p:nvSpPr>
            <p:spPr bwMode="auto">
              <a:xfrm>
                <a:off x="701" y="405"/>
                <a:ext cx="5" cy="14"/>
              </a:xfrm>
              <a:custGeom>
                <a:avLst/>
                <a:gdLst>
                  <a:gd name="T0" fmla="*/ 2 w 2"/>
                  <a:gd name="T1" fmla="*/ 0 h 6"/>
                  <a:gd name="T2" fmla="*/ 0 w 2"/>
                  <a:gd name="T3" fmla="*/ 1 h 6"/>
                  <a:gd name="T4" fmla="*/ 1 w 2"/>
                  <a:gd name="T5" fmla="*/ 6 h 6"/>
                  <a:gd name="T6" fmla="*/ 2 w 2"/>
                  <a:gd name="T7" fmla="*/ 0 h 6"/>
                </a:gdLst>
                <a:ahLst/>
                <a:cxnLst>
                  <a:cxn ang="0">
                    <a:pos x="T0" y="T1"/>
                  </a:cxn>
                  <a:cxn ang="0">
                    <a:pos x="T2" y="T3"/>
                  </a:cxn>
                  <a:cxn ang="0">
                    <a:pos x="T4" y="T5"/>
                  </a:cxn>
                  <a:cxn ang="0">
                    <a:pos x="T6" y="T7"/>
                  </a:cxn>
                </a:cxnLst>
                <a:rect l="0" t="0" r="r" b="b"/>
                <a:pathLst>
                  <a:path w="2" h="6">
                    <a:moveTo>
                      <a:pt x="2" y="0"/>
                    </a:moveTo>
                    <a:cubicBezTo>
                      <a:pt x="1" y="1"/>
                      <a:pt x="1" y="1"/>
                      <a:pt x="0" y="1"/>
                    </a:cubicBezTo>
                    <a:cubicBezTo>
                      <a:pt x="1" y="3"/>
                      <a:pt x="1" y="4"/>
                      <a:pt x="1" y="6"/>
                    </a:cubicBezTo>
                    <a:cubicBezTo>
                      <a:pt x="2" y="0"/>
                      <a:pt x="2" y="0"/>
                      <a:pt x="2"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20">
                <a:extLst>
                  <a:ext uri="{FF2B5EF4-FFF2-40B4-BE49-F238E27FC236}">
                    <a16:creationId xmlns:a16="http://schemas.microsoft.com/office/drawing/2014/main" id="{2D619AEB-F715-464C-9AFE-1D4BE027F00C}"/>
                  </a:ext>
                </a:extLst>
              </p:cNvPr>
              <p:cNvSpPr>
                <a:spLocks/>
              </p:cNvSpPr>
              <p:nvPr/>
            </p:nvSpPr>
            <p:spPr bwMode="auto">
              <a:xfrm>
                <a:off x="495" y="697"/>
                <a:ext cx="104" cy="223"/>
              </a:xfrm>
              <a:custGeom>
                <a:avLst/>
                <a:gdLst>
                  <a:gd name="T0" fmla="*/ 13 w 44"/>
                  <a:gd name="T1" fmla="*/ 0 h 94"/>
                  <a:gd name="T2" fmla="*/ 14 w 44"/>
                  <a:gd name="T3" fmla="*/ 4 h 94"/>
                  <a:gd name="T4" fmla="*/ 14 w 44"/>
                  <a:gd name="T5" fmla="*/ 4 h 94"/>
                  <a:gd name="T6" fmla="*/ 13 w 44"/>
                  <a:gd name="T7" fmla="*/ 5 h 94"/>
                  <a:gd name="T8" fmla="*/ 16 w 44"/>
                  <a:gd name="T9" fmla="*/ 15 h 94"/>
                  <a:gd name="T10" fmla="*/ 23 w 44"/>
                  <a:gd name="T11" fmla="*/ 30 h 94"/>
                  <a:gd name="T12" fmla="*/ 23 w 44"/>
                  <a:gd name="T13" fmla="*/ 30 h 94"/>
                  <a:gd name="T14" fmla="*/ 23 w 44"/>
                  <a:gd name="T15" fmla="*/ 30 h 94"/>
                  <a:gd name="T16" fmla="*/ 23 w 44"/>
                  <a:gd name="T17" fmla="*/ 29 h 94"/>
                  <a:gd name="T18" fmla="*/ 21 w 44"/>
                  <a:gd name="T19" fmla="*/ 27 h 94"/>
                  <a:gd name="T20" fmla="*/ 15 w 44"/>
                  <a:gd name="T21" fmla="*/ 15 h 94"/>
                  <a:gd name="T22" fmla="*/ 12 w 44"/>
                  <a:gd name="T23" fmla="*/ 6 h 94"/>
                  <a:gd name="T24" fmla="*/ 0 w 44"/>
                  <a:gd name="T25" fmla="*/ 37 h 94"/>
                  <a:gd name="T26" fmla="*/ 3 w 44"/>
                  <a:gd name="T27" fmla="*/ 54 h 94"/>
                  <a:gd name="T28" fmla="*/ 37 w 44"/>
                  <a:gd name="T29" fmla="*/ 94 h 94"/>
                  <a:gd name="T30" fmla="*/ 44 w 44"/>
                  <a:gd name="T31" fmla="*/ 55 h 94"/>
                  <a:gd name="T32" fmla="*/ 44 w 44"/>
                  <a:gd name="T33" fmla="*/ 47 h 94"/>
                  <a:gd name="T34" fmla="*/ 43 w 44"/>
                  <a:gd name="T35" fmla="*/ 42 h 94"/>
                  <a:gd name="T36" fmla="*/ 13 w 44"/>
                  <a:gd name="T3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94">
                    <a:moveTo>
                      <a:pt x="13" y="0"/>
                    </a:moveTo>
                    <a:cubicBezTo>
                      <a:pt x="14" y="4"/>
                      <a:pt x="14" y="4"/>
                      <a:pt x="14" y="4"/>
                    </a:cubicBezTo>
                    <a:cubicBezTo>
                      <a:pt x="14" y="4"/>
                      <a:pt x="14" y="4"/>
                      <a:pt x="14" y="4"/>
                    </a:cubicBezTo>
                    <a:cubicBezTo>
                      <a:pt x="14" y="4"/>
                      <a:pt x="14" y="5"/>
                      <a:pt x="13" y="5"/>
                    </a:cubicBezTo>
                    <a:cubicBezTo>
                      <a:pt x="14" y="9"/>
                      <a:pt x="15" y="12"/>
                      <a:pt x="16" y="15"/>
                    </a:cubicBezTo>
                    <a:cubicBezTo>
                      <a:pt x="19" y="25"/>
                      <a:pt x="23" y="30"/>
                      <a:pt x="23" y="30"/>
                    </a:cubicBezTo>
                    <a:cubicBezTo>
                      <a:pt x="23" y="30"/>
                      <a:pt x="23" y="30"/>
                      <a:pt x="23" y="30"/>
                    </a:cubicBezTo>
                    <a:cubicBezTo>
                      <a:pt x="23" y="30"/>
                      <a:pt x="23" y="30"/>
                      <a:pt x="23" y="30"/>
                    </a:cubicBezTo>
                    <a:cubicBezTo>
                      <a:pt x="23" y="30"/>
                      <a:pt x="23" y="30"/>
                      <a:pt x="23" y="29"/>
                    </a:cubicBezTo>
                    <a:cubicBezTo>
                      <a:pt x="22" y="29"/>
                      <a:pt x="21" y="28"/>
                      <a:pt x="21" y="27"/>
                    </a:cubicBezTo>
                    <a:cubicBezTo>
                      <a:pt x="19" y="24"/>
                      <a:pt x="17" y="21"/>
                      <a:pt x="15" y="15"/>
                    </a:cubicBezTo>
                    <a:cubicBezTo>
                      <a:pt x="14" y="13"/>
                      <a:pt x="13" y="9"/>
                      <a:pt x="12" y="6"/>
                    </a:cubicBezTo>
                    <a:cubicBezTo>
                      <a:pt x="4" y="14"/>
                      <a:pt x="0" y="25"/>
                      <a:pt x="0" y="37"/>
                    </a:cubicBezTo>
                    <a:cubicBezTo>
                      <a:pt x="0" y="43"/>
                      <a:pt x="1" y="48"/>
                      <a:pt x="3" y="54"/>
                    </a:cubicBezTo>
                    <a:cubicBezTo>
                      <a:pt x="8" y="71"/>
                      <a:pt x="22" y="84"/>
                      <a:pt x="37" y="94"/>
                    </a:cubicBezTo>
                    <a:cubicBezTo>
                      <a:pt x="41" y="82"/>
                      <a:pt x="44" y="68"/>
                      <a:pt x="44" y="55"/>
                    </a:cubicBezTo>
                    <a:cubicBezTo>
                      <a:pt x="44" y="52"/>
                      <a:pt x="44" y="49"/>
                      <a:pt x="44" y="47"/>
                    </a:cubicBezTo>
                    <a:cubicBezTo>
                      <a:pt x="44" y="45"/>
                      <a:pt x="43" y="43"/>
                      <a:pt x="43" y="42"/>
                    </a:cubicBezTo>
                    <a:cubicBezTo>
                      <a:pt x="40" y="24"/>
                      <a:pt x="29" y="7"/>
                      <a:pt x="13"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21">
                <a:extLst>
                  <a:ext uri="{FF2B5EF4-FFF2-40B4-BE49-F238E27FC236}">
                    <a16:creationId xmlns:a16="http://schemas.microsoft.com/office/drawing/2014/main" id="{4BCCD866-529D-46A7-826F-1818046C47FB}"/>
                  </a:ext>
                </a:extLst>
              </p:cNvPr>
              <p:cNvSpPr>
                <a:spLocks/>
              </p:cNvSpPr>
              <p:nvPr/>
            </p:nvSpPr>
            <p:spPr bwMode="auto">
              <a:xfrm>
                <a:off x="708" y="279"/>
                <a:ext cx="150" cy="85"/>
              </a:xfrm>
              <a:custGeom>
                <a:avLst/>
                <a:gdLst>
                  <a:gd name="T0" fmla="*/ 31 w 63"/>
                  <a:gd name="T1" fmla="*/ 0 h 36"/>
                  <a:gd name="T2" fmla="*/ 29 w 63"/>
                  <a:gd name="T3" fmla="*/ 0 h 36"/>
                  <a:gd name="T4" fmla="*/ 0 w 63"/>
                  <a:gd name="T5" fmla="*/ 14 h 36"/>
                  <a:gd name="T6" fmla="*/ 0 w 63"/>
                  <a:gd name="T7" fmla="*/ 20 h 36"/>
                  <a:gd name="T8" fmla="*/ 30 w 63"/>
                  <a:gd name="T9" fmla="*/ 36 h 36"/>
                  <a:gd name="T10" fmla="*/ 31 w 63"/>
                  <a:gd name="T11" fmla="*/ 36 h 36"/>
                  <a:gd name="T12" fmla="*/ 63 w 63"/>
                  <a:gd name="T13" fmla="*/ 15 h 36"/>
                  <a:gd name="T14" fmla="*/ 31 w 63"/>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6">
                    <a:moveTo>
                      <a:pt x="31" y="0"/>
                    </a:moveTo>
                    <a:cubicBezTo>
                      <a:pt x="30" y="0"/>
                      <a:pt x="29" y="0"/>
                      <a:pt x="29" y="0"/>
                    </a:cubicBezTo>
                    <a:cubicBezTo>
                      <a:pt x="18" y="1"/>
                      <a:pt x="7" y="6"/>
                      <a:pt x="0" y="14"/>
                    </a:cubicBezTo>
                    <a:cubicBezTo>
                      <a:pt x="0" y="16"/>
                      <a:pt x="0" y="18"/>
                      <a:pt x="0" y="20"/>
                    </a:cubicBezTo>
                    <a:cubicBezTo>
                      <a:pt x="6" y="30"/>
                      <a:pt x="18" y="36"/>
                      <a:pt x="30" y="36"/>
                    </a:cubicBezTo>
                    <a:cubicBezTo>
                      <a:pt x="30" y="36"/>
                      <a:pt x="30" y="36"/>
                      <a:pt x="31" y="36"/>
                    </a:cubicBezTo>
                    <a:cubicBezTo>
                      <a:pt x="44" y="36"/>
                      <a:pt x="57" y="27"/>
                      <a:pt x="63" y="15"/>
                    </a:cubicBezTo>
                    <a:cubicBezTo>
                      <a:pt x="55" y="6"/>
                      <a:pt x="43" y="0"/>
                      <a:pt x="31"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22">
                <a:extLst>
                  <a:ext uri="{FF2B5EF4-FFF2-40B4-BE49-F238E27FC236}">
                    <a16:creationId xmlns:a16="http://schemas.microsoft.com/office/drawing/2014/main" id="{7D4007A8-364D-41F0-9404-518BA1D5B6BA}"/>
                  </a:ext>
                </a:extLst>
              </p:cNvPr>
              <p:cNvSpPr>
                <a:spLocks/>
              </p:cNvSpPr>
              <p:nvPr/>
            </p:nvSpPr>
            <p:spPr bwMode="auto">
              <a:xfrm>
                <a:off x="699" y="317"/>
                <a:ext cx="2" cy="7"/>
              </a:xfrm>
              <a:custGeom>
                <a:avLst/>
                <a:gdLst>
                  <a:gd name="T0" fmla="*/ 1 w 1"/>
                  <a:gd name="T1" fmla="*/ 0 h 3"/>
                  <a:gd name="T2" fmla="*/ 0 w 1"/>
                  <a:gd name="T3" fmla="*/ 3 h 3"/>
                  <a:gd name="T4" fmla="*/ 1 w 1"/>
                  <a:gd name="T5" fmla="*/ 1 h 3"/>
                  <a:gd name="T6" fmla="*/ 1 w 1"/>
                  <a:gd name="T7" fmla="*/ 0 h 3"/>
                </a:gdLst>
                <a:ahLst/>
                <a:cxnLst>
                  <a:cxn ang="0">
                    <a:pos x="T0" y="T1"/>
                  </a:cxn>
                  <a:cxn ang="0">
                    <a:pos x="T2" y="T3"/>
                  </a:cxn>
                  <a:cxn ang="0">
                    <a:pos x="T4" y="T5"/>
                  </a:cxn>
                  <a:cxn ang="0">
                    <a:pos x="T6" y="T7"/>
                  </a:cxn>
                </a:cxnLst>
                <a:rect l="0" t="0" r="r" b="b"/>
                <a:pathLst>
                  <a:path w="1" h="3">
                    <a:moveTo>
                      <a:pt x="1" y="0"/>
                    </a:moveTo>
                    <a:cubicBezTo>
                      <a:pt x="0" y="3"/>
                      <a:pt x="0" y="3"/>
                      <a:pt x="0" y="3"/>
                    </a:cubicBezTo>
                    <a:cubicBezTo>
                      <a:pt x="1" y="2"/>
                      <a:pt x="1" y="1"/>
                      <a:pt x="1" y="1"/>
                    </a:cubicBezTo>
                    <a:cubicBezTo>
                      <a:pt x="1" y="1"/>
                      <a:pt x="1" y="1"/>
                      <a:pt x="1"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23">
                <a:extLst>
                  <a:ext uri="{FF2B5EF4-FFF2-40B4-BE49-F238E27FC236}">
                    <a16:creationId xmlns:a16="http://schemas.microsoft.com/office/drawing/2014/main" id="{B642ADAA-7D25-4805-881C-CCB7CF297784}"/>
                  </a:ext>
                </a:extLst>
              </p:cNvPr>
              <p:cNvSpPr>
                <a:spLocks/>
              </p:cNvSpPr>
              <p:nvPr/>
            </p:nvSpPr>
            <p:spPr bwMode="auto">
              <a:xfrm>
                <a:off x="701" y="319"/>
                <a:ext cx="3"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1" y="0"/>
                    </a:cubicBezTo>
                    <a:cubicBezTo>
                      <a:pt x="1" y="0"/>
                      <a:pt x="1" y="0"/>
                      <a:pt x="1"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24">
                <a:extLst>
                  <a:ext uri="{FF2B5EF4-FFF2-40B4-BE49-F238E27FC236}">
                    <a16:creationId xmlns:a16="http://schemas.microsoft.com/office/drawing/2014/main" id="{4118AA8F-AE00-4F70-98CD-224E423C7F55}"/>
                  </a:ext>
                </a:extLst>
              </p:cNvPr>
              <p:cNvSpPr>
                <a:spLocks/>
              </p:cNvSpPr>
              <p:nvPr/>
            </p:nvSpPr>
            <p:spPr bwMode="auto">
              <a:xfrm>
                <a:off x="573" y="122"/>
                <a:ext cx="169" cy="109"/>
              </a:xfrm>
              <a:custGeom>
                <a:avLst/>
                <a:gdLst>
                  <a:gd name="T0" fmla="*/ 17 w 71"/>
                  <a:gd name="T1" fmla="*/ 0 h 46"/>
                  <a:gd name="T2" fmla="*/ 0 w 71"/>
                  <a:gd name="T3" fmla="*/ 1 h 46"/>
                  <a:gd name="T4" fmla="*/ 25 w 71"/>
                  <a:gd name="T5" fmla="*/ 38 h 46"/>
                  <a:gd name="T6" fmla="*/ 54 w 71"/>
                  <a:gd name="T7" fmla="*/ 46 h 46"/>
                  <a:gd name="T8" fmla="*/ 68 w 71"/>
                  <a:gd name="T9" fmla="*/ 44 h 46"/>
                  <a:gd name="T10" fmla="*/ 70 w 71"/>
                  <a:gd name="T11" fmla="*/ 42 h 46"/>
                  <a:gd name="T12" fmla="*/ 71 w 71"/>
                  <a:gd name="T13" fmla="*/ 36 h 46"/>
                  <a:gd name="T14" fmla="*/ 62 w 71"/>
                  <a:gd name="T15" fmla="*/ 16 h 46"/>
                  <a:gd name="T16" fmla="*/ 33 w 71"/>
                  <a:gd name="T17" fmla="*/ 1 h 46"/>
                  <a:gd name="T18" fmla="*/ 17 w 71"/>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46">
                    <a:moveTo>
                      <a:pt x="17" y="0"/>
                    </a:moveTo>
                    <a:cubicBezTo>
                      <a:pt x="11" y="0"/>
                      <a:pt x="6" y="0"/>
                      <a:pt x="0" y="1"/>
                    </a:cubicBezTo>
                    <a:cubicBezTo>
                      <a:pt x="3" y="16"/>
                      <a:pt x="12" y="30"/>
                      <a:pt x="25" y="38"/>
                    </a:cubicBezTo>
                    <a:cubicBezTo>
                      <a:pt x="34" y="43"/>
                      <a:pt x="44" y="46"/>
                      <a:pt x="54" y="46"/>
                    </a:cubicBezTo>
                    <a:cubicBezTo>
                      <a:pt x="59" y="46"/>
                      <a:pt x="63" y="45"/>
                      <a:pt x="68" y="44"/>
                    </a:cubicBezTo>
                    <a:cubicBezTo>
                      <a:pt x="69" y="43"/>
                      <a:pt x="69" y="42"/>
                      <a:pt x="70" y="42"/>
                    </a:cubicBezTo>
                    <a:cubicBezTo>
                      <a:pt x="71" y="40"/>
                      <a:pt x="71" y="38"/>
                      <a:pt x="71" y="36"/>
                    </a:cubicBezTo>
                    <a:cubicBezTo>
                      <a:pt x="71" y="28"/>
                      <a:pt x="68" y="21"/>
                      <a:pt x="62" y="16"/>
                    </a:cubicBezTo>
                    <a:cubicBezTo>
                      <a:pt x="55" y="8"/>
                      <a:pt x="44" y="3"/>
                      <a:pt x="33" y="1"/>
                    </a:cubicBezTo>
                    <a:cubicBezTo>
                      <a:pt x="28" y="0"/>
                      <a:pt x="22" y="0"/>
                      <a:pt x="17"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25">
                <a:extLst>
                  <a:ext uri="{FF2B5EF4-FFF2-40B4-BE49-F238E27FC236}">
                    <a16:creationId xmlns:a16="http://schemas.microsoft.com/office/drawing/2014/main" id="{87128ED1-7000-43D5-A027-2C5ED2E62653}"/>
                  </a:ext>
                </a:extLst>
              </p:cNvPr>
              <p:cNvSpPr>
                <a:spLocks noEditPoints="1"/>
              </p:cNvSpPr>
              <p:nvPr/>
            </p:nvSpPr>
            <p:spPr bwMode="auto">
              <a:xfrm>
                <a:off x="775" y="37"/>
                <a:ext cx="88" cy="166"/>
              </a:xfrm>
              <a:custGeom>
                <a:avLst/>
                <a:gdLst>
                  <a:gd name="T0" fmla="*/ 18 w 37"/>
                  <a:gd name="T1" fmla="*/ 69 h 70"/>
                  <a:gd name="T2" fmla="*/ 24 w 37"/>
                  <a:gd name="T3" fmla="*/ 70 h 70"/>
                  <a:gd name="T4" fmla="*/ 24 w 37"/>
                  <a:gd name="T5" fmla="*/ 70 h 70"/>
                  <a:gd name="T6" fmla="*/ 18 w 37"/>
                  <a:gd name="T7" fmla="*/ 69 h 70"/>
                  <a:gd name="T8" fmla="*/ 16 w 37"/>
                  <a:gd name="T9" fmla="*/ 0 h 70"/>
                  <a:gd name="T10" fmla="*/ 0 w 37"/>
                  <a:gd name="T11" fmla="*/ 34 h 70"/>
                  <a:gd name="T12" fmla="*/ 0 w 37"/>
                  <a:gd name="T13" fmla="*/ 34 h 70"/>
                  <a:gd name="T14" fmla="*/ 14 w 37"/>
                  <a:gd name="T15" fmla="*/ 67 h 70"/>
                  <a:gd name="T16" fmla="*/ 28 w 37"/>
                  <a:gd name="T17" fmla="*/ 69 h 70"/>
                  <a:gd name="T18" fmla="*/ 36 w 37"/>
                  <a:gd name="T19" fmla="*/ 59 h 70"/>
                  <a:gd name="T20" fmla="*/ 37 w 37"/>
                  <a:gd name="T21" fmla="*/ 51 h 70"/>
                  <a:gd name="T22" fmla="*/ 36 w 37"/>
                  <a:gd name="T23" fmla="*/ 42 h 70"/>
                  <a:gd name="T24" fmla="*/ 16 w 37"/>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0">
                    <a:moveTo>
                      <a:pt x="18" y="69"/>
                    </a:moveTo>
                    <a:cubicBezTo>
                      <a:pt x="24" y="70"/>
                      <a:pt x="24" y="70"/>
                      <a:pt x="24" y="70"/>
                    </a:cubicBezTo>
                    <a:cubicBezTo>
                      <a:pt x="24" y="70"/>
                      <a:pt x="24" y="70"/>
                      <a:pt x="24" y="70"/>
                    </a:cubicBezTo>
                    <a:cubicBezTo>
                      <a:pt x="22" y="69"/>
                      <a:pt x="20" y="69"/>
                      <a:pt x="18" y="69"/>
                    </a:cubicBezTo>
                    <a:moveTo>
                      <a:pt x="16" y="0"/>
                    </a:moveTo>
                    <a:cubicBezTo>
                      <a:pt x="6" y="8"/>
                      <a:pt x="0" y="21"/>
                      <a:pt x="0" y="34"/>
                    </a:cubicBezTo>
                    <a:cubicBezTo>
                      <a:pt x="0" y="34"/>
                      <a:pt x="0" y="34"/>
                      <a:pt x="0" y="34"/>
                    </a:cubicBezTo>
                    <a:cubicBezTo>
                      <a:pt x="0" y="47"/>
                      <a:pt x="6" y="59"/>
                      <a:pt x="14" y="67"/>
                    </a:cubicBezTo>
                    <a:cubicBezTo>
                      <a:pt x="19" y="67"/>
                      <a:pt x="23" y="68"/>
                      <a:pt x="28" y="69"/>
                    </a:cubicBezTo>
                    <a:cubicBezTo>
                      <a:pt x="31" y="67"/>
                      <a:pt x="34" y="63"/>
                      <a:pt x="36" y="59"/>
                    </a:cubicBezTo>
                    <a:cubicBezTo>
                      <a:pt x="37" y="56"/>
                      <a:pt x="37" y="53"/>
                      <a:pt x="37" y="51"/>
                    </a:cubicBezTo>
                    <a:cubicBezTo>
                      <a:pt x="37" y="48"/>
                      <a:pt x="36" y="45"/>
                      <a:pt x="36" y="42"/>
                    </a:cubicBezTo>
                    <a:cubicBezTo>
                      <a:pt x="33" y="26"/>
                      <a:pt x="26" y="12"/>
                      <a:pt x="16"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26">
                <a:extLst>
                  <a:ext uri="{FF2B5EF4-FFF2-40B4-BE49-F238E27FC236}">
                    <a16:creationId xmlns:a16="http://schemas.microsoft.com/office/drawing/2014/main" id="{2066CFB9-1BC6-41ED-B7B3-A4899AC6B612}"/>
                  </a:ext>
                </a:extLst>
              </p:cNvPr>
              <p:cNvSpPr>
                <a:spLocks/>
              </p:cNvSpPr>
              <p:nvPr/>
            </p:nvSpPr>
            <p:spPr bwMode="auto">
              <a:xfrm>
                <a:off x="521" y="196"/>
                <a:ext cx="427" cy="572"/>
              </a:xfrm>
              <a:custGeom>
                <a:avLst/>
                <a:gdLst>
                  <a:gd name="T0" fmla="*/ 178 w 180"/>
                  <a:gd name="T1" fmla="*/ 102 h 241"/>
                  <a:gd name="T2" fmla="*/ 178 w 180"/>
                  <a:gd name="T3" fmla="*/ 101 h 241"/>
                  <a:gd name="T4" fmla="*/ 178 w 180"/>
                  <a:gd name="T5" fmla="*/ 98 h 241"/>
                  <a:gd name="T6" fmla="*/ 179 w 180"/>
                  <a:gd name="T7" fmla="*/ 85 h 241"/>
                  <a:gd name="T8" fmla="*/ 172 w 180"/>
                  <a:gd name="T9" fmla="*/ 40 h 241"/>
                  <a:gd name="T10" fmla="*/ 153 w 180"/>
                  <a:gd name="T11" fmla="*/ 14 h 241"/>
                  <a:gd name="T12" fmla="*/ 120 w 180"/>
                  <a:gd name="T13" fmla="*/ 2 h 241"/>
                  <a:gd name="T14" fmla="*/ 102 w 180"/>
                  <a:gd name="T15" fmla="*/ 7 h 241"/>
                  <a:gd name="T16" fmla="*/ 87 w 180"/>
                  <a:gd name="T17" fmla="*/ 20 h 241"/>
                  <a:gd name="T18" fmla="*/ 79 w 180"/>
                  <a:gd name="T19" fmla="*/ 62 h 241"/>
                  <a:gd name="T20" fmla="*/ 80 w 180"/>
                  <a:gd name="T21" fmla="*/ 106 h 241"/>
                  <a:gd name="T22" fmla="*/ 74 w 180"/>
                  <a:gd name="T23" fmla="*/ 126 h 241"/>
                  <a:gd name="T24" fmla="*/ 62 w 180"/>
                  <a:gd name="T25" fmla="*/ 142 h 241"/>
                  <a:gd name="T26" fmla="*/ 45 w 180"/>
                  <a:gd name="T27" fmla="*/ 151 h 241"/>
                  <a:gd name="T28" fmla="*/ 29 w 180"/>
                  <a:gd name="T29" fmla="*/ 158 h 241"/>
                  <a:gd name="T30" fmla="*/ 8 w 180"/>
                  <a:gd name="T31" fmla="*/ 181 h 241"/>
                  <a:gd name="T32" fmla="*/ 2 w 180"/>
                  <a:gd name="T33" fmla="*/ 207 h 241"/>
                  <a:gd name="T34" fmla="*/ 5 w 180"/>
                  <a:gd name="T35" fmla="*/ 226 h 241"/>
                  <a:gd name="T36" fmla="*/ 12 w 180"/>
                  <a:gd name="T37" fmla="*/ 241 h 241"/>
                  <a:gd name="T38" fmla="*/ 12 w 180"/>
                  <a:gd name="T39" fmla="*/ 240 h 241"/>
                  <a:gd name="T40" fmla="*/ 10 w 180"/>
                  <a:gd name="T41" fmla="*/ 238 h 241"/>
                  <a:gd name="T42" fmla="*/ 4 w 180"/>
                  <a:gd name="T43" fmla="*/ 226 h 241"/>
                  <a:gd name="T44" fmla="*/ 0 w 180"/>
                  <a:gd name="T45" fmla="*/ 207 h 241"/>
                  <a:gd name="T46" fmla="*/ 6 w 180"/>
                  <a:gd name="T47" fmla="*/ 181 h 241"/>
                  <a:gd name="T48" fmla="*/ 28 w 180"/>
                  <a:gd name="T49" fmla="*/ 157 h 241"/>
                  <a:gd name="T50" fmla="*/ 61 w 180"/>
                  <a:gd name="T51" fmla="*/ 141 h 241"/>
                  <a:gd name="T52" fmla="*/ 78 w 180"/>
                  <a:gd name="T53" fmla="*/ 106 h 241"/>
                  <a:gd name="T54" fmla="*/ 77 w 180"/>
                  <a:gd name="T55" fmla="*/ 62 h 241"/>
                  <a:gd name="T56" fmla="*/ 85 w 180"/>
                  <a:gd name="T57" fmla="*/ 19 h 241"/>
                  <a:gd name="T58" fmla="*/ 101 w 180"/>
                  <a:gd name="T59" fmla="*/ 5 h 241"/>
                  <a:gd name="T60" fmla="*/ 120 w 180"/>
                  <a:gd name="T61" fmla="*/ 0 h 241"/>
                  <a:gd name="T62" fmla="*/ 155 w 180"/>
                  <a:gd name="T63" fmla="*/ 13 h 241"/>
                  <a:gd name="T64" fmla="*/ 173 w 180"/>
                  <a:gd name="T65" fmla="*/ 39 h 241"/>
                  <a:gd name="T66" fmla="*/ 179 w 180"/>
                  <a:gd name="T67" fmla="*/ 65 h 241"/>
                  <a:gd name="T68" fmla="*/ 180 w 180"/>
                  <a:gd name="T69" fmla="*/ 85 h 241"/>
                  <a:gd name="T70" fmla="*/ 179 w 180"/>
                  <a:gd name="T71" fmla="*/ 98 h 241"/>
                  <a:gd name="T72" fmla="*/ 179 w 180"/>
                  <a:gd name="T73" fmla="*/ 101 h 241"/>
                  <a:gd name="T74" fmla="*/ 178 w 180"/>
                  <a:gd name="T75" fmla="*/ 10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241">
                    <a:moveTo>
                      <a:pt x="178" y="102"/>
                    </a:moveTo>
                    <a:cubicBezTo>
                      <a:pt x="178" y="102"/>
                      <a:pt x="178" y="102"/>
                      <a:pt x="178" y="101"/>
                    </a:cubicBezTo>
                    <a:cubicBezTo>
                      <a:pt x="178" y="100"/>
                      <a:pt x="178" y="99"/>
                      <a:pt x="178" y="98"/>
                    </a:cubicBezTo>
                    <a:cubicBezTo>
                      <a:pt x="179" y="95"/>
                      <a:pt x="179" y="91"/>
                      <a:pt x="179" y="85"/>
                    </a:cubicBezTo>
                    <a:cubicBezTo>
                      <a:pt x="179" y="74"/>
                      <a:pt x="179" y="58"/>
                      <a:pt x="172" y="40"/>
                    </a:cubicBezTo>
                    <a:cubicBezTo>
                      <a:pt x="168" y="31"/>
                      <a:pt x="162" y="22"/>
                      <a:pt x="153" y="14"/>
                    </a:cubicBezTo>
                    <a:cubicBezTo>
                      <a:pt x="145" y="7"/>
                      <a:pt x="133" y="2"/>
                      <a:pt x="120" y="2"/>
                    </a:cubicBezTo>
                    <a:cubicBezTo>
                      <a:pt x="114" y="2"/>
                      <a:pt x="107" y="3"/>
                      <a:pt x="102" y="7"/>
                    </a:cubicBezTo>
                    <a:cubicBezTo>
                      <a:pt x="96" y="10"/>
                      <a:pt x="91" y="15"/>
                      <a:pt x="87" y="20"/>
                    </a:cubicBezTo>
                    <a:cubicBezTo>
                      <a:pt x="80" y="32"/>
                      <a:pt x="78" y="47"/>
                      <a:pt x="79" y="62"/>
                    </a:cubicBezTo>
                    <a:cubicBezTo>
                      <a:pt x="79" y="77"/>
                      <a:pt x="81" y="92"/>
                      <a:pt x="80" y="106"/>
                    </a:cubicBezTo>
                    <a:cubicBezTo>
                      <a:pt x="79" y="113"/>
                      <a:pt x="77" y="120"/>
                      <a:pt x="74" y="126"/>
                    </a:cubicBezTo>
                    <a:cubicBezTo>
                      <a:pt x="71" y="133"/>
                      <a:pt x="67" y="138"/>
                      <a:pt x="62" y="142"/>
                    </a:cubicBezTo>
                    <a:cubicBezTo>
                      <a:pt x="57" y="146"/>
                      <a:pt x="51" y="149"/>
                      <a:pt x="45" y="151"/>
                    </a:cubicBezTo>
                    <a:cubicBezTo>
                      <a:pt x="39" y="153"/>
                      <a:pt x="34" y="155"/>
                      <a:pt x="29" y="158"/>
                    </a:cubicBezTo>
                    <a:cubicBezTo>
                      <a:pt x="19" y="164"/>
                      <a:pt x="12" y="173"/>
                      <a:pt x="8" y="181"/>
                    </a:cubicBezTo>
                    <a:cubicBezTo>
                      <a:pt x="3" y="190"/>
                      <a:pt x="2" y="199"/>
                      <a:pt x="2" y="207"/>
                    </a:cubicBezTo>
                    <a:cubicBezTo>
                      <a:pt x="1" y="214"/>
                      <a:pt x="3" y="221"/>
                      <a:pt x="5" y="226"/>
                    </a:cubicBezTo>
                    <a:cubicBezTo>
                      <a:pt x="8" y="236"/>
                      <a:pt x="13" y="241"/>
                      <a:pt x="12" y="241"/>
                    </a:cubicBezTo>
                    <a:cubicBezTo>
                      <a:pt x="12" y="241"/>
                      <a:pt x="12" y="241"/>
                      <a:pt x="12" y="240"/>
                    </a:cubicBezTo>
                    <a:cubicBezTo>
                      <a:pt x="11" y="240"/>
                      <a:pt x="10" y="239"/>
                      <a:pt x="10" y="238"/>
                    </a:cubicBezTo>
                    <a:cubicBezTo>
                      <a:pt x="8" y="235"/>
                      <a:pt x="6" y="232"/>
                      <a:pt x="4" y="226"/>
                    </a:cubicBezTo>
                    <a:cubicBezTo>
                      <a:pt x="2" y="221"/>
                      <a:pt x="0" y="214"/>
                      <a:pt x="0" y="207"/>
                    </a:cubicBezTo>
                    <a:cubicBezTo>
                      <a:pt x="0" y="199"/>
                      <a:pt x="2" y="190"/>
                      <a:pt x="6" y="181"/>
                    </a:cubicBezTo>
                    <a:cubicBezTo>
                      <a:pt x="11" y="172"/>
                      <a:pt x="18" y="163"/>
                      <a:pt x="28" y="157"/>
                    </a:cubicBezTo>
                    <a:cubicBezTo>
                      <a:pt x="38" y="150"/>
                      <a:pt x="51" y="149"/>
                      <a:pt x="61" y="141"/>
                    </a:cubicBezTo>
                    <a:cubicBezTo>
                      <a:pt x="71" y="133"/>
                      <a:pt x="76" y="119"/>
                      <a:pt x="78" y="106"/>
                    </a:cubicBezTo>
                    <a:cubicBezTo>
                      <a:pt x="79" y="92"/>
                      <a:pt x="77" y="77"/>
                      <a:pt x="77" y="62"/>
                    </a:cubicBezTo>
                    <a:cubicBezTo>
                      <a:pt x="76" y="47"/>
                      <a:pt x="78" y="32"/>
                      <a:pt x="85" y="19"/>
                    </a:cubicBezTo>
                    <a:cubicBezTo>
                      <a:pt x="89" y="13"/>
                      <a:pt x="94" y="8"/>
                      <a:pt x="101" y="5"/>
                    </a:cubicBezTo>
                    <a:cubicBezTo>
                      <a:pt x="107" y="1"/>
                      <a:pt x="114" y="0"/>
                      <a:pt x="120" y="0"/>
                    </a:cubicBezTo>
                    <a:cubicBezTo>
                      <a:pt x="134" y="0"/>
                      <a:pt x="146" y="5"/>
                      <a:pt x="155" y="13"/>
                    </a:cubicBezTo>
                    <a:cubicBezTo>
                      <a:pt x="163" y="20"/>
                      <a:pt x="169" y="30"/>
                      <a:pt x="173" y="39"/>
                    </a:cubicBezTo>
                    <a:cubicBezTo>
                      <a:pt x="177" y="48"/>
                      <a:pt x="178" y="57"/>
                      <a:pt x="179" y="65"/>
                    </a:cubicBezTo>
                    <a:cubicBezTo>
                      <a:pt x="180" y="73"/>
                      <a:pt x="180" y="80"/>
                      <a:pt x="180" y="85"/>
                    </a:cubicBezTo>
                    <a:cubicBezTo>
                      <a:pt x="180" y="91"/>
                      <a:pt x="179" y="95"/>
                      <a:pt x="179" y="98"/>
                    </a:cubicBezTo>
                    <a:cubicBezTo>
                      <a:pt x="179" y="99"/>
                      <a:pt x="179" y="100"/>
                      <a:pt x="179" y="101"/>
                    </a:cubicBezTo>
                    <a:cubicBezTo>
                      <a:pt x="178" y="102"/>
                      <a:pt x="178" y="102"/>
                      <a:pt x="178" y="10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7">
                <a:extLst>
                  <a:ext uri="{FF2B5EF4-FFF2-40B4-BE49-F238E27FC236}">
                    <a16:creationId xmlns:a16="http://schemas.microsoft.com/office/drawing/2014/main" id="{F6B36AA7-E2AF-43CB-8787-284A65F612BA}"/>
                  </a:ext>
                </a:extLst>
              </p:cNvPr>
              <p:cNvSpPr>
                <a:spLocks/>
              </p:cNvSpPr>
              <p:nvPr/>
            </p:nvSpPr>
            <p:spPr bwMode="auto">
              <a:xfrm>
                <a:off x="521" y="196"/>
                <a:ext cx="427" cy="572"/>
              </a:xfrm>
              <a:custGeom>
                <a:avLst/>
                <a:gdLst>
                  <a:gd name="T0" fmla="*/ 121 w 180"/>
                  <a:gd name="T1" fmla="*/ 0 h 241"/>
                  <a:gd name="T2" fmla="*/ 120 w 180"/>
                  <a:gd name="T3" fmla="*/ 0 h 241"/>
                  <a:gd name="T4" fmla="*/ 101 w 180"/>
                  <a:gd name="T5" fmla="*/ 5 h 241"/>
                  <a:gd name="T6" fmla="*/ 92 w 180"/>
                  <a:gd name="T7" fmla="*/ 11 h 241"/>
                  <a:gd name="T8" fmla="*/ 90 w 180"/>
                  <a:gd name="T9" fmla="*/ 13 h 241"/>
                  <a:gd name="T10" fmla="*/ 85 w 180"/>
                  <a:gd name="T11" fmla="*/ 19 h 241"/>
                  <a:gd name="T12" fmla="*/ 76 w 180"/>
                  <a:gd name="T13" fmla="*/ 57 h 241"/>
                  <a:gd name="T14" fmla="*/ 77 w 180"/>
                  <a:gd name="T15" fmla="*/ 62 h 241"/>
                  <a:gd name="T16" fmla="*/ 78 w 180"/>
                  <a:gd name="T17" fmla="*/ 94 h 241"/>
                  <a:gd name="T18" fmla="*/ 78 w 180"/>
                  <a:gd name="T19" fmla="*/ 106 h 241"/>
                  <a:gd name="T20" fmla="*/ 61 w 180"/>
                  <a:gd name="T21" fmla="*/ 141 h 241"/>
                  <a:gd name="T22" fmla="*/ 44 w 180"/>
                  <a:gd name="T23" fmla="*/ 149 h 241"/>
                  <a:gd name="T24" fmla="*/ 38 w 180"/>
                  <a:gd name="T25" fmla="*/ 152 h 241"/>
                  <a:gd name="T26" fmla="*/ 28 w 180"/>
                  <a:gd name="T27" fmla="*/ 157 h 241"/>
                  <a:gd name="T28" fmla="*/ 6 w 180"/>
                  <a:gd name="T29" fmla="*/ 181 h 241"/>
                  <a:gd name="T30" fmla="*/ 0 w 180"/>
                  <a:gd name="T31" fmla="*/ 206 h 241"/>
                  <a:gd name="T32" fmla="*/ 0 w 180"/>
                  <a:gd name="T33" fmla="*/ 207 h 241"/>
                  <a:gd name="T34" fmla="*/ 4 w 180"/>
                  <a:gd name="T35" fmla="*/ 226 h 241"/>
                  <a:gd name="T36" fmla="*/ 10 w 180"/>
                  <a:gd name="T37" fmla="*/ 238 h 241"/>
                  <a:gd name="T38" fmla="*/ 12 w 180"/>
                  <a:gd name="T39" fmla="*/ 240 h 241"/>
                  <a:gd name="T40" fmla="*/ 12 w 180"/>
                  <a:gd name="T41" fmla="*/ 241 h 241"/>
                  <a:gd name="T42" fmla="*/ 12 w 180"/>
                  <a:gd name="T43" fmla="*/ 241 h 241"/>
                  <a:gd name="T44" fmla="*/ 12 w 180"/>
                  <a:gd name="T45" fmla="*/ 241 h 241"/>
                  <a:gd name="T46" fmla="*/ 5 w 180"/>
                  <a:gd name="T47" fmla="*/ 226 h 241"/>
                  <a:gd name="T48" fmla="*/ 2 w 180"/>
                  <a:gd name="T49" fmla="*/ 216 h 241"/>
                  <a:gd name="T50" fmla="*/ 2 w 180"/>
                  <a:gd name="T51" fmla="*/ 207 h 241"/>
                  <a:gd name="T52" fmla="*/ 2 w 180"/>
                  <a:gd name="T53" fmla="*/ 207 h 241"/>
                  <a:gd name="T54" fmla="*/ 8 w 180"/>
                  <a:gd name="T55" fmla="*/ 181 h 241"/>
                  <a:gd name="T56" fmla="*/ 29 w 180"/>
                  <a:gd name="T57" fmla="*/ 158 h 241"/>
                  <a:gd name="T58" fmla="*/ 45 w 180"/>
                  <a:gd name="T59" fmla="*/ 151 h 241"/>
                  <a:gd name="T60" fmla="*/ 62 w 180"/>
                  <a:gd name="T61" fmla="*/ 142 h 241"/>
                  <a:gd name="T62" fmla="*/ 74 w 180"/>
                  <a:gd name="T63" fmla="*/ 126 h 241"/>
                  <a:gd name="T64" fmla="*/ 80 w 180"/>
                  <a:gd name="T65" fmla="*/ 106 h 241"/>
                  <a:gd name="T66" fmla="*/ 80 w 180"/>
                  <a:gd name="T67" fmla="*/ 94 h 241"/>
                  <a:gd name="T68" fmla="*/ 79 w 180"/>
                  <a:gd name="T69" fmla="*/ 62 h 241"/>
                  <a:gd name="T70" fmla="*/ 79 w 180"/>
                  <a:gd name="T71" fmla="*/ 57 h 241"/>
                  <a:gd name="T72" fmla="*/ 87 w 180"/>
                  <a:gd name="T73" fmla="*/ 20 h 241"/>
                  <a:gd name="T74" fmla="*/ 102 w 180"/>
                  <a:gd name="T75" fmla="*/ 7 h 241"/>
                  <a:gd name="T76" fmla="*/ 120 w 180"/>
                  <a:gd name="T77" fmla="*/ 2 h 241"/>
                  <a:gd name="T78" fmla="*/ 121 w 180"/>
                  <a:gd name="T79" fmla="*/ 2 h 241"/>
                  <a:gd name="T80" fmla="*/ 153 w 180"/>
                  <a:gd name="T81" fmla="*/ 14 h 241"/>
                  <a:gd name="T82" fmla="*/ 172 w 180"/>
                  <a:gd name="T83" fmla="*/ 40 h 241"/>
                  <a:gd name="T84" fmla="*/ 179 w 180"/>
                  <a:gd name="T85" fmla="*/ 83 h 241"/>
                  <a:gd name="T86" fmla="*/ 179 w 180"/>
                  <a:gd name="T87" fmla="*/ 85 h 241"/>
                  <a:gd name="T88" fmla="*/ 179 w 180"/>
                  <a:gd name="T89" fmla="*/ 97 h 241"/>
                  <a:gd name="T90" fmla="*/ 178 w 180"/>
                  <a:gd name="T91" fmla="*/ 98 h 241"/>
                  <a:gd name="T92" fmla="*/ 178 w 180"/>
                  <a:gd name="T93" fmla="*/ 101 h 241"/>
                  <a:gd name="T94" fmla="*/ 178 w 180"/>
                  <a:gd name="T95" fmla="*/ 102 h 241"/>
                  <a:gd name="T96" fmla="*/ 178 w 180"/>
                  <a:gd name="T97" fmla="*/ 102 h 241"/>
                  <a:gd name="T98" fmla="*/ 178 w 180"/>
                  <a:gd name="T99" fmla="*/ 102 h 241"/>
                  <a:gd name="T100" fmla="*/ 179 w 180"/>
                  <a:gd name="T101" fmla="*/ 101 h 241"/>
                  <a:gd name="T102" fmla="*/ 179 w 180"/>
                  <a:gd name="T103" fmla="*/ 98 h 241"/>
                  <a:gd name="T104" fmla="*/ 180 w 180"/>
                  <a:gd name="T105" fmla="*/ 85 h 241"/>
                  <a:gd name="T106" fmla="*/ 180 w 180"/>
                  <a:gd name="T107" fmla="*/ 79 h 241"/>
                  <a:gd name="T108" fmla="*/ 179 w 180"/>
                  <a:gd name="T109" fmla="*/ 65 h 241"/>
                  <a:gd name="T110" fmla="*/ 173 w 180"/>
                  <a:gd name="T111" fmla="*/ 39 h 241"/>
                  <a:gd name="T112" fmla="*/ 155 w 180"/>
                  <a:gd name="T113" fmla="*/ 13 h 241"/>
                  <a:gd name="T114" fmla="*/ 135 w 180"/>
                  <a:gd name="T115" fmla="*/ 2 h 241"/>
                  <a:gd name="T116" fmla="*/ 121 w 180"/>
                  <a:gd name="T117" fmla="*/ 0 h 241"/>
                  <a:gd name="T118" fmla="*/ 121 w 180"/>
                  <a:gd name="T11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41">
                    <a:moveTo>
                      <a:pt x="121" y="0"/>
                    </a:moveTo>
                    <a:cubicBezTo>
                      <a:pt x="121" y="0"/>
                      <a:pt x="121" y="0"/>
                      <a:pt x="120" y="0"/>
                    </a:cubicBezTo>
                    <a:cubicBezTo>
                      <a:pt x="114" y="0"/>
                      <a:pt x="107" y="1"/>
                      <a:pt x="101" y="5"/>
                    </a:cubicBezTo>
                    <a:cubicBezTo>
                      <a:pt x="98" y="6"/>
                      <a:pt x="95" y="8"/>
                      <a:pt x="92" y="11"/>
                    </a:cubicBezTo>
                    <a:cubicBezTo>
                      <a:pt x="91" y="11"/>
                      <a:pt x="91" y="12"/>
                      <a:pt x="90" y="13"/>
                    </a:cubicBezTo>
                    <a:cubicBezTo>
                      <a:pt x="88" y="15"/>
                      <a:pt x="87" y="17"/>
                      <a:pt x="85" y="19"/>
                    </a:cubicBezTo>
                    <a:cubicBezTo>
                      <a:pt x="79" y="30"/>
                      <a:pt x="76" y="43"/>
                      <a:pt x="76" y="57"/>
                    </a:cubicBezTo>
                    <a:cubicBezTo>
                      <a:pt x="76" y="58"/>
                      <a:pt x="76" y="60"/>
                      <a:pt x="77" y="62"/>
                    </a:cubicBezTo>
                    <a:cubicBezTo>
                      <a:pt x="77" y="73"/>
                      <a:pt x="78" y="84"/>
                      <a:pt x="78" y="94"/>
                    </a:cubicBezTo>
                    <a:cubicBezTo>
                      <a:pt x="78" y="98"/>
                      <a:pt x="78" y="102"/>
                      <a:pt x="78" y="106"/>
                    </a:cubicBezTo>
                    <a:cubicBezTo>
                      <a:pt x="76" y="119"/>
                      <a:pt x="71" y="133"/>
                      <a:pt x="61" y="141"/>
                    </a:cubicBezTo>
                    <a:cubicBezTo>
                      <a:pt x="56" y="145"/>
                      <a:pt x="50" y="147"/>
                      <a:pt x="44" y="149"/>
                    </a:cubicBezTo>
                    <a:cubicBezTo>
                      <a:pt x="42" y="150"/>
                      <a:pt x="40" y="151"/>
                      <a:pt x="38" y="152"/>
                    </a:cubicBezTo>
                    <a:cubicBezTo>
                      <a:pt x="34" y="153"/>
                      <a:pt x="31" y="155"/>
                      <a:pt x="28" y="157"/>
                    </a:cubicBezTo>
                    <a:cubicBezTo>
                      <a:pt x="18" y="163"/>
                      <a:pt x="11" y="172"/>
                      <a:pt x="6" y="181"/>
                    </a:cubicBezTo>
                    <a:cubicBezTo>
                      <a:pt x="2" y="189"/>
                      <a:pt x="0" y="198"/>
                      <a:pt x="0" y="206"/>
                    </a:cubicBezTo>
                    <a:cubicBezTo>
                      <a:pt x="0" y="206"/>
                      <a:pt x="0" y="206"/>
                      <a:pt x="0" y="207"/>
                    </a:cubicBezTo>
                    <a:cubicBezTo>
                      <a:pt x="0" y="214"/>
                      <a:pt x="2" y="221"/>
                      <a:pt x="4" y="226"/>
                    </a:cubicBezTo>
                    <a:cubicBezTo>
                      <a:pt x="6" y="232"/>
                      <a:pt x="8" y="235"/>
                      <a:pt x="10" y="238"/>
                    </a:cubicBezTo>
                    <a:cubicBezTo>
                      <a:pt x="10" y="239"/>
                      <a:pt x="11" y="240"/>
                      <a:pt x="12" y="240"/>
                    </a:cubicBezTo>
                    <a:cubicBezTo>
                      <a:pt x="12" y="241"/>
                      <a:pt x="12" y="241"/>
                      <a:pt x="12" y="241"/>
                    </a:cubicBezTo>
                    <a:cubicBezTo>
                      <a:pt x="12" y="241"/>
                      <a:pt x="12" y="241"/>
                      <a:pt x="12" y="241"/>
                    </a:cubicBezTo>
                    <a:cubicBezTo>
                      <a:pt x="12" y="241"/>
                      <a:pt x="12" y="241"/>
                      <a:pt x="12" y="241"/>
                    </a:cubicBezTo>
                    <a:cubicBezTo>
                      <a:pt x="12" y="241"/>
                      <a:pt x="8" y="236"/>
                      <a:pt x="5" y="226"/>
                    </a:cubicBezTo>
                    <a:cubicBezTo>
                      <a:pt x="4" y="223"/>
                      <a:pt x="3" y="220"/>
                      <a:pt x="2" y="216"/>
                    </a:cubicBezTo>
                    <a:cubicBezTo>
                      <a:pt x="2" y="213"/>
                      <a:pt x="2" y="210"/>
                      <a:pt x="2" y="207"/>
                    </a:cubicBezTo>
                    <a:cubicBezTo>
                      <a:pt x="2" y="207"/>
                      <a:pt x="2" y="207"/>
                      <a:pt x="2" y="207"/>
                    </a:cubicBezTo>
                    <a:cubicBezTo>
                      <a:pt x="2" y="199"/>
                      <a:pt x="3" y="190"/>
                      <a:pt x="8" y="181"/>
                    </a:cubicBezTo>
                    <a:cubicBezTo>
                      <a:pt x="12" y="173"/>
                      <a:pt x="19" y="164"/>
                      <a:pt x="29" y="158"/>
                    </a:cubicBezTo>
                    <a:cubicBezTo>
                      <a:pt x="34" y="155"/>
                      <a:pt x="39" y="153"/>
                      <a:pt x="45" y="151"/>
                    </a:cubicBezTo>
                    <a:cubicBezTo>
                      <a:pt x="51" y="149"/>
                      <a:pt x="57" y="146"/>
                      <a:pt x="62" y="142"/>
                    </a:cubicBezTo>
                    <a:cubicBezTo>
                      <a:pt x="67" y="138"/>
                      <a:pt x="71" y="133"/>
                      <a:pt x="74" y="126"/>
                    </a:cubicBezTo>
                    <a:cubicBezTo>
                      <a:pt x="77" y="120"/>
                      <a:pt x="79" y="113"/>
                      <a:pt x="80" y="106"/>
                    </a:cubicBezTo>
                    <a:cubicBezTo>
                      <a:pt x="80" y="102"/>
                      <a:pt x="80" y="98"/>
                      <a:pt x="80" y="94"/>
                    </a:cubicBezTo>
                    <a:cubicBezTo>
                      <a:pt x="80" y="84"/>
                      <a:pt x="79" y="73"/>
                      <a:pt x="79" y="62"/>
                    </a:cubicBezTo>
                    <a:cubicBezTo>
                      <a:pt x="79" y="60"/>
                      <a:pt x="79" y="58"/>
                      <a:pt x="79" y="57"/>
                    </a:cubicBezTo>
                    <a:cubicBezTo>
                      <a:pt x="79" y="44"/>
                      <a:pt x="81" y="31"/>
                      <a:pt x="87" y="20"/>
                    </a:cubicBezTo>
                    <a:cubicBezTo>
                      <a:pt x="91" y="15"/>
                      <a:pt x="96" y="10"/>
                      <a:pt x="102" y="7"/>
                    </a:cubicBezTo>
                    <a:cubicBezTo>
                      <a:pt x="107" y="3"/>
                      <a:pt x="114" y="2"/>
                      <a:pt x="120" y="2"/>
                    </a:cubicBezTo>
                    <a:cubicBezTo>
                      <a:pt x="121" y="2"/>
                      <a:pt x="121" y="2"/>
                      <a:pt x="121" y="2"/>
                    </a:cubicBezTo>
                    <a:cubicBezTo>
                      <a:pt x="134" y="2"/>
                      <a:pt x="145" y="7"/>
                      <a:pt x="153" y="14"/>
                    </a:cubicBezTo>
                    <a:cubicBezTo>
                      <a:pt x="162" y="22"/>
                      <a:pt x="168" y="31"/>
                      <a:pt x="172" y="40"/>
                    </a:cubicBezTo>
                    <a:cubicBezTo>
                      <a:pt x="179" y="57"/>
                      <a:pt x="179" y="72"/>
                      <a:pt x="179" y="83"/>
                    </a:cubicBezTo>
                    <a:cubicBezTo>
                      <a:pt x="179" y="84"/>
                      <a:pt x="179" y="84"/>
                      <a:pt x="179" y="85"/>
                    </a:cubicBezTo>
                    <a:cubicBezTo>
                      <a:pt x="179" y="90"/>
                      <a:pt x="179" y="94"/>
                      <a:pt x="179" y="97"/>
                    </a:cubicBezTo>
                    <a:cubicBezTo>
                      <a:pt x="179" y="97"/>
                      <a:pt x="178" y="97"/>
                      <a:pt x="178" y="98"/>
                    </a:cubicBezTo>
                    <a:cubicBezTo>
                      <a:pt x="178" y="99"/>
                      <a:pt x="178" y="100"/>
                      <a:pt x="178" y="101"/>
                    </a:cubicBezTo>
                    <a:cubicBezTo>
                      <a:pt x="178" y="101"/>
                      <a:pt x="178" y="102"/>
                      <a:pt x="178" y="102"/>
                    </a:cubicBezTo>
                    <a:cubicBezTo>
                      <a:pt x="178" y="102"/>
                      <a:pt x="178" y="102"/>
                      <a:pt x="178" y="102"/>
                    </a:cubicBezTo>
                    <a:cubicBezTo>
                      <a:pt x="178" y="102"/>
                      <a:pt x="178" y="102"/>
                      <a:pt x="178" y="102"/>
                    </a:cubicBezTo>
                    <a:cubicBezTo>
                      <a:pt x="178" y="102"/>
                      <a:pt x="178" y="102"/>
                      <a:pt x="179" y="101"/>
                    </a:cubicBezTo>
                    <a:cubicBezTo>
                      <a:pt x="179" y="100"/>
                      <a:pt x="179" y="99"/>
                      <a:pt x="179" y="98"/>
                    </a:cubicBezTo>
                    <a:cubicBezTo>
                      <a:pt x="179" y="95"/>
                      <a:pt x="180" y="91"/>
                      <a:pt x="180" y="85"/>
                    </a:cubicBezTo>
                    <a:cubicBezTo>
                      <a:pt x="180" y="83"/>
                      <a:pt x="180" y="81"/>
                      <a:pt x="180" y="79"/>
                    </a:cubicBezTo>
                    <a:cubicBezTo>
                      <a:pt x="180" y="75"/>
                      <a:pt x="180" y="70"/>
                      <a:pt x="179" y="65"/>
                    </a:cubicBezTo>
                    <a:cubicBezTo>
                      <a:pt x="178" y="57"/>
                      <a:pt x="177" y="48"/>
                      <a:pt x="173" y="39"/>
                    </a:cubicBezTo>
                    <a:cubicBezTo>
                      <a:pt x="169" y="30"/>
                      <a:pt x="163" y="20"/>
                      <a:pt x="155" y="13"/>
                    </a:cubicBezTo>
                    <a:cubicBezTo>
                      <a:pt x="149" y="8"/>
                      <a:pt x="142" y="4"/>
                      <a:pt x="135" y="2"/>
                    </a:cubicBezTo>
                    <a:cubicBezTo>
                      <a:pt x="130" y="1"/>
                      <a:pt x="126" y="0"/>
                      <a:pt x="121" y="0"/>
                    </a:cubicBezTo>
                    <a:cubicBezTo>
                      <a:pt x="121" y="0"/>
                      <a:pt x="121" y="0"/>
                      <a:pt x="121"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28">
                <a:extLst>
                  <a:ext uri="{FF2B5EF4-FFF2-40B4-BE49-F238E27FC236}">
                    <a16:creationId xmlns:a16="http://schemas.microsoft.com/office/drawing/2014/main" id="{77C593C7-7967-45EE-A7C1-1854FA110BB9}"/>
                  </a:ext>
                </a:extLst>
              </p:cNvPr>
              <p:cNvSpPr>
                <a:spLocks/>
              </p:cNvSpPr>
              <p:nvPr/>
            </p:nvSpPr>
            <p:spPr bwMode="auto">
              <a:xfrm>
                <a:off x="1133" y="117"/>
                <a:ext cx="511" cy="309"/>
              </a:xfrm>
              <a:custGeom>
                <a:avLst/>
                <a:gdLst>
                  <a:gd name="T0" fmla="*/ 211 w 215"/>
                  <a:gd name="T1" fmla="*/ 99 h 130"/>
                  <a:gd name="T2" fmla="*/ 214 w 215"/>
                  <a:gd name="T3" fmla="*/ 85 h 130"/>
                  <a:gd name="T4" fmla="*/ 210 w 215"/>
                  <a:gd name="T5" fmla="*/ 68 h 130"/>
                  <a:gd name="T6" fmla="*/ 193 w 215"/>
                  <a:gd name="T7" fmla="*/ 52 h 130"/>
                  <a:gd name="T8" fmla="*/ 181 w 215"/>
                  <a:gd name="T9" fmla="*/ 49 h 130"/>
                  <a:gd name="T10" fmla="*/ 166 w 215"/>
                  <a:gd name="T11" fmla="*/ 50 h 130"/>
                  <a:gd name="T12" fmla="*/ 135 w 215"/>
                  <a:gd name="T13" fmla="*/ 61 h 130"/>
                  <a:gd name="T14" fmla="*/ 117 w 215"/>
                  <a:gd name="T15" fmla="*/ 60 h 130"/>
                  <a:gd name="T16" fmla="*/ 103 w 215"/>
                  <a:gd name="T17" fmla="*/ 49 h 130"/>
                  <a:gd name="T18" fmla="*/ 85 w 215"/>
                  <a:gd name="T19" fmla="*/ 14 h 130"/>
                  <a:gd name="T20" fmla="*/ 70 w 215"/>
                  <a:gd name="T21" fmla="*/ 4 h 130"/>
                  <a:gd name="T22" fmla="*/ 51 w 215"/>
                  <a:gd name="T23" fmla="*/ 2 h 130"/>
                  <a:gd name="T24" fmla="*/ 21 w 215"/>
                  <a:gd name="T25" fmla="*/ 18 h 130"/>
                  <a:gd name="T26" fmla="*/ 5 w 215"/>
                  <a:gd name="T27" fmla="*/ 46 h 130"/>
                  <a:gd name="T28" fmla="*/ 2 w 215"/>
                  <a:gd name="T29" fmla="*/ 74 h 130"/>
                  <a:gd name="T30" fmla="*/ 7 w 215"/>
                  <a:gd name="T31" fmla="*/ 115 h 130"/>
                  <a:gd name="T32" fmla="*/ 9 w 215"/>
                  <a:gd name="T33" fmla="*/ 126 h 130"/>
                  <a:gd name="T34" fmla="*/ 10 w 215"/>
                  <a:gd name="T35" fmla="*/ 129 h 130"/>
                  <a:gd name="T36" fmla="*/ 10 w 215"/>
                  <a:gd name="T37" fmla="*/ 130 h 130"/>
                  <a:gd name="T38" fmla="*/ 9 w 215"/>
                  <a:gd name="T39" fmla="*/ 129 h 130"/>
                  <a:gd name="T40" fmla="*/ 9 w 215"/>
                  <a:gd name="T41" fmla="*/ 126 h 130"/>
                  <a:gd name="T42" fmla="*/ 6 w 215"/>
                  <a:gd name="T43" fmla="*/ 115 h 130"/>
                  <a:gd name="T44" fmla="*/ 0 w 215"/>
                  <a:gd name="T45" fmla="*/ 74 h 130"/>
                  <a:gd name="T46" fmla="*/ 4 w 215"/>
                  <a:gd name="T47" fmla="*/ 46 h 130"/>
                  <a:gd name="T48" fmla="*/ 19 w 215"/>
                  <a:gd name="T49" fmla="*/ 17 h 130"/>
                  <a:gd name="T50" fmla="*/ 33 w 215"/>
                  <a:gd name="T51" fmla="*/ 6 h 130"/>
                  <a:gd name="T52" fmla="*/ 51 w 215"/>
                  <a:gd name="T53" fmla="*/ 0 h 130"/>
                  <a:gd name="T54" fmla="*/ 70 w 215"/>
                  <a:gd name="T55" fmla="*/ 2 h 130"/>
                  <a:gd name="T56" fmla="*/ 87 w 215"/>
                  <a:gd name="T57" fmla="*/ 13 h 130"/>
                  <a:gd name="T58" fmla="*/ 104 w 215"/>
                  <a:gd name="T59" fmla="*/ 48 h 130"/>
                  <a:gd name="T60" fmla="*/ 118 w 215"/>
                  <a:gd name="T61" fmla="*/ 58 h 130"/>
                  <a:gd name="T62" fmla="*/ 135 w 215"/>
                  <a:gd name="T63" fmla="*/ 59 h 130"/>
                  <a:gd name="T64" fmla="*/ 166 w 215"/>
                  <a:gd name="T65" fmla="*/ 49 h 130"/>
                  <a:gd name="T66" fmla="*/ 181 w 215"/>
                  <a:gd name="T67" fmla="*/ 47 h 130"/>
                  <a:gd name="T68" fmla="*/ 194 w 215"/>
                  <a:gd name="T69" fmla="*/ 51 h 130"/>
                  <a:gd name="T70" fmla="*/ 211 w 215"/>
                  <a:gd name="T71" fmla="*/ 67 h 130"/>
                  <a:gd name="T72" fmla="*/ 214 w 215"/>
                  <a:gd name="T73" fmla="*/ 85 h 130"/>
                  <a:gd name="T74" fmla="*/ 212 w 215"/>
                  <a:gd name="T75" fmla="*/ 96 h 130"/>
                  <a:gd name="T76" fmla="*/ 211 w 215"/>
                  <a:gd name="T77" fmla="*/ 9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130">
                    <a:moveTo>
                      <a:pt x="211" y="99"/>
                    </a:moveTo>
                    <a:cubicBezTo>
                      <a:pt x="210" y="99"/>
                      <a:pt x="213" y="95"/>
                      <a:pt x="214" y="85"/>
                    </a:cubicBezTo>
                    <a:cubicBezTo>
                      <a:pt x="214" y="80"/>
                      <a:pt x="213" y="74"/>
                      <a:pt x="210" y="68"/>
                    </a:cubicBezTo>
                    <a:cubicBezTo>
                      <a:pt x="207" y="62"/>
                      <a:pt x="201" y="56"/>
                      <a:pt x="193" y="52"/>
                    </a:cubicBezTo>
                    <a:cubicBezTo>
                      <a:pt x="190" y="50"/>
                      <a:pt x="185" y="49"/>
                      <a:pt x="181" y="49"/>
                    </a:cubicBezTo>
                    <a:cubicBezTo>
                      <a:pt x="176" y="48"/>
                      <a:pt x="171" y="49"/>
                      <a:pt x="166" y="50"/>
                    </a:cubicBezTo>
                    <a:cubicBezTo>
                      <a:pt x="157" y="53"/>
                      <a:pt x="147" y="59"/>
                      <a:pt x="135" y="61"/>
                    </a:cubicBezTo>
                    <a:cubicBezTo>
                      <a:pt x="130" y="62"/>
                      <a:pt x="123" y="62"/>
                      <a:pt x="117" y="60"/>
                    </a:cubicBezTo>
                    <a:cubicBezTo>
                      <a:pt x="111" y="59"/>
                      <a:pt x="106" y="54"/>
                      <a:pt x="103" y="49"/>
                    </a:cubicBezTo>
                    <a:cubicBezTo>
                      <a:pt x="96" y="38"/>
                      <a:pt x="94" y="24"/>
                      <a:pt x="85" y="14"/>
                    </a:cubicBezTo>
                    <a:cubicBezTo>
                      <a:pt x="81" y="10"/>
                      <a:pt x="76" y="6"/>
                      <a:pt x="70" y="4"/>
                    </a:cubicBezTo>
                    <a:cubicBezTo>
                      <a:pt x="64" y="2"/>
                      <a:pt x="57" y="2"/>
                      <a:pt x="51" y="2"/>
                    </a:cubicBezTo>
                    <a:cubicBezTo>
                      <a:pt x="39" y="3"/>
                      <a:pt x="28" y="10"/>
                      <a:pt x="21" y="18"/>
                    </a:cubicBezTo>
                    <a:cubicBezTo>
                      <a:pt x="13" y="27"/>
                      <a:pt x="8" y="37"/>
                      <a:pt x="5" y="46"/>
                    </a:cubicBezTo>
                    <a:cubicBezTo>
                      <a:pt x="3" y="56"/>
                      <a:pt x="2" y="66"/>
                      <a:pt x="2" y="74"/>
                    </a:cubicBezTo>
                    <a:cubicBezTo>
                      <a:pt x="3" y="91"/>
                      <a:pt x="6" y="105"/>
                      <a:pt x="7" y="115"/>
                    </a:cubicBezTo>
                    <a:cubicBezTo>
                      <a:pt x="8" y="120"/>
                      <a:pt x="9" y="123"/>
                      <a:pt x="9" y="126"/>
                    </a:cubicBezTo>
                    <a:cubicBezTo>
                      <a:pt x="9" y="127"/>
                      <a:pt x="9" y="128"/>
                      <a:pt x="10" y="129"/>
                    </a:cubicBezTo>
                    <a:cubicBezTo>
                      <a:pt x="10" y="129"/>
                      <a:pt x="10" y="130"/>
                      <a:pt x="10" y="130"/>
                    </a:cubicBezTo>
                    <a:cubicBezTo>
                      <a:pt x="10" y="130"/>
                      <a:pt x="9" y="130"/>
                      <a:pt x="9" y="129"/>
                    </a:cubicBezTo>
                    <a:cubicBezTo>
                      <a:pt x="9" y="128"/>
                      <a:pt x="9" y="127"/>
                      <a:pt x="9" y="126"/>
                    </a:cubicBezTo>
                    <a:cubicBezTo>
                      <a:pt x="8" y="123"/>
                      <a:pt x="7" y="120"/>
                      <a:pt x="6" y="115"/>
                    </a:cubicBezTo>
                    <a:cubicBezTo>
                      <a:pt x="5" y="106"/>
                      <a:pt x="1" y="92"/>
                      <a:pt x="0" y="74"/>
                    </a:cubicBezTo>
                    <a:cubicBezTo>
                      <a:pt x="0" y="65"/>
                      <a:pt x="1" y="56"/>
                      <a:pt x="4" y="46"/>
                    </a:cubicBezTo>
                    <a:cubicBezTo>
                      <a:pt x="7" y="36"/>
                      <a:pt x="11" y="26"/>
                      <a:pt x="19" y="17"/>
                    </a:cubicBezTo>
                    <a:cubicBezTo>
                      <a:pt x="23" y="13"/>
                      <a:pt x="28" y="9"/>
                      <a:pt x="33" y="6"/>
                    </a:cubicBezTo>
                    <a:cubicBezTo>
                      <a:pt x="39" y="3"/>
                      <a:pt x="45" y="1"/>
                      <a:pt x="51" y="0"/>
                    </a:cubicBezTo>
                    <a:cubicBezTo>
                      <a:pt x="57" y="0"/>
                      <a:pt x="64" y="0"/>
                      <a:pt x="70" y="2"/>
                    </a:cubicBezTo>
                    <a:cubicBezTo>
                      <a:pt x="77" y="4"/>
                      <a:pt x="83" y="8"/>
                      <a:pt x="87" y="13"/>
                    </a:cubicBezTo>
                    <a:cubicBezTo>
                      <a:pt x="96" y="24"/>
                      <a:pt x="98" y="37"/>
                      <a:pt x="104" y="48"/>
                    </a:cubicBezTo>
                    <a:cubicBezTo>
                      <a:pt x="108" y="53"/>
                      <a:pt x="112" y="57"/>
                      <a:pt x="118" y="58"/>
                    </a:cubicBezTo>
                    <a:cubicBezTo>
                      <a:pt x="123" y="60"/>
                      <a:pt x="129" y="60"/>
                      <a:pt x="135" y="59"/>
                    </a:cubicBezTo>
                    <a:cubicBezTo>
                      <a:pt x="146" y="57"/>
                      <a:pt x="156" y="51"/>
                      <a:pt x="166" y="49"/>
                    </a:cubicBezTo>
                    <a:cubicBezTo>
                      <a:pt x="171" y="47"/>
                      <a:pt x="176" y="47"/>
                      <a:pt x="181" y="47"/>
                    </a:cubicBezTo>
                    <a:cubicBezTo>
                      <a:pt x="186" y="48"/>
                      <a:pt x="190" y="49"/>
                      <a:pt x="194" y="51"/>
                    </a:cubicBezTo>
                    <a:cubicBezTo>
                      <a:pt x="202" y="55"/>
                      <a:pt x="208" y="61"/>
                      <a:pt x="211" y="67"/>
                    </a:cubicBezTo>
                    <a:cubicBezTo>
                      <a:pt x="214" y="74"/>
                      <a:pt x="215" y="80"/>
                      <a:pt x="214" y="85"/>
                    </a:cubicBezTo>
                    <a:cubicBezTo>
                      <a:pt x="214" y="90"/>
                      <a:pt x="213" y="93"/>
                      <a:pt x="212" y="96"/>
                    </a:cubicBezTo>
                    <a:cubicBezTo>
                      <a:pt x="211" y="98"/>
                      <a:pt x="211" y="99"/>
                      <a:pt x="211" y="9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29">
                <a:extLst>
                  <a:ext uri="{FF2B5EF4-FFF2-40B4-BE49-F238E27FC236}">
                    <a16:creationId xmlns:a16="http://schemas.microsoft.com/office/drawing/2014/main" id="{AF2AEAEF-AEE8-45FC-B075-E33E48C9BA4B}"/>
                  </a:ext>
                </a:extLst>
              </p:cNvPr>
              <p:cNvSpPr>
                <a:spLocks/>
              </p:cNvSpPr>
              <p:nvPr/>
            </p:nvSpPr>
            <p:spPr bwMode="auto">
              <a:xfrm>
                <a:off x="1354" y="106"/>
                <a:ext cx="131" cy="92"/>
              </a:xfrm>
              <a:custGeom>
                <a:avLst/>
                <a:gdLst>
                  <a:gd name="T0" fmla="*/ 1 w 55"/>
                  <a:gd name="T1" fmla="*/ 32 h 39"/>
                  <a:gd name="T2" fmla="*/ 37 w 55"/>
                  <a:gd name="T3" fmla="*/ 34 h 39"/>
                  <a:gd name="T4" fmla="*/ 55 w 55"/>
                  <a:gd name="T5" fmla="*/ 6 h 39"/>
                  <a:gd name="T6" fmla="*/ 22 w 55"/>
                  <a:gd name="T7" fmla="*/ 4 h 39"/>
                  <a:gd name="T8" fmla="*/ 0 w 55"/>
                  <a:gd name="T9" fmla="*/ 29 h 39"/>
                </a:gdLst>
                <a:ahLst/>
                <a:cxnLst>
                  <a:cxn ang="0">
                    <a:pos x="T0" y="T1"/>
                  </a:cxn>
                  <a:cxn ang="0">
                    <a:pos x="T2" y="T3"/>
                  </a:cxn>
                  <a:cxn ang="0">
                    <a:pos x="T4" y="T5"/>
                  </a:cxn>
                  <a:cxn ang="0">
                    <a:pos x="T6" y="T7"/>
                  </a:cxn>
                  <a:cxn ang="0">
                    <a:pos x="T8" y="T9"/>
                  </a:cxn>
                </a:cxnLst>
                <a:rect l="0" t="0" r="r" b="b"/>
                <a:pathLst>
                  <a:path w="55" h="39">
                    <a:moveTo>
                      <a:pt x="1" y="32"/>
                    </a:moveTo>
                    <a:cubicBezTo>
                      <a:pt x="12" y="39"/>
                      <a:pt x="27" y="39"/>
                      <a:pt x="37" y="34"/>
                    </a:cubicBezTo>
                    <a:cubicBezTo>
                      <a:pt x="46" y="29"/>
                      <a:pt x="53" y="19"/>
                      <a:pt x="55" y="6"/>
                    </a:cubicBezTo>
                    <a:cubicBezTo>
                      <a:pt x="44" y="1"/>
                      <a:pt x="32" y="0"/>
                      <a:pt x="22" y="4"/>
                    </a:cubicBezTo>
                    <a:cubicBezTo>
                      <a:pt x="12" y="8"/>
                      <a:pt x="4" y="17"/>
                      <a:pt x="0" y="2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30">
                <a:extLst>
                  <a:ext uri="{FF2B5EF4-FFF2-40B4-BE49-F238E27FC236}">
                    <a16:creationId xmlns:a16="http://schemas.microsoft.com/office/drawing/2014/main" id="{00F8F089-E31A-4026-8C30-A2FE7456743C}"/>
                  </a:ext>
                </a:extLst>
              </p:cNvPr>
              <p:cNvSpPr>
                <a:spLocks/>
              </p:cNvSpPr>
              <p:nvPr/>
            </p:nvSpPr>
            <p:spPr bwMode="auto">
              <a:xfrm>
                <a:off x="1447" y="250"/>
                <a:ext cx="119" cy="102"/>
              </a:xfrm>
              <a:custGeom>
                <a:avLst/>
                <a:gdLst>
                  <a:gd name="T0" fmla="*/ 0 w 50"/>
                  <a:gd name="T1" fmla="*/ 5 h 43"/>
                  <a:gd name="T2" fmla="*/ 16 w 50"/>
                  <a:gd name="T3" fmla="*/ 37 h 43"/>
                  <a:gd name="T4" fmla="*/ 50 w 50"/>
                  <a:gd name="T5" fmla="*/ 38 h 43"/>
                  <a:gd name="T6" fmla="*/ 34 w 50"/>
                  <a:gd name="T7" fmla="*/ 8 h 43"/>
                  <a:gd name="T8" fmla="*/ 2 w 50"/>
                  <a:gd name="T9" fmla="*/ 2 h 43"/>
                </a:gdLst>
                <a:ahLst/>
                <a:cxnLst>
                  <a:cxn ang="0">
                    <a:pos x="T0" y="T1"/>
                  </a:cxn>
                  <a:cxn ang="0">
                    <a:pos x="T2" y="T3"/>
                  </a:cxn>
                  <a:cxn ang="0">
                    <a:pos x="T4" y="T5"/>
                  </a:cxn>
                  <a:cxn ang="0">
                    <a:pos x="T6" y="T7"/>
                  </a:cxn>
                  <a:cxn ang="0">
                    <a:pos x="T8" y="T9"/>
                  </a:cxn>
                </a:cxnLst>
                <a:rect l="0" t="0" r="r" b="b"/>
                <a:pathLst>
                  <a:path w="50" h="43">
                    <a:moveTo>
                      <a:pt x="0" y="5"/>
                    </a:moveTo>
                    <a:cubicBezTo>
                      <a:pt x="0" y="18"/>
                      <a:pt x="7" y="31"/>
                      <a:pt x="16" y="37"/>
                    </a:cubicBezTo>
                    <a:cubicBezTo>
                      <a:pt x="26" y="43"/>
                      <a:pt x="38" y="43"/>
                      <a:pt x="50" y="38"/>
                    </a:cubicBezTo>
                    <a:cubicBezTo>
                      <a:pt x="49" y="25"/>
                      <a:pt x="43" y="15"/>
                      <a:pt x="34" y="8"/>
                    </a:cubicBezTo>
                    <a:cubicBezTo>
                      <a:pt x="26" y="2"/>
                      <a:pt x="14" y="0"/>
                      <a:pt x="2" y="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31">
                <a:extLst>
                  <a:ext uri="{FF2B5EF4-FFF2-40B4-BE49-F238E27FC236}">
                    <a16:creationId xmlns:a16="http://schemas.microsoft.com/office/drawing/2014/main" id="{5C7F15D4-6617-4E56-9073-87911E084D9D}"/>
                  </a:ext>
                </a:extLst>
              </p:cNvPr>
              <p:cNvSpPr>
                <a:spLocks/>
              </p:cNvSpPr>
              <p:nvPr/>
            </p:nvSpPr>
            <p:spPr bwMode="auto">
              <a:xfrm>
                <a:off x="1599" y="160"/>
                <a:ext cx="123" cy="98"/>
              </a:xfrm>
              <a:custGeom>
                <a:avLst/>
                <a:gdLst>
                  <a:gd name="T0" fmla="*/ 1 w 52"/>
                  <a:gd name="T1" fmla="*/ 36 h 41"/>
                  <a:gd name="T2" fmla="*/ 37 w 52"/>
                  <a:gd name="T3" fmla="*/ 34 h 41"/>
                  <a:gd name="T4" fmla="*/ 52 w 52"/>
                  <a:gd name="T5" fmla="*/ 4 h 41"/>
                  <a:gd name="T6" fmla="*/ 19 w 52"/>
                  <a:gd name="T7" fmla="*/ 6 h 41"/>
                  <a:gd name="T8" fmla="*/ 0 w 52"/>
                  <a:gd name="T9" fmla="*/ 33 h 41"/>
                </a:gdLst>
                <a:ahLst/>
                <a:cxnLst>
                  <a:cxn ang="0">
                    <a:pos x="T0" y="T1"/>
                  </a:cxn>
                  <a:cxn ang="0">
                    <a:pos x="T2" y="T3"/>
                  </a:cxn>
                  <a:cxn ang="0">
                    <a:pos x="T4" y="T5"/>
                  </a:cxn>
                  <a:cxn ang="0">
                    <a:pos x="T6" y="T7"/>
                  </a:cxn>
                  <a:cxn ang="0">
                    <a:pos x="T8" y="T9"/>
                  </a:cxn>
                </a:cxnLst>
                <a:rect l="0" t="0" r="r" b="b"/>
                <a:pathLst>
                  <a:path w="52" h="41">
                    <a:moveTo>
                      <a:pt x="1" y="36"/>
                    </a:moveTo>
                    <a:cubicBezTo>
                      <a:pt x="13" y="41"/>
                      <a:pt x="28" y="40"/>
                      <a:pt x="37" y="34"/>
                    </a:cubicBezTo>
                    <a:cubicBezTo>
                      <a:pt x="46" y="28"/>
                      <a:pt x="52" y="17"/>
                      <a:pt x="52" y="4"/>
                    </a:cubicBezTo>
                    <a:cubicBezTo>
                      <a:pt x="40" y="0"/>
                      <a:pt x="28" y="1"/>
                      <a:pt x="19" y="6"/>
                    </a:cubicBezTo>
                    <a:cubicBezTo>
                      <a:pt x="9" y="11"/>
                      <a:pt x="2" y="21"/>
                      <a:pt x="0" y="3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2">
                <a:extLst>
                  <a:ext uri="{FF2B5EF4-FFF2-40B4-BE49-F238E27FC236}">
                    <a16:creationId xmlns:a16="http://schemas.microsoft.com/office/drawing/2014/main" id="{9C485C58-73EE-4CEA-989D-10CDD7D35FEC}"/>
                  </a:ext>
                </a:extLst>
              </p:cNvPr>
              <p:cNvSpPr>
                <a:spLocks/>
              </p:cNvSpPr>
              <p:nvPr/>
            </p:nvSpPr>
            <p:spPr bwMode="auto">
              <a:xfrm>
                <a:off x="1188" y="-13"/>
                <a:ext cx="86" cy="140"/>
              </a:xfrm>
              <a:custGeom>
                <a:avLst/>
                <a:gdLst>
                  <a:gd name="T0" fmla="*/ 16 w 36"/>
                  <a:gd name="T1" fmla="*/ 59 h 59"/>
                  <a:gd name="T2" fmla="*/ 2 w 36"/>
                  <a:gd name="T3" fmla="*/ 26 h 59"/>
                  <a:gd name="T4" fmla="*/ 24 w 36"/>
                  <a:gd name="T5" fmla="*/ 0 h 59"/>
                  <a:gd name="T6" fmla="*/ 35 w 36"/>
                  <a:gd name="T7" fmla="*/ 31 h 59"/>
                  <a:gd name="T8" fmla="*/ 18 w 36"/>
                  <a:gd name="T9" fmla="*/ 59 h 59"/>
                </a:gdLst>
                <a:ahLst/>
                <a:cxnLst>
                  <a:cxn ang="0">
                    <a:pos x="T0" y="T1"/>
                  </a:cxn>
                  <a:cxn ang="0">
                    <a:pos x="T2" y="T3"/>
                  </a:cxn>
                  <a:cxn ang="0">
                    <a:pos x="T4" y="T5"/>
                  </a:cxn>
                  <a:cxn ang="0">
                    <a:pos x="T6" y="T7"/>
                  </a:cxn>
                  <a:cxn ang="0">
                    <a:pos x="T8" y="T9"/>
                  </a:cxn>
                </a:cxnLst>
                <a:rect l="0" t="0" r="r" b="b"/>
                <a:pathLst>
                  <a:path w="36" h="59">
                    <a:moveTo>
                      <a:pt x="16" y="59"/>
                    </a:moveTo>
                    <a:cubicBezTo>
                      <a:pt x="6" y="51"/>
                      <a:pt x="0" y="37"/>
                      <a:pt x="2" y="26"/>
                    </a:cubicBezTo>
                    <a:cubicBezTo>
                      <a:pt x="4" y="15"/>
                      <a:pt x="12" y="5"/>
                      <a:pt x="24" y="0"/>
                    </a:cubicBezTo>
                    <a:cubicBezTo>
                      <a:pt x="32" y="9"/>
                      <a:pt x="36" y="20"/>
                      <a:pt x="35" y="31"/>
                    </a:cubicBezTo>
                    <a:cubicBezTo>
                      <a:pt x="34" y="42"/>
                      <a:pt x="28" y="52"/>
                      <a:pt x="18" y="5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33">
                <a:extLst>
                  <a:ext uri="{FF2B5EF4-FFF2-40B4-BE49-F238E27FC236}">
                    <a16:creationId xmlns:a16="http://schemas.microsoft.com/office/drawing/2014/main" id="{55061ABD-DBA1-4CD6-92BD-76ABDDD0418C}"/>
                  </a:ext>
                </a:extLst>
              </p:cNvPr>
              <p:cNvSpPr>
                <a:spLocks/>
              </p:cNvSpPr>
              <p:nvPr/>
            </p:nvSpPr>
            <p:spPr bwMode="auto">
              <a:xfrm>
                <a:off x="618" y="-103"/>
                <a:ext cx="454" cy="529"/>
              </a:xfrm>
              <a:custGeom>
                <a:avLst/>
                <a:gdLst>
                  <a:gd name="T0" fmla="*/ 0 w 191"/>
                  <a:gd name="T1" fmla="*/ 50 h 223"/>
                  <a:gd name="T2" fmla="*/ 0 w 191"/>
                  <a:gd name="T3" fmla="*/ 50 h 223"/>
                  <a:gd name="T4" fmla="*/ 2 w 191"/>
                  <a:gd name="T5" fmla="*/ 47 h 223"/>
                  <a:gd name="T6" fmla="*/ 7 w 191"/>
                  <a:gd name="T7" fmla="*/ 38 h 223"/>
                  <a:gd name="T8" fmla="*/ 36 w 191"/>
                  <a:gd name="T9" fmla="*/ 11 h 223"/>
                  <a:gd name="T10" fmla="*/ 61 w 191"/>
                  <a:gd name="T11" fmla="*/ 2 h 223"/>
                  <a:gd name="T12" fmla="*/ 93 w 191"/>
                  <a:gd name="T13" fmla="*/ 5 h 223"/>
                  <a:gd name="T14" fmla="*/ 119 w 191"/>
                  <a:gd name="T15" fmla="*/ 27 h 223"/>
                  <a:gd name="T16" fmla="*/ 131 w 191"/>
                  <a:gd name="T17" fmla="*/ 62 h 223"/>
                  <a:gd name="T18" fmla="*/ 138 w 191"/>
                  <a:gd name="T19" fmla="*/ 79 h 223"/>
                  <a:gd name="T20" fmla="*/ 151 w 191"/>
                  <a:gd name="T21" fmla="*/ 91 h 223"/>
                  <a:gd name="T22" fmla="*/ 165 w 191"/>
                  <a:gd name="T23" fmla="*/ 102 h 223"/>
                  <a:gd name="T24" fmla="*/ 177 w 191"/>
                  <a:gd name="T25" fmla="*/ 114 h 223"/>
                  <a:gd name="T26" fmla="*/ 189 w 191"/>
                  <a:gd name="T27" fmla="*/ 143 h 223"/>
                  <a:gd name="T28" fmla="*/ 190 w 191"/>
                  <a:gd name="T29" fmla="*/ 170 h 223"/>
                  <a:gd name="T30" fmla="*/ 183 w 191"/>
                  <a:gd name="T31" fmla="*/ 209 h 223"/>
                  <a:gd name="T32" fmla="*/ 180 w 191"/>
                  <a:gd name="T33" fmla="*/ 219 h 223"/>
                  <a:gd name="T34" fmla="*/ 179 w 191"/>
                  <a:gd name="T35" fmla="*/ 223 h 223"/>
                  <a:gd name="T36" fmla="*/ 180 w 191"/>
                  <a:gd name="T37" fmla="*/ 219 h 223"/>
                  <a:gd name="T38" fmla="*/ 182 w 191"/>
                  <a:gd name="T39" fmla="*/ 209 h 223"/>
                  <a:gd name="T40" fmla="*/ 189 w 191"/>
                  <a:gd name="T41" fmla="*/ 170 h 223"/>
                  <a:gd name="T42" fmla="*/ 187 w 191"/>
                  <a:gd name="T43" fmla="*/ 143 h 223"/>
                  <a:gd name="T44" fmla="*/ 175 w 191"/>
                  <a:gd name="T45" fmla="*/ 115 h 223"/>
                  <a:gd name="T46" fmla="*/ 164 w 191"/>
                  <a:gd name="T47" fmla="*/ 103 h 223"/>
                  <a:gd name="T48" fmla="*/ 150 w 191"/>
                  <a:gd name="T49" fmla="*/ 93 h 223"/>
                  <a:gd name="T50" fmla="*/ 137 w 191"/>
                  <a:gd name="T51" fmla="*/ 80 h 223"/>
                  <a:gd name="T52" fmla="*/ 129 w 191"/>
                  <a:gd name="T53" fmla="*/ 63 h 223"/>
                  <a:gd name="T54" fmla="*/ 117 w 191"/>
                  <a:gd name="T55" fmla="*/ 28 h 223"/>
                  <a:gd name="T56" fmla="*/ 92 w 191"/>
                  <a:gd name="T57" fmla="*/ 7 h 223"/>
                  <a:gd name="T58" fmla="*/ 62 w 191"/>
                  <a:gd name="T59" fmla="*/ 3 h 223"/>
                  <a:gd name="T60" fmla="*/ 37 w 191"/>
                  <a:gd name="T61" fmla="*/ 12 h 223"/>
                  <a:gd name="T62" fmla="*/ 8 w 191"/>
                  <a:gd name="T63" fmla="*/ 39 h 223"/>
                  <a:gd name="T64" fmla="*/ 2 w 191"/>
                  <a:gd name="T65" fmla="*/ 47 h 223"/>
                  <a:gd name="T66" fmla="*/ 0 w 191"/>
                  <a:gd name="T67" fmla="*/ 5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223">
                    <a:moveTo>
                      <a:pt x="0" y="50"/>
                    </a:moveTo>
                    <a:cubicBezTo>
                      <a:pt x="0" y="50"/>
                      <a:pt x="0" y="50"/>
                      <a:pt x="0" y="50"/>
                    </a:cubicBezTo>
                    <a:cubicBezTo>
                      <a:pt x="1" y="49"/>
                      <a:pt x="1" y="48"/>
                      <a:pt x="2" y="47"/>
                    </a:cubicBezTo>
                    <a:cubicBezTo>
                      <a:pt x="3" y="45"/>
                      <a:pt x="5" y="42"/>
                      <a:pt x="7" y="38"/>
                    </a:cubicBezTo>
                    <a:cubicBezTo>
                      <a:pt x="13" y="31"/>
                      <a:pt x="22" y="20"/>
                      <a:pt x="36" y="11"/>
                    </a:cubicBezTo>
                    <a:cubicBezTo>
                      <a:pt x="43" y="7"/>
                      <a:pt x="52" y="3"/>
                      <a:pt x="61" y="2"/>
                    </a:cubicBezTo>
                    <a:cubicBezTo>
                      <a:pt x="71" y="0"/>
                      <a:pt x="82" y="1"/>
                      <a:pt x="93" y="5"/>
                    </a:cubicBezTo>
                    <a:cubicBezTo>
                      <a:pt x="103" y="9"/>
                      <a:pt x="113" y="16"/>
                      <a:pt x="119" y="27"/>
                    </a:cubicBezTo>
                    <a:cubicBezTo>
                      <a:pt x="125" y="37"/>
                      <a:pt x="127" y="50"/>
                      <a:pt x="131" y="62"/>
                    </a:cubicBezTo>
                    <a:cubicBezTo>
                      <a:pt x="133" y="68"/>
                      <a:pt x="135" y="74"/>
                      <a:pt x="138" y="79"/>
                    </a:cubicBezTo>
                    <a:cubicBezTo>
                      <a:pt x="142" y="84"/>
                      <a:pt x="146" y="88"/>
                      <a:pt x="151" y="91"/>
                    </a:cubicBezTo>
                    <a:cubicBezTo>
                      <a:pt x="156" y="95"/>
                      <a:pt x="161" y="98"/>
                      <a:pt x="165" y="102"/>
                    </a:cubicBezTo>
                    <a:cubicBezTo>
                      <a:pt x="170" y="105"/>
                      <a:pt x="174" y="110"/>
                      <a:pt x="177" y="114"/>
                    </a:cubicBezTo>
                    <a:cubicBezTo>
                      <a:pt x="183" y="123"/>
                      <a:pt x="187" y="133"/>
                      <a:pt x="189" y="143"/>
                    </a:cubicBezTo>
                    <a:cubicBezTo>
                      <a:pt x="191" y="153"/>
                      <a:pt x="191" y="162"/>
                      <a:pt x="190" y="170"/>
                    </a:cubicBezTo>
                    <a:cubicBezTo>
                      <a:pt x="189" y="187"/>
                      <a:pt x="186" y="200"/>
                      <a:pt x="183" y="209"/>
                    </a:cubicBezTo>
                    <a:cubicBezTo>
                      <a:pt x="182" y="213"/>
                      <a:pt x="181" y="217"/>
                      <a:pt x="180" y="219"/>
                    </a:cubicBezTo>
                    <a:cubicBezTo>
                      <a:pt x="180" y="222"/>
                      <a:pt x="179" y="223"/>
                      <a:pt x="179" y="223"/>
                    </a:cubicBezTo>
                    <a:cubicBezTo>
                      <a:pt x="179" y="223"/>
                      <a:pt x="179" y="222"/>
                      <a:pt x="180" y="219"/>
                    </a:cubicBezTo>
                    <a:cubicBezTo>
                      <a:pt x="181" y="217"/>
                      <a:pt x="181" y="213"/>
                      <a:pt x="182" y="209"/>
                    </a:cubicBezTo>
                    <a:cubicBezTo>
                      <a:pt x="184" y="200"/>
                      <a:pt x="188" y="187"/>
                      <a:pt x="189" y="170"/>
                    </a:cubicBezTo>
                    <a:cubicBezTo>
                      <a:pt x="189" y="162"/>
                      <a:pt x="189" y="153"/>
                      <a:pt x="187" y="143"/>
                    </a:cubicBezTo>
                    <a:cubicBezTo>
                      <a:pt x="185" y="134"/>
                      <a:pt x="181" y="124"/>
                      <a:pt x="175" y="115"/>
                    </a:cubicBezTo>
                    <a:cubicBezTo>
                      <a:pt x="172" y="111"/>
                      <a:pt x="168" y="107"/>
                      <a:pt x="164" y="103"/>
                    </a:cubicBezTo>
                    <a:cubicBezTo>
                      <a:pt x="159" y="100"/>
                      <a:pt x="155" y="96"/>
                      <a:pt x="150" y="93"/>
                    </a:cubicBezTo>
                    <a:cubicBezTo>
                      <a:pt x="145" y="89"/>
                      <a:pt x="140" y="85"/>
                      <a:pt x="137" y="80"/>
                    </a:cubicBezTo>
                    <a:cubicBezTo>
                      <a:pt x="133" y="75"/>
                      <a:pt x="131" y="69"/>
                      <a:pt x="129" y="63"/>
                    </a:cubicBezTo>
                    <a:cubicBezTo>
                      <a:pt x="125" y="50"/>
                      <a:pt x="123" y="38"/>
                      <a:pt x="117" y="28"/>
                    </a:cubicBezTo>
                    <a:cubicBezTo>
                      <a:pt x="112" y="18"/>
                      <a:pt x="102" y="11"/>
                      <a:pt x="92" y="7"/>
                    </a:cubicBezTo>
                    <a:cubicBezTo>
                      <a:pt x="82" y="3"/>
                      <a:pt x="71" y="2"/>
                      <a:pt x="62" y="3"/>
                    </a:cubicBezTo>
                    <a:cubicBezTo>
                      <a:pt x="52" y="5"/>
                      <a:pt x="44" y="8"/>
                      <a:pt x="37" y="12"/>
                    </a:cubicBezTo>
                    <a:cubicBezTo>
                      <a:pt x="22" y="21"/>
                      <a:pt x="14" y="31"/>
                      <a:pt x="8" y="39"/>
                    </a:cubicBezTo>
                    <a:cubicBezTo>
                      <a:pt x="5" y="42"/>
                      <a:pt x="3" y="45"/>
                      <a:pt x="2" y="47"/>
                    </a:cubicBezTo>
                    <a:cubicBezTo>
                      <a:pt x="1" y="49"/>
                      <a:pt x="0" y="50"/>
                      <a:pt x="0" y="5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4">
                <a:extLst>
                  <a:ext uri="{FF2B5EF4-FFF2-40B4-BE49-F238E27FC236}">
                    <a16:creationId xmlns:a16="http://schemas.microsoft.com/office/drawing/2014/main" id="{43E8AB86-1DEF-4D0B-A1D5-A24DA04065F0}"/>
                  </a:ext>
                </a:extLst>
              </p:cNvPr>
              <p:cNvSpPr>
                <a:spLocks/>
              </p:cNvSpPr>
              <p:nvPr/>
            </p:nvSpPr>
            <p:spPr bwMode="auto">
              <a:xfrm>
                <a:off x="887" y="113"/>
                <a:ext cx="116" cy="149"/>
              </a:xfrm>
              <a:custGeom>
                <a:avLst/>
                <a:gdLst>
                  <a:gd name="T0" fmla="*/ 44 w 49"/>
                  <a:gd name="T1" fmla="*/ 3 h 63"/>
                  <a:gd name="T2" fmla="*/ 34 w 49"/>
                  <a:gd name="T3" fmla="*/ 3 h 63"/>
                  <a:gd name="T4" fmla="*/ 22 w 49"/>
                  <a:gd name="T5" fmla="*/ 9 h 63"/>
                  <a:gd name="T6" fmla="*/ 6 w 49"/>
                  <a:gd name="T7" fmla="*/ 62 h 63"/>
                  <a:gd name="T8" fmla="*/ 42 w 49"/>
                  <a:gd name="T9" fmla="*/ 43 h 63"/>
                  <a:gd name="T10" fmla="*/ 42 w 49"/>
                  <a:gd name="T11" fmla="*/ 3 h 63"/>
                </a:gdLst>
                <a:ahLst/>
                <a:cxnLst>
                  <a:cxn ang="0">
                    <a:pos x="T0" y="T1"/>
                  </a:cxn>
                  <a:cxn ang="0">
                    <a:pos x="T2" y="T3"/>
                  </a:cxn>
                  <a:cxn ang="0">
                    <a:pos x="T4" y="T5"/>
                  </a:cxn>
                  <a:cxn ang="0">
                    <a:pos x="T6" y="T7"/>
                  </a:cxn>
                  <a:cxn ang="0">
                    <a:pos x="T8" y="T9"/>
                  </a:cxn>
                  <a:cxn ang="0">
                    <a:pos x="T10" y="T11"/>
                  </a:cxn>
                </a:cxnLst>
                <a:rect l="0" t="0" r="r" b="b"/>
                <a:pathLst>
                  <a:path w="49" h="63">
                    <a:moveTo>
                      <a:pt x="44" y="3"/>
                    </a:moveTo>
                    <a:cubicBezTo>
                      <a:pt x="40" y="0"/>
                      <a:pt x="39" y="2"/>
                      <a:pt x="34" y="3"/>
                    </a:cubicBezTo>
                    <a:cubicBezTo>
                      <a:pt x="30" y="4"/>
                      <a:pt x="26" y="6"/>
                      <a:pt x="22" y="9"/>
                    </a:cubicBezTo>
                    <a:cubicBezTo>
                      <a:pt x="7" y="21"/>
                      <a:pt x="0" y="43"/>
                      <a:pt x="6" y="62"/>
                    </a:cubicBezTo>
                    <a:cubicBezTo>
                      <a:pt x="20" y="63"/>
                      <a:pt x="34" y="55"/>
                      <a:pt x="42" y="43"/>
                    </a:cubicBezTo>
                    <a:cubicBezTo>
                      <a:pt x="49" y="31"/>
                      <a:pt x="49" y="15"/>
                      <a:pt x="42" y="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35">
                <a:extLst>
                  <a:ext uri="{FF2B5EF4-FFF2-40B4-BE49-F238E27FC236}">
                    <a16:creationId xmlns:a16="http://schemas.microsoft.com/office/drawing/2014/main" id="{DD0ED164-510C-429D-B125-C2048AA61178}"/>
                  </a:ext>
                </a:extLst>
              </p:cNvPr>
              <p:cNvSpPr>
                <a:spLocks/>
              </p:cNvSpPr>
              <p:nvPr/>
            </p:nvSpPr>
            <p:spPr bwMode="auto">
              <a:xfrm>
                <a:off x="528" y="-39"/>
                <a:ext cx="140" cy="116"/>
              </a:xfrm>
              <a:custGeom>
                <a:avLst/>
                <a:gdLst>
                  <a:gd name="T0" fmla="*/ 59 w 59"/>
                  <a:gd name="T1" fmla="*/ 6 h 49"/>
                  <a:gd name="T2" fmla="*/ 51 w 59"/>
                  <a:gd name="T3" fmla="*/ 2 h 49"/>
                  <a:gd name="T4" fmla="*/ 37 w 59"/>
                  <a:gd name="T5" fmla="*/ 2 h 49"/>
                  <a:gd name="T6" fmla="*/ 0 w 59"/>
                  <a:gd name="T7" fmla="*/ 43 h 49"/>
                  <a:gd name="T8" fmla="*/ 40 w 59"/>
                  <a:gd name="T9" fmla="*/ 41 h 49"/>
                  <a:gd name="T10" fmla="*/ 58 w 59"/>
                  <a:gd name="T11" fmla="*/ 5 h 49"/>
                </a:gdLst>
                <a:ahLst/>
                <a:cxnLst>
                  <a:cxn ang="0">
                    <a:pos x="T0" y="T1"/>
                  </a:cxn>
                  <a:cxn ang="0">
                    <a:pos x="T2" y="T3"/>
                  </a:cxn>
                  <a:cxn ang="0">
                    <a:pos x="T4" y="T5"/>
                  </a:cxn>
                  <a:cxn ang="0">
                    <a:pos x="T6" y="T7"/>
                  </a:cxn>
                  <a:cxn ang="0">
                    <a:pos x="T8" y="T9"/>
                  </a:cxn>
                  <a:cxn ang="0">
                    <a:pos x="T10" y="T11"/>
                  </a:cxn>
                </a:cxnLst>
                <a:rect l="0" t="0" r="r" b="b"/>
                <a:pathLst>
                  <a:path w="59" h="49">
                    <a:moveTo>
                      <a:pt x="59" y="6"/>
                    </a:moveTo>
                    <a:cubicBezTo>
                      <a:pt x="57" y="1"/>
                      <a:pt x="55" y="3"/>
                      <a:pt x="51" y="2"/>
                    </a:cubicBezTo>
                    <a:cubicBezTo>
                      <a:pt x="46" y="0"/>
                      <a:pt x="42" y="1"/>
                      <a:pt x="37" y="2"/>
                    </a:cubicBezTo>
                    <a:cubicBezTo>
                      <a:pt x="18" y="6"/>
                      <a:pt x="3" y="23"/>
                      <a:pt x="0" y="43"/>
                    </a:cubicBezTo>
                    <a:cubicBezTo>
                      <a:pt x="12" y="49"/>
                      <a:pt x="28" y="49"/>
                      <a:pt x="40" y="41"/>
                    </a:cubicBezTo>
                    <a:cubicBezTo>
                      <a:pt x="52" y="33"/>
                      <a:pt x="59" y="19"/>
                      <a:pt x="58" y="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36">
                <a:extLst>
                  <a:ext uri="{FF2B5EF4-FFF2-40B4-BE49-F238E27FC236}">
                    <a16:creationId xmlns:a16="http://schemas.microsoft.com/office/drawing/2014/main" id="{2354ADE7-8667-47C6-8B6A-030211571484}"/>
                  </a:ext>
                </a:extLst>
              </p:cNvPr>
              <p:cNvSpPr>
                <a:spLocks/>
              </p:cNvSpPr>
              <p:nvPr/>
            </p:nvSpPr>
            <p:spPr bwMode="auto">
              <a:xfrm>
                <a:off x="891" y="281"/>
                <a:ext cx="176" cy="81"/>
              </a:xfrm>
              <a:custGeom>
                <a:avLst/>
                <a:gdLst>
                  <a:gd name="T0" fmla="*/ 71 w 74"/>
                  <a:gd name="T1" fmla="*/ 16 h 34"/>
                  <a:gd name="T2" fmla="*/ 35 w 74"/>
                  <a:gd name="T3" fmla="*/ 0 h 34"/>
                  <a:gd name="T4" fmla="*/ 0 w 74"/>
                  <a:gd name="T5" fmla="*/ 19 h 34"/>
                  <a:gd name="T6" fmla="*/ 37 w 74"/>
                  <a:gd name="T7" fmla="*/ 34 h 34"/>
                  <a:gd name="T8" fmla="*/ 74 w 74"/>
                  <a:gd name="T9" fmla="*/ 19 h 34"/>
                </a:gdLst>
                <a:ahLst/>
                <a:cxnLst>
                  <a:cxn ang="0">
                    <a:pos x="T0" y="T1"/>
                  </a:cxn>
                  <a:cxn ang="0">
                    <a:pos x="T2" y="T3"/>
                  </a:cxn>
                  <a:cxn ang="0">
                    <a:pos x="T4" y="T5"/>
                  </a:cxn>
                  <a:cxn ang="0">
                    <a:pos x="T6" y="T7"/>
                  </a:cxn>
                  <a:cxn ang="0">
                    <a:pos x="T8" y="T9"/>
                  </a:cxn>
                </a:cxnLst>
                <a:rect l="0" t="0" r="r" b="b"/>
                <a:pathLst>
                  <a:path w="74" h="34">
                    <a:moveTo>
                      <a:pt x="71" y="16"/>
                    </a:moveTo>
                    <a:cubicBezTo>
                      <a:pt x="62" y="5"/>
                      <a:pt x="49" y="0"/>
                      <a:pt x="35" y="0"/>
                    </a:cubicBezTo>
                    <a:cubicBezTo>
                      <a:pt x="21" y="1"/>
                      <a:pt x="8" y="8"/>
                      <a:pt x="0" y="19"/>
                    </a:cubicBezTo>
                    <a:cubicBezTo>
                      <a:pt x="10" y="28"/>
                      <a:pt x="23" y="34"/>
                      <a:pt x="37" y="34"/>
                    </a:cubicBezTo>
                    <a:cubicBezTo>
                      <a:pt x="51" y="34"/>
                      <a:pt x="64" y="28"/>
                      <a:pt x="74" y="1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37">
                <a:extLst>
                  <a:ext uri="{FF2B5EF4-FFF2-40B4-BE49-F238E27FC236}">
                    <a16:creationId xmlns:a16="http://schemas.microsoft.com/office/drawing/2014/main" id="{F92EF84D-44B2-4109-982D-864B0EC5A1D7}"/>
                  </a:ext>
                </a:extLst>
              </p:cNvPr>
              <p:cNvSpPr>
                <a:spLocks/>
              </p:cNvSpPr>
              <p:nvPr/>
            </p:nvSpPr>
            <p:spPr bwMode="auto">
              <a:xfrm>
                <a:off x="1020" y="32"/>
                <a:ext cx="130" cy="140"/>
              </a:xfrm>
              <a:custGeom>
                <a:avLst/>
                <a:gdLst>
                  <a:gd name="T0" fmla="*/ 6 w 55"/>
                  <a:gd name="T1" fmla="*/ 58 h 59"/>
                  <a:gd name="T2" fmla="*/ 43 w 55"/>
                  <a:gd name="T3" fmla="*/ 42 h 59"/>
                  <a:gd name="T4" fmla="*/ 53 w 55"/>
                  <a:gd name="T5" fmla="*/ 4 h 59"/>
                  <a:gd name="T6" fmla="*/ 13 w 55"/>
                  <a:gd name="T7" fmla="*/ 16 h 59"/>
                  <a:gd name="T8" fmla="*/ 5 w 55"/>
                  <a:gd name="T9" fmla="*/ 58 h 59"/>
                </a:gdLst>
                <a:ahLst/>
                <a:cxnLst>
                  <a:cxn ang="0">
                    <a:pos x="T0" y="T1"/>
                  </a:cxn>
                  <a:cxn ang="0">
                    <a:pos x="T2" y="T3"/>
                  </a:cxn>
                  <a:cxn ang="0">
                    <a:pos x="T4" y="T5"/>
                  </a:cxn>
                  <a:cxn ang="0">
                    <a:pos x="T6" y="T7"/>
                  </a:cxn>
                  <a:cxn ang="0">
                    <a:pos x="T8" y="T9"/>
                  </a:cxn>
                </a:cxnLst>
                <a:rect l="0" t="0" r="r" b="b"/>
                <a:pathLst>
                  <a:path w="55" h="59">
                    <a:moveTo>
                      <a:pt x="6" y="58"/>
                    </a:moveTo>
                    <a:cubicBezTo>
                      <a:pt x="20" y="59"/>
                      <a:pt x="34" y="53"/>
                      <a:pt x="43" y="42"/>
                    </a:cubicBezTo>
                    <a:cubicBezTo>
                      <a:pt x="52" y="32"/>
                      <a:pt x="55" y="17"/>
                      <a:pt x="53" y="4"/>
                    </a:cubicBezTo>
                    <a:cubicBezTo>
                      <a:pt x="38" y="0"/>
                      <a:pt x="22" y="5"/>
                      <a:pt x="13" y="16"/>
                    </a:cubicBezTo>
                    <a:cubicBezTo>
                      <a:pt x="3" y="28"/>
                      <a:pt x="0" y="44"/>
                      <a:pt x="5" y="5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38">
                <a:extLst>
                  <a:ext uri="{FF2B5EF4-FFF2-40B4-BE49-F238E27FC236}">
                    <a16:creationId xmlns:a16="http://schemas.microsoft.com/office/drawing/2014/main" id="{265C7F34-7F28-4A74-B4FF-77F7792F37DF}"/>
                  </a:ext>
                </a:extLst>
              </p:cNvPr>
              <p:cNvSpPr>
                <a:spLocks/>
              </p:cNvSpPr>
              <p:nvPr/>
            </p:nvSpPr>
            <p:spPr bwMode="auto">
              <a:xfrm>
                <a:off x="917" y="-110"/>
                <a:ext cx="152" cy="118"/>
              </a:xfrm>
              <a:custGeom>
                <a:avLst/>
                <a:gdLst>
                  <a:gd name="T0" fmla="*/ 2 w 64"/>
                  <a:gd name="T1" fmla="*/ 45 h 50"/>
                  <a:gd name="T2" fmla="*/ 41 w 64"/>
                  <a:gd name="T3" fmla="*/ 42 h 50"/>
                  <a:gd name="T4" fmla="*/ 64 w 64"/>
                  <a:gd name="T5" fmla="*/ 9 h 50"/>
                  <a:gd name="T6" fmla="*/ 21 w 64"/>
                  <a:gd name="T7" fmla="*/ 8 h 50"/>
                  <a:gd name="T8" fmla="*/ 0 w 64"/>
                  <a:gd name="T9" fmla="*/ 44 h 50"/>
                </a:gdLst>
                <a:ahLst/>
                <a:cxnLst>
                  <a:cxn ang="0">
                    <a:pos x="T0" y="T1"/>
                  </a:cxn>
                  <a:cxn ang="0">
                    <a:pos x="T2" y="T3"/>
                  </a:cxn>
                  <a:cxn ang="0">
                    <a:pos x="T4" y="T5"/>
                  </a:cxn>
                  <a:cxn ang="0">
                    <a:pos x="T6" y="T7"/>
                  </a:cxn>
                  <a:cxn ang="0">
                    <a:pos x="T8" y="T9"/>
                  </a:cxn>
                </a:cxnLst>
                <a:rect l="0" t="0" r="r" b="b"/>
                <a:pathLst>
                  <a:path w="64" h="50">
                    <a:moveTo>
                      <a:pt x="2" y="45"/>
                    </a:moveTo>
                    <a:cubicBezTo>
                      <a:pt x="14" y="50"/>
                      <a:pt x="29" y="49"/>
                      <a:pt x="41" y="42"/>
                    </a:cubicBezTo>
                    <a:cubicBezTo>
                      <a:pt x="53" y="35"/>
                      <a:pt x="62" y="22"/>
                      <a:pt x="64" y="9"/>
                    </a:cubicBezTo>
                    <a:cubicBezTo>
                      <a:pt x="51" y="1"/>
                      <a:pt x="34" y="0"/>
                      <a:pt x="21" y="8"/>
                    </a:cubicBezTo>
                    <a:cubicBezTo>
                      <a:pt x="9" y="15"/>
                      <a:pt x="0" y="29"/>
                      <a:pt x="0" y="4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39">
                <a:extLst>
                  <a:ext uri="{FF2B5EF4-FFF2-40B4-BE49-F238E27FC236}">
                    <a16:creationId xmlns:a16="http://schemas.microsoft.com/office/drawing/2014/main" id="{B2889E4E-0593-4541-A636-19495001B3A9}"/>
                  </a:ext>
                </a:extLst>
              </p:cNvPr>
              <p:cNvSpPr>
                <a:spLocks/>
              </p:cNvSpPr>
              <p:nvPr/>
            </p:nvSpPr>
            <p:spPr bwMode="auto">
              <a:xfrm>
                <a:off x="735" y="-72"/>
                <a:ext cx="152" cy="118"/>
              </a:xfrm>
              <a:custGeom>
                <a:avLst/>
                <a:gdLst>
                  <a:gd name="T0" fmla="*/ 63 w 64"/>
                  <a:gd name="T1" fmla="*/ 5 h 50"/>
                  <a:gd name="T2" fmla="*/ 23 w 64"/>
                  <a:gd name="T3" fmla="*/ 9 h 50"/>
                  <a:gd name="T4" fmla="*/ 0 w 64"/>
                  <a:gd name="T5" fmla="*/ 42 h 50"/>
                  <a:gd name="T6" fmla="*/ 43 w 64"/>
                  <a:gd name="T7" fmla="*/ 43 h 50"/>
                  <a:gd name="T8" fmla="*/ 64 w 64"/>
                  <a:gd name="T9" fmla="*/ 6 h 50"/>
                </a:gdLst>
                <a:ahLst/>
                <a:cxnLst>
                  <a:cxn ang="0">
                    <a:pos x="T0" y="T1"/>
                  </a:cxn>
                  <a:cxn ang="0">
                    <a:pos x="T2" y="T3"/>
                  </a:cxn>
                  <a:cxn ang="0">
                    <a:pos x="T4" y="T5"/>
                  </a:cxn>
                  <a:cxn ang="0">
                    <a:pos x="T6" y="T7"/>
                  </a:cxn>
                  <a:cxn ang="0">
                    <a:pos x="T8" y="T9"/>
                  </a:cxn>
                </a:cxnLst>
                <a:rect l="0" t="0" r="r" b="b"/>
                <a:pathLst>
                  <a:path w="64" h="50">
                    <a:moveTo>
                      <a:pt x="63" y="5"/>
                    </a:moveTo>
                    <a:cubicBezTo>
                      <a:pt x="50" y="0"/>
                      <a:pt x="35" y="2"/>
                      <a:pt x="23" y="9"/>
                    </a:cubicBezTo>
                    <a:cubicBezTo>
                      <a:pt x="11" y="15"/>
                      <a:pt x="2" y="28"/>
                      <a:pt x="0" y="42"/>
                    </a:cubicBezTo>
                    <a:cubicBezTo>
                      <a:pt x="13" y="50"/>
                      <a:pt x="30" y="50"/>
                      <a:pt x="43" y="43"/>
                    </a:cubicBezTo>
                    <a:cubicBezTo>
                      <a:pt x="56" y="36"/>
                      <a:pt x="64" y="21"/>
                      <a:pt x="64" y="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40">
                <a:extLst>
                  <a:ext uri="{FF2B5EF4-FFF2-40B4-BE49-F238E27FC236}">
                    <a16:creationId xmlns:a16="http://schemas.microsoft.com/office/drawing/2014/main" id="{8B6A95A8-D655-4FDA-B854-498D4E82D948}"/>
                  </a:ext>
                </a:extLst>
              </p:cNvPr>
              <p:cNvSpPr>
                <a:spLocks/>
              </p:cNvSpPr>
              <p:nvPr/>
            </p:nvSpPr>
            <p:spPr bwMode="auto">
              <a:xfrm>
                <a:off x="803" y="-251"/>
                <a:ext cx="114" cy="162"/>
              </a:xfrm>
              <a:custGeom>
                <a:avLst/>
                <a:gdLst>
                  <a:gd name="T0" fmla="*/ 15 w 48"/>
                  <a:gd name="T1" fmla="*/ 67 h 68"/>
                  <a:gd name="T2" fmla="*/ 43 w 48"/>
                  <a:gd name="T3" fmla="*/ 39 h 68"/>
                  <a:gd name="T4" fmla="*/ 39 w 48"/>
                  <a:gd name="T5" fmla="*/ 0 h 68"/>
                  <a:gd name="T6" fmla="*/ 6 w 48"/>
                  <a:gd name="T7" fmla="*/ 26 h 68"/>
                  <a:gd name="T8" fmla="*/ 13 w 48"/>
                  <a:gd name="T9" fmla="*/ 68 h 68"/>
                </a:gdLst>
                <a:ahLst/>
                <a:cxnLst>
                  <a:cxn ang="0">
                    <a:pos x="T0" y="T1"/>
                  </a:cxn>
                  <a:cxn ang="0">
                    <a:pos x="T2" y="T3"/>
                  </a:cxn>
                  <a:cxn ang="0">
                    <a:pos x="T4" y="T5"/>
                  </a:cxn>
                  <a:cxn ang="0">
                    <a:pos x="T6" y="T7"/>
                  </a:cxn>
                  <a:cxn ang="0">
                    <a:pos x="T8" y="T9"/>
                  </a:cxn>
                </a:cxnLst>
                <a:rect l="0" t="0" r="r" b="b"/>
                <a:pathLst>
                  <a:path w="48" h="68">
                    <a:moveTo>
                      <a:pt x="15" y="67"/>
                    </a:moveTo>
                    <a:cubicBezTo>
                      <a:pt x="28" y="63"/>
                      <a:pt x="38" y="52"/>
                      <a:pt x="43" y="39"/>
                    </a:cubicBezTo>
                    <a:cubicBezTo>
                      <a:pt x="48" y="27"/>
                      <a:pt x="46" y="11"/>
                      <a:pt x="39" y="0"/>
                    </a:cubicBezTo>
                    <a:cubicBezTo>
                      <a:pt x="24" y="2"/>
                      <a:pt x="11" y="12"/>
                      <a:pt x="6" y="26"/>
                    </a:cubicBezTo>
                    <a:cubicBezTo>
                      <a:pt x="0" y="40"/>
                      <a:pt x="3" y="56"/>
                      <a:pt x="13" y="6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41">
                <a:extLst>
                  <a:ext uri="{FF2B5EF4-FFF2-40B4-BE49-F238E27FC236}">
                    <a16:creationId xmlns:a16="http://schemas.microsoft.com/office/drawing/2014/main" id="{10B0A6A1-4420-4ED2-ABE4-06C6D078708B}"/>
                  </a:ext>
                </a:extLst>
              </p:cNvPr>
              <p:cNvSpPr>
                <a:spLocks/>
              </p:cNvSpPr>
              <p:nvPr/>
            </p:nvSpPr>
            <p:spPr bwMode="auto">
              <a:xfrm>
                <a:off x="613" y="-232"/>
                <a:ext cx="119" cy="152"/>
              </a:xfrm>
              <a:custGeom>
                <a:avLst/>
                <a:gdLst>
                  <a:gd name="T0" fmla="*/ 46 w 50"/>
                  <a:gd name="T1" fmla="*/ 62 h 64"/>
                  <a:gd name="T2" fmla="*/ 42 w 50"/>
                  <a:gd name="T3" fmla="*/ 22 h 64"/>
                  <a:gd name="T4" fmla="*/ 8 w 50"/>
                  <a:gd name="T5" fmla="*/ 0 h 64"/>
                  <a:gd name="T6" fmla="*/ 8 w 50"/>
                  <a:gd name="T7" fmla="*/ 43 h 64"/>
                  <a:gd name="T8" fmla="*/ 45 w 50"/>
                  <a:gd name="T9" fmla="*/ 63 h 64"/>
                </a:gdLst>
                <a:ahLst/>
                <a:cxnLst>
                  <a:cxn ang="0">
                    <a:pos x="T0" y="T1"/>
                  </a:cxn>
                  <a:cxn ang="0">
                    <a:pos x="T2" y="T3"/>
                  </a:cxn>
                  <a:cxn ang="0">
                    <a:pos x="T4" y="T5"/>
                  </a:cxn>
                  <a:cxn ang="0">
                    <a:pos x="T6" y="T7"/>
                  </a:cxn>
                  <a:cxn ang="0">
                    <a:pos x="T8" y="T9"/>
                  </a:cxn>
                </a:cxnLst>
                <a:rect l="0" t="0" r="r" b="b"/>
                <a:pathLst>
                  <a:path w="50" h="64">
                    <a:moveTo>
                      <a:pt x="46" y="62"/>
                    </a:moveTo>
                    <a:cubicBezTo>
                      <a:pt x="50" y="49"/>
                      <a:pt x="49" y="34"/>
                      <a:pt x="42" y="22"/>
                    </a:cubicBezTo>
                    <a:cubicBezTo>
                      <a:pt x="34" y="10"/>
                      <a:pt x="22" y="2"/>
                      <a:pt x="8" y="0"/>
                    </a:cubicBezTo>
                    <a:cubicBezTo>
                      <a:pt x="0" y="13"/>
                      <a:pt x="0" y="30"/>
                      <a:pt x="8" y="43"/>
                    </a:cubicBezTo>
                    <a:cubicBezTo>
                      <a:pt x="15" y="55"/>
                      <a:pt x="30" y="64"/>
                      <a:pt x="45" y="6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42">
                <a:extLst>
                  <a:ext uri="{FF2B5EF4-FFF2-40B4-BE49-F238E27FC236}">
                    <a16:creationId xmlns:a16="http://schemas.microsoft.com/office/drawing/2014/main" id="{776385D3-3DD0-47E3-9DC8-A4FEE6E96CFD}"/>
                  </a:ext>
                </a:extLst>
              </p:cNvPr>
              <p:cNvSpPr>
                <a:spLocks/>
              </p:cNvSpPr>
              <p:nvPr/>
            </p:nvSpPr>
            <p:spPr bwMode="auto">
              <a:xfrm>
                <a:off x="879" y="768"/>
                <a:ext cx="513" cy="45"/>
              </a:xfrm>
              <a:custGeom>
                <a:avLst/>
                <a:gdLst>
                  <a:gd name="T0" fmla="*/ 0 w 513"/>
                  <a:gd name="T1" fmla="*/ 0 h 45"/>
                  <a:gd name="T2" fmla="*/ 38 w 513"/>
                  <a:gd name="T3" fmla="*/ 45 h 45"/>
                  <a:gd name="T4" fmla="*/ 482 w 513"/>
                  <a:gd name="T5" fmla="*/ 45 h 45"/>
                  <a:gd name="T6" fmla="*/ 513 w 513"/>
                  <a:gd name="T7" fmla="*/ 0 h 45"/>
                  <a:gd name="T8" fmla="*/ 0 w 513"/>
                  <a:gd name="T9" fmla="*/ 0 h 45"/>
                </a:gdLst>
                <a:ahLst/>
                <a:cxnLst>
                  <a:cxn ang="0">
                    <a:pos x="T0" y="T1"/>
                  </a:cxn>
                  <a:cxn ang="0">
                    <a:pos x="T2" y="T3"/>
                  </a:cxn>
                  <a:cxn ang="0">
                    <a:pos x="T4" y="T5"/>
                  </a:cxn>
                  <a:cxn ang="0">
                    <a:pos x="T6" y="T7"/>
                  </a:cxn>
                  <a:cxn ang="0">
                    <a:pos x="T8" y="T9"/>
                  </a:cxn>
                </a:cxnLst>
                <a:rect l="0" t="0" r="r" b="b"/>
                <a:pathLst>
                  <a:path w="513" h="45">
                    <a:moveTo>
                      <a:pt x="0" y="0"/>
                    </a:moveTo>
                    <a:lnTo>
                      <a:pt x="38" y="45"/>
                    </a:lnTo>
                    <a:lnTo>
                      <a:pt x="482" y="45"/>
                    </a:lnTo>
                    <a:lnTo>
                      <a:pt x="513" y="0"/>
                    </a:ln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43">
                <a:extLst>
                  <a:ext uri="{FF2B5EF4-FFF2-40B4-BE49-F238E27FC236}">
                    <a16:creationId xmlns:a16="http://schemas.microsoft.com/office/drawing/2014/main" id="{C007686F-5084-424B-9937-455ED7A17A10}"/>
                  </a:ext>
                </a:extLst>
              </p:cNvPr>
              <p:cNvSpPr>
                <a:spLocks noChangeArrowheads="1"/>
              </p:cNvSpPr>
              <p:nvPr/>
            </p:nvSpPr>
            <p:spPr bwMode="auto">
              <a:xfrm>
                <a:off x="894" y="766"/>
                <a:ext cx="489" cy="4"/>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44">
                <a:extLst>
                  <a:ext uri="{FF2B5EF4-FFF2-40B4-BE49-F238E27FC236}">
                    <a16:creationId xmlns:a16="http://schemas.microsoft.com/office/drawing/2014/main" id="{D996855C-537D-40C2-B3C4-3AFCACE03484}"/>
                  </a:ext>
                </a:extLst>
              </p:cNvPr>
              <p:cNvSpPr>
                <a:spLocks/>
              </p:cNvSpPr>
              <p:nvPr/>
            </p:nvSpPr>
            <p:spPr bwMode="auto">
              <a:xfrm>
                <a:off x="920" y="590"/>
                <a:ext cx="413" cy="69"/>
              </a:xfrm>
              <a:custGeom>
                <a:avLst/>
                <a:gdLst>
                  <a:gd name="T0" fmla="*/ 174 w 174"/>
                  <a:gd name="T1" fmla="*/ 4 h 29"/>
                  <a:gd name="T2" fmla="*/ 173 w 174"/>
                  <a:gd name="T3" fmla="*/ 5 h 29"/>
                  <a:gd name="T4" fmla="*/ 169 w 174"/>
                  <a:gd name="T5" fmla="*/ 9 h 29"/>
                  <a:gd name="T6" fmla="*/ 152 w 174"/>
                  <a:gd name="T7" fmla="*/ 21 h 29"/>
                  <a:gd name="T8" fmla="*/ 123 w 174"/>
                  <a:gd name="T9" fmla="*/ 28 h 29"/>
                  <a:gd name="T10" fmla="*/ 105 w 174"/>
                  <a:gd name="T11" fmla="*/ 27 h 29"/>
                  <a:gd name="T12" fmla="*/ 87 w 174"/>
                  <a:gd name="T13" fmla="*/ 21 h 29"/>
                  <a:gd name="T14" fmla="*/ 53 w 174"/>
                  <a:gd name="T15" fmla="*/ 7 h 29"/>
                  <a:gd name="T16" fmla="*/ 24 w 174"/>
                  <a:gd name="T17" fmla="*/ 4 h 29"/>
                  <a:gd name="T18" fmla="*/ 6 w 174"/>
                  <a:gd name="T19" fmla="*/ 12 h 29"/>
                  <a:gd name="T20" fmla="*/ 1 w 174"/>
                  <a:gd name="T21" fmla="*/ 17 h 29"/>
                  <a:gd name="T22" fmla="*/ 1 w 174"/>
                  <a:gd name="T23" fmla="*/ 16 h 29"/>
                  <a:gd name="T24" fmla="*/ 5 w 174"/>
                  <a:gd name="T25" fmla="*/ 11 h 29"/>
                  <a:gd name="T26" fmla="*/ 23 w 174"/>
                  <a:gd name="T27" fmla="*/ 2 h 29"/>
                  <a:gd name="T28" fmla="*/ 53 w 174"/>
                  <a:gd name="T29" fmla="*/ 5 h 29"/>
                  <a:gd name="T30" fmla="*/ 87 w 174"/>
                  <a:gd name="T31" fmla="*/ 19 h 29"/>
                  <a:gd name="T32" fmla="*/ 105 w 174"/>
                  <a:gd name="T33" fmla="*/ 25 h 29"/>
                  <a:gd name="T34" fmla="*/ 123 w 174"/>
                  <a:gd name="T35" fmla="*/ 27 h 29"/>
                  <a:gd name="T36" fmla="*/ 151 w 174"/>
                  <a:gd name="T37" fmla="*/ 20 h 29"/>
                  <a:gd name="T38" fmla="*/ 174 w 174"/>
                  <a:gd name="T3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29">
                    <a:moveTo>
                      <a:pt x="174" y="4"/>
                    </a:moveTo>
                    <a:cubicBezTo>
                      <a:pt x="174" y="4"/>
                      <a:pt x="173" y="4"/>
                      <a:pt x="173" y="5"/>
                    </a:cubicBezTo>
                    <a:cubicBezTo>
                      <a:pt x="172" y="6"/>
                      <a:pt x="171" y="8"/>
                      <a:pt x="169" y="9"/>
                    </a:cubicBezTo>
                    <a:cubicBezTo>
                      <a:pt x="165" y="13"/>
                      <a:pt x="160" y="17"/>
                      <a:pt x="152" y="21"/>
                    </a:cubicBezTo>
                    <a:cubicBezTo>
                      <a:pt x="144" y="25"/>
                      <a:pt x="134" y="28"/>
                      <a:pt x="123" y="28"/>
                    </a:cubicBezTo>
                    <a:cubicBezTo>
                      <a:pt x="117" y="29"/>
                      <a:pt x="111" y="28"/>
                      <a:pt x="105" y="27"/>
                    </a:cubicBezTo>
                    <a:cubicBezTo>
                      <a:pt x="99" y="26"/>
                      <a:pt x="93" y="23"/>
                      <a:pt x="87" y="21"/>
                    </a:cubicBezTo>
                    <a:cubicBezTo>
                      <a:pt x="74" y="16"/>
                      <a:pt x="63" y="10"/>
                      <a:pt x="53" y="7"/>
                    </a:cubicBezTo>
                    <a:cubicBezTo>
                      <a:pt x="42" y="3"/>
                      <a:pt x="32" y="2"/>
                      <a:pt x="24" y="4"/>
                    </a:cubicBezTo>
                    <a:cubicBezTo>
                      <a:pt x="15" y="5"/>
                      <a:pt x="9" y="9"/>
                      <a:pt x="6" y="12"/>
                    </a:cubicBezTo>
                    <a:cubicBezTo>
                      <a:pt x="2" y="15"/>
                      <a:pt x="1" y="17"/>
                      <a:pt x="1" y="17"/>
                    </a:cubicBezTo>
                    <a:cubicBezTo>
                      <a:pt x="0" y="17"/>
                      <a:pt x="1" y="17"/>
                      <a:pt x="1" y="16"/>
                    </a:cubicBezTo>
                    <a:cubicBezTo>
                      <a:pt x="2" y="15"/>
                      <a:pt x="3" y="13"/>
                      <a:pt x="5" y="11"/>
                    </a:cubicBezTo>
                    <a:cubicBezTo>
                      <a:pt x="9" y="8"/>
                      <a:pt x="15" y="4"/>
                      <a:pt x="23" y="2"/>
                    </a:cubicBezTo>
                    <a:cubicBezTo>
                      <a:pt x="32" y="0"/>
                      <a:pt x="42" y="1"/>
                      <a:pt x="53" y="5"/>
                    </a:cubicBezTo>
                    <a:cubicBezTo>
                      <a:pt x="64" y="8"/>
                      <a:pt x="75" y="14"/>
                      <a:pt x="87" y="19"/>
                    </a:cubicBezTo>
                    <a:cubicBezTo>
                      <a:pt x="93" y="21"/>
                      <a:pt x="99" y="24"/>
                      <a:pt x="105" y="25"/>
                    </a:cubicBezTo>
                    <a:cubicBezTo>
                      <a:pt x="111" y="26"/>
                      <a:pt x="117" y="27"/>
                      <a:pt x="123" y="27"/>
                    </a:cubicBezTo>
                    <a:cubicBezTo>
                      <a:pt x="134" y="26"/>
                      <a:pt x="144" y="23"/>
                      <a:pt x="151" y="20"/>
                    </a:cubicBezTo>
                    <a:cubicBezTo>
                      <a:pt x="167" y="12"/>
                      <a:pt x="173" y="3"/>
                      <a:pt x="174"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45">
                <a:extLst>
                  <a:ext uri="{FF2B5EF4-FFF2-40B4-BE49-F238E27FC236}">
                    <a16:creationId xmlns:a16="http://schemas.microsoft.com/office/drawing/2014/main" id="{7CBBC5F2-5559-4386-A946-DF5DB53E2193}"/>
                  </a:ext>
                </a:extLst>
              </p:cNvPr>
              <p:cNvSpPr>
                <a:spLocks/>
              </p:cNvSpPr>
              <p:nvPr/>
            </p:nvSpPr>
            <p:spPr bwMode="auto">
              <a:xfrm>
                <a:off x="915" y="559"/>
                <a:ext cx="423" cy="59"/>
              </a:xfrm>
              <a:custGeom>
                <a:avLst/>
                <a:gdLst>
                  <a:gd name="T0" fmla="*/ 178 w 178"/>
                  <a:gd name="T1" fmla="*/ 2 h 25"/>
                  <a:gd name="T2" fmla="*/ 176 w 178"/>
                  <a:gd name="T3" fmla="*/ 4 h 25"/>
                  <a:gd name="T4" fmla="*/ 172 w 178"/>
                  <a:gd name="T5" fmla="*/ 7 h 25"/>
                  <a:gd name="T6" fmla="*/ 155 w 178"/>
                  <a:gd name="T7" fmla="*/ 18 h 25"/>
                  <a:gd name="T8" fmla="*/ 125 w 178"/>
                  <a:gd name="T9" fmla="*/ 25 h 25"/>
                  <a:gd name="T10" fmla="*/ 107 w 178"/>
                  <a:gd name="T11" fmla="*/ 24 h 25"/>
                  <a:gd name="T12" fmla="*/ 89 w 178"/>
                  <a:gd name="T13" fmla="*/ 19 h 25"/>
                  <a:gd name="T14" fmla="*/ 54 w 178"/>
                  <a:gd name="T15" fmla="*/ 6 h 25"/>
                  <a:gd name="T16" fmla="*/ 25 w 178"/>
                  <a:gd name="T17" fmla="*/ 3 h 25"/>
                  <a:gd name="T18" fmla="*/ 6 w 178"/>
                  <a:gd name="T19" fmla="*/ 10 h 25"/>
                  <a:gd name="T20" fmla="*/ 0 w 178"/>
                  <a:gd name="T21" fmla="*/ 15 h 25"/>
                  <a:gd name="T22" fmla="*/ 2 w 178"/>
                  <a:gd name="T23" fmla="*/ 14 h 25"/>
                  <a:gd name="T24" fmla="*/ 6 w 178"/>
                  <a:gd name="T25" fmla="*/ 10 h 25"/>
                  <a:gd name="T26" fmla="*/ 25 w 178"/>
                  <a:gd name="T27" fmla="*/ 2 h 25"/>
                  <a:gd name="T28" fmla="*/ 55 w 178"/>
                  <a:gd name="T29" fmla="*/ 4 h 25"/>
                  <a:gd name="T30" fmla="*/ 90 w 178"/>
                  <a:gd name="T31" fmla="*/ 17 h 25"/>
                  <a:gd name="T32" fmla="*/ 108 w 178"/>
                  <a:gd name="T33" fmla="*/ 22 h 25"/>
                  <a:gd name="T34" fmla="*/ 125 w 178"/>
                  <a:gd name="T35" fmla="*/ 23 h 25"/>
                  <a:gd name="T36" fmla="*/ 154 w 178"/>
                  <a:gd name="T37" fmla="*/ 17 h 25"/>
                  <a:gd name="T38" fmla="*/ 178 w 178"/>
                  <a:gd name="T39"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8" h="25">
                    <a:moveTo>
                      <a:pt x="178" y="2"/>
                    </a:moveTo>
                    <a:cubicBezTo>
                      <a:pt x="178" y="2"/>
                      <a:pt x="177" y="3"/>
                      <a:pt x="176" y="4"/>
                    </a:cubicBezTo>
                    <a:cubicBezTo>
                      <a:pt x="175" y="5"/>
                      <a:pt x="174" y="6"/>
                      <a:pt x="172" y="7"/>
                    </a:cubicBezTo>
                    <a:cubicBezTo>
                      <a:pt x="169" y="10"/>
                      <a:pt x="163" y="15"/>
                      <a:pt x="155" y="18"/>
                    </a:cubicBezTo>
                    <a:cubicBezTo>
                      <a:pt x="147" y="22"/>
                      <a:pt x="137" y="25"/>
                      <a:pt x="125" y="25"/>
                    </a:cubicBezTo>
                    <a:cubicBezTo>
                      <a:pt x="120" y="25"/>
                      <a:pt x="114" y="25"/>
                      <a:pt x="107" y="24"/>
                    </a:cubicBezTo>
                    <a:cubicBezTo>
                      <a:pt x="101" y="23"/>
                      <a:pt x="95" y="21"/>
                      <a:pt x="89" y="19"/>
                    </a:cubicBezTo>
                    <a:cubicBezTo>
                      <a:pt x="76" y="14"/>
                      <a:pt x="65" y="9"/>
                      <a:pt x="54" y="6"/>
                    </a:cubicBezTo>
                    <a:cubicBezTo>
                      <a:pt x="43" y="3"/>
                      <a:pt x="33" y="2"/>
                      <a:pt x="25" y="3"/>
                    </a:cubicBezTo>
                    <a:cubicBezTo>
                      <a:pt x="16" y="5"/>
                      <a:pt x="10" y="8"/>
                      <a:pt x="6" y="10"/>
                    </a:cubicBezTo>
                    <a:cubicBezTo>
                      <a:pt x="2" y="13"/>
                      <a:pt x="1" y="15"/>
                      <a:pt x="0" y="15"/>
                    </a:cubicBezTo>
                    <a:cubicBezTo>
                      <a:pt x="0" y="15"/>
                      <a:pt x="1" y="15"/>
                      <a:pt x="2" y="14"/>
                    </a:cubicBezTo>
                    <a:cubicBezTo>
                      <a:pt x="2" y="13"/>
                      <a:pt x="4" y="11"/>
                      <a:pt x="6" y="10"/>
                    </a:cubicBezTo>
                    <a:cubicBezTo>
                      <a:pt x="10" y="7"/>
                      <a:pt x="16" y="3"/>
                      <a:pt x="25" y="2"/>
                    </a:cubicBezTo>
                    <a:cubicBezTo>
                      <a:pt x="33" y="0"/>
                      <a:pt x="44" y="1"/>
                      <a:pt x="55" y="4"/>
                    </a:cubicBezTo>
                    <a:cubicBezTo>
                      <a:pt x="66" y="7"/>
                      <a:pt x="77" y="12"/>
                      <a:pt x="90" y="17"/>
                    </a:cubicBezTo>
                    <a:cubicBezTo>
                      <a:pt x="96" y="19"/>
                      <a:pt x="102" y="21"/>
                      <a:pt x="108" y="22"/>
                    </a:cubicBezTo>
                    <a:cubicBezTo>
                      <a:pt x="114" y="23"/>
                      <a:pt x="120" y="23"/>
                      <a:pt x="125" y="23"/>
                    </a:cubicBezTo>
                    <a:cubicBezTo>
                      <a:pt x="137" y="23"/>
                      <a:pt x="146" y="20"/>
                      <a:pt x="154" y="17"/>
                    </a:cubicBezTo>
                    <a:cubicBezTo>
                      <a:pt x="170" y="10"/>
                      <a:pt x="177" y="2"/>
                      <a:pt x="178"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46">
                <a:extLst>
                  <a:ext uri="{FF2B5EF4-FFF2-40B4-BE49-F238E27FC236}">
                    <a16:creationId xmlns:a16="http://schemas.microsoft.com/office/drawing/2014/main" id="{C349CDC4-9B4F-4847-B77D-6C46CA13B0A6}"/>
                  </a:ext>
                </a:extLst>
              </p:cNvPr>
              <p:cNvSpPr>
                <a:spLocks noChangeArrowheads="1"/>
              </p:cNvSpPr>
              <p:nvPr/>
            </p:nvSpPr>
            <p:spPr bwMode="auto">
              <a:xfrm>
                <a:off x="811" y="858"/>
                <a:ext cx="40" cy="107"/>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47">
                <a:extLst>
                  <a:ext uri="{FF2B5EF4-FFF2-40B4-BE49-F238E27FC236}">
                    <a16:creationId xmlns:a16="http://schemas.microsoft.com/office/drawing/2014/main" id="{B6C2E457-2162-4A2C-B4A6-7EF3D5B4D932}"/>
                  </a:ext>
                </a:extLst>
              </p:cNvPr>
              <p:cNvSpPr>
                <a:spLocks noChangeArrowheads="1"/>
              </p:cNvSpPr>
              <p:nvPr/>
            </p:nvSpPr>
            <p:spPr bwMode="auto">
              <a:xfrm>
                <a:off x="1369" y="858"/>
                <a:ext cx="38" cy="107"/>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48">
                <a:extLst>
                  <a:ext uri="{FF2B5EF4-FFF2-40B4-BE49-F238E27FC236}">
                    <a16:creationId xmlns:a16="http://schemas.microsoft.com/office/drawing/2014/main" id="{6FB3E10E-E9DB-4785-9F32-F6F0A75EFBA6}"/>
                  </a:ext>
                </a:extLst>
              </p:cNvPr>
              <p:cNvSpPr>
                <a:spLocks/>
              </p:cNvSpPr>
              <p:nvPr/>
            </p:nvSpPr>
            <p:spPr bwMode="auto">
              <a:xfrm>
                <a:off x="1858" y="1715"/>
                <a:ext cx="1085" cy="741"/>
              </a:xfrm>
              <a:custGeom>
                <a:avLst/>
                <a:gdLst>
                  <a:gd name="T0" fmla="*/ 47 w 1085"/>
                  <a:gd name="T1" fmla="*/ 154 h 741"/>
                  <a:gd name="T2" fmla="*/ 223 w 1085"/>
                  <a:gd name="T3" fmla="*/ 81 h 741"/>
                  <a:gd name="T4" fmla="*/ 639 w 1085"/>
                  <a:gd name="T5" fmla="*/ 0 h 741"/>
                  <a:gd name="T6" fmla="*/ 1085 w 1085"/>
                  <a:gd name="T7" fmla="*/ 88 h 741"/>
                  <a:gd name="T8" fmla="*/ 494 w 1085"/>
                  <a:gd name="T9" fmla="*/ 724 h 741"/>
                  <a:gd name="T10" fmla="*/ 213 w 1085"/>
                  <a:gd name="T11" fmla="*/ 741 h 741"/>
                  <a:gd name="T12" fmla="*/ 0 w 1085"/>
                  <a:gd name="T13" fmla="*/ 318 h 741"/>
                  <a:gd name="T14" fmla="*/ 47 w 1085"/>
                  <a:gd name="T15" fmla="*/ 154 h 7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741">
                    <a:moveTo>
                      <a:pt x="47" y="154"/>
                    </a:moveTo>
                    <a:lnTo>
                      <a:pt x="223" y="81"/>
                    </a:lnTo>
                    <a:lnTo>
                      <a:pt x="639" y="0"/>
                    </a:lnTo>
                    <a:lnTo>
                      <a:pt x="1085" y="88"/>
                    </a:lnTo>
                    <a:lnTo>
                      <a:pt x="494" y="724"/>
                    </a:lnTo>
                    <a:lnTo>
                      <a:pt x="213" y="741"/>
                    </a:lnTo>
                    <a:lnTo>
                      <a:pt x="0" y="318"/>
                    </a:lnTo>
                    <a:lnTo>
                      <a:pt x="47" y="15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49">
                <a:extLst>
                  <a:ext uri="{FF2B5EF4-FFF2-40B4-BE49-F238E27FC236}">
                    <a16:creationId xmlns:a16="http://schemas.microsoft.com/office/drawing/2014/main" id="{FAF6B122-E737-4C46-A17D-5AA08157195D}"/>
                  </a:ext>
                </a:extLst>
              </p:cNvPr>
              <p:cNvSpPr>
                <a:spLocks/>
              </p:cNvSpPr>
              <p:nvPr/>
            </p:nvSpPr>
            <p:spPr bwMode="auto">
              <a:xfrm>
                <a:off x="1858" y="1715"/>
                <a:ext cx="1085" cy="741"/>
              </a:xfrm>
              <a:custGeom>
                <a:avLst/>
                <a:gdLst>
                  <a:gd name="T0" fmla="*/ 47 w 1085"/>
                  <a:gd name="T1" fmla="*/ 154 h 741"/>
                  <a:gd name="T2" fmla="*/ 223 w 1085"/>
                  <a:gd name="T3" fmla="*/ 81 h 741"/>
                  <a:gd name="T4" fmla="*/ 639 w 1085"/>
                  <a:gd name="T5" fmla="*/ 0 h 741"/>
                  <a:gd name="T6" fmla="*/ 1085 w 1085"/>
                  <a:gd name="T7" fmla="*/ 88 h 741"/>
                  <a:gd name="T8" fmla="*/ 494 w 1085"/>
                  <a:gd name="T9" fmla="*/ 724 h 741"/>
                  <a:gd name="T10" fmla="*/ 213 w 1085"/>
                  <a:gd name="T11" fmla="*/ 741 h 741"/>
                  <a:gd name="T12" fmla="*/ 0 w 1085"/>
                  <a:gd name="T13" fmla="*/ 318 h 741"/>
                  <a:gd name="T14" fmla="*/ 47 w 1085"/>
                  <a:gd name="T15" fmla="*/ 154 h 7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741">
                    <a:moveTo>
                      <a:pt x="47" y="154"/>
                    </a:moveTo>
                    <a:lnTo>
                      <a:pt x="223" y="81"/>
                    </a:lnTo>
                    <a:lnTo>
                      <a:pt x="639" y="0"/>
                    </a:lnTo>
                    <a:lnTo>
                      <a:pt x="1085" y="88"/>
                    </a:lnTo>
                    <a:lnTo>
                      <a:pt x="494" y="724"/>
                    </a:lnTo>
                    <a:lnTo>
                      <a:pt x="213" y="741"/>
                    </a:lnTo>
                    <a:lnTo>
                      <a:pt x="0" y="318"/>
                    </a:lnTo>
                    <a:lnTo>
                      <a:pt x="47" y="1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50">
                <a:extLst>
                  <a:ext uri="{FF2B5EF4-FFF2-40B4-BE49-F238E27FC236}">
                    <a16:creationId xmlns:a16="http://schemas.microsoft.com/office/drawing/2014/main" id="{BFEF5671-5F5B-40E6-B030-1625F7C12C57}"/>
                  </a:ext>
                </a:extLst>
              </p:cNvPr>
              <p:cNvSpPr>
                <a:spLocks/>
              </p:cNvSpPr>
              <p:nvPr/>
            </p:nvSpPr>
            <p:spPr bwMode="auto">
              <a:xfrm>
                <a:off x="1511" y="1758"/>
                <a:ext cx="1905" cy="1633"/>
              </a:xfrm>
              <a:custGeom>
                <a:avLst/>
                <a:gdLst>
                  <a:gd name="T0" fmla="*/ 802 w 802"/>
                  <a:gd name="T1" fmla="*/ 252 h 688"/>
                  <a:gd name="T2" fmla="*/ 651 w 802"/>
                  <a:gd name="T3" fmla="*/ 38 h 688"/>
                  <a:gd name="T4" fmla="*/ 516 w 802"/>
                  <a:gd name="T5" fmla="*/ 0 h 688"/>
                  <a:gd name="T6" fmla="*/ 296 w 802"/>
                  <a:gd name="T7" fmla="*/ 246 h 688"/>
                  <a:gd name="T8" fmla="*/ 177 w 802"/>
                  <a:gd name="T9" fmla="*/ 42 h 688"/>
                  <a:gd name="T10" fmla="*/ 130 w 802"/>
                  <a:gd name="T11" fmla="*/ 61 h 688"/>
                  <a:gd name="T12" fmla="*/ 94 w 802"/>
                  <a:gd name="T13" fmla="*/ 99 h 688"/>
                  <a:gd name="T14" fmla="*/ 0 w 802"/>
                  <a:gd name="T15" fmla="*/ 374 h 688"/>
                  <a:gd name="T16" fmla="*/ 160 w 802"/>
                  <a:gd name="T17" fmla="*/ 412 h 688"/>
                  <a:gd name="T18" fmla="*/ 278 w 802"/>
                  <a:gd name="T19" fmla="*/ 688 h 688"/>
                  <a:gd name="T20" fmla="*/ 283 w 802"/>
                  <a:gd name="T21" fmla="*/ 662 h 688"/>
                  <a:gd name="T22" fmla="*/ 618 w 802"/>
                  <a:gd name="T23" fmla="*/ 657 h 688"/>
                  <a:gd name="T24" fmla="*/ 714 w 802"/>
                  <a:gd name="T25" fmla="*/ 620 h 688"/>
                  <a:gd name="T26" fmla="*/ 598 w 802"/>
                  <a:gd name="T27" fmla="*/ 355 h 688"/>
                  <a:gd name="T28" fmla="*/ 802 w 802"/>
                  <a:gd name="T29" fmla="*/ 252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688">
                    <a:moveTo>
                      <a:pt x="802" y="252"/>
                    </a:moveTo>
                    <a:cubicBezTo>
                      <a:pt x="802" y="252"/>
                      <a:pt x="683" y="60"/>
                      <a:pt x="651" y="38"/>
                    </a:cubicBezTo>
                    <a:cubicBezTo>
                      <a:pt x="619" y="15"/>
                      <a:pt x="516" y="0"/>
                      <a:pt x="516" y="0"/>
                    </a:cubicBezTo>
                    <a:cubicBezTo>
                      <a:pt x="516" y="0"/>
                      <a:pt x="404" y="255"/>
                      <a:pt x="296" y="246"/>
                    </a:cubicBezTo>
                    <a:cubicBezTo>
                      <a:pt x="189" y="237"/>
                      <a:pt x="177" y="42"/>
                      <a:pt x="177" y="42"/>
                    </a:cubicBezTo>
                    <a:cubicBezTo>
                      <a:pt x="130" y="61"/>
                      <a:pt x="130" y="61"/>
                      <a:pt x="130" y="61"/>
                    </a:cubicBezTo>
                    <a:cubicBezTo>
                      <a:pt x="113" y="68"/>
                      <a:pt x="100" y="82"/>
                      <a:pt x="94" y="99"/>
                    </a:cubicBezTo>
                    <a:cubicBezTo>
                      <a:pt x="0" y="374"/>
                      <a:pt x="0" y="374"/>
                      <a:pt x="0" y="374"/>
                    </a:cubicBezTo>
                    <a:cubicBezTo>
                      <a:pt x="160" y="412"/>
                      <a:pt x="160" y="412"/>
                      <a:pt x="160" y="412"/>
                    </a:cubicBezTo>
                    <a:cubicBezTo>
                      <a:pt x="189" y="518"/>
                      <a:pt x="228" y="609"/>
                      <a:pt x="278" y="688"/>
                    </a:cubicBezTo>
                    <a:cubicBezTo>
                      <a:pt x="283" y="662"/>
                      <a:pt x="283" y="662"/>
                      <a:pt x="283" y="662"/>
                    </a:cubicBezTo>
                    <a:cubicBezTo>
                      <a:pt x="618" y="657"/>
                      <a:pt x="618" y="657"/>
                      <a:pt x="618" y="657"/>
                    </a:cubicBezTo>
                    <a:cubicBezTo>
                      <a:pt x="714" y="620"/>
                      <a:pt x="714" y="620"/>
                      <a:pt x="714" y="620"/>
                    </a:cubicBezTo>
                    <a:cubicBezTo>
                      <a:pt x="598" y="355"/>
                      <a:pt x="598" y="355"/>
                      <a:pt x="598" y="355"/>
                    </a:cubicBezTo>
                    <a:cubicBezTo>
                      <a:pt x="802" y="252"/>
                      <a:pt x="802" y="252"/>
                      <a:pt x="802" y="25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51">
                <a:extLst>
                  <a:ext uri="{FF2B5EF4-FFF2-40B4-BE49-F238E27FC236}">
                    <a16:creationId xmlns:a16="http://schemas.microsoft.com/office/drawing/2014/main" id="{F7031039-BEA0-4679-A0F2-98DD51803B1A}"/>
                  </a:ext>
                </a:extLst>
              </p:cNvPr>
              <p:cNvSpPr>
                <a:spLocks/>
              </p:cNvSpPr>
              <p:nvPr/>
            </p:nvSpPr>
            <p:spPr bwMode="auto">
              <a:xfrm>
                <a:off x="1827" y="2389"/>
                <a:ext cx="123" cy="527"/>
              </a:xfrm>
              <a:custGeom>
                <a:avLst/>
                <a:gdLst>
                  <a:gd name="T0" fmla="*/ 52 w 52"/>
                  <a:gd name="T1" fmla="*/ 222 h 222"/>
                  <a:gd name="T2" fmla="*/ 51 w 52"/>
                  <a:gd name="T3" fmla="*/ 220 h 222"/>
                  <a:gd name="T4" fmla="*/ 49 w 52"/>
                  <a:gd name="T5" fmla="*/ 214 h 222"/>
                  <a:gd name="T6" fmla="*/ 41 w 52"/>
                  <a:gd name="T7" fmla="*/ 190 h 222"/>
                  <a:gd name="T8" fmla="*/ 16 w 52"/>
                  <a:gd name="T9" fmla="*/ 113 h 222"/>
                  <a:gd name="T10" fmla="*/ 6 w 52"/>
                  <a:gd name="T11" fmla="*/ 70 h 222"/>
                  <a:gd name="T12" fmla="*/ 1 w 52"/>
                  <a:gd name="T13" fmla="*/ 34 h 222"/>
                  <a:gd name="T14" fmla="*/ 0 w 52"/>
                  <a:gd name="T15" fmla="*/ 20 h 222"/>
                  <a:gd name="T16" fmla="*/ 0 w 52"/>
                  <a:gd name="T17" fmla="*/ 9 h 222"/>
                  <a:gd name="T18" fmla="*/ 0 w 52"/>
                  <a:gd name="T19" fmla="*/ 2 h 222"/>
                  <a:gd name="T20" fmla="*/ 0 w 52"/>
                  <a:gd name="T21" fmla="*/ 0 h 222"/>
                  <a:gd name="T22" fmla="*/ 0 w 52"/>
                  <a:gd name="T23" fmla="*/ 2 h 222"/>
                  <a:gd name="T24" fmla="*/ 0 w 52"/>
                  <a:gd name="T25" fmla="*/ 9 h 222"/>
                  <a:gd name="T26" fmla="*/ 1 w 52"/>
                  <a:gd name="T27" fmla="*/ 19 h 222"/>
                  <a:gd name="T28" fmla="*/ 2 w 52"/>
                  <a:gd name="T29" fmla="*/ 33 h 222"/>
                  <a:gd name="T30" fmla="*/ 8 w 52"/>
                  <a:gd name="T31" fmla="*/ 69 h 222"/>
                  <a:gd name="T32" fmla="*/ 18 w 52"/>
                  <a:gd name="T33" fmla="*/ 113 h 222"/>
                  <a:gd name="T34" fmla="*/ 42 w 52"/>
                  <a:gd name="T35" fmla="*/ 190 h 222"/>
                  <a:gd name="T36" fmla="*/ 50 w 52"/>
                  <a:gd name="T37" fmla="*/ 213 h 222"/>
                  <a:gd name="T38" fmla="*/ 51 w 52"/>
                  <a:gd name="T39" fmla="*/ 220 h 222"/>
                  <a:gd name="T40" fmla="*/ 52 w 52"/>
                  <a:gd name="T41"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222">
                    <a:moveTo>
                      <a:pt x="52" y="222"/>
                    </a:moveTo>
                    <a:cubicBezTo>
                      <a:pt x="52" y="222"/>
                      <a:pt x="52" y="221"/>
                      <a:pt x="51" y="220"/>
                    </a:cubicBezTo>
                    <a:cubicBezTo>
                      <a:pt x="50" y="218"/>
                      <a:pt x="50" y="216"/>
                      <a:pt x="49" y="214"/>
                    </a:cubicBezTo>
                    <a:cubicBezTo>
                      <a:pt x="47" y="208"/>
                      <a:pt x="44" y="200"/>
                      <a:pt x="41" y="190"/>
                    </a:cubicBezTo>
                    <a:cubicBezTo>
                      <a:pt x="34" y="171"/>
                      <a:pt x="25" y="144"/>
                      <a:pt x="16" y="113"/>
                    </a:cubicBezTo>
                    <a:cubicBezTo>
                      <a:pt x="12" y="98"/>
                      <a:pt x="9" y="83"/>
                      <a:pt x="6" y="70"/>
                    </a:cubicBezTo>
                    <a:cubicBezTo>
                      <a:pt x="3" y="56"/>
                      <a:pt x="2" y="44"/>
                      <a:pt x="1" y="34"/>
                    </a:cubicBezTo>
                    <a:cubicBezTo>
                      <a:pt x="0" y="28"/>
                      <a:pt x="0" y="24"/>
                      <a:pt x="0" y="20"/>
                    </a:cubicBezTo>
                    <a:cubicBezTo>
                      <a:pt x="0" y="15"/>
                      <a:pt x="0" y="12"/>
                      <a:pt x="0" y="9"/>
                    </a:cubicBezTo>
                    <a:cubicBezTo>
                      <a:pt x="0" y="6"/>
                      <a:pt x="0" y="4"/>
                      <a:pt x="0" y="2"/>
                    </a:cubicBezTo>
                    <a:cubicBezTo>
                      <a:pt x="0" y="1"/>
                      <a:pt x="0" y="0"/>
                      <a:pt x="0" y="0"/>
                    </a:cubicBezTo>
                    <a:cubicBezTo>
                      <a:pt x="0" y="0"/>
                      <a:pt x="0" y="1"/>
                      <a:pt x="0" y="2"/>
                    </a:cubicBezTo>
                    <a:cubicBezTo>
                      <a:pt x="0" y="4"/>
                      <a:pt x="0" y="6"/>
                      <a:pt x="0" y="9"/>
                    </a:cubicBezTo>
                    <a:cubicBezTo>
                      <a:pt x="0" y="12"/>
                      <a:pt x="1" y="15"/>
                      <a:pt x="1" y="19"/>
                    </a:cubicBezTo>
                    <a:cubicBezTo>
                      <a:pt x="1" y="24"/>
                      <a:pt x="2" y="28"/>
                      <a:pt x="2" y="33"/>
                    </a:cubicBezTo>
                    <a:cubicBezTo>
                      <a:pt x="3" y="44"/>
                      <a:pt x="5" y="56"/>
                      <a:pt x="8" y="69"/>
                    </a:cubicBezTo>
                    <a:cubicBezTo>
                      <a:pt x="10" y="83"/>
                      <a:pt x="14" y="97"/>
                      <a:pt x="18" y="113"/>
                    </a:cubicBezTo>
                    <a:cubicBezTo>
                      <a:pt x="27" y="143"/>
                      <a:pt x="36" y="170"/>
                      <a:pt x="42" y="190"/>
                    </a:cubicBezTo>
                    <a:cubicBezTo>
                      <a:pt x="45" y="200"/>
                      <a:pt x="48" y="208"/>
                      <a:pt x="50" y="213"/>
                    </a:cubicBezTo>
                    <a:cubicBezTo>
                      <a:pt x="50" y="216"/>
                      <a:pt x="51" y="218"/>
                      <a:pt x="51" y="220"/>
                    </a:cubicBezTo>
                    <a:cubicBezTo>
                      <a:pt x="52" y="221"/>
                      <a:pt x="52" y="222"/>
                      <a:pt x="52" y="2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52">
                <a:extLst>
                  <a:ext uri="{FF2B5EF4-FFF2-40B4-BE49-F238E27FC236}">
                    <a16:creationId xmlns:a16="http://schemas.microsoft.com/office/drawing/2014/main" id="{2DD94246-F499-48AE-A798-E0CADB49BC40}"/>
                  </a:ext>
                </a:extLst>
              </p:cNvPr>
              <p:cNvSpPr>
                <a:spLocks/>
              </p:cNvSpPr>
              <p:nvPr/>
            </p:nvSpPr>
            <p:spPr bwMode="auto">
              <a:xfrm>
                <a:off x="2323" y="2700"/>
                <a:ext cx="425" cy="152"/>
              </a:xfrm>
              <a:custGeom>
                <a:avLst/>
                <a:gdLst>
                  <a:gd name="T0" fmla="*/ 179 w 179"/>
                  <a:gd name="T1" fmla="*/ 47 h 64"/>
                  <a:gd name="T2" fmla="*/ 178 w 179"/>
                  <a:gd name="T3" fmla="*/ 48 h 64"/>
                  <a:gd name="T4" fmla="*/ 172 w 179"/>
                  <a:gd name="T5" fmla="*/ 51 h 64"/>
                  <a:gd name="T6" fmla="*/ 152 w 179"/>
                  <a:gd name="T7" fmla="*/ 58 h 64"/>
                  <a:gd name="T8" fmla="*/ 81 w 179"/>
                  <a:gd name="T9" fmla="*/ 57 h 64"/>
                  <a:gd name="T10" fmla="*/ 19 w 179"/>
                  <a:gd name="T11" fmla="*/ 23 h 64"/>
                  <a:gd name="T12" fmla="*/ 5 w 179"/>
                  <a:gd name="T13" fmla="*/ 7 h 64"/>
                  <a:gd name="T14" fmla="*/ 1 w 179"/>
                  <a:gd name="T15" fmla="*/ 2 h 64"/>
                  <a:gd name="T16" fmla="*/ 0 w 179"/>
                  <a:gd name="T17" fmla="*/ 0 h 64"/>
                  <a:gd name="T18" fmla="*/ 5 w 179"/>
                  <a:gd name="T19" fmla="*/ 7 h 64"/>
                  <a:gd name="T20" fmla="*/ 20 w 179"/>
                  <a:gd name="T21" fmla="*/ 22 h 64"/>
                  <a:gd name="T22" fmla="*/ 81 w 179"/>
                  <a:gd name="T23" fmla="*/ 55 h 64"/>
                  <a:gd name="T24" fmla="*/ 151 w 179"/>
                  <a:gd name="T25" fmla="*/ 56 h 64"/>
                  <a:gd name="T26" fmla="*/ 172 w 179"/>
                  <a:gd name="T27" fmla="*/ 50 h 64"/>
                  <a:gd name="T28" fmla="*/ 179 w 179"/>
                  <a:gd name="T2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64">
                    <a:moveTo>
                      <a:pt x="179" y="47"/>
                    </a:moveTo>
                    <a:cubicBezTo>
                      <a:pt x="179" y="47"/>
                      <a:pt x="179" y="47"/>
                      <a:pt x="178" y="48"/>
                    </a:cubicBezTo>
                    <a:cubicBezTo>
                      <a:pt x="176" y="49"/>
                      <a:pt x="175" y="50"/>
                      <a:pt x="172" y="51"/>
                    </a:cubicBezTo>
                    <a:cubicBezTo>
                      <a:pt x="168" y="53"/>
                      <a:pt x="161" y="55"/>
                      <a:pt x="152" y="58"/>
                    </a:cubicBezTo>
                    <a:cubicBezTo>
                      <a:pt x="134" y="62"/>
                      <a:pt x="108" y="64"/>
                      <a:pt x="81" y="57"/>
                    </a:cubicBezTo>
                    <a:cubicBezTo>
                      <a:pt x="54" y="50"/>
                      <a:pt x="32" y="36"/>
                      <a:pt x="19" y="23"/>
                    </a:cubicBezTo>
                    <a:cubicBezTo>
                      <a:pt x="12" y="17"/>
                      <a:pt x="8" y="11"/>
                      <a:pt x="5" y="7"/>
                    </a:cubicBezTo>
                    <a:cubicBezTo>
                      <a:pt x="3" y="5"/>
                      <a:pt x="2" y="3"/>
                      <a:pt x="1" y="2"/>
                    </a:cubicBezTo>
                    <a:cubicBezTo>
                      <a:pt x="0" y="1"/>
                      <a:pt x="0" y="1"/>
                      <a:pt x="0" y="0"/>
                    </a:cubicBezTo>
                    <a:cubicBezTo>
                      <a:pt x="0" y="0"/>
                      <a:pt x="2" y="3"/>
                      <a:pt x="5" y="7"/>
                    </a:cubicBezTo>
                    <a:cubicBezTo>
                      <a:pt x="8" y="10"/>
                      <a:pt x="13" y="16"/>
                      <a:pt x="20" y="22"/>
                    </a:cubicBezTo>
                    <a:cubicBezTo>
                      <a:pt x="33" y="34"/>
                      <a:pt x="55" y="48"/>
                      <a:pt x="81" y="55"/>
                    </a:cubicBezTo>
                    <a:cubicBezTo>
                      <a:pt x="108" y="62"/>
                      <a:pt x="134" y="60"/>
                      <a:pt x="151" y="56"/>
                    </a:cubicBezTo>
                    <a:cubicBezTo>
                      <a:pt x="160" y="54"/>
                      <a:pt x="167" y="52"/>
                      <a:pt x="172" y="50"/>
                    </a:cubicBezTo>
                    <a:cubicBezTo>
                      <a:pt x="177" y="48"/>
                      <a:pt x="179" y="47"/>
                      <a:pt x="179" y="4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53">
                <a:extLst>
                  <a:ext uri="{FF2B5EF4-FFF2-40B4-BE49-F238E27FC236}">
                    <a16:creationId xmlns:a16="http://schemas.microsoft.com/office/drawing/2014/main" id="{9182C723-65E9-4F99-98D6-68F42611CB56}"/>
                  </a:ext>
                </a:extLst>
              </p:cNvPr>
              <p:cNvSpPr>
                <a:spLocks/>
              </p:cNvSpPr>
              <p:nvPr/>
            </p:nvSpPr>
            <p:spPr bwMode="auto">
              <a:xfrm>
                <a:off x="2834" y="1855"/>
                <a:ext cx="157" cy="242"/>
              </a:xfrm>
              <a:custGeom>
                <a:avLst/>
                <a:gdLst>
                  <a:gd name="T0" fmla="*/ 0 w 66"/>
                  <a:gd name="T1" fmla="*/ 102 h 102"/>
                  <a:gd name="T2" fmla="*/ 1 w 66"/>
                  <a:gd name="T3" fmla="*/ 97 h 102"/>
                  <a:gd name="T4" fmla="*/ 5 w 66"/>
                  <a:gd name="T5" fmla="*/ 85 h 102"/>
                  <a:gd name="T6" fmla="*/ 24 w 66"/>
                  <a:gd name="T7" fmla="*/ 45 h 102"/>
                  <a:gd name="T8" fmla="*/ 52 w 66"/>
                  <a:gd name="T9" fmla="*/ 12 h 102"/>
                  <a:gd name="T10" fmla="*/ 62 w 66"/>
                  <a:gd name="T11" fmla="*/ 3 h 102"/>
                  <a:gd name="T12" fmla="*/ 66 w 66"/>
                  <a:gd name="T13" fmla="*/ 0 h 102"/>
                  <a:gd name="T14" fmla="*/ 53 w 66"/>
                  <a:gd name="T15" fmla="*/ 13 h 102"/>
                  <a:gd name="T16" fmla="*/ 26 w 66"/>
                  <a:gd name="T17" fmla="*/ 47 h 102"/>
                  <a:gd name="T18" fmla="*/ 6 w 66"/>
                  <a:gd name="T19" fmla="*/ 85 h 102"/>
                  <a:gd name="T20" fmla="*/ 0 w 66"/>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102">
                    <a:moveTo>
                      <a:pt x="0" y="102"/>
                    </a:moveTo>
                    <a:cubicBezTo>
                      <a:pt x="0" y="102"/>
                      <a:pt x="0" y="100"/>
                      <a:pt x="1" y="97"/>
                    </a:cubicBezTo>
                    <a:cubicBezTo>
                      <a:pt x="2" y="94"/>
                      <a:pt x="3" y="90"/>
                      <a:pt x="5" y="85"/>
                    </a:cubicBezTo>
                    <a:cubicBezTo>
                      <a:pt x="9" y="74"/>
                      <a:pt x="15" y="60"/>
                      <a:pt x="24" y="45"/>
                    </a:cubicBezTo>
                    <a:cubicBezTo>
                      <a:pt x="34" y="31"/>
                      <a:pt x="44" y="19"/>
                      <a:pt x="52" y="12"/>
                    </a:cubicBezTo>
                    <a:cubicBezTo>
                      <a:pt x="56" y="8"/>
                      <a:pt x="60" y="5"/>
                      <a:pt x="62" y="3"/>
                    </a:cubicBezTo>
                    <a:cubicBezTo>
                      <a:pt x="65" y="1"/>
                      <a:pt x="66" y="0"/>
                      <a:pt x="66" y="0"/>
                    </a:cubicBezTo>
                    <a:cubicBezTo>
                      <a:pt x="66" y="0"/>
                      <a:pt x="61" y="5"/>
                      <a:pt x="53" y="13"/>
                    </a:cubicBezTo>
                    <a:cubicBezTo>
                      <a:pt x="45" y="21"/>
                      <a:pt x="35" y="32"/>
                      <a:pt x="26" y="47"/>
                    </a:cubicBezTo>
                    <a:cubicBezTo>
                      <a:pt x="17" y="61"/>
                      <a:pt x="10" y="75"/>
                      <a:pt x="6" y="85"/>
                    </a:cubicBezTo>
                    <a:cubicBezTo>
                      <a:pt x="2" y="96"/>
                      <a:pt x="0" y="102"/>
                      <a:pt x="0" y="10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54">
                <a:extLst>
                  <a:ext uri="{FF2B5EF4-FFF2-40B4-BE49-F238E27FC236}">
                    <a16:creationId xmlns:a16="http://schemas.microsoft.com/office/drawing/2014/main" id="{B018F016-3CE8-432C-8482-B89662917EF7}"/>
                  </a:ext>
                </a:extLst>
              </p:cNvPr>
              <p:cNvSpPr>
                <a:spLocks/>
              </p:cNvSpPr>
              <p:nvPr/>
            </p:nvSpPr>
            <p:spPr bwMode="auto">
              <a:xfrm>
                <a:off x="2812" y="2226"/>
                <a:ext cx="48" cy="379"/>
              </a:xfrm>
              <a:custGeom>
                <a:avLst/>
                <a:gdLst>
                  <a:gd name="T0" fmla="*/ 20 w 20"/>
                  <a:gd name="T1" fmla="*/ 159 h 160"/>
                  <a:gd name="T2" fmla="*/ 9 w 20"/>
                  <a:gd name="T3" fmla="*/ 80 h 160"/>
                  <a:gd name="T4" fmla="*/ 1 w 20"/>
                  <a:gd name="T5" fmla="*/ 0 h 160"/>
                  <a:gd name="T6" fmla="*/ 11 w 20"/>
                  <a:gd name="T7" fmla="*/ 80 h 160"/>
                  <a:gd name="T8" fmla="*/ 20 w 20"/>
                  <a:gd name="T9" fmla="*/ 159 h 160"/>
                </a:gdLst>
                <a:ahLst/>
                <a:cxnLst>
                  <a:cxn ang="0">
                    <a:pos x="T0" y="T1"/>
                  </a:cxn>
                  <a:cxn ang="0">
                    <a:pos x="T2" y="T3"/>
                  </a:cxn>
                  <a:cxn ang="0">
                    <a:pos x="T4" y="T5"/>
                  </a:cxn>
                  <a:cxn ang="0">
                    <a:pos x="T6" y="T7"/>
                  </a:cxn>
                  <a:cxn ang="0">
                    <a:pos x="T8" y="T9"/>
                  </a:cxn>
                </a:cxnLst>
                <a:rect l="0" t="0" r="r" b="b"/>
                <a:pathLst>
                  <a:path w="20" h="160">
                    <a:moveTo>
                      <a:pt x="20" y="159"/>
                    </a:moveTo>
                    <a:cubicBezTo>
                      <a:pt x="19" y="160"/>
                      <a:pt x="15" y="124"/>
                      <a:pt x="9" y="80"/>
                    </a:cubicBezTo>
                    <a:cubicBezTo>
                      <a:pt x="4" y="36"/>
                      <a:pt x="0" y="0"/>
                      <a:pt x="1" y="0"/>
                    </a:cubicBezTo>
                    <a:cubicBezTo>
                      <a:pt x="2" y="0"/>
                      <a:pt x="6" y="36"/>
                      <a:pt x="11" y="80"/>
                    </a:cubicBezTo>
                    <a:cubicBezTo>
                      <a:pt x="17" y="124"/>
                      <a:pt x="20" y="159"/>
                      <a:pt x="20" y="15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55">
                <a:extLst>
                  <a:ext uri="{FF2B5EF4-FFF2-40B4-BE49-F238E27FC236}">
                    <a16:creationId xmlns:a16="http://schemas.microsoft.com/office/drawing/2014/main" id="{BBB83223-54D8-4FED-9277-E2BF8DDBBD11}"/>
                  </a:ext>
                </a:extLst>
              </p:cNvPr>
              <p:cNvSpPr>
                <a:spLocks noEditPoints="1"/>
              </p:cNvSpPr>
              <p:nvPr/>
            </p:nvSpPr>
            <p:spPr bwMode="auto">
              <a:xfrm>
                <a:off x="2328" y="2719"/>
                <a:ext cx="463" cy="216"/>
              </a:xfrm>
              <a:custGeom>
                <a:avLst/>
                <a:gdLst>
                  <a:gd name="T0" fmla="*/ 37 w 195"/>
                  <a:gd name="T1" fmla="*/ 29 h 91"/>
                  <a:gd name="T2" fmla="*/ 79 w 195"/>
                  <a:gd name="T3" fmla="*/ 47 h 91"/>
                  <a:gd name="T4" fmla="*/ 99 w 195"/>
                  <a:gd name="T5" fmla="*/ 51 h 91"/>
                  <a:gd name="T6" fmla="*/ 96 w 195"/>
                  <a:gd name="T7" fmla="*/ 50 h 91"/>
                  <a:gd name="T8" fmla="*/ 37 w 195"/>
                  <a:gd name="T9" fmla="*/ 29 h 91"/>
                  <a:gd name="T10" fmla="*/ 0 w 195"/>
                  <a:gd name="T11" fmla="*/ 0 h 91"/>
                  <a:gd name="T12" fmla="*/ 59 w 195"/>
                  <a:gd name="T13" fmla="*/ 69 h 91"/>
                  <a:gd name="T14" fmla="*/ 122 w 195"/>
                  <a:gd name="T15" fmla="*/ 91 h 91"/>
                  <a:gd name="T16" fmla="*/ 145 w 195"/>
                  <a:gd name="T17" fmla="*/ 88 h 91"/>
                  <a:gd name="T18" fmla="*/ 170 w 195"/>
                  <a:gd name="T19" fmla="*/ 75 h 91"/>
                  <a:gd name="T20" fmla="*/ 195 w 195"/>
                  <a:gd name="T21" fmla="*/ 43 h 91"/>
                  <a:gd name="T22" fmla="*/ 192 w 195"/>
                  <a:gd name="T23" fmla="*/ 35 h 91"/>
                  <a:gd name="T24" fmla="*/ 189 w 195"/>
                  <a:gd name="T25" fmla="*/ 34 h 91"/>
                  <a:gd name="T26" fmla="*/ 186 w 195"/>
                  <a:gd name="T27" fmla="*/ 35 h 91"/>
                  <a:gd name="T28" fmla="*/ 153 w 195"/>
                  <a:gd name="T29" fmla="*/ 47 h 91"/>
                  <a:gd name="T30" fmla="*/ 170 w 195"/>
                  <a:gd name="T31" fmla="*/ 42 h 91"/>
                  <a:gd name="T32" fmla="*/ 177 w 195"/>
                  <a:gd name="T33" fmla="*/ 39 h 91"/>
                  <a:gd name="T34" fmla="*/ 177 w 195"/>
                  <a:gd name="T35" fmla="*/ 39 h 91"/>
                  <a:gd name="T36" fmla="*/ 176 w 195"/>
                  <a:gd name="T37" fmla="*/ 40 h 91"/>
                  <a:gd name="T38" fmla="*/ 170 w 195"/>
                  <a:gd name="T39" fmla="*/ 43 h 91"/>
                  <a:gd name="T40" fmla="*/ 150 w 195"/>
                  <a:gd name="T41" fmla="*/ 50 h 91"/>
                  <a:gd name="T42" fmla="*/ 143 w 195"/>
                  <a:gd name="T43" fmla="*/ 51 h 91"/>
                  <a:gd name="T44" fmla="*/ 127 w 195"/>
                  <a:gd name="T45" fmla="*/ 55 h 91"/>
                  <a:gd name="T46" fmla="*/ 123 w 195"/>
                  <a:gd name="T47" fmla="*/ 55 h 91"/>
                  <a:gd name="T48" fmla="*/ 113 w 195"/>
                  <a:gd name="T49" fmla="*/ 54 h 91"/>
                  <a:gd name="T50" fmla="*/ 79 w 195"/>
                  <a:gd name="T51" fmla="*/ 49 h 91"/>
                  <a:gd name="T52" fmla="*/ 20 w 195"/>
                  <a:gd name="T53" fmla="*/ 18 h 91"/>
                  <a:gd name="T54" fmla="*/ 0 w 195"/>
                  <a:gd name="T5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5" h="91">
                    <a:moveTo>
                      <a:pt x="37" y="29"/>
                    </a:moveTo>
                    <a:cubicBezTo>
                      <a:pt x="49" y="36"/>
                      <a:pt x="63" y="43"/>
                      <a:pt x="79" y="47"/>
                    </a:cubicBezTo>
                    <a:cubicBezTo>
                      <a:pt x="86" y="49"/>
                      <a:pt x="93" y="50"/>
                      <a:pt x="99" y="51"/>
                    </a:cubicBezTo>
                    <a:cubicBezTo>
                      <a:pt x="98" y="51"/>
                      <a:pt x="97" y="50"/>
                      <a:pt x="96" y="50"/>
                    </a:cubicBezTo>
                    <a:cubicBezTo>
                      <a:pt x="75" y="45"/>
                      <a:pt x="55" y="38"/>
                      <a:pt x="37" y="29"/>
                    </a:cubicBezTo>
                    <a:moveTo>
                      <a:pt x="0" y="0"/>
                    </a:moveTo>
                    <a:cubicBezTo>
                      <a:pt x="17" y="25"/>
                      <a:pt x="35" y="50"/>
                      <a:pt x="59" y="69"/>
                    </a:cubicBezTo>
                    <a:cubicBezTo>
                      <a:pt x="77" y="82"/>
                      <a:pt x="100" y="91"/>
                      <a:pt x="122" y="91"/>
                    </a:cubicBezTo>
                    <a:cubicBezTo>
                      <a:pt x="130" y="91"/>
                      <a:pt x="137" y="90"/>
                      <a:pt x="145" y="88"/>
                    </a:cubicBezTo>
                    <a:cubicBezTo>
                      <a:pt x="154" y="85"/>
                      <a:pt x="162" y="81"/>
                      <a:pt x="170" y="75"/>
                    </a:cubicBezTo>
                    <a:cubicBezTo>
                      <a:pt x="182" y="68"/>
                      <a:pt x="193" y="57"/>
                      <a:pt x="195" y="43"/>
                    </a:cubicBezTo>
                    <a:cubicBezTo>
                      <a:pt x="195" y="40"/>
                      <a:pt x="195" y="37"/>
                      <a:pt x="192" y="35"/>
                    </a:cubicBezTo>
                    <a:cubicBezTo>
                      <a:pt x="191" y="35"/>
                      <a:pt x="190" y="34"/>
                      <a:pt x="189" y="34"/>
                    </a:cubicBezTo>
                    <a:cubicBezTo>
                      <a:pt x="188" y="34"/>
                      <a:pt x="187" y="35"/>
                      <a:pt x="186" y="35"/>
                    </a:cubicBezTo>
                    <a:cubicBezTo>
                      <a:pt x="175" y="37"/>
                      <a:pt x="164" y="43"/>
                      <a:pt x="153" y="47"/>
                    </a:cubicBezTo>
                    <a:cubicBezTo>
                      <a:pt x="160" y="45"/>
                      <a:pt x="166" y="43"/>
                      <a:pt x="170" y="42"/>
                    </a:cubicBezTo>
                    <a:cubicBezTo>
                      <a:pt x="174" y="40"/>
                      <a:pt x="177" y="39"/>
                      <a:pt x="177" y="39"/>
                    </a:cubicBezTo>
                    <a:cubicBezTo>
                      <a:pt x="177" y="39"/>
                      <a:pt x="177" y="39"/>
                      <a:pt x="177" y="39"/>
                    </a:cubicBezTo>
                    <a:cubicBezTo>
                      <a:pt x="177" y="39"/>
                      <a:pt x="177" y="39"/>
                      <a:pt x="176" y="40"/>
                    </a:cubicBezTo>
                    <a:cubicBezTo>
                      <a:pt x="174" y="41"/>
                      <a:pt x="173" y="42"/>
                      <a:pt x="170" y="43"/>
                    </a:cubicBezTo>
                    <a:cubicBezTo>
                      <a:pt x="166" y="45"/>
                      <a:pt x="159" y="47"/>
                      <a:pt x="150" y="50"/>
                    </a:cubicBezTo>
                    <a:cubicBezTo>
                      <a:pt x="148" y="50"/>
                      <a:pt x="146" y="51"/>
                      <a:pt x="143" y="51"/>
                    </a:cubicBezTo>
                    <a:cubicBezTo>
                      <a:pt x="138" y="53"/>
                      <a:pt x="133" y="54"/>
                      <a:pt x="127" y="55"/>
                    </a:cubicBezTo>
                    <a:cubicBezTo>
                      <a:pt x="126" y="55"/>
                      <a:pt x="125" y="55"/>
                      <a:pt x="123" y="55"/>
                    </a:cubicBezTo>
                    <a:cubicBezTo>
                      <a:pt x="120" y="55"/>
                      <a:pt x="116" y="54"/>
                      <a:pt x="113" y="54"/>
                    </a:cubicBezTo>
                    <a:cubicBezTo>
                      <a:pt x="102" y="54"/>
                      <a:pt x="91" y="52"/>
                      <a:pt x="79" y="49"/>
                    </a:cubicBezTo>
                    <a:cubicBezTo>
                      <a:pt x="54" y="43"/>
                      <a:pt x="34" y="30"/>
                      <a:pt x="20" y="18"/>
                    </a:cubicBezTo>
                    <a:cubicBezTo>
                      <a:pt x="13" y="13"/>
                      <a:pt x="6" y="7"/>
                      <a:pt x="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56">
                <a:extLst>
                  <a:ext uri="{FF2B5EF4-FFF2-40B4-BE49-F238E27FC236}">
                    <a16:creationId xmlns:a16="http://schemas.microsoft.com/office/drawing/2014/main" id="{6A9DF09D-0F11-4D59-81E8-C537C346F6C3}"/>
                  </a:ext>
                </a:extLst>
              </p:cNvPr>
              <p:cNvSpPr>
                <a:spLocks noEditPoints="1"/>
              </p:cNvSpPr>
              <p:nvPr/>
            </p:nvSpPr>
            <p:spPr bwMode="auto">
              <a:xfrm>
                <a:off x="2375" y="2762"/>
                <a:ext cx="373" cy="86"/>
              </a:xfrm>
              <a:custGeom>
                <a:avLst/>
                <a:gdLst>
                  <a:gd name="T0" fmla="*/ 157 w 157"/>
                  <a:gd name="T1" fmla="*/ 21 h 36"/>
                  <a:gd name="T2" fmla="*/ 150 w 157"/>
                  <a:gd name="T3" fmla="*/ 24 h 36"/>
                  <a:gd name="T4" fmla="*/ 133 w 157"/>
                  <a:gd name="T5" fmla="*/ 29 h 36"/>
                  <a:gd name="T6" fmla="*/ 123 w 157"/>
                  <a:gd name="T7" fmla="*/ 33 h 36"/>
                  <a:gd name="T8" fmla="*/ 130 w 157"/>
                  <a:gd name="T9" fmla="*/ 32 h 36"/>
                  <a:gd name="T10" fmla="*/ 150 w 157"/>
                  <a:gd name="T11" fmla="*/ 25 h 36"/>
                  <a:gd name="T12" fmla="*/ 156 w 157"/>
                  <a:gd name="T13" fmla="*/ 22 h 36"/>
                  <a:gd name="T14" fmla="*/ 157 w 157"/>
                  <a:gd name="T15" fmla="*/ 21 h 36"/>
                  <a:gd name="T16" fmla="*/ 157 w 157"/>
                  <a:gd name="T17" fmla="*/ 21 h 36"/>
                  <a:gd name="T18" fmla="*/ 0 w 157"/>
                  <a:gd name="T19" fmla="*/ 0 h 36"/>
                  <a:gd name="T20" fmla="*/ 59 w 157"/>
                  <a:gd name="T21" fmla="*/ 31 h 36"/>
                  <a:gd name="T22" fmla="*/ 93 w 157"/>
                  <a:gd name="T23" fmla="*/ 36 h 36"/>
                  <a:gd name="T24" fmla="*/ 79 w 157"/>
                  <a:gd name="T25" fmla="*/ 33 h 36"/>
                  <a:gd name="T26" fmla="*/ 59 w 157"/>
                  <a:gd name="T27" fmla="*/ 29 h 36"/>
                  <a:gd name="T28" fmla="*/ 17 w 157"/>
                  <a:gd name="T29" fmla="*/ 11 h 36"/>
                  <a:gd name="T30" fmla="*/ 0 w 157"/>
                  <a:gd name="T3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7" h="36">
                    <a:moveTo>
                      <a:pt x="157" y="21"/>
                    </a:moveTo>
                    <a:cubicBezTo>
                      <a:pt x="157" y="21"/>
                      <a:pt x="154" y="22"/>
                      <a:pt x="150" y="24"/>
                    </a:cubicBezTo>
                    <a:cubicBezTo>
                      <a:pt x="146" y="25"/>
                      <a:pt x="140" y="27"/>
                      <a:pt x="133" y="29"/>
                    </a:cubicBezTo>
                    <a:cubicBezTo>
                      <a:pt x="130" y="31"/>
                      <a:pt x="127" y="32"/>
                      <a:pt x="123" y="33"/>
                    </a:cubicBezTo>
                    <a:cubicBezTo>
                      <a:pt x="126" y="33"/>
                      <a:pt x="128" y="32"/>
                      <a:pt x="130" y="32"/>
                    </a:cubicBezTo>
                    <a:cubicBezTo>
                      <a:pt x="139" y="29"/>
                      <a:pt x="146" y="27"/>
                      <a:pt x="150" y="25"/>
                    </a:cubicBezTo>
                    <a:cubicBezTo>
                      <a:pt x="153" y="24"/>
                      <a:pt x="154" y="23"/>
                      <a:pt x="156" y="22"/>
                    </a:cubicBezTo>
                    <a:cubicBezTo>
                      <a:pt x="157" y="21"/>
                      <a:pt x="157" y="21"/>
                      <a:pt x="157" y="21"/>
                    </a:cubicBezTo>
                    <a:cubicBezTo>
                      <a:pt x="157" y="21"/>
                      <a:pt x="157" y="21"/>
                      <a:pt x="157" y="21"/>
                    </a:cubicBezTo>
                    <a:moveTo>
                      <a:pt x="0" y="0"/>
                    </a:moveTo>
                    <a:cubicBezTo>
                      <a:pt x="14" y="12"/>
                      <a:pt x="34" y="25"/>
                      <a:pt x="59" y="31"/>
                    </a:cubicBezTo>
                    <a:cubicBezTo>
                      <a:pt x="71" y="34"/>
                      <a:pt x="82" y="36"/>
                      <a:pt x="93" y="36"/>
                    </a:cubicBezTo>
                    <a:cubicBezTo>
                      <a:pt x="88" y="35"/>
                      <a:pt x="84" y="34"/>
                      <a:pt x="79" y="33"/>
                    </a:cubicBezTo>
                    <a:cubicBezTo>
                      <a:pt x="73" y="32"/>
                      <a:pt x="66" y="31"/>
                      <a:pt x="59" y="29"/>
                    </a:cubicBezTo>
                    <a:cubicBezTo>
                      <a:pt x="43" y="25"/>
                      <a:pt x="29" y="18"/>
                      <a:pt x="17" y="11"/>
                    </a:cubicBezTo>
                    <a:cubicBezTo>
                      <a:pt x="11" y="8"/>
                      <a:pt x="6" y="4"/>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57">
                <a:extLst>
                  <a:ext uri="{FF2B5EF4-FFF2-40B4-BE49-F238E27FC236}">
                    <a16:creationId xmlns:a16="http://schemas.microsoft.com/office/drawing/2014/main" id="{7A1FE42A-701B-46FB-A206-0CCB212DEC05}"/>
                  </a:ext>
                </a:extLst>
              </p:cNvPr>
              <p:cNvSpPr>
                <a:spLocks/>
              </p:cNvSpPr>
              <p:nvPr/>
            </p:nvSpPr>
            <p:spPr bwMode="auto">
              <a:xfrm>
                <a:off x="2931" y="2601"/>
                <a:ext cx="0" cy="2"/>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58">
                <a:extLst>
                  <a:ext uri="{FF2B5EF4-FFF2-40B4-BE49-F238E27FC236}">
                    <a16:creationId xmlns:a16="http://schemas.microsoft.com/office/drawing/2014/main" id="{8118A505-758F-4944-9E02-9282D46303BF}"/>
                  </a:ext>
                </a:extLst>
              </p:cNvPr>
              <p:cNvSpPr>
                <a:spLocks/>
              </p:cNvSpPr>
              <p:nvPr/>
            </p:nvSpPr>
            <p:spPr bwMode="auto">
              <a:xfrm>
                <a:off x="2877" y="2598"/>
                <a:ext cx="114" cy="385"/>
              </a:xfrm>
              <a:custGeom>
                <a:avLst/>
                <a:gdLst>
                  <a:gd name="T0" fmla="*/ 23 w 48"/>
                  <a:gd name="T1" fmla="*/ 0 h 162"/>
                  <a:gd name="T2" fmla="*/ 4 w 48"/>
                  <a:gd name="T3" fmla="*/ 6 h 162"/>
                  <a:gd name="T4" fmla="*/ 1 w 48"/>
                  <a:gd name="T5" fmla="*/ 7 h 162"/>
                  <a:gd name="T6" fmla="*/ 1 w 48"/>
                  <a:gd name="T7" fmla="*/ 12 h 162"/>
                  <a:gd name="T8" fmla="*/ 28 w 48"/>
                  <a:gd name="T9" fmla="*/ 121 h 162"/>
                  <a:gd name="T10" fmla="*/ 28 w 48"/>
                  <a:gd name="T11" fmla="*/ 134 h 162"/>
                  <a:gd name="T12" fmla="*/ 23 w 48"/>
                  <a:gd name="T13" fmla="*/ 145 h 162"/>
                  <a:gd name="T14" fmla="*/ 9 w 48"/>
                  <a:gd name="T15" fmla="*/ 162 h 162"/>
                  <a:gd name="T16" fmla="*/ 48 w 48"/>
                  <a:gd name="T17" fmla="*/ 135 h 162"/>
                  <a:gd name="T18" fmla="*/ 48 w 48"/>
                  <a:gd name="T19" fmla="*/ 135 h 162"/>
                  <a:gd name="T20" fmla="*/ 23 w 48"/>
                  <a:gd name="T21" fmla="*/ 2 h 162"/>
                  <a:gd name="T22" fmla="*/ 23 w 48"/>
                  <a:gd name="T23" fmla="*/ 1 h 162"/>
                  <a:gd name="T24" fmla="*/ 23 w 48"/>
                  <a:gd name="T25" fmla="*/ 1 h 162"/>
                  <a:gd name="T26" fmla="*/ 23 w 48"/>
                  <a:gd name="T2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62">
                    <a:moveTo>
                      <a:pt x="23" y="0"/>
                    </a:moveTo>
                    <a:cubicBezTo>
                      <a:pt x="17" y="2"/>
                      <a:pt x="10" y="4"/>
                      <a:pt x="4" y="6"/>
                    </a:cubicBezTo>
                    <a:cubicBezTo>
                      <a:pt x="3" y="6"/>
                      <a:pt x="2" y="7"/>
                      <a:pt x="1" y="7"/>
                    </a:cubicBezTo>
                    <a:cubicBezTo>
                      <a:pt x="0" y="9"/>
                      <a:pt x="0" y="11"/>
                      <a:pt x="1" y="12"/>
                    </a:cubicBezTo>
                    <a:cubicBezTo>
                      <a:pt x="14" y="48"/>
                      <a:pt x="23" y="84"/>
                      <a:pt x="28" y="121"/>
                    </a:cubicBezTo>
                    <a:cubicBezTo>
                      <a:pt x="29" y="126"/>
                      <a:pt x="29" y="130"/>
                      <a:pt x="28" y="134"/>
                    </a:cubicBezTo>
                    <a:cubicBezTo>
                      <a:pt x="27" y="138"/>
                      <a:pt x="25" y="142"/>
                      <a:pt x="23" y="145"/>
                    </a:cubicBezTo>
                    <a:cubicBezTo>
                      <a:pt x="18" y="150"/>
                      <a:pt x="14" y="156"/>
                      <a:pt x="9" y="162"/>
                    </a:cubicBezTo>
                    <a:cubicBezTo>
                      <a:pt x="22" y="153"/>
                      <a:pt x="47" y="135"/>
                      <a:pt x="48" y="135"/>
                    </a:cubicBezTo>
                    <a:cubicBezTo>
                      <a:pt x="48" y="135"/>
                      <a:pt x="48" y="135"/>
                      <a:pt x="48" y="135"/>
                    </a:cubicBezTo>
                    <a:cubicBezTo>
                      <a:pt x="39" y="93"/>
                      <a:pt x="32" y="45"/>
                      <a:pt x="23" y="2"/>
                    </a:cubicBezTo>
                    <a:cubicBezTo>
                      <a:pt x="23" y="1"/>
                      <a:pt x="23" y="1"/>
                      <a:pt x="23" y="1"/>
                    </a:cubicBezTo>
                    <a:cubicBezTo>
                      <a:pt x="23" y="1"/>
                      <a:pt x="23" y="1"/>
                      <a:pt x="23" y="1"/>
                    </a:cubicBezTo>
                    <a:cubicBezTo>
                      <a:pt x="23" y="0"/>
                      <a:pt x="23" y="0"/>
                      <a:pt x="23"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59">
                <a:extLst>
                  <a:ext uri="{FF2B5EF4-FFF2-40B4-BE49-F238E27FC236}">
                    <a16:creationId xmlns:a16="http://schemas.microsoft.com/office/drawing/2014/main" id="{E179ECCD-A7EF-4E86-BED8-95E5C445B833}"/>
                  </a:ext>
                </a:extLst>
              </p:cNvPr>
              <p:cNvSpPr>
                <a:spLocks/>
              </p:cNvSpPr>
              <p:nvPr/>
            </p:nvSpPr>
            <p:spPr bwMode="auto">
              <a:xfrm>
                <a:off x="1886" y="27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60">
                <a:extLst>
                  <a:ext uri="{FF2B5EF4-FFF2-40B4-BE49-F238E27FC236}">
                    <a16:creationId xmlns:a16="http://schemas.microsoft.com/office/drawing/2014/main" id="{6DCAEEB7-EF7A-4B3C-B607-D1F768128AA9}"/>
                  </a:ext>
                </a:extLst>
              </p:cNvPr>
              <p:cNvSpPr>
                <a:spLocks/>
              </p:cNvSpPr>
              <p:nvPr/>
            </p:nvSpPr>
            <p:spPr bwMode="auto">
              <a:xfrm>
                <a:off x="1779" y="2266"/>
                <a:ext cx="107" cy="470"/>
              </a:xfrm>
              <a:custGeom>
                <a:avLst/>
                <a:gdLst>
                  <a:gd name="T0" fmla="*/ 14 w 45"/>
                  <a:gd name="T1" fmla="*/ 0 h 198"/>
                  <a:gd name="T2" fmla="*/ 1 w 45"/>
                  <a:gd name="T3" fmla="*/ 97 h 198"/>
                  <a:gd name="T4" fmla="*/ 2 w 45"/>
                  <a:gd name="T5" fmla="*/ 126 h 198"/>
                  <a:gd name="T6" fmla="*/ 11 w 45"/>
                  <a:gd name="T7" fmla="*/ 150 h 198"/>
                  <a:gd name="T8" fmla="*/ 45 w 45"/>
                  <a:gd name="T9" fmla="*/ 198 h 198"/>
                  <a:gd name="T10" fmla="*/ 45 w 45"/>
                  <a:gd name="T11" fmla="*/ 198 h 198"/>
                  <a:gd name="T12" fmla="*/ 44 w 45"/>
                  <a:gd name="T13" fmla="*/ 193 h 198"/>
                  <a:gd name="T14" fmla="*/ 39 w 45"/>
                  <a:gd name="T15" fmla="*/ 176 h 198"/>
                  <a:gd name="T16" fmla="*/ 35 w 45"/>
                  <a:gd name="T17" fmla="*/ 166 h 198"/>
                  <a:gd name="T18" fmla="*/ 33 w 45"/>
                  <a:gd name="T19" fmla="*/ 152 h 198"/>
                  <a:gd name="T20" fmla="*/ 26 w 45"/>
                  <a:gd name="T21" fmla="*/ 122 h 198"/>
                  <a:gd name="T22" fmla="*/ 21 w 45"/>
                  <a:gd name="T23" fmla="*/ 86 h 198"/>
                  <a:gd name="T24" fmla="*/ 20 w 45"/>
                  <a:gd name="T25" fmla="*/ 72 h 198"/>
                  <a:gd name="T26" fmla="*/ 20 w 45"/>
                  <a:gd name="T27" fmla="*/ 61 h 198"/>
                  <a:gd name="T28" fmla="*/ 20 w 45"/>
                  <a:gd name="T29" fmla="*/ 54 h 198"/>
                  <a:gd name="T30" fmla="*/ 20 w 45"/>
                  <a:gd name="T31" fmla="*/ 52 h 198"/>
                  <a:gd name="T32" fmla="*/ 20 w 45"/>
                  <a:gd name="T33" fmla="*/ 54 h 198"/>
                  <a:gd name="T34" fmla="*/ 20 w 45"/>
                  <a:gd name="T35" fmla="*/ 61 h 198"/>
                  <a:gd name="T36" fmla="*/ 21 w 45"/>
                  <a:gd name="T37" fmla="*/ 71 h 198"/>
                  <a:gd name="T38" fmla="*/ 16 w 45"/>
                  <a:gd name="T39" fmla="*/ 6 h 198"/>
                  <a:gd name="T40" fmla="*/ 14 w 45"/>
                  <a:gd name="T4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198">
                    <a:moveTo>
                      <a:pt x="14" y="0"/>
                    </a:moveTo>
                    <a:cubicBezTo>
                      <a:pt x="6" y="32"/>
                      <a:pt x="2" y="64"/>
                      <a:pt x="1" y="97"/>
                    </a:cubicBezTo>
                    <a:cubicBezTo>
                      <a:pt x="0" y="107"/>
                      <a:pt x="1" y="116"/>
                      <a:pt x="2" y="126"/>
                    </a:cubicBezTo>
                    <a:cubicBezTo>
                      <a:pt x="4" y="134"/>
                      <a:pt x="7" y="142"/>
                      <a:pt x="11" y="150"/>
                    </a:cubicBezTo>
                    <a:cubicBezTo>
                      <a:pt x="19" y="168"/>
                      <a:pt x="31" y="184"/>
                      <a:pt x="45" y="198"/>
                    </a:cubicBezTo>
                    <a:cubicBezTo>
                      <a:pt x="45" y="198"/>
                      <a:pt x="45" y="198"/>
                      <a:pt x="45" y="198"/>
                    </a:cubicBezTo>
                    <a:cubicBezTo>
                      <a:pt x="45" y="196"/>
                      <a:pt x="45" y="195"/>
                      <a:pt x="44" y="193"/>
                    </a:cubicBezTo>
                    <a:cubicBezTo>
                      <a:pt x="43" y="188"/>
                      <a:pt x="41" y="182"/>
                      <a:pt x="39" y="176"/>
                    </a:cubicBezTo>
                    <a:cubicBezTo>
                      <a:pt x="38" y="173"/>
                      <a:pt x="36" y="169"/>
                      <a:pt x="35" y="166"/>
                    </a:cubicBezTo>
                    <a:cubicBezTo>
                      <a:pt x="34" y="161"/>
                      <a:pt x="33" y="156"/>
                      <a:pt x="33" y="152"/>
                    </a:cubicBezTo>
                    <a:cubicBezTo>
                      <a:pt x="30" y="141"/>
                      <a:pt x="28" y="131"/>
                      <a:pt x="26" y="122"/>
                    </a:cubicBezTo>
                    <a:cubicBezTo>
                      <a:pt x="23" y="108"/>
                      <a:pt x="22" y="96"/>
                      <a:pt x="21" y="86"/>
                    </a:cubicBezTo>
                    <a:cubicBezTo>
                      <a:pt x="20" y="80"/>
                      <a:pt x="20" y="76"/>
                      <a:pt x="20" y="72"/>
                    </a:cubicBezTo>
                    <a:cubicBezTo>
                      <a:pt x="20" y="67"/>
                      <a:pt x="20" y="64"/>
                      <a:pt x="20" y="61"/>
                    </a:cubicBezTo>
                    <a:cubicBezTo>
                      <a:pt x="20" y="58"/>
                      <a:pt x="20" y="56"/>
                      <a:pt x="20" y="54"/>
                    </a:cubicBezTo>
                    <a:cubicBezTo>
                      <a:pt x="20" y="53"/>
                      <a:pt x="20" y="52"/>
                      <a:pt x="20" y="52"/>
                    </a:cubicBezTo>
                    <a:cubicBezTo>
                      <a:pt x="20" y="52"/>
                      <a:pt x="20" y="53"/>
                      <a:pt x="20" y="54"/>
                    </a:cubicBezTo>
                    <a:cubicBezTo>
                      <a:pt x="20" y="56"/>
                      <a:pt x="20" y="58"/>
                      <a:pt x="20" y="61"/>
                    </a:cubicBezTo>
                    <a:cubicBezTo>
                      <a:pt x="20" y="64"/>
                      <a:pt x="21" y="67"/>
                      <a:pt x="21" y="71"/>
                    </a:cubicBezTo>
                    <a:cubicBezTo>
                      <a:pt x="20" y="49"/>
                      <a:pt x="20" y="28"/>
                      <a:pt x="16" y="6"/>
                    </a:cubicBezTo>
                    <a:cubicBezTo>
                      <a:pt x="16" y="4"/>
                      <a:pt x="15" y="2"/>
                      <a:pt x="1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61">
                <a:extLst>
                  <a:ext uri="{FF2B5EF4-FFF2-40B4-BE49-F238E27FC236}">
                    <a16:creationId xmlns:a16="http://schemas.microsoft.com/office/drawing/2014/main" id="{72B8DFB7-9F5E-4875-A6DF-CD32D9E353D8}"/>
                  </a:ext>
                </a:extLst>
              </p:cNvPr>
              <p:cNvSpPr>
                <a:spLocks noEditPoints="1"/>
              </p:cNvSpPr>
              <p:nvPr/>
            </p:nvSpPr>
            <p:spPr bwMode="auto">
              <a:xfrm>
                <a:off x="1827" y="2389"/>
                <a:ext cx="57" cy="335"/>
              </a:xfrm>
              <a:custGeom>
                <a:avLst/>
                <a:gdLst>
                  <a:gd name="T0" fmla="*/ 19 w 24"/>
                  <a:gd name="T1" fmla="*/ 124 h 141"/>
                  <a:gd name="T2" fmla="*/ 24 w 24"/>
                  <a:gd name="T3" fmla="*/ 141 h 141"/>
                  <a:gd name="T4" fmla="*/ 22 w 24"/>
                  <a:gd name="T5" fmla="*/ 131 h 141"/>
                  <a:gd name="T6" fmla="*/ 19 w 24"/>
                  <a:gd name="T7" fmla="*/ 124 h 141"/>
                  <a:gd name="T8" fmla="*/ 0 w 24"/>
                  <a:gd name="T9" fmla="*/ 0 h 141"/>
                  <a:gd name="T10" fmla="*/ 0 w 24"/>
                  <a:gd name="T11" fmla="*/ 2 h 141"/>
                  <a:gd name="T12" fmla="*/ 0 w 24"/>
                  <a:gd name="T13" fmla="*/ 9 h 141"/>
                  <a:gd name="T14" fmla="*/ 0 w 24"/>
                  <a:gd name="T15" fmla="*/ 20 h 141"/>
                  <a:gd name="T16" fmla="*/ 1 w 24"/>
                  <a:gd name="T17" fmla="*/ 34 h 141"/>
                  <a:gd name="T18" fmla="*/ 6 w 24"/>
                  <a:gd name="T19" fmla="*/ 70 h 141"/>
                  <a:gd name="T20" fmla="*/ 13 w 24"/>
                  <a:gd name="T21" fmla="*/ 100 h 141"/>
                  <a:gd name="T22" fmla="*/ 12 w 24"/>
                  <a:gd name="T23" fmla="*/ 93 h 141"/>
                  <a:gd name="T24" fmla="*/ 4 w 24"/>
                  <a:gd name="T25" fmla="*/ 54 h 141"/>
                  <a:gd name="T26" fmla="*/ 1 w 24"/>
                  <a:gd name="T27" fmla="*/ 19 h 141"/>
                  <a:gd name="T28" fmla="*/ 0 w 24"/>
                  <a:gd name="T29" fmla="*/ 9 h 141"/>
                  <a:gd name="T30" fmla="*/ 0 w 24"/>
                  <a:gd name="T31" fmla="*/ 2 h 141"/>
                  <a:gd name="T32" fmla="*/ 0 w 24"/>
                  <a:gd name="T3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41">
                    <a:moveTo>
                      <a:pt x="19" y="124"/>
                    </a:moveTo>
                    <a:cubicBezTo>
                      <a:pt x="21" y="130"/>
                      <a:pt x="23" y="136"/>
                      <a:pt x="24" y="141"/>
                    </a:cubicBezTo>
                    <a:cubicBezTo>
                      <a:pt x="24" y="138"/>
                      <a:pt x="23" y="135"/>
                      <a:pt x="22" y="131"/>
                    </a:cubicBezTo>
                    <a:cubicBezTo>
                      <a:pt x="21" y="129"/>
                      <a:pt x="20" y="127"/>
                      <a:pt x="19" y="124"/>
                    </a:cubicBezTo>
                    <a:moveTo>
                      <a:pt x="0" y="0"/>
                    </a:moveTo>
                    <a:cubicBezTo>
                      <a:pt x="0" y="0"/>
                      <a:pt x="0" y="1"/>
                      <a:pt x="0" y="2"/>
                    </a:cubicBezTo>
                    <a:cubicBezTo>
                      <a:pt x="0" y="4"/>
                      <a:pt x="0" y="6"/>
                      <a:pt x="0" y="9"/>
                    </a:cubicBezTo>
                    <a:cubicBezTo>
                      <a:pt x="0" y="12"/>
                      <a:pt x="0" y="15"/>
                      <a:pt x="0" y="20"/>
                    </a:cubicBezTo>
                    <a:cubicBezTo>
                      <a:pt x="0" y="24"/>
                      <a:pt x="0" y="28"/>
                      <a:pt x="1" y="34"/>
                    </a:cubicBezTo>
                    <a:cubicBezTo>
                      <a:pt x="2" y="44"/>
                      <a:pt x="3" y="56"/>
                      <a:pt x="6" y="70"/>
                    </a:cubicBezTo>
                    <a:cubicBezTo>
                      <a:pt x="8" y="79"/>
                      <a:pt x="10" y="89"/>
                      <a:pt x="13" y="100"/>
                    </a:cubicBezTo>
                    <a:cubicBezTo>
                      <a:pt x="12" y="98"/>
                      <a:pt x="12" y="96"/>
                      <a:pt x="12" y="93"/>
                    </a:cubicBezTo>
                    <a:cubicBezTo>
                      <a:pt x="9" y="80"/>
                      <a:pt x="6" y="67"/>
                      <a:pt x="4" y="54"/>
                    </a:cubicBezTo>
                    <a:cubicBezTo>
                      <a:pt x="2" y="42"/>
                      <a:pt x="1" y="31"/>
                      <a:pt x="1" y="19"/>
                    </a:cubicBezTo>
                    <a:cubicBezTo>
                      <a:pt x="1" y="15"/>
                      <a:pt x="0" y="12"/>
                      <a:pt x="0" y="9"/>
                    </a:cubicBezTo>
                    <a:cubicBezTo>
                      <a:pt x="0" y="6"/>
                      <a:pt x="0" y="4"/>
                      <a:pt x="0" y="2"/>
                    </a:cubicBezTo>
                    <a:cubicBezTo>
                      <a:pt x="0" y="1"/>
                      <a:pt x="0"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62">
                <a:extLst>
                  <a:ext uri="{FF2B5EF4-FFF2-40B4-BE49-F238E27FC236}">
                    <a16:creationId xmlns:a16="http://schemas.microsoft.com/office/drawing/2014/main" id="{13F18D74-53CB-4503-A67C-5326D9E39F6C}"/>
                  </a:ext>
                </a:extLst>
              </p:cNvPr>
              <p:cNvSpPr>
                <a:spLocks/>
              </p:cNvSpPr>
              <p:nvPr/>
            </p:nvSpPr>
            <p:spPr bwMode="auto">
              <a:xfrm>
                <a:off x="1886" y="2736"/>
                <a:ext cx="3" cy="7"/>
              </a:xfrm>
              <a:custGeom>
                <a:avLst/>
                <a:gdLst>
                  <a:gd name="T0" fmla="*/ 0 w 1"/>
                  <a:gd name="T1" fmla="*/ 0 h 3"/>
                  <a:gd name="T2" fmla="*/ 1 w 1"/>
                  <a:gd name="T3" fmla="*/ 3 h 3"/>
                  <a:gd name="T4" fmla="*/ 1 w 1"/>
                  <a:gd name="T5" fmla="*/ 1 h 3"/>
                  <a:gd name="T6" fmla="*/ 0 w 1"/>
                  <a:gd name="T7" fmla="*/ 0 h 3"/>
                </a:gdLst>
                <a:ahLst/>
                <a:cxnLst>
                  <a:cxn ang="0">
                    <a:pos x="T0" y="T1"/>
                  </a:cxn>
                  <a:cxn ang="0">
                    <a:pos x="T2" y="T3"/>
                  </a:cxn>
                  <a:cxn ang="0">
                    <a:pos x="T4" y="T5"/>
                  </a:cxn>
                  <a:cxn ang="0">
                    <a:pos x="T6" y="T7"/>
                  </a:cxn>
                </a:cxnLst>
                <a:rect l="0" t="0" r="r" b="b"/>
                <a:pathLst>
                  <a:path w="1" h="3">
                    <a:moveTo>
                      <a:pt x="0" y="0"/>
                    </a:moveTo>
                    <a:cubicBezTo>
                      <a:pt x="0" y="1"/>
                      <a:pt x="1" y="2"/>
                      <a:pt x="1" y="3"/>
                    </a:cubicBezTo>
                    <a:cubicBezTo>
                      <a:pt x="1" y="1"/>
                      <a:pt x="1" y="1"/>
                      <a:pt x="1" y="1"/>
                    </a:cubicBezTo>
                    <a:cubicBezTo>
                      <a:pt x="1" y="1"/>
                      <a:pt x="1" y="0"/>
                      <a:pt x="0" y="0"/>
                    </a:cubicBezTo>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63">
                <a:extLst>
                  <a:ext uri="{FF2B5EF4-FFF2-40B4-BE49-F238E27FC236}">
                    <a16:creationId xmlns:a16="http://schemas.microsoft.com/office/drawing/2014/main" id="{061E1575-A2C0-457E-B063-4584EA62CDF9}"/>
                  </a:ext>
                </a:extLst>
              </p:cNvPr>
              <p:cNvSpPr>
                <a:spLocks/>
              </p:cNvSpPr>
              <p:nvPr/>
            </p:nvSpPr>
            <p:spPr bwMode="auto">
              <a:xfrm>
                <a:off x="2454" y="2425"/>
                <a:ext cx="933" cy="1033"/>
              </a:xfrm>
              <a:custGeom>
                <a:avLst/>
                <a:gdLst>
                  <a:gd name="T0" fmla="*/ 11 w 393"/>
                  <a:gd name="T1" fmla="*/ 360 h 435"/>
                  <a:gd name="T2" fmla="*/ 226 w 393"/>
                  <a:gd name="T3" fmla="*/ 207 h 435"/>
                  <a:gd name="T4" fmla="*/ 201 w 393"/>
                  <a:gd name="T5" fmla="*/ 73 h 435"/>
                  <a:gd name="T6" fmla="*/ 342 w 393"/>
                  <a:gd name="T7" fmla="*/ 0 h 435"/>
                  <a:gd name="T8" fmla="*/ 359 w 393"/>
                  <a:gd name="T9" fmla="*/ 296 h 435"/>
                  <a:gd name="T10" fmla="*/ 0 w 393"/>
                  <a:gd name="T11" fmla="*/ 435 h 435"/>
                  <a:gd name="T12" fmla="*/ 11 w 393"/>
                  <a:gd name="T13" fmla="*/ 360 h 435"/>
                </a:gdLst>
                <a:ahLst/>
                <a:cxnLst>
                  <a:cxn ang="0">
                    <a:pos x="T0" y="T1"/>
                  </a:cxn>
                  <a:cxn ang="0">
                    <a:pos x="T2" y="T3"/>
                  </a:cxn>
                  <a:cxn ang="0">
                    <a:pos x="T4" y="T5"/>
                  </a:cxn>
                  <a:cxn ang="0">
                    <a:pos x="T6" y="T7"/>
                  </a:cxn>
                  <a:cxn ang="0">
                    <a:pos x="T8" y="T9"/>
                  </a:cxn>
                  <a:cxn ang="0">
                    <a:pos x="T10" y="T11"/>
                  </a:cxn>
                  <a:cxn ang="0">
                    <a:pos x="T12" y="T13"/>
                  </a:cxn>
                </a:cxnLst>
                <a:rect l="0" t="0" r="r" b="b"/>
                <a:pathLst>
                  <a:path w="393" h="435">
                    <a:moveTo>
                      <a:pt x="11" y="360"/>
                    </a:moveTo>
                    <a:cubicBezTo>
                      <a:pt x="226" y="207"/>
                      <a:pt x="226" y="207"/>
                      <a:pt x="226" y="207"/>
                    </a:cubicBezTo>
                    <a:cubicBezTo>
                      <a:pt x="201" y="73"/>
                      <a:pt x="201" y="73"/>
                      <a:pt x="201" y="73"/>
                    </a:cubicBezTo>
                    <a:cubicBezTo>
                      <a:pt x="342" y="0"/>
                      <a:pt x="342" y="0"/>
                      <a:pt x="342" y="0"/>
                    </a:cubicBezTo>
                    <a:cubicBezTo>
                      <a:pt x="342" y="0"/>
                      <a:pt x="393" y="214"/>
                      <a:pt x="359" y="296"/>
                    </a:cubicBezTo>
                    <a:cubicBezTo>
                      <a:pt x="347" y="325"/>
                      <a:pt x="0" y="435"/>
                      <a:pt x="0" y="435"/>
                    </a:cubicBezTo>
                    <a:lnTo>
                      <a:pt x="11" y="36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64">
                <a:extLst>
                  <a:ext uri="{FF2B5EF4-FFF2-40B4-BE49-F238E27FC236}">
                    <a16:creationId xmlns:a16="http://schemas.microsoft.com/office/drawing/2014/main" id="{7C9E9F94-D908-41BB-A3C1-9DEA2078463B}"/>
                  </a:ext>
                </a:extLst>
              </p:cNvPr>
              <p:cNvSpPr>
                <a:spLocks/>
              </p:cNvSpPr>
              <p:nvPr/>
            </p:nvSpPr>
            <p:spPr bwMode="auto">
              <a:xfrm>
                <a:off x="2983" y="2871"/>
                <a:ext cx="200" cy="50"/>
              </a:xfrm>
              <a:custGeom>
                <a:avLst/>
                <a:gdLst>
                  <a:gd name="T0" fmla="*/ 84 w 84"/>
                  <a:gd name="T1" fmla="*/ 6 h 21"/>
                  <a:gd name="T2" fmla="*/ 71 w 84"/>
                  <a:gd name="T3" fmla="*/ 3 h 21"/>
                  <a:gd name="T4" fmla="*/ 58 w 84"/>
                  <a:gd name="T5" fmla="*/ 2 h 21"/>
                  <a:gd name="T6" fmla="*/ 41 w 84"/>
                  <a:gd name="T7" fmla="*/ 3 h 21"/>
                  <a:gd name="T8" fmla="*/ 24 w 84"/>
                  <a:gd name="T9" fmla="*/ 8 h 21"/>
                  <a:gd name="T10" fmla="*/ 11 w 84"/>
                  <a:gd name="T11" fmla="*/ 14 h 21"/>
                  <a:gd name="T12" fmla="*/ 1 w 84"/>
                  <a:gd name="T13" fmla="*/ 20 h 21"/>
                  <a:gd name="T14" fmla="*/ 3 w 84"/>
                  <a:gd name="T15" fmla="*/ 18 h 21"/>
                  <a:gd name="T16" fmla="*/ 11 w 84"/>
                  <a:gd name="T17" fmla="*/ 12 h 21"/>
                  <a:gd name="T18" fmla="*/ 23 w 84"/>
                  <a:gd name="T19" fmla="*/ 6 h 21"/>
                  <a:gd name="T20" fmla="*/ 40 w 84"/>
                  <a:gd name="T21" fmla="*/ 1 h 21"/>
                  <a:gd name="T22" fmla="*/ 58 w 84"/>
                  <a:gd name="T23" fmla="*/ 0 h 21"/>
                  <a:gd name="T24" fmla="*/ 72 w 84"/>
                  <a:gd name="T25" fmla="*/ 2 h 21"/>
                  <a:gd name="T26" fmla="*/ 81 w 84"/>
                  <a:gd name="T27" fmla="*/ 4 h 21"/>
                  <a:gd name="T28" fmla="*/ 84 w 84"/>
                  <a:gd name="T2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21">
                    <a:moveTo>
                      <a:pt x="84" y="6"/>
                    </a:moveTo>
                    <a:cubicBezTo>
                      <a:pt x="84" y="6"/>
                      <a:pt x="79" y="5"/>
                      <a:pt x="71" y="3"/>
                    </a:cubicBezTo>
                    <a:cubicBezTo>
                      <a:pt x="68" y="2"/>
                      <a:pt x="63" y="2"/>
                      <a:pt x="58" y="2"/>
                    </a:cubicBezTo>
                    <a:cubicBezTo>
                      <a:pt x="52" y="2"/>
                      <a:pt x="47" y="2"/>
                      <a:pt x="41" y="3"/>
                    </a:cubicBezTo>
                    <a:cubicBezTo>
                      <a:pt x="35" y="4"/>
                      <a:pt x="29" y="6"/>
                      <a:pt x="24" y="8"/>
                    </a:cubicBezTo>
                    <a:cubicBezTo>
                      <a:pt x="19" y="9"/>
                      <a:pt x="15" y="12"/>
                      <a:pt x="11" y="14"/>
                    </a:cubicBezTo>
                    <a:cubicBezTo>
                      <a:pt x="5" y="18"/>
                      <a:pt x="1" y="21"/>
                      <a:pt x="1" y="20"/>
                    </a:cubicBezTo>
                    <a:cubicBezTo>
                      <a:pt x="0" y="20"/>
                      <a:pt x="1" y="19"/>
                      <a:pt x="3" y="18"/>
                    </a:cubicBezTo>
                    <a:cubicBezTo>
                      <a:pt x="5" y="16"/>
                      <a:pt x="7" y="14"/>
                      <a:pt x="11" y="12"/>
                    </a:cubicBezTo>
                    <a:cubicBezTo>
                      <a:pt x="14" y="10"/>
                      <a:pt x="18" y="8"/>
                      <a:pt x="23" y="6"/>
                    </a:cubicBezTo>
                    <a:cubicBezTo>
                      <a:pt x="28" y="4"/>
                      <a:pt x="34" y="2"/>
                      <a:pt x="40" y="1"/>
                    </a:cubicBezTo>
                    <a:cubicBezTo>
                      <a:pt x="46" y="0"/>
                      <a:pt x="52" y="0"/>
                      <a:pt x="58" y="0"/>
                    </a:cubicBezTo>
                    <a:cubicBezTo>
                      <a:pt x="63" y="0"/>
                      <a:pt x="68" y="1"/>
                      <a:pt x="72" y="2"/>
                    </a:cubicBezTo>
                    <a:cubicBezTo>
                      <a:pt x="76" y="3"/>
                      <a:pt x="79" y="4"/>
                      <a:pt x="81" y="4"/>
                    </a:cubicBezTo>
                    <a:cubicBezTo>
                      <a:pt x="83" y="5"/>
                      <a:pt x="84" y="6"/>
                      <a:pt x="84" y="6"/>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65">
                <a:extLst>
                  <a:ext uri="{FF2B5EF4-FFF2-40B4-BE49-F238E27FC236}">
                    <a16:creationId xmlns:a16="http://schemas.microsoft.com/office/drawing/2014/main" id="{9BE17A99-4767-4EBD-A1B0-7507D075B94B}"/>
                  </a:ext>
                </a:extLst>
              </p:cNvPr>
              <p:cNvSpPr>
                <a:spLocks/>
              </p:cNvSpPr>
              <p:nvPr/>
            </p:nvSpPr>
            <p:spPr bwMode="auto">
              <a:xfrm>
                <a:off x="2983" y="2821"/>
                <a:ext cx="129" cy="100"/>
              </a:xfrm>
              <a:custGeom>
                <a:avLst/>
                <a:gdLst>
                  <a:gd name="T0" fmla="*/ 54 w 54"/>
                  <a:gd name="T1" fmla="*/ 0 h 42"/>
                  <a:gd name="T2" fmla="*/ 45 w 54"/>
                  <a:gd name="T3" fmla="*/ 5 h 42"/>
                  <a:gd name="T4" fmla="*/ 24 w 54"/>
                  <a:gd name="T5" fmla="*/ 18 h 42"/>
                  <a:gd name="T6" fmla="*/ 6 w 54"/>
                  <a:gd name="T7" fmla="*/ 34 h 42"/>
                  <a:gd name="T8" fmla="*/ 1 w 54"/>
                  <a:gd name="T9" fmla="*/ 42 h 42"/>
                  <a:gd name="T10" fmla="*/ 5 w 54"/>
                  <a:gd name="T11" fmla="*/ 33 h 42"/>
                  <a:gd name="T12" fmla="*/ 23 w 54"/>
                  <a:gd name="T13" fmla="*/ 16 h 42"/>
                  <a:gd name="T14" fmla="*/ 44 w 54"/>
                  <a:gd name="T15" fmla="*/ 4 h 42"/>
                  <a:gd name="T16" fmla="*/ 54 w 54"/>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2">
                    <a:moveTo>
                      <a:pt x="54" y="0"/>
                    </a:moveTo>
                    <a:cubicBezTo>
                      <a:pt x="54" y="0"/>
                      <a:pt x="50" y="2"/>
                      <a:pt x="45" y="5"/>
                    </a:cubicBezTo>
                    <a:cubicBezTo>
                      <a:pt x="39" y="8"/>
                      <a:pt x="32" y="13"/>
                      <a:pt x="24" y="18"/>
                    </a:cubicBezTo>
                    <a:cubicBezTo>
                      <a:pt x="16" y="23"/>
                      <a:pt x="10" y="29"/>
                      <a:pt x="6" y="34"/>
                    </a:cubicBezTo>
                    <a:cubicBezTo>
                      <a:pt x="2" y="39"/>
                      <a:pt x="1" y="42"/>
                      <a:pt x="1" y="42"/>
                    </a:cubicBezTo>
                    <a:cubicBezTo>
                      <a:pt x="0" y="42"/>
                      <a:pt x="1" y="38"/>
                      <a:pt x="5" y="33"/>
                    </a:cubicBezTo>
                    <a:cubicBezTo>
                      <a:pt x="8" y="28"/>
                      <a:pt x="15" y="22"/>
                      <a:pt x="23" y="16"/>
                    </a:cubicBezTo>
                    <a:cubicBezTo>
                      <a:pt x="31" y="11"/>
                      <a:pt x="38" y="6"/>
                      <a:pt x="44" y="4"/>
                    </a:cubicBezTo>
                    <a:cubicBezTo>
                      <a:pt x="50" y="1"/>
                      <a:pt x="54" y="0"/>
                      <a:pt x="54"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66">
                <a:extLst>
                  <a:ext uri="{FF2B5EF4-FFF2-40B4-BE49-F238E27FC236}">
                    <a16:creationId xmlns:a16="http://schemas.microsoft.com/office/drawing/2014/main" id="{4FE493E8-C458-40A1-900E-A8E5BE6ABE6C}"/>
                  </a:ext>
                </a:extLst>
              </p:cNvPr>
              <p:cNvSpPr>
                <a:spLocks noChangeArrowheads="1"/>
              </p:cNvSpPr>
              <p:nvPr/>
            </p:nvSpPr>
            <p:spPr bwMode="auto">
              <a:xfrm>
                <a:off x="2024" y="3526"/>
                <a:ext cx="100" cy="1"/>
              </a:xfrm>
              <a:prstGeom prst="ellipse">
                <a:avLst/>
              </a:pr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67">
                <a:extLst>
                  <a:ext uri="{FF2B5EF4-FFF2-40B4-BE49-F238E27FC236}">
                    <a16:creationId xmlns:a16="http://schemas.microsoft.com/office/drawing/2014/main" id="{04336E4F-C55E-4D40-B148-D2875AF727F8}"/>
                  </a:ext>
                </a:extLst>
              </p:cNvPr>
              <p:cNvSpPr>
                <a:spLocks/>
              </p:cNvSpPr>
              <p:nvPr/>
            </p:nvSpPr>
            <p:spPr bwMode="auto">
              <a:xfrm>
                <a:off x="400" y="2845"/>
                <a:ext cx="2811" cy="1263"/>
              </a:xfrm>
              <a:custGeom>
                <a:avLst/>
                <a:gdLst>
                  <a:gd name="T0" fmla="*/ 731 w 1184"/>
                  <a:gd name="T1" fmla="*/ 198 h 532"/>
                  <a:gd name="T2" fmla="*/ 268 w 1184"/>
                  <a:gd name="T3" fmla="*/ 21 h 532"/>
                  <a:gd name="T4" fmla="*/ 38 w 1184"/>
                  <a:gd name="T5" fmla="*/ 97 h 532"/>
                  <a:gd name="T6" fmla="*/ 130 w 1184"/>
                  <a:gd name="T7" fmla="*/ 313 h 532"/>
                  <a:gd name="T8" fmla="*/ 645 w 1184"/>
                  <a:gd name="T9" fmla="*/ 445 h 532"/>
                  <a:gd name="T10" fmla="*/ 1050 w 1184"/>
                  <a:gd name="T11" fmla="*/ 509 h 532"/>
                  <a:gd name="T12" fmla="*/ 1161 w 1184"/>
                  <a:gd name="T13" fmla="*/ 342 h 532"/>
                  <a:gd name="T14" fmla="*/ 1058 w 1184"/>
                  <a:gd name="T15" fmla="*/ 194 h 532"/>
                  <a:gd name="T16" fmla="*/ 874 w 1184"/>
                  <a:gd name="T17" fmla="*/ 262 h 532"/>
                  <a:gd name="T18" fmla="*/ 731 w 1184"/>
                  <a:gd name="T19" fmla="*/ 19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532">
                    <a:moveTo>
                      <a:pt x="731" y="198"/>
                    </a:moveTo>
                    <a:cubicBezTo>
                      <a:pt x="731" y="198"/>
                      <a:pt x="334" y="35"/>
                      <a:pt x="268" y="21"/>
                    </a:cubicBezTo>
                    <a:cubicBezTo>
                      <a:pt x="202" y="7"/>
                      <a:pt x="87" y="0"/>
                      <a:pt x="38" y="97"/>
                    </a:cubicBezTo>
                    <a:cubicBezTo>
                      <a:pt x="4" y="165"/>
                      <a:pt x="0" y="245"/>
                      <a:pt x="130" y="313"/>
                    </a:cubicBezTo>
                    <a:cubicBezTo>
                      <a:pt x="259" y="382"/>
                      <a:pt x="645" y="445"/>
                      <a:pt x="645" y="445"/>
                    </a:cubicBezTo>
                    <a:cubicBezTo>
                      <a:pt x="645" y="445"/>
                      <a:pt x="994" y="532"/>
                      <a:pt x="1050" y="509"/>
                    </a:cubicBezTo>
                    <a:cubicBezTo>
                      <a:pt x="1107" y="485"/>
                      <a:pt x="1184" y="436"/>
                      <a:pt x="1161" y="342"/>
                    </a:cubicBezTo>
                    <a:cubicBezTo>
                      <a:pt x="1137" y="247"/>
                      <a:pt x="1142" y="199"/>
                      <a:pt x="1058" y="194"/>
                    </a:cubicBezTo>
                    <a:cubicBezTo>
                      <a:pt x="974" y="188"/>
                      <a:pt x="953" y="186"/>
                      <a:pt x="874" y="262"/>
                    </a:cubicBezTo>
                    <a:lnTo>
                      <a:pt x="731" y="19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68">
                <a:extLst>
                  <a:ext uri="{FF2B5EF4-FFF2-40B4-BE49-F238E27FC236}">
                    <a16:creationId xmlns:a16="http://schemas.microsoft.com/office/drawing/2014/main" id="{76065447-34BF-4E2F-B4F5-D777EFAE10F4}"/>
                  </a:ext>
                </a:extLst>
              </p:cNvPr>
              <p:cNvSpPr>
                <a:spLocks/>
              </p:cNvSpPr>
              <p:nvPr/>
            </p:nvSpPr>
            <p:spPr bwMode="auto">
              <a:xfrm>
                <a:off x="2808" y="3218"/>
                <a:ext cx="565" cy="717"/>
              </a:xfrm>
              <a:custGeom>
                <a:avLst/>
                <a:gdLst>
                  <a:gd name="T0" fmla="*/ 167 w 238"/>
                  <a:gd name="T1" fmla="*/ 0 h 302"/>
                  <a:gd name="T2" fmla="*/ 211 w 238"/>
                  <a:gd name="T3" fmla="*/ 188 h 302"/>
                  <a:gd name="T4" fmla="*/ 115 w 238"/>
                  <a:gd name="T5" fmla="*/ 302 h 302"/>
                  <a:gd name="T6" fmla="*/ 0 w 238"/>
                  <a:gd name="T7" fmla="*/ 51 h 302"/>
                  <a:gd name="T8" fmla="*/ 167 w 238"/>
                  <a:gd name="T9" fmla="*/ 0 h 302"/>
                </a:gdLst>
                <a:ahLst/>
                <a:cxnLst>
                  <a:cxn ang="0">
                    <a:pos x="T0" y="T1"/>
                  </a:cxn>
                  <a:cxn ang="0">
                    <a:pos x="T2" y="T3"/>
                  </a:cxn>
                  <a:cxn ang="0">
                    <a:pos x="T4" y="T5"/>
                  </a:cxn>
                  <a:cxn ang="0">
                    <a:pos x="T6" y="T7"/>
                  </a:cxn>
                  <a:cxn ang="0">
                    <a:pos x="T8" y="T9"/>
                  </a:cxn>
                </a:cxnLst>
                <a:rect l="0" t="0" r="r" b="b"/>
                <a:pathLst>
                  <a:path w="238" h="302">
                    <a:moveTo>
                      <a:pt x="167" y="0"/>
                    </a:moveTo>
                    <a:cubicBezTo>
                      <a:pt x="167" y="0"/>
                      <a:pt x="238" y="119"/>
                      <a:pt x="211" y="188"/>
                    </a:cubicBezTo>
                    <a:cubicBezTo>
                      <a:pt x="184" y="257"/>
                      <a:pt x="115" y="302"/>
                      <a:pt x="115" y="302"/>
                    </a:cubicBezTo>
                    <a:cubicBezTo>
                      <a:pt x="0" y="51"/>
                      <a:pt x="0" y="51"/>
                      <a:pt x="0" y="51"/>
                    </a:cubicBezTo>
                    <a:lnTo>
                      <a:pt x="167"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69">
                <a:extLst>
                  <a:ext uri="{FF2B5EF4-FFF2-40B4-BE49-F238E27FC236}">
                    <a16:creationId xmlns:a16="http://schemas.microsoft.com/office/drawing/2014/main" id="{17AF2E3B-31B5-4B57-8281-A32B90B9E0FF}"/>
                  </a:ext>
                </a:extLst>
              </p:cNvPr>
              <p:cNvSpPr>
                <a:spLocks/>
              </p:cNvSpPr>
              <p:nvPr/>
            </p:nvSpPr>
            <p:spPr bwMode="auto">
              <a:xfrm>
                <a:off x="744" y="3045"/>
                <a:ext cx="1299" cy="669"/>
              </a:xfrm>
              <a:custGeom>
                <a:avLst/>
                <a:gdLst>
                  <a:gd name="T0" fmla="*/ 547 w 547"/>
                  <a:gd name="T1" fmla="*/ 282 h 282"/>
                  <a:gd name="T2" fmla="*/ 546 w 547"/>
                  <a:gd name="T3" fmla="*/ 281 h 282"/>
                  <a:gd name="T4" fmla="*/ 541 w 547"/>
                  <a:gd name="T5" fmla="*/ 279 h 282"/>
                  <a:gd name="T6" fmla="*/ 525 w 547"/>
                  <a:gd name="T7" fmla="*/ 270 h 282"/>
                  <a:gd name="T8" fmla="*/ 468 w 547"/>
                  <a:gd name="T9" fmla="*/ 235 h 282"/>
                  <a:gd name="T10" fmla="*/ 389 w 547"/>
                  <a:gd name="T11" fmla="*/ 175 h 282"/>
                  <a:gd name="T12" fmla="*/ 343 w 547"/>
                  <a:gd name="T13" fmla="*/ 138 h 282"/>
                  <a:gd name="T14" fmla="*/ 294 w 547"/>
                  <a:gd name="T15" fmla="*/ 99 h 282"/>
                  <a:gd name="T16" fmla="*/ 240 w 547"/>
                  <a:gd name="T17" fmla="*/ 66 h 282"/>
                  <a:gd name="T18" fmla="*/ 186 w 547"/>
                  <a:gd name="T19" fmla="*/ 43 h 282"/>
                  <a:gd name="T20" fmla="*/ 90 w 547"/>
                  <a:gd name="T21" fmla="*/ 17 h 282"/>
                  <a:gd name="T22" fmla="*/ 25 w 547"/>
                  <a:gd name="T23" fmla="*/ 5 h 282"/>
                  <a:gd name="T24" fmla="*/ 7 w 547"/>
                  <a:gd name="T25" fmla="*/ 2 h 282"/>
                  <a:gd name="T26" fmla="*/ 2 w 547"/>
                  <a:gd name="T27" fmla="*/ 1 h 282"/>
                  <a:gd name="T28" fmla="*/ 0 w 547"/>
                  <a:gd name="T29" fmla="*/ 0 h 282"/>
                  <a:gd name="T30" fmla="*/ 2 w 547"/>
                  <a:gd name="T31" fmla="*/ 0 h 282"/>
                  <a:gd name="T32" fmla="*/ 7 w 547"/>
                  <a:gd name="T33" fmla="*/ 1 h 282"/>
                  <a:gd name="T34" fmla="*/ 25 w 547"/>
                  <a:gd name="T35" fmla="*/ 4 h 282"/>
                  <a:gd name="T36" fmla="*/ 91 w 547"/>
                  <a:gd name="T37" fmla="*/ 16 h 282"/>
                  <a:gd name="T38" fmla="*/ 187 w 547"/>
                  <a:gd name="T39" fmla="*/ 42 h 282"/>
                  <a:gd name="T40" fmla="*/ 241 w 547"/>
                  <a:gd name="T41" fmla="*/ 65 h 282"/>
                  <a:gd name="T42" fmla="*/ 295 w 547"/>
                  <a:gd name="T43" fmla="*/ 98 h 282"/>
                  <a:gd name="T44" fmla="*/ 344 w 547"/>
                  <a:gd name="T45" fmla="*/ 136 h 282"/>
                  <a:gd name="T46" fmla="*/ 390 w 547"/>
                  <a:gd name="T47" fmla="*/ 173 h 282"/>
                  <a:gd name="T48" fmla="*/ 469 w 547"/>
                  <a:gd name="T49" fmla="*/ 233 h 282"/>
                  <a:gd name="T50" fmla="*/ 526 w 547"/>
                  <a:gd name="T51" fmla="*/ 269 h 282"/>
                  <a:gd name="T52" fmla="*/ 542 w 547"/>
                  <a:gd name="T53" fmla="*/ 278 h 282"/>
                  <a:gd name="T54" fmla="*/ 546 w 547"/>
                  <a:gd name="T55" fmla="*/ 281 h 282"/>
                  <a:gd name="T56" fmla="*/ 547 w 547"/>
                  <a:gd name="T5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7" h="282">
                    <a:moveTo>
                      <a:pt x="547" y="282"/>
                    </a:moveTo>
                    <a:cubicBezTo>
                      <a:pt x="547" y="282"/>
                      <a:pt x="547" y="281"/>
                      <a:pt x="546" y="281"/>
                    </a:cubicBezTo>
                    <a:cubicBezTo>
                      <a:pt x="545" y="280"/>
                      <a:pt x="543" y="280"/>
                      <a:pt x="541" y="279"/>
                    </a:cubicBezTo>
                    <a:cubicBezTo>
                      <a:pt x="538" y="277"/>
                      <a:pt x="532" y="274"/>
                      <a:pt x="525" y="270"/>
                    </a:cubicBezTo>
                    <a:cubicBezTo>
                      <a:pt x="512" y="262"/>
                      <a:pt x="492" y="251"/>
                      <a:pt x="468" y="235"/>
                    </a:cubicBezTo>
                    <a:cubicBezTo>
                      <a:pt x="445" y="219"/>
                      <a:pt x="418" y="198"/>
                      <a:pt x="389" y="175"/>
                    </a:cubicBezTo>
                    <a:cubicBezTo>
                      <a:pt x="374" y="163"/>
                      <a:pt x="359" y="151"/>
                      <a:pt x="343" y="138"/>
                    </a:cubicBezTo>
                    <a:cubicBezTo>
                      <a:pt x="327" y="125"/>
                      <a:pt x="311" y="112"/>
                      <a:pt x="294" y="99"/>
                    </a:cubicBezTo>
                    <a:cubicBezTo>
                      <a:pt x="276" y="87"/>
                      <a:pt x="258" y="76"/>
                      <a:pt x="240" y="66"/>
                    </a:cubicBezTo>
                    <a:cubicBezTo>
                      <a:pt x="222" y="57"/>
                      <a:pt x="204" y="50"/>
                      <a:pt x="186" y="43"/>
                    </a:cubicBezTo>
                    <a:cubicBezTo>
                      <a:pt x="151" y="31"/>
                      <a:pt x="118" y="23"/>
                      <a:pt x="90" y="17"/>
                    </a:cubicBezTo>
                    <a:cubicBezTo>
                      <a:pt x="63" y="11"/>
                      <a:pt x="40" y="7"/>
                      <a:pt x="25" y="5"/>
                    </a:cubicBezTo>
                    <a:cubicBezTo>
                      <a:pt x="17" y="3"/>
                      <a:pt x="11" y="2"/>
                      <a:pt x="7" y="2"/>
                    </a:cubicBezTo>
                    <a:cubicBezTo>
                      <a:pt x="5" y="1"/>
                      <a:pt x="3" y="1"/>
                      <a:pt x="2" y="1"/>
                    </a:cubicBezTo>
                    <a:cubicBezTo>
                      <a:pt x="1" y="0"/>
                      <a:pt x="0" y="0"/>
                      <a:pt x="0" y="0"/>
                    </a:cubicBezTo>
                    <a:cubicBezTo>
                      <a:pt x="0" y="0"/>
                      <a:pt x="1" y="0"/>
                      <a:pt x="2" y="0"/>
                    </a:cubicBezTo>
                    <a:cubicBezTo>
                      <a:pt x="3" y="1"/>
                      <a:pt x="5" y="1"/>
                      <a:pt x="7" y="1"/>
                    </a:cubicBezTo>
                    <a:cubicBezTo>
                      <a:pt x="11" y="2"/>
                      <a:pt x="17" y="3"/>
                      <a:pt x="25" y="4"/>
                    </a:cubicBezTo>
                    <a:cubicBezTo>
                      <a:pt x="40" y="6"/>
                      <a:pt x="63" y="10"/>
                      <a:pt x="91" y="16"/>
                    </a:cubicBezTo>
                    <a:cubicBezTo>
                      <a:pt x="118" y="21"/>
                      <a:pt x="151" y="29"/>
                      <a:pt x="187" y="42"/>
                    </a:cubicBezTo>
                    <a:cubicBezTo>
                      <a:pt x="204" y="48"/>
                      <a:pt x="223" y="55"/>
                      <a:pt x="241" y="65"/>
                    </a:cubicBezTo>
                    <a:cubicBezTo>
                      <a:pt x="259" y="74"/>
                      <a:pt x="277" y="85"/>
                      <a:pt x="295" y="98"/>
                    </a:cubicBezTo>
                    <a:cubicBezTo>
                      <a:pt x="312" y="110"/>
                      <a:pt x="329" y="124"/>
                      <a:pt x="344" y="136"/>
                    </a:cubicBezTo>
                    <a:cubicBezTo>
                      <a:pt x="360" y="149"/>
                      <a:pt x="375" y="162"/>
                      <a:pt x="390" y="173"/>
                    </a:cubicBezTo>
                    <a:cubicBezTo>
                      <a:pt x="419" y="197"/>
                      <a:pt x="446" y="217"/>
                      <a:pt x="469" y="233"/>
                    </a:cubicBezTo>
                    <a:cubicBezTo>
                      <a:pt x="492" y="250"/>
                      <a:pt x="512" y="261"/>
                      <a:pt x="526" y="269"/>
                    </a:cubicBezTo>
                    <a:cubicBezTo>
                      <a:pt x="533" y="273"/>
                      <a:pt x="538" y="276"/>
                      <a:pt x="542" y="278"/>
                    </a:cubicBezTo>
                    <a:cubicBezTo>
                      <a:pt x="543" y="279"/>
                      <a:pt x="545" y="280"/>
                      <a:pt x="546" y="281"/>
                    </a:cubicBezTo>
                    <a:cubicBezTo>
                      <a:pt x="547" y="281"/>
                      <a:pt x="547" y="282"/>
                      <a:pt x="547" y="28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70">
                <a:extLst>
                  <a:ext uri="{FF2B5EF4-FFF2-40B4-BE49-F238E27FC236}">
                    <a16:creationId xmlns:a16="http://schemas.microsoft.com/office/drawing/2014/main" id="{148BCD20-BD7C-4C15-8F4C-5FFCDF87DF67}"/>
                  </a:ext>
                </a:extLst>
              </p:cNvPr>
              <p:cNvSpPr>
                <a:spLocks/>
              </p:cNvSpPr>
              <p:nvPr/>
            </p:nvSpPr>
            <p:spPr bwMode="auto">
              <a:xfrm>
                <a:off x="1238" y="3624"/>
                <a:ext cx="857" cy="280"/>
              </a:xfrm>
              <a:custGeom>
                <a:avLst/>
                <a:gdLst>
                  <a:gd name="T0" fmla="*/ 344 w 361"/>
                  <a:gd name="T1" fmla="*/ 35 h 118"/>
                  <a:gd name="T2" fmla="*/ 290 w 361"/>
                  <a:gd name="T3" fmla="*/ 41 h 118"/>
                  <a:gd name="T4" fmla="*/ 214 w 361"/>
                  <a:gd name="T5" fmla="*/ 0 h 118"/>
                  <a:gd name="T6" fmla="*/ 161 w 361"/>
                  <a:gd name="T7" fmla="*/ 19 h 118"/>
                  <a:gd name="T8" fmla="*/ 93 w 361"/>
                  <a:gd name="T9" fmla="*/ 22 h 118"/>
                  <a:gd name="T10" fmla="*/ 25 w 361"/>
                  <a:gd name="T11" fmla="*/ 16 h 118"/>
                  <a:gd name="T12" fmla="*/ 6 w 361"/>
                  <a:gd name="T13" fmla="*/ 23 h 118"/>
                  <a:gd name="T14" fmla="*/ 5 w 361"/>
                  <a:gd name="T15" fmla="*/ 48 h 118"/>
                  <a:gd name="T16" fmla="*/ 25 w 361"/>
                  <a:gd name="T17" fmla="*/ 63 h 118"/>
                  <a:gd name="T18" fmla="*/ 51 w 361"/>
                  <a:gd name="T19" fmla="*/ 68 h 118"/>
                  <a:gd name="T20" fmla="*/ 171 w 361"/>
                  <a:gd name="T21" fmla="*/ 100 h 118"/>
                  <a:gd name="T22" fmla="*/ 297 w 361"/>
                  <a:gd name="T23" fmla="*/ 118 h 118"/>
                  <a:gd name="T24" fmla="*/ 344 w 361"/>
                  <a:gd name="T25" fmla="*/ 3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1" h="118">
                    <a:moveTo>
                      <a:pt x="344" y="35"/>
                    </a:moveTo>
                    <a:cubicBezTo>
                      <a:pt x="361" y="28"/>
                      <a:pt x="308" y="46"/>
                      <a:pt x="290" y="41"/>
                    </a:cubicBezTo>
                    <a:cubicBezTo>
                      <a:pt x="262" y="33"/>
                      <a:pt x="243" y="1"/>
                      <a:pt x="214" y="0"/>
                    </a:cubicBezTo>
                    <a:cubicBezTo>
                      <a:pt x="195" y="0"/>
                      <a:pt x="179" y="13"/>
                      <a:pt x="161" y="19"/>
                    </a:cubicBezTo>
                    <a:cubicBezTo>
                      <a:pt x="140" y="27"/>
                      <a:pt x="116" y="25"/>
                      <a:pt x="93" y="22"/>
                    </a:cubicBezTo>
                    <a:cubicBezTo>
                      <a:pt x="71" y="18"/>
                      <a:pt x="48" y="14"/>
                      <a:pt x="25" y="16"/>
                    </a:cubicBezTo>
                    <a:cubicBezTo>
                      <a:pt x="18" y="17"/>
                      <a:pt x="11" y="18"/>
                      <a:pt x="6" y="23"/>
                    </a:cubicBezTo>
                    <a:cubicBezTo>
                      <a:pt x="0" y="29"/>
                      <a:pt x="0" y="40"/>
                      <a:pt x="5" y="48"/>
                    </a:cubicBezTo>
                    <a:cubicBezTo>
                      <a:pt x="9" y="55"/>
                      <a:pt x="17" y="60"/>
                      <a:pt x="25" y="63"/>
                    </a:cubicBezTo>
                    <a:cubicBezTo>
                      <a:pt x="34" y="66"/>
                      <a:pt x="42" y="67"/>
                      <a:pt x="51" y="68"/>
                    </a:cubicBezTo>
                    <a:cubicBezTo>
                      <a:pt x="92" y="74"/>
                      <a:pt x="131" y="90"/>
                      <a:pt x="171" y="100"/>
                    </a:cubicBezTo>
                    <a:cubicBezTo>
                      <a:pt x="212" y="111"/>
                      <a:pt x="255" y="114"/>
                      <a:pt x="297" y="118"/>
                    </a:cubicBezTo>
                    <a:cubicBezTo>
                      <a:pt x="297" y="118"/>
                      <a:pt x="294" y="55"/>
                      <a:pt x="344" y="35"/>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71">
                <a:extLst>
                  <a:ext uri="{FF2B5EF4-FFF2-40B4-BE49-F238E27FC236}">
                    <a16:creationId xmlns:a16="http://schemas.microsoft.com/office/drawing/2014/main" id="{FF12C3F1-B959-48DC-BA0F-AAEB993664C1}"/>
                  </a:ext>
                </a:extLst>
              </p:cNvPr>
              <p:cNvSpPr>
                <a:spLocks/>
              </p:cNvSpPr>
              <p:nvPr/>
            </p:nvSpPr>
            <p:spPr bwMode="auto">
              <a:xfrm>
                <a:off x="2732" y="3712"/>
                <a:ext cx="213" cy="275"/>
              </a:xfrm>
              <a:custGeom>
                <a:avLst/>
                <a:gdLst>
                  <a:gd name="T0" fmla="*/ 84 w 90"/>
                  <a:gd name="T1" fmla="*/ 0 h 116"/>
                  <a:gd name="T2" fmla="*/ 84 w 90"/>
                  <a:gd name="T3" fmla="*/ 2 h 116"/>
                  <a:gd name="T4" fmla="*/ 86 w 90"/>
                  <a:gd name="T5" fmla="*/ 7 h 116"/>
                  <a:gd name="T6" fmla="*/ 89 w 90"/>
                  <a:gd name="T7" fmla="*/ 25 h 116"/>
                  <a:gd name="T8" fmla="*/ 88 w 90"/>
                  <a:gd name="T9" fmla="*/ 52 h 116"/>
                  <a:gd name="T10" fmla="*/ 75 w 90"/>
                  <a:gd name="T11" fmla="*/ 83 h 116"/>
                  <a:gd name="T12" fmla="*/ 51 w 90"/>
                  <a:gd name="T13" fmla="*/ 106 h 116"/>
                  <a:gd name="T14" fmla="*/ 25 w 90"/>
                  <a:gd name="T15" fmla="*/ 115 h 116"/>
                  <a:gd name="T16" fmla="*/ 7 w 90"/>
                  <a:gd name="T17" fmla="*/ 115 h 116"/>
                  <a:gd name="T18" fmla="*/ 2 w 90"/>
                  <a:gd name="T19" fmla="*/ 114 h 116"/>
                  <a:gd name="T20" fmla="*/ 0 w 90"/>
                  <a:gd name="T21" fmla="*/ 113 h 116"/>
                  <a:gd name="T22" fmla="*/ 25 w 90"/>
                  <a:gd name="T23" fmla="*/ 114 h 116"/>
                  <a:gd name="T24" fmla="*/ 50 w 90"/>
                  <a:gd name="T25" fmla="*/ 104 h 116"/>
                  <a:gd name="T26" fmla="*/ 74 w 90"/>
                  <a:gd name="T27" fmla="*/ 82 h 116"/>
                  <a:gd name="T28" fmla="*/ 86 w 90"/>
                  <a:gd name="T29" fmla="*/ 52 h 116"/>
                  <a:gd name="T30" fmla="*/ 88 w 90"/>
                  <a:gd name="T31" fmla="*/ 25 h 116"/>
                  <a:gd name="T32" fmla="*/ 85 w 90"/>
                  <a:gd name="T33" fmla="*/ 7 h 116"/>
                  <a:gd name="T34" fmla="*/ 84 w 90"/>
                  <a:gd name="T3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16">
                    <a:moveTo>
                      <a:pt x="84" y="0"/>
                    </a:moveTo>
                    <a:cubicBezTo>
                      <a:pt x="84" y="0"/>
                      <a:pt x="84" y="1"/>
                      <a:pt x="84" y="2"/>
                    </a:cubicBezTo>
                    <a:cubicBezTo>
                      <a:pt x="85" y="3"/>
                      <a:pt x="85" y="5"/>
                      <a:pt x="86" y="7"/>
                    </a:cubicBezTo>
                    <a:cubicBezTo>
                      <a:pt x="87" y="11"/>
                      <a:pt x="88" y="17"/>
                      <a:pt x="89" y="25"/>
                    </a:cubicBezTo>
                    <a:cubicBezTo>
                      <a:pt x="90" y="33"/>
                      <a:pt x="90" y="42"/>
                      <a:pt x="88" y="52"/>
                    </a:cubicBezTo>
                    <a:cubicBezTo>
                      <a:pt x="86" y="62"/>
                      <a:pt x="82" y="73"/>
                      <a:pt x="75" y="83"/>
                    </a:cubicBezTo>
                    <a:cubicBezTo>
                      <a:pt x="69" y="93"/>
                      <a:pt x="60" y="101"/>
                      <a:pt x="51" y="106"/>
                    </a:cubicBezTo>
                    <a:cubicBezTo>
                      <a:pt x="42" y="111"/>
                      <a:pt x="33" y="114"/>
                      <a:pt x="25" y="115"/>
                    </a:cubicBezTo>
                    <a:cubicBezTo>
                      <a:pt x="17" y="116"/>
                      <a:pt x="11" y="116"/>
                      <a:pt x="7" y="115"/>
                    </a:cubicBezTo>
                    <a:cubicBezTo>
                      <a:pt x="5" y="115"/>
                      <a:pt x="3" y="114"/>
                      <a:pt x="2" y="114"/>
                    </a:cubicBezTo>
                    <a:cubicBezTo>
                      <a:pt x="1" y="114"/>
                      <a:pt x="0" y="114"/>
                      <a:pt x="0" y="113"/>
                    </a:cubicBezTo>
                    <a:cubicBezTo>
                      <a:pt x="0" y="113"/>
                      <a:pt x="10" y="116"/>
                      <a:pt x="25" y="114"/>
                    </a:cubicBezTo>
                    <a:cubicBezTo>
                      <a:pt x="33" y="112"/>
                      <a:pt x="41" y="109"/>
                      <a:pt x="50" y="104"/>
                    </a:cubicBezTo>
                    <a:cubicBezTo>
                      <a:pt x="59" y="99"/>
                      <a:pt x="67" y="91"/>
                      <a:pt x="74" y="82"/>
                    </a:cubicBezTo>
                    <a:cubicBezTo>
                      <a:pt x="80" y="72"/>
                      <a:pt x="84" y="62"/>
                      <a:pt x="86" y="52"/>
                    </a:cubicBezTo>
                    <a:cubicBezTo>
                      <a:pt x="88" y="42"/>
                      <a:pt x="88" y="33"/>
                      <a:pt x="88" y="25"/>
                    </a:cubicBezTo>
                    <a:cubicBezTo>
                      <a:pt x="87" y="17"/>
                      <a:pt x="86" y="11"/>
                      <a:pt x="85" y="7"/>
                    </a:cubicBezTo>
                    <a:cubicBezTo>
                      <a:pt x="84" y="3"/>
                      <a:pt x="83" y="1"/>
                      <a:pt x="8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72">
                <a:extLst>
                  <a:ext uri="{FF2B5EF4-FFF2-40B4-BE49-F238E27FC236}">
                    <a16:creationId xmlns:a16="http://schemas.microsoft.com/office/drawing/2014/main" id="{8BFDEFA7-69AC-43E2-97AF-AA05D4DF06ED}"/>
                  </a:ext>
                </a:extLst>
              </p:cNvPr>
              <p:cNvSpPr>
                <a:spLocks/>
              </p:cNvSpPr>
              <p:nvPr/>
            </p:nvSpPr>
            <p:spPr bwMode="auto">
              <a:xfrm>
                <a:off x="2278" y="3263"/>
                <a:ext cx="767" cy="328"/>
              </a:xfrm>
              <a:custGeom>
                <a:avLst/>
                <a:gdLst>
                  <a:gd name="T0" fmla="*/ 0 w 767"/>
                  <a:gd name="T1" fmla="*/ 263 h 328"/>
                  <a:gd name="T2" fmla="*/ 575 w 767"/>
                  <a:gd name="T3" fmla="*/ 0 h 328"/>
                  <a:gd name="T4" fmla="*/ 760 w 767"/>
                  <a:gd name="T5" fmla="*/ 38 h 328"/>
                  <a:gd name="T6" fmla="*/ 767 w 767"/>
                  <a:gd name="T7" fmla="*/ 59 h 328"/>
                  <a:gd name="T8" fmla="*/ 95 w 767"/>
                  <a:gd name="T9" fmla="*/ 328 h 328"/>
                  <a:gd name="T10" fmla="*/ 0 w 767"/>
                  <a:gd name="T11" fmla="*/ 306 h 328"/>
                  <a:gd name="T12" fmla="*/ 0 w 767"/>
                  <a:gd name="T13" fmla="*/ 263 h 328"/>
                </a:gdLst>
                <a:ahLst/>
                <a:cxnLst>
                  <a:cxn ang="0">
                    <a:pos x="T0" y="T1"/>
                  </a:cxn>
                  <a:cxn ang="0">
                    <a:pos x="T2" y="T3"/>
                  </a:cxn>
                  <a:cxn ang="0">
                    <a:pos x="T4" y="T5"/>
                  </a:cxn>
                  <a:cxn ang="0">
                    <a:pos x="T6" y="T7"/>
                  </a:cxn>
                  <a:cxn ang="0">
                    <a:pos x="T8" y="T9"/>
                  </a:cxn>
                  <a:cxn ang="0">
                    <a:pos x="T10" y="T11"/>
                  </a:cxn>
                  <a:cxn ang="0">
                    <a:pos x="T12" y="T13"/>
                  </a:cxn>
                </a:cxnLst>
                <a:rect l="0" t="0" r="r" b="b"/>
                <a:pathLst>
                  <a:path w="767" h="328">
                    <a:moveTo>
                      <a:pt x="0" y="263"/>
                    </a:moveTo>
                    <a:lnTo>
                      <a:pt x="575" y="0"/>
                    </a:lnTo>
                    <a:lnTo>
                      <a:pt x="760" y="38"/>
                    </a:lnTo>
                    <a:lnTo>
                      <a:pt x="767" y="59"/>
                    </a:lnTo>
                    <a:lnTo>
                      <a:pt x="95" y="328"/>
                    </a:lnTo>
                    <a:lnTo>
                      <a:pt x="0" y="306"/>
                    </a:lnTo>
                    <a:lnTo>
                      <a:pt x="0" y="2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73">
                <a:extLst>
                  <a:ext uri="{FF2B5EF4-FFF2-40B4-BE49-F238E27FC236}">
                    <a16:creationId xmlns:a16="http://schemas.microsoft.com/office/drawing/2014/main" id="{B70DAA62-C45A-427C-A437-080A38E71115}"/>
                  </a:ext>
                </a:extLst>
              </p:cNvPr>
              <p:cNvSpPr>
                <a:spLocks/>
              </p:cNvSpPr>
              <p:nvPr/>
            </p:nvSpPr>
            <p:spPr bwMode="auto">
              <a:xfrm>
                <a:off x="2278" y="3287"/>
                <a:ext cx="805" cy="327"/>
              </a:xfrm>
              <a:custGeom>
                <a:avLst/>
                <a:gdLst>
                  <a:gd name="T0" fmla="*/ 591 w 805"/>
                  <a:gd name="T1" fmla="*/ 0 h 327"/>
                  <a:gd name="T2" fmla="*/ 0 w 805"/>
                  <a:gd name="T3" fmla="*/ 282 h 327"/>
                  <a:gd name="T4" fmla="*/ 195 w 805"/>
                  <a:gd name="T5" fmla="*/ 327 h 327"/>
                  <a:gd name="T6" fmla="*/ 805 w 805"/>
                  <a:gd name="T7" fmla="*/ 42 h 327"/>
                  <a:gd name="T8" fmla="*/ 591 w 805"/>
                  <a:gd name="T9" fmla="*/ 0 h 327"/>
                </a:gdLst>
                <a:ahLst/>
                <a:cxnLst>
                  <a:cxn ang="0">
                    <a:pos x="T0" y="T1"/>
                  </a:cxn>
                  <a:cxn ang="0">
                    <a:pos x="T2" y="T3"/>
                  </a:cxn>
                  <a:cxn ang="0">
                    <a:pos x="T4" y="T5"/>
                  </a:cxn>
                  <a:cxn ang="0">
                    <a:pos x="T6" y="T7"/>
                  </a:cxn>
                  <a:cxn ang="0">
                    <a:pos x="T8" y="T9"/>
                  </a:cxn>
                </a:cxnLst>
                <a:rect l="0" t="0" r="r" b="b"/>
                <a:pathLst>
                  <a:path w="805" h="327">
                    <a:moveTo>
                      <a:pt x="591" y="0"/>
                    </a:moveTo>
                    <a:lnTo>
                      <a:pt x="0" y="282"/>
                    </a:lnTo>
                    <a:lnTo>
                      <a:pt x="195" y="327"/>
                    </a:lnTo>
                    <a:lnTo>
                      <a:pt x="805" y="42"/>
                    </a:lnTo>
                    <a:lnTo>
                      <a:pt x="591"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74">
                <a:extLst>
                  <a:ext uri="{FF2B5EF4-FFF2-40B4-BE49-F238E27FC236}">
                    <a16:creationId xmlns:a16="http://schemas.microsoft.com/office/drawing/2014/main" id="{0444C453-AB2A-423F-BE49-31BC7EFD4C01}"/>
                  </a:ext>
                </a:extLst>
              </p:cNvPr>
              <p:cNvSpPr>
                <a:spLocks/>
              </p:cNvSpPr>
              <p:nvPr/>
            </p:nvSpPr>
            <p:spPr bwMode="auto">
              <a:xfrm>
                <a:off x="2055" y="3320"/>
                <a:ext cx="1099" cy="465"/>
              </a:xfrm>
              <a:custGeom>
                <a:avLst/>
                <a:gdLst>
                  <a:gd name="T0" fmla="*/ 0 w 463"/>
                  <a:gd name="T1" fmla="*/ 163 h 196"/>
                  <a:gd name="T2" fmla="*/ 162 w 463"/>
                  <a:gd name="T3" fmla="*/ 58 h 196"/>
                  <a:gd name="T4" fmla="*/ 418 w 463"/>
                  <a:gd name="T5" fmla="*/ 18 h 196"/>
                  <a:gd name="T6" fmla="*/ 285 w 463"/>
                  <a:gd name="T7" fmla="*/ 196 h 196"/>
                  <a:gd name="T8" fmla="*/ 0 w 463"/>
                  <a:gd name="T9" fmla="*/ 163 h 196"/>
                </a:gdLst>
                <a:ahLst/>
                <a:cxnLst>
                  <a:cxn ang="0">
                    <a:pos x="T0" y="T1"/>
                  </a:cxn>
                  <a:cxn ang="0">
                    <a:pos x="T2" y="T3"/>
                  </a:cxn>
                  <a:cxn ang="0">
                    <a:pos x="T4" y="T5"/>
                  </a:cxn>
                  <a:cxn ang="0">
                    <a:pos x="T6" y="T7"/>
                  </a:cxn>
                  <a:cxn ang="0">
                    <a:pos x="T8" y="T9"/>
                  </a:cxn>
                </a:cxnLst>
                <a:rect l="0" t="0" r="r" b="b"/>
                <a:pathLst>
                  <a:path w="463" h="196">
                    <a:moveTo>
                      <a:pt x="0" y="163"/>
                    </a:moveTo>
                    <a:cubicBezTo>
                      <a:pt x="0" y="163"/>
                      <a:pt x="128" y="76"/>
                      <a:pt x="162" y="58"/>
                    </a:cubicBezTo>
                    <a:cubicBezTo>
                      <a:pt x="195" y="41"/>
                      <a:pt x="373" y="0"/>
                      <a:pt x="418" y="18"/>
                    </a:cubicBezTo>
                    <a:cubicBezTo>
                      <a:pt x="463" y="37"/>
                      <a:pt x="285" y="196"/>
                      <a:pt x="285" y="196"/>
                    </a:cubicBezTo>
                    <a:lnTo>
                      <a:pt x="0" y="16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5">
                <a:extLst>
                  <a:ext uri="{FF2B5EF4-FFF2-40B4-BE49-F238E27FC236}">
                    <a16:creationId xmlns:a16="http://schemas.microsoft.com/office/drawing/2014/main" id="{A65704EA-A51C-4969-9670-C83BC7602EBB}"/>
                  </a:ext>
                </a:extLst>
              </p:cNvPr>
              <p:cNvSpPr>
                <a:spLocks/>
              </p:cNvSpPr>
              <p:nvPr/>
            </p:nvSpPr>
            <p:spPr bwMode="auto">
              <a:xfrm>
                <a:off x="1936" y="3477"/>
                <a:ext cx="739" cy="417"/>
              </a:xfrm>
              <a:custGeom>
                <a:avLst/>
                <a:gdLst>
                  <a:gd name="T0" fmla="*/ 311 w 311"/>
                  <a:gd name="T1" fmla="*/ 27 h 176"/>
                  <a:gd name="T2" fmla="*/ 310 w 311"/>
                  <a:gd name="T3" fmla="*/ 26 h 176"/>
                  <a:gd name="T4" fmla="*/ 307 w 311"/>
                  <a:gd name="T5" fmla="*/ 25 h 176"/>
                  <a:gd name="T6" fmla="*/ 297 w 311"/>
                  <a:gd name="T7" fmla="*/ 21 h 176"/>
                  <a:gd name="T8" fmla="*/ 258 w 311"/>
                  <a:gd name="T9" fmla="*/ 6 h 176"/>
                  <a:gd name="T10" fmla="*/ 229 w 311"/>
                  <a:gd name="T11" fmla="*/ 2 h 176"/>
                  <a:gd name="T12" fmla="*/ 213 w 311"/>
                  <a:gd name="T13" fmla="*/ 3 h 176"/>
                  <a:gd name="T14" fmla="*/ 197 w 311"/>
                  <a:gd name="T15" fmla="*/ 6 h 176"/>
                  <a:gd name="T16" fmla="*/ 132 w 311"/>
                  <a:gd name="T17" fmla="*/ 43 h 176"/>
                  <a:gd name="T18" fmla="*/ 68 w 311"/>
                  <a:gd name="T19" fmla="*/ 85 h 176"/>
                  <a:gd name="T20" fmla="*/ 41 w 311"/>
                  <a:gd name="T21" fmla="*/ 103 h 176"/>
                  <a:gd name="T22" fmla="*/ 20 w 311"/>
                  <a:gd name="T23" fmla="*/ 123 h 176"/>
                  <a:gd name="T24" fmla="*/ 10 w 311"/>
                  <a:gd name="T25" fmla="*/ 144 h 176"/>
                  <a:gd name="T26" fmla="*/ 4 w 311"/>
                  <a:gd name="T27" fmla="*/ 161 h 176"/>
                  <a:gd name="T28" fmla="*/ 2 w 311"/>
                  <a:gd name="T29" fmla="*/ 172 h 176"/>
                  <a:gd name="T30" fmla="*/ 1 w 311"/>
                  <a:gd name="T31" fmla="*/ 175 h 176"/>
                  <a:gd name="T32" fmla="*/ 1 w 311"/>
                  <a:gd name="T33" fmla="*/ 176 h 176"/>
                  <a:gd name="T34" fmla="*/ 1 w 311"/>
                  <a:gd name="T35" fmla="*/ 175 h 176"/>
                  <a:gd name="T36" fmla="*/ 1 w 311"/>
                  <a:gd name="T37" fmla="*/ 172 h 176"/>
                  <a:gd name="T38" fmla="*/ 4 w 311"/>
                  <a:gd name="T39" fmla="*/ 161 h 176"/>
                  <a:gd name="T40" fmla="*/ 9 w 311"/>
                  <a:gd name="T41" fmla="*/ 143 h 176"/>
                  <a:gd name="T42" fmla="*/ 19 w 311"/>
                  <a:gd name="T43" fmla="*/ 122 h 176"/>
                  <a:gd name="T44" fmla="*/ 40 w 311"/>
                  <a:gd name="T45" fmla="*/ 102 h 176"/>
                  <a:gd name="T46" fmla="*/ 67 w 311"/>
                  <a:gd name="T47" fmla="*/ 83 h 176"/>
                  <a:gd name="T48" fmla="*/ 131 w 311"/>
                  <a:gd name="T49" fmla="*/ 42 h 176"/>
                  <a:gd name="T50" fmla="*/ 196 w 311"/>
                  <a:gd name="T51" fmla="*/ 4 h 176"/>
                  <a:gd name="T52" fmla="*/ 213 w 311"/>
                  <a:gd name="T53" fmla="*/ 1 h 176"/>
                  <a:gd name="T54" fmla="*/ 229 w 311"/>
                  <a:gd name="T55" fmla="*/ 0 h 176"/>
                  <a:gd name="T56" fmla="*/ 258 w 311"/>
                  <a:gd name="T57" fmla="*/ 5 h 176"/>
                  <a:gd name="T58" fmla="*/ 297 w 311"/>
                  <a:gd name="T59" fmla="*/ 20 h 176"/>
                  <a:gd name="T60" fmla="*/ 307 w 311"/>
                  <a:gd name="T61" fmla="*/ 25 h 176"/>
                  <a:gd name="T62" fmla="*/ 310 w 311"/>
                  <a:gd name="T63" fmla="*/ 26 h 176"/>
                  <a:gd name="T64" fmla="*/ 311 w 311"/>
                  <a:gd name="T65"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1" h="176">
                    <a:moveTo>
                      <a:pt x="311" y="27"/>
                    </a:moveTo>
                    <a:cubicBezTo>
                      <a:pt x="311" y="27"/>
                      <a:pt x="310" y="27"/>
                      <a:pt x="310" y="26"/>
                    </a:cubicBezTo>
                    <a:cubicBezTo>
                      <a:pt x="309" y="26"/>
                      <a:pt x="308" y="26"/>
                      <a:pt x="307" y="25"/>
                    </a:cubicBezTo>
                    <a:cubicBezTo>
                      <a:pt x="304" y="24"/>
                      <a:pt x="301" y="23"/>
                      <a:pt x="297" y="21"/>
                    </a:cubicBezTo>
                    <a:cubicBezTo>
                      <a:pt x="287" y="17"/>
                      <a:pt x="274" y="11"/>
                      <a:pt x="258" y="6"/>
                    </a:cubicBezTo>
                    <a:cubicBezTo>
                      <a:pt x="249" y="4"/>
                      <a:pt x="240" y="2"/>
                      <a:pt x="229" y="2"/>
                    </a:cubicBezTo>
                    <a:cubicBezTo>
                      <a:pt x="224" y="2"/>
                      <a:pt x="219" y="2"/>
                      <a:pt x="213" y="3"/>
                    </a:cubicBezTo>
                    <a:cubicBezTo>
                      <a:pt x="208" y="3"/>
                      <a:pt x="203" y="5"/>
                      <a:pt x="197" y="6"/>
                    </a:cubicBezTo>
                    <a:cubicBezTo>
                      <a:pt x="175" y="13"/>
                      <a:pt x="154" y="28"/>
                      <a:pt x="132" y="43"/>
                    </a:cubicBezTo>
                    <a:cubicBezTo>
                      <a:pt x="110" y="59"/>
                      <a:pt x="88" y="72"/>
                      <a:pt x="68" y="85"/>
                    </a:cubicBezTo>
                    <a:cubicBezTo>
                      <a:pt x="59" y="91"/>
                      <a:pt x="49" y="97"/>
                      <a:pt x="41" y="103"/>
                    </a:cubicBezTo>
                    <a:cubicBezTo>
                      <a:pt x="33" y="109"/>
                      <a:pt x="25" y="116"/>
                      <a:pt x="20" y="123"/>
                    </a:cubicBezTo>
                    <a:cubicBezTo>
                      <a:pt x="15" y="130"/>
                      <a:pt x="12" y="137"/>
                      <a:pt x="10" y="144"/>
                    </a:cubicBezTo>
                    <a:cubicBezTo>
                      <a:pt x="7" y="150"/>
                      <a:pt x="6" y="156"/>
                      <a:pt x="4" y="161"/>
                    </a:cubicBezTo>
                    <a:cubicBezTo>
                      <a:pt x="3" y="166"/>
                      <a:pt x="2" y="169"/>
                      <a:pt x="2" y="172"/>
                    </a:cubicBezTo>
                    <a:cubicBezTo>
                      <a:pt x="1" y="173"/>
                      <a:pt x="1" y="174"/>
                      <a:pt x="1" y="175"/>
                    </a:cubicBezTo>
                    <a:cubicBezTo>
                      <a:pt x="1" y="175"/>
                      <a:pt x="1" y="176"/>
                      <a:pt x="1" y="176"/>
                    </a:cubicBezTo>
                    <a:cubicBezTo>
                      <a:pt x="0" y="176"/>
                      <a:pt x="1" y="175"/>
                      <a:pt x="1" y="175"/>
                    </a:cubicBezTo>
                    <a:cubicBezTo>
                      <a:pt x="1" y="174"/>
                      <a:pt x="1" y="173"/>
                      <a:pt x="1" y="172"/>
                    </a:cubicBezTo>
                    <a:cubicBezTo>
                      <a:pt x="2" y="169"/>
                      <a:pt x="2" y="166"/>
                      <a:pt x="4" y="161"/>
                    </a:cubicBezTo>
                    <a:cubicBezTo>
                      <a:pt x="5" y="156"/>
                      <a:pt x="6" y="150"/>
                      <a:pt x="9" y="143"/>
                    </a:cubicBezTo>
                    <a:cubicBezTo>
                      <a:pt x="11" y="137"/>
                      <a:pt x="14" y="129"/>
                      <a:pt x="19" y="122"/>
                    </a:cubicBezTo>
                    <a:cubicBezTo>
                      <a:pt x="24" y="115"/>
                      <a:pt x="32" y="108"/>
                      <a:pt x="40" y="102"/>
                    </a:cubicBezTo>
                    <a:cubicBezTo>
                      <a:pt x="48" y="96"/>
                      <a:pt x="58" y="90"/>
                      <a:pt x="67" y="83"/>
                    </a:cubicBezTo>
                    <a:cubicBezTo>
                      <a:pt x="87" y="71"/>
                      <a:pt x="109" y="57"/>
                      <a:pt x="131" y="42"/>
                    </a:cubicBezTo>
                    <a:cubicBezTo>
                      <a:pt x="152" y="26"/>
                      <a:pt x="174" y="11"/>
                      <a:pt x="196" y="4"/>
                    </a:cubicBezTo>
                    <a:cubicBezTo>
                      <a:pt x="202" y="3"/>
                      <a:pt x="208" y="2"/>
                      <a:pt x="213" y="1"/>
                    </a:cubicBezTo>
                    <a:cubicBezTo>
                      <a:pt x="219" y="0"/>
                      <a:pt x="224" y="0"/>
                      <a:pt x="229" y="0"/>
                    </a:cubicBezTo>
                    <a:cubicBezTo>
                      <a:pt x="240" y="1"/>
                      <a:pt x="249" y="3"/>
                      <a:pt x="258" y="5"/>
                    </a:cubicBezTo>
                    <a:cubicBezTo>
                      <a:pt x="275" y="10"/>
                      <a:pt x="288" y="16"/>
                      <a:pt x="297" y="20"/>
                    </a:cubicBezTo>
                    <a:cubicBezTo>
                      <a:pt x="301" y="22"/>
                      <a:pt x="305" y="24"/>
                      <a:pt x="307" y="25"/>
                    </a:cubicBezTo>
                    <a:cubicBezTo>
                      <a:pt x="308" y="25"/>
                      <a:pt x="309" y="26"/>
                      <a:pt x="310" y="26"/>
                    </a:cubicBezTo>
                    <a:cubicBezTo>
                      <a:pt x="310" y="27"/>
                      <a:pt x="311" y="27"/>
                      <a:pt x="311" y="2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6">
                <a:extLst>
                  <a:ext uri="{FF2B5EF4-FFF2-40B4-BE49-F238E27FC236}">
                    <a16:creationId xmlns:a16="http://schemas.microsoft.com/office/drawing/2014/main" id="{9644919D-321B-4764-A31A-8051602B95C3}"/>
                  </a:ext>
                </a:extLst>
              </p:cNvPr>
              <p:cNvSpPr>
                <a:spLocks/>
              </p:cNvSpPr>
              <p:nvPr/>
            </p:nvSpPr>
            <p:spPr bwMode="auto">
              <a:xfrm>
                <a:off x="2537" y="3479"/>
                <a:ext cx="185" cy="45"/>
              </a:xfrm>
              <a:custGeom>
                <a:avLst/>
                <a:gdLst>
                  <a:gd name="T0" fmla="*/ 78 w 78"/>
                  <a:gd name="T1" fmla="*/ 19 h 19"/>
                  <a:gd name="T2" fmla="*/ 68 w 78"/>
                  <a:gd name="T3" fmla="*/ 12 h 19"/>
                  <a:gd name="T4" fmla="*/ 41 w 78"/>
                  <a:gd name="T5" fmla="*/ 4 h 19"/>
                  <a:gd name="T6" fmla="*/ 12 w 78"/>
                  <a:gd name="T7" fmla="*/ 3 h 19"/>
                  <a:gd name="T8" fmla="*/ 0 w 78"/>
                  <a:gd name="T9" fmla="*/ 3 h 19"/>
                  <a:gd name="T10" fmla="*/ 12 w 78"/>
                  <a:gd name="T11" fmla="*/ 1 h 19"/>
                  <a:gd name="T12" fmla="*/ 41 w 78"/>
                  <a:gd name="T13" fmla="*/ 2 h 19"/>
                  <a:gd name="T14" fmla="*/ 69 w 78"/>
                  <a:gd name="T15" fmla="*/ 11 h 19"/>
                  <a:gd name="T16" fmla="*/ 76 w 78"/>
                  <a:gd name="T17" fmla="*/ 16 h 19"/>
                  <a:gd name="T18" fmla="*/ 78 w 78"/>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19">
                    <a:moveTo>
                      <a:pt x="78" y="19"/>
                    </a:moveTo>
                    <a:cubicBezTo>
                      <a:pt x="78" y="19"/>
                      <a:pt x="75" y="16"/>
                      <a:pt x="68" y="12"/>
                    </a:cubicBezTo>
                    <a:cubicBezTo>
                      <a:pt x="62" y="9"/>
                      <a:pt x="52" y="5"/>
                      <a:pt x="41" y="4"/>
                    </a:cubicBezTo>
                    <a:cubicBezTo>
                      <a:pt x="30" y="2"/>
                      <a:pt x="19" y="3"/>
                      <a:pt x="12" y="3"/>
                    </a:cubicBezTo>
                    <a:cubicBezTo>
                      <a:pt x="4" y="3"/>
                      <a:pt x="0" y="4"/>
                      <a:pt x="0" y="3"/>
                    </a:cubicBezTo>
                    <a:cubicBezTo>
                      <a:pt x="0" y="3"/>
                      <a:pt x="4" y="2"/>
                      <a:pt x="12" y="1"/>
                    </a:cubicBezTo>
                    <a:cubicBezTo>
                      <a:pt x="19" y="1"/>
                      <a:pt x="30" y="0"/>
                      <a:pt x="41" y="2"/>
                    </a:cubicBezTo>
                    <a:cubicBezTo>
                      <a:pt x="53" y="3"/>
                      <a:pt x="63" y="7"/>
                      <a:pt x="69" y="11"/>
                    </a:cubicBezTo>
                    <a:cubicBezTo>
                      <a:pt x="72" y="13"/>
                      <a:pt x="75" y="15"/>
                      <a:pt x="76" y="16"/>
                    </a:cubicBezTo>
                    <a:cubicBezTo>
                      <a:pt x="78" y="18"/>
                      <a:pt x="78" y="19"/>
                      <a:pt x="78" y="1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7">
                <a:extLst>
                  <a:ext uri="{FF2B5EF4-FFF2-40B4-BE49-F238E27FC236}">
                    <a16:creationId xmlns:a16="http://schemas.microsoft.com/office/drawing/2014/main" id="{15FD9119-5C68-45FA-A8BA-59A6025684E6}"/>
                  </a:ext>
                </a:extLst>
              </p:cNvPr>
              <p:cNvSpPr>
                <a:spLocks/>
              </p:cNvSpPr>
              <p:nvPr/>
            </p:nvSpPr>
            <p:spPr bwMode="auto">
              <a:xfrm>
                <a:off x="2615" y="3344"/>
                <a:ext cx="506" cy="61"/>
              </a:xfrm>
              <a:custGeom>
                <a:avLst/>
                <a:gdLst>
                  <a:gd name="T0" fmla="*/ 213 w 213"/>
                  <a:gd name="T1" fmla="*/ 25 h 26"/>
                  <a:gd name="T2" fmla="*/ 205 w 213"/>
                  <a:gd name="T3" fmla="*/ 20 h 26"/>
                  <a:gd name="T4" fmla="*/ 184 w 213"/>
                  <a:gd name="T5" fmla="*/ 10 h 26"/>
                  <a:gd name="T6" fmla="*/ 150 w 213"/>
                  <a:gd name="T7" fmla="*/ 3 h 26"/>
                  <a:gd name="T8" fmla="*/ 108 w 213"/>
                  <a:gd name="T9" fmla="*/ 4 h 26"/>
                  <a:gd name="T10" fmla="*/ 66 w 213"/>
                  <a:gd name="T11" fmla="*/ 11 h 26"/>
                  <a:gd name="T12" fmla="*/ 31 w 213"/>
                  <a:gd name="T13" fmla="*/ 19 h 26"/>
                  <a:gd name="T14" fmla="*/ 8 w 213"/>
                  <a:gd name="T15" fmla="*/ 24 h 26"/>
                  <a:gd name="T16" fmla="*/ 2 w 213"/>
                  <a:gd name="T17" fmla="*/ 26 h 26"/>
                  <a:gd name="T18" fmla="*/ 0 w 213"/>
                  <a:gd name="T19" fmla="*/ 26 h 26"/>
                  <a:gd name="T20" fmla="*/ 2 w 213"/>
                  <a:gd name="T21" fmla="*/ 25 h 26"/>
                  <a:gd name="T22" fmla="*/ 8 w 213"/>
                  <a:gd name="T23" fmla="*/ 23 h 26"/>
                  <a:gd name="T24" fmla="*/ 31 w 213"/>
                  <a:gd name="T25" fmla="*/ 17 h 26"/>
                  <a:gd name="T26" fmla="*/ 65 w 213"/>
                  <a:gd name="T27" fmla="*/ 9 h 26"/>
                  <a:gd name="T28" fmla="*/ 108 w 213"/>
                  <a:gd name="T29" fmla="*/ 2 h 26"/>
                  <a:gd name="T30" fmla="*/ 150 w 213"/>
                  <a:gd name="T31" fmla="*/ 1 h 26"/>
                  <a:gd name="T32" fmla="*/ 185 w 213"/>
                  <a:gd name="T33" fmla="*/ 9 h 26"/>
                  <a:gd name="T34" fmla="*/ 206 w 213"/>
                  <a:gd name="T35" fmla="*/ 19 h 26"/>
                  <a:gd name="T36" fmla="*/ 211 w 213"/>
                  <a:gd name="T37" fmla="*/ 23 h 26"/>
                  <a:gd name="T38" fmla="*/ 213 w 213"/>
                  <a:gd name="T3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3" h="26">
                    <a:moveTo>
                      <a:pt x="213" y="25"/>
                    </a:moveTo>
                    <a:cubicBezTo>
                      <a:pt x="213" y="25"/>
                      <a:pt x="210" y="23"/>
                      <a:pt x="205" y="20"/>
                    </a:cubicBezTo>
                    <a:cubicBezTo>
                      <a:pt x="201" y="17"/>
                      <a:pt x="194" y="13"/>
                      <a:pt x="184" y="10"/>
                    </a:cubicBezTo>
                    <a:cubicBezTo>
                      <a:pt x="175" y="7"/>
                      <a:pt x="163" y="4"/>
                      <a:pt x="150" y="3"/>
                    </a:cubicBezTo>
                    <a:cubicBezTo>
                      <a:pt x="137" y="2"/>
                      <a:pt x="123" y="3"/>
                      <a:pt x="108" y="4"/>
                    </a:cubicBezTo>
                    <a:cubicBezTo>
                      <a:pt x="93" y="6"/>
                      <a:pt x="78" y="9"/>
                      <a:pt x="66" y="11"/>
                    </a:cubicBezTo>
                    <a:cubicBezTo>
                      <a:pt x="53" y="14"/>
                      <a:pt x="41" y="16"/>
                      <a:pt x="31" y="19"/>
                    </a:cubicBezTo>
                    <a:cubicBezTo>
                      <a:pt x="22" y="21"/>
                      <a:pt x="14" y="23"/>
                      <a:pt x="8" y="24"/>
                    </a:cubicBezTo>
                    <a:cubicBezTo>
                      <a:pt x="6" y="25"/>
                      <a:pt x="4" y="25"/>
                      <a:pt x="2" y="26"/>
                    </a:cubicBezTo>
                    <a:cubicBezTo>
                      <a:pt x="1" y="26"/>
                      <a:pt x="0" y="26"/>
                      <a:pt x="0" y="26"/>
                    </a:cubicBezTo>
                    <a:cubicBezTo>
                      <a:pt x="0" y="26"/>
                      <a:pt x="1" y="26"/>
                      <a:pt x="2" y="25"/>
                    </a:cubicBezTo>
                    <a:cubicBezTo>
                      <a:pt x="3" y="25"/>
                      <a:pt x="6" y="24"/>
                      <a:pt x="8" y="23"/>
                    </a:cubicBezTo>
                    <a:cubicBezTo>
                      <a:pt x="14" y="22"/>
                      <a:pt x="21" y="20"/>
                      <a:pt x="31" y="17"/>
                    </a:cubicBezTo>
                    <a:cubicBezTo>
                      <a:pt x="41" y="15"/>
                      <a:pt x="52" y="12"/>
                      <a:pt x="65" y="9"/>
                    </a:cubicBezTo>
                    <a:cubicBezTo>
                      <a:pt x="78" y="7"/>
                      <a:pt x="92" y="4"/>
                      <a:pt x="108" y="2"/>
                    </a:cubicBezTo>
                    <a:cubicBezTo>
                      <a:pt x="123" y="0"/>
                      <a:pt x="137" y="0"/>
                      <a:pt x="150" y="1"/>
                    </a:cubicBezTo>
                    <a:cubicBezTo>
                      <a:pt x="164" y="2"/>
                      <a:pt x="175" y="5"/>
                      <a:pt x="185" y="9"/>
                    </a:cubicBezTo>
                    <a:cubicBezTo>
                      <a:pt x="194" y="12"/>
                      <a:pt x="201" y="16"/>
                      <a:pt x="206" y="19"/>
                    </a:cubicBezTo>
                    <a:cubicBezTo>
                      <a:pt x="208" y="21"/>
                      <a:pt x="210" y="23"/>
                      <a:pt x="211" y="23"/>
                    </a:cubicBezTo>
                    <a:cubicBezTo>
                      <a:pt x="212" y="24"/>
                      <a:pt x="213" y="25"/>
                      <a:pt x="213" y="2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78">
                <a:extLst>
                  <a:ext uri="{FF2B5EF4-FFF2-40B4-BE49-F238E27FC236}">
                    <a16:creationId xmlns:a16="http://schemas.microsoft.com/office/drawing/2014/main" id="{49F59F7B-9E0C-4843-A7E4-1C03A45CA92B}"/>
                  </a:ext>
                </a:extLst>
              </p:cNvPr>
              <p:cNvSpPr>
                <a:spLocks/>
              </p:cNvSpPr>
              <p:nvPr/>
            </p:nvSpPr>
            <p:spPr bwMode="auto">
              <a:xfrm>
                <a:off x="1668" y="2688"/>
                <a:ext cx="468" cy="729"/>
              </a:xfrm>
              <a:custGeom>
                <a:avLst/>
                <a:gdLst>
                  <a:gd name="T0" fmla="*/ 0 w 197"/>
                  <a:gd name="T1" fmla="*/ 0 h 307"/>
                  <a:gd name="T2" fmla="*/ 30 w 197"/>
                  <a:gd name="T3" fmla="*/ 187 h 307"/>
                  <a:gd name="T4" fmla="*/ 107 w 197"/>
                  <a:gd name="T5" fmla="*/ 307 h 307"/>
                  <a:gd name="T6" fmla="*/ 197 w 197"/>
                  <a:gd name="T7" fmla="*/ 264 h 307"/>
                  <a:gd name="T8" fmla="*/ 137 w 197"/>
                  <a:gd name="T9" fmla="*/ 150 h 307"/>
                  <a:gd name="T10" fmla="*/ 95 w 197"/>
                  <a:gd name="T11" fmla="*/ 22 h 307"/>
                  <a:gd name="T12" fmla="*/ 0 w 197"/>
                  <a:gd name="T13" fmla="*/ 0 h 307"/>
                </a:gdLst>
                <a:ahLst/>
                <a:cxnLst>
                  <a:cxn ang="0">
                    <a:pos x="T0" y="T1"/>
                  </a:cxn>
                  <a:cxn ang="0">
                    <a:pos x="T2" y="T3"/>
                  </a:cxn>
                  <a:cxn ang="0">
                    <a:pos x="T4" y="T5"/>
                  </a:cxn>
                  <a:cxn ang="0">
                    <a:pos x="T6" y="T7"/>
                  </a:cxn>
                  <a:cxn ang="0">
                    <a:pos x="T8" y="T9"/>
                  </a:cxn>
                  <a:cxn ang="0">
                    <a:pos x="T10" y="T11"/>
                  </a:cxn>
                  <a:cxn ang="0">
                    <a:pos x="T12" y="T13"/>
                  </a:cxn>
                </a:cxnLst>
                <a:rect l="0" t="0" r="r" b="b"/>
                <a:pathLst>
                  <a:path w="197" h="307">
                    <a:moveTo>
                      <a:pt x="0" y="0"/>
                    </a:moveTo>
                    <a:cubicBezTo>
                      <a:pt x="0" y="0"/>
                      <a:pt x="21" y="162"/>
                      <a:pt x="30" y="187"/>
                    </a:cubicBezTo>
                    <a:cubicBezTo>
                      <a:pt x="39" y="213"/>
                      <a:pt x="107" y="307"/>
                      <a:pt x="107" y="307"/>
                    </a:cubicBezTo>
                    <a:cubicBezTo>
                      <a:pt x="197" y="264"/>
                      <a:pt x="197" y="264"/>
                      <a:pt x="197" y="264"/>
                    </a:cubicBezTo>
                    <a:cubicBezTo>
                      <a:pt x="137" y="150"/>
                      <a:pt x="137" y="150"/>
                      <a:pt x="137" y="150"/>
                    </a:cubicBezTo>
                    <a:cubicBezTo>
                      <a:pt x="95" y="22"/>
                      <a:pt x="95" y="22"/>
                      <a:pt x="95" y="22"/>
                    </a:cubicBezTo>
                    <a:lnTo>
                      <a:pt x="0" y="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79">
                <a:extLst>
                  <a:ext uri="{FF2B5EF4-FFF2-40B4-BE49-F238E27FC236}">
                    <a16:creationId xmlns:a16="http://schemas.microsoft.com/office/drawing/2014/main" id="{97164808-1A9C-402D-8F26-4B040F28BE62}"/>
                  </a:ext>
                </a:extLst>
              </p:cNvPr>
              <p:cNvSpPr>
                <a:spLocks/>
              </p:cNvSpPr>
              <p:nvPr/>
            </p:nvSpPr>
            <p:spPr bwMode="auto">
              <a:xfrm>
                <a:off x="2124" y="3299"/>
                <a:ext cx="104" cy="97"/>
              </a:xfrm>
              <a:custGeom>
                <a:avLst/>
                <a:gdLst>
                  <a:gd name="T0" fmla="*/ 1 w 44"/>
                  <a:gd name="T1" fmla="*/ 1 h 41"/>
                  <a:gd name="T2" fmla="*/ 25 w 44"/>
                  <a:gd name="T3" fmla="*/ 0 h 41"/>
                  <a:gd name="T4" fmla="*/ 34 w 44"/>
                  <a:gd name="T5" fmla="*/ 3 h 41"/>
                  <a:gd name="T6" fmla="*/ 37 w 44"/>
                  <a:gd name="T7" fmla="*/ 7 h 41"/>
                  <a:gd name="T8" fmla="*/ 44 w 44"/>
                  <a:gd name="T9" fmla="*/ 33 h 41"/>
                  <a:gd name="T10" fmla="*/ 43 w 44"/>
                  <a:gd name="T11" fmla="*/ 38 h 41"/>
                  <a:gd name="T12" fmla="*/ 35 w 44"/>
                  <a:gd name="T13" fmla="*/ 39 h 41"/>
                  <a:gd name="T14" fmla="*/ 24 w 44"/>
                  <a:gd name="T15" fmla="*/ 32 h 41"/>
                  <a:gd name="T16" fmla="*/ 13 w 44"/>
                  <a:gd name="T17" fmla="*/ 19 h 41"/>
                  <a:gd name="T18" fmla="*/ 9 w 44"/>
                  <a:gd name="T19" fmla="*/ 15 h 41"/>
                  <a:gd name="T20" fmla="*/ 0 w 44"/>
                  <a:gd name="T21"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1">
                    <a:moveTo>
                      <a:pt x="1" y="1"/>
                    </a:moveTo>
                    <a:cubicBezTo>
                      <a:pt x="9" y="0"/>
                      <a:pt x="17" y="0"/>
                      <a:pt x="25" y="0"/>
                    </a:cubicBezTo>
                    <a:cubicBezTo>
                      <a:pt x="28" y="0"/>
                      <a:pt x="31" y="1"/>
                      <a:pt x="34" y="3"/>
                    </a:cubicBezTo>
                    <a:cubicBezTo>
                      <a:pt x="35" y="4"/>
                      <a:pt x="36" y="5"/>
                      <a:pt x="37" y="7"/>
                    </a:cubicBezTo>
                    <a:cubicBezTo>
                      <a:pt x="42" y="15"/>
                      <a:pt x="44" y="24"/>
                      <a:pt x="44" y="33"/>
                    </a:cubicBezTo>
                    <a:cubicBezTo>
                      <a:pt x="44" y="35"/>
                      <a:pt x="44" y="37"/>
                      <a:pt x="43" y="38"/>
                    </a:cubicBezTo>
                    <a:cubicBezTo>
                      <a:pt x="41" y="41"/>
                      <a:pt x="37" y="40"/>
                      <a:pt x="35" y="39"/>
                    </a:cubicBezTo>
                    <a:cubicBezTo>
                      <a:pt x="31" y="37"/>
                      <a:pt x="27" y="35"/>
                      <a:pt x="24" y="32"/>
                    </a:cubicBezTo>
                    <a:cubicBezTo>
                      <a:pt x="20" y="28"/>
                      <a:pt x="16" y="24"/>
                      <a:pt x="13" y="19"/>
                    </a:cubicBezTo>
                    <a:cubicBezTo>
                      <a:pt x="11" y="18"/>
                      <a:pt x="10" y="16"/>
                      <a:pt x="9" y="15"/>
                    </a:cubicBezTo>
                    <a:cubicBezTo>
                      <a:pt x="6" y="11"/>
                      <a:pt x="3" y="7"/>
                      <a:pt x="0" y="3"/>
                    </a:cubicBezTo>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80">
                <a:extLst>
                  <a:ext uri="{FF2B5EF4-FFF2-40B4-BE49-F238E27FC236}">
                    <a16:creationId xmlns:a16="http://schemas.microsoft.com/office/drawing/2014/main" id="{D5AEB600-65B0-458E-9B0B-C05F2ED1270C}"/>
                  </a:ext>
                </a:extLst>
              </p:cNvPr>
              <p:cNvSpPr>
                <a:spLocks/>
              </p:cNvSpPr>
              <p:nvPr/>
            </p:nvSpPr>
            <p:spPr bwMode="auto">
              <a:xfrm>
                <a:off x="2048" y="3118"/>
                <a:ext cx="97" cy="221"/>
              </a:xfrm>
              <a:custGeom>
                <a:avLst/>
                <a:gdLst>
                  <a:gd name="T0" fmla="*/ 1 w 41"/>
                  <a:gd name="T1" fmla="*/ 7 h 93"/>
                  <a:gd name="T2" fmla="*/ 27 w 41"/>
                  <a:gd name="T3" fmla="*/ 78 h 93"/>
                  <a:gd name="T4" fmla="*/ 41 w 41"/>
                  <a:gd name="T5" fmla="*/ 93 h 93"/>
                  <a:gd name="T6" fmla="*/ 10 w 41"/>
                  <a:gd name="T7" fmla="*/ 4 h 93"/>
                  <a:gd name="T8" fmla="*/ 4 w 41"/>
                  <a:gd name="T9" fmla="*/ 1 h 93"/>
                  <a:gd name="T10" fmla="*/ 1 w 41"/>
                  <a:gd name="T11" fmla="*/ 7 h 93"/>
                </a:gdLst>
                <a:ahLst/>
                <a:cxnLst>
                  <a:cxn ang="0">
                    <a:pos x="T0" y="T1"/>
                  </a:cxn>
                  <a:cxn ang="0">
                    <a:pos x="T2" y="T3"/>
                  </a:cxn>
                  <a:cxn ang="0">
                    <a:pos x="T4" y="T5"/>
                  </a:cxn>
                  <a:cxn ang="0">
                    <a:pos x="T6" y="T7"/>
                  </a:cxn>
                  <a:cxn ang="0">
                    <a:pos x="T8" y="T9"/>
                  </a:cxn>
                  <a:cxn ang="0">
                    <a:pos x="T10" y="T11"/>
                  </a:cxn>
                </a:cxnLst>
                <a:rect l="0" t="0" r="r" b="b"/>
                <a:pathLst>
                  <a:path w="41" h="93">
                    <a:moveTo>
                      <a:pt x="1" y="7"/>
                    </a:moveTo>
                    <a:cubicBezTo>
                      <a:pt x="7" y="24"/>
                      <a:pt x="27" y="78"/>
                      <a:pt x="27" y="78"/>
                    </a:cubicBezTo>
                    <a:cubicBezTo>
                      <a:pt x="41" y="93"/>
                      <a:pt x="41" y="93"/>
                      <a:pt x="41" y="93"/>
                    </a:cubicBezTo>
                    <a:cubicBezTo>
                      <a:pt x="10" y="4"/>
                      <a:pt x="10" y="4"/>
                      <a:pt x="10" y="4"/>
                    </a:cubicBezTo>
                    <a:cubicBezTo>
                      <a:pt x="9" y="2"/>
                      <a:pt x="6" y="0"/>
                      <a:pt x="4" y="1"/>
                    </a:cubicBezTo>
                    <a:cubicBezTo>
                      <a:pt x="1" y="2"/>
                      <a:pt x="0" y="5"/>
                      <a:pt x="1" y="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1">
                <a:extLst>
                  <a:ext uri="{FF2B5EF4-FFF2-40B4-BE49-F238E27FC236}">
                    <a16:creationId xmlns:a16="http://schemas.microsoft.com/office/drawing/2014/main" id="{F1762E3F-1ED8-4E30-A04C-A53D866DDB4C}"/>
                  </a:ext>
                </a:extLst>
              </p:cNvPr>
              <p:cNvSpPr>
                <a:spLocks/>
              </p:cNvSpPr>
              <p:nvPr/>
            </p:nvSpPr>
            <p:spPr bwMode="auto">
              <a:xfrm>
                <a:off x="1898" y="3258"/>
                <a:ext cx="333" cy="285"/>
              </a:xfrm>
              <a:custGeom>
                <a:avLst/>
                <a:gdLst>
                  <a:gd name="T0" fmla="*/ 46 w 140"/>
                  <a:gd name="T1" fmla="*/ 24 h 120"/>
                  <a:gd name="T2" fmla="*/ 22 w 140"/>
                  <a:gd name="T3" fmla="*/ 31 h 120"/>
                  <a:gd name="T4" fmla="*/ 15 w 140"/>
                  <a:gd name="T5" fmla="*/ 54 h 120"/>
                  <a:gd name="T6" fmla="*/ 9 w 140"/>
                  <a:gd name="T7" fmla="*/ 83 h 120"/>
                  <a:gd name="T8" fmla="*/ 8 w 140"/>
                  <a:gd name="T9" fmla="*/ 111 h 120"/>
                  <a:gd name="T10" fmla="*/ 19 w 140"/>
                  <a:gd name="T11" fmla="*/ 120 h 120"/>
                  <a:gd name="T12" fmla="*/ 106 w 140"/>
                  <a:gd name="T13" fmla="*/ 120 h 120"/>
                  <a:gd name="T14" fmla="*/ 140 w 140"/>
                  <a:gd name="T15" fmla="*/ 67 h 120"/>
                  <a:gd name="T16" fmla="*/ 106 w 140"/>
                  <a:gd name="T17" fmla="*/ 34 h 120"/>
                  <a:gd name="T18" fmla="*/ 72 w 140"/>
                  <a:gd name="T19" fmla="*/ 1 h 120"/>
                  <a:gd name="T20" fmla="*/ 46 w 140"/>
                  <a:gd name="T21" fmla="*/ 2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120">
                    <a:moveTo>
                      <a:pt x="46" y="24"/>
                    </a:moveTo>
                    <a:cubicBezTo>
                      <a:pt x="46" y="24"/>
                      <a:pt x="27" y="25"/>
                      <a:pt x="22" y="31"/>
                    </a:cubicBezTo>
                    <a:cubicBezTo>
                      <a:pt x="16" y="36"/>
                      <a:pt x="15" y="54"/>
                      <a:pt x="15" y="54"/>
                    </a:cubicBezTo>
                    <a:cubicBezTo>
                      <a:pt x="15" y="54"/>
                      <a:pt x="4" y="69"/>
                      <a:pt x="9" y="83"/>
                    </a:cubicBezTo>
                    <a:cubicBezTo>
                      <a:pt x="9" y="83"/>
                      <a:pt x="0" y="104"/>
                      <a:pt x="8" y="111"/>
                    </a:cubicBezTo>
                    <a:cubicBezTo>
                      <a:pt x="15" y="119"/>
                      <a:pt x="19" y="120"/>
                      <a:pt x="19" y="120"/>
                    </a:cubicBezTo>
                    <a:cubicBezTo>
                      <a:pt x="106" y="120"/>
                      <a:pt x="106" y="120"/>
                      <a:pt x="106" y="120"/>
                    </a:cubicBezTo>
                    <a:cubicBezTo>
                      <a:pt x="140" y="67"/>
                      <a:pt x="140" y="67"/>
                      <a:pt x="140" y="67"/>
                    </a:cubicBezTo>
                    <a:cubicBezTo>
                      <a:pt x="106" y="34"/>
                      <a:pt x="106" y="34"/>
                      <a:pt x="106" y="34"/>
                    </a:cubicBezTo>
                    <a:cubicBezTo>
                      <a:pt x="106" y="34"/>
                      <a:pt x="84" y="2"/>
                      <a:pt x="72" y="1"/>
                    </a:cubicBezTo>
                    <a:cubicBezTo>
                      <a:pt x="61" y="0"/>
                      <a:pt x="37" y="2"/>
                      <a:pt x="46" y="24"/>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2">
                <a:extLst>
                  <a:ext uri="{FF2B5EF4-FFF2-40B4-BE49-F238E27FC236}">
                    <a16:creationId xmlns:a16="http://schemas.microsoft.com/office/drawing/2014/main" id="{C4C0719B-E68D-4C5B-AD76-F489E90E50A7}"/>
                  </a:ext>
                </a:extLst>
              </p:cNvPr>
              <p:cNvSpPr>
                <a:spLocks/>
              </p:cNvSpPr>
              <p:nvPr/>
            </p:nvSpPr>
            <p:spPr bwMode="auto">
              <a:xfrm>
                <a:off x="1908" y="3258"/>
                <a:ext cx="325" cy="287"/>
              </a:xfrm>
              <a:custGeom>
                <a:avLst/>
                <a:gdLst>
                  <a:gd name="T0" fmla="*/ 42 w 137"/>
                  <a:gd name="T1" fmla="*/ 22 h 121"/>
                  <a:gd name="T2" fmla="*/ 41 w 137"/>
                  <a:gd name="T3" fmla="*/ 9 h 121"/>
                  <a:gd name="T4" fmla="*/ 63 w 137"/>
                  <a:gd name="T5" fmla="*/ 0 h 121"/>
                  <a:gd name="T6" fmla="*/ 77 w 137"/>
                  <a:gd name="T7" fmla="*/ 5 h 121"/>
                  <a:gd name="T8" fmla="*/ 102 w 137"/>
                  <a:gd name="T9" fmla="*/ 33 h 121"/>
                  <a:gd name="T10" fmla="*/ 137 w 137"/>
                  <a:gd name="T11" fmla="*/ 67 h 121"/>
                  <a:gd name="T12" fmla="*/ 103 w 137"/>
                  <a:gd name="T13" fmla="*/ 120 h 121"/>
                  <a:gd name="T14" fmla="*/ 102 w 137"/>
                  <a:gd name="T15" fmla="*/ 121 h 121"/>
                  <a:gd name="T16" fmla="*/ 15 w 137"/>
                  <a:gd name="T17" fmla="*/ 121 h 121"/>
                  <a:gd name="T18" fmla="*/ 14 w 137"/>
                  <a:gd name="T19" fmla="*/ 121 h 121"/>
                  <a:gd name="T20" fmla="*/ 1 w 137"/>
                  <a:gd name="T21" fmla="*/ 109 h 121"/>
                  <a:gd name="T22" fmla="*/ 5 w 137"/>
                  <a:gd name="T23" fmla="*/ 82 h 121"/>
                  <a:gd name="T24" fmla="*/ 4 w 137"/>
                  <a:gd name="T25" fmla="*/ 67 h 121"/>
                  <a:gd name="T26" fmla="*/ 10 w 137"/>
                  <a:gd name="T27" fmla="*/ 53 h 121"/>
                  <a:gd name="T28" fmla="*/ 19 w 137"/>
                  <a:gd name="T29" fmla="*/ 29 h 121"/>
                  <a:gd name="T30" fmla="*/ 29 w 137"/>
                  <a:gd name="T31" fmla="*/ 25 h 121"/>
                  <a:gd name="T32" fmla="*/ 42 w 137"/>
                  <a:gd name="T33" fmla="*/ 24 h 121"/>
                  <a:gd name="T34" fmla="*/ 42 w 137"/>
                  <a:gd name="T35" fmla="*/ 24 h 121"/>
                  <a:gd name="T36" fmla="*/ 29 w 137"/>
                  <a:gd name="T37" fmla="*/ 26 h 121"/>
                  <a:gd name="T38" fmla="*/ 19 w 137"/>
                  <a:gd name="T39" fmla="*/ 30 h 121"/>
                  <a:gd name="T40" fmla="*/ 11 w 137"/>
                  <a:gd name="T41" fmla="*/ 54 h 121"/>
                  <a:gd name="T42" fmla="*/ 11 w 137"/>
                  <a:gd name="T43" fmla="*/ 54 h 121"/>
                  <a:gd name="T44" fmla="*/ 6 w 137"/>
                  <a:gd name="T45" fmla="*/ 82 h 121"/>
                  <a:gd name="T46" fmla="*/ 6 w 137"/>
                  <a:gd name="T47" fmla="*/ 83 h 121"/>
                  <a:gd name="T48" fmla="*/ 3 w 137"/>
                  <a:gd name="T49" fmla="*/ 108 h 121"/>
                  <a:gd name="T50" fmla="*/ 15 w 137"/>
                  <a:gd name="T51" fmla="*/ 119 h 121"/>
                  <a:gd name="T52" fmla="*/ 97 w 137"/>
                  <a:gd name="T53" fmla="*/ 119 h 121"/>
                  <a:gd name="T54" fmla="*/ 101 w 137"/>
                  <a:gd name="T55" fmla="*/ 119 h 121"/>
                  <a:gd name="T56" fmla="*/ 136 w 137"/>
                  <a:gd name="T57" fmla="*/ 68 h 121"/>
                  <a:gd name="T58" fmla="*/ 101 w 137"/>
                  <a:gd name="T59" fmla="*/ 35 h 121"/>
                  <a:gd name="T60" fmla="*/ 77 w 137"/>
                  <a:gd name="T61" fmla="*/ 6 h 121"/>
                  <a:gd name="T62" fmla="*/ 63 w 137"/>
                  <a:gd name="T63" fmla="*/ 1 h 121"/>
                  <a:gd name="T64" fmla="*/ 42 w 137"/>
                  <a:gd name="T65" fmla="*/ 10 h 121"/>
                  <a:gd name="T66" fmla="*/ 42 w 137"/>
                  <a:gd name="T67"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 h="121">
                    <a:moveTo>
                      <a:pt x="42" y="24"/>
                    </a:moveTo>
                    <a:cubicBezTo>
                      <a:pt x="42" y="24"/>
                      <a:pt x="42" y="23"/>
                      <a:pt x="42" y="22"/>
                    </a:cubicBezTo>
                    <a:cubicBezTo>
                      <a:pt x="41" y="21"/>
                      <a:pt x="41" y="20"/>
                      <a:pt x="40" y="17"/>
                    </a:cubicBezTo>
                    <a:cubicBezTo>
                      <a:pt x="40" y="15"/>
                      <a:pt x="40" y="12"/>
                      <a:pt x="41" y="9"/>
                    </a:cubicBezTo>
                    <a:cubicBezTo>
                      <a:pt x="43" y="6"/>
                      <a:pt x="46" y="4"/>
                      <a:pt x="49" y="2"/>
                    </a:cubicBezTo>
                    <a:cubicBezTo>
                      <a:pt x="53" y="1"/>
                      <a:pt x="58" y="0"/>
                      <a:pt x="63" y="0"/>
                    </a:cubicBezTo>
                    <a:cubicBezTo>
                      <a:pt x="65" y="0"/>
                      <a:pt x="67" y="0"/>
                      <a:pt x="70" y="1"/>
                    </a:cubicBezTo>
                    <a:cubicBezTo>
                      <a:pt x="73" y="1"/>
                      <a:pt x="75" y="3"/>
                      <a:pt x="77" y="5"/>
                    </a:cubicBezTo>
                    <a:cubicBezTo>
                      <a:pt x="86" y="12"/>
                      <a:pt x="94" y="22"/>
                      <a:pt x="102" y="34"/>
                    </a:cubicBezTo>
                    <a:cubicBezTo>
                      <a:pt x="102" y="33"/>
                      <a:pt x="102" y="33"/>
                      <a:pt x="102" y="33"/>
                    </a:cubicBezTo>
                    <a:cubicBezTo>
                      <a:pt x="113" y="43"/>
                      <a:pt x="124" y="54"/>
                      <a:pt x="137" y="66"/>
                    </a:cubicBezTo>
                    <a:cubicBezTo>
                      <a:pt x="137" y="67"/>
                      <a:pt x="137" y="67"/>
                      <a:pt x="137" y="67"/>
                    </a:cubicBezTo>
                    <a:cubicBezTo>
                      <a:pt x="137" y="68"/>
                      <a:pt x="137" y="68"/>
                      <a:pt x="137" y="68"/>
                    </a:cubicBezTo>
                    <a:cubicBezTo>
                      <a:pt x="126" y="84"/>
                      <a:pt x="115" y="102"/>
                      <a:pt x="103" y="120"/>
                    </a:cubicBezTo>
                    <a:cubicBezTo>
                      <a:pt x="102" y="121"/>
                      <a:pt x="102" y="121"/>
                      <a:pt x="102" y="121"/>
                    </a:cubicBezTo>
                    <a:cubicBezTo>
                      <a:pt x="102" y="121"/>
                      <a:pt x="102" y="121"/>
                      <a:pt x="102" y="121"/>
                    </a:cubicBezTo>
                    <a:cubicBezTo>
                      <a:pt x="100" y="121"/>
                      <a:pt x="99" y="121"/>
                      <a:pt x="97" y="121"/>
                    </a:cubicBezTo>
                    <a:cubicBezTo>
                      <a:pt x="68" y="121"/>
                      <a:pt x="40" y="121"/>
                      <a:pt x="15" y="121"/>
                    </a:cubicBezTo>
                    <a:cubicBezTo>
                      <a:pt x="14" y="121"/>
                      <a:pt x="14" y="121"/>
                      <a:pt x="14" y="121"/>
                    </a:cubicBezTo>
                    <a:cubicBezTo>
                      <a:pt x="14" y="121"/>
                      <a:pt x="14" y="121"/>
                      <a:pt x="14" y="121"/>
                    </a:cubicBezTo>
                    <a:cubicBezTo>
                      <a:pt x="10" y="119"/>
                      <a:pt x="8" y="116"/>
                      <a:pt x="5" y="114"/>
                    </a:cubicBezTo>
                    <a:cubicBezTo>
                      <a:pt x="3" y="112"/>
                      <a:pt x="2" y="111"/>
                      <a:pt x="1" y="109"/>
                    </a:cubicBezTo>
                    <a:cubicBezTo>
                      <a:pt x="0" y="107"/>
                      <a:pt x="0" y="105"/>
                      <a:pt x="0" y="103"/>
                    </a:cubicBezTo>
                    <a:cubicBezTo>
                      <a:pt x="0" y="96"/>
                      <a:pt x="2" y="89"/>
                      <a:pt x="5" y="82"/>
                    </a:cubicBezTo>
                    <a:cubicBezTo>
                      <a:pt x="5" y="83"/>
                      <a:pt x="5" y="83"/>
                      <a:pt x="5" y="83"/>
                    </a:cubicBezTo>
                    <a:cubicBezTo>
                      <a:pt x="2" y="78"/>
                      <a:pt x="3" y="72"/>
                      <a:pt x="4" y="67"/>
                    </a:cubicBezTo>
                    <a:cubicBezTo>
                      <a:pt x="5" y="62"/>
                      <a:pt x="7" y="57"/>
                      <a:pt x="10" y="53"/>
                    </a:cubicBezTo>
                    <a:cubicBezTo>
                      <a:pt x="10" y="53"/>
                      <a:pt x="10" y="53"/>
                      <a:pt x="10" y="53"/>
                    </a:cubicBezTo>
                    <a:cubicBezTo>
                      <a:pt x="11" y="46"/>
                      <a:pt x="12" y="38"/>
                      <a:pt x="16" y="33"/>
                    </a:cubicBezTo>
                    <a:cubicBezTo>
                      <a:pt x="16" y="32"/>
                      <a:pt x="17" y="30"/>
                      <a:pt x="19" y="29"/>
                    </a:cubicBezTo>
                    <a:cubicBezTo>
                      <a:pt x="20" y="29"/>
                      <a:pt x="21" y="28"/>
                      <a:pt x="22" y="27"/>
                    </a:cubicBezTo>
                    <a:cubicBezTo>
                      <a:pt x="25" y="26"/>
                      <a:pt x="27" y="26"/>
                      <a:pt x="29" y="25"/>
                    </a:cubicBezTo>
                    <a:cubicBezTo>
                      <a:pt x="34" y="24"/>
                      <a:pt x="37" y="24"/>
                      <a:pt x="39" y="24"/>
                    </a:cubicBezTo>
                    <a:cubicBezTo>
                      <a:pt x="40" y="24"/>
                      <a:pt x="41" y="24"/>
                      <a:pt x="42" y="24"/>
                    </a:cubicBezTo>
                    <a:cubicBezTo>
                      <a:pt x="42" y="24"/>
                      <a:pt x="42" y="24"/>
                      <a:pt x="42" y="24"/>
                    </a:cubicBezTo>
                    <a:cubicBezTo>
                      <a:pt x="43" y="24"/>
                      <a:pt x="42" y="24"/>
                      <a:pt x="42" y="24"/>
                    </a:cubicBezTo>
                    <a:cubicBezTo>
                      <a:pt x="41" y="24"/>
                      <a:pt x="40" y="24"/>
                      <a:pt x="39" y="24"/>
                    </a:cubicBezTo>
                    <a:cubicBezTo>
                      <a:pt x="37" y="24"/>
                      <a:pt x="34" y="25"/>
                      <a:pt x="29" y="26"/>
                    </a:cubicBezTo>
                    <a:cubicBezTo>
                      <a:pt x="27" y="27"/>
                      <a:pt x="25" y="27"/>
                      <a:pt x="23" y="28"/>
                    </a:cubicBezTo>
                    <a:cubicBezTo>
                      <a:pt x="21" y="29"/>
                      <a:pt x="20" y="29"/>
                      <a:pt x="19" y="30"/>
                    </a:cubicBezTo>
                    <a:cubicBezTo>
                      <a:pt x="18" y="31"/>
                      <a:pt x="17" y="32"/>
                      <a:pt x="16" y="33"/>
                    </a:cubicBezTo>
                    <a:cubicBezTo>
                      <a:pt x="14" y="39"/>
                      <a:pt x="12" y="46"/>
                      <a:pt x="11" y="54"/>
                    </a:cubicBezTo>
                    <a:cubicBezTo>
                      <a:pt x="11" y="54"/>
                      <a:pt x="11" y="54"/>
                      <a:pt x="11" y="54"/>
                    </a:cubicBezTo>
                    <a:cubicBezTo>
                      <a:pt x="11" y="54"/>
                      <a:pt x="11" y="54"/>
                      <a:pt x="11" y="54"/>
                    </a:cubicBezTo>
                    <a:cubicBezTo>
                      <a:pt x="9" y="58"/>
                      <a:pt x="7" y="62"/>
                      <a:pt x="5" y="67"/>
                    </a:cubicBezTo>
                    <a:cubicBezTo>
                      <a:pt x="4" y="72"/>
                      <a:pt x="4" y="77"/>
                      <a:pt x="6" y="82"/>
                    </a:cubicBezTo>
                    <a:cubicBezTo>
                      <a:pt x="6" y="83"/>
                      <a:pt x="6" y="83"/>
                      <a:pt x="6" y="83"/>
                    </a:cubicBezTo>
                    <a:cubicBezTo>
                      <a:pt x="6" y="83"/>
                      <a:pt x="6" y="83"/>
                      <a:pt x="6" y="83"/>
                    </a:cubicBezTo>
                    <a:cubicBezTo>
                      <a:pt x="4" y="89"/>
                      <a:pt x="2" y="96"/>
                      <a:pt x="2" y="103"/>
                    </a:cubicBezTo>
                    <a:cubicBezTo>
                      <a:pt x="2" y="105"/>
                      <a:pt x="2" y="107"/>
                      <a:pt x="3" y="108"/>
                    </a:cubicBezTo>
                    <a:cubicBezTo>
                      <a:pt x="3" y="110"/>
                      <a:pt x="4" y="111"/>
                      <a:pt x="6" y="112"/>
                    </a:cubicBezTo>
                    <a:cubicBezTo>
                      <a:pt x="9" y="115"/>
                      <a:pt x="12" y="117"/>
                      <a:pt x="15" y="119"/>
                    </a:cubicBezTo>
                    <a:cubicBezTo>
                      <a:pt x="15" y="119"/>
                      <a:pt x="15" y="119"/>
                      <a:pt x="15" y="119"/>
                    </a:cubicBezTo>
                    <a:cubicBezTo>
                      <a:pt x="40" y="119"/>
                      <a:pt x="68" y="119"/>
                      <a:pt x="97" y="119"/>
                    </a:cubicBezTo>
                    <a:cubicBezTo>
                      <a:pt x="99" y="119"/>
                      <a:pt x="100" y="119"/>
                      <a:pt x="102" y="119"/>
                    </a:cubicBezTo>
                    <a:cubicBezTo>
                      <a:pt x="101" y="119"/>
                      <a:pt x="101" y="119"/>
                      <a:pt x="101" y="119"/>
                    </a:cubicBezTo>
                    <a:cubicBezTo>
                      <a:pt x="113" y="101"/>
                      <a:pt x="125" y="83"/>
                      <a:pt x="135" y="66"/>
                    </a:cubicBezTo>
                    <a:cubicBezTo>
                      <a:pt x="136" y="68"/>
                      <a:pt x="136" y="68"/>
                      <a:pt x="136" y="68"/>
                    </a:cubicBezTo>
                    <a:cubicBezTo>
                      <a:pt x="123" y="56"/>
                      <a:pt x="112" y="45"/>
                      <a:pt x="101" y="35"/>
                    </a:cubicBezTo>
                    <a:cubicBezTo>
                      <a:pt x="101" y="35"/>
                      <a:pt x="101" y="35"/>
                      <a:pt x="101" y="35"/>
                    </a:cubicBezTo>
                    <a:cubicBezTo>
                      <a:pt x="101" y="34"/>
                      <a:pt x="101" y="34"/>
                      <a:pt x="101" y="34"/>
                    </a:cubicBezTo>
                    <a:cubicBezTo>
                      <a:pt x="93" y="23"/>
                      <a:pt x="85" y="13"/>
                      <a:pt x="77" y="6"/>
                    </a:cubicBezTo>
                    <a:cubicBezTo>
                      <a:pt x="74" y="4"/>
                      <a:pt x="72" y="3"/>
                      <a:pt x="70" y="2"/>
                    </a:cubicBezTo>
                    <a:cubicBezTo>
                      <a:pt x="68" y="1"/>
                      <a:pt x="65" y="1"/>
                      <a:pt x="63" y="1"/>
                    </a:cubicBezTo>
                    <a:cubicBezTo>
                      <a:pt x="58" y="1"/>
                      <a:pt x="53" y="2"/>
                      <a:pt x="50" y="3"/>
                    </a:cubicBezTo>
                    <a:cubicBezTo>
                      <a:pt x="46" y="5"/>
                      <a:pt x="43" y="7"/>
                      <a:pt x="42" y="10"/>
                    </a:cubicBezTo>
                    <a:cubicBezTo>
                      <a:pt x="41" y="12"/>
                      <a:pt x="41" y="15"/>
                      <a:pt x="41" y="17"/>
                    </a:cubicBezTo>
                    <a:cubicBezTo>
                      <a:pt x="41" y="19"/>
                      <a:pt x="42" y="21"/>
                      <a:pt x="42" y="22"/>
                    </a:cubicBezTo>
                    <a:cubicBezTo>
                      <a:pt x="42" y="23"/>
                      <a:pt x="43" y="24"/>
                      <a:pt x="42" y="24"/>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83">
                <a:extLst>
                  <a:ext uri="{FF2B5EF4-FFF2-40B4-BE49-F238E27FC236}">
                    <a16:creationId xmlns:a16="http://schemas.microsoft.com/office/drawing/2014/main" id="{B3595E8D-7738-42D8-932E-E3BD8DDF1531}"/>
                  </a:ext>
                </a:extLst>
              </p:cNvPr>
              <p:cNvSpPr>
                <a:spLocks/>
              </p:cNvSpPr>
              <p:nvPr/>
            </p:nvSpPr>
            <p:spPr bwMode="auto">
              <a:xfrm>
                <a:off x="1955" y="3394"/>
                <a:ext cx="150" cy="87"/>
              </a:xfrm>
              <a:custGeom>
                <a:avLst/>
                <a:gdLst>
                  <a:gd name="T0" fmla="*/ 63 w 63"/>
                  <a:gd name="T1" fmla="*/ 37 h 37"/>
                  <a:gd name="T2" fmla="*/ 52 w 63"/>
                  <a:gd name="T3" fmla="*/ 36 h 37"/>
                  <a:gd name="T4" fmla="*/ 40 w 63"/>
                  <a:gd name="T5" fmla="*/ 35 h 37"/>
                  <a:gd name="T6" fmla="*/ 33 w 63"/>
                  <a:gd name="T7" fmla="*/ 33 h 37"/>
                  <a:gd name="T8" fmla="*/ 26 w 63"/>
                  <a:gd name="T9" fmla="*/ 29 h 37"/>
                  <a:gd name="T10" fmla="*/ 6 w 63"/>
                  <a:gd name="T11" fmla="*/ 10 h 37"/>
                  <a:gd name="T12" fmla="*/ 0 w 63"/>
                  <a:gd name="T13" fmla="*/ 0 h 37"/>
                  <a:gd name="T14" fmla="*/ 8 w 63"/>
                  <a:gd name="T15" fmla="*/ 9 h 37"/>
                  <a:gd name="T16" fmla="*/ 27 w 63"/>
                  <a:gd name="T17" fmla="*/ 27 h 37"/>
                  <a:gd name="T18" fmla="*/ 34 w 63"/>
                  <a:gd name="T19" fmla="*/ 31 h 37"/>
                  <a:gd name="T20" fmla="*/ 40 w 63"/>
                  <a:gd name="T21" fmla="*/ 33 h 37"/>
                  <a:gd name="T22" fmla="*/ 52 w 63"/>
                  <a:gd name="T23" fmla="*/ 35 h 37"/>
                  <a:gd name="T24" fmla="*/ 63 w 63"/>
                  <a:gd name="T2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37">
                    <a:moveTo>
                      <a:pt x="63" y="37"/>
                    </a:moveTo>
                    <a:cubicBezTo>
                      <a:pt x="63" y="37"/>
                      <a:pt x="59" y="37"/>
                      <a:pt x="52" y="36"/>
                    </a:cubicBezTo>
                    <a:cubicBezTo>
                      <a:pt x="49" y="36"/>
                      <a:pt x="45" y="35"/>
                      <a:pt x="40" y="35"/>
                    </a:cubicBezTo>
                    <a:cubicBezTo>
                      <a:pt x="38" y="34"/>
                      <a:pt x="35" y="34"/>
                      <a:pt x="33" y="33"/>
                    </a:cubicBezTo>
                    <a:cubicBezTo>
                      <a:pt x="30" y="32"/>
                      <a:pt x="28" y="30"/>
                      <a:pt x="26" y="29"/>
                    </a:cubicBezTo>
                    <a:cubicBezTo>
                      <a:pt x="17" y="22"/>
                      <a:pt x="11" y="15"/>
                      <a:pt x="6" y="10"/>
                    </a:cubicBezTo>
                    <a:cubicBezTo>
                      <a:pt x="2" y="4"/>
                      <a:pt x="0" y="0"/>
                      <a:pt x="0" y="0"/>
                    </a:cubicBezTo>
                    <a:cubicBezTo>
                      <a:pt x="0" y="0"/>
                      <a:pt x="3" y="3"/>
                      <a:pt x="8" y="9"/>
                    </a:cubicBezTo>
                    <a:cubicBezTo>
                      <a:pt x="12" y="14"/>
                      <a:pt x="19" y="21"/>
                      <a:pt x="27" y="27"/>
                    </a:cubicBezTo>
                    <a:cubicBezTo>
                      <a:pt x="29" y="29"/>
                      <a:pt x="31" y="30"/>
                      <a:pt x="34" y="31"/>
                    </a:cubicBezTo>
                    <a:cubicBezTo>
                      <a:pt x="36" y="32"/>
                      <a:pt x="38" y="32"/>
                      <a:pt x="40" y="33"/>
                    </a:cubicBezTo>
                    <a:cubicBezTo>
                      <a:pt x="45" y="33"/>
                      <a:pt x="49" y="34"/>
                      <a:pt x="52" y="35"/>
                    </a:cubicBezTo>
                    <a:cubicBezTo>
                      <a:pt x="59" y="36"/>
                      <a:pt x="63" y="37"/>
                      <a:pt x="63" y="37"/>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84">
                <a:extLst>
                  <a:ext uri="{FF2B5EF4-FFF2-40B4-BE49-F238E27FC236}">
                    <a16:creationId xmlns:a16="http://schemas.microsoft.com/office/drawing/2014/main" id="{A3A4108F-BF78-4112-AD34-A811EE6E6372}"/>
                  </a:ext>
                </a:extLst>
              </p:cNvPr>
              <p:cNvSpPr>
                <a:spLocks/>
              </p:cNvSpPr>
              <p:nvPr/>
            </p:nvSpPr>
            <p:spPr bwMode="auto">
              <a:xfrm>
                <a:off x="1941" y="3469"/>
                <a:ext cx="157" cy="69"/>
              </a:xfrm>
              <a:custGeom>
                <a:avLst/>
                <a:gdLst>
                  <a:gd name="T0" fmla="*/ 66 w 66"/>
                  <a:gd name="T1" fmla="*/ 28 h 29"/>
                  <a:gd name="T2" fmla="*/ 55 w 66"/>
                  <a:gd name="T3" fmla="*/ 29 h 29"/>
                  <a:gd name="T4" fmla="*/ 43 w 66"/>
                  <a:gd name="T5" fmla="*/ 28 h 29"/>
                  <a:gd name="T6" fmla="*/ 29 w 66"/>
                  <a:gd name="T7" fmla="*/ 24 h 29"/>
                  <a:gd name="T8" fmla="*/ 8 w 66"/>
                  <a:gd name="T9" fmla="*/ 8 h 29"/>
                  <a:gd name="T10" fmla="*/ 0 w 66"/>
                  <a:gd name="T11" fmla="*/ 0 h 29"/>
                  <a:gd name="T12" fmla="*/ 9 w 66"/>
                  <a:gd name="T13" fmla="*/ 7 h 29"/>
                  <a:gd name="T14" fmla="*/ 30 w 66"/>
                  <a:gd name="T15" fmla="*/ 22 h 29"/>
                  <a:gd name="T16" fmla="*/ 55 w 66"/>
                  <a:gd name="T17" fmla="*/ 27 h 29"/>
                  <a:gd name="T18" fmla="*/ 66 w 66"/>
                  <a:gd name="T19"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29">
                    <a:moveTo>
                      <a:pt x="66" y="28"/>
                    </a:moveTo>
                    <a:cubicBezTo>
                      <a:pt x="66" y="28"/>
                      <a:pt x="62" y="29"/>
                      <a:pt x="55" y="29"/>
                    </a:cubicBezTo>
                    <a:cubicBezTo>
                      <a:pt x="51" y="29"/>
                      <a:pt x="47" y="29"/>
                      <a:pt x="43" y="28"/>
                    </a:cubicBezTo>
                    <a:cubicBezTo>
                      <a:pt x="38" y="28"/>
                      <a:pt x="34" y="27"/>
                      <a:pt x="29" y="24"/>
                    </a:cubicBezTo>
                    <a:cubicBezTo>
                      <a:pt x="19" y="20"/>
                      <a:pt x="12" y="13"/>
                      <a:pt x="8" y="8"/>
                    </a:cubicBezTo>
                    <a:cubicBezTo>
                      <a:pt x="3" y="3"/>
                      <a:pt x="0" y="0"/>
                      <a:pt x="0" y="0"/>
                    </a:cubicBezTo>
                    <a:cubicBezTo>
                      <a:pt x="1" y="0"/>
                      <a:pt x="4" y="3"/>
                      <a:pt x="9" y="7"/>
                    </a:cubicBezTo>
                    <a:cubicBezTo>
                      <a:pt x="14" y="12"/>
                      <a:pt x="21" y="18"/>
                      <a:pt x="30" y="22"/>
                    </a:cubicBezTo>
                    <a:cubicBezTo>
                      <a:pt x="39" y="27"/>
                      <a:pt x="48" y="27"/>
                      <a:pt x="55" y="27"/>
                    </a:cubicBezTo>
                    <a:cubicBezTo>
                      <a:pt x="62" y="27"/>
                      <a:pt x="66" y="27"/>
                      <a:pt x="66" y="28"/>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85">
                <a:extLst>
                  <a:ext uri="{FF2B5EF4-FFF2-40B4-BE49-F238E27FC236}">
                    <a16:creationId xmlns:a16="http://schemas.microsoft.com/office/drawing/2014/main" id="{3DC14C5D-A2B8-41BF-AE3E-09B77E760A86}"/>
                  </a:ext>
                </a:extLst>
              </p:cNvPr>
              <p:cNvSpPr>
                <a:spLocks/>
              </p:cNvSpPr>
              <p:nvPr/>
            </p:nvSpPr>
            <p:spPr bwMode="auto">
              <a:xfrm>
                <a:off x="2017" y="3327"/>
                <a:ext cx="116" cy="102"/>
              </a:xfrm>
              <a:custGeom>
                <a:avLst/>
                <a:gdLst>
                  <a:gd name="T0" fmla="*/ 49 w 49"/>
                  <a:gd name="T1" fmla="*/ 43 h 43"/>
                  <a:gd name="T2" fmla="*/ 40 w 49"/>
                  <a:gd name="T3" fmla="*/ 39 h 43"/>
                  <a:gd name="T4" fmla="*/ 22 w 49"/>
                  <a:gd name="T5" fmla="*/ 25 h 43"/>
                  <a:gd name="T6" fmla="*/ 5 w 49"/>
                  <a:gd name="T7" fmla="*/ 8 h 43"/>
                  <a:gd name="T8" fmla="*/ 0 w 49"/>
                  <a:gd name="T9" fmla="*/ 0 h 43"/>
                  <a:gd name="T10" fmla="*/ 23 w 49"/>
                  <a:gd name="T11" fmla="*/ 23 h 43"/>
                  <a:gd name="T12" fmla="*/ 49 w 49"/>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49" h="43">
                    <a:moveTo>
                      <a:pt x="49" y="43"/>
                    </a:moveTo>
                    <a:cubicBezTo>
                      <a:pt x="49" y="43"/>
                      <a:pt x="46" y="42"/>
                      <a:pt x="40" y="39"/>
                    </a:cubicBezTo>
                    <a:cubicBezTo>
                      <a:pt x="35" y="35"/>
                      <a:pt x="28" y="31"/>
                      <a:pt x="22" y="25"/>
                    </a:cubicBezTo>
                    <a:cubicBezTo>
                      <a:pt x="15" y="19"/>
                      <a:pt x="9" y="13"/>
                      <a:pt x="5" y="8"/>
                    </a:cubicBezTo>
                    <a:cubicBezTo>
                      <a:pt x="2" y="3"/>
                      <a:pt x="0" y="0"/>
                      <a:pt x="0" y="0"/>
                    </a:cubicBezTo>
                    <a:cubicBezTo>
                      <a:pt x="0" y="0"/>
                      <a:pt x="9" y="11"/>
                      <a:pt x="23" y="23"/>
                    </a:cubicBezTo>
                    <a:cubicBezTo>
                      <a:pt x="37" y="35"/>
                      <a:pt x="49" y="42"/>
                      <a:pt x="49" y="43"/>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86">
                <a:extLst>
                  <a:ext uri="{FF2B5EF4-FFF2-40B4-BE49-F238E27FC236}">
                    <a16:creationId xmlns:a16="http://schemas.microsoft.com/office/drawing/2014/main" id="{B0E5AA12-5471-4452-9EBC-0109B9CA1D9D}"/>
                  </a:ext>
                </a:extLst>
              </p:cNvPr>
              <p:cNvSpPr>
                <a:spLocks/>
              </p:cNvSpPr>
              <p:nvPr/>
            </p:nvSpPr>
            <p:spPr bwMode="auto">
              <a:xfrm>
                <a:off x="1668" y="3526"/>
                <a:ext cx="610" cy="88"/>
              </a:xfrm>
              <a:custGeom>
                <a:avLst/>
                <a:gdLst>
                  <a:gd name="T0" fmla="*/ 0 w 610"/>
                  <a:gd name="T1" fmla="*/ 74 h 88"/>
                  <a:gd name="T2" fmla="*/ 0 w 610"/>
                  <a:gd name="T3" fmla="*/ 0 h 88"/>
                  <a:gd name="T4" fmla="*/ 610 w 610"/>
                  <a:gd name="T5" fmla="*/ 0 h 88"/>
                  <a:gd name="T6" fmla="*/ 610 w 610"/>
                  <a:gd name="T7" fmla="*/ 24 h 88"/>
                  <a:gd name="T8" fmla="*/ 610 w 610"/>
                  <a:gd name="T9" fmla="*/ 29 h 88"/>
                  <a:gd name="T10" fmla="*/ 525 w 610"/>
                  <a:gd name="T11" fmla="*/ 88 h 88"/>
                  <a:gd name="T12" fmla="*/ 0 w 610"/>
                  <a:gd name="T13" fmla="*/ 74 h 88"/>
                </a:gdLst>
                <a:ahLst/>
                <a:cxnLst>
                  <a:cxn ang="0">
                    <a:pos x="T0" y="T1"/>
                  </a:cxn>
                  <a:cxn ang="0">
                    <a:pos x="T2" y="T3"/>
                  </a:cxn>
                  <a:cxn ang="0">
                    <a:pos x="T4" y="T5"/>
                  </a:cxn>
                  <a:cxn ang="0">
                    <a:pos x="T6" y="T7"/>
                  </a:cxn>
                  <a:cxn ang="0">
                    <a:pos x="T8" y="T9"/>
                  </a:cxn>
                  <a:cxn ang="0">
                    <a:pos x="T10" y="T11"/>
                  </a:cxn>
                  <a:cxn ang="0">
                    <a:pos x="T12" y="T13"/>
                  </a:cxn>
                </a:cxnLst>
                <a:rect l="0" t="0" r="r" b="b"/>
                <a:pathLst>
                  <a:path w="610" h="88">
                    <a:moveTo>
                      <a:pt x="0" y="74"/>
                    </a:moveTo>
                    <a:lnTo>
                      <a:pt x="0" y="0"/>
                    </a:lnTo>
                    <a:lnTo>
                      <a:pt x="610" y="0"/>
                    </a:lnTo>
                    <a:lnTo>
                      <a:pt x="610" y="24"/>
                    </a:lnTo>
                    <a:lnTo>
                      <a:pt x="610" y="29"/>
                    </a:lnTo>
                    <a:lnTo>
                      <a:pt x="525" y="88"/>
                    </a:lnTo>
                    <a:lnTo>
                      <a:pt x="0"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87">
                <a:extLst>
                  <a:ext uri="{FF2B5EF4-FFF2-40B4-BE49-F238E27FC236}">
                    <a16:creationId xmlns:a16="http://schemas.microsoft.com/office/drawing/2014/main" id="{58BF055A-854E-4DED-B0F0-748FBB097761}"/>
                  </a:ext>
                </a:extLst>
              </p:cNvPr>
              <p:cNvSpPr>
                <a:spLocks/>
              </p:cNvSpPr>
              <p:nvPr/>
            </p:nvSpPr>
            <p:spPr bwMode="auto">
              <a:xfrm>
                <a:off x="1623" y="3591"/>
                <a:ext cx="603" cy="28"/>
              </a:xfrm>
              <a:custGeom>
                <a:avLst/>
                <a:gdLst>
                  <a:gd name="T0" fmla="*/ 558 w 603"/>
                  <a:gd name="T1" fmla="*/ 28 h 28"/>
                  <a:gd name="T2" fmla="*/ 0 w 603"/>
                  <a:gd name="T3" fmla="*/ 28 h 28"/>
                  <a:gd name="T4" fmla="*/ 0 w 603"/>
                  <a:gd name="T5" fmla="*/ 0 h 28"/>
                  <a:gd name="T6" fmla="*/ 603 w 603"/>
                  <a:gd name="T7" fmla="*/ 0 h 28"/>
                  <a:gd name="T8" fmla="*/ 558 w 603"/>
                  <a:gd name="T9" fmla="*/ 28 h 28"/>
                </a:gdLst>
                <a:ahLst/>
                <a:cxnLst>
                  <a:cxn ang="0">
                    <a:pos x="T0" y="T1"/>
                  </a:cxn>
                  <a:cxn ang="0">
                    <a:pos x="T2" y="T3"/>
                  </a:cxn>
                  <a:cxn ang="0">
                    <a:pos x="T4" y="T5"/>
                  </a:cxn>
                  <a:cxn ang="0">
                    <a:pos x="T6" y="T7"/>
                  </a:cxn>
                  <a:cxn ang="0">
                    <a:pos x="T8" y="T9"/>
                  </a:cxn>
                </a:cxnLst>
                <a:rect l="0" t="0" r="r" b="b"/>
                <a:pathLst>
                  <a:path w="603" h="28">
                    <a:moveTo>
                      <a:pt x="558" y="28"/>
                    </a:moveTo>
                    <a:lnTo>
                      <a:pt x="0" y="28"/>
                    </a:lnTo>
                    <a:lnTo>
                      <a:pt x="0" y="0"/>
                    </a:lnTo>
                    <a:lnTo>
                      <a:pt x="603" y="0"/>
                    </a:lnTo>
                    <a:lnTo>
                      <a:pt x="558" y="28"/>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88">
                <a:extLst>
                  <a:ext uri="{FF2B5EF4-FFF2-40B4-BE49-F238E27FC236}">
                    <a16:creationId xmlns:a16="http://schemas.microsoft.com/office/drawing/2014/main" id="{387721F9-42ED-4CC3-A905-A99D9F93AB55}"/>
                  </a:ext>
                </a:extLst>
              </p:cNvPr>
              <p:cNvSpPr>
                <a:spLocks/>
              </p:cNvSpPr>
              <p:nvPr/>
            </p:nvSpPr>
            <p:spPr bwMode="auto">
              <a:xfrm>
                <a:off x="2143" y="3272"/>
                <a:ext cx="389" cy="364"/>
              </a:xfrm>
              <a:custGeom>
                <a:avLst/>
                <a:gdLst>
                  <a:gd name="T0" fmla="*/ 101 w 164"/>
                  <a:gd name="T1" fmla="*/ 13 h 153"/>
                  <a:gd name="T2" fmla="*/ 41 w 164"/>
                  <a:gd name="T3" fmla="*/ 23 h 153"/>
                  <a:gd name="T4" fmla="*/ 0 w 164"/>
                  <a:gd name="T5" fmla="*/ 72 h 153"/>
                  <a:gd name="T6" fmla="*/ 0 w 164"/>
                  <a:gd name="T7" fmla="*/ 107 h 153"/>
                  <a:gd name="T8" fmla="*/ 18 w 164"/>
                  <a:gd name="T9" fmla="*/ 103 h 153"/>
                  <a:gd name="T10" fmla="*/ 11 w 164"/>
                  <a:gd name="T11" fmla="*/ 144 h 153"/>
                  <a:gd name="T12" fmla="*/ 30 w 164"/>
                  <a:gd name="T13" fmla="*/ 144 h 153"/>
                  <a:gd name="T14" fmla="*/ 47 w 164"/>
                  <a:gd name="T15" fmla="*/ 111 h 153"/>
                  <a:gd name="T16" fmla="*/ 48 w 164"/>
                  <a:gd name="T17" fmla="*/ 126 h 153"/>
                  <a:gd name="T18" fmla="*/ 87 w 164"/>
                  <a:gd name="T19" fmla="*/ 104 h 153"/>
                  <a:gd name="T20" fmla="*/ 113 w 164"/>
                  <a:gd name="T21" fmla="*/ 67 h 153"/>
                  <a:gd name="T22" fmla="*/ 123 w 164"/>
                  <a:gd name="T23" fmla="*/ 57 h 153"/>
                  <a:gd name="T24" fmla="*/ 113 w 164"/>
                  <a:gd name="T25" fmla="*/ 74 h 153"/>
                  <a:gd name="T26" fmla="*/ 102 w 164"/>
                  <a:gd name="T27" fmla="*/ 97 h 153"/>
                  <a:gd name="T28" fmla="*/ 123 w 164"/>
                  <a:gd name="T29" fmla="*/ 87 h 153"/>
                  <a:gd name="T30" fmla="*/ 144 w 164"/>
                  <a:gd name="T31" fmla="*/ 62 h 153"/>
                  <a:gd name="T32" fmla="*/ 162 w 164"/>
                  <a:gd name="T33" fmla="*/ 60 h 153"/>
                  <a:gd name="T34" fmla="*/ 160 w 164"/>
                  <a:gd name="T35" fmla="*/ 25 h 153"/>
                  <a:gd name="T36" fmla="*/ 147 w 164"/>
                  <a:gd name="T37" fmla="*/ 0 h 153"/>
                  <a:gd name="T38" fmla="*/ 147 w 164"/>
                  <a:gd name="T39" fmla="*/ 0 h 153"/>
                  <a:gd name="T40" fmla="*/ 101 w 164"/>
                  <a:gd name="T41" fmla="*/ 1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153">
                    <a:moveTo>
                      <a:pt x="101" y="13"/>
                    </a:moveTo>
                    <a:cubicBezTo>
                      <a:pt x="98" y="13"/>
                      <a:pt x="41" y="23"/>
                      <a:pt x="41" y="23"/>
                    </a:cubicBezTo>
                    <a:cubicBezTo>
                      <a:pt x="0" y="72"/>
                      <a:pt x="0" y="72"/>
                      <a:pt x="0" y="72"/>
                    </a:cubicBezTo>
                    <a:cubicBezTo>
                      <a:pt x="0" y="107"/>
                      <a:pt x="0" y="107"/>
                      <a:pt x="0" y="107"/>
                    </a:cubicBezTo>
                    <a:cubicBezTo>
                      <a:pt x="0" y="107"/>
                      <a:pt x="12" y="114"/>
                      <a:pt x="18" y="103"/>
                    </a:cubicBezTo>
                    <a:cubicBezTo>
                      <a:pt x="18" y="103"/>
                      <a:pt x="6" y="139"/>
                      <a:pt x="11" y="144"/>
                    </a:cubicBezTo>
                    <a:cubicBezTo>
                      <a:pt x="16" y="149"/>
                      <a:pt x="24" y="153"/>
                      <a:pt x="30" y="144"/>
                    </a:cubicBezTo>
                    <a:cubicBezTo>
                      <a:pt x="37" y="134"/>
                      <a:pt x="47" y="111"/>
                      <a:pt x="47" y="111"/>
                    </a:cubicBezTo>
                    <a:cubicBezTo>
                      <a:pt x="48" y="126"/>
                      <a:pt x="48" y="126"/>
                      <a:pt x="48" y="126"/>
                    </a:cubicBezTo>
                    <a:cubicBezTo>
                      <a:pt x="48" y="126"/>
                      <a:pt x="83" y="109"/>
                      <a:pt x="87" y="104"/>
                    </a:cubicBezTo>
                    <a:cubicBezTo>
                      <a:pt x="90" y="99"/>
                      <a:pt x="113" y="67"/>
                      <a:pt x="113" y="67"/>
                    </a:cubicBezTo>
                    <a:cubicBezTo>
                      <a:pt x="123" y="57"/>
                      <a:pt x="123" y="57"/>
                      <a:pt x="123" y="57"/>
                    </a:cubicBezTo>
                    <a:cubicBezTo>
                      <a:pt x="113" y="74"/>
                      <a:pt x="113" y="74"/>
                      <a:pt x="113" y="74"/>
                    </a:cubicBezTo>
                    <a:cubicBezTo>
                      <a:pt x="113" y="74"/>
                      <a:pt x="94" y="93"/>
                      <a:pt x="102" y="97"/>
                    </a:cubicBezTo>
                    <a:cubicBezTo>
                      <a:pt x="109" y="101"/>
                      <a:pt x="123" y="87"/>
                      <a:pt x="123" y="87"/>
                    </a:cubicBezTo>
                    <a:cubicBezTo>
                      <a:pt x="144" y="62"/>
                      <a:pt x="144" y="62"/>
                      <a:pt x="144" y="62"/>
                    </a:cubicBezTo>
                    <a:cubicBezTo>
                      <a:pt x="162" y="60"/>
                      <a:pt x="162" y="60"/>
                      <a:pt x="162" y="60"/>
                    </a:cubicBezTo>
                    <a:cubicBezTo>
                      <a:pt x="162" y="60"/>
                      <a:pt x="164" y="48"/>
                      <a:pt x="160" y="25"/>
                    </a:cubicBezTo>
                    <a:cubicBezTo>
                      <a:pt x="158" y="17"/>
                      <a:pt x="145" y="2"/>
                      <a:pt x="147" y="0"/>
                    </a:cubicBezTo>
                    <a:cubicBezTo>
                      <a:pt x="147" y="0"/>
                      <a:pt x="147" y="0"/>
                      <a:pt x="147" y="0"/>
                    </a:cubicBezTo>
                    <a:lnTo>
                      <a:pt x="101" y="13"/>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89">
                <a:extLst>
                  <a:ext uri="{FF2B5EF4-FFF2-40B4-BE49-F238E27FC236}">
                    <a16:creationId xmlns:a16="http://schemas.microsoft.com/office/drawing/2014/main" id="{0E9F5FD1-48C0-428D-94B2-B84D9FDDC4DA}"/>
                  </a:ext>
                </a:extLst>
              </p:cNvPr>
              <p:cNvSpPr>
                <a:spLocks/>
              </p:cNvSpPr>
              <p:nvPr/>
            </p:nvSpPr>
            <p:spPr bwMode="auto">
              <a:xfrm>
                <a:off x="2183" y="3365"/>
                <a:ext cx="86" cy="157"/>
              </a:xfrm>
              <a:custGeom>
                <a:avLst/>
                <a:gdLst>
                  <a:gd name="T0" fmla="*/ 36 w 36"/>
                  <a:gd name="T1" fmla="*/ 0 h 66"/>
                  <a:gd name="T2" fmla="*/ 29 w 36"/>
                  <a:gd name="T3" fmla="*/ 8 h 66"/>
                  <a:gd name="T4" fmla="*/ 13 w 36"/>
                  <a:gd name="T5" fmla="*/ 30 h 66"/>
                  <a:gd name="T6" fmla="*/ 9 w 36"/>
                  <a:gd name="T7" fmla="*/ 44 h 66"/>
                  <a:gd name="T8" fmla="*/ 5 w 36"/>
                  <a:gd name="T9" fmla="*/ 55 h 66"/>
                  <a:gd name="T10" fmla="*/ 1 w 36"/>
                  <a:gd name="T11" fmla="*/ 65 h 66"/>
                  <a:gd name="T12" fmla="*/ 4 w 36"/>
                  <a:gd name="T13" fmla="*/ 55 h 66"/>
                  <a:gd name="T14" fmla="*/ 7 w 36"/>
                  <a:gd name="T15" fmla="*/ 43 h 66"/>
                  <a:gd name="T16" fmla="*/ 8 w 36"/>
                  <a:gd name="T17" fmla="*/ 36 h 66"/>
                  <a:gd name="T18" fmla="*/ 11 w 36"/>
                  <a:gd name="T19" fmla="*/ 29 h 66"/>
                  <a:gd name="T20" fmla="*/ 28 w 36"/>
                  <a:gd name="T21" fmla="*/ 7 h 66"/>
                  <a:gd name="T22" fmla="*/ 36 w 36"/>
                  <a:gd name="T2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66">
                    <a:moveTo>
                      <a:pt x="36" y="0"/>
                    </a:moveTo>
                    <a:cubicBezTo>
                      <a:pt x="36" y="0"/>
                      <a:pt x="34" y="3"/>
                      <a:pt x="29" y="8"/>
                    </a:cubicBezTo>
                    <a:cubicBezTo>
                      <a:pt x="25" y="14"/>
                      <a:pt x="19" y="21"/>
                      <a:pt x="13" y="30"/>
                    </a:cubicBezTo>
                    <a:cubicBezTo>
                      <a:pt x="10" y="34"/>
                      <a:pt x="10" y="39"/>
                      <a:pt x="9" y="44"/>
                    </a:cubicBezTo>
                    <a:cubicBezTo>
                      <a:pt x="7" y="48"/>
                      <a:pt x="6" y="52"/>
                      <a:pt x="5" y="55"/>
                    </a:cubicBezTo>
                    <a:cubicBezTo>
                      <a:pt x="3" y="62"/>
                      <a:pt x="1" y="66"/>
                      <a:pt x="1" y="65"/>
                    </a:cubicBezTo>
                    <a:cubicBezTo>
                      <a:pt x="0" y="65"/>
                      <a:pt x="2" y="61"/>
                      <a:pt x="4" y="55"/>
                    </a:cubicBezTo>
                    <a:cubicBezTo>
                      <a:pt x="5" y="51"/>
                      <a:pt x="6" y="47"/>
                      <a:pt x="7" y="43"/>
                    </a:cubicBezTo>
                    <a:cubicBezTo>
                      <a:pt x="7" y="41"/>
                      <a:pt x="8" y="39"/>
                      <a:pt x="8" y="36"/>
                    </a:cubicBezTo>
                    <a:cubicBezTo>
                      <a:pt x="9" y="34"/>
                      <a:pt x="10" y="31"/>
                      <a:pt x="11" y="29"/>
                    </a:cubicBezTo>
                    <a:cubicBezTo>
                      <a:pt x="17" y="20"/>
                      <a:pt x="23" y="13"/>
                      <a:pt x="28" y="7"/>
                    </a:cubicBezTo>
                    <a:cubicBezTo>
                      <a:pt x="33" y="2"/>
                      <a:pt x="36" y="0"/>
                      <a:pt x="36"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90">
                <a:extLst>
                  <a:ext uri="{FF2B5EF4-FFF2-40B4-BE49-F238E27FC236}">
                    <a16:creationId xmlns:a16="http://schemas.microsoft.com/office/drawing/2014/main" id="{1C25AA75-07A8-4FCD-B9A2-0500157873D8}"/>
                  </a:ext>
                </a:extLst>
              </p:cNvPr>
              <p:cNvSpPr>
                <a:spLocks/>
              </p:cNvSpPr>
              <p:nvPr/>
            </p:nvSpPr>
            <p:spPr bwMode="auto">
              <a:xfrm>
                <a:off x="2252" y="3384"/>
                <a:ext cx="85" cy="159"/>
              </a:xfrm>
              <a:custGeom>
                <a:avLst/>
                <a:gdLst>
                  <a:gd name="T0" fmla="*/ 36 w 36"/>
                  <a:gd name="T1" fmla="*/ 0 h 67"/>
                  <a:gd name="T2" fmla="*/ 34 w 36"/>
                  <a:gd name="T3" fmla="*/ 2 h 67"/>
                  <a:gd name="T4" fmla="*/ 29 w 36"/>
                  <a:gd name="T5" fmla="*/ 8 h 67"/>
                  <a:gd name="T6" fmla="*/ 20 w 36"/>
                  <a:gd name="T7" fmla="*/ 18 h 67"/>
                  <a:gd name="T8" fmla="*/ 16 w 36"/>
                  <a:gd name="T9" fmla="*/ 24 h 67"/>
                  <a:gd name="T10" fmla="*/ 12 w 36"/>
                  <a:gd name="T11" fmla="*/ 30 h 67"/>
                  <a:gd name="T12" fmla="*/ 1 w 36"/>
                  <a:gd name="T13" fmla="*/ 65 h 67"/>
                  <a:gd name="T14" fmla="*/ 1 w 36"/>
                  <a:gd name="T15" fmla="*/ 67 h 67"/>
                  <a:gd name="T16" fmla="*/ 0 w 36"/>
                  <a:gd name="T17" fmla="*/ 65 h 67"/>
                  <a:gd name="T18" fmla="*/ 0 w 36"/>
                  <a:gd name="T19" fmla="*/ 63 h 67"/>
                  <a:gd name="T20" fmla="*/ 1 w 36"/>
                  <a:gd name="T21" fmla="*/ 65 h 67"/>
                  <a:gd name="T22" fmla="*/ 0 w 36"/>
                  <a:gd name="T23" fmla="*/ 65 h 67"/>
                  <a:gd name="T24" fmla="*/ 10 w 36"/>
                  <a:gd name="T25" fmla="*/ 29 h 67"/>
                  <a:gd name="T26" fmla="*/ 12 w 36"/>
                  <a:gd name="T27" fmla="*/ 25 h 67"/>
                  <a:gd name="T28" fmla="*/ 14 w 36"/>
                  <a:gd name="T29" fmla="*/ 22 h 67"/>
                  <a:gd name="T30" fmla="*/ 19 w 36"/>
                  <a:gd name="T31" fmla="*/ 17 h 67"/>
                  <a:gd name="T32" fmla="*/ 27 w 36"/>
                  <a:gd name="T33" fmla="*/ 7 h 67"/>
                  <a:gd name="T34" fmla="*/ 36 w 36"/>
                  <a:gd name="T3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67">
                    <a:moveTo>
                      <a:pt x="36" y="0"/>
                    </a:moveTo>
                    <a:cubicBezTo>
                      <a:pt x="36" y="0"/>
                      <a:pt x="36" y="1"/>
                      <a:pt x="34" y="2"/>
                    </a:cubicBezTo>
                    <a:cubicBezTo>
                      <a:pt x="33" y="4"/>
                      <a:pt x="31" y="6"/>
                      <a:pt x="29" y="8"/>
                    </a:cubicBezTo>
                    <a:cubicBezTo>
                      <a:pt x="26" y="11"/>
                      <a:pt x="23" y="14"/>
                      <a:pt x="20" y="18"/>
                    </a:cubicBezTo>
                    <a:cubicBezTo>
                      <a:pt x="19" y="20"/>
                      <a:pt x="17" y="22"/>
                      <a:pt x="16" y="24"/>
                    </a:cubicBezTo>
                    <a:cubicBezTo>
                      <a:pt x="14" y="26"/>
                      <a:pt x="13" y="28"/>
                      <a:pt x="12" y="30"/>
                    </a:cubicBezTo>
                    <a:cubicBezTo>
                      <a:pt x="7" y="47"/>
                      <a:pt x="3" y="61"/>
                      <a:pt x="1" y="65"/>
                    </a:cubicBezTo>
                    <a:cubicBezTo>
                      <a:pt x="1" y="67"/>
                      <a:pt x="1" y="67"/>
                      <a:pt x="1" y="67"/>
                    </a:cubicBezTo>
                    <a:cubicBezTo>
                      <a:pt x="0" y="65"/>
                      <a:pt x="0" y="65"/>
                      <a:pt x="0" y="65"/>
                    </a:cubicBezTo>
                    <a:cubicBezTo>
                      <a:pt x="0" y="64"/>
                      <a:pt x="0" y="63"/>
                      <a:pt x="0" y="63"/>
                    </a:cubicBezTo>
                    <a:cubicBezTo>
                      <a:pt x="0" y="63"/>
                      <a:pt x="1" y="64"/>
                      <a:pt x="1" y="65"/>
                    </a:cubicBezTo>
                    <a:cubicBezTo>
                      <a:pt x="0" y="65"/>
                      <a:pt x="0" y="65"/>
                      <a:pt x="0" y="65"/>
                    </a:cubicBezTo>
                    <a:cubicBezTo>
                      <a:pt x="1" y="60"/>
                      <a:pt x="5" y="46"/>
                      <a:pt x="10" y="29"/>
                    </a:cubicBezTo>
                    <a:cubicBezTo>
                      <a:pt x="10" y="28"/>
                      <a:pt x="11" y="27"/>
                      <a:pt x="12" y="25"/>
                    </a:cubicBezTo>
                    <a:cubicBezTo>
                      <a:pt x="13" y="24"/>
                      <a:pt x="13" y="23"/>
                      <a:pt x="14" y="22"/>
                    </a:cubicBezTo>
                    <a:cubicBezTo>
                      <a:pt x="16" y="20"/>
                      <a:pt x="17" y="18"/>
                      <a:pt x="19" y="17"/>
                    </a:cubicBezTo>
                    <a:cubicBezTo>
                      <a:pt x="22" y="13"/>
                      <a:pt x="25" y="10"/>
                      <a:pt x="27" y="7"/>
                    </a:cubicBezTo>
                    <a:cubicBezTo>
                      <a:pt x="32" y="2"/>
                      <a:pt x="36" y="0"/>
                      <a:pt x="36"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91">
                <a:extLst>
                  <a:ext uri="{FF2B5EF4-FFF2-40B4-BE49-F238E27FC236}">
                    <a16:creationId xmlns:a16="http://schemas.microsoft.com/office/drawing/2014/main" id="{C3AAD9AF-FC2F-4087-8E3C-399AE2C43106}"/>
                  </a:ext>
                </a:extLst>
              </p:cNvPr>
              <p:cNvSpPr>
                <a:spLocks/>
              </p:cNvSpPr>
              <p:nvPr/>
            </p:nvSpPr>
            <p:spPr bwMode="auto">
              <a:xfrm>
                <a:off x="2304" y="3408"/>
                <a:ext cx="69" cy="133"/>
              </a:xfrm>
              <a:custGeom>
                <a:avLst/>
                <a:gdLst>
                  <a:gd name="T0" fmla="*/ 29 w 29"/>
                  <a:gd name="T1" fmla="*/ 0 h 56"/>
                  <a:gd name="T2" fmla="*/ 23 w 29"/>
                  <a:gd name="T3" fmla="*/ 8 h 56"/>
                  <a:gd name="T4" fmla="*/ 17 w 29"/>
                  <a:gd name="T5" fmla="*/ 15 h 56"/>
                  <a:gd name="T6" fmla="*/ 13 w 29"/>
                  <a:gd name="T7" fmla="*/ 20 h 56"/>
                  <a:gd name="T8" fmla="*/ 10 w 29"/>
                  <a:gd name="T9" fmla="*/ 25 h 56"/>
                  <a:gd name="T10" fmla="*/ 7 w 29"/>
                  <a:gd name="T11" fmla="*/ 37 h 56"/>
                  <a:gd name="T12" fmla="*/ 4 w 29"/>
                  <a:gd name="T13" fmla="*/ 47 h 56"/>
                  <a:gd name="T14" fmla="*/ 1 w 29"/>
                  <a:gd name="T15" fmla="*/ 56 h 56"/>
                  <a:gd name="T16" fmla="*/ 2 w 29"/>
                  <a:gd name="T17" fmla="*/ 46 h 56"/>
                  <a:gd name="T18" fmla="*/ 5 w 29"/>
                  <a:gd name="T19" fmla="*/ 37 h 56"/>
                  <a:gd name="T20" fmla="*/ 8 w 29"/>
                  <a:gd name="T21" fmla="*/ 25 h 56"/>
                  <a:gd name="T22" fmla="*/ 11 w 29"/>
                  <a:gd name="T23" fmla="*/ 19 h 56"/>
                  <a:gd name="T24" fmla="*/ 15 w 29"/>
                  <a:gd name="T25" fmla="*/ 14 h 56"/>
                  <a:gd name="T26" fmla="*/ 22 w 29"/>
                  <a:gd name="T27" fmla="*/ 7 h 56"/>
                  <a:gd name="T28" fmla="*/ 29 w 29"/>
                  <a:gd name="T2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6">
                    <a:moveTo>
                      <a:pt x="29" y="0"/>
                    </a:moveTo>
                    <a:cubicBezTo>
                      <a:pt x="29" y="0"/>
                      <a:pt x="27" y="3"/>
                      <a:pt x="23" y="8"/>
                    </a:cubicBezTo>
                    <a:cubicBezTo>
                      <a:pt x="21" y="10"/>
                      <a:pt x="19" y="13"/>
                      <a:pt x="17" y="15"/>
                    </a:cubicBezTo>
                    <a:cubicBezTo>
                      <a:pt x="15" y="17"/>
                      <a:pt x="14" y="18"/>
                      <a:pt x="13" y="20"/>
                    </a:cubicBezTo>
                    <a:cubicBezTo>
                      <a:pt x="12" y="21"/>
                      <a:pt x="11" y="23"/>
                      <a:pt x="10" y="25"/>
                    </a:cubicBezTo>
                    <a:cubicBezTo>
                      <a:pt x="9" y="29"/>
                      <a:pt x="8" y="33"/>
                      <a:pt x="7" y="37"/>
                    </a:cubicBezTo>
                    <a:cubicBezTo>
                      <a:pt x="6" y="41"/>
                      <a:pt x="5" y="44"/>
                      <a:pt x="4" y="47"/>
                    </a:cubicBezTo>
                    <a:cubicBezTo>
                      <a:pt x="2" y="52"/>
                      <a:pt x="1" y="56"/>
                      <a:pt x="1" y="56"/>
                    </a:cubicBezTo>
                    <a:cubicBezTo>
                      <a:pt x="0" y="56"/>
                      <a:pt x="1" y="52"/>
                      <a:pt x="2" y="46"/>
                    </a:cubicBezTo>
                    <a:cubicBezTo>
                      <a:pt x="3" y="43"/>
                      <a:pt x="4" y="40"/>
                      <a:pt x="5" y="37"/>
                    </a:cubicBezTo>
                    <a:cubicBezTo>
                      <a:pt x="6" y="33"/>
                      <a:pt x="7" y="29"/>
                      <a:pt x="8" y="25"/>
                    </a:cubicBezTo>
                    <a:cubicBezTo>
                      <a:pt x="9" y="22"/>
                      <a:pt x="10" y="20"/>
                      <a:pt x="11" y="19"/>
                    </a:cubicBezTo>
                    <a:cubicBezTo>
                      <a:pt x="13" y="17"/>
                      <a:pt x="14" y="15"/>
                      <a:pt x="15" y="14"/>
                    </a:cubicBezTo>
                    <a:cubicBezTo>
                      <a:pt x="18" y="11"/>
                      <a:pt x="20" y="9"/>
                      <a:pt x="22" y="7"/>
                    </a:cubicBezTo>
                    <a:cubicBezTo>
                      <a:pt x="26" y="3"/>
                      <a:pt x="29" y="0"/>
                      <a:pt x="29" y="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92">
                <a:extLst>
                  <a:ext uri="{FF2B5EF4-FFF2-40B4-BE49-F238E27FC236}">
                    <a16:creationId xmlns:a16="http://schemas.microsoft.com/office/drawing/2014/main" id="{701C0BCE-B965-46AA-A274-7CE42427AC06}"/>
                  </a:ext>
                </a:extLst>
              </p:cNvPr>
              <p:cNvSpPr>
                <a:spLocks/>
              </p:cNvSpPr>
              <p:nvPr/>
            </p:nvSpPr>
            <p:spPr bwMode="auto">
              <a:xfrm>
                <a:off x="2140" y="3272"/>
                <a:ext cx="392" cy="359"/>
              </a:xfrm>
              <a:custGeom>
                <a:avLst/>
                <a:gdLst>
                  <a:gd name="T0" fmla="*/ 164 w 165"/>
                  <a:gd name="T1" fmla="*/ 58 h 151"/>
                  <a:gd name="T2" fmla="*/ 145 w 165"/>
                  <a:gd name="T3" fmla="*/ 63 h 151"/>
                  <a:gd name="T4" fmla="*/ 136 w 165"/>
                  <a:gd name="T5" fmla="*/ 74 h 151"/>
                  <a:gd name="T6" fmla="*/ 123 w 165"/>
                  <a:gd name="T7" fmla="*/ 89 h 151"/>
                  <a:gd name="T8" fmla="*/ 108 w 165"/>
                  <a:gd name="T9" fmla="*/ 98 h 151"/>
                  <a:gd name="T10" fmla="*/ 100 w 165"/>
                  <a:gd name="T11" fmla="*/ 93 h 151"/>
                  <a:gd name="T12" fmla="*/ 104 w 165"/>
                  <a:gd name="T13" fmla="*/ 84 h 151"/>
                  <a:gd name="T14" fmla="*/ 113 w 165"/>
                  <a:gd name="T15" fmla="*/ 73 h 151"/>
                  <a:gd name="T16" fmla="*/ 125 w 165"/>
                  <a:gd name="T17" fmla="*/ 58 h 151"/>
                  <a:gd name="T18" fmla="*/ 114 w 165"/>
                  <a:gd name="T19" fmla="*/ 67 h 151"/>
                  <a:gd name="T20" fmla="*/ 88 w 165"/>
                  <a:gd name="T21" fmla="*/ 105 h 151"/>
                  <a:gd name="T22" fmla="*/ 81 w 165"/>
                  <a:gd name="T23" fmla="*/ 110 h 151"/>
                  <a:gd name="T24" fmla="*/ 50 w 165"/>
                  <a:gd name="T25" fmla="*/ 126 h 151"/>
                  <a:gd name="T26" fmla="*/ 48 w 165"/>
                  <a:gd name="T27" fmla="*/ 126 h 151"/>
                  <a:gd name="T28" fmla="*/ 49 w 165"/>
                  <a:gd name="T29" fmla="*/ 111 h 151"/>
                  <a:gd name="T30" fmla="*/ 35 w 165"/>
                  <a:gd name="T31" fmla="*/ 141 h 151"/>
                  <a:gd name="T32" fmla="*/ 19 w 165"/>
                  <a:gd name="T33" fmla="*/ 150 h 151"/>
                  <a:gd name="T34" fmla="*/ 11 w 165"/>
                  <a:gd name="T35" fmla="*/ 144 h 151"/>
                  <a:gd name="T36" fmla="*/ 10 w 165"/>
                  <a:gd name="T37" fmla="*/ 138 h 151"/>
                  <a:gd name="T38" fmla="*/ 18 w 165"/>
                  <a:gd name="T39" fmla="*/ 103 h 151"/>
                  <a:gd name="T40" fmla="*/ 11 w 165"/>
                  <a:gd name="T41" fmla="*/ 110 h 151"/>
                  <a:gd name="T42" fmla="*/ 0 w 165"/>
                  <a:gd name="T43" fmla="*/ 107 h 151"/>
                  <a:gd name="T44" fmla="*/ 0 w 165"/>
                  <a:gd name="T45" fmla="*/ 72 h 151"/>
                  <a:gd name="T46" fmla="*/ 0 w 165"/>
                  <a:gd name="T47" fmla="*/ 72 h 151"/>
                  <a:gd name="T48" fmla="*/ 41 w 165"/>
                  <a:gd name="T49" fmla="*/ 22 h 151"/>
                  <a:gd name="T50" fmla="*/ 102 w 165"/>
                  <a:gd name="T51" fmla="*/ 12 h 151"/>
                  <a:gd name="T52" fmla="*/ 136 w 165"/>
                  <a:gd name="T53" fmla="*/ 3 h 151"/>
                  <a:gd name="T54" fmla="*/ 147 w 165"/>
                  <a:gd name="T55" fmla="*/ 0 h 151"/>
                  <a:gd name="T56" fmla="*/ 148 w 165"/>
                  <a:gd name="T57" fmla="*/ 0 h 151"/>
                  <a:gd name="T58" fmla="*/ 136 w 165"/>
                  <a:gd name="T59" fmla="*/ 4 h 151"/>
                  <a:gd name="T60" fmla="*/ 102 w 165"/>
                  <a:gd name="T61" fmla="*/ 13 h 151"/>
                  <a:gd name="T62" fmla="*/ 42 w 165"/>
                  <a:gd name="T63" fmla="*/ 24 h 151"/>
                  <a:gd name="T64" fmla="*/ 2 w 165"/>
                  <a:gd name="T65" fmla="*/ 73 h 151"/>
                  <a:gd name="T66" fmla="*/ 2 w 165"/>
                  <a:gd name="T67" fmla="*/ 107 h 151"/>
                  <a:gd name="T68" fmla="*/ 11 w 165"/>
                  <a:gd name="T69" fmla="*/ 108 h 151"/>
                  <a:gd name="T70" fmla="*/ 20 w 165"/>
                  <a:gd name="T71" fmla="*/ 104 h 151"/>
                  <a:gd name="T72" fmla="*/ 12 w 165"/>
                  <a:gd name="T73" fmla="*/ 138 h 151"/>
                  <a:gd name="T74" fmla="*/ 14 w 165"/>
                  <a:gd name="T75" fmla="*/ 144 h 151"/>
                  <a:gd name="T76" fmla="*/ 33 w 165"/>
                  <a:gd name="T77" fmla="*/ 140 h 151"/>
                  <a:gd name="T78" fmla="*/ 47 w 165"/>
                  <a:gd name="T79" fmla="*/ 111 h 151"/>
                  <a:gd name="T80" fmla="*/ 49 w 165"/>
                  <a:gd name="T81" fmla="*/ 111 h 151"/>
                  <a:gd name="T82" fmla="*/ 49 w 165"/>
                  <a:gd name="T83" fmla="*/ 125 h 151"/>
                  <a:gd name="T84" fmla="*/ 80 w 165"/>
                  <a:gd name="T85" fmla="*/ 108 h 151"/>
                  <a:gd name="T86" fmla="*/ 87 w 165"/>
                  <a:gd name="T87" fmla="*/ 103 h 151"/>
                  <a:gd name="T88" fmla="*/ 113 w 165"/>
                  <a:gd name="T89" fmla="*/ 66 h 151"/>
                  <a:gd name="T90" fmla="*/ 113 w 165"/>
                  <a:gd name="T91" fmla="*/ 66 h 151"/>
                  <a:gd name="T92" fmla="*/ 128 w 165"/>
                  <a:gd name="T93" fmla="*/ 53 h 151"/>
                  <a:gd name="T94" fmla="*/ 114 w 165"/>
                  <a:gd name="T95" fmla="*/ 74 h 151"/>
                  <a:gd name="T96" fmla="*/ 114 w 165"/>
                  <a:gd name="T97" fmla="*/ 74 h 151"/>
                  <a:gd name="T98" fmla="*/ 103 w 165"/>
                  <a:gd name="T99" fmla="*/ 91 h 151"/>
                  <a:gd name="T100" fmla="*/ 107 w 165"/>
                  <a:gd name="T101" fmla="*/ 97 h 151"/>
                  <a:gd name="T102" fmla="*/ 122 w 165"/>
                  <a:gd name="T103" fmla="*/ 88 h 151"/>
                  <a:gd name="T104" fmla="*/ 135 w 165"/>
                  <a:gd name="T105" fmla="*/ 74 h 151"/>
                  <a:gd name="T106" fmla="*/ 145 w 165"/>
                  <a:gd name="T107" fmla="*/ 62 h 151"/>
                  <a:gd name="T108" fmla="*/ 160 w 165"/>
                  <a:gd name="T109" fmla="*/ 59 h 151"/>
                  <a:gd name="T110" fmla="*/ 165 w 165"/>
                  <a:gd name="T111"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51">
                    <a:moveTo>
                      <a:pt x="165" y="58"/>
                    </a:moveTo>
                    <a:cubicBezTo>
                      <a:pt x="165" y="58"/>
                      <a:pt x="165" y="58"/>
                      <a:pt x="164" y="58"/>
                    </a:cubicBezTo>
                    <a:cubicBezTo>
                      <a:pt x="163" y="59"/>
                      <a:pt x="162" y="59"/>
                      <a:pt x="160" y="59"/>
                    </a:cubicBezTo>
                    <a:cubicBezTo>
                      <a:pt x="157" y="60"/>
                      <a:pt x="152" y="61"/>
                      <a:pt x="145" y="63"/>
                    </a:cubicBezTo>
                    <a:cubicBezTo>
                      <a:pt x="146" y="63"/>
                      <a:pt x="146" y="63"/>
                      <a:pt x="146" y="63"/>
                    </a:cubicBezTo>
                    <a:cubicBezTo>
                      <a:pt x="143" y="66"/>
                      <a:pt x="139" y="70"/>
                      <a:pt x="136" y="74"/>
                    </a:cubicBezTo>
                    <a:cubicBezTo>
                      <a:pt x="134" y="77"/>
                      <a:pt x="132" y="79"/>
                      <a:pt x="129" y="82"/>
                    </a:cubicBezTo>
                    <a:cubicBezTo>
                      <a:pt x="127" y="84"/>
                      <a:pt x="125" y="87"/>
                      <a:pt x="123" y="89"/>
                    </a:cubicBezTo>
                    <a:cubicBezTo>
                      <a:pt x="120" y="92"/>
                      <a:pt x="117" y="94"/>
                      <a:pt x="113" y="96"/>
                    </a:cubicBezTo>
                    <a:cubicBezTo>
                      <a:pt x="112" y="97"/>
                      <a:pt x="110" y="98"/>
                      <a:pt x="108" y="98"/>
                    </a:cubicBezTo>
                    <a:cubicBezTo>
                      <a:pt x="106" y="99"/>
                      <a:pt x="103" y="99"/>
                      <a:pt x="101" y="97"/>
                    </a:cubicBezTo>
                    <a:cubicBezTo>
                      <a:pt x="100" y="96"/>
                      <a:pt x="100" y="95"/>
                      <a:pt x="100" y="93"/>
                    </a:cubicBezTo>
                    <a:cubicBezTo>
                      <a:pt x="100" y="92"/>
                      <a:pt x="101" y="91"/>
                      <a:pt x="101" y="90"/>
                    </a:cubicBezTo>
                    <a:cubicBezTo>
                      <a:pt x="102" y="88"/>
                      <a:pt x="103" y="86"/>
                      <a:pt x="104" y="84"/>
                    </a:cubicBezTo>
                    <a:cubicBezTo>
                      <a:pt x="107" y="80"/>
                      <a:pt x="110" y="77"/>
                      <a:pt x="113" y="73"/>
                    </a:cubicBezTo>
                    <a:cubicBezTo>
                      <a:pt x="113" y="73"/>
                      <a:pt x="113" y="73"/>
                      <a:pt x="113" y="73"/>
                    </a:cubicBezTo>
                    <a:cubicBezTo>
                      <a:pt x="116" y="68"/>
                      <a:pt x="120" y="63"/>
                      <a:pt x="123" y="57"/>
                    </a:cubicBezTo>
                    <a:cubicBezTo>
                      <a:pt x="125" y="58"/>
                      <a:pt x="125" y="58"/>
                      <a:pt x="125" y="58"/>
                    </a:cubicBezTo>
                    <a:cubicBezTo>
                      <a:pt x="121" y="61"/>
                      <a:pt x="118" y="64"/>
                      <a:pt x="114" y="67"/>
                    </a:cubicBezTo>
                    <a:cubicBezTo>
                      <a:pt x="114" y="67"/>
                      <a:pt x="114" y="67"/>
                      <a:pt x="114" y="67"/>
                    </a:cubicBezTo>
                    <a:cubicBezTo>
                      <a:pt x="107" y="78"/>
                      <a:pt x="98" y="90"/>
                      <a:pt x="90" y="102"/>
                    </a:cubicBezTo>
                    <a:cubicBezTo>
                      <a:pt x="89" y="103"/>
                      <a:pt x="89" y="104"/>
                      <a:pt x="88" y="105"/>
                    </a:cubicBezTo>
                    <a:cubicBezTo>
                      <a:pt x="87" y="105"/>
                      <a:pt x="87" y="106"/>
                      <a:pt x="86" y="107"/>
                    </a:cubicBezTo>
                    <a:cubicBezTo>
                      <a:pt x="84" y="108"/>
                      <a:pt x="83" y="109"/>
                      <a:pt x="81" y="110"/>
                    </a:cubicBezTo>
                    <a:cubicBezTo>
                      <a:pt x="78" y="112"/>
                      <a:pt x="74" y="114"/>
                      <a:pt x="71" y="116"/>
                    </a:cubicBezTo>
                    <a:cubicBezTo>
                      <a:pt x="64" y="119"/>
                      <a:pt x="57" y="123"/>
                      <a:pt x="50" y="126"/>
                    </a:cubicBezTo>
                    <a:cubicBezTo>
                      <a:pt x="49" y="127"/>
                      <a:pt x="49" y="127"/>
                      <a:pt x="49" y="127"/>
                    </a:cubicBezTo>
                    <a:cubicBezTo>
                      <a:pt x="48" y="126"/>
                      <a:pt x="48" y="126"/>
                      <a:pt x="48" y="126"/>
                    </a:cubicBezTo>
                    <a:cubicBezTo>
                      <a:pt x="48" y="121"/>
                      <a:pt x="47" y="116"/>
                      <a:pt x="47" y="111"/>
                    </a:cubicBezTo>
                    <a:cubicBezTo>
                      <a:pt x="49" y="111"/>
                      <a:pt x="49" y="111"/>
                      <a:pt x="49" y="111"/>
                    </a:cubicBezTo>
                    <a:cubicBezTo>
                      <a:pt x="46" y="118"/>
                      <a:pt x="43" y="124"/>
                      <a:pt x="40" y="131"/>
                    </a:cubicBezTo>
                    <a:cubicBezTo>
                      <a:pt x="38" y="134"/>
                      <a:pt x="37" y="138"/>
                      <a:pt x="35" y="141"/>
                    </a:cubicBezTo>
                    <a:cubicBezTo>
                      <a:pt x="33" y="144"/>
                      <a:pt x="31" y="148"/>
                      <a:pt x="27" y="150"/>
                    </a:cubicBezTo>
                    <a:cubicBezTo>
                      <a:pt x="24" y="151"/>
                      <a:pt x="21" y="151"/>
                      <a:pt x="19" y="150"/>
                    </a:cubicBezTo>
                    <a:cubicBezTo>
                      <a:pt x="16" y="149"/>
                      <a:pt x="14" y="147"/>
                      <a:pt x="12" y="146"/>
                    </a:cubicBezTo>
                    <a:cubicBezTo>
                      <a:pt x="12" y="145"/>
                      <a:pt x="11" y="145"/>
                      <a:pt x="11" y="144"/>
                    </a:cubicBezTo>
                    <a:cubicBezTo>
                      <a:pt x="10" y="144"/>
                      <a:pt x="10" y="143"/>
                      <a:pt x="10" y="142"/>
                    </a:cubicBezTo>
                    <a:cubicBezTo>
                      <a:pt x="10" y="141"/>
                      <a:pt x="10" y="139"/>
                      <a:pt x="10" y="138"/>
                    </a:cubicBezTo>
                    <a:cubicBezTo>
                      <a:pt x="10" y="136"/>
                      <a:pt x="10" y="133"/>
                      <a:pt x="11" y="131"/>
                    </a:cubicBezTo>
                    <a:cubicBezTo>
                      <a:pt x="12" y="121"/>
                      <a:pt x="15" y="112"/>
                      <a:pt x="18" y="103"/>
                    </a:cubicBezTo>
                    <a:cubicBezTo>
                      <a:pt x="20" y="104"/>
                      <a:pt x="20" y="104"/>
                      <a:pt x="20" y="104"/>
                    </a:cubicBezTo>
                    <a:cubicBezTo>
                      <a:pt x="19" y="107"/>
                      <a:pt x="15" y="110"/>
                      <a:pt x="11" y="110"/>
                    </a:cubicBezTo>
                    <a:cubicBezTo>
                      <a:pt x="7" y="111"/>
                      <a:pt x="4" y="109"/>
                      <a:pt x="0" y="108"/>
                    </a:cubicBezTo>
                    <a:cubicBezTo>
                      <a:pt x="0" y="107"/>
                      <a:pt x="0" y="107"/>
                      <a:pt x="0" y="107"/>
                    </a:cubicBezTo>
                    <a:cubicBezTo>
                      <a:pt x="0" y="107"/>
                      <a:pt x="0" y="107"/>
                      <a:pt x="0" y="107"/>
                    </a:cubicBezTo>
                    <a:cubicBezTo>
                      <a:pt x="0" y="95"/>
                      <a:pt x="0" y="83"/>
                      <a:pt x="0" y="72"/>
                    </a:cubicBezTo>
                    <a:cubicBezTo>
                      <a:pt x="0" y="72"/>
                      <a:pt x="0" y="72"/>
                      <a:pt x="0" y="72"/>
                    </a:cubicBezTo>
                    <a:cubicBezTo>
                      <a:pt x="0" y="72"/>
                      <a:pt x="0" y="72"/>
                      <a:pt x="0" y="72"/>
                    </a:cubicBezTo>
                    <a:cubicBezTo>
                      <a:pt x="15" y="54"/>
                      <a:pt x="29" y="37"/>
                      <a:pt x="41" y="23"/>
                    </a:cubicBezTo>
                    <a:cubicBezTo>
                      <a:pt x="41" y="22"/>
                      <a:pt x="41" y="22"/>
                      <a:pt x="41" y="22"/>
                    </a:cubicBezTo>
                    <a:cubicBezTo>
                      <a:pt x="42" y="22"/>
                      <a:pt x="42" y="22"/>
                      <a:pt x="42" y="22"/>
                    </a:cubicBezTo>
                    <a:cubicBezTo>
                      <a:pt x="65" y="18"/>
                      <a:pt x="85" y="15"/>
                      <a:pt x="102" y="12"/>
                    </a:cubicBezTo>
                    <a:cubicBezTo>
                      <a:pt x="102" y="12"/>
                      <a:pt x="102" y="12"/>
                      <a:pt x="102" y="12"/>
                    </a:cubicBezTo>
                    <a:cubicBezTo>
                      <a:pt x="116" y="8"/>
                      <a:pt x="128" y="5"/>
                      <a:pt x="136" y="3"/>
                    </a:cubicBezTo>
                    <a:cubicBezTo>
                      <a:pt x="140" y="2"/>
                      <a:pt x="143" y="1"/>
                      <a:pt x="145" y="1"/>
                    </a:cubicBezTo>
                    <a:cubicBezTo>
                      <a:pt x="146" y="0"/>
                      <a:pt x="147" y="0"/>
                      <a:pt x="147" y="0"/>
                    </a:cubicBezTo>
                    <a:cubicBezTo>
                      <a:pt x="148" y="0"/>
                      <a:pt x="148" y="0"/>
                      <a:pt x="148" y="0"/>
                    </a:cubicBezTo>
                    <a:cubicBezTo>
                      <a:pt x="148" y="0"/>
                      <a:pt x="148" y="0"/>
                      <a:pt x="148" y="0"/>
                    </a:cubicBezTo>
                    <a:cubicBezTo>
                      <a:pt x="148" y="0"/>
                      <a:pt x="147" y="0"/>
                      <a:pt x="145" y="1"/>
                    </a:cubicBezTo>
                    <a:cubicBezTo>
                      <a:pt x="143" y="2"/>
                      <a:pt x="140" y="2"/>
                      <a:pt x="136" y="4"/>
                    </a:cubicBezTo>
                    <a:cubicBezTo>
                      <a:pt x="128" y="6"/>
                      <a:pt x="116" y="9"/>
                      <a:pt x="102" y="13"/>
                    </a:cubicBezTo>
                    <a:cubicBezTo>
                      <a:pt x="102" y="13"/>
                      <a:pt x="102" y="13"/>
                      <a:pt x="102" y="13"/>
                    </a:cubicBezTo>
                    <a:cubicBezTo>
                      <a:pt x="102" y="13"/>
                      <a:pt x="102" y="13"/>
                      <a:pt x="102" y="13"/>
                    </a:cubicBezTo>
                    <a:cubicBezTo>
                      <a:pt x="85" y="16"/>
                      <a:pt x="65" y="20"/>
                      <a:pt x="42" y="24"/>
                    </a:cubicBezTo>
                    <a:cubicBezTo>
                      <a:pt x="42" y="24"/>
                      <a:pt x="42" y="24"/>
                      <a:pt x="42" y="24"/>
                    </a:cubicBezTo>
                    <a:cubicBezTo>
                      <a:pt x="30" y="39"/>
                      <a:pt x="16" y="55"/>
                      <a:pt x="2" y="73"/>
                    </a:cubicBezTo>
                    <a:cubicBezTo>
                      <a:pt x="2" y="72"/>
                      <a:pt x="2" y="72"/>
                      <a:pt x="2" y="72"/>
                    </a:cubicBezTo>
                    <a:cubicBezTo>
                      <a:pt x="2" y="83"/>
                      <a:pt x="2" y="95"/>
                      <a:pt x="2" y="107"/>
                    </a:cubicBezTo>
                    <a:cubicBezTo>
                      <a:pt x="1" y="106"/>
                      <a:pt x="1" y="106"/>
                      <a:pt x="1" y="106"/>
                    </a:cubicBezTo>
                    <a:cubicBezTo>
                      <a:pt x="4" y="108"/>
                      <a:pt x="8" y="109"/>
                      <a:pt x="11" y="108"/>
                    </a:cubicBezTo>
                    <a:cubicBezTo>
                      <a:pt x="14" y="108"/>
                      <a:pt x="17" y="106"/>
                      <a:pt x="19" y="103"/>
                    </a:cubicBezTo>
                    <a:cubicBezTo>
                      <a:pt x="20" y="104"/>
                      <a:pt x="20" y="104"/>
                      <a:pt x="20" y="104"/>
                    </a:cubicBezTo>
                    <a:cubicBezTo>
                      <a:pt x="17" y="112"/>
                      <a:pt x="14" y="122"/>
                      <a:pt x="13" y="131"/>
                    </a:cubicBezTo>
                    <a:cubicBezTo>
                      <a:pt x="12" y="134"/>
                      <a:pt x="12" y="136"/>
                      <a:pt x="12" y="138"/>
                    </a:cubicBezTo>
                    <a:cubicBezTo>
                      <a:pt x="12" y="139"/>
                      <a:pt x="12" y="141"/>
                      <a:pt x="12" y="142"/>
                    </a:cubicBezTo>
                    <a:cubicBezTo>
                      <a:pt x="12" y="143"/>
                      <a:pt x="13" y="143"/>
                      <a:pt x="14" y="144"/>
                    </a:cubicBezTo>
                    <a:cubicBezTo>
                      <a:pt x="17" y="147"/>
                      <a:pt x="22" y="150"/>
                      <a:pt x="26" y="148"/>
                    </a:cubicBezTo>
                    <a:cubicBezTo>
                      <a:pt x="29" y="146"/>
                      <a:pt x="31" y="143"/>
                      <a:pt x="33" y="140"/>
                    </a:cubicBezTo>
                    <a:cubicBezTo>
                      <a:pt x="35" y="137"/>
                      <a:pt x="36" y="133"/>
                      <a:pt x="38" y="130"/>
                    </a:cubicBezTo>
                    <a:cubicBezTo>
                      <a:pt x="41" y="124"/>
                      <a:pt x="44" y="117"/>
                      <a:pt x="47" y="111"/>
                    </a:cubicBezTo>
                    <a:cubicBezTo>
                      <a:pt x="48" y="107"/>
                      <a:pt x="48" y="107"/>
                      <a:pt x="48" y="107"/>
                    </a:cubicBezTo>
                    <a:cubicBezTo>
                      <a:pt x="49" y="111"/>
                      <a:pt x="49" y="111"/>
                      <a:pt x="49" y="111"/>
                    </a:cubicBezTo>
                    <a:cubicBezTo>
                      <a:pt x="49" y="116"/>
                      <a:pt x="50" y="121"/>
                      <a:pt x="50" y="125"/>
                    </a:cubicBezTo>
                    <a:cubicBezTo>
                      <a:pt x="49" y="125"/>
                      <a:pt x="49" y="125"/>
                      <a:pt x="49" y="125"/>
                    </a:cubicBezTo>
                    <a:cubicBezTo>
                      <a:pt x="56" y="121"/>
                      <a:pt x="63" y="117"/>
                      <a:pt x="70" y="114"/>
                    </a:cubicBezTo>
                    <a:cubicBezTo>
                      <a:pt x="73" y="112"/>
                      <a:pt x="77" y="110"/>
                      <a:pt x="80" y="108"/>
                    </a:cubicBezTo>
                    <a:cubicBezTo>
                      <a:pt x="82" y="107"/>
                      <a:pt x="83" y="106"/>
                      <a:pt x="85" y="105"/>
                    </a:cubicBezTo>
                    <a:cubicBezTo>
                      <a:pt x="85" y="105"/>
                      <a:pt x="86" y="104"/>
                      <a:pt x="87" y="103"/>
                    </a:cubicBezTo>
                    <a:cubicBezTo>
                      <a:pt x="87" y="103"/>
                      <a:pt x="88" y="102"/>
                      <a:pt x="88" y="101"/>
                    </a:cubicBezTo>
                    <a:cubicBezTo>
                      <a:pt x="97" y="89"/>
                      <a:pt x="105" y="77"/>
                      <a:pt x="113" y="66"/>
                    </a:cubicBezTo>
                    <a:cubicBezTo>
                      <a:pt x="113" y="66"/>
                      <a:pt x="113" y="66"/>
                      <a:pt x="113" y="66"/>
                    </a:cubicBezTo>
                    <a:cubicBezTo>
                      <a:pt x="113" y="66"/>
                      <a:pt x="113" y="66"/>
                      <a:pt x="113" y="66"/>
                    </a:cubicBezTo>
                    <a:cubicBezTo>
                      <a:pt x="117" y="63"/>
                      <a:pt x="120" y="60"/>
                      <a:pt x="124" y="57"/>
                    </a:cubicBezTo>
                    <a:cubicBezTo>
                      <a:pt x="128" y="53"/>
                      <a:pt x="128" y="53"/>
                      <a:pt x="128" y="53"/>
                    </a:cubicBezTo>
                    <a:cubicBezTo>
                      <a:pt x="125" y="58"/>
                      <a:pt x="125" y="58"/>
                      <a:pt x="125" y="58"/>
                    </a:cubicBezTo>
                    <a:cubicBezTo>
                      <a:pt x="121" y="64"/>
                      <a:pt x="118" y="69"/>
                      <a:pt x="114" y="74"/>
                    </a:cubicBezTo>
                    <a:cubicBezTo>
                      <a:pt x="114" y="74"/>
                      <a:pt x="114" y="74"/>
                      <a:pt x="114" y="74"/>
                    </a:cubicBezTo>
                    <a:cubicBezTo>
                      <a:pt x="114" y="74"/>
                      <a:pt x="114" y="74"/>
                      <a:pt x="114" y="74"/>
                    </a:cubicBezTo>
                    <a:cubicBezTo>
                      <a:pt x="111" y="78"/>
                      <a:pt x="108" y="81"/>
                      <a:pt x="106" y="85"/>
                    </a:cubicBezTo>
                    <a:cubicBezTo>
                      <a:pt x="105" y="87"/>
                      <a:pt x="103" y="89"/>
                      <a:pt x="103" y="91"/>
                    </a:cubicBezTo>
                    <a:cubicBezTo>
                      <a:pt x="102" y="93"/>
                      <a:pt x="101" y="95"/>
                      <a:pt x="102" y="96"/>
                    </a:cubicBezTo>
                    <a:cubicBezTo>
                      <a:pt x="103" y="97"/>
                      <a:pt x="106" y="97"/>
                      <a:pt x="107" y="97"/>
                    </a:cubicBezTo>
                    <a:cubicBezTo>
                      <a:pt x="109" y="97"/>
                      <a:pt x="111" y="96"/>
                      <a:pt x="113" y="95"/>
                    </a:cubicBezTo>
                    <a:cubicBezTo>
                      <a:pt x="116" y="93"/>
                      <a:pt x="119" y="91"/>
                      <a:pt x="122" y="88"/>
                    </a:cubicBezTo>
                    <a:cubicBezTo>
                      <a:pt x="124" y="86"/>
                      <a:pt x="126" y="83"/>
                      <a:pt x="129" y="81"/>
                    </a:cubicBezTo>
                    <a:cubicBezTo>
                      <a:pt x="131" y="78"/>
                      <a:pt x="133" y="76"/>
                      <a:pt x="135" y="74"/>
                    </a:cubicBezTo>
                    <a:cubicBezTo>
                      <a:pt x="139" y="69"/>
                      <a:pt x="142" y="65"/>
                      <a:pt x="145" y="62"/>
                    </a:cubicBezTo>
                    <a:cubicBezTo>
                      <a:pt x="145" y="62"/>
                      <a:pt x="145" y="62"/>
                      <a:pt x="145" y="62"/>
                    </a:cubicBezTo>
                    <a:cubicBezTo>
                      <a:pt x="145" y="62"/>
                      <a:pt x="145" y="62"/>
                      <a:pt x="145" y="62"/>
                    </a:cubicBezTo>
                    <a:cubicBezTo>
                      <a:pt x="152" y="61"/>
                      <a:pt x="157" y="60"/>
                      <a:pt x="160" y="59"/>
                    </a:cubicBezTo>
                    <a:cubicBezTo>
                      <a:pt x="162" y="59"/>
                      <a:pt x="163" y="58"/>
                      <a:pt x="164" y="58"/>
                    </a:cubicBezTo>
                    <a:cubicBezTo>
                      <a:pt x="165" y="58"/>
                      <a:pt x="165" y="58"/>
                      <a:pt x="165" y="58"/>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93">
                <a:extLst>
                  <a:ext uri="{FF2B5EF4-FFF2-40B4-BE49-F238E27FC236}">
                    <a16:creationId xmlns:a16="http://schemas.microsoft.com/office/drawing/2014/main" id="{1E974909-DF9C-4C9E-8546-17D8CD1735B1}"/>
                  </a:ext>
                </a:extLst>
              </p:cNvPr>
              <p:cNvSpPr>
                <a:spLocks/>
              </p:cNvSpPr>
              <p:nvPr/>
            </p:nvSpPr>
            <p:spPr bwMode="auto">
              <a:xfrm>
                <a:off x="1680" y="671"/>
                <a:ext cx="840" cy="733"/>
              </a:xfrm>
              <a:custGeom>
                <a:avLst/>
                <a:gdLst>
                  <a:gd name="T0" fmla="*/ 66 w 354"/>
                  <a:gd name="T1" fmla="*/ 262 h 309"/>
                  <a:gd name="T2" fmla="*/ 43 w 354"/>
                  <a:gd name="T3" fmla="*/ 202 h 309"/>
                  <a:gd name="T4" fmla="*/ 43 w 354"/>
                  <a:gd name="T5" fmla="*/ 194 h 309"/>
                  <a:gd name="T6" fmla="*/ 38 w 354"/>
                  <a:gd name="T7" fmla="*/ 190 h 309"/>
                  <a:gd name="T8" fmla="*/ 16 w 354"/>
                  <a:gd name="T9" fmla="*/ 162 h 309"/>
                  <a:gd name="T10" fmla="*/ 25 w 354"/>
                  <a:gd name="T11" fmla="*/ 129 h 309"/>
                  <a:gd name="T12" fmla="*/ 8 w 354"/>
                  <a:gd name="T13" fmla="*/ 82 h 309"/>
                  <a:gd name="T14" fmla="*/ 55 w 354"/>
                  <a:gd name="T15" fmla="*/ 59 h 309"/>
                  <a:gd name="T16" fmla="*/ 59 w 354"/>
                  <a:gd name="T17" fmla="*/ 27 h 309"/>
                  <a:gd name="T18" fmla="*/ 90 w 354"/>
                  <a:gd name="T19" fmla="*/ 12 h 309"/>
                  <a:gd name="T20" fmla="*/ 132 w 354"/>
                  <a:gd name="T21" fmla="*/ 24 h 309"/>
                  <a:gd name="T22" fmla="*/ 151 w 354"/>
                  <a:gd name="T23" fmla="*/ 6 h 309"/>
                  <a:gd name="T24" fmla="*/ 211 w 354"/>
                  <a:gd name="T25" fmla="*/ 40 h 309"/>
                  <a:gd name="T26" fmla="*/ 237 w 354"/>
                  <a:gd name="T27" fmla="*/ 30 h 309"/>
                  <a:gd name="T28" fmla="*/ 260 w 354"/>
                  <a:gd name="T29" fmla="*/ 45 h 309"/>
                  <a:gd name="T30" fmla="*/ 284 w 354"/>
                  <a:gd name="T31" fmla="*/ 32 h 309"/>
                  <a:gd name="T32" fmla="*/ 304 w 354"/>
                  <a:gd name="T33" fmla="*/ 35 h 309"/>
                  <a:gd name="T34" fmla="*/ 313 w 354"/>
                  <a:gd name="T35" fmla="*/ 52 h 309"/>
                  <a:gd name="T36" fmla="*/ 346 w 354"/>
                  <a:gd name="T37" fmla="*/ 66 h 309"/>
                  <a:gd name="T38" fmla="*/ 336 w 354"/>
                  <a:gd name="T39" fmla="*/ 101 h 309"/>
                  <a:gd name="T40" fmla="*/ 353 w 354"/>
                  <a:gd name="T41" fmla="*/ 129 h 309"/>
                  <a:gd name="T42" fmla="*/ 338 w 354"/>
                  <a:gd name="T43" fmla="*/ 159 h 309"/>
                  <a:gd name="T44" fmla="*/ 344 w 354"/>
                  <a:gd name="T45" fmla="*/ 172 h 309"/>
                  <a:gd name="T46" fmla="*/ 330 w 354"/>
                  <a:gd name="T47" fmla="*/ 181 h 309"/>
                  <a:gd name="T48" fmla="*/ 337 w 354"/>
                  <a:gd name="T49" fmla="*/ 241 h 309"/>
                  <a:gd name="T50" fmla="*/ 337 w 354"/>
                  <a:gd name="T51" fmla="*/ 279 h 309"/>
                  <a:gd name="T52" fmla="*/ 315 w 354"/>
                  <a:gd name="T53"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4" h="309">
                    <a:moveTo>
                      <a:pt x="66" y="262"/>
                    </a:moveTo>
                    <a:cubicBezTo>
                      <a:pt x="48" y="249"/>
                      <a:pt x="38" y="224"/>
                      <a:pt x="43" y="202"/>
                    </a:cubicBezTo>
                    <a:cubicBezTo>
                      <a:pt x="44" y="199"/>
                      <a:pt x="44" y="196"/>
                      <a:pt x="43" y="194"/>
                    </a:cubicBezTo>
                    <a:cubicBezTo>
                      <a:pt x="42" y="192"/>
                      <a:pt x="40" y="191"/>
                      <a:pt x="38" y="190"/>
                    </a:cubicBezTo>
                    <a:cubicBezTo>
                      <a:pt x="27" y="184"/>
                      <a:pt x="19" y="174"/>
                      <a:pt x="16" y="162"/>
                    </a:cubicBezTo>
                    <a:cubicBezTo>
                      <a:pt x="13" y="151"/>
                      <a:pt x="16" y="137"/>
                      <a:pt x="25" y="129"/>
                    </a:cubicBezTo>
                    <a:cubicBezTo>
                      <a:pt x="7" y="123"/>
                      <a:pt x="0" y="99"/>
                      <a:pt x="8" y="82"/>
                    </a:cubicBezTo>
                    <a:cubicBezTo>
                      <a:pt x="16" y="65"/>
                      <a:pt x="37" y="56"/>
                      <a:pt x="55" y="59"/>
                    </a:cubicBezTo>
                    <a:cubicBezTo>
                      <a:pt x="49" y="49"/>
                      <a:pt x="52" y="35"/>
                      <a:pt x="59" y="27"/>
                    </a:cubicBezTo>
                    <a:cubicBezTo>
                      <a:pt x="67" y="19"/>
                      <a:pt x="79" y="14"/>
                      <a:pt x="90" y="12"/>
                    </a:cubicBezTo>
                    <a:cubicBezTo>
                      <a:pt x="105" y="10"/>
                      <a:pt x="123" y="11"/>
                      <a:pt x="132" y="24"/>
                    </a:cubicBezTo>
                    <a:cubicBezTo>
                      <a:pt x="133" y="15"/>
                      <a:pt x="142" y="8"/>
                      <a:pt x="151" y="6"/>
                    </a:cubicBezTo>
                    <a:cubicBezTo>
                      <a:pt x="176" y="0"/>
                      <a:pt x="204" y="16"/>
                      <a:pt x="211" y="40"/>
                    </a:cubicBezTo>
                    <a:cubicBezTo>
                      <a:pt x="219" y="35"/>
                      <a:pt x="228" y="30"/>
                      <a:pt x="237" y="30"/>
                    </a:cubicBezTo>
                    <a:cubicBezTo>
                      <a:pt x="247" y="30"/>
                      <a:pt x="257" y="36"/>
                      <a:pt x="260" y="45"/>
                    </a:cubicBezTo>
                    <a:cubicBezTo>
                      <a:pt x="264" y="36"/>
                      <a:pt x="274" y="33"/>
                      <a:pt x="284" y="32"/>
                    </a:cubicBezTo>
                    <a:cubicBezTo>
                      <a:pt x="290" y="31"/>
                      <a:pt x="298" y="32"/>
                      <a:pt x="304" y="35"/>
                    </a:cubicBezTo>
                    <a:cubicBezTo>
                      <a:pt x="310" y="39"/>
                      <a:pt x="314" y="46"/>
                      <a:pt x="313" y="52"/>
                    </a:cubicBezTo>
                    <a:cubicBezTo>
                      <a:pt x="325" y="48"/>
                      <a:pt x="341" y="54"/>
                      <a:pt x="346" y="66"/>
                    </a:cubicBezTo>
                    <a:cubicBezTo>
                      <a:pt x="352" y="78"/>
                      <a:pt x="347" y="94"/>
                      <a:pt x="336" y="101"/>
                    </a:cubicBezTo>
                    <a:cubicBezTo>
                      <a:pt x="346" y="106"/>
                      <a:pt x="353" y="117"/>
                      <a:pt x="353" y="129"/>
                    </a:cubicBezTo>
                    <a:cubicBezTo>
                      <a:pt x="354" y="141"/>
                      <a:pt x="348" y="152"/>
                      <a:pt x="338" y="159"/>
                    </a:cubicBezTo>
                    <a:cubicBezTo>
                      <a:pt x="344" y="159"/>
                      <a:pt x="347" y="167"/>
                      <a:pt x="344" y="172"/>
                    </a:cubicBezTo>
                    <a:cubicBezTo>
                      <a:pt x="342" y="177"/>
                      <a:pt x="336" y="180"/>
                      <a:pt x="330" y="181"/>
                    </a:cubicBezTo>
                    <a:cubicBezTo>
                      <a:pt x="332" y="201"/>
                      <a:pt x="335" y="221"/>
                      <a:pt x="337" y="241"/>
                    </a:cubicBezTo>
                    <a:cubicBezTo>
                      <a:pt x="338" y="253"/>
                      <a:pt x="340" y="266"/>
                      <a:pt x="337" y="279"/>
                    </a:cubicBezTo>
                    <a:cubicBezTo>
                      <a:pt x="335" y="292"/>
                      <a:pt x="327" y="304"/>
                      <a:pt x="315" y="30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94">
                <a:extLst>
                  <a:ext uri="{FF2B5EF4-FFF2-40B4-BE49-F238E27FC236}">
                    <a16:creationId xmlns:a16="http://schemas.microsoft.com/office/drawing/2014/main" id="{DCC3953B-5B03-47F2-8C90-61860E877C9E}"/>
                  </a:ext>
                </a:extLst>
              </p:cNvPr>
              <p:cNvSpPr>
                <a:spLocks/>
              </p:cNvSpPr>
              <p:nvPr/>
            </p:nvSpPr>
            <p:spPr bwMode="auto">
              <a:xfrm>
                <a:off x="1815" y="910"/>
                <a:ext cx="696" cy="1114"/>
              </a:xfrm>
              <a:custGeom>
                <a:avLst/>
                <a:gdLst>
                  <a:gd name="T0" fmla="*/ 3 w 293"/>
                  <a:gd name="T1" fmla="*/ 104 h 469"/>
                  <a:gd name="T2" fmla="*/ 94 w 293"/>
                  <a:gd name="T3" fmla="*/ 0 h 469"/>
                  <a:gd name="T4" fmla="*/ 253 w 293"/>
                  <a:gd name="T5" fmla="*/ 10 h 469"/>
                  <a:gd name="T6" fmla="*/ 256 w 293"/>
                  <a:gd name="T7" fmla="*/ 36 h 469"/>
                  <a:gd name="T8" fmla="*/ 293 w 293"/>
                  <a:gd name="T9" fmla="*/ 370 h 469"/>
                  <a:gd name="T10" fmla="*/ 120 w 293"/>
                  <a:gd name="T11" fmla="*/ 469 h 469"/>
                  <a:gd name="T12" fmla="*/ 109 w 293"/>
                  <a:gd name="T13" fmla="*/ 343 h 469"/>
                  <a:gd name="T14" fmla="*/ 24 w 293"/>
                  <a:gd name="T15" fmla="*/ 262 h 469"/>
                  <a:gd name="T16" fmla="*/ 3 w 293"/>
                  <a:gd name="T17" fmla="*/ 10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 h="469">
                    <a:moveTo>
                      <a:pt x="3" y="104"/>
                    </a:moveTo>
                    <a:cubicBezTo>
                      <a:pt x="0" y="56"/>
                      <a:pt x="46" y="1"/>
                      <a:pt x="94" y="0"/>
                    </a:cubicBezTo>
                    <a:cubicBezTo>
                      <a:pt x="253" y="10"/>
                      <a:pt x="253" y="10"/>
                      <a:pt x="253" y="10"/>
                    </a:cubicBezTo>
                    <a:cubicBezTo>
                      <a:pt x="256" y="36"/>
                      <a:pt x="256" y="36"/>
                      <a:pt x="256" y="36"/>
                    </a:cubicBezTo>
                    <a:cubicBezTo>
                      <a:pt x="293" y="370"/>
                      <a:pt x="293" y="370"/>
                      <a:pt x="293" y="370"/>
                    </a:cubicBezTo>
                    <a:cubicBezTo>
                      <a:pt x="120" y="469"/>
                      <a:pt x="120" y="469"/>
                      <a:pt x="120" y="469"/>
                    </a:cubicBezTo>
                    <a:cubicBezTo>
                      <a:pt x="109" y="343"/>
                      <a:pt x="109" y="343"/>
                      <a:pt x="109" y="343"/>
                    </a:cubicBezTo>
                    <a:cubicBezTo>
                      <a:pt x="109" y="343"/>
                      <a:pt x="47" y="340"/>
                      <a:pt x="24" y="262"/>
                    </a:cubicBezTo>
                    <a:cubicBezTo>
                      <a:pt x="13" y="223"/>
                      <a:pt x="6" y="158"/>
                      <a:pt x="3" y="104"/>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95">
                <a:extLst>
                  <a:ext uri="{FF2B5EF4-FFF2-40B4-BE49-F238E27FC236}">
                    <a16:creationId xmlns:a16="http://schemas.microsoft.com/office/drawing/2014/main" id="{DAB234A5-7F96-4745-972D-BA397EAD0221}"/>
                  </a:ext>
                </a:extLst>
              </p:cNvPr>
              <p:cNvSpPr>
                <a:spLocks/>
              </p:cNvSpPr>
              <p:nvPr/>
            </p:nvSpPr>
            <p:spPr bwMode="auto">
              <a:xfrm>
                <a:off x="1882" y="1269"/>
                <a:ext cx="52" cy="50"/>
              </a:xfrm>
              <a:custGeom>
                <a:avLst/>
                <a:gdLst>
                  <a:gd name="T0" fmla="*/ 0 w 22"/>
                  <a:gd name="T1" fmla="*/ 11 h 21"/>
                  <a:gd name="T2" fmla="*/ 12 w 22"/>
                  <a:gd name="T3" fmla="*/ 21 h 21"/>
                  <a:gd name="T4" fmla="*/ 21 w 22"/>
                  <a:gd name="T5" fmla="*/ 10 h 21"/>
                  <a:gd name="T6" fmla="*/ 10 w 22"/>
                  <a:gd name="T7" fmla="*/ 1 h 21"/>
                  <a:gd name="T8" fmla="*/ 0 w 22"/>
                  <a:gd name="T9" fmla="*/ 11 h 21"/>
                </a:gdLst>
                <a:ahLst/>
                <a:cxnLst>
                  <a:cxn ang="0">
                    <a:pos x="T0" y="T1"/>
                  </a:cxn>
                  <a:cxn ang="0">
                    <a:pos x="T2" y="T3"/>
                  </a:cxn>
                  <a:cxn ang="0">
                    <a:pos x="T4" y="T5"/>
                  </a:cxn>
                  <a:cxn ang="0">
                    <a:pos x="T6" y="T7"/>
                  </a:cxn>
                  <a:cxn ang="0">
                    <a:pos x="T8" y="T9"/>
                  </a:cxn>
                </a:cxnLst>
                <a:rect l="0" t="0" r="r" b="b"/>
                <a:pathLst>
                  <a:path w="22" h="21">
                    <a:moveTo>
                      <a:pt x="0" y="11"/>
                    </a:moveTo>
                    <a:cubicBezTo>
                      <a:pt x="1" y="17"/>
                      <a:pt x="6" y="21"/>
                      <a:pt x="12" y="21"/>
                    </a:cubicBezTo>
                    <a:cubicBezTo>
                      <a:pt x="17" y="20"/>
                      <a:pt x="22" y="15"/>
                      <a:pt x="21" y="10"/>
                    </a:cubicBezTo>
                    <a:cubicBezTo>
                      <a:pt x="21" y="5"/>
                      <a:pt x="16" y="0"/>
                      <a:pt x="10" y="1"/>
                    </a:cubicBezTo>
                    <a:cubicBezTo>
                      <a:pt x="4" y="1"/>
                      <a:pt x="0" y="6"/>
                      <a:pt x="0"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96">
                <a:extLst>
                  <a:ext uri="{FF2B5EF4-FFF2-40B4-BE49-F238E27FC236}">
                    <a16:creationId xmlns:a16="http://schemas.microsoft.com/office/drawing/2014/main" id="{2CB349E4-3A15-40CA-A3AD-EEDF1D26AD65}"/>
                  </a:ext>
                </a:extLst>
              </p:cNvPr>
              <p:cNvSpPr>
                <a:spLocks/>
              </p:cNvSpPr>
              <p:nvPr/>
            </p:nvSpPr>
            <p:spPr bwMode="auto">
              <a:xfrm>
                <a:off x="1865" y="1200"/>
                <a:ext cx="97" cy="36"/>
              </a:xfrm>
              <a:custGeom>
                <a:avLst/>
                <a:gdLst>
                  <a:gd name="T0" fmla="*/ 1 w 41"/>
                  <a:gd name="T1" fmla="*/ 14 h 15"/>
                  <a:gd name="T2" fmla="*/ 20 w 41"/>
                  <a:gd name="T3" fmla="*/ 7 h 15"/>
                  <a:gd name="T4" fmla="*/ 41 w 41"/>
                  <a:gd name="T5" fmla="*/ 9 h 15"/>
                  <a:gd name="T6" fmla="*/ 36 w 41"/>
                  <a:gd name="T7" fmla="*/ 4 h 15"/>
                  <a:gd name="T8" fmla="*/ 19 w 41"/>
                  <a:gd name="T9" fmla="*/ 1 h 15"/>
                  <a:gd name="T10" fmla="*/ 4 w 41"/>
                  <a:gd name="T11" fmla="*/ 8 h 15"/>
                  <a:gd name="T12" fmla="*/ 1 w 41"/>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41" h="15">
                    <a:moveTo>
                      <a:pt x="1" y="14"/>
                    </a:moveTo>
                    <a:cubicBezTo>
                      <a:pt x="2" y="15"/>
                      <a:pt x="9" y="9"/>
                      <a:pt x="20" y="7"/>
                    </a:cubicBezTo>
                    <a:cubicBezTo>
                      <a:pt x="31" y="6"/>
                      <a:pt x="40" y="10"/>
                      <a:pt x="41" y="9"/>
                    </a:cubicBezTo>
                    <a:cubicBezTo>
                      <a:pt x="41" y="8"/>
                      <a:pt x="40" y="6"/>
                      <a:pt x="36" y="4"/>
                    </a:cubicBezTo>
                    <a:cubicBezTo>
                      <a:pt x="32" y="2"/>
                      <a:pt x="26" y="0"/>
                      <a:pt x="19" y="1"/>
                    </a:cubicBezTo>
                    <a:cubicBezTo>
                      <a:pt x="12" y="2"/>
                      <a:pt x="7" y="5"/>
                      <a:pt x="4" y="8"/>
                    </a:cubicBezTo>
                    <a:cubicBezTo>
                      <a:pt x="1" y="11"/>
                      <a:pt x="0" y="14"/>
                      <a:pt x="1" y="1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97">
                <a:extLst>
                  <a:ext uri="{FF2B5EF4-FFF2-40B4-BE49-F238E27FC236}">
                    <a16:creationId xmlns:a16="http://schemas.microsoft.com/office/drawing/2014/main" id="{550C72B9-6001-44EF-8CF2-C5CEEE79CE9C}"/>
                  </a:ext>
                </a:extLst>
              </p:cNvPr>
              <p:cNvSpPr>
                <a:spLocks/>
              </p:cNvSpPr>
              <p:nvPr/>
            </p:nvSpPr>
            <p:spPr bwMode="auto">
              <a:xfrm>
                <a:off x="2117" y="1250"/>
                <a:ext cx="49" cy="50"/>
              </a:xfrm>
              <a:custGeom>
                <a:avLst/>
                <a:gdLst>
                  <a:gd name="T0" fmla="*/ 0 w 21"/>
                  <a:gd name="T1" fmla="*/ 11 h 21"/>
                  <a:gd name="T2" fmla="*/ 11 w 21"/>
                  <a:gd name="T3" fmla="*/ 20 h 21"/>
                  <a:gd name="T4" fmla="*/ 21 w 21"/>
                  <a:gd name="T5" fmla="*/ 10 h 21"/>
                  <a:gd name="T6" fmla="*/ 10 w 21"/>
                  <a:gd name="T7" fmla="*/ 1 h 21"/>
                  <a:gd name="T8" fmla="*/ 0 w 21"/>
                  <a:gd name="T9" fmla="*/ 11 h 21"/>
                </a:gdLst>
                <a:ahLst/>
                <a:cxnLst>
                  <a:cxn ang="0">
                    <a:pos x="T0" y="T1"/>
                  </a:cxn>
                  <a:cxn ang="0">
                    <a:pos x="T2" y="T3"/>
                  </a:cxn>
                  <a:cxn ang="0">
                    <a:pos x="T4" y="T5"/>
                  </a:cxn>
                  <a:cxn ang="0">
                    <a:pos x="T6" y="T7"/>
                  </a:cxn>
                  <a:cxn ang="0">
                    <a:pos x="T8" y="T9"/>
                  </a:cxn>
                </a:cxnLst>
                <a:rect l="0" t="0" r="r" b="b"/>
                <a:pathLst>
                  <a:path w="21" h="21">
                    <a:moveTo>
                      <a:pt x="0" y="11"/>
                    </a:moveTo>
                    <a:cubicBezTo>
                      <a:pt x="1" y="17"/>
                      <a:pt x="6" y="21"/>
                      <a:pt x="11" y="20"/>
                    </a:cubicBezTo>
                    <a:cubicBezTo>
                      <a:pt x="17" y="20"/>
                      <a:pt x="21" y="15"/>
                      <a:pt x="21" y="10"/>
                    </a:cubicBezTo>
                    <a:cubicBezTo>
                      <a:pt x="20" y="4"/>
                      <a:pt x="15" y="0"/>
                      <a:pt x="10" y="1"/>
                    </a:cubicBezTo>
                    <a:cubicBezTo>
                      <a:pt x="4" y="1"/>
                      <a:pt x="0" y="6"/>
                      <a:pt x="0"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98">
                <a:extLst>
                  <a:ext uri="{FF2B5EF4-FFF2-40B4-BE49-F238E27FC236}">
                    <a16:creationId xmlns:a16="http://schemas.microsoft.com/office/drawing/2014/main" id="{F0146134-B146-478A-8CA5-C42C8D94FE47}"/>
                  </a:ext>
                </a:extLst>
              </p:cNvPr>
              <p:cNvSpPr>
                <a:spLocks/>
              </p:cNvSpPr>
              <p:nvPr/>
            </p:nvSpPr>
            <p:spPr bwMode="auto">
              <a:xfrm>
                <a:off x="2124" y="1179"/>
                <a:ext cx="97" cy="35"/>
              </a:xfrm>
              <a:custGeom>
                <a:avLst/>
                <a:gdLst>
                  <a:gd name="T0" fmla="*/ 0 w 41"/>
                  <a:gd name="T1" fmla="*/ 14 h 15"/>
                  <a:gd name="T2" fmla="*/ 20 w 41"/>
                  <a:gd name="T3" fmla="*/ 7 h 15"/>
                  <a:gd name="T4" fmla="*/ 41 w 41"/>
                  <a:gd name="T5" fmla="*/ 9 h 15"/>
                  <a:gd name="T6" fmla="*/ 36 w 41"/>
                  <a:gd name="T7" fmla="*/ 4 h 15"/>
                  <a:gd name="T8" fmla="*/ 19 w 41"/>
                  <a:gd name="T9" fmla="*/ 1 h 15"/>
                  <a:gd name="T10" fmla="*/ 4 w 41"/>
                  <a:gd name="T11" fmla="*/ 8 h 15"/>
                  <a:gd name="T12" fmla="*/ 0 w 41"/>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41" h="15">
                    <a:moveTo>
                      <a:pt x="0" y="14"/>
                    </a:moveTo>
                    <a:cubicBezTo>
                      <a:pt x="2" y="15"/>
                      <a:pt x="9" y="8"/>
                      <a:pt x="20" y="7"/>
                    </a:cubicBezTo>
                    <a:cubicBezTo>
                      <a:pt x="31" y="6"/>
                      <a:pt x="40" y="10"/>
                      <a:pt x="41" y="9"/>
                    </a:cubicBezTo>
                    <a:cubicBezTo>
                      <a:pt x="41" y="8"/>
                      <a:pt x="40" y="6"/>
                      <a:pt x="36" y="4"/>
                    </a:cubicBezTo>
                    <a:cubicBezTo>
                      <a:pt x="32" y="2"/>
                      <a:pt x="26" y="0"/>
                      <a:pt x="19" y="1"/>
                    </a:cubicBezTo>
                    <a:cubicBezTo>
                      <a:pt x="12" y="2"/>
                      <a:pt x="7" y="5"/>
                      <a:pt x="4" y="8"/>
                    </a:cubicBezTo>
                    <a:cubicBezTo>
                      <a:pt x="0" y="11"/>
                      <a:pt x="0" y="13"/>
                      <a:pt x="0" y="1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99">
                <a:extLst>
                  <a:ext uri="{FF2B5EF4-FFF2-40B4-BE49-F238E27FC236}">
                    <a16:creationId xmlns:a16="http://schemas.microsoft.com/office/drawing/2014/main" id="{CF2831CD-ED1F-433F-85DA-F87C9656FD7E}"/>
                  </a:ext>
                </a:extLst>
              </p:cNvPr>
              <p:cNvSpPr>
                <a:spLocks/>
              </p:cNvSpPr>
              <p:nvPr/>
            </p:nvSpPr>
            <p:spPr bwMode="auto">
              <a:xfrm>
                <a:off x="1981" y="1193"/>
                <a:ext cx="74" cy="225"/>
              </a:xfrm>
              <a:custGeom>
                <a:avLst/>
                <a:gdLst>
                  <a:gd name="T0" fmla="*/ 31 w 31"/>
                  <a:gd name="T1" fmla="*/ 92 h 95"/>
                  <a:gd name="T2" fmla="*/ 12 w 31"/>
                  <a:gd name="T3" fmla="*/ 91 h 95"/>
                  <a:gd name="T4" fmla="*/ 6 w 31"/>
                  <a:gd name="T5" fmla="*/ 89 h 95"/>
                  <a:gd name="T6" fmla="*/ 7 w 31"/>
                  <a:gd name="T7" fmla="*/ 81 h 95"/>
                  <a:gd name="T8" fmla="*/ 12 w 31"/>
                  <a:gd name="T9" fmla="*/ 58 h 95"/>
                  <a:gd name="T10" fmla="*/ 24 w 31"/>
                  <a:gd name="T11" fmla="*/ 0 h 95"/>
                  <a:gd name="T12" fmla="*/ 8 w 31"/>
                  <a:gd name="T13" fmla="*/ 57 h 95"/>
                  <a:gd name="T14" fmla="*/ 2 w 31"/>
                  <a:gd name="T15" fmla="*/ 80 h 95"/>
                  <a:gd name="T16" fmla="*/ 2 w 31"/>
                  <a:gd name="T17" fmla="*/ 91 h 95"/>
                  <a:gd name="T18" fmla="*/ 7 w 31"/>
                  <a:gd name="T19" fmla="*/ 95 h 95"/>
                  <a:gd name="T20" fmla="*/ 12 w 31"/>
                  <a:gd name="T21" fmla="*/ 95 h 95"/>
                  <a:gd name="T22" fmla="*/ 31 w 31"/>
                  <a:gd name="T23" fmla="*/ 9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95">
                    <a:moveTo>
                      <a:pt x="31" y="92"/>
                    </a:moveTo>
                    <a:cubicBezTo>
                      <a:pt x="30" y="92"/>
                      <a:pt x="23" y="91"/>
                      <a:pt x="12" y="91"/>
                    </a:cubicBezTo>
                    <a:cubicBezTo>
                      <a:pt x="9" y="91"/>
                      <a:pt x="7" y="91"/>
                      <a:pt x="6" y="89"/>
                    </a:cubicBezTo>
                    <a:cubicBezTo>
                      <a:pt x="5" y="87"/>
                      <a:pt x="6" y="84"/>
                      <a:pt x="7" y="81"/>
                    </a:cubicBezTo>
                    <a:cubicBezTo>
                      <a:pt x="9" y="74"/>
                      <a:pt x="10" y="66"/>
                      <a:pt x="12" y="58"/>
                    </a:cubicBezTo>
                    <a:cubicBezTo>
                      <a:pt x="20" y="26"/>
                      <a:pt x="25" y="0"/>
                      <a:pt x="24" y="0"/>
                    </a:cubicBezTo>
                    <a:cubicBezTo>
                      <a:pt x="23" y="0"/>
                      <a:pt x="15" y="25"/>
                      <a:pt x="8" y="57"/>
                    </a:cubicBezTo>
                    <a:cubicBezTo>
                      <a:pt x="6" y="65"/>
                      <a:pt x="4" y="73"/>
                      <a:pt x="2" y="80"/>
                    </a:cubicBezTo>
                    <a:cubicBezTo>
                      <a:pt x="2" y="83"/>
                      <a:pt x="0" y="87"/>
                      <a:pt x="2" y="91"/>
                    </a:cubicBezTo>
                    <a:cubicBezTo>
                      <a:pt x="3" y="93"/>
                      <a:pt x="6" y="94"/>
                      <a:pt x="7" y="95"/>
                    </a:cubicBezTo>
                    <a:cubicBezTo>
                      <a:pt x="9" y="95"/>
                      <a:pt x="11" y="95"/>
                      <a:pt x="12" y="95"/>
                    </a:cubicBezTo>
                    <a:cubicBezTo>
                      <a:pt x="24" y="94"/>
                      <a:pt x="31" y="93"/>
                      <a:pt x="31" y="9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00">
                <a:extLst>
                  <a:ext uri="{FF2B5EF4-FFF2-40B4-BE49-F238E27FC236}">
                    <a16:creationId xmlns:a16="http://schemas.microsoft.com/office/drawing/2014/main" id="{711603BB-D3F9-450A-AB2B-8FA6D336E610}"/>
                  </a:ext>
                </a:extLst>
              </p:cNvPr>
              <p:cNvSpPr>
                <a:spLocks/>
              </p:cNvSpPr>
              <p:nvPr/>
            </p:nvSpPr>
            <p:spPr bwMode="auto">
              <a:xfrm>
                <a:off x="2074" y="1625"/>
                <a:ext cx="247" cy="147"/>
              </a:xfrm>
              <a:custGeom>
                <a:avLst/>
                <a:gdLst>
                  <a:gd name="T0" fmla="*/ 0 w 104"/>
                  <a:gd name="T1" fmla="*/ 42 h 62"/>
                  <a:gd name="T2" fmla="*/ 104 w 104"/>
                  <a:gd name="T3" fmla="*/ 0 h 62"/>
                  <a:gd name="T4" fmla="*/ 1 w 104"/>
                  <a:gd name="T5" fmla="*/ 62 h 62"/>
                  <a:gd name="T6" fmla="*/ 0 w 104"/>
                  <a:gd name="T7" fmla="*/ 42 h 62"/>
                </a:gdLst>
                <a:ahLst/>
                <a:cxnLst>
                  <a:cxn ang="0">
                    <a:pos x="T0" y="T1"/>
                  </a:cxn>
                  <a:cxn ang="0">
                    <a:pos x="T2" y="T3"/>
                  </a:cxn>
                  <a:cxn ang="0">
                    <a:pos x="T4" y="T5"/>
                  </a:cxn>
                  <a:cxn ang="0">
                    <a:pos x="T6" y="T7"/>
                  </a:cxn>
                </a:cxnLst>
                <a:rect l="0" t="0" r="r" b="b"/>
                <a:pathLst>
                  <a:path w="104" h="62">
                    <a:moveTo>
                      <a:pt x="0" y="42"/>
                    </a:moveTo>
                    <a:cubicBezTo>
                      <a:pt x="0" y="42"/>
                      <a:pt x="54" y="39"/>
                      <a:pt x="104" y="0"/>
                    </a:cubicBezTo>
                    <a:cubicBezTo>
                      <a:pt x="104" y="0"/>
                      <a:pt x="82" y="59"/>
                      <a:pt x="1" y="62"/>
                    </a:cubicBezTo>
                    <a:lnTo>
                      <a:pt x="0" y="42"/>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01">
                <a:extLst>
                  <a:ext uri="{FF2B5EF4-FFF2-40B4-BE49-F238E27FC236}">
                    <a16:creationId xmlns:a16="http://schemas.microsoft.com/office/drawing/2014/main" id="{B13F8516-CE78-432D-8A18-71A51802D36E}"/>
                  </a:ext>
                </a:extLst>
              </p:cNvPr>
              <p:cNvSpPr>
                <a:spLocks/>
              </p:cNvSpPr>
              <p:nvPr/>
            </p:nvSpPr>
            <p:spPr bwMode="auto">
              <a:xfrm>
                <a:off x="2069" y="1452"/>
                <a:ext cx="86" cy="57"/>
              </a:xfrm>
              <a:custGeom>
                <a:avLst/>
                <a:gdLst>
                  <a:gd name="T0" fmla="*/ 2 w 36"/>
                  <a:gd name="T1" fmla="*/ 9 h 24"/>
                  <a:gd name="T2" fmla="*/ 18 w 36"/>
                  <a:gd name="T3" fmla="*/ 0 h 24"/>
                  <a:gd name="T4" fmla="*/ 32 w 36"/>
                  <a:gd name="T5" fmla="*/ 5 h 24"/>
                  <a:gd name="T6" fmla="*/ 34 w 36"/>
                  <a:gd name="T7" fmla="*/ 18 h 24"/>
                  <a:gd name="T8" fmla="*/ 20 w 36"/>
                  <a:gd name="T9" fmla="*/ 23 h 24"/>
                  <a:gd name="T10" fmla="*/ 5 w 36"/>
                  <a:gd name="T11" fmla="*/ 17 h 24"/>
                  <a:gd name="T12" fmla="*/ 2 w 36"/>
                  <a:gd name="T13" fmla="*/ 14 h 24"/>
                  <a:gd name="T14" fmla="*/ 1 w 36"/>
                  <a:gd name="T15" fmla="*/ 1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2" y="9"/>
                    </a:moveTo>
                    <a:cubicBezTo>
                      <a:pt x="5" y="4"/>
                      <a:pt x="11" y="0"/>
                      <a:pt x="18" y="0"/>
                    </a:cubicBezTo>
                    <a:cubicBezTo>
                      <a:pt x="23" y="0"/>
                      <a:pt x="28" y="1"/>
                      <a:pt x="32" y="5"/>
                    </a:cubicBezTo>
                    <a:cubicBezTo>
                      <a:pt x="35" y="9"/>
                      <a:pt x="36" y="14"/>
                      <a:pt x="34" y="18"/>
                    </a:cubicBezTo>
                    <a:cubicBezTo>
                      <a:pt x="32" y="23"/>
                      <a:pt x="26" y="24"/>
                      <a:pt x="20" y="23"/>
                    </a:cubicBezTo>
                    <a:cubicBezTo>
                      <a:pt x="15" y="23"/>
                      <a:pt x="10" y="20"/>
                      <a:pt x="5" y="17"/>
                    </a:cubicBezTo>
                    <a:cubicBezTo>
                      <a:pt x="4" y="16"/>
                      <a:pt x="2" y="15"/>
                      <a:pt x="2" y="14"/>
                    </a:cubicBezTo>
                    <a:cubicBezTo>
                      <a:pt x="1" y="13"/>
                      <a:pt x="0" y="11"/>
                      <a:pt x="1" y="10"/>
                    </a:cubicBezTo>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02">
                <a:extLst>
                  <a:ext uri="{FF2B5EF4-FFF2-40B4-BE49-F238E27FC236}">
                    <a16:creationId xmlns:a16="http://schemas.microsoft.com/office/drawing/2014/main" id="{351CA008-E9EE-4CE2-8EAB-ED82C5E0AC70}"/>
                  </a:ext>
                </a:extLst>
              </p:cNvPr>
              <p:cNvSpPr>
                <a:spLocks/>
              </p:cNvSpPr>
              <p:nvPr/>
            </p:nvSpPr>
            <p:spPr bwMode="auto">
              <a:xfrm>
                <a:off x="2057" y="1421"/>
                <a:ext cx="83" cy="85"/>
              </a:xfrm>
              <a:custGeom>
                <a:avLst/>
                <a:gdLst>
                  <a:gd name="T0" fmla="*/ 32 w 35"/>
                  <a:gd name="T1" fmla="*/ 0 h 36"/>
                  <a:gd name="T2" fmla="*/ 22 w 35"/>
                  <a:gd name="T3" fmla="*/ 22 h 36"/>
                  <a:gd name="T4" fmla="*/ 0 w 35"/>
                  <a:gd name="T5" fmla="*/ 34 h 36"/>
                  <a:gd name="T6" fmla="*/ 9 w 35"/>
                  <a:gd name="T7" fmla="*/ 35 h 36"/>
                  <a:gd name="T8" fmla="*/ 27 w 35"/>
                  <a:gd name="T9" fmla="*/ 26 h 36"/>
                  <a:gd name="T10" fmla="*/ 35 w 35"/>
                  <a:gd name="T11" fmla="*/ 8 h 36"/>
                  <a:gd name="T12" fmla="*/ 32 w 35"/>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5" h="36">
                    <a:moveTo>
                      <a:pt x="32" y="0"/>
                    </a:moveTo>
                    <a:cubicBezTo>
                      <a:pt x="30" y="0"/>
                      <a:pt x="32" y="12"/>
                      <a:pt x="22" y="22"/>
                    </a:cubicBezTo>
                    <a:cubicBezTo>
                      <a:pt x="13" y="32"/>
                      <a:pt x="0" y="32"/>
                      <a:pt x="0" y="34"/>
                    </a:cubicBezTo>
                    <a:cubicBezTo>
                      <a:pt x="0" y="34"/>
                      <a:pt x="4" y="36"/>
                      <a:pt x="9" y="35"/>
                    </a:cubicBezTo>
                    <a:cubicBezTo>
                      <a:pt x="14" y="35"/>
                      <a:pt x="22" y="32"/>
                      <a:pt x="27" y="26"/>
                    </a:cubicBezTo>
                    <a:cubicBezTo>
                      <a:pt x="33" y="20"/>
                      <a:pt x="35" y="13"/>
                      <a:pt x="35" y="8"/>
                    </a:cubicBezTo>
                    <a:cubicBezTo>
                      <a:pt x="34" y="3"/>
                      <a:pt x="33" y="0"/>
                      <a:pt x="3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03">
                <a:extLst>
                  <a:ext uri="{FF2B5EF4-FFF2-40B4-BE49-F238E27FC236}">
                    <a16:creationId xmlns:a16="http://schemas.microsoft.com/office/drawing/2014/main" id="{0047E7F5-0EA8-4FA7-9D50-B3AC14999FAD}"/>
                  </a:ext>
                </a:extLst>
              </p:cNvPr>
              <p:cNvSpPr>
                <a:spLocks/>
              </p:cNvSpPr>
              <p:nvPr/>
            </p:nvSpPr>
            <p:spPr bwMode="auto">
              <a:xfrm>
                <a:off x="2102" y="1093"/>
                <a:ext cx="126" cy="33"/>
              </a:xfrm>
              <a:custGeom>
                <a:avLst/>
                <a:gdLst>
                  <a:gd name="T0" fmla="*/ 1 w 53"/>
                  <a:gd name="T1" fmla="*/ 11 h 14"/>
                  <a:gd name="T2" fmla="*/ 27 w 53"/>
                  <a:gd name="T3" fmla="*/ 11 h 14"/>
                  <a:gd name="T4" fmla="*/ 52 w 53"/>
                  <a:gd name="T5" fmla="*/ 10 h 14"/>
                  <a:gd name="T6" fmla="*/ 46 w 53"/>
                  <a:gd name="T7" fmla="*/ 4 h 14"/>
                  <a:gd name="T8" fmla="*/ 26 w 53"/>
                  <a:gd name="T9" fmla="*/ 0 h 14"/>
                  <a:gd name="T10" fmla="*/ 7 w 53"/>
                  <a:gd name="T11" fmla="*/ 4 h 14"/>
                  <a:gd name="T12" fmla="*/ 1 w 53"/>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53" h="14">
                    <a:moveTo>
                      <a:pt x="1" y="11"/>
                    </a:moveTo>
                    <a:cubicBezTo>
                      <a:pt x="3" y="14"/>
                      <a:pt x="13" y="11"/>
                      <a:pt x="27" y="11"/>
                    </a:cubicBezTo>
                    <a:cubicBezTo>
                      <a:pt x="40" y="11"/>
                      <a:pt x="51" y="13"/>
                      <a:pt x="52" y="10"/>
                    </a:cubicBezTo>
                    <a:cubicBezTo>
                      <a:pt x="53" y="9"/>
                      <a:pt x="50" y="6"/>
                      <a:pt x="46" y="4"/>
                    </a:cubicBezTo>
                    <a:cubicBezTo>
                      <a:pt x="41" y="1"/>
                      <a:pt x="34" y="0"/>
                      <a:pt x="26" y="0"/>
                    </a:cubicBezTo>
                    <a:cubicBezTo>
                      <a:pt x="18" y="0"/>
                      <a:pt x="12" y="2"/>
                      <a:pt x="7" y="4"/>
                    </a:cubicBezTo>
                    <a:cubicBezTo>
                      <a:pt x="3" y="7"/>
                      <a:pt x="0" y="10"/>
                      <a:pt x="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04">
                <a:extLst>
                  <a:ext uri="{FF2B5EF4-FFF2-40B4-BE49-F238E27FC236}">
                    <a16:creationId xmlns:a16="http://schemas.microsoft.com/office/drawing/2014/main" id="{2D77FF8D-498B-43D4-88F4-C0E358DE0170}"/>
                  </a:ext>
                </a:extLst>
              </p:cNvPr>
              <p:cNvSpPr>
                <a:spLocks/>
              </p:cNvSpPr>
              <p:nvPr/>
            </p:nvSpPr>
            <p:spPr bwMode="auto">
              <a:xfrm>
                <a:off x="1865" y="1122"/>
                <a:ext cx="90" cy="40"/>
              </a:xfrm>
              <a:custGeom>
                <a:avLst/>
                <a:gdLst>
                  <a:gd name="T0" fmla="*/ 1 w 38"/>
                  <a:gd name="T1" fmla="*/ 15 h 17"/>
                  <a:gd name="T2" fmla="*/ 19 w 38"/>
                  <a:gd name="T3" fmla="*/ 12 h 17"/>
                  <a:gd name="T4" fmla="*/ 38 w 38"/>
                  <a:gd name="T5" fmla="*/ 9 h 17"/>
                  <a:gd name="T6" fmla="*/ 33 w 38"/>
                  <a:gd name="T7" fmla="*/ 3 h 17"/>
                  <a:gd name="T8" fmla="*/ 18 w 38"/>
                  <a:gd name="T9" fmla="*/ 1 h 17"/>
                  <a:gd name="T10" fmla="*/ 3 w 38"/>
                  <a:gd name="T11" fmla="*/ 8 h 17"/>
                  <a:gd name="T12" fmla="*/ 1 w 38"/>
                  <a:gd name="T13" fmla="*/ 15 h 17"/>
                </a:gdLst>
                <a:ahLst/>
                <a:cxnLst>
                  <a:cxn ang="0">
                    <a:pos x="T0" y="T1"/>
                  </a:cxn>
                  <a:cxn ang="0">
                    <a:pos x="T2" y="T3"/>
                  </a:cxn>
                  <a:cxn ang="0">
                    <a:pos x="T4" y="T5"/>
                  </a:cxn>
                  <a:cxn ang="0">
                    <a:pos x="T6" y="T7"/>
                  </a:cxn>
                  <a:cxn ang="0">
                    <a:pos x="T8" y="T9"/>
                  </a:cxn>
                  <a:cxn ang="0">
                    <a:pos x="T10" y="T11"/>
                  </a:cxn>
                  <a:cxn ang="0">
                    <a:pos x="T12" y="T13"/>
                  </a:cxn>
                </a:cxnLst>
                <a:rect l="0" t="0" r="r" b="b"/>
                <a:pathLst>
                  <a:path w="38" h="17">
                    <a:moveTo>
                      <a:pt x="1" y="15"/>
                    </a:moveTo>
                    <a:cubicBezTo>
                      <a:pt x="3" y="17"/>
                      <a:pt x="10" y="13"/>
                      <a:pt x="19" y="12"/>
                    </a:cubicBezTo>
                    <a:cubicBezTo>
                      <a:pt x="28" y="10"/>
                      <a:pt x="36" y="12"/>
                      <a:pt x="38" y="9"/>
                    </a:cubicBezTo>
                    <a:cubicBezTo>
                      <a:pt x="38" y="7"/>
                      <a:pt x="37" y="5"/>
                      <a:pt x="33" y="3"/>
                    </a:cubicBezTo>
                    <a:cubicBezTo>
                      <a:pt x="30" y="1"/>
                      <a:pt x="24" y="0"/>
                      <a:pt x="18" y="1"/>
                    </a:cubicBezTo>
                    <a:cubicBezTo>
                      <a:pt x="11" y="2"/>
                      <a:pt x="6" y="5"/>
                      <a:pt x="3" y="8"/>
                    </a:cubicBezTo>
                    <a:cubicBezTo>
                      <a:pt x="0" y="11"/>
                      <a:pt x="0" y="13"/>
                      <a:pt x="1"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05">
                <a:extLst>
                  <a:ext uri="{FF2B5EF4-FFF2-40B4-BE49-F238E27FC236}">
                    <a16:creationId xmlns:a16="http://schemas.microsoft.com/office/drawing/2014/main" id="{B74164DE-4815-4504-B10C-C388519A9087}"/>
                  </a:ext>
                </a:extLst>
              </p:cNvPr>
              <p:cNvSpPr>
                <a:spLocks/>
              </p:cNvSpPr>
              <p:nvPr/>
            </p:nvSpPr>
            <p:spPr bwMode="auto">
              <a:xfrm>
                <a:off x="1858" y="780"/>
                <a:ext cx="655" cy="458"/>
              </a:xfrm>
              <a:custGeom>
                <a:avLst/>
                <a:gdLst>
                  <a:gd name="T0" fmla="*/ 7 w 276"/>
                  <a:gd name="T1" fmla="*/ 63 h 193"/>
                  <a:gd name="T2" fmla="*/ 23 w 276"/>
                  <a:gd name="T3" fmla="*/ 103 h 193"/>
                  <a:gd name="T4" fmla="*/ 67 w 276"/>
                  <a:gd name="T5" fmla="*/ 103 h 193"/>
                  <a:gd name="T6" fmla="*/ 70 w 276"/>
                  <a:gd name="T7" fmla="*/ 123 h 193"/>
                  <a:gd name="T8" fmla="*/ 91 w 276"/>
                  <a:gd name="T9" fmla="*/ 129 h 193"/>
                  <a:gd name="T10" fmla="*/ 130 w 276"/>
                  <a:gd name="T11" fmla="*/ 107 h 193"/>
                  <a:gd name="T12" fmla="*/ 154 w 276"/>
                  <a:gd name="T13" fmla="*/ 134 h 193"/>
                  <a:gd name="T14" fmla="*/ 190 w 276"/>
                  <a:gd name="T15" fmla="*/ 131 h 193"/>
                  <a:gd name="T16" fmla="*/ 187 w 276"/>
                  <a:gd name="T17" fmla="*/ 173 h 193"/>
                  <a:gd name="T18" fmla="*/ 226 w 276"/>
                  <a:gd name="T19" fmla="*/ 189 h 193"/>
                  <a:gd name="T20" fmla="*/ 254 w 276"/>
                  <a:gd name="T21" fmla="*/ 158 h 193"/>
                  <a:gd name="T22" fmla="*/ 274 w 276"/>
                  <a:gd name="T23" fmla="*/ 128 h 193"/>
                  <a:gd name="T24" fmla="*/ 262 w 276"/>
                  <a:gd name="T25" fmla="*/ 94 h 193"/>
                  <a:gd name="T26" fmla="*/ 275 w 276"/>
                  <a:gd name="T27" fmla="*/ 73 h 193"/>
                  <a:gd name="T28" fmla="*/ 270 w 276"/>
                  <a:gd name="T29" fmla="*/ 49 h 193"/>
                  <a:gd name="T30" fmla="*/ 226 w 276"/>
                  <a:gd name="T31" fmla="*/ 7 h 193"/>
                  <a:gd name="T32" fmla="*/ 169 w 276"/>
                  <a:gd name="T33" fmla="*/ 22 h 193"/>
                  <a:gd name="T34" fmla="*/ 164 w 276"/>
                  <a:gd name="T35" fmla="*/ 27 h 193"/>
                  <a:gd name="T36" fmla="*/ 155 w 276"/>
                  <a:gd name="T37" fmla="*/ 24 h 193"/>
                  <a:gd name="T38" fmla="*/ 119 w 276"/>
                  <a:gd name="T39" fmla="*/ 3 h 193"/>
                  <a:gd name="T40" fmla="*/ 78 w 276"/>
                  <a:gd name="T41" fmla="*/ 28 h 193"/>
                  <a:gd name="T42" fmla="*/ 27 w 276"/>
                  <a:gd name="T43" fmla="*/ 12 h 193"/>
                  <a:gd name="T44" fmla="*/ 11 w 276"/>
                  <a:gd name="T45" fmla="*/ 6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6" h="193">
                    <a:moveTo>
                      <a:pt x="7" y="63"/>
                    </a:moveTo>
                    <a:cubicBezTo>
                      <a:pt x="3" y="78"/>
                      <a:pt x="10" y="95"/>
                      <a:pt x="23" y="103"/>
                    </a:cubicBezTo>
                    <a:cubicBezTo>
                      <a:pt x="36" y="112"/>
                      <a:pt x="54" y="112"/>
                      <a:pt x="67" y="103"/>
                    </a:cubicBezTo>
                    <a:cubicBezTo>
                      <a:pt x="62" y="109"/>
                      <a:pt x="64" y="118"/>
                      <a:pt x="70" y="123"/>
                    </a:cubicBezTo>
                    <a:cubicBezTo>
                      <a:pt x="75" y="128"/>
                      <a:pt x="83" y="129"/>
                      <a:pt x="91" y="129"/>
                    </a:cubicBezTo>
                    <a:cubicBezTo>
                      <a:pt x="106" y="128"/>
                      <a:pt x="121" y="120"/>
                      <a:pt x="130" y="107"/>
                    </a:cubicBezTo>
                    <a:cubicBezTo>
                      <a:pt x="134" y="119"/>
                      <a:pt x="143" y="130"/>
                      <a:pt x="154" y="134"/>
                    </a:cubicBezTo>
                    <a:cubicBezTo>
                      <a:pt x="166" y="139"/>
                      <a:pt x="180" y="138"/>
                      <a:pt x="190" y="131"/>
                    </a:cubicBezTo>
                    <a:cubicBezTo>
                      <a:pt x="181" y="143"/>
                      <a:pt x="179" y="160"/>
                      <a:pt x="187" y="173"/>
                    </a:cubicBezTo>
                    <a:cubicBezTo>
                      <a:pt x="195" y="186"/>
                      <a:pt x="211" y="193"/>
                      <a:pt x="226" y="189"/>
                    </a:cubicBezTo>
                    <a:cubicBezTo>
                      <a:pt x="241" y="186"/>
                      <a:pt x="253" y="173"/>
                      <a:pt x="254" y="158"/>
                    </a:cubicBezTo>
                    <a:cubicBezTo>
                      <a:pt x="265" y="152"/>
                      <a:pt x="273" y="140"/>
                      <a:pt x="274" y="128"/>
                    </a:cubicBezTo>
                    <a:cubicBezTo>
                      <a:pt x="276" y="116"/>
                      <a:pt x="271" y="103"/>
                      <a:pt x="262" y="94"/>
                    </a:cubicBezTo>
                    <a:cubicBezTo>
                      <a:pt x="270" y="90"/>
                      <a:pt x="275" y="82"/>
                      <a:pt x="275" y="73"/>
                    </a:cubicBezTo>
                    <a:cubicBezTo>
                      <a:pt x="276" y="65"/>
                      <a:pt x="273" y="57"/>
                      <a:pt x="270" y="49"/>
                    </a:cubicBezTo>
                    <a:cubicBezTo>
                      <a:pt x="261" y="30"/>
                      <a:pt x="245" y="14"/>
                      <a:pt x="226" y="7"/>
                    </a:cubicBezTo>
                    <a:cubicBezTo>
                      <a:pt x="206" y="1"/>
                      <a:pt x="182" y="6"/>
                      <a:pt x="169" y="22"/>
                    </a:cubicBezTo>
                    <a:cubicBezTo>
                      <a:pt x="168" y="24"/>
                      <a:pt x="166" y="26"/>
                      <a:pt x="164" y="27"/>
                    </a:cubicBezTo>
                    <a:cubicBezTo>
                      <a:pt x="161" y="28"/>
                      <a:pt x="158" y="26"/>
                      <a:pt x="155" y="24"/>
                    </a:cubicBezTo>
                    <a:cubicBezTo>
                      <a:pt x="144" y="15"/>
                      <a:pt x="133" y="5"/>
                      <a:pt x="119" y="3"/>
                    </a:cubicBezTo>
                    <a:cubicBezTo>
                      <a:pt x="102" y="0"/>
                      <a:pt x="84" y="11"/>
                      <a:pt x="78" y="28"/>
                    </a:cubicBezTo>
                    <a:cubicBezTo>
                      <a:pt x="67" y="13"/>
                      <a:pt x="45" y="5"/>
                      <a:pt x="27" y="12"/>
                    </a:cubicBezTo>
                    <a:cubicBezTo>
                      <a:pt x="10" y="20"/>
                      <a:pt x="0" y="44"/>
                      <a:pt x="11" y="6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 name="Freeform 207">
              <a:extLst>
                <a:ext uri="{FF2B5EF4-FFF2-40B4-BE49-F238E27FC236}">
                  <a16:creationId xmlns:a16="http://schemas.microsoft.com/office/drawing/2014/main" id="{C326CC8C-8DD2-4038-B61C-2847F760AC6F}"/>
                </a:ext>
              </a:extLst>
            </p:cNvPr>
            <p:cNvSpPr>
              <a:spLocks/>
            </p:cNvSpPr>
            <p:nvPr/>
          </p:nvSpPr>
          <p:spPr bwMode="auto">
            <a:xfrm>
              <a:off x="2371" y="1107"/>
              <a:ext cx="109" cy="226"/>
            </a:xfrm>
            <a:custGeom>
              <a:avLst/>
              <a:gdLst>
                <a:gd name="T0" fmla="*/ 0 w 46"/>
                <a:gd name="T1" fmla="*/ 34 h 95"/>
                <a:gd name="T2" fmla="*/ 15 w 46"/>
                <a:gd name="T3" fmla="*/ 81 h 95"/>
                <a:gd name="T4" fmla="*/ 30 w 46"/>
                <a:gd name="T5" fmla="*/ 94 h 95"/>
                <a:gd name="T6" fmla="*/ 44 w 46"/>
                <a:gd name="T7" fmla="*/ 84 h 95"/>
                <a:gd name="T8" fmla="*/ 45 w 46"/>
                <a:gd name="T9" fmla="*/ 65 h 95"/>
                <a:gd name="T10" fmla="*/ 29 w 46"/>
                <a:gd name="T11" fmla="*/ 0 h 95"/>
              </a:gdLst>
              <a:ahLst/>
              <a:cxnLst>
                <a:cxn ang="0">
                  <a:pos x="T0" y="T1"/>
                </a:cxn>
                <a:cxn ang="0">
                  <a:pos x="T2" y="T3"/>
                </a:cxn>
                <a:cxn ang="0">
                  <a:pos x="T4" y="T5"/>
                </a:cxn>
                <a:cxn ang="0">
                  <a:pos x="T6" y="T7"/>
                </a:cxn>
                <a:cxn ang="0">
                  <a:pos x="T8" y="T9"/>
                </a:cxn>
                <a:cxn ang="0">
                  <a:pos x="T10" y="T11"/>
                </a:cxn>
              </a:cxnLst>
              <a:rect l="0" t="0" r="r" b="b"/>
              <a:pathLst>
                <a:path w="46" h="95">
                  <a:moveTo>
                    <a:pt x="0" y="34"/>
                  </a:moveTo>
                  <a:cubicBezTo>
                    <a:pt x="3" y="50"/>
                    <a:pt x="8" y="66"/>
                    <a:pt x="15" y="81"/>
                  </a:cubicBezTo>
                  <a:cubicBezTo>
                    <a:pt x="18" y="87"/>
                    <a:pt x="23" y="94"/>
                    <a:pt x="30" y="94"/>
                  </a:cubicBezTo>
                  <a:cubicBezTo>
                    <a:pt x="36" y="95"/>
                    <a:pt x="42" y="90"/>
                    <a:pt x="44" y="84"/>
                  </a:cubicBezTo>
                  <a:cubicBezTo>
                    <a:pt x="46" y="78"/>
                    <a:pt x="46" y="71"/>
                    <a:pt x="45" y="65"/>
                  </a:cubicBezTo>
                  <a:cubicBezTo>
                    <a:pt x="42" y="43"/>
                    <a:pt x="35" y="21"/>
                    <a:pt x="29"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208">
              <a:extLst>
                <a:ext uri="{FF2B5EF4-FFF2-40B4-BE49-F238E27FC236}">
                  <a16:creationId xmlns:a16="http://schemas.microsoft.com/office/drawing/2014/main" id="{EC096E97-F9E3-4CBA-8690-018F9A375819}"/>
                </a:ext>
              </a:extLst>
            </p:cNvPr>
            <p:cNvSpPr>
              <a:spLocks/>
            </p:cNvSpPr>
            <p:nvPr/>
          </p:nvSpPr>
          <p:spPr bwMode="auto">
            <a:xfrm>
              <a:off x="2418" y="1183"/>
              <a:ext cx="119" cy="193"/>
            </a:xfrm>
            <a:custGeom>
              <a:avLst/>
              <a:gdLst>
                <a:gd name="T0" fmla="*/ 0 w 50"/>
                <a:gd name="T1" fmla="*/ 19 h 81"/>
                <a:gd name="T2" fmla="*/ 44 w 50"/>
                <a:gd name="T3" fmla="*/ 40 h 81"/>
                <a:gd name="T4" fmla="*/ 7 w 50"/>
                <a:gd name="T5" fmla="*/ 77 h 81"/>
                <a:gd name="T6" fmla="*/ 0 w 50"/>
                <a:gd name="T7" fmla="*/ 19 h 81"/>
              </a:gdLst>
              <a:ahLst/>
              <a:cxnLst>
                <a:cxn ang="0">
                  <a:pos x="T0" y="T1"/>
                </a:cxn>
                <a:cxn ang="0">
                  <a:pos x="T2" y="T3"/>
                </a:cxn>
                <a:cxn ang="0">
                  <a:pos x="T4" y="T5"/>
                </a:cxn>
                <a:cxn ang="0">
                  <a:pos x="T6" y="T7"/>
                </a:cxn>
              </a:cxnLst>
              <a:rect l="0" t="0" r="r" b="b"/>
              <a:pathLst>
                <a:path w="50" h="81">
                  <a:moveTo>
                    <a:pt x="0" y="19"/>
                  </a:moveTo>
                  <a:cubicBezTo>
                    <a:pt x="1" y="18"/>
                    <a:pt x="38" y="0"/>
                    <a:pt x="44" y="40"/>
                  </a:cubicBezTo>
                  <a:cubicBezTo>
                    <a:pt x="50" y="81"/>
                    <a:pt x="8" y="79"/>
                    <a:pt x="7" y="77"/>
                  </a:cubicBezTo>
                  <a:cubicBezTo>
                    <a:pt x="7" y="76"/>
                    <a:pt x="0" y="19"/>
                    <a:pt x="0" y="19"/>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09">
              <a:extLst>
                <a:ext uri="{FF2B5EF4-FFF2-40B4-BE49-F238E27FC236}">
                  <a16:creationId xmlns:a16="http://schemas.microsoft.com/office/drawing/2014/main" id="{80BD1C35-E687-434B-A141-37AC9A2B9DD1}"/>
                </a:ext>
              </a:extLst>
            </p:cNvPr>
            <p:cNvSpPr>
              <a:spLocks/>
            </p:cNvSpPr>
            <p:nvPr/>
          </p:nvSpPr>
          <p:spPr bwMode="auto">
            <a:xfrm>
              <a:off x="2456" y="1247"/>
              <a:ext cx="45" cy="86"/>
            </a:xfrm>
            <a:custGeom>
              <a:avLst/>
              <a:gdLst>
                <a:gd name="T0" fmla="*/ 2 w 19"/>
                <a:gd name="T1" fmla="*/ 33 h 36"/>
                <a:gd name="T2" fmla="*/ 4 w 19"/>
                <a:gd name="T3" fmla="*/ 34 h 36"/>
                <a:gd name="T4" fmla="*/ 9 w 19"/>
                <a:gd name="T5" fmla="*/ 33 h 36"/>
                <a:gd name="T6" fmla="*/ 15 w 19"/>
                <a:gd name="T7" fmla="*/ 16 h 36"/>
                <a:gd name="T8" fmla="*/ 12 w 19"/>
                <a:gd name="T9" fmla="*/ 7 h 36"/>
                <a:gd name="T10" fmla="*/ 5 w 19"/>
                <a:gd name="T11" fmla="*/ 2 h 36"/>
                <a:gd name="T12" fmla="*/ 2 w 19"/>
                <a:gd name="T13" fmla="*/ 4 h 36"/>
                <a:gd name="T14" fmla="*/ 1 w 19"/>
                <a:gd name="T15" fmla="*/ 7 h 36"/>
                <a:gd name="T16" fmla="*/ 0 w 19"/>
                <a:gd name="T17" fmla="*/ 4 h 36"/>
                <a:gd name="T18" fmla="*/ 2 w 19"/>
                <a:gd name="T19" fmla="*/ 1 h 36"/>
                <a:gd name="T20" fmla="*/ 5 w 19"/>
                <a:gd name="T21" fmla="*/ 0 h 36"/>
                <a:gd name="T22" fmla="*/ 14 w 19"/>
                <a:gd name="T23" fmla="*/ 5 h 36"/>
                <a:gd name="T24" fmla="*/ 18 w 19"/>
                <a:gd name="T25" fmla="*/ 16 h 36"/>
                <a:gd name="T26" fmla="*/ 10 w 19"/>
                <a:gd name="T27" fmla="*/ 35 h 36"/>
                <a:gd name="T28" fmla="*/ 3 w 19"/>
                <a:gd name="T29" fmla="*/ 35 h 36"/>
                <a:gd name="T30" fmla="*/ 2 w 19"/>
                <a:gd name="T31"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36">
                  <a:moveTo>
                    <a:pt x="2" y="33"/>
                  </a:moveTo>
                  <a:cubicBezTo>
                    <a:pt x="2" y="33"/>
                    <a:pt x="2" y="34"/>
                    <a:pt x="4" y="34"/>
                  </a:cubicBezTo>
                  <a:cubicBezTo>
                    <a:pt x="5" y="34"/>
                    <a:pt x="7" y="34"/>
                    <a:pt x="9" y="33"/>
                  </a:cubicBezTo>
                  <a:cubicBezTo>
                    <a:pt x="13" y="31"/>
                    <a:pt x="16" y="24"/>
                    <a:pt x="15" y="16"/>
                  </a:cubicBezTo>
                  <a:cubicBezTo>
                    <a:pt x="15" y="13"/>
                    <a:pt x="13" y="9"/>
                    <a:pt x="12" y="7"/>
                  </a:cubicBezTo>
                  <a:cubicBezTo>
                    <a:pt x="10" y="4"/>
                    <a:pt x="8" y="2"/>
                    <a:pt x="5" y="2"/>
                  </a:cubicBezTo>
                  <a:cubicBezTo>
                    <a:pt x="3" y="2"/>
                    <a:pt x="2" y="3"/>
                    <a:pt x="2" y="4"/>
                  </a:cubicBezTo>
                  <a:cubicBezTo>
                    <a:pt x="1" y="6"/>
                    <a:pt x="2" y="6"/>
                    <a:pt x="1" y="7"/>
                  </a:cubicBezTo>
                  <a:cubicBezTo>
                    <a:pt x="1" y="7"/>
                    <a:pt x="0" y="6"/>
                    <a:pt x="0" y="4"/>
                  </a:cubicBezTo>
                  <a:cubicBezTo>
                    <a:pt x="0" y="3"/>
                    <a:pt x="1" y="2"/>
                    <a:pt x="2" y="1"/>
                  </a:cubicBezTo>
                  <a:cubicBezTo>
                    <a:pt x="3" y="1"/>
                    <a:pt x="4" y="0"/>
                    <a:pt x="5" y="0"/>
                  </a:cubicBezTo>
                  <a:cubicBezTo>
                    <a:pt x="9" y="0"/>
                    <a:pt x="12" y="2"/>
                    <a:pt x="14" y="5"/>
                  </a:cubicBezTo>
                  <a:cubicBezTo>
                    <a:pt x="16" y="8"/>
                    <a:pt x="17" y="12"/>
                    <a:pt x="18" y="16"/>
                  </a:cubicBezTo>
                  <a:cubicBezTo>
                    <a:pt x="19" y="24"/>
                    <a:pt x="16" y="33"/>
                    <a:pt x="10" y="35"/>
                  </a:cubicBezTo>
                  <a:cubicBezTo>
                    <a:pt x="7" y="36"/>
                    <a:pt x="5" y="36"/>
                    <a:pt x="3" y="35"/>
                  </a:cubicBezTo>
                  <a:cubicBezTo>
                    <a:pt x="2" y="34"/>
                    <a:pt x="2" y="33"/>
                    <a:pt x="2" y="33"/>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10">
              <a:extLst>
                <a:ext uri="{FF2B5EF4-FFF2-40B4-BE49-F238E27FC236}">
                  <a16:creationId xmlns:a16="http://schemas.microsoft.com/office/drawing/2014/main" id="{CA5C5D84-B02A-453B-88C8-B889512A0B3C}"/>
                </a:ext>
              </a:extLst>
            </p:cNvPr>
            <p:cNvSpPr>
              <a:spLocks/>
            </p:cNvSpPr>
            <p:nvPr/>
          </p:nvSpPr>
          <p:spPr bwMode="auto">
            <a:xfrm>
              <a:off x="1784" y="1207"/>
              <a:ext cx="663" cy="183"/>
            </a:xfrm>
            <a:custGeom>
              <a:avLst/>
              <a:gdLst>
                <a:gd name="T0" fmla="*/ 48 w 279"/>
                <a:gd name="T1" fmla="*/ 77 h 77"/>
                <a:gd name="T2" fmla="*/ 22 w 279"/>
                <a:gd name="T3" fmla="*/ 74 h 77"/>
                <a:gd name="T4" fmla="*/ 2 w 279"/>
                <a:gd name="T5" fmla="*/ 32 h 77"/>
                <a:gd name="T6" fmla="*/ 0 w 279"/>
                <a:gd name="T7" fmla="*/ 28 h 77"/>
                <a:gd name="T8" fmla="*/ 4 w 279"/>
                <a:gd name="T9" fmla="*/ 26 h 77"/>
                <a:gd name="T10" fmla="*/ 6 w 279"/>
                <a:gd name="T11" fmla="*/ 31 h 77"/>
                <a:gd name="T12" fmla="*/ 24 w 279"/>
                <a:gd name="T13" fmla="*/ 70 h 77"/>
                <a:gd name="T14" fmla="*/ 87 w 279"/>
                <a:gd name="T15" fmla="*/ 69 h 77"/>
                <a:gd name="T16" fmla="*/ 97 w 279"/>
                <a:gd name="T17" fmla="*/ 25 h 77"/>
                <a:gd name="T18" fmla="*/ 97 w 279"/>
                <a:gd name="T19" fmla="*/ 24 h 77"/>
                <a:gd name="T20" fmla="*/ 117 w 279"/>
                <a:gd name="T21" fmla="*/ 21 h 77"/>
                <a:gd name="T22" fmla="*/ 118 w 279"/>
                <a:gd name="T23" fmla="*/ 22 h 77"/>
                <a:gd name="T24" fmla="*/ 148 w 279"/>
                <a:gd name="T25" fmla="*/ 64 h 77"/>
                <a:gd name="T26" fmla="*/ 206 w 279"/>
                <a:gd name="T27" fmla="*/ 57 h 77"/>
                <a:gd name="T28" fmla="*/ 216 w 279"/>
                <a:gd name="T29" fmla="*/ 6 h 77"/>
                <a:gd name="T30" fmla="*/ 216 w 279"/>
                <a:gd name="T31" fmla="*/ 4 h 77"/>
                <a:gd name="T32" fmla="*/ 279 w 279"/>
                <a:gd name="T33" fmla="*/ 0 h 77"/>
                <a:gd name="T34" fmla="*/ 279 w 279"/>
                <a:gd name="T35" fmla="*/ 4 h 77"/>
                <a:gd name="T36" fmla="*/ 220 w 279"/>
                <a:gd name="T37" fmla="*/ 8 h 77"/>
                <a:gd name="T38" fmla="*/ 210 w 279"/>
                <a:gd name="T39" fmla="*/ 58 h 77"/>
                <a:gd name="T40" fmla="*/ 146 w 279"/>
                <a:gd name="T41" fmla="*/ 68 h 77"/>
                <a:gd name="T42" fmla="*/ 115 w 279"/>
                <a:gd name="T43" fmla="*/ 25 h 77"/>
                <a:gd name="T44" fmla="*/ 100 w 279"/>
                <a:gd name="T45" fmla="*/ 27 h 77"/>
                <a:gd name="T46" fmla="*/ 90 w 279"/>
                <a:gd name="T47" fmla="*/ 72 h 77"/>
                <a:gd name="T48" fmla="*/ 57 w 279"/>
                <a:gd name="T49" fmla="*/ 77 h 77"/>
                <a:gd name="T50" fmla="*/ 48 w 279"/>
                <a:gd name="T5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9" h="77">
                  <a:moveTo>
                    <a:pt x="48" y="77"/>
                  </a:moveTo>
                  <a:cubicBezTo>
                    <a:pt x="38" y="77"/>
                    <a:pt x="26" y="77"/>
                    <a:pt x="22" y="74"/>
                  </a:cubicBezTo>
                  <a:cubicBezTo>
                    <a:pt x="16" y="69"/>
                    <a:pt x="8" y="50"/>
                    <a:pt x="2" y="32"/>
                  </a:cubicBezTo>
                  <a:cubicBezTo>
                    <a:pt x="1" y="30"/>
                    <a:pt x="0" y="28"/>
                    <a:pt x="0" y="28"/>
                  </a:cubicBezTo>
                  <a:cubicBezTo>
                    <a:pt x="4" y="26"/>
                    <a:pt x="4" y="26"/>
                    <a:pt x="4" y="26"/>
                  </a:cubicBezTo>
                  <a:cubicBezTo>
                    <a:pt x="4" y="26"/>
                    <a:pt x="4" y="27"/>
                    <a:pt x="6" y="31"/>
                  </a:cubicBezTo>
                  <a:cubicBezTo>
                    <a:pt x="9" y="40"/>
                    <a:pt x="18" y="66"/>
                    <a:pt x="24" y="70"/>
                  </a:cubicBezTo>
                  <a:cubicBezTo>
                    <a:pt x="31" y="76"/>
                    <a:pt x="83" y="73"/>
                    <a:pt x="87" y="69"/>
                  </a:cubicBezTo>
                  <a:cubicBezTo>
                    <a:pt x="90" y="66"/>
                    <a:pt x="94" y="42"/>
                    <a:pt x="97" y="25"/>
                  </a:cubicBezTo>
                  <a:cubicBezTo>
                    <a:pt x="97" y="24"/>
                    <a:pt x="97" y="24"/>
                    <a:pt x="97" y="24"/>
                  </a:cubicBezTo>
                  <a:cubicBezTo>
                    <a:pt x="117" y="21"/>
                    <a:pt x="117" y="21"/>
                    <a:pt x="117" y="21"/>
                  </a:cubicBezTo>
                  <a:cubicBezTo>
                    <a:pt x="118" y="22"/>
                    <a:pt x="118" y="22"/>
                    <a:pt x="118" y="22"/>
                  </a:cubicBezTo>
                  <a:cubicBezTo>
                    <a:pt x="123" y="32"/>
                    <a:pt x="139" y="60"/>
                    <a:pt x="148" y="64"/>
                  </a:cubicBezTo>
                  <a:cubicBezTo>
                    <a:pt x="160" y="70"/>
                    <a:pt x="204" y="62"/>
                    <a:pt x="206" y="57"/>
                  </a:cubicBezTo>
                  <a:cubicBezTo>
                    <a:pt x="209" y="52"/>
                    <a:pt x="214" y="24"/>
                    <a:pt x="216" y="6"/>
                  </a:cubicBezTo>
                  <a:cubicBezTo>
                    <a:pt x="216" y="4"/>
                    <a:pt x="216" y="4"/>
                    <a:pt x="216" y="4"/>
                  </a:cubicBezTo>
                  <a:cubicBezTo>
                    <a:pt x="279" y="0"/>
                    <a:pt x="279" y="0"/>
                    <a:pt x="279" y="0"/>
                  </a:cubicBezTo>
                  <a:cubicBezTo>
                    <a:pt x="279" y="4"/>
                    <a:pt x="279" y="4"/>
                    <a:pt x="279" y="4"/>
                  </a:cubicBezTo>
                  <a:cubicBezTo>
                    <a:pt x="220" y="8"/>
                    <a:pt x="220" y="8"/>
                    <a:pt x="220" y="8"/>
                  </a:cubicBezTo>
                  <a:cubicBezTo>
                    <a:pt x="219" y="17"/>
                    <a:pt x="213" y="53"/>
                    <a:pt x="210" y="58"/>
                  </a:cubicBezTo>
                  <a:cubicBezTo>
                    <a:pt x="205" y="66"/>
                    <a:pt x="159" y="74"/>
                    <a:pt x="146" y="68"/>
                  </a:cubicBezTo>
                  <a:cubicBezTo>
                    <a:pt x="135" y="63"/>
                    <a:pt x="119" y="32"/>
                    <a:pt x="115" y="25"/>
                  </a:cubicBezTo>
                  <a:cubicBezTo>
                    <a:pt x="100" y="27"/>
                    <a:pt x="100" y="27"/>
                    <a:pt x="100" y="27"/>
                  </a:cubicBezTo>
                  <a:cubicBezTo>
                    <a:pt x="99" y="37"/>
                    <a:pt x="94" y="67"/>
                    <a:pt x="90" y="72"/>
                  </a:cubicBezTo>
                  <a:cubicBezTo>
                    <a:pt x="86" y="76"/>
                    <a:pt x="60" y="77"/>
                    <a:pt x="57" y="77"/>
                  </a:cubicBezTo>
                  <a:cubicBezTo>
                    <a:pt x="55" y="77"/>
                    <a:pt x="51" y="77"/>
                    <a:pt x="48" y="7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1">
              <a:extLst>
                <a:ext uri="{FF2B5EF4-FFF2-40B4-BE49-F238E27FC236}">
                  <a16:creationId xmlns:a16="http://schemas.microsoft.com/office/drawing/2014/main" id="{C1C93C1B-CCE3-402A-9AD5-AA4380EDA765}"/>
                </a:ext>
              </a:extLst>
            </p:cNvPr>
            <p:cNvSpPr>
              <a:spLocks/>
            </p:cNvSpPr>
            <p:nvPr/>
          </p:nvSpPr>
          <p:spPr bwMode="auto">
            <a:xfrm>
              <a:off x="2057" y="1183"/>
              <a:ext cx="250" cy="91"/>
            </a:xfrm>
            <a:custGeom>
              <a:avLst/>
              <a:gdLst>
                <a:gd name="T0" fmla="*/ 4 w 105"/>
                <a:gd name="T1" fmla="*/ 38 h 38"/>
                <a:gd name="T2" fmla="*/ 0 w 105"/>
                <a:gd name="T3" fmla="*/ 31 h 38"/>
                <a:gd name="T4" fmla="*/ 105 w 105"/>
                <a:gd name="T5" fmla="*/ 14 h 38"/>
                <a:gd name="T6" fmla="*/ 102 w 105"/>
                <a:gd name="T7" fmla="*/ 21 h 38"/>
                <a:gd name="T8" fmla="*/ 4 w 105"/>
                <a:gd name="T9" fmla="*/ 38 h 38"/>
              </a:gdLst>
              <a:ahLst/>
              <a:cxnLst>
                <a:cxn ang="0">
                  <a:pos x="T0" y="T1"/>
                </a:cxn>
                <a:cxn ang="0">
                  <a:pos x="T2" y="T3"/>
                </a:cxn>
                <a:cxn ang="0">
                  <a:pos x="T4" y="T5"/>
                </a:cxn>
                <a:cxn ang="0">
                  <a:pos x="T6" y="T7"/>
                </a:cxn>
                <a:cxn ang="0">
                  <a:pos x="T8" y="T9"/>
                </a:cxn>
              </a:cxnLst>
              <a:rect l="0" t="0" r="r" b="b"/>
              <a:pathLst>
                <a:path w="105" h="38">
                  <a:moveTo>
                    <a:pt x="4" y="38"/>
                  </a:moveTo>
                  <a:cubicBezTo>
                    <a:pt x="0" y="31"/>
                    <a:pt x="0" y="31"/>
                    <a:pt x="0" y="31"/>
                  </a:cubicBezTo>
                  <a:cubicBezTo>
                    <a:pt x="25" y="13"/>
                    <a:pt x="72" y="0"/>
                    <a:pt x="105" y="14"/>
                  </a:cubicBezTo>
                  <a:cubicBezTo>
                    <a:pt x="102" y="21"/>
                    <a:pt x="102" y="21"/>
                    <a:pt x="102" y="21"/>
                  </a:cubicBezTo>
                  <a:cubicBezTo>
                    <a:pt x="73" y="9"/>
                    <a:pt x="28" y="20"/>
                    <a:pt x="4" y="3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2">
              <a:extLst>
                <a:ext uri="{FF2B5EF4-FFF2-40B4-BE49-F238E27FC236}">
                  <a16:creationId xmlns:a16="http://schemas.microsoft.com/office/drawing/2014/main" id="{EF41B3AD-3DB8-4FE1-9ECA-17005A3271DB}"/>
                </a:ext>
              </a:extLst>
            </p:cNvPr>
            <p:cNvSpPr>
              <a:spLocks/>
            </p:cNvSpPr>
            <p:nvPr/>
          </p:nvSpPr>
          <p:spPr bwMode="auto">
            <a:xfrm>
              <a:off x="1782" y="1224"/>
              <a:ext cx="242" cy="59"/>
            </a:xfrm>
            <a:custGeom>
              <a:avLst/>
              <a:gdLst>
                <a:gd name="T0" fmla="*/ 4 w 102"/>
                <a:gd name="T1" fmla="*/ 25 h 25"/>
                <a:gd name="T2" fmla="*/ 0 w 102"/>
                <a:gd name="T3" fmla="*/ 18 h 25"/>
                <a:gd name="T4" fmla="*/ 102 w 102"/>
                <a:gd name="T5" fmla="*/ 16 h 25"/>
                <a:gd name="T6" fmla="*/ 98 w 102"/>
                <a:gd name="T7" fmla="*/ 23 h 25"/>
                <a:gd name="T8" fmla="*/ 4 w 102"/>
                <a:gd name="T9" fmla="*/ 25 h 25"/>
              </a:gdLst>
              <a:ahLst/>
              <a:cxnLst>
                <a:cxn ang="0">
                  <a:pos x="T0" y="T1"/>
                </a:cxn>
                <a:cxn ang="0">
                  <a:pos x="T2" y="T3"/>
                </a:cxn>
                <a:cxn ang="0">
                  <a:pos x="T4" y="T5"/>
                </a:cxn>
                <a:cxn ang="0">
                  <a:pos x="T6" y="T7"/>
                </a:cxn>
                <a:cxn ang="0">
                  <a:pos x="T8" y="T9"/>
                </a:cxn>
              </a:cxnLst>
              <a:rect l="0" t="0" r="r" b="b"/>
              <a:pathLst>
                <a:path w="102" h="25">
                  <a:moveTo>
                    <a:pt x="4" y="25"/>
                  </a:moveTo>
                  <a:cubicBezTo>
                    <a:pt x="0" y="18"/>
                    <a:pt x="0" y="18"/>
                    <a:pt x="0" y="18"/>
                  </a:cubicBezTo>
                  <a:cubicBezTo>
                    <a:pt x="32" y="1"/>
                    <a:pt x="74" y="0"/>
                    <a:pt x="102" y="16"/>
                  </a:cubicBezTo>
                  <a:cubicBezTo>
                    <a:pt x="98" y="23"/>
                    <a:pt x="98" y="23"/>
                    <a:pt x="98" y="23"/>
                  </a:cubicBezTo>
                  <a:cubicBezTo>
                    <a:pt x="73" y="8"/>
                    <a:pt x="33" y="9"/>
                    <a:pt x="4" y="2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3">
              <a:extLst>
                <a:ext uri="{FF2B5EF4-FFF2-40B4-BE49-F238E27FC236}">
                  <a16:creationId xmlns:a16="http://schemas.microsoft.com/office/drawing/2014/main" id="{1881996C-0FC7-4C87-883F-2373530CDFDC}"/>
                </a:ext>
              </a:extLst>
            </p:cNvPr>
            <p:cNvSpPr>
              <a:spLocks/>
            </p:cNvSpPr>
            <p:nvPr/>
          </p:nvSpPr>
          <p:spPr bwMode="auto">
            <a:xfrm>
              <a:off x="2447" y="1271"/>
              <a:ext cx="85" cy="121"/>
            </a:xfrm>
            <a:custGeom>
              <a:avLst/>
              <a:gdLst>
                <a:gd name="T0" fmla="*/ 19 w 36"/>
                <a:gd name="T1" fmla="*/ 4 h 51"/>
                <a:gd name="T2" fmla="*/ 4 w 36"/>
                <a:gd name="T3" fmla="*/ 4 h 51"/>
                <a:gd name="T4" fmla="*/ 1 w 36"/>
                <a:gd name="T5" fmla="*/ 13 h 51"/>
                <a:gd name="T6" fmla="*/ 8 w 36"/>
                <a:gd name="T7" fmla="*/ 20 h 51"/>
                <a:gd name="T8" fmla="*/ 14 w 36"/>
                <a:gd name="T9" fmla="*/ 21 h 51"/>
                <a:gd name="T10" fmla="*/ 17 w 36"/>
                <a:gd name="T11" fmla="*/ 26 h 51"/>
                <a:gd name="T12" fmla="*/ 16 w 36"/>
                <a:gd name="T13" fmla="*/ 33 h 51"/>
                <a:gd name="T14" fmla="*/ 17 w 36"/>
                <a:gd name="T15" fmla="*/ 47 h 51"/>
                <a:gd name="T16" fmla="*/ 19 w 36"/>
                <a:gd name="T17" fmla="*/ 50 h 51"/>
                <a:gd name="T18" fmla="*/ 22 w 36"/>
                <a:gd name="T19" fmla="*/ 51 h 51"/>
                <a:gd name="T20" fmla="*/ 31 w 36"/>
                <a:gd name="T21" fmla="*/ 46 h 51"/>
                <a:gd name="T22" fmla="*/ 35 w 36"/>
                <a:gd name="T23" fmla="*/ 36 h 51"/>
                <a:gd name="T24" fmla="*/ 35 w 36"/>
                <a:gd name="T25" fmla="*/ 20 h 51"/>
                <a:gd name="T26" fmla="*/ 32 w 36"/>
                <a:gd name="T27" fmla="*/ 10 h 51"/>
                <a:gd name="T28" fmla="*/ 11 w 36"/>
                <a:gd name="T29"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51">
                  <a:moveTo>
                    <a:pt x="19" y="4"/>
                  </a:moveTo>
                  <a:cubicBezTo>
                    <a:pt x="15" y="1"/>
                    <a:pt x="9" y="0"/>
                    <a:pt x="4" y="4"/>
                  </a:cubicBezTo>
                  <a:cubicBezTo>
                    <a:pt x="2" y="6"/>
                    <a:pt x="0" y="10"/>
                    <a:pt x="1" y="13"/>
                  </a:cubicBezTo>
                  <a:cubicBezTo>
                    <a:pt x="2" y="17"/>
                    <a:pt x="5" y="19"/>
                    <a:pt x="8" y="20"/>
                  </a:cubicBezTo>
                  <a:cubicBezTo>
                    <a:pt x="10" y="20"/>
                    <a:pt x="12" y="20"/>
                    <a:pt x="14" y="21"/>
                  </a:cubicBezTo>
                  <a:cubicBezTo>
                    <a:pt x="16" y="22"/>
                    <a:pt x="17" y="24"/>
                    <a:pt x="17" y="26"/>
                  </a:cubicBezTo>
                  <a:cubicBezTo>
                    <a:pt x="17" y="28"/>
                    <a:pt x="16" y="30"/>
                    <a:pt x="16" y="33"/>
                  </a:cubicBezTo>
                  <a:cubicBezTo>
                    <a:pt x="15" y="37"/>
                    <a:pt x="16" y="42"/>
                    <a:pt x="17" y="47"/>
                  </a:cubicBezTo>
                  <a:cubicBezTo>
                    <a:pt x="18" y="48"/>
                    <a:pt x="18" y="49"/>
                    <a:pt x="19" y="50"/>
                  </a:cubicBezTo>
                  <a:cubicBezTo>
                    <a:pt x="20" y="51"/>
                    <a:pt x="21" y="51"/>
                    <a:pt x="22" y="51"/>
                  </a:cubicBezTo>
                  <a:cubicBezTo>
                    <a:pt x="26" y="51"/>
                    <a:pt x="29" y="49"/>
                    <a:pt x="31" y="46"/>
                  </a:cubicBezTo>
                  <a:cubicBezTo>
                    <a:pt x="33" y="43"/>
                    <a:pt x="34" y="40"/>
                    <a:pt x="35" y="36"/>
                  </a:cubicBezTo>
                  <a:cubicBezTo>
                    <a:pt x="36" y="31"/>
                    <a:pt x="36" y="25"/>
                    <a:pt x="35" y="20"/>
                  </a:cubicBezTo>
                  <a:cubicBezTo>
                    <a:pt x="35" y="16"/>
                    <a:pt x="34" y="13"/>
                    <a:pt x="32" y="10"/>
                  </a:cubicBezTo>
                  <a:cubicBezTo>
                    <a:pt x="29" y="6"/>
                    <a:pt x="17" y="2"/>
                    <a:pt x="11" y="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4">
              <a:extLst>
                <a:ext uri="{FF2B5EF4-FFF2-40B4-BE49-F238E27FC236}">
                  <a16:creationId xmlns:a16="http://schemas.microsoft.com/office/drawing/2014/main" id="{5F2B98A4-D57D-4828-B7F8-1017ACB3B79C}"/>
                </a:ext>
              </a:extLst>
            </p:cNvPr>
            <p:cNvSpPr>
              <a:spLocks/>
            </p:cNvSpPr>
            <p:nvPr/>
          </p:nvSpPr>
          <p:spPr bwMode="auto">
            <a:xfrm>
              <a:off x="1808" y="713"/>
              <a:ext cx="361" cy="309"/>
            </a:xfrm>
            <a:custGeom>
              <a:avLst/>
              <a:gdLst>
                <a:gd name="T0" fmla="*/ 152 w 152"/>
                <a:gd name="T1" fmla="*/ 127 h 130"/>
                <a:gd name="T2" fmla="*/ 151 w 152"/>
                <a:gd name="T3" fmla="*/ 127 h 130"/>
                <a:gd name="T4" fmla="*/ 147 w 152"/>
                <a:gd name="T5" fmla="*/ 129 h 130"/>
                <a:gd name="T6" fmla="*/ 133 w 152"/>
                <a:gd name="T7" fmla="*/ 130 h 130"/>
                <a:gd name="T8" fmla="*/ 123 w 152"/>
                <a:gd name="T9" fmla="*/ 129 h 130"/>
                <a:gd name="T10" fmla="*/ 112 w 152"/>
                <a:gd name="T11" fmla="*/ 123 h 130"/>
                <a:gd name="T12" fmla="*/ 103 w 152"/>
                <a:gd name="T13" fmla="*/ 112 h 130"/>
                <a:gd name="T14" fmla="*/ 102 w 152"/>
                <a:gd name="T15" fmla="*/ 96 h 130"/>
                <a:gd name="T16" fmla="*/ 104 w 152"/>
                <a:gd name="T17" fmla="*/ 97 h 130"/>
                <a:gd name="T18" fmla="*/ 72 w 152"/>
                <a:gd name="T19" fmla="*/ 111 h 130"/>
                <a:gd name="T20" fmla="*/ 53 w 152"/>
                <a:gd name="T21" fmla="*/ 110 h 130"/>
                <a:gd name="T22" fmla="*/ 44 w 152"/>
                <a:gd name="T23" fmla="*/ 106 h 130"/>
                <a:gd name="T24" fmla="*/ 37 w 152"/>
                <a:gd name="T25" fmla="*/ 98 h 130"/>
                <a:gd name="T26" fmla="*/ 35 w 152"/>
                <a:gd name="T27" fmla="*/ 87 h 130"/>
                <a:gd name="T28" fmla="*/ 36 w 152"/>
                <a:gd name="T29" fmla="*/ 75 h 130"/>
                <a:gd name="T30" fmla="*/ 39 w 152"/>
                <a:gd name="T31" fmla="*/ 64 h 130"/>
                <a:gd name="T32" fmla="*/ 47 w 152"/>
                <a:gd name="T33" fmla="*/ 57 h 130"/>
                <a:gd name="T34" fmla="*/ 47 w 152"/>
                <a:gd name="T35" fmla="*/ 59 h 130"/>
                <a:gd name="T36" fmla="*/ 26 w 152"/>
                <a:gd name="T37" fmla="*/ 60 h 130"/>
                <a:gd name="T38" fmla="*/ 9 w 152"/>
                <a:gd name="T39" fmla="*/ 51 h 130"/>
                <a:gd name="T40" fmla="*/ 1 w 152"/>
                <a:gd name="T41" fmla="*/ 36 h 130"/>
                <a:gd name="T42" fmla="*/ 2 w 152"/>
                <a:gd name="T43" fmla="*/ 21 h 130"/>
                <a:gd name="T44" fmla="*/ 13 w 152"/>
                <a:gd name="T45" fmla="*/ 3 h 130"/>
                <a:gd name="T46" fmla="*/ 19 w 152"/>
                <a:gd name="T47" fmla="*/ 0 h 130"/>
                <a:gd name="T48" fmla="*/ 13 w 152"/>
                <a:gd name="T49" fmla="*/ 4 h 130"/>
                <a:gd name="T50" fmla="*/ 3 w 152"/>
                <a:gd name="T51" fmla="*/ 21 h 130"/>
                <a:gd name="T52" fmla="*/ 3 w 152"/>
                <a:gd name="T53" fmla="*/ 35 h 130"/>
                <a:gd name="T54" fmla="*/ 11 w 152"/>
                <a:gd name="T55" fmla="*/ 50 h 130"/>
                <a:gd name="T56" fmla="*/ 27 w 152"/>
                <a:gd name="T57" fmla="*/ 59 h 130"/>
                <a:gd name="T58" fmla="*/ 47 w 152"/>
                <a:gd name="T59" fmla="*/ 57 h 130"/>
                <a:gd name="T60" fmla="*/ 47 w 152"/>
                <a:gd name="T61" fmla="*/ 59 h 130"/>
                <a:gd name="T62" fmla="*/ 40 w 152"/>
                <a:gd name="T63" fmla="*/ 65 h 130"/>
                <a:gd name="T64" fmla="*/ 38 w 152"/>
                <a:gd name="T65" fmla="*/ 75 h 130"/>
                <a:gd name="T66" fmla="*/ 39 w 152"/>
                <a:gd name="T67" fmla="*/ 97 h 130"/>
                <a:gd name="T68" fmla="*/ 54 w 152"/>
                <a:gd name="T69" fmla="*/ 108 h 130"/>
                <a:gd name="T70" fmla="*/ 72 w 152"/>
                <a:gd name="T71" fmla="*/ 109 h 130"/>
                <a:gd name="T72" fmla="*/ 103 w 152"/>
                <a:gd name="T73" fmla="*/ 96 h 130"/>
                <a:gd name="T74" fmla="*/ 105 w 152"/>
                <a:gd name="T75" fmla="*/ 94 h 130"/>
                <a:gd name="T76" fmla="*/ 104 w 152"/>
                <a:gd name="T77" fmla="*/ 97 h 130"/>
                <a:gd name="T78" fmla="*/ 105 w 152"/>
                <a:gd name="T79" fmla="*/ 111 h 130"/>
                <a:gd name="T80" fmla="*/ 112 w 152"/>
                <a:gd name="T81" fmla="*/ 122 h 130"/>
                <a:gd name="T82" fmla="*/ 123 w 152"/>
                <a:gd name="T83" fmla="*/ 128 h 130"/>
                <a:gd name="T84" fmla="*/ 133 w 152"/>
                <a:gd name="T85" fmla="*/ 129 h 130"/>
                <a:gd name="T86" fmla="*/ 147 w 152"/>
                <a:gd name="T87" fmla="*/ 128 h 130"/>
                <a:gd name="T88" fmla="*/ 152 w 152"/>
                <a:gd name="T89" fmla="*/ 12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 h="130">
                  <a:moveTo>
                    <a:pt x="152" y="127"/>
                  </a:moveTo>
                  <a:cubicBezTo>
                    <a:pt x="152" y="127"/>
                    <a:pt x="152" y="127"/>
                    <a:pt x="151" y="127"/>
                  </a:cubicBezTo>
                  <a:cubicBezTo>
                    <a:pt x="150" y="128"/>
                    <a:pt x="149" y="128"/>
                    <a:pt x="147" y="129"/>
                  </a:cubicBezTo>
                  <a:cubicBezTo>
                    <a:pt x="144" y="129"/>
                    <a:pt x="139" y="130"/>
                    <a:pt x="133" y="130"/>
                  </a:cubicBezTo>
                  <a:cubicBezTo>
                    <a:pt x="130" y="130"/>
                    <a:pt x="126" y="130"/>
                    <a:pt x="123" y="129"/>
                  </a:cubicBezTo>
                  <a:cubicBezTo>
                    <a:pt x="119" y="128"/>
                    <a:pt x="115" y="126"/>
                    <a:pt x="112" y="123"/>
                  </a:cubicBezTo>
                  <a:cubicBezTo>
                    <a:pt x="108" y="121"/>
                    <a:pt x="105" y="117"/>
                    <a:pt x="103" y="112"/>
                  </a:cubicBezTo>
                  <a:cubicBezTo>
                    <a:pt x="101" y="107"/>
                    <a:pt x="100" y="102"/>
                    <a:pt x="102" y="96"/>
                  </a:cubicBezTo>
                  <a:cubicBezTo>
                    <a:pt x="104" y="97"/>
                    <a:pt x="104" y="97"/>
                    <a:pt x="104" y="97"/>
                  </a:cubicBezTo>
                  <a:cubicBezTo>
                    <a:pt x="96" y="105"/>
                    <a:pt x="85" y="110"/>
                    <a:pt x="72" y="111"/>
                  </a:cubicBezTo>
                  <a:cubicBezTo>
                    <a:pt x="66" y="112"/>
                    <a:pt x="60" y="111"/>
                    <a:pt x="53" y="110"/>
                  </a:cubicBezTo>
                  <a:cubicBezTo>
                    <a:pt x="50" y="109"/>
                    <a:pt x="47" y="108"/>
                    <a:pt x="44" y="106"/>
                  </a:cubicBezTo>
                  <a:cubicBezTo>
                    <a:pt x="41" y="104"/>
                    <a:pt x="39" y="101"/>
                    <a:pt x="37" y="98"/>
                  </a:cubicBezTo>
                  <a:cubicBezTo>
                    <a:pt x="35" y="95"/>
                    <a:pt x="35" y="90"/>
                    <a:pt x="35" y="87"/>
                  </a:cubicBezTo>
                  <a:cubicBezTo>
                    <a:pt x="35" y="83"/>
                    <a:pt x="35" y="79"/>
                    <a:pt x="36" y="75"/>
                  </a:cubicBezTo>
                  <a:cubicBezTo>
                    <a:pt x="36" y="71"/>
                    <a:pt x="37" y="68"/>
                    <a:pt x="39" y="64"/>
                  </a:cubicBezTo>
                  <a:cubicBezTo>
                    <a:pt x="40" y="61"/>
                    <a:pt x="43" y="58"/>
                    <a:pt x="47" y="57"/>
                  </a:cubicBezTo>
                  <a:cubicBezTo>
                    <a:pt x="47" y="59"/>
                    <a:pt x="47" y="59"/>
                    <a:pt x="47" y="59"/>
                  </a:cubicBezTo>
                  <a:cubicBezTo>
                    <a:pt x="41" y="62"/>
                    <a:pt x="33" y="62"/>
                    <a:pt x="26" y="60"/>
                  </a:cubicBezTo>
                  <a:cubicBezTo>
                    <a:pt x="20" y="59"/>
                    <a:pt x="14" y="55"/>
                    <a:pt x="9" y="51"/>
                  </a:cubicBezTo>
                  <a:cubicBezTo>
                    <a:pt x="5" y="46"/>
                    <a:pt x="2" y="41"/>
                    <a:pt x="1" y="36"/>
                  </a:cubicBezTo>
                  <a:cubicBezTo>
                    <a:pt x="0" y="30"/>
                    <a:pt x="1" y="25"/>
                    <a:pt x="2" y="21"/>
                  </a:cubicBezTo>
                  <a:cubicBezTo>
                    <a:pt x="4" y="12"/>
                    <a:pt x="9" y="7"/>
                    <a:pt x="13" y="3"/>
                  </a:cubicBezTo>
                  <a:cubicBezTo>
                    <a:pt x="17" y="0"/>
                    <a:pt x="19" y="0"/>
                    <a:pt x="19" y="0"/>
                  </a:cubicBezTo>
                  <a:cubicBezTo>
                    <a:pt x="19" y="0"/>
                    <a:pt x="17" y="1"/>
                    <a:pt x="13" y="4"/>
                  </a:cubicBezTo>
                  <a:cubicBezTo>
                    <a:pt x="10" y="7"/>
                    <a:pt x="5" y="13"/>
                    <a:pt x="3" y="21"/>
                  </a:cubicBezTo>
                  <a:cubicBezTo>
                    <a:pt x="2" y="25"/>
                    <a:pt x="2" y="30"/>
                    <a:pt x="3" y="35"/>
                  </a:cubicBezTo>
                  <a:cubicBezTo>
                    <a:pt x="4" y="40"/>
                    <a:pt x="6" y="46"/>
                    <a:pt x="11" y="50"/>
                  </a:cubicBezTo>
                  <a:cubicBezTo>
                    <a:pt x="15" y="54"/>
                    <a:pt x="20" y="57"/>
                    <a:pt x="27" y="59"/>
                  </a:cubicBezTo>
                  <a:cubicBezTo>
                    <a:pt x="33" y="60"/>
                    <a:pt x="40" y="60"/>
                    <a:pt x="47" y="57"/>
                  </a:cubicBezTo>
                  <a:cubicBezTo>
                    <a:pt x="47" y="59"/>
                    <a:pt x="47" y="59"/>
                    <a:pt x="47" y="59"/>
                  </a:cubicBezTo>
                  <a:cubicBezTo>
                    <a:pt x="44" y="59"/>
                    <a:pt x="42" y="62"/>
                    <a:pt x="40" y="65"/>
                  </a:cubicBezTo>
                  <a:cubicBezTo>
                    <a:pt x="39" y="68"/>
                    <a:pt x="38" y="72"/>
                    <a:pt x="38" y="75"/>
                  </a:cubicBezTo>
                  <a:cubicBezTo>
                    <a:pt x="37" y="83"/>
                    <a:pt x="36" y="91"/>
                    <a:pt x="39" y="97"/>
                  </a:cubicBezTo>
                  <a:cubicBezTo>
                    <a:pt x="42" y="103"/>
                    <a:pt x="48" y="106"/>
                    <a:pt x="54" y="108"/>
                  </a:cubicBezTo>
                  <a:cubicBezTo>
                    <a:pt x="60" y="109"/>
                    <a:pt x="66" y="110"/>
                    <a:pt x="72" y="109"/>
                  </a:cubicBezTo>
                  <a:cubicBezTo>
                    <a:pt x="84" y="108"/>
                    <a:pt x="95" y="103"/>
                    <a:pt x="103" y="96"/>
                  </a:cubicBezTo>
                  <a:cubicBezTo>
                    <a:pt x="105" y="94"/>
                    <a:pt x="105" y="94"/>
                    <a:pt x="105" y="94"/>
                  </a:cubicBezTo>
                  <a:cubicBezTo>
                    <a:pt x="104" y="97"/>
                    <a:pt x="104" y="97"/>
                    <a:pt x="104" y="97"/>
                  </a:cubicBezTo>
                  <a:cubicBezTo>
                    <a:pt x="102" y="102"/>
                    <a:pt x="103" y="107"/>
                    <a:pt x="105" y="111"/>
                  </a:cubicBezTo>
                  <a:cubicBezTo>
                    <a:pt x="106" y="116"/>
                    <a:pt x="109" y="119"/>
                    <a:pt x="112" y="122"/>
                  </a:cubicBezTo>
                  <a:cubicBezTo>
                    <a:pt x="116" y="125"/>
                    <a:pt x="119" y="127"/>
                    <a:pt x="123" y="128"/>
                  </a:cubicBezTo>
                  <a:cubicBezTo>
                    <a:pt x="127" y="129"/>
                    <a:pt x="130" y="129"/>
                    <a:pt x="133" y="129"/>
                  </a:cubicBezTo>
                  <a:cubicBezTo>
                    <a:pt x="139" y="129"/>
                    <a:pt x="144" y="129"/>
                    <a:pt x="147" y="128"/>
                  </a:cubicBezTo>
                  <a:cubicBezTo>
                    <a:pt x="151" y="127"/>
                    <a:pt x="152" y="127"/>
                    <a:pt x="152"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5">
              <a:extLst>
                <a:ext uri="{FF2B5EF4-FFF2-40B4-BE49-F238E27FC236}">
                  <a16:creationId xmlns:a16="http://schemas.microsoft.com/office/drawing/2014/main" id="{EEEB3EE0-F33A-4B84-AB47-7A17B98E43D1}"/>
                </a:ext>
              </a:extLst>
            </p:cNvPr>
            <p:cNvSpPr>
              <a:spLocks/>
            </p:cNvSpPr>
            <p:nvPr/>
          </p:nvSpPr>
          <p:spPr bwMode="auto">
            <a:xfrm>
              <a:off x="1720" y="960"/>
              <a:ext cx="145" cy="60"/>
            </a:xfrm>
            <a:custGeom>
              <a:avLst/>
              <a:gdLst>
                <a:gd name="T0" fmla="*/ 61 w 61"/>
                <a:gd name="T1" fmla="*/ 21 h 25"/>
                <a:gd name="T2" fmla="*/ 58 w 61"/>
                <a:gd name="T3" fmla="*/ 22 h 25"/>
                <a:gd name="T4" fmla="*/ 50 w 61"/>
                <a:gd name="T5" fmla="*/ 24 h 25"/>
                <a:gd name="T6" fmla="*/ 38 w 61"/>
                <a:gd name="T7" fmla="*/ 21 h 25"/>
                <a:gd name="T8" fmla="*/ 34 w 61"/>
                <a:gd name="T9" fmla="*/ 15 h 25"/>
                <a:gd name="T10" fmla="*/ 36 w 61"/>
                <a:gd name="T11" fmla="*/ 7 h 25"/>
                <a:gd name="T12" fmla="*/ 37 w 61"/>
                <a:gd name="T13" fmla="*/ 9 h 25"/>
                <a:gd name="T14" fmla="*/ 37 w 61"/>
                <a:gd name="T15" fmla="*/ 9 h 25"/>
                <a:gd name="T16" fmla="*/ 9 w 61"/>
                <a:gd name="T17" fmla="*/ 8 h 25"/>
                <a:gd name="T18" fmla="*/ 2 w 61"/>
                <a:gd name="T19" fmla="*/ 3 h 25"/>
                <a:gd name="T20" fmla="*/ 0 w 61"/>
                <a:gd name="T21" fmla="*/ 1 h 25"/>
                <a:gd name="T22" fmla="*/ 10 w 61"/>
                <a:gd name="T23" fmla="*/ 7 h 25"/>
                <a:gd name="T24" fmla="*/ 36 w 61"/>
                <a:gd name="T25" fmla="*/ 7 h 25"/>
                <a:gd name="T26" fmla="*/ 37 w 61"/>
                <a:gd name="T27" fmla="*/ 7 h 25"/>
                <a:gd name="T28" fmla="*/ 46 w 61"/>
                <a:gd name="T29" fmla="*/ 3 h 25"/>
                <a:gd name="T30" fmla="*/ 38 w 61"/>
                <a:gd name="T31" fmla="*/ 9 h 25"/>
                <a:gd name="T32" fmla="*/ 36 w 61"/>
                <a:gd name="T33" fmla="*/ 15 h 25"/>
                <a:gd name="T34" fmla="*/ 39 w 61"/>
                <a:gd name="T35" fmla="*/ 20 h 25"/>
                <a:gd name="T36" fmla="*/ 50 w 61"/>
                <a:gd name="T37" fmla="*/ 23 h 25"/>
                <a:gd name="T38" fmla="*/ 61 w 61"/>
                <a:gd name="T39"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 h="25">
                  <a:moveTo>
                    <a:pt x="61" y="21"/>
                  </a:moveTo>
                  <a:cubicBezTo>
                    <a:pt x="61" y="21"/>
                    <a:pt x="60" y="22"/>
                    <a:pt x="58" y="22"/>
                  </a:cubicBezTo>
                  <a:cubicBezTo>
                    <a:pt x="57" y="23"/>
                    <a:pt x="54" y="24"/>
                    <a:pt x="50" y="24"/>
                  </a:cubicBezTo>
                  <a:cubicBezTo>
                    <a:pt x="47" y="25"/>
                    <a:pt x="42" y="24"/>
                    <a:pt x="38" y="21"/>
                  </a:cubicBezTo>
                  <a:cubicBezTo>
                    <a:pt x="36" y="20"/>
                    <a:pt x="34" y="18"/>
                    <a:pt x="34" y="15"/>
                  </a:cubicBezTo>
                  <a:cubicBezTo>
                    <a:pt x="33" y="12"/>
                    <a:pt x="34" y="9"/>
                    <a:pt x="36" y="7"/>
                  </a:cubicBezTo>
                  <a:cubicBezTo>
                    <a:pt x="37" y="9"/>
                    <a:pt x="37" y="9"/>
                    <a:pt x="37" y="9"/>
                  </a:cubicBezTo>
                  <a:cubicBezTo>
                    <a:pt x="37" y="9"/>
                    <a:pt x="37" y="9"/>
                    <a:pt x="37" y="9"/>
                  </a:cubicBezTo>
                  <a:cubicBezTo>
                    <a:pt x="26" y="14"/>
                    <a:pt x="16" y="11"/>
                    <a:pt x="9" y="8"/>
                  </a:cubicBezTo>
                  <a:cubicBezTo>
                    <a:pt x="6" y="6"/>
                    <a:pt x="4" y="5"/>
                    <a:pt x="2" y="3"/>
                  </a:cubicBezTo>
                  <a:cubicBezTo>
                    <a:pt x="1" y="2"/>
                    <a:pt x="0" y="1"/>
                    <a:pt x="0" y="1"/>
                  </a:cubicBezTo>
                  <a:cubicBezTo>
                    <a:pt x="1" y="0"/>
                    <a:pt x="4" y="4"/>
                    <a:pt x="10" y="7"/>
                  </a:cubicBezTo>
                  <a:cubicBezTo>
                    <a:pt x="16" y="10"/>
                    <a:pt x="26" y="11"/>
                    <a:pt x="36" y="7"/>
                  </a:cubicBezTo>
                  <a:cubicBezTo>
                    <a:pt x="37" y="7"/>
                    <a:pt x="37" y="7"/>
                    <a:pt x="37" y="7"/>
                  </a:cubicBezTo>
                  <a:cubicBezTo>
                    <a:pt x="46" y="3"/>
                    <a:pt x="46" y="3"/>
                    <a:pt x="46" y="3"/>
                  </a:cubicBezTo>
                  <a:cubicBezTo>
                    <a:pt x="38" y="9"/>
                    <a:pt x="38" y="9"/>
                    <a:pt x="38" y="9"/>
                  </a:cubicBezTo>
                  <a:cubicBezTo>
                    <a:pt x="36" y="10"/>
                    <a:pt x="35" y="13"/>
                    <a:pt x="36" y="15"/>
                  </a:cubicBezTo>
                  <a:cubicBezTo>
                    <a:pt x="36" y="17"/>
                    <a:pt x="38" y="19"/>
                    <a:pt x="39" y="20"/>
                  </a:cubicBezTo>
                  <a:cubicBezTo>
                    <a:pt x="43" y="22"/>
                    <a:pt x="47" y="23"/>
                    <a:pt x="50" y="23"/>
                  </a:cubicBezTo>
                  <a:cubicBezTo>
                    <a:pt x="57" y="23"/>
                    <a:pt x="61" y="20"/>
                    <a:pt x="61"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6">
              <a:extLst>
                <a:ext uri="{FF2B5EF4-FFF2-40B4-BE49-F238E27FC236}">
                  <a16:creationId xmlns:a16="http://schemas.microsoft.com/office/drawing/2014/main" id="{949DA70E-D1F1-45A6-8C8C-4C6B9B0F8867}"/>
                </a:ext>
              </a:extLst>
            </p:cNvPr>
            <p:cNvSpPr>
              <a:spLocks/>
            </p:cNvSpPr>
            <p:nvPr/>
          </p:nvSpPr>
          <p:spPr bwMode="auto">
            <a:xfrm>
              <a:off x="1855" y="1195"/>
              <a:ext cx="119" cy="29"/>
            </a:xfrm>
            <a:custGeom>
              <a:avLst/>
              <a:gdLst>
                <a:gd name="T0" fmla="*/ 49 w 50"/>
                <a:gd name="T1" fmla="*/ 9 h 12"/>
                <a:gd name="T2" fmla="*/ 42 w 50"/>
                <a:gd name="T3" fmla="*/ 5 h 12"/>
                <a:gd name="T4" fmla="*/ 24 w 50"/>
                <a:gd name="T5" fmla="*/ 2 h 12"/>
                <a:gd name="T6" fmla="*/ 7 w 50"/>
                <a:gd name="T7" fmla="*/ 8 h 12"/>
                <a:gd name="T8" fmla="*/ 0 w 50"/>
                <a:gd name="T9" fmla="*/ 12 h 12"/>
                <a:gd name="T10" fmla="*/ 6 w 50"/>
                <a:gd name="T11" fmla="*/ 7 h 12"/>
                <a:gd name="T12" fmla="*/ 24 w 50"/>
                <a:gd name="T13" fmla="*/ 0 h 12"/>
                <a:gd name="T14" fmla="*/ 43 w 50"/>
                <a:gd name="T15" fmla="*/ 4 h 12"/>
                <a:gd name="T16" fmla="*/ 49 w 50"/>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2">
                  <a:moveTo>
                    <a:pt x="49" y="9"/>
                  </a:moveTo>
                  <a:cubicBezTo>
                    <a:pt x="49" y="9"/>
                    <a:pt x="47" y="7"/>
                    <a:pt x="42" y="5"/>
                  </a:cubicBezTo>
                  <a:cubicBezTo>
                    <a:pt x="38" y="4"/>
                    <a:pt x="31" y="2"/>
                    <a:pt x="24" y="2"/>
                  </a:cubicBezTo>
                  <a:cubicBezTo>
                    <a:pt x="17" y="3"/>
                    <a:pt x="11" y="5"/>
                    <a:pt x="7" y="8"/>
                  </a:cubicBezTo>
                  <a:cubicBezTo>
                    <a:pt x="2" y="10"/>
                    <a:pt x="0" y="12"/>
                    <a:pt x="0" y="12"/>
                  </a:cubicBezTo>
                  <a:cubicBezTo>
                    <a:pt x="0" y="12"/>
                    <a:pt x="2" y="10"/>
                    <a:pt x="6" y="7"/>
                  </a:cubicBezTo>
                  <a:cubicBezTo>
                    <a:pt x="10" y="4"/>
                    <a:pt x="16" y="1"/>
                    <a:pt x="24" y="0"/>
                  </a:cubicBezTo>
                  <a:cubicBezTo>
                    <a:pt x="32" y="0"/>
                    <a:pt x="39" y="2"/>
                    <a:pt x="43" y="4"/>
                  </a:cubicBezTo>
                  <a:cubicBezTo>
                    <a:pt x="47" y="6"/>
                    <a:pt x="50" y="9"/>
                    <a:pt x="49" y="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7">
              <a:extLst>
                <a:ext uri="{FF2B5EF4-FFF2-40B4-BE49-F238E27FC236}">
                  <a16:creationId xmlns:a16="http://schemas.microsoft.com/office/drawing/2014/main" id="{88379459-D3FE-4D8A-B72D-7334A0DBB987}"/>
                </a:ext>
              </a:extLst>
            </p:cNvPr>
            <p:cNvSpPr>
              <a:spLocks/>
            </p:cNvSpPr>
            <p:nvPr/>
          </p:nvSpPr>
          <p:spPr bwMode="auto">
            <a:xfrm>
              <a:off x="2133" y="1164"/>
              <a:ext cx="98" cy="26"/>
            </a:xfrm>
            <a:custGeom>
              <a:avLst/>
              <a:gdLst>
                <a:gd name="T0" fmla="*/ 41 w 41"/>
                <a:gd name="T1" fmla="*/ 8 h 11"/>
                <a:gd name="T2" fmla="*/ 35 w 41"/>
                <a:gd name="T3" fmla="*/ 5 h 11"/>
                <a:gd name="T4" fmla="*/ 20 w 41"/>
                <a:gd name="T5" fmla="*/ 3 h 11"/>
                <a:gd name="T6" fmla="*/ 6 w 41"/>
                <a:gd name="T7" fmla="*/ 7 h 11"/>
                <a:gd name="T8" fmla="*/ 1 w 41"/>
                <a:gd name="T9" fmla="*/ 11 h 11"/>
                <a:gd name="T10" fmla="*/ 5 w 41"/>
                <a:gd name="T11" fmla="*/ 6 h 11"/>
                <a:gd name="T12" fmla="*/ 20 w 41"/>
                <a:gd name="T13" fmla="*/ 1 h 11"/>
                <a:gd name="T14" fmla="*/ 35 w 41"/>
                <a:gd name="T15" fmla="*/ 4 h 11"/>
                <a:gd name="T16" fmla="*/ 41 w 41"/>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1">
                  <a:moveTo>
                    <a:pt x="41" y="8"/>
                  </a:moveTo>
                  <a:cubicBezTo>
                    <a:pt x="40" y="8"/>
                    <a:pt x="38" y="7"/>
                    <a:pt x="35" y="5"/>
                  </a:cubicBezTo>
                  <a:cubicBezTo>
                    <a:pt x="31" y="4"/>
                    <a:pt x="26" y="3"/>
                    <a:pt x="20" y="3"/>
                  </a:cubicBezTo>
                  <a:cubicBezTo>
                    <a:pt x="14" y="3"/>
                    <a:pt x="9" y="5"/>
                    <a:pt x="6" y="7"/>
                  </a:cubicBezTo>
                  <a:cubicBezTo>
                    <a:pt x="3" y="9"/>
                    <a:pt x="1" y="11"/>
                    <a:pt x="1" y="11"/>
                  </a:cubicBezTo>
                  <a:cubicBezTo>
                    <a:pt x="0" y="11"/>
                    <a:pt x="2" y="9"/>
                    <a:pt x="5" y="6"/>
                  </a:cubicBezTo>
                  <a:cubicBezTo>
                    <a:pt x="8" y="4"/>
                    <a:pt x="14" y="1"/>
                    <a:pt x="20" y="1"/>
                  </a:cubicBezTo>
                  <a:cubicBezTo>
                    <a:pt x="26" y="0"/>
                    <a:pt x="32" y="2"/>
                    <a:pt x="35" y="4"/>
                  </a:cubicBezTo>
                  <a:cubicBezTo>
                    <a:pt x="39" y="6"/>
                    <a:pt x="41" y="8"/>
                    <a:pt x="41" y="8"/>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8">
              <a:extLst>
                <a:ext uri="{FF2B5EF4-FFF2-40B4-BE49-F238E27FC236}">
                  <a16:creationId xmlns:a16="http://schemas.microsoft.com/office/drawing/2014/main" id="{7D8CC054-7616-42FD-8F64-0BAD5AE2D6C7}"/>
                </a:ext>
              </a:extLst>
            </p:cNvPr>
            <p:cNvSpPr>
              <a:spLocks/>
            </p:cNvSpPr>
            <p:nvPr/>
          </p:nvSpPr>
          <p:spPr bwMode="auto">
            <a:xfrm>
              <a:off x="2121" y="1411"/>
              <a:ext cx="36" cy="17"/>
            </a:xfrm>
            <a:custGeom>
              <a:avLst/>
              <a:gdLst>
                <a:gd name="T0" fmla="*/ 15 w 15"/>
                <a:gd name="T1" fmla="*/ 7 h 7"/>
                <a:gd name="T2" fmla="*/ 13 w 15"/>
                <a:gd name="T3" fmla="*/ 5 h 7"/>
                <a:gd name="T4" fmla="*/ 8 w 15"/>
                <a:gd name="T5" fmla="*/ 3 h 7"/>
                <a:gd name="T6" fmla="*/ 0 w 15"/>
                <a:gd name="T7" fmla="*/ 2 h 7"/>
                <a:gd name="T8" fmla="*/ 9 w 15"/>
                <a:gd name="T9" fmla="*/ 1 h 7"/>
                <a:gd name="T10" fmla="*/ 14 w 15"/>
                <a:gd name="T11" fmla="*/ 4 h 7"/>
                <a:gd name="T12" fmla="*/ 15 w 1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5" y="7"/>
                  </a:moveTo>
                  <a:cubicBezTo>
                    <a:pt x="15" y="7"/>
                    <a:pt x="14" y="6"/>
                    <a:pt x="13" y="5"/>
                  </a:cubicBezTo>
                  <a:cubicBezTo>
                    <a:pt x="12" y="5"/>
                    <a:pt x="10" y="4"/>
                    <a:pt x="8" y="3"/>
                  </a:cubicBezTo>
                  <a:cubicBezTo>
                    <a:pt x="4" y="3"/>
                    <a:pt x="0" y="3"/>
                    <a:pt x="0" y="2"/>
                  </a:cubicBezTo>
                  <a:cubicBezTo>
                    <a:pt x="0" y="2"/>
                    <a:pt x="4" y="0"/>
                    <a:pt x="9" y="1"/>
                  </a:cubicBezTo>
                  <a:cubicBezTo>
                    <a:pt x="11" y="2"/>
                    <a:pt x="13" y="3"/>
                    <a:pt x="14" y="4"/>
                  </a:cubicBezTo>
                  <a:cubicBezTo>
                    <a:pt x="15" y="6"/>
                    <a:pt x="15" y="7"/>
                    <a:pt x="15" y="7"/>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9">
              <a:extLst>
                <a:ext uri="{FF2B5EF4-FFF2-40B4-BE49-F238E27FC236}">
                  <a16:creationId xmlns:a16="http://schemas.microsoft.com/office/drawing/2014/main" id="{DB195585-C0B0-47A5-BD0F-518F08B3FE9D}"/>
                </a:ext>
              </a:extLst>
            </p:cNvPr>
            <p:cNvSpPr>
              <a:spLocks/>
            </p:cNvSpPr>
            <p:nvPr/>
          </p:nvSpPr>
          <p:spPr bwMode="auto">
            <a:xfrm>
              <a:off x="2159" y="1409"/>
              <a:ext cx="19" cy="31"/>
            </a:xfrm>
            <a:custGeom>
              <a:avLst/>
              <a:gdLst>
                <a:gd name="T0" fmla="*/ 8 w 8"/>
                <a:gd name="T1" fmla="*/ 13 h 13"/>
                <a:gd name="T2" fmla="*/ 4 w 8"/>
                <a:gd name="T3" fmla="*/ 7 h 13"/>
                <a:gd name="T4" fmla="*/ 0 w 8"/>
                <a:gd name="T5" fmla="*/ 1 h 13"/>
                <a:gd name="T6" fmla="*/ 6 w 8"/>
                <a:gd name="T7" fmla="*/ 6 h 13"/>
                <a:gd name="T8" fmla="*/ 8 w 8"/>
                <a:gd name="T9" fmla="*/ 13 h 13"/>
              </a:gdLst>
              <a:ahLst/>
              <a:cxnLst>
                <a:cxn ang="0">
                  <a:pos x="T0" y="T1"/>
                </a:cxn>
                <a:cxn ang="0">
                  <a:pos x="T2" y="T3"/>
                </a:cxn>
                <a:cxn ang="0">
                  <a:pos x="T4" y="T5"/>
                </a:cxn>
                <a:cxn ang="0">
                  <a:pos x="T6" y="T7"/>
                </a:cxn>
                <a:cxn ang="0">
                  <a:pos x="T8" y="T9"/>
                </a:cxn>
              </a:cxnLst>
              <a:rect l="0" t="0" r="r" b="b"/>
              <a:pathLst>
                <a:path w="8" h="13">
                  <a:moveTo>
                    <a:pt x="8" y="13"/>
                  </a:moveTo>
                  <a:cubicBezTo>
                    <a:pt x="7" y="13"/>
                    <a:pt x="6" y="10"/>
                    <a:pt x="4" y="7"/>
                  </a:cubicBezTo>
                  <a:cubicBezTo>
                    <a:pt x="2" y="3"/>
                    <a:pt x="0" y="1"/>
                    <a:pt x="0" y="1"/>
                  </a:cubicBezTo>
                  <a:cubicBezTo>
                    <a:pt x="1" y="0"/>
                    <a:pt x="4" y="2"/>
                    <a:pt x="6" y="6"/>
                  </a:cubicBezTo>
                  <a:cubicBezTo>
                    <a:pt x="8" y="9"/>
                    <a:pt x="8" y="13"/>
                    <a:pt x="8" y="13"/>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0">
              <a:extLst>
                <a:ext uri="{FF2B5EF4-FFF2-40B4-BE49-F238E27FC236}">
                  <a16:creationId xmlns:a16="http://schemas.microsoft.com/office/drawing/2014/main" id="{6B895BB0-28C6-499F-ADCA-54A747B09306}"/>
                </a:ext>
              </a:extLst>
            </p:cNvPr>
            <p:cNvSpPr>
              <a:spLocks/>
            </p:cNvSpPr>
            <p:nvPr/>
          </p:nvSpPr>
          <p:spPr bwMode="auto">
            <a:xfrm>
              <a:off x="1977" y="1380"/>
              <a:ext cx="586" cy="862"/>
            </a:xfrm>
            <a:custGeom>
              <a:avLst/>
              <a:gdLst>
                <a:gd name="T0" fmla="*/ 0 w 247"/>
                <a:gd name="T1" fmla="*/ 130 h 363"/>
                <a:gd name="T2" fmla="*/ 0 w 247"/>
                <a:gd name="T3" fmla="*/ 132 h 363"/>
                <a:gd name="T4" fmla="*/ 1 w 247"/>
                <a:gd name="T5" fmla="*/ 137 h 363"/>
                <a:gd name="T6" fmla="*/ 6 w 247"/>
                <a:gd name="T7" fmla="*/ 156 h 363"/>
                <a:gd name="T8" fmla="*/ 24 w 247"/>
                <a:gd name="T9" fmla="*/ 227 h 363"/>
                <a:gd name="T10" fmla="*/ 73 w 247"/>
                <a:gd name="T11" fmla="*/ 322 h 363"/>
                <a:gd name="T12" fmla="*/ 93 w 247"/>
                <a:gd name="T13" fmla="*/ 345 h 363"/>
                <a:gd name="T14" fmla="*/ 105 w 247"/>
                <a:gd name="T15" fmla="*/ 356 h 363"/>
                <a:gd name="T16" fmla="*/ 120 w 247"/>
                <a:gd name="T17" fmla="*/ 360 h 363"/>
                <a:gd name="T18" fmla="*/ 134 w 247"/>
                <a:gd name="T19" fmla="*/ 353 h 363"/>
                <a:gd name="T20" fmla="*/ 147 w 247"/>
                <a:gd name="T21" fmla="*/ 342 h 363"/>
                <a:gd name="T22" fmla="*/ 171 w 247"/>
                <a:gd name="T23" fmla="*/ 317 h 363"/>
                <a:gd name="T24" fmla="*/ 237 w 247"/>
                <a:gd name="T25" fmla="*/ 204 h 363"/>
                <a:gd name="T26" fmla="*/ 245 w 247"/>
                <a:gd name="T27" fmla="*/ 147 h 363"/>
                <a:gd name="T28" fmla="*/ 242 w 247"/>
                <a:gd name="T29" fmla="*/ 97 h 363"/>
                <a:gd name="T30" fmla="*/ 227 w 247"/>
                <a:gd name="T31" fmla="*/ 26 h 363"/>
                <a:gd name="T32" fmla="*/ 222 w 247"/>
                <a:gd name="T33" fmla="*/ 7 h 363"/>
                <a:gd name="T34" fmla="*/ 221 w 247"/>
                <a:gd name="T35" fmla="*/ 2 h 363"/>
                <a:gd name="T36" fmla="*/ 221 w 247"/>
                <a:gd name="T37" fmla="*/ 0 h 363"/>
                <a:gd name="T38" fmla="*/ 221 w 247"/>
                <a:gd name="T39" fmla="*/ 2 h 363"/>
                <a:gd name="T40" fmla="*/ 223 w 247"/>
                <a:gd name="T41" fmla="*/ 7 h 363"/>
                <a:gd name="T42" fmla="*/ 228 w 247"/>
                <a:gd name="T43" fmla="*/ 26 h 363"/>
                <a:gd name="T44" fmla="*/ 244 w 247"/>
                <a:gd name="T45" fmla="*/ 97 h 363"/>
                <a:gd name="T46" fmla="*/ 247 w 247"/>
                <a:gd name="T47" fmla="*/ 147 h 363"/>
                <a:gd name="T48" fmla="*/ 238 w 247"/>
                <a:gd name="T49" fmla="*/ 205 h 363"/>
                <a:gd name="T50" fmla="*/ 173 w 247"/>
                <a:gd name="T51" fmla="*/ 319 h 363"/>
                <a:gd name="T52" fmla="*/ 148 w 247"/>
                <a:gd name="T53" fmla="*/ 344 h 363"/>
                <a:gd name="T54" fmla="*/ 135 w 247"/>
                <a:gd name="T55" fmla="*/ 355 h 363"/>
                <a:gd name="T56" fmla="*/ 120 w 247"/>
                <a:gd name="T57" fmla="*/ 362 h 363"/>
                <a:gd name="T58" fmla="*/ 103 w 247"/>
                <a:gd name="T59" fmla="*/ 358 h 363"/>
                <a:gd name="T60" fmla="*/ 92 w 247"/>
                <a:gd name="T61" fmla="*/ 347 h 363"/>
                <a:gd name="T62" fmla="*/ 71 w 247"/>
                <a:gd name="T63" fmla="*/ 323 h 363"/>
                <a:gd name="T64" fmla="*/ 22 w 247"/>
                <a:gd name="T65" fmla="*/ 227 h 363"/>
                <a:gd name="T66" fmla="*/ 5 w 247"/>
                <a:gd name="T67" fmla="*/ 156 h 363"/>
                <a:gd name="T68" fmla="*/ 1 w 247"/>
                <a:gd name="T69" fmla="*/ 137 h 363"/>
                <a:gd name="T70" fmla="*/ 0 w 247"/>
                <a:gd name="T71" fmla="*/ 132 h 363"/>
                <a:gd name="T72" fmla="*/ 0 w 247"/>
                <a:gd name="T73" fmla="*/ 13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7" h="363">
                  <a:moveTo>
                    <a:pt x="0" y="130"/>
                  </a:moveTo>
                  <a:cubicBezTo>
                    <a:pt x="0" y="130"/>
                    <a:pt x="0" y="130"/>
                    <a:pt x="0" y="132"/>
                  </a:cubicBezTo>
                  <a:cubicBezTo>
                    <a:pt x="1" y="133"/>
                    <a:pt x="1" y="134"/>
                    <a:pt x="1" y="137"/>
                  </a:cubicBezTo>
                  <a:cubicBezTo>
                    <a:pt x="2" y="141"/>
                    <a:pt x="4" y="148"/>
                    <a:pt x="6" y="156"/>
                  </a:cubicBezTo>
                  <a:cubicBezTo>
                    <a:pt x="9" y="173"/>
                    <a:pt x="14" y="197"/>
                    <a:pt x="24" y="227"/>
                  </a:cubicBezTo>
                  <a:cubicBezTo>
                    <a:pt x="33" y="256"/>
                    <a:pt x="47" y="290"/>
                    <a:pt x="73" y="322"/>
                  </a:cubicBezTo>
                  <a:cubicBezTo>
                    <a:pt x="79" y="330"/>
                    <a:pt x="86" y="338"/>
                    <a:pt x="93" y="345"/>
                  </a:cubicBezTo>
                  <a:cubicBezTo>
                    <a:pt x="97" y="349"/>
                    <a:pt x="100" y="354"/>
                    <a:pt x="105" y="356"/>
                  </a:cubicBezTo>
                  <a:cubicBezTo>
                    <a:pt x="109" y="360"/>
                    <a:pt x="114" y="361"/>
                    <a:pt x="120" y="360"/>
                  </a:cubicBezTo>
                  <a:cubicBezTo>
                    <a:pt x="125" y="359"/>
                    <a:pt x="130" y="356"/>
                    <a:pt x="134" y="353"/>
                  </a:cubicBezTo>
                  <a:cubicBezTo>
                    <a:pt x="139" y="350"/>
                    <a:pt x="143" y="346"/>
                    <a:pt x="147" y="342"/>
                  </a:cubicBezTo>
                  <a:cubicBezTo>
                    <a:pt x="155" y="335"/>
                    <a:pt x="163" y="326"/>
                    <a:pt x="171" y="317"/>
                  </a:cubicBezTo>
                  <a:cubicBezTo>
                    <a:pt x="202" y="282"/>
                    <a:pt x="226" y="243"/>
                    <a:pt x="237" y="204"/>
                  </a:cubicBezTo>
                  <a:cubicBezTo>
                    <a:pt x="242" y="185"/>
                    <a:pt x="245" y="165"/>
                    <a:pt x="245" y="147"/>
                  </a:cubicBezTo>
                  <a:cubicBezTo>
                    <a:pt x="246" y="129"/>
                    <a:pt x="244" y="112"/>
                    <a:pt x="242" y="97"/>
                  </a:cubicBezTo>
                  <a:cubicBezTo>
                    <a:pt x="238" y="67"/>
                    <a:pt x="232" y="43"/>
                    <a:pt x="227" y="26"/>
                  </a:cubicBezTo>
                  <a:cubicBezTo>
                    <a:pt x="225" y="18"/>
                    <a:pt x="224" y="11"/>
                    <a:pt x="222" y="7"/>
                  </a:cubicBezTo>
                  <a:cubicBezTo>
                    <a:pt x="222" y="5"/>
                    <a:pt x="221" y="3"/>
                    <a:pt x="221" y="2"/>
                  </a:cubicBezTo>
                  <a:cubicBezTo>
                    <a:pt x="221" y="1"/>
                    <a:pt x="221" y="0"/>
                    <a:pt x="221" y="0"/>
                  </a:cubicBezTo>
                  <a:cubicBezTo>
                    <a:pt x="221" y="0"/>
                    <a:pt x="221" y="1"/>
                    <a:pt x="221" y="2"/>
                  </a:cubicBezTo>
                  <a:cubicBezTo>
                    <a:pt x="222" y="3"/>
                    <a:pt x="222" y="5"/>
                    <a:pt x="223" y="7"/>
                  </a:cubicBezTo>
                  <a:cubicBezTo>
                    <a:pt x="224" y="11"/>
                    <a:pt x="226" y="17"/>
                    <a:pt x="228" y="26"/>
                  </a:cubicBezTo>
                  <a:cubicBezTo>
                    <a:pt x="233" y="42"/>
                    <a:pt x="239" y="66"/>
                    <a:pt x="244" y="97"/>
                  </a:cubicBezTo>
                  <a:cubicBezTo>
                    <a:pt x="246" y="112"/>
                    <a:pt x="247" y="129"/>
                    <a:pt x="247" y="147"/>
                  </a:cubicBezTo>
                  <a:cubicBezTo>
                    <a:pt x="247" y="165"/>
                    <a:pt x="244" y="185"/>
                    <a:pt x="238" y="205"/>
                  </a:cubicBezTo>
                  <a:cubicBezTo>
                    <a:pt x="227" y="244"/>
                    <a:pt x="204" y="284"/>
                    <a:pt x="173" y="319"/>
                  </a:cubicBezTo>
                  <a:cubicBezTo>
                    <a:pt x="165" y="328"/>
                    <a:pt x="157" y="336"/>
                    <a:pt x="148" y="344"/>
                  </a:cubicBezTo>
                  <a:cubicBezTo>
                    <a:pt x="144" y="348"/>
                    <a:pt x="140" y="352"/>
                    <a:pt x="135" y="355"/>
                  </a:cubicBezTo>
                  <a:cubicBezTo>
                    <a:pt x="131" y="358"/>
                    <a:pt x="126" y="361"/>
                    <a:pt x="120" y="362"/>
                  </a:cubicBezTo>
                  <a:cubicBezTo>
                    <a:pt x="114" y="363"/>
                    <a:pt x="108" y="361"/>
                    <a:pt x="103" y="358"/>
                  </a:cubicBezTo>
                  <a:cubicBezTo>
                    <a:pt x="99" y="355"/>
                    <a:pt x="95" y="351"/>
                    <a:pt x="92" y="347"/>
                  </a:cubicBezTo>
                  <a:cubicBezTo>
                    <a:pt x="85" y="339"/>
                    <a:pt x="78" y="331"/>
                    <a:pt x="71" y="323"/>
                  </a:cubicBezTo>
                  <a:cubicBezTo>
                    <a:pt x="46" y="291"/>
                    <a:pt x="32" y="256"/>
                    <a:pt x="22" y="227"/>
                  </a:cubicBezTo>
                  <a:cubicBezTo>
                    <a:pt x="13" y="197"/>
                    <a:pt x="8" y="173"/>
                    <a:pt x="5" y="156"/>
                  </a:cubicBezTo>
                  <a:cubicBezTo>
                    <a:pt x="3" y="148"/>
                    <a:pt x="2" y="141"/>
                    <a:pt x="1" y="137"/>
                  </a:cubicBezTo>
                  <a:cubicBezTo>
                    <a:pt x="1" y="135"/>
                    <a:pt x="0" y="133"/>
                    <a:pt x="0" y="132"/>
                  </a:cubicBezTo>
                  <a:cubicBezTo>
                    <a:pt x="0" y="130"/>
                    <a:pt x="0" y="130"/>
                    <a:pt x="0" y="13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1">
              <a:extLst>
                <a:ext uri="{FF2B5EF4-FFF2-40B4-BE49-F238E27FC236}">
                  <a16:creationId xmlns:a16="http://schemas.microsoft.com/office/drawing/2014/main" id="{5D132D49-D415-4F7D-A075-60BC30A82E88}"/>
                </a:ext>
              </a:extLst>
            </p:cNvPr>
            <p:cNvSpPr>
              <a:spLocks/>
            </p:cNvSpPr>
            <p:nvPr/>
          </p:nvSpPr>
          <p:spPr bwMode="auto">
            <a:xfrm>
              <a:off x="2247" y="2235"/>
              <a:ext cx="147" cy="1059"/>
            </a:xfrm>
            <a:custGeom>
              <a:avLst/>
              <a:gdLst>
                <a:gd name="T0" fmla="*/ 34 w 62"/>
                <a:gd name="T1" fmla="*/ 446 h 446"/>
                <a:gd name="T2" fmla="*/ 33 w 62"/>
                <a:gd name="T3" fmla="*/ 444 h 446"/>
                <a:gd name="T4" fmla="*/ 32 w 62"/>
                <a:gd name="T5" fmla="*/ 441 h 446"/>
                <a:gd name="T6" fmla="*/ 31 w 62"/>
                <a:gd name="T7" fmla="*/ 435 h 446"/>
                <a:gd name="T8" fmla="*/ 30 w 62"/>
                <a:gd name="T9" fmla="*/ 428 h 446"/>
                <a:gd name="T10" fmla="*/ 34 w 62"/>
                <a:gd name="T11" fmla="*/ 378 h 446"/>
                <a:gd name="T12" fmla="*/ 54 w 62"/>
                <a:gd name="T13" fmla="*/ 307 h 446"/>
                <a:gd name="T14" fmla="*/ 59 w 62"/>
                <a:gd name="T15" fmla="*/ 264 h 446"/>
                <a:gd name="T16" fmla="*/ 50 w 62"/>
                <a:gd name="T17" fmla="*/ 219 h 446"/>
                <a:gd name="T18" fmla="*/ 30 w 62"/>
                <a:gd name="T19" fmla="*/ 177 h 446"/>
                <a:gd name="T20" fmla="*/ 17 w 62"/>
                <a:gd name="T21" fmla="*/ 135 h 446"/>
                <a:gd name="T22" fmla="*/ 25 w 62"/>
                <a:gd name="T23" fmla="*/ 96 h 446"/>
                <a:gd name="T24" fmla="*/ 27 w 62"/>
                <a:gd name="T25" fmla="*/ 79 h 446"/>
                <a:gd name="T26" fmla="*/ 24 w 62"/>
                <a:gd name="T27" fmla="*/ 63 h 446"/>
                <a:gd name="T28" fmla="*/ 11 w 62"/>
                <a:gd name="T29" fmla="*/ 38 h 446"/>
                <a:gd name="T30" fmla="*/ 3 w 62"/>
                <a:gd name="T31" fmla="*/ 18 h 446"/>
                <a:gd name="T32" fmla="*/ 1 w 62"/>
                <a:gd name="T33" fmla="*/ 11 h 446"/>
                <a:gd name="T34" fmla="*/ 1 w 62"/>
                <a:gd name="T35" fmla="*/ 5 h 446"/>
                <a:gd name="T36" fmla="*/ 2 w 62"/>
                <a:gd name="T37" fmla="*/ 1 h 446"/>
                <a:gd name="T38" fmla="*/ 2 w 62"/>
                <a:gd name="T39" fmla="*/ 0 h 446"/>
                <a:gd name="T40" fmla="*/ 3 w 62"/>
                <a:gd name="T41" fmla="*/ 18 h 446"/>
                <a:gd name="T42" fmla="*/ 12 w 62"/>
                <a:gd name="T43" fmla="*/ 37 h 446"/>
                <a:gd name="T44" fmla="*/ 25 w 62"/>
                <a:gd name="T45" fmla="*/ 63 h 446"/>
                <a:gd name="T46" fmla="*/ 29 w 62"/>
                <a:gd name="T47" fmla="*/ 79 h 446"/>
                <a:gd name="T48" fmla="*/ 26 w 62"/>
                <a:gd name="T49" fmla="*/ 97 h 446"/>
                <a:gd name="T50" fmla="*/ 19 w 62"/>
                <a:gd name="T51" fmla="*/ 135 h 446"/>
                <a:gd name="T52" fmla="*/ 32 w 62"/>
                <a:gd name="T53" fmla="*/ 176 h 446"/>
                <a:gd name="T54" fmla="*/ 52 w 62"/>
                <a:gd name="T55" fmla="*/ 218 h 446"/>
                <a:gd name="T56" fmla="*/ 61 w 62"/>
                <a:gd name="T57" fmla="*/ 264 h 446"/>
                <a:gd name="T58" fmla="*/ 56 w 62"/>
                <a:gd name="T59" fmla="*/ 308 h 446"/>
                <a:gd name="T60" fmla="*/ 35 w 62"/>
                <a:gd name="T61" fmla="*/ 379 h 446"/>
                <a:gd name="T62" fmla="*/ 31 w 62"/>
                <a:gd name="T63" fmla="*/ 428 h 446"/>
                <a:gd name="T64" fmla="*/ 31 w 62"/>
                <a:gd name="T65" fmla="*/ 435 h 446"/>
                <a:gd name="T66" fmla="*/ 33 w 62"/>
                <a:gd name="T67" fmla="*/ 441 h 446"/>
                <a:gd name="T68" fmla="*/ 33 w 62"/>
                <a:gd name="T69" fmla="*/ 444 h 446"/>
                <a:gd name="T70" fmla="*/ 34 w 62"/>
                <a:gd name="T7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446">
                  <a:moveTo>
                    <a:pt x="34" y="446"/>
                  </a:moveTo>
                  <a:cubicBezTo>
                    <a:pt x="33" y="446"/>
                    <a:pt x="33" y="445"/>
                    <a:pt x="33" y="444"/>
                  </a:cubicBezTo>
                  <a:cubicBezTo>
                    <a:pt x="33" y="444"/>
                    <a:pt x="33" y="442"/>
                    <a:pt x="32" y="441"/>
                  </a:cubicBezTo>
                  <a:cubicBezTo>
                    <a:pt x="32" y="439"/>
                    <a:pt x="31" y="438"/>
                    <a:pt x="31" y="435"/>
                  </a:cubicBezTo>
                  <a:cubicBezTo>
                    <a:pt x="30" y="433"/>
                    <a:pt x="30" y="431"/>
                    <a:pt x="30" y="428"/>
                  </a:cubicBezTo>
                  <a:cubicBezTo>
                    <a:pt x="28" y="416"/>
                    <a:pt x="29" y="399"/>
                    <a:pt x="34" y="378"/>
                  </a:cubicBezTo>
                  <a:cubicBezTo>
                    <a:pt x="39" y="358"/>
                    <a:pt x="48" y="334"/>
                    <a:pt x="54" y="307"/>
                  </a:cubicBezTo>
                  <a:cubicBezTo>
                    <a:pt x="57" y="294"/>
                    <a:pt x="60" y="279"/>
                    <a:pt x="59" y="264"/>
                  </a:cubicBezTo>
                  <a:cubicBezTo>
                    <a:pt x="59" y="249"/>
                    <a:pt x="55" y="234"/>
                    <a:pt x="50" y="219"/>
                  </a:cubicBezTo>
                  <a:cubicBezTo>
                    <a:pt x="44" y="204"/>
                    <a:pt x="37" y="190"/>
                    <a:pt x="30" y="177"/>
                  </a:cubicBezTo>
                  <a:cubicBezTo>
                    <a:pt x="24" y="163"/>
                    <a:pt x="18" y="149"/>
                    <a:pt x="17" y="135"/>
                  </a:cubicBezTo>
                  <a:cubicBezTo>
                    <a:pt x="16" y="121"/>
                    <a:pt x="22" y="108"/>
                    <a:pt x="25" y="96"/>
                  </a:cubicBezTo>
                  <a:cubicBezTo>
                    <a:pt x="26" y="90"/>
                    <a:pt x="27" y="85"/>
                    <a:pt x="27" y="79"/>
                  </a:cubicBezTo>
                  <a:cubicBezTo>
                    <a:pt x="27" y="73"/>
                    <a:pt x="26" y="68"/>
                    <a:pt x="24" y="63"/>
                  </a:cubicBezTo>
                  <a:cubicBezTo>
                    <a:pt x="20" y="53"/>
                    <a:pt x="15" y="45"/>
                    <a:pt x="11" y="38"/>
                  </a:cubicBezTo>
                  <a:cubicBezTo>
                    <a:pt x="7" y="31"/>
                    <a:pt x="4" y="24"/>
                    <a:pt x="3" y="18"/>
                  </a:cubicBezTo>
                  <a:cubicBezTo>
                    <a:pt x="2" y="15"/>
                    <a:pt x="1" y="13"/>
                    <a:pt x="1" y="11"/>
                  </a:cubicBezTo>
                  <a:cubicBezTo>
                    <a:pt x="1" y="8"/>
                    <a:pt x="1" y="6"/>
                    <a:pt x="1" y="5"/>
                  </a:cubicBezTo>
                  <a:cubicBezTo>
                    <a:pt x="1" y="3"/>
                    <a:pt x="2" y="2"/>
                    <a:pt x="2" y="1"/>
                  </a:cubicBezTo>
                  <a:cubicBezTo>
                    <a:pt x="2" y="1"/>
                    <a:pt x="2" y="0"/>
                    <a:pt x="2" y="0"/>
                  </a:cubicBezTo>
                  <a:cubicBezTo>
                    <a:pt x="2" y="0"/>
                    <a:pt x="0" y="7"/>
                    <a:pt x="3" y="18"/>
                  </a:cubicBezTo>
                  <a:cubicBezTo>
                    <a:pt x="5" y="24"/>
                    <a:pt x="8" y="30"/>
                    <a:pt x="12" y="37"/>
                  </a:cubicBezTo>
                  <a:cubicBezTo>
                    <a:pt x="16" y="45"/>
                    <a:pt x="22" y="53"/>
                    <a:pt x="25" y="63"/>
                  </a:cubicBezTo>
                  <a:cubicBezTo>
                    <a:pt x="27" y="67"/>
                    <a:pt x="29" y="73"/>
                    <a:pt x="29" y="79"/>
                  </a:cubicBezTo>
                  <a:cubicBezTo>
                    <a:pt x="29" y="85"/>
                    <a:pt x="28" y="91"/>
                    <a:pt x="26" y="97"/>
                  </a:cubicBezTo>
                  <a:cubicBezTo>
                    <a:pt x="23" y="109"/>
                    <a:pt x="18" y="121"/>
                    <a:pt x="19" y="135"/>
                  </a:cubicBezTo>
                  <a:cubicBezTo>
                    <a:pt x="20" y="149"/>
                    <a:pt x="26" y="162"/>
                    <a:pt x="32" y="176"/>
                  </a:cubicBezTo>
                  <a:cubicBezTo>
                    <a:pt x="39" y="189"/>
                    <a:pt x="46" y="203"/>
                    <a:pt x="52" y="218"/>
                  </a:cubicBezTo>
                  <a:cubicBezTo>
                    <a:pt x="57" y="233"/>
                    <a:pt x="61" y="249"/>
                    <a:pt x="61" y="264"/>
                  </a:cubicBezTo>
                  <a:cubicBezTo>
                    <a:pt x="62" y="280"/>
                    <a:pt x="59" y="294"/>
                    <a:pt x="56" y="308"/>
                  </a:cubicBezTo>
                  <a:cubicBezTo>
                    <a:pt x="49" y="335"/>
                    <a:pt x="40" y="358"/>
                    <a:pt x="35" y="379"/>
                  </a:cubicBezTo>
                  <a:cubicBezTo>
                    <a:pt x="30" y="399"/>
                    <a:pt x="29" y="416"/>
                    <a:pt x="31" y="428"/>
                  </a:cubicBezTo>
                  <a:cubicBezTo>
                    <a:pt x="31" y="431"/>
                    <a:pt x="31" y="433"/>
                    <a:pt x="31" y="435"/>
                  </a:cubicBezTo>
                  <a:cubicBezTo>
                    <a:pt x="32" y="437"/>
                    <a:pt x="32" y="439"/>
                    <a:pt x="33" y="441"/>
                  </a:cubicBezTo>
                  <a:cubicBezTo>
                    <a:pt x="33" y="442"/>
                    <a:pt x="33" y="443"/>
                    <a:pt x="33" y="444"/>
                  </a:cubicBezTo>
                  <a:cubicBezTo>
                    <a:pt x="33" y="445"/>
                    <a:pt x="34" y="446"/>
                    <a:pt x="34" y="44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2">
              <a:extLst>
                <a:ext uri="{FF2B5EF4-FFF2-40B4-BE49-F238E27FC236}">
                  <a16:creationId xmlns:a16="http://schemas.microsoft.com/office/drawing/2014/main" id="{67938549-F249-428D-BCBB-AD8D855D7504}"/>
                </a:ext>
              </a:extLst>
            </p:cNvPr>
            <p:cNvSpPr>
              <a:spLocks/>
            </p:cNvSpPr>
            <p:nvPr/>
          </p:nvSpPr>
          <p:spPr bwMode="auto">
            <a:xfrm>
              <a:off x="2223" y="2226"/>
              <a:ext cx="57" cy="38"/>
            </a:xfrm>
            <a:custGeom>
              <a:avLst/>
              <a:gdLst>
                <a:gd name="T0" fmla="*/ 3 w 57"/>
                <a:gd name="T1" fmla="*/ 0 h 38"/>
                <a:gd name="T2" fmla="*/ 0 w 57"/>
                <a:gd name="T3" fmla="*/ 9 h 38"/>
                <a:gd name="T4" fmla="*/ 22 w 57"/>
                <a:gd name="T5" fmla="*/ 38 h 38"/>
                <a:gd name="T6" fmla="*/ 31 w 57"/>
                <a:gd name="T7" fmla="*/ 38 h 38"/>
                <a:gd name="T8" fmla="*/ 57 w 57"/>
                <a:gd name="T9" fmla="*/ 9 h 38"/>
                <a:gd name="T10" fmla="*/ 53 w 57"/>
                <a:gd name="T11" fmla="*/ 0 h 38"/>
                <a:gd name="T12" fmla="*/ 3 w 57"/>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57" h="38">
                  <a:moveTo>
                    <a:pt x="3" y="0"/>
                  </a:moveTo>
                  <a:lnTo>
                    <a:pt x="0" y="9"/>
                  </a:lnTo>
                  <a:lnTo>
                    <a:pt x="22" y="38"/>
                  </a:lnTo>
                  <a:lnTo>
                    <a:pt x="31" y="38"/>
                  </a:lnTo>
                  <a:lnTo>
                    <a:pt x="57" y="9"/>
                  </a:lnTo>
                  <a:lnTo>
                    <a:pt x="53" y="0"/>
                  </a:lnTo>
                  <a:lnTo>
                    <a:pt x="3"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3">
              <a:extLst>
                <a:ext uri="{FF2B5EF4-FFF2-40B4-BE49-F238E27FC236}">
                  <a16:creationId xmlns:a16="http://schemas.microsoft.com/office/drawing/2014/main" id="{8B75ED5E-4EEB-4E67-8F35-B6B38FF06E54}"/>
                </a:ext>
              </a:extLst>
            </p:cNvPr>
            <p:cNvSpPr>
              <a:spLocks/>
            </p:cNvSpPr>
            <p:nvPr/>
          </p:nvSpPr>
          <p:spPr bwMode="auto">
            <a:xfrm>
              <a:off x="283" y="3154"/>
              <a:ext cx="2119" cy="814"/>
            </a:xfrm>
            <a:custGeom>
              <a:avLst/>
              <a:gdLst>
                <a:gd name="T0" fmla="*/ 7 w 892"/>
                <a:gd name="T1" fmla="*/ 27 h 343"/>
                <a:gd name="T2" fmla="*/ 186 w 892"/>
                <a:gd name="T3" fmla="*/ 343 h 343"/>
                <a:gd name="T4" fmla="*/ 881 w 892"/>
                <a:gd name="T5" fmla="*/ 343 h 343"/>
                <a:gd name="T6" fmla="*/ 892 w 892"/>
                <a:gd name="T7" fmla="*/ 333 h 343"/>
                <a:gd name="T8" fmla="*/ 881 w 892"/>
                <a:gd name="T9" fmla="*/ 322 h 343"/>
                <a:gd name="T10" fmla="*/ 650 w 892"/>
                <a:gd name="T11" fmla="*/ 316 h 343"/>
                <a:gd name="T12" fmla="*/ 625 w 892"/>
                <a:gd name="T13" fmla="*/ 300 h 343"/>
                <a:gd name="T14" fmla="*/ 475 w 892"/>
                <a:gd name="T15" fmla="*/ 14 h 343"/>
                <a:gd name="T16" fmla="*/ 459 w 892"/>
                <a:gd name="T17" fmla="*/ 5 h 343"/>
                <a:gd name="T18" fmla="*/ 23 w 892"/>
                <a:gd name="T19" fmla="*/ 0 h 343"/>
                <a:gd name="T20" fmla="*/ 7 w 892"/>
                <a:gd name="T21" fmla="*/ 2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2" h="343">
                  <a:moveTo>
                    <a:pt x="7" y="27"/>
                  </a:moveTo>
                  <a:cubicBezTo>
                    <a:pt x="186" y="343"/>
                    <a:pt x="186" y="343"/>
                    <a:pt x="186" y="343"/>
                  </a:cubicBezTo>
                  <a:cubicBezTo>
                    <a:pt x="881" y="343"/>
                    <a:pt x="881" y="343"/>
                    <a:pt x="881" y="343"/>
                  </a:cubicBezTo>
                  <a:cubicBezTo>
                    <a:pt x="887" y="343"/>
                    <a:pt x="892" y="339"/>
                    <a:pt x="892" y="333"/>
                  </a:cubicBezTo>
                  <a:cubicBezTo>
                    <a:pt x="892" y="327"/>
                    <a:pt x="887" y="322"/>
                    <a:pt x="881" y="322"/>
                  </a:cubicBezTo>
                  <a:cubicBezTo>
                    <a:pt x="650" y="316"/>
                    <a:pt x="650" y="316"/>
                    <a:pt x="650" y="316"/>
                  </a:cubicBezTo>
                  <a:cubicBezTo>
                    <a:pt x="640" y="316"/>
                    <a:pt x="630" y="310"/>
                    <a:pt x="625" y="300"/>
                  </a:cubicBezTo>
                  <a:cubicBezTo>
                    <a:pt x="475" y="14"/>
                    <a:pt x="475" y="14"/>
                    <a:pt x="475" y="14"/>
                  </a:cubicBezTo>
                  <a:cubicBezTo>
                    <a:pt x="472" y="9"/>
                    <a:pt x="466" y="5"/>
                    <a:pt x="459" y="5"/>
                  </a:cubicBezTo>
                  <a:cubicBezTo>
                    <a:pt x="23" y="0"/>
                    <a:pt x="23" y="0"/>
                    <a:pt x="23" y="0"/>
                  </a:cubicBezTo>
                  <a:cubicBezTo>
                    <a:pt x="9" y="0"/>
                    <a:pt x="0" y="15"/>
                    <a:pt x="7" y="2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24">
              <a:extLst>
                <a:ext uri="{FF2B5EF4-FFF2-40B4-BE49-F238E27FC236}">
                  <a16:creationId xmlns:a16="http://schemas.microsoft.com/office/drawing/2014/main" id="{2B57E9A7-33D8-4E9B-9A8D-A87B71B10612}"/>
                </a:ext>
              </a:extLst>
            </p:cNvPr>
            <p:cNvSpPr>
              <a:spLocks/>
            </p:cNvSpPr>
            <p:nvPr/>
          </p:nvSpPr>
          <p:spPr bwMode="auto">
            <a:xfrm>
              <a:off x="302" y="3189"/>
              <a:ext cx="1458" cy="774"/>
            </a:xfrm>
            <a:custGeom>
              <a:avLst/>
              <a:gdLst>
                <a:gd name="T0" fmla="*/ 0 w 614"/>
                <a:gd name="T1" fmla="*/ 0 h 326"/>
                <a:gd name="T2" fmla="*/ 2 w 614"/>
                <a:gd name="T3" fmla="*/ 0 h 326"/>
                <a:gd name="T4" fmla="*/ 8 w 614"/>
                <a:gd name="T5" fmla="*/ 0 h 326"/>
                <a:gd name="T6" fmla="*/ 31 w 614"/>
                <a:gd name="T7" fmla="*/ 0 h 326"/>
                <a:gd name="T8" fmla="*/ 118 w 614"/>
                <a:gd name="T9" fmla="*/ 1 h 326"/>
                <a:gd name="T10" fmla="*/ 402 w 614"/>
                <a:gd name="T11" fmla="*/ 5 h 326"/>
                <a:gd name="T12" fmla="*/ 423 w 614"/>
                <a:gd name="T13" fmla="*/ 5 h 326"/>
                <a:gd name="T14" fmla="*/ 433 w 614"/>
                <a:gd name="T15" fmla="*/ 5 h 326"/>
                <a:gd name="T16" fmla="*/ 444 w 614"/>
                <a:gd name="T17" fmla="*/ 7 h 326"/>
                <a:gd name="T18" fmla="*/ 451 w 614"/>
                <a:gd name="T19" fmla="*/ 14 h 326"/>
                <a:gd name="T20" fmla="*/ 456 w 614"/>
                <a:gd name="T21" fmla="*/ 23 h 326"/>
                <a:gd name="T22" fmla="*/ 466 w 614"/>
                <a:gd name="T23" fmla="*/ 41 h 326"/>
                <a:gd name="T24" fmla="*/ 501 w 614"/>
                <a:gd name="T25" fmla="*/ 108 h 326"/>
                <a:gd name="T26" fmla="*/ 560 w 614"/>
                <a:gd name="T27" fmla="*/ 221 h 326"/>
                <a:gd name="T28" fmla="*/ 600 w 614"/>
                <a:gd name="T29" fmla="*/ 298 h 326"/>
                <a:gd name="T30" fmla="*/ 610 w 614"/>
                <a:gd name="T31" fmla="*/ 318 h 326"/>
                <a:gd name="T32" fmla="*/ 613 w 614"/>
                <a:gd name="T33" fmla="*/ 324 h 326"/>
                <a:gd name="T34" fmla="*/ 614 w 614"/>
                <a:gd name="T35" fmla="*/ 326 h 326"/>
                <a:gd name="T36" fmla="*/ 613 w 614"/>
                <a:gd name="T37" fmla="*/ 324 h 326"/>
                <a:gd name="T38" fmla="*/ 610 w 614"/>
                <a:gd name="T39" fmla="*/ 319 h 326"/>
                <a:gd name="T40" fmla="*/ 599 w 614"/>
                <a:gd name="T41" fmla="*/ 298 h 326"/>
                <a:gd name="T42" fmla="*/ 559 w 614"/>
                <a:gd name="T43" fmla="*/ 222 h 326"/>
                <a:gd name="T44" fmla="*/ 499 w 614"/>
                <a:gd name="T45" fmla="*/ 109 h 326"/>
                <a:gd name="T46" fmla="*/ 464 w 614"/>
                <a:gd name="T47" fmla="*/ 42 h 326"/>
                <a:gd name="T48" fmla="*/ 454 w 614"/>
                <a:gd name="T49" fmla="*/ 24 h 326"/>
                <a:gd name="T50" fmla="*/ 450 w 614"/>
                <a:gd name="T51" fmla="*/ 15 h 326"/>
                <a:gd name="T52" fmla="*/ 443 w 614"/>
                <a:gd name="T53" fmla="*/ 9 h 326"/>
                <a:gd name="T54" fmla="*/ 433 w 614"/>
                <a:gd name="T55" fmla="*/ 7 h 326"/>
                <a:gd name="T56" fmla="*/ 423 w 614"/>
                <a:gd name="T57" fmla="*/ 7 h 326"/>
                <a:gd name="T58" fmla="*/ 402 w 614"/>
                <a:gd name="T59" fmla="*/ 7 h 326"/>
                <a:gd name="T60" fmla="*/ 118 w 614"/>
                <a:gd name="T61" fmla="*/ 3 h 326"/>
                <a:gd name="T62" fmla="*/ 31 w 614"/>
                <a:gd name="T63" fmla="*/ 1 h 326"/>
                <a:gd name="T64" fmla="*/ 8 w 614"/>
                <a:gd name="T65" fmla="*/ 1 h 326"/>
                <a:gd name="T66" fmla="*/ 2 w 614"/>
                <a:gd name="T67" fmla="*/ 1 h 326"/>
                <a:gd name="T68" fmla="*/ 0 w 614"/>
                <a:gd name="T69"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4" h="326">
                  <a:moveTo>
                    <a:pt x="0" y="0"/>
                  </a:moveTo>
                  <a:cubicBezTo>
                    <a:pt x="0" y="0"/>
                    <a:pt x="1" y="0"/>
                    <a:pt x="2" y="0"/>
                  </a:cubicBezTo>
                  <a:cubicBezTo>
                    <a:pt x="3" y="0"/>
                    <a:pt x="5" y="0"/>
                    <a:pt x="8" y="0"/>
                  </a:cubicBezTo>
                  <a:cubicBezTo>
                    <a:pt x="13" y="0"/>
                    <a:pt x="21" y="0"/>
                    <a:pt x="31" y="0"/>
                  </a:cubicBezTo>
                  <a:cubicBezTo>
                    <a:pt x="52" y="1"/>
                    <a:pt x="81" y="1"/>
                    <a:pt x="118" y="1"/>
                  </a:cubicBezTo>
                  <a:cubicBezTo>
                    <a:pt x="191" y="2"/>
                    <a:pt x="291" y="3"/>
                    <a:pt x="402" y="5"/>
                  </a:cubicBezTo>
                  <a:cubicBezTo>
                    <a:pt x="409" y="5"/>
                    <a:pt x="416" y="5"/>
                    <a:pt x="423" y="5"/>
                  </a:cubicBezTo>
                  <a:cubicBezTo>
                    <a:pt x="426" y="5"/>
                    <a:pt x="430" y="5"/>
                    <a:pt x="433" y="5"/>
                  </a:cubicBezTo>
                  <a:cubicBezTo>
                    <a:pt x="437" y="5"/>
                    <a:pt x="440" y="6"/>
                    <a:pt x="444" y="7"/>
                  </a:cubicBezTo>
                  <a:cubicBezTo>
                    <a:pt x="447" y="9"/>
                    <a:pt x="449" y="11"/>
                    <a:pt x="451" y="14"/>
                  </a:cubicBezTo>
                  <a:cubicBezTo>
                    <a:pt x="453" y="17"/>
                    <a:pt x="455" y="20"/>
                    <a:pt x="456" y="23"/>
                  </a:cubicBezTo>
                  <a:cubicBezTo>
                    <a:pt x="459" y="29"/>
                    <a:pt x="462" y="35"/>
                    <a:pt x="466" y="41"/>
                  </a:cubicBezTo>
                  <a:cubicBezTo>
                    <a:pt x="478" y="64"/>
                    <a:pt x="489" y="86"/>
                    <a:pt x="501" y="108"/>
                  </a:cubicBezTo>
                  <a:cubicBezTo>
                    <a:pt x="523" y="150"/>
                    <a:pt x="543" y="189"/>
                    <a:pt x="560" y="221"/>
                  </a:cubicBezTo>
                  <a:cubicBezTo>
                    <a:pt x="577" y="253"/>
                    <a:pt x="590" y="279"/>
                    <a:pt x="600" y="298"/>
                  </a:cubicBezTo>
                  <a:cubicBezTo>
                    <a:pt x="604" y="307"/>
                    <a:pt x="608" y="314"/>
                    <a:pt x="610" y="318"/>
                  </a:cubicBezTo>
                  <a:cubicBezTo>
                    <a:pt x="612" y="321"/>
                    <a:pt x="613" y="323"/>
                    <a:pt x="613" y="324"/>
                  </a:cubicBezTo>
                  <a:cubicBezTo>
                    <a:pt x="614" y="325"/>
                    <a:pt x="614" y="326"/>
                    <a:pt x="614" y="326"/>
                  </a:cubicBezTo>
                  <a:cubicBezTo>
                    <a:pt x="614" y="326"/>
                    <a:pt x="614" y="325"/>
                    <a:pt x="613" y="324"/>
                  </a:cubicBezTo>
                  <a:cubicBezTo>
                    <a:pt x="612" y="323"/>
                    <a:pt x="611" y="321"/>
                    <a:pt x="610" y="319"/>
                  </a:cubicBezTo>
                  <a:cubicBezTo>
                    <a:pt x="607" y="314"/>
                    <a:pt x="604" y="307"/>
                    <a:pt x="599" y="298"/>
                  </a:cubicBezTo>
                  <a:cubicBezTo>
                    <a:pt x="589" y="280"/>
                    <a:pt x="576" y="254"/>
                    <a:pt x="559" y="222"/>
                  </a:cubicBezTo>
                  <a:cubicBezTo>
                    <a:pt x="542" y="190"/>
                    <a:pt x="521" y="151"/>
                    <a:pt x="499" y="109"/>
                  </a:cubicBezTo>
                  <a:cubicBezTo>
                    <a:pt x="488" y="87"/>
                    <a:pt x="476" y="65"/>
                    <a:pt x="464" y="42"/>
                  </a:cubicBezTo>
                  <a:cubicBezTo>
                    <a:pt x="461" y="36"/>
                    <a:pt x="458" y="30"/>
                    <a:pt x="454" y="24"/>
                  </a:cubicBezTo>
                  <a:cubicBezTo>
                    <a:pt x="453" y="21"/>
                    <a:pt x="451" y="18"/>
                    <a:pt x="450" y="15"/>
                  </a:cubicBezTo>
                  <a:cubicBezTo>
                    <a:pt x="448" y="13"/>
                    <a:pt x="445" y="11"/>
                    <a:pt x="443" y="9"/>
                  </a:cubicBezTo>
                  <a:cubicBezTo>
                    <a:pt x="440" y="8"/>
                    <a:pt x="437" y="7"/>
                    <a:pt x="433" y="7"/>
                  </a:cubicBezTo>
                  <a:cubicBezTo>
                    <a:pt x="430" y="7"/>
                    <a:pt x="426" y="7"/>
                    <a:pt x="423" y="7"/>
                  </a:cubicBezTo>
                  <a:cubicBezTo>
                    <a:pt x="416" y="7"/>
                    <a:pt x="409" y="7"/>
                    <a:pt x="402" y="7"/>
                  </a:cubicBezTo>
                  <a:cubicBezTo>
                    <a:pt x="291" y="5"/>
                    <a:pt x="191" y="4"/>
                    <a:pt x="118" y="3"/>
                  </a:cubicBezTo>
                  <a:cubicBezTo>
                    <a:pt x="81" y="2"/>
                    <a:pt x="52" y="2"/>
                    <a:pt x="31" y="1"/>
                  </a:cubicBezTo>
                  <a:cubicBezTo>
                    <a:pt x="21" y="1"/>
                    <a:pt x="13" y="1"/>
                    <a:pt x="8" y="1"/>
                  </a:cubicBezTo>
                  <a:cubicBezTo>
                    <a:pt x="5" y="1"/>
                    <a:pt x="3" y="1"/>
                    <a:pt x="2" y="1"/>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25">
              <a:extLst>
                <a:ext uri="{FF2B5EF4-FFF2-40B4-BE49-F238E27FC236}">
                  <a16:creationId xmlns:a16="http://schemas.microsoft.com/office/drawing/2014/main" id="{4EA0CED4-4BE2-4859-84BC-09EB544CEA16}"/>
                </a:ext>
              </a:extLst>
            </p:cNvPr>
            <p:cNvSpPr>
              <a:spLocks noChangeArrowheads="1"/>
            </p:cNvSpPr>
            <p:nvPr/>
          </p:nvSpPr>
          <p:spPr bwMode="auto">
            <a:xfrm>
              <a:off x="910" y="3505"/>
              <a:ext cx="81" cy="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226">
              <a:extLst>
                <a:ext uri="{FF2B5EF4-FFF2-40B4-BE49-F238E27FC236}">
                  <a16:creationId xmlns:a16="http://schemas.microsoft.com/office/drawing/2014/main" id="{1F2131B5-69C1-4C78-B716-84B207A1A9B6}"/>
                </a:ext>
              </a:extLst>
            </p:cNvPr>
            <p:cNvSpPr>
              <a:spLocks noChangeArrowheads="1"/>
            </p:cNvSpPr>
            <p:nvPr/>
          </p:nvSpPr>
          <p:spPr bwMode="auto">
            <a:xfrm>
              <a:off x="131" y="3966"/>
              <a:ext cx="4308"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27">
              <a:extLst>
                <a:ext uri="{FF2B5EF4-FFF2-40B4-BE49-F238E27FC236}">
                  <a16:creationId xmlns:a16="http://schemas.microsoft.com/office/drawing/2014/main" id="{4311B0A7-32CE-486C-9099-C1E2FD73AD1E}"/>
                </a:ext>
              </a:extLst>
            </p:cNvPr>
            <p:cNvSpPr>
              <a:spLocks/>
            </p:cNvSpPr>
            <p:nvPr/>
          </p:nvSpPr>
          <p:spPr bwMode="auto">
            <a:xfrm>
              <a:off x="2772" y="644"/>
              <a:ext cx="841" cy="867"/>
            </a:xfrm>
            <a:custGeom>
              <a:avLst/>
              <a:gdLst>
                <a:gd name="T0" fmla="*/ 19 w 354"/>
                <a:gd name="T1" fmla="*/ 365 h 365"/>
                <a:gd name="T2" fmla="*/ 85 w 354"/>
                <a:gd name="T3" fmla="*/ 327 h 365"/>
                <a:gd name="T4" fmla="*/ 177 w 354"/>
                <a:gd name="T5" fmla="*/ 353 h 365"/>
                <a:gd name="T6" fmla="*/ 354 w 354"/>
                <a:gd name="T7" fmla="*/ 177 h 365"/>
                <a:gd name="T8" fmla="*/ 177 w 354"/>
                <a:gd name="T9" fmla="*/ 0 h 365"/>
                <a:gd name="T10" fmla="*/ 0 w 354"/>
                <a:gd name="T11" fmla="*/ 177 h 365"/>
                <a:gd name="T12" fmla="*/ 37 w 354"/>
                <a:gd name="T13" fmla="*/ 285 h 365"/>
                <a:gd name="T14" fmla="*/ 37 w 354"/>
                <a:gd name="T15" fmla="*/ 285 h 365"/>
                <a:gd name="T16" fmla="*/ 19 w 354"/>
                <a:gd name="T17"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65">
                  <a:moveTo>
                    <a:pt x="19" y="365"/>
                  </a:moveTo>
                  <a:cubicBezTo>
                    <a:pt x="85" y="327"/>
                    <a:pt x="85" y="327"/>
                    <a:pt x="85" y="327"/>
                  </a:cubicBezTo>
                  <a:cubicBezTo>
                    <a:pt x="112" y="344"/>
                    <a:pt x="143" y="353"/>
                    <a:pt x="177" y="353"/>
                  </a:cubicBezTo>
                  <a:cubicBezTo>
                    <a:pt x="275" y="353"/>
                    <a:pt x="354" y="274"/>
                    <a:pt x="354" y="177"/>
                  </a:cubicBezTo>
                  <a:cubicBezTo>
                    <a:pt x="354" y="79"/>
                    <a:pt x="275" y="0"/>
                    <a:pt x="177" y="0"/>
                  </a:cubicBezTo>
                  <a:cubicBezTo>
                    <a:pt x="80" y="0"/>
                    <a:pt x="0" y="79"/>
                    <a:pt x="0" y="177"/>
                  </a:cubicBezTo>
                  <a:cubicBezTo>
                    <a:pt x="0" y="217"/>
                    <a:pt x="14" y="255"/>
                    <a:pt x="37" y="285"/>
                  </a:cubicBezTo>
                  <a:cubicBezTo>
                    <a:pt x="37" y="285"/>
                    <a:pt x="37" y="285"/>
                    <a:pt x="37" y="285"/>
                  </a:cubicBezTo>
                  <a:lnTo>
                    <a:pt x="19" y="3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28">
              <a:extLst>
                <a:ext uri="{FF2B5EF4-FFF2-40B4-BE49-F238E27FC236}">
                  <a16:creationId xmlns:a16="http://schemas.microsoft.com/office/drawing/2014/main" id="{6385669D-307A-491E-8DD4-6CB7CAA90C41}"/>
                </a:ext>
              </a:extLst>
            </p:cNvPr>
            <p:cNvSpPr>
              <a:spLocks/>
            </p:cNvSpPr>
            <p:nvPr/>
          </p:nvSpPr>
          <p:spPr bwMode="auto">
            <a:xfrm>
              <a:off x="2770" y="637"/>
              <a:ext cx="847" cy="874"/>
            </a:xfrm>
            <a:custGeom>
              <a:avLst/>
              <a:gdLst>
                <a:gd name="T0" fmla="*/ 38 w 357"/>
                <a:gd name="T1" fmla="*/ 288 h 368"/>
                <a:gd name="T2" fmla="*/ 39 w 357"/>
                <a:gd name="T3" fmla="*/ 287 h 368"/>
                <a:gd name="T4" fmla="*/ 38 w 357"/>
                <a:gd name="T5" fmla="*/ 288 h 368"/>
                <a:gd name="T6" fmla="*/ 2 w 357"/>
                <a:gd name="T7" fmla="*/ 203 h 368"/>
                <a:gd name="T8" fmla="*/ 2 w 357"/>
                <a:gd name="T9" fmla="*/ 161 h 368"/>
                <a:gd name="T10" fmla="*/ 27 w 357"/>
                <a:gd name="T11" fmla="*/ 86 h 368"/>
                <a:gd name="T12" fmla="*/ 143 w 357"/>
                <a:gd name="T13" fmla="*/ 5 h 368"/>
                <a:gd name="T14" fmla="*/ 294 w 357"/>
                <a:gd name="T15" fmla="*/ 45 h 368"/>
                <a:gd name="T16" fmla="*/ 310 w 357"/>
                <a:gd name="T17" fmla="*/ 60 h 368"/>
                <a:gd name="T18" fmla="*/ 323 w 357"/>
                <a:gd name="T19" fmla="*/ 77 h 368"/>
                <a:gd name="T20" fmla="*/ 334 w 357"/>
                <a:gd name="T21" fmla="*/ 95 h 368"/>
                <a:gd name="T22" fmla="*/ 343 w 357"/>
                <a:gd name="T23" fmla="*/ 113 h 368"/>
                <a:gd name="T24" fmla="*/ 334 w 357"/>
                <a:gd name="T25" fmla="*/ 265 h 368"/>
                <a:gd name="T26" fmla="*/ 231 w 357"/>
                <a:gd name="T27" fmla="*/ 349 h 368"/>
                <a:gd name="T28" fmla="*/ 123 w 357"/>
                <a:gd name="T29" fmla="*/ 348 h 368"/>
                <a:gd name="T30" fmla="*/ 86 w 357"/>
                <a:gd name="T31" fmla="*/ 331 h 368"/>
                <a:gd name="T32" fmla="*/ 85 w 357"/>
                <a:gd name="T33" fmla="*/ 330 h 368"/>
                <a:gd name="T34" fmla="*/ 86 w 357"/>
                <a:gd name="T35" fmla="*/ 330 h 368"/>
                <a:gd name="T36" fmla="*/ 173 w 357"/>
                <a:gd name="T37" fmla="*/ 356 h 368"/>
                <a:gd name="T38" fmla="*/ 287 w 357"/>
                <a:gd name="T39" fmla="*/ 318 h 368"/>
                <a:gd name="T40" fmla="*/ 353 w 357"/>
                <a:gd name="T41" fmla="*/ 193 h 368"/>
                <a:gd name="T42" fmla="*/ 337 w 357"/>
                <a:gd name="T43" fmla="*/ 105 h 368"/>
                <a:gd name="T44" fmla="*/ 327 w 357"/>
                <a:gd name="T45" fmla="*/ 87 h 368"/>
                <a:gd name="T46" fmla="*/ 315 w 357"/>
                <a:gd name="T47" fmla="*/ 70 h 368"/>
                <a:gd name="T48" fmla="*/ 301 w 357"/>
                <a:gd name="T49" fmla="*/ 54 h 368"/>
                <a:gd name="T50" fmla="*/ 221 w 357"/>
                <a:gd name="T51" fmla="*/ 10 h 368"/>
                <a:gd name="T52" fmla="*/ 76 w 357"/>
                <a:gd name="T53" fmla="*/ 37 h 368"/>
                <a:gd name="T54" fmla="*/ 6 w 357"/>
                <a:gd name="T55" fmla="*/ 146 h 368"/>
                <a:gd name="T56" fmla="*/ 2 w 357"/>
                <a:gd name="T57" fmla="*/ 175 h 368"/>
                <a:gd name="T58" fmla="*/ 17 w 357"/>
                <a:gd name="T59" fmla="*/ 251 h 368"/>
                <a:gd name="T60" fmla="*/ 41 w 357"/>
                <a:gd name="T61" fmla="*/ 291 h 368"/>
                <a:gd name="T62" fmla="*/ 38 w 357"/>
                <a:gd name="T63" fmla="*/ 288 h 368"/>
                <a:gd name="T64" fmla="*/ 20 w 357"/>
                <a:gd name="T65"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7" h="368">
                  <a:moveTo>
                    <a:pt x="20" y="368"/>
                  </a:moveTo>
                  <a:cubicBezTo>
                    <a:pt x="20" y="364"/>
                    <a:pt x="26" y="339"/>
                    <a:pt x="38" y="288"/>
                  </a:cubicBezTo>
                  <a:cubicBezTo>
                    <a:pt x="38" y="287"/>
                    <a:pt x="38" y="287"/>
                    <a:pt x="38" y="287"/>
                  </a:cubicBezTo>
                  <a:cubicBezTo>
                    <a:pt x="39" y="287"/>
                    <a:pt x="39" y="287"/>
                    <a:pt x="39" y="287"/>
                  </a:cubicBezTo>
                  <a:cubicBezTo>
                    <a:pt x="39" y="287"/>
                    <a:pt x="39" y="287"/>
                    <a:pt x="39" y="287"/>
                  </a:cubicBezTo>
                  <a:cubicBezTo>
                    <a:pt x="38" y="288"/>
                    <a:pt x="38" y="288"/>
                    <a:pt x="38" y="288"/>
                  </a:cubicBezTo>
                  <a:cubicBezTo>
                    <a:pt x="30" y="278"/>
                    <a:pt x="23" y="266"/>
                    <a:pt x="16" y="252"/>
                  </a:cubicBezTo>
                  <a:cubicBezTo>
                    <a:pt x="10" y="238"/>
                    <a:pt x="5" y="221"/>
                    <a:pt x="2" y="203"/>
                  </a:cubicBezTo>
                  <a:cubicBezTo>
                    <a:pt x="1" y="194"/>
                    <a:pt x="0" y="185"/>
                    <a:pt x="1" y="175"/>
                  </a:cubicBezTo>
                  <a:cubicBezTo>
                    <a:pt x="1" y="171"/>
                    <a:pt x="1" y="166"/>
                    <a:pt x="2" y="161"/>
                  </a:cubicBezTo>
                  <a:cubicBezTo>
                    <a:pt x="2" y="156"/>
                    <a:pt x="3" y="151"/>
                    <a:pt x="4" y="146"/>
                  </a:cubicBezTo>
                  <a:cubicBezTo>
                    <a:pt x="8" y="126"/>
                    <a:pt x="16" y="105"/>
                    <a:pt x="27" y="86"/>
                  </a:cubicBezTo>
                  <a:cubicBezTo>
                    <a:pt x="39" y="67"/>
                    <a:pt x="55" y="49"/>
                    <a:pt x="75" y="35"/>
                  </a:cubicBezTo>
                  <a:cubicBezTo>
                    <a:pt x="95" y="21"/>
                    <a:pt x="118" y="10"/>
                    <a:pt x="143" y="5"/>
                  </a:cubicBezTo>
                  <a:cubicBezTo>
                    <a:pt x="168" y="0"/>
                    <a:pt x="196" y="1"/>
                    <a:pt x="222" y="8"/>
                  </a:cubicBezTo>
                  <a:cubicBezTo>
                    <a:pt x="248" y="14"/>
                    <a:pt x="273" y="27"/>
                    <a:pt x="294" y="45"/>
                  </a:cubicBezTo>
                  <a:cubicBezTo>
                    <a:pt x="302" y="53"/>
                    <a:pt x="302" y="53"/>
                    <a:pt x="302" y="53"/>
                  </a:cubicBezTo>
                  <a:cubicBezTo>
                    <a:pt x="305" y="55"/>
                    <a:pt x="307" y="58"/>
                    <a:pt x="310" y="60"/>
                  </a:cubicBezTo>
                  <a:cubicBezTo>
                    <a:pt x="312" y="63"/>
                    <a:pt x="315" y="66"/>
                    <a:pt x="317" y="68"/>
                  </a:cubicBezTo>
                  <a:cubicBezTo>
                    <a:pt x="323" y="77"/>
                    <a:pt x="323" y="77"/>
                    <a:pt x="323" y="77"/>
                  </a:cubicBezTo>
                  <a:cubicBezTo>
                    <a:pt x="325" y="80"/>
                    <a:pt x="327" y="83"/>
                    <a:pt x="329" y="86"/>
                  </a:cubicBezTo>
                  <a:cubicBezTo>
                    <a:pt x="331" y="89"/>
                    <a:pt x="332" y="92"/>
                    <a:pt x="334" y="95"/>
                  </a:cubicBezTo>
                  <a:cubicBezTo>
                    <a:pt x="336" y="98"/>
                    <a:pt x="337" y="101"/>
                    <a:pt x="339" y="104"/>
                  </a:cubicBezTo>
                  <a:cubicBezTo>
                    <a:pt x="340" y="107"/>
                    <a:pt x="342" y="110"/>
                    <a:pt x="343" y="113"/>
                  </a:cubicBezTo>
                  <a:cubicBezTo>
                    <a:pt x="353" y="139"/>
                    <a:pt x="357" y="167"/>
                    <a:pt x="355" y="193"/>
                  </a:cubicBezTo>
                  <a:cubicBezTo>
                    <a:pt x="353" y="219"/>
                    <a:pt x="346" y="244"/>
                    <a:pt x="334" y="265"/>
                  </a:cubicBezTo>
                  <a:cubicBezTo>
                    <a:pt x="322" y="287"/>
                    <a:pt x="306" y="305"/>
                    <a:pt x="288" y="319"/>
                  </a:cubicBezTo>
                  <a:cubicBezTo>
                    <a:pt x="270" y="333"/>
                    <a:pt x="250" y="343"/>
                    <a:pt x="231" y="349"/>
                  </a:cubicBezTo>
                  <a:cubicBezTo>
                    <a:pt x="211" y="355"/>
                    <a:pt x="191" y="357"/>
                    <a:pt x="173" y="357"/>
                  </a:cubicBezTo>
                  <a:cubicBezTo>
                    <a:pt x="155" y="356"/>
                    <a:pt x="138" y="353"/>
                    <a:pt x="123" y="348"/>
                  </a:cubicBezTo>
                  <a:cubicBezTo>
                    <a:pt x="109" y="344"/>
                    <a:pt x="96" y="337"/>
                    <a:pt x="85" y="331"/>
                  </a:cubicBezTo>
                  <a:cubicBezTo>
                    <a:pt x="86" y="331"/>
                    <a:pt x="86" y="331"/>
                    <a:pt x="86" y="331"/>
                  </a:cubicBezTo>
                  <a:cubicBezTo>
                    <a:pt x="43" y="354"/>
                    <a:pt x="23" y="366"/>
                    <a:pt x="20" y="368"/>
                  </a:cubicBezTo>
                  <a:cubicBezTo>
                    <a:pt x="23" y="366"/>
                    <a:pt x="43" y="354"/>
                    <a:pt x="85" y="330"/>
                  </a:cubicBezTo>
                  <a:cubicBezTo>
                    <a:pt x="86" y="330"/>
                    <a:pt x="86" y="330"/>
                    <a:pt x="86" y="330"/>
                  </a:cubicBezTo>
                  <a:cubicBezTo>
                    <a:pt x="86" y="330"/>
                    <a:pt x="86" y="330"/>
                    <a:pt x="86" y="330"/>
                  </a:cubicBezTo>
                  <a:cubicBezTo>
                    <a:pt x="97" y="336"/>
                    <a:pt x="109" y="342"/>
                    <a:pt x="124" y="347"/>
                  </a:cubicBezTo>
                  <a:cubicBezTo>
                    <a:pt x="138" y="352"/>
                    <a:pt x="155" y="355"/>
                    <a:pt x="173" y="356"/>
                  </a:cubicBezTo>
                  <a:cubicBezTo>
                    <a:pt x="191" y="356"/>
                    <a:pt x="210" y="354"/>
                    <a:pt x="230" y="348"/>
                  </a:cubicBezTo>
                  <a:cubicBezTo>
                    <a:pt x="250" y="342"/>
                    <a:pt x="269" y="332"/>
                    <a:pt x="287" y="318"/>
                  </a:cubicBezTo>
                  <a:cubicBezTo>
                    <a:pt x="304" y="304"/>
                    <a:pt x="320" y="286"/>
                    <a:pt x="332" y="264"/>
                  </a:cubicBezTo>
                  <a:cubicBezTo>
                    <a:pt x="344" y="243"/>
                    <a:pt x="351" y="218"/>
                    <a:pt x="353" y="193"/>
                  </a:cubicBezTo>
                  <a:cubicBezTo>
                    <a:pt x="355" y="167"/>
                    <a:pt x="351" y="140"/>
                    <a:pt x="341" y="114"/>
                  </a:cubicBezTo>
                  <a:cubicBezTo>
                    <a:pt x="340" y="111"/>
                    <a:pt x="338" y="108"/>
                    <a:pt x="337" y="105"/>
                  </a:cubicBezTo>
                  <a:cubicBezTo>
                    <a:pt x="335" y="102"/>
                    <a:pt x="334" y="99"/>
                    <a:pt x="332" y="96"/>
                  </a:cubicBezTo>
                  <a:cubicBezTo>
                    <a:pt x="331" y="93"/>
                    <a:pt x="329" y="90"/>
                    <a:pt x="327" y="87"/>
                  </a:cubicBezTo>
                  <a:cubicBezTo>
                    <a:pt x="325" y="84"/>
                    <a:pt x="324" y="81"/>
                    <a:pt x="321" y="78"/>
                  </a:cubicBezTo>
                  <a:cubicBezTo>
                    <a:pt x="315" y="70"/>
                    <a:pt x="315" y="70"/>
                    <a:pt x="315" y="70"/>
                  </a:cubicBezTo>
                  <a:cubicBezTo>
                    <a:pt x="313" y="67"/>
                    <a:pt x="310" y="64"/>
                    <a:pt x="308" y="62"/>
                  </a:cubicBezTo>
                  <a:cubicBezTo>
                    <a:pt x="306" y="59"/>
                    <a:pt x="304" y="56"/>
                    <a:pt x="301" y="54"/>
                  </a:cubicBezTo>
                  <a:cubicBezTo>
                    <a:pt x="293" y="47"/>
                    <a:pt x="293" y="47"/>
                    <a:pt x="293" y="47"/>
                  </a:cubicBezTo>
                  <a:cubicBezTo>
                    <a:pt x="272" y="28"/>
                    <a:pt x="247" y="16"/>
                    <a:pt x="221" y="10"/>
                  </a:cubicBezTo>
                  <a:cubicBezTo>
                    <a:pt x="195" y="3"/>
                    <a:pt x="169" y="3"/>
                    <a:pt x="144" y="7"/>
                  </a:cubicBezTo>
                  <a:cubicBezTo>
                    <a:pt x="119" y="12"/>
                    <a:pt x="95" y="23"/>
                    <a:pt x="76" y="37"/>
                  </a:cubicBezTo>
                  <a:cubicBezTo>
                    <a:pt x="56" y="51"/>
                    <a:pt x="41" y="68"/>
                    <a:pt x="29" y="87"/>
                  </a:cubicBezTo>
                  <a:cubicBezTo>
                    <a:pt x="17" y="106"/>
                    <a:pt x="10" y="126"/>
                    <a:pt x="6" y="146"/>
                  </a:cubicBezTo>
                  <a:cubicBezTo>
                    <a:pt x="5" y="151"/>
                    <a:pt x="4" y="156"/>
                    <a:pt x="3" y="161"/>
                  </a:cubicBezTo>
                  <a:cubicBezTo>
                    <a:pt x="3" y="166"/>
                    <a:pt x="3" y="171"/>
                    <a:pt x="2" y="175"/>
                  </a:cubicBezTo>
                  <a:cubicBezTo>
                    <a:pt x="2" y="185"/>
                    <a:pt x="3" y="194"/>
                    <a:pt x="4" y="203"/>
                  </a:cubicBezTo>
                  <a:cubicBezTo>
                    <a:pt x="6" y="221"/>
                    <a:pt x="11" y="237"/>
                    <a:pt x="17" y="251"/>
                  </a:cubicBezTo>
                  <a:cubicBezTo>
                    <a:pt x="24" y="265"/>
                    <a:pt x="31" y="277"/>
                    <a:pt x="39" y="287"/>
                  </a:cubicBezTo>
                  <a:cubicBezTo>
                    <a:pt x="41" y="291"/>
                    <a:pt x="41" y="291"/>
                    <a:pt x="41" y="291"/>
                  </a:cubicBezTo>
                  <a:cubicBezTo>
                    <a:pt x="38" y="288"/>
                    <a:pt x="38" y="288"/>
                    <a:pt x="38" y="288"/>
                  </a:cubicBezTo>
                  <a:cubicBezTo>
                    <a:pt x="38" y="288"/>
                    <a:pt x="38" y="288"/>
                    <a:pt x="38" y="288"/>
                  </a:cubicBezTo>
                  <a:cubicBezTo>
                    <a:pt x="39" y="288"/>
                    <a:pt x="39" y="288"/>
                    <a:pt x="39" y="288"/>
                  </a:cubicBezTo>
                  <a:cubicBezTo>
                    <a:pt x="27" y="339"/>
                    <a:pt x="20" y="364"/>
                    <a:pt x="20" y="36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29">
              <a:extLst>
                <a:ext uri="{FF2B5EF4-FFF2-40B4-BE49-F238E27FC236}">
                  <a16:creationId xmlns:a16="http://schemas.microsoft.com/office/drawing/2014/main" id="{AD1ACEFE-D7CC-4D06-8386-BC53A01431FF}"/>
                </a:ext>
              </a:extLst>
            </p:cNvPr>
            <p:cNvSpPr>
              <a:spLocks noEditPoints="1"/>
            </p:cNvSpPr>
            <p:nvPr/>
          </p:nvSpPr>
          <p:spPr bwMode="auto">
            <a:xfrm>
              <a:off x="2950" y="877"/>
              <a:ext cx="233" cy="216"/>
            </a:xfrm>
            <a:custGeom>
              <a:avLst/>
              <a:gdLst>
                <a:gd name="T0" fmla="*/ 169 w 233"/>
                <a:gd name="T1" fmla="*/ 166 h 216"/>
                <a:gd name="T2" fmla="*/ 62 w 233"/>
                <a:gd name="T3" fmla="*/ 166 h 216"/>
                <a:gd name="T4" fmla="*/ 41 w 233"/>
                <a:gd name="T5" fmla="*/ 216 h 216"/>
                <a:gd name="T6" fmla="*/ 0 w 233"/>
                <a:gd name="T7" fmla="*/ 216 h 216"/>
                <a:gd name="T8" fmla="*/ 97 w 233"/>
                <a:gd name="T9" fmla="*/ 0 h 216"/>
                <a:gd name="T10" fmla="*/ 135 w 233"/>
                <a:gd name="T11" fmla="*/ 0 h 216"/>
                <a:gd name="T12" fmla="*/ 233 w 233"/>
                <a:gd name="T13" fmla="*/ 216 h 216"/>
                <a:gd name="T14" fmla="*/ 190 w 233"/>
                <a:gd name="T15" fmla="*/ 216 h 216"/>
                <a:gd name="T16" fmla="*/ 169 w 233"/>
                <a:gd name="T17" fmla="*/ 166 h 216"/>
                <a:gd name="T18" fmla="*/ 157 w 233"/>
                <a:gd name="T19" fmla="*/ 135 h 216"/>
                <a:gd name="T20" fmla="*/ 116 w 233"/>
                <a:gd name="T21" fmla="*/ 40 h 216"/>
                <a:gd name="T22" fmla="*/ 76 w 233"/>
                <a:gd name="T23" fmla="*/ 135 h 216"/>
                <a:gd name="T24" fmla="*/ 157 w 233"/>
                <a:gd name="T25" fmla="*/ 13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 h="216">
                  <a:moveTo>
                    <a:pt x="169" y="166"/>
                  </a:moveTo>
                  <a:lnTo>
                    <a:pt x="62" y="166"/>
                  </a:lnTo>
                  <a:lnTo>
                    <a:pt x="41" y="216"/>
                  </a:lnTo>
                  <a:lnTo>
                    <a:pt x="0" y="216"/>
                  </a:lnTo>
                  <a:lnTo>
                    <a:pt x="97" y="0"/>
                  </a:lnTo>
                  <a:lnTo>
                    <a:pt x="135" y="0"/>
                  </a:lnTo>
                  <a:lnTo>
                    <a:pt x="233" y="216"/>
                  </a:lnTo>
                  <a:lnTo>
                    <a:pt x="190" y="216"/>
                  </a:lnTo>
                  <a:lnTo>
                    <a:pt x="169" y="166"/>
                  </a:lnTo>
                  <a:close/>
                  <a:moveTo>
                    <a:pt x="157" y="135"/>
                  </a:moveTo>
                  <a:lnTo>
                    <a:pt x="116" y="40"/>
                  </a:lnTo>
                  <a:lnTo>
                    <a:pt x="76" y="135"/>
                  </a:lnTo>
                  <a:lnTo>
                    <a:pt x="157" y="135"/>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0">
              <a:extLst>
                <a:ext uri="{FF2B5EF4-FFF2-40B4-BE49-F238E27FC236}">
                  <a16:creationId xmlns:a16="http://schemas.microsoft.com/office/drawing/2014/main" id="{9B022937-A365-4EB8-8C3B-4D69E1CA05EC}"/>
                </a:ext>
              </a:extLst>
            </p:cNvPr>
            <p:cNvSpPr>
              <a:spLocks/>
            </p:cNvSpPr>
            <p:nvPr/>
          </p:nvSpPr>
          <p:spPr bwMode="auto">
            <a:xfrm>
              <a:off x="3223" y="1060"/>
              <a:ext cx="226" cy="28"/>
            </a:xfrm>
            <a:custGeom>
              <a:avLst/>
              <a:gdLst>
                <a:gd name="T0" fmla="*/ 89 w 95"/>
                <a:gd name="T1" fmla="*/ 12 h 12"/>
                <a:gd name="T2" fmla="*/ 6 w 95"/>
                <a:gd name="T3" fmla="*/ 12 h 12"/>
                <a:gd name="T4" fmla="*/ 0 w 95"/>
                <a:gd name="T5" fmla="*/ 6 h 12"/>
                <a:gd name="T6" fmla="*/ 6 w 95"/>
                <a:gd name="T7" fmla="*/ 0 h 12"/>
                <a:gd name="T8" fmla="*/ 89 w 95"/>
                <a:gd name="T9" fmla="*/ 0 h 12"/>
                <a:gd name="T10" fmla="*/ 95 w 95"/>
                <a:gd name="T11" fmla="*/ 6 h 12"/>
                <a:gd name="T12" fmla="*/ 89 w 9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5" h="12">
                  <a:moveTo>
                    <a:pt x="89" y="12"/>
                  </a:moveTo>
                  <a:cubicBezTo>
                    <a:pt x="6" y="12"/>
                    <a:pt x="6" y="12"/>
                    <a:pt x="6" y="12"/>
                  </a:cubicBezTo>
                  <a:cubicBezTo>
                    <a:pt x="3" y="12"/>
                    <a:pt x="0" y="9"/>
                    <a:pt x="0" y="6"/>
                  </a:cubicBezTo>
                  <a:cubicBezTo>
                    <a:pt x="0" y="3"/>
                    <a:pt x="3" y="0"/>
                    <a:pt x="6" y="0"/>
                  </a:cubicBezTo>
                  <a:cubicBezTo>
                    <a:pt x="89" y="0"/>
                    <a:pt x="89" y="0"/>
                    <a:pt x="89" y="0"/>
                  </a:cubicBezTo>
                  <a:cubicBezTo>
                    <a:pt x="92" y="0"/>
                    <a:pt x="95" y="3"/>
                    <a:pt x="95" y="6"/>
                  </a:cubicBezTo>
                  <a:cubicBezTo>
                    <a:pt x="95" y="9"/>
                    <a:pt x="92" y="12"/>
                    <a:pt x="89"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31">
              <a:extLst>
                <a:ext uri="{FF2B5EF4-FFF2-40B4-BE49-F238E27FC236}">
                  <a16:creationId xmlns:a16="http://schemas.microsoft.com/office/drawing/2014/main" id="{5DDB43F6-F6D1-4EED-8670-B25A198FFDF1}"/>
                </a:ext>
              </a:extLst>
            </p:cNvPr>
            <p:cNvSpPr>
              <a:spLocks/>
            </p:cNvSpPr>
            <p:nvPr/>
          </p:nvSpPr>
          <p:spPr bwMode="auto">
            <a:xfrm>
              <a:off x="3323" y="1008"/>
              <a:ext cx="28" cy="80"/>
            </a:xfrm>
            <a:custGeom>
              <a:avLst/>
              <a:gdLst>
                <a:gd name="T0" fmla="*/ 6 w 12"/>
                <a:gd name="T1" fmla="*/ 34 h 34"/>
                <a:gd name="T2" fmla="*/ 0 w 12"/>
                <a:gd name="T3" fmla="*/ 28 h 34"/>
                <a:gd name="T4" fmla="*/ 0 w 12"/>
                <a:gd name="T5" fmla="*/ 6 h 34"/>
                <a:gd name="T6" fmla="*/ 6 w 12"/>
                <a:gd name="T7" fmla="*/ 0 h 34"/>
                <a:gd name="T8" fmla="*/ 12 w 12"/>
                <a:gd name="T9" fmla="*/ 6 h 34"/>
                <a:gd name="T10" fmla="*/ 12 w 12"/>
                <a:gd name="T11" fmla="*/ 28 h 34"/>
                <a:gd name="T12" fmla="*/ 6 w 1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6" y="34"/>
                  </a:moveTo>
                  <a:cubicBezTo>
                    <a:pt x="2" y="34"/>
                    <a:pt x="0" y="31"/>
                    <a:pt x="0" y="28"/>
                  </a:cubicBezTo>
                  <a:cubicBezTo>
                    <a:pt x="0" y="6"/>
                    <a:pt x="0" y="6"/>
                    <a:pt x="0" y="6"/>
                  </a:cubicBezTo>
                  <a:cubicBezTo>
                    <a:pt x="0" y="2"/>
                    <a:pt x="2" y="0"/>
                    <a:pt x="6" y="0"/>
                  </a:cubicBezTo>
                  <a:cubicBezTo>
                    <a:pt x="9" y="0"/>
                    <a:pt x="12" y="2"/>
                    <a:pt x="12" y="6"/>
                  </a:cubicBezTo>
                  <a:cubicBezTo>
                    <a:pt x="12" y="28"/>
                    <a:pt x="12" y="28"/>
                    <a:pt x="12" y="28"/>
                  </a:cubicBezTo>
                  <a:cubicBezTo>
                    <a:pt x="12" y="31"/>
                    <a:pt x="9" y="34"/>
                    <a:pt x="6" y="3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2">
              <a:extLst>
                <a:ext uri="{FF2B5EF4-FFF2-40B4-BE49-F238E27FC236}">
                  <a16:creationId xmlns:a16="http://schemas.microsoft.com/office/drawing/2014/main" id="{E0765497-81E0-4FDF-B15C-5B51CFF85782}"/>
                </a:ext>
              </a:extLst>
            </p:cNvPr>
            <p:cNvSpPr>
              <a:spLocks/>
            </p:cNvSpPr>
            <p:nvPr/>
          </p:nvSpPr>
          <p:spPr bwMode="auto">
            <a:xfrm>
              <a:off x="3226" y="1060"/>
              <a:ext cx="182" cy="197"/>
            </a:xfrm>
            <a:custGeom>
              <a:avLst/>
              <a:gdLst>
                <a:gd name="T0" fmla="*/ 7 w 77"/>
                <a:gd name="T1" fmla="*/ 83 h 83"/>
                <a:gd name="T2" fmla="*/ 2 w 77"/>
                <a:gd name="T3" fmla="*/ 80 h 83"/>
                <a:gd name="T4" fmla="*/ 5 w 77"/>
                <a:gd name="T5" fmla="*/ 72 h 83"/>
                <a:gd name="T6" fmla="*/ 65 w 77"/>
                <a:gd name="T7" fmla="*/ 5 h 83"/>
                <a:gd name="T8" fmla="*/ 72 w 77"/>
                <a:gd name="T9" fmla="*/ 0 h 83"/>
                <a:gd name="T10" fmla="*/ 77 w 77"/>
                <a:gd name="T11" fmla="*/ 7 h 83"/>
                <a:gd name="T12" fmla="*/ 10 w 77"/>
                <a:gd name="T13" fmla="*/ 83 h 83"/>
                <a:gd name="T14" fmla="*/ 7 w 77"/>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83">
                  <a:moveTo>
                    <a:pt x="7" y="83"/>
                  </a:moveTo>
                  <a:cubicBezTo>
                    <a:pt x="5" y="83"/>
                    <a:pt x="3" y="82"/>
                    <a:pt x="2" y="80"/>
                  </a:cubicBezTo>
                  <a:cubicBezTo>
                    <a:pt x="0" y="77"/>
                    <a:pt x="2" y="73"/>
                    <a:pt x="5" y="72"/>
                  </a:cubicBezTo>
                  <a:cubicBezTo>
                    <a:pt x="5" y="72"/>
                    <a:pt x="60" y="48"/>
                    <a:pt x="65" y="5"/>
                  </a:cubicBezTo>
                  <a:cubicBezTo>
                    <a:pt x="66" y="2"/>
                    <a:pt x="69" y="0"/>
                    <a:pt x="72" y="0"/>
                  </a:cubicBezTo>
                  <a:cubicBezTo>
                    <a:pt x="75" y="1"/>
                    <a:pt x="77" y="4"/>
                    <a:pt x="77" y="7"/>
                  </a:cubicBezTo>
                  <a:cubicBezTo>
                    <a:pt x="72" y="57"/>
                    <a:pt x="12" y="82"/>
                    <a:pt x="10" y="83"/>
                  </a:cubicBezTo>
                  <a:cubicBezTo>
                    <a:pt x="9" y="83"/>
                    <a:pt x="8" y="83"/>
                    <a:pt x="7" y="8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3">
              <a:extLst>
                <a:ext uri="{FF2B5EF4-FFF2-40B4-BE49-F238E27FC236}">
                  <a16:creationId xmlns:a16="http://schemas.microsoft.com/office/drawing/2014/main" id="{45C6E35A-737A-4570-9018-B17B1AD90DDF}"/>
                </a:ext>
              </a:extLst>
            </p:cNvPr>
            <p:cNvSpPr>
              <a:spLocks/>
            </p:cNvSpPr>
            <p:nvPr/>
          </p:nvSpPr>
          <p:spPr bwMode="auto">
            <a:xfrm>
              <a:off x="3256" y="1115"/>
              <a:ext cx="160" cy="142"/>
            </a:xfrm>
            <a:custGeom>
              <a:avLst/>
              <a:gdLst>
                <a:gd name="T0" fmla="*/ 60 w 67"/>
                <a:gd name="T1" fmla="*/ 60 h 60"/>
                <a:gd name="T2" fmla="*/ 58 w 67"/>
                <a:gd name="T3" fmla="*/ 60 h 60"/>
                <a:gd name="T4" fmla="*/ 2 w 67"/>
                <a:gd name="T5" fmla="*/ 10 h 60"/>
                <a:gd name="T6" fmla="*/ 4 w 67"/>
                <a:gd name="T7" fmla="*/ 1 h 60"/>
                <a:gd name="T8" fmla="*/ 12 w 67"/>
                <a:gd name="T9" fmla="*/ 3 h 60"/>
                <a:gd name="T10" fmla="*/ 62 w 67"/>
                <a:gd name="T11" fmla="*/ 49 h 60"/>
                <a:gd name="T12" fmla="*/ 66 w 67"/>
                <a:gd name="T13" fmla="*/ 56 h 60"/>
                <a:gd name="T14" fmla="*/ 60 w 67"/>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60">
                  <a:moveTo>
                    <a:pt x="60" y="60"/>
                  </a:moveTo>
                  <a:cubicBezTo>
                    <a:pt x="59" y="60"/>
                    <a:pt x="59" y="60"/>
                    <a:pt x="58" y="60"/>
                  </a:cubicBezTo>
                  <a:cubicBezTo>
                    <a:pt x="27" y="51"/>
                    <a:pt x="3" y="11"/>
                    <a:pt x="2" y="10"/>
                  </a:cubicBezTo>
                  <a:cubicBezTo>
                    <a:pt x="0" y="7"/>
                    <a:pt x="1" y="3"/>
                    <a:pt x="4" y="1"/>
                  </a:cubicBezTo>
                  <a:cubicBezTo>
                    <a:pt x="7" y="0"/>
                    <a:pt x="11" y="1"/>
                    <a:pt x="12" y="3"/>
                  </a:cubicBezTo>
                  <a:cubicBezTo>
                    <a:pt x="13" y="4"/>
                    <a:pt x="35" y="41"/>
                    <a:pt x="62" y="49"/>
                  </a:cubicBezTo>
                  <a:cubicBezTo>
                    <a:pt x="65" y="50"/>
                    <a:pt x="67" y="53"/>
                    <a:pt x="66" y="56"/>
                  </a:cubicBezTo>
                  <a:cubicBezTo>
                    <a:pt x="65" y="59"/>
                    <a:pt x="62" y="60"/>
                    <a:pt x="60" y="6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7" name="Rectangle: Rounded Corners 256">
            <a:extLst>
              <a:ext uri="{FF2B5EF4-FFF2-40B4-BE49-F238E27FC236}">
                <a16:creationId xmlns:a16="http://schemas.microsoft.com/office/drawing/2014/main" id="{089FE926-7F1B-495A-BCB3-2E4B209F6596}"/>
              </a:ext>
            </a:extLst>
          </p:cNvPr>
          <p:cNvSpPr/>
          <p:nvPr/>
        </p:nvSpPr>
        <p:spPr>
          <a:xfrm>
            <a:off x="836342" y="2087215"/>
            <a:ext cx="2563796" cy="528210"/>
          </a:xfrm>
          <a:prstGeom prst="roundRect">
            <a:avLst>
              <a:gd name="adj" fmla="val 50000"/>
            </a:avLst>
          </a:prstGeom>
          <a:solidFill>
            <a:schemeClr val="bg1">
              <a:lumMod val="95000"/>
            </a:schemeClr>
          </a:solidFill>
          <a:effectLst>
            <a:outerShdw dist="114300" dir="8400000" algn="tr" rotWithShape="0">
              <a:prstClr val="black">
                <a:alpha val="4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258" name="Group 257">
            <a:extLst>
              <a:ext uri="{FF2B5EF4-FFF2-40B4-BE49-F238E27FC236}">
                <a16:creationId xmlns:a16="http://schemas.microsoft.com/office/drawing/2014/main" id="{2AFFFD9E-F2AA-4771-AC1C-25F3AC479C0A}"/>
              </a:ext>
            </a:extLst>
          </p:cNvPr>
          <p:cNvGrpSpPr/>
          <p:nvPr/>
        </p:nvGrpSpPr>
        <p:grpSpPr>
          <a:xfrm>
            <a:off x="617392" y="2061694"/>
            <a:ext cx="643132" cy="579252"/>
            <a:chOff x="5035809" y="4247797"/>
            <a:chExt cx="394930" cy="355704"/>
          </a:xfrm>
        </p:grpSpPr>
        <p:sp>
          <p:nvSpPr>
            <p:cNvPr id="262" name="Oval 261">
              <a:extLst>
                <a:ext uri="{FF2B5EF4-FFF2-40B4-BE49-F238E27FC236}">
                  <a16:creationId xmlns:a16="http://schemas.microsoft.com/office/drawing/2014/main" id="{744C0414-7577-40F0-93E6-09D5ED2804BD}"/>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63" name="Oval 262">
              <a:extLst>
                <a:ext uri="{FF2B5EF4-FFF2-40B4-BE49-F238E27FC236}">
                  <a16:creationId xmlns:a16="http://schemas.microsoft.com/office/drawing/2014/main" id="{884B7315-BCAA-4AD6-85DE-6B41378BDE23}"/>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259" name="TextBox 258">
            <a:extLst>
              <a:ext uri="{FF2B5EF4-FFF2-40B4-BE49-F238E27FC236}">
                <a16:creationId xmlns:a16="http://schemas.microsoft.com/office/drawing/2014/main" id="{EE13E5E3-C632-4A27-97B7-1886F23581E9}"/>
              </a:ext>
            </a:extLst>
          </p:cNvPr>
          <p:cNvSpPr txBox="1"/>
          <p:nvPr/>
        </p:nvSpPr>
        <p:spPr>
          <a:xfrm>
            <a:off x="1396560" y="2203188"/>
            <a:ext cx="1294713" cy="276999"/>
          </a:xfrm>
          <a:prstGeom prst="rect">
            <a:avLst/>
          </a:prstGeom>
          <a:noFill/>
        </p:spPr>
        <p:txBody>
          <a:bodyPr wrap="none" lIns="0" tIns="0" rIns="0" bIns="0" rtlCol="0">
            <a:spAutoFit/>
          </a:bodyPr>
          <a:lstStyle/>
          <a:p>
            <a:r>
              <a:rPr lang="en-ID" b="1" dirty="0"/>
              <a:t>Lorem Ipsum </a:t>
            </a:r>
          </a:p>
        </p:txBody>
      </p:sp>
      <p:sp>
        <p:nvSpPr>
          <p:cNvPr id="260" name="Text Placeholder 2">
            <a:extLst>
              <a:ext uri="{FF2B5EF4-FFF2-40B4-BE49-F238E27FC236}">
                <a16:creationId xmlns:a16="http://schemas.microsoft.com/office/drawing/2014/main" id="{A1789AF6-59E4-4F2C-8215-DAA168F28124}"/>
              </a:ext>
            </a:extLst>
          </p:cNvPr>
          <p:cNvSpPr txBox="1">
            <a:spLocks/>
          </p:cNvSpPr>
          <p:nvPr/>
        </p:nvSpPr>
        <p:spPr>
          <a:xfrm>
            <a:off x="705693" y="2799987"/>
            <a:ext cx="2807568" cy="98488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Nunc in </a:t>
            </a:r>
            <a:r>
              <a:rPr lang="en-US" sz="1600" dirty="0" err="1"/>
              <a:t>aliquet</a:t>
            </a:r>
            <a:r>
              <a:rPr lang="en-US" sz="1600" dirty="0"/>
              <a:t> </a:t>
            </a:r>
            <a:r>
              <a:rPr lang="en-US" sz="1600" dirty="0" err="1"/>
              <a:t>nunc</a:t>
            </a:r>
            <a:r>
              <a:rPr lang="en-US" sz="1600" dirty="0"/>
              <a:t>. Morbi </a:t>
            </a:r>
            <a:r>
              <a:rPr lang="en-US" sz="1600" dirty="0" err="1"/>
              <a:t>efficitur</a:t>
            </a:r>
            <a:r>
              <a:rPr lang="en-US" sz="1600" dirty="0"/>
              <a:t> libero at </a:t>
            </a:r>
            <a:r>
              <a:rPr lang="en-US" sz="1600" dirty="0" err="1"/>
              <a:t>lectus</a:t>
            </a:r>
            <a:r>
              <a:rPr lang="en-US" sz="1600" dirty="0"/>
              <a:t> </a:t>
            </a:r>
            <a:r>
              <a:rPr lang="en-US" sz="1600" dirty="0" err="1"/>
              <a:t>laoreet</a:t>
            </a:r>
            <a:endParaRPr lang="en-US" sz="1600" dirty="0"/>
          </a:p>
        </p:txBody>
      </p:sp>
      <p:sp>
        <p:nvSpPr>
          <p:cNvPr id="290" name="Rectangle: Rounded Corners 289">
            <a:extLst>
              <a:ext uri="{FF2B5EF4-FFF2-40B4-BE49-F238E27FC236}">
                <a16:creationId xmlns:a16="http://schemas.microsoft.com/office/drawing/2014/main" id="{53775E91-840C-41A7-8682-A06064676E5B}"/>
              </a:ext>
            </a:extLst>
          </p:cNvPr>
          <p:cNvSpPr/>
          <p:nvPr/>
        </p:nvSpPr>
        <p:spPr>
          <a:xfrm>
            <a:off x="3784339" y="2087215"/>
            <a:ext cx="2563796" cy="528210"/>
          </a:xfrm>
          <a:prstGeom prst="roundRect">
            <a:avLst>
              <a:gd name="adj" fmla="val 50000"/>
            </a:avLst>
          </a:prstGeom>
          <a:solidFill>
            <a:schemeClr val="bg1">
              <a:lumMod val="95000"/>
            </a:schemeClr>
          </a:solidFill>
          <a:effectLst>
            <a:outerShdw dist="114300" dir="8400000" algn="tr" rotWithShape="0">
              <a:prstClr val="black">
                <a:alpha val="4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291" name="Group 290">
            <a:extLst>
              <a:ext uri="{FF2B5EF4-FFF2-40B4-BE49-F238E27FC236}">
                <a16:creationId xmlns:a16="http://schemas.microsoft.com/office/drawing/2014/main" id="{DAB32A7D-6FA5-440D-9835-1B741DCBF791}"/>
              </a:ext>
            </a:extLst>
          </p:cNvPr>
          <p:cNvGrpSpPr/>
          <p:nvPr/>
        </p:nvGrpSpPr>
        <p:grpSpPr>
          <a:xfrm>
            <a:off x="3565389" y="2061694"/>
            <a:ext cx="643132" cy="579252"/>
            <a:chOff x="5035809" y="4247797"/>
            <a:chExt cx="394930" cy="355704"/>
          </a:xfrm>
        </p:grpSpPr>
        <p:sp>
          <p:nvSpPr>
            <p:cNvPr id="292" name="Oval 291">
              <a:extLst>
                <a:ext uri="{FF2B5EF4-FFF2-40B4-BE49-F238E27FC236}">
                  <a16:creationId xmlns:a16="http://schemas.microsoft.com/office/drawing/2014/main" id="{075DFDC5-2425-4D68-A10B-340ED3BA4EFC}"/>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93" name="Oval 292">
              <a:extLst>
                <a:ext uri="{FF2B5EF4-FFF2-40B4-BE49-F238E27FC236}">
                  <a16:creationId xmlns:a16="http://schemas.microsoft.com/office/drawing/2014/main" id="{B6C73D42-41E9-4671-BF47-EECA61E0C59B}"/>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294" name="TextBox 293">
            <a:extLst>
              <a:ext uri="{FF2B5EF4-FFF2-40B4-BE49-F238E27FC236}">
                <a16:creationId xmlns:a16="http://schemas.microsoft.com/office/drawing/2014/main" id="{16C3F454-7BA9-4F8E-9759-40FCE9B09147}"/>
              </a:ext>
            </a:extLst>
          </p:cNvPr>
          <p:cNvSpPr txBox="1"/>
          <p:nvPr/>
        </p:nvSpPr>
        <p:spPr>
          <a:xfrm>
            <a:off x="4344557" y="2203188"/>
            <a:ext cx="1294713" cy="276999"/>
          </a:xfrm>
          <a:prstGeom prst="rect">
            <a:avLst/>
          </a:prstGeom>
          <a:noFill/>
        </p:spPr>
        <p:txBody>
          <a:bodyPr wrap="none" lIns="0" tIns="0" rIns="0" bIns="0" rtlCol="0">
            <a:spAutoFit/>
          </a:bodyPr>
          <a:lstStyle/>
          <a:p>
            <a:r>
              <a:rPr lang="en-ID" b="1" dirty="0"/>
              <a:t>Lorem Ipsum </a:t>
            </a:r>
          </a:p>
        </p:txBody>
      </p:sp>
      <p:sp>
        <p:nvSpPr>
          <p:cNvPr id="295" name="Text Placeholder 2">
            <a:extLst>
              <a:ext uri="{FF2B5EF4-FFF2-40B4-BE49-F238E27FC236}">
                <a16:creationId xmlns:a16="http://schemas.microsoft.com/office/drawing/2014/main" id="{C311CD1A-EE4D-4F1E-B146-9FD9CAF2A2E4}"/>
              </a:ext>
            </a:extLst>
          </p:cNvPr>
          <p:cNvSpPr txBox="1">
            <a:spLocks/>
          </p:cNvSpPr>
          <p:nvPr/>
        </p:nvSpPr>
        <p:spPr>
          <a:xfrm>
            <a:off x="3653690" y="2799987"/>
            <a:ext cx="2807568" cy="98488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Nunc in </a:t>
            </a:r>
            <a:r>
              <a:rPr lang="en-US" sz="1600" dirty="0" err="1"/>
              <a:t>aliquet</a:t>
            </a:r>
            <a:r>
              <a:rPr lang="en-US" sz="1600" dirty="0"/>
              <a:t> </a:t>
            </a:r>
            <a:r>
              <a:rPr lang="en-US" sz="1600" dirty="0" err="1"/>
              <a:t>nunc</a:t>
            </a:r>
            <a:r>
              <a:rPr lang="en-US" sz="1600" dirty="0"/>
              <a:t>. Morbi </a:t>
            </a:r>
            <a:r>
              <a:rPr lang="en-US" sz="1600" dirty="0" err="1"/>
              <a:t>efficitur</a:t>
            </a:r>
            <a:r>
              <a:rPr lang="en-US" sz="1600" dirty="0"/>
              <a:t> libero at </a:t>
            </a:r>
            <a:r>
              <a:rPr lang="en-US" sz="1600" dirty="0" err="1"/>
              <a:t>lectus</a:t>
            </a:r>
            <a:r>
              <a:rPr lang="en-US" sz="1600" dirty="0"/>
              <a:t> </a:t>
            </a:r>
            <a:r>
              <a:rPr lang="en-US" sz="1600" dirty="0" err="1"/>
              <a:t>laoreet</a:t>
            </a:r>
            <a:endParaRPr lang="en-US" sz="1600" dirty="0"/>
          </a:p>
        </p:txBody>
      </p:sp>
      <p:sp>
        <p:nvSpPr>
          <p:cNvPr id="296" name="Rectangle: Rounded Corners 295">
            <a:extLst>
              <a:ext uri="{FF2B5EF4-FFF2-40B4-BE49-F238E27FC236}">
                <a16:creationId xmlns:a16="http://schemas.microsoft.com/office/drawing/2014/main" id="{D815D22A-5560-4543-9BC5-2E17EF1B341E}"/>
              </a:ext>
            </a:extLst>
          </p:cNvPr>
          <p:cNvSpPr/>
          <p:nvPr/>
        </p:nvSpPr>
        <p:spPr>
          <a:xfrm>
            <a:off x="836342" y="4264358"/>
            <a:ext cx="2563796" cy="528210"/>
          </a:xfrm>
          <a:prstGeom prst="roundRect">
            <a:avLst>
              <a:gd name="adj" fmla="val 50000"/>
            </a:avLst>
          </a:prstGeom>
          <a:solidFill>
            <a:schemeClr val="bg1">
              <a:lumMod val="95000"/>
            </a:schemeClr>
          </a:solidFill>
          <a:effectLst>
            <a:outerShdw dist="114300" dir="8400000" algn="tr" rotWithShape="0">
              <a:prstClr val="black">
                <a:alpha val="4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297" name="Group 296">
            <a:extLst>
              <a:ext uri="{FF2B5EF4-FFF2-40B4-BE49-F238E27FC236}">
                <a16:creationId xmlns:a16="http://schemas.microsoft.com/office/drawing/2014/main" id="{57D1D62F-423B-413A-8ACC-DDEFBE4A67BC}"/>
              </a:ext>
            </a:extLst>
          </p:cNvPr>
          <p:cNvGrpSpPr/>
          <p:nvPr/>
        </p:nvGrpSpPr>
        <p:grpSpPr>
          <a:xfrm>
            <a:off x="617392" y="4238837"/>
            <a:ext cx="643132" cy="579252"/>
            <a:chOff x="5035809" y="4247797"/>
            <a:chExt cx="394930" cy="355704"/>
          </a:xfrm>
        </p:grpSpPr>
        <p:sp>
          <p:nvSpPr>
            <p:cNvPr id="298" name="Oval 297">
              <a:extLst>
                <a:ext uri="{FF2B5EF4-FFF2-40B4-BE49-F238E27FC236}">
                  <a16:creationId xmlns:a16="http://schemas.microsoft.com/office/drawing/2014/main" id="{E0CF97DA-BBDA-465E-BCE6-D845639BF56C}"/>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99" name="Oval 298">
              <a:extLst>
                <a:ext uri="{FF2B5EF4-FFF2-40B4-BE49-F238E27FC236}">
                  <a16:creationId xmlns:a16="http://schemas.microsoft.com/office/drawing/2014/main" id="{B6B74E23-23D4-4DA1-A5BE-4439BF8E9732}"/>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00" name="TextBox 299">
            <a:extLst>
              <a:ext uri="{FF2B5EF4-FFF2-40B4-BE49-F238E27FC236}">
                <a16:creationId xmlns:a16="http://schemas.microsoft.com/office/drawing/2014/main" id="{C1C137F5-1558-4EF3-AD16-6101F2AEF12D}"/>
              </a:ext>
            </a:extLst>
          </p:cNvPr>
          <p:cNvSpPr txBox="1"/>
          <p:nvPr/>
        </p:nvSpPr>
        <p:spPr>
          <a:xfrm>
            <a:off x="1396560" y="4380331"/>
            <a:ext cx="1294713" cy="276999"/>
          </a:xfrm>
          <a:prstGeom prst="rect">
            <a:avLst/>
          </a:prstGeom>
          <a:noFill/>
        </p:spPr>
        <p:txBody>
          <a:bodyPr wrap="none" lIns="0" tIns="0" rIns="0" bIns="0" rtlCol="0">
            <a:spAutoFit/>
          </a:bodyPr>
          <a:lstStyle/>
          <a:p>
            <a:r>
              <a:rPr lang="en-ID" b="1" dirty="0"/>
              <a:t>Lorem Ipsum </a:t>
            </a:r>
          </a:p>
        </p:txBody>
      </p:sp>
      <p:sp>
        <p:nvSpPr>
          <p:cNvPr id="301" name="Text Placeholder 2">
            <a:extLst>
              <a:ext uri="{FF2B5EF4-FFF2-40B4-BE49-F238E27FC236}">
                <a16:creationId xmlns:a16="http://schemas.microsoft.com/office/drawing/2014/main" id="{BFEBC24D-ACB4-4B3C-9675-3D0537E92FC8}"/>
              </a:ext>
            </a:extLst>
          </p:cNvPr>
          <p:cNvSpPr txBox="1">
            <a:spLocks/>
          </p:cNvSpPr>
          <p:nvPr/>
        </p:nvSpPr>
        <p:spPr>
          <a:xfrm>
            <a:off x="705693" y="4977130"/>
            <a:ext cx="2807568" cy="98488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Nunc in </a:t>
            </a:r>
            <a:r>
              <a:rPr lang="en-US" sz="1600" dirty="0" err="1"/>
              <a:t>aliquet</a:t>
            </a:r>
            <a:r>
              <a:rPr lang="en-US" sz="1600" dirty="0"/>
              <a:t> </a:t>
            </a:r>
            <a:r>
              <a:rPr lang="en-US" sz="1600" dirty="0" err="1"/>
              <a:t>nunc</a:t>
            </a:r>
            <a:r>
              <a:rPr lang="en-US" sz="1600" dirty="0"/>
              <a:t>. Morbi </a:t>
            </a:r>
            <a:r>
              <a:rPr lang="en-US" sz="1600" dirty="0" err="1"/>
              <a:t>efficitur</a:t>
            </a:r>
            <a:r>
              <a:rPr lang="en-US" sz="1600" dirty="0"/>
              <a:t> libero at </a:t>
            </a:r>
            <a:r>
              <a:rPr lang="en-US" sz="1600" dirty="0" err="1"/>
              <a:t>lectus</a:t>
            </a:r>
            <a:r>
              <a:rPr lang="en-US" sz="1600" dirty="0"/>
              <a:t> </a:t>
            </a:r>
            <a:r>
              <a:rPr lang="en-US" sz="1600" dirty="0" err="1"/>
              <a:t>laoreet</a:t>
            </a:r>
            <a:endParaRPr lang="en-US" sz="1600" dirty="0"/>
          </a:p>
        </p:txBody>
      </p:sp>
      <p:sp>
        <p:nvSpPr>
          <p:cNvPr id="302" name="Rectangle: Rounded Corners 301">
            <a:extLst>
              <a:ext uri="{FF2B5EF4-FFF2-40B4-BE49-F238E27FC236}">
                <a16:creationId xmlns:a16="http://schemas.microsoft.com/office/drawing/2014/main" id="{2386F4D1-6C2F-403C-99F0-6D016A29DC9C}"/>
              </a:ext>
            </a:extLst>
          </p:cNvPr>
          <p:cNvSpPr/>
          <p:nvPr/>
        </p:nvSpPr>
        <p:spPr>
          <a:xfrm>
            <a:off x="3784339" y="4264358"/>
            <a:ext cx="2563796" cy="528210"/>
          </a:xfrm>
          <a:prstGeom prst="roundRect">
            <a:avLst>
              <a:gd name="adj" fmla="val 50000"/>
            </a:avLst>
          </a:prstGeom>
          <a:solidFill>
            <a:schemeClr val="bg1">
              <a:lumMod val="95000"/>
            </a:schemeClr>
          </a:solidFill>
          <a:effectLst>
            <a:outerShdw dist="114300" dir="8400000" algn="tr" rotWithShape="0">
              <a:prstClr val="black">
                <a:alpha val="4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303" name="Group 302">
            <a:extLst>
              <a:ext uri="{FF2B5EF4-FFF2-40B4-BE49-F238E27FC236}">
                <a16:creationId xmlns:a16="http://schemas.microsoft.com/office/drawing/2014/main" id="{4BCD5410-7F62-4066-83FE-B83F72E1B773}"/>
              </a:ext>
            </a:extLst>
          </p:cNvPr>
          <p:cNvGrpSpPr/>
          <p:nvPr/>
        </p:nvGrpSpPr>
        <p:grpSpPr>
          <a:xfrm>
            <a:off x="3565389" y="4238837"/>
            <a:ext cx="643132" cy="579252"/>
            <a:chOff x="5035809" y="4247797"/>
            <a:chExt cx="394930" cy="355704"/>
          </a:xfrm>
        </p:grpSpPr>
        <p:sp>
          <p:nvSpPr>
            <p:cNvPr id="304" name="Oval 303">
              <a:extLst>
                <a:ext uri="{FF2B5EF4-FFF2-40B4-BE49-F238E27FC236}">
                  <a16:creationId xmlns:a16="http://schemas.microsoft.com/office/drawing/2014/main" id="{2D19DED8-204C-48C0-AC64-0EF9645229ED}"/>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05" name="Oval 304">
              <a:extLst>
                <a:ext uri="{FF2B5EF4-FFF2-40B4-BE49-F238E27FC236}">
                  <a16:creationId xmlns:a16="http://schemas.microsoft.com/office/drawing/2014/main" id="{11C2598E-9BCD-4E83-BD1D-F6C74D8B4660}"/>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06" name="TextBox 305">
            <a:extLst>
              <a:ext uri="{FF2B5EF4-FFF2-40B4-BE49-F238E27FC236}">
                <a16:creationId xmlns:a16="http://schemas.microsoft.com/office/drawing/2014/main" id="{A46C0AEE-AFAD-4168-A7A9-4A4BE9040A90}"/>
              </a:ext>
            </a:extLst>
          </p:cNvPr>
          <p:cNvSpPr txBox="1"/>
          <p:nvPr/>
        </p:nvSpPr>
        <p:spPr>
          <a:xfrm>
            <a:off x="4344557" y="4380331"/>
            <a:ext cx="1294713" cy="276999"/>
          </a:xfrm>
          <a:prstGeom prst="rect">
            <a:avLst/>
          </a:prstGeom>
          <a:noFill/>
        </p:spPr>
        <p:txBody>
          <a:bodyPr wrap="none" lIns="0" tIns="0" rIns="0" bIns="0" rtlCol="0">
            <a:spAutoFit/>
          </a:bodyPr>
          <a:lstStyle/>
          <a:p>
            <a:r>
              <a:rPr lang="en-ID" b="1" dirty="0"/>
              <a:t>Lorem Ipsum </a:t>
            </a:r>
          </a:p>
        </p:txBody>
      </p:sp>
      <p:sp>
        <p:nvSpPr>
          <p:cNvPr id="307" name="Text Placeholder 2">
            <a:extLst>
              <a:ext uri="{FF2B5EF4-FFF2-40B4-BE49-F238E27FC236}">
                <a16:creationId xmlns:a16="http://schemas.microsoft.com/office/drawing/2014/main" id="{5CE452DE-53AD-4278-B05D-7CB1E4FCC981}"/>
              </a:ext>
            </a:extLst>
          </p:cNvPr>
          <p:cNvSpPr txBox="1">
            <a:spLocks/>
          </p:cNvSpPr>
          <p:nvPr/>
        </p:nvSpPr>
        <p:spPr>
          <a:xfrm>
            <a:off x="3653690" y="4977130"/>
            <a:ext cx="2807568" cy="98488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dirty="0"/>
              <a:t>Lorem ipsum dolor sit </a:t>
            </a:r>
            <a:r>
              <a:rPr lang="en-US" sz="1600" dirty="0" err="1"/>
              <a:t>amet</a:t>
            </a:r>
            <a:r>
              <a:rPr lang="en-US" sz="1600" dirty="0"/>
              <a:t>, </a:t>
            </a:r>
            <a:r>
              <a:rPr lang="en-US" sz="1600" dirty="0" err="1"/>
              <a:t>consectetur</a:t>
            </a:r>
            <a:r>
              <a:rPr lang="en-US" sz="1600" dirty="0"/>
              <a:t> </a:t>
            </a:r>
            <a:r>
              <a:rPr lang="en-US" sz="1600" dirty="0" err="1"/>
              <a:t>adipiscing</a:t>
            </a:r>
            <a:r>
              <a:rPr lang="en-US" sz="1600" dirty="0"/>
              <a:t> </a:t>
            </a:r>
            <a:r>
              <a:rPr lang="en-US" sz="1600" dirty="0" err="1"/>
              <a:t>elit</a:t>
            </a:r>
            <a:r>
              <a:rPr lang="en-US" sz="1600" dirty="0"/>
              <a:t>. Nunc in </a:t>
            </a:r>
            <a:r>
              <a:rPr lang="en-US" sz="1600" dirty="0" err="1"/>
              <a:t>aliquet</a:t>
            </a:r>
            <a:r>
              <a:rPr lang="en-US" sz="1600" dirty="0"/>
              <a:t> </a:t>
            </a:r>
            <a:r>
              <a:rPr lang="en-US" sz="1600" dirty="0" err="1"/>
              <a:t>nunc</a:t>
            </a:r>
            <a:r>
              <a:rPr lang="en-US" sz="1600" dirty="0"/>
              <a:t>. Morbi </a:t>
            </a:r>
            <a:r>
              <a:rPr lang="en-US" sz="1600" dirty="0" err="1"/>
              <a:t>efficitur</a:t>
            </a:r>
            <a:r>
              <a:rPr lang="en-US" sz="1600" dirty="0"/>
              <a:t> libero at </a:t>
            </a:r>
            <a:r>
              <a:rPr lang="en-US" sz="1600" dirty="0" err="1"/>
              <a:t>lectus</a:t>
            </a:r>
            <a:r>
              <a:rPr lang="en-US" sz="1600" dirty="0"/>
              <a:t> </a:t>
            </a:r>
            <a:r>
              <a:rPr lang="en-US" sz="1600" dirty="0" err="1"/>
              <a:t>laoreet</a:t>
            </a:r>
            <a:endParaRPr lang="en-US" sz="1600" dirty="0"/>
          </a:p>
        </p:txBody>
      </p:sp>
      <p:grpSp>
        <p:nvGrpSpPr>
          <p:cNvPr id="308" name="Group 307">
            <a:extLst>
              <a:ext uri="{FF2B5EF4-FFF2-40B4-BE49-F238E27FC236}">
                <a16:creationId xmlns:a16="http://schemas.microsoft.com/office/drawing/2014/main" id="{302F3D20-2F36-4B3E-BEA4-8ED9F59E8704}"/>
              </a:ext>
            </a:extLst>
          </p:cNvPr>
          <p:cNvGrpSpPr/>
          <p:nvPr/>
        </p:nvGrpSpPr>
        <p:grpSpPr>
          <a:xfrm>
            <a:off x="760275" y="2208314"/>
            <a:ext cx="286013" cy="286013"/>
            <a:chOff x="7726363" y="3255963"/>
            <a:chExt cx="346075" cy="346075"/>
          </a:xfrm>
        </p:grpSpPr>
        <p:sp>
          <p:nvSpPr>
            <p:cNvPr id="309" name="Freeform 120">
              <a:extLst>
                <a:ext uri="{FF2B5EF4-FFF2-40B4-BE49-F238E27FC236}">
                  <a16:creationId xmlns:a16="http://schemas.microsoft.com/office/drawing/2014/main" id="{809F939F-5BA9-415A-A252-F5A129E50DE4}"/>
                </a:ext>
              </a:extLst>
            </p:cNvPr>
            <p:cNvSpPr>
              <a:spLocks/>
            </p:cNvSpPr>
            <p:nvPr/>
          </p:nvSpPr>
          <p:spPr bwMode="auto">
            <a:xfrm>
              <a:off x="7726363" y="3255963"/>
              <a:ext cx="346075" cy="315913"/>
            </a:xfrm>
            <a:custGeom>
              <a:avLst/>
              <a:gdLst>
                <a:gd name="T0" fmla="*/ 64 w 92"/>
                <a:gd name="T1" fmla="*/ 75 h 84"/>
                <a:gd name="T2" fmla="*/ 73 w 92"/>
                <a:gd name="T3" fmla="*/ 84 h 84"/>
                <a:gd name="T4" fmla="*/ 84 w 92"/>
                <a:gd name="T5" fmla="*/ 73 h 84"/>
                <a:gd name="T6" fmla="*/ 75 w 92"/>
                <a:gd name="T7" fmla="*/ 64 h 84"/>
                <a:gd name="T8" fmla="*/ 79 w 92"/>
                <a:gd name="T9" fmla="*/ 52 h 84"/>
                <a:gd name="T10" fmla="*/ 92 w 92"/>
                <a:gd name="T11" fmla="*/ 52 h 84"/>
                <a:gd name="T12" fmla="*/ 92 w 92"/>
                <a:gd name="T13" fmla="*/ 40 h 84"/>
                <a:gd name="T14" fmla="*/ 79 w 92"/>
                <a:gd name="T15" fmla="*/ 40 h 84"/>
                <a:gd name="T16" fmla="*/ 75 w 92"/>
                <a:gd name="T17" fmla="*/ 28 h 84"/>
                <a:gd name="T18" fmla="*/ 84 w 92"/>
                <a:gd name="T19" fmla="*/ 19 h 84"/>
                <a:gd name="T20" fmla="*/ 73 w 92"/>
                <a:gd name="T21" fmla="*/ 8 h 84"/>
                <a:gd name="T22" fmla="*/ 64 w 92"/>
                <a:gd name="T23" fmla="*/ 17 h 84"/>
                <a:gd name="T24" fmla="*/ 52 w 92"/>
                <a:gd name="T25" fmla="*/ 13 h 84"/>
                <a:gd name="T26" fmla="*/ 52 w 92"/>
                <a:gd name="T27" fmla="*/ 0 h 84"/>
                <a:gd name="T28" fmla="*/ 40 w 92"/>
                <a:gd name="T29" fmla="*/ 0 h 84"/>
                <a:gd name="T30" fmla="*/ 40 w 92"/>
                <a:gd name="T31" fmla="*/ 13 h 84"/>
                <a:gd name="T32" fmla="*/ 28 w 92"/>
                <a:gd name="T33" fmla="*/ 17 h 84"/>
                <a:gd name="T34" fmla="*/ 19 w 92"/>
                <a:gd name="T35" fmla="*/ 8 h 84"/>
                <a:gd name="T36" fmla="*/ 8 w 92"/>
                <a:gd name="T37" fmla="*/ 19 h 84"/>
                <a:gd name="T38" fmla="*/ 17 w 92"/>
                <a:gd name="T39" fmla="*/ 28 h 84"/>
                <a:gd name="T40" fmla="*/ 13 w 92"/>
                <a:gd name="T41" fmla="*/ 40 h 84"/>
                <a:gd name="T42" fmla="*/ 0 w 92"/>
                <a:gd name="T43" fmla="*/ 40 h 84"/>
                <a:gd name="T44" fmla="*/ 0 w 92"/>
                <a:gd name="T45" fmla="*/ 52 h 84"/>
                <a:gd name="T46" fmla="*/ 13 w 92"/>
                <a:gd name="T47" fmla="*/ 52 h 84"/>
                <a:gd name="T48" fmla="*/ 17 w 92"/>
                <a:gd name="T49" fmla="*/ 64 h 84"/>
                <a:gd name="T50" fmla="*/ 8 w 92"/>
                <a:gd name="T51" fmla="*/ 73 h 84"/>
                <a:gd name="T52" fmla="*/ 19 w 92"/>
                <a:gd name="T53" fmla="*/ 84 h 84"/>
                <a:gd name="T54" fmla="*/ 28 w 92"/>
                <a:gd name="T55"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84">
                  <a:moveTo>
                    <a:pt x="64" y="75"/>
                  </a:moveTo>
                  <a:cubicBezTo>
                    <a:pt x="73" y="84"/>
                    <a:pt x="73" y="84"/>
                    <a:pt x="73" y="84"/>
                  </a:cubicBezTo>
                  <a:cubicBezTo>
                    <a:pt x="84" y="73"/>
                    <a:pt x="84" y="73"/>
                    <a:pt x="84" y="73"/>
                  </a:cubicBezTo>
                  <a:cubicBezTo>
                    <a:pt x="75" y="64"/>
                    <a:pt x="75" y="64"/>
                    <a:pt x="75" y="64"/>
                  </a:cubicBezTo>
                  <a:cubicBezTo>
                    <a:pt x="77" y="61"/>
                    <a:pt x="78" y="55"/>
                    <a:pt x="79" y="52"/>
                  </a:cubicBezTo>
                  <a:cubicBezTo>
                    <a:pt x="92" y="52"/>
                    <a:pt x="92" y="52"/>
                    <a:pt x="92" y="52"/>
                  </a:cubicBezTo>
                  <a:cubicBezTo>
                    <a:pt x="92" y="40"/>
                    <a:pt x="92" y="40"/>
                    <a:pt x="92" y="40"/>
                  </a:cubicBezTo>
                  <a:cubicBezTo>
                    <a:pt x="79" y="40"/>
                    <a:pt x="79" y="40"/>
                    <a:pt x="79" y="40"/>
                  </a:cubicBezTo>
                  <a:cubicBezTo>
                    <a:pt x="78" y="37"/>
                    <a:pt x="77" y="31"/>
                    <a:pt x="75" y="28"/>
                  </a:cubicBezTo>
                  <a:cubicBezTo>
                    <a:pt x="84" y="19"/>
                    <a:pt x="84" y="19"/>
                    <a:pt x="84" y="19"/>
                  </a:cubicBezTo>
                  <a:cubicBezTo>
                    <a:pt x="73" y="8"/>
                    <a:pt x="73" y="8"/>
                    <a:pt x="73" y="8"/>
                  </a:cubicBezTo>
                  <a:cubicBezTo>
                    <a:pt x="64" y="17"/>
                    <a:pt x="64" y="17"/>
                    <a:pt x="64" y="17"/>
                  </a:cubicBezTo>
                  <a:cubicBezTo>
                    <a:pt x="61" y="15"/>
                    <a:pt x="55" y="14"/>
                    <a:pt x="52" y="13"/>
                  </a:cubicBezTo>
                  <a:cubicBezTo>
                    <a:pt x="52" y="0"/>
                    <a:pt x="52" y="0"/>
                    <a:pt x="52" y="0"/>
                  </a:cubicBezTo>
                  <a:cubicBezTo>
                    <a:pt x="40" y="0"/>
                    <a:pt x="40" y="0"/>
                    <a:pt x="40" y="0"/>
                  </a:cubicBezTo>
                  <a:cubicBezTo>
                    <a:pt x="40" y="13"/>
                    <a:pt x="40" y="13"/>
                    <a:pt x="40" y="13"/>
                  </a:cubicBezTo>
                  <a:cubicBezTo>
                    <a:pt x="37" y="14"/>
                    <a:pt x="31" y="15"/>
                    <a:pt x="28" y="17"/>
                  </a:cubicBezTo>
                  <a:cubicBezTo>
                    <a:pt x="19" y="8"/>
                    <a:pt x="19" y="8"/>
                    <a:pt x="19" y="8"/>
                  </a:cubicBezTo>
                  <a:cubicBezTo>
                    <a:pt x="8" y="19"/>
                    <a:pt x="8" y="19"/>
                    <a:pt x="8" y="19"/>
                  </a:cubicBezTo>
                  <a:cubicBezTo>
                    <a:pt x="17" y="28"/>
                    <a:pt x="17" y="28"/>
                    <a:pt x="17" y="28"/>
                  </a:cubicBezTo>
                  <a:cubicBezTo>
                    <a:pt x="15" y="31"/>
                    <a:pt x="14" y="37"/>
                    <a:pt x="13" y="40"/>
                  </a:cubicBezTo>
                  <a:cubicBezTo>
                    <a:pt x="0" y="40"/>
                    <a:pt x="0" y="40"/>
                    <a:pt x="0" y="40"/>
                  </a:cubicBezTo>
                  <a:cubicBezTo>
                    <a:pt x="0" y="52"/>
                    <a:pt x="0" y="52"/>
                    <a:pt x="0" y="52"/>
                  </a:cubicBezTo>
                  <a:cubicBezTo>
                    <a:pt x="13" y="52"/>
                    <a:pt x="13" y="52"/>
                    <a:pt x="13" y="52"/>
                  </a:cubicBezTo>
                  <a:cubicBezTo>
                    <a:pt x="14" y="55"/>
                    <a:pt x="15" y="61"/>
                    <a:pt x="17" y="64"/>
                  </a:cubicBezTo>
                  <a:cubicBezTo>
                    <a:pt x="8" y="73"/>
                    <a:pt x="8" y="73"/>
                    <a:pt x="8" y="73"/>
                  </a:cubicBezTo>
                  <a:cubicBezTo>
                    <a:pt x="19" y="84"/>
                    <a:pt x="19" y="84"/>
                    <a:pt x="19" y="84"/>
                  </a:cubicBezTo>
                  <a:cubicBezTo>
                    <a:pt x="28" y="75"/>
                    <a:pt x="28" y="75"/>
                    <a:pt x="28" y="75"/>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0" name="Line 121">
              <a:extLst>
                <a:ext uri="{FF2B5EF4-FFF2-40B4-BE49-F238E27FC236}">
                  <a16:creationId xmlns:a16="http://schemas.microsoft.com/office/drawing/2014/main" id="{04B13A17-93E6-432B-AD99-9ADDE45B6BE5}"/>
                </a:ext>
              </a:extLst>
            </p:cNvPr>
            <p:cNvSpPr>
              <a:spLocks noChangeShapeType="1"/>
            </p:cNvSpPr>
            <p:nvPr/>
          </p:nvSpPr>
          <p:spPr bwMode="auto">
            <a:xfrm>
              <a:off x="7877175" y="3557588"/>
              <a:ext cx="444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1" name="Line 122">
              <a:extLst>
                <a:ext uri="{FF2B5EF4-FFF2-40B4-BE49-F238E27FC236}">
                  <a16:creationId xmlns:a16="http://schemas.microsoft.com/office/drawing/2014/main" id="{56DCEF03-C45C-4718-9DAB-90FE32073125}"/>
                </a:ext>
              </a:extLst>
            </p:cNvPr>
            <p:cNvSpPr>
              <a:spLocks noChangeShapeType="1"/>
            </p:cNvSpPr>
            <p:nvPr/>
          </p:nvSpPr>
          <p:spPr bwMode="auto">
            <a:xfrm>
              <a:off x="7877175" y="3587750"/>
              <a:ext cx="444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2" name="Line 123">
              <a:extLst>
                <a:ext uri="{FF2B5EF4-FFF2-40B4-BE49-F238E27FC236}">
                  <a16:creationId xmlns:a16="http://schemas.microsoft.com/office/drawing/2014/main" id="{41D115EF-B10C-4D44-9CDD-D4E249CDBC94}"/>
                </a:ext>
              </a:extLst>
            </p:cNvPr>
            <p:cNvSpPr>
              <a:spLocks noChangeShapeType="1"/>
            </p:cNvSpPr>
            <p:nvPr/>
          </p:nvSpPr>
          <p:spPr bwMode="auto">
            <a:xfrm>
              <a:off x="7899400" y="3587750"/>
              <a:ext cx="0" cy="14288"/>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3" name="Freeform 124">
              <a:extLst>
                <a:ext uri="{FF2B5EF4-FFF2-40B4-BE49-F238E27FC236}">
                  <a16:creationId xmlns:a16="http://schemas.microsoft.com/office/drawing/2014/main" id="{0F2302B1-BDFB-48AB-8B47-9F1C397ACE65}"/>
                </a:ext>
              </a:extLst>
            </p:cNvPr>
            <p:cNvSpPr>
              <a:spLocks/>
            </p:cNvSpPr>
            <p:nvPr/>
          </p:nvSpPr>
          <p:spPr bwMode="auto">
            <a:xfrm>
              <a:off x="7812088" y="3346450"/>
              <a:ext cx="173038" cy="180975"/>
            </a:xfrm>
            <a:custGeom>
              <a:avLst/>
              <a:gdLst>
                <a:gd name="T0" fmla="*/ 46 w 46"/>
                <a:gd name="T1" fmla="*/ 22 h 48"/>
                <a:gd name="T2" fmla="*/ 23 w 46"/>
                <a:gd name="T3" fmla="*/ 0 h 48"/>
                <a:gd name="T4" fmla="*/ 0 w 46"/>
                <a:gd name="T5" fmla="*/ 22 h 48"/>
                <a:gd name="T6" fmla="*/ 17 w 46"/>
                <a:gd name="T7" fmla="*/ 43 h 48"/>
                <a:gd name="T8" fmla="*/ 17 w 46"/>
                <a:gd name="T9" fmla="*/ 48 h 48"/>
                <a:gd name="T10" fmla="*/ 29 w 46"/>
                <a:gd name="T11" fmla="*/ 48 h 48"/>
                <a:gd name="T12" fmla="*/ 29 w 46"/>
                <a:gd name="T13" fmla="*/ 43 h 48"/>
                <a:gd name="T14" fmla="*/ 46 w 46"/>
                <a:gd name="T15" fmla="*/ 2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46" y="22"/>
                  </a:moveTo>
                  <a:cubicBezTo>
                    <a:pt x="46" y="10"/>
                    <a:pt x="36" y="0"/>
                    <a:pt x="23" y="0"/>
                  </a:cubicBezTo>
                  <a:cubicBezTo>
                    <a:pt x="10" y="0"/>
                    <a:pt x="0" y="10"/>
                    <a:pt x="0" y="22"/>
                  </a:cubicBezTo>
                  <a:cubicBezTo>
                    <a:pt x="0" y="32"/>
                    <a:pt x="7" y="41"/>
                    <a:pt x="17" y="43"/>
                  </a:cubicBezTo>
                  <a:cubicBezTo>
                    <a:pt x="17" y="48"/>
                    <a:pt x="17" y="48"/>
                    <a:pt x="17" y="48"/>
                  </a:cubicBezTo>
                  <a:cubicBezTo>
                    <a:pt x="29" y="48"/>
                    <a:pt x="29" y="48"/>
                    <a:pt x="29" y="48"/>
                  </a:cubicBezTo>
                  <a:cubicBezTo>
                    <a:pt x="29" y="43"/>
                    <a:pt x="29" y="43"/>
                    <a:pt x="29" y="43"/>
                  </a:cubicBezTo>
                  <a:cubicBezTo>
                    <a:pt x="39" y="41"/>
                    <a:pt x="46" y="32"/>
                    <a:pt x="46" y="22"/>
                  </a:cubicBez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14" name="Group 313">
            <a:extLst>
              <a:ext uri="{FF2B5EF4-FFF2-40B4-BE49-F238E27FC236}">
                <a16:creationId xmlns:a16="http://schemas.microsoft.com/office/drawing/2014/main" id="{6E2305B5-46D1-41B0-A37D-7C8A5943EA11}"/>
              </a:ext>
            </a:extLst>
          </p:cNvPr>
          <p:cNvGrpSpPr/>
          <p:nvPr/>
        </p:nvGrpSpPr>
        <p:grpSpPr>
          <a:xfrm>
            <a:off x="3726440" y="2208314"/>
            <a:ext cx="257149" cy="286013"/>
            <a:chOff x="6299200" y="5060951"/>
            <a:chExt cx="311150" cy="346075"/>
          </a:xfrm>
        </p:grpSpPr>
        <p:sp>
          <p:nvSpPr>
            <p:cNvPr id="315" name="Freeform 344">
              <a:extLst>
                <a:ext uri="{FF2B5EF4-FFF2-40B4-BE49-F238E27FC236}">
                  <a16:creationId xmlns:a16="http://schemas.microsoft.com/office/drawing/2014/main" id="{F2D89A7B-A747-4D5A-B08A-3EC8D30DC4A1}"/>
                </a:ext>
              </a:extLst>
            </p:cNvPr>
            <p:cNvSpPr>
              <a:spLocks/>
            </p:cNvSpPr>
            <p:nvPr/>
          </p:nvSpPr>
          <p:spPr bwMode="auto">
            <a:xfrm>
              <a:off x="6299200"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6" name="Line 345">
              <a:extLst>
                <a:ext uri="{FF2B5EF4-FFF2-40B4-BE49-F238E27FC236}">
                  <a16:creationId xmlns:a16="http://schemas.microsoft.com/office/drawing/2014/main" id="{09752678-A24C-4A95-B6AD-98074C5D93A9}"/>
                </a:ext>
              </a:extLst>
            </p:cNvPr>
            <p:cNvSpPr>
              <a:spLocks noChangeShapeType="1"/>
            </p:cNvSpPr>
            <p:nvPr/>
          </p:nvSpPr>
          <p:spPr bwMode="auto">
            <a:xfrm>
              <a:off x="6434138" y="5167313"/>
              <a:ext cx="6032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7" name="Line 346">
              <a:extLst>
                <a:ext uri="{FF2B5EF4-FFF2-40B4-BE49-F238E27FC236}">
                  <a16:creationId xmlns:a16="http://schemas.microsoft.com/office/drawing/2014/main" id="{C3A58C12-07AF-4141-BD72-D34D0F16CE7D}"/>
                </a:ext>
              </a:extLst>
            </p:cNvPr>
            <p:cNvSpPr>
              <a:spLocks noChangeShapeType="1"/>
            </p:cNvSpPr>
            <p:nvPr/>
          </p:nvSpPr>
          <p:spPr bwMode="auto">
            <a:xfrm>
              <a:off x="6403975" y="5197476"/>
              <a:ext cx="904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8" name="Line 347">
              <a:extLst>
                <a:ext uri="{FF2B5EF4-FFF2-40B4-BE49-F238E27FC236}">
                  <a16:creationId xmlns:a16="http://schemas.microsoft.com/office/drawing/2014/main" id="{0FD08290-836C-482A-B642-9C3707CF8CA2}"/>
                </a:ext>
              </a:extLst>
            </p:cNvPr>
            <p:cNvSpPr>
              <a:spLocks noChangeShapeType="1"/>
            </p:cNvSpPr>
            <p:nvPr/>
          </p:nvSpPr>
          <p:spPr bwMode="auto">
            <a:xfrm>
              <a:off x="6403975" y="5227638"/>
              <a:ext cx="904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9" name="Line 348">
              <a:extLst>
                <a:ext uri="{FF2B5EF4-FFF2-40B4-BE49-F238E27FC236}">
                  <a16:creationId xmlns:a16="http://schemas.microsoft.com/office/drawing/2014/main" id="{7199F656-47A3-4968-B590-B210182DC709}"/>
                </a:ext>
              </a:extLst>
            </p:cNvPr>
            <p:cNvSpPr>
              <a:spLocks noChangeShapeType="1"/>
            </p:cNvSpPr>
            <p:nvPr/>
          </p:nvSpPr>
          <p:spPr bwMode="auto">
            <a:xfrm>
              <a:off x="6403975" y="5257801"/>
              <a:ext cx="904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0" name="Rectangle 349">
              <a:extLst>
                <a:ext uri="{FF2B5EF4-FFF2-40B4-BE49-F238E27FC236}">
                  <a16:creationId xmlns:a16="http://schemas.microsoft.com/office/drawing/2014/main" id="{745E6843-C6EF-48D6-816F-530A033910C9}"/>
                </a:ext>
              </a:extLst>
            </p:cNvPr>
            <p:cNvSpPr>
              <a:spLocks noChangeArrowheads="1"/>
            </p:cNvSpPr>
            <p:nvPr/>
          </p:nvSpPr>
          <p:spPr bwMode="auto">
            <a:xfrm>
              <a:off x="6373813" y="5137151"/>
              <a:ext cx="150813" cy="150813"/>
            </a:xfrm>
            <a:prstGeom prst="rect">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21" name="Group 320">
            <a:extLst>
              <a:ext uri="{FF2B5EF4-FFF2-40B4-BE49-F238E27FC236}">
                <a16:creationId xmlns:a16="http://schemas.microsoft.com/office/drawing/2014/main" id="{C9C304D3-7F64-4D13-8AB7-79821633E6B3}"/>
              </a:ext>
            </a:extLst>
          </p:cNvPr>
          <p:cNvGrpSpPr/>
          <p:nvPr/>
        </p:nvGrpSpPr>
        <p:grpSpPr>
          <a:xfrm>
            <a:off x="759354" y="4385457"/>
            <a:ext cx="286013" cy="286013"/>
            <a:chOff x="5562600" y="2895601"/>
            <a:chExt cx="346075" cy="346075"/>
          </a:xfrm>
        </p:grpSpPr>
        <p:sp>
          <p:nvSpPr>
            <p:cNvPr id="322" name="Freeform 277">
              <a:extLst>
                <a:ext uri="{FF2B5EF4-FFF2-40B4-BE49-F238E27FC236}">
                  <a16:creationId xmlns:a16="http://schemas.microsoft.com/office/drawing/2014/main" id="{715B0BEF-4E2F-4671-AF90-7F5BE70788B3}"/>
                </a:ext>
              </a:extLst>
            </p:cNvPr>
            <p:cNvSpPr>
              <a:spLocks/>
            </p:cNvSpPr>
            <p:nvPr/>
          </p:nvSpPr>
          <p:spPr bwMode="auto">
            <a:xfrm>
              <a:off x="5637213" y="2895601"/>
              <a:ext cx="195263" cy="179388"/>
            </a:xfrm>
            <a:custGeom>
              <a:avLst/>
              <a:gdLst>
                <a:gd name="T0" fmla="*/ 0 w 52"/>
                <a:gd name="T1" fmla="*/ 32 h 48"/>
                <a:gd name="T2" fmla="*/ 4 w 52"/>
                <a:gd name="T3" fmla="*/ 36 h 48"/>
                <a:gd name="T4" fmla="*/ 8 w 52"/>
                <a:gd name="T5" fmla="*/ 36 h 48"/>
                <a:gd name="T6" fmla="*/ 20 w 52"/>
                <a:gd name="T7" fmla="*/ 48 h 48"/>
                <a:gd name="T8" fmla="*/ 20 w 52"/>
                <a:gd name="T9" fmla="*/ 36 h 48"/>
                <a:gd name="T10" fmla="*/ 48 w 52"/>
                <a:gd name="T11" fmla="*/ 36 h 48"/>
                <a:gd name="T12" fmla="*/ 52 w 52"/>
                <a:gd name="T13" fmla="*/ 32 h 48"/>
                <a:gd name="T14" fmla="*/ 52 w 52"/>
                <a:gd name="T15" fmla="*/ 4 h 48"/>
                <a:gd name="T16" fmla="*/ 48 w 52"/>
                <a:gd name="T17" fmla="*/ 0 h 48"/>
                <a:gd name="T18" fmla="*/ 4 w 52"/>
                <a:gd name="T19" fmla="*/ 0 h 48"/>
                <a:gd name="T20" fmla="*/ 0 w 52"/>
                <a:gd name="T21" fmla="*/ 4 h 48"/>
                <a:gd name="T22" fmla="*/ 0 w 52"/>
                <a:gd name="T2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8">
                  <a:moveTo>
                    <a:pt x="0" y="32"/>
                  </a:moveTo>
                  <a:cubicBezTo>
                    <a:pt x="0" y="34"/>
                    <a:pt x="2" y="36"/>
                    <a:pt x="4" y="36"/>
                  </a:cubicBezTo>
                  <a:cubicBezTo>
                    <a:pt x="8" y="36"/>
                    <a:pt x="8" y="36"/>
                    <a:pt x="8" y="36"/>
                  </a:cubicBezTo>
                  <a:cubicBezTo>
                    <a:pt x="20" y="48"/>
                    <a:pt x="20" y="48"/>
                    <a:pt x="20" y="48"/>
                  </a:cubicBezTo>
                  <a:cubicBezTo>
                    <a:pt x="20" y="36"/>
                    <a:pt x="20" y="36"/>
                    <a:pt x="20" y="36"/>
                  </a:cubicBezTo>
                  <a:cubicBezTo>
                    <a:pt x="48" y="36"/>
                    <a:pt x="48" y="36"/>
                    <a:pt x="48" y="36"/>
                  </a:cubicBezTo>
                  <a:cubicBezTo>
                    <a:pt x="50" y="36"/>
                    <a:pt x="52" y="34"/>
                    <a:pt x="52" y="32"/>
                  </a:cubicBezTo>
                  <a:cubicBezTo>
                    <a:pt x="52" y="4"/>
                    <a:pt x="52" y="4"/>
                    <a:pt x="52" y="4"/>
                  </a:cubicBezTo>
                  <a:cubicBezTo>
                    <a:pt x="52" y="2"/>
                    <a:pt x="50" y="0"/>
                    <a:pt x="48" y="0"/>
                  </a:cubicBezTo>
                  <a:cubicBezTo>
                    <a:pt x="4" y="0"/>
                    <a:pt x="4" y="0"/>
                    <a:pt x="4" y="0"/>
                  </a:cubicBezTo>
                  <a:cubicBezTo>
                    <a:pt x="2" y="0"/>
                    <a:pt x="0" y="2"/>
                    <a:pt x="0" y="4"/>
                  </a:cubicBezTo>
                  <a:lnTo>
                    <a:pt x="0" y="32"/>
                  </a:ln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3" name="Oval 278">
              <a:extLst>
                <a:ext uri="{FF2B5EF4-FFF2-40B4-BE49-F238E27FC236}">
                  <a16:creationId xmlns:a16="http://schemas.microsoft.com/office/drawing/2014/main" id="{BABED65A-EA0C-4771-9556-7EE84B6C414F}"/>
                </a:ext>
              </a:extLst>
            </p:cNvPr>
            <p:cNvSpPr>
              <a:spLocks noChangeArrowheads="1"/>
            </p:cNvSpPr>
            <p:nvPr/>
          </p:nvSpPr>
          <p:spPr bwMode="auto">
            <a:xfrm>
              <a:off x="5810250" y="3060701"/>
              <a:ext cx="76200" cy="74613"/>
            </a:xfrm>
            <a:prstGeom prst="ellipse">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4" name="Freeform 279">
              <a:extLst>
                <a:ext uri="{FF2B5EF4-FFF2-40B4-BE49-F238E27FC236}">
                  <a16:creationId xmlns:a16="http://schemas.microsoft.com/office/drawing/2014/main" id="{A4F9D31B-B641-42B1-970A-A8774CCCA82F}"/>
                </a:ext>
              </a:extLst>
            </p:cNvPr>
            <p:cNvSpPr>
              <a:spLocks/>
            </p:cNvSpPr>
            <p:nvPr/>
          </p:nvSpPr>
          <p:spPr bwMode="auto">
            <a:xfrm>
              <a:off x="5788025"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5" name="Oval 280">
              <a:extLst>
                <a:ext uri="{FF2B5EF4-FFF2-40B4-BE49-F238E27FC236}">
                  <a16:creationId xmlns:a16="http://schemas.microsoft.com/office/drawing/2014/main" id="{D506535A-8C3D-427D-84BF-51B275F675B8}"/>
                </a:ext>
              </a:extLst>
            </p:cNvPr>
            <p:cNvSpPr>
              <a:spLocks noChangeArrowheads="1"/>
            </p:cNvSpPr>
            <p:nvPr/>
          </p:nvSpPr>
          <p:spPr bwMode="auto">
            <a:xfrm>
              <a:off x="5584825" y="3060701"/>
              <a:ext cx="76200" cy="74613"/>
            </a:xfrm>
            <a:prstGeom prst="ellipse">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6" name="Freeform 281">
              <a:extLst>
                <a:ext uri="{FF2B5EF4-FFF2-40B4-BE49-F238E27FC236}">
                  <a16:creationId xmlns:a16="http://schemas.microsoft.com/office/drawing/2014/main" id="{B500AA5F-18AB-455F-9BCD-68D50DCC0F0A}"/>
                </a:ext>
              </a:extLst>
            </p:cNvPr>
            <p:cNvSpPr>
              <a:spLocks/>
            </p:cNvSpPr>
            <p:nvPr/>
          </p:nvSpPr>
          <p:spPr bwMode="auto">
            <a:xfrm>
              <a:off x="5562600"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7" name="Oval 282">
              <a:extLst>
                <a:ext uri="{FF2B5EF4-FFF2-40B4-BE49-F238E27FC236}">
                  <a16:creationId xmlns:a16="http://schemas.microsoft.com/office/drawing/2014/main" id="{F78A8653-DC44-4418-A4EB-6C7DA72576F3}"/>
                </a:ext>
              </a:extLst>
            </p:cNvPr>
            <p:cNvSpPr>
              <a:spLocks noChangeArrowheads="1"/>
            </p:cNvSpPr>
            <p:nvPr/>
          </p:nvSpPr>
          <p:spPr bwMode="auto">
            <a:xfrm>
              <a:off x="5697538" y="3105151"/>
              <a:ext cx="76200" cy="76200"/>
            </a:xfrm>
            <a:prstGeom prst="ellipse">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8" name="Freeform 283">
              <a:extLst>
                <a:ext uri="{FF2B5EF4-FFF2-40B4-BE49-F238E27FC236}">
                  <a16:creationId xmlns:a16="http://schemas.microsoft.com/office/drawing/2014/main" id="{0FB7054F-7412-4F15-A2DE-C4F6CF430024}"/>
                </a:ext>
              </a:extLst>
            </p:cNvPr>
            <p:cNvSpPr>
              <a:spLocks/>
            </p:cNvSpPr>
            <p:nvPr/>
          </p:nvSpPr>
          <p:spPr bwMode="auto">
            <a:xfrm>
              <a:off x="5675313" y="3181351"/>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9" name="Line 284">
              <a:extLst>
                <a:ext uri="{FF2B5EF4-FFF2-40B4-BE49-F238E27FC236}">
                  <a16:creationId xmlns:a16="http://schemas.microsoft.com/office/drawing/2014/main" id="{35FB3ACE-C1E9-4825-8EE4-ED6FAE279233}"/>
                </a:ext>
              </a:extLst>
            </p:cNvPr>
            <p:cNvSpPr>
              <a:spLocks noChangeShapeType="1"/>
            </p:cNvSpPr>
            <p:nvPr/>
          </p:nvSpPr>
          <p:spPr bwMode="auto">
            <a:xfrm>
              <a:off x="5683250" y="2925763"/>
              <a:ext cx="10477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0" name="Line 285">
              <a:extLst>
                <a:ext uri="{FF2B5EF4-FFF2-40B4-BE49-F238E27FC236}">
                  <a16:creationId xmlns:a16="http://schemas.microsoft.com/office/drawing/2014/main" id="{63B79E80-16EE-4523-8812-2D0DD592DD9B}"/>
                </a:ext>
              </a:extLst>
            </p:cNvPr>
            <p:cNvSpPr>
              <a:spLocks noChangeShapeType="1"/>
            </p:cNvSpPr>
            <p:nvPr/>
          </p:nvSpPr>
          <p:spPr bwMode="auto">
            <a:xfrm>
              <a:off x="5683250" y="2955926"/>
              <a:ext cx="10477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1" name="Line 286">
              <a:extLst>
                <a:ext uri="{FF2B5EF4-FFF2-40B4-BE49-F238E27FC236}">
                  <a16:creationId xmlns:a16="http://schemas.microsoft.com/office/drawing/2014/main" id="{028F8839-719B-47E1-A39E-4924815402F6}"/>
                </a:ext>
              </a:extLst>
            </p:cNvPr>
            <p:cNvSpPr>
              <a:spLocks noChangeShapeType="1"/>
            </p:cNvSpPr>
            <p:nvPr/>
          </p:nvSpPr>
          <p:spPr bwMode="auto">
            <a:xfrm>
              <a:off x="5683250" y="2986088"/>
              <a:ext cx="10477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32" name="Group 331">
            <a:extLst>
              <a:ext uri="{FF2B5EF4-FFF2-40B4-BE49-F238E27FC236}">
                <a16:creationId xmlns:a16="http://schemas.microsoft.com/office/drawing/2014/main" id="{2B2C79AC-2389-4B5F-8052-363079BF6316}"/>
              </a:ext>
            </a:extLst>
          </p:cNvPr>
          <p:cNvGrpSpPr/>
          <p:nvPr/>
        </p:nvGrpSpPr>
        <p:grpSpPr>
          <a:xfrm>
            <a:off x="3711098" y="4403825"/>
            <a:ext cx="284701" cy="249277"/>
            <a:chOff x="7005638" y="1465263"/>
            <a:chExt cx="344488" cy="301625"/>
          </a:xfrm>
        </p:grpSpPr>
        <p:sp>
          <p:nvSpPr>
            <p:cNvPr id="333" name="Freeform 233">
              <a:extLst>
                <a:ext uri="{FF2B5EF4-FFF2-40B4-BE49-F238E27FC236}">
                  <a16:creationId xmlns:a16="http://schemas.microsoft.com/office/drawing/2014/main" id="{32E8E9F7-F0CF-4A51-804C-3EE1AB31D606}"/>
                </a:ext>
              </a:extLst>
            </p:cNvPr>
            <p:cNvSpPr>
              <a:spLocks/>
            </p:cNvSpPr>
            <p:nvPr/>
          </p:nvSpPr>
          <p:spPr bwMode="auto">
            <a:xfrm>
              <a:off x="7005638" y="1465263"/>
              <a:ext cx="344488" cy="301625"/>
            </a:xfrm>
            <a:custGeom>
              <a:avLst/>
              <a:gdLst>
                <a:gd name="T0" fmla="*/ 46 w 92"/>
                <a:gd name="T1" fmla="*/ 14 h 80"/>
                <a:gd name="T2" fmla="*/ 92 w 92"/>
                <a:gd name="T3" fmla="*/ 0 h 80"/>
                <a:gd name="T4" fmla="*/ 92 w 92"/>
                <a:gd name="T5" fmla="*/ 66 h 80"/>
                <a:gd name="T6" fmla="*/ 46 w 92"/>
                <a:gd name="T7" fmla="*/ 80 h 80"/>
                <a:gd name="T8" fmla="*/ 0 w 92"/>
                <a:gd name="T9" fmla="*/ 66 h 80"/>
                <a:gd name="T10" fmla="*/ 0 w 92"/>
                <a:gd name="T11" fmla="*/ 0 h 80"/>
                <a:gd name="T12" fmla="*/ 46 w 92"/>
                <a:gd name="T13" fmla="*/ 14 h 80"/>
              </a:gdLst>
              <a:ahLst/>
              <a:cxnLst>
                <a:cxn ang="0">
                  <a:pos x="T0" y="T1"/>
                </a:cxn>
                <a:cxn ang="0">
                  <a:pos x="T2" y="T3"/>
                </a:cxn>
                <a:cxn ang="0">
                  <a:pos x="T4" y="T5"/>
                </a:cxn>
                <a:cxn ang="0">
                  <a:pos x="T6" y="T7"/>
                </a:cxn>
                <a:cxn ang="0">
                  <a:pos x="T8" y="T9"/>
                </a:cxn>
                <a:cxn ang="0">
                  <a:pos x="T10" y="T11"/>
                </a:cxn>
                <a:cxn ang="0">
                  <a:pos x="T12" y="T13"/>
                </a:cxn>
              </a:cxnLst>
              <a:rect l="0" t="0" r="r" b="b"/>
              <a:pathLst>
                <a:path w="92" h="80">
                  <a:moveTo>
                    <a:pt x="46" y="14"/>
                  </a:moveTo>
                  <a:cubicBezTo>
                    <a:pt x="46" y="6"/>
                    <a:pt x="67" y="0"/>
                    <a:pt x="92" y="0"/>
                  </a:cubicBezTo>
                  <a:cubicBezTo>
                    <a:pt x="92" y="66"/>
                    <a:pt x="92" y="66"/>
                    <a:pt x="92" y="66"/>
                  </a:cubicBezTo>
                  <a:cubicBezTo>
                    <a:pt x="67" y="66"/>
                    <a:pt x="46" y="72"/>
                    <a:pt x="46" y="80"/>
                  </a:cubicBezTo>
                  <a:cubicBezTo>
                    <a:pt x="46" y="72"/>
                    <a:pt x="25" y="66"/>
                    <a:pt x="0" y="66"/>
                  </a:cubicBezTo>
                  <a:cubicBezTo>
                    <a:pt x="0" y="0"/>
                    <a:pt x="0" y="0"/>
                    <a:pt x="0" y="0"/>
                  </a:cubicBezTo>
                  <a:cubicBezTo>
                    <a:pt x="25" y="0"/>
                    <a:pt x="46" y="6"/>
                    <a:pt x="46" y="14"/>
                  </a:cubicBez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4" name="Line 234">
              <a:extLst>
                <a:ext uri="{FF2B5EF4-FFF2-40B4-BE49-F238E27FC236}">
                  <a16:creationId xmlns:a16="http://schemas.microsoft.com/office/drawing/2014/main" id="{85EF63D3-4B91-4B87-8AFC-7AE5112EF3A5}"/>
                </a:ext>
              </a:extLst>
            </p:cNvPr>
            <p:cNvSpPr>
              <a:spLocks noChangeShapeType="1"/>
            </p:cNvSpPr>
            <p:nvPr/>
          </p:nvSpPr>
          <p:spPr bwMode="auto">
            <a:xfrm>
              <a:off x="7178675" y="1517651"/>
              <a:ext cx="0" cy="244475"/>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5" name="Freeform 235">
              <a:extLst>
                <a:ext uri="{FF2B5EF4-FFF2-40B4-BE49-F238E27FC236}">
                  <a16:creationId xmlns:a16="http://schemas.microsoft.com/office/drawing/2014/main" id="{475BCBB7-132F-49F0-AC44-8C4070FE043A}"/>
                </a:ext>
              </a:extLst>
            </p:cNvPr>
            <p:cNvSpPr>
              <a:spLocks/>
            </p:cNvSpPr>
            <p:nvPr/>
          </p:nvSpPr>
          <p:spPr bwMode="auto">
            <a:xfrm>
              <a:off x="7042150" y="1533526"/>
              <a:ext cx="98425" cy="19050"/>
            </a:xfrm>
            <a:custGeom>
              <a:avLst/>
              <a:gdLst>
                <a:gd name="T0" fmla="*/ 26 w 26"/>
                <a:gd name="T1" fmla="*/ 5 h 5"/>
                <a:gd name="T2" fmla="*/ 0 w 26"/>
                <a:gd name="T3" fmla="*/ 0 h 5"/>
              </a:gdLst>
              <a:ahLst/>
              <a:cxnLst>
                <a:cxn ang="0">
                  <a:pos x="T0" y="T1"/>
                </a:cxn>
                <a:cxn ang="0">
                  <a:pos x="T2" y="T3"/>
                </a:cxn>
              </a:cxnLst>
              <a:rect l="0" t="0" r="r" b="b"/>
              <a:pathLst>
                <a:path w="26" h="5">
                  <a:moveTo>
                    <a:pt x="26" y="5"/>
                  </a:moveTo>
                  <a:cubicBezTo>
                    <a:pt x="20" y="2"/>
                    <a:pt x="10" y="1"/>
                    <a:pt x="0"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6" name="Freeform 236">
              <a:extLst>
                <a:ext uri="{FF2B5EF4-FFF2-40B4-BE49-F238E27FC236}">
                  <a16:creationId xmlns:a16="http://schemas.microsoft.com/office/drawing/2014/main" id="{23CA1C3F-F0A2-4245-914C-39B274374972}"/>
                </a:ext>
              </a:extLst>
            </p:cNvPr>
            <p:cNvSpPr>
              <a:spLocks/>
            </p:cNvSpPr>
            <p:nvPr/>
          </p:nvSpPr>
          <p:spPr bwMode="auto">
            <a:xfrm>
              <a:off x="7042150" y="1577976"/>
              <a:ext cx="98425" cy="19050"/>
            </a:xfrm>
            <a:custGeom>
              <a:avLst/>
              <a:gdLst>
                <a:gd name="T0" fmla="*/ 26 w 26"/>
                <a:gd name="T1" fmla="*/ 5 h 5"/>
                <a:gd name="T2" fmla="*/ 0 w 26"/>
                <a:gd name="T3" fmla="*/ 0 h 5"/>
              </a:gdLst>
              <a:ahLst/>
              <a:cxnLst>
                <a:cxn ang="0">
                  <a:pos x="T0" y="T1"/>
                </a:cxn>
                <a:cxn ang="0">
                  <a:pos x="T2" y="T3"/>
                </a:cxn>
              </a:cxnLst>
              <a:rect l="0" t="0" r="r" b="b"/>
              <a:pathLst>
                <a:path w="26" h="5">
                  <a:moveTo>
                    <a:pt x="26" y="5"/>
                  </a:moveTo>
                  <a:cubicBezTo>
                    <a:pt x="20" y="2"/>
                    <a:pt x="10" y="1"/>
                    <a:pt x="0"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7" name="Freeform 237">
              <a:extLst>
                <a:ext uri="{FF2B5EF4-FFF2-40B4-BE49-F238E27FC236}">
                  <a16:creationId xmlns:a16="http://schemas.microsoft.com/office/drawing/2014/main" id="{6DF19EE7-E340-481E-BE20-08BF72052562}"/>
                </a:ext>
              </a:extLst>
            </p:cNvPr>
            <p:cNvSpPr>
              <a:spLocks/>
            </p:cNvSpPr>
            <p:nvPr/>
          </p:nvSpPr>
          <p:spPr bwMode="auto">
            <a:xfrm>
              <a:off x="7042150" y="1624013"/>
              <a:ext cx="98425" cy="19050"/>
            </a:xfrm>
            <a:custGeom>
              <a:avLst/>
              <a:gdLst>
                <a:gd name="T0" fmla="*/ 26 w 26"/>
                <a:gd name="T1" fmla="*/ 5 h 5"/>
                <a:gd name="T2" fmla="*/ 0 w 26"/>
                <a:gd name="T3" fmla="*/ 0 h 5"/>
              </a:gdLst>
              <a:ahLst/>
              <a:cxnLst>
                <a:cxn ang="0">
                  <a:pos x="T0" y="T1"/>
                </a:cxn>
                <a:cxn ang="0">
                  <a:pos x="T2" y="T3"/>
                </a:cxn>
              </a:cxnLst>
              <a:rect l="0" t="0" r="r" b="b"/>
              <a:pathLst>
                <a:path w="26" h="5">
                  <a:moveTo>
                    <a:pt x="26" y="5"/>
                  </a:moveTo>
                  <a:cubicBezTo>
                    <a:pt x="20" y="2"/>
                    <a:pt x="10" y="1"/>
                    <a:pt x="0"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8" name="Freeform 238">
              <a:extLst>
                <a:ext uri="{FF2B5EF4-FFF2-40B4-BE49-F238E27FC236}">
                  <a16:creationId xmlns:a16="http://schemas.microsoft.com/office/drawing/2014/main" id="{5A96A9EF-5AD4-4060-A372-43510F600BD2}"/>
                </a:ext>
              </a:extLst>
            </p:cNvPr>
            <p:cNvSpPr>
              <a:spLocks/>
            </p:cNvSpPr>
            <p:nvPr/>
          </p:nvSpPr>
          <p:spPr bwMode="auto">
            <a:xfrm>
              <a:off x="7042150" y="1668463"/>
              <a:ext cx="98425" cy="19050"/>
            </a:xfrm>
            <a:custGeom>
              <a:avLst/>
              <a:gdLst>
                <a:gd name="T0" fmla="*/ 26 w 26"/>
                <a:gd name="T1" fmla="*/ 5 h 5"/>
                <a:gd name="T2" fmla="*/ 0 w 26"/>
                <a:gd name="T3" fmla="*/ 0 h 5"/>
              </a:gdLst>
              <a:ahLst/>
              <a:cxnLst>
                <a:cxn ang="0">
                  <a:pos x="T0" y="T1"/>
                </a:cxn>
                <a:cxn ang="0">
                  <a:pos x="T2" y="T3"/>
                </a:cxn>
              </a:cxnLst>
              <a:rect l="0" t="0" r="r" b="b"/>
              <a:pathLst>
                <a:path w="26" h="5">
                  <a:moveTo>
                    <a:pt x="26" y="5"/>
                  </a:moveTo>
                  <a:cubicBezTo>
                    <a:pt x="20" y="2"/>
                    <a:pt x="10" y="1"/>
                    <a:pt x="0"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9" name="Freeform 239">
              <a:extLst>
                <a:ext uri="{FF2B5EF4-FFF2-40B4-BE49-F238E27FC236}">
                  <a16:creationId xmlns:a16="http://schemas.microsoft.com/office/drawing/2014/main" id="{9EB03CCF-A637-4E9C-BDF2-D5744D93432B}"/>
                </a:ext>
              </a:extLst>
            </p:cNvPr>
            <p:cNvSpPr>
              <a:spLocks/>
            </p:cNvSpPr>
            <p:nvPr/>
          </p:nvSpPr>
          <p:spPr bwMode="auto">
            <a:xfrm>
              <a:off x="7215188" y="1533526"/>
              <a:ext cx="98425" cy="19050"/>
            </a:xfrm>
            <a:custGeom>
              <a:avLst/>
              <a:gdLst>
                <a:gd name="T0" fmla="*/ 0 w 26"/>
                <a:gd name="T1" fmla="*/ 5 h 5"/>
                <a:gd name="T2" fmla="*/ 26 w 26"/>
                <a:gd name="T3" fmla="*/ 0 h 5"/>
              </a:gdLst>
              <a:ahLst/>
              <a:cxnLst>
                <a:cxn ang="0">
                  <a:pos x="T0" y="T1"/>
                </a:cxn>
                <a:cxn ang="0">
                  <a:pos x="T2" y="T3"/>
                </a:cxn>
              </a:cxnLst>
              <a:rect l="0" t="0" r="r" b="b"/>
              <a:pathLst>
                <a:path w="26" h="5">
                  <a:moveTo>
                    <a:pt x="0" y="5"/>
                  </a:moveTo>
                  <a:cubicBezTo>
                    <a:pt x="6" y="2"/>
                    <a:pt x="16" y="1"/>
                    <a:pt x="26"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0" name="Freeform 240">
              <a:extLst>
                <a:ext uri="{FF2B5EF4-FFF2-40B4-BE49-F238E27FC236}">
                  <a16:creationId xmlns:a16="http://schemas.microsoft.com/office/drawing/2014/main" id="{A52BB607-67F4-4EB6-8B95-B43305F8A8E7}"/>
                </a:ext>
              </a:extLst>
            </p:cNvPr>
            <p:cNvSpPr>
              <a:spLocks/>
            </p:cNvSpPr>
            <p:nvPr/>
          </p:nvSpPr>
          <p:spPr bwMode="auto">
            <a:xfrm>
              <a:off x="7215188" y="1577976"/>
              <a:ext cx="98425" cy="19050"/>
            </a:xfrm>
            <a:custGeom>
              <a:avLst/>
              <a:gdLst>
                <a:gd name="T0" fmla="*/ 0 w 26"/>
                <a:gd name="T1" fmla="*/ 5 h 5"/>
                <a:gd name="T2" fmla="*/ 26 w 26"/>
                <a:gd name="T3" fmla="*/ 0 h 5"/>
              </a:gdLst>
              <a:ahLst/>
              <a:cxnLst>
                <a:cxn ang="0">
                  <a:pos x="T0" y="T1"/>
                </a:cxn>
                <a:cxn ang="0">
                  <a:pos x="T2" y="T3"/>
                </a:cxn>
              </a:cxnLst>
              <a:rect l="0" t="0" r="r" b="b"/>
              <a:pathLst>
                <a:path w="26" h="5">
                  <a:moveTo>
                    <a:pt x="0" y="5"/>
                  </a:moveTo>
                  <a:cubicBezTo>
                    <a:pt x="6" y="2"/>
                    <a:pt x="16" y="1"/>
                    <a:pt x="26"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1" name="Freeform 241">
              <a:extLst>
                <a:ext uri="{FF2B5EF4-FFF2-40B4-BE49-F238E27FC236}">
                  <a16:creationId xmlns:a16="http://schemas.microsoft.com/office/drawing/2014/main" id="{E04F16DC-7E9B-41F0-993D-E9B49BB84CBF}"/>
                </a:ext>
              </a:extLst>
            </p:cNvPr>
            <p:cNvSpPr>
              <a:spLocks/>
            </p:cNvSpPr>
            <p:nvPr/>
          </p:nvSpPr>
          <p:spPr bwMode="auto">
            <a:xfrm>
              <a:off x="7215188" y="1624013"/>
              <a:ext cx="98425" cy="19050"/>
            </a:xfrm>
            <a:custGeom>
              <a:avLst/>
              <a:gdLst>
                <a:gd name="T0" fmla="*/ 0 w 26"/>
                <a:gd name="T1" fmla="*/ 5 h 5"/>
                <a:gd name="T2" fmla="*/ 26 w 26"/>
                <a:gd name="T3" fmla="*/ 0 h 5"/>
              </a:gdLst>
              <a:ahLst/>
              <a:cxnLst>
                <a:cxn ang="0">
                  <a:pos x="T0" y="T1"/>
                </a:cxn>
                <a:cxn ang="0">
                  <a:pos x="T2" y="T3"/>
                </a:cxn>
              </a:cxnLst>
              <a:rect l="0" t="0" r="r" b="b"/>
              <a:pathLst>
                <a:path w="26" h="5">
                  <a:moveTo>
                    <a:pt x="0" y="5"/>
                  </a:moveTo>
                  <a:cubicBezTo>
                    <a:pt x="6" y="2"/>
                    <a:pt x="16" y="1"/>
                    <a:pt x="26"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2" name="Freeform 242">
              <a:extLst>
                <a:ext uri="{FF2B5EF4-FFF2-40B4-BE49-F238E27FC236}">
                  <a16:creationId xmlns:a16="http://schemas.microsoft.com/office/drawing/2014/main" id="{3D85E528-55BF-4719-8DF2-8B9859F3CEC1}"/>
                </a:ext>
              </a:extLst>
            </p:cNvPr>
            <p:cNvSpPr>
              <a:spLocks/>
            </p:cNvSpPr>
            <p:nvPr/>
          </p:nvSpPr>
          <p:spPr bwMode="auto">
            <a:xfrm>
              <a:off x="7215188" y="1668463"/>
              <a:ext cx="98425" cy="19050"/>
            </a:xfrm>
            <a:custGeom>
              <a:avLst/>
              <a:gdLst>
                <a:gd name="T0" fmla="*/ 0 w 26"/>
                <a:gd name="T1" fmla="*/ 5 h 5"/>
                <a:gd name="T2" fmla="*/ 26 w 26"/>
                <a:gd name="T3" fmla="*/ 0 h 5"/>
              </a:gdLst>
              <a:ahLst/>
              <a:cxnLst>
                <a:cxn ang="0">
                  <a:pos x="T0" y="T1"/>
                </a:cxn>
                <a:cxn ang="0">
                  <a:pos x="T2" y="T3"/>
                </a:cxn>
              </a:cxnLst>
              <a:rect l="0" t="0" r="r" b="b"/>
              <a:pathLst>
                <a:path w="26" h="5">
                  <a:moveTo>
                    <a:pt x="0" y="5"/>
                  </a:moveTo>
                  <a:cubicBezTo>
                    <a:pt x="6" y="2"/>
                    <a:pt x="16" y="1"/>
                    <a:pt x="26" y="0"/>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 name="Slide Number Placeholder 1">
            <a:extLst>
              <a:ext uri="{FF2B5EF4-FFF2-40B4-BE49-F238E27FC236}">
                <a16:creationId xmlns:a16="http://schemas.microsoft.com/office/drawing/2014/main" id="{E32E9942-F970-4143-A550-E433310851B3}"/>
              </a:ext>
            </a:extLst>
          </p:cNvPr>
          <p:cNvSpPr>
            <a:spLocks noGrp="1"/>
          </p:cNvSpPr>
          <p:nvPr>
            <p:ph type="sldNum" sz="quarter" idx="12"/>
          </p:nvPr>
        </p:nvSpPr>
        <p:spPr/>
        <p:txBody>
          <a:bodyPr/>
          <a:lstStyle/>
          <a:p>
            <a:fld id="{89CD6E39-4852-418B-BA35-BEEEB494AB9E}" type="slidenum">
              <a:rPr lang="en-US" smtClean="0"/>
              <a:t>4</a:t>
            </a:fld>
            <a:endParaRPr lang="en-US"/>
          </a:p>
        </p:txBody>
      </p:sp>
    </p:spTree>
    <p:extLst>
      <p:ext uri="{BB962C8B-B14F-4D97-AF65-F5344CB8AC3E}">
        <p14:creationId xmlns:p14="http://schemas.microsoft.com/office/powerpoint/2010/main" val="3703197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FB91CF-2C5B-44D9-B426-1B56EC7B8915}"/>
              </a:ext>
            </a:extLst>
          </p:cNvPr>
          <p:cNvGraphicFramePr>
            <a:graphicFrameLocks noChangeAspect="1"/>
          </p:cNvGraphicFramePr>
          <p:nvPr>
            <p:custDataLst>
              <p:tags r:id="rId2"/>
            </p:custDataLst>
            <p:extLst>
              <p:ext uri="{D42A27DB-BD31-4B8C-83A1-F6EECF244321}">
                <p14:modId xmlns:p14="http://schemas.microsoft.com/office/powerpoint/2010/main" val="30334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6"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Shape 12">
            <a:extLst>
              <a:ext uri="{FF2B5EF4-FFF2-40B4-BE49-F238E27FC236}">
                <a16:creationId xmlns:a16="http://schemas.microsoft.com/office/drawing/2014/main" id="{C2C836FA-EC19-4AE5-B28B-671B6C1FF2BD}"/>
              </a:ext>
            </a:extLst>
          </p:cNvPr>
          <p:cNvSpPr/>
          <p:nvPr/>
        </p:nvSpPr>
        <p:spPr>
          <a:xfrm>
            <a:off x="0" y="0"/>
            <a:ext cx="6297916" cy="6858000"/>
          </a:xfrm>
          <a:custGeom>
            <a:avLst/>
            <a:gdLst>
              <a:gd name="connsiteX0" fmla="*/ 0 w 6297916"/>
              <a:gd name="connsiteY0" fmla="*/ 0 h 6858000"/>
              <a:gd name="connsiteX1" fmla="*/ 6297916 w 6297916"/>
              <a:gd name="connsiteY1" fmla="*/ 0 h 6858000"/>
              <a:gd name="connsiteX2" fmla="*/ 5971503 w 6297916"/>
              <a:gd name="connsiteY2" fmla="*/ 242882 h 6858000"/>
              <a:gd name="connsiteX3" fmla="*/ 5649754 w 6297916"/>
              <a:gd name="connsiteY3" fmla="*/ 1267805 h 6858000"/>
              <a:gd name="connsiteX4" fmla="*/ 5833944 w 6297916"/>
              <a:gd name="connsiteY4" fmla="*/ 1810413 h 6858000"/>
              <a:gd name="connsiteX5" fmla="*/ 5628771 w 6297916"/>
              <a:gd name="connsiteY5" fmla="*/ 2323736 h 6858000"/>
              <a:gd name="connsiteX6" fmla="*/ 4726471 w 6297916"/>
              <a:gd name="connsiteY6" fmla="*/ 2535611 h 6858000"/>
              <a:gd name="connsiteX7" fmla="*/ 4351097 w 6297916"/>
              <a:gd name="connsiteY7" fmla="*/ 3336602 h 6858000"/>
              <a:gd name="connsiteX8" fmla="*/ 4850043 w 6297916"/>
              <a:gd name="connsiteY8" fmla="*/ 4170322 h 6858000"/>
              <a:gd name="connsiteX9" fmla="*/ 4889677 w 6297916"/>
              <a:gd name="connsiteY9" fmla="*/ 5048829 h 6858000"/>
              <a:gd name="connsiteX10" fmla="*/ 4213536 w 6297916"/>
              <a:gd name="connsiteY10" fmla="*/ 5407121 h 6858000"/>
              <a:gd name="connsiteX11" fmla="*/ 3392841 w 6297916"/>
              <a:gd name="connsiteY11" fmla="*/ 5572487 h 6858000"/>
              <a:gd name="connsiteX12" fmla="*/ 1829917 w 6297916"/>
              <a:gd name="connsiteY12" fmla="*/ 6657300 h 6858000"/>
              <a:gd name="connsiteX13" fmla="*/ 1732440 w 6297916"/>
              <a:gd name="connsiteY13" fmla="*/ 6858000 h 6858000"/>
              <a:gd name="connsiteX14" fmla="*/ 0 w 62979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97916" h="6858000">
                <a:moveTo>
                  <a:pt x="0" y="0"/>
                </a:moveTo>
                <a:lnTo>
                  <a:pt x="6297916" y="0"/>
                </a:lnTo>
                <a:cubicBezTo>
                  <a:pt x="6176677" y="68903"/>
                  <a:pt x="6064764" y="151586"/>
                  <a:pt x="5971503" y="242882"/>
                </a:cubicBezTo>
                <a:cubicBezTo>
                  <a:pt x="5675401" y="530549"/>
                  <a:pt x="5556492" y="912958"/>
                  <a:pt x="5649754" y="1267805"/>
                </a:cubicBezTo>
                <a:cubicBezTo>
                  <a:pt x="5698716" y="1452120"/>
                  <a:pt x="5798970" y="1626098"/>
                  <a:pt x="5833944" y="1810413"/>
                </a:cubicBezTo>
                <a:cubicBezTo>
                  <a:pt x="5868916" y="1994726"/>
                  <a:pt x="5822286" y="2204879"/>
                  <a:pt x="5628771" y="2323736"/>
                </a:cubicBezTo>
                <a:cubicBezTo>
                  <a:pt x="5383960" y="2473598"/>
                  <a:pt x="5008586" y="2427090"/>
                  <a:pt x="4726471" y="2535611"/>
                </a:cubicBezTo>
                <a:cubicBezTo>
                  <a:pt x="4360423" y="2676861"/>
                  <a:pt x="4257836" y="3040322"/>
                  <a:pt x="4351097" y="3336602"/>
                </a:cubicBezTo>
                <a:cubicBezTo>
                  <a:pt x="4444358" y="3632883"/>
                  <a:pt x="4684503" y="3891267"/>
                  <a:pt x="4850043" y="4170322"/>
                </a:cubicBezTo>
                <a:cubicBezTo>
                  <a:pt x="5015579" y="4449377"/>
                  <a:pt x="5101847" y="4786999"/>
                  <a:pt x="4889677" y="5048829"/>
                </a:cubicBezTo>
                <a:cubicBezTo>
                  <a:pt x="4745123" y="5227975"/>
                  <a:pt x="4481663" y="5339941"/>
                  <a:pt x="4213536" y="5407121"/>
                </a:cubicBezTo>
                <a:cubicBezTo>
                  <a:pt x="3945413" y="5476024"/>
                  <a:pt x="3663298" y="5507030"/>
                  <a:pt x="3392841" y="5572487"/>
                </a:cubicBezTo>
                <a:cubicBezTo>
                  <a:pt x="2691053" y="5742805"/>
                  <a:pt x="2119577" y="6157108"/>
                  <a:pt x="1829917" y="6657300"/>
                </a:cubicBezTo>
                <a:lnTo>
                  <a:pt x="1732440" y="6858000"/>
                </a:lnTo>
                <a:lnTo>
                  <a:pt x="0" y="6858000"/>
                </a:lnTo>
                <a:close/>
              </a:path>
            </a:pathLst>
          </a:custGeom>
          <a:gradFill>
            <a:gsLst>
              <a:gs pos="100000">
                <a:srgbClr val="006496"/>
              </a:gs>
              <a:gs pos="49000">
                <a:srgbClr val="0077B5"/>
              </a:gs>
            </a:gsLst>
            <a:lin ang="5400000" scaled="1"/>
          </a:gra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Box 3">
            <a:extLst>
              <a:ext uri="{FF2B5EF4-FFF2-40B4-BE49-F238E27FC236}">
                <a16:creationId xmlns:a16="http://schemas.microsoft.com/office/drawing/2014/main" id="{9FAE43FF-F03A-4C51-AF39-5D732E89AFB5}"/>
              </a:ext>
            </a:extLst>
          </p:cNvPr>
          <p:cNvSpPr txBox="1"/>
          <p:nvPr/>
        </p:nvSpPr>
        <p:spPr>
          <a:xfrm>
            <a:off x="618786" y="527627"/>
            <a:ext cx="4606357" cy="2215991"/>
          </a:xfrm>
          <a:prstGeom prst="rect">
            <a:avLst/>
          </a:prstGeom>
          <a:noFill/>
        </p:spPr>
        <p:txBody>
          <a:bodyPr wrap="square" lIns="0" tIns="0" rIns="0" bIns="0" rtlCol="0" anchor="t" anchorCtr="0">
            <a:spAutoFit/>
          </a:bodyPr>
          <a:lstStyle/>
          <a:p>
            <a:r>
              <a:rPr lang="en-US" sz="3600" b="1" dirty="0">
                <a:solidFill>
                  <a:schemeClr val="bg1"/>
                </a:solidFill>
                <a:latin typeface="Arial Black" panose="020B0A04020102020204" pitchFamily="34" charset="0"/>
              </a:rPr>
              <a:t>5 WAYS TO ACCELERATE YOUR LANGUAGE LEARNING</a:t>
            </a:r>
            <a:endParaRPr lang="en-US" sz="2000" b="1" dirty="0">
              <a:solidFill>
                <a:schemeClr val="bg1"/>
              </a:solidFill>
              <a:latin typeface="Arial Black" panose="020B0A04020102020204" pitchFamily="34" charset="0"/>
            </a:endParaRPr>
          </a:p>
        </p:txBody>
      </p:sp>
      <p:sp>
        <p:nvSpPr>
          <p:cNvPr id="15" name="Freeform 5">
            <a:extLst>
              <a:ext uri="{FF2B5EF4-FFF2-40B4-BE49-F238E27FC236}">
                <a16:creationId xmlns:a16="http://schemas.microsoft.com/office/drawing/2014/main" id="{75AE17F5-7EE0-42D5-9AC9-F407F7CE8C6B}"/>
              </a:ext>
            </a:extLst>
          </p:cNvPr>
          <p:cNvSpPr>
            <a:spLocks/>
          </p:cNvSpPr>
          <p:nvPr/>
        </p:nvSpPr>
        <p:spPr bwMode="auto">
          <a:xfrm>
            <a:off x="7039429" y="2571213"/>
            <a:ext cx="5152571" cy="4286788"/>
          </a:xfrm>
          <a:custGeom>
            <a:avLst/>
            <a:gdLst>
              <a:gd name="T0" fmla="*/ 1301 w 1301"/>
              <a:gd name="T1" fmla="*/ 0 h 1083"/>
              <a:gd name="T2" fmla="*/ 1301 w 1301"/>
              <a:gd name="T3" fmla="*/ 1083 h 1083"/>
              <a:gd name="T4" fmla="*/ 0 w 1301"/>
              <a:gd name="T5" fmla="*/ 1083 h 1083"/>
              <a:gd name="T6" fmla="*/ 344 w 1301"/>
              <a:gd name="T7" fmla="*/ 897 h 1083"/>
              <a:gd name="T8" fmla="*/ 1047 w 1301"/>
              <a:gd name="T9" fmla="*/ 467 h 1083"/>
              <a:gd name="T10" fmla="*/ 1301 w 1301"/>
              <a:gd name="T11" fmla="*/ 0 h 1083"/>
            </a:gdLst>
            <a:ahLst/>
            <a:cxnLst>
              <a:cxn ang="0">
                <a:pos x="T0" y="T1"/>
              </a:cxn>
              <a:cxn ang="0">
                <a:pos x="T2" y="T3"/>
              </a:cxn>
              <a:cxn ang="0">
                <a:pos x="T4" y="T5"/>
              </a:cxn>
              <a:cxn ang="0">
                <a:pos x="T6" y="T7"/>
              </a:cxn>
              <a:cxn ang="0">
                <a:pos x="T8" y="T9"/>
              </a:cxn>
              <a:cxn ang="0">
                <a:pos x="T10" y="T11"/>
              </a:cxn>
            </a:cxnLst>
            <a:rect l="0" t="0" r="r" b="b"/>
            <a:pathLst>
              <a:path w="1301" h="1083">
                <a:moveTo>
                  <a:pt x="1301" y="0"/>
                </a:moveTo>
                <a:cubicBezTo>
                  <a:pt x="1301" y="1083"/>
                  <a:pt x="1301" y="1083"/>
                  <a:pt x="1301" y="1083"/>
                </a:cubicBezTo>
                <a:cubicBezTo>
                  <a:pt x="0" y="1083"/>
                  <a:pt x="0" y="1083"/>
                  <a:pt x="0" y="1083"/>
                </a:cubicBezTo>
                <a:cubicBezTo>
                  <a:pt x="0" y="1083"/>
                  <a:pt x="94" y="911"/>
                  <a:pt x="344" y="897"/>
                </a:cubicBezTo>
                <a:cubicBezTo>
                  <a:pt x="594" y="882"/>
                  <a:pt x="900" y="894"/>
                  <a:pt x="1047" y="467"/>
                </a:cubicBezTo>
                <a:cubicBezTo>
                  <a:pt x="1194" y="41"/>
                  <a:pt x="1177" y="113"/>
                  <a:pt x="1301" y="0"/>
                </a:cubicBezTo>
                <a:close/>
              </a:path>
            </a:pathLst>
          </a:custGeom>
          <a:solidFill>
            <a:schemeClr val="bg1">
              <a:lumMod val="95000"/>
            </a:schemeClr>
          </a:solidFill>
          <a:ln w="11113" cap="flat">
            <a:noFill/>
            <a:prstDash val="solid"/>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EquipExtended-Light"/>
              <a:ea typeface="+mn-ea"/>
              <a:cs typeface="+mn-cs"/>
            </a:endParaRPr>
          </a:p>
        </p:txBody>
      </p:sp>
      <p:grpSp>
        <p:nvGrpSpPr>
          <p:cNvPr id="17" name="Group 5">
            <a:extLst>
              <a:ext uri="{FF2B5EF4-FFF2-40B4-BE49-F238E27FC236}">
                <a16:creationId xmlns:a16="http://schemas.microsoft.com/office/drawing/2014/main" id="{468B9678-FFDB-449D-9DF6-A14F7B3D7BF6}"/>
              </a:ext>
            </a:extLst>
          </p:cNvPr>
          <p:cNvGrpSpPr>
            <a:grpSpLocks noChangeAspect="1"/>
          </p:cNvGrpSpPr>
          <p:nvPr/>
        </p:nvGrpSpPr>
        <p:grpSpPr bwMode="auto">
          <a:xfrm>
            <a:off x="56243" y="2918868"/>
            <a:ext cx="5168900" cy="3371677"/>
            <a:chOff x="392" y="1142"/>
            <a:chExt cx="6172" cy="4026"/>
          </a:xfrm>
        </p:grpSpPr>
        <p:sp>
          <p:nvSpPr>
            <p:cNvPr id="19" name="Freeform 6">
              <a:extLst>
                <a:ext uri="{FF2B5EF4-FFF2-40B4-BE49-F238E27FC236}">
                  <a16:creationId xmlns:a16="http://schemas.microsoft.com/office/drawing/2014/main" id="{A8BD1215-A725-4115-A798-0456490E8F53}"/>
                </a:ext>
              </a:extLst>
            </p:cNvPr>
            <p:cNvSpPr>
              <a:spLocks/>
            </p:cNvSpPr>
            <p:nvPr/>
          </p:nvSpPr>
          <p:spPr bwMode="auto">
            <a:xfrm>
              <a:off x="5912" y="3831"/>
              <a:ext cx="652" cy="1180"/>
            </a:xfrm>
            <a:custGeom>
              <a:avLst/>
              <a:gdLst>
                <a:gd name="T0" fmla="*/ 237 w 275"/>
                <a:gd name="T1" fmla="*/ 11 h 497"/>
                <a:gd name="T2" fmla="*/ 193 w 275"/>
                <a:gd name="T3" fmla="*/ 61 h 497"/>
                <a:gd name="T4" fmla="*/ 169 w 275"/>
                <a:gd name="T5" fmla="*/ 156 h 497"/>
                <a:gd name="T6" fmla="*/ 154 w 275"/>
                <a:gd name="T7" fmla="*/ 163 h 497"/>
                <a:gd name="T8" fmla="*/ 117 w 275"/>
                <a:gd name="T9" fmla="*/ 143 h 497"/>
                <a:gd name="T10" fmla="*/ 109 w 275"/>
                <a:gd name="T11" fmla="*/ 189 h 497"/>
                <a:gd name="T12" fmla="*/ 130 w 275"/>
                <a:gd name="T13" fmla="*/ 267 h 497"/>
                <a:gd name="T14" fmla="*/ 122 w 275"/>
                <a:gd name="T15" fmla="*/ 275 h 497"/>
                <a:gd name="T16" fmla="*/ 57 w 275"/>
                <a:gd name="T17" fmla="*/ 260 h 497"/>
                <a:gd name="T18" fmla="*/ 75 w 275"/>
                <a:gd name="T19" fmla="*/ 348 h 497"/>
                <a:gd name="T20" fmla="*/ 74 w 275"/>
                <a:gd name="T21" fmla="*/ 360 h 497"/>
                <a:gd name="T22" fmla="*/ 45 w 275"/>
                <a:gd name="T23" fmla="*/ 341 h 497"/>
                <a:gd name="T24" fmla="*/ 8 w 275"/>
                <a:gd name="T25" fmla="*/ 336 h 497"/>
                <a:gd name="T26" fmla="*/ 65 w 275"/>
                <a:gd name="T27" fmla="*/ 467 h 497"/>
                <a:gd name="T28" fmla="*/ 94 w 275"/>
                <a:gd name="T29" fmla="*/ 497 h 497"/>
                <a:gd name="T30" fmla="*/ 136 w 275"/>
                <a:gd name="T31" fmla="*/ 487 h 497"/>
                <a:gd name="T32" fmla="*/ 254 w 275"/>
                <a:gd name="T33" fmla="*/ 408 h 497"/>
                <a:gd name="T34" fmla="*/ 221 w 275"/>
                <a:gd name="T35" fmla="*/ 392 h 497"/>
                <a:gd name="T36" fmla="*/ 186 w 275"/>
                <a:gd name="T37" fmla="*/ 393 h 497"/>
                <a:gd name="T38" fmla="*/ 192 w 275"/>
                <a:gd name="T39" fmla="*/ 382 h 497"/>
                <a:gd name="T40" fmla="*/ 255 w 275"/>
                <a:gd name="T41" fmla="*/ 317 h 497"/>
                <a:gd name="T42" fmla="*/ 191 w 275"/>
                <a:gd name="T43" fmla="*/ 295 h 497"/>
                <a:gd name="T44" fmla="*/ 190 w 275"/>
                <a:gd name="T45" fmla="*/ 284 h 497"/>
                <a:gd name="T46" fmla="*/ 249 w 275"/>
                <a:gd name="T47" fmla="*/ 230 h 497"/>
                <a:gd name="T48" fmla="*/ 267 w 275"/>
                <a:gd name="T49" fmla="*/ 187 h 497"/>
                <a:gd name="T50" fmla="*/ 225 w 275"/>
                <a:gd name="T51" fmla="*/ 183 h 497"/>
                <a:gd name="T52" fmla="*/ 216 w 275"/>
                <a:gd name="T53" fmla="*/ 170 h 497"/>
                <a:gd name="T54" fmla="*/ 248 w 275"/>
                <a:gd name="T55" fmla="*/ 77 h 497"/>
                <a:gd name="T56" fmla="*/ 237 w 275"/>
                <a:gd name="T57" fmla="*/ 1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5" h="497">
                  <a:moveTo>
                    <a:pt x="237" y="11"/>
                  </a:moveTo>
                  <a:cubicBezTo>
                    <a:pt x="237" y="11"/>
                    <a:pt x="211" y="0"/>
                    <a:pt x="193" y="61"/>
                  </a:cubicBezTo>
                  <a:cubicBezTo>
                    <a:pt x="174" y="122"/>
                    <a:pt x="169" y="156"/>
                    <a:pt x="169" y="156"/>
                  </a:cubicBezTo>
                  <a:cubicBezTo>
                    <a:pt x="169" y="156"/>
                    <a:pt x="164" y="169"/>
                    <a:pt x="154" y="163"/>
                  </a:cubicBezTo>
                  <a:cubicBezTo>
                    <a:pt x="145" y="157"/>
                    <a:pt x="130" y="137"/>
                    <a:pt x="117" y="143"/>
                  </a:cubicBezTo>
                  <a:cubicBezTo>
                    <a:pt x="104" y="150"/>
                    <a:pt x="102" y="166"/>
                    <a:pt x="109" y="189"/>
                  </a:cubicBezTo>
                  <a:cubicBezTo>
                    <a:pt x="115" y="212"/>
                    <a:pt x="129" y="262"/>
                    <a:pt x="130" y="267"/>
                  </a:cubicBezTo>
                  <a:cubicBezTo>
                    <a:pt x="131" y="271"/>
                    <a:pt x="130" y="278"/>
                    <a:pt x="122" y="275"/>
                  </a:cubicBezTo>
                  <a:cubicBezTo>
                    <a:pt x="115" y="272"/>
                    <a:pt x="72" y="238"/>
                    <a:pt x="57" y="260"/>
                  </a:cubicBezTo>
                  <a:cubicBezTo>
                    <a:pt x="42" y="281"/>
                    <a:pt x="72" y="341"/>
                    <a:pt x="75" y="348"/>
                  </a:cubicBezTo>
                  <a:cubicBezTo>
                    <a:pt x="78" y="355"/>
                    <a:pt x="77" y="358"/>
                    <a:pt x="74" y="360"/>
                  </a:cubicBezTo>
                  <a:cubicBezTo>
                    <a:pt x="71" y="363"/>
                    <a:pt x="57" y="350"/>
                    <a:pt x="45" y="341"/>
                  </a:cubicBezTo>
                  <a:cubicBezTo>
                    <a:pt x="32" y="331"/>
                    <a:pt x="16" y="323"/>
                    <a:pt x="8" y="336"/>
                  </a:cubicBezTo>
                  <a:cubicBezTo>
                    <a:pt x="0" y="349"/>
                    <a:pt x="6" y="398"/>
                    <a:pt x="65" y="467"/>
                  </a:cubicBezTo>
                  <a:cubicBezTo>
                    <a:pt x="94" y="497"/>
                    <a:pt x="94" y="497"/>
                    <a:pt x="94" y="497"/>
                  </a:cubicBezTo>
                  <a:cubicBezTo>
                    <a:pt x="136" y="487"/>
                    <a:pt x="136" y="487"/>
                    <a:pt x="136" y="487"/>
                  </a:cubicBezTo>
                  <a:cubicBezTo>
                    <a:pt x="223" y="461"/>
                    <a:pt x="254" y="424"/>
                    <a:pt x="254" y="408"/>
                  </a:cubicBezTo>
                  <a:cubicBezTo>
                    <a:pt x="255" y="393"/>
                    <a:pt x="237" y="391"/>
                    <a:pt x="221" y="392"/>
                  </a:cubicBezTo>
                  <a:cubicBezTo>
                    <a:pt x="205" y="393"/>
                    <a:pt x="187" y="396"/>
                    <a:pt x="186" y="393"/>
                  </a:cubicBezTo>
                  <a:cubicBezTo>
                    <a:pt x="185" y="389"/>
                    <a:pt x="186" y="386"/>
                    <a:pt x="192" y="382"/>
                  </a:cubicBezTo>
                  <a:cubicBezTo>
                    <a:pt x="198" y="378"/>
                    <a:pt x="255" y="344"/>
                    <a:pt x="255" y="317"/>
                  </a:cubicBezTo>
                  <a:cubicBezTo>
                    <a:pt x="254" y="291"/>
                    <a:pt x="199" y="296"/>
                    <a:pt x="191" y="295"/>
                  </a:cubicBezTo>
                  <a:cubicBezTo>
                    <a:pt x="183" y="294"/>
                    <a:pt x="186" y="287"/>
                    <a:pt x="190" y="284"/>
                  </a:cubicBezTo>
                  <a:cubicBezTo>
                    <a:pt x="193" y="281"/>
                    <a:pt x="231" y="246"/>
                    <a:pt x="249" y="230"/>
                  </a:cubicBezTo>
                  <a:cubicBezTo>
                    <a:pt x="267" y="215"/>
                    <a:pt x="275" y="200"/>
                    <a:pt x="267" y="187"/>
                  </a:cubicBezTo>
                  <a:cubicBezTo>
                    <a:pt x="260" y="175"/>
                    <a:pt x="236" y="183"/>
                    <a:pt x="225" y="183"/>
                  </a:cubicBezTo>
                  <a:cubicBezTo>
                    <a:pt x="214" y="183"/>
                    <a:pt x="216" y="170"/>
                    <a:pt x="216" y="170"/>
                  </a:cubicBezTo>
                  <a:cubicBezTo>
                    <a:pt x="216" y="170"/>
                    <a:pt x="231" y="138"/>
                    <a:pt x="248" y="77"/>
                  </a:cubicBezTo>
                  <a:cubicBezTo>
                    <a:pt x="265" y="16"/>
                    <a:pt x="237" y="11"/>
                    <a:pt x="237" y="11"/>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B5D1D86A-3377-4CD6-9FED-A699BE669A4F}"/>
                </a:ext>
              </a:extLst>
            </p:cNvPr>
            <p:cNvSpPr>
              <a:spLocks/>
            </p:cNvSpPr>
            <p:nvPr/>
          </p:nvSpPr>
          <p:spPr bwMode="auto">
            <a:xfrm>
              <a:off x="6090" y="3988"/>
              <a:ext cx="346" cy="1175"/>
            </a:xfrm>
            <a:custGeom>
              <a:avLst/>
              <a:gdLst>
                <a:gd name="T0" fmla="*/ 146 w 146"/>
                <a:gd name="T1" fmla="*/ 0 h 495"/>
                <a:gd name="T2" fmla="*/ 145 w 146"/>
                <a:gd name="T3" fmla="*/ 1 h 495"/>
                <a:gd name="T4" fmla="*/ 144 w 146"/>
                <a:gd name="T5" fmla="*/ 5 h 495"/>
                <a:gd name="T6" fmla="*/ 140 w 146"/>
                <a:gd name="T7" fmla="*/ 19 h 495"/>
                <a:gd name="T8" fmla="*/ 125 w 146"/>
                <a:gd name="T9" fmla="*/ 73 h 495"/>
                <a:gd name="T10" fmla="*/ 73 w 146"/>
                <a:gd name="T11" fmla="*/ 248 h 495"/>
                <a:gd name="T12" fmla="*/ 21 w 146"/>
                <a:gd name="T13" fmla="*/ 423 h 495"/>
                <a:gd name="T14" fmla="*/ 5 w 146"/>
                <a:gd name="T15" fmla="*/ 476 h 495"/>
                <a:gd name="T16" fmla="*/ 1 w 146"/>
                <a:gd name="T17" fmla="*/ 490 h 495"/>
                <a:gd name="T18" fmla="*/ 0 w 146"/>
                <a:gd name="T19" fmla="*/ 494 h 495"/>
                <a:gd name="T20" fmla="*/ 0 w 146"/>
                <a:gd name="T21" fmla="*/ 495 h 495"/>
                <a:gd name="T22" fmla="*/ 0 w 146"/>
                <a:gd name="T23" fmla="*/ 494 h 495"/>
                <a:gd name="T24" fmla="*/ 1 w 146"/>
                <a:gd name="T25" fmla="*/ 490 h 495"/>
                <a:gd name="T26" fmla="*/ 5 w 146"/>
                <a:gd name="T27" fmla="*/ 475 h 495"/>
                <a:gd name="T28" fmla="*/ 20 w 146"/>
                <a:gd name="T29" fmla="*/ 422 h 495"/>
                <a:gd name="T30" fmla="*/ 72 w 146"/>
                <a:gd name="T31" fmla="*/ 247 h 495"/>
                <a:gd name="T32" fmla="*/ 124 w 146"/>
                <a:gd name="T33" fmla="*/ 72 h 495"/>
                <a:gd name="T34" fmla="*/ 140 w 146"/>
                <a:gd name="T35" fmla="*/ 19 h 495"/>
                <a:gd name="T36" fmla="*/ 144 w 146"/>
                <a:gd name="T37" fmla="*/ 5 h 495"/>
                <a:gd name="T38" fmla="*/ 145 w 146"/>
                <a:gd name="T39" fmla="*/ 1 h 495"/>
                <a:gd name="T40" fmla="*/ 146 w 146"/>
                <a:gd name="T41"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495">
                  <a:moveTo>
                    <a:pt x="146" y="0"/>
                  </a:moveTo>
                  <a:cubicBezTo>
                    <a:pt x="146" y="0"/>
                    <a:pt x="146" y="0"/>
                    <a:pt x="145" y="1"/>
                  </a:cubicBezTo>
                  <a:cubicBezTo>
                    <a:pt x="145" y="2"/>
                    <a:pt x="145" y="3"/>
                    <a:pt x="144" y="5"/>
                  </a:cubicBezTo>
                  <a:cubicBezTo>
                    <a:pt x="143" y="8"/>
                    <a:pt x="142" y="13"/>
                    <a:pt x="140" y="19"/>
                  </a:cubicBezTo>
                  <a:cubicBezTo>
                    <a:pt x="137" y="32"/>
                    <a:pt x="132" y="50"/>
                    <a:pt x="125" y="73"/>
                  </a:cubicBezTo>
                  <a:cubicBezTo>
                    <a:pt x="112" y="118"/>
                    <a:pt x="94" y="179"/>
                    <a:pt x="73" y="248"/>
                  </a:cubicBezTo>
                  <a:cubicBezTo>
                    <a:pt x="53" y="316"/>
                    <a:pt x="34" y="378"/>
                    <a:pt x="21" y="423"/>
                  </a:cubicBezTo>
                  <a:cubicBezTo>
                    <a:pt x="14" y="445"/>
                    <a:pt x="9" y="463"/>
                    <a:pt x="5" y="476"/>
                  </a:cubicBezTo>
                  <a:cubicBezTo>
                    <a:pt x="4" y="482"/>
                    <a:pt x="2" y="487"/>
                    <a:pt x="1" y="490"/>
                  </a:cubicBezTo>
                  <a:cubicBezTo>
                    <a:pt x="1" y="492"/>
                    <a:pt x="0" y="493"/>
                    <a:pt x="0" y="494"/>
                  </a:cubicBezTo>
                  <a:cubicBezTo>
                    <a:pt x="0" y="495"/>
                    <a:pt x="0" y="495"/>
                    <a:pt x="0" y="495"/>
                  </a:cubicBezTo>
                  <a:cubicBezTo>
                    <a:pt x="0" y="495"/>
                    <a:pt x="0" y="495"/>
                    <a:pt x="0" y="494"/>
                  </a:cubicBezTo>
                  <a:cubicBezTo>
                    <a:pt x="0" y="493"/>
                    <a:pt x="0" y="492"/>
                    <a:pt x="1" y="490"/>
                  </a:cubicBezTo>
                  <a:cubicBezTo>
                    <a:pt x="2" y="487"/>
                    <a:pt x="3" y="482"/>
                    <a:pt x="5" y="475"/>
                  </a:cubicBezTo>
                  <a:cubicBezTo>
                    <a:pt x="8" y="463"/>
                    <a:pt x="14" y="445"/>
                    <a:pt x="20" y="422"/>
                  </a:cubicBezTo>
                  <a:cubicBezTo>
                    <a:pt x="33" y="377"/>
                    <a:pt x="51" y="315"/>
                    <a:pt x="72" y="247"/>
                  </a:cubicBezTo>
                  <a:cubicBezTo>
                    <a:pt x="92" y="179"/>
                    <a:pt x="111" y="117"/>
                    <a:pt x="124" y="72"/>
                  </a:cubicBezTo>
                  <a:cubicBezTo>
                    <a:pt x="131" y="50"/>
                    <a:pt x="136" y="32"/>
                    <a:pt x="140" y="19"/>
                  </a:cubicBezTo>
                  <a:cubicBezTo>
                    <a:pt x="142" y="13"/>
                    <a:pt x="143" y="8"/>
                    <a:pt x="144" y="5"/>
                  </a:cubicBezTo>
                  <a:cubicBezTo>
                    <a:pt x="145" y="3"/>
                    <a:pt x="145" y="2"/>
                    <a:pt x="145" y="1"/>
                  </a:cubicBezTo>
                  <a:cubicBezTo>
                    <a:pt x="145" y="0"/>
                    <a:pt x="146" y="0"/>
                    <a:pt x="146"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FADDC6D4-2C9C-4B6F-9090-E3296A9FE197}"/>
                </a:ext>
              </a:extLst>
            </p:cNvPr>
            <p:cNvSpPr>
              <a:spLocks/>
            </p:cNvSpPr>
            <p:nvPr/>
          </p:nvSpPr>
          <p:spPr bwMode="auto">
            <a:xfrm>
              <a:off x="6237" y="4240"/>
              <a:ext cx="76" cy="166"/>
            </a:xfrm>
            <a:custGeom>
              <a:avLst/>
              <a:gdLst>
                <a:gd name="T0" fmla="*/ 0 w 32"/>
                <a:gd name="T1" fmla="*/ 0 h 70"/>
                <a:gd name="T2" fmla="*/ 1 w 32"/>
                <a:gd name="T3" fmla="*/ 2 h 70"/>
                <a:gd name="T4" fmla="*/ 5 w 32"/>
                <a:gd name="T5" fmla="*/ 10 h 70"/>
                <a:gd name="T6" fmla="*/ 16 w 32"/>
                <a:gd name="T7" fmla="*/ 35 h 70"/>
                <a:gd name="T8" fmla="*/ 27 w 32"/>
                <a:gd name="T9" fmla="*/ 60 h 70"/>
                <a:gd name="T10" fmla="*/ 31 w 32"/>
                <a:gd name="T11" fmla="*/ 67 h 70"/>
                <a:gd name="T12" fmla="*/ 32 w 32"/>
                <a:gd name="T13" fmla="*/ 70 h 70"/>
                <a:gd name="T14" fmla="*/ 30 w 32"/>
                <a:gd name="T15" fmla="*/ 68 h 70"/>
                <a:gd name="T16" fmla="*/ 26 w 32"/>
                <a:gd name="T17" fmla="*/ 60 h 70"/>
                <a:gd name="T18" fmla="*/ 15 w 32"/>
                <a:gd name="T19" fmla="*/ 35 h 70"/>
                <a:gd name="T20" fmla="*/ 4 w 32"/>
                <a:gd name="T21" fmla="*/ 10 h 70"/>
                <a:gd name="T22" fmla="*/ 1 w 32"/>
                <a:gd name="T23" fmla="*/ 2 h 70"/>
                <a:gd name="T24" fmla="*/ 0 w 32"/>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70">
                  <a:moveTo>
                    <a:pt x="0" y="0"/>
                  </a:moveTo>
                  <a:cubicBezTo>
                    <a:pt x="0" y="0"/>
                    <a:pt x="0" y="0"/>
                    <a:pt x="1" y="2"/>
                  </a:cubicBezTo>
                  <a:cubicBezTo>
                    <a:pt x="2" y="4"/>
                    <a:pt x="4" y="6"/>
                    <a:pt x="5" y="10"/>
                  </a:cubicBezTo>
                  <a:cubicBezTo>
                    <a:pt x="8" y="16"/>
                    <a:pt x="12" y="25"/>
                    <a:pt x="16" y="35"/>
                  </a:cubicBezTo>
                  <a:cubicBezTo>
                    <a:pt x="21" y="44"/>
                    <a:pt x="24" y="53"/>
                    <a:pt x="27" y="60"/>
                  </a:cubicBezTo>
                  <a:cubicBezTo>
                    <a:pt x="29" y="63"/>
                    <a:pt x="30" y="65"/>
                    <a:pt x="31" y="67"/>
                  </a:cubicBezTo>
                  <a:cubicBezTo>
                    <a:pt x="31" y="69"/>
                    <a:pt x="32" y="70"/>
                    <a:pt x="32" y="70"/>
                  </a:cubicBezTo>
                  <a:cubicBezTo>
                    <a:pt x="32" y="70"/>
                    <a:pt x="31" y="69"/>
                    <a:pt x="30" y="68"/>
                  </a:cubicBezTo>
                  <a:cubicBezTo>
                    <a:pt x="29" y="66"/>
                    <a:pt x="28" y="63"/>
                    <a:pt x="26" y="60"/>
                  </a:cubicBezTo>
                  <a:cubicBezTo>
                    <a:pt x="23" y="54"/>
                    <a:pt x="19" y="45"/>
                    <a:pt x="15" y="35"/>
                  </a:cubicBezTo>
                  <a:cubicBezTo>
                    <a:pt x="11" y="26"/>
                    <a:pt x="7" y="17"/>
                    <a:pt x="4" y="10"/>
                  </a:cubicBezTo>
                  <a:cubicBezTo>
                    <a:pt x="3" y="7"/>
                    <a:pt x="2" y="5"/>
                    <a:pt x="1" y="2"/>
                  </a:cubicBezTo>
                  <a:cubicBezTo>
                    <a:pt x="0"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
              <a:extLst>
                <a:ext uri="{FF2B5EF4-FFF2-40B4-BE49-F238E27FC236}">
                  <a16:creationId xmlns:a16="http://schemas.microsoft.com/office/drawing/2014/main" id="{FF418848-5879-4028-8F56-2CAC34B8F52A}"/>
                </a:ext>
              </a:extLst>
            </p:cNvPr>
            <p:cNvSpPr>
              <a:spLocks/>
            </p:cNvSpPr>
            <p:nvPr/>
          </p:nvSpPr>
          <p:spPr bwMode="auto">
            <a:xfrm>
              <a:off x="6320" y="4313"/>
              <a:ext cx="192" cy="95"/>
            </a:xfrm>
            <a:custGeom>
              <a:avLst/>
              <a:gdLst>
                <a:gd name="T0" fmla="*/ 1 w 81"/>
                <a:gd name="T1" fmla="*/ 39 h 40"/>
                <a:gd name="T2" fmla="*/ 40 w 81"/>
                <a:gd name="T3" fmla="*/ 19 h 40"/>
                <a:gd name="T4" fmla="*/ 81 w 81"/>
                <a:gd name="T5" fmla="*/ 0 h 40"/>
                <a:gd name="T6" fmla="*/ 41 w 81"/>
                <a:gd name="T7" fmla="*/ 20 h 40"/>
                <a:gd name="T8" fmla="*/ 1 w 81"/>
                <a:gd name="T9" fmla="*/ 39 h 40"/>
              </a:gdLst>
              <a:ahLst/>
              <a:cxnLst>
                <a:cxn ang="0">
                  <a:pos x="T0" y="T1"/>
                </a:cxn>
                <a:cxn ang="0">
                  <a:pos x="T2" y="T3"/>
                </a:cxn>
                <a:cxn ang="0">
                  <a:pos x="T4" y="T5"/>
                </a:cxn>
                <a:cxn ang="0">
                  <a:pos x="T6" y="T7"/>
                </a:cxn>
                <a:cxn ang="0">
                  <a:pos x="T8" y="T9"/>
                </a:cxn>
              </a:cxnLst>
              <a:rect l="0" t="0" r="r" b="b"/>
              <a:pathLst>
                <a:path w="81" h="40">
                  <a:moveTo>
                    <a:pt x="1" y="39"/>
                  </a:moveTo>
                  <a:cubicBezTo>
                    <a:pt x="0" y="39"/>
                    <a:pt x="18" y="30"/>
                    <a:pt x="40" y="19"/>
                  </a:cubicBezTo>
                  <a:cubicBezTo>
                    <a:pt x="63" y="8"/>
                    <a:pt x="81" y="0"/>
                    <a:pt x="81" y="0"/>
                  </a:cubicBezTo>
                  <a:cubicBezTo>
                    <a:pt x="81" y="0"/>
                    <a:pt x="63" y="9"/>
                    <a:pt x="41" y="20"/>
                  </a:cubicBezTo>
                  <a:cubicBezTo>
                    <a:pt x="19" y="31"/>
                    <a:pt x="1" y="40"/>
                    <a:pt x="1" y="3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0">
              <a:extLst>
                <a:ext uri="{FF2B5EF4-FFF2-40B4-BE49-F238E27FC236}">
                  <a16:creationId xmlns:a16="http://schemas.microsoft.com/office/drawing/2014/main" id="{9AEF0795-870A-4F3F-93F7-D7D29A562C0D}"/>
                </a:ext>
              </a:extLst>
            </p:cNvPr>
            <p:cNvSpPr>
              <a:spLocks/>
            </p:cNvSpPr>
            <p:nvPr/>
          </p:nvSpPr>
          <p:spPr bwMode="auto">
            <a:xfrm>
              <a:off x="6235" y="4613"/>
              <a:ext cx="185" cy="40"/>
            </a:xfrm>
            <a:custGeom>
              <a:avLst/>
              <a:gdLst>
                <a:gd name="T0" fmla="*/ 0 w 78"/>
                <a:gd name="T1" fmla="*/ 17 h 17"/>
                <a:gd name="T2" fmla="*/ 3 w 78"/>
                <a:gd name="T3" fmla="*/ 16 h 17"/>
                <a:gd name="T4" fmla="*/ 12 w 78"/>
                <a:gd name="T5" fmla="*/ 15 h 17"/>
                <a:gd name="T6" fmla="*/ 39 w 78"/>
                <a:gd name="T7" fmla="*/ 9 h 17"/>
                <a:gd name="T8" fmla="*/ 66 w 78"/>
                <a:gd name="T9" fmla="*/ 3 h 17"/>
                <a:gd name="T10" fmla="*/ 75 w 78"/>
                <a:gd name="T11" fmla="*/ 1 h 17"/>
                <a:gd name="T12" fmla="*/ 78 w 78"/>
                <a:gd name="T13" fmla="*/ 0 h 17"/>
                <a:gd name="T14" fmla="*/ 75 w 78"/>
                <a:gd name="T15" fmla="*/ 1 h 17"/>
                <a:gd name="T16" fmla="*/ 67 w 78"/>
                <a:gd name="T17" fmla="*/ 4 h 17"/>
                <a:gd name="T18" fmla="*/ 39 w 78"/>
                <a:gd name="T19" fmla="*/ 11 h 17"/>
                <a:gd name="T20" fmla="*/ 12 w 78"/>
                <a:gd name="T21" fmla="*/ 16 h 17"/>
                <a:gd name="T22" fmla="*/ 3 w 78"/>
                <a:gd name="T23" fmla="*/ 17 h 17"/>
                <a:gd name="T24" fmla="*/ 0 w 78"/>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7">
                  <a:moveTo>
                    <a:pt x="0" y="17"/>
                  </a:moveTo>
                  <a:cubicBezTo>
                    <a:pt x="0" y="17"/>
                    <a:pt x="1" y="16"/>
                    <a:pt x="3" y="16"/>
                  </a:cubicBezTo>
                  <a:cubicBezTo>
                    <a:pt x="6" y="16"/>
                    <a:pt x="8" y="15"/>
                    <a:pt x="12" y="15"/>
                  </a:cubicBezTo>
                  <a:cubicBezTo>
                    <a:pt x="19" y="13"/>
                    <a:pt x="28" y="11"/>
                    <a:pt x="39" y="9"/>
                  </a:cubicBezTo>
                  <a:cubicBezTo>
                    <a:pt x="50" y="7"/>
                    <a:pt x="59" y="4"/>
                    <a:pt x="66" y="3"/>
                  </a:cubicBezTo>
                  <a:cubicBezTo>
                    <a:pt x="70" y="2"/>
                    <a:pt x="72" y="1"/>
                    <a:pt x="75" y="1"/>
                  </a:cubicBezTo>
                  <a:cubicBezTo>
                    <a:pt x="77" y="0"/>
                    <a:pt x="78" y="0"/>
                    <a:pt x="78" y="0"/>
                  </a:cubicBezTo>
                  <a:cubicBezTo>
                    <a:pt x="78" y="0"/>
                    <a:pt x="77" y="0"/>
                    <a:pt x="75" y="1"/>
                  </a:cubicBezTo>
                  <a:cubicBezTo>
                    <a:pt x="73" y="2"/>
                    <a:pt x="70" y="3"/>
                    <a:pt x="67" y="4"/>
                  </a:cubicBezTo>
                  <a:cubicBezTo>
                    <a:pt x="60" y="6"/>
                    <a:pt x="50" y="8"/>
                    <a:pt x="39" y="11"/>
                  </a:cubicBezTo>
                  <a:cubicBezTo>
                    <a:pt x="29" y="13"/>
                    <a:pt x="19" y="15"/>
                    <a:pt x="12" y="16"/>
                  </a:cubicBezTo>
                  <a:cubicBezTo>
                    <a:pt x="8" y="16"/>
                    <a:pt x="5" y="16"/>
                    <a:pt x="3" y="17"/>
                  </a:cubicBezTo>
                  <a:cubicBezTo>
                    <a:pt x="1" y="17"/>
                    <a:pt x="0" y="17"/>
                    <a:pt x="0" y="1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
              <a:extLst>
                <a:ext uri="{FF2B5EF4-FFF2-40B4-BE49-F238E27FC236}">
                  <a16:creationId xmlns:a16="http://schemas.microsoft.com/office/drawing/2014/main" id="{B545D137-1CEE-4978-BF1A-55DB31349D84}"/>
                </a:ext>
              </a:extLst>
            </p:cNvPr>
            <p:cNvSpPr>
              <a:spLocks/>
            </p:cNvSpPr>
            <p:nvPr/>
          </p:nvSpPr>
          <p:spPr bwMode="auto">
            <a:xfrm>
              <a:off x="6125" y="4518"/>
              <a:ext cx="112" cy="133"/>
            </a:xfrm>
            <a:custGeom>
              <a:avLst/>
              <a:gdLst>
                <a:gd name="T0" fmla="*/ 0 w 47"/>
                <a:gd name="T1" fmla="*/ 0 h 56"/>
                <a:gd name="T2" fmla="*/ 2 w 47"/>
                <a:gd name="T3" fmla="*/ 2 h 56"/>
                <a:gd name="T4" fmla="*/ 7 w 47"/>
                <a:gd name="T5" fmla="*/ 8 h 56"/>
                <a:gd name="T6" fmla="*/ 24 w 47"/>
                <a:gd name="T7" fmla="*/ 27 h 56"/>
                <a:gd name="T8" fmla="*/ 40 w 47"/>
                <a:gd name="T9" fmla="*/ 47 h 56"/>
                <a:gd name="T10" fmla="*/ 45 w 47"/>
                <a:gd name="T11" fmla="*/ 54 h 56"/>
                <a:gd name="T12" fmla="*/ 47 w 47"/>
                <a:gd name="T13" fmla="*/ 56 h 56"/>
                <a:gd name="T14" fmla="*/ 45 w 47"/>
                <a:gd name="T15" fmla="*/ 54 h 56"/>
                <a:gd name="T16" fmla="*/ 40 w 47"/>
                <a:gd name="T17" fmla="*/ 48 h 56"/>
                <a:gd name="T18" fmla="*/ 23 w 47"/>
                <a:gd name="T19" fmla="*/ 28 h 56"/>
                <a:gd name="T20" fmla="*/ 6 w 47"/>
                <a:gd name="T21" fmla="*/ 8 h 56"/>
                <a:gd name="T22" fmla="*/ 1 w 47"/>
                <a:gd name="T23" fmla="*/ 2 h 56"/>
                <a:gd name="T24" fmla="*/ 0 w 47"/>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56">
                  <a:moveTo>
                    <a:pt x="0" y="0"/>
                  </a:moveTo>
                  <a:cubicBezTo>
                    <a:pt x="0" y="0"/>
                    <a:pt x="1" y="1"/>
                    <a:pt x="2" y="2"/>
                  </a:cubicBezTo>
                  <a:cubicBezTo>
                    <a:pt x="3" y="3"/>
                    <a:pt x="5" y="5"/>
                    <a:pt x="7" y="8"/>
                  </a:cubicBezTo>
                  <a:cubicBezTo>
                    <a:pt x="11" y="13"/>
                    <a:pt x="17" y="20"/>
                    <a:pt x="24" y="27"/>
                  </a:cubicBezTo>
                  <a:cubicBezTo>
                    <a:pt x="30" y="35"/>
                    <a:pt x="36" y="42"/>
                    <a:pt x="40" y="47"/>
                  </a:cubicBezTo>
                  <a:cubicBezTo>
                    <a:pt x="42" y="50"/>
                    <a:pt x="44" y="52"/>
                    <a:pt x="45" y="54"/>
                  </a:cubicBezTo>
                  <a:cubicBezTo>
                    <a:pt x="46" y="55"/>
                    <a:pt x="47" y="56"/>
                    <a:pt x="47" y="56"/>
                  </a:cubicBezTo>
                  <a:cubicBezTo>
                    <a:pt x="47" y="56"/>
                    <a:pt x="46" y="55"/>
                    <a:pt x="45" y="54"/>
                  </a:cubicBezTo>
                  <a:cubicBezTo>
                    <a:pt x="44" y="53"/>
                    <a:pt x="42" y="51"/>
                    <a:pt x="40" y="48"/>
                  </a:cubicBezTo>
                  <a:cubicBezTo>
                    <a:pt x="35" y="43"/>
                    <a:pt x="29" y="36"/>
                    <a:pt x="23" y="28"/>
                  </a:cubicBezTo>
                  <a:cubicBezTo>
                    <a:pt x="16" y="21"/>
                    <a:pt x="10" y="14"/>
                    <a:pt x="6" y="8"/>
                  </a:cubicBezTo>
                  <a:cubicBezTo>
                    <a:pt x="4" y="6"/>
                    <a:pt x="3" y="4"/>
                    <a:pt x="1" y="2"/>
                  </a:cubicBezTo>
                  <a:cubicBezTo>
                    <a:pt x="0"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2">
              <a:extLst>
                <a:ext uri="{FF2B5EF4-FFF2-40B4-BE49-F238E27FC236}">
                  <a16:creationId xmlns:a16="http://schemas.microsoft.com/office/drawing/2014/main" id="{EEE84C4D-E87C-4029-88FA-548C526DAAE8}"/>
                </a:ext>
              </a:extLst>
            </p:cNvPr>
            <p:cNvSpPr>
              <a:spLocks/>
            </p:cNvSpPr>
            <p:nvPr/>
          </p:nvSpPr>
          <p:spPr bwMode="auto">
            <a:xfrm>
              <a:off x="6021" y="4724"/>
              <a:ext cx="145" cy="169"/>
            </a:xfrm>
            <a:custGeom>
              <a:avLst/>
              <a:gdLst>
                <a:gd name="T0" fmla="*/ 0 w 61"/>
                <a:gd name="T1" fmla="*/ 0 h 71"/>
                <a:gd name="T2" fmla="*/ 3 w 61"/>
                <a:gd name="T3" fmla="*/ 3 h 71"/>
                <a:gd name="T4" fmla="*/ 10 w 61"/>
                <a:gd name="T5" fmla="*/ 10 h 71"/>
                <a:gd name="T6" fmla="*/ 31 w 61"/>
                <a:gd name="T7" fmla="*/ 35 h 71"/>
                <a:gd name="T8" fmla="*/ 53 w 61"/>
                <a:gd name="T9" fmla="*/ 61 h 71"/>
                <a:gd name="T10" fmla="*/ 59 w 61"/>
                <a:gd name="T11" fmla="*/ 68 h 71"/>
                <a:gd name="T12" fmla="*/ 61 w 61"/>
                <a:gd name="T13" fmla="*/ 71 h 71"/>
                <a:gd name="T14" fmla="*/ 59 w 61"/>
                <a:gd name="T15" fmla="*/ 69 h 71"/>
                <a:gd name="T16" fmla="*/ 52 w 61"/>
                <a:gd name="T17" fmla="*/ 61 h 71"/>
                <a:gd name="T18" fmla="*/ 30 w 61"/>
                <a:gd name="T19" fmla="*/ 36 h 71"/>
                <a:gd name="T20" fmla="*/ 9 w 61"/>
                <a:gd name="T21" fmla="*/ 11 h 71"/>
                <a:gd name="T22" fmla="*/ 2 w 61"/>
                <a:gd name="T23" fmla="*/ 3 h 71"/>
                <a:gd name="T24" fmla="*/ 0 w 61"/>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71">
                  <a:moveTo>
                    <a:pt x="0" y="0"/>
                  </a:moveTo>
                  <a:cubicBezTo>
                    <a:pt x="0" y="0"/>
                    <a:pt x="1" y="1"/>
                    <a:pt x="3" y="3"/>
                  </a:cubicBezTo>
                  <a:cubicBezTo>
                    <a:pt x="5" y="5"/>
                    <a:pt x="7" y="7"/>
                    <a:pt x="10" y="10"/>
                  </a:cubicBezTo>
                  <a:cubicBezTo>
                    <a:pt x="15" y="17"/>
                    <a:pt x="23" y="25"/>
                    <a:pt x="31" y="35"/>
                  </a:cubicBezTo>
                  <a:cubicBezTo>
                    <a:pt x="40" y="45"/>
                    <a:pt x="47" y="54"/>
                    <a:pt x="53" y="61"/>
                  </a:cubicBezTo>
                  <a:cubicBezTo>
                    <a:pt x="55" y="64"/>
                    <a:pt x="57" y="66"/>
                    <a:pt x="59" y="68"/>
                  </a:cubicBezTo>
                  <a:cubicBezTo>
                    <a:pt x="60" y="70"/>
                    <a:pt x="61" y="71"/>
                    <a:pt x="61" y="71"/>
                  </a:cubicBezTo>
                  <a:cubicBezTo>
                    <a:pt x="61" y="71"/>
                    <a:pt x="60" y="70"/>
                    <a:pt x="59" y="69"/>
                  </a:cubicBezTo>
                  <a:cubicBezTo>
                    <a:pt x="57" y="67"/>
                    <a:pt x="55" y="64"/>
                    <a:pt x="52" y="61"/>
                  </a:cubicBezTo>
                  <a:cubicBezTo>
                    <a:pt x="46" y="55"/>
                    <a:pt x="39" y="46"/>
                    <a:pt x="30" y="36"/>
                  </a:cubicBezTo>
                  <a:cubicBezTo>
                    <a:pt x="22" y="26"/>
                    <a:pt x="14" y="17"/>
                    <a:pt x="9" y="11"/>
                  </a:cubicBezTo>
                  <a:cubicBezTo>
                    <a:pt x="6" y="8"/>
                    <a:pt x="4" y="5"/>
                    <a:pt x="2" y="3"/>
                  </a:cubicBezTo>
                  <a:cubicBezTo>
                    <a:pt x="1"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3">
              <a:extLst>
                <a:ext uri="{FF2B5EF4-FFF2-40B4-BE49-F238E27FC236}">
                  <a16:creationId xmlns:a16="http://schemas.microsoft.com/office/drawing/2014/main" id="{7B3F9B79-FD8F-4553-9D4F-49B38E53512D}"/>
                </a:ext>
              </a:extLst>
            </p:cNvPr>
            <p:cNvSpPr>
              <a:spLocks/>
            </p:cNvSpPr>
            <p:nvPr/>
          </p:nvSpPr>
          <p:spPr bwMode="auto">
            <a:xfrm>
              <a:off x="6163" y="4831"/>
              <a:ext cx="233" cy="57"/>
            </a:xfrm>
            <a:custGeom>
              <a:avLst/>
              <a:gdLst>
                <a:gd name="T0" fmla="*/ 0 w 98"/>
                <a:gd name="T1" fmla="*/ 24 h 24"/>
                <a:gd name="T2" fmla="*/ 4 w 98"/>
                <a:gd name="T3" fmla="*/ 23 h 24"/>
                <a:gd name="T4" fmla="*/ 15 w 98"/>
                <a:gd name="T5" fmla="*/ 21 h 24"/>
                <a:gd name="T6" fmla="*/ 49 w 98"/>
                <a:gd name="T7" fmla="*/ 13 h 24"/>
                <a:gd name="T8" fmla="*/ 83 w 98"/>
                <a:gd name="T9" fmla="*/ 4 h 24"/>
                <a:gd name="T10" fmla="*/ 94 w 98"/>
                <a:gd name="T11" fmla="*/ 1 h 24"/>
                <a:gd name="T12" fmla="*/ 98 w 98"/>
                <a:gd name="T13" fmla="*/ 0 h 24"/>
                <a:gd name="T14" fmla="*/ 94 w 98"/>
                <a:gd name="T15" fmla="*/ 2 h 24"/>
                <a:gd name="T16" fmla="*/ 84 w 98"/>
                <a:gd name="T17" fmla="*/ 5 h 24"/>
                <a:gd name="T18" fmla="*/ 49 w 98"/>
                <a:gd name="T19" fmla="*/ 14 h 24"/>
                <a:gd name="T20" fmla="*/ 15 w 98"/>
                <a:gd name="T21" fmla="*/ 22 h 24"/>
                <a:gd name="T22" fmla="*/ 4 w 98"/>
                <a:gd name="T23" fmla="*/ 24 h 24"/>
                <a:gd name="T24" fmla="*/ 0 w 98"/>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24">
                  <a:moveTo>
                    <a:pt x="0" y="24"/>
                  </a:moveTo>
                  <a:cubicBezTo>
                    <a:pt x="0" y="24"/>
                    <a:pt x="2" y="24"/>
                    <a:pt x="4" y="23"/>
                  </a:cubicBezTo>
                  <a:cubicBezTo>
                    <a:pt x="7" y="23"/>
                    <a:pt x="10" y="22"/>
                    <a:pt x="15" y="21"/>
                  </a:cubicBezTo>
                  <a:cubicBezTo>
                    <a:pt x="23" y="19"/>
                    <a:pt x="36" y="16"/>
                    <a:pt x="49" y="13"/>
                  </a:cubicBezTo>
                  <a:cubicBezTo>
                    <a:pt x="63" y="10"/>
                    <a:pt x="75" y="6"/>
                    <a:pt x="83" y="4"/>
                  </a:cubicBezTo>
                  <a:cubicBezTo>
                    <a:pt x="88" y="3"/>
                    <a:pt x="91" y="2"/>
                    <a:pt x="94" y="1"/>
                  </a:cubicBezTo>
                  <a:cubicBezTo>
                    <a:pt x="96" y="0"/>
                    <a:pt x="98" y="0"/>
                    <a:pt x="98" y="0"/>
                  </a:cubicBezTo>
                  <a:cubicBezTo>
                    <a:pt x="98" y="0"/>
                    <a:pt x="96" y="1"/>
                    <a:pt x="94" y="2"/>
                  </a:cubicBezTo>
                  <a:cubicBezTo>
                    <a:pt x="92" y="2"/>
                    <a:pt x="88" y="4"/>
                    <a:pt x="84" y="5"/>
                  </a:cubicBezTo>
                  <a:cubicBezTo>
                    <a:pt x="75" y="8"/>
                    <a:pt x="63" y="11"/>
                    <a:pt x="49" y="14"/>
                  </a:cubicBezTo>
                  <a:cubicBezTo>
                    <a:pt x="36" y="18"/>
                    <a:pt x="24" y="20"/>
                    <a:pt x="15" y="22"/>
                  </a:cubicBezTo>
                  <a:cubicBezTo>
                    <a:pt x="10" y="23"/>
                    <a:pt x="7" y="23"/>
                    <a:pt x="4" y="24"/>
                  </a:cubicBezTo>
                  <a:cubicBezTo>
                    <a:pt x="2" y="24"/>
                    <a:pt x="0" y="24"/>
                    <a:pt x="0" y="2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4">
              <a:extLst>
                <a:ext uri="{FF2B5EF4-FFF2-40B4-BE49-F238E27FC236}">
                  <a16:creationId xmlns:a16="http://schemas.microsoft.com/office/drawing/2014/main" id="{00FBF7CB-5916-455B-B07B-84FF83578892}"/>
                </a:ext>
              </a:extLst>
            </p:cNvPr>
            <p:cNvSpPr>
              <a:spLocks noChangeArrowheads="1"/>
            </p:cNvSpPr>
            <p:nvPr/>
          </p:nvSpPr>
          <p:spPr bwMode="auto">
            <a:xfrm>
              <a:off x="2357" y="4237"/>
              <a:ext cx="1237" cy="570"/>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5">
              <a:extLst>
                <a:ext uri="{FF2B5EF4-FFF2-40B4-BE49-F238E27FC236}">
                  <a16:creationId xmlns:a16="http://schemas.microsoft.com/office/drawing/2014/main" id="{CB88CD28-78E1-48A8-9E57-C99572915F8E}"/>
                </a:ext>
              </a:extLst>
            </p:cNvPr>
            <p:cNvSpPr>
              <a:spLocks noEditPoints="1"/>
            </p:cNvSpPr>
            <p:nvPr/>
          </p:nvSpPr>
          <p:spPr bwMode="auto">
            <a:xfrm>
              <a:off x="2386" y="4268"/>
              <a:ext cx="1177" cy="513"/>
            </a:xfrm>
            <a:custGeom>
              <a:avLst/>
              <a:gdLst>
                <a:gd name="T0" fmla="*/ 1177 w 1177"/>
                <a:gd name="T1" fmla="*/ 513 h 513"/>
                <a:gd name="T2" fmla="*/ 0 w 1177"/>
                <a:gd name="T3" fmla="*/ 513 h 513"/>
                <a:gd name="T4" fmla="*/ 0 w 1177"/>
                <a:gd name="T5" fmla="*/ 0 h 513"/>
                <a:gd name="T6" fmla="*/ 1177 w 1177"/>
                <a:gd name="T7" fmla="*/ 0 h 513"/>
                <a:gd name="T8" fmla="*/ 1177 w 1177"/>
                <a:gd name="T9" fmla="*/ 513 h 513"/>
                <a:gd name="T10" fmla="*/ 7 w 1177"/>
                <a:gd name="T11" fmla="*/ 504 h 513"/>
                <a:gd name="T12" fmla="*/ 1170 w 1177"/>
                <a:gd name="T13" fmla="*/ 504 h 513"/>
                <a:gd name="T14" fmla="*/ 1170 w 1177"/>
                <a:gd name="T15" fmla="*/ 7 h 513"/>
                <a:gd name="T16" fmla="*/ 7 w 1177"/>
                <a:gd name="T17" fmla="*/ 7 h 513"/>
                <a:gd name="T18" fmla="*/ 7 w 1177"/>
                <a:gd name="T19" fmla="*/ 50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7" h="513">
                  <a:moveTo>
                    <a:pt x="1177" y="513"/>
                  </a:moveTo>
                  <a:lnTo>
                    <a:pt x="0" y="513"/>
                  </a:lnTo>
                  <a:lnTo>
                    <a:pt x="0" y="0"/>
                  </a:lnTo>
                  <a:lnTo>
                    <a:pt x="1177" y="0"/>
                  </a:lnTo>
                  <a:lnTo>
                    <a:pt x="1177" y="513"/>
                  </a:lnTo>
                  <a:close/>
                  <a:moveTo>
                    <a:pt x="7" y="504"/>
                  </a:moveTo>
                  <a:lnTo>
                    <a:pt x="1170" y="504"/>
                  </a:lnTo>
                  <a:lnTo>
                    <a:pt x="1170" y="7"/>
                  </a:lnTo>
                  <a:lnTo>
                    <a:pt x="7" y="7"/>
                  </a:lnTo>
                  <a:lnTo>
                    <a:pt x="7" y="50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6">
              <a:extLst>
                <a:ext uri="{FF2B5EF4-FFF2-40B4-BE49-F238E27FC236}">
                  <a16:creationId xmlns:a16="http://schemas.microsoft.com/office/drawing/2014/main" id="{98FC6584-A87C-4F2D-91FD-EE656811AF86}"/>
                </a:ext>
              </a:extLst>
            </p:cNvPr>
            <p:cNvSpPr>
              <a:spLocks noChangeArrowheads="1"/>
            </p:cNvSpPr>
            <p:nvPr/>
          </p:nvSpPr>
          <p:spPr bwMode="auto">
            <a:xfrm>
              <a:off x="3594" y="4237"/>
              <a:ext cx="301" cy="570"/>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7">
              <a:extLst>
                <a:ext uri="{FF2B5EF4-FFF2-40B4-BE49-F238E27FC236}">
                  <a16:creationId xmlns:a16="http://schemas.microsoft.com/office/drawing/2014/main" id="{5CEDB3B3-FD14-4051-AAF2-81EC095A684B}"/>
                </a:ext>
              </a:extLst>
            </p:cNvPr>
            <p:cNvSpPr>
              <a:spLocks/>
            </p:cNvSpPr>
            <p:nvPr/>
          </p:nvSpPr>
          <p:spPr bwMode="auto">
            <a:xfrm>
              <a:off x="2388" y="4423"/>
              <a:ext cx="1172" cy="2"/>
            </a:xfrm>
            <a:custGeom>
              <a:avLst/>
              <a:gdLst>
                <a:gd name="T0" fmla="*/ 1 w 494"/>
                <a:gd name="T1" fmla="*/ 1 h 1"/>
                <a:gd name="T2" fmla="*/ 168 w 494"/>
                <a:gd name="T3" fmla="*/ 1 h 1"/>
                <a:gd name="T4" fmla="*/ 432 w 494"/>
                <a:gd name="T5" fmla="*/ 1 h 1"/>
                <a:gd name="T6" fmla="*/ 494 w 494"/>
                <a:gd name="T7" fmla="*/ 1 h 1"/>
                <a:gd name="T8" fmla="*/ 494 w 494"/>
                <a:gd name="T9" fmla="*/ 0 h 1"/>
                <a:gd name="T10" fmla="*/ 326 w 494"/>
                <a:gd name="T11" fmla="*/ 0 h 1"/>
                <a:gd name="T12" fmla="*/ 62 w 494"/>
                <a:gd name="T13" fmla="*/ 0 h 1"/>
                <a:gd name="T14" fmla="*/ 1 w 494"/>
                <a:gd name="T15" fmla="*/ 0 h 1"/>
                <a:gd name="T16" fmla="*/ 1 w 49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1">
                  <a:moveTo>
                    <a:pt x="1" y="1"/>
                  </a:moveTo>
                  <a:cubicBezTo>
                    <a:pt x="56" y="1"/>
                    <a:pt x="112" y="1"/>
                    <a:pt x="168" y="1"/>
                  </a:cubicBezTo>
                  <a:cubicBezTo>
                    <a:pt x="256" y="1"/>
                    <a:pt x="344" y="1"/>
                    <a:pt x="432" y="1"/>
                  </a:cubicBezTo>
                  <a:cubicBezTo>
                    <a:pt x="453" y="1"/>
                    <a:pt x="473" y="1"/>
                    <a:pt x="494" y="1"/>
                  </a:cubicBezTo>
                  <a:cubicBezTo>
                    <a:pt x="494" y="1"/>
                    <a:pt x="494" y="0"/>
                    <a:pt x="494" y="0"/>
                  </a:cubicBezTo>
                  <a:cubicBezTo>
                    <a:pt x="438" y="0"/>
                    <a:pt x="382" y="0"/>
                    <a:pt x="326" y="0"/>
                  </a:cubicBezTo>
                  <a:cubicBezTo>
                    <a:pt x="238" y="0"/>
                    <a:pt x="150" y="0"/>
                    <a:pt x="62" y="0"/>
                  </a:cubicBezTo>
                  <a:cubicBezTo>
                    <a:pt x="42" y="0"/>
                    <a:pt x="21" y="0"/>
                    <a:pt x="1" y="0"/>
                  </a:cubicBezTo>
                  <a:cubicBezTo>
                    <a:pt x="0" y="0"/>
                    <a:pt x="0" y="1"/>
                    <a:pt x="1"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
              <a:extLst>
                <a:ext uri="{FF2B5EF4-FFF2-40B4-BE49-F238E27FC236}">
                  <a16:creationId xmlns:a16="http://schemas.microsoft.com/office/drawing/2014/main" id="{03E51D12-297C-49FE-AC88-41554B8EA34B}"/>
                </a:ext>
              </a:extLst>
            </p:cNvPr>
            <p:cNvSpPr>
              <a:spLocks/>
            </p:cNvSpPr>
            <p:nvPr/>
          </p:nvSpPr>
          <p:spPr bwMode="auto">
            <a:xfrm>
              <a:off x="2972" y="4268"/>
              <a:ext cx="9" cy="157"/>
            </a:xfrm>
            <a:custGeom>
              <a:avLst/>
              <a:gdLst>
                <a:gd name="T0" fmla="*/ 3 w 4"/>
                <a:gd name="T1" fmla="*/ 66 h 66"/>
                <a:gd name="T2" fmla="*/ 3 w 4"/>
                <a:gd name="T3" fmla="*/ 1 h 66"/>
                <a:gd name="T4" fmla="*/ 2 w 4"/>
                <a:gd name="T5" fmla="*/ 1 h 66"/>
                <a:gd name="T6" fmla="*/ 2 w 4"/>
                <a:gd name="T7" fmla="*/ 66 h 66"/>
                <a:gd name="T8" fmla="*/ 3 w 4"/>
                <a:gd name="T9" fmla="*/ 66 h 66"/>
              </a:gdLst>
              <a:ahLst/>
              <a:cxnLst>
                <a:cxn ang="0">
                  <a:pos x="T0" y="T1"/>
                </a:cxn>
                <a:cxn ang="0">
                  <a:pos x="T2" y="T3"/>
                </a:cxn>
                <a:cxn ang="0">
                  <a:pos x="T4" y="T5"/>
                </a:cxn>
                <a:cxn ang="0">
                  <a:pos x="T6" y="T7"/>
                </a:cxn>
                <a:cxn ang="0">
                  <a:pos x="T8" y="T9"/>
                </a:cxn>
              </a:cxnLst>
              <a:rect l="0" t="0" r="r" b="b"/>
              <a:pathLst>
                <a:path w="4" h="66">
                  <a:moveTo>
                    <a:pt x="3" y="66"/>
                  </a:moveTo>
                  <a:cubicBezTo>
                    <a:pt x="4" y="44"/>
                    <a:pt x="4" y="22"/>
                    <a:pt x="3" y="1"/>
                  </a:cubicBezTo>
                  <a:cubicBezTo>
                    <a:pt x="3" y="0"/>
                    <a:pt x="2" y="0"/>
                    <a:pt x="2" y="1"/>
                  </a:cubicBezTo>
                  <a:cubicBezTo>
                    <a:pt x="0" y="22"/>
                    <a:pt x="0" y="44"/>
                    <a:pt x="2" y="66"/>
                  </a:cubicBezTo>
                  <a:cubicBezTo>
                    <a:pt x="2" y="66"/>
                    <a:pt x="3" y="66"/>
                    <a:pt x="3" y="6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19">
              <a:extLst>
                <a:ext uri="{FF2B5EF4-FFF2-40B4-BE49-F238E27FC236}">
                  <a16:creationId xmlns:a16="http://schemas.microsoft.com/office/drawing/2014/main" id="{A1D71F1D-4C92-4270-8BF6-A4C8DC7E4B63}"/>
                </a:ext>
              </a:extLst>
            </p:cNvPr>
            <p:cNvSpPr>
              <a:spLocks noChangeArrowheads="1"/>
            </p:cNvSpPr>
            <p:nvPr/>
          </p:nvSpPr>
          <p:spPr bwMode="auto">
            <a:xfrm>
              <a:off x="3261" y="4330"/>
              <a:ext cx="31" cy="3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0">
              <a:extLst>
                <a:ext uri="{FF2B5EF4-FFF2-40B4-BE49-F238E27FC236}">
                  <a16:creationId xmlns:a16="http://schemas.microsoft.com/office/drawing/2014/main" id="{F87AD5EF-A210-4766-8FB2-E6618FA6AA55}"/>
                </a:ext>
              </a:extLst>
            </p:cNvPr>
            <p:cNvSpPr>
              <a:spLocks noChangeArrowheads="1"/>
            </p:cNvSpPr>
            <p:nvPr/>
          </p:nvSpPr>
          <p:spPr bwMode="auto">
            <a:xfrm>
              <a:off x="2647" y="4330"/>
              <a:ext cx="33" cy="3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21">
              <a:extLst>
                <a:ext uri="{FF2B5EF4-FFF2-40B4-BE49-F238E27FC236}">
                  <a16:creationId xmlns:a16="http://schemas.microsoft.com/office/drawing/2014/main" id="{EE2000E3-E9BA-4A13-A30F-C71197572865}"/>
                </a:ext>
              </a:extLst>
            </p:cNvPr>
            <p:cNvSpPr>
              <a:spLocks noChangeArrowheads="1"/>
            </p:cNvSpPr>
            <p:nvPr/>
          </p:nvSpPr>
          <p:spPr bwMode="auto">
            <a:xfrm>
              <a:off x="2958" y="4508"/>
              <a:ext cx="33" cy="3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2">
              <a:extLst>
                <a:ext uri="{FF2B5EF4-FFF2-40B4-BE49-F238E27FC236}">
                  <a16:creationId xmlns:a16="http://schemas.microsoft.com/office/drawing/2014/main" id="{5116A6B8-8FB8-4F05-8BB3-F275FB6BA97C}"/>
                </a:ext>
              </a:extLst>
            </p:cNvPr>
            <p:cNvSpPr>
              <a:spLocks/>
            </p:cNvSpPr>
            <p:nvPr/>
          </p:nvSpPr>
          <p:spPr bwMode="auto">
            <a:xfrm>
              <a:off x="2443" y="4807"/>
              <a:ext cx="152" cy="359"/>
            </a:xfrm>
            <a:custGeom>
              <a:avLst/>
              <a:gdLst>
                <a:gd name="T0" fmla="*/ 61 w 152"/>
                <a:gd name="T1" fmla="*/ 0 h 359"/>
                <a:gd name="T2" fmla="*/ 0 w 152"/>
                <a:gd name="T3" fmla="*/ 359 h 359"/>
                <a:gd name="T4" fmla="*/ 35 w 152"/>
                <a:gd name="T5" fmla="*/ 359 h 359"/>
                <a:gd name="T6" fmla="*/ 152 w 152"/>
                <a:gd name="T7" fmla="*/ 0 h 359"/>
                <a:gd name="T8" fmla="*/ 61 w 152"/>
                <a:gd name="T9" fmla="*/ 0 h 359"/>
              </a:gdLst>
              <a:ahLst/>
              <a:cxnLst>
                <a:cxn ang="0">
                  <a:pos x="T0" y="T1"/>
                </a:cxn>
                <a:cxn ang="0">
                  <a:pos x="T2" y="T3"/>
                </a:cxn>
                <a:cxn ang="0">
                  <a:pos x="T4" y="T5"/>
                </a:cxn>
                <a:cxn ang="0">
                  <a:pos x="T6" y="T7"/>
                </a:cxn>
                <a:cxn ang="0">
                  <a:pos x="T8" y="T9"/>
                </a:cxn>
              </a:cxnLst>
              <a:rect l="0" t="0" r="r" b="b"/>
              <a:pathLst>
                <a:path w="152" h="359">
                  <a:moveTo>
                    <a:pt x="61" y="0"/>
                  </a:moveTo>
                  <a:lnTo>
                    <a:pt x="0" y="359"/>
                  </a:lnTo>
                  <a:lnTo>
                    <a:pt x="35" y="359"/>
                  </a:lnTo>
                  <a:lnTo>
                    <a:pt x="152" y="0"/>
                  </a:lnTo>
                  <a:lnTo>
                    <a:pt x="61"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3">
              <a:extLst>
                <a:ext uri="{FF2B5EF4-FFF2-40B4-BE49-F238E27FC236}">
                  <a16:creationId xmlns:a16="http://schemas.microsoft.com/office/drawing/2014/main" id="{BE4C0210-8D1D-4400-AE6A-E4EA1A360EA3}"/>
                </a:ext>
              </a:extLst>
            </p:cNvPr>
            <p:cNvSpPr>
              <a:spLocks/>
            </p:cNvSpPr>
            <p:nvPr/>
          </p:nvSpPr>
          <p:spPr bwMode="auto">
            <a:xfrm>
              <a:off x="3416" y="4807"/>
              <a:ext cx="142" cy="359"/>
            </a:xfrm>
            <a:custGeom>
              <a:avLst/>
              <a:gdLst>
                <a:gd name="T0" fmla="*/ 90 w 142"/>
                <a:gd name="T1" fmla="*/ 0 h 359"/>
                <a:gd name="T2" fmla="*/ 142 w 142"/>
                <a:gd name="T3" fmla="*/ 359 h 359"/>
                <a:gd name="T4" fmla="*/ 106 w 142"/>
                <a:gd name="T5" fmla="*/ 359 h 359"/>
                <a:gd name="T6" fmla="*/ 0 w 142"/>
                <a:gd name="T7" fmla="*/ 0 h 359"/>
                <a:gd name="T8" fmla="*/ 90 w 142"/>
                <a:gd name="T9" fmla="*/ 0 h 359"/>
              </a:gdLst>
              <a:ahLst/>
              <a:cxnLst>
                <a:cxn ang="0">
                  <a:pos x="T0" y="T1"/>
                </a:cxn>
                <a:cxn ang="0">
                  <a:pos x="T2" y="T3"/>
                </a:cxn>
                <a:cxn ang="0">
                  <a:pos x="T4" y="T5"/>
                </a:cxn>
                <a:cxn ang="0">
                  <a:pos x="T6" y="T7"/>
                </a:cxn>
                <a:cxn ang="0">
                  <a:pos x="T8" y="T9"/>
                </a:cxn>
              </a:cxnLst>
              <a:rect l="0" t="0" r="r" b="b"/>
              <a:pathLst>
                <a:path w="142" h="359">
                  <a:moveTo>
                    <a:pt x="90" y="0"/>
                  </a:moveTo>
                  <a:lnTo>
                    <a:pt x="142" y="359"/>
                  </a:lnTo>
                  <a:lnTo>
                    <a:pt x="106" y="359"/>
                  </a:lnTo>
                  <a:lnTo>
                    <a:pt x="0" y="0"/>
                  </a:lnTo>
                  <a:lnTo>
                    <a:pt x="9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4">
              <a:extLst>
                <a:ext uri="{FF2B5EF4-FFF2-40B4-BE49-F238E27FC236}">
                  <a16:creationId xmlns:a16="http://schemas.microsoft.com/office/drawing/2014/main" id="{D219B3D6-38FE-4094-BC2A-B73B29D5710A}"/>
                </a:ext>
              </a:extLst>
            </p:cNvPr>
            <p:cNvSpPr>
              <a:spLocks/>
            </p:cNvSpPr>
            <p:nvPr/>
          </p:nvSpPr>
          <p:spPr bwMode="auto">
            <a:xfrm>
              <a:off x="3655" y="4807"/>
              <a:ext cx="150" cy="359"/>
            </a:xfrm>
            <a:custGeom>
              <a:avLst/>
              <a:gdLst>
                <a:gd name="T0" fmla="*/ 88 w 150"/>
                <a:gd name="T1" fmla="*/ 0 h 359"/>
                <a:gd name="T2" fmla="*/ 150 w 150"/>
                <a:gd name="T3" fmla="*/ 359 h 359"/>
                <a:gd name="T4" fmla="*/ 114 w 150"/>
                <a:gd name="T5" fmla="*/ 359 h 359"/>
                <a:gd name="T6" fmla="*/ 0 w 150"/>
                <a:gd name="T7" fmla="*/ 0 h 359"/>
                <a:gd name="T8" fmla="*/ 88 w 150"/>
                <a:gd name="T9" fmla="*/ 0 h 359"/>
              </a:gdLst>
              <a:ahLst/>
              <a:cxnLst>
                <a:cxn ang="0">
                  <a:pos x="T0" y="T1"/>
                </a:cxn>
                <a:cxn ang="0">
                  <a:pos x="T2" y="T3"/>
                </a:cxn>
                <a:cxn ang="0">
                  <a:pos x="T4" y="T5"/>
                </a:cxn>
                <a:cxn ang="0">
                  <a:pos x="T6" y="T7"/>
                </a:cxn>
                <a:cxn ang="0">
                  <a:pos x="T8" y="T9"/>
                </a:cxn>
              </a:cxnLst>
              <a:rect l="0" t="0" r="r" b="b"/>
              <a:pathLst>
                <a:path w="150" h="359">
                  <a:moveTo>
                    <a:pt x="88" y="0"/>
                  </a:moveTo>
                  <a:lnTo>
                    <a:pt x="150" y="359"/>
                  </a:lnTo>
                  <a:lnTo>
                    <a:pt x="114" y="359"/>
                  </a:lnTo>
                  <a:lnTo>
                    <a:pt x="0" y="0"/>
                  </a:lnTo>
                  <a:lnTo>
                    <a:pt x="88"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25">
              <a:extLst>
                <a:ext uri="{FF2B5EF4-FFF2-40B4-BE49-F238E27FC236}">
                  <a16:creationId xmlns:a16="http://schemas.microsoft.com/office/drawing/2014/main" id="{A875CBA6-3CC3-4BB9-979B-1F469756D697}"/>
                </a:ext>
              </a:extLst>
            </p:cNvPr>
            <p:cNvSpPr>
              <a:spLocks noChangeArrowheads="1"/>
            </p:cNvSpPr>
            <p:nvPr/>
          </p:nvSpPr>
          <p:spPr bwMode="auto">
            <a:xfrm>
              <a:off x="2958" y="4670"/>
              <a:ext cx="30" cy="30"/>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6">
              <a:extLst>
                <a:ext uri="{FF2B5EF4-FFF2-40B4-BE49-F238E27FC236}">
                  <a16:creationId xmlns:a16="http://schemas.microsoft.com/office/drawing/2014/main" id="{4D2B5EA0-3EF2-46CD-814C-2C62216084B5}"/>
                </a:ext>
              </a:extLst>
            </p:cNvPr>
            <p:cNvSpPr>
              <a:spLocks/>
            </p:cNvSpPr>
            <p:nvPr/>
          </p:nvSpPr>
          <p:spPr bwMode="auto">
            <a:xfrm>
              <a:off x="2388" y="4598"/>
              <a:ext cx="1172" cy="5"/>
            </a:xfrm>
            <a:custGeom>
              <a:avLst/>
              <a:gdLst>
                <a:gd name="T0" fmla="*/ 1 w 494"/>
                <a:gd name="T1" fmla="*/ 2 h 2"/>
                <a:gd name="T2" fmla="*/ 168 w 494"/>
                <a:gd name="T3" fmla="*/ 2 h 2"/>
                <a:gd name="T4" fmla="*/ 432 w 494"/>
                <a:gd name="T5" fmla="*/ 2 h 2"/>
                <a:gd name="T6" fmla="*/ 494 w 494"/>
                <a:gd name="T7" fmla="*/ 2 h 2"/>
                <a:gd name="T8" fmla="*/ 494 w 494"/>
                <a:gd name="T9" fmla="*/ 0 h 2"/>
                <a:gd name="T10" fmla="*/ 326 w 494"/>
                <a:gd name="T11" fmla="*/ 0 h 2"/>
                <a:gd name="T12" fmla="*/ 62 w 494"/>
                <a:gd name="T13" fmla="*/ 0 h 2"/>
                <a:gd name="T14" fmla="*/ 1 w 494"/>
                <a:gd name="T15" fmla="*/ 0 h 2"/>
                <a:gd name="T16" fmla="*/ 1 w 49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4" h="2">
                  <a:moveTo>
                    <a:pt x="1" y="2"/>
                  </a:moveTo>
                  <a:cubicBezTo>
                    <a:pt x="56" y="2"/>
                    <a:pt x="112" y="2"/>
                    <a:pt x="168" y="2"/>
                  </a:cubicBezTo>
                  <a:cubicBezTo>
                    <a:pt x="256" y="2"/>
                    <a:pt x="344" y="2"/>
                    <a:pt x="432" y="2"/>
                  </a:cubicBezTo>
                  <a:cubicBezTo>
                    <a:pt x="453" y="2"/>
                    <a:pt x="473" y="2"/>
                    <a:pt x="494" y="2"/>
                  </a:cubicBezTo>
                  <a:cubicBezTo>
                    <a:pt x="494" y="2"/>
                    <a:pt x="494" y="0"/>
                    <a:pt x="494" y="0"/>
                  </a:cubicBezTo>
                  <a:cubicBezTo>
                    <a:pt x="438" y="0"/>
                    <a:pt x="382" y="0"/>
                    <a:pt x="326" y="0"/>
                  </a:cubicBezTo>
                  <a:cubicBezTo>
                    <a:pt x="238" y="0"/>
                    <a:pt x="150" y="0"/>
                    <a:pt x="62" y="0"/>
                  </a:cubicBezTo>
                  <a:cubicBezTo>
                    <a:pt x="42" y="0"/>
                    <a:pt x="21" y="0"/>
                    <a:pt x="1" y="0"/>
                  </a:cubicBezTo>
                  <a:cubicBezTo>
                    <a:pt x="0" y="0"/>
                    <a:pt x="0" y="2"/>
                    <a:pt x="1" y="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7">
              <a:extLst>
                <a:ext uri="{FF2B5EF4-FFF2-40B4-BE49-F238E27FC236}">
                  <a16:creationId xmlns:a16="http://schemas.microsoft.com/office/drawing/2014/main" id="{94807EE7-261E-4266-8995-B585C6BF6B03}"/>
                </a:ext>
              </a:extLst>
            </p:cNvPr>
            <p:cNvSpPr>
              <a:spLocks noChangeArrowheads="1"/>
            </p:cNvSpPr>
            <p:nvPr/>
          </p:nvSpPr>
          <p:spPr bwMode="auto">
            <a:xfrm>
              <a:off x="5414" y="1465"/>
              <a:ext cx="780" cy="104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28">
              <a:extLst>
                <a:ext uri="{FF2B5EF4-FFF2-40B4-BE49-F238E27FC236}">
                  <a16:creationId xmlns:a16="http://schemas.microsoft.com/office/drawing/2014/main" id="{61228676-A194-4652-B525-3A1763D418A9}"/>
                </a:ext>
              </a:extLst>
            </p:cNvPr>
            <p:cNvSpPr>
              <a:spLocks noChangeArrowheads="1"/>
            </p:cNvSpPr>
            <p:nvPr/>
          </p:nvSpPr>
          <p:spPr bwMode="auto">
            <a:xfrm>
              <a:off x="5414" y="1465"/>
              <a:ext cx="780" cy="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29">
              <a:extLst>
                <a:ext uri="{FF2B5EF4-FFF2-40B4-BE49-F238E27FC236}">
                  <a16:creationId xmlns:a16="http://schemas.microsoft.com/office/drawing/2014/main" id="{F6399C06-6FD1-4574-81DC-2F3CC13D43DF}"/>
                </a:ext>
              </a:extLst>
            </p:cNvPr>
            <p:cNvSpPr>
              <a:spLocks noChangeArrowheads="1"/>
            </p:cNvSpPr>
            <p:nvPr/>
          </p:nvSpPr>
          <p:spPr bwMode="auto">
            <a:xfrm>
              <a:off x="5454" y="1505"/>
              <a:ext cx="700" cy="96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30">
              <a:extLst>
                <a:ext uri="{FF2B5EF4-FFF2-40B4-BE49-F238E27FC236}">
                  <a16:creationId xmlns:a16="http://schemas.microsoft.com/office/drawing/2014/main" id="{36C7D85D-16E2-4FBB-BA7C-EC04FB11BB82}"/>
                </a:ext>
              </a:extLst>
            </p:cNvPr>
            <p:cNvSpPr>
              <a:spLocks noChangeArrowheads="1"/>
            </p:cNvSpPr>
            <p:nvPr/>
          </p:nvSpPr>
          <p:spPr bwMode="auto">
            <a:xfrm>
              <a:off x="5454" y="1505"/>
              <a:ext cx="700" cy="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31">
              <a:extLst>
                <a:ext uri="{FF2B5EF4-FFF2-40B4-BE49-F238E27FC236}">
                  <a16:creationId xmlns:a16="http://schemas.microsoft.com/office/drawing/2014/main" id="{ACE928C7-CCB8-4FDD-9E62-E2BD11D9D09E}"/>
                </a:ext>
              </a:extLst>
            </p:cNvPr>
            <p:cNvSpPr>
              <a:spLocks noChangeArrowheads="1"/>
            </p:cNvSpPr>
            <p:nvPr/>
          </p:nvSpPr>
          <p:spPr bwMode="auto">
            <a:xfrm>
              <a:off x="5682" y="1840"/>
              <a:ext cx="265" cy="306"/>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32">
              <a:extLst>
                <a:ext uri="{FF2B5EF4-FFF2-40B4-BE49-F238E27FC236}">
                  <a16:creationId xmlns:a16="http://schemas.microsoft.com/office/drawing/2014/main" id="{175863EA-7357-4208-B8D2-C902D7C4438F}"/>
                </a:ext>
              </a:extLst>
            </p:cNvPr>
            <p:cNvSpPr>
              <a:spLocks noChangeArrowheads="1"/>
            </p:cNvSpPr>
            <p:nvPr/>
          </p:nvSpPr>
          <p:spPr bwMode="auto">
            <a:xfrm>
              <a:off x="5855" y="2761"/>
              <a:ext cx="679" cy="508"/>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3">
              <a:extLst>
                <a:ext uri="{FF2B5EF4-FFF2-40B4-BE49-F238E27FC236}">
                  <a16:creationId xmlns:a16="http://schemas.microsoft.com/office/drawing/2014/main" id="{CC55BC40-16CC-4A52-861F-2818E20A9387}"/>
                </a:ext>
              </a:extLst>
            </p:cNvPr>
            <p:cNvSpPr>
              <a:spLocks noChangeArrowheads="1"/>
            </p:cNvSpPr>
            <p:nvPr/>
          </p:nvSpPr>
          <p:spPr bwMode="auto">
            <a:xfrm>
              <a:off x="5881" y="2787"/>
              <a:ext cx="626" cy="45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4">
              <a:extLst>
                <a:ext uri="{FF2B5EF4-FFF2-40B4-BE49-F238E27FC236}">
                  <a16:creationId xmlns:a16="http://schemas.microsoft.com/office/drawing/2014/main" id="{213BF196-6994-44C3-8037-078910E63249}"/>
                </a:ext>
              </a:extLst>
            </p:cNvPr>
            <p:cNvSpPr>
              <a:spLocks noChangeArrowheads="1"/>
            </p:cNvSpPr>
            <p:nvPr/>
          </p:nvSpPr>
          <p:spPr bwMode="auto">
            <a:xfrm>
              <a:off x="6097" y="2920"/>
              <a:ext cx="199" cy="17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8">
              <a:extLst>
                <a:ext uri="{FF2B5EF4-FFF2-40B4-BE49-F238E27FC236}">
                  <a16:creationId xmlns:a16="http://schemas.microsoft.com/office/drawing/2014/main" id="{8B23B6DE-1776-435A-90F3-FE3903E920FA}"/>
                </a:ext>
              </a:extLst>
            </p:cNvPr>
            <p:cNvSpPr>
              <a:spLocks/>
            </p:cNvSpPr>
            <p:nvPr/>
          </p:nvSpPr>
          <p:spPr bwMode="auto">
            <a:xfrm>
              <a:off x="3136" y="3915"/>
              <a:ext cx="467" cy="313"/>
            </a:xfrm>
            <a:custGeom>
              <a:avLst/>
              <a:gdLst>
                <a:gd name="T0" fmla="*/ 33 w 467"/>
                <a:gd name="T1" fmla="*/ 0 h 313"/>
                <a:gd name="T2" fmla="*/ 0 w 467"/>
                <a:gd name="T3" fmla="*/ 313 h 313"/>
                <a:gd name="T4" fmla="*/ 431 w 467"/>
                <a:gd name="T5" fmla="*/ 313 h 313"/>
                <a:gd name="T6" fmla="*/ 467 w 467"/>
                <a:gd name="T7" fmla="*/ 0 h 313"/>
                <a:gd name="T8" fmla="*/ 33 w 467"/>
                <a:gd name="T9" fmla="*/ 0 h 313"/>
              </a:gdLst>
              <a:ahLst/>
              <a:cxnLst>
                <a:cxn ang="0">
                  <a:pos x="T0" y="T1"/>
                </a:cxn>
                <a:cxn ang="0">
                  <a:pos x="T2" y="T3"/>
                </a:cxn>
                <a:cxn ang="0">
                  <a:pos x="T4" y="T5"/>
                </a:cxn>
                <a:cxn ang="0">
                  <a:pos x="T6" y="T7"/>
                </a:cxn>
                <a:cxn ang="0">
                  <a:pos x="T8" y="T9"/>
                </a:cxn>
              </a:cxnLst>
              <a:rect l="0" t="0" r="r" b="b"/>
              <a:pathLst>
                <a:path w="467" h="313">
                  <a:moveTo>
                    <a:pt x="33" y="0"/>
                  </a:moveTo>
                  <a:lnTo>
                    <a:pt x="0" y="313"/>
                  </a:lnTo>
                  <a:lnTo>
                    <a:pt x="431" y="313"/>
                  </a:lnTo>
                  <a:lnTo>
                    <a:pt x="467" y="0"/>
                  </a:lnTo>
                  <a:lnTo>
                    <a:pt x="33"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9">
              <a:extLst>
                <a:ext uri="{FF2B5EF4-FFF2-40B4-BE49-F238E27FC236}">
                  <a16:creationId xmlns:a16="http://schemas.microsoft.com/office/drawing/2014/main" id="{8B3299D7-5000-459A-8B71-3F2F25A48DB9}"/>
                </a:ext>
              </a:extLst>
            </p:cNvPr>
            <p:cNvSpPr>
              <a:spLocks/>
            </p:cNvSpPr>
            <p:nvPr/>
          </p:nvSpPr>
          <p:spPr bwMode="auto">
            <a:xfrm>
              <a:off x="3155" y="3936"/>
              <a:ext cx="422" cy="275"/>
            </a:xfrm>
            <a:custGeom>
              <a:avLst/>
              <a:gdLst>
                <a:gd name="T0" fmla="*/ 33 w 422"/>
                <a:gd name="T1" fmla="*/ 0 h 275"/>
                <a:gd name="T2" fmla="*/ 0 w 422"/>
                <a:gd name="T3" fmla="*/ 275 h 275"/>
                <a:gd name="T4" fmla="*/ 389 w 422"/>
                <a:gd name="T5" fmla="*/ 275 h 275"/>
                <a:gd name="T6" fmla="*/ 422 w 422"/>
                <a:gd name="T7" fmla="*/ 0 h 275"/>
                <a:gd name="T8" fmla="*/ 33 w 422"/>
                <a:gd name="T9" fmla="*/ 0 h 275"/>
              </a:gdLst>
              <a:ahLst/>
              <a:cxnLst>
                <a:cxn ang="0">
                  <a:pos x="T0" y="T1"/>
                </a:cxn>
                <a:cxn ang="0">
                  <a:pos x="T2" y="T3"/>
                </a:cxn>
                <a:cxn ang="0">
                  <a:pos x="T4" y="T5"/>
                </a:cxn>
                <a:cxn ang="0">
                  <a:pos x="T6" y="T7"/>
                </a:cxn>
                <a:cxn ang="0">
                  <a:pos x="T8" y="T9"/>
                </a:cxn>
              </a:cxnLst>
              <a:rect l="0" t="0" r="r" b="b"/>
              <a:pathLst>
                <a:path w="422" h="275">
                  <a:moveTo>
                    <a:pt x="33" y="0"/>
                  </a:moveTo>
                  <a:lnTo>
                    <a:pt x="0" y="275"/>
                  </a:lnTo>
                  <a:lnTo>
                    <a:pt x="389" y="275"/>
                  </a:lnTo>
                  <a:lnTo>
                    <a:pt x="422" y="0"/>
                  </a:lnTo>
                  <a:lnTo>
                    <a:pt x="33"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0">
              <a:extLst>
                <a:ext uri="{FF2B5EF4-FFF2-40B4-BE49-F238E27FC236}">
                  <a16:creationId xmlns:a16="http://schemas.microsoft.com/office/drawing/2014/main" id="{79F148D7-E7DF-4712-BB9A-72C5617D2C9E}"/>
                </a:ext>
              </a:extLst>
            </p:cNvPr>
            <p:cNvSpPr>
              <a:spLocks/>
            </p:cNvSpPr>
            <p:nvPr/>
          </p:nvSpPr>
          <p:spPr bwMode="auto">
            <a:xfrm>
              <a:off x="3233" y="3981"/>
              <a:ext cx="258" cy="183"/>
            </a:xfrm>
            <a:custGeom>
              <a:avLst/>
              <a:gdLst>
                <a:gd name="T0" fmla="*/ 19 w 258"/>
                <a:gd name="T1" fmla="*/ 0 h 183"/>
                <a:gd name="T2" fmla="*/ 0 w 258"/>
                <a:gd name="T3" fmla="*/ 183 h 183"/>
                <a:gd name="T4" fmla="*/ 247 w 258"/>
                <a:gd name="T5" fmla="*/ 183 h 183"/>
                <a:gd name="T6" fmla="*/ 258 w 258"/>
                <a:gd name="T7" fmla="*/ 0 h 183"/>
                <a:gd name="T8" fmla="*/ 19 w 258"/>
                <a:gd name="T9" fmla="*/ 0 h 183"/>
              </a:gdLst>
              <a:ahLst/>
              <a:cxnLst>
                <a:cxn ang="0">
                  <a:pos x="T0" y="T1"/>
                </a:cxn>
                <a:cxn ang="0">
                  <a:pos x="T2" y="T3"/>
                </a:cxn>
                <a:cxn ang="0">
                  <a:pos x="T4" y="T5"/>
                </a:cxn>
                <a:cxn ang="0">
                  <a:pos x="T6" y="T7"/>
                </a:cxn>
                <a:cxn ang="0">
                  <a:pos x="T8" y="T9"/>
                </a:cxn>
              </a:cxnLst>
              <a:rect l="0" t="0" r="r" b="b"/>
              <a:pathLst>
                <a:path w="258" h="183">
                  <a:moveTo>
                    <a:pt x="19" y="0"/>
                  </a:moveTo>
                  <a:lnTo>
                    <a:pt x="0" y="183"/>
                  </a:lnTo>
                  <a:lnTo>
                    <a:pt x="247" y="183"/>
                  </a:lnTo>
                  <a:lnTo>
                    <a:pt x="258" y="0"/>
                  </a:lnTo>
                  <a:lnTo>
                    <a:pt x="19"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1">
              <a:extLst>
                <a:ext uri="{FF2B5EF4-FFF2-40B4-BE49-F238E27FC236}">
                  <a16:creationId xmlns:a16="http://schemas.microsoft.com/office/drawing/2014/main" id="{113A85DE-D471-4560-A970-96BA807C5512}"/>
                </a:ext>
              </a:extLst>
            </p:cNvPr>
            <p:cNvSpPr>
              <a:spLocks/>
            </p:cNvSpPr>
            <p:nvPr/>
          </p:nvSpPr>
          <p:spPr bwMode="auto">
            <a:xfrm>
              <a:off x="3567" y="4036"/>
              <a:ext cx="110" cy="192"/>
            </a:xfrm>
            <a:custGeom>
              <a:avLst/>
              <a:gdLst>
                <a:gd name="T0" fmla="*/ 22 w 110"/>
                <a:gd name="T1" fmla="*/ 12 h 192"/>
                <a:gd name="T2" fmla="*/ 110 w 110"/>
                <a:gd name="T3" fmla="*/ 192 h 192"/>
                <a:gd name="T4" fmla="*/ 0 w 110"/>
                <a:gd name="T5" fmla="*/ 192 h 192"/>
                <a:gd name="T6" fmla="*/ 22 w 110"/>
                <a:gd name="T7" fmla="*/ 0 h 192"/>
                <a:gd name="T8" fmla="*/ 22 w 110"/>
                <a:gd name="T9" fmla="*/ 12 h 192"/>
              </a:gdLst>
              <a:ahLst/>
              <a:cxnLst>
                <a:cxn ang="0">
                  <a:pos x="T0" y="T1"/>
                </a:cxn>
                <a:cxn ang="0">
                  <a:pos x="T2" y="T3"/>
                </a:cxn>
                <a:cxn ang="0">
                  <a:pos x="T4" y="T5"/>
                </a:cxn>
                <a:cxn ang="0">
                  <a:pos x="T6" y="T7"/>
                </a:cxn>
                <a:cxn ang="0">
                  <a:pos x="T8" y="T9"/>
                </a:cxn>
              </a:cxnLst>
              <a:rect l="0" t="0" r="r" b="b"/>
              <a:pathLst>
                <a:path w="110" h="192">
                  <a:moveTo>
                    <a:pt x="22" y="12"/>
                  </a:moveTo>
                  <a:lnTo>
                    <a:pt x="110" y="192"/>
                  </a:lnTo>
                  <a:lnTo>
                    <a:pt x="0" y="192"/>
                  </a:lnTo>
                  <a:lnTo>
                    <a:pt x="22" y="0"/>
                  </a:lnTo>
                  <a:lnTo>
                    <a:pt x="22" y="12"/>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2">
              <a:extLst>
                <a:ext uri="{FF2B5EF4-FFF2-40B4-BE49-F238E27FC236}">
                  <a16:creationId xmlns:a16="http://schemas.microsoft.com/office/drawing/2014/main" id="{78678F08-3205-4FDD-AA3F-0FCE23CCC9EC}"/>
                </a:ext>
              </a:extLst>
            </p:cNvPr>
            <p:cNvSpPr>
              <a:spLocks/>
            </p:cNvSpPr>
            <p:nvPr/>
          </p:nvSpPr>
          <p:spPr bwMode="auto">
            <a:xfrm>
              <a:off x="3567" y="4036"/>
              <a:ext cx="110" cy="192"/>
            </a:xfrm>
            <a:custGeom>
              <a:avLst/>
              <a:gdLst>
                <a:gd name="T0" fmla="*/ 22 w 110"/>
                <a:gd name="T1" fmla="*/ 12 h 192"/>
                <a:gd name="T2" fmla="*/ 110 w 110"/>
                <a:gd name="T3" fmla="*/ 192 h 192"/>
                <a:gd name="T4" fmla="*/ 0 w 110"/>
                <a:gd name="T5" fmla="*/ 192 h 192"/>
                <a:gd name="T6" fmla="*/ 22 w 110"/>
                <a:gd name="T7" fmla="*/ 0 h 192"/>
              </a:gdLst>
              <a:ahLst/>
              <a:cxnLst>
                <a:cxn ang="0">
                  <a:pos x="T0" y="T1"/>
                </a:cxn>
                <a:cxn ang="0">
                  <a:pos x="T2" y="T3"/>
                </a:cxn>
                <a:cxn ang="0">
                  <a:pos x="T4" y="T5"/>
                </a:cxn>
                <a:cxn ang="0">
                  <a:pos x="T6" y="T7"/>
                </a:cxn>
              </a:cxnLst>
              <a:rect l="0" t="0" r="r" b="b"/>
              <a:pathLst>
                <a:path w="110" h="192">
                  <a:moveTo>
                    <a:pt x="22" y="12"/>
                  </a:moveTo>
                  <a:lnTo>
                    <a:pt x="110" y="192"/>
                  </a:lnTo>
                  <a:lnTo>
                    <a:pt x="0" y="19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43">
              <a:extLst>
                <a:ext uri="{FF2B5EF4-FFF2-40B4-BE49-F238E27FC236}">
                  <a16:creationId xmlns:a16="http://schemas.microsoft.com/office/drawing/2014/main" id="{7E531ADC-4CAD-468A-9CBC-7587F978F797}"/>
                </a:ext>
              </a:extLst>
            </p:cNvPr>
            <p:cNvSpPr>
              <a:spLocks noChangeArrowheads="1"/>
            </p:cNvSpPr>
            <p:nvPr/>
          </p:nvSpPr>
          <p:spPr bwMode="auto">
            <a:xfrm>
              <a:off x="392" y="5161"/>
              <a:ext cx="5973"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4">
              <a:extLst>
                <a:ext uri="{FF2B5EF4-FFF2-40B4-BE49-F238E27FC236}">
                  <a16:creationId xmlns:a16="http://schemas.microsoft.com/office/drawing/2014/main" id="{7BA35C69-9975-47FC-85A9-6489E2BD5572}"/>
                </a:ext>
              </a:extLst>
            </p:cNvPr>
            <p:cNvSpPr>
              <a:spLocks noChangeArrowheads="1"/>
            </p:cNvSpPr>
            <p:nvPr/>
          </p:nvSpPr>
          <p:spPr bwMode="auto">
            <a:xfrm>
              <a:off x="1173" y="1393"/>
              <a:ext cx="3571" cy="235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5">
              <a:extLst>
                <a:ext uri="{FF2B5EF4-FFF2-40B4-BE49-F238E27FC236}">
                  <a16:creationId xmlns:a16="http://schemas.microsoft.com/office/drawing/2014/main" id="{53DB3985-9C2E-4F0C-8CA2-E10B39A1B7A9}"/>
                </a:ext>
              </a:extLst>
            </p:cNvPr>
            <p:cNvSpPr>
              <a:spLocks noChangeArrowheads="1"/>
            </p:cNvSpPr>
            <p:nvPr/>
          </p:nvSpPr>
          <p:spPr bwMode="auto">
            <a:xfrm>
              <a:off x="1173" y="1393"/>
              <a:ext cx="3571" cy="2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6">
              <a:extLst>
                <a:ext uri="{FF2B5EF4-FFF2-40B4-BE49-F238E27FC236}">
                  <a16:creationId xmlns:a16="http://schemas.microsoft.com/office/drawing/2014/main" id="{C08E4C79-D743-4BC2-96E0-F16EC9D3EAFA}"/>
                </a:ext>
              </a:extLst>
            </p:cNvPr>
            <p:cNvSpPr>
              <a:spLocks/>
            </p:cNvSpPr>
            <p:nvPr/>
          </p:nvSpPr>
          <p:spPr bwMode="auto">
            <a:xfrm>
              <a:off x="1171" y="1391"/>
              <a:ext cx="3576" cy="2357"/>
            </a:xfrm>
            <a:custGeom>
              <a:avLst/>
              <a:gdLst>
                <a:gd name="T0" fmla="*/ 1506 w 1507"/>
                <a:gd name="T1" fmla="*/ 992 h 993"/>
                <a:gd name="T2" fmla="*/ 1505 w 1507"/>
                <a:gd name="T3" fmla="*/ 1 h 993"/>
                <a:gd name="T4" fmla="*/ 1506 w 1507"/>
                <a:gd name="T5" fmla="*/ 2 h 993"/>
                <a:gd name="T6" fmla="*/ 1 w 1507"/>
                <a:gd name="T7" fmla="*/ 2 h 993"/>
                <a:gd name="T8" fmla="*/ 1 w 1507"/>
                <a:gd name="T9" fmla="*/ 2 h 993"/>
                <a:gd name="T10" fmla="*/ 2 w 1507"/>
                <a:gd name="T11" fmla="*/ 1 h 993"/>
                <a:gd name="T12" fmla="*/ 2 w 1507"/>
                <a:gd name="T13" fmla="*/ 992 h 993"/>
                <a:gd name="T14" fmla="*/ 1 w 1507"/>
                <a:gd name="T15" fmla="*/ 991 h 993"/>
                <a:gd name="T16" fmla="*/ 1506 w 1507"/>
                <a:gd name="T17" fmla="*/ 992 h 993"/>
                <a:gd name="T18" fmla="*/ 1 w 1507"/>
                <a:gd name="T19" fmla="*/ 993 h 993"/>
                <a:gd name="T20" fmla="*/ 0 w 1507"/>
                <a:gd name="T21" fmla="*/ 993 h 993"/>
                <a:gd name="T22" fmla="*/ 0 w 1507"/>
                <a:gd name="T23" fmla="*/ 992 h 993"/>
                <a:gd name="T24" fmla="*/ 0 w 1507"/>
                <a:gd name="T25" fmla="*/ 1 h 993"/>
                <a:gd name="T26" fmla="*/ 0 w 1507"/>
                <a:gd name="T27" fmla="*/ 0 h 993"/>
                <a:gd name="T28" fmla="*/ 1 w 1507"/>
                <a:gd name="T29" fmla="*/ 0 h 993"/>
                <a:gd name="T30" fmla="*/ 1 w 1507"/>
                <a:gd name="T31" fmla="*/ 0 h 993"/>
                <a:gd name="T32" fmla="*/ 1506 w 1507"/>
                <a:gd name="T33" fmla="*/ 1 h 993"/>
                <a:gd name="T34" fmla="*/ 1507 w 1507"/>
                <a:gd name="T35" fmla="*/ 1 h 993"/>
                <a:gd name="T36" fmla="*/ 1507 w 1507"/>
                <a:gd name="T37" fmla="*/ 1 h 993"/>
                <a:gd name="T38" fmla="*/ 1506 w 1507"/>
                <a:gd name="T39" fmla="*/ 99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7" h="993">
                  <a:moveTo>
                    <a:pt x="1506" y="992"/>
                  </a:moveTo>
                  <a:cubicBezTo>
                    <a:pt x="1506" y="985"/>
                    <a:pt x="1506" y="606"/>
                    <a:pt x="1505" y="1"/>
                  </a:cubicBezTo>
                  <a:cubicBezTo>
                    <a:pt x="1506" y="2"/>
                    <a:pt x="1506" y="2"/>
                    <a:pt x="1506" y="2"/>
                  </a:cubicBezTo>
                  <a:cubicBezTo>
                    <a:pt x="1093" y="2"/>
                    <a:pt x="569" y="2"/>
                    <a:pt x="1" y="2"/>
                  </a:cubicBezTo>
                  <a:cubicBezTo>
                    <a:pt x="1" y="2"/>
                    <a:pt x="1" y="2"/>
                    <a:pt x="1" y="2"/>
                  </a:cubicBezTo>
                  <a:cubicBezTo>
                    <a:pt x="2" y="1"/>
                    <a:pt x="2" y="1"/>
                    <a:pt x="2" y="1"/>
                  </a:cubicBezTo>
                  <a:cubicBezTo>
                    <a:pt x="2" y="354"/>
                    <a:pt x="2" y="689"/>
                    <a:pt x="2" y="992"/>
                  </a:cubicBezTo>
                  <a:cubicBezTo>
                    <a:pt x="1" y="991"/>
                    <a:pt x="1" y="991"/>
                    <a:pt x="1" y="991"/>
                  </a:cubicBezTo>
                  <a:cubicBezTo>
                    <a:pt x="887" y="992"/>
                    <a:pt x="1498" y="992"/>
                    <a:pt x="1506" y="992"/>
                  </a:cubicBezTo>
                  <a:cubicBezTo>
                    <a:pt x="1498" y="992"/>
                    <a:pt x="887" y="993"/>
                    <a:pt x="1" y="993"/>
                  </a:cubicBezTo>
                  <a:cubicBezTo>
                    <a:pt x="0" y="993"/>
                    <a:pt x="0" y="993"/>
                    <a:pt x="0" y="993"/>
                  </a:cubicBezTo>
                  <a:cubicBezTo>
                    <a:pt x="0" y="992"/>
                    <a:pt x="0" y="992"/>
                    <a:pt x="0" y="992"/>
                  </a:cubicBezTo>
                  <a:cubicBezTo>
                    <a:pt x="0" y="689"/>
                    <a:pt x="0" y="354"/>
                    <a:pt x="0" y="1"/>
                  </a:cubicBezTo>
                  <a:cubicBezTo>
                    <a:pt x="0" y="0"/>
                    <a:pt x="0" y="0"/>
                    <a:pt x="0" y="0"/>
                  </a:cubicBezTo>
                  <a:cubicBezTo>
                    <a:pt x="1" y="0"/>
                    <a:pt x="1" y="0"/>
                    <a:pt x="1" y="0"/>
                  </a:cubicBezTo>
                  <a:cubicBezTo>
                    <a:pt x="1" y="0"/>
                    <a:pt x="1" y="0"/>
                    <a:pt x="1" y="0"/>
                  </a:cubicBezTo>
                  <a:cubicBezTo>
                    <a:pt x="569" y="0"/>
                    <a:pt x="1093" y="1"/>
                    <a:pt x="1506" y="1"/>
                  </a:cubicBezTo>
                  <a:cubicBezTo>
                    <a:pt x="1507" y="1"/>
                    <a:pt x="1507" y="1"/>
                    <a:pt x="1507" y="1"/>
                  </a:cubicBezTo>
                  <a:cubicBezTo>
                    <a:pt x="1507" y="1"/>
                    <a:pt x="1507" y="1"/>
                    <a:pt x="1507" y="1"/>
                  </a:cubicBezTo>
                  <a:cubicBezTo>
                    <a:pt x="1507" y="606"/>
                    <a:pt x="1506" y="985"/>
                    <a:pt x="1506" y="99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47">
              <a:extLst>
                <a:ext uri="{FF2B5EF4-FFF2-40B4-BE49-F238E27FC236}">
                  <a16:creationId xmlns:a16="http://schemas.microsoft.com/office/drawing/2014/main" id="{86DA3A3F-84AF-4FE8-A816-C365FAE4EB96}"/>
                </a:ext>
              </a:extLst>
            </p:cNvPr>
            <p:cNvSpPr>
              <a:spLocks noChangeArrowheads="1"/>
            </p:cNvSpPr>
            <p:nvPr/>
          </p:nvSpPr>
          <p:spPr bwMode="auto">
            <a:xfrm>
              <a:off x="1173" y="1602"/>
              <a:ext cx="3571"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48">
              <a:extLst>
                <a:ext uri="{FF2B5EF4-FFF2-40B4-BE49-F238E27FC236}">
                  <a16:creationId xmlns:a16="http://schemas.microsoft.com/office/drawing/2014/main" id="{EB12D717-11DB-4E98-BC1C-B41F7060A524}"/>
                </a:ext>
              </a:extLst>
            </p:cNvPr>
            <p:cNvSpPr>
              <a:spLocks noChangeArrowheads="1"/>
            </p:cNvSpPr>
            <p:nvPr/>
          </p:nvSpPr>
          <p:spPr bwMode="auto">
            <a:xfrm>
              <a:off x="1505" y="1951"/>
              <a:ext cx="2995" cy="411"/>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Rectangle 49">
              <a:extLst>
                <a:ext uri="{FF2B5EF4-FFF2-40B4-BE49-F238E27FC236}">
                  <a16:creationId xmlns:a16="http://schemas.microsoft.com/office/drawing/2014/main" id="{52F97820-9622-4949-8862-80EF3AFD2F61}"/>
                </a:ext>
              </a:extLst>
            </p:cNvPr>
            <p:cNvSpPr>
              <a:spLocks noChangeArrowheads="1"/>
            </p:cNvSpPr>
            <p:nvPr/>
          </p:nvSpPr>
          <p:spPr bwMode="auto">
            <a:xfrm>
              <a:off x="1505" y="1951"/>
              <a:ext cx="2995" cy="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50">
              <a:extLst>
                <a:ext uri="{FF2B5EF4-FFF2-40B4-BE49-F238E27FC236}">
                  <a16:creationId xmlns:a16="http://schemas.microsoft.com/office/drawing/2014/main" id="{B15EBF80-80F6-404B-9D35-9F9EFD18FE06}"/>
                </a:ext>
              </a:extLst>
            </p:cNvPr>
            <p:cNvSpPr>
              <a:spLocks noChangeArrowheads="1"/>
            </p:cNvSpPr>
            <p:nvPr/>
          </p:nvSpPr>
          <p:spPr bwMode="auto">
            <a:xfrm>
              <a:off x="1456" y="3079"/>
              <a:ext cx="664" cy="66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1">
              <a:extLst>
                <a:ext uri="{FF2B5EF4-FFF2-40B4-BE49-F238E27FC236}">
                  <a16:creationId xmlns:a16="http://schemas.microsoft.com/office/drawing/2014/main" id="{257DCB57-AA22-4666-9856-2F0D930F93B4}"/>
                </a:ext>
              </a:extLst>
            </p:cNvPr>
            <p:cNvSpPr>
              <a:spLocks noChangeArrowheads="1"/>
            </p:cNvSpPr>
            <p:nvPr/>
          </p:nvSpPr>
          <p:spPr bwMode="auto">
            <a:xfrm>
              <a:off x="2241" y="3079"/>
              <a:ext cx="664" cy="66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52">
              <a:extLst>
                <a:ext uri="{FF2B5EF4-FFF2-40B4-BE49-F238E27FC236}">
                  <a16:creationId xmlns:a16="http://schemas.microsoft.com/office/drawing/2014/main" id="{60583452-B03A-4061-AF5F-E531D8ED9540}"/>
                </a:ext>
              </a:extLst>
            </p:cNvPr>
            <p:cNvSpPr>
              <a:spLocks noChangeArrowheads="1"/>
            </p:cNvSpPr>
            <p:nvPr/>
          </p:nvSpPr>
          <p:spPr bwMode="auto">
            <a:xfrm>
              <a:off x="3003" y="3079"/>
              <a:ext cx="664" cy="66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3">
              <a:extLst>
                <a:ext uri="{FF2B5EF4-FFF2-40B4-BE49-F238E27FC236}">
                  <a16:creationId xmlns:a16="http://schemas.microsoft.com/office/drawing/2014/main" id="{D74E29AA-7913-4FAF-9343-FE6D5B901CC5}"/>
                </a:ext>
              </a:extLst>
            </p:cNvPr>
            <p:cNvSpPr>
              <a:spLocks/>
            </p:cNvSpPr>
            <p:nvPr/>
          </p:nvSpPr>
          <p:spPr bwMode="auto">
            <a:xfrm>
              <a:off x="1814" y="2578"/>
              <a:ext cx="940" cy="218"/>
            </a:xfrm>
            <a:custGeom>
              <a:avLst/>
              <a:gdLst>
                <a:gd name="T0" fmla="*/ 350 w 396"/>
                <a:gd name="T1" fmla="*/ 92 h 92"/>
                <a:gd name="T2" fmla="*/ 46 w 396"/>
                <a:gd name="T3" fmla="*/ 92 h 92"/>
                <a:gd name="T4" fmla="*/ 0 w 396"/>
                <a:gd name="T5" fmla="*/ 46 h 92"/>
                <a:gd name="T6" fmla="*/ 46 w 396"/>
                <a:gd name="T7" fmla="*/ 0 h 92"/>
                <a:gd name="T8" fmla="*/ 350 w 396"/>
                <a:gd name="T9" fmla="*/ 0 h 92"/>
                <a:gd name="T10" fmla="*/ 396 w 396"/>
                <a:gd name="T11" fmla="*/ 46 h 92"/>
                <a:gd name="T12" fmla="*/ 350 w 396"/>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396" h="92">
                  <a:moveTo>
                    <a:pt x="350" y="92"/>
                  </a:moveTo>
                  <a:cubicBezTo>
                    <a:pt x="46" y="92"/>
                    <a:pt x="46" y="92"/>
                    <a:pt x="46" y="92"/>
                  </a:cubicBezTo>
                  <a:cubicBezTo>
                    <a:pt x="21" y="92"/>
                    <a:pt x="0" y="71"/>
                    <a:pt x="0" y="46"/>
                  </a:cubicBezTo>
                  <a:cubicBezTo>
                    <a:pt x="0" y="20"/>
                    <a:pt x="21" y="0"/>
                    <a:pt x="46" y="0"/>
                  </a:cubicBezTo>
                  <a:cubicBezTo>
                    <a:pt x="350" y="0"/>
                    <a:pt x="350" y="0"/>
                    <a:pt x="350" y="0"/>
                  </a:cubicBezTo>
                  <a:cubicBezTo>
                    <a:pt x="375" y="0"/>
                    <a:pt x="396" y="20"/>
                    <a:pt x="396" y="46"/>
                  </a:cubicBezTo>
                  <a:cubicBezTo>
                    <a:pt x="396" y="71"/>
                    <a:pt x="375" y="92"/>
                    <a:pt x="350" y="92"/>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4">
              <a:extLst>
                <a:ext uri="{FF2B5EF4-FFF2-40B4-BE49-F238E27FC236}">
                  <a16:creationId xmlns:a16="http://schemas.microsoft.com/office/drawing/2014/main" id="{E8C1F481-E612-41D1-B07E-A9BD2CE01A65}"/>
                </a:ext>
              </a:extLst>
            </p:cNvPr>
            <p:cNvSpPr>
              <a:spLocks/>
            </p:cNvSpPr>
            <p:nvPr/>
          </p:nvSpPr>
          <p:spPr bwMode="auto">
            <a:xfrm>
              <a:off x="1807" y="2573"/>
              <a:ext cx="1791" cy="226"/>
            </a:xfrm>
            <a:custGeom>
              <a:avLst/>
              <a:gdLst>
                <a:gd name="T0" fmla="*/ 708 w 755"/>
                <a:gd name="T1" fmla="*/ 94 h 95"/>
                <a:gd name="T2" fmla="*/ 712 w 755"/>
                <a:gd name="T3" fmla="*/ 94 h 95"/>
                <a:gd name="T4" fmla="*/ 717 w 755"/>
                <a:gd name="T5" fmla="*/ 93 h 95"/>
                <a:gd name="T6" fmla="*/ 724 w 755"/>
                <a:gd name="T7" fmla="*/ 91 h 95"/>
                <a:gd name="T8" fmla="*/ 740 w 755"/>
                <a:gd name="T9" fmla="*/ 80 h 95"/>
                <a:gd name="T10" fmla="*/ 753 w 755"/>
                <a:gd name="T11" fmla="*/ 57 h 95"/>
                <a:gd name="T12" fmla="*/ 747 w 755"/>
                <a:gd name="T13" fmla="*/ 25 h 95"/>
                <a:gd name="T14" fmla="*/ 716 w 755"/>
                <a:gd name="T15" fmla="*/ 3 h 95"/>
                <a:gd name="T16" fmla="*/ 693 w 755"/>
                <a:gd name="T17" fmla="*/ 2 h 95"/>
                <a:gd name="T18" fmla="*/ 669 w 755"/>
                <a:gd name="T19" fmla="*/ 2 h 95"/>
                <a:gd name="T20" fmla="*/ 618 w 755"/>
                <a:gd name="T21" fmla="*/ 2 h 95"/>
                <a:gd name="T22" fmla="*/ 49 w 755"/>
                <a:gd name="T23" fmla="*/ 3 h 95"/>
                <a:gd name="T24" fmla="*/ 14 w 755"/>
                <a:gd name="T25" fmla="*/ 20 h 95"/>
                <a:gd name="T26" fmla="*/ 5 w 755"/>
                <a:gd name="T27" fmla="*/ 57 h 95"/>
                <a:gd name="T28" fmla="*/ 28 w 755"/>
                <a:gd name="T29" fmla="*/ 88 h 95"/>
                <a:gd name="T30" fmla="*/ 46 w 755"/>
                <a:gd name="T31" fmla="*/ 93 h 95"/>
                <a:gd name="T32" fmla="*/ 66 w 755"/>
                <a:gd name="T33" fmla="*/ 93 h 95"/>
                <a:gd name="T34" fmla="*/ 217 w 755"/>
                <a:gd name="T35" fmla="*/ 93 h 95"/>
                <a:gd name="T36" fmla="*/ 472 w 755"/>
                <a:gd name="T37" fmla="*/ 93 h 95"/>
                <a:gd name="T38" fmla="*/ 645 w 755"/>
                <a:gd name="T39" fmla="*/ 94 h 95"/>
                <a:gd name="T40" fmla="*/ 691 w 755"/>
                <a:gd name="T41" fmla="*/ 94 h 95"/>
                <a:gd name="T42" fmla="*/ 704 w 755"/>
                <a:gd name="T43" fmla="*/ 94 h 95"/>
                <a:gd name="T44" fmla="*/ 708 w 755"/>
                <a:gd name="T45" fmla="*/ 94 h 95"/>
                <a:gd name="T46" fmla="*/ 704 w 755"/>
                <a:gd name="T47" fmla="*/ 94 h 95"/>
                <a:gd name="T48" fmla="*/ 691 w 755"/>
                <a:gd name="T49" fmla="*/ 94 h 95"/>
                <a:gd name="T50" fmla="*/ 645 w 755"/>
                <a:gd name="T51" fmla="*/ 95 h 95"/>
                <a:gd name="T52" fmla="*/ 472 w 755"/>
                <a:gd name="T53" fmla="*/ 95 h 95"/>
                <a:gd name="T54" fmla="*/ 217 w 755"/>
                <a:gd name="T55" fmla="*/ 95 h 95"/>
                <a:gd name="T56" fmla="*/ 66 w 755"/>
                <a:gd name="T57" fmla="*/ 95 h 95"/>
                <a:gd name="T58" fmla="*/ 46 w 755"/>
                <a:gd name="T59" fmla="*/ 95 h 95"/>
                <a:gd name="T60" fmla="*/ 27 w 755"/>
                <a:gd name="T61" fmla="*/ 89 h 95"/>
                <a:gd name="T62" fmla="*/ 3 w 755"/>
                <a:gd name="T63" fmla="*/ 57 h 95"/>
                <a:gd name="T64" fmla="*/ 12 w 755"/>
                <a:gd name="T65" fmla="*/ 18 h 95"/>
                <a:gd name="T66" fmla="*/ 49 w 755"/>
                <a:gd name="T67" fmla="*/ 1 h 95"/>
                <a:gd name="T68" fmla="*/ 618 w 755"/>
                <a:gd name="T69" fmla="*/ 1 h 95"/>
                <a:gd name="T70" fmla="*/ 669 w 755"/>
                <a:gd name="T71" fmla="*/ 1 h 95"/>
                <a:gd name="T72" fmla="*/ 693 w 755"/>
                <a:gd name="T73" fmla="*/ 1 h 95"/>
                <a:gd name="T74" fmla="*/ 716 w 755"/>
                <a:gd name="T75" fmla="*/ 2 h 95"/>
                <a:gd name="T76" fmla="*/ 748 w 755"/>
                <a:gd name="T77" fmla="*/ 24 h 95"/>
                <a:gd name="T78" fmla="*/ 753 w 755"/>
                <a:gd name="T79" fmla="*/ 57 h 95"/>
                <a:gd name="T80" fmla="*/ 741 w 755"/>
                <a:gd name="T81" fmla="*/ 81 h 95"/>
                <a:gd name="T82" fmla="*/ 724 w 755"/>
                <a:gd name="T83" fmla="*/ 91 h 95"/>
                <a:gd name="T84" fmla="*/ 717 w 755"/>
                <a:gd name="T85" fmla="*/ 93 h 95"/>
                <a:gd name="T86" fmla="*/ 712 w 755"/>
                <a:gd name="T87" fmla="*/ 94 h 95"/>
                <a:gd name="T88" fmla="*/ 708 w 755"/>
                <a:gd name="T89" fmla="*/ 9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5" h="95">
                  <a:moveTo>
                    <a:pt x="708" y="94"/>
                  </a:moveTo>
                  <a:cubicBezTo>
                    <a:pt x="708" y="94"/>
                    <a:pt x="709" y="94"/>
                    <a:pt x="712" y="94"/>
                  </a:cubicBezTo>
                  <a:cubicBezTo>
                    <a:pt x="713" y="94"/>
                    <a:pt x="715" y="93"/>
                    <a:pt x="717" y="93"/>
                  </a:cubicBezTo>
                  <a:cubicBezTo>
                    <a:pt x="719" y="92"/>
                    <a:pt x="721" y="92"/>
                    <a:pt x="724" y="91"/>
                  </a:cubicBezTo>
                  <a:cubicBezTo>
                    <a:pt x="729" y="89"/>
                    <a:pt x="735" y="86"/>
                    <a:pt x="740" y="80"/>
                  </a:cubicBezTo>
                  <a:cubicBezTo>
                    <a:pt x="746" y="75"/>
                    <a:pt x="751" y="67"/>
                    <a:pt x="753" y="57"/>
                  </a:cubicBezTo>
                  <a:cubicBezTo>
                    <a:pt x="755" y="47"/>
                    <a:pt x="754" y="35"/>
                    <a:pt x="747" y="25"/>
                  </a:cubicBezTo>
                  <a:cubicBezTo>
                    <a:pt x="741" y="14"/>
                    <a:pt x="730" y="5"/>
                    <a:pt x="716" y="3"/>
                  </a:cubicBezTo>
                  <a:cubicBezTo>
                    <a:pt x="709" y="2"/>
                    <a:pt x="701" y="2"/>
                    <a:pt x="693" y="2"/>
                  </a:cubicBezTo>
                  <a:cubicBezTo>
                    <a:pt x="686" y="2"/>
                    <a:pt x="678" y="2"/>
                    <a:pt x="669" y="2"/>
                  </a:cubicBezTo>
                  <a:cubicBezTo>
                    <a:pt x="653" y="2"/>
                    <a:pt x="636" y="2"/>
                    <a:pt x="618" y="2"/>
                  </a:cubicBezTo>
                  <a:cubicBezTo>
                    <a:pt x="472" y="2"/>
                    <a:pt x="271" y="2"/>
                    <a:pt x="49" y="3"/>
                  </a:cubicBezTo>
                  <a:cubicBezTo>
                    <a:pt x="36" y="3"/>
                    <a:pt x="22" y="9"/>
                    <a:pt x="14" y="20"/>
                  </a:cubicBezTo>
                  <a:cubicBezTo>
                    <a:pt x="5" y="30"/>
                    <a:pt x="2" y="44"/>
                    <a:pt x="5" y="57"/>
                  </a:cubicBezTo>
                  <a:cubicBezTo>
                    <a:pt x="8" y="70"/>
                    <a:pt x="16" y="81"/>
                    <a:pt x="28" y="88"/>
                  </a:cubicBezTo>
                  <a:cubicBezTo>
                    <a:pt x="33" y="91"/>
                    <a:pt x="40" y="93"/>
                    <a:pt x="46" y="93"/>
                  </a:cubicBezTo>
                  <a:cubicBezTo>
                    <a:pt x="53" y="93"/>
                    <a:pt x="59" y="93"/>
                    <a:pt x="66" y="93"/>
                  </a:cubicBezTo>
                  <a:cubicBezTo>
                    <a:pt x="118" y="93"/>
                    <a:pt x="169" y="93"/>
                    <a:pt x="217" y="93"/>
                  </a:cubicBezTo>
                  <a:cubicBezTo>
                    <a:pt x="313" y="93"/>
                    <a:pt x="400" y="93"/>
                    <a:pt x="472" y="93"/>
                  </a:cubicBezTo>
                  <a:cubicBezTo>
                    <a:pt x="545" y="94"/>
                    <a:pt x="604" y="94"/>
                    <a:pt x="645" y="94"/>
                  </a:cubicBezTo>
                  <a:cubicBezTo>
                    <a:pt x="665" y="94"/>
                    <a:pt x="681" y="94"/>
                    <a:pt x="691" y="94"/>
                  </a:cubicBezTo>
                  <a:cubicBezTo>
                    <a:pt x="697" y="94"/>
                    <a:pt x="701" y="94"/>
                    <a:pt x="704" y="94"/>
                  </a:cubicBezTo>
                  <a:cubicBezTo>
                    <a:pt x="706" y="94"/>
                    <a:pt x="708" y="94"/>
                    <a:pt x="708" y="94"/>
                  </a:cubicBezTo>
                  <a:cubicBezTo>
                    <a:pt x="708" y="94"/>
                    <a:pt x="706" y="94"/>
                    <a:pt x="704" y="94"/>
                  </a:cubicBezTo>
                  <a:cubicBezTo>
                    <a:pt x="701" y="94"/>
                    <a:pt x="697" y="94"/>
                    <a:pt x="691" y="94"/>
                  </a:cubicBezTo>
                  <a:cubicBezTo>
                    <a:pt x="681" y="94"/>
                    <a:pt x="665" y="94"/>
                    <a:pt x="645" y="95"/>
                  </a:cubicBezTo>
                  <a:cubicBezTo>
                    <a:pt x="604" y="95"/>
                    <a:pt x="545" y="95"/>
                    <a:pt x="472" y="95"/>
                  </a:cubicBezTo>
                  <a:cubicBezTo>
                    <a:pt x="400" y="95"/>
                    <a:pt x="313" y="95"/>
                    <a:pt x="217" y="95"/>
                  </a:cubicBezTo>
                  <a:cubicBezTo>
                    <a:pt x="169" y="95"/>
                    <a:pt x="118" y="95"/>
                    <a:pt x="66" y="95"/>
                  </a:cubicBezTo>
                  <a:cubicBezTo>
                    <a:pt x="59" y="95"/>
                    <a:pt x="53" y="95"/>
                    <a:pt x="46" y="95"/>
                  </a:cubicBezTo>
                  <a:cubicBezTo>
                    <a:pt x="39" y="95"/>
                    <a:pt x="33" y="93"/>
                    <a:pt x="27" y="89"/>
                  </a:cubicBezTo>
                  <a:cubicBezTo>
                    <a:pt x="15" y="83"/>
                    <a:pt x="6" y="71"/>
                    <a:pt x="3" y="57"/>
                  </a:cubicBezTo>
                  <a:cubicBezTo>
                    <a:pt x="0" y="44"/>
                    <a:pt x="3" y="29"/>
                    <a:pt x="12" y="18"/>
                  </a:cubicBezTo>
                  <a:cubicBezTo>
                    <a:pt x="21" y="7"/>
                    <a:pt x="35" y="0"/>
                    <a:pt x="49" y="1"/>
                  </a:cubicBezTo>
                  <a:cubicBezTo>
                    <a:pt x="271" y="1"/>
                    <a:pt x="472" y="1"/>
                    <a:pt x="618" y="1"/>
                  </a:cubicBezTo>
                  <a:cubicBezTo>
                    <a:pt x="636" y="1"/>
                    <a:pt x="653" y="1"/>
                    <a:pt x="669" y="1"/>
                  </a:cubicBezTo>
                  <a:cubicBezTo>
                    <a:pt x="678" y="1"/>
                    <a:pt x="686" y="1"/>
                    <a:pt x="693" y="1"/>
                  </a:cubicBezTo>
                  <a:cubicBezTo>
                    <a:pt x="701" y="1"/>
                    <a:pt x="709" y="1"/>
                    <a:pt x="716" y="2"/>
                  </a:cubicBezTo>
                  <a:cubicBezTo>
                    <a:pt x="730" y="4"/>
                    <a:pt x="742" y="14"/>
                    <a:pt x="748" y="24"/>
                  </a:cubicBezTo>
                  <a:cubicBezTo>
                    <a:pt x="754" y="35"/>
                    <a:pt x="755" y="47"/>
                    <a:pt x="753" y="57"/>
                  </a:cubicBezTo>
                  <a:cubicBezTo>
                    <a:pt x="751" y="67"/>
                    <a:pt x="746" y="75"/>
                    <a:pt x="741" y="81"/>
                  </a:cubicBezTo>
                  <a:cubicBezTo>
                    <a:pt x="735" y="86"/>
                    <a:pt x="729" y="90"/>
                    <a:pt x="724" y="91"/>
                  </a:cubicBezTo>
                  <a:cubicBezTo>
                    <a:pt x="721" y="92"/>
                    <a:pt x="719" y="93"/>
                    <a:pt x="717" y="93"/>
                  </a:cubicBezTo>
                  <a:cubicBezTo>
                    <a:pt x="715" y="94"/>
                    <a:pt x="713" y="94"/>
                    <a:pt x="712" y="94"/>
                  </a:cubicBezTo>
                  <a:cubicBezTo>
                    <a:pt x="709" y="94"/>
                    <a:pt x="708" y="94"/>
                    <a:pt x="708" y="9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5">
              <a:extLst>
                <a:ext uri="{FF2B5EF4-FFF2-40B4-BE49-F238E27FC236}">
                  <a16:creationId xmlns:a16="http://schemas.microsoft.com/office/drawing/2014/main" id="{48801775-C476-438F-A80E-B2B883FB653B}"/>
                </a:ext>
              </a:extLst>
            </p:cNvPr>
            <p:cNvSpPr>
              <a:spLocks/>
            </p:cNvSpPr>
            <p:nvPr/>
          </p:nvSpPr>
          <p:spPr bwMode="auto">
            <a:xfrm>
              <a:off x="2514" y="2872"/>
              <a:ext cx="40" cy="60"/>
            </a:xfrm>
            <a:custGeom>
              <a:avLst/>
              <a:gdLst>
                <a:gd name="T0" fmla="*/ 12 w 40"/>
                <a:gd name="T1" fmla="*/ 0 h 60"/>
                <a:gd name="T2" fmla="*/ 19 w 40"/>
                <a:gd name="T3" fmla="*/ 0 h 60"/>
                <a:gd name="T4" fmla="*/ 9 w 40"/>
                <a:gd name="T5" fmla="*/ 53 h 60"/>
                <a:gd name="T6" fmla="*/ 40 w 40"/>
                <a:gd name="T7" fmla="*/ 53 h 60"/>
                <a:gd name="T8" fmla="*/ 38 w 40"/>
                <a:gd name="T9" fmla="*/ 60 h 60"/>
                <a:gd name="T10" fmla="*/ 0 w 40"/>
                <a:gd name="T11" fmla="*/ 60 h 60"/>
                <a:gd name="T12" fmla="*/ 12 w 40"/>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40" h="60">
                  <a:moveTo>
                    <a:pt x="12" y="0"/>
                  </a:moveTo>
                  <a:lnTo>
                    <a:pt x="19" y="0"/>
                  </a:lnTo>
                  <a:lnTo>
                    <a:pt x="9" y="53"/>
                  </a:lnTo>
                  <a:lnTo>
                    <a:pt x="40" y="53"/>
                  </a:lnTo>
                  <a:lnTo>
                    <a:pt x="38" y="60"/>
                  </a:lnTo>
                  <a:lnTo>
                    <a:pt x="0" y="60"/>
                  </a:lnTo>
                  <a:lnTo>
                    <a:pt x="12"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6">
              <a:extLst>
                <a:ext uri="{FF2B5EF4-FFF2-40B4-BE49-F238E27FC236}">
                  <a16:creationId xmlns:a16="http://schemas.microsoft.com/office/drawing/2014/main" id="{3ACA32A1-7901-45C4-9074-793665A0C445}"/>
                </a:ext>
              </a:extLst>
            </p:cNvPr>
            <p:cNvSpPr>
              <a:spLocks noEditPoints="1"/>
            </p:cNvSpPr>
            <p:nvPr/>
          </p:nvSpPr>
          <p:spPr bwMode="auto">
            <a:xfrm>
              <a:off x="2561" y="2887"/>
              <a:ext cx="45" cy="45"/>
            </a:xfrm>
            <a:custGeom>
              <a:avLst/>
              <a:gdLst>
                <a:gd name="T0" fmla="*/ 0 w 19"/>
                <a:gd name="T1" fmla="*/ 11 h 19"/>
                <a:gd name="T2" fmla="*/ 10 w 19"/>
                <a:gd name="T3" fmla="*/ 0 h 19"/>
                <a:gd name="T4" fmla="*/ 19 w 19"/>
                <a:gd name="T5" fmla="*/ 8 h 19"/>
                <a:gd name="T6" fmla="*/ 8 w 19"/>
                <a:gd name="T7" fmla="*/ 19 h 19"/>
                <a:gd name="T8" fmla="*/ 0 w 19"/>
                <a:gd name="T9" fmla="*/ 11 h 19"/>
                <a:gd name="T10" fmla="*/ 16 w 19"/>
                <a:gd name="T11" fmla="*/ 8 h 19"/>
                <a:gd name="T12" fmla="*/ 10 w 19"/>
                <a:gd name="T13" fmla="*/ 3 h 19"/>
                <a:gd name="T14" fmla="*/ 3 w 19"/>
                <a:gd name="T15" fmla="*/ 11 h 19"/>
                <a:gd name="T16" fmla="*/ 8 w 19"/>
                <a:gd name="T17" fmla="*/ 16 h 19"/>
                <a:gd name="T18" fmla="*/ 16 w 19"/>
                <a:gd name="T1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0" y="11"/>
                  </a:moveTo>
                  <a:cubicBezTo>
                    <a:pt x="0" y="5"/>
                    <a:pt x="4" y="0"/>
                    <a:pt x="10" y="0"/>
                  </a:cubicBezTo>
                  <a:cubicBezTo>
                    <a:pt x="16" y="0"/>
                    <a:pt x="19" y="3"/>
                    <a:pt x="19" y="8"/>
                  </a:cubicBezTo>
                  <a:cubicBezTo>
                    <a:pt x="19" y="14"/>
                    <a:pt x="14" y="19"/>
                    <a:pt x="8" y="19"/>
                  </a:cubicBezTo>
                  <a:cubicBezTo>
                    <a:pt x="3" y="19"/>
                    <a:pt x="0" y="16"/>
                    <a:pt x="0" y="11"/>
                  </a:cubicBezTo>
                  <a:close/>
                  <a:moveTo>
                    <a:pt x="16" y="8"/>
                  </a:moveTo>
                  <a:cubicBezTo>
                    <a:pt x="16" y="5"/>
                    <a:pt x="14" y="3"/>
                    <a:pt x="10" y="3"/>
                  </a:cubicBezTo>
                  <a:cubicBezTo>
                    <a:pt x="6" y="3"/>
                    <a:pt x="3" y="6"/>
                    <a:pt x="3" y="11"/>
                  </a:cubicBezTo>
                  <a:cubicBezTo>
                    <a:pt x="3" y="14"/>
                    <a:pt x="5" y="16"/>
                    <a:pt x="8" y="16"/>
                  </a:cubicBezTo>
                  <a:cubicBezTo>
                    <a:pt x="13" y="16"/>
                    <a:pt x="16" y="13"/>
                    <a:pt x="16"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7">
              <a:extLst>
                <a:ext uri="{FF2B5EF4-FFF2-40B4-BE49-F238E27FC236}">
                  <a16:creationId xmlns:a16="http://schemas.microsoft.com/office/drawing/2014/main" id="{73B35032-6AEE-42F3-9276-D0CC5A3DDD29}"/>
                </a:ext>
              </a:extLst>
            </p:cNvPr>
            <p:cNvSpPr>
              <a:spLocks noEditPoints="1"/>
            </p:cNvSpPr>
            <p:nvPr/>
          </p:nvSpPr>
          <p:spPr bwMode="auto">
            <a:xfrm>
              <a:off x="2611" y="2887"/>
              <a:ext cx="50" cy="45"/>
            </a:xfrm>
            <a:custGeom>
              <a:avLst/>
              <a:gdLst>
                <a:gd name="T0" fmla="*/ 21 w 21"/>
                <a:gd name="T1" fmla="*/ 0 h 19"/>
                <a:gd name="T2" fmla="*/ 18 w 21"/>
                <a:gd name="T3" fmla="*/ 19 h 19"/>
                <a:gd name="T4" fmla="*/ 15 w 21"/>
                <a:gd name="T5" fmla="*/ 19 h 19"/>
                <a:gd name="T6" fmla="*/ 15 w 21"/>
                <a:gd name="T7" fmla="*/ 16 h 19"/>
                <a:gd name="T8" fmla="*/ 9 w 21"/>
                <a:gd name="T9" fmla="*/ 19 h 19"/>
                <a:gd name="T10" fmla="*/ 0 w 21"/>
                <a:gd name="T11" fmla="*/ 11 h 19"/>
                <a:gd name="T12" fmla="*/ 11 w 21"/>
                <a:gd name="T13" fmla="*/ 0 h 19"/>
                <a:gd name="T14" fmla="*/ 17 w 21"/>
                <a:gd name="T15" fmla="*/ 3 h 19"/>
                <a:gd name="T16" fmla="*/ 18 w 21"/>
                <a:gd name="T17" fmla="*/ 0 h 19"/>
                <a:gd name="T18" fmla="*/ 21 w 21"/>
                <a:gd name="T19" fmla="*/ 0 h 19"/>
                <a:gd name="T20" fmla="*/ 16 w 21"/>
                <a:gd name="T21" fmla="*/ 8 h 19"/>
                <a:gd name="T22" fmla="*/ 11 w 21"/>
                <a:gd name="T23" fmla="*/ 3 h 19"/>
                <a:gd name="T24" fmla="*/ 4 w 21"/>
                <a:gd name="T25" fmla="*/ 11 h 19"/>
                <a:gd name="T26" fmla="*/ 9 w 21"/>
                <a:gd name="T27" fmla="*/ 16 h 19"/>
                <a:gd name="T28" fmla="*/ 16 w 21"/>
                <a:gd name="T2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9">
                  <a:moveTo>
                    <a:pt x="21" y="0"/>
                  </a:moveTo>
                  <a:cubicBezTo>
                    <a:pt x="18" y="19"/>
                    <a:pt x="18" y="19"/>
                    <a:pt x="18" y="19"/>
                  </a:cubicBezTo>
                  <a:cubicBezTo>
                    <a:pt x="15" y="19"/>
                    <a:pt x="15" y="19"/>
                    <a:pt x="15" y="19"/>
                  </a:cubicBezTo>
                  <a:cubicBezTo>
                    <a:pt x="15" y="16"/>
                    <a:pt x="15" y="16"/>
                    <a:pt x="15" y="16"/>
                  </a:cubicBezTo>
                  <a:cubicBezTo>
                    <a:pt x="13" y="18"/>
                    <a:pt x="11" y="19"/>
                    <a:pt x="9" y="19"/>
                  </a:cubicBezTo>
                  <a:cubicBezTo>
                    <a:pt x="4" y="19"/>
                    <a:pt x="0" y="16"/>
                    <a:pt x="0" y="11"/>
                  </a:cubicBezTo>
                  <a:cubicBezTo>
                    <a:pt x="0" y="5"/>
                    <a:pt x="5" y="0"/>
                    <a:pt x="11" y="0"/>
                  </a:cubicBezTo>
                  <a:cubicBezTo>
                    <a:pt x="14" y="0"/>
                    <a:pt x="16" y="1"/>
                    <a:pt x="17" y="3"/>
                  </a:cubicBezTo>
                  <a:cubicBezTo>
                    <a:pt x="18" y="0"/>
                    <a:pt x="18" y="0"/>
                    <a:pt x="18" y="0"/>
                  </a:cubicBezTo>
                  <a:lnTo>
                    <a:pt x="21" y="0"/>
                  </a:lnTo>
                  <a:close/>
                  <a:moveTo>
                    <a:pt x="16" y="8"/>
                  </a:moveTo>
                  <a:cubicBezTo>
                    <a:pt x="16" y="5"/>
                    <a:pt x="14" y="3"/>
                    <a:pt x="11" y="3"/>
                  </a:cubicBezTo>
                  <a:cubicBezTo>
                    <a:pt x="7" y="3"/>
                    <a:pt x="4" y="6"/>
                    <a:pt x="4" y="11"/>
                  </a:cubicBezTo>
                  <a:cubicBezTo>
                    <a:pt x="4" y="14"/>
                    <a:pt x="6" y="16"/>
                    <a:pt x="9" y="16"/>
                  </a:cubicBezTo>
                  <a:cubicBezTo>
                    <a:pt x="13" y="16"/>
                    <a:pt x="16" y="13"/>
                    <a:pt x="16"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8">
              <a:extLst>
                <a:ext uri="{FF2B5EF4-FFF2-40B4-BE49-F238E27FC236}">
                  <a16:creationId xmlns:a16="http://schemas.microsoft.com/office/drawing/2014/main" id="{5DBA8A51-EBB9-4191-B158-29904B40A2DB}"/>
                </a:ext>
              </a:extLst>
            </p:cNvPr>
            <p:cNvSpPr>
              <a:spLocks noEditPoints="1"/>
            </p:cNvSpPr>
            <p:nvPr/>
          </p:nvSpPr>
          <p:spPr bwMode="auto">
            <a:xfrm>
              <a:off x="2668" y="2870"/>
              <a:ext cx="52" cy="62"/>
            </a:xfrm>
            <a:custGeom>
              <a:avLst/>
              <a:gdLst>
                <a:gd name="T0" fmla="*/ 22 w 22"/>
                <a:gd name="T1" fmla="*/ 0 h 26"/>
                <a:gd name="T2" fmla="*/ 17 w 22"/>
                <a:gd name="T3" fmla="*/ 26 h 26"/>
                <a:gd name="T4" fmla="*/ 14 w 22"/>
                <a:gd name="T5" fmla="*/ 26 h 26"/>
                <a:gd name="T6" fmla="*/ 15 w 22"/>
                <a:gd name="T7" fmla="*/ 23 h 26"/>
                <a:gd name="T8" fmla="*/ 8 w 22"/>
                <a:gd name="T9" fmla="*/ 26 h 26"/>
                <a:gd name="T10" fmla="*/ 0 w 22"/>
                <a:gd name="T11" fmla="*/ 18 h 26"/>
                <a:gd name="T12" fmla="*/ 10 w 22"/>
                <a:gd name="T13" fmla="*/ 7 h 26"/>
                <a:gd name="T14" fmla="*/ 17 w 22"/>
                <a:gd name="T15" fmla="*/ 10 h 26"/>
                <a:gd name="T16" fmla="*/ 19 w 22"/>
                <a:gd name="T17" fmla="*/ 0 h 26"/>
                <a:gd name="T18" fmla="*/ 22 w 22"/>
                <a:gd name="T19" fmla="*/ 0 h 26"/>
                <a:gd name="T20" fmla="*/ 16 w 22"/>
                <a:gd name="T21" fmla="*/ 15 h 26"/>
                <a:gd name="T22" fmla="*/ 11 w 22"/>
                <a:gd name="T23" fmla="*/ 10 h 26"/>
                <a:gd name="T24" fmla="*/ 3 w 22"/>
                <a:gd name="T25" fmla="*/ 18 h 26"/>
                <a:gd name="T26" fmla="*/ 9 w 22"/>
                <a:gd name="T27" fmla="*/ 23 h 26"/>
                <a:gd name="T28" fmla="*/ 16 w 22"/>
                <a:gd name="T2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6">
                  <a:moveTo>
                    <a:pt x="22" y="0"/>
                  </a:moveTo>
                  <a:cubicBezTo>
                    <a:pt x="17" y="26"/>
                    <a:pt x="17" y="26"/>
                    <a:pt x="17" y="26"/>
                  </a:cubicBezTo>
                  <a:cubicBezTo>
                    <a:pt x="14" y="26"/>
                    <a:pt x="14" y="26"/>
                    <a:pt x="14" y="26"/>
                  </a:cubicBezTo>
                  <a:cubicBezTo>
                    <a:pt x="15" y="23"/>
                    <a:pt x="15" y="23"/>
                    <a:pt x="15" y="23"/>
                  </a:cubicBezTo>
                  <a:cubicBezTo>
                    <a:pt x="13" y="25"/>
                    <a:pt x="11" y="26"/>
                    <a:pt x="8" y="26"/>
                  </a:cubicBezTo>
                  <a:cubicBezTo>
                    <a:pt x="3" y="26"/>
                    <a:pt x="0" y="23"/>
                    <a:pt x="0" y="18"/>
                  </a:cubicBezTo>
                  <a:cubicBezTo>
                    <a:pt x="0" y="12"/>
                    <a:pt x="4" y="7"/>
                    <a:pt x="10" y="7"/>
                  </a:cubicBezTo>
                  <a:cubicBezTo>
                    <a:pt x="14" y="7"/>
                    <a:pt x="16" y="8"/>
                    <a:pt x="17" y="10"/>
                  </a:cubicBezTo>
                  <a:cubicBezTo>
                    <a:pt x="19" y="0"/>
                    <a:pt x="19" y="0"/>
                    <a:pt x="19" y="0"/>
                  </a:cubicBezTo>
                  <a:lnTo>
                    <a:pt x="22" y="0"/>
                  </a:lnTo>
                  <a:close/>
                  <a:moveTo>
                    <a:pt x="16" y="15"/>
                  </a:moveTo>
                  <a:cubicBezTo>
                    <a:pt x="16" y="12"/>
                    <a:pt x="14" y="10"/>
                    <a:pt x="11" y="10"/>
                  </a:cubicBezTo>
                  <a:cubicBezTo>
                    <a:pt x="6" y="10"/>
                    <a:pt x="3" y="13"/>
                    <a:pt x="3" y="18"/>
                  </a:cubicBezTo>
                  <a:cubicBezTo>
                    <a:pt x="3" y="21"/>
                    <a:pt x="5" y="23"/>
                    <a:pt x="9" y="23"/>
                  </a:cubicBezTo>
                  <a:cubicBezTo>
                    <a:pt x="13" y="23"/>
                    <a:pt x="16" y="20"/>
                    <a:pt x="16"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9">
              <a:extLst>
                <a:ext uri="{FF2B5EF4-FFF2-40B4-BE49-F238E27FC236}">
                  <a16:creationId xmlns:a16="http://schemas.microsoft.com/office/drawing/2014/main" id="{A41F1507-0AD7-4B0A-80F2-1C50985D04A7}"/>
                </a:ext>
              </a:extLst>
            </p:cNvPr>
            <p:cNvSpPr>
              <a:spLocks noEditPoints="1"/>
            </p:cNvSpPr>
            <p:nvPr/>
          </p:nvSpPr>
          <p:spPr bwMode="auto">
            <a:xfrm>
              <a:off x="2725" y="2868"/>
              <a:ext cx="19" cy="64"/>
            </a:xfrm>
            <a:custGeom>
              <a:avLst/>
              <a:gdLst>
                <a:gd name="T0" fmla="*/ 3 w 8"/>
                <a:gd name="T1" fmla="*/ 8 h 27"/>
                <a:gd name="T2" fmla="*/ 7 w 8"/>
                <a:gd name="T3" fmla="*/ 8 h 27"/>
                <a:gd name="T4" fmla="*/ 3 w 8"/>
                <a:gd name="T5" fmla="*/ 27 h 27"/>
                <a:gd name="T6" fmla="*/ 0 w 8"/>
                <a:gd name="T7" fmla="*/ 27 h 27"/>
                <a:gd name="T8" fmla="*/ 3 w 8"/>
                <a:gd name="T9" fmla="*/ 8 h 27"/>
                <a:gd name="T10" fmla="*/ 4 w 8"/>
                <a:gd name="T11" fmla="*/ 3 h 27"/>
                <a:gd name="T12" fmla="*/ 6 w 8"/>
                <a:gd name="T13" fmla="*/ 0 h 27"/>
                <a:gd name="T14" fmla="*/ 8 w 8"/>
                <a:gd name="T15" fmla="*/ 2 h 27"/>
                <a:gd name="T16" fmla="*/ 6 w 8"/>
                <a:gd name="T17" fmla="*/ 5 h 27"/>
                <a:gd name="T18" fmla="*/ 4 w 8"/>
                <a:gd name="T19"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7">
                  <a:moveTo>
                    <a:pt x="3" y="8"/>
                  </a:moveTo>
                  <a:cubicBezTo>
                    <a:pt x="7" y="8"/>
                    <a:pt x="7" y="8"/>
                    <a:pt x="7" y="8"/>
                  </a:cubicBezTo>
                  <a:cubicBezTo>
                    <a:pt x="3" y="27"/>
                    <a:pt x="3" y="27"/>
                    <a:pt x="3" y="27"/>
                  </a:cubicBezTo>
                  <a:cubicBezTo>
                    <a:pt x="0" y="27"/>
                    <a:pt x="0" y="27"/>
                    <a:pt x="0" y="27"/>
                  </a:cubicBezTo>
                  <a:lnTo>
                    <a:pt x="3" y="8"/>
                  </a:lnTo>
                  <a:close/>
                  <a:moveTo>
                    <a:pt x="4" y="3"/>
                  </a:moveTo>
                  <a:cubicBezTo>
                    <a:pt x="4" y="2"/>
                    <a:pt x="5" y="0"/>
                    <a:pt x="6" y="0"/>
                  </a:cubicBezTo>
                  <a:cubicBezTo>
                    <a:pt x="7" y="0"/>
                    <a:pt x="8" y="1"/>
                    <a:pt x="8" y="2"/>
                  </a:cubicBezTo>
                  <a:cubicBezTo>
                    <a:pt x="8" y="4"/>
                    <a:pt x="7" y="5"/>
                    <a:pt x="6" y="5"/>
                  </a:cubicBezTo>
                  <a:cubicBezTo>
                    <a:pt x="5" y="5"/>
                    <a:pt x="4" y="4"/>
                    <a:pt x="4"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0">
              <a:extLst>
                <a:ext uri="{FF2B5EF4-FFF2-40B4-BE49-F238E27FC236}">
                  <a16:creationId xmlns:a16="http://schemas.microsoft.com/office/drawing/2014/main" id="{C3FB79B5-A8B5-4BD5-B0B6-D612F3E65402}"/>
                </a:ext>
              </a:extLst>
            </p:cNvPr>
            <p:cNvSpPr>
              <a:spLocks/>
            </p:cNvSpPr>
            <p:nvPr/>
          </p:nvSpPr>
          <p:spPr bwMode="auto">
            <a:xfrm>
              <a:off x="2746" y="2887"/>
              <a:ext cx="48" cy="45"/>
            </a:xfrm>
            <a:custGeom>
              <a:avLst/>
              <a:gdLst>
                <a:gd name="T0" fmla="*/ 20 w 20"/>
                <a:gd name="T1" fmla="*/ 6 h 19"/>
                <a:gd name="T2" fmla="*/ 20 w 20"/>
                <a:gd name="T3" fmla="*/ 8 h 19"/>
                <a:gd name="T4" fmla="*/ 18 w 20"/>
                <a:gd name="T5" fmla="*/ 19 h 19"/>
                <a:gd name="T6" fmla="*/ 14 w 20"/>
                <a:gd name="T7" fmla="*/ 19 h 19"/>
                <a:gd name="T8" fmla="*/ 16 w 20"/>
                <a:gd name="T9" fmla="*/ 8 h 19"/>
                <a:gd name="T10" fmla="*/ 16 w 20"/>
                <a:gd name="T11" fmla="*/ 7 h 19"/>
                <a:gd name="T12" fmla="*/ 12 w 20"/>
                <a:gd name="T13" fmla="*/ 3 h 19"/>
                <a:gd name="T14" fmla="*/ 5 w 20"/>
                <a:gd name="T15" fmla="*/ 9 h 19"/>
                <a:gd name="T16" fmla="*/ 4 w 20"/>
                <a:gd name="T17" fmla="*/ 19 h 19"/>
                <a:gd name="T18" fmla="*/ 0 w 20"/>
                <a:gd name="T19" fmla="*/ 19 h 19"/>
                <a:gd name="T20" fmla="*/ 4 w 20"/>
                <a:gd name="T21" fmla="*/ 0 h 19"/>
                <a:gd name="T22" fmla="*/ 7 w 20"/>
                <a:gd name="T23" fmla="*/ 0 h 19"/>
                <a:gd name="T24" fmla="*/ 7 w 20"/>
                <a:gd name="T25" fmla="*/ 3 h 19"/>
                <a:gd name="T26" fmla="*/ 13 w 20"/>
                <a:gd name="T27" fmla="*/ 0 h 19"/>
                <a:gd name="T28" fmla="*/ 20 w 20"/>
                <a:gd name="T29"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9">
                  <a:moveTo>
                    <a:pt x="20" y="6"/>
                  </a:moveTo>
                  <a:cubicBezTo>
                    <a:pt x="20" y="7"/>
                    <a:pt x="20" y="8"/>
                    <a:pt x="20" y="8"/>
                  </a:cubicBezTo>
                  <a:cubicBezTo>
                    <a:pt x="18" y="19"/>
                    <a:pt x="18" y="19"/>
                    <a:pt x="18" y="19"/>
                  </a:cubicBezTo>
                  <a:cubicBezTo>
                    <a:pt x="14" y="19"/>
                    <a:pt x="14" y="19"/>
                    <a:pt x="14" y="19"/>
                  </a:cubicBezTo>
                  <a:cubicBezTo>
                    <a:pt x="16" y="8"/>
                    <a:pt x="16" y="8"/>
                    <a:pt x="16" y="8"/>
                  </a:cubicBezTo>
                  <a:cubicBezTo>
                    <a:pt x="16" y="8"/>
                    <a:pt x="16" y="7"/>
                    <a:pt x="16" y="7"/>
                  </a:cubicBezTo>
                  <a:cubicBezTo>
                    <a:pt x="16" y="4"/>
                    <a:pt x="15" y="3"/>
                    <a:pt x="12" y="3"/>
                  </a:cubicBezTo>
                  <a:cubicBezTo>
                    <a:pt x="9" y="3"/>
                    <a:pt x="6" y="5"/>
                    <a:pt x="5" y="9"/>
                  </a:cubicBezTo>
                  <a:cubicBezTo>
                    <a:pt x="4" y="19"/>
                    <a:pt x="4" y="19"/>
                    <a:pt x="4" y="19"/>
                  </a:cubicBezTo>
                  <a:cubicBezTo>
                    <a:pt x="0" y="19"/>
                    <a:pt x="0" y="19"/>
                    <a:pt x="0" y="19"/>
                  </a:cubicBezTo>
                  <a:cubicBezTo>
                    <a:pt x="4" y="0"/>
                    <a:pt x="4" y="0"/>
                    <a:pt x="4" y="0"/>
                  </a:cubicBezTo>
                  <a:cubicBezTo>
                    <a:pt x="7" y="0"/>
                    <a:pt x="7" y="0"/>
                    <a:pt x="7" y="0"/>
                  </a:cubicBezTo>
                  <a:cubicBezTo>
                    <a:pt x="7" y="3"/>
                    <a:pt x="7" y="3"/>
                    <a:pt x="7" y="3"/>
                  </a:cubicBezTo>
                  <a:cubicBezTo>
                    <a:pt x="8" y="1"/>
                    <a:pt x="11" y="0"/>
                    <a:pt x="13" y="0"/>
                  </a:cubicBezTo>
                  <a:cubicBezTo>
                    <a:pt x="17" y="0"/>
                    <a:pt x="20" y="2"/>
                    <a:pt x="20"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1">
              <a:extLst>
                <a:ext uri="{FF2B5EF4-FFF2-40B4-BE49-F238E27FC236}">
                  <a16:creationId xmlns:a16="http://schemas.microsoft.com/office/drawing/2014/main" id="{6BC3CCFA-EFA8-4186-9635-80F8DED81653}"/>
                </a:ext>
              </a:extLst>
            </p:cNvPr>
            <p:cNvSpPr>
              <a:spLocks noEditPoints="1"/>
            </p:cNvSpPr>
            <p:nvPr/>
          </p:nvSpPr>
          <p:spPr bwMode="auto">
            <a:xfrm>
              <a:off x="2801" y="2887"/>
              <a:ext cx="52" cy="61"/>
            </a:xfrm>
            <a:custGeom>
              <a:avLst/>
              <a:gdLst>
                <a:gd name="T0" fmla="*/ 22 w 22"/>
                <a:gd name="T1" fmla="*/ 0 h 26"/>
                <a:gd name="T2" fmla="*/ 19 w 22"/>
                <a:gd name="T3" fmla="*/ 16 h 26"/>
                <a:gd name="T4" fmla="*/ 8 w 22"/>
                <a:gd name="T5" fmla="*/ 26 h 26"/>
                <a:gd name="T6" fmla="*/ 0 w 22"/>
                <a:gd name="T7" fmla="*/ 23 h 26"/>
                <a:gd name="T8" fmla="*/ 1 w 22"/>
                <a:gd name="T9" fmla="*/ 20 h 26"/>
                <a:gd name="T10" fmla="*/ 8 w 22"/>
                <a:gd name="T11" fmla="*/ 23 h 26"/>
                <a:gd name="T12" fmla="*/ 15 w 22"/>
                <a:gd name="T13" fmla="*/ 17 h 26"/>
                <a:gd name="T14" fmla="*/ 16 w 22"/>
                <a:gd name="T15" fmla="*/ 15 h 26"/>
                <a:gd name="T16" fmla="*/ 9 w 22"/>
                <a:gd name="T17" fmla="*/ 18 h 26"/>
                <a:gd name="T18" fmla="*/ 1 w 22"/>
                <a:gd name="T19" fmla="*/ 10 h 26"/>
                <a:gd name="T20" fmla="*/ 11 w 22"/>
                <a:gd name="T21" fmla="*/ 0 h 26"/>
                <a:gd name="T22" fmla="*/ 18 w 22"/>
                <a:gd name="T23" fmla="*/ 4 h 26"/>
                <a:gd name="T24" fmla="*/ 19 w 22"/>
                <a:gd name="T25" fmla="*/ 0 h 26"/>
                <a:gd name="T26" fmla="*/ 22 w 22"/>
                <a:gd name="T27" fmla="*/ 0 h 26"/>
                <a:gd name="T28" fmla="*/ 17 w 22"/>
                <a:gd name="T29" fmla="*/ 8 h 26"/>
                <a:gd name="T30" fmla="*/ 11 w 22"/>
                <a:gd name="T31" fmla="*/ 3 h 26"/>
                <a:gd name="T32" fmla="*/ 4 w 22"/>
                <a:gd name="T33" fmla="*/ 10 h 26"/>
                <a:gd name="T34" fmla="*/ 10 w 22"/>
                <a:gd name="T35" fmla="*/ 15 h 26"/>
                <a:gd name="T36" fmla="*/ 17 w 22"/>
                <a:gd name="T3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0"/>
                  </a:moveTo>
                  <a:cubicBezTo>
                    <a:pt x="19" y="16"/>
                    <a:pt x="19" y="16"/>
                    <a:pt x="19" y="16"/>
                  </a:cubicBezTo>
                  <a:cubicBezTo>
                    <a:pt x="18" y="23"/>
                    <a:pt x="14" y="26"/>
                    <a:pt x="8" y="26"/>
                  </a:cubicBezTo>
                  <a:cubicBezTo>
                    <a:pt x="4" y="26"/>
                    <a:pt x="1" y="25"/>
                    <a:pt x="0" y="23"/>
                  </a:cubicBezTo>
                  <a:cubicBezTo>
                    <a:pt x="1" y="20"/>
                    <a:pt x="1" y="20"/>
                    <a:pt x="1" y="20"/>
                  </a:cubicBezTo>
                  <a:cubicBezTo>
                    <a:pt x="3" y="22"/>
                    <a:pt x="5" y="23"/>
                    <a:pt x="8" y="23"/>
                  </a:cubicBezTo>
                  <a:cubicBezTo>
                    <a:pt x="12" y="23"/>
                    <a:pt x="15" y="21"/>
                    <a:pt x="15" y="17"/>
                  </a:cubicBezTo>
                  <a:cubicBezTo>
                    <a:pt x="16" y="15"/>
                    <a:pt x="16" y="15"/>
                    <a:pt x="16" y="15"/>
                  </a:cubicBezTo>
                  <a:cubicBezTo>
                    <a:pt x="14" y="17"/>
                    <a:pt x="12" y="18"/>
                    <a:pt x="9" y="18"/>
                  </a:cubicBezTo>
                  <a:cubicBezTo>
                    <a:pt x="4" y="18"/>
                    <a:pt x="1" y="15"/>
                    <a:pt x="1" y="10"/>
                  </a:cubicBezTo>
                  <a:cubicBezTo>
                    <a:pt x="1" y="5"/>
                    <a:pt x="5" y="0"/>
                    <a:pt x="11" y="0"/>
                  </a:cubicBezTo>
                  <a:cubicBezTo>
                    <a:pt x="14" y="0"/>
                    <a:pt x="17" y="1"/>
                    <a:pt x="18" y="4"/>
                  </a:cubicBezTo>
                  <a:cubicBezTo>
                    <a:pt x="19" y="0"/>
                    <a:pt x="19" y="0"/>
                    <a:pt x="19" y="0"/>
                  </a:cubicBezTo>
                  <a:lnTo>
                    <a:pt x="22" y="0"/>
                  </a:lnTo>
                  <a:close/>
                  <a:moveTo>
                    <a:pt x="17" y="8"/>
                  </a:moveTo>
                  <a:cubicBezTo>
                    <a:pt x="17" y="5"/>
                    <a:pt x="15" y="3"/>
                    <a:pt x="11" y="3"/>
                  </a:cubicBezTo>
                  <a:cubicBezTo>
                    <a:pt x="7" y="3"/>
                    <a:pt x="4" y="6"/>
                    <a:pt x="4" y="10"/>
                  </a:cubicBezTo>
                  <a:cubicBezTo>
                    <a:pt x="4" y="13"/>
                    <a:pt x="6" y="15"/>
                    <a:pt x="10" y="15"/>
                  </a:cubicBezTo>
                  <a:cubicBezTo>
                    <a:pt x="14" y="15"/>
                    <a:pt x="17" y="12"/>
                    <a:pt x="17"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2">
              <a:extLst>
                <a:ext uri="{FF2B5EF4-FFF2-40B4-BE49-F238E27FC236}">
                  <a16:creationId xmlns:a16="http://schemas.microsoft.com/office/drawing/2014/main" id="{0D9829BA-15F1-40B6-AC7E-932581E7A877}"/>
                </a:ext>
              </a:extLst>
            </p:cNvPr>
            <p:cNvSpPr>
              <a:spLocks/>
            </p:cNvSpPr>
            <p:nvPr/>
          </p:nvSpPr>
          <p:spPr bwMode="auto">
            <a:xfrm>
              <a:off x="2879" y="2920"/>
              <a:ext cx="10" cy="12"/>
            </a:xfrm>
            <a:custGeom>
              <a:avLst/>
              <a:gdLst>
                <a:gd name="T0" fmla="*/ 0 w 4"/>
                <a:gd name="T1" fmla="*/ 3 h 5"/>
                <a:gd name="T2" fmla="*/ 2 w 4"/>
                <a:gd name="T3" fmla="*/ 0 h 5"/>
                <a:gd name="T4" fmla="*/ 4 w 4"/>
                <a:gd name="T5" fmla="*/ 2 h 5"/>
                <a:gd name="T6" fmla="*/ 2 w 4"/>
                <a:gd name="T7" fmla="*/ 5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1"/>
                    <a:pt x="1" y="0"/>
                    <a:pt x="2" y="0"/>
                  </a:cubicBezTo>
                  <a:cubicBezTo>
                    <a:pt x="3" y="0"/>
                    <a:pt x="4" y="1"/>
                    <a:pt x="4" y="2"/>
                  </a:cubicBezTo>
                  <a:cubicBezTo>
                    <a:pt x="4" y="4"/>
                    <a:pt x="3" y="5"/>
                    <a:pt x="2" y="5"/>
                  </a:cubicBezTo>
                  <a:cubicBezTo>
                    <a:pt x="1" y="5"/>
                    <a:pt x="0" y="4"/>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63">
              <a:extLst>
                <a:ext uri="{FF2B5EF4-FFF2-40B4-BE49-F238E27FC236}">
                  <a16:creationId xmlns:a16="http://schemas.microsoft.com/office/drawing/2014/main" id="{76C3020A-6938-4E1D-BD11-4F251BE9C576}"/>
                </a:ext>
              </a:extLst>
            </p:cNvPr>
            <p:cNvSpPr>
              <a:spLocks/>
            </p:cNvSpPr>
            <p:nvPr/>
          </p:nvSpPr>
          <p:spPr bwMode="auto">
            <a:xfrm>
              <a:off x="2898" y="2920"/>
              <a:ext cx="10" cy="12"/>
            </a:xfrm>
            <a:custGeom>
              <a:avLst/>
              <a:gdLst>
                <a:gd name="T0" fmla="*/ 0 w 4"/>
                <a:gd name="T1" fmla="*/ 3 h 5"/>
                <a:gd name="T2" fmla="*/ 2 w 4"/>
                <a:gd name="T3" fmla="*/ 0 h 5"/>
                <a:gd name="T4" fmla="*/ 4 w 4"/>
                <a:gd name="T5" fmla="*/ 2 h 5"/>
                <a:gd name="T6" fmla="*/ 2 w 4"/>
                <a:gd name="T7" fmla="*/ 5 h 5"/>
                <a:gd name="T8" fmla="*/ 0 w 4"/>
                <a:gd name="T9" fmla="*/ 3 h 5"/>
              </a:gdLst>
              <a:ahLst/>
              <a:cxnLst>
                <a:cxn ang="0">
                  <a:pos x="T0" y="T1"/>
                </a:cxn>
                <a:cxn ang="0">
                  <a:pos x="T2" y="T3"/>
                </a:cxn>
                <a:cxn ang="0">
                  <a:pos x="T4" y="T5"/>
                </a:cxn>
                <a:cxn ang="0">
                  <a:pos x="T6" y="T7"/>
                </a:cxn>
                <a:cxn ang="0">
                  <a:pos x="T8" y="T9"/>
                </a:cxn>
              </a:cxnLst>
              <a:rect l="0" t="0" r="r" b="b"/>
              <a:pathLst>
                <a:path w="4" h="5">
                  <a:moveTo>
                    <a:pt x="0" y="3"/>
                  </a:moveTo>
                  <a:cubicBezTo>
                    <a:pt x="0" y="1"/>
                    <a:pt x="1" y="0"/>
                    <a:pt x="2" y="0"/>
                  </a:cubicBezTo>
                  <a:cubicBezTo>
                    <a:pt x="3" y="0"/>
                    <a:pt x="4" y="1"/>
                    <a:pt x="4" y="2"/>
                  </a:cubicBezTo>
                  <a:cubicBezTo>
                    <a:pt x="4" y="4"/>
                    <a:pt x="3" y="5"/>
                    <a:pt x="2" y="5"/>
                  </a:cubicBezTo>
                  <a:cubicBezTo>
                    <a:pt x="1" y="5"/>
                    <a:pt x="0" y="4"/>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64">
              <a:extLst>
                <a:ext uri="{FF2B5EF4-FFF2-40B4-BE49-F238E27FC236}">
                  <a16:creationId xmlns:a16="http://schemas.microsoft.com/office/drawing/2014/main" id="{62164EF5-BC8F-4C44-9D6F-65DABB73BF60}"/>
                </a:ext>
              </a:extLst>
            </p:cNvPr>
            <p:cNvSpPr>
              <a:spLocks/>
            </p:cNvSpPr>
            <p:nvPr/>
          </p:nvSpPr>
          <p:spPr bwMode="auto">
            <a:xfrm>
              <a:off x="2915" y="2920"/>
              <a:ext cx="12" cy="12"/>
            </a:xfrm>
            <a:custGeom>
              <a:avLst/>
              <a:gdLst>
                <a:gd name="T0" fmla="*/ 0 w 5"/>
                <a:gd name="T1" fmla="*/ 3 h 5"/>
                <a:gd name="T2" fmla="*/ 3 w 5"/>
                <a:gd name="T3" fmla="*/ 0 h 5"/>
                <a:gd name="T4" fmla="*/ 5 w 5"/>
                <a:gd name="T5" fmla="*/ 2 h 5"/>
                <a:gd name="T6" fmla="*/ 3 w 5"/>
                <a:gd name="T7" fmla="*/ 5 h 5"/>
                <a:gd name="T8" fmla="*/ 0 w 5"/>
                <a:gd name="T9" fmla="*/ 3 h 5"/>
              </a:gdLst>
              <a:ahLst/>
              <a:cxnLst>
                <a:cxn ang="0">
                  <a:pos x="T0" y="T1"/>
                </a:cxn>
                <a:cxn ang="0">
                  <a:pos x="T2" y="T3"/>
                </a:cxn>
                <a:cxn ang="0">
                  <a:pos x="T4" y="T5"/>
                </a:cxn>
                <a:cxn ang="0">
                  <a:pos x="T6" y="T7"/>
                </a:cxn>
                <a:cxn ang="0">
                  <a:pos x="T8" y="T9"/>
                </a:cxn>
              </a:cxnLst>
              <a:rect l="0" t="0" r="r" b="b"/>
              <a:pathLst>
                <a:path w="5" h="5">
                  <a:moveTo>
                    <a:pt x="0" y="3"/>
                  </a:moveTo>
                  <a:cubicBezTo>
                    <a:pt x="0" y="1"/>
                    <a:pt x="2" y="0"/>
                    <a:pt x="3" y="0"/>
                  </a:cubicBezTo>
                  <a:cubicBezTo>
                    <a:pt x="4" y="0"/>
                    <a:pt x="5" y="1"/>
                    <a:pt x="5" y="2"/>
                  </a:cubicBezTo>
                  <a:cubicBezTo>
                    <a:pt x="5" y="4"/>
                    <a:pt x="4" y="5"/>
                    <a:pt x="3" y="5"/>
                  </a:cubicBezTo>
                  <a:cubicBezTo>
                    <a:pt x="1" y="5"/>
                    <a:pt x="0" y="4"/>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65">
              <a:extLst>
                <a:ext uri="{FF2B5EF4-FFF2-40B4-BE49-F238E27FC236}">
                  <a16:creationId xmlns:a16="http://schemas.microsoft.com/office/drawing/2014/main" id="{12A907FA-866F-466C-84AE-D45FF9D6F2F4}"/>
                </a:ext>
              </a:extLst>
            </p:cNvPr>
            <p:cNvSpPr>
              <a:spLocks noChangeArrowheads="1"/>
            </p:cNvSpPr>
            <p:nvPr/>
          </p:nvSpPr>
          <p:spPr bwMode="auto">
            <a:xfrm>
              <a:off x="1259" y="1484"/>
              <a:ext cx="52" cy="5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66">
              <a:extLst>
                <a:ext uri="{FF2B5EF4-FFF2-40B4-BE49-F238E27FC236}">
                  <a16:creationId xmlns:a16="http://schemas.microsoft.com/office/drawing/2014/main" id="{1584EC0D-10FA-4BBB-B3BF-45732DE3EF10}"/>
                </a:ext>
              </a:extLst>
            </p:cNvPr>
            <p:cNvSpPr>
              <a:spLocks noChangeArrowheads="1"/>
            </p:cNvSpPr>
            <p:nvPr/>
          </p:nvSpPr>
          <p:spPr bwMode="auto">
            <a:xfrm>
              <a:off x="1370" y="1484"/>
              <a:ext cx="52" cy="5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67">
              <a:extLst>
                <a:ext uri="{FF2B5EF4-FFF2-40B4-BE49-F238E27FC236}">
                  <a16:creationId xmlns:a16="http://schemas.microsoft.com/office/drawing/2014/main" id="{82F28A99-9E7F-4E82-B340-796555BA8D89}"/>
                </a:ext>
              </a:extLst>
            </p:cNvPr>
            <p:cNvSpPr>
              <a:spLocks noChangeArrowheads="1"/>
            </p:cNvSpPr>
            <p:nvPr/>
          </p:nvSpPr>
          <p:spPr bwMode="auto">
            <a:xfrm>
              <a:off x="1479" y="1484"/>
              <a:ext cx="52" cy="5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68">
              <a:extLst>
                <a:ext uri="{FF2B5EF4-FFF2-40B4-BE49-F238E27FC236}">
                  <a16:creationId xmlns:a16="http://schemas.microsoft.com/office/drawing/2014/main" id="{10165EC6-D3C2-4B7F-8151-8C090DC9A0EE}"/>
                </a:ext>
              </a:extLst>
            </p:cNvPr>
            <p:cNvSpPr>
              <a:spLocks noChangeArrowheads="1"/>
            </p:cNvSpPr>
            <p:nvPr/>
          </p:nvSpPr>
          <p:spPr bwMode="auto">
            <a:xfrm>
              <a:off x="3126" y="1149"/>
              <a:ext cx="2494" cy="2493"/>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9">
              <a:extLst>
                <a:ext uri="{FF2B5EF4-FFF2-40B4-BE49-F238E27FC236}">
                  <a16:creationId xmlns:a16="http://schemas.microsoft.com/office/drawing/2014/main" id="{0E95DA41-85CC-4C72-977D-AE3331CA0072}"/>
                </a:ext>
              </a:extLst>
            </p:cNvPr>
            <p:cNvSpPr>
              <a:spLocks/>
            </p:cNvSpPr>
            <p:nvPr/>
          </p:nvSpPr>
          <p:spPr bwMode="auto">
            <a:xfrm>
              <a:off x="3124" y="1142"/>
              <a:ext cx="2496" cy="2507"/>
            </a:xfrm>
            <a:custGeom>
              <a:avLst/>
              <a:gdLst>
                <a:gd name="T0" fmla="*/ 1051 w 1052"/>
                <a:gd name="T1" fmla="*/ 519 h 1056"/>
                <a:gd name="T2" fmla="*/ 1050 w 1052"/>
                <a:gd name="T3" fmla="*/ 494 h 1056"/>
                <a:gd name="T4" fmla="*/ 1046 w 1052"/>
                <a:gd name="T5" fmla="*/ 454 h 1056"/>
                <a:gd name="T6" fmla="*/ 1014 w 1052"/>
                <a:gd name="T7" fmla="*/ 334 h 1056"/>
                <a:gd name="T8" fmla="*/ 844 w 1052"/>
                <a:gd name="T9" fmla="*/ 110 h 1056"/>
                <a:gd name="T10" fmla="*/ 623 w 1052"/>
                <a:gd name="T11" fmla="*/ 12 h 1056"/>
                <a:gd name="T12" fmla="*/ 418 w 1052"/>
                <a:gd name="T13" fmla="*/ 15 h 1056"/>
                <a:gd name="T14" fmla="*/ 279 w 1052"/>
                <a:gd name="T15" fmla="*/ 65 h 1056"/>
                <a:gd name="T16" fmla="*/ 156 w 1052"/>
                <a:gd name="T17" fmla="*/ 157 h 1056"/>
                <a:gd name="T18" fmla="*/ 61 w 1052"/>
                <a:gd name="T19" fmla="*/ 286 h 1056"/>
                <a:gd name="T20" fmla="*/ 43 w 1052"/>
                <a:gd name="T21" fmla="*/ 324 h 1056"/>
                <a:gd name="T22" fmla="*/ 9 w 1052"/>
                <a:gd name="T23" fmla="*/ 443 h 1056"/>
                <a:gd name="T24" fmla="*/ 9 w 1052"/>
                <a:gd name="T25" fmla="*/ 612 h 1056"/>
                <a:gd name="T26" fmla="*/ 32 w 1052"/>
                <a:gd name="T27" fmla="*/ 703 h 1056"/>
                <a:gd name="T28" fmla="*/ 36 w 1052"/>
                <a:gd name="T29" fmla="*/ 713 h 1056"/>
                <a:gd name="T30" fmla="*/ 52 w 1052"/>
                <a:gd name="T31" fmla="*/ 751 h 1056"/>
                <a:gd name="T32" fmla="*/ 104 w 1052"/>
                <a:gd name="T33" fmla="*/ 838 h 1056"/>
                <a:gd name="T34" fmla="*/ 215 w 1052"/>
                <a:gd name="T35" fmla="*/ 949 h 1056"/>
                <a:gd name="T36" fmla="*/ 348 w 1052"/>
                <a:gd name="T37" fmla="*/ 1021 h 1056"/>
                <a:gd name="T38" fmla="*/ 488 w 1052"/>
                <a:gd name="T39" fmla="*/ 1051 h 1056"/>
                <a:gd name="T40" fmla="*/ 744 w 1052"/>
                <a:gd name="T41" fmla="*/ 1005 h 1056"/>
                <a:gd name="T42" fmla="*/ 977 w 1052"/>
                <a:gd name="T43" fmla="*/ 796 h 1056"/>
                <a:gd name="T44" fmla="*/ 1035 w 1052"/>
                <a:gd name="T45" fmla="*/ 656 h 1056"/>
                <a:gd name="T46" fmla="*/ 1049 w 1052"/>
                <a:gd name="T47" fmla="*/ 580 h 1056"/>
                <a:gd name="T48" fmla="*/ 1051 w 1052"/>
                <a:gd name="T49" fmla="*/ 547 h 1056"/>
                <a:gd name="T50" fmla="*/ 1052 w 1052"/>
                <a:gd name="T51" fmla="*/ 528 h 1056"/>
                <a:gd name="T52" fmla="*/ 1051 w 1052"/>
                <a:gd name="T53" fmla="*/ 547 h 1056"/>
                <a:gd name="T54" fmla="*/ 1049 w 1052"/>
                <a:gd name="T55" fmla="*/ 580 h 1056"/>
                <a:gd name="T56" fmla="*/ 1036 w 1052"/>
                <a:gd name="T57" fmla="*/ 656 h 1056"/>
                <a:gd name="T58" fmla="*/ 978 w 1052"/>
                <a:gd name="T59" fmla="*/ 797 h 1056"/>
                <a:gd name="T60" fmla="*/ 745 w 1052"/>
                <a:gd name="T61" fmla="*/ 1007 h 1056"/>
                <a:gd name="T62" fmla="*/ 488 w 1052"/>
                <a:gd name="T63" fmla="*/ 1052 h 1056"/>
                <a:gd name="T64" fmla="*/ 347 w 1052"/>
                <a:gd name="T65" fmla="*/ 1023 h 1056"/>
                <a:gd name="T66" fmla="*/ 214 w 1052"/>
                <a:gd name="T67" fmla="*/ 951 h 1056"/>
                <a:gd name="T68" fmla="*/ 102 w 1052"/>
                <a:gd name="T69" fmla="*/ 839 h 1056"/>
                <a:gd name="T70" fmla="*/ 50 w 1052"/>
                <a:gd name="T71" fmla="*/ 752 h 1056"/>
                <a:gd name="T72" fmla="*/ 34 w 1052"/>
                <a:gd name="T73" fmla="*/ 714 h 1056"/>
                <a:gd name="T74" fmla="*/ 30 w 1052"/>
                <a:gd name="T75" fmla="*/ 704 h 1056"/>
                <a:gd name="T76" fmla="*/ 7 w 1052"/>
                <a:gd name="T77" fmla="*/ 612 h 1056"/>
                <a:gd name="T78" fmla="*/ 7 w 1052"/>
                <a:gd name="T79" fmla="*/ 443 h 1056"/>
                <a:gd name="T80" fmla="*/ 42 w 1052"/>
                <a:gd name="T81" fmla="*/ 323 h 1056"/>
                <a:gd name="T82" fmla="*/ 59 w 1052"/>
                <a:gd name="T83" fmla="*/ 285 h 1056"/>
                <a:gd name="T84" fmla="*/ 154 w 1052"/>
                <a:gd name="T85" fmla="*/ 156 h 1056"/>
                <a:gd name="T86" fmla="*/ 278 w 1052"/>
                <a:gd name="T87" fmla="*/ 64 h 1056"/>
                <a:gd name="T88" fmla="*/ 417 w 1052"/>
                <a:gd name="T89" fmla="*/ 13 h 1056"/>
                <a:gd name="T90" fmla="*/ 624 w 1052"/>
                <a:gd name="T91" fmla="*/ 11 h 1056"/>
                <a:gd name="T92" fmla="*/ 845 w 1052"/>
                <a:gd name="T93" fmla="*/ 109 h 1056"/>
                <a:gd name="T94" fmla="*/ 1015 w 1052"/>
                <a:gd name="T95" fmla="*/ 333 h 1056"/>
                <a:gd name="T96" fmla="*/ 1047 w 1052"/>
                <a:gd name="T97" fmla="*/ 454 h 1056"/>
                <a:gd name="T98" fmla="*/ 1051 w 1052"/>
                <a:gd name="T99" fmla="*/ 494 h 1056"/>
                <a:gd name="T100" fmla="*/ 1052 w 1052"/>
                <a:gd name="T101" fmla="*/ 51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52" h="1056">
                  <a:moveTo>
                    <a:pt x="1052" y="528"/>
                  </a:moveTo>
                  <a:cubicBezTo>
                    <a:pt x="1052" y="528"/>
                    <a:pt x="1052" y="525"/>
                    <a:pt x="1051" y="519"/>
                  </a:cubicBezTo>
                  <a:cubicBezTo>
                    <a:pt x="1051" y="516"/>
                    <a:pt x="1051" y="513"/>
                    <a:pt x="1051" y="509"/>
                  </a:cubicBezTo>
                  <a:cubicBezTo>
                    <a:pt x="1051" y="505"/>
                    <a:pt x="1051" y="500"/>
                    <a:pt x="1050" y="494"/>
                  </a:cubicBezTo>
                  <a:cubicBezTo>
                    <a:pt x="1050" y="489"/>
                    <a:pt x="1049" y="483"/>
                    <a:pt x="1049" y="476"/>
                  </a:cubicBezTo>
                  <a:cubicBezTo>
                    <a:pt x="1048" y="469"/>
                    <a:pt x="1047" y="462"/>
                    <a:pt x="1046" y="454"/>
                  </a:cubicBezTo>
                  <a:cubicBezTo>
                    <a:pt x="1044" y="438"/>
                    <a:pt x="1040" y="420"/>
                    <a:pt x="1035" y="400"/>
                  </a:cubicBezTo>
                  <a:cubicBezTo>
                    <a:pt x="1030" y="379"/>
                    <a:pt x="1024" y="357"/>
                    <a:pt x="1014" y="334"/>
                  </a:cubicBezTo>
                  <a:cubicBezTo>
                    <a:pt x="1004" y="310"/>
                    <a:pt x="993" y="285"/>
                    <a:pt x="977" y="260"/>
                  </a:cubicBezTo>
                  <a:cubicBezTo>
                    <a:pt x="947" y="209"/>
                    <a:pt x="903" y="156"/>
                    <a:pt x="844" y="110"/>
                  </a:cubicBezTo>
                  <a:cubicBezTo>
                    <a:pt x="815" y="88"/>
                    <a:pt x="781" y="67"/>
                    <a:pt x="744" y="51"/>
                  </a:cubicBezTo>
                  <a:cubicBezTo>
                    <a:pt x="707" y="34"/>
                    <a:pt x="666" y="20"/>
                    <a:pt x="623" y="12"/>
                  </a:cubicBezTo>
                  <a:cubicBezTo>
                    <a:pt x="580" y="4"/>
                    <a:pt x="535" y="1"/>
                    <a:pt x="488" y="5"/>
                  </a:cubicBezTo>
                  <a:cubicBezTo>
                    <a:pt x="465" y="6"/>
                    <a:pt x="441" y="10"/>
                    <a:pt x="418" y="15"/>
                  </a:cubicBezTo>
                  <a:cubicBezTo>
                    <a:pt x="394" y="20"/>
                    <a:pt x="371" y="27"/>
                    <a:pt x="348" y="35"/>
                  </a:cubicBezTo>
                  <a:cubicBezTo>
                    <a:pt x="325" y="43"/>
                    <a:pt x="302" y="53"/>
                    <a:pt x="279" y="65"/>
                  </a:cubicBezTo>
                  <a:cubicBezTo>
                    <a:pt x="257" y="77"/>
                    <a:pt x="236" y="91"/>
                    <a:pt x="215" y="106"/>
                  </a:cubicBezTo>
                  <a:cubicBezTo>
                    <a:pt x="194" y="122"/>
                    <a:pt x="174" y="139"/>
                    <a:pt x="156" y="157"/>
                  </a:cubicBezTo>
                  <a:cubicBezTo>
                    <a:pt x="137" y="176"/>
                    <a:pt x="120" y="196"/>
                    <a:pt x="104" y="218"/>
                  </a:cubicBezTo>
                  <a:cubicBezTo>
                    <a:pt x="88" y="239"/>
                    <a:pt x="74" y="262"/>
                    <a:pt x="61" y="286"/>
                  </a:cubicBezTo>
                  <a:cubicBezTo>
                    <a:pt x="58" y="293"/>
                    <a:pt x="55" y="298"/>
                    <a:pt x="52" y="305"/>
                  </a:cubicBezTo>
                  <a:cubicBezTo>
                    <a:pt x="49" y="311"/>
                    <a:pt x="46" y="317"/>
                    <a:pt x="43" y="324"/>
                  </a:cubicBezTo>
                  <a:cubicBezTo>
                    <a:pt x="38" y="336"/>
                    <a:pt x="33" y="349"/>
                    <a:pt x="29" y="362"/>
                  </a:cubicBezTo>
                  <a:cubicBezTo>
                    <a:pt x="20" y="389"/>
                    <a:pt x="13" y="416"/>
                    <a:pt x="9" y="443"/>
                  </a:cubicBezTo>
                  <a:cubicBezTo>
                    <a:pt x="5" y="471"/>
                    <a:pt x="2" y="499"/>
                    <a:pt x="2" y="528"/>
                  </a:cubicBezTo>
                  <a:cubicBezTo>
                    <a:pt x="2" y="556"/>
                    <a:pt x="5" y="584"/>
                    <a:pt x="9" y="612"/>
                  </a:cubicBezTo>
                  <a:cubicBezTo>
                    <a:pt x="13" y="640"/>
                    <a:pt x="20" y="667"/>
                    <a:pt x="29" y="693"/>
                  </a:cubicBezTo>
                  <a:cubicBezTo>
                    <a:pt x="32" y="703"/>
                    <a:pt x="32" y="703"/>
                    <a:pt x="32" y="703"/>
                  </a:cubicBezTo>
                  <a:cubicBezTo>
                    <a:pt x="34" y="708"/>
                    <a:pt x="34" y="708"/>
                    <a:pt x="34" y="708"/>
                  </a:cubicBezTo>
                  <a:cubicBezTo>
                    <a:pt x="36" y="713"/>
                    <a:pt x="36" y="713"/>
                    <a:pt x="36" y="713"/>
                  </a:cubicBezTo>
                  <a:cubicBezTo>
                    <a:pt x="38" y="719"/>
                    <a:pt x="41" y="726"/>
                    <a:pt x="43" y="732"/>
                  </a:cubicBezTo>
                  <a:cubicBezTo>
                    <a:pt x="46" y="738"/>
                    <a:pt x="49" y="745"/>
                    <a:pt x="52" y="751"/>
                  </a:cubicBezTo>
                  <a:cubicBezTo>
                    <a:pt x="55" y="757"/>
                    <a:pt x="58" y="763"/>
                    <a:pt x="61" y="769"/>
                  </a:cubicBezTo>
                  <a:cubicBezTo>
                    <a:pt x="74" y="793"/>
                    <a:pt x="88" y="816"/>
                    <a:pt x="104" y="838"/>
                  </a:cubicBezTo>
                  <a:cubicBezTo>
                    <a:pt x="120" y="860"/>
                    <a:pt x="137" y="880"/>
                    <a:pt x="156" y="898"/>
                  </a:cubicBezTo>
                  <a:cubicBezTo>
                    <a:pt x="174" y="917"/>
                    <a:pt x="194" y="934"/>
                    <a:pt x="215" y="949"/>
                  </a:cubicBezTo>
                  <a:cubicBezTo>
                    <a:pt x="236" y="965"/>
                    <a:pt x="257" y="978"/>
                    <a:pt x="279" y="990"/>
                  </a:cubicBezTo>
                  <a:cubicBezTo>
                    <a:pt x="302" y="1002"/>
                    <a:pt x="325" y="1012"/>
                    <a:pt x="348" y="1021"/>
                  </a:cubicBezTo>
                  <a:cubicBezTo>
                    <a:pt x="371" y="1029"/>
                    <a:pt x="394" y="1036"/>
                    <a:pt x="418" y="1041"/>
                  </a:cubicBezTo>
                  <a:cubicBezTo>
                    <a:pt x="441" y="1045"/>
                    <a:pt x="465" y="1049"/>
                    <a:pt x="488" y="1051"/>
                  </a:cubicBezTo>
                  <a:cubicBezTo>
                    <a:pt x="535" y="1054"/>
                    <a:pt x="580" y="1051"/>
                    <a:pt x="623" y="1043"/>
                  </a:cubicBezTo>
                  <a:cubicBezTo>
                    <a:pt x="666" y="1035"/>
                    <a:pt x="707" y="1022"/>
                    <a:pt x="744" y="1005"/>
                  </a:cubicBezTo>
                  <a:cubicBezTo>
                    <a:pt x="781" y="988"/>
                    <a:pt x="815" y="968"/>
                    <a:pt x="844" y="945"/>
                  </a:cubicBezTo>
                  <a:cubicBezTo>
                    <a:pt x="904" y="900"/>
                    <a:pt x="947" y="847"/>
                    <a:pt x="977" y="796"/>
                  </a:cubicBezTo>
                  <a:cubicBezTo>
                    <a:pt x="993" y="771"/>
                    <a:pt x="1004" y="746"/>
                    <a:pt x="1014" y="722"/>
                  </a:cubicBezTo>
                  <a:cubicBezTo>
                    <a:pt x="1024" y="699"/>
                    <a:pt x="1030" y="676"/>
                    <a:pt x="1035" y="656"/>
                  </a:cubicBezTo>
                  <a:cubicBezTo>
                    <a:pt x="1040" y="636"/>
                    <a:pt x="1044" y="618"/>
                    <a:pt x="1046" y="602"/>
                  </a:cubicBezTo>
                  <a:cubicBezTo>
                    <a:pt x="1047" y="594"/>
                    <a:pt x="1048" y="586"/>
                    <a:pt x="1049" y="580"/>
                  </a:cubicBezTo>
                  <a:cubicBezTo>
                    <a:pt x="1049" y="573"/>
                    <a:pt x="1050" y="567"/>
                    <a:pt x="1050" y="561"/>
                  </a:cubicBezTo>
                  <a:cubicBezTo>
                    <a:pt x="1051" y="556"/>
                    <a:pt x="1051" y="551"/>
                    <a:pt x="1051" y="547"/>
                  </a:cubicBezTo>
                  <a:cubicBezTo>
                    <a:pt x="1051" y="543"/>
                    <a:pt x="1051" y="539"/>
                    <a:pt x="1051" y="536"/>
                  </a:cubicBezTo>
                  <a:cubicBezTo>
                    <a:pt x="1052" y="531"/>
                    <a:pt x="1052" y="528"/>
                    <a:pt x="1052" y="528"/>
                  </a:cubicBezTo>
                  <a:cubicBezTo>
                    <a:pt x="1052" y="528"/>
                    <a:pt x="1052" y="531"/>
                    <a:pt x="1052" y="536"/>
                  </a:cubicBezTo>
                  <a:cubicBezTo>
                    <a:pt x="1052" y="539"/>
                    <a:pt x="1051" y="543"/>
                    <a:pt x="1051" y="547"/>
                  </a:cubicBezTo>
                  <a:cubicBezTo>
                    <a:pt x="1051" y="551"/>
                    <a:pt x="1051" y="556"/>
                    <a:pt x="1051" y="561"/>
                  </a:cubicBezTo>
                  <a:cubicBezTo>
                    <a:pt x="1050" y="567"/>
                    <a:pt x="1050" y="573"/>
                    <a:pt x="1049" y="580"/>
                  </a:cubicBezTo>
                  <a:cubicBezTo>
                    <a:pt x="1049" y="586"/>
                    <a:pt x="1048" y="594"/>
                    <a:pt x="1047" y="602"/>
                  </a:cubicBezTo>
                  <a:cubicBezTo>
                    <a:pt x="1045" y="618"/>
                    <a:pt x="1041" y="636"/>
                    <a:pt x="1036" y="656"/>
                  </a:cubicBezTo>
                  <a:cubicBezTo>
                    <a:pt x="1031" y="676"/>
                    <a:pt x="1025" y="699"/>
                    <a:pt x="1015" y="722"/>
                  </a:cubicBezTo>
                  <a:cubicBezTo>
                    <a:pt x="1005" y="746"/>
                    <a:pt x="994" y="771"/>
                    <a:pt x="978" y="797"/>
                  </a:cubicBezTo>
                  <a:cubicBezTo>
                    <a:pt x="948" y="848"/>
                    <a:pt x="905" y="901"/>
                    <a:pt x="845" y="946"/>
                  </a:cubicBezTo>
                  <a:cubicBezTo>
                    <a:pt x="815" y="969"/>
                    <a:pt x="782" y="990"/>
                    <a:pt x="745" y="1007"/>
                  </a:cubicBezTo>
                  <a:cubicBezTo>
                    <a:pt x="707" y="1023"/>
                    <a:pt x="667" y="1037"/>
                    <a:pt x="624" y="1045"/>
                  </a:cubicBezTo>
                  <a:cubicBezTo>
                    <a:pt x="580" y="1053"/>
                    <a:pt x="535" y="1056"/>
                    <a:pt x="488" y="1052"/>
                  </a:cubicBezTo>
                  <a:cubicBezTo>
                    <a:pt x="465" y="1051"/>
                    <a:pt x="441" y="1047"/>
                    <a:pt x="417" y="1043"/>
                  </a:cubicBezTo>
                  <a:cubicBezTo>
                    <a:pt x="394" y="1038"/>
                    <a:pt x="370" y="1031"/>
                    <a:pt x="347" y="1023"/>
                  </a:cubicBezTo>
                  <a:cubicBezTo>
                    <a:pt x="324" y="1014"/>
                    <a:pt x="301" y="1004"/>
                    <a:pt x="278" y="992"/>
                  </a:cubicBezTo>
                  <a:cubicBezTo>
                    <a:pt x="256" y="980"/>
                    <a:pt x="234" y="966"/>
                    <a:pt x="214" y="951"/>
                  </a:cubicBezTo>
                  <a:cubicBezTo>
                    <a:pt x="193" y="935"/>
                    <a:pt x="173" y="918"/>
                    <a:pt x="154" y="900"/>
                  </a:cubicBezTo>
                  <a:cubicBezTo>
                    <a:pt x="136" y="881"/>
                    <a:pt x="118" y="861"/>
                    <a:pt x="102" y="839"/>
                  </a:cubicBezTo>
                  <a:cubicBezTo>
                    <a:pt x="86" y="818"/>
                    <a:pt x="72" y="794"/>
                    <a:pt x="59" y="770"/>
                  </a:cubicBezTo>
                  <a:cubicBezTo>
                    <a:pt x="56" y="764"/>
                    <a:pt x="53" y="758"/>
                    <a:pt x="50" y="752"/>
                  </a:cubicBezTo>
                  <a:cubicBezTo>
                    <a:pt x="47" y="745"/>
                    <a:pt x="44" y="739"/>
                    <a:pt x="42" y="733"/>
                  </a:cubicBezTo>
                  <a:cubicBezTo>
                    <a:pt x="39" y="726"/>
                    <a:pt x="36" y="720"/>
                    <a:pt x="34" y="714"/>
                  </a:cubicBezTo>
                  <a:cubicBezTo>
                    <a:pt x="32" y="709"/>
                    <a:pt x="32" y="709"/>
                    <a:pt x="32" y="709"/>
                  </a:cubicBezTo>
                  <a:cubicBezTo>
                    <a:pt x="30" y="704"/>
                    <a:pt x="30" y="704"/>
                    <a:pt x="30" y="704"/>
                  </a:cubicBezTo>
                  <a:cubicBezTo>
                    <a:pt x="27" y="694"/>
                    <a:pt x="27" y="694"/>
                    <a:pt x="27" y="694"/>
                  </a:cubicBezTo>
                  <a:cubicBezTo>
                    <a:pt x="18" y="668"/>
                    <a:pt x="11" y="640"/>
                    <a:pt x="7" y="612"/>
                  </a:cubicBezTo>
                  <a:cubicBezTo>
                    <a:pt x="3" y="585"/>
                    <a:pt x="0" y="556"/>
                    <a:pt x="0" y="528"/>
                  </a:cubicBezTo>
                  <a:cubicBezTo>
                    <a:pt x="0" y="499"/>
                    <a:pt x="3" y="471"/>
                    <a:pt x="7" y="443"/>
                  </a:cubicBezTo>
                  <a:cubicBezTo>
                    <a:pt x="11" y="415"/>
                    <a:pt x="18" y="388"/>
                    <a:pt x="27" y="362"/>
                  </a:cubicBezTo>
                  <a:cubicBezTo>
                    <a:pt x="31" y="348"/>
                    <a:pt x="36" y="336"/>
                    <a:pt x="42" y="323"/>
                  </a:cubicBezTo>
                  <a:cubicBezTo>
                    <a:pt x="44" y="316"/>
                    <a:pt x="47" y="310"/>
                    <a:pt x="50" y="304"/>
                  </a:cubicBezTo>
                  <a:cubicBezTo>
                    <a:pt x="53" y="298"/>
                    <a:pt x="56" y="292"/>
                    <a:pt x="59" y="285"/>
                  </a:cubicBezTo>
                  <a:cubicBezTo>
                    <a:pt x="72" y="261"/>
                    <a:pt x="86" y="238"/>
                    <a:pt x="102" y="216"/>
                  </a:cubicBezTo>
                  <a:cubicBezTo>
                    <a:pt x="118" y="195"/>
                    <a:pt x="136" y="175"/>
                    <a:pt x="154" y="156"/>
                  </a:cubicBezTo>
                  <a:cubicBezTo>
                    <a:pt x="173" y="137"/>
                    <a:pt x="193" y="120"/>
                    <a:pt x="214" y="105"/>
                  </a:cubicBezTo>
                  <a:cubicBezTo>
                    <a:pt x="234" y="89"/>
                    <a:pt x="256" y="76"/>
                    <a:pt x="278" y="64"/>
                  </a:cubicBezTo>
                  <a:cubicBezTo>
                    <a:pt x="301" y="52"/>
                    <a:pt x="324" y="42"/>
                    <a:pt x="347" y="33"/>
                  </a:cubicBezTo>
                  <a:cubicBezTo>
                    <a:pt x="370" y="25"/>
                    <a:pt x="394" y="18"/>
                    <a:pt x="417" y="13"/>
                  </a:cubicBezTo>
                  <a:cubicBezTo>
                    <a:pt x="441" y="8"/>
                    <a:pt x="464" y="5"/>
                    <a:pt x="488" y="3"/>
                  </a:cubicBezTo>
                  <a:cubicBezTo>
                    <a:pt x="535" y="0"/>
                    <a:pt x="580" y="3"/>
                    <a:pt x="624" y="11"/>
                  </a:cubicBezTo>
                  <a:cubicBezTo>
                    <a:pt x="667" y="19"/>
                    <a:pt x="707" y="32"/>
                    <a:pt x="745" y="49"/>
                  </a:cubicBezTo>
                  <a:cubicBezTo>
                    <a:pt x="782" y="66"/>
                    <a:pt x="815" y="86"/>
                    <a:pt x="845" y="109"/>
                  </a:cubicBezTo>
                  <a:cubicBezTo>
                    <a:pt x="904" y="155"/>
                    <a:pt x="948" y="208"/>
                    <a:pt x="978" y="259"/>
                  </a:cubicBezTo>
                  <a:cubicBezTo>
                    <a:pt x="994" y="284"/>
                    <a:pt x="1005" y="310"/>
                    <a:pt x="1015" y="333"/>
                  </a:cubicBezTo>
                  <a:cubicBezTo>
                    <a:pt x="1025" y="357"/>
                    <a:pt x="1031" y="379"/>
                    <a:pt x="1036" y="399"/>
                  </a:cubicBezTo>
                  <a:cubicBezTo>
                    <a:pt x="1041" y="420"/>
                    <a:pt x="1045" y="438"/>
                    <a:pt x="1047" y="454"/>
                  </a:cubicBezTo>
                  <a:cubicBezTo>
                    <a:pt x="1048" y="462"/>
                    <a:pt x="1049" y="469"/>
                    <a:pt x="1049" y="476"/>
                  </a:cubicBezTo>
                  <a:cubicBezTo>
                    <a:pt x="1050" y="483"/>
                    <a:pt x="1050" y="489"/>
                    <a:pt x="1051" y="494"/>
                  </a:cubicBezTo>
                  <a:cubicBezTo>
                    <a:pt x="1051" y="500"/>
                    <a:pt x="1051" y="505"/>
                    <a:pt x="1051" y="509"/>
                  </a:cubicBezTo>
                  <a:cubicBezTo>
                    <a:pt x="1051" y="513"/>
                    <a:pt x="1052" y="516"/>
                    <a:pt x="1052" y="519"/>
                  </a:cubicBezTo>
                  <a:cubicBezTo>
                    <a:pt x="1052" y="525"/>
                    <a:pt x="1052" y="528"/>
                    <a:pt x="1052" y="528"/>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0">
              <a:extLst>
                <a:ext uri="{FF2B5EF4-FFF2-40B4-BE49-F238E27FC236}">
                  <a16:creationId xmlns:a16="http://schemas.microsoft.com/office/drawing/2014/main" id="{030E54C5-818F-4479-87CB-512A66292289}"/>
                </a:ext>
              </a:extLst>
            </p:cNvPr>
            <p:cNvSpPr>
              <a:spLocks/>
            </p:cNvSpPr>
            <p:nvPr/>
          </p:nvSpPr>
          <p:spPr bwMode="auto">
            <a:xfrm>
              <a:off x="3242" y="1239"/>
              <a:ext cx="2262" cy="1935"/>
            </a:xfrm>
            <a:custGeom>
              <a:avLst/>
              <a:gdLst>
                <a:gd name="T0" fmla="*/ 266 w 953"/>
                <a:gd name="T1" fmla="*/ 670 h 815"/>
                <a:gd name="T2" fmla="*/ 189 w 953"/>
                <a:gd name="T3" fmla="*/ 477 h 815"/>
                <a:gd name="T4" fmla="*/ 471 w 953"/>
                <a:gd name="T5" fmla="*/ 195 h 815"/>
                <a:gd name="T6" fmla="*/ 753 w 953"/>
                <a:gd name="T7" fmla="*/ 477 h 815"/>
                <a:gd name="T8" fmla="*/ 670 w 953"/>
                <a:gd name="T9" fmla="*/ 676 h 815"/>
                <a:gd name="T10" fmla="*/ 812 w 953"/>
                <a:gd name="T11" fmla="*/ 815 h 815"/>
                <a:gd name="T12" fmla="*/ 953 w 953"/>
                <a:gd name="T13" fmla="*/ 477 h 815"/>
                <a:gd name="T14" fmla="*/ 476 w 953"/>
                <a:gd name="T15" fmla="*/ 0 h 815"/>
                <a:gd name="T16" fmla="*/ 0 w 953"/>
                <a:gd name="T17" fmla="*/ 477 h 815"/>
                <a:gd name="T18" fmla="*/ 136 w 953"/>
                <a:gd name="T19" fmla="*/ 810 h 815"/>
                <a:gd name="T20" fmla="*/ 266 w 953"/>
                <a:gd name="T21" fmla="*/ 670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815">
                  <a:moveTo>
                    <a:pt x="266" y="670"/>
                  </a:moveTo>
                  <a:cubicBezTo>
                    <a:pt x="218" y="620"/>
                    <a:pt x="189" y="552"/>
                    <a:pt x="189" y="477"/>
                  </a:cubicBezTo>
                  <a:cubicBezTo>
                    <a:pt x="189" y="321"/>
                    <a:pt x="315" y="195"/>
                    <a:pt x="471" y="195"/>
                  </a:cubicBezTo>
                  <a:cubicBezTo>
                    <a:pt x="627" y="195"/>
                    <a:pt x="753" y="321"/>
                    <a:pt x="753" y="477"/>
                  </a:cubicBezTo>
                  <a:cubicBezTo>
                    <a:pt x="753" y="555"/>
                    <a:pt x="722" y="625"/>
                    <a:pt x="670" y="676"/>
                  </a:cubicBezTo>
                  <a:cubicBezTo>
                    <a:pt x="812" y="815"/>
                    <a:pt x="812" y="815"/>
                    <a:pt x="812" y="815"/>
                  </a:cubicBezTo>
                  <a:cubicBezTo>
                    <a:pt x="899" y="729"/>
                    <a:pt x="953" y="609"/>
                    <a:pt x="953" y="477"/>
                  </a:cubicBezTo>
                  <a:cubicBezTo>
                    <a:pt x="953" y="213"/>
                    <a:pt x="740" y="0"/>
                    <a:pt x="476" y="0"/>
                  </a:cubicBezTo>
                  <a:cubicBezTo>
                    <a:pt x="213" y="0"/>
                    <a:pt x="0" y="213"/>
                    <a:pt x="0" y="477"/>
                  </a:cubicBezTo>
                  <a:cubicBezTo>
                    <a:pt x="0" y="607"/>
                    <a:pt x="52" y="724"/>
                    <a:pt x="136" y="810"/>
                  </a:cubicBezTo>
                  <a:cubicBezTo>
                    <a:pt x="266" y="670"/>
                    <a:pt x="266" y="670"/>
                    <a:pt x="266" y="67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1">
              <a:extLst>
                <a:ext uri="{FF2B5EF4-FFF2-40B4-BE49-F238E27FC236}">
                  <a16:creationId xmlns:a16="http://schemas.microsoft.com/office/drawing/2014/main" id="{1AD619B1-54E2-4A91-B6A1-A450D4A2926F}"/>
                </a:ext>
              </a:extLst>
            </p:cNvPr>
            <p:cNvSpPr>
              <a:spLocks noChangeArrowheads="1"/>
            </p:cNvSpPr>
            <p:nvPr/>
          </p:nvSpPr>
          <p:spPr bwMode="auto">
            <a:xfrm>
              <a:off x="4832" y="2364"/>
              <a:ext cx="672" cy="701"/>
            </a:xfrm>
            <a:prstGeom prst="rect">
              <a:avLst/>
            </a:prstGeom>
            <a:solidFill>
              <a:srgbClr val="2E101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2">
              <a:extLst>
                <a:ext uri="{FF2B5EF4-FFF2-40B4-BE49-F238E27FC236}">
                  <a16:creationId xmlns:a16="http://schemas.microsoft.com/office/drawing/2014/main" id="{DC522C43-1968-4511-BB1B-22C0207FF92C}"/>
                </a:ext>
              </a:extLst>
            </p:cNvPr>
            <p:cNvSpPr>
              <a:spLocks/>
            </p:cNvSpPr>
            <p:nvPr/>
          </p:nvSpPr>
          <p:spPr bwMode="auto">
            <a:xfrm>
              <a:off x="4846" y="1581"/>
              <a:ext cx="658" cy="783"/>
            </a:xfrm>
            <a:custGeom>
              <a:avLst/>
              <a:gdLst>
                <a:gd name="T0" fmla="*/ 142 w 277"/>
                <a:gd name="T1" fmla="*/ 0 h 330"/>
                <a:gd name="T2" fmla="*/ 0 w 277"/>
                <a:gd name="T3" fmla="*/ 139 h 330"/>
                <a:gd name="T4" fmla="*/ 77 w 277"/>
                <a:gd name="T5" fmla="*/ 330 h 330"/>
                <a:gd name="T6" fmla="*/ 277 w 277"/>
                <a:gd name="T7" fmla="*/ 330 h 330"/>
                <a:gd name="T8" fmla="*/ 142 w 277"/>
                <a:gd name="T9" fmla="*/ 0 h 330"/>
              </a:gdLst>
              <a:ahLst/>
              <a:cxnLst>
                <a:cxn ang="0">
                  <a:pos x="T0" y="T1"/>
                </a:cxn>
                <a:cxn ang="0">
                  <a:pos x="T2" y="T3"/>
                </a:cxn>
                <a:cxn ang="0">
                  <a:pos x="T4" y="T5"/>
                </a:cxn>
                <a:cxn ang="0">
                  <a:pos x="T6" y="T7"/>
                </a:cxn>
                <a:cxn ang="0">
                  <a:pos x="T8" y="T9"/>
                </a:cxn>
              </a:cxnLst>
              <a:rect l="0" t="0" r="r" b="b"/>
              <a:pathLst>
                <a:path w="277" h="330">
                  <a:moveTo>
                    <a:pt x="142" y="0"/>
                  </a:moveTo>
                  <a:cubicBezTo>
                    <a:pt x="0" y="139"/>
                    <a:pt x="0" y="139"/>
                    <a:pt x="0" y="139"/>
                  </a:cubicBezTo>
                  <a:cubicBezTo>
                    <a:pt x="47" y="189"/>
                    <a:pt x="77" y="256"/>
                    <a:pt x="77" y="330"/>
                  </a:cubicBezTo>
                  <a:cubicBezTo>
                    <a:pt x="277" y="330"/>
                    <a:pt x="277" y="330"/>
                    <a:pt x="277" y="330"/>
                  </a:cubicBezTo>
                  <a:cubicBezTo>
                    <a:pt x="276" y="202"/>
                    <a:pt x="225" y="85"/>
                    <a:pt x="142" y="0"/>
                  </a:cubicBezTo>
                </a:path>
              </a:pathLst>
            </a:custGeom>
            <a:solidFill>
              <a:srgbClr val="4518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73">
              <a:extLst>
                <a:ext uri="{FF2B5EF4-FFF2-40B4-BE49-F238E27FC236}">
                  <a16:creationId xmlns:a16="http://schemas.microsoft.com/office/drawing/2014/main" id="{28CBB853-2403-4214-85CA-B95F1CCF59B0}"/>
                </a:ext>
              </a:extLst>
            </p:cNvPr>
            <p:cNvSpPr>
              <a:spLocks/>
            </p:cNvSpPr>
            <p:nvPr/>
          </p:nvSpPr>
          <p:spPr bwMode="auto">
            <a:xfrm>
              <a:off x="4396" y="1239"/>
              <a:ext cx="785" cy="669"/>
            </a:xfrm>
            <a:custGeom>
              <a:avLst/>
              <a:gdLst>
                <a:gd name="T0" fmla="*/ 1 w 331"/>
                <a:gd name="T1" fmla="*/ 0 h 282"/>
                <a:gd name="T2" fmla="*/ 0 w 331"/>
                <a:gd name="T3" fmla="*/ 189 h 282"/>
                <a:gd name="T4" fmla="*/ 0 w 331"/>
                <a:gd name="T5" fmla="*/ 195 h 282"/>
                <a:gd name="T6" fmla="*/ 189 w 331"/>
                <a:gd name="T7" fmla="*/ 282 h 282"/>
                <a:gd name="T8" fmla="*/ 331 w 331"/>
                <a:gd name="T9" fmla="*/ 143 h 282"/>
                <a:gd name="T10" fmla="*/ 1 w 331"/>
                <a:gd name="T11" fmla="*/ 0 h 282"/>
              </a:gdLst>
              <a:ahLst/>
              <a:cxnLst>
                <a:cxn ang="0">
                  <a:pos x="T0" y="T1"/>
                </a:cxn>
                <a:cxn ang="0">
                  <a:pos x="T2" y="T3"/>
                </a:cxn>
                <a:cxn ang="0">
                  <a:pos x="T4" y="T5"/>
                </a:cxn>
                <a:cxn ang="0">
                  <a:pos x="T6" y="T7"/>
                </a:cxn>
                <a:cxn ang="0">
                  <a:pos x="T8" y="T9"/>
                </a:cxn>
                <a:cxn ang="0">
                  <a:pos x="T10" y="T11"/>
                </a:cxn>
              </a:cxnLst>
              <a:rect l="0" t="0" r="r" b="b"/>
              <a:pathLst>
                <a:path w="331" h="282">
                  <a:moveTo>
                    <a:pt x="1" y="0"/>
                  </a:moveTo>
                  <a:cubicBezTo>
                    <a:pt x="0" y="189"/>
                    <a:pt x="0" y="189"/>
                    <a:pt x="0" y="189"/>
                  </a:cubicBezTo>
                  <a:cubicBezTo>
                    <a:pt x="0" y="191"/>
                    <a:pt x="0" y="193"/>
                    <a:pt x="0" y="195"/>
                  </a:cubicBezTo>
                  <a:cubicBezTo>
                    <a:pt x="75" y="199"/>
                    <a:pt x="141" y="232"/>
                    <a:pt x="189" y="282"/>
                  </a:cubicBezTo>
                  <a:cubicBezTo>
                    <a:pt x="331" y="143"/>
                    <a:pt x="331" y="143"/>
                    <a:pt x="331" y="143"/>
                  </a:cubicBezTo>
                  <a:cubicBezTo>
                    <a:pt x="247" y="57"/>
                    <a:pt x="131" y="3"/>
                    <a:pt x="1" y="0"/>
                  </a:cubicBezTo>
                </a:path>
              </a:pathLst>
            </a:custGeom>
            <a:solidFill>
              <a:srgbClr val="74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4">
              <a:extLst>
                <a:ext uri="{FF2B5EF4-FFF2-40B4-BE49-F238E27FC236}">
                  <a16:creationId xmlns:a16="http://schemas.microsoft.com/office/drawing/2014/main" id="{02F7DB9C-F8B6-4B94-8912-7E1CB6D05A94}"/>
                </a:ext>
              </a:extLst>
            </p:cNvPr>
            <p:cNvSpPr>
              <a:spLocks/>
            </p:cNvSpPr>
            <p:nvPr/>
          </p:nvSpPr>
          <p:spPr bwMode="auto">
            <a:xfrm>
              <a:off x="3553" y="1239"/>
              <a:ext cx="845" cy="681"/>
            </a:xfrm>
            <a:custGeom>
              <a:avLst/>
              <a:gdLst>
                <a:gd name="T0" fmla="*/ 345 w 356"/>
                <a:gd name="T1" fmla="*/ 0 h 287"/>
                <a:gd name="T2" fmla="*/ 0 w 356"/>
                <a:gd name="T3" fmla="*/ 149 h 287"/>
                <a:gd name="T4" fmla="*/ 131 w 356"/>
                <a:gd name="T5" fmla="*/ 287 h 287"/>
                <a:gd name="T6" fmla="*/ 340 w 356"/>
                <a:gd name="T7" fmla="*/ 195 h 287"/>
                <a:gd name="T8" fmla="*/ 355 w 356"/>
                <a:gd name="T9" fmla="*/ 195 h 287"/>
                <a:gd name="T10" fmla="*/ 355 w 356"/>
                <a:gd name="T11" fmla="*/ 189 h 287"/>
                <a:gd name="T12" fmla="*/ 356 w 356"/>
                <a:gd name="T13" fmla="*/ 0 h 287"/>
                <a:gd name="T14" fmla="*/ 345 w 356"/>
                <a:gd name="T15" fmla="*/ 0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6" h="287">
                  <a:moveTo>
                    <a:pt x="345" y="0"/>
                  </a:moveTo>
                  <a:cubicBezTo>
                    <a:pt x="209" y="0"/>
                    <a:pt x="87" y="57"/>
                    <a:pt x="0" y="149"/>
                  </a:cubicBezTo>
                  <a:cubicBezTo>
                    <a:pt x="29" y="179"/>
                    <a:pt x="95" y="249"/>
                    <a:pt x="131" y="287"/>
                  </a:cubicBezTo>
                  <a:cubicBezTo>
                    <a:pt x="183" y="230"/>
                    <a:pt x="257" y="195"/>
                    <a:pt x="340" y="195"/>
                  </a:cubicBezTo>
                  <a:cubicBezTo>
                    <a:pt x="345" y="195"/>
                    <a:pt x="350" y="195"/>
                    <a:pt x="355" y="195"/>
                  </a:cubicBezTo>
                  <a:cubicBezTo>
                    <a:pt x="355" y="189"/>
                    <a:pt x="355" y="189"/>
                    <a:pt x="355" y="189"/>
                  </a:cubicBezTo>
                  <a:cubicBezTo>
                    <a:pt x="355" y="132"/>
                    <a:pt x="356" y="40"/>
                    <a:pt x="356" y="0"/>
                  </a:cubicBezTo>
                  <a:cubicBezTo>
                    <a:pt x="353" y="0"/>
                    <a:pt x="349" y="0"/>
                    <a:pt x="345"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5">
              <a:extLst>
                <a:ext uri="{FF2B5EF4-FFF2-40B4-BE49-F238E27FC236}">
                  <a16:creationId xmlns:a16="http://schemas.microsoft.com/office/drawing/2014/main" id="{B22E1DD6-472C-49D0-83DE-19B70F296A9B}"/>
                </a:ext>
              </a:extLst>
            </p:cNvPr>
            <p:cNvSpPr>
              <a:spLocks/>
            </p:cNvSpPr>
            <p:nvPr/>
          </p:nvSpPr>
          <p:spPr bwMode="auto">
            <a:xfrm>
              <a:off x="4396" y="1239"/>
              <a:ext cx="2" cy="449"/>
            </a:xfrm>
            <a:custGeom>
              <a:avLst/>
              <a:gdLst>
                <a:gd name="T0" fmla="*/ 1 w 1"/>
                <a:gd name="T1" fmla="*/ 0 h 189"/>
                <a:gd name="T2" fmla="*/ 0 w 1"/>
                <a:gd name="T3" fmla="*/ 189 h 189"/>
                <a:gd name="T4" fmla="*/ 1 w 1"/>
                <a:gd name="T5" fmla="*/ 0 h 189"/>
                <a:gd name="T6" fmla="*/ 1 w 1"/>
                <a:gd name="T7" fmla="*/ 0 h 189"/>
              </a:gdLst>
              <a:ahLst/>
              <a:cxnLst>
                <a:cxn ang="0">
                  <a:pos x="T0" y="T1"/>
                </a:cxn>
                <a:cxn ang="0">
                  <a:pos x="T2" y="T3"/>
                </a:cxn>
                <a:cxn ang="0">
                  <a:pos x="T4" y="T5"/>
                </a:cxn>
                <a:cxn ang="0">
                  <a:pos x="T6" y="T7"/>
                </a:cxn>
              </a:cxnLst>
              <a:rect l="0" t="0" r="r" b="b"/>
              <a:pathLst>
                <a:path w="1" h="189">
                  <a:moveTo>
                    <a:pt x="1" y="0"/>
                  </a:moveTo>
                  <a:cubicBezTo>
                    <a:pt x="1" y="40"/>
                    <a:pt x="0" y="132"/>
                    <a:pt x="0" y="189"/>
                  </a:cubicBezTo>
                  <a:cubicBezTo>
                    <a:pt x="1" y="0"/>
                    <a:pt x="1" y="0"/>
                    <a:pt x="1" y="0"/>
                  </a:cubicBezTo>
                  <a:cubicBezTo>
                    <a:pt x="1" y="0"/>
                    <a:pt x="1" y="0"/>
                    <a:pt x="1" y="0"/>
                  </a:cubicBezTo>
                </a:path>
              </a:pathLst>
            </a:custGeom>
            <a:solidFill>
              <a:srgbClr val="511C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6">
              <a:extLst>
                <a:ext uri="{FF2B5EF4-FFF2-40B4-BE49-F238E27FC236}">
                  <a16:creationId xmlns:a16="http://schemas.microsoft.com/office/drawing/2014/main" id="{E9340F63-5F33-4E80-A7F9-604F9E7A1FB1}"/>
                </a:ext>
              </a:extLst>
            </p:cNvPr>
            <p:cNvSpPr>
              <a:spLocks/>
            </p:cNvSpPr>
            <p:nvPr/>
          </p:nvSpPr>
          <p:spPr bwMode="auto">
            <a:xfrm>
              <a:off x="3242" y="1593"/>
              <a:ext cx="622" cy="774"/>
            </a:xfrm>
            <a:custGeom>
              <a:avLst/>
              <a:gdLst>
                <a:gd name="T0" fmla="*/ 131 w 262"/>
                <a:gd name="T1" fmla="*/ 0 h 326"/>
                <a:gd name="T2" fmla="*/ 0 w 262"/>
                <a:gd name="T3" fmla="*/ 326 h 326"/>
                <a:gd name="T4" fmla="*/ 59 w 262"/>
                <a:gd name="T5" fmla="*/ 326 h 326"/>
                <a:gd name="T6" fmla="*/ 189 w 262"/>
                <a:gd name="T7" fmla="*/ 326 h 326"/>
                <a:gd name="T8" fmla="*/ 262 w 262"/>
                <a:gd name="T9" fmla="*/ 139 h 326"/>
                <a:gd name="T10" fmla="*/ 131 w 262"/>
                <a:gd name="T11" fmla="*/ 0 h 326"/>
              </a:gdLst>
              <a:ahLst/>
              <a:cxnLst>
                <a:cxn ang="0">
                  <a:pos x="T0" y="T1"/>
                </a:cxn>
                <a:cxn ang="0">
                  <a:pos x="T2" y="T3"/>
                </a:cxn>
                <a:cxn ang="0">
                  <a:pos x="T4" y="T5"/>
                </a:cxn>
                <a:cxn ang="0">
                  <a:pos x="T6" y="T7"/>
                </a:cxn>
                <a:cxn ang="0">
                  <a:pos x="T8" y="T9"/>
                </a:cxn>
                <a:cxn ang="0">
                  <a:pos x="T10" y="T11"/>
                </a:cxn>
              </a:cxnLst>
              <a:rect l="0" t="0" r="r" b="b"/>
              <a:pathLst>
                <a:path w="262" h="326">
                  <a:moveTo>
                    <a:pt x="131" y="0"/>
                  </a:moveTo>
                  <a:cubicBezTo>
                    <a:pt x="50" y="85"/>
                    <a:pt x="0" y="200"/>
                    <a:pt x="0" y="326"/>
                  </a:cubicBezTo>
                  <a:cubicBezTo>
                    <a:pt x="13" y="326"/>
                    <a:pt x="34" y="326"/>
                    <a:pt x="59" y="326"/>
                  </a:cubicBezTo>
                  <a:cubicBezTo>
                    <a:pt x="99" y="326"/>
                    <a:pt x="148" y="326"/>
                    <a:pt x="189" y="326"/>
                  </a:cubicBezTo>
                  <a:cubicBezTo>
                    <a:pt x="190" y="254"/>
                    <a:pt x="217" y="188"/>
                    <a:pt x="262" y="139"/>
                  </a:cubicBezTo>
                  <a:cubicBezTo>
                    <a:pt x="131" y="0"/>
                    <a:pt x="131" y="0"/>
                    <a:pt x="131" y="0"/>
                  </a:cubicBezTo>
                </a:path>
              </a:pathLst>
            </a:custGeom>
            <a:solidFill>
              <a:srgbClr val="D04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77">
              <a:extLst>
                <a:ext uri="{FF2B5EF4-FFF2-40B4-BE49-F238E27FC236}">
                  <a16:creationId xmlns:a16="http://schemas.microsoft.com/office/drawing/2014/main" id="{5E1D4AFB-1B78-4588-8D3B-42BF0C460DEB}"/>
                </a:ext>
              </a:extLst>
            </p:cNvPr>
            <p:cNvSpPr>
              <a:spLocks noChangeArrowheads="1"/>
            </p:cNvSpPr>
            <p:nvPr/>
          </p:nvSpPr>
          <p:spPr bwMode="auto">
            <a:xfrm>
              <a:off x="4125" y="2134"/>
              <a:ext cx="520" cy="520"/>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8">
              <a:extLst>
                <a:ext uri="{FF2B5EF4-FFF2-40B4-BE49-F238E27FC236}">
                  <a16:creationId xmlns:a16="http://schemas.microsoft.com/office/drawing/2014/main" id="{BCBB896D-D4BE-4431-93FD-A2923E1D9FB7}"/>
                </a:ext>
              </a:extLst>
            </p:cNvPr>
            <p:cNvSpPr>
              <a:spLocks/>
            </p:cNvSpPr>
            <p:nvPr/>
          </p:nvSpPr>
          <p:spPr bwMode="auto">
            <a:xfrm>
              <a:off x="4296" y="2205"/>
              <a:ext cx="1006" cy="269"/>
            </a:xfrm>
            <a:custGeom>
              <a:avLst/>
              <a:gdLst>
                <a:gd name="T0" fmla="*/ 6 w 424"/>
                <a:gd name="T1" fmla="*/ 87 h 113"/>
                <a:gd name="T2" fmla="*/ 6 w 424"/>
                <a:gd name="T3" fmla="*/ 87 h 113"/>
                <a:gd name="T4" fmla="*/ 44 w 424"/>
                <a:gd name="T5" fmla="*/ 108 h 113"/>
                <a:gd name="T6" fmla="*/ 424 w 424"/>
                <a:gd name="T7" fmla="*/ 0 h 113"/>
                <a:gd name="T8" fmla="*/ 32 w 424"/>
                <a:gd name="T9" fmla="*/ 48 h 113"/>
                <a:gd name="T10" fmla="*/ 6 w 424"/>
                <a:gd name="T11" fmla="*/ 87 h 113"/>
              </a:gdLst>
              <a:ahLst/>
              <a:cxnLst>
                <a:cxn ang="0">
                  <a:pos x="T0" y="T1"/>
                </a:cxn>
                <a:cxn ang="0">
                  <a:pos x="T2" y="T3"/>
                </a:cxn>
                <a:cxn ang="0">
                  <a:pos x="T4" y="T5"/>
                </a:cxn>
                <a:cxn ang="0">
                  <a:pos x="T6" y="T7"/>
                </a:cxn>
                <a:cxn ang="0">
                  <a:pos x="T8" y="T9"/>
                </a:cxn>
                <a:cxn ang="0">
                  <a:pos x="T10" y="T11"/>
                </a:cxn>
              </a:cxnLst>
              <a:rect l="0" t="0" r="r" b="b"/>
              <a:pathLst>
                <a:path w="424" h="113">
                  <a:moveTo>
                    <a:pt x="6" y="87"/>
                  </a:moveTo>
                  <a:cubicBezTo>
                    <a:pt x="6" y="87"/>
                    <a:pt x="6" y="87"/>
                    <a:pt x="6" y="87"/>
                  </a:cubicBezTo>
                  <a:cubicBezTo>
                    <a:pt x="10" y="104"/>
                    <a:pt x="27" y="113"/>
                    <a:pt x="44" y="108"/>
                  </a:cubicBezTo>
                  <a:cubicBezTo>
                    <a:pt x="424" y="0"/>
                    <a:pt x="424" y="0"/>
                    <a:pt x="424" y="0"/>
                  </a:cubicBezTo>
                  <a:cubicBezTo>
                    <a:pt x="32" y="48"/>
                    <a:pt x="32" y="48"/>
                    <a:pt x="32" y="48"/>
                  </a:cubicBezTo>
                  <a:cubicBezTo>
                    <a:pt x="13" y="50"/>
                    <a:pt x="0" y="69"/>
                    <a:pt x="6" y="8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9">
              <a:extLst>
                <a:ext uri="{FF2B5EF4-FFF2-40B4-BE49-F238E27FC236}">
                  <a16:creationId xmlns:a16="http://schemas.microsoft.com/office/drawing/2014/main" id="{469D83B7-614D-49F9-8DBD-B8C6ACB28877}"/>
                </a:ext>
              </a:extLst>
            </p:cNvPr>
            <p:cNvSpPr>
              <a:spLocks/>
            </p:cNvSpPr>
            <p:nvPr/>
          </p:nvSpPr>
          <p:spPr bwMode="auto">
            <a:xfrm>
              <a:off x="3904" y="2958"/>
              <a:ext cx="342" cy="251"/>
            </a:xfrm>
            <a:custGeom>
              <a:avLst/>
              <a:gdLst>
                <a:gd name="T0" fmla="*/ 342 w 342"/>
                <a:gd name="T1" fmla="*/ 0 h 251"/>
                <a:gd name="T2" fmla="*/ 292 w 342"/>
                <a:gd name="T3" fmla="*/ 251 h 251"/>
                <a:gd name="T4" fmla="*/ 228 w 342"/>
                <a:gd name="T5" fmla="*/ 251 h 251"/>
                <a:gd name="T6" fmla="*/ 254 w 342"/>
                <a:gd name="T7" fmla="*/ 119 h 251"/>
                <a:gd name="T8" fmla="*/ 169 w 342"/>
                <a:gd name="T9" fmla="*/ 225 h 251"/>
                <a:gd name="T10" fmla="*/ 138 w 342"/>
                <a:gd name="T11" fmla="*/ 225 h 251"/>
                <a:gd name="T12" fmla="*/ 93 w 342"/>
                <a:gd name="T13" fmla="*/ 119 h 251"/>
                <a:gd name="T14" fmla="*/ 67 w 342"/>
                <a:gd name="T15" fmla="*/ 251 h 251"/>
                <a:gd name="T16" fmla="*/ 0 w 342"/>
                <a:gd name="T17" fmla="*/ 251 h 251"/>
                <a:gd name="T18" fmla="*/ 50 w 342"/>
                <a:gd name="T19" fmla="*/ 0 h 251"/>
                <a:gd name="T20" fmla="*/ 110 w 342"/>
                <a:gd name="T21" fmla="*/ 0 h 251"/>
                <a:gd name="T22" fmla="*/ 166 w 342"/>
                <a:gd name="T23" fmla="*/ 145 h 251"/>
                <a:gd name="T24" fmla="*/ 283 w 342"/>
                <a:gd name="T25" fmla="*/ 0 h 251"/>
                <a:gd name="T26" fmla="*/ 342 w 342"/>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2" h="251">
                  <a:moveTo>
                    <a:pt x="342" y="0"/>
                  </a:moveTo>
                  <a:lnTo>
                    <a:pt x="292" y="251"/>
                  </a:lnTo>
                  <a:lnTo>
                    <a:pt x="228" y="251"/>
                  </a:lnTo>
                  <a:lnTo>
                    <a:pt x="254" y="119"/>
                  </a:lnTo>
                  <a:lnTo>
                    <a:pt x="169" y="225"/>
                  </a:lnTo>
                  <a:lnTo>
                    <a:pt x="138" y="225"/>
                  </a:lnTo>
                  <a:lnTo>
                    <a:pt x="93" y="119"/>
                  </a:lnTo>
                  <a:lnTo>
                    <a:pt x="67" y="251"/>
                  </a:lnTo>
                  <a:lnTo>
                    <a:pt x="0" y="251"/>
                  </a:lnTo>
                  <a:lnTo>
                    <a:pt x="50" y="0"/>
                  </a:lnTo>
                  <a:lnTo>
                    <a:pt x="110" y="0"/>
                  </a:lnTo>
                  <a:lnTo>
                    <a:pt x="166" y="145"/>
                  </a:lnTo>
                  <a:lnTo>
                    <a:pt x="283" y="0"/>
                  </a:lnTo>
                  <a:lnTo>
                    <a:pt x="342"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0">
              <a:extLst>
                <a:ext uri="{FF2B5EF4-FFF2-40B4-BE49-F238E27FC236}">
                  <a16:creationId xmlns:a16="http://schemas.microsoft.com/office/drawing/2014/main" id="{C6BCCB6F-FE79-406C-A2B6-F12E02DC9758}"/>
                </a:ext>
              </a:extLst>
            </p:cNvPr>
            <p:cNvSpPr>
              <a:spLocks noEditPoints="1"/>
            </p:cNvSpPr>
            <p:nvPr/>
          </p:nvSpPr>
          <p:spPr bwMode="auto">
            <a:xfrm>
              <a:off x="4251" y="3010"/>
              <a:ext cx="239" cy="202"/>
            </a:xfrm>
            <a:custGeom>
              <a:avLst/>
              <a:gdLst>
                <a:gd name="T0" fmla="*/ 101 w 101"/>
                <a:gd name="T1" fmla="*/ 2 h 85"/>
                <a:gd name="T2" fmla="*/ 84 w 101"/>
                <a:gd name="T3" fmla="*/ 84 h 85"/>
                <a:gd name="T4" fmla="*/ 57 w 101"/>
                <a:gd name="T5" fmla="*/ 84 h 85"/>
                <a:gd name="T6" fmla="*/ 59 w 101"/>
                <a:gd name="T7" fmla="*/ 76 h 85"/>
                <a:gd name="T8" fmla="*/ 35 w 101"/>
                <a:gd name="T9" fmla="*/ 85 h 85"/>
                <a:gd name="T10" fmla="*/ 0 w 101"/>
                <a:gd name="T11" fmla="*/ 48 h 85"/>
                <a:gd name="T12" fmla="*/ 45 w 101"/>
                <a:gd name="T13" fmla="*/ 0 h 85"/>
                <a:gd name="T14" fmla="*/ 70 w 101"/>
                <a:gd name="T15" fmla="*/ 11 h 85"/>
                <a:gd name="T16" fmla="*/ 72 w 101"/>
                <a:gd name="T17" fmla="*/ 2 h 85"/>
                <a:gd name="T18" fmla="*/ 101 w 101"/>
                <a:gd name="T19" fmla="*/ 2 h 85"/>
                <a:gd name="T20" fmla="*/ 64 w 101"/>
                <a:gd name="T21" fmla="*/ 39 h 85"/>
                <a:gd name="T22" fmla="*/ 49 w 101"/>
                <a:gd name="T23" fmla="*/ 23 h 85"/>
                <a:gd name="T24" fmla="*/ 29 w 101"/>
                <a:gd name="T25" fmla="*/ 46 h 85"/>
                <a:gd name="T26" fmla="*/ 45 w 101"/>
                <a:gd name="T27" fmla="*/ 62 h 85"/>
                <a:gd name="T28" fmla="*/ 64 w 101"/>
                <a:gd name="T29" fmla="*/ 3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85">
                  <a:moveTo>
                    <a:pt x="101" y="2"/>
                  </a:moveTo>
                  <a:cubicBezTo>
                    <a:pt x="84" y="84"/>
                    <a:pt x="84" y="84"/>
                    <a:pt x="84" y="84"/>
                  </a:cubicBezTo>
                  <a:cubicBezTo>
                    <a:pt x="57" y="84"/>
                    <a:pt x="57" y="84"/>
                    <a:pt x="57" y="84"/>
                  </a:cubicBezTo>
                  <a:cubicBezTo>
                    <a:pt x="59" y="76"/>
                    <a:pt x="59" y="76"/>
                    <a:pt x="59" y="76"/>
                  </a:cubicBezTo>
                  <a:cubicBezTo>
                    <a:pt x="52" y="82"/>
                    <a:pt x="44" y="85"/>
                    <a:pt x="35" y="85"/>
                  </a:cubicBezTo>
                  <a:cubicBezTo>
                    <a:pt x="17" y="85"/>
                    <a:pt x="0" y="72"/>
                    <a:pt x="0" y="48"/>
                  </a:cubicBezTo>
                  <a:cubicBezTo>
                    <a:pt x="0" y="20"/>
                    <a:pt x="20" y="0"/>
                    <a:pt x="45" y="0"/>
                  </a:cubicBezTo>
                  <a:cubicBezTo>
                    <a:pt x="56" y="0"/>
                    <a:pt x="65" y="3"/>
                    <a:pt x="70" y="11"/>
                  </a:cubicBezTo>
                  <a:cubicBezTo>
                    <a:pt x="72" y="2"/>
                    <a:pt x="72" y="2"/>
                    <a:pt x="72" y="2"/>
                  </a:cubicBezTo>
                  <a:lnTo>
                    <a:pt x="101" y="2"/>
                  </a:lnTo>
                  <a:close/>
                  <a:moveTo>
                    <a:pt x="64" y="39"/>
                  </a:moveTo>
                  <a:cubicBezTo>
                    <a:pt x="64" y="29"/>
                    <a:pt x="59" y="23"/>
                    <a:pt x="49" y="23"/>
                  </a:cubicBezTo>
                  <a:cubicBezTo>
                    <a:pt x="37" y="23"/>
                    <a:pt x="29" y="32"/>
                    <a:pt x="29" y="46"/>
                  </a:cubicBezTo>
                  <a:cubicBezTo>
                    <a:pt x="29" y="56"/>
                    <a:pt x="35" y="62"/>
                    <a:pt x="45" y="62"/>
                  </a:cubicBezTo>
                  <a:cubicBezTo>
                    <a:pt x="56" y="62"/>
                    <a:pt x="64" y="53"/>
                    <a:pt x="64" y="3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1">
              <a:extLst>
                <a:ext uri="{FF2B5EF4-FFF2-40B4-BE49-F238E27FC236}">
                  <a16:creationId xmlns:a16="http://schemas.microsoft.com/office/drawing/2014/main" id="{4BD4419F-DA0B-4CF1-A85E-B0C2471AC77A}"/>
                </a:ext>
              </a:extLst>
            </p:cNvPr>
            <p:cNvSpPr>
              <a:spLocks/>
            </p:cNvSpPr>
            <p:nvPr/>
          </p:nvSpPr>
          <p:spPr bwMode="auto">
            <a:xfrm>
              <a:off x="4472" y="3015"/>
              <a:ext cx="263" cy="194"/>
            </a:xfrm>
            <a:custGeom>
              <a:avLst/>
              <a:gdLst>
                <a:gd name="T0" fmla="*/ 170 w 263"/>
                <a:gd name="T1" fmla="*/ 97 h 194"/>
                <a:gd name="T2" fmla="*/ 223 w 263"/>
                <a:gd name="T3" fmla="*/ 194 h 194"/>
                <a:gd name="T4" fmla="*/ 149 w 263"/>
                <a:gd name="T5" fmla="*/ 194 h 194"/>
                <a:gd name="T6" fmla="*/ 123 w 263"/>
                <a:gd name="T7" fmla="*/ 142 h 194"/>
                <a:gd name="T8" fmla="*/ 75 w 263"/>
                <a:gd name="T9" fmla="*/ 194 h 194"/>
                <a:gd name="T10" fmla="*/ 0 w 263"/>
                <a:gd name="T11" fmla="*/ 194 h 194"/>
                <a:gd name="T12" fmla="*/ 97 w 263"/>
                <a:gd name="T13" fmla="*/ 95 h 194"/>
                <a:gd name="T14" fmla="*/ 45 w 263"/>
                <a:gd name="T15" fmla="*/ 0 h 194"/>
                <a:gd name="T16" fmla="*/ 116 w 263"/>
                <a:gd name="T17" fmla="*/ 0 h 194"/>
                <a:gd name="T18" fmla="*/ 142 w 263"/>
                <a:gd name="T19" fmla="*/ 47 h 194"/>
                <a:gd name="T20" fmla="*/ 189 w 263"/>
                <a:gd name="T21" fmla="*/ 0 h 194"/>
                <a:gd name="T22" fmla="*/ 263 w 263"/>
                <a:gd name="T23" fmla="*/ 0 h 194"/>
                <a:gd name="T24" fmla="*/ 170 w 263"/>
                <a:gd name="T25" fmla="*/ 9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3" h="194">
                  <a:moveTo>
                    <a:pt x="170" y="97"/>
                  </a:moveTo>
                  <a:lnTo>
                    <a:pt x="223" y="194"/>
                  </a:lnTo>
                  <a:lnTo>
                    <a:pt x="149" y="194"/>
                  </a:lnTo>
                  <a:lnTo>
                    <a:pt x="123" y="142"/>
                  </a:lnTo>
                  <a:lnTo>
                    <a:pt x="75" y="194"/>
                  </a:lnTo>
                  <a:lnTo>
                    <a:pt x="0" y="194"/>
                  </a:lnTo>
                  <a:lnTo>
                    <a:pt x="97" y="95"/>
                  </a:lnTo>
                  <a:lnTo>
                    <a:pt x="45" y="0"/>
                  </a:lnTo>
                  <a:lnTo>
                    <a:pt x="116" y="0"/>
                  </a:lnTo>
                  <a:lnTo>
                    <a:pt x="142" y="47"/>
                  </a:lnTo>
                  <a:lnTo>
                    <a:pt x="189" y="0"/>
                  </a:lnTo>
                  <a:lnTo>
                    <a:pt x="263" y="0"/>
                  </a:lnTo>
                  <a:lnTo>
                    <a:pt x="170" y="97"/>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2">
              <a:extLst>
                <a:ext uri="{FF2B5EF4-FFF2-40B4-BE49-F238E27FC236}">
                  <a16:creationId xmlns:a16="http://schemas.microsoft.com/office/drawing/2014/main" id="{C9DF615E-FAB4-4213-9EC3-5D86CF7BD35B}"/>
                </a:ext>
              </a:extLst>
            </p:cNvPr>
            <p:cNvSpPr>
              <a:spLocks/>
            </p:cNvSpPr>
            <p:nvPr/>
          </p:nvSpPr>
          <p:spPr bwMode="auto">
            <a:xfrm>
              <a:off x="4714" y="3131"/>
              <a:ext cx="80" cy="81"/>
            </a:xfrm>
            <a:custGeom>
              <a:avLst/>
              <a:gdLst>
                <a:gd name="T0" fmla="*/ 0 w 34"/>
                <a:gd name="T1" fmla="*/ 18 h 34"/>
                <a:gd name="T2" fmla="*/ 18 w 34"/>
                <a:gd name="T3" fmla="*/ 0 h 34"/>
                <a:gd name="T4" fmla="*/ 34 w 34"/>
                <a:gd name="T5" fmla="*/ 16 h 34"/>
                <a:gd name="T6" fmla="*/ 16 w 34"/>
                <a:gd name="T7" fmla="*/ 34 h 34"/>
                <a:gd name="T8" fmla="*/ 0 w 34"/>
                <a:gd name="T9" fmla="*/ 18 h 34"/>
              </a:gdLst>
              <a:ahLst/>
              <a:cxnLst>
                <a:cxn ang="0">
                  <a:pos x="T0" y="T1"/>
                </a:cxn>
                <a:cxn ang="0">
                  <a:pos x="T2" y="T3"/>
                </a:cxn>
                <a:cxn ang="0">
                  <a:pos x="T4" y="T5"/>
                </a:cxn>
                <a:cxn ang="0">
                  <a:pos x="T6" y="T7"/>
                </a:cxn>
                <a:cxn ang="0">
                  <a:pos x="T8" y="T9"/>
                </a:cxn>
              </a:cxnLst>
              <a:rect l="0" t="0" r="r" b="b"/>
              <a:pathLst>
                <a:path w="34" h="34">
                  <a:moveTo>
                    <a:pt x="0" y="18"/>
                  </a:moveTo>
                  <a:cubicBezTo>
                    <a:pt x="0" y="7"/>
                    <a:pt x="8" y="0"/>
                    <a:pt x="18" y="0"/>
                  </a:cubicBezTo>
                  <a:cubicBezTo>
                    <a:pt x="28" y="0"/>
                    <a:pt x="34" y="6"/>
                    <a:pt x="34" y="16"/>
                  </a:cubicBezTo>
                  <a:cubicBezTo>
                    <a:pt x="34" y="27"/>
                    <a:pt x="26" y="34"/>
                    <a:pt x="16" y="34"/>
                  </a:cubicBezTo>
                  <a:cubicBezTo>
                    <a:pt x="6" y="34"/>
                    <a:pt x="0" y="27"/>
                    <a:pt x="0"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3">
              <a:extLst>
                <a:ext uri="{FF2B5EF4-FFF2-40B4-BE49-F238E27FC236}">
                  <a16:creationId xmlns:a16="http://schemas.microsoft.com/office/drawing/2014/main" id="{F0E85980-9FA0-466B-B885-A1032932A9F5}"/>
                </a:ext>
              </a:extLst>
            </p:cNvPr>
            <p:cNvSpPr>
              <a:spLocks/>
            </p:cNvSpPr>
            <p:nvPr/>
          </p:nvSpPr>
          <p:spPr bwMode="auto">
            <a:xfrm>
              <a:off x="4222" y="3257"/>
              <a:ext cx="128" cy="159"/>
            </a:xfrm>
            <a:custGeom>
              <a:avLst/>
              <a:gdLst>
                <a:gd name="T0" fmla="*/ 16 w 54"/>
                <a:gd name="T1" fmla="*/ 59 h 67"/>
                <a:gd name="T2" fmla="*/ 49 w 54"/>
                <a:gd name="T3" fmla="*/ 59 h 67"/>
                <a:gd name="T4" fmla="*/ 47 w 54"/>
                <a:gd name="T5" fmla="*/ 67 h 67"/>
                <a:gd name="T6" fmla="*/ 0 w 54"/>
                <a:gd name="T7" fmla="*/ 67 h 67"/>
                <a:gd name="T8" fmla="*/ 1 w 54"/>
                <a:gd name="T9" fmla="*/ 61 h 67"/>
                <a:gd name="T10" fmla="*/ 33 w 54"/>
                <a:gd name="T11" fmla="*/ 35 h 67"/>
                <a:gd name="T12" fmla="*/ 45 w 54"/>
                <a:gd name="T13" fmla="*/ 18 h 67"/>
                <a:gd name="T14" fmla="*/ 32 w 54"/>
                <a:gd name="T15" fmla="*/ 9 h 67"/>
                <a:gd name="T16" fmla="*/ 15 w 54"/>
                <a:gd name="T17" fmla="*/ 16 h 67"/>
                <a:gd name="T18" fmla="*/ 8 w 54"/>
                <a:gd name="T19" fmla="*/ 10 h 67"/>
                <a:gd name="T20" fmla="*/ 33 w 54"/>
                <a:gd name="T21" fmla="*/ 0 h 67"/>
                <a:gd name="T22" fmla="*/ 54 w 54"/>
                <a:gd name="T23" fmla="*/ 17 h 67"/>
                <a:gd name="T24" fmla="*/ 40 w 54"/>
                <a:gd name="T25" fmla="*/ 40 h 67"/>
                <a:gd name="T26" fmla="*/ 16 w 54"/>
                <a:gd name="T27" fmla="*/ 5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67">
                  <a:moveTo>
                    <a:pt x="16" y="59"/>
                  </a:moveTo>
                  <a:cubicBezTo>
                    <a:pt x="49" y="59"/>
                    <a:pt x="49" y="59"/>
                    <a:pt x="49" y="59"/>
                  </a:cubicBezTo>
                  <a:cubicBezTo>
                    <a:pt x="47" y="67"/>
                    <a:pt x="47" y="67"/>
                    <a:pt x="47" y="67"/>
                  </a:cubicBezTo>
                  <a:cubicBezTo>
                    <a:pt x="0" y="67"/>
                    <a:pt x="0" y="67"/>
                    <a:pt x="0" y="67"/>
                  </a:cubicBezTo>
                  <a:cubicBezTo>
                    <a:pt x="1" y="61"/>
                    <a:pt x="1" y="61"/>
                    <a:pt x="1" y="61"/>
                  </a:cubicBezTo>
                  <a:cubicBezTo>
                    <a:pt x="33" y="35"/>
                    <a:pt x="33" y="35"/>
                    <a:pt x="33" y="35"/>
                  </a:cubicBezTo>
                  <a:cubicBezTo>
                    <a:pt x="42" y="28"/>
                    <a:pt x="45" y="24"/>
                    <a:pt x="45" y="18"/>
                  </a:cubicBezTo>
                  <a:cubicBezTo>
                    <a:pt x="45" y="12"/>
                    <a:pt x="41" y="9"/>
                    <a:pt x="32" y="9"/>
                  </a:cubicBezTo>
                  <a:cubicBezTo>
                    <a:pt x="26" y="9"/>
                    <a:pt x="19" y="11"/>
                    <a:pt x="15" y="16"/>
                  </a:cubicBezTo>
                  <a:cubicBezTo>
                    <a:pt x="8" y="10"/>
                    <a:pt x="8" y="10"/>
                    <a:pt x="8" y="10"/>
                  </a:cubicBezTo>
                  <a:cubicBezTo>
                    <a:pt x="14" y="4"/>
                    <a:pt x="23" y="0"/>
                    <a:pt x="33" y="0"/>
                  </a:cubicBezTo>
                  <a:cubicBezTo>
                    <a:pt x="47" y="0"/>
                    <a:pt x="54" y="7"/>
                    <a:pt x="54" y="17"/>
                  </a:cubicBezTo>
                  <a:cubicBezTo>
                    <a:pt x="54" y="25"/>
                    <a:pt x="51" y="31"/>
                    <a:pt x="40" y="40"/>
                  </a:cubicBezTo>
                  <a:lnTo>
                    <a:pt x="16" y="59"/>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4">
              <a:extLst>
                <a:ext uri="{FF2B5EF4-FFF2-40B4-BE49-F238E27FC236}">
                  <a16:creationId xmlns:a16="http://schemas.microsoft.com/office/drawing/2014/main" id="{F43B5D42-1E81-4C30-A028-C66B90D76CC8}"/>
                </a:ext>
              </a:extLst>
            </p:cNvPr>
            <p:cNvSpPr>
              <a:spLocks/>
            </p:cNvSpPr>
            <p:nvPr/>
          </p:nvSpPr>
          <p:spPr bwMode="auto">
            <a:xfrm>
              <a:off x="4353" y="3259"/>
              <a:ext cx="133" cy="159"/>
            </a:xfrm>
            <a:custGeom>
              <a:avLst/>
              <a:gdLst>
                <a:gd name="T0" fmla="*/ 25 w 56"/>
                <a:gd name="T1" fmla="*/ 8 h 67"/>
                <a:gd name="T2" fmla="*/ 20 w 56"/>
                <a:gd name="T3" fmla="*/ 27 h 67"/>
                <a:gd name="T4" fmla="*/ 26 w 56"/>
                <a:gd name="T5" fmla="*/ 27 h 67"/>
                <a:gd name="T6" fmla="*/ 51 w 56"/>
                <a:gd name="T7" fmla="*/ 44 h 67"/>
                <a:gd name="T8" fmla="*/ 23 w 56"/>
                <a:gd name="T9" fmla="*/ 67 h 67"/>
                <a:gd name="T10" fmla="*/ 0 w 56"/>
                <a:gd name="T11" fmla="*/ 59 h 67"/>
                <a:gd name="T12" fmla="*/ 5 w 56"/>
                <a:gd name="T13" fmla="*/ 52 h 67"/>
                <a:gd name="T14" fmla="*/ 23 w 56"/>
                <a:gd name="T15" fmla="*/ 59 h 67"/>
                <a:gd name="T16" fmla="*/ 41 w 56"/>
                <a:gd name="T17" fmla="*/ 45 h 67"/>
                <a:gd name="T18" fmla="*/ 25 w 56"/>
                <a:gd name="T19" fmla="*/ 35 h 67"/>
                <a:gd name="T20" fmla="*/ 9 w 56"/>
                <a:gd name="T21" fmla="*/ 35 h 67"/>
                <a:gd name="T22" fmla="*/ 19 w 56"/>
                <a:gd name="T23" fmla="*/ 0 h 67"/>
                <a:gd name="T24" fmla="*/ 56 w 56"/>
                <a:gd name="T25" fmla="*/ 0 h 67"/>
                <a:gd name="T26" fmla="*/ 55 w 56"/>
                <a:gd name="T27" fmla="*/ 8 h 67"/>
                <a:gd name="T28" fmla="*/ 25 w 56"/>
                <a:gd name="T29" fmla="*/ 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67">
                  <a:moveTo>
                    <a:pt x="25" y="8"/>
                  </a:moveTo>
                  <a:cubicBezTo>
                    <a:pt x="20" y="27"/>
                    <a:pt x="20" y="27"/>
                    <a:pt x="20" y="27"/>
                  </a:cubicBezTo>
                  <a:cubicBezTo>
                    <a:pt x="26" y="27"/>
                    <a:pt x="26" y="27"/>
                    <a:pt x="26" y="27"/>
                  </a:cubicBezTo>
                  <a:cubicBezTo>
                    <a:pt x="43" y="27"/>
                    <a:pt x="51" y="34"/>
                    <a:pt x="51" y="44"/>
                  </a:cubicBezTo>
                  <a:cubicBezTo>
                    <a:pt x="51" y="58"/>
                    <a:pt x="40" y="67"/>
                    <a:pt x="23" y="67"/>
                  </a:cubicBezTo>
                  <a:cubicBezTo>
                    <a:pt x="13" y="67"/>
                    <a:pt x="4" y="64"/>
                    <a:pt x="0" y="59"/>
                  </a:cubicBezTo>
                  <a:cubicBezTo>
                    <a:pt x="5" y="52"/>
                    <a:pt x="5" y="52"/>
                    <a:pt x="5" y="52"/>
                  </a:cubicBezTo>
                  <a:cubicBezTo>
                    <a:pt x="8" y="56"/>
                    <a:pt x="15" y="59"/>
                    <a:pt x="23" y="59"/>
                  </a:cubicBezTo>
                  <a:cubicBezTo>
                    <a:pt x="35" y="59"/>
                    <a:pt x="41" y="54"/>
                    <a:pt x="41" y="45"/>
                  </a:cubicBezTo>
                  <a:cubicBezTo>
                    <a:pt x="41" y="39"/>
                    <a:pt x="37" y="35"/>
                    <a:pt x="25" y="35"/>
                  </a:cubicBezTo>
                  <a:cubicBezTo>
                    <a:pt x="9" y="35"/>
                    <a:pt x="9" y="35"/>
                    <a:pt x="9" y="35"/>
                  </a:cubicBezTo>
                  <a:cubicBezTo>
                    <a:pt x="19" y="0"/>
                    <a:pt x="19" y="0"/>
                    <a:pt x="19" y="0"/>
                  </a:cubicBezTo>
                  <a:cubicBezTo>
                    <a:pt x="56" y="0"/>
                    <a:pt x="56" y="0"/>
                    <a:pt x="56" y="0"/>
                  </a:cubicBezTo>
                  <a:cubicBezTo>
                    <a:pt x="55" y="8"/>
                    <a:pt x="55" y="8"/>
                    <a:pt x="55" y="8"/>
                  </a:cubicBezTo>
                  <a:lnTo>
                    <a:pt x="25" y="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5">
              <a:extLst>
                <a:ext uri="{FF2B5EF4-FFF2-40B4-BE49-F238E27FC236}">
                  <a16:creationId xmlns:a16="http://schemas.microsoft.com/office/drawing/2014/main" id="{2FF96420-D0CD-4B89-BFFE-66C600006E12}"/>
                </a:ext>
              </a:extLst>
            </p:cNvPr>
            <p:cNvSpPr>
              <a:spLocks noEditPoints="1"/>
            </p:cNvSpPr>
            <p:nvPr/>
          </p:nvSpPr>
          <p:spPr bwMode="auto">
            <a:xfrm>
              <a:off x="4495" y="3257"/>
              <a:ext cx="133" cy="161"/>
            </a:xfrm>
            <a:custGeom>
              <a:avLst/>
              <a:gdLst>
                <a:gd name="T0" fmla="*/ 0 w 56"/>
                <a:gd name="T1" fmla="*/ 44 h 68"/>
                <a:gd name="T2" fmla="*/ 34 w 56"/>
                <a:gd name="T3" fmla="*/ 0 h 68"/>
                <a:gd name="T4" fmla="*/ 56 w 56"/>
                <a:gd name="T5" fmla="*/ 25 h 68"/>
                <a:gd name="T6" fmla="*/ 23 w 56"/>
                <a:gd name="T7" fmla="*/ 68 h 68"/>
                <a:gd name="T8" fmla="*/ 0 w 56"/>
                <a:gd name="T9" fmla="*/ 44 h 68"/>
                <a:gd name="T10" fmla="*/ 47 w 56"/>
                <a:gd name="T11" fmla="*/ 25 h 68"/>
                <a:gd name="T12" fmla="*/ 33 w 56"/>
                <a:gd name="T13" fmla="*/ 9 h 68"/>
                <a:gd name="T14" fmla="*/ 10 w 56"/>
                <a:gd name="T15" fmla="*/ 44 h 68"/>
                <a:gd name="T16" fmla="*/ 23 w 56"/>
                <a:gd name="T17" fmla="*/ 60 h 68"/>
                <a:gd name="T18" fmla="*/ 47 w 56"/>
                <a:gd name="T19" fmla="*/ 2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8">
                  <a:moveTo>
                    <a:pt x="0" y="44"/>
                  </a:moveTo>
                  <a:cubicBezTo>
                    <a:pt x="0" y="21"/>
                    <a:pt x="13" y="0"/>
                    <a:pt x="34" y="0"/>
                  </a:cubicBezTo>
                  <a:cubicBezTo>
                    <a:pt x="48" y="0"/>
                    <a:pt x="56" y="9"/>
                    <a:pt x="56" y="25"/>
                  </a:cubicBezTo>
                  <a:cubicBezTo>
                    <a:pt x="56" y="48"/>
                    <a:pt x="43" y="68"/>
                    <a:pt x="23" y="68"/>
                  </a:cubicBezTo>
                  <a:cubicBezTo>
                    <a:pt x="9" y="68"/>
                    <a:pt x="0" y="59"/>
                    <a:pt x="0" y="44"/>
                  </a:cubicBezTo>
                  <a:close/>
                  <a:moveTo>
                    <a:pt x="47" y="25"/>
                  </a:moveTo>
                  <a:cubicBezTo>
                    <a:pt x="47" y="14"/>
                    <a:pt x="42" y="9"/>
                    <a:pt x="33" y="9"/>
                  </a:cubicBezTo>
                  <a:cubicBezTo>
                    <a:pt x="18" y="9"/>
                    <a:pt x="10" y="28"/>
                    <a:pt x="10" y="44"/>
                  </a:cubicBezTo>
                  <a:cubicBezTo>
                    <a:pt x="10" y="54"/>
                    <a:pt x="15" y="60"/>
                    <a:pt x="23" y="60"/>
                  </a:cubicBezTo>
                  <a:cubicBezTo>
                    <a:pt x="38" y="60"/>
                    <a:pt x="47" y="40"/>
                    <a:pt x="47" y="2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6">
              <a:extLst>
                <a:ext uri="{FF2B5EF4-FFF2-40B4-BE49-F238E27FC236}">
                  <a16:creationId xmlns:a16="http://schemas.microsoft.com/office/drawing/2014/main" id="{7A575BD3-926A-452B-8468-83E142ADCE0A}"/>
                </a:ext>
              </a:extLst>
            </p:cNvPr>
            <p:cNvSpPr>
              <a:spLocks/>
            </p:cNvSpPr>
            <p:nvPr/>
          </p:nvSpPr>
          <p:spPr bwMode="auto">
            <a:xfrm>
              <a:off x="5732" y="4855"/>
              <a:ext cx="144" cy="175"/>
            </a:xfrm>
            <a:custGeom>
              <a:avLst/>
              <a:gdLst>
                <a:gd name="T0" fmla="*/ 0 w 144"/>
                <a:gd name="T1" fmla="*/ 111 h 175"/>
                <a:gd name="T2" fmla="*/ 40 w 144"/>
                <a:gd name="T3" fmla="*/ 175 h 175"/>
                <a:gd name="T4" fmla="*/ 144 w 144"/>
                <a:gd name="T5" fmla="*/ 57 h 175"/>
                <a:gd name="T6" fmla="*/ 90 w 144"/>
                <a:gd name="T7" fmla="*/ 0 h 175"/>
                <a:gd name="T8" fmla="*/ 0 w 144"/>
                <a:gd name="T9" fmla="*/ 111 h 175"/>
              </a:gdLst>
              <a:ahLst/>
              <a:cxnLst>
                <a:cxn ang="0">
                  <a:pos x="T0" y="T1"/>
                </a:cxn>
                <a:cxn ang="0">
                  <a:pos x="T2" y="T3"/>
                </a:cxn>
                <a:cxn ang="0">
                  <a:pos x="T4" y="T5"/>
                </a:cxn>
                <a:cxn ang="0">
                  <a:pos x="T6" y="T7"/>
                </a:cxn>
                <a:cxn ang="0">
                  <a:pos x="T8" y="T9"/>
                </a:cxn>
              </a:cxnLst>
              <a:rect l="0" t="0" r="r" b="b"/>
              <a:pathLst>
                <a:path w="144" h="175">
                  <a:moveTo>
                    <a:pt x="0" y="111"/>
                  </a:moveTo>
                  <a:lnTo>
                    <a:pt x="40" y="175"/>
                  </a:lnTo>
                  <a:lnTo>
                    <a:pt x="144" y="57"/>
                  </a:lnTo>
                  <a:lnTo>
                    <a:pt x="90" y="0"/>
                  </a:lnTo>
                  <a:lnTo>
                    <a:pt x="0" y="111"/>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7">
              <a:extLst>
                <a:ext uri="{FF2B5EF4-FFF2-40B4-BE49-F238E27FC236}">
                  <a16:creationId xmlns:a16="http://schemas.microsoft.com/office/drawing/2014/main" id="{620EE5ED-B206-4C3A-9D73-23B7FB65F278}"/>
                </a:ext>
              </a:extLst>
            </p:cNvPr>
            <p:cNvSpPr>
              <a:spLocks/>
            </p:cNvSpPr>
            <p:nvPr/>
          </p:nvSpPr>
          <p:spPr bwMode="auto">
            <a:xfrm>
              <a:off x="5732" y="4855"/>
              <a:ext cx="144" cy="175"/>
            </a:xfrm>
            <a:custGeom>
              <a:avLst/>
              <a:gdLst>
                <a:gd name="T0" fmla="*/ 0 w 144"/>
                <a:gd name="T1" fmla="*/ 111 h 175"/>
                <a:gd name="T2" fmla="*/ 40 w 144"/>
                <a:gd name="T3" fmla="*/ 175 h 175"/>
                <a:gd name="T4" fmla="*/ 144 w 144"/>
                <a:gd name="T5" fmla="*/ 57 h 175"/>
                <a:gd name="T6" fmla="*/ 90 w 144"/>
                <a:gd name="T7" fmla="*/ 0 h 175"/>
                <a:gd name="T8" fmla="*/ 0 w 144"/>
                <a:gd name="T9" fmla="*/ 111 h 175"/>
              </a:gdLst>
              <a:ahLst/>
              <a:cxnLst>
                <a:cxn ang="0">
                  <a:pos x="T0" y="T1"/>
                </a:cxn>
                <a:cxn ang="0">
                  <a:pos x="T2" y="T3"/>
                </a:cxn>
                <a:cxn ang="0">
                  <a:pos x="T4" y="T5"/>
                </a:cxn>
                <a:cxn ang="0">
                  <a:pos x="T6" y="T7"/>
                </a:cxn>
                <a:cxn ang="0">
                  <a:pos x="T8" y="T9"/>
                </a:cxn>
              </a:cxnLst>
              <a:rect l="0" t="0" r="r" b="b"/>
              <a:pathLst>
                <a:path w="144" h="175">
                  <a:moveTo>
                    <a:pt x="0" y="111"/>
                  </a:moveTo>
                  <a:lnTo>
                    <a:pt x="40" y="175"/>
                  </a:lnTo>
                  <a:lnTo>
                    <a:pt x="144" y="57"/>
                  </a:lnTo>
                  <a:lnTo>
                    <a:pt x="90" y="0"/>
                  </a:lnTo>
                  <a:lnTo>
                    <a:pt x="0" y="1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8">
              <a:extLst>
                <a:ext uri="{FF2B5EF4-FFF2-40B4-BE49-F238E27FC236}">
                  <a16:creationId xmlns:a16="http://schemas.microsoft.com/office/drawing/2014/main" id="{0A908644-AA81-48C5-88B5-84D78942EE2E}"/>
                </a:ext>
              </a:extLst>
            </p:cNvPr>
            <p:cNvSpPr>
              <a:spLocks/>
            </p:cNvSpPr>
            <p:nvPr/>
          </p:nvSpPr>
          <p:spPr bwMode="auto">
            <a:xfrm>
              <a:off x="5760" y="4900"/>
              <a:ext cx="107" cy="116"/>
            </a:xfrm>
            <a:custGeom>
              <a:avLst/>
              <a:gdLst>
                <a:gd name="T0" fmla="*/ 45 w 45"/>
                <a:gd name="T1" fmla="*/ 0 h 49"/>
                <a:gd name="T2" fmla="*/ 39 w 45"/>
                <a:gd name="T3" fmla="*/ 8 h 49"/>
                <a:gd name="T4" fmla="*/ 23 w 45"/>
                <a:gd name="T5" fmla="*/ 25 h 49"/>
                <a:gd name="T6" fmla="*/ 7 w 45"/>
                <a:gd name="T7" fmla="*/ 42 h 49"/>
                <a:gd name="T8" fmla="*/ 1 w 45"/>
                <a:gd name="T9" fmla="*/ 49 h 49"/>
                <a:gd name="T10" fmla="*/ 6 w 45"/>
                <a:gd name="T11" fmla="*/ 41 h 49"/>
                <a:gd name="T12" fmla="*/ 22 w 45"/>
                <a:gd name="T13" fmla="*/ 24 h 49"/>
                <a:gd name="T14" fmla="*/ 38 w 45"/>
                <a:gd name="T15" fmla="*/ 7 h 49"/>
                <a:gd name="T16" fmla="*/ 45 w 45"/>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9">
                  <a:moveTo>
                    <a:pt x="45" y="0"/>
                  </a:moveTo>
                  <a:cubicBezTo>
                    <a:pt x="45" y="0"/>
                    <a:pt x="43" y="3"/>
                    <a:pt x="39" y="8"/>
                  </a:cubicBezTo>
                  <a:cubicBezTo>
                    <a:pt x="35" y="12"/>
                    <a:pt x="30" y="19"/>
                    <a:pt x="23" y="25"/>
                  </a:cubicBezTo>
                  <a:cubicBezTo>
                    <a:pt x="17" y="32"/>
                    <a:pt x="12" y="37"/>
                    <a:pt x="7" y="42"/>
                  </a:cubicBezTo>
                  <a:cubicBezTo>
                    <a:pt x="3" y="46"/>
                    <a:pt x="1" y="49"/>
                    <a:pt x="1" y="49"/>
                  </a:cubicBezTo>
                  <a:cubicBezTo>
                    <a:pt x="0" y="49"/>
                    <a:pt x="3" y="46"/>
                    <a:pt x="6" y="41"/>
                  </a:cubicBezTo>
                  <a:cubicBezTo>
                    <a:pt x="10" y="37"/>
                    <a:pt x="16" y="30"/>
                    <a:pt x="22" y="24"/>
                  </a:cubicBezTo>
                  <a:cubicBezTo>
                    <a:pt x="28" y="17"/>
                    <a:pt x="33" y="12"/>
                    <a:pt x="38" y="7"/>
                  </a:cubicBezTo>
                  <a:cubicBezTo>
                    <a:pt x="42" y="3"/>
                    <a:pt x="45" y="0"/>
                    <a:pt x="45"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9">
              <a:extLst>
                <a:ext uri="{FF2B5EF4-FFF2-40B4-BE49-F238E27FC236}">
                  <a16:creationId xmlns:a16="http://schemas.microsoft.com/office/drawing/2014/main" id="{DB3E659B-11EB-4E13-857F-48F1ADD3D36D}"/>
                </a:ext>
              </a:extLst>
            </p:cNvPr>
            <p:cNvSpPr>
              <a:spLocks/>
            </p:cNvSpPr>
            <p:nvPr/>
          </p:nvSpPr>
          <p:spPr bwMode="auto">
            <a:xfrm>
              <a:off x="5772" y="4905"/>
              <a:ext cx="47" cy="49"/>
            </a:xfrm>
            <a:custGeom>
              <a:avLst/>
              <a:gdLst>
                <a:gd name="T0" fmla="*/ 0 w 20"/>
                <a:gd name="T1" fmla="*/ 1 h 21"/>
                <a:gd name="T2" fmla="*/ 11 w 20"/>
                <a:gd name="T3" fmla="*/ 10 h 21"/>
                <a:gd name="T4" fmla="*/ 20 w 20"/>
                <a:gd name="T5" fmla="*/ 20 h 21"/>
                <a:gd name="T6" fmla="*/ 9 w 20"/>
                <a:gd name="T7" fmla="*/ 11 h 21"/>
                <a:gd name="T8" fmla="*/ 0 w 20"/>
                <a:gd name="T9" fmla="*/ 1 h 21"/>
              </a:gdLst>
              <a:ahLst/>
              <a:cxnLst>
                <a:cxn ang="0">
                  <a:pos x="T0" y="T1"/>
                </a:cxn>
                <a:cxn ang="0">
                  <a:pos x="T2" y="T3"/>
                </a:cxn>
                <a:cxn ang="0">
                  <a:pos x="T4" y="T5"/>
                </a:cxn>
                <a:cxn ang="0">
                  <a:pos x="T6" y="T7"/>
                </a:cxn>
                <a:cxn ang="0">
                  <a:pos x="T8" y="T9"/>
                </a:cxn>
              </a:cxnLst>
              <a:rect l="0" t="0" r="r" b="b"/>
              <a:pathLst>
                <a:path w="20" h="21">
                  <a:moveTo>
                    <a:pt x="0" y="1"/>
                  </a:moveTo>
                  <a:cubicBezTo>
                    <a:pt x="0" y="0"/>
                    <a:pt x="5" y="4"/>
                    <a:pt x="11" y="10"/>
                  </a:cubicBezTo>
                  <a:cubicBezTo>
                    <a:pt x="16" y="15"/>
                    <a:pt x="20" y="20"/>
                    <a:pt x="20" y="20"/>
                  </a:cubicBezTo>
                  <a:cubicBezTo>
                    <a:pt x="19" y="21"/>
                    <a:pt x="15" y="17"/>
                    <a:pt x="9" y="11"/>
                  </a:cubicBezTo>
                  <a:cubicBezTo>
                    <a:pt x="4" y="6"/>
                    <a:pt x="0" y="1"/>
                    <a:pt x="0"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0">
              <a:extLst>
                <a:ext uri="{FF2B5EF4-FFF2-40B4-BE49-F238E27FC236}">
                  <a16:creationId xmlns:a16="http://schemas.microsoft.com/office/drawing/2014/main" id="{A5578500-6A4E-4F85-8926-060C10520C5F}"/>
                </a:ext>
              </a:extLst>
            </p:cNvPr>
            <p:cNvSpPr>
              <a:spLocks noEditPoints="1"/>
            </p:cNvSpPr>
            <p:nvPr/>
          </p:nvSpPr>
          <p:spPr bwMode="auto">
            <a:xfrm>
              <a:off x="5760" y="4902"/>
              <a:ext cx="116" cy="128"/>
            </a:xfrm>
            <a:custGeom>
              <a:avLst/>
              <a:gdLst>
                <a:gd name="T0" fmla="*/ 1 w 49"/>
                <a:gd name="T1" fmla="*/ 47 h 54"/>
                <a:gd name="T2" fmla="*/ 1 w 49"/>
                <a:gd name="T3" fmla="*/ 48 h 54"/>
                <a:gd name="T4" fmla="*/ 1 w 49"/>
                <a:gd name="T5" fmla="*/ 48 h 54"/>
                <a:gd name="T6" fmla="*/ 0 w 49"/>
                <a:gd name="T7" fmla="*/ 48 h 54"/>
                <a:gd name="T8" fmla="*/ 5 w 49"/>
                <a:gd name="T9" fmla="*/ 54 h 54"/>
                <a:gd name="T10" fmla="*/ 5 w 49"/>
                <a:gd name="T11" fmla="*/ 54 h 54"/>
                <a:gd name="T12" fmla="*/ 1 w 49"/>
                <a:gd name="T13" fmla="*/ 47 h 54"/>
                <a:gd name="T14" fmla="*/ 44 w 49"/>
                <a:gd name="T15" fmla="*/ 0 h 54"/>
                <a:gd name="T16" fmla="*/ 44 w 49"/>
                <a:gd name="T17" fmla="*/ 0 h 54"/>
                <a:gd name="T18" fmla="*/ 49 w 49"/>
                <a:gd name="T19" fmla="*/ 4 h 54"/>
                <a:gd name="T20" fmla="*/ 44 w 49"/>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54">
                  <a:moveTo>
                    <a:pt x="1" y="47"/>
                  </a:moveTo>
                  <a:cubicBezTo>
                    <a:pt x="1" y="48"/>
                    <a:pt x="1" y="48"/>
                    <a:pt x="1" y="48"/>
                  </a:cubicBezTo>
                  <a:cubicBezTo>
                    <a:pt x="1" y="48"/>
                    <a:pt x="1" y="48"/>
                    <a:pt x="1" y="48"/>
                  </a:cubicBezTo>
                  <a:cubicBezTo>
                    <a:pt x="0" y="48"/>
                    <a:pt x="0" y="48"/>
                    <a:pt x="0" y="48"/>
                  </a:cubicBezTo>
                  <a:cubicBezTo>
                    <a:pt x="5" y="54"/>
                    <a:pt x="5" y="54"/>
                    <a:pt x="5" y="54"/>
                  </a:cubicBezTo>
                  <a:cubicBezTo>
                    <a:pt x="5" y="54"/>
                    <a:pt x="5" y="54"/>
                    <a:pt x="5" y="54"/>
                  </a:cubicBezTo>
                  <a:cubicBezTo>
                    <a:pt x="1" y="47"/>
                    <a:pt x="1" y="47"/>
                    <a:pt x="1" y="47"/>
                  </a:cubicBezTo>
                  <a:moveTo>
                    <a:pt x="44" y="0"/>
                  </a:moveTo>
                  <a:cubicBezTo>
                    <a:pt x="44" y="0"/>
                    <a:pt x="44" y="0"/>
                    <a:pt x="44" y="0"/>
                  </a:cubicBezTo>
                  <a:cubicBezTo>
                    <a:pt x="49" y="4"/>
                    <a:pt x="49" y="4"/>
                    <a:pt x="49" y="4"/>
                  </a:cubicBezTo>
                  <a:cubicBezTo>
                    <a:pt x="44" y="0"/>
                    <a:pt x="44" y="0"/>
                    <a:pt x="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1">
              <a:extLst>
                <a:ext uri="{FF2B5EF4-FFF2-40B4-BE49-F238E27FC236}">
                  <a16:creationId xmlns:a16="http://schemas.microsoft.com/office/drawing/2014/main" id="{A373AD1D-BED9-4D4F-A7D5-06E4D5FB8979}"/>
                </a:ext>
              </a:extLst>
            </p:cNvPr>
            <p:cNvSpPr>
              <a:spLocks/>
            </p:cNvSpPr>
            <p:nvPr/>
          </p:nvSpPr>
          <p:spPr bwMode="auto">
            <a:xfrm>
              <a:off x="5762" y="4902"/>
              <a:ext cx="114" cy="128"/>
            </a:xfrm>
            <a:custGeom>
              <a:avLst/>
              <a:gdLst>
                <a:gd name="T0" fmla="*/ 43 w 48"/>
                <a:gd name="T1" fmla="*/ 0 h 54"/>
                <a:gd name="T2" fmla="*/ 38 w 48"/>
                <a:gd name="T3" fmla="*/ 7 h 54"/>
                <a:gd name="T4" fmla="*/ 22 w 48"/>
                <a:gd name="T5" fmla="*/ 24 h 54"/>
                <a:gd name="T6" fmla="*/ 6 w 48"/>
                <a:gd name="T7" fmla="*/ 41 h 54"/>
                <a:gd name="T8" fmla="*/ 0 w 48"/>
                <a:gd name="T9" fmla="*/ 47 h 54"/>
                <a:gd name="T10" fmla="*/ 4 w 48"/>
                <a:gd name="T11" fmla="*/ 54 h 54"/>
                <a:gd name="T12" fmla="*/ 48 w 48"/>
                <a:gd name="T13" fmla="*/ 4 h 54"/>
                <a:gd name="T14" fmla="*/ 43 w 48"/>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4">
                  <a:moveTo>
                    <a:pt x="43" y="0"/>
                  </a:moveTo>
                  <a:cubicBezTo>
                    <a:pt x="43" y="1"/>
                    <a:pt x="41" y="4"/>
                    <a:pt x="38" y="7"/>
                  </a:cubicBezTo>
                  <a:cubicBezTo>
                    <a:pt x="34" y="11"/>
                    <a:pt x="29" y="18"/>
                    <a:pt x="22" y="24"/>
                  </a:cubicBezTo>
                  <a:cubicBezTo>
                    <a:pt x="16" y="31"/>
                    <a:pt x="11" y="36"/>
                    <a:pt x="6" y="41"/>
                  </a:cubicBezTo>
                  <a:cubicBezTo>
                    <a:pt x="3" y="44"/>
                    <a:pt x="1" y="47"/>
                    <a:pt x="0" y="47"/>
                  </a:cubicBezTo>
                  <a:cubicBezTo>
                    <a:pt x="4" y="54"/>
                    <a:pt x="4" y="54"/>
                    <a:pt x="4" y="54"/>
                  </a:cubicBezTo>
                  <a:cubicBezTo>
                    <a:pt x="48" y="4"/>
                    <a:pt x="48" y="4"/>
                    <a:pt x="48" y="4"/>
                  </a:cubicBezTo>
                  <a:cubicBezTo>
                    <a:pt x="43" y="0"/>
                    <a:pt x="43" y="0"/>
                    <a:pt x="43" y="0"/>
                  </a:cubicBezTo>
                </a:path>
              </a:pathLst>
            </a:custGeom>
            <a:solidFill>
              <a:srgbClr val="F6B9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2">
              <a:extLst>
                <a:ext uri="{FF2B5EF4-FFF2-40B4-BE49-F238E27FC236}">
                  <a16:creationId xmlns:a16="http://schemas.microsoft.com/office/drawing/2014/main" id="{81C4BCC0-1206-42D2-9D81-539F17269729}"/>
                </a:ext>
              </a:extLst>
            </p:cNvPr>
            <p:cNvSpPr>
              <a:spLocks/>
            </p:cNvSpPr>
            <p:nvPr/>
          </p:nvSpPr>
          <p:spPr bwMode="auto">
            <a:xfrm>
              <a:off x="5762" y="4902"/>
              <a:ext cx="102" cy="114"/>
            </a:xfrm>
            <a:custGeom>
              <a:avLst/>
              <a:gdLst>
                <a:gd name="T0" fmla="*/ 43 w 43"/>
                <a:gd name="T1" fmla="*/ 0 h 48"/>
                <a:gd name="T2" fmla="*/ 24 w 43"/>
                <a:gd name="T3" fmla="*/ 21 h 48"/>
                <a:gd name="T4" fmla="*/ 24 w 43"/>
                <a:gd name="T5" fmla="*/ 21 h 48"/>
                <a:gd name="T6" fmla="*/ 24 w 43"/>
                <a:gd name="T7" fmla="*/ 21 h 48"/>
                <a:gd name="T8" fmla="*/ 24 w 43"/>
                <a:gd name="T9" fmla="*/ 21 h 48"/>
                <a:gd name="T10" fmla="*/ 0 w 43"/>
                <a:gd name="T11" fmla="*/ 48 h 48"/>
                <a:gd name="T12" fmla="*/ 0 w 43"/>
                <a:gd name="T13" fmla="*/ 48 h 48"/>
                <a:gd name="T14" fmla="*/ 0 w 43"/>
                <a:gd name="T15" fmla="*/ 47 h 48"/>
                <a:gd name="T16" fmla="*/ 6 w 43"/>
                <a:gd name="T17" fmla="*/ 41 h 48"/>
                <a:gd name="T18" fmla="*/ 22 w 43"/>
                <a:gd name="T19" fmla="*/ 24 h 48"/>
                <a:gd name="T20" fmla="*/ 38 w 43"/>
                <a:gd name="T21" fmla="*/ 7 h 48"/>
                <a:gd name="T22" fmla="*/ 43 w 43"/>
                <a:gd name="T23" fmla="*/ 0 h 48"/>
                <a:gd name="T24" fmla="*/ 43 w 43"/>
                <a:gd name="T25" fmla="*/ 0 h 48"/>
                <a:gd name="T26" fmla="*/ 43 w 43"/>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48">
                  <a:moveTo>
                    <a:pt x="43" y="0"/>
                  </a:moveTo>
                  <a:cubicBezTo>
                    <a:pt x="24" y="21"/>
                    <a:pt x="24" y="21"/>
                    <a:pt x="24" y="21"/>
                  </a:cubicBezTo>
                  <a:cubicBezTo>
                    <a:pt x="24" y="21"/>
                    <a:pt x="24" y="21"/>
                    <a:pt x="24" y="21"/>
                  </a:cubicBezTo>
                  <a:cubicBezTo>
                    <a:pt x="24" y="21"/>
                    <a:pt x="24" y="21"/>
                    <a:pt x="24" y="21"/>
                  </a:cubicBezTo>
                  <a:cubicBezTo>
                    <a:pt x="24" y="21"/>
                    <a:pt x="24" y="21"/>
                    <a:pt x="24" y="21"/>
                  </a:cubicBezTo>
                  <a:cubicBezTo>
                    <a:pt x="0" y="48"/>
                    <a:pt x="0" y="48"/>
                    <a:pt x="0" y="48"/>
                  </a:cubicBezTo>
                  <a:cubicBezTo>
                    <a:pt x="0" y="48"/>
                    <a:pt x="0" y="48"/>
                    <a:pt x="0" y="48"/>
                  </a:cubicBezTo>
                  <a:cubicBezTo>
                    <a:pt x="0" y="48"/>
                    <a:pt x="0" y="48"/>
                    <a:pt x="0" y="47"/>
                  </a:cubicBezTo>
                  <a:cubicBezTo>
                    <a:pt x="1" y="47"/>
                    <a:pt x="3" y="44"/>
                    <a:pt x="6" y="41"/>
                  </a:cubicBezTo>
                  <a:cubicBezTo>
                    <a:pt x="11" y="36"/>
                    <a:pt x="16" y="31"/>
                    <a:pt x="22" y="24"/>
                  </a:cubicBezTo>
                  <a:cubicBezTo>
                    <a:pt x="29" y="18"/>
                    <a:pt x="34" y="11"/>
                    <a:pt x="38" y="7"/>
                  </a:cubicBezTo>
                  <a:cubicBezTo>
                    <a:pt x="41" y="4"/>
                    <a:pt x="43" y="1"/>
                    <a:pt x="43" y="0"/>
                  </a:cubicBezTo>
                  <a:cubicBezTo>
                    <a:pt x="43" y="0"/>
                    <a:pt x="43" y="0"/>
                    <a:pt x="43" y="0"/>
                  </a:cubicBezTo>
                  <a:cubicBezTo>
                    <a:pt x="43" y="0"/>
                    <a:pt x="43" y="0"/>
                    <a:pt x="43"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93">
              <a:extLst>
                <a:ext uri="{FF2B5EF4-FFF2-40B4-BE49-F238E27FC236}">
                  <a16:creationId xmlns:a16="http://schemas.microsoft.com/office/drawing/2014/main" id="{32A1315A-7273-4502-BC92-0D7C0A9C0B74}"/>
                </a:ext>
              </a:extLst>
            </p:cNvPr>
            <p:cNvSpPr>
              <a:spLocks noChangeArrowheads="1"/>
            </p:cNvSpPr>
            <p:nvPr/>
          </p:nvSpPr>
          <p:spPr bwMode="auto">
            <a:xfrm>
              <a:off x="5819" y="4952"/>
              <a:ext cx="1" cy="1"/>
            </a:xfrm>
            <a:prstGeom prst="ellipse">
              <a:avLst/>
            </a:pr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4">
              <a:extLst>
                <a:ext uri="{FF2B5EF4-FFF2-40B4-BE49-F238E27FC236}">
                  <a16:creationId xmlns:a16="http://schemas.microsoft.com/office/drawing/2014/main" id="{905643B8-6AE6-4F0C-B216-848D2E7DE13A}"/>
                </a:ext>
              </a:extLst>
            </p:cNvPr>
            <p:cNvSpPr>
              <a:spLocks/>
            </p:cNvSpPr>
            <p:nvPr/>
          </p:nvSpPr>
          <p:spPr bwMode="auto">
            <a:xfrm>
              <a:off x="4785" y="5106"/>
              <a:ext cx="299" cy="62"/>
            </a:xfrm>
            <a:custGeom>
              <a:avLst/>
              <a:gdLst>
                <a:gd name="T0" fmla="*/ 58 w 126"/>
                <a:gd name="T1" fmla="*/ 6 h 26"/>
                <a:gd name="T2" fmla="*/ 58 w 126"/>
                <a:gd name="T3" fmla="*/ 0 h 26"/>
                <a:gd name="T4" fmla="*/ 126 w 126"/>
                <a:gd name="T5" fmla="*/ 0 h 26"/>
                <a:gd name="T6" fmla="*/ 126 w 126"/>
                <a:gd name="T7" fmla="*/ 22 h 26"/>
                <a:gd name="T8" fmla="*/ 122 w 126"/>
                <a:gd name="T9" fmla="*/ 23 h 26"/>
                <a:gd name="T10" fmla="*/ 14 w 126"/>
                <a:gd name="T11" fmla="*/ 22 h 26"/>
                <a:gd name="T12" fmla="*/ 58 w 126"/>
                <a:gd name="T13" fmla="*/ 6 h 26"/>
              </a:gdLst>
              <a:ahLst/>
              <a:cxnLst>
                <a:cxn ang="0">
                  <a:pos x="T0" y="T1"/>
                </a:cxn>
                <a:cxn ang="0">
                  <a:pos x="T2" y="T3"/>
                </a:cxn>
                <a:cxn ang="0">
                  <a:pos x="T4" y="T5"/>
                </a:cxn>
                <a:cxn ang="0">
                  <a:pos x="T6" y="T7"/>
                </a:cxn>
                <a:cxn ang="0">
                  <a:pos x="T8" y="T9"/>
                </a:cxn>
                <a:cxn ang="0">
                  <a:pos x="T10" y="T11"/>
                </a:cxn>
                <a:cxn ang="0">
                  <a:pos x="T12" y="T13"/>
                </a:cxn>
              </a:cxnLst>
              <a:rect l="0" t="0" r="r" b="b"/>
              <a:pathLst>
                <a:path w="126" h="26">
                  <a:moveTo>
                    <a:pt x="58" y="6"/>
                  </a:moveTo>
                  <a:cubicBezTo>
                    <a:pt x="58" y="0"/>
                    <a:pt x="58" y="0"/>
                    <a:pt x="58" y="0"/>
                  </a:cubicBezTo>
                  <a:cubicBezTo>
                    <a:pt x="126" y="0"/>
                    <a:pt x="126" y="0"/>
                    <a:pt x="126" y="0"/>
                  </a:cubicBezTo>
                  <a:cubicBezTo>
                    <a:pt x="126" y="22"/>
                    <a:pt x="126" y="22"/>
                    <a:pt x="126" y="22"/>
                  </a:cubicBezTo>
                  <a:cubicBezTo>
                    <a:pt x="122" y="23"/>
                    <a:pt x="122" y="23"/>
                    <a:pt x="122" y="23"/>
                  </a:cubicBezTo>
                  <a:cubicBezTo>
                    <a:pt x="103" y="24"/>
                    <a:pt x="26" y="26"/>
                    <a:pt x="14" y="22"/>
                  </a:cubicBezTo>
                  <a:cubicBezTo>
                    <a:pt x="0" y="18"/>
                    <a:pt x="58" y="6"/>
                    <a:pt x="58" y="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5">
              <a:extLst>
                <a:ext uri="{FF2B5EF4-FFF2-40B4-BE49-F238E27FC236}">
                  <a16:creationId xmlns:a16="http://schemas.microsoft.com/office/drawing/2014/main" id="{001F9646-8027-48D5-AF85-FE66697B9F80}"/>
                </a:ext>
              </a:extLst>
            </p:cNvPr>
            <p:cNvSpPr>
              <a:spLocks/>
            </p:cNvSpPr>
            <p:nvPr/>
          </p:nvSpPr>
          <p:spPr bwMode="auto">
            <a:xfrm>
              <a:off x="5027" y="5116"/>
              <a:ext cx="57" cy="43"/>
            </a:xfrm>
            <a:custGeom>
              <a:avLst/>
              <a:gdLst>
                <a:gd name="T0" fmla="*/ 22 w 24"/>
                <a:gd name="T1" fmla="*/ 0 h 18"/>
                <a:gd name="T2" fmla="*/ 8 w 24"/>
                <a:gd name="T3" fmla="*/ 4 h 18"/>
                <a:gd name="T4" fmla="*/ 0 w 24"/>
                <a:gd name="T5" fmla="*/ 17 h 18"/>
                <a:gd name="T6" fmla="*/ 24 w 24"/>
                <a:gd name="T7" fmla="*/ 17 h 18"/>
                <a:gd name="T8" fmla="*/ 24 w 24"/>
                <a:gd name="T9" fmla="*/ 18 h 18"/>
                <a:gd name="T10" fmla="*/ 24 w 24"/>
                <a:gd name="T11" fmla="*/ 18 h 18"/>
                <a:gd name="T12" fmla="*/ 24 w 24"/>
                <a:gd name="T13" fmla="*/ 0 h 18"/>
                <a:gd name="T14" fmla="*/ 22 w 2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8">
                  <a:moveTo>
                    <a:pt x="22" y="0"/>
                  </a:moveTo>
                  <a:cubicBezTo>
                    <a:pt x="17" y="0"/>
                    <a:pt x="12" y="1"/>
                    <a:pt x="8" y="4"/>
                  </a:cubicBezTo>
                  <a:cubicBezTo>
                    <a:pt x="4" y="7"/>
                    <a:pt x="1" y="12"/>
                    <a:pt x="0" y="17"/>
                  </a:cubicBezTo>
                  <a:cubicBezTo>
                    <a:pt x="24" y="17"/>
                    <a:pt x="24" y="17"/>
                    <a:pt x="24" y="17"/>
                  </a:cubicBezTo>
                  <a:cubicBezTo>
                    <a:pt x="24" y="18"/>
                    <a:pt x="24" y="18"/>
                    <a:pt x="24" y="18"/>
                  </a:cubicBezTo>
                  <a:cubicBezTo>
                    <a:pt x="24" y="18"/>
                    <a:pt x="24" y="18"/>
                    <a:pt x="24" y="18"/>
                  </a:cubicBezTo>
                  <a:cubicBezTo>
                    <a:pt x="24" y="0"/>
                    <a:pt x="24" y="0"/>
                    <a:pt x="24" y="0"/>
                  </a:cubicBezTo>
                  <a:cubicBezTo>
                    <a:pt x="24" y="0"/>
                    <a:pt x="23" y="0"/>
                    <a:pt x="22" y="0"/>
                  </a:cubicBezTo>
                </a:path>
              </a:pathLst>
            </a:custGeom>
            <a:solidFill>
              <a:srgbClr val="F6B9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96">
              <a:extLst>
                <a:ext uri="{FF2B5EF4-FFF2-40B4-BE49-F238E27FC236}">
                  <a16:creationId xmlns:a16="http://schemas.microsoft.com/office/drawing/2014/main" id="{99082C71-F2C1-48BD-9C4C-56C383CA05D0}"/>
                </a:ext>
              </a:extLst>
            </p:cNvPr>
            <p:cNvSpPr>
              <a:spLocks noEditPoints="1"/>
            </p:cNvSpPr>
            <p:nvPr/>
          </p:nvSpPr>
          <p:spPr bwMode="auto">
            <a:xfrm>
              <a:off x="4811" y="5137"/>
              <a:ext cx="273" cy="24"/>
            </a:xfrm>
            <a:custGeom>
              <a:avLst/>
              <a:gdLst>
                <a:gd name="T0" fmla="*/ 115 w 115"/>
                <a:gd name="T1" fmla="*/ 9 h 10"/>
                <a:gd name="T2" fmla="*/ 111 w 115"/>
                <a:gd name="T3" fmla="*/ 10 h 10"/>
                <a:gd name="T4" fmla="*/ 104 w 115"/>
                <a:gd name="T5" fmla="*/ 10 h 10"/>
                <a:gd name="T6" fmla="*/ 107 w 115"/>
                <a:gd name="T7" fmla="*/ 10 h 10"/>
                <a:gd name="T8" fmla="*/ 115 w 115"/>
                <a:gd name="T9" fmla="*/ 9 h 10"/>
                <a:gd name="T10" fmla="*/ 1 w 115"/>
                <a:gd name="T11" fmla="*/ 7 h 10"/>
                <a:gd name="T12" fmla="*/ 1 w 115"/>
                <a:gd name="T13" fmla="*/ 9 h 10"/>
                <a:gd name="T14" fmla="*/ 3 w 115"/>
                <a:gd name="T15" fmla="*/ 9 h 10"/>
                <a:gd name="T16" fmla="*/ 3 w 115"/>
                <a:gd name="T17" fmla="*/ 9 h 10"/>
                <a:gd name="T18" fmla="*/ 1 w 115"/>
                <a:gd name="T19" fmla="*/ 7 h 10"/>
                <a:gd name="T20" fmla="*/ 18 w 115"/>
                <a:gd name="T21" fmla="*/ 0 h 10"/>
                <a:gd name="T22" fmla="*/ 14 w 115"/>
                <a:gd name="T23" fmla="*/ 1 h 10"/>
                <a:gd name="T24" fmla="*/ 18 w 115"/>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0">
                  <a:moveTo>
                    <a:pt x="115" y="9"/>
                  </a:moveTo>
                  <a:cubicBezTo>
                    <a:pt x="111" y="10"/>
                    <a:pt x="111" y="10"/>
                    <a:pt x="111" y="10"/>
                  </a:cubicBezTo>
                  <a:cubicBezTo>
                    <a:pt x="109" y="10"/>
                    <a:pt x="107" y="10"/>
                    <a:pt x="104" y="10"/>
                  </a:cubicBezTo>
                  <a:cubicBezTo>
                    <a:pt x="105" y="10"/>
                    <a:pt x="106" y="10"/>
                    <a:pt x="107" y="10"/>
                  </a:cubicBezTo>
                  <a:cubicBezTo>
                    <a:pt x="110" y="10"/>
                    <a:pt x="113" y="10"/>
                    <a:pt x="115" y="9"/>
                  </a:cubicBezTo>
                  <a:moveTo>
                    <a:pt x="1" y="7"/>
                  </a:moveTo>
                  <a:cubicBezTo>
                    <a:pt x="0" y="8"/>
                    <a:pt x="0" y="8"/>
                    <a:pt x="1" y="9"/>
                  </a:cubicBezTo>
                  <a:cubicBezTo>
                    <a:pt x="1" y="9"/>
                    <a:pt x="2" y="9"/>
                    <a:pt x="3" y="9"/>
                  </a:cubicBezTo>
                  <a:cubicBezTo>
                    <a:pt x="3" y="9"/>
                    <a:pt x="3" y="9"/>
                    <a:pt x="3" y="9"/>
                  </a:cubicBezTo>
                  <a:cubicBezTo>
                    <a:pt x="1" y="9"/>
                    <a:pt x="0" y="8"/>
                    <a:pt x="1" y="7"/>
                  </a:cubicBezTo>
                  <a:moveTo>
                    <a:pt x="18" y="0"/>
                  </a:moveTo>
                  <a:cubicBezTo>
                    <a:pt x="18" y="0"/>
                    <a:pt x="16" y="1"/>
                    <a:pt x="14" y="1"/>
                  </a:cubicBezTo>
                  <a:cubicBezTo>
                    <a:pt x="15" y="1"/>
                    <a:pt x="17" y="1"/>
                    <a:pt x="1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7">
              <a:extLst>
                <a:ext uri="{FF2B5EF4-FFF2-40B4-BE49-F238E27FC236}">
                  <a16:creationId xmlns:a16="http://schemas.microsoft.com/office/drawing/2014/main" id="{AD5E07E2-1226-4679-8086-B42BDD5BE017}"/>
                </a:ext>
              </a:extLst>
            </p:cNvPr>
            <p:cNvSpPr>
              <a:spLocks/>
            </p:cNvSpPr>
            <p:nvPr/>
          </p:nvSpPr>
          <p:spPr bwMode="auto">
            <a:xfrm>
              <a:off x="4929" y="5161"/>
              <a:ext cx="136" cy="2"/>
            </a:xfrm>
            <a:custGeom>
              <a:avLst/>
              <a:gdLst>
                <a:gd name="T0" fmla="*/ 54 w 57"/>
                <a:gd name="T1" fmla="*/ 0 h 1"/>
                <a:gd name="T2" fmla="*/ 0 w 57"/>
                <a:gd name="T3" fmla="*/ 1 h 1"/>
                <a:gd name="T4" fmla="*/ 4 w 57"/>
                <a:gd name="T5" fmla="*/ 1 h 1"/>
                <a:gd name="T6" fmla="*/ 57 w 57"/>
                <a:gd name="T7" fmla="*/ 0 h 1"/>
                <a:gd name="T8" fmla="*/ 54 w 57"/>
                <a:gd name="T9" fmla="*/ 0 h 1"/>
              </a:gdLst>
              <a:ahLst/>
              <a:cxnLst>
                <a:cxn ang="0">
                  <a:pos x="T0" y="T1"/>
                </a:cxn>
                <a:cxn ang="0">
                  <a:pos x="T2" y="T3"/>
                </a:cxn>
                <a:cxn ang="0">
                  <a:pos x="T4" y="T5"/>
                </a:cxn>
                <a:cxn ang="0">
                  <a:pos x="T6" y="T7"/>
                </a:cxn>
                <a:cxn ang="0">
                  <a:pos x="T8" y="T9"/>
                </a:cxn>
              </a:cxnLst>
              <a:rect l="0" t="0" r="r" b="b"/>
              <a:pathLst>
                <a:path w="57" h="1">
                  <a:moveTo>
                    <a:pt x="54" y="0"/>
                  </a:moveTo>
                  <a:cubicBezTo>
                    <a:pt x="41" y="0"/>
                    <a:pt x="20" y="1"/>
                    <a:pt x="0" y="1"/>
                  </a:cubicBezTo>
                  <a:cubicBezTo>
                    <a:pt x="1" y="1"/>
                    <a:pt x="3" y="1"/>
                    <a:pt x="4" y="1"/>
                  </a:cubicBezTo>
                  <a:cubicBezTo>
                    <a:pt x="23" y="1"/>
                    <a:pt x="42" y="1"/>
                    <a:pt x="57" y="0"/>
                  </a:cubicBezTo>
                  <a:cubicBezTo>
                    <a:pt x="56" y="0"/>
                    <a:pt x="55" y="0"/>
                    <a:pt x="54" y="0"/>
                  </a:cubicBezTo>
                </a:path>
              </a:pathLst>
            </a:custGeom>
            <a:solidFill>
              <a:srgbClr val="A8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8">
              <a:extLst>
                <a:ext uri="{FF2B5EF4-FFF2-40B4-BE49-F238E27FC236}">
                  <a16:creationId xmlns:a16="http://schemas.microsoft.com/office/drawing/2014/main" id="{CE49B898-FE87-4A88-9181-CF47A2D2C93C}"/>
                </a:ext>
              </a:extLst>
            </p:cNvPr>
            <p:cNvSpPr>
              <a:spLocks/>
            </p:cNvSpPr>
            <p:nvPr/>
          </p:nvSpPr>
          <p:spPr bwMode="auto">
            <a:xfrm>
              <a:off x="4811" y="5137"/>
              <a:ext cx="273" cy="26"/>
            </a:xfrm>
            <a:custGeom>
              <a:avLst/>
              <a:gdLst>
                <a:gd name="T0" fmla="*/ 19 w 115"/>
                <a:gd name="T1" fmla="*/ 0 h 11"/>
                <a:gd name="T2" fmla="*/ 18 w 115"/>
                <a:gd name="T3" fmla="*/ 0 h 11"/>
                <a:gd name="T4" fmla="*/ 14 w 115"/>
                <a:gd name="T5" fmla="*/ 1 h 11"/>
                <a:gd name="T6" fmla="*/ 1 w 115"/>
                <a:gd name="T7" fmla="*/ 7 h 11"/>
                <a:gd name="T8" fmla="*/ 3 w 115"/>
                <a:gd name="T9" fmla="*/ 9 h 11"/>
                <a:gd name="T10" fmla="*/ 3 w 115"/>
                <a:gd name="T11" fmla="*/ 9 h 11"/>
                <a:gd name="T12" fmla="*/ 50 w 115"/>
                <a:gd name="T13" fmla="*/ 11 h 11"/>
                <a:gd name="T14" fmla="*/ 104 w 115"/>
                <a:gd name="T15" fmla="*/ 10 h 11"/>
                <a:gd name="T16" fmla="*/ 111 w 115"/>
                <a:gd name="T17" fmla="*/ 10 h 11"/>
                <a:gd name="T18" fmla="*/ 115 w 115"/>
                <a:gd name="T19" fmla="*/ 9 h 11"/>
                <a:gd name="T20" fmla="*/ 115 w 115"/>
                <a:gd name="T21" fmla="*/ 9 h 11"/>
                <a:gd name="T22" fmla="*/ 115 w 115"/>
                <a:gd name="T23" fmla="*/ 9 h 11"/>
                <a:gd name="T24" fmla="*/ 91 w 115"/>
                <a:gd name="T25" fmla="*/ 9 h 11"/>
                <a:gd name="T26" fmla="*/ 91 w 115"/>
                <a:gd name="T27" fmla="*/ 8 h 11"/>
                <a:gd name="T28" fmla="*/ 24 w 115"/>
                <a:gd name="T29" fmla="*/ 8 h 11"/>
                <a:gd name="T30" fmla="*/ 19 w 115"/>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1">
                  <a:moveTo>
                    <a:pt x="19" y="0"/>
                  </a:moveTo>
                  <a:cubicBezTo>
                    <a:pt x="19" y="0"/>
                    <a:pt x="18" y="0"/>
                    <a:pt x="18" y="0"/>
                  </a:cubicBezTo>
                  <a:cubicBezTo>
                    <a:pt x="17" y="1"/>
                    <a:pt x="15" y="1"/>
                    <a:pt x="14" y="1"/>
                  </a:cubicBezTo>
                  <a:cubicBezTo>
                    <a:pt x="9" y="3"/>
                    <a:pt x="3" y="5"/>
                    <a:pt x="1" y="7"/>
                  </a:cubicBezTo>
                  <a:cubicBezTo>
                    <a:pt x="0" y="8"/>
                    <a:pt x="1" y="9"/>
                    <a:pt x="3" y="9"/>
                  </a:cubicBezTo>
                  <a:cubicBezTo>
                    <a:pt x="3" y="9"/>
                    <a:pt x="3" y="9"/>
                    <a:pt x="3" y="9"/>
                  </a:cubicBezTo>
                  <a:cubicBezTo>
                    <a:pt x="10" y="10"/>
                    <a:pt x="29" y="11"/>
                    <a:pt x="50" y="11"/>
                  </a:cubicBezTo>
                  <a:cubicBezTo>
                    <a:pt x="70" y="11"/>
                    <a:pt x="91" y="10"/>
                    <a:pt x="104" y="10"/>
                  </a:cubicBezTo>
                  <a:cubicBezTo>
                    <a:pt x="107" y="10"/>
                    <a:pt x="109" y="10"/>
                    <a:pt x="111" y="10"/>
                  </a:cubicBezTo>
                  <a:cubicBezTo>
                    <a:pt x="115" y="9"/>
                    <a:pt x="115" y="9"/>
                    <a:pt x="115" y="9"/>
                  </a:cubicBezTo>
                  <a:cubicBezTo>
                    <a:pt x="115" y="9"/>
                    <a:pt x="115" y="9"/>
                    <a:pt x="115" y="9"/>
                  </a:cubicBezTo>
                  <a:cubicBezTo>
                    <a:pt x="115" y="9"/>
                    <a:pt x="115" y="9"/>
                    <a:pt x="115" y="9"/>
                  </a:cubicBezTo>
                  <a:cubicBezTo>
                    <a:pt x="91" y="9"/>
                    <a:pt x="91" y="9"/>
                    <a:pt x="91" y="9"/>
                  </a:cubicBezTo>
                  <a:cubicBezTo>
                    <a:pt x="91" y="9"/>
                    <a:pt x="91" y="8"/>
                    <a:pt x="91" y="8"/>
                  </a:cubicBezTo>
                  <a:cubicBezTo>
                    <a:pt x="24" y="8"/>
                    <a:pt x="24" y="8"/>
                    <a:pt x="24" y="8"/>
                  </a:cubicBezTo>
                  <a:cubicBezTo>
                    <a:pt x="24" y="8"/>
                    <a:pt x="23" y="0"/>
                    <a:pt x="19" y="0"/>
                  </a:cubicBezTo>
                </a:path>
              </a:pathLst>
            </a:custGeom>
            <a:solidFill>
              <a:srgbClr val="F6B9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9">
              <a:extLst>
                <a:ext uri="{FF2B5EF4-FFF2-40B4-BE49-F238E27FC236}">
                  <a16:creationId xmlns:a16="http://schemas.microsoft.com/office/drawing/2014/main" id="{BBF1C763-F7D1-4BC5-A98F-6EE483CDE5C0}"/>
                </a:ext>
              </a:extLst>
            </p:cNvPr>
            <p:cNvSpPr>
              <a:spLocks/>
            </p:cNvSpPr>
            <p:nvPr/>
          </p:nvSpPr>
          <p:spPr bwMode="auto">
            <a:xfrm>
              <a:off x="5027" y="5156"/>
              <a:ext cx="57" cy="3"/>
            </a:xfrm>
            <a:custGeom>
              <a:avLst/>
              <a:gdLst>
                <a:gd name="T0" fmla="*/ 24 w 24"/>
                <a:gd name="T1" fmla="*/ 0 h 1"/>
                <a:gd name="T2" fmla="*/ 0 w 24"/>
                <a:gd name="T3" fmla="*/ 0 h 1"/>
                <a:gd name="T4" fmla="*/ 0 w 24"/>
                <a:gd name="T5" fmla="*/ 1 h 1"/>
                <a:gd name="T6" fmla="*/ 24 w 24"/>
                <a:gd name="T7" fmla="*/ 1 h 1"/>
                <a:gd name="T8" fmla="*/ 24 w 24"/>
                <a:gd name="T9" fmla="*/ 0 h 1"/>
              </a:gdLst>
              <a:ahLst/>
              <a:cxnLst>
                <a:cxn ang="0">
                  <a:pos x="T0" y="T1"/>
                </a:cxn>
                <a:cxn ang="0">
                  <a:pos x="T2" y="T3"/>
                </a:cxn>
                <a:cxn ang="0">
                  <a:pos x="T4" y="T5"/>
                </a:cxn>
                <a:cxn ang="0">
                  <a:pos x="T6" y="T7"/>
                </a:cxn>
                <a:cxn ang="0">
                  <a:pos x="T8" y="T9"/>
                </a:cxn>
              </a:cxnLst>
              <a:rect l="0" t="0" r="r" b="b"/>
              <a:pathLst>
                <a:path w="24" h="1">
                  <a:moveTo>
                    <a:pt x="24" y="0"/>
                  </a:moveTo>
                  <a:cubicBezTo>
                    <a:pt x="0" y="0"/>
                    <a:pt x="0" y="0"/>
                    <a:pt x="0" y="0"/>
                  </a:cubicBezTo>
                  <a:cubicBezTo>
                    <a:pt x="0" y="0"/>
                    <a:pt x="0" y="1"/>
                    <a:pt x="0" y="1"/>
                  </a:cubicBezTo>
                  <a:cubicBezTo>
                    <a:pt x="24" y="1"/>
                    <a:pt x="24" y="1"/>
                    <a:pt x="24" y="1"/>
                  </a:cubicBezTo>
                  <a:cubicBezTo>
                    <a:pt x="24" y="0"/>
                    <a:pt x="24" y="0"/>
                    <a:pt x="24" y="0"/>
                  </a:cubicBezTo>
                </a:path>
              </a:pathLst>
            </a:custGeom>
            <a:solidFill>
              <a:srgbClr val="FBE3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0">
              <a:extLst>
                <a:ext uri="{FF2B5EF4-FFF2-40B4-BE49-F238E27FC236}">
                  <a16:creationId xmlns:a16="http://schemas.microsoft.com/office/drawing/2014/main" id="{63435745-5393-4C97-AC6E-1BDF481B1E89}"/>
                </a:ext>
              </a:extLst>
            </p:cNvPr>
            <p:cNvSpPr>
              <a:spLocks/>
            </p:cNvSpPr>
            <p:nvPr/>
          </p:nvSpPr>
          <p:spPr bwMode="auto">
            <a:xfrm>
              <a:off x="4813" y="5154"/>
              <a:ext cx="273" cy="5"/>
            </a:xfrm>
            <a:custGeom>
              <a:avLst/>
              <a:gdLst>
                <a:gd name="T0" fmla="*/ 115 w 115"/>
                <a:gd name="T1" fmla="*/ 1 h 2"/>
                <a:gd name="T2" fmla="*/ 114 w 115"/>
                <a:gd name="T3" fmla="*/ 1 h 2"/>
                <a:gd name="T4" fmla="*/ 111 w 115"/>
                <a:gd name="T5" fmla="*/ 1 h 2"/>
                <a:gd name="T6" fmla="*/ 98 w 115"/>
                <a:gd name="T7" fmla="*/ 2 h 2"/>
                <a:gd name="T8" fmla="*/ 57 w 115"/>
                <a:gd name="T9" fmla="*/ 2 h 2"/>
                <a:gd name="T10" fmla="*/ 17 w 115"/>
                <a:gd name="T11" fmla="*/ 1 h 2"/>
                <a:gd name="T12" fmla="*/ 4 w 115"/>
                <a:gd name="T13" fmla="*/ 1 h 2"/>
                <a:gd name="T14" fmla="*/ 1 w 115"/>
                <a:gd name="T15" fmla="*/ 1 h 2"/>
                <a:gd name="T16" fmla="*/ 0 w 115"/>
                <a:gd name="T17" fmla="*/ 0 h 2"/>
                <a:gd name="T18" fmla="*/ 1 w 115"/>
                <a:gd name="T19" fmla="*/ 0 h 2"/>
                <a:gd name="T20" fmla="*/ 4 w 115"/>
                <a:gd name="T21" fmla="*/ 0 h 2"/>
                <a:gd name="T22" fmla="*/ 17 w 115"/>
                <a:gd name="T23" fmla="*/ 1 h 2"/>
                <a:gd name="T24" fmla="*/ 57 w 115"/>
                <a:gd name="T25" fmla="*/ 1 h 2"/>
                <a:gd name="T26" fmla="*/ 98 w 115"/>
                <a:gd name="T27" fmla="*/ 1 h 2"/>
                <a:gd name="T28" fmla="*/ 111 w 115"/>
                <a:gd name="T29" fmla="*/ 1 h 2"/>
                <a:gd name="T30" fmla="*/ 114 w 115"/>
                <a:gd name="T31" fmla="*/ 1 h 2"/>
                <a:gd name="T32" fmla="*/ 115 w 115"/>
                <a:gd name="T3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5" h="2">
                  <a:moveTo>
                    <a:pt x="115" y="1"/>
                  </a:moveTo>
                  <a:cubicBezTo>
                    <a:pt x="115" y="1"/>
                    <a:pt x="115" y="1"/>
                    <a:pt x="114" y="1"/>
                  </a:cubicBezTo>
                  <a:cubicBezTo>
                    <a:pt x="113" y="1"/>
                    <a:pt x="112" y="1"/>
                    <a:pt x="111" y="1"/>
                  </a:cubicBezTo>
                  <a:cubicBezTo>
                    <a:pt x="107" y="1"/>
                    <a:pt x="103" y="2"/>
                    <a:pt x="98" y="2"/>
                  </a:cubicBezTo>
                  <a:cubicBezTo>
                    <a:pt x="88" y="2"/>
                    <a:pt x="73" y="2"/>
                    <a:pt x="57" y="2"/>
                  </a:cubicBezTo>
                  <a:cubicBezTo>
                    <a:pt x="41" y="2"/>
                    <a:pt x="27" y="2"/>
                    <a:pt x="17" y="1"/>
                  </a:cubicBezTo>
                  <a:cubicBezTo>
                    <a:pt x="12" y="1"/>
                    <a:pt x="8" y="1"/>
                    <a:pt x="4" y="1"/>
                  </a:cubicBezTo>
                  <a:cubicBezTo>
                    <a:pt x="3" y="1"/>
                    <a:pt x="2" y="1"/>
                    <a:pt x="1" y="1"/>
                  </a:cubicBezTo>
                  <a:cubicBezTo>
                    <a:pt x="0" y="1"/>
                    <a:pt x="0" y="1"/>
                    <a:pt x="0" y="0"/>
                  </a:cubicBezTo>
                  <a:cubicBezTo>
                    <a:pt x="0" y="0"/>
                    <a:pt x="0" y="0"/>
                    <a:pt x="1" y="0"/>
                  </a:cubicBezTo>
                  <a:cubicBezTo>
                    <a:pt x="2" y="0"/>
                    <a:pt x="3" y="0"/>
                    <a:pt x="4" y="0"/>
                  </a:cubicBezTo>
                  <a:cubicBezTo>
                    <a:pt x="8" y="1"/>
                    <a:pt x="12" y="1"/>
                    <a:pt x="17" y="1"/>
                  </a:cubicBezTo>
                  <a:cubicBezTo>
                    <a:pt x="27" y="1"/>
                    <a:pt x="41" y="1"/>
                    <a:pt x="57" y="1"/>
                  </a:cubicBezTo>
                  <a:cubicBezTo>
                    <a:pt x="73" y="1"/>
                    <a:pt x="88" y="1"/>
                    <a:pt x="98" y="1"/>
                  </a:cubicBezTo>
                  <a:cubicBezTo>
                    <a:pt x="103" y="1"/>
                    <a:pt x="107" y="1"/>
                    <a:pt x="111" y="1"/>
                  </a:cubicBezTo>
                  <a:cubicBezTo>
                    <a:pt x="112" y="1"/>
                    <a:pt x="113" y="1"/>
                    <a:pt x="114" y="1"/>
                  </a:cubicBezTo>
                  <a:cubicBezTo>
                    <a:pt x="115" y="1"/>
                    <a:pt x="115" y="1"/>
                    <a:pt x="115"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1">
              <a:extLst>
                <a:ext uri="{FF2B5EF4-FFF2-40B4-BE49-F238E27FC236}">
                  <a16:creationId xmlns:a16="http://schemas.microsoft.com/office/drawing/2014/main" id="{69D572C3-7D62-49C8-B92F-ED6D6363683A}"/>
                </a:ext>
              </a:extLst>
            </p:cNvPr>
            <p:cNvSpPr>
              <a:spLocks/>
            </p:cNvSpPr>
            <p:nvPr/>
          </p:nvSpPr>
          <p:spPr bwMode="auto">
            <a:xfrm>
              <a:off x="4854" y="5135"/>
              <a:ext cx="16" cy="24"/>
            </a:xfrm>
            <a:custGeom>
              <a:avLst/>
              <a:gdLst>
                <a:gd name="T0" fmla="*/ 6 w 7"/>
                <a:gd name="T1" fmla="*/ 10 h 10"/>
                <a:gd name="T2" fmla="*/ 4 w 7"/>
                <a:gd name="T3" fmla="*/ 5 h 10"/>
                <a:gd name="T4" fmla="*/ 0 w 7"/>
                <a:gd name="T5" fmla="*/ 0 h 10"/>
                <a:gd name="T6" fmla="*/ 5 w 7"/>
                <a:gd name="T7" fmla="*/ 4 h 10"/>
                <a:gd name="T8" fmla="*/ 6 w 7"/>
                <a:gd name="T9" fmla="*/ 10 h 10"/>
              </a:gdLst>
              <a:ahLst/>
              <a:cxnLst>
                <a:cxn ang="0">
                  <a:pos x="T0" y="T1"/>
                </a:cxn>
                <a:cxn ang="0">
                  <a:pos x="T2" y="T3"/>
                </a:cxn>
                <a:cxn ang="0">
                  <a:pos x="T4" y="T5"/>
                </a:cxn>
                <a:cxn ang="0">
                  <a:pos x="T6" y="T7"/>
                </a:cxn>
                <a:cxn ang="0">
                  <a:pos x="T8" y="T9"/>
                </a:cxn>
              </a:cxnLst>
              <a:rect l="0" t="0" r="r" b="b"/>
              <a:pathLst>
                <a:path w="7" h="10">
                  <a:moveTo>
                    <a:pt x="6" y="10"/>
                  </a:moveTo>
                  <a:cubicBezTo>
                    <a:pt x="6" y="10"/>
                    <a:pt x="6" y="8"/>
                    <a:pt x="4" y="5"/>
                  </a:cubicBezTo>
                  <a:cubicBezTo>
                    <a:pt x="2" y="2"/>
                    <a:pt x="0" y="1"/>
                    <a:pt x="0" y="0"/>
                  </a:cubicBezTo>
                  <a:cubicBezTo>
                    <a:pt x="0" y="0"/>
                    <a:pt x="3" y="1"/>
                    <a:pt x="5" y="4"/>
                  </a:cubicBezTo>
                  <a:cubicBezTo>
                    <a:pt x="7" y="7"/>
                    <a:pt x="7" y="10"/>
                    <a:pt x="6"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2">
              <a:extLst>
                <a:ext uri="{FF2B5EF4-FFF2-40B4-BE49-F238E27FC236}">
                  <a16:creationId xmlns:a16="http://schemas.microsoft.com/office/drawing/2014/main" id="{A3E024C8-24A2-4279-81D7-649BD34BEE8C}"/>
                </a:ext>
              </a:extLst>
            </p:cNvPr>
            <p:cNvSpPr>
              <a:spLocks/>
            </p:cNvSpPr>
            <p:nvPr/>
          </p:nvSpPr>
          <p:spPr bwMode="auto">
            <a:xfrm>
              <a:off x="4908" y="5123"/>
              <a:ext cx="10" cy="14"/>
            </a:xfrm>
            <a:custGeom>
              <a:avLst/>
              <a:gdLst>
                <a:gd name="T0" fmla="*/ 4 w 4"/>
                <a:gd name="T1" fmla="*/ 6 h 6"/>
                <a:gd name="T2" fmla="*/ 2 w 4"/>
                <a:gd name="T3" fmla="*/ 3 h 6"/>
                <a:gd name="T4" fmla="*/ 0 w 4"/>
                <a:gd name="T5" fmla="*/ 1 h 6"/>
                <a:gd name="T6" fmla="*/ 2 w 4"/>
                <a:gd name="T7" fmla="*/ 3 h 6"/>
                <a:gd name="T8" fmla="*/ 4 w 4"/>
                <a:gd name="T9" fmla="*/ 6 h 6"/>
              </a:gdLst>
              <a:ahLst/>
              <a:cxnLst>
                <a:cxn ang="0">
                  <a:pos x="T0" y="T1"/>
                </a:cxn>
                <a:cxn ang="0">
                  <a:pos x="T2" y="T3"/>
                </a:cxn>
                <a:cxn ang="0">
                  <a:pos x="T4" y="T5"/>
                </a:cxn>
                <a:cxn ang="0">
                  <a:pos x="T6" y="T7"/>
                </a:cxn>
                <a:cxn ang="0">
                  <a:pos x="T8" y="T9"/>
                </a:cxn>
              </a:cxnLst>
              <a:rect l="0" t="0" r="r" b="b"/>
              <a:pathLst>
                <a:path w="4" h="6">
                  <a:moveTo>
                    <a:pt x="4" y="6"/>
                  </a:moveTo>
                  <a:cubicBezTo>
                    <a:pt x="3" y="6"/>
                    <a:pt x="3" y="5"/>
                    <a:pt x="2" y="3"/>
                  </a:cubicBezTo>
                  <a:cubicBezTo>
                    <a:pt x="1" y="2"/>
                    <a:pt x="0" y="1"/>
                    <a:pt x="0" y="1"/>
                  </a:cubicBezTo>
                  <a:cubicBezTo>
                    <a:pt x="0" y="0"/>
                    <a:pt x="1" y="2"/>
                    <a:pt x="2" y="3"/>
                  </a:cubicBezTo>
                  <a:cubicBezTo>
                    <a:pt x="3" y="5"/>
                    <a:pt x="4" y="6"/>
                    <a:pt x="4"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3">
              <a:extLst>
                <a:ext uri="{FF2B5EF4-FFF2-40B4-BE49-F238E27FC236}">
                  <a16:creationId xmlns:a16="http://schemas.microsoft.com/office/drawing/2014/main" id="{7FC91A88-5627-400A-899D-1A0037666327}"/>
                </a:ext>
              </a:extLst>
            </p:cNvPr>
            <p:cNvSpPr>
              <a:spLocks/>
            </p:cNvSpPr>
            <p:nvPr/>
          </p:nvSpPr>
          <p:spPr bwMode="auto">
            <a:xfrm>
              <a:off x="4920" y="5121"/>
              <a:ext cx="9" cy="9"/>
            </a:xfrm>
            <a:custGeom>
              <a:avLst/>
              <a:gdLst>
                <a:gd name="T0" fmla="*/ 4 w 4"/>
                <a:gd name="T1" fmla="*/ 4 h 4"/>
                <a:gd name="T2" fmla="*/ 2 w 4"/>
                <a:gd name="T3" fmla="*/ 3 h 4"/>
                <a:gd name="T4" fmla="*/ 0 w 4"/>
                <a:gd name="T5" fmla="*/ 1 h 4"/>
                <a:gd name="T6" fmla="*/ 2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3" y="4"/>
                    <a:pt x="2" y="3"/>
                  </a:cubicBezTo>
                  <a:cubicBezTo>
                    <a:pt x="1" y="2"/>
                    <a:pt x="0" y="1"/>
                    <a:pt x="0" y="1"/>
                  </a:cubicBezTo>
                  <a:cubicBezTo>
                    <a:pt x="0" y="0"/>
                    <a:pt x="1" y="1"/>
                    <a:pt x="2" y="2"/>
                  </a:cubicBezTo>
                  <a:cubicBezTo>
                    <a:pt x="4" y="3"/>
                    <a:pt x="4" y="4"/>
                    <a:pt x="4"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4">
              <a:extLst>
                <a:ext uri="{FF2B5EF4-FFF2-40B4-BE49-F238E27FC236}">
                  <a16:creationId xmlns:a16="http://schemas.microsoft.com/office/drawing/2014/main" id="{01449BA6-AF3A-4514-8710-F428D6BB9A37}"/>
                </a:ext>
              </a:extLst>
            </p:cNvPr>
            <p:cNvSpPr>
              <a:spLocks/>
            </p:cNvSpPr>
            <p:nvPr/>
          </p:nvSpPr>
          <p:spPr bwMode="auto">
            <a:xfrm>
              <a:off x="4922" y="5116"/>
              <a:ext cx="17" cy="2"/>
            </a:xfrm>
            <a:custGeom>
              <a:avLst/>
              <a:gdLst>
                <a:gd name="T0" fmla="*/ 7 w 7"/>
                <a:gd name="T1" fmla="*/ 0 h 1"/>
                <a:gd name="T2" fmla="*/ 3 w 7"/>
                <a:gd name="T3" fmla="*/ 1 h 1"/>
                <a:gd name="T4" fmla="*/ 0 w 7"/>
                <a:gd name="T5" fmla="*/ 0 h 1"/>
                <a:gd name="T6" fmla="*/ 3 w 7"/>
                <a:gd name="T7" fmla="*/ 0 h 1"/>
                <a:gd name="T8" fmla="*/ 7 w 7"/>
                <a:gd name="T9" fmla="*/ 0 h 1"/>
              </a:gdLst>
              <a:ahLst/>
              <a:cxnLst>
                <a:cxn ang="0">
                  <a:pos x="T0" y="T1"/>
                </a:cxn>
                <a:cxn ang="0">
                  <a:pos x="T2" y="T3"/>
                </a:cxn>
                <a:cxn ang="0">
                  <a:pos x="T4" y="T5"/>
                </a:cxn>
                <a:cxn ang="0">
                  <a:pos x="T6" y="T7"/>
                </a:cxn>
                <a:cxn ang="0">
                  <a:pos x="T8" y="T9"/>
                </a:cxn>
              </a:cxnLst>
              <a:rect l="0" t="0" r="r" b="b"/>
              <a:pathLst>
                <a:path w="7" h="1">
                  <a:moveTo>
                    <a:pt x="7" y="0"/>
                  </a:moveTo>
                  <a:cubicBezTo>
                    <a:pt x="7" y="0"/>
                    <a:pt x="5" y="1"/>
                    <a:pt x="3" y="1"/>
                  </a:cubicBezTo>
                  <a:cubicBezTo>
                    <a:pt x="1" y="1"/>
                    <a:pt x="0" y="1"/>
                    <a:pt x="0" y="0"/>
                  </a:cubicBezTo>
                  <a:cubicBezTo>
                    <a:pt x="0" y="0"/>
                    <a:pt x="1" y="0"/>
                    <a:pt x="3" y="0"/>
                  </a:cubicBezTo>
                  <a:cubicBezTo>
                    <a:pt x="5" y="0"/>
                    <a:pt x="7" y="0"/>
                    <a:pt x="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5">
              <a:extLst>
                <a:ext uri="{FF2B5EF4-FFF2-40B4-BE49-F238E27FC236}">
                  <a16:creationId xmlns:a16="http://schemas.microsoft.com/office/drawing/2014/main" id="{B2A047A3-94B5-447E-BFAB-CF00AD60C154}"/>
                </a:ext>
              </a:extLst>
            </p:cNvPr>
            <p:cNvSpPr>
              <a:spLocks/>
            </p:cNvSpPr>
            <p:nvPr/>
          </p:nvSpPr>
          <p:spPr bwMode="auto">
            <a:xfrm>
              <a:off x="4922" y="5106"/>
              <a:ext cx="19" cy="3"/>
            </a:xfrm>
            <a:custGeom>
              <a:avLst/>
              <a:gdLst>
                <a:gd name="T0" fmla="*/ 8 w 8"/>
                <a:gd name="T1" fmla="*/ 0 h 1"/>
                <a:gd name="T2" fmla="*/ 4 w 8"/>
                <a:gd name="T3" fmla="*/ 1 h 1"/>
                <a:gd name="T4" fmla="*/ 0 w 8"/>
                <a:gd name="T5" fmla="*/ 1 h 1"/>
                <a:gd name="T6" fmla="*/ 4 w 8"/>
                <a:gd name="T7" fmla="*/ 0 h 1"/>
                <a:gd name="T8" fmla="*/ 8 w 8"/>
                <a:gd name="T9" fmla="*/ 0 h 1"/>
              </a:gdLst>
              <a:ahLst/>
              <a:cxnLst>
                <a:cxn ang="0">
                  <a:pos x="T0" y="T1"/>
                </a:cxn>
                <a:cxn ang="0">
                  <a:pos x="T2" y="T3"/>
                </a:cxn>
                <a:cxn ang="0">
                  <a:pos x="T4" y="T5"/>
                </a:cxn>
                <a:cxn ang="0">
                  <a:pos x="T6" y="T7"/>
                </a:cxn>
                <a:cxn ang="0">
                  <a:pos x="T8" y="T9"/>
                </a:cxn>
              </a:cxnLst>
              <a:rect l="0" t="0" r="r" b="b"/>
              <a:pathLst>
                <a:path w="8" h="1">
                  <a:moveTo>
                    <a:pt x="8" y="0"/>
                  </a:moveTo>
                  <a:cubicBezTo>
                    <a:pt x="8" y="0"/>
                    <a:pt x="6" y="1"/>
                    <a:pt x="4" y="1"/>
                  </a:cubicBezTo>
                  <a:cubicBezTo>
                    <a:pt x="2" y="1"/>
                    <a:pt x="0" y="1"/>
                    <a:pt x="0" y="1"/>
                  </a:cubicBezTo>
                  <a:cubicBezTo>
                    <a:pt x="0" y="0"/>
                    <a:pt x="2" y="0"/>
                    <a:pt x="4" y="0"/>
                  </a:cubicBezTo>
                  <a:cubicBezTo>
                    <a:pt x="6" y="0"/>
                    <a:pt x="8" y="0"/>
                    <a:pt x="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06">
              <a:extLst>
                <a:ext uri="{FF2B5EF4-FFF2-40B4-BE49-F238E27FC236}">
                  <a16:creationId xmlns:a16="http://schemas.microsoft.com/office/drawing/2014/main" id="{9DA079F3-FD34-4325-86F1-9A40780495BF}"/>
                </a:ext>
              </a:extLst>
            </p:cNvPr>
            <p:cNvSpPr>
              <a:spLocks/>
            </p:cNvSpPr>
            <p:nvPr/>
          </p:nvSpPr>
          <p:spPr bwMode="auto">
            <a:xfrm>
              <a:off x="4880" y="5106"/>
              <a:ext cx="31" cy="22"/>
            </a:xfrm>
            <a:custGeom>
              <a:avLst/>
              <a:gdLst>
                <a:gd name="T0" fmla="*/ 13 w 13"/>
                <a:gd name="T1" fmla="*/ 7 h 9"/>
                <a:gd name="T2" fmla="*/ 9 w 13"/>
                <a:gd name="T3" fmla="*/ 7 h 9"/>
                <a:gd name="T4" fmla="*/ 4 w 13"/>
                <a:gd name="T5" fmla="*/ 6 h 9"/>
                <a:gd name="T6" fmla="*/ 2 w 13"/>
                <a:gd name="T7" fmla="*/ 5 h 9"/>
                <a:gd name="T8" fmla="*/ 1 w 13"/>
                <a:gd name="T9" fmla="*/ 4 h 9"/>
                <a:gd name="T10" fmla="*/ 1 w 13"/>
                <a:gd name="T11" fmla="*/ 2 h 9"/>
                <a:gd name="T12" fmla="*/ 11 w 13"/>
                <a:gd name="T13" fmla="*/ 5 h 9"/>
                <a:gd name="T14" fmla="*/ 13 w 13"/>
                <a:gd name="T15" fmla="*/ 7 h 9"/>
                <a:gd name="T16" fmla="*/ 13 w 13"/>
                <a:gd name="T17" fmla="*/ 8 h 9"/>
                <a:gd name="T18" fmla="*/ 11 w 13"/>
                <a:gd name="T19" fmla="*/ 5 h 9"/>
                <a:gd name="T20" fmla="*/ 7 w 13"/>
                <a:gd name="T21" fmla="*/ 3 h 9"/>
                <a:gd name="T22" fmla="*/ 2 w 13"/>
                <a:gd name="T23" fmla="*/ 3 h 9"/>
                <a:gd name="T24" fmla="*/ 2 w 13"/>
                <a:gd name="T25" fmla="*/ 5 h 9"/>
                <a:gd name="T26" fmla="*/ 5 w 13"/>
                <a:gd name="T27" fmla="*/ 6 h 9"/>
                <a:gd name="T28" fmla="*/ 9 w 13"/>
                <a:gd name="T29" fmla="*/ 7 h 9"/>
                <a:gd name="T30" fmla="*/ 13 w 13"/>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9">
                  <a:moveTo>
                    <a:pt x="13" y="7"/>
                  </a:moveTo>
                  <a:cubicBezTo>
                    <a:pt x="13" y="7"/>
                    <a:pt x="12" y="8"/>
                    <a:pt x="9" y="7"/>
                  </a:cubicBezTo>
                  <a:cubicBezTo>
                    <a:pt x="8" y="7"/>
                    <a:pt x="6" y="7"/>
                    <a:pt x="4" y="6"/>
                  </a:cubicBezTo>
                  <a:cubicBezTo>
                    <a:pt x="4" y="6"/>
                    <a:pt x="3" y="6"/>
                    <a:pt x="2" y="5"/>
                  </a:cubicBezTo>
                  <a:cubicBezTo>
                    <a:pt x="1" y="5"/>
                    <a:pt x="1" y="5"/>
                    <a:pt x="1" y="4"/>
                  </a:cubicBezTo>
                  <a:cubicBezTo>
                    <a:pt x="0" y="3"/>
                    <a:pt x="1" y="3"/>
                    <a:pt x="1" y="2"/>
                  </a:cubicBezTo>
                  <a:cubicBezTo>
                    <a:pt x="6" y="0"/>
                    <a:pt x="10" y="3"/>
                    <a:pt x="11" y="5"/>
                  </a:cubicBezTo>
                  <a:cubicBezTo>
                    <a:pt x="12" y="6"/>
                    <a:pt x="12" y="7"/>
                    <a:pt x="13" y="7"/>
                  </a:cubicBezTo>
                  <a:cubicBezTo>
                    <a:pt x="13" y="8"/>
                    <a:pt x="13" y="8"/>
                    <a:pt x="13" y="8"/>
                  </a:cubicBezTo>
                  <a:cubicBezTo>
                    <a:pt x="13" y="9"/>
                    <a:pt x="12" y="7"/>
                    <a:pt x="11" y="5"/>
                  </a:cubicBezTo>
                  <a:cubicBezTo>
                    <a:pt x="10" y="4"/>
                    <a:pt x="9" y="3"/>
                    <a:pt x="7" y="3"/>
                  </a:cubicBezTo>
                  <a:cubicBezTo>
                    <a:pt x="6" y="2"/>
                    <a:pt x="3" y="2"/>
                    <a:pt x="2" y="3"/>
                  </a:cubicBezTo>
                  <a:cubicBezTo>
                    <a:pt x="1" y="3"/>
                    <a:pt x="1" y="4"/>
                    <a:pt x="2" y="5"/>
                  </a:cubicBezTo>
                  <a:cubicBezTo>
                    <a:pt x="3" y="5"/>
                    <a:pt x="4" y="5"/>
                    <a:pt x="5" y="6"/>
                  </a:cubicBezTo>
                  <a:cubicBezTo>
                    <a:pt x="6" y="6"/>
                    <a:pt x="8" y="7"/>
                    <a:pt x="9" y="7"/>
                  </a:cubicBezTo>
                  <a:cubicBezTo>
                    <a:pt x="12" y="7"/>
                    <a:pt x="13" y="7"/>
                    <a:pt x="13" y="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7">
              <a:extLst>
                <a:ext uri="{FF2B5EF4-FFF2-40B4-BE49-F238E27FC236}">
                  <a16:creationId xmlns:a16="http://schemas.microsoft.com/office/drawing/2014/main" id="{6AF8AE33-E515-4A40-903F-187FBC4312E6}"/>
                </a:ext>
              </a:extLst>
            </p:cNvPr>
            <p:cNvSpPr>
              <a:spLocks/>
            </p:cNvSpPr>
            <p:nvPr/>
          </p:nvSpPr>
          <p:spPr bwMode="auto">
            <a:xfrm>
              <a:off x="4908" y="5106"/>
              <a:ext cx="14" cy="19"/>
            </a:xfrm>
            <a:custGeom>
              <a:avLst/>
              <a:gdLst>
                <a:gd name="T0" fmla="*/ 0 w 6"/>
                <a:gd name="T1" fmla="*/ 8 h 8"/>
                <a:gd name="T2" fmla="*/ 0 w 6"/>
                <a:gd name="T3" fmla="*/ 5 h 8"/>
                <a:gd name="T4" fmla="*/ 1 w 6"/>
                <a:gd name="T5" fmla="*/ 2 h 8"/>
                <a:gd name="T6" fmla="*/ 5 w 6"/>
                <a:gd name="T7" fmla="*/ 0 h 8"/>
                <a:gd name="T8" fmla="*/ 6 w 6"/>
                <a:gd name="T9" fmla="*/ 2 h 8"/>
                <a:gd name="T10" fmla="*/ 5 w 6"/>
                <a:gd name="T11" fmla="*/ 3 h 8"/>
                <a:gd name="T12" fmla="*/ 3 w 6"/>
                <a:gd name="T13" fmla="*/ 6 h 8"/>
                <a:gd name="T14" fmla="*/ 1 w 6"/>
                <a:gd name="T15" fmla="*/ 7 h 8"/>
                <a:gd name="T16" fmla="*/ 3 w 6"/>
                <a:gd name="T17" fmla="*/ 5 h 8"/>
                <a:gd name="T18" fmla="*/ 5 w 6"/>
                <a:gd name="T19" fmla="*/ 3 h 8"/>
                <a:gd name="T20" fmla="*/ 5 w 6"/>
                <a:gd name="T21" fmla="*/ 0 h 8"/>
                <a:gd name="T22" fmla="*/ 2 w 6"/>
                <a:gd name="T23" fmla="*/ 2 h 8"/>
                <a:gd name="T24" fmla="*/ 0 w 6"/>
                <a:gd name="T25" fmla="*/ 5 h 8"/>
                <a:gd name="T26" fmla="*/ 0 w 6"/>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0" y="8"/>
                  </a:moveTo>
                  <a:cubicBezTo>
                    <a:pt x="0" y="8"/>
                    <a:pt x="0" y="7"/>
                    <a:pt x="0" y="5"/>
                  </a:cubicBezTo>
                  <a:cubicBezTo>
                    <a:pt x="0" y="4"/>
                    <a:pt x="0" y="3"/>
                    <a:pt x="1" y="2"/>
                  </a:cubicBezTo>
                  <a:cubicBezTo>
                    <a:pt x="2" y="1"/>
                    <a:pt x="3" y="0"/>
                    <a:pt x="5" y="0"/>
                  </a:cubicBezTo>
                  <a:cubicBezTo>
                    <a:pt x="6" y="0"/>
                    <a:pt x="6" y="1"/>
                    <a:pt x="6" y="2"/>
                  </a:cubicBezTo>
                  <a:cubicBezTo>
                    <a:pt x="6" y="2"/>
                    <a:pt x="6" y="3"/>
                    <a:pt x="5" y="3"/>
                  </a:cubicBezTo>
                  <a:cubicBezTo>
                    <a:pt x="5" y="4"/>
                    <a:pt x="4" y="5"/>
                    <a:pt x="3" y="6"/>
                  </a:cubicBezTo>
                  <a:cubicBezTo>
                    <a:pt x="2" y="7"/>
                    <a:pt x="1" y="8"/>
                    <a:pt x="1" y="7"/>
                  </a:cubicBezTo>
                  <a:cubicBezTo>
                    <a:pt x="1" y="7"/>
                    <a:pt x="2" y="7"/>
                    <a:pt x="3" y="5"/>
                  </a:cubicBezTo>
                  <a:cubicBezTo>
                    <a:pt x="3" y="5"/>
                    <a:pt x="4" y="4"/>
                    <a:pt x="5" y="3"/>
                  </a:cubicBezTo>
                  <a:cubicBezTo>
                    <a:pt x="5" y="2"/>
                    <a:pt x="6" y="1"/>
                    <a:pt x="5" y="0"/>
                  </a:cubicBezTo>
                  <a:cubicBezTo>
                    <a:pt x="3" y="0"/>
                    <a:pt x="2" y="1"/>
                    <a:pt x="2" y="2"/>
                  </a:cubicBezTo>
                  <a:cubicBezTo>
                    <a:pt x="1" y="3"/>
                    <a:pt x="1" y="4"/>
                    <a:pt x="0" y="5"/>
                  </a:cubicBezTo>
                  <a:cubicBezTo>
                    <a:pt x="0" y="6"/>
                    <a:pt x="0" y="8"/>
                    <a:pt x="0" y="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8">
              <a:extLst>
                <a:ext uri="{FF2B5EF4-FFF2-40B4-BE49-F238E27FC236}">
                  <a16:creationId xmlns:a16="http://schemas.microsoft.com/office/drawing/2014/main" id="{99EF0EBB-2388-44D4-A934-88C179C53F7D}"/>
                </a:ext>
              </a:extLst>
            </p:cNvPr>
            <p:cNvSpPr>
              <a:spLocks/>
            </p:cNvSpPr>
            <p:nvPr/>
          </p:nvSpPr>
          <p:spPr bwMode="auto">
            <a:xfrm>
              <a:off x="5027" y="5113"/>
              <a:ext cx="57" cy="43"/>
            </a:xfrm>
            <a:custGeom>
              <a:avLst/>
              <a:gdLst>
                <a:gd name="T0" fmla="*/ 24 w 24"/>
                <a:gd name="T1" fmla="*/ 1 h 18"/>
                <a:gd name="T2" fmla="*/ 19 w 24"/>
                <a:gd name="T3" fmla="*/ 1 h 18"/>
                <a:gd name="T4" fmla="*/ 8 w 24"/>
                <a:gd name="T5" fmla="*/ 5 h 18"/>
                <a:gd name="T6" fmla="*/ 1 w 24"/>
                <a:gd name="T7" fmla="*/ 14 h 18"/>
                <a:gd name="T8" fmla="*/ 0 w 24"/>
                <a:gd name="T9" fmla="*/ 18 h 18"/>
                <a:gd name="T10" fmla="*/ 0 w 24"/>
                <a:gd name="T11" fmla="*/ 17 h 18"/>
                <a:gd name="T12" fmla="*/ 0 w 24"/>
                <a:gd name="T13" fmla="*/ 14 h 18"/>
                <a:gd name="T14" fmla="*/ 7 w 24"/>
                <a:gd name="T15" fmla="*/ 4 h 18"/>
                <a:gd name="T16" fmla="*/ 19 w 24"/>
                <a:gd name="T17" fmla="*/ 0 h 18"/>
                <a:gd name="T18" fmla="*/ 23 w 24"/>
                <a:gd name="T19" fmla="*/ 0 h 18"/>
                <a:gd name="T20" fmla="*/ 24 w 24"/>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8">
                  <a:moveTo>
                    <a:pt x="24" y="1"/>
                  </a:moveTo>
                  <a:cubicBezTo>
                    <a:pt x="24" y="1"/>
                    <a:pt x="22" y="0"/>
                    <a:pt x="19" y="1"/>
                  </a:cubicBezTo>
                  <a:cubicBezTo>
                    <a:pt x="16" y="1"/>
                    <a:pt x="12" y="2"/>
                    <a:pt x="8" y="5"/>
                  </a:cubicBezTo>
                  <a:cubicBezTo>
                    <a:pt x="4" y="8"/>
                    <a:pt x="2" y="11"/>
                    <a:pt x="1" y="14"/>
                  </a:cubicBezTo>
                  <a:cubicBezTo>
                    <a:pt x="0" y="17"/>
                    <a:pt x="0" y="18"/>
                    <a:pt x="0" y="18"/>
                  </a:cubicBezTo>
                  <a:cubicBezTo>
                    <a:pt x="0" y="18"/>
                    <a:pt x="0" y="18"/>
                    <a:pt x="0" y="17"/>
                  </a:cubicBezTo>
                  <a:cubicBezTo>
                    <a:pt x="0" y="16"/>
                    <a:pt x="0" y="15"/>
                    <a:pt x="0" y="14"/>
                  </a:cubicBezTo>
                  <a:cubicBezTo>
                    <a:pt x="1" y="11"/>
                    <a:pt x="4" y="7"/>
                    <a:pt x="7" y="4"/>
                  </a:cubicBezTo>
                  <a:cubicBezTo>
                    <a:pt x="11" y="2"/>
                    <a:pt x="16" y="0"/>
                    <a:pt x="19" y="0"/>
                  </a:cubicBezTo>
                  <a:cubicBezTo>
                    <a:pt x="20" y="0"/>
                    <a:pt x="22" y="0"/>
                    <a:pt x="23" y="0"/>
                  </a:cubicBezTo>
                  <a:cubicBezTo>
                    <a:pt x="23" y="0"/>
                    <a:pt x="24" y="1"/>
                    <a:pt x="24"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09">
              <a:extLst>
                <a:ext uri="{FF2B5EF4-FFF2-40B4-BE49-F238E27FC236}">
                  <a16:creationId xmlns:a16="http://schemas.microsoft.com/office/drawing/2014/main" id="{2AC0AD93-F9BE-4ADA-8A84-BE0E35902AC4}"/>
                </a:ext>
              </a:extLst>
            </p:cNvPr>
            <p:cNvSpPr>
              <a:spLocks noChangeArrowheads="1"/>
            </p:cNvSpPr>
            <p:nvPr/>
          </p:nvSpPr>
          <p:spPr bwMode="auto">
            <a:xfrm>
              <a:off x="4958" y="5142"/>
              <a:ext cx="47" cy="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0">
              <a:extLst>
                <a:ext uri="{FF2B5EF4-FFF2-40B4-BE49-F238E27FC236}">
                  <a16:creationId xmlns:a16="http://schemas.microsoft.com/office/drawing/2014/main" id="{C48D65AC-A300-46DE-AD32-EC141C4AB5DD}"/>
                </a:ext>
              </a:extLst>
            </p:cNvPr>
            <p:cNvSpPr>
              <a:spLocks/>
            </p:cNvSpPr>
            <p:nvPr/>
          </p:nvSpPr>
          <p:spPr bwMode="auto">
            <a:xfrm>
              <a:off x="5032" y="5142"/>
              <a:ext cx="7" cy="9"/>
            </a:xfrm>
            <a:custGeom>
              <a:avLst/>
              <a:gdLst>
                <a:gd name="T0" fmla="*/ 2 w 3"/>
                <a:gd name="T1" fmla="*/ 1 h 4"/>
                <a:gd name="T2" fmla="*/ 2 w 3"/>
                <a:gd name="T3" fmla="*/ 2 h 4"/>
                <a:gd name="T4" fmla="*/ 1 w 3"/>
                <a:gd name="T5" fmla="*/ 4 h 4"/>
                <a:gd name="T6" fmla="*/ 1 w 3"/>
                <a:gd name="T7" fmla="*/ 2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3" y="1"/>
                    <a:pt x="2" y="2"/>
                    <a:pt x="2" y="2"/>
                  </a:cubicBezTo>
                  <a:cubicBezTo>
                    <a:pt x="1" y="3"/>
                    <a:pt x="1" y="4"/>
                    <a:pt x="1" y="4"/>
                  </a:cubicBezTo>
                  <a:cubicBezTo>
                    <a:pt x="0" y="4"/>
                    <a:pt x="0" y="3"/>
                    <a:pt x="1" y="2"/>
                  </a:cubicBezTo>
                  <a:cubicBezTo>
                    <a:pt x="1" y="1"/>
                    <a:pt x="2" y="0"/>
                    <a:pt x="2"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1">
              <a:extLst>
                <a:ext uri="{FF2B5EF4-FFF2-40B4-BE49-F238E27FC236}">
                  <a16:creationId xmlns:a16="http://schemas.microsoft.com/office/drawing/2014/main" id="{79594792-739D-40A9-90A9-69BF2BEBB933}"/>
                </a:ext>
              </a:extLst>
            </p:cNvPr>
            <p:cNvSpPr>
              <a:spLocks/>
            </p:cNvSpPr>
            <p:nvPr/>
          </p:nvSpPr>
          <p:spPr bwMode="auto">
            <a:xfrm>
              <a:off x="5043" y="5130"/>
              <a:ext cx="8" cy="5"/>
            </a:xfrm>
            <a:custGeom>
              <a:avLst/>
              <a:gdLst>
                <a:gd name="T0" fmla="*/ 2 w 3"/>
                <a:gd name="T1" fmla="*/ 0 h 2"/>
                <a:gd name="T2" fmla="*/ 1 w 3"/>
                <a:gd name="T3" fmla="*/ 1 h 2"/>
                <a:gd name="T4" fmla="*/ 0 w 3"/>
                <a:gd name="T5" fmla="*/ 2 h 2"/>
                <a:gd name="T6" fmla="*/ 1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3" y="0"/>
                    <a:pt x="2" y="1"/>
                    <a:pt x="1" y="1"/>
                  </a:cubicBezTo>
                  <a:cubicBezTo>
                    <a:pt x="1" y="2"/>
                    <a:pt x="0" y="2"/>
                    <a:pt x="0" y="2"/>
                  </a:cubicBezTo>
                  <a:cubicBezTo>
                    <a:pt x="0" y="2"/>
                    <a:pt x="0" y="1"/>
                    <a:pt x="1" y="1"/>
                  </a:cubicBezTo>
                  <a:cubicBezTo>
                    <a:pt x="2" y="0"/>
                    <a:pt x="2"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2">
              <a:extLst>
                <a:ext uri="{FF2B5EF4-FFF2-40B4-BE49-F238E27FC236}">
                  <a16:creationId xmlns:a16="http://schemas.microsoft.com/office/drawing/2014/main" id="{8D11FEB5-E78E-473F-8D81-63FBE6BC8078}"/>
                </a:ext>
              </a:extLst>
            </p:cNvPr>
            <p:cNvSpPr>
              <a:spLocks/>
            </p:cNvSpPr>
            <p:nvPr/>
          </p:nvSpPr>
          <p:spPr bwMode="auto">
            <a:xfrm>
              <a:off x="5058" y="5123"/>
              <a:ext cx="9" cy="5"/>
            </a:xfrm>
            <a:custGeom>
              <a:avLst/>
              <a:gdLst>
                <a:gd name="T0" fmla="*/ 4 w 4"/>
                <a:gd name="T1" fmla="*/ 0 h 2"/>
                <a:gd name="T2" fmla="*/ 2 w 4"/>
                <a:gd name="T3" fmla="*/ 1 h 2"/>
                <a:gd name="T4" fmla="*/ 0 w 4"/>
                <a:gd name="T5" fmla="*/ 1 h 2"/>
                <a:gd name="T6" fmla="*/ 1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4" y="0"/>
                    <a:pt x="3" y="0"/>
                    <a:pt x="2" y="1"/>
                  </a:cubicBezTo>
                  <a:cubicBezTo>
                    <a:pt x="1" y="1"/>
                    <a:pt x="0" y="2"/>
                    <a:pt x="0" y="1"/>
                  </a:cubicBezTo>
                  <a:cubicBezTo>
                    <a:pt x="0" y="1"/>
                    <a:pt x="0" y="0"/>
                    <a:pt x="1" y="0"/>
                  </a:cubicBezTo>
                  <a:cubicBezTo>
                    <a:pt x="3" y="0"/>
                    <a:pt x="4" y="0"/>
                    <a:pt x="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3">
              <a:extLst>
                <a:ext uri="{FF2B5EF4-FFF2-40B4-BE49-F238E27FC236}">
                  <a16:creationId xmlns:a16="http://schemas.microsoft.com/office/drawing/2014/main" id="{0B8E9E27-B75C-4DD3-820B-F5DB646F477C}"/>
                </a:ext>
              </a:extLst>
            </p:cNvPr>
            <p:cNvSpPr>
              <a:spLocks/>
            </p:cNvSpPr>
            <p:nvPr/>
          </p:nvSpPr>
          <p:spPr bwMode="auto">
            <a:xfrm>
              <a:off x="5074" y="5121"/>
              <a:ext cx="5" cy="2"/>
            </a:xfrm>
            <a:custGeom>
              <a:avLst/>
              <a:gdLst>
                <a:gd name="T0" fmla="*/ 2 w 2"/>
                <a:gd name="T1" fmla="*/ 0 h 1"/>
                <a:gd name="T2" fmla="*/ 1 w 2"/>
                <a:gd name="T3" fmla="*/ 1 h 1"/>
                <a:gd name="T4" fmla="*/ 0 w 2"/>
                <a:gd name="T5" fmla="*/ 1 h 1"/>
                <a:gd name="T6" fmla="*/ 1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1" y="1"/>
                    <a:pt x="1" y="1"/>
                  </a:cubicBezTo>
                  <a:cubicBezTo>
                    <a:pt x="0" y="1"/>
                    <a:pt x="0" y="1"/>
                    <a:pt x="0" y="1"/>
                  </a:cubicBezTo>
                  <a:cubicBezTo>
                    <a:pt x="0" y="1"/>
                    <a:pt x="0" y="0"/>
                    <a:pt x="1" y="0"/>
                  </a:cubicBezTo>
                  <a:cubicBezTo>
                    <a:pt x="1" y="0"/>
                    <a:pt x="2"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4">
              <a:extLst>
                <a:ext uri="{FF2B5EF4-FFF2-40B4-BE49-F238E27FC236}">
                  <a16:creationId xmlns:a16="http://schemas.microsoft.com/office/drawing/2014/main" id="{229A08F2-61FA-4528-8B72-3E9E539A92C8}"/>
                </a:ext>
              </a:extLst>
            </p:cNvPr>
            <p:cNvSpPr>
              <a:spLocks/>
            </p:cNvSpPr>
            <p:nvPr/>
          </p:nvSpPr>
          <p:spPr bwMode="auto">
            <a:xfrm>
              <a:off x="4457" y="2255"/>
              <a:ext cx="399" cy="855"/>
            </a:xfrm>
            <a:custGeom>
              <a:avLst/>
              <a:gdLst>
                <a:gd name="T0" fmla="*/ 168 w 168"/>
                <a:gd name="T1" fmla="*/ 319 h 360"/>
                <a:gd name="T2" fmla="*/ 62 w 168"/>
                <a:gd name="T3" fmla="*/ 212 h 360"/>
                <a:gd name="T4" fmla="*/ 76 w 168"/>
                <a:gd name="T5" fmla="*/ 73 h 360"/>
                <a:gd name="T6" fmla="*/ 78 w 168"/>
                <a:gd name="T7" fmla="*/ 70 h 360"/>
                <a:gd name="T8" fmla="*/ 83 w 168"/>
                <a:gd name="T9" fmla="*/ 65 h 360"/>
                <a:gd name="T10" fmla="*/ 90 w 168"/>
                <a:gd name="T11" fmla="*/ 60 h 360"/>
                <a:gd name="T12" fmla="*/ 100 w 168"/>
                <a:gd name="T13" fmla="*/ 56 h 360"/>
                <a:gd name="T14" fmla="*/ 101 w 168"/>
                <a:gd name="T15" fmla="*/ 50 h 360"/>
                <a:gd name="T16" fmla="*/ 81 w 168"/>
                <a:gd name="T17" fmla="*/ 55 h 360"/>
                <a:gd name="T18" fmla="*/ 79 w 168"/>
                <a:gd name="T19" fmla="*/ 39 h 360"/>
                <a:gd name="T20" fmla="*/ 84 w 168"/>
                <a:gd name="T21" fmla="*/ 13 h 360"/>
                <a:gd name="T22" fmla="*/ 77 w 168"/>
                <a:gd name="T23" fmla="*/ 18 h 360"/>
                <a:gd name="T24" fmla="*/ 66 w 168"/>
                <a:gd name="T25" fmla="*/ 40 h 360"/>
                <a:gd name="T26" fmla="*/ 73 w 168"/>
                <a:gd name="T27" fmla="*/ 9 h 360"/>
                <a:gd name="T28" fmla="*/ 73 w 168"/>
                <a:gd name="T29" fmla="*/ 2 h 360"/>
                <a:gd name="T30" fmla="*/ 57 w 168"/>
                <a:gd name="T31" fmla="*/ 35 h 360"/>
                <a:gd name="T32" fmla="*/ 54 w 168"/>
                <a:gd name="T33" fmla="*/ 33 h 360"/>
                <a:gd name="T34" fmla="*/ 59 w 168"/>
                <a:gd name="T35" fmla="*/ 2 h 360"/>
                <a:gd name="T36" fmla="*/ 46 w 168"/>
                <a:gd name="T37" fmla="*/ 32 h 360"/>
                <a:gd name="T38" fmla="*/ 45 w 168"/>
                <a:gd name="T39" fmla="*/ 10 h 360"/>
                <a:gd name="T40" fmla="*/ 39 w 168"/>
                <a:gd name="T41" fmla="*/ 24 h 360"/>
                <a:gd name="T42" fmla="*/ 33 w 168"/>
                <a:gd name="T43" fmla="*/ 56 h 360"/>
                <a:gd name="T44" fmla="*/ 33 w 168"/>
                <a:gd name="T45" fmla="*/ 56 h 360"/>
                <a:gd name="T46" fmla="*/ 0 w 168"/>
                <a:gd name="T47" fmla="*/ 223 h 360"/>
                <a:gd name="T48" fmla="*/ 104 w 168"/>
                <a:gd name="T49" fmla="*/ 360 h 360"/>
                <a:gd name="T50" fmla="*/ 168 w 168"/>
                <a:gd name="T51" fmla="*/ 31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8" h="360">
                  <a:moveTo>
                    <a:pt x="168" y="319"/>
                  </a:moveTo>
                  <a:cubicBezTo>
                    <a:pt x="62" y="212"/>
                    <a:pt x="62" y="212"/>
                    <a:pt x="62" y="212"/>
                  </a:cubicBezTo>
                  <a:cubicBezTo>
                    <a:pt x="76" y="73"/>
                    <a:pt x="76" y="73"/>
                    <a:pt x="76" y="73"/>
                  </a:cubicBezTo>
                  <a:cubicBezTo>
                    <a:pt x="78" y="70"/>
                    <a:pt x="78" y="70"/>
                    <a:pt x="78" y="70"/>
                  </a:cubicBezTo>
                  <a:cubicBezTo>
                    <a:pt x="79" y="68"/>
                    <a:pt x="81" y="67"/>
                    <a:pt x="83" y="65"/>
                  </a:cubicBezTo>
                  <a:cubicBezTo>
                    <a:pt x="85" y="63"/>
                    <a:pt x="87" y="61"/>
                    <a:pt x="90" y="60"/>
                  </a:cubicBezTo>
                  <a:cubicBezTo>
                    <a:pt x="93" y="58"/>
                    <a:pt x="97" y="56"/>
                    <a:pt x="100" y="56"/>
                  </a:cubicBezTo>
                  <a:cubicBezTo>
                    <a:pt x="103" y="55"/>
                    <a:pt x="104" y="51"/>
                    <a:pt x="101" y="50"/>
                  </a:cubicBezTo>
                  <a:cubicBezTo>
                    <a:pt x="99" y="48"/>
                    <a:pt x="90" y="49"/>
                    <a:pt x="81" y="55"/>
                  </a:cubicBezTo>
                  <a:cubicBezTo>
                    <a:pt x="71" y="61"/>
                    <a:pt x="77" y="45"/>
                    <a:pt x="79" y="39"/>
                  </a:cubicBezTo>
                  <a:cubicBezTo>
                    <a:pt x="81" y="33"/>
                    <a:pt x="86" y="15"/>
                    <a:pt x="84" y="13"/>
                  </a:cubicBezTo>
                  <a:cubicBezTo>
                    <a:pt x="83" y="10"/>
                    <a:pt x="79" y="12"/>
                    <a:pt x="77" y="18"/>
                  </a:cubicBezTo>
                  <a:cubicBezTo>
                    <a:pt x="75" y="24"/>
                    <a:pt x="69" y="41"/>
                    <a:pt x="66" y="40"/>
                  </a:cubicBezTo>
                  <a:cubicBezTo>
                    <a:pt x="63" y="39"/>
                    <a:pt x="73" y="9"/>
                    <a:pt x="73" y="9"/>
                  </a:cubicBezTo>
                  <a:cubicBezTo>
                    <a:pt x="73" y="9"/>
                    <a:pt x="76" y="3"/>
                    <a:pt x="73" y="2"/>
                  </a:cubicBezTo>
                  <a:cubicBezTo>
                    <a:pt x="67" y="0"/>
                    <a:pt x="58" y="32"/>
                    <a:pt x="57" y="35"/>
                  </a:cubicBezTo>
                  <a:cubicBezTo>
                    <a:pt x="57" y="37"/>
                    <a:pt x="53" y="36"/>
                    <a:pt x="54" y="33"/>
                  </a:cubicBezTo>
                  <a:cubicBezTo>
                    <a:pt x="55" y="31"/>
                    <a:pt x="65" y="4"/>
                    <a:pt x="59" y="2"/>
                  </a:cubicBezTo>
                  <a:cubicBezTo>
                    <a:pt x="54" y="0"/>
                    <a:pt x="51" y="28"/>
                    <a:pt x="46" y="32"/>
                  </a:cubicBezTo>
                  <a:cubicBezTo>
                    <a:pt x="41" y="37"/>
                    <a:pt x="50" y="11"/>
                    <a:pt x="45" y="10"/>
                  </a:cubicBezTo>
                  <a:cubicBezTo>
                    <a:pt x="44" y="9"/>
                    <a:pt x="42" y="9"/>
                    <a:pt x="39" y="24"/>
                  </a:cubicBezTo>
                  <a:cubicBezTo>
                    <a:pt x="38" y="32"/>
                    <a:pt x="34" y="44"/>
                    <a:pt x="33" y="56"/>
                  </a:cubicBezTo>
                  <a:cubicBezTo>
                    <a:pt x="33" y="56"/>
                    <a:pt x="33" y="56"/>
                    <a:pt x="33" y="56"/>
                  </a:cubicBezTo>
                  <a:cubicBezTo>
                    <a:pt x="0" y="223"/>
                    <a:pt x="0" y="223"/>
                    <a:pt x="0" y="223"/>
                  </a:cubicBezTo>
                  <a:cubicBezTo>
                    <a:pt x="104" y="360"/>
                    <a:pt x="104" y="360"/>
                    <a:pt x="104" y="360"/>
                  </a:cubicBezTo>
                  <a:cubicBezTo>
                    <a:pt x="168" y="319"/>
                    <a:pt x="168" y="319"/>
                    <a:pt x="168" y="319"/>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5">
              <a:extLst>
                <a:ext uri="{FF2B5EF4-FFF2-40B4-BE49-F238E27FC236}">
                  <a16:creationId xmlns:a16="http://schemas.microsoft.com/office/drawing/2014/main" id="{17087982-205F-4911-AFF9-4B9391B2CAAE}"/>
                </a:ext>
              </a:extLst>
            </p:cNvPr>
            <p:cNvSpPr>
              <a:spLocks/>
            </p:cNvSpPr>
            <p:nvPr/>
          </p:nvSpPr>
          <p:spPr bwMode="auto">
            <a:xfrm>
              <a:off x="4863" y="2267"/>
              <a:ext cx="365" cy="869"/>
            </a:xfrm>
            <a:custGeom>
              <a:avLst/>
              <a:gdLst>
                <a:gd name="T0" fmla="*/ 51 w 154"/>
                <a:gd name="T1" fmla="*/ 8 h 366"/>
                <a:gd name="T2" fmla="*/ 54 w 154"/>
                <a:gd name="T3" fmla="*/ 30 h 366"/>
                <a:gd name="T4" fmla="*/ 36 w 154"/>
                <a:gd name="T5" fmla="*/ 2 h 366"/>
                <a:gd name="T6" fmla="*/ 46 w 154"/>
                <a:gd name="T7" fmla="*/ 33 h 366"/>
                <a:gd name="T8" fmla="*/ 43 w 154"/>
                <a:gd name="T9" fmla="*/ 35 h 366"/>
                <a:gd name="T10" fmla="*/ 22 w 154"/>
                <a:gd name="T11" fmla="*/ 5 h 366"/>
                <a:gd name="T12" fmla="*/ 23 w 154"/>
                <a:gd name="T13" fmla="*/ 12 h 366"/>
                <a:gd name="T14" fmla="*/ 36 w 154"/>
                <a:gd name="T15" fmla="*/ 41 h 366"/>
                <a:gd name="T16" fmla="*/ 21 w 154"/>
                <a:gd name="T17" fmla="*/ 22 h 366"/>
                <a:gd name="T18" fmla="*/ 13 w 154"/>
                <a:gd name="T19" fmla="*/ 18 h 366"/>
                <a:gd name="T20" fmla="*/ 23 w 154"/>
                <a:gd name="T21" fmla="*/ 43 h 366"/>
                <a:gd name="T22" fmla="*/ 24 w 154"/>
                <a:gd name="T23" fmla="*/ 59 h 366"/>
                <a:gd name="T24" fmla="*/ 3 w 154"/>
                <a:gd name="T25" fmla="*/ 57 h 366"/>
                <a:gd name="T26" fmla="*/ 6 w 154"/>
                <a:gd name="T27" fmla="*/ 63 h 366"/>
                <a:gd name="T28" fmla="*/ 16 w 154"/>
                <a:gd name="T29" fmla="*/ 65 h 366"/>
                <a:gd name="T30" fmla="*/ 24 w 154"/>
                <a:gd name="T31" fmla="*/ 69 h 366"/>
                <a:gd name="T32" fmla="*/ 29 w 154"/>
                <a:gd name="T33" fmla="*/ 73 h 366"/>
                <a:gd name="T34" fmla="*/ 32 w 154"/>
                <a:gd name="T35" fmla="*/ 75 h 366"/>
                <a:gd name="T36" fmla="*/ 89 w 154"/>
                <a:gd name="T37" fmla="*/ 216 h 366"/>
                <a:gd name="T38" fmla="*/ 37 w 154"/>
                <a:gd name="T39" fmla="*/ 337 h 366"/>
                <a:gd name="T40" fmla="*/ 118 w 154"/>
                <a:gd name="T41" fmla="*/ 366 h 366"/>
                <a:gd name="T42" fmla="*/ 154 w 154"/>
                <a:gd name="T43" fmla="*/ 207 h 366"/>
                <a:gd name="T44" fmla="*/ 71 w 154"/>
                <a:gd name="T45" fmla="*/ 52 h 366"/>
                <a:gd name="T46" fmla="*/ 71 w 154"/>
                <a:gd name="T47" fmla="*/ 52 h 366"/>
                <a:gd name="T48" fmla="*/ 59 w 154"/>
                <a:gd name="T49" fmla="*/ 21 h 366"/>
                <a:gd name="T50" fmla="*/ 51 w 154"/>
                <a:gd name="T5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366">
                  <a:moveTo>
                    <a:pt x="51" y="8"/>
                  </a:moveTo>
                  <a:cubicBezTo>
                    <a:pt x="46" y="10"/>
                    <a:pt x="60" y="34"/>
                    <a:pt x="54" y="30"/>
                  </a:cubicBezTo>
                  <a:cubicBezTo>
                    <a:pt x="48" y="27"/>
                    <a:pt x="41" y="0"/>
                    <a:pt x="36" y="2"/>
                  </a:cubicBezTo>
                  <a:cubicBezTo>
                    <a:pt x="30" y="6"/>
                    <a:pt x="45" y="31"/>
                    <a:pt x="46" y="33"/>
                  </a:cubicBezTo>
                  <a:cubicBezTo>
                    <a:pt x="47" y="35"/>
                    <a:pt x="44" y="37"/>
                    <a:pt x="43" y="35"/>
                  </a:cubicBezTo>
                  <a:cubicBezTo>
                    <a:pt x="42" y="32"/>
                    <a:pt x="28" y="2"/>
                    <a:pt x="22" y="5"/>
                  </a:cubicBezTo>
                  <a:cubicBezTo>
                    <a:pt x="19" y="7"/>
                    <a:pt x="23" y="12"/>
                    <a:pt x="23" y="12"/>
                  </a:cubicBezTo>
                  <a:cubicBezTo>
                    <a:pt x="23" y="12"/>
                    <a:pt x="39" y="40"/>
                    <a:pt x="36" y="41"/>
                  </a:cubicBezTo>
                  <a:cubicBezTo>
                    <a:pt x="33" y="43"/>
                    <a:pt x="24" y="27"/>
                    <a:pt x="21" y="22"/>
                  </a:cubicBezTo>
                  <a:cubicBezTo>
                    <a:pt x="18" y="16"/>
                    <a:pt x="14" y="15"/>
                    <a:pt x="13" y="18"/>
                  </a:cubicBezTo>
                  <a:cubicBezTo>
                    <a:pt x="12" y="21"/>
                    <a:pt x="20" y="38"/>
                    <a:pt x="23" y="43"/>
                  </a:cubicBezTo>
                  <a:cubicBezTo>
                    <a:pt x="26" y="48"/>
                    <a:pt x="34" y="63"/>
                    <a:pt x="24" y="59"/>
                  </a:cubicBezTo>
                  <a:cubicBezTo>
                    <a:pt x="14" y="55"/>
                    <a:pt x="5" y="55"/>
                    <a:pt x="3" y="57"/>
                  </a:cubicBezTo>
                  <a:cubicBezTo>
                    <a:pt x="0" y="59"/>
                    <a:pt x="2" y="63"/>
                    <a:pt x="6" y="63"/>
                  </a:cubicBezTo>
                  <a:cubicBezTo>
                    <a:pt x="8" y="63"/>
                    <a:pt x="13" y="64"/>
                    <a:pt x="16" y="65"/>
                  </a:cubicBezTo>
                  <a:cubicBezTo>
                    <a:pt x="19" y="66"/>
                    <a:pt x="22" y="67"/>
                    <a:pt x="24" y="69"/>
                  </a:cubicBezTo>
                  <a:cubicBezTo>
                    <a:pt x="26" y="70"/>
                    <a:pt x="28" y="72"/>
                    <a:pt x="29" y="73"/>
                  </a:cubicBezTo>
                  <a:cubicBezTo>
                    <a:pt x="32" y="75"/>
                    <a:pt x="32" y="75"/>
                    <a:pt x="32" y="75"/>
                  </a:cubicBezTo>
                  <a:cubicBezTo>
                    <a:pt x="89" y="216"/>
                    <a:pt x="89" y="216"/>
                    <a:pt x="89" y="216"/>
                  </a:cubicBezTo>
                  <a:cubicBezTo>
                    <a:pt x="37" y="337"/>
                    <a:pt x="37" y="337"/>
                    <a:pt x="37" y="337"/>
                  </a:cubicBezTo>
                  <a:cubicBezTo>
                    <a:pt x="118" y="366"/>
                    <a:pt x="118" y="366"/>
                    <a:pt x="118" y="366"/>
                  </a:cubicBezTo>
                  <a:cubicBezTo>
                    <a:pt x="154" y="207"/>
                    <a:pt x="154" y="207"/>
                    <a:pt x="154" y="207"/>
                  </a:cubicBezTo>
                  <a:cubicBezTo>
                    <a:pt x="71" y="52"/>
                    <a:pt x="71" y="52"/>
                    <a:pt x="71" y="52"/>
                  </a:cubicBezTo>
                  <a:cubicBezTo>
                    <a:pt x="71" y="52"/>
                    <a:pt x="71" y="52"/>
                    <a:pt x="71" y="52"/>
                  </a:cubicBezTo>
                  <a:cubicBezTo>
                    <a:pt x="68" y="40"/>
                    <a:pt x="62" y="28"/>
                    <a:pt x="59" y="21"/>
                  </a:cubicBezTo>
                  <a:cubicBezTo>
                    <a:pt x="54" y="6"/>
                    <a:pt x="52" y="7"/>
                    <a:pt x="51" y="8"/>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16">
              <a:extLst>
                <a:ext uri="{FF2B5EF4-FFF2-40B4-BE49-F238E27FC236}">
                  <a16:creationId xmlns:a16="http://schemas.microsoft.com/office/drawing/2014/main" id="{C11E7907-C68C-42E7-A6BF-FDACAFFEA910}"/>
                </a:ext>
              </a:extLst>
            </p:cNvPr>
            <p:cNvSpPr>
              <a:spLocks/>
            </p:cNvSpPr>
            <p:nvPr/>
          </p:nvSpPr>
          <p:spPr bwMode="auto">
            <a:xfrm>
              <a:off x="4770" y="3677"/>
              <a:ext cx="1090" cy="1441"/>
            </a:xfrm>
            <a:custGeom>
              <a:avLst/>
              <a:gdLst>
                <a:gd name="T0" fmla="*/ 269 w 459"/>
                <a:gd name="T1" fmla="*/ 268 h 607"/>
                <a:gd name="T2" fmla="*/ 217 w 459"/>
                <a:gd name="T3" fmla="*/ 0 h 607"/>
                <a:gd name="T4" fmla="*/ 143 w 459"/>
                <a:gd name="T5" fmla="*/ 6 h 607"/>
                <a:gd name="T6" fmla="*/ 143 w 459"/>
                <a:gd name="T7" fmla="*/ 6 h 607"/>
                <a:gd name="T8" fmla="*/ 8 w 459"/>
                <a:gd name="T9" fmla="*/ 18 h 607"/>
                <a:gd name="T10" fmla="*/ 0 w 459"/>
                <a:gd name="T11" fmla="*/ 326 h 607"/>
                <a:gd name="T12" fmla="*/ 37 w 459"/>
                <a:gd name="T13" fmla="*/ 607 h 607"/>
                <a:gd name="T14" fmla="*/ 37 w 459"/>
                <a:gd name="T15" fmla="*/ 607 h 607"/>
                <a:gd name="T16" fmla="*/ 143 w 459"/>
                <a:gd name="T17" fmla="*/ 602 h 607"/>
                <a:gd name="T18" fmla="*/ 102 w 459"/>
                <a:gd name="T19" fmla="*/ 323 h 607"/>
                <a:gd name="T20" fmla="*/ 117 w 459"/>
                <a:gd name="T21" fmla="*/ 98 h 607"/>
                <a:gd name="T22" fmla="*/ 120 w 459"/>
                <a:gd name="T23" fmla="*/ 94 h 607"/>
                <a:gd name="T24" fmla="*/ 182 w 459"/>
                <a:gd name="T25" fmla="*/ 323 h 607"/>
                <a:gd name="T26" fmla="*/ 391 w 459"/>
                <a:gd name="T27" fmla="*/ 560 h 607"/>
                <a:gd name="T28" fmla="*/ 459 w 459"/>
                <a:gd name="T29" fmla="*/ 494 h 607"/>
                <a:gd name="T30" fmla="*/ 269 w 459"/>
                <a:gd name="T31" fmla="*/ 26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9" h="607">
                  <a:moveTo>
                    <a:pt x="269" y="268"/>
                  </a:moveTo>
                  <a:cubicBezTo>
                    <a:pt x="217" y="0"/>
                    <a:pt x="217" y="0"/>
                    <a:pt x="217" y="0"/>
                  </a:cubicBezTo>
                  <a:cubicBezTo>
                    <a:pt x="143" y="6"/>
                    <a:pt x="143" y="6"/>
                    <a:pt x="143" y="6"/>
                  </a:cubicBezTo>
                  <a:cubicBezTo>
                    <a:pt x="143" y="6"/>
                    <a:pt x="143" y="6"/>
                    <a:pt x="143" y="6"/>
                  </a:cubicBezTo>
                  <a:cubicBezTo>
                    <a:pt x="8" y="18"/>
                    <a:pt x="8" y="18"/>
                    <a:pt x="8" y="18"/>
                  </a:cubicBezTo>
                  <a:cubicBezTo>
                    <a:pt x="8" y="18"/>
                    <a:pt x="2" y="326"/>
                    <a:pt x="0" y="326"/>
                  </a:cubicBezTo>
                  <a:cubicBezTo>
                    <a:pt x="37" y="607"/>
                    <a:pt x="37" y="607"/>
                    <a:pt x="37" y="607"/>
                  </a:cubicBezTo>
                  <a:cubicBezTo>
                    <a:pt x="37" y="607"/>
                    <a:pt x="37" y="607"/>
                    <a:pt x="37" y="607"/>
                  </a:cubicBezTo>
                  <a:cubicBezTo>
                    <a:pt x="143" y="602"/>
                    <a:pt x="143" y="602"/>
                    <a:pt x="143" y="602"/>
                  </a:cubicBezTo>
                  <a:cubicBezTo>
                    <a:pt x="102" y="323"/>
                    <a:pt x="102" y="323"/>
                    <a:pt x="102" y="323"/>
                  </a:cubicBezTo>
                  <a:cubicBezTo>
                    <a:pt x="117" y="98"/>
                    <a:pt x="117" y="98"/>
                    <a:pt x="117" y="98"/>
                  </a:cubicBezTo>
                  <a:cubicBezTo>
                    <a:pt x="117" y="98"/>
                    <a:pt x="118" y="96"/>
                    <a:pt x="120" y="94"/>
                  </a:cubicBezTo>
                  <a:cubicBezTo>
                    <a:pt x="182" y="323"/>
                    <a:pt x="182" y="323"/>
                    <a:pt x="182" y="323"/>
                  </a:cubicBezTo>
                  <a:cubicBezTo>
                    <a:pt x="391" y="560"/>
                    <a:pt x="391" y="560"/>
                    <a:pt x="391" y="560"/>
                  </a:cubicBezTo>
                  <a:cubicBezTo>
                    <a:pt x="459" y="494"/>
                    <a:pt x="459" y="494"/>
                    <a:pt x="459" y="494"/>
                  </a:cubicBezTo>
                  <a:lnTo>
                    <a:pt x="269" y="268"/>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17">
              <a:extLst>
                <a:ext uri="{FF2B5EF4-FFF2-40B4-BE49-F238E27FC236}">
                  <a16:creationId xmlns:a16="http://schemas.microsoft.com/office/drawing/2014/main" id="{10806AA5-CB18-48F6-A570-CF5019AAA4F9}"/>
                </a:ext>
              </a:extLst>
            </p:cNvPr>
            <p:cNvSpPr>
              <a:spLocks/>
            </p:cNvSpPr>
            <p:nvPr/>
          </p:nvSpPr>
          <p:spPr bwMode="auto">
            <a:xfrm>
              <a:off x="5020" y="3829"/>
              <a:ext cx="87" cy="513"/>
            </a:xfrm>
            <a:custGeom>
              <a:avLst/>
              <a:gdLst>
                <a:gd name="T0" fmla="*/ 0 w 37"/>
                <a:gd name="T1" fmla="*/ 216 h 216"/>
                <a:gd name="T2" fmla="*/ 0 w 37"/>
                <a:gd name="T3" fmla="*/ 214 h 216"/>
                <a:gd name="T4" fmla="*/ 0 w 37"/>
                <a:gd name="T5" fmla="*/ 207 h 216"/>
                <a:gd name="T6" fmla="*/ 1 w 37"/>
                <a:gd name="T7" fmla="*/ 183 h 216"/>
                <a:gd name="T8" fmla="*/ 6 w 37"/>
                <a:gd name="T9" fmla="*/ 104 h 216"/>
                <a:gd name="T10" fmla="*/ 11 w 37"/>
                <a:gd name="T11" fmla="*/ 30 h 216"/>
                <a:gd name="T12" fmla="*/ 11 w 37"/>
                <a:gd name="T13" fmla="*/ 30 h 216"/>
                <a:gd name="T14" fmla="*/ 11 w 37"/>
                <a:gd name="T15" fmla="*/ 30 h 216"/>
                <a:gd name="T16" fmla="*/ 30 w 37"/>
                <a:gd name="T17" fmla="*/ 8 h 216"/>
                <a:gd name="T18" fmla="*/ 35 w 37"/>
                <a:gd name="T19" fmla="*/ 2 h 216"/>
                <a:gd name="T20" fmla="*/ 37 w 37"/>
                <a:gd name="T21" fmla="*/ 0 h 216"/>
                <a:gd name="T22" fmla="*/ 35 w 37"/>
                <a:gd name="T23" fmla="*/ 2 h 216"/>
                <a:gd name="T24" fmla="*/ 31 w 37"/>
                <a:gd name="T25" fmla="*/ 9 h 216"/>
                <a:gd name="T26" fmla="*/ 13 w 37"/>
                <a:gd name="T27" fmla="*/ 31 h 216"/>
                <a:gd name="T28" fmla="*/ 13 w 37"/>
                <a:gd name="T29" fmla="*/ 30 h 216"/>
                <a:gd name="T30" fmla="*/ 8 w 37"/>
                <a:gd name="T31" fmla="*/ 104 h 216"/>
                <a:gd name="T32" fmla="*/ 3 w 37"/>
                <a:gd name="T33" fmla="*/ 183 h 216"/>
                <a:gd name="T34" fmla="*/ 1 w 37"/>
                <a:gd name="T35" fmla="*/ 207 h 216"/>
                <a:gd name="T36" fmla="*/ 0 w 37"/>
                <a:gd name="T37" fmla="*/ 214 h 216"/>
                <a:gd name="T38" fmla="*/ 0 w 37"/>
                <a:gd name="T3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216">
                  <a:moveTo>
                    <a:pt x="0" y="216"/>
                  </a:moveTo>
                  <a:cubicBezTo>
                    <a:pt x="0" y="216"/>
                    <a:pt x="0" y="215"/>
                    <a:pt x="0" y="214"/>
                  </a:cubicBezTo>
                  <a:cubicBezTo>
                    <a:pt x="0" y="212"/>
                    <a:pt x="0" y="210"/>
                    <a:pt x="0" y="207"/>
                  </a:cubicBezTo>
                  <a:cubicBezTo>
                    <a:pt x="0" y="201"/>
                    <a:pt x="1" y="193"/>
                    <a:pt x="1" y="183"/>
                  </a:cubicBezTo>
                  <a:cubicBezTo>
                    <a:pt x="2" y="163"/>
                    <a:pt x="4" y="135"/>
                    <a:pt x="6" y="104"/>
                  </a:cubicBezTo>
                  <a:cubicBezTo>
                    <a:pt x="8" y="76"/>
                    <a:pt x="10" y="50"/>
                    <a:pt x="11" y="30"/>
                  </a:cubicBezTo>
                  <a:cubicBezTo>
                    <a:pt x="11" y="30"/>
                    <a:pt x="11" y="30"/>
                    <a:pt x="11" y="30"/>
                  </a:cubicBezTo>
                  <a:cubicBezTo>
                    <a:pt x="11" y="30"/>
                    <a:pt x="11" y="30"/>
                    <a:pt x="11" y="30"/>
                  </a:cubicBezTo>
                  <a:cubicBezTo>
                    <a:pt x="19" y="21"/>
                    <a:pt x="25" y="13"/>
                    <a:pt x="30" y="8"/>
                  </a:cubicBezTo>
                  <a:cubicBezTo>
                    <a:pt x="32" y="6"/>
                    <a:pt x="34" y="4"/>
                    <a:pt x="35" y="2"/>
                  </a:cubicBezTo>
                  <a:cubicBezTo>
                    <a:pt x="36" y="1"/>
                    <a:pt x="37" y="0"/>
                    <a:pt x="37" y="0"/>
                  </a:cubicBezTo>
                  <a:cubicBezTo>
                    <a:pt x="37" y="0"/>
                    <a:pt x="36" y="1"/>
                    <a:pt x="35" y="2"/>
                  </a:cubicBezTo>
                  <a:cubicBezTo>
                    <a:pt x="34" y="4"/>
                    <a:pt x="32" y="6"/>
                    <a:pt x="31" y="9"/>
                  </a:cubicBezTo>
                  <a:cubicBezTo>
                    <a:pt x="26" y="14"/>
                    <a:pt x="20" y="22"/>
                    <a:pt x="13" y="31"/>
                  </a:cubicBezTo>
                  <a:cubicBezTo>
                    <a:pt x="13" y="30"/>
                    <a:pt x="13" y="30"/>
                    <a:pt x="13" y="30"/>
                  </a:cubicBezTo>
                  <a:cubicBezTo>
                    <a:pt x="12" y="50"/>
                    <a:pt x="10" y="76"/>
                    <a:pt x="8" y="104"/>
                  </a:cubicBezTo>
                  <a:cubicBezTo>
                    <a:pt x="6" y="135"/>
                    <a:pt x="4" y="163"/>
                    <a:pt x="3" y="183"/>
                  </a:cubicBezTo>
                  <a:cubicBezTo>
                    <a:pt x="2" y="193"/>
                    <a:pt x="1" y="201"/>
                    <a:pt x="1" y="207"/>
                  </a:cubicBezTo>
                  <a:cubicBezTo>
                    <a:pt x="0" y="210"/>
                    <a:pt x="0" y="212"/>
                    <a:pt x="0" y="214"/>
                  </a:cubicBezTo>
                  <a:cubicBezTo>
                    <a:pt x="0" y="215"/>
                    <a:pt x="0" y="216"/>
                    <a:pt x="0" y="2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118">
              <a:extLst>
                <a:ext uri="{FF2B5EF4-FFF2-40B4-BE49-F238E27FC236}">
                  <a16:creationId xmlns:a16="http://schemas.microsoft.com/office/drawing/2014/main" id="{25D845D5-4BCE-4D9E-BAAF-6A00B1EA1F33}"/>
                </a:ext>
              </a:extLst>
            </p:cNvPr>
            <p:cNvSpPr>
              <a:spLocks noChangeArrowheads="1"/>
            </p:cNvSpPr>
            <p:nvPr/>
          </p:nvSpPr>
          <p:spPr bwMode="auto">
            <a:xfrm>
              <a:off x="5107" y="3691"/>
              <a:ext cx="5" cy="12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19">
              <a:extLst>
                <a:ext uri="{FF2B5EF4-FFF2-40B4-BE49-F238E27FC236}">
                  <a16:creationId xmlns:a16="http://schemas.microsoft.com/office/drawing/2014/main" id="{D0B0E9A0-80F2-4B21-BC02-1F71E82422FE}"/>
                </a:ext>
              </a:extLst>
            </p:cNvPr>
            <p:cNvSpPr>
              <a:spLocks/>
            </p:cNvSpPr>
            <p:nvPr/>
          </p:nvSpPr>
          <p:spPr bwMode="auto">
            <a:xfrm>
              <a:off x="4892" y="3732"/>
              <a:ext cx="121" cy="137"/>
            </a:xfrm>
            <a:custGeom>
              <a:avLst/>
              <a:gdLst>
                <a:gd name="T0" fmla="*/ 1 w 51"/>
                <a:gd name="T1" fmla="*/ 6 h 58"/>
                <a:gd name="T2" fmla="*/ 5 w 51"/>
                <a:gd name="T3" fmla="*/ 5 h 58"/>
                <a:gd name="T4" fmla="*/ 14 w 51"/>
                <a:gd name="T5" fmla="*/ 4 h 58"/>
                <a:gd name="T6" fmla="*/ 50 w 51"/>
                <a:gd name="T7" fmla="*/ 0 h 58"/>
                <a:gd name="T8" fmla="*/ 51 w 51"/>
                <a:gd name="T9" fmla="*/ 0 h 58"/>
                <a:gd name="T10" fmla="*/ 51 w 51"/>
                <a:gd name="T11" fmla="*/ 1 h 58"/>
                <a:gd name="T12" fmla="*/ 51 w 51"/>
                <a:gd name="T13" fmla="*/ 44 h 58"/>
                <a:gd name="T14" fmla="*/ 51 w 51"/>
                <a:gd name="T15" fmla="*/ 45 h 58"/>
                <a:gd name="T16" fmla="*/ 50 w 51"/>
                <a:gd name="T17" fmla="*/ 45 h 58"/>
                <a:gd name="T18" fmla="*/ 50 w 51"/>
                <a:gd name="T19" fmla="*/ 45 h 58"/>
                <a:gd name="T20" fmla="*/ 24 w 51"/>
                <a:gd name="T21" fmla="*/ 58 h 58"/>
                <a:gd name="T22" fmla="*/ 23 w 51"/>
                <a:gd name="T23" fmla="*/ 58 h 58"/>
                <a:gd name="T24" fmla="*/ 23 w 51"/>
                <a:gd name="T25" fmla="*/ 58 h 58"/>
                <a:gd name="T26" fmla="*/ 1 w 51"/>
                <a:gd name="T27" fmla="*/ 45 h 58"/>
                <a:gd name="T28" fmla="*/ 0 w 51"/>
                <a:gd name="T29" fmla="*/ 44 h 58"/>
                <a:gd name="T30" fmla="*/ 0 w 51"/>
                <a:gd name="T31" fmla="*/ 44 h 58"/>
                <a:gd name="T32" fmla="*/ 1 w 51"/>
                <a:gd name="T33" fmla="*/ 16 h 58"/>
                <a:gd name="T34" fmla="*/ 1 w 51"/>
                <a:gd name="T35" fmla="*/ 8 h 58"/>
                <a:gd name="T36" fmla="*/ 1 w 51"/>
                <a:gd name="T37" fmla="*/ 6 h 58"/>
                <a:gd name="T38" fmla="*/ 1 w 51"/>
                <a:gd name="T39" fmla="*/ 9 h 58"/>
                <a:gd name="T40" fmla="*/ 2 w 51"/>
                <a:gd name="T41" fmla="*/ 16 h 58"/>
                <a:gd name="T42" fmla="*/ 2 w 51"/>
                <a:gd name="T43" fmla="*/ 44 h 58"/>
                <a:gd name="T44" fmla="*/ 2 w 51"/>
                <a:gd name="T45" fmla="*/ 43 h 58"/>
                <a:gd name="T46" fmla="*/ 24 w 51"/>
                <a:gd name="T47" fmla="*/ 56 h 58"/>
                <a:gd name="T48" fmla="*/ 23 w 51"/>
                <a:gd name="T49" fmla="*/ 56 h 58"/>
                <a:gd name="T50" fmla="*/ 49 w 51"/>
                <a:gd name="T51" fmla="*/ 43 h 58"/>
                <a:gd name="T52" fmla="*/ 49 w 51"/>
                <a:gd name="T53" fmla="*/ 43 h 58"/>
                <a:gd name="T54" fmla="*/ 49 w 51"/>
                <a:gd name="T55" fmla="*/ 44 h 58"/>
                <a:gd name="T56" fmla="*/ 49 w 51"/>
                <a:gd name="T57" fmla="*/ 1 h 58"/>
                <a:gd name="T58" fmla="*/ 50 w 51"/>
                <a:gd name="T59" fmla="*/ 2 h 58"/>
                <a:gd name="T60" fmla="*/ 15 w 51"/>
                <a:gd name="T61" fmla="*/ 5 h 58"/>
                <a:gd name="T62" fmla="*/ 5 w 51"/>
                <a:gd name="T63" fmla="*/ 6 h 58"/>
                <a:gd name="T64" fmla="*/ 1 w 51"/>
                <a:gd name="T65"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8">
                  <a:moveTo>
                    <a:pt x="1" y="6"/>
                  </a:moveTo>
                  <a:cubicBezTo>
                    <a:pt x="1" y="6"/>
                    <a:pt x="2" y="6"/>
                    <a:pt x="5" y="5"/>
                  </a:cubicBezTo>
                  <a:cubicBezTo>
                    <a:pt x="7" y="5"/>
                    <a:pt x="10" y="5"/>
                    <a:pt x="14" y="4"/>
                  </a:cubicBezTo>
                  <a:cubicBezTo>
                    <a:pt x="23" y="3"/>
                    <a:pt x="35" y="2"/>
                    <a:pt x="50" y="0"/>
                  </a:cubicBezTo>
                  <a:cubicBezTo>
                    <a:pt x="51" y="0"/>
                    <a:pt x="51" y="0"/>
                    <a:pt x="51" y="0"/>
                  </a:cubicBezTo>
                  <a:cubicBezTo>
                    <a:pt x="51" y="1"/>
                    <a:pt x="51" y="1"/>
                    <a:pt x="51" y="1"/>
                  </a:cubicBezTo>
                  <a:cubicBezTo>
                    <a:pt x="51" y="14"/>
                    <a:pt x="51" y="28"/>
                    <a:pt x="51" y="44"/>
                  </a:cubicBezTo>
                  <a:cubicBezTo>
                    <a:pt x="51" y="45"/>
                    <a:pt x="51" y="45"/>
                    <a:pt x="51" y="45"/>
                  </a:cubicBezTo>
                  <a:cubicBezTo>
                    <a:pt x="50" y="45"/>
                    <a:pt x="50" y="45"/>
                    <a:pt x="50" y="45"/>
                  </a:cubicBezTo>
                  <a:cubicBezTo>
                    <a:pt x="50" y="45"/>
                    <a:pt x="50" y="45"/>
                    <a:pt x="50" y="45"/>
                  </a:cubicBezTo>
                  <a:cubicBezTo>
                    <a:pt x="41" y="50"/>
                    <a:pt x="32" y="54"/>
                    <a:pt x="24" y="58"/>
                  </a:cubicBezTo>
                  <a:cubicBezTo>
                    <a:pt x="23" y="58"/>
                    <a:pt x="23" y="58"/>
                    <a:pt x="23" y="58"/>
                  </a:cubicBezTo>
                  <a:cubicBezTo>
                    <a:pt x="23" y="58"/>
                    <a:pt x="23" y="58"/>
                    <a:pt x="23" y="58"/>
                  </a:cubicBezTo>
                  <a:cubicBezTo>
                    <a:pt x="15" y="53"/>
                    <a:pt x="7" y="49"/>
                    <a:pt x="1" y="45"/>
                  </a:cubicBezTo>
                  <a:cubicBezTo>
                    <a:pt x="0" y="44"/>
                    <a:pt x="0" y="44"/>
                    <a:pt x="0" y="44"/>
                  </a:cubicBezTo>
                  <a:cubicBezTo>
                    <a:pt x="0" y="44"/>
                    <a:pt x="0" y="44"/>
                    <a:pt x="0" y="44"/>
                  </a:cubicBezTo>
                  <a:cubicBezTo>
                    <a:pt x="1" y="32"/>
                    <a:pt x="1" y="23"/>
                    <a:pt x="1" y="16"/>
                  </a:cubicBezTo>
                  <a:cubicBezTo>
                    <a:pt x="1" y="13"/>
                    <a:pt x="1" y="10"/>
                    <a:pt x="1" y="8"/>
                  </a:cubicBezTo>
                  <a:cubicBezTo>
                    <a:pt x="1" y="7"/>
                    <a:pt x="1" y="6"/>
                    <a:pt x="1" y="6"/>
                  </a:cubicBezTo>
                  <a:cubicBezTo>
                    <a:pt x="1" y="6"/>
                    <a:pt x="1" y="7"/>
                    <a:pt x="1" y="9"/>
                  </a:cubicBezTo>
                  <a:cubicBezTo>
                    <a:pt x="1" y="11"/>
                    <a:pt x="2" y="13"/>
                    <a:pt x="2" y="16"/>
                  </a:cubicBezTo>
                  <a:cubicBezTo>
                    <a:pt x="2" y="23"/>
                    <a:pt x="2" y="33"/>
                    <a:pt x="2" y="44"/>
                  </a:cubicBezTo>
                  <a:cubicBezTo>
                    <a:pt x="2" y="43"/>
                    <a:pt x="2" y="43"/>
                    <a:pt x="2" y="43"/>
                  </a:cubicBezTo>
                  <a:cubicBezTo>
                    <a:pt x="8" y="47"/>
                    <a:pt x="16" y="51"/>
                    <a:pt x="24" y="56"/>
                  </a:cubicBezTo>
                  <a:cubicBezTo>
                    <a:pt x="23" y="56"/>
                    <a:pt x="23" y="56"/>
                    <a:pt x="23" y="56"/>
                  </a:cubicBezTo>
                  <a:cubicBezTo>
                    <a:pt x="31" y="52"/>
                    <a:pt x="40" y="48"/>
                    <a:pt x="49" y="43"/>
                  </a:cubicBezTo>
                  <a:cubicBezTo>
                    <a:pt x="49" y="43"/>
                    <a:pt x="49" y="43"/>
                    <a:pt x="49" y="43"/>
                  </a:cubicBezTo>
                  <a:cubicBezTo>
                    <a:pt x="49" y="44"/>
                    <a:pt x="49" y="44"/>
                    <a:pt x="49" y="44"/>
                  </a:cubicBezTo>
                  <a:cubicBezTo>
                    <a:pt x="49" y="28"/>
                    <a:pt x="49" y="14"/>
                    <a:pt x="49" y="1"/>
                  </a:cubicBezTo>
                  <a:cubicBezTo>
                    <a:pt x="50" y="2"/>
                    <a:pt x="50" y="2"/>
                    <a:pt x="50" y="2"/>
                  </a:cubicBezTo>
                  <a:cubicBezTo>
                    <a:pt x="36" y="3"/>
                    <a:pt x="24" y="4"/>
                    <a:pt x="15" y="5"/>
                  </a:cubicBezTo>
                  <a:cubicBezTo>
                    <a:pt x="11" y="5"/>
                    <a:pt x="8" y="6"/>
                    <a:pt x="5" y="6"/>
                  </a:cubicBezTo>
                  <a:cubicBezTo>
                    <a:pt x="3" y="6"/>
                    <a:pt x="1" y="6"/>
                    <a:pt x="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0">
              <a:extLst>
                <a:ext uri="{FF2B5EF4-FFF2-40B4-BE49-F238E27FC236}">
                  <a16:creationId xmlns:a16="http://schemas.microsoft.com/office/drawing/2014/main" id="{B5EF7D11-9310-425E-94C0-0A783409AE98}"/>
                </a:ext>
              </a:extLst>
            </p:cNvPr>
            <p:cNvSpPr>
              <a:spLocks/>
            </p:cNvSpPr>
            <p:nvPr/>
          </p:nvSpPr>
          <p:spPr bwMode="auto">
            <a:xfrm>
              <a:off x="5138" y="3708"/>
              <a:ext cx="121" cy="138"/>
            </a:xfrm>
            <a:custGeom>
              <a:avLst/>
              <a:gdLst>
                <a:gd name="T0" fmla="*/ 1 w 51"/>
                <a:gd name="T1" fmla="*/ 6 h 58"/>
                <a:gd name="T2" fmla="*/ 4 w 51"/>
                <a:gd name="T3" fmla="*/ 5 h 58"/>
                <a:gd name="T4" fmla="*/ 14 w 51"/>
                <a:gd name="T5" fmla="*/ 4 h 58"/>
                <a:gd name="T6" fmla="*/ 49 w 51"/>
                <a:gd name="T7" fmla="*/ 0 h 58"/>
                <a:gd name="T8" fmla="*/ 50 w 51"/>
                <a:gd name="T9" fmla="*/ 0 h 58"/>
                <a:gd name="T10" fmla="*/ 50 w 51"/>
                <a:gd name="T11" fmla="*/ 1 h 58"/>
                <a:gd name="T12" fmla="*/ 51 w 51"/>
                <a:gd name="T13" fmla="*/ 44 h 58"/>
                <a:gd name="T14" fmla="*/ 51 w 51"/>
                <a:gd name="T15" fmla="*/ 44 h 58"/>
                <a:gd name="T16" fmla="*/ 50 w 51"/>
                <a:gd name="T17" fmla="*/ 45 h 58"/>
                <a:gd name="T18" fmla="*/ 49 w 51"/>
                <a:gd name="T19" fmla="*/ 45 h 58"/>
                <a:gd name="T20" fmla="*/ 24 w 51"/>
                <a:gd name="T21" fmla="*/ 58 h 58"/>
                <a:gd name="T22" fmla="*/ 23 w 51"/>
                <a:gd name="T23" fmla="*/ 58 h 58"/>
                <a:gd name="T24" fmla="*/ 23 w 51"/>
                <a:gd name="T25" fmla="*/ 58 h 58"/>
                <a:gd name="T26" fmla="*/ 0 w 51"/>
                <a:gd name="T27" fmla="*/ 44 h 58"/>
                <a:gd name="T28" fmla="*/ 0 w 51"/>
                <a:gd name="T29" fmla="*/ 44 h 58"/>
                <a:gd name="T30" fmla="*/ 0 w 51"/>
                <a:gd name="T31" fmla="*/ 44 h 58"/>
                <a:gd name="T32" fmla="*/ 0 w 51"/>
                <a:gd name="T33" fmla="*/ 16 h 58"/>
                <a:gd name="T34" fmla="*/ 1 w 51"/>
                <a:gd name="T35" fmla="*/ 8 h 58"/>
                <a:gd name="T36" fmla="*/ 1 w 51"/>
                <a:gd name="T37" fmla="*/ 6 h 58"/>
                <a:gd name="T38" fmla="*/ 1 w 51"/>
                <a:gd name="T39" fmla="*/ 9 h 58"/>
                <a:gd name="T40" fmla="*/ 1 w 51"/>
                <a:gd name="T41" fmla="*/ 16 h 58"/>
                <a:gd name="T42" fmla="*/ 2 w 51"/>
                <a:gd name="T43" fmla="*/ 44 h 58"/>
                <a:gd name="T44" fmla="*/ 1 w 51"/>
                <a:gd name="T45" fmla="*/ 43 h 58"/>
                <a:gd name="T46" fmla="*/ 24 w 51"/>
                <a:gd name="T47" fmla="*/ 56 h 58"/>
                <a:gd name="T48" fmla="*/ 23 w 51"/>
                <a:gd name="T49" fmla="*/ 56 h 58"/>
                <a:gd name="T50" fmla="*/ 48 w 51"/>
                <a:gd name="T51" fmla="*/ 43 h 58"/>
                <a:gd name="T52" fmla="*/ 49 w 51"/>
                <a:gd name="T53" fmla="*/ 43 h 58"/>
                <a:gd name="T54" fmla="*/ 49 w 51"/>
                <a:gd name="T55" fmla="*/ 44 h 58"/>
                <a:gd name="T56" fmla="*/ 49 w 51"/>
                <a:gd name="T57" fmla="*/ 1 h 58"/>
                <a:gd name="T58" fmla="*/ 50 w 51"/>
                <a:gd name="T59" fmla="*/ 2 h 58"/>
                <a:gd name="T60" fmla="*/ 15 w 51"/>
                <a:gd name="T61" fmla="*/ 5 h 58"/>
                <a:gd name="T62" fmla="*/ 5 w 51"/>
                <a:gd name="T63" fmla="*/ 6 h 58"/>
                <a:gd name="T64" fmla="*/ 1 w 51"/>
                <a:gd name="T65"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8">
                  <a:moveTo>
                    <a:pt x="1" y="6"/>
                  </a:moveTo>
                  <a:cubicBezTo>
                    <a:pt x="1" y="6"/>
                    <a:pt x="2" y="5"/>
                    <a:pt x="4" y="5"/>
                  </a:cubicBezTo>
                  <a:cubicBezTo>
                    <a:pt x="7" y="5"/>
                    <a:pt x="10" y="4"/>
                    <a:pt x="14" y="4"/>
                  </a:cubicBezTo>
                  <a:cubicBezTo>
                    <a:pt x="22" y="3"/>
                    <a:pt x="35" y="2"/>
                    <a:pt x="49" y="0"/>
                  </a:cubicBezTo>
                  <a:cubicBezTo>
                    <a:pt x="50" y="0"/>
                    <a:pt x="50" y="0"/>
                    <a:pt x="50" y="0"/>
                  </a:cubicBezTo>
                  <a:cubicBezTo>
                    <a:pt x="50" y="1"/>
                    <a:pt x="50" y="1"/>
                    <a:pt x="50" y="1"/>
                  </a:cubicBezTo>
                  <a:cubicBezTo>
                    <a:pt x="50" y="14"/>
                    <a:pt x="51" y="28"/>
                    <a:pt x="51" y="44"/>
                  </a:cubicBezTo>
                  <a:cubicBezTo>
                    <a:pt x="51" y="44"/>
                    <a:pt x="51" y="44"/>
                    <a:pt x="51" y="44"/>
                  </a:cubicBezTo>
                  <a:cubicBezTo>
                    <a:pt x="50" y="45"/>
                    <a:pt x="50" y="45"/>
                    <a:pt x="50" y="45"/>
                  </a:cubicBezTo>
                  <a:cubicBezTo>
                    <a:pt x="49" y="45"/>
                    <a:pt x="49" y="45"/>
                    <a:pt x="49" y="45"/>
                  </a:cubicBezTo>
                  <a:cubicBezTo>
                    <a:pt x="40" y="49"/>
                    <a:pt x="32" y="54"/>
                    <a:pt x="24" y="58"/>
                  </a:cubicBezTo>
                  <a:cubicBezTo>
                    <a:pt x="23" y="58"/>
                    <a:pt x="23" y="58"/>
                    <a:pt x="23" y="58"/>
                  </a:cubicBezTo>
                  <a:cubicBezTo>
                    <a:pt x="23" y="58"/>
                    <a:pt x="23" y="58"/>
                    <a:pt x="23" y="58"/>
                  </a:cubicBezTo>
                  <a:cubicBezTo>
                    <a:pt x="15" y="53"/>
                    <a:pt x="7" y="48"/>
                    <a:pt x="0" y="44"/>
                  </a:cubicBezTo>
                  <a:cubicBezTo>
                    <a:pt x="0" y="44"/>
                    <a:pt x="0" y="44"/>
                    <a:pt x="0" y="44"/>
                  </a:cubicBezTo>
                  <a:cubicBezTo>
                    <a:pt x="0" y="44"/>
                    <a:pt x="0" y="44"/>
                    <a:pt x="0" y="44"/>
                  </a:cubicBezTo>
                  <a:cubicBezTo>
                    <a:pt x="0" y="32"/>
                    <a:pt x="0" y="23"/>
                    <a:pt x="0" y="16"/>
                  </a:cubicBezTo>
                  <a:cubicBezTo>
                    <a:pt x="0" y="13"/>
                    <a:pt x="1" y="10"/>
                    <a:pt x="1" y="8"/>
                  </a:cubicBezTo>
                  <a:cubicBezTo>
                    <a:pt x="1" y="7"/>
                    <a:pt x="1" y="6"/>
                    <a:pt x="1" y="6"/>
                  </a:cubicBezTo>
                  <a:cubicBezTo>
                    <a:pt x="1" y="6"/>
                    <a:pt x="1" y="7"/>
                    <a:pt x="1" y="9"/>
                  </a:cubicBezTo>
                  <a:cubicBezTo>
                    <a:pt x="1" y="11"/>
                    <a:pt x="1" y="13"/>
                    <a:pt x="1" y="16"/>
                  </a:cubicBezTo>
                  <a:cubicBezTo>
                    <a:pt x="1" y="23"/>
                    <a:pt x="1" y="32"/>
                    <a:pt x="2" y="44"/>
                  </a:cubicBezTo>
                  <a:cubicBezTo>
                    <a:pt x="1" y="43"/>
                    <a:pt x="1" y="43"/>
                    <a:pt x="1" y="43"/>
                  </a:cubicBezTo>
                  <a:cubicBezTo>
                    <a:pt x="8" y="47"/>
                    <a:pt x="15" y="51"/>
                    <a:pt x="24" y="56"/>
                  </a:cubicBezTo>
                  <a:cubicBezTo>
                    <a:pt x="23" y="56"/>
                    <a:pt x="23" y="56"/>
                    <a:pt x="23" y="56"/>
                  </a:cubicBezTo>
                  <a:cubicBezTo>
                    <a:pt x="31" y="52"/>
                    <a:pt x="39" y="48"/>
                    <a:pt x="48" y="43"/>
                  </a:cubicBezTo>
                  <a:cubicBezTo>
                    <a:pt x="49" y="43"/>
                    <a:pt x="49" y="43"/>
                    <a:pt x="49" y="43"/>
                  </a:cubicBezTo>
                  <a:cubicBezTo>
                    <a:pt x="49" y="44"/>
                    <a:pt x="49" y="44"/>
                    <a:pt x="49" y="44"/>
                  </a:cubicBezTo>
                  <a:cubicBezTo>
                    <a:pt x="49" y="28"/>
                    <a:pt x="49" y="14"/>
                    <a:pt x="49" y="1"/>
                  </a:cubicBezTo>
                  <a:cubicBezTo>
                    <a:pt x="50" y="2"/>
                    <a:pt x="50" y="2"/>
                    <a:pt x="50" y="2"/>
                  </a:cubicBezTo>
                  <a:cubicBezTo>
                    <a:pt x="35" y="3"/>
                    <a:pt x="23" y="4"/>
                    <a:pt x="15" y="5"/>
                  </a:cubicBezTo>
                  <a:cubicBezTo>
                    <a:pt x="10" y="5"/>
                    <a:pt x="7" y="5"/>
                    <a:pt x="5" y="6"/>
                  </a:cubicBezTo>
                  <a:cubicBezTo>
                    <a:pt x="2" y="6"/>
                    <a:pt x="1" y="6"/>
                    <a:pt x="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1">
              <a:extLst>
                <a:ext uri="{FF2B5EF4-FFF2-40B4-BE49-F238E27FC236}">
                  <a16:creationId xmlns:a16="http://schemas.microsoft.com/office/drawing/2014/main" id="{9F35214E-0BCB-4878-B33F-61FC24CCB0EE}"/>
                </a:ext>
              </a:extLst>
            </p:cNvPr>
            <p:cNvSpPr>
              <a:spLocks/>
            </p:cNvSpPr>
            <p:nvPr/>
          </p:nvSpPr>
          <p:spPr bwMode="auto">
            <a:xfrm>
              <a:off x="4894" y="3758"/>
              <a:ext cx="119" cy="9"/>
            </a:xfrm>
            <a:custGeom>
              <a:avLst/>
              <a:gdLst>
                <a:gd name="T0" fmla="*/ 50 w 50"/>
                <a:gd name="T1" fmla="*/ 1 h 4"/>
                <a:gd name="T2" fmla="*/ 25 w 50"/>
                <a:gd name="T3" fmla="*/ 3 h 4"/>
                <a:gd name="T4" fmla="*/ 0 w 50"/>
                <a:gd name="T5" fmla="*/ 3 h 4"/>
                <a:gd name="T6" fmla="*/ 25 w 50"/>
                <a:gd name="T7" fmla="*/ 1 h 4"/>
                <a:gd name="T8" fmla="*/ 50 w 50"/>
                <a:gd name="T9" fmla="*/ 1 h 4"/>
              </a:gdLst>
              <a:ahLst/>
              <a:cxnLst>
                <a:cxn ang="0">
                  <a:pos x="T0" y="T1"/>
                </a:cxn>
                <a:cxn ang="0">
                  <a:pos x="T2" y="T3"/>
                </a:cxn>
                <a:cxn ang="0">
                  <a:pos x="T4" y="T5"/>
                </a:cxn>
                <a:cxn ang="0">
                  <a:pos x="T6" y="T7"/>
                </a:cxn>
                <a:cxn ang="0">
                  <a:pos x="T8" y="T9"/>
                </a:cxn>
              </a:cxnLst>
              <a:rect l="0" t="0" r="r" b="b"/>
              <a:pathLst>
                <a:path w="50" h="4">
                  <a:moveTo>
                    <a:pt x="50" y="1"/>
                  </a:moveTo>
                  <a:cubicBezTo>
                    <a:pt x="50" y="1"/>
                    <a:pt x="39" y="2"/>
                    <a:pt x="25" y="3"/>
                  </a:cubicBezTo>
                  <a:cubicBezTo>
                    <a:pt x="11" y="4"/>
                    <a:pt x="0" y="4"/>
                    <a:pt x="0" y="3"/>
                  </a:cubicBezTo>
                  <a:cubicBezTo>
                    <a:pt x="0" y="3"/>
                    <a:pt x="11" y="2"/>
                    <a:pt x="25" y="1"/>
                  </a:cubicBezTo>
                  <a:cubicBezTo>
                    <a:pt x="39" y="0"/>
                    <a:pt x="50" y="0"/>
                    <a:pt x="5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2">
              <a:extLst>
                <a:ext uri="{FF2B5EF4-FFF2-40B4-BE49-F238E27FC236}">
                  <a16:creationId xmlns:a16="http://schemas.microsoft.com/office/drawing/2014/main" id="{7A26961D-C8BE-4649-846E-72EE325F1824}"/>
                </a:ext>
              </a:extLst>
            </p:cNvPr>
            <p:cNvSpPr>
              <a:spLocks/>
            </p:cNvSpPr>
            <p:nvPr/>
          </p:nvSpPr>
          <p:spPr bwMode="auto">
            <a:xfrm>
              <a:off x="5141" y="3737"/>
              <a:ext cx="116" cy="11"/>
            </a:xfrm>
            <a:custGeom>
              <a:avLst/>
              <a:gdLst>
                <a:gd name="T0" fmla="*/ 49 w 49"/>
                <a:gd name="T1" fmla="*/ 0 h 5"/>
                <a:gd name="T2" fmla="*/ 24 w 49"/>
                <a:gd name="T3" fmla="*/ 3 h 5"/>
                <a:gd name="T4" fmla="*/ 0 w 49"/>
                <a:gd name="T5" fmla="*/ 4 h 5"/>
                <a:gd name="T6" fmla="*/ 24 w 49"/>
                <a:gd name="T7" fmla="*/ 1 h 5"/>
                <a:gd name="T8" fmla="*/ 49 w 49"/>
                <a:gd name="T9" fmla="*/ 0 h 5"/>
              </a:gdLst>
              <a:ahLst/>
              <a:cxnLst>
                <a:cxn ang="0">
                  <a:pos x="T0" y="T1"/>
                </a:cxn>
                <a:cxn ang="0">
                  <a:pos x="T2" y="T3"/>
                </a:cxn>
                <a:cxn ang="0">
                  <a:pos x="T4" y="T5"/>
                </a:cxn>
                <a:cxn ang="0">
                  <a:pos x="T6" y="T7"/>
                </a:cxn>
                <a:cxn ang="0">
                  <a:pos x="T8" y="T9"/>
                </a:cxn>
              </a:cxnLst>
              <a:rect l="0" t="0" r="r" b="b"/>
              <a:pathLst>
                <a:path w="49" h="5">
                  <a:moveTo>
                    <a:pt x="49" y="0"/>
                  </a:moveTo>
                  <a:cubicBezTo>
                    <a:pt x="49" y="1"/>
                    <a:pt x="38" y="2"/>
                    <a:pt x="24" y="3"/>
                  </a:cubicBezTo>
                  <a:cubicBezTo>
                    <a:pt x="11" y="4"/>
                    <a:pt x="0" y="5"/>
                    <a:pt x="0" y="4"/>
                  </a:cubicBezTo>
                  <a:cubicBezTo>
                    <a:pt x="0" y="3"/>
                    <a:pt x="11" y="2"/>
                    <a:pt x="24" y="1"/>
                  </a:cubicBezTo>
                  <a:cubicBezTo>
                    <a:pt x="38" y="0"/>
                    <a:pt x="48" y="0"/>
                    <a:pt x="4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23">
              <a:extLst>
                <a:ext uri="{FF2B5EF4-FFF2-40B4-BE49-F238E27FC236}">
                  <a16:creationId xmlns:a16="http://schemas.microsoft.com/office/drawing/2014/main" id="{3CBEF5C6-B35B-43EA-8257-F86BD69AD200}"/>
                </a:ext>
              </a:extLst>
            </p:cNvPr>
            <p:cNvSpPr>
              <a:spLocks/>
            </p:cNvSpPr>
            <p:nvPr/>
          </p:nvSpPr>
          <p:spPr bwMode="auto">
            <a:xfrm>
              <a:off x="4877" y="4437"/>
              <a:ext cx="117" cy="16"/>
            </a:xfrm>
            <a:custGeom>
              <a:avLst/>
              <a:gdLst>
                <a:gd name="T0" fmla="*/ 48 w 49"/>
                <a:gd name="T1" fmla="*/ 0 h 7"/>
                <a:gd name="T2" fmla="*/ 24 w 49"/>
                <a:gd name="T3" fmla="*/ 4 h 7"/>
                <a:gd name="T4" fmla="*/ 0 w 49"/>
                <a:gd name="T5" fmla="*/ 6 h 7"/>
                <a:gd name="T6" fmla="*/ 24 w 49"/>
                <a:gd name="T7" fmla="*/ 2 h 7"/>
                <a:gd name="T8" fmla="*/ 48 w 49"/>
                <a:gd name="T9" fmla="*/ 0 h 7"/>
              </a:gdLst>
              <a:ahLst/>
              <a:cxnLst>
                <a:cxn ang="0">
                  <a:pos x="T0" y="T1"/>
                </a:cxn>
                <a:cxn ang="0">
                  <a:pos x="T2" y="T3"/>
                </a:cxn>
                <a:cxn ang="0">
                  <a:pos x="T4" y="T5"/>
                </a:cxn>
                <a:cxn ang="0">
                  <a:pos x="T6" y="T7"/>
                </a:cxn>
                <a:cxn ang="0">
                  <a:pos x="T8" y="T9"/>
                </a:cxn>
              </a:cxnLst>
              <a:rect l="0" t="0" r="r" b="b"/>
              <a:pathLst>
                <a:path w="49" h="7">
                  <a:moveTo>
                    <a:pt x="48" y="0"/>
                  </a:moveTo>
                  <a:cubicBezTo>
                    <a:pt x="49" y="1"/>
                    <a:pt x="38" y="2"/>
                    <a:pt x="24" y="4"/>
                  </a:cubicBezTo>
                  <a:cubicBezTo>
                    <a:pt x="11" y="6"/>
                    <a:pt x="0" y="7"/>
                    <a:pt x="0" y="6"/>
                  </a:cubicBezTo>
                  <a:cubicBezTo>
                    <a:pt x="0" y="5"/>
                    <a:pt x="11" y="4"/>
                    <a:pt x="24" y="2"/>
                  </a:cubicBezTo>
                  <a:cubicBezTo>
                    <a:pt x="38" y="0"/>
                    <a:pt x="48" y="0"/>
                    <a:pt x="4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24">
              <a:extLst>
                <a:ext uri="{FF2B5EF4-FFF2-40B4-BE49-F238E27FC236}">
                  <a16:creationId xmlns:a16="http://schemas.microsoft.com/office/drawing/2014/main" id="{8D1B722A-1A5E-44F1-B737-7ADBAEBCB328}"/>
                </a:ext>
              </a:extLst>
            </p:cNvPr>
            <p:cNvSpPr>
              <a:spLocks/>
            </p:cNvSpPr>
            <p:nvPr/>
          </p:nvSpPr>
          <p:spPr bwMode="auto">
            <a:xfrm>
              <a:off x="5278" y="4328"/>
              <a:ext cx="114" cy="64"/>
            </a:xfrm>
            <a:custGeom>
              <a:avLst/>
              <a:gdLst>
                <a:gd name="T0" fmla="*/ 48 w 48"/>
                <a:gd name="T1" fmla="*/ 0 h 27"/>
                <a:gd name="T2" fmla="*/ 23 w 48"/>
                <a:gd name="T3" fmla="*/ 12 h 27"/>
                <a:gd name="T4" fmla="*/ 0 w 48"/>
                <a:gd name="T5" fmla="*/ 27 h 27"/>
                <a:gd name="T6" fmla="*/ 6 w 48"/>
                <a:gd name="T7" fmla="*/ 21 h 27"/>
                <a:gd name="T8" fmla="*/ 22 w 48"/>
                <a:gd name="T9" fmla="*/ 10 h 27"/>
                <a:gd name="T10" fmla="*/ 40 w 48"/>
                <a:gd name="T11" fmla="*/ 2 h 27"/>
                <a:gd name="T12" fmla="*/ 48 w 48"/>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48" h="27">
                  <a:moveTo>
                    <a:pt x="48" y="0"/>
                  </a:moveTo>
                  <a:cubicBezTo>
                    <a:pt x="48" y="1"/>
                    <a:pt x="37" y="5"/>
                    <a:pt x="23" y="12"/>
                  </a:cubicBezTo>
                  <a:cubicBezTo>
                    <a:pt x="10" y="20"/>
                    <a:pt x="0" y="27"/>
                    <a:pt x="0" y="27"/>
                  </a:cubicBezTo>
                  <a:cubicBezTo>
                    <a:pt x="0" y="27"/>
                    <a:pt x="2" y="24"/>
                    <a:pt x="6" y="21"/>
                  </a:cubicBezTo>
                  <a:cubicBezTo>
                    <a:pt x="10" y="18"/>
                    <a:pt x="16" y="14"/>
                    <a:pt x="22" y="10"/>
                  </a:cubicBezTo>
                  <a:cubicBezTo>
                    <a:pt x="29" y="7"/>
                    <a:pt x="35" y="4"/>
                    <a:pt x="40" y="2"/>
                  </a:cubicBezTo>
                  <a:cubicBezTo>
                    <a:pt x="45" y="0"/>
                    <a:pt x="48" y="0"/>
                    <a:pt x="4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25">
              <a:extLst>
                <a:ext uri="{FF2B5EF4-FFF2-40B4-BE49-F238E27FC236}">
                  <a16:creationId xmlns:a16="http://schemas.microsoft.com/office/drawing/2014/main" id="{2DEBB433-1CC0-455A-93BA-ADF6418FDF3B}"/>
                </a:ext>
              </a:extLst>
            </p:cNvPr>
            <p:cNvSpPr>
              <a:spLocks/>
            </p:cNvSpPr>
            <p:nvPr/>
          </p:nvSpPr>
          <p:spPr bwMode="auto">
            <a:xfrm>
              <a:off x="3824" y="1790"/>
              <a:ext cx="1032" cy="605"/>
            </a:xfrm>
            <a:custGeom>
              <a:avLst/>
              <a:gdLst>
                <a:gd name="T0" fmla="*/ 435 w 435"/>
                <a:gd name="T1" fmla="*/ 140 h 255"/>
                <a:gd name="T2" fmla="*/ 434 w 435"/>
                <a:gd name="T3" fmla="*/ 138 h 255"/>
                <a:gd name="T4" fmla="*/ 432 w 435"/>
                <a:gd name="T5" fmla="*/ 134 h 255"/>
                <a:gd name="T6" fmla="*/ 428 w 435"/>
                <a:gd name="T7" fmla="*/ 127 h 255"/>
                <a:gd name="T8" fmla="*/ 423 w 435"/>
                <a:gd name="T9" fmla="*/ 117 h 255"/>
                <a:gd name="T10" fmla="*/ 416 w 435"/>
                <a:gd name="T11" fmla="*/ 106 h 255"/>
                <a:gd name="T12" fmla="*/ 407 w 435"/>
                <a:gd name="T13" fmla="*/ 92 h 255"/>
                <a:gd name="T14" fmla="*/ 380 w 435"/>
                <a:gd name="T15" fmla="*/ 63 h 255"/>
                <a:gd name="T16" fmla="*/ 293 w 435"/>
                <a:gd name="T17" fmla="*/ 12 h 255"/>
                <a:gd name="T18" fmla="*/ 233 w 435"/>
                <a:gd name="T19" fmla="*/ 3 h 255"/>
                <a:gd name="T20" fmla="*/ 169 w 435"/>
                <a:gd name="T21" fmla="*/ 10 h 255"/>
                <a:gd name="T22" fmla="*/ 109 w 435"/>
                <a:gd name="T23" fmla="*/ 35 h 255"/>
                <a:gd name="T24" fmla="*/ 63 w 435"/>
                <a:gd name="T25" fmla="*/ 73 h 255"/>
                <a:gd name="T26" fmla="*/ 12 w 435"/>
                <a:gd name="T27" fmla="*/ 161 h 255"/>
                <a:gd name="T28" fmla="*/ 3 w 435"/>
                <a:gd name="T29" fmla="*/ 200 h 255"/>
                <a:gd name="T30" fmla="*/ 2 w 435"/>
                <a:gd name="T31" fmla="*/ 216 h 255"/>
                <a:gd name="T32" fmla="*/ 1 w 435"/>
                <a:gd name="T33" fmla="*/ 229 h 255"/>
                <a:gd name="T34" fmla="*/ 2 w 435"/>
                <a:gd name="T35" fmla="*/ 240 h 255"/>
                <a:gd name="T36" fmla="*/ 2 w 435"/>
                <a:gd name="T37" fmla="*/ 248 h 255"/>
                <a:gd name="T38" fmla="*/ 3 w 435"/>
                <a:gd name="T39" fmla="*/ 253 h 255"/>
                <a:gd name="T40" fmla="*/ 3 w 435"/>
                <a:gd name="T41" fmla="*/ 255 h 255"/>
                <a:gd name="T42" fmla="*/ 2 w 435"/>
                <a:gd name="T43" fmla="*/ 253 h 255"/>
                <a:gd name="T44" fmla="*/ 2 w 435"/>
                <a:gd name="T45" fmla="*/ 248 h 255"/>
                <a:gd name="T46" fmla="*/ 1 w 435"/>
                <a:gd name="T47" fmla="*/ 240 h 255"/>
                <a:gd name="T48" fmla="*/ 1 w 435"/>
                <a:gd name="T49" fmla="*/ 229 h 255"/>
                <a:gd name="T50" fmla="*/ 1 w 435"/>
                <a:gd name="T51" fmla="*/ 216 h 255"/>
                <a:gd name="T52" fmla="*/ 2 w 435"/>
                <a:gd name="T53" fmla="*/ 200 h 255"/>
                <a:gd name="T54" fmla="*/ 10 w 435"/>
                <a:gd name="T55" fmla="*/ 161 h 255"/>
                <a:gd name="T56" fmla="*/ 61 w 435"/>
                <a:gd name="T57" fmla="*/ 72 h 255"/>
                <a:gd name="T58" fmla="*/ 108 w 435"/>
                <a:gd name="T59" fmla="*/ 34 h 255"/>
                <a:gd name="T60" fmla="*/ 168 w 435"/>
                <a:gd name="T61" fmla="*/ 8 h 255"/>
                <a:gd name="T62" fmla="*/ 233 w 435"/>
                <a:gd name="T63" fmla="*/ 0 h 255"/>
                <a:gd name="T64" fmla="*/ 293 w 435"/>
                <a:gd name="T65" fmla="*/ 10 h 255"/>
                <a:gd name="T66" fmla="*/ 381 w 435"/>
                <a:gd name="T67" fmla="*/ 62 h 255"/>
                <a:gd name="T68" fmla="*/ 408 w 435"/>
                <a:gd name="T69" fmla="*/ 92 h 255"/>
                <a:gd name="T70" fmla="*/ 417 w 435"/>
                <a:gd name="T71" fmla="*/ 105 h 255"/>
                <a:gd name="T72" fmla="*/ 424 w 435"/>
                <a:gd name="T73" fmla="*/ 117 h 255"/>
                <a:gd name="T74" fmla="*/ 429 w 435"/>
                <a:gd name="T75" fmla="*/ 126 h 255"/>
                <a:gd name="T76" fmla="*/ 432 w 435"/>
                <a:gd name="T77" fmla="*/ 134 h 255"/>
                <a:gd name="T78" fmla="*/ 434 w 435"/>
                <a:gd name="T79" fmla="*/ 138 h 255"/>
                <a:gd name="T80" fmla="*/ 435 w 435"/>
                <a:gd name="T81" fmla="*/ 14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5" h="255">
                  <a:moveTo>
                    <a:pt x="435" y="140"/>
                  </a:moveTo>
                  <a:cubicBezTo>
                    <a:pt x="435" y="140"/>
                    <a:pt x="434" y="139"/>
                    <a:pt x="434" y="138"/>
                  </a:cubicBezTo>
                  <a:cubicBezTo>
                    <a:pt x="433" y="137"/>
                    <a:pt x="433" y="136"/>
                    <a:pt x="432" y="134"/>
                  </a:cubicBezTo>
                  <a:cubicBezTo>
                    <a:pt x="431" y="132"/>
                    <a:pt x="430" y="129"/>
                    <a:pt x="428" y="127"/>
                  </a:cubicBezTo>
                  <a:cubicBezTo>
                    <a:pt x="427" y="124"/>
                    <a:pt x="425" y="121"/>
                    <a:pt x="423" y="117"/>
                  </a:cubicBezTo>
                  <a:cubicBezTo>
                    <a:pt x="421" y="114"/>
                    <a:pt x="419" y="110"/>
                    <a:pt x="416" y="106"/>
                  </a:cubicBezTo>
                  <a:cubicBezTo>
                    <a:pt x="413" y="101"/>
                    <a:pt x="410" y="97"/>
                    <a:pt x="407" y="92"/>
                  </a:cubicBezTo>
                  <a:cubicBezTo>
                    <a:pt x="400" y="83"/>
                    <a:pt x="391" y="73"/>
                    <a:pt x="380" y="63"/>
                  </a:cubicBezTo>
                  <a:cubicBezTo>
                    <a:pt x="359" y="44"/>
                    <a:pt x="329" y="24"/>
                    <a:pt x="293" y="12"/>
                  </a:cubicBezTo>
                  <a:cubicBezTo>
                    <a:pt x="274" y="6"/>
                    <a:pt x="254" y="3"/>
                    <a:pt x="233" y="3"/>
                  </a:cubicBezTo>
                  <a:cubicBezTo>
                    <a:pt x="212" y="2"/>
                    <a:pt x="190" y="5"/>
                    <a:pt x="169" y="10"/>
                  </a:cubicBezTo>
                  <a:cubicBezTo>
                    <a:pt x="147" y="16"/>
                    <a:pt x="127" y="25"/>
                    <a:pt x="109" y="35"/>
                  </a:cubicBezTo>
                  <a:cubicBezTo>
                    <a:pt x="91" y="46"/>
                    <a:pt x="76" y="59"/>
                    <a:pt x="63" y="73"/>
                  </a:cubicBezTo>
                  <a:cubicBezTo>
                    <a:pt x="36" y="102"/>
                    <a:pt x="21" y="134"/>
                    <a:pt x="12" y="161"/>
                  </a:cubicBezTo>
                  <a:cubicBezTo>
                    <a:pt x="8" y="175"/>
                    <a:pt x="5" y="188"/>
                    <a:pt x="3" y="200"/>
                  </a:cubicBezTo>
                  <a:cubicBezTo>
                    <a:pt x="3" y="206"/>
                    <a:pt x="2" y="211"/>
                    <a:pt x="2" y="216"/>
                  </a:cubicBezTo>
                  <a:cubicBezTo>
                    <a:pt x="2" y="221"/>
                    <a:pt x="1" y="225"/>
                    <a:pt x="1" y="229"/>
                  </a:cubicBezTo>
                  <a:cubicBezTo>
                    <a:pt x="1" y="234"/>
                    <a:pt x="2" y="237"/>
                    <a:pt x="2" y="240"/>
                  </a:cubicBezTo>
                  <a:cubicBezTo>
                    <a:pt x="2" y="243"/>
                    <a:pt x="2" y="246"/>
                    <a:pt x="2" y="248"/>
                  </a:cubicBezTo>
                  <a:cubicBezTo>
                    <a:pt x="2" y="250"/>
                    <a:pt x="2" y="252"/>
                    <a:pt x="3" y="253"/>
                  </a:cubicBezTo>
                  <a:cubicBezTo>
                    <a:pt x="3" y="254"/>
                    <a:pt x="3" y="255"/>
                    <a:pt x="3" y="255"/>
                  </a:cubicBezTo>
                  <a:cubicBezTo>
                    <a:pt x="3" y="255"/>
                    <a:pt x="2" y="254"/>
                    <a:pt x="2" y="253"/>
                  </a:cubicBezTo>
                  <a:cubicBezTo>
                    <a:pt x="2" y="252"/>
                    <a:pt x="2" y="250"/>
                    <a:pt x="2" y="248"/>
                  </a:cubicBezTo>
                  <a:cubicBezTo>
                    <a:pt x="2" y="246"/>
                    <a:pt x="1" y="244"/>
                    <a:pt x="1" y="240"/>
                  </a:cubicBezTo>
                  <a:cubicBezTo>
                    <a:pt x="1" y="237"/>
                    <a:pt x="1" y="234"/>
                    <a:pt x="1" y="229"/>
                  </a:cubicBezTo>
                  <a:cubicBezTo>
                    <a:pt x="0" y="225"/>
                    <a:pt x="1" y="221"/>
                    <a:pt x="1" y="216"/>
                  </a:cubicBezTo>
                  <a:cubicBezTo>
                    <a:pt x="1" y="211"/>
                    <a:pt x="2" y="205"/>
                    <a:pt x="2" y="200"/>
                  </a:cubicBezTo>
                  <a:cubicBezTo>
                    <a:pt x="4" y="188"/>
                    <a:pt x="6" y="175"/>
                    <a:pt x="10" y="161"/>
                  </a:cubicBezTo>
                  <a:cubicBezTo>
                    <a:pt x="19" y="133"/>
                    <a:pt x="35" y="101"/>
                    <a:pt x="61" y="72"/>
                  </a:cubicBezTo>
                  <a:cubicBezTo>
                    <a:pt x="74" y="58"/>
                    <a:pt x="90" y="45"/>
                    <a:pt x="108" y="34"/>
                  </a:cubicBezTo>
                  <a:cubicBezTo>
                    <a:pt x="126" y="23"/>
                    <a:pt x="147" y="14"/>
                    <a:pt x="168" y="8"/>
                  </a:cubicBezTo>
                  <a:cubicBezTo>
                    <a:pt x="190" y="3"/>
                    <a:pt x="212" y="0"/>
                    <a:pt x="233" y="0"/>
                  </a:cubicBezTo>
                  <a:cubicBezTo>
                    <a:pt x="254" y="1"/>
                    <a:pt x="275" y="5"/>
                    <a:pt x="293" y="10"/>
                  </a:cubicBezTo>
                  <a:cubicBezTo>
                    <a:pt x="330" y="22"/>
                    <a:pt x="360" y="42"/>
                    <a:pt x="381" y="62"/>
                  </a:cubicBezTo>
                  <a:cubicBezTo>
                    <a:pt x="392" y="72"/>
                    <a:pt x="401" y="82"/>
                    <a:pt x="408" y="92"/>
                  </a:cubicBezTo>
                  <a:cubicBezTo>
                    <a:pt x="411" y="96"/>
                    <a:pt x="414" y="101"/>
                    <a:pt x="417" y="105"/>
                  </a:cubicBezTo>
                  <a:cubicBezTo>
                    <a:pt x="419" y="109"/>
                    <a:pt x="422" y="113"/>
                    <a:pt x="424" y="117"/>
                  </a:cubicBezTo>
                  <a:cubicBezTo>
                    <a:pt x="426" y="120"/>
                    <a:pt x="427" y="124"/>
                    <a:pt x="429" y="126"/>
                  </a:cubicBezTo>
                  <a:cubicBezTo>
                    <a:pt x="430" y="129"/>
                    <a:pt x="431" y="132"/>
                    <a:pt x="432" y="134"/>
                  </a:cubicBezTo>
                  <a:cubicBezTo>
                    <a:pt x="433" y="136"/>
                    <a:pt x="434" y="137"/>
                    <a:pt x="434" y="138"/>
                  </a:cubicBezTo>
                  <a:cubicBezTo>
                    <a:pt x="435" y="139"/>
                    <a:pt x="435" y="140"/>
                    <a:pt x="435" y="14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26">
              <a:extLst>
                <a:ext uri="{FF2B5EF4-FFF2-40B4-BE49-F238E27FC236}">
                  <a16:creationId xmlns:a16="http://schemas.microsoft.com/office/drawing/2014/main" id="{BE8F5557-5406-4D7D-A01C-A0E8C533E995}"/>
                </a:ext>
              </a:extLst>
            </p:cNvPr>
            <p:cNvSpPr>
              <a:spLocks/>
            </p:cNvSpPr>
            <p:nvPr/>
          </p:nvSpPr>
          <p:spPr bwMode="auto">
            <a:xfrm>
              <a:off x="4123" y="1880"/>
              <a:ext cx="626" cy="216"/>
            </a:xfrm>
            <a:custGeom>
              <a:avLst/>
              <a:gdLst>
                <a:gd name="T0" fmla="*/ 264 w 264"/>
                <a:gd name="T1" fmla="*/ 91 h 91"/>
                <a:gd name="T2" fmla="*/ 262 w 264"/>
                <a:gd name="T3" fmla="*/ 88 h 91"/>
                <a:gd name="T4" fmla="*/ 257 w 264"/>
                <a:gd name="T5" fmla="*/ 81 h 91"/>
                <a:gd name="T6" fmla="*/ 235 w 264"/>
                <a:gd name="T7" fmla="*/ 58 h 91"/>
                <a:gd name="T8" fmla="*/ 198 w 264"/>
                <a:gd name="T9" fmla="*/ 29 h 91"/>
                <a:gd name="T10" fmla="*/ 144 w 264"/>
                <a:gd name="T11" fmla="*/ 7 h 91"/>
                <a:gd name="T12" fmla="*/ 87 w 264"/>
                <a:gd name="T13" fmla="*/ 3 h 91"/>
                <a:gd name="T14" fmla="*/ 40 w 264"/>
                <a:gd name="T15" fmla="*/ 11 h 91"/>
                <a:gd name="T16" fmla="*/ 11 w 264"/>
                <a:gd name="T17" fmla="*/ 23 h 91"/>
                <a:gd name="T18" fmla="*/ 3 w 264"/>
                <a:gd name="T19" fmla="*/ 27 h 91"/>
                <a:gd name="T20" fmla="*/ 0 w 264"/>
                <a:gd name="T21" fmla="*/ 29 h 91"/>
                <a:gd name="T22" fmla="*/ 3 w 264"/>
                <a:gd name="T23" fmla="*/ 27 h 91"/>
                <a:gd name="T24" fmla="*/ 10 w 264"/>
                <a:gd name="T25" fmla="*/ 23 h 91"/>
                <a:gd name="T26" fmla="*/ 40 w 264"/>
                <a:gd name="T27" fmla="*/ 10 h 91"/>
                <a:gd name="T28" fmla="*/ 87 w 264"/>
                <a:gd name="T29" fmla="*/ 1 h 91"/>
                <a:gd name="T30" fmla="*/ 145 w 264"/>
                <a:gd name="T31" fmla="*/ 5 h 91"/>
                <a:gd name="T32" fmla="*/ 199 w 264"/>
                <a:gd name="T33" fmla="*/ 27 h 91"/>
                <a:gd name="T34" fmla="*/ 236 w 264"/>
                <a:gd name="T35" fmla="*/ 56 h 91"/>
                <a:gd name="T36" fmla="*/ 257 w 264"/>
                <a:gd name="T37" fmla="*/ 81 h 91"/>
                <a:gd name="T38" fmla="*/ 262 w 264"/>
                <a:gd name="T39" fmla="*/ 88 h 91"/>
                <a:gd name="T40" fmla="*/ 264 w 264"/>
                <a:gd name="T4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4" h="91">
                  <a:moveTo>
                    <a:pt x="264" y="91"/>
                  </a:moveTo>
                  <a:cubicBezTo>
                    <a:pt x="263" y="91"/>
                    <a:pt x="263" y="90"/>
                    <a:pt x="262" y="88"/>
                  </a:cubicBezTo>
                  <a:cubicBezTo>
                    <a:pt x="260" y="87"/>
                    <a:pt x="259" y="84"/>
                    <a:pt x="257" y="81"/>
                  </a:cubicBezTo>
                  <a:cubicBezTo>
                    <a:pt x="252" y="75"/>
                    <a:pt x="245" y="67"/>
                    <a:pt x="235" y="58"/>
                  </a:cubicBezTo>
                  <a:cubicBezTo>
                    <a:pt x="226" y="48"/>
                    <a:pt x="213" y="38"/>
                    <a:pt x="198" y="29"/>
                  </a:cubicBezTo>
                  <a:cubicBezTo>
                    <a:pt x="182" y="20"/>
                    <a:pt x="164" y="12"/>
                    <a:pt x="144" y="7"/>
                  </a:cubicBezTo>
                  <a:cubicBezTo>
                    <a:pt x="124" y="3"/>
                    <a:pt x="105" y="2"/>
                    <a:pt x="87" y="3"/>
                  </a:cubicBezTo>
                  <a:cubicBezTo>
                    <a:pt x="69" y="4"/>
                    <a:pt x="53" y="7"/>
                    <a:pt x="40" y="11"/>
                  </a:cubicBezTo>
                  <a:cubicBezTo>
                    <a:pt x="28" y="16"/>
                    <a:pt x="18" y="20"/>
                    <a:pt x="11" y="23"/>
                  </a:cubicBezTo>
                  <a:cubicBezTo>
                    <a:pt x="7" y="25"/>
                    <a:pt x="5" y="26"/>
                    <a:pt x="3" y="27"/>
                  </a:cubicBezTo>
                  <a:cubicBezTo>
                    <a:pt x="1" y="28"/>
                    <a:pt x="0" y="29"/>
                    <a:pt x="0" y="29"/>
                  </a:cubicBezTo>
                  <a:cubicBezTo>
                    <a:pt x="0" y="29"/>
                    <a:pt x="1" y="28"/>
                    <a:pt x="3" y="27"/>
                  </a:cubicBezTo>
                  <a:cubicBezTo>
                    <a:pt x="5" y="26"/>
                    <a:pt x="7" y="24"/>
                    <a:pt x="10" y="23"/>
                  </a:cubicBezTo>
                  <a:cubicBezTo>
                    <a:pt x="17" y="19"/>
                    <a:pt x="27" y="14"/>
                    <a:pt x="40" y="10"/>
                  </a:cubicBezTo>
                  <a:cubicBezTo>
                    <a:pt x="53" y="6"/>
                    <a:pt x="69" y="2"/>
                    <a:pt x="87" y="1"/>
                  </a:cubicBezTo>
                  <a:cubicBezTo>
                    <a:pt x="105" y="0"/>
                    <a:pt x="124" y="1"/>
                    <a:pt x="145" y="5"/>
                  </a:cubicBezTo>
                  <a:cubicBezTo>
                    <a:pt x="165" y="10"/>
                    <a:pt x="183" y="18"/>
                    <a:pt x="199" y="27"/>
                  </a:cubicBezTo>
                  <a:cubicBezTo>
                    <a:pt x="214" y="37"/>
                    <a:pt x="227" y="47"/>
                    <a:pt x="236" y="56"/>
                  </a:cubicBezTo>
                  <a:cubicBezTo>
                    <a:pt x="246" y="66"/>
                    <a:pt x="253" y="75"/>
                    <a:pt x="257" y="81"/>
                  </a:cubicBezTo>
                  <a:cubicBezTo>
                    <a:pt x="259" y="84"/>
                    <a:pt x="261" y="86"/>
                    <a:pt x="262" y="88"/>
                  </a:cubicBezTo>
                  <a:cubicBezTo>
                    <a:pt x="263" y="90"/>
                    <a:pt x="264" y="91"/>
                    <a:pt x="264" y="9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27">
              <a:extLst>
                <a:ext uri="{FF2B5EF4-FFF2-40B4-BE49-F238E27FC236}">
                  <a16:creationId xmlns:a16="http://schemas.microsoft.com/office/drawing/2014/main" id="{062C65FD-F6E1-4032-B01C-184AE6FF13CE}"/>
                </a:ext>
              </a:extLst>
            </p:cNvPr>
            <p:cNvSpPr>
              <a:spLocks/>
            </p:cNvSpPr>
            <p:nvPr/>
          </p:nvSpPr>
          <p:spPr bwMode="auto">
            <a:xfrm>
              <a:off x="4633" y="2758"/>
              <a:ext cx="669" cy="962"/>
            </a:xfrm>
            <a:custGeom>
              <a:avLst/>
              <a:gdLst>
                <a:gd name="T0" fmla="*/ 251 w 282"/>
                <a:gd name="T1" fmla="*/ 190 h 405"/>
                <a:gd name="T2" fmla="*/ 232 w 282"/>
                <a:gd name="T3" fmla="*/ 287 h 405"/>
                <a:gd name="T4" fmla="*/ 275 w 282"/>
                <a:gd name="T5" fmla="*/ 387 h 405"/>
                <a:gd name="T6" fmla="*/ 66 w 282"/>
                <a:gd name="T7" fmla="*/ 405 h 405"/>
                <a:gd name="T8" fmla="*/ 90 w 282"/>
                <a:gd name="T9" fmla="*/ 301 h 405"/>
                <a:gd name="T10" fmla="*/ 60 w 282"/>
                <a:gd name="T11" fmla="*/ 198 h 405"/>
                <a:gd name="T12" fmla="*/ 0 w 282"/>
                <a:gd name="T13" fmla="*/ 119 h 405"/>
                <a:gd name="T14" fmla="*/ 60 w 282"/>
                <a:gd name="T15" fmla="*/ 65 h 405"/>
                <a:gd name="T16" fmla="*/ 116 w 282"/>
                <a:gd name="T17" fmla="*/ 101 h 405"/>
                <a:gd name="T18" fmla="*/ 199 w 282"/>
                <a:gd name="T19" fmla="*/ 102 h 405"/>
                <a:gd name="T20" fmla="*/ 211 w 282"/>
                <a:gd name="T21" fmla="*/ 104 h 405"/>
                <a:gd name="T22" fmla="*/ 251 w 282"/>
                <a:gd name="T23" fmla="*/ 0 h 405"/>
                <a:gd name="T24" fmla="*/ 272 w 282"/>
                <a:gd name="T25" fmla="*/ 102 h 405"/>
                <a:gd name="T26" fmla="*/ 251 w 282"/>
                <a:gd name="T27" fmla="*/ 19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405">
                  <a:moveTo>
                    <a:pt x="251" y="190"/>
                  </a:moveTo>
                  <a:cubicBezTo>
                    <a:pt x="232" y="287"/>
                    <a:pt x="232" y="287"/>
                    <a:pt x="232" y="287"/>
                  </a:cubicBezTo>
                  <a:cubicBezTo>
                    <a:pt x="271" y="341"/>
                    <a:pt x="275" y="387"/>
                    <a:pt x="275" y="387"/>
                  </a:cubicBezTo>
                  <a:cubicBezTo>
                    <a:pt x="66" y="405"/>
                    <a:pt x="66" y="405"/>
                    <a:pt x="66" y="405"/>
                  </a:cubicBezTo>
                  <a:cubicBezTo>
                    <a:pt x="70" y="372"/>
                    <a:pt x="90" y="301"/>
                    <a:pt x="90" y="301"/>
                  </a:cubicBezTo>
                  <a:cubicBezTo>
                    <a:pt x="60" y="198"/>
                    <a:pt x="60" y="198"/>
                    <a:pt x="60" y="198"/>
                  </a:cubicBezTo>
                  <a:cubicBezTo>
                    <a:pt x="0" y="119"/>
                    <a:pt x="0" y="119"/>
                    <a:pt x="0" y="119"/>
                  </a:cubicBezTo>
                  <a:cubicBezTo>
                    <a:pt x="60" y="65"/>
                    <a:pt x="60" y="65"/>
                    <a:pt x="60" y="65"/>
                  </a:cubicBezTo>
                  <a:cubicBezTo>
                    <a:pt x="59" y="68"/>
                    <a:pt x="116" y="101"/>
                    <a:pt x="116" y="101"/>
                  </a:cubicBezTo>
                  <a:cubicBezTo>
                    <a:pt x="199" y="102"/>
                    <a:pt x="199" y="102"/>
                    <a:pt x="199" y="102"/>
                  </a:cubicBezTo>
                  <a:cubicBezTo>
                    <a:pt x="199" y="102"/>
                    <a:pt x="203" y="102"/>
                    <a:pt x="211" y="104"/>
                  </a:cubicBezTo>
                  <a:cubicBezTo>
                    <a:pt x="251" y="0"/>
                    <a:pt x="251" y="0"/>
                    <a:pt x="251" y="0"/>
                  </a:cubicBezTo>
                  <a:cubicBezTo>
                    <a:pt x="251" y="0"/>
                    <a:pt x="282" y="46"/>
                    <a:pt x="272" y="102"/>
                  </a:cubicBezTo>
                  <a:cubicBezTo>
                    <a:pt x="264" y="142"/>
                    <a:pt x="266" y="152"/>
                    <a:pt x="251" y="19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28">
              <a:extLst>
                <a:ext uri="{FF2B5EF4-FFF2-40B4-BE49-F238E27FC236}">
                  <a16:creationId xmlns:a16="http://schemas.microsoft.com/office/drawing/2014/main" id="{0F270131-F19C-4EA1-BCD6-28A5828C1490}"/>
                </a:ext>
              </a:extLst>
            </p:cNvPr>
            <p:cNvSpPr>
              <a:spLocks/>
            </p:cNvSpPr>
            <p:nvPr/>
          </p:nvSpPr>
          <p:spPr bwMode="auto">
            <a:xfrm>
              <a:off x="4768" y="3034"/>
              <a:ext cx="135" cy="190"/>
            </a:xfrm>
            <a:custGeom>
              <a:avLst/>
              <a:gdLst>
                <a:gd name="T0" fmla="*/ 43 w 57"/>
                <a:gd name="T1" fmla="*/ 0 h 80"/>
                <a:gd name="T2" fmla="*/ 46 w 57"/>
                <a:gd name="T3" fmla="*/ 4 h 80"/>
                <a:gd name="T4" fmla="*/ 52 w 57"/>
                <a:gd name="T5" fmla="*/ 15 h 80"/>
                <a:gd name="T6" fmla="*/ 56 w 57"/>
                <a:gd name="T7" fmla="*/ 34 h 80"/>
                <a:gd name="T8" fmla="*/ 51 w 57"/>
                <a:gd name="T9" fmla="*/ 57 h 80"/>
                <a:gd name="T10" fmla="*/ 35 w 57"/>
                <a:gd name="T11" fmla="*/ 75 h 80"/>
                <a:gd name="T12" fmla="*/ 17 w 57"/>
                <a:gd name="T13" fmla="*/ 80 h 80"/>
                <a:gd name="T14" fmla="*/ 4 w 57"/>
                <a:gd name="T15" fmla="*/ 77 h 80"/>
                <a:gd name="T16" fmla="*/ 1 w 57"/>
                <a:gd name="T17" fmla="*/ 76 h 80"/>
                <a:gd name="T18" fmla="*/ 0 w 57"/>
                <a:gd name="T19" fmla="*/ 75 h 80"/>
                <a:gd name="T20" fmla="*/ 4 w 57"/>
                <a:gd name="T21" fmla="*/ 77 h 80"/>
                <a:gd name="T22" fmla="*/ 17 w 57"/>
                <a:gd name="T23" fmla="*/ 78 h 80"/>
                <a:gd name="T24" fmla="*/ 34 w 57"/>
                <a:gd name="T25" fmla="*/ 73 h 80"/>
                <a:gd name="T26" fmla="*/ 50 w 57"/>
                <a:gd name="T27" fmla="*/ 56 h 80"/>
                <a:gd name="T28" fmla="*/ 54 w 57"/>
                <a:gd name="T29" fmla="*/ 34 h 80"/>
                <a:gd name="T30" fmla="*/ 51 w 57"/>
                <a:gd name="T31" fmla="*/ 16 h 80"/>
                <a:gd name="T32" fmla="*/ 43 w 57"/>
                <a:gd name="T3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80">
                  <a:moveTo>
                    <a:pt x="43" y="0"/>
                  </a:moveTo>
                  <a:cubicBezTo>
                    <a:pt x="43" y="0"/>
                    <a:pt x="44" y="2"/>
                    <a:pt x="46" y="4"/>
                  </a:cubicBezTo>
                  <a:cubicBezTo>
                    <a:pt x="48" y="7"/>
                    <a:pt x="50" y="10"/>
                    <a:pt x="52" y="15"/>
                  </a:cubicBezTo>
                  <a:cubicBezTo>
                    <a:pt x="54" y="21"/>
                    <a:pt x="56" y="27"/>
                    <a:pt x="56" y="34"/>
                  </a:cubicBezTo>
                  <a:cubicBezTo>
                    <a:pt x="57" y="42"/>
                    <a:pt x="55" y="50"/>
                    <a:pt x="51" y="57"/>
                  </a:cubicBezTo>
                  <a:cubicBezTo>
                    <a:pt x="48" y="65"/>
                    <a:pt x="42" y="71"/>
                    <a:pt x="35" y="75"/>
                  </a:cubicBezTo>
                  <a:cubicBezTo>
                    <a:pt x="29" y="78"/>
                    <a:pt x="22" y="80"/>
                    <a:pt x="17" y="80"/>
                  </a:cubicBezTo>
                  <a:cubicBezTo>
                    <a:pt x="11" y="80"/>
                    <a:pt x="7" y="78"/>
                    <a:pt x="4" y="77"/>
                  </a:cubicBezTo>
                  <a:cubicBezTo>
                    <a:pt x="3" y="77"/>
                    <a:pt x="2" y="76"/>
                    <a:pt x="1" y="76"/>
                  </a:cubicBezTo>
                  <a:cubicBezTo>
                    <a:pt x="0" y="75"/>
                    <a:pt x="0" y="75"/>
                    <a:pt x="0" y="75"/>
                  </a:cubicBezTo>
                  <a:cubicBezTo>
                    <a:pt x="0" y="75"/>
                    <a:pt x="2" y="76"/>
                    <a:pt x="4" y="77"/>
                  </a:cubicBezTo>
                  <a:cubicBezTo>
                    <a:pt x="7" y="77"/>
                    <a:pt x="11" y="78"/>
                    <a:pt x="17" y="78"/>
                  </a:cubicBezTo>
                  <a:cubicBezTo>
                    <a:pt x="22" y="78"/>
                    <a:pt x="28" y="77"/>
                    <a:pt x="34" y="73"/>
                  </a:cubicBezTo>
                  <a:cubicBezTo>
                    <a:pt x="40" y="70"/>
                    <a:pt x="46" y="64"/>
                    <a:pt x="50" y="56"/>
                  </a:cubicBezTo>
                  <a:cubicBezTo>
                    <a:pt x="53" y="49"/>
                    <a:pt x="55" y="41"/>
                    <a:pt x="54" y="34"/>
                  </a:cubicBezTo>
                  <a:cubicBezTo>
                    <a:pt x="54" y="27"/>
                    <a:pt x="53" y="21"/>
                    <a:pt x="51" y="16"/>
                  </a:cubicBezTo>
                  <a:cubicBezTo>
                    <a:pt x="47" y="6"/>
                    <a:pt x="42" y="1"/>
                    <a:pt x="43"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29">
              <a:extLst>
                <a:ext uri="{FF2B5EF4-FFF2-40B4-BE49-F238E27FC236}">
                  <a16:creationId xmlns:a16="http://schemas.microsoft.com/office/drawing/2014/main" id="{EC607BF2-2D84-4163-AD7E-D7EB8BE40937}"/>
                </a:ext>
              </a:extLst>
            </p:cNvPr>
            <p:cNvSpPr>
              <a:spLocks/>
            </p:cNvSpPr>
            <p:nvPr/>
          </p:nvSpPr>
          <p:spPr bwMode="auto">
            <a:xfrm>
              <a:off x="5198" y="3034"/>
              <a:ext cx="33" cy="168"/>
            </a:xfrm>
            <a:custGeom>
              <a:avLst/>
              <a:gdLst>
                <a:gd name="T0" fmla="*/ 6 w 14"/>
                <a:gd name="T1" fmla="*/ 71 h 71"/>
                <a:gd name="T2" fmla="*/ 9 w 14"/>
                <a:gd name="T3" fmla="*/ 61 h 71"/>
                <a:gd name="T4" fmla="*/ 11 w 14"/>
                <a:gd name="T5" fmla="*/ 35 h 71"/>
                <a:gd name="T6" fmla="*/ 5 w 14"/>
                <a:gd name="T7" fmla="*/ 10 h 71"/>
                <a:gd name="T8" fmla="*/ 0 w 14"/>
                <a:gd name="T9" fmla="*/ 0 h 71"/>
                <a:gd name="T10" fmla="*/ 2 w 14"/>
                <a:gd name="T11" fmla="*/ 2 h 71"/>
                <a:gd name="T12" fmla="*/ 6 w 14"/>
                <a:gd name="T13" fmla="*/ 9 h 71"/>
                <a:gd name="T14" fmla="*/ 13 w 14"/>
                <a:gd name="T15" fmla="*/ 35 h 71"/>
                <a:gd name="T16" fmla="*/ 10 w 14"/>
                <a:gd name="T17" fmla="*/ 61 h 71"/>
                <a:gd name="T18" fmla="*/ 7 w 14"/>
                <a:gd name="T19" fmla="*/ 68 h 71"/>
                <a:gd name="T20" fmla="*/ 6 w 14"/>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1">
                  <a:moveTo>
                    <a:pt x="6" y="71"/>
                  </a:moveTo>
                  <a:cubicBezTo>
                    <a:pt x="5" y="71"/>
                    <a:pt x="7" y="67"/>
                    <a:pt x="9" y="61"/>
                  </a:cubicBezTo>
                  <a:cubicBezTo>
                    <a:pt x="11" y="54"/>
                    <a:pt x="12" y="45"/>
                    <a:pt x="11" y="35"/>
                  </a:cubicBezTo>
                  <a:cubicBezTo>
                    <a:pt x="11" y="25"/>
                    <a:pt x="8" y="16"/>
                    <a:pt x="5" y="10"/>
                  </a:cubicBezTo>
                  <a:cubicBezTo>
                    <a:pt x="2" y="4"/>
                    <a:pt x="0" y="0"/>
                    <a:pt x="0" y="0"/>
                  </a:cubicBezTo>
                  <a:cubicBezTo>
                    <a:pt x="0" y="0"/>
                    <a:pt x="1" y="1"/>
                    <a:pt x="2" y="2"/>
                  </a:cubicBezTo>
                  <a:cubicBezTo>
                    <a:pt x="3" y="4"/>
                    <a:pt x="5" y="6"/>
                    <a:pt x="6" y="9"/>
                  </a:cubicBezTo>
                  <a:cubicBezTo>
                    <a:pt x="9" y="15"/>
                    <a:pt x="13" y="24"/>
                    <a:pt x="13" y="35"/>
                  </a:cubicBezTo>
                  <a:cubicBezTo>
                    <a:pt x="14" y="45"/>
                    <a:pt x="13" y="55"/>
                    <a:pt x="10" y="61"/>
                  </a:cubicBezTo>
                  <a:cubicBezTo>
                    <a:pt x="9" y="64"/>
                    <a:pt x="8" y="67"/>
                    <a:pt x="7" y="68"/>
                  </a:cubicBezTo>
                  <a:cubicBezTo>
                    <a:pt x="6" y="70"/>
                    <a:pt x="6" y="71"/>
                    <a:pt x="6" y="7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0">
              <a:extLst>
                <a:ext uri="{FF2B5EF4-FFF2-40B4-BE49-F238E27FC236}">
                  <a16:creationId xmlns:a16="http://schemas.microsoft.com/office/drawing/2014/main" id="{30DFEFDD-5338-45B6-846D-A5B2089AA35A}"/>
                </a:ext>
              </a:extLst>
            </p:cNvPr>
            <p:cNvSpPr>
              <a:spLocks/>
            </p:cNvSpPr>
            <p:nvPr/>
          </p:nvSpPr>
          <p:spPr bwMode="auto">
            <a:xfrm>
              <a:off x="4958" y="3402"/>
              <a:ext cx="192" cy="73"/>
            </a:xfrm>
            <a:custGeom>
              <a:avLst/>
              <a:gdLst>
                <a:gd name="T0" fmla="*/ 18 w 81"/>
                <a:gd name="T1" fmla="*/ 0 h 31"/>
                <a:gd name="T2" fmla="*/ 6 w 81"/>
                <a:gd name="T3" fmla="*/ 4 h 31"/>
                <a:gd name="T4" fmla="*/ 4 w 81"/>
                <a:gd name="T5" fmla="*/ 22 h 31"/>
                <a:gd name="T6" fmla="*/ 13 w 81"/>
                <a:gd name="T7" fmla="*/ 28 h 31"/>
                <a:gd name="T8" fmla="*/ 32 w 81"/>
                <a:gd name="T9" fmla="*/ 31 h 31"/>
                <a:gd name="T10" fmla="*/ 72 w 81"/>
                <a:gd name="T11" fmla="*/ 21 h 31"/>
                <a:gd name="T12" fmla="*/ 78 w 81"/>
                <a:gd name="T13" fmla="*/ 17 h 31"/>
                <a:gd name="T14" fmla="*/ 79 w 81"/>
                <a:gd name="T15" fmla="*/ 10 h 31"/>
                <a:gd name="T16" fmla="*/ 74 w 81"/>
                <a:gd name="T17" fmla="*/ 8 h 31"/>
                <a:gd name="T18" fmla="*/ 71 w 81"/>
                <a:gd name="T19" fmla="*/ 9 h 31"/>
                <a:gd name="T20" fmla="*/ 57 w 81"/>
                <a:gd name="T21" fmla="*/ 12 h 31"/>
                <a:gd name="T22" fmla="*/ 56 w 81"/>
                <a:gd name="T23" fmla="*/ 12 h 31"/>
                <a:gd name="T24" fmla="*/ 31 w 81"/>
                <a:gd name="T25" fmla="*/ 3 h 31"/>
                <a:gd name="T26" fmla="*/ 18 w 81"/>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31">
                  <a:moveTo>
                    <a:pt x="18" y="0"/>
                  </a:moveTo>
                  <a:cubicBezTo>
                    <a:pt x="13" y="0"/>
                    <a:pt x="9" y="1"/>
                    <a:pt x="6" y="4"/>
                  </a:cubicBezTo>
                  <a:cubicBezTo>
                    <a:pt x="1" y="9"/>
                    <a:pt x="0" y="17"/>
                    <a:pt x="4" y="22"/>
                  </a:cubicBezTo>
                  <a:cubicBezTo>
                    <a:pt x="6" y="25"/>
                    <a:pt x="9" y="27"/>
                    <a:pt x="13" y="28"/>
                  </a:cubicBezTo>
                  <a:cubicBezTo>
                    <a:pt x="19" y="30"/>
                    <a:pt x="26" y="31"/>
                    <a:pt x="32" y="31"/>
                  </a:cubicBezTo>
                  <a:cubicBezTo>
                    <a:pt x="45" y="31"/>
                    <a:pt x="58" y="27"/>
                    <a:pt x="72" y="21"/>
                  </a:cubicBezTo>
                  <a:cubicBezTo>
                    <a:pt x="74" y="20"/>
                    <a:pt x="77" y="19"/>
                    <a:pt x="78" y="17"/>
                  </a:cubicBezTo>
                  <a:cubicBezTo>
                    <a:pt x="80" y="15"/>
                    <a:pt x="81" y="12"/>
                    <a:pt x="79" y="10"/>
                  </a:cubicBezTo>
                  <a:cubicBezTo>
                    <a:pt x="78" y="9"/>
                    <a:pt x="76" y="8"/>
                    <a:pt x="74" y="8"/>
                  </a:cubicBezTo>
                  <a:cubicBezTo>
                    <a:pt x="73" y="8"/>
                    <a:pt x="72" y="8"/>
                    <a:pt x="71" y="9"/>
                  </a:cubicBezTo>
                  <a:cubicBezTo>
                    <a:pt x="66" y="10"/>
                    <a:pt x="61" y="11"/>
                    <a:pt x="57" y="12"/>
                  </a:cubicBezTo>
                  <a:cubicBezTo>
                    <a:pt x="56" y="12"/>
                    <a:pt x="56" y="12"/>
                    <a:pt x="56" y="12"/>
                  </a:cubicBezTo>
                  <a:cubicBezTo>
                    <a:pt x="47" y="12"/>
                    <a:pt x="39" y="7"/>
                    <a:pt x="31" y="3"/>
                  </a:cubicBezTo>
                  <a:cubicBezTo>
                    <a:pt x="27" y="2"/>
                    <a:pt x="22" y="0"/>
                    <a:pt x="18"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31">
              <a:extLst>
                <a:ext uri="{FF2B5EF4-FFF2-40B4-BE49-F238E27FC236}">
                  <a16:creationId xmlns:a16="http://schemas.microsoft.com/office/drawing/2014/main" id="{E480881A-6F0F-4623-88FD-C42CE1935E1E}"/>
                </a:ext>
              </a:extLst>
            </p:cNvPr>
            <p:cNvSpPr>
              <a:spLocks/>
            </p:cNvSpPr>
            <p:nvPr/>
          </p:nvSpPr>
          <p:spPr bwMode="auto">
            <a:xfrm>
              <a:off x="4778" y="2910"/>
              <a:ext cx="206" cy="91"/>
            </a:xfrm>
            <a:custGeom>
              <a:avLst/>
              <a:gdLst>
                <a:gd name="T0" fmla="*/ 2 w 87"/>
                <a:gd name="T1" fmla="*/ 0 h 38"/>
                <a:gd name="T2" fmla="*/ 0 w 87"/>
                <a:gd name="T3" fmla="*/ 3 h 38"/>
                <a:gd name="T4" fmla="*/ 55 w 87"/>
                <a:gd name="T5" fmla="*/ 37 h 38"/>
                <a:gd name="T6" fmla="*/ 85 w 87"/>
                <a:gd name="T7" fmla="*/ 38 h 38"/>
                <a:gd name="T8" fmla="*/ 87 w 87"/>
                <a:gd name="T9" fmla="*/ 34 h 38"/>
                <a:gd name="T10" fmla="*/ 58 w 87"/>
                <a:gd name="T11" fmla="*/ 6 h 38"/>
                <a:gd name="T12" fmla="*/ 51 w 87"/>
                <a:gd name="T13" fmla="*/ 11 h 38"/>
                <a:gd name="T14" fmla="*/ 43 w 87"/>
                <a:gd name="T15" fmla="*/ 27 h 38"/>
                <a:gd name="T16" fmla="*/ 2 w 8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8">
                  <a:moveTo>
                    <a:pt x="2" y="0"/>
                  </a:moveTo>
                  <a:cubicBezTo>
                    <a:pt x="1" y="1"/>
                    <a:pt x="1" y="2"/>
                    <a:pt x="0" y="3"/>
                  </a:cubicBezTo>
                  <a:cubicBezTo>
                    <a:pt x="9" y="11"/>
                    <a:pt x="55" y="37"/>
                    <a:pt x="55" y="37"/>
                  </a:cubicBezTo>
                  <a:cubicBezTo>
                    <a:pt x="85" y="38"/>
                    <a:pt x="85" y="38"/>
                    <a:pt x="85" y="38"/>
                  </a:cubicBezTo>
                  <a:cubicBezTo>
                    <a:pt x="87" y="34"/>
                    <a:pt x="87" y="34"/>
                    <a:pt x="87" y="34"/>
                  </a:cubicBezTo>
                  <a:cubicBezTo>
                    <a:pt x="58" y="6"/>
                    <a:pt x="58" y="6"/>
                    <a:pt x="58" y="6"/>
                  </a:cubicBezTo>
                  <a:cubicBezTo>
                    <a:pt x="55" y="8"/>
                    <a:pt x="53" y="9"/>
                    <a:pt x="51" y="11"/>
                  </a:cubicBezTo>
                  <a:cubicBezTo>
                    <a:pt x="46" y="15"/>
                    <a:pt x="43" y="21"/>
                    <a:pt x="43" y="27"/>
                  </a:cubicBezTo>
                  <a:cubicBezTo>
                    <a:pt x="2" y="0"/>
                    <a:pt x="2" y="0"/>
                    <a:pt x="2" y="0"/>
                  </a:cubicBezTo>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2">
              <a:extLst>
                <a:ext uri="{FF2B5EF4-FFF2-40B4-BE49-F238E27FC236}">
                  <a16:creationId xmlns:a16="http://schemas.microsoft.com/office/drawing/2014/main" id="{2611C111-013D-4A92-AB5E-58C2CB19C4AE}"/>
                </a:ext>
              </a:extLst>
            </p:cNvPr>
            <p:cNvSpPr>
              <a:spLocks/>
            </p:cNvSpPr>
            <p:nvPr/>
          </p:nvSpPr>
          <p:spPr bwMode="auto">
            <a:xfrm>
              <a:off x="4915" y="2887"/>
              <a:ext cx="114" cy="104"/>
            </a:xfrm>
            <a:custGeom>
              <a:avLst/>
              <a:gdLst>
                <a:gd name="T0" fmla="*/ 48 w 48"/>
                <a:gd name="T1" fmla="*/ 0 h 44"/>
                <a:gd name="T2" fmla="*/ 8 w 48"/>
                <a:gd name="T3" fmla="*/ 12 h 44"/>
                <a:gd name="T4" fmla="*/ 0 w 48"/>
                <a:gd name="T5" fmla="*/ 16 h 44"/>
                <a:gd name="T6" fmla="*/ 29 w 48"/>
                <a:gd name="T7" fmla="*/ 44 h 44"/>
                <a:gd name="T8" fmla="*/ 48 w 48"/>
                <a:gd name="T9" fmla="*/ 0 h 44"/>
              </a:gdLst>
              <a:ahLst/>
              <a:cxnLst>
                <a:cxn ang="0">
                  <a:pos x="T0" y="T1"/>
                </a:cxn>
                <a:cxn ang="0">
                  <a:pos x="T2" y="T3"/>
                </a:cxn>
                <a:cxn ang="0">
                  <a:pos x="T4" y="T5"/>
                </a:cxn>
                <a:cxn ang="0">
                  <a:pos x="T6" y="T7"/>
                </a:cxn>
                <a:cxn ang="0">
                  <a:pos x="T8" y="T9"/>
                </a:cxn>
              </a:cxnLst>
              <a:rect l="0" t="0" r="r" b="b"/>
              <a:pathLst>
                <a:path w="48" h="44">
                  <a:moveTo>
                    <a:pt x="48" y="0"/>
                  </a:moveTo>
                  <a:cubicBezTo>
                    <a:pt x="34" y="3"/>
                    <a:pt x="21" y="7"/>
                    <a:pt x="8" y="12"/>
                  </a:cubicBezTo>
                  <a:cubicBezTo>
                    <a:pt x="5" y="14"/>
                    <a:pt x="3" y="15"/>
                    <a:pt x="0" y="16"/>
                  </a:cubicBezTo>
                  <a:cubicBezTo>
                    <a:pt x="29" y="44"/>
                    <a:pt x="29" y="44"/>
                    <a:pt x="29" y="44"/>
                  </a:cubicBezTo>
                  <a:cubicBezTo>
                    <a:pt x="48" y="0"/>
                    <a:pt x="48" y="0"/>
                    <a:pt x="48" y="0"/>
                  </a:cubicBezTo>
                </a:path>
              </a:pathLst>
            </a:custGeom>
            <a:solidFill>
              <a:srgbClr val="200B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33">
              <a:extLst>
                <a:ext uri="{FF2B5EF4-FFF2-40B4-BE49-F238E27FC236}">
                  <a16:creationId xmlns:a16="http://schemas.microsoft.com/office/drawing/2014/main" id="{3F56AD5A-3BD3-44BF-ADED-C2BC94B9AA5A}"/>
                </a:ext>
              </a:extLst>
            </p:cNvPr>
            <p:cNvSpPr>
              <a:spLocks/>
            </p:cNvSpPr>
            <p:nvPr/>
          </p:nvSpPr>
          <p:spPr bwMode="auto">
            <a:xfrm>
              <a:off x="4979" y="2877"/>
              <a:ext cx="202" cy="128"/>
            </a:xfrm>
            <a:custGeom>
              <a:avLst/>
              <a:gdLst>
                <a:gd name="T0" fmla="*/ 62 w 85"/>
                <a:gd name="T1" fmla="*/ 0 h 54"/>
                <a:gd name="T2" fmla="*/ 21 w 85"/>
                <a:gd name="T3" fmla="*/ 4 h 54"/>
                <a:gd name="T4" fmla="*/ 2 w 85"/>
                <a:gd name="T5" fmla="*/ 48 h 54"/>
                <a:gd name="T6" fmla="*/ 0 w 85"/>
                <a:gd name="T7" fmla="*/ 52 h 54"/>
                <a:gd name="T8" fmla="*/ 53 w 85"/>
                <a:gd name="T9" fmla="*/ 52 h 54"/>
                <a:gd name="T10" fmla="*/ 65 w 85"/>
                <a:gd name="T11" fmla="*/ 54 h 54"/>
                <a:gd name="T12" fmla="*/ 85 w 85"/>
                <a:gd name="T13" fmla="*/ 2 h 54"/>
                <a:gd name="T14" fmla="*/ 62 w 85"/>
                <a:gd name="T15" fmla="*/ 0 h 54"/>
                <a:gd name="T16" fmla="*/ 62 w 85"/>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54">
                  <a:moveTo>
                    <a:pt x="62" y="0"/>
                  </a:moveTo>
                  <a:cubicBezTo>
                    <a:pt x="48" y="0"/>
                    <a:pt x="34" y="1"/>
                    <a:pt x="21" y="4"/>
                  </a:cubicBezTo>
                  <a:cubicBezTo>
                    <a:pt x="2" y="48"/>
                    <a:pt x="2" y="48"/>
                    <a:pt x="2" y="48"/>
                  </a:cubicBezTo>
                  <a:cubicBezTo>
                    <a:pt x="0" y="52"/>
                    <a:pt x="0" y="52"/>
                    <a:pt x="0" y="52"/>
                  </a:cubicBezTo>
                  <a:cubicBezTo>
                    <a:pt x="53" y="52"/>
                    <a:pt x="53" y="52"/>
                    <a:pt x="53" y="52"/>
                  </a:cubicBezTo>
                  <a:cubicBezTo>
                    <a:pt x="53" y="52"/>
                    <a:pt x="57" y="52"/>
                    <a:pt x="65" y="54"/>
                  </a:cubicBezTo>
                  <a:cubicBezTo>
                    <a:pt x="85" y="2"/>
                    <a:pt x="85" y="2"/>
                    <a:pt x="85" y="2"/>
                  </a:cubicBezTo>
                  <a:cubicBezTo>
                    <a:pt x="77" y="1"/>
                    <a:pt x="69" y="0"/>
                    <a:pt x="62" y="0"/>
                  </a:cubicBezTo>
                  <a:cubicBezTo>
                    <a:pt x="62" y="0"/>
                    <a:pt x="62" y="0"/>
                    <a:pt x="62" y="0"/>
                  </a:cubicBezTo>
                </a:path>
              </a:pathLst>
            </a:custGeom>
            <a:solidFill>
              <a:srgbClr val="B285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34">
              <a:extLst>
                <a:ext uri="{FF2B5EF4-FFF2-40B4-BE49-F238E27FC236}">
                  <a16:creationId xmlns:a16="http://schemas.microsoft.com/office/drawing/2014/main" id="{F5F1B9DC-0CCE-4DE6-8CA8-C5F131A22CA3}"/>
                </a:ext>
              </a:extLst>
            </p:cNvPr>
            <p:cNvSpPr>
              <a:spLocks/>
            </p:cNvSpPr>
            <p:nvPr/>
          </p:nvSpPr>
          <p:spPr bwMode="auto">
            <a:xfrm>
              <a:off x="4749" y="2882"/>
              <a:ext cx="520" cy="273"/>
            </a:xfrm>
            <a:custGeom>
              <a:avLst/>
              <a:gdLst>
                <a:gd name="T0" fmla="*/ 182 w 219"/>
                <a:gd name="T1" fmla="*/ 0 h 115"/>
                <a:gd name="T2" fmla="*/ 162 w 219"/>
                <a:gd name="T3" fmla="*/ 52 h 115"/>
                <a:gd name="T4" fmla="*/ 150 w 219"/>
                <a:gd name="T5" fmla="*/ 50 h 115"/>
                <a:gd name="T6" fmla="*/ 97 w 219"/>
                <a:gd name="T7" fmla="*/ 50 h 115"/>
                <a:gd name="T8" fmla="*/ 67 w 219"/>
                <a:gd name="T9" fmla="*/ 49 h 115"/>
                <a:gd name="T10" fmla="*/ 12 w 219"/>
                <a:gd name="T11" fmla="*/ 15 h 115"/>
                <a:gd name="T12" fmla="*/ 1 w 219"/>
                <a:gd name="T13" fmla="*/ 51 h 115"/>
                <a:gd name="T14" fmla="*/ 26 w 219"/>
                <a:gd name="T15" fmla="*/ 82 h 115"/>
                <a:gd name="T16" fmla="*/ 54 w 219"/>
                <a:gd name="T17" fmla="*/ 86 h 115"/>
                <a:gd name="T18" fmla="*/ 61 w 219"/>
                <a:gd name="T19" fmla="*/ 89 h 115"/>
                <a:gd name="T20" fmla="*/ 59 w 219"/>
                <a:gd name="T21" fmla="*/ 80 h 115"/>
                <a:gd name="T22" fmla="*/ 51 w 219"/>
                <a:gd name="T23" fmla="*/ 64 h 115"/>
                <a:gd name="T24" fmla="*/ 51 w 219"/>
                <a:gd name="T25" fmla="*/ 64 h 115"/>
                <a:gd name="T26" fmla="*/ 54 w 219"/>
                <a:gd name="T27" fmla="*/ 68 h 115"/>
                <a:gd name="T28" fmla="*/ 60 w 219"/>
                <a:gd name="T29" fmla="*/ 79 h 115"/>
                <a:gd name="T30" fmla="*/ 63 w 219"/>
                <a:gd name="T31" fmla="*/ 91 h 115"/>
                <a:gd name="T32" fmla="*/ 97 w 219"/>
                <a:gd name="T33" fmla="*/ 115 h 115"/>
                <a:gd name="T34" fmla="*/ 99 w 219"/>
                <a:gd name="T35" fmla="*/ 115 h 115"/>
                <a:gd name="T36" fmla="*/ 140 w 219"/>
                <a:gd name="T37" fmla="*/ 94 h 115"/>
                <a:gd name="T38" fmla="*/ 164 w 219"/>
                <a:gd name="T39" fmla="*/ 89 h 115"/>
                <a:gd name="T40" fmla="*/ 195 w 219"/>
                <a:gd name="T41" fmla="*/ 77 h 115"/>
                <a:gd name="T42" fmla="*/ 194 w 219"/>
                <a:gd name="T43" fmla="*/ 74 h 115"/>
                <a:gd name="T44" fmla="*/ 189 w 219"/>
                <a:gd name="T45" fmla="*/ 64 h 115"/>
                <a:gd name="T46" fmla="*/ 189 w 219"/>
                <a:gd name="T47" fmla="*/ 64 h 115"/>
                <a:gd name="T48" fmla="*/ 191 w 219"/>
                <a:gd name="T49" fmla="*/ 66 h 115"/>
                <a:gd name="T50" fmla="*/ 195 w 219"/>
                <a:gd name="T51" fmla="*/ 73 h 115"/>
                <a:gd name="T52" fmla="*/ 197 w 219"/>
                <a:gd name="T53" fmla="*/ 76 h 115"/>
                <a:gd name="T54" fmla="*/ 208 w 219"/>
                <a:gd name="T55" fmla="*/ 64 h 115"/>
                <a:gd name="T56" fmla="*/ 209 w 219"/>
                <a:gd name="T57" fmla="*/ 16 h 115"/>
                <a:gd name="T58" fmla="*/ 182 w 219"/>
                <a:gd name="T5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9" h="115">
                  <a:moveTo>
                    <a:pt x="182" y="0"/>
                  </a:moveTo>
                  <a:cubicBezTo>
                    <a:pt x="162" y="52"/>
                    <a:pt x="162" y="52"/>
                    <a:pt x="162" y="52"/>
                  </a:cubicBezTo>
                  <a:cubicBezTo>
                    <a:pt x="154" y="50"/>
                    <a:pt x="150" y="50"/>
                    <a:pt x="150" y="50"/>
                  </a:cubicBezTo>
                  <a:cubicBezTo>
                    <a:pt x="97" y="50"/>
                    <a:pt x="97" y="50"/>
                    <a:pt x="97" y="50"/>
                  </a:cubicBezTo>
                  <a:cubicBezTo>
                    <a:pt x="67" y="49"/>
                    <a:pt x="67" y="49"/>
                    <a:pt x="67" y="49"/>
                  </a:cubicBezTo>
                  <a:cubicBezTo>
                    <a:pt x="67" y="49"/>
                    <a:pt x="21" y="23"/>
                    <a:pt x="12" y="15"/>
                  </a:cubicBezTo>
                  <a:cubicBezTo>
                    <a:pt x="5" y="26"/>
                    <a:pt x="0" y="38"/>
                    <a:pt x="1" y="51"/>
                  </a:cubicBezTo>
                  <a:cubicBezTo>
                    <a:pt x="3" y="65"/>
                    <a:pt x="12" y="79"/>
                    <a:pt x="26" y="82"/>
                  </a:cubicBezTo>
                  <a:cubicBezTo>
                    <a:pt x="35" y="85"/>
                    <a:pt x="45" y="82"/>
                    <a:pt x="54" y="86"/>
                  </a:cubicBezTo>
                  <a:cubicBezTo>
                    <a:pt x="57" y="86"/>
                    <a:pt x="59" y="88"/>
                    <a:pt x="61" y="89"/>
                  </a:cubicBezTo>
                  <a:cubicBezTo>
                    <a:pt x="61" y="86"/>
                    <a:pt x="60" y="83"/>
                    <a:pt x="59" y="80"/>
                  </a:cubicBezTo>
                  <a:cubicBezTo>
                    <a:pt x="55" y="70"/>
                    <a:pt x="50" y="65"/>
                    <a:pt x="51" y="64"/>
                  </a:cubicBezTo>
                  <a:cubicBezTo>
                    <a:pt x="51" y="64"/>
                    <a:pt x="51" y="64"/>
                    <a:pt x="51" y="64"/>
                  </a:cubicBezTo>
                  <a:cubicBezTo>
                    <a:pt x="51" y="64"/>
                    <a:pt x="52" y="66"/>
                    <a:pt x="54" y="68"/>
                  </a:cubicBezTo>
                  <a:cubicBezTo>
                    <a:pt x="56" y="71"/>
                    <a:pt x="58" y="74"/>
                    <a:pt x="60" y="79"/>
                  </a:cubicBezTo>
                  <a:cubicBezTo>
                    <a:pt x="61" y="83"/>
                    <a:pt x="63" y="87"/>
                    <a:pt x="63" y="91"/>
                  </a:cubicBezTo>
                  <a:cubicBezTo>
                    <a:pt x="75" y="99"/>
                    <a:pt x="83" y="113"/>
                    <a:pt x="97" y="115"/>
                  </a:cubicBezTo>
                  <a:cubicBezTo>
                    <a:pt x="98" y="115"/>
                    <a:pt x="99" y="115"/>
                    <a:pt x="99" y="115"/>
                  </a:cubicBezTo>
                  <a:cubicBezTo>
                    <a:pt x="114" y="115"/>
                    <a:pt x="125" y="100"/>
                    <a:pt x="140" y="94"/>
                  </a:cubicBezTo>
                  <a:cubicBezTo>
                    <a:pt x="147" y="91"/>
                    <a:pt x="156" y="91"/>
                    <a:pt x="164" y="89"/>
                  </a:cubicBezTo>
                  <a:cubicBezTo>
                    <a:pt x="175" y="88"/>
                    <a:pt x="186" y="83"/>
                    <a:pt x="195" y="77"/>
                  </a:cubicBezTo>
                  <a:cubicBezTo>
                    <a:pt x="195" y="76"/>
                    <a:pt x="194" y="75"/>
                    <a:pt x="194" y="74"/>
                  </a:cubicBezTo>
                  <a:cubicBezTo>
                    <a:pt x="191" y="68"/>
                    <a:pt x="189" y="64"/>
                    <a:pt x="189" y="64"/>
                  </a:cubicBezTo>
                  <a:cubicBezTo>
                    <a:pt x="189" y="64"/>
                    <a:pt x="189" y="64"/>
                    <a:pt x="189" y="64"/>
                  </a:cubicBezTo>
                  <a:cubicBezTo>
                    <a:pt x="189" y="64"/>
                    <a:pt x="190" y="65"/>
                    <a:pt x="191" y="66"/>
                  </a:cubicBezTo>
                  <a:cubicBezTo>
                    <a:pt x="192" y="68"/>
                    <a:pt x="194" y="70"/>
                    <a:pt x="195" y="73"/>
                  </a:cubicBezTo>
                  <a:cubicBezTo>
                    <a:pt x="196" y="74"/>
                    <a:pt x="196" y="75"/>
                    <a:pt x="197" y="76"/>
                  </a:cubicBezTo>
                  <a:cubicBezTo>
                    <a:pt x="201" y="73"/>
                    <a:pt x="204" y="69"/>
                    <a:pt x="208" y="64"/>
                  </a:cubicBezTo>
                  <a:cubicBezTo>
                    <a:pt x="217" y="50"/>
                    <a:pt x="219" y="30"/>
                    <a:pt x="209" y="16"/>
                  </a:cubicBezTo>
                  <a:cubicBezTo>
                    <a:pt x="202" y="8"/>
                    <a:pt x="192" y="3"/>
                    <a:pt x="182"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35">
              <a:extLst>
                <a:ext uri="{FF2B5EF4-FFF2-40B4-BE49-F238E27FC236}">
                  <a16:creationId xmlns:a16="http://schemas.microsoft.com/office/drawing/2014/main" id="{3BAEE300-4BC0-4B06-90B1-3C4B4E3E54A6}"/>
                </a:ext>
              </a:extLst>
            </p:cNvPr>
            <p:cNvSpPr>
              <a:spLocks/>
            </p:cNvSpPr>
            <p:nvPr/>
          </p:nvSpPr>
          <p:spPr bwMode="auto">
            <a:xfrm>
              <a:off x="4868" y="3034"/>
              <a:ext cx="31" cy="64"/>
            </a:xfrm>
            <a:custGeom>
              <a:avLst/>
              <a:gdLst>
                <a:gd name="T0" fmla="*/ 1 w 13"/>
                <a:gd name="T1" fmla="*/ 0 h 27"/>
                <a:gd name="T2" fmla="*/ 1 w 13"/>
                <a:gd name="T3" fmla="*/ 0 h 27"/>
                <a:gd name="T4" fmla="*/ 9 w 13"/>
                <a:gd name="T5" fmla="*/ 16 h 27"/>
                <a:gd name="T6" fmla="*/ 11 w 13"/>
                <a:gd name="T7" fmla="*/ 25 h 27"/>
                <a:gd name="T8" fmla="*/ 13 w 13"/>
                <a:gd name="T9" fmla="*/ 27 h 27"/>
                <a:gd name="T10" fmla="*/ 10 w 13"/>
                <a:gd name="T11" fmla="*/ 15 h 27"/>
                <a:gd name="T12" fmla="*/ 4 w 13"/>
                <a:gd name="T13" fmla="*/ 4 h 27"/>
                <a:gd name="T14" fmla="*/ 1 w 13"/>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7">
                  <a:moveTo>
                    <a:pt x="1" y="0"/>
                  </a:moveTo>
                  <a:cubicBezTo>
                    <a:pt x="1" y="0"/>
                    <a:pt x="1" y="0"/>
                    <a:pt x="1" y="0"/>
                  </a:cubicBezTo>
                  <a:cubicBezTo>
                    <a:pt x="0" y="1"/>
                    <a:pt x="5" y="6"/>
                    <a:pt x="9" y="16"/>
                  </a:cubicBezTo>
                  <a:cubicBezTo>
                    <a:pt x="10" y="19"/>
                    <a:pt x="11" y="22"/>
                    <a:pt x="11" y="25"/>
                  </a:cubicBezTo>
                  <a:cubicBezTo>
                    <a:pt x="12" y="26"/>
                    <a:pt x="13" y="26"/>
                    <a:pt x="13" y="27"/>
                  </a:cubicBezTo>
                  <a:cubicBezTo>
                    <a:pt x="13" y="23"/>
                    <a:pt x="11" y="19"/>
                    <a:pt x="10" y="15"/>
                  </a:cubicBezTo>
                  <a:cubicBezTo>
                    <a:pt x="8" y="10"/>
                    <a:pt x="6" y="7"/>
                    <a:pt x="4" y="4"/>
                  </a:cubicBezTo>
                  <a:cubicBezTo>
                    <a:pt x="2" y="2"/>
                    <a:pt x="1" y="0"/>
                    <a:pt x="1"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36">
              <a:extLst>
                <a:ext uri="{FF2B5EF4-FFF2-40B4-BE49-F238E27FC236}">
                  <a16:creationId xmlns:a16="http://schemas.microsoft.com/office/drawing/2014/main" id="{B052C42C-DAEC-402A-9D13-D5A31B007DA9}"/>
                </a:ext>
              </a:extLst>
            </p:cNvPr>
            <p:cNvSpPr>
              <a:spLocks/>
            </p:cNvSpPr>
            <p:nvPr/>
          </p:nvSpPr>
          <p:spPr bwMode="auto">
            <a:xfrm>
              <a:off x="5198" y="3034"/>
              <a:ext cx="19" cy="31"/>
            </a:xfrm>
            <a:custGeom>
              <a:avLst/>
              <a:gdLst>
                <a:gd name="T0" fmla="*/ 0 w 8"/>
                <a:gd name="T1" fmla="*/ 0 h 13"/>
                <a:gd name="T2" fmla="*/ 0 w 8"/>
                <a:gd name="T3" fmla="*/ 0 h 13"/>
                <a:gd name="T4" fmla="*/ 5 w 8"/>
                <a:gd name="T5" fmla="*/ 10 h 13"/>
                <a:gd name="T6" fmla="*/ 6 w 8"/>
                <a:gd name="T7" fmla="*/ 13 h 13"/>
                <a:gd name="T8" fmla="*/ 8 w 8"/>
                <a:gd name="T9" fmla="*/ 12 h 13"/>
                <a:gd name="T10" fmla="*/ 6 w 8"/>
                <a:gd name="T11" fmla="*/ 9 h 13"/>
                <a:gd name="T12" fmla="*/ 2 w 8"/>
                <a:gd name="T13" fmla="*/ 2 h 13"/>
                <a:gd name="T14" fmla="*/ 0 w 8"/>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0" y="0"/>
                  </a:moveTo>
                  <a:cubicBezTo>
                    <a:pt x="0" y="0"/>
                    <a:pt x="0" y="0"/>
                    <a:pt x="0" y="0"/>
                  </a:cubicBezTo>
                  <a:cubicBezTo>
                    <a:pt x="0" y="0"/>
                    <a:pt x="2" y="4"/>
                    <a:pt x="5" y="10"/>
                  </a:cubicBezTo>
                  <a:cubicBezTo>
                    <a:pt x="5" y="11"/>
                    <a:pt x="6" y="12"/>
                    <a:pt x="6" y="13"/>
                  </a:cubicBezTo>
                  <a:cubicBezTo>
                    <a:pt x="7" y="13"/>
                    <a:pt x="7" y="12"/>
                    <a:pt x="8" y="12"/>
                  </a:cubicBezTo>
                  <a:cubicBezTo>
                    <a:pt x="7" y="11"/>
                    <a:pt x="7" y="10"/>
                    <a:pt x="6" y="9"/>
                  </a:cubicBezTo>
                  <a:cubicBezTo>
                    <a:pt x="5" y="6"/>
                    <a:pt x="3" y="4"/>
                    <a:pt x="2" y="2"/>
                  </a:cubicBezTo>
                  <a:cubicBezTo>
                    <a:pt x="1" y="1"/>
                    <a:pt x="0"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37">
              <a:extLst>
                <a:ext uri="{FF2B5EF4-FFF2-40B4-BE49-F238E27FC236}">
                  <a16:creationId xmlns:a16="http://schemas.microsoft.com/office/drawing/2014/main" id="{253DB05E-5F6E-4E53-9887-B839DFFEFD13}"/>
                </a:ext>
              </a:extLst>
            </p:cNvPr>
            <p:cNvSpPr>
              <a:spLocks/>
            </p:cNvSpPr>
            <p:nvPr/>
          </p:nvSpPr>
          <p:spPr bwMode="auto">
            <a:xfrm>
              <a:off x="4752" y="2554"/>
              <a:ext cx="597" cy="532"/>
            </a:xfrm>
            <a:custGeom>
              <a:avLst/>
              <a:gdLst>
                <a:gd name="T0" fmla="*/ 251 w 252"/>
                <a:gd name="T1" fmla="*/ 139 h 224"/>
                <a:gd name="T2" fmla="*/ 238 w 252"/>
                <a:gd name="T3" fmla="*/ 123 h 224"/>
                <a:gd name="T4" fmla="*/ 213 w 252"/>
                <a:gd name="T5" fmla="*/ 118 h 224"/>
                <a:gd name="T6" fmla="*/ 197 w 252"/>
                <a:gd name="T7" fmla="*/ 92 h 224"/>
                <a:gd name="T8" fmla="*/ 183 w 252"/>
                <a:gd name="T9" fmla="*/ 63 h 224"/>
                <a:gd name="T10" fmla="*/ 163 w 252"/>
                <a:gd name="T11" fmla="*/ 54 h 224"/>
                <a:gd name="T12" fmla="*/ 143 w 252"/>
                <a:gd name="T13" fmla="*/ 29 h 224"/>
                <a:gd name="T14" fmla="*/ 134 w 252"/>
                <a:gd name="T15" fmla="*/ 19 h 224"/>
                <a:gd name="T16" fmla="*/ 134 w 252"/>
                <a:gd name="T17" fmla="*/ 19 h 224"/>
                <a:gd name="T18" fmla="*/ 68 w 252"/>
                <a:gd name="T19" fmla="*/ 15 h 224"/>
                <a:gd name="T20" fmla="*/ 69 w 252"/>
                <a:gd name="T21" fmla="*/ 14 h 224"/>
                <a:gd name="T22" fmla="*/ 21 w 252"/>
                <a:gd name="T23" fmla="*/ 93 h 224"/>
                <a:gd name="T24" fmla="*/ 20 w 252"/>
                <a:gd name="T25" fmla="*/ 148 h 224"/>
                <a:gd name="T26" fmla="*/ 5 w 252"/>
                <a:gd name="T27" fmla="*/ 177 h 224"/>
                <a:gd name="T28" fmla="*/ 21 w 252"/>
                <a:gd name="T29" fmla="*/ 214 h 224"/>
                <a:gd name="T30" fmla="*/ 60 w 252"/>
                <a:gd name="T31" fmla="*/ 205 h 224"/>
                <a:gd name="T32" fmla="*/ 73 w 252"/>
                <a:gd name="T33" fmla="*/ 221 h 224"/>
                <a:gd name="T34" fmla="*/ 95 w 252"/>
                <a:gd name="T35" fmla="*/ 223 h 224"/>
                <a:gd name="T36" fmla="*/ 138 w 252"/>
                <a:gd name="T37" fmla="*/ 205 h 224"/>
                <a:gd name="T38" fmla="*/ 165 w 252"/>
                <a:gd name="T39" fmla="*/ 216 h 224"/>
                <a:gd name="T40" fmla="*/ 193 w 252"/>
                <a:gd name="T41" fmla="*/ 210 h 224"/>
                <a:gd name="T42" fmla="*/ 192 w 252"/>
                <a:gd name="T43" fmla="*/ 208 h 224"/>
                <a:gd name="T44" fmla="*/ 197 w 252"/>
                <a:gd name="T45" fmla="*/ 206 h 224"/>
                <a:gd name="T46" fmla="*/ 206 w 252"/>
                <a:gd name="T47" fmla="*/ 183 h 224"/>
                <a:gd name="T48" fmla="*/ 214 w 252"/>
                <a:gd name="T49" fmla="*/ 193 h 224"/>
                <a:gd name="T50" fmla="*/ 229 w 252"/>
                <a:gd name="T51" fmla="*/ 149 h 224"/>
                <a:gd name="T52" fmla="*/ 243 w 252"/>
                <a:gd name="T53" fmla="*/ 158 h 224"/>
                <a:gd name="T54" fmla="*/ 251 w 252"/>
                <a:gd name="T55" fmla="*/ 139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2" h="224">
                  <a:moveTo>
                    <a:pt x="251" y="139"/>
                  </a:moveTo>
                  <a:cubicBezTo>
                    <a:pt x="250" y="132"/>
                    <a:pt x="245" y="125"/>
                    <a:pt x="238" y="123"/>
                  </a:cubicBezTo>
                  <a:cubicBezTo>
                    <a:pt x="230" y="120"/>
                    <a:pt x="221" y="122"/>
                    <a:pt x="213" y="118"/>
                  </a:cubicBezTo>
                  <a:cubicBezTo>
                    <a:pt x="203" y="114"/>
                    <a:pt x="199" y="102"/>
                    <a:pt x="197" y="92"/>
                  </a:cubicBezTo>
                  <a:cubicBezTo>
                    <a:pt x="194" y="82"/>
                    <a:pt x="192" y="70"/>
                    <a:pt x="183" y="63"/>
                  </a:cubicBezTo>
                  <a:cubicBezTo>
                    <a:pt x="177" y="59"/>
                    <a:pt x="170" y="58"/>
                    <a:pt x="163" y="54"/>
                  </a:cubicBezTo>
                  <a:cubicBezTo>
                    <a:pt x="154" y="48"/>
                    <a:pt x="149" y="37"/>
                    <a:pt x="143" y="29"/>
                  </a:cubicBezTo>
                  <a:cubicBezTo>
                    <a:pt x="140" y="25"/>
                    <a:pt x="137" y="22"/>
                    <a:pt x="134" y="19"/>
                  </a:cubicBezTo>
                  <a:cubicBezTo>
                    <a:pt x="134" y="19"/>
                    <a:pt x="134" y="19"/>
                    <a:pt x="134" y="19"/>
                  </a:cubicBezTo>
                  <a:cubicBezTo>
                    <a:pt x="120" y="2"/>
                    <a:pt x="84" y="0"/>
                    <a:pt x="68" y="15"/>
                  </a:cubicBezTo>
                  <a:cubicBezTo>
                    <a:pt x="69" y="14"/>
                    <a:pt x="69" y="14"/>
                    <a:pt x="69" y="14"/>
                  </a:cubicBezTo>
                  <a:cubicBezTo>
                    <a:pt x="40" y="16"/>
                    <a:pt x="21" y="63"/>
                    <a:pt x="21" y="93"/>
                  </a:cubicBezTo>
                  <a:cubicBezTo>
                    <a:pt x="21" y="112"/>
                    <a:pt x="27" y="131"/>
                    <a:pt x="20" y="148"/>
                  </a:cubicBezTo>
                  <a:cubicBezTo>
                    <a:pt x="16" y="158"/>
                    <a:pt x="8" y="166"/>
                    <a:pt x="5" y="177"/>
                  </a:cubicBezTo>
                  <a:cubicBezTo>
                    <a:pt x="0" y="191"/>
                    <a:pt x="7" y="207"/>
                    <a:pt x="21" y="214"/>
                  </a:cubicBezTo>
                  <a:cubicBezTo>
                    <a:pt x="34" y="221"/>
                    <a:pt x="51" y="216"/>
                    <a:pt x="60" y="205"/>
                  </a:cubicBezTo>
                  <a:cubicBezTo>
                    <a:pt x="60" y="212"/>
                    <a:pt x="66" y="219"/>
                    <a:pt x="73" y="221"/>
                  </a:cubicBezTo>
                  <a:cubicBezTo>
                    <a:pt x="80" y="224"/>
                    <a:pt x="88" y="223"/>
                    <a:pt x="95" y="223"/>
                  </a:cubicBezTo>
                  <a:cubicBezTo>
                    <a:pt x="112" y="222"/>
                    <a:pt x="130" y="219"/>
                    <a:pt x="138" y="205"/>
                  </a:cubicBezTo>
                  <a:cubicBezTo>
                    <a:pt x="144" y="213"/>
                    <a:pt x="155" y="217"/>
                    <a:pt x="165" y="216"/>
                  </a:cubicBezTo>
                  <a:cubicBezTo>
                    <a:pt x="175" y="215"/>
                    <a:pt x="184" y="214"/>
                    <a:pt x="193" y="210"/>
                  </a:cubicBezTo>
                  <a:cubicBezTo>
                    <a:pt x="193" y="209"/>
                    <a:pt x="193" y="209"/>
                    <a:pt x="192" y="208"/>
                  </a:cubicBezTo>
                  <a:cubicBezTo>
                    <a:pt x="194" y="208"/>
                    <a:pt x="195" y="207"/>
                    <a:pt x="197" y="206"/>
                  </a:cubicBezTo>
                  <a:cubicBezTo>
                    <a:pt x="204" y="202"/>
                    <a:pt x="209" y="191"/>
                    <a:pt x="206" y="183"/>
                  </a:cubicBezTo>
                  <a:cubicBezTo>
                    <a:pt x="208" y="187"/>
                    <a:pt x="211" y="190"/>
                    <a:pt x="214" y="193"/>
                  </a:cubicBezTo>
                  <a:cubicBezTo>
                    <a:pt x="229" y="185"/>
                    <a:pt x="236" y="165"/>
                    <a:pt x="229" y="149"/>
                  </a:cubicBezTo>
                  <a:cubicBezTo>
                    <a:pt x="234" y="151"/>
                    <a:pt x="239" y="154"/>
                    <a:pt x="243" y="158"/>
                  </a:cubicBezTo>
                  <a:cubicBezTo>
                    <a:pt x="249" y="154"/>
                    <a:pt x="252" y="147"/>
                    <a:pt x="251" y="13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38">
              <a:extLst>
                <a:ext uri="{FF2B5EF4-FFF2-40B4-BE49-F238E27FC236}">
                  <a16:creationId xmlns:a16="http://schemas.microsoft.com/office/drawing/2014/main" id="{6AFF98CE-58B3-4547-83A5-5D4497D22B89}"/>
                </a:ext>
              </a:extLst>
            </p:cNvPr>
            <p:cNvSpPr>
              <a:spLocks/>
            </p:cNvSpPr>
            <p:nvPr/>
          </p:nvSpPr>
          <p:spPr bwMode="auto">
            <a:xfrm>
              <a:off x="4922" y="2571"/>
              <a:ext cx="420" cy="344"/>
            </a:xfrm>
            <a:custGeom>
              <a:avLst/>
              <a:gdLst>
                <a:gd name="T0" fmla="*/ 175 w 177"/>
                <a:gd name="T1" fmla="*/ 145 h 145"/>
                <a:gd name="T2" fmla="*/ 174 w 177"/>
                <a:gd name="T3" fmla="*/ 135 h 145"/>
                <a:gd name="T4" fmla="*/ 165 w 177"/>
                <a:gd name="T5" fmla="*/ 128 h 145"/>
                <a:gd name="T6" fmla="*/ 150 w 177"/>
                <a:gd name="T7" fmla="*/ 124 h 145"/>
                <a:gd name="T8" fmla="*/ 132 w 177"/>
                <a:gd name="T9" fmla="*/ 120 h 145"/>
                <a:gd name="T10" fmla="*/ 123 w 177"/>
                <a:gd name="T11" fmla="*/ 114 h 145"/>
                <a:gd name="T12" fmla="*/ 118 w 177"/>
                <a:gd name="T13" fmla="*/ 103 h 145"/>
                <a:gd name="T14" fmla="*/ 113 w 177"/>
                <a:gd name="T15" fmla="*/ 80 h 145"/>
                <a:gd name="T16" fmla="*/ 107 w 177"/>
                <a:gd name="T17" fmla="*/ 69 h 145"/>
                <a:gd name="T18" fmla="*/ 97 w 177"/>
                <a:gd name="T19" fmla="*/ 63 h 145"/>
                <a:gd name="T20" fmla="*/ 84 w 177"/>
                <a:gd name="T21" fmla="*/ 61 h 145"/>
                <a:gd name="T22" fmla="*/ 73 w 177"/>
                <a:gd name="T23" fmla="*/ 55 h 145"/>
                <a:gd name="T24" fmla="*/ 62 w 177"/>
                <a:gd name="T25" fmla="*/ 33 h 145"/>
                <a:gd name="T26" fmla="*/ 51 w 177"/>
                <a:gd name="T27" fmla="*/ 15 h 145"/>
                <a:gd name="T28" fmla="*/ 36 w 177"/>
                <a:gd name="T29" fmla="*/ 5 h 145"/>
                <a:gd name="T30" fmla="*/ 9 w 177"/>
                <a:gd name="T31" fmla="*/ 4 h 145"/>
                <a:gd name="T32" fmla="*/ 0 w 177"/>
                <a:gd name="T33" fmla="*/ 7 h 145"/>
                <a:gd name="T34" fmla="*/ 2 w 177"/>
                <a:gd name="T35" fmla="*/ 6 h 145"/>
                <a:gd name="T36" fmla="*/ 9 w 177"/>
                <a:gd name="T37" fmla="*/ 3 h 145"/>
                <a:gd name="T38" fmla="*/ 36 w 177"/>
                <a:gd name="T39" fmla="*/ 4 h 145"/>
                <a:gd name="T40" fmla="*/ 52 w 177"/>
                <a:gd name="T41" fmla="*/ 14 h 145"/>
                <a:gd name="T42" fmla="*/ 64 w 177"/>
                <a:gd name="T43" fmla="*/ 33 h 145"/>
                <a:gd name="T44" fmla="*/ 74 w 177"/>
                <a:gd name="T45" fmla="*/ 53 h 145"/>
                <a:gd name="T46" fmla="*/ 85 w 177"/>
                <a:gd name="T47" fmla="*/ 59 h 145"/>
                <a:gd name="T48" fmla="*/ 98 w 177"/>
                <a:gd name="T49" fmla="*/ 61 h 145"/>
                <a:gd name="T50" fmla="*/ 109 w 177"/>
                <a:gd name="T51" fmla="*/ 68 h 145"/>
                <a:gd name="T52" fmla="*/ 115 w 177"/>
                <a:gd name="T53" fmla="*/ 80 h 145"/>
                <a:gd name="T54" fmla="*/ 120 w 177"/>
                <a:gd name="T55" fmla="*/ 103 h 145"/>
                <a:gd name="T56" fmla="*/ 132 w 177"/>
                <a:gd name="T57" fmla="*/ 119 h 145"/>
                <a:gd name="T58" fmla="*/ 151 w 177"/>
                <a:gd name="T59" fmla="*/ 123 h 145"/>
                <a:gd name="T60" fmla="*/ 166 w 177"/>
                <a:gd name="T61" fmla="*/ 127 h 145"/>
                <a:gd name="T62" fmla="*/ 174 w 177"/>
                <a:gd name="T63" fmla="*/ 135 h 145"/>
                <a:gd name="T64" fmla="*/ 176 w 177"/>
                <a:gd name="T65" fmla="*/ 142 h 145"/>
                <a:gd name="T66" fmla="*/ 175 w 177"/>
                <a:gd name="T6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45">
                  <a:moveTo>
                    <a:pt x="175" y="145"/>
                  </a:moveTo>
                  <a:cubicBezTo>
                    <a:pt x="175" y="145"/>
                    <a:pt x="177" y="141"/>
                    <a:pt x="174" y="135"/>
                  </a:cubicBezTo>
                  <a:cubicBezTo>
                    <a:pt x="172" y="132"/>
                    <a:pt x="169" y="130"/>
                    <a:pt x="165" y="128"/>
                  </a:cubicBezTo>
                  <a:cubicBezTo>
                    <a:pt x="161" y="126"/>
                    <a:pt x="156" y="125"/>
                    <a:pt x="150" y="124"/>
                  </a:cubicBezTo>
                  <a:cubicBezTo>
                    <a:pt x="145" y="124"/>
                    <a:pt x="138" y="123"/>
                    <a:pt x="132" y="120"/>
                  </a:cubicBezTo>
                  <a:cubicBezTo>
                    <a:pt x="129" y="119"/>
                    <a:pt x="126" y="117"/>
                    <a:pt x="123" y="114"/>
                  </a:cubicBezTo>
                  <a:cubicBezTo>
                    <a:pt x="121" y="111"/>
                    <a:pt x="119" y="107"/>
                    <a:pt x="118" y="103"/>
                  </a:cubicBezTo>
                  <a:cubicBezTo>
                    <a:pt x="116" y="96"/>
                    <a:pt x="115" y="88"/>
                    <a:pt x="113" y="80"/>
                  </a:cubicBezTo>
                  <a:cubicBezTo>
                    <a:pt x="111" y="76"/>
                    <a:pt x="110" y="73"/>
                    <a:pt x="107" y="69"/>
                  </a:cubicBezTo>
                  <a:cubicBezTo>
                    <a:pt x="105" y="66"/>
                    <a:pt x="101" y="64"/>
                    <a:pt x="97" y="63"/>
                  </a:cubicBezTo>
                  <a:cubicBezTo>
                    <a:pt x="93" y="62"/>
                    <a:pt x="89" y="62"/>
                    <a:pt x="84" y="61"/>
                  </a:cubicBezTo>
                  <a:cubicBezTo>
                    <a:pt x="80" y="60"/>
                    <a:pt x="76" y="58"/>
                    <a:pt x="73" y="55"/>
                  </a:cubicBezTo>
                  <a:cubicBezTo>
                    <a:pt x="67" y="48"/>
                    <a:pt x="64" y="40"/>
                    <a:pt x="62" y="33"/>
                  </a:cubicBezTo>
                  <a:cubicBezTo>
                    <a:pt x="59" y="26"/>
                    <a:pt x="56" y="20"/>
                    <a:pt x="51" y="15"/>
                  </a:cubicBezTo>
                  <a:cubicBezTo>
                    <a:pt x="46" y="11"/>
                    <a:pt x="41" y="7"/>
                    <a:pt x="36" y="5"/>
                  </a:cubicBezTo>
                  <a:cubicBezTo>
                    <a:pt x="25" y="1"/>
                    <a:pt x="15" y="2"/>
                    <a:pt x="9" y="4"/>
                  </a:cubicBezTo>
                  <a:cubicBezTo>
                    <a:pt x="3" y="5"/>
                    <a:pt x="0" y="7"/>
                    <a:pt x="0" y="7"/>
                  </a:cubicBezTo>
                  <a:cubicBezTo>
                    <a:pt x="0" y="7"/>
                    <a:pt x="1" y="7"/>
                    <a:pt x="2" y="6"/>
                  </a:cubicBezTo>
                  <a:cubicBezTo>
                    <a:pt x="4" y="5"/>
                    <a:pt x="6" y="4"/>
                    <a:pt x="9" y="3"/>
                  </a:cubicBezTo>
                  <a:cubicBezTo>
                    <a:pt x="15" y="1"/>
                    <a:pt x="25" y="0"/>
                    <a:pt x="36" y="4"/>
                  </a:cubicBezTo>
                  <a:cubicBezTo>
                    <a:pt x="42" y="6"/>
                    <a:pt x="47" y="9"/>
                    <a:pt x="52" y="14"/>
                  </a:cubicBezTo>
                  <a:cubicBezTo>
                    <a:pt x="57" y="19"/>
                    <a:pt x="61" y="25"/>
                    <a:pt x="64" y="33"/>
                  </a:cubicBezTo>
                  <a:cubicBezTo>
                    <a:pt x="66" y="40"/>
                    <a:pt x="69" y="48"/>
                    <a:pt x="74" y="53"/>
                  </a:cubicBezTo>
                  <a:cubicBezTo>
                    <a:pt x="77" y="56"/>
                    <a:pt x="81" y="58"/>
                    <a:pt x="85" y="59"/>
                  </a:cubicBezTo>
                  <a:cubicBezTo>
                    <a:pt x="89" y="60"/>
                    <a:pt x="93" y="60"/>
                    <a:pt x="98" y="61"/>
                  </a:cubicBezTo>
                  <a:cubicBezTo>
                    <a:pt x="102" y="62"/>
                    <a:pt x="106" y="65"/>
                    <a:pt x="109" y="68"/>
                  </a:cubicBezTo>
                  <a:cubicBezTo>
                    <a:pt x="112" y="72"/>
                    <a:pt x="113" y="76"/>
                    <a:pt x="115" y="80"/>
                  </a:cubicBezTo>
                  <a:cubicBezTo>
                    <a:pt x="117" y="88"/>
                    <a:pt x="118" y="96"/>
                    <a:pt x="120" y="103"/>
                  </a:cubicBezTo>
                  <a:cubicBezTo>
                    <a:pt x="122" y="110"/>
                    <a:pt x="126" y="116"/>
                    <a:pt x="132" y="119"/>
                  </a:cubicBezTo>
                  <a:cubicBezTo>
                    <a:pt x="138" y="122"/>
                    <a:pt x="145" y="122"/>
                    <a:pt x="151" y="123"/>
                  </a:cubicBezTo>
                  <a:cubicBezTo>
                    <a:pt x="156" y="123"/>
                    <a:pt x="161" y="125"/>
                    <a:pt x="166" y="127"/>
                  </a:cubicBezTo>
                  <a:cubicBezTo>
                    <a:pt x="170" y="129"/>
                    <a:pt x="173" y="132"/>
                    <a:pt x="174" y="135"/>
                  </a:cubicBezTo>
                  <a:cubicBezTo>
                    <a:pt x="176" y="138"/>
                    <a:pt x="176" y="140"/>
                    <a:pt x="176" y="142"/>
                  </a:cubicBezTo>
                  <a:cubicBezTo>
                    <a:pt x="176" y="144"/>
                    <a:pt x="175" y="145"/>
                    <a:pt x="175" y="14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9">
              <a:extLst>
                <a:ext uri="{FF2B5EF4-FFF2-40B4-BE49-F238E27FC236}">
                  <a16:creationId xmlns:a16="http://schemas.microsoft.com/office/drawing/2014/main" id="{B3FB358D-AE16-4B5D-A5ED-EBB332CE0D7A}"/>
                </a:ext>
              </a:extLst>
            </p:cNvPr>
            <p:cNvSpPr>
              <a:spLocks/>
            </p:cNvSpPr>
            <p:nvPr/>
          </p:nvSpPr>
          <p:spPr bwMode="auto">
            <a:xfrm>
              <a:off x="4927" y="2592"/>
              <a:ext cx="311" cy="458"/>
            </a:xfrm>
            <a:custGeom>
              <a:avLst/>
              <a:gdLst>
                <a:gd name="T0" fmla="*/ 122 w 131"/>
                <a:gd name="T1" fmla="*/ 193 h 193"/>
                <a:gd name="T2" fmla="*/ 125 w 131"/>
                <a:gd name="T3" fmla="*/ 192 h 193"/>
                <a:gd name="T4" fmla="*/ 129 w 131"/>
                <a:gd name="T5" fmla="*/ 186 h 193"/>
                <a:gd name="T6" fmla="*/ 128 w 131"/>
                <a:gd name="T7" fmla="*/ 175 h 193"/>
                <a:gd name="T8" fmla="*/ 117 w 131"/>
                <a:gd name="T9" fmla="*/ 164 h 193"/>
                <a:gd name="T10" fmla="*/ 101 w 131"/>
                <a:gd name="T11" fmla="*/ 155 h 193"/>
                <a:gd name="T12" fmla="*/ 93 w 131"/>
                <a:gd name="T13" fmla="*/ 148 h 193"/>
                <a:gd name="T14" fmla="*/ 88 w 131"/>
                <a:gd name="T15" fmla="*/ 138 h 193"/>
                <a:gd name="T16" fmla="*/ 85 w 131"/>
                <a:gd name="T17" fmla="*/ 114 h 193"/>
                <a:gd name="T18" fmla="*/ 74 w 131"/>
                <a:gd name="T19" fmla="*/ 92 h 193"/>
                <a:gd name="T20" fmla="*/ 52 w 131"/>
                <a:gd name="T21" fmla="*/ 80 h 193"/>
                <a:gd name="T22" fmla="*/ 42 w 131"/>
                <a:gd name="T23" fmla="*/ 57 h 193"/>
                <a:gd name="T24" fmla="*/ 38 w 131"/>
                <a:gd name="T25" fmla="*/ 36 h 193"/>
                <a:gd name="T26" fmla="*/ 30 w 131"/>
                <a:gd name="T27" fmla="*/ 19 h 193"/>
                <a:gd name="T28" fmla="*/ 9 w 131"/>
                <a:gd name="T29" fmla="*/ 3 h 193"/>
                <a:gd name="T30" fmla="*/ 0 w 131"/>
                <a:gd name="T31" fmla="*/ 0 h 193"/>
                <a:gd name="T32" fmla="*/ 3 w 131"/>
                <a:gd name="T33" fmla="*/ 0 h 193"/>
                <a:gd name="T34" fmla="*/ 10 w 131"/>
                <a:gd name="T35" fmla="*/ 2 h 193"/>
                <a:gd name="T36" fmla="*/ 32 w 131"/>
                <a:gd name="T37" fmla="*/ 19 h 193"/>
                <a:gd name="T38" fmla="*/ 40 w 131"/>
                <a:gd name="T39" fmla="*/ 36 h 193"/>
                <a:gd name="T40" fmla="*/ 44 w 131"/>
                <a:gd name="T41" fmla="*/ 57 h 193"/>
                <a:gd name="T42" fmla="*/ 53 w 131"/>
                <a:gd name="T43" fmla="*/ 78 h 193"/>
                <a:gd name="T44" fmla="*/ 75 w 131"/>
                <a:gd name="T45" fmla="*/ 91 h 193"/>
                <a:gd name="T46" fmla="*/ 84 w 131"/>
                <a:gd name="T47" fmla="*/ 101 h 193"/>
                <a:gd name="T48" fmla="*/ 87 w 131"/>
                <a:gd name="T49" fmla="*/ 114 h 193"/>
                <a:gd name="T50" fmla="*/ 90 w 131"/>
                <a:gd name="T51" fmla="*/ 137 h 193"/>
                <a:gd name="T52" fmla="*/ 94 w 131"/>
                <a:gd name="T53" fmla="*/ 147 h 193"/>
                <a:gd name="T54" fmla="*/ 102 w 131"/>
                <a:gd name="T55" fmla="*/ 154 h 193"/>
                <a:gd name="T56" fmla="*/ 118 w 131"/>
                <a:gd name="T57" fmla="*/ 163 h 193"/>
                <a:gd name="T58" fmla="*/ 129 w 131"/>
                <a:gd name="T59" fmla="*/ 174 h 193"/>
                <a:gd name="T60" fmla="*/ 129 w 131"/>
                <a:gd name="T61" fmla="*/ 186 h 193"/>
                <a:gd name="T62" fmla="*/ 125 w 131"/>
                <a:gd name="T63" fmla="*/ 192 h 193"/>
                <a:gd name="T64" fmla="*/ 122 w 131"/>
                <a:gd name="T65"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1" h="193">
                  <a:moveTo>
                    <a:pt x="122" y="193"/>
                  </a:moveTo>
                  <a:cubicBezTo>
                    <a:pt x="122" y="193"/>
                    <a:pt x="123" y="193"/>
                    <a:pt x="125" y="192"/>
                  </a:cubicBezTo>
                  <a:cubicBezTo>
                    <a:pt x="126" y="191"/>
                    <a:pt x="128" y="189"/>
                    <a:pt x="129" y="186"/>
                  </a:cubicBezTo>
                  <a:cubicBezTo>
                    <a:pt x="130" y="183"/>
                    <a:pt x="130" y="179"/>
                    <a:pt x="128" y="175"/>
                  </a:cubicBezTo>
                  <a:cubicBezTo>
                    <a:pt x="126" y="171"/>
                    <a:pt x="122" y="167"/>
                    <a:pt x="117" y="164"/>
                  </a:cubicBezTo>
                  <a:cubicBezTo>
                    <a:pt x="113" y="161"/>
                    <a:pt x="107" y="159"/>
                    <a:pt x="101" y="155"/>
                  </a:cubicBezTo>
                  <a:cubicBezTo>
                    <a:pt x="98" y="153"/>
                    <a:pt x="95" y="151"/>
                    <a:pt x="93" y="148"/>
                  </a:cubicBezTo>
                  <a:cubicBezTo>
                    <a:pt x="90" y="145"/>
                    <a:pt x="89" y="142"/>
                    <a:pt x="88" y="138"/>
                  </a:cubicBezTo>
                  <a:cubicBezTo>
                    <a:pt x="86" y="130"/>
                    <a:pt x="86" y="122"/>
                    <a:pt x="85" y="114"/>
                  </a:cubicBezTo>
                  <a:cubicBezTo>
                    <a:pt x="84" y="106"/>
                    <a:pt x="81" y="97"/>
                    <a:pt x="74" y="92"/>
                  </a:cubicBezTo>
                  <a:cubicBezTo>
                    <a:pt x="67" y="87"/>
                    <a:pt x="58" y="86"/>
                    <a:pt x="52" y="80"/>
                  </a:cubicBezTo>
                  <a:cubicBezTo>
                    <a:pt x="46" y="73"/>
                    <a:pt x="43" y="65"/>
                    <a:pt x="42" y="57"/>
                  </a:cubicBezTo>
                  <a:cubicBezTo>
                    <a:pt x="41" y="50"/>
                    <a:pt x="40" y="43"/>
                    <a:pt x="38" y="36"/>
                  </a:cubicBezTo>
                  <a:cubicBezTo>
                    <a:pt x="37" y="30"/>
                    <a:pt x="34" y="24"/>
                    <a:pt x="30" y="19"/>
                  </a:cubicBezTo>
                  <a:cubicBezTo>
                    <a:pt x="24" y="10"/>
                    <a:pt x="15" y="5"/>
                    <a:pt x="9" y="3"/>
                  </a:cubicBezTo>
                  <a:cubicBezTo>
                    <a:pt x="4" y="0"/>
                    <a:pt x="0" y="0"/>
                    <a:pt x="0" y="0"/>
                  </a:cubicBezTo>
                  <a:cubicBezTo>
                    <a:pt x="0" y="0"/>
                    <a:pt x="1" y="0"/>
                    <a:pt x="3" y="0"/>
                  </a:cubicBezTo>
                  <a:cubicBezTo>
                    <a:pt x="4" y="0"/>
                    <a:pt x="7" y="1"/>
                    <a:pt x="10" y="2"/>
                  </a:cubicBezTo>
                  <a:cubicBezTo>
                    <a:pt x="16" y="4"/>
                    <a:pt x="24" y="9"/>
                    <a:pt x="32" y="19"/>
                  </a:cubicBezTo>
                  <a:cubicBezTo>
                    <a:pt x="35" y="23"/>
                    <a:pt x="38" y="29"/>
                    <a:pt x="40" y="36"/>
                  </a:cubicBezTo>
                  <a:cubicBezTo>
                    <a:pt x="42" y="42"/>
                    <a:pt x="43" y="50"/>
                    <a:pt x="44" y="57"/>
                  </a:cubicBezTo>
                  <a:cubicBezTo>
                    <a:pt x="45" y="64"/>
                    <a:pt x="47" y="72"/>
                    <a:pt x="53" y="78"/>
                  </a:cubicBezTo>
                  <a:cubicBezTo>
                    <a:pt x="59" y="84"/>
                    <a:pt x="68" y="85"/>
                    <a:pt x="75" y="91"/>
                  </a:cubicBezTo>
                  <a:cubicBezTo>
                    <a:pt x="79" y="93"/>
                    <a:pt x="82" y="97"/>
                    <a:pt x="84" y="101"/>
                  </a:cubicBezTo>
                  <a:cubicBezTo>
                    <a:pt x="85" y="105"/>
                    <a:pt x="86" y="110"/>
                    <a:pt x="87" y="114"/>
                  </a:cubicBezTo>
                  <a:cubicBezTo>
                    <a:pt x="88" y="122"/>
                    <a:pt x="88" y="130"/>
                    <a:pt x="90" y="137"/>
                  </a:cubicBezTo>
                  <a:cubicBezTo>
                    <a:pt x="91" y="141"/>
                    <a:pt x="92" y="144"/>
                    <a:pt x="94" y="147"/>
                  </a:cubicBezTo>
                  <a:cubicBezTo>
                    <a:pt x="96" y="150"/>
                    <a:pt x="99" y="152"/>
                    <a:pt x="102" y="154"/>
                  </a:cubicBezTo>
                  <a:cubicBezTo>
                    <a:pt x="107" y="157"/>
                    <a:pt x="113" y="160"/>
                    <a:pt x="118" y="163"/>
                  </a:cubicBezTo>
                  <a:cubicBezTo>
                    <a:pt x="123" y="166"/>
                    <a:pt x="127" y="170"/>
                    <a:pt x="129" y="174"/>
                  </a:cubicBezTo>
                  <a:cubicBezTo>
                    <a:pt x="131" y="179"/>
                    <a:pt x="130" y="183"/>
                    <a:pt x="129" y="186"/>
                  </a:cubicBezTo>
                  <a:cubicBezTo>
                    <a:pt x="128" y="189"/>
                    <a:pt x="126" y="191"/>
                    <a:pt x="125" y="192"/>
                  </a:cubicBezTo>
                  <a:cubicBezTo>
                    <a:pt x="123" y="193"/>
                    <a:pt x="122" y="193"/>
                    <a:pt x="122" y="19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0">
              <a:extLst>
                <a:ext uri="{FF2B5EF4-FFF2-40B4-BE49-F238E27FC236}">
                  <a16:creationId xmlns:a16="http://schemas.microsoft.com/office/drawing/2014/main" id="{2240FB1B-D9A4-4F76-866A-CCCDCF8B701B}"/>
                </a:ext>
              </a:extLst>
            </p:cNvPr>
            <p:cNvSpPr>
              <a:spLocks/>
            </p:cNvSpPr>
            <p:nvPr/>
          </p:nvSpPr>
          <p:spPr bwMode="auto">
            <a:xfrm>
              <a:off x="4920" y="2595"/>
              <a:ext cx="85" cy="477"/>
            </a:xfrm>
            <a:custGeom>
              <a:avLst/>
              <a:gdLst>
                <a:gd name="T0" fmla="*/ 29 w 36"/>
                <a:gd name="T1" fmla="*/ 201 h 201"/>
                <a:gd name="T2" fmla="*/ 31 w 36"/>
                <a:gd name="T3" fmla="*/ 193 h 201"/>
                <a:gd name="T4" fmla="*/ 29 w 36"/>
                <a:gd name="T5" fmla="*/ 184 h 201"/>
                <a:gd name="T6" fmla="*/ 23 w 36"/>
                <a:gd name="T7" fmla="*/ 172 h 201"/>
                <a:gd name="T8" fmla="*/ 22 w 36"/>
                <a:gd name="T9" fmla="*/ 156 h 201"/>
                <a:gd name="T10" fmla="*/ 29 w 36"/>
                <a:gd name="T11" fmla="*/ 139 h 201"/>
                <a:gd name="T12" fmla="*/ 34 w 36"/>
                <a:gd name="T13" fmla="*/ 119 h 201"/>
                <a:gd name="T14" fmla="*/ 27 w 36"/>
                <a:gd name="T15" fmla="*/ 100 h 201"/>
                <a:gd name="T16" fmla="*/ 13 w 36"/>
                <a:gd name="T17" fmla="*/ 83 h 201"/>
                <a:gd name="T18" fmla="*/ 8 w 36"/>
                <a:gd name="T19" fmla="*/ 74 h 201"/>
                <a:gd name="T20" fmla="*/ 6 w 36"/>
                <a:gd name="T21" fmla="*/ 64 h 201"/>
                <a:gd name="T22" fmla="*/ 7 w 36"/>
                <a:gd name="T23" fmla="*/ 45 h 201"/>
                <a:gd name="T24" fmla="*/ 10 w 36"/>
                <a:gd name="T25" fmla="*/ 29 h 201"/>
                <a:gd name="T26" fmla="*/ 5 w 36"/>
                <a:gd name="T27" fmla="*/ 7 h 201"/>
                <a:gd name="T28" fmla="*/ 0 w 36"/>
                <a:gd name="T29" fmla="*/ 0 h 201"/>
                <a:gd name="T30" fmla="*/ 2 w 36"/>
                <a:gd name="T31" fmla="*/ 2 h 201"/>
                <a:gd name="T32" fmla="*/ 6 w 36"/>
                <a:gd name="T33" fmla="*/ 7 h 201"/>
                <a:gd name="T34" fmla="*/ 11 w 36"/>
                <a:gd name="T35" fmla="*/ 29 h 201"/>
                <a:gd name="T36" fmla="*/ 9 w 36"/>
                <a:gd name="T37" fmla="*/ 45 h 201"/>
                <a:gd name="T38" fmla="*/ 8 w 36"/>
                <a:gd name="T39" fmla="*/ 63 h 201"/>
                <a:gd name="T40" fmla="*/ 10 w 36"/>
                <a:gd name="T41" fmla="*/ 73 h 201"/>
                <a:gd name="T42" fmla="*/ 15 w 36"/>
                <a:gd name="T43" fmla="*/ 82 h 201"/>
                <a:gd name="T44" fmla="*/ 29 w 36"/>
                <a:gd name="T45" fmla="*/ 99 h 201"/>
                <a:gd name="T46" fmla="*/ 36 w 36"/>
                <a:gd name="T47" fmla="*/ 119 h 201"/>
                <a:gd name="T48" fmla="*/ 31 w 36"/>
                <a:gd name="T49" fmla="*/ 139 h 201"/>
                <a:gd name="T50" fmla="*/ 23 w 36"/>
                <a:gd name="T51" fmla="*/ 156 h 201"/>
                <a:gd name="T52" fmla="*/ 25 w 36"/>
                <a:gd name="T53" fmla="*/ 171 h 201"/>
                <a:gd name="T54" fmla="*/ 30 w 36"/>
                <a:gd name="T55" fmla="*/ 183 h 201"/>
                <a:gd name="T56" fmla="*/ 32 w 36"/>
                <a:gd name="T57" fmla="*/ 193 h 201"/>
                <a:gd name="T58" fmla="*/ 30 w 36"/>
                <a:gd name="T59" fmla="*/ 199 h 201"/>
                <a:gd name="T60" fmla="*/ 29 w 36"/>
                <a:gd name="T61"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01">
                  <a:moveTo>
                    <a:pt x="29" y="201"/>
                  </a:moveTo>
                  <a:cubicBezTo>
                    <a:pt x="28" y="201"/>
                    <a:pt x="31" y="199"/>
                    <a:pt x="31" y="193"/>
                  </a:cubicBezTo>
                  <a:cubicBezTo>
                    <a:pt x="31" y="190"/>
                    <a:pt x="31" y="187"/>
                    <a:pt x="29" y="184"/>
                  </a:cubicBezTo>
                  <a:cubicBezTo>
                    <a:pt x="28" y="180"/>
                    <a:pt x="25" y="176"/>
                    <a:pt x="23" y="172"/>
                  </a:cubicBezTo>
                  <a:cubicBezTo>
                    <a:pt x="21" y="167"/>
                    <a:pt x="20" y="161"/>
                    <a:pt x="22" y="156"/>
                  </a:cubicBezTo>
                  <a:cubicBezTo>
                    <a:pt x="23" y="150"/>
                    <a:pt x="26" y="144"/>
                    <a:pt x="29" y="139"/>
                  </a:cubicBezTo>
                  <a:cubicBezTo>
                    <a:pt x="32" y="133"/>
                    <a:pt x="34" y="126"/>
                    <a:pt x="34" y="119"/>
                  </a:cubicBezTo>
                  <a:cubicBezTo>
                    <a:pt x="34" y="113"/>
                    <a:pt x="32" y="106"/>
                    <a:pt x="27" y="100"/>
                  </a:cubicBezTo>
                  <a:cubicBezTo>
                    <a:pt x="23" y="94"/>
                    <a:pt x="17" y="89"/>
                    <a:pt x="13" y="83"/>
                  </a:cubicBezTo>
                  <a:cubicBezTo>
                    <a:pt x="11" y="80"/>
                    <a:pt x="9" y="77"/>
                    <a:pt x="8" y="74"/>
                  </a:cubicBezTo>
                  <a:cubicBezTo>
                    <a:pt x="7" y="70"/>
                    <a:pt x="6" y="67"/>
                    <a:pt x="6" y="64"/>
                  </a:cubicBezTo>
                  <a:cubicBezTo>
                    <a:pt x="5" y="57"/>
                    <a:pt x="6" y="51"/>
                    <a:pt x="7" y="45"/>
                  </a:cubicBezTo>
                  <a:cubicBezTo>
                    <a:pt x="8" y="39"/>
                    <a:pt x="9" y="34"/>
                    <a:pt x="10" y="29"/>
                  </a:cubicBezTo>
                  <a:cubicBezTo>
                    <a:pt x="10" y="19"/>
                    <a:pt x="8" y="12"/>
                    <a:pt x="5" y="7"/>
                  </a:cubicBezTo>
                  <a:cubicBezTo>
                    <a:pt x="2" y="2"/>
                    <a:pt x="0" y="1"/>
                    <a:pt x="0" y="0"/>
                  </a:cubicBezTo>
                  <a:cubicBezTo>
                    <a:pt x="0" y="0"/>
                    <a:pt x="1" y="1"/>
                    <a:pt x="2" y="2"/>
                  </a:cubicBezTo>
                  <a:cubicBezTo>
                    <a:pt x="3" y="3"/>
                    <a:pt x="4" y="4"/>
                    <a:pt x="6" y="7"/>
                  </a:cubicBezTo>
                  <a:cubicBezTo>
                    <a:pt x="9" y="11"/>
                    <a:pt x="12" y="19"/>
                    <a:pt x="11" y="29"/>
                  </a:cubicBezTo>
                  <a:cubicBezTo>
                    <a:pt x="11" y="34"/>
                    <a:pt x="10" y="40"/>
                    <a:pt x="9" y="45"/>
                  </a:cubicBezTo>
                  <a:cubicBezTo>
                    <a:pt x="8" y="51"/>
                    <a:pt x="7" y="57"/>
                    <a:pt x="8" y="63"/>
                  </a:cubicBezTo>
                  <a:cubicBezTo>
                    <a:pt x="8" y="67"/>
                    <a:pt x="9" y="70"/>
                    <a:pt x="10" y="73"/>
                  </a:cubicBezTo>
                  <a:cubicBezTo>
                    <a:pt x="11" y="76"/>
                    <a:pt x="13" y="79"/>
                    <a:pt x="15" y="82"/>
                  </a:cubicBezTo>
                  <a:cubicBezTo>
                    <a:pt x="19" y="87"/>
                    <a:pt x="24" y="92"/>
                    <a:pt x="29" y="99"/>
                  </a:cubicBezTo>
                  <a:cubicBezTo>
                    <a:pt x="34" y="105"/>
                    <a:pt x="36" y="112"/>
                    <a:pt x="36" y="119"/>
                  </a:cubicBezTo>
                  <a:cubicBezTo>
                    <a:pt x="36" y="127"/>
                    <a:pt x="34" y="134"/>
                    <a:pt x="31" y="139"/>
                  </a:cubicBezTo>
                  <a:cubicBezTo>
                    <a:pt x="28" y="145"/>
                    <a:pt x="25" y="151"/>
                    <a:pt x="23" y="156"/>
                  </a:cubicBezTo>
                  <a:cubicBezTo>
                    <a:pt x="22" y="162"/>
                    <a:pt x="23" y="167"/>
                    <a:pt x="25" y="171"/>
                  </a:cubicBezTo>
                  <a:cubicBezTo>
                    <a:pt x="27" y="176"/>
                    <a:pt x="29" y="179"/>
                    <a:pt x="30" y="183"/>
                  </a:cubicBezTo>
                  <a:cubicBezTo>
                    <a:pt x="32" y="187"/>
                    <a:pt x="32" y="190"/>
                    <a:pt x="32" y="193"/>
                  </a:cubicBezTo>
                  <a:cubicBezTo>
                    <a:pt x="32" y="196"/>
                    <a:pt x="31" y="198"/>
                    <a:pt x="30" y="199"/>
                  </a:cubicBezTo>
                  <a:cubicBezTo>
                    <a:pt x="29" y="201"/>
                    <a:pt x="29" y="201"/>
                    <a:pt x="29" y="20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1">
              <a:extLst>
                <a:ext uri="{FF2B5EF4-FFF2-40B4-BE49-F238E27FC236}">
                  <a16:creationId xmlns:a16="http://schemas.microsoft.com/office/drawing/2014/main" id="{8E86E82D-272E-4C20-BDAB-893DE4E6F2C3}"/>
                </a:ext>
              </a:extLst>
            </p:cNvPr>
            <p:cNvSpPr>
              <a:spLocks/>
            </p:cNvSpPr>
            <p:nvPr/>
          </p:nvSpPr>
          <p:spPr bwMode="auto">
            <a:xfrm>
              <a:off x="4818" y="2595"/>
              <a:ext cx="107" cy="470"/>
            </a:xfrm>
            <a:custGeom>
              <a:avLst/>
              <a:gdLst>
                <a:gd name="T0" fmla="*/ 2 w 45"/>
                <a:gd name="T1" fmla="*/ 198 h 198"/>
                <a:gd name="T2" fmla="*/ 1 w 45"/>
                <a:gd name="T3" fmla="*/ 196 h 198"/>
                <a:gd name="T4" fmla="*/ 1 w 45"/>
                <a:gd name="T5" fmla="*/ 189 h 198"/>
                <a:gd name="T6" fmla="*/ 7 w 45"/>
                <a:gd name="T7" fmla="*/ 181 h 198"/>
                <a:gd name="T8" fmla="*/ 17 w 45"/>
                <a:gd name="T9" fmla="*/ 173 h 198"/>
                <a:gd name="T10" fmla="*/ 24 w 45"/>
                <a:gd name="T11" fmla="*/ 158 h 198"/>
                <a:gd name="T12" fmla="*/ 21 w 45"/>
                <a:gd name="T13" fmla="*/ 141 h 198"/>
                <a:gd name="T14" fmla="*/ 16 w 45"/>
                <a:gd name="T15" fmla="*/ 120 h 198"/>
                <a:gd name="T16" fmla="*/ 24 w 45"/>
                <a:gd name="T17" fmla="*/ 99 h 198"/>
                <a:gd name="T18" fmla="*/ 29 w 45"/>
                <a:gd name="T19" fmla="*/ 79 h 198"/>
                <a:gd name="T20" fmla="*/ 25 w 45"/>
                <a:gd name="T21" fmla="*/ 59 h 198"/>
                <a:gd name="T22" fmla="*/ 24 w 45"/>
                <a:gd name="T23" fmla="*/ 24 h 198"/>
                <a:gd name="T24" fmla="*/ 37 w 45"/>
                <a:gd name="T25" fmla="*/ 4 h 198"/>
                <a:gd name="T26" fmla="*/ 43 w 45"/>
                <a:gd name="T27" fmla="*/ 1 h 198"/>
                <a:gd name="T28" fmla="*/ 45 w 45"/>
                <a:gd name="T29" fmla="*/ 0 h 198"/>
                <a:gd name="T30" fmla="*/ 38 w 45"/>
                <a:gd name="T31" fmla="*/ 5 h 198"/>
                <a:gd name="T32" fmla="*/ 26 w 45"/>
                <a:gd name="T33" fmla="*/ 24 h 198"/>
                <a:gd name="T34" fmla="*/ 27 w 45"/>
                <a:gd name="T35" fmla="*/ 58 h 198"/>
                <a:gd name="T36" fmla="*/ 31 w 45"/>
                <a:gd name="T37" fmla="*/ 79 h 198"/>
                <a:gd name="T38" fmla="*/ 26 w 45"/>
                <a:gd name="T39" fmla="*/ 100 h 198"/>
                <a:gd name="T40" fmla="*/ 18 w 45"/>
                <a:gd name="T41" fmla="*/ 121 h 198"/>
                <a:gd name="T42" fmla="*/ 22 w 45"/>
                <a:gd name="T43" fmla="*/ 140 h 198"/>
                <a:gd name="T44" fmla="*/ 25 w 45"/>
                <a:gd name="T45" fmla="*/ 149 h 198"/>
                <a:gd name="T46" fmla="*/ 25 w 45"/>
                <a:gd name="T47" fmla="*/ 159 h 198"/>
                <a:gd name="T48" fmla="*/ 18 w 45"/>
                <a:gd name="T49" fmla="*/ 174 h 198"/>
                <a:gd name="T50" fmla="*/ 7 w 45"/>
                <a:gd name="T51" fmla="*/ 182 h 198"/>
                <a:gd name="T52" fmla="*/ 1 w 45"/>
                <a:gd name="T53" fmla="*/ 190 h 198"/>
                <a:gd name="T54" fmla="*/ 1 w 45"/>
                <a:gd name="T55" fmla="*/ 196 h 198"/>
                <a:gd name="T56" fmla="*/ 2 w 45"/>
                <a:gd name="T5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198">
                  <a:moveTo>
                    <a:pt x="2" y="198"/>
                  </a:moveTo>
                  <a:cubicBezTo>
                    <a:pt x="2" y="198"/>
                    <a:pt x="1" y="197"/>
                    <a:pt x="1" y="196"/>
                  </a:cubicBezTo>
                  <a:cubicBezTo>
                    <a:pt x="0" y="194"/>
                    <a:pt x="0" y="192"/>
                    <a:pt x="1" y="189"/>
                  </a:cubicBezTo>
                  <a:cubicBezTo>
                    <a:pt x="1" y="187"/>
                    <a:pt x="4" y="184"/>
                    <a:pt x="7" y="181"/>
                  </a:cubicBezTo>
                  <a:cubicBezTo>
                    <a:pt x="10" y="178"/>
                    <a:pt x="14" y="176"/>
                    <a:pt x="17" y="173"/>
                  </a:cubicBezTo>
                  <a:cubicBezTo>
                    <a:pt x="20" y="169"/>
                    <a:pt x="23" y="164"/>
                    <a:pt x="24" y="158"/>
                  </a:cubicBezTo>
                  <a:cubicBezTo>
                    <a:pt x="25" y="153"/>
                    <a:pt x="23" y="147"/>
                    <a:pt x="21" y="141"/>
                  </a:cubicBezTo>
                  <a:cubicBezTo>
                    <a:pt x="18" y="135"/>
                    <a:pt x="15" y="128"/>
                    <a:pt x="16" y="120"/>
                  </a:cubicBezTo>
                  <a:cubicBezTo>
                    <a:pt x="17" y="113"/>
                    <a:pt x="21" y="106"/>
                    <a:pt x="24" y="99"/>
                  </a:cubicBezTo>
                  <a:cubicBezTo>
                    <a:pt x="27" y="93"/>
                    <a:pt x="30" y="86"/>
                    <a:pt x="29" y="79"/>
                  </a:cubicBezTo>
                  <a:cubicBezTo>
                    <a:pt x="29" y="72"/>
                    <a:pt x="27" y="65"/>
                    <a:pt x="25" y="59"/>
                  </a:cubicBezTo>
                  <a:cubicBezTo>
                    <a:pt x="21" y="46"/>
                    <a:pt x="21" y="34"/>
                    <a:pt x="24" y="24"/>
                  </a:cubicBezTo>
                  <a:cubicBezTo>
                    <a:pt x="27" y="14"/>
                    <a:pt x="33" y="8"/>
                    <a:pt x="37" y="4"/>
                  </a:cubicBezTo>
                  <a:cubicBezTo>
                    <a:pt x="39" y="3"/>
                    <a:pt x="41" y="2"/>
                    <a:pt x="43" y="1"/>
                  </a:cubicBezTo>
                  <a:cubicBezTo>
                    <a:pt x="44" y="0"/>
                    <a:pt x="45" y="0"/>
                    <a:pt x="45" y="0"/>
                  </a:cubicBezTo>
                  <a:cubicBezTo>
                    <a:pt x="45" y="0"/>
                    <a:pt x="42" y="1"/>
                    <a:pt x="38" y="5"/>
                  </a:cubicBezTo>
                  <a:cubicBezTo>
                    <a:pt x="34" y="8"/>
                    <a:pt x="28" y="15"/>
                    <a:pt x="26" y="24"/>
                  </a:cubicBezTo>
                  <a:cubicBezTo>
                    <a:pt x="23" y="34"/>
                    <a:pt x="23" y="46"/>
                    <a:pt x="27" y="58"/>
                  </a:cubicBezTo>
                  <a:cubicBezTo>
                    <a:pt x="29" y="64"/>
                    <a:pt x="31" y="71"/>
                    <a:pt x="31" y="79"/>
                  </a:cubicBezTo>
                  <a:cubicBezTo>
                    <a:pt x="32" y="86"/>
                    <a:pt x="29" y="93"/>
                    <a:pt x="26" y="100"/>
                  </a:cubicBezTo>
                  <a:cubicBezTo>
                    <a:pt x="23" y="107"/>
                    <a:pt x="19" y="114"/>
                    <a:pt x="18" y="121"/>
                  </a:cubicBezTo>
                  <a:cubicBezTo>
                    <a:pt x="17" y="128"/>
                    <a:pt x="20" y="134"/>
                    <a:pt x="22" y="140"/>
                  </a:cubicBezTo>
                  <a:cubicBezTo>
                    <a:pt x="24" y="143"/>
                    <a:pt x="25" y="146"/>
                    <a:pt x="25" y="149"/>
                  </a:cubicBezTo>
                  <a:cubicBezTo>
                    <a:pt x="26" y="153"/>
                    <a:pt x="26" y="156"/>
                    <a:pt x="25" y="159"/>
                  </a:cubicBezTo>
                  <a:cubicBezTo>
                    <a:pt x="24" y="165"/>
                    <a:pt x="21" y="170"/>
                    <a:pt x="18" y="174"/>
                  </a:cubicBezTo>
                  <a:cubicBezTo>
                    <a:pt x="15" y="177"/>
                    <a:pt x="10" y="180"/>
                    <a:pt x="7" y="182"/>
                  </a:cubicBezTo>
                  <a:cubicBezTo>
                    <a:pt x="4" y="184"/>
                    <a:pt x="2" y="187"/>
                    <a:pt x="1" y="190"/>
                  </a:cubicBezTo>
                  <a:cubicBezTo>
                    <a:pt x="0" y="192"/>
                    <a:pt x="1" y="194"/>
                    <a:pt x="1" y="196"/>
                  </a:cubicBezTo>
                  <a:cubicBezTo>
                    <a:pt x="1" y="197"/>
                    <a:pt x="2" y="198"/>
                    <a:pt x="2" y="19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2">
              <a:extLst>
                <a:ext uri="{FF2B5EF4-FFF2-40B4-BE49-F238E27FC236}">
                  <a16:creationId xmlns:a16="http://schemas.microsoft.com/office/drawing/2014/main" id="{439C182D-2059-44DA-87C3-9270C65870F6}"/>
                </a:ext>
              </a:extLst>
            </p:cNvPr>
            <p:cNvSpPr>
              <a:spLocks/>
            </p:cNvSpPr>
            <p:nvPr/>
          </p:nvSpPr>
          <p:spPr bwMode="auto">
            <a:xfrm>
              <a:off x="727" y="3224"/>
              <a:ext cx="216" cy="1678"/>
            </a:xfrm>
            <a:custGeom>
              <a:avLst/>
              <a:gdLst>
                <a:gd name="T0" fmla="*/ 74 w 91"/>
                <a:gd name="T1" fmla="*/ 707 h 707"/>
                <a:gd name="T2" fmla="*/ 74 w 91"/>
                <a:gd name="T3" fmla="*/ 706 h 707"/>
                <a:gd name="T4" fmla="*/ 77 w 91"/>
                <a:gd name="T5" fmla="*/ 700 h 707"/>
                <a:gd name="T6" fmla="*/ 84 w 91"/>
                <a:gd name="T7" fmla="*/ 680 h 707"/>
                <a:gd name="T8" fmla="*/ 83 w 91"/>
                <a:gd name="T9" fmla="*/ 602 h 707"/>
                <a:gd name="T10" fmla="*/ 69 w 91"/>
                <a:gd name="T11" fmla="*/ 550 h 707"/>
                <a:gd name="T12" fmla="*/ 49 w 91"/>
                <a:gd name="T13" fmla="*/ 490 h 707"/>
                <a:gd name="T14" fmla="*/ 40 w 91"/>
                <a:gd name="T15" fmla="*/ 421 h 707"/>
                <a:gd name="T16" fmla="*/ 56 w 91"/>
                <a:gd name="T17" fmla="*/ 348 h 707"/>
                <a:gd name="T18" fmla="*/ 75 w 91"/>
                <a:gd name="T19" fmla="*/ 277 h 707"/>
                <a:gd name="T20" fmla="*/ 61 w 91"/>
                <a:gd name="T21" fmla="*/ 211 h 707"/>
                <a:gd name="T22" fmla="*/ 28 w 91"/>
                <a:gd name="T23" fmla="*/ 158 h 707"/>
                <a:gd name="T24" fmla="*/ 8 w 91"/>
                <a:gd name="T25" fmla="*/ 107 h 707"/>
                <a:gd name="T26" fmla="*/ 6 w 91"/>
                <a:gd name="T27" fmla="*/ 28 h 707"/>
                <a:gd name="T28" fmla="*/ 15 w 91"/>
                <a:gd name="T29" fmla="*/ 0 h 707"/>
                <a:gd name="T30" fmla="*/ 14 w 91"/>
                <a:gd name="T31" fmla="*/ 2 h 707"/>
                <a:gd name="T32" fmla="*/ 13 w 91"/>
                <a:gd name="T33" fmla="*/ 7 h 707"/>
                <a:gd name="T34" fmla="*/ 7 w 91"/>
                <a:gd name="T35" fmla="*/ 28 h 707"/>
                <a:gd name="T36" fmla="*/ 9 w 91"/>
                <a:gd name="T37" fmla="*/ 106 h 707"/>
                <a:gd name="T38" fmla="*/ 30 w 91"/>
                <a:gd name="T39" fmla="*/ 157 h 707"/>
                <a:gd name="T40" fmla="*/ 63 w 91"/>
                <a:gd name="T41" fmla="*/ 210 h 707"/>
                <a:gd name="T42" fmla="*/ 77 w 91"/>
                <a:gd name="T43" fmla="*/ 277 h 707"/>
                <a:gd name="T44" fmla="*/ 58 w 91"/>
                <a:gd name="T45" fmla="*/ 349 h 707"/>
                <a:gd name="T46" fmla="*/ 42 w 91"/>
                <a:gd name="T47" fmla="*/ 421 h 707"/>
                <a:gd name="T48" fmla="*/ 52 w 91"/>
                <a:gd name="T49" fmla="*/ 489 h 707"/>
                <a:gd name="T50" fmla="*/ 71 w 91"/>
                <a:gd name="T51" fmla="*/ 549 h 707"/>
                <a:gd name="T52" fmla="*/ 85 w 91"/>
                <a:gd name="T53" fmla="*/ 602 h 707"/>
                <a:gd name="T54" fmla="*/ 85 w 91"/>
                <a:gd name="T55" fmla="*/ 680 h 707"/>
                <a:gd name="T56" fmla="*/ 77 w 91"/>
                <a:gd name="T57" fmla="*/ 701 h 707"/>
                <a:gd name="T58" fmla="*/ 75 w 91"/>
                <a:gd name="T59" fmla="*/ 706 h 707"/>
                <a:gd name="T60" fmla="*/ 74 w 91"/>
                <a:gd name="T61" fmla="*/ 707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 h="707">
                  <a:moveTo>
                    <a:pt x="74" y="707"/>
                  </a:moveTo>
                  <a:cubicBezTo>
                    <a:pt x="74" y="707"/>
                    <a:pt x="74" y="707"/>
                    <a:pt x="74" y="706"/>
                  </a:cubicBezTo>
                  <a:cubicBezTo>
                    <a:pt x="75" y="704"/>
                    <a:pt x="76" y="703"/>
                    <a:pt x="77" y="700"/>
                  </a:cubicBezTo>
                  <a:cubicBezTo>
                    <a:pt x="79" y="696"/>
                    <a:pt x="81" y="689"/>
                    <a:pt x="84" y="680"/>
                  </a:cubicBezTo>
                  <a:cubicBezTo>
                    <a:pt x="88" y="662"/>
                    <a:pt x="90" y="635"/>
                    <a:pt x="83" y="602"/>
                  </a:cubicBezTo>
                  <a:cubicBezTo>
                    <a:pt x="80" y="586"/>
                    <a:pt x="75" y="568"/>
                    <a:pt x="69" y="550"/>
                  </a:cubicBezTo>
                  <a:cubicBezTo>
                    <a:pt x="62" y="531"/>
                    <a:pt x="55" y="511"/>
                    <a:pt x="49" y="490"/>
                  </a:cubicBezTo>
                  <a:cubicBezTo>
                    <a:pt x="44" y="468"/>
                    <a:pt x="39" y="445"/>
                    <a:pt x="40" y="421"/>
                  </a:cubicBezTo>
                  <a:cubicBezTo>
                    <a:pt x="41" y="397"/>
                    <a:pt x="48" y="373"/>
                    <a:pt x="56" y="348"/>
                  </a:cubicBezTo>
                  <a:cubicBezTo>
                    <a:pt x="64" y="324"/>
                    <a:pt x="72" y="301"/>
                    <a:pt x="75" y="277"/>
                  </a:cubicBezTo>
                  <a:cubicBezTo>
                    <a:pt x="77" y="253"/>
                    <a:pt x="72" y="230"/>
                    <a:pt x="61" y="211"/>
                  </a:cubicBezTo>
                  <a:cubicBezTo>
                    <a:pt x="51" y="191"/>
                    <a:pt x="38" y="175"/>
                    <a:pt x="28" y="158"/>
                  </a:cubicBezTo>
                  <a:cubicBezTo>
                    <a:pt x="18" y="141"/>
                    <a:pt x="12" y="123"/>
                    <a:pt x="8" y="107"/>
                  </a:cubicBezTo>
                  <a:cubicBezTo>
                    <a:pt x="0" y="74"/>
                    <a:pt x="3" y="46"/>
                    <a:pt x="6" y="28"/>
                  </a:cubicBezTo>
                  <a:cubicBezTo>
                    <a:pt x="10" y="10"/>
                    <a:pt x="15" y="0"/>
                    <a:pt x="15" y="0"/>
                  </a:cubicBezTo>
                  <a:cubicBezTo>
                    <a:pt x="15" y="0"/>
                    <a:pt x="15" y="1"/>
                    <a:pt x="14" y="2"/>
                  </a:cubicBezTo>
                  <a:cubicBezTo>
                    <a:pt x="14" y="3"/>
                    <a:pt x="13" y="5"/>
                    <a:pt x="13" y="7"/>
                  </a:cubicBezTo>
                  <a:cubicBezTo>
                    <a:pt x="11" y="12"/>
                    <a:pt x="9" y="19"/>
                    <a:pt x="7" y="28"/>
                  </a:cubicBezTo>
                  <a:cubicBezTo>
                    <a:pt x="4" y="46"/>
                    <a:pt x="2" y="74"/>
                    <a:pt x="9" y="106"/>
                  </a:cubicBezTo>
                  <a:cubicBezTo>
                    <a:pt x="13" y="123"/>
                    <a:pt x="20" y="140"/>
                    <a:pt x="30" y="157"/>
                  </a:cubicBezTo>
                  <a:cubicBezTo>
                    <a:pt x="40" y="174"/>
                    <a:pt x="53" y="190"/>
                    <a:pt x="63" y="210"/>
                  </a:cubicBezTo>
                  <a:cubicBezTo>
                    <a:pt x="74" y="229"/>
                    <a:pt x="80" y="253"/>
                    <a:pt x="77" y="277"/>
                  </a:cubicBezTo>
                  <a:cubicBezTo>
                    <a:pt x="75" y="301"/>
                    <a:pt x="66" y="325"/>
                    <a:pt x="58" y="349"/>
                  </a:cubicBezTo>
                  <a:cubicBezTo>
                    <a:pt x="50" y="373"/>
                    <a:pt x="43" y="397"/>
                    <a:pt x="42" y="421"/>
                  </a:cubicBezTo>
                  <a:cubicBezTo>
                    <a:pt x="42" y="445"/>
                    <a:pt x="46" y="468"/>
                    <a:pt x="52" y="489"/>
                  </a:cubicBezTo>
                  <a:cubicBezTo>
                    <a:pt x="57" y="510"/>
                    <a:pt x="64" y="530"/>
                    <a:pt x="71" y="549"/>
                  </a:cubicBezTo>
                  <a:cubicBezTo>
                    <a:pt x="77" y="568"/>
                    <a:pt x="82" y="585"/>
                    <a:pt x="85" y="602"/>
                  </a:cubicBezTo>
                  <a:cubicBezTo>
                    <a:pt x="91" y="635"/>
                    <a:pt x="90" y="662"/>
                    <a:pt x="85" y="680"/>
                  </a:cubicBezTo>
                  <a:cubicBezTo>
                    <a:pt x="82" y="690"/>
                    <a:pt x="79" y="696"/>
                    <a:pt x="77" y="701"/>
                  </a:cubicBezTo>
                  <a:cubicBezTo>
                    <a:pt x="76" y="703"/>
                    <a:pt x="75" y="704"/>
                    <a:pt x="75" y="706"/>
                  </a:cubicBezTo>
                  <a:cubicBezTo>
                    <a:pt x="74" y="707"/>
                    <a:pt x="74" y="707"/>
                    <a:pt x="74" y="70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43">
              <a:extLst>
                <a:ext uri="{FF2B5EF4-FFF2-40B4-BE49-F238E27FC236}">
                  <a16:creationId xmlns:a16="http://schemas.microsoft.com/office/drawing/2014/main" id="{370F9F72-3654-445E-9653-FBA322340F33}"/>
                </a:ext>
              </a:extLst>
            </p:cNvPr>
            <p:cNvSpPr>
              <a:spLocks/>
            </p:cNvSpPr>
            <p:nvPr/>
          </p:nvSpPr>
          <p:spPr bwMode="auto">
            <a:xfrm>
              <a:off x="777" y="3395"/>
              <a:ext cx="104" cy="244"/>
            </a:xfrm>
            <a:custGeom>
              <a:avLst/>
              <a:gdLst>
                <a:gd name="T0" fmla="*/ 20 w 44"/>
                <a:gd name="T1" fmla="*/ 103 h 103"/>
                <a:gd name="T2" fmla="*/ 36 w 44"/>
                <a:gd name="T3" fmla="*/ 1 h 103"/>
                <a:gd name="T4" fmla="*/ 40 w 44"/>
                <a:gd name="T5" fmla="*/ 2 h 103"/>
                <a:gd name="T6" fmla="*/ 20 w 44"/>
                <a:gd name="T7" fmla="*/ 103 h 103"/>
              </a:gdLst>
              <a:ahLst/>
              <a:cxnLst>
                <a:cxn ang="0">
                  <a:pos x="T0" y="T1"/>
                </a:cxn>
                <a:cxn ang="0">
                  <a:pos x="T2" y="T3"/>
                </a:cxn>
                <a:cxn ang="0">
                  <a:pos x="T4" y="T5"/>
                </a:cxn>
                <a:cxn ang="0">
                  <a:pos x="T6" y="T7"/>
                </a:cxn>
              </a:cxnLst>
              <a:rect l="0" t="0" r="r" b="b"/>
              <a:pathLst>
                <a:path w="44" h="103">
                  <a:moveTo>
                    <a:pt x="20" y="103"/>
                  </a:moveTo>
                  <a:cubicBezTo>
                    <a:pt x="20" y="103"/>
                    <a:pt x="0" y="39"/>
                    <a:pt x="36" y="1"/>
                  </a:cubicBezTo>
                  <a:cubicBezTo>
                    <a:pt x="37" y="0"/>
                    <a:pt x="40" y="0"/>
                    <a:pt x="40" y="2"/>
                  </a:cubicBezTo>
                  <a:cubicBezTo>
                    <a:pt x="42" y="13"/>
                    <a:pt x="44" y="45"/>
                    <a:pt x="20" y="10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44">
              <a:extLst>
                <a:ext uri="{FF2B5EF4-FFF2-40B4-BE49-F238E27FC236}">
                  <a16:creationId xmlns:a16="http://schemas.microsoft.com/office/drawing/2014/main" id="{4A5E1A4F-124F-405E-82BE-5840F00DD994}"/>
                </a:ext>
              </a:extLst>
            </p:cNvPr>
            <p:cNvSpPr>
              <a:spLocks/>
            </p:cNvSpPr>
            <p:nvPr/>
          </p:nvSpPr>
          <p:spPr bwMode="auto">
            <a:xfrm>
              <a:off x="822" y="3447"/>
              <a:ext cx="33" cy="190"/>
            </a:xfrm>
            <a:custGeom>
              <a:avLst/>
              <a:gdLst>
                <a:gd name="T0" fmla="*/ 13 w 14"/>
                <a:gd name="T1" fmla="*/ 0 h 80"/>
                <a:gd name="T2" fmla="*/ 12 w 14"/>
                <a:gd name="T3" fmla="*/ 12 h 80"/>
                <a:gd name="T4" fmla="*/ 7 w 14"/>
                <a:gd name="T5" fmla="*/ 40 h 80"/>
                <a:gd name="T6" fmla="*/ 3 w 14"/>
                <a:gd name="T7" fmla="*/ 69 h 80"/>
                <a:gd name="T8" fmla="*/ 1 w 14"/>
                <a:gd name="T9" fmla="*/ 80 h 80"/>
                <a:gd name="T10" fmla="*/ 1 w 14"/>
                <a:gd name="T11" fmla="*/ 68 h 80"/>
                <a:gd name="T12" fmla="*/ 5 w 14"/>
                <a:gd name="T13" fmla="*/ 40 h 80"/>
                <a:gd name="T14" fmla="*/ 10 w 14"/>
                <a:gd name="T15" fmla="*/ 12 h 80"/>
                <a:gd name="T16" fmla="*/ 13 w 14"/>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80">
                  <a:moveTo>
                    <a:pt x="13" y="0"/>
                  </a:moveTo>
                  <a:cubicBezTo>
                    <a:pt x="14" y="0"/>
                    <a:pt x="13" y="5"/>
                    <a:pt x="12" y="12"/>
                  </a:cubicBezTo>
                  <a:cubicBezTo>
                    <a:pt x="11" y="20"/>
                    <a:pt x="9" y="30"/>
                    <a:pt x="7" y="40"/>
                  </a:cubicBezTo>
                  <a:cubicBezTo>
                    <a:pt x="6" y="51"/>
                    <a:pt x="4" y="61"/>
                    <a:pt x="3" y="69"/>
                  </a:cubicBezTo>
                  <a:cubicBezTo>
                    <a:pt x="2" y="76"/>
                    <a:pt x="1" y="80"/>
                    <a:pt x="1" y="80"/>
                  </a:cubicBezTo>
                  <a:cubicBezTo>
                    <a:pt x="0" y="80"/>
                    <a:pt x="0" y="76"/>
                    <a:pt x="1" y="68"/>
                  </a:cubicBezTo>
                  <a:cubicBezTo>
                    <a:pt x="2" y="61"/>
                    <a:pt x="3" y="51"/>
                    <a:pt x="5" y="40"/>
                  </a:cubicBezTo>
                  <a:cubicBezTo>
                    <a:pt x="7" y="29"/>
                    <a:pt x="9" y="19"/>
                    <a:pt x="10" y="12"/>
                  </a:cubicBezTo>
                  <a:cubicBezTo>
                    <a:pt x="12" y="5"/>
                    <a:pt x="13" y="0"/>
                    <a:pt x="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45">
              <a:extLst>
                <a:ext uri="{FF2B5EF4-FFF2-40B4-BE49-F238E27FC236}">
                  <a16:creationId xmlns:a16="http://schemas.microsoft.com/office/drawing/2014/main" id="{DBC34917-A784-4D09-881F-4BE3E54F03E0}"/>
                </a:ext>
              </a:extLst>
            </p:cNvPr>
            <p:cNvSpPr>
              <a:spLocks/>
            </p:cNvSpPr>
            <p:nvPr/>
          </p:nvSpPr>
          <p:spPr bwMode="auto">
            <a:xfrm>
              <a:off x="881" y="3801"/>
              <a:ext cx="154" cy="197"/>
            </a:xfrm>
            <a:custGeom>
              <a:avLst/>
              <a:gdLst>
                <a:gd name="T0" fmla="*/ 0 w 65"/>
                <a:gd name="T1" fmla="*/ 83 h 83"/>
                <a:gd name="T2" fmla="*/ 61 w 65"/>
                <a:gd name="T3" fmla="*/ 0 h 83"/>
                <a:gd name="T4" fmla="*/ 64 w 65"/>
                <a:gd name="T5" fmla="*/ 3 h 83"/>
                <a:gd name="T6" fmla="*/ 0 w 65"/>
                <a:gd name="T7" fmla="*/ 83 h 83"/>
              </a:gdLst>
              <a:ahLst/>
              <a:cxnLst>
                <a:cxn ang="0">
                  <a:pos x="T0" y="T1"/>
                </a:cxn>
                <a:cxn ang="0">
                  <a:pos x="T2" y="T3"/>
                </a:cxn>
                <a:cxn ang="0">
                  <a:pos x="T4" y="T5"/>
                </a:cxn>
                <a:cxn ang="0">
                  <a:pos x="T6" y="T7"/>
                </a:cxn>
              </a:cxnLst>
              <a:rect l="0" t="0" r="r" b="b"/>
              <a:pathLst>
                <a:path w="65" h="83">
                  <a:moveTo>
                    <a:pt x="0" y="83"/>
                  </a:moveTo>
                  <a:cubicBezTo>
                    <a:pt x="0" y="83"/>
                    <a:pt x="12" y="17"/>
                    <a:pt x="61" y="0"/>
                  </a:cubicBezTo>
                  <a:cubicBezTo>
                    <a:pt x="63" y="0"/>
                    <a:pt x="65" y="1"/>
                    <a:pt x="64" y="3"/>
                  </a:cubicBezTo>
                  <a:cubicBezTo>
                    <a:pt x="61" y="13"/>
                    <a:pt x="48" y="43"/>
                    <a:pt x="0" y="83"/>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46">
              <a:extLst>
                <a:ext uri="{FF2B5EF4-FFF2-40B4-BE49-F238E27FC236}">
                  <a16:creationId xmlns:a16="http://schemas.microsoft.com/office/drawing/2014/main" id="{C4938BE6-0646-4352-B74E-78705C681B95}"/>
                </a:ext>
              </a:extLst>
            </p:cNvPr>
            <p:cNvSpPr>
              <a:spLocks/>
            </p:cNvSpPr>
            <p:nvPr/>
          </p:nvSpPr>
          <p:spPr bwMode="auto">
            <a:xfrm>
              <a:off x="879" y="3841"/>
              <a:ext cx="116" cy="154"/>
            </a:xfrm>
            <a:custGeom>
              <a:avLst/>
              <a:gdLst>
                <a:gd name="T0" fmla="*/ 49 w 49"/>
                <a:gd name="T1" fmla="*/ 0 h 65"/>
                <a:gd name="T2" fmla="*/ 42 w 49"/>
                <a:gd name="T3" fmla="*/ 10 h 65"/>
                <a:gd name="T4" fmla="*/ 25 w 49"/>
                <a:gd name="T5" fmla="*/ 33 h 65"/>
                <a:gd name="T6" fmla="*/ 8 w 49"/>
                <a:gd name="T7" fmla="*/ 56 h 65"/>
                <a:gd name="T8" fmla="*/ 0 w 49"/>
                <a:gd name="T9" fmla="*/ 65 h 65"/>
                <a:gd name="T10" fmla="*/ 6 w 49"/>
                <a:gd name="T11" fmla="*/ 55 h 65"/>
                <a:gd name="T12" fmla="*/ 23 w 49"/>
                <a:gd name="T13" fmla="*/ 31 h 65"/>
                <a:gd name="T14" fmla="*/ 41 w 49"/>
                <a:gd name="T15" fmla="*/ 9 h 65"/>
                <a:gd name="T16" fmla="*/ 49 w 49"/>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5">
                  <a:moveTo>
                    <a:pt x="49" y="0"/>
                  </a:moveTo>
                  <a:cubicBezTo>
                    <a:pt x="49" y="1"/>
                    <a:pt x="47" y="4"/>
                    <a:pt x="42" y="10"/>
                  </a:cubicBezTo>
                  <a:cubicBezTo>
                    <a:pt x="37" y="17"/>
                    <a:pt x="31" y="24"/>
                    <a:pt x="25" y="33"/>
                  </a:cubicBezTo>
                  <a:cubicBezTo>
                    <a:pt x="19" y="42"/>
                    <a:pt x="13" y="49"/>
                    <a:pt x="8" y="56"/>
                  </a:cubicBezTo>
                  <a:cubicBezTo>
                    <a:pt x="3" y="62"/>
                    <a:pt x="1" y="65"/>
                    <a:pt x="0" y="65"/>
                  </a:cubicBezTo>
                  <a:cubicBezTo>
                    <a:pt x="0" y="65"/>
                    <a:pt x="2" y="61"/>
                    <a:pt x="6" y="55"/>
                  </a:cubicBezTo>
                  <a:cubicBezTo>
                    <a:pt x="10" y="49"/>
                    <a:pt x="16" y="40"/>
                    <a:pt x="23" y="31"/>
                  </a:cubicBezTo>
                  <a:cubicBezTo>
                    <a:pt x="30" y="23"/>
                    <a:pt x="36" y="15"/>
                    <a:pt x="41" y="9"/>
                  </a:cubicBezTo>
                  <a:cubicBezTo>
                    <a:pt x="46" y="3"/>
                    <a:pt x="49" y="0"/>
                    <a:pt x="4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47">
              <a:extLst>
                <a:ext uri="{FF2B5EF4-FFF2-40B4-BE49-F238E27FC236}">
                  <a16:creationId xmlns:a16="http://schemas.microsoft.com/office/drawing/2014/main" id="{20DFE58C-941D-4185-BD81-C617A20C2910}"/>
                </a:ext>
              </a:extLst>
            </p:cNvPr>
            <p:cNvSpPr>
              <a:spLocks/>
            </p:cNvSpPr>
            <p:nvPr/>
          </p:nvSpPr>
          <p:spPr bwMode="auto">
            <a:xfrm>
              <a:off x="831" y="4157"/>
              <a:ext cx="110" cy="232"/>
            </a:xfrm>
            <a:custGeom>
              <a:avLst/>
              <a:gdLst>
                <a:gd name="T0" fmla="*/ 7 w 46"/>
                <a:gd name="T1" fmla="*/ 98 h 98"/>
                <a:gd name="T2" fmla="*/ 42 w 46"/>
                <a:gd name="T3" fmla="*/ 1 h 98"/>
                <a:gd name="T4" fmla="*/ 46 w 46"/>
                <a:gd name="T5" fmla="*/ 3 h 98"/>
                <a:gd name="T6" fmla="*/ 7 w 46"/>
                <a:gd name="T7" fmla="*/ 98 h 98"/>
              </a:gdLst>
              <a:ahLst/>
              <a:cxnLst>
                <a:cxn ang="0">
                  <a:pos x="T0" y="T1"/>
                </a:cxn>
                <a:cxn ang="0">
                  <a:pos x="T2" y="T3"/>
                </a:cxn>
                <a:cxn ang="0">
                  <a:pos x="T4" y="T5"/>
                </a:cxn>
                <a:cxn ang="0">
                  <a:pos x="T6" y="T7"/>
                </a:cxn>
              </a:cxnLst>
              <a:rect l="0" t="0" r="r" b="b"/>
              <a:pathLst>
                <a:path w="46" h="98">
                  <a:moveTo>
                    <a:pt x="7" y="98"/>
                  </a:moveTo>
                  <a:cubicBezTo>
                    <a:pt x="7" y="98"/>
                    <a:pt x="0" y="31"/>
                    <a:pt x="42" y="1"/>
                  </a:cubicBezTo>
                  <a:cubicBezTo>
                    <a:pt x="44" y="0"/>
                    <a:pt x="46" y="1"/>
                    <a:pt x="46" y="3"/>
                  </a:cubicBezTo>
                  <a:cubicBezTo>
                    <a:pt x="46" y="14"/>
                    <a:pt x="42" y="46"/>
                    <a:pt x="7" y="9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48">
              <a:extLst>
                <a:ext uri="{FF2B5EF4-FFF2-40B4-BE49-F238E27FC236}">
                  <a16:creationId xmlns:a16="http://schemas.microsoft.com/office/drawing/2014/main" id="{AF069070-3D97-4BEE-AA44-DF5245E88CE4}"/>
                </a:ext>
              </a:extLst>
            </p:cNvPr>
            <p:cNvSpPr>
              <a:spLocks/>
            </p:cNvSpPr>
            <p:nvPr/>
          </p:nvSpPr>
          <p:spPr bwMode="auto">
            <a:xfrm>
              <a:off x="848" y="4209"/>
              <a:ext cx="66" cy="180"/>
            </a:xfrm>
            <a:custGeom>
              <a:avLst/>
              <a:gdLst>
                <a:gd name="T0" fmla="*/ 28 w 28"/>
                <a:gd name="T1" fmla="*/ 0 h 76"/>
                <a:gd name="T2" fmla="*/ 24 w 28"/>
                <a:gd name="T3" fmla="*/ 11 h 76"/>
                <a:gd name="T4" fmla="*/ 14 w 28"/>
                <a:gd name="T5" fmla="*/ 38 h 76"/>
                <a:gd name="T6" fmla="*/ 4 w 28"/>
                <a:gd name="T7" fmla="*/ 65 h 76"/>
                <a:gd name="T8" fmla="*/ 0 w 28"/>
                <a:gd name="T9" fmla="*/ 76 h 76"/>
                <a:gd name="T10" fmla="*/ 3 w 28"/>
                <a:gd name="T11" fmla="*/ 64 h 76"/>
                <a:gd name="T12" fmla="*/ 12 w 28"/>
                <a:gd name="T13" fmla="*/ 37 h 76"/>
                <a:gd name="T14" fmla="*/ 22 w 28"/>
                <a:gd name="T15" fmla="*/ 10 h 76"/>
                <a:gd name="T16" fmla="*/ 28 w 28"/>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6">
                  <a:moveTo>
                    <a:pt x="28" y="0"/>
                  </a:moveTo>
                  <a:cubicBezTo>
                    <a:pt x="28" y="0"/>
                    <a:pt x="26" y="4"/>
                    <a:pt x="24" y="11"/>
                  </a:cubicBezTo>
                  <a:cubicBezTo>
                    <a:pt x="21" y="19"/>
                    <a:pt x="18" y="28"/>
                    <a:pt x="14" y="38"/>
                  </a:cubicBezTo>
                  <a:cubicBezTo>
                    <a:pt x="10" y="48"/>
                    <a:pt x="7" y="57"/>
                    <a:pt x="4" y="65"/>
                  </a:cubicBezTo>
                  <a:cubicBezTo>
                    <a:pt x="2" y="72"/>
                    <a:pt x="0" y="76"/>
                    <a:pt x="0" y="76"/>
                  </a:cubicBezTo>
                  <a:cubicBezTo>
                    <a:pt x="0" y="76"/>
                    <a:pt x="1" y="71"/>
                    <a:pt x="3" y="64"/>
                  </a:cubicBezTo>
                  <a:cubicBezTo>
                    <a:pt x="5" y="57"/>
                    <a:pt x="8" y="48"/>
                    <a:pt x="12" y="37"/>
                  </a:cubicBezTo>
                  <a:cubicBezTo>
                    <a:pt x="16" y="27"/>
                    <a:pt x="19" y="17"/>
                    <a:pt x="22" y="10"/>
                  </a:cubicBezTo>
                  <a:cubicBezTo>
                    <a:pt x="25" y="4"/>
                    <a:pt x="27" y="0"/>
                    <a:pt x="2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49">
              <a:extLst>
                <a:ext uri="{FF2B5EF4-FFF2-40B4-BE49-F238E27FC236}">
                  <a16:creationId xmlns:a16="http://schemas.microsoft.com/office/drawing/2014/main" id="{981D0A8E-B4A2-4047-A02F-4782797FDCAB}"/>
                </a:ext>
              </a:extLst>
            </p:cNvPr>
            <p:cNvSpPr>
              <a:spLocks/>
            </p:cNvSpPr>
            <p:nvPr/>
          </p:nvSpPr>
          <p:spPr bwMode="auto">
            <a:xfrm>
              <a:off x="926" y="4556"/>
              <a:ext cx="112" cy="230"/>
            </a:xfrm>
            <a:custGeom>
              <a:avLst/>
              <a:gdLst>
                <a:gd name="T0" fmla="*/ 5 w 47"/>
                <a:gd name="T1" fmla="*/ 97 h 97"/>
                <a:gd name="T2" fmla="*/ 43 w 47"/>
                <a:gd name="T3" fmla="*/ 1 h 97"/>
                <a:gd name="T4" fmla="*/ 46 w 47"/>
                <a:gd name="T5" fmla="*/ 3 h 97"/>
                <a:gd name="T6" fmla="*/ 5 w 47"/>
                <a:gd name="T7" fmla="*/ 97 h 97"/>
              </a:gdLst>
              <a:ahLst/>
              <a:cxnLst>
                <a:cxn ang="0">
                  <a:pos x="T0" y="T1"/>
                </a:cxn>
                <a:cxn ang="0">
                  <a:pos x="T2" y="T3"/>
                </a:cxn>
                <a:cxn ang="0">
                  <a:pos x="T4" y="T5"/>
                </a:cxn>
                <a:cxn ang="0">
                  <a:pos x="T6" y="T7"/>
                </a:cxn>
              </a:cxnLst>
              <a:rect l="0" t="0" r="r" b="b"/>
              <a:pathLst>
                <a:path w="47" h="97">
                  <a:moveTo>
                    <a:pt x="5" y="97"/>
                  </a:moveTo>
                  <a:cubicBezTo>
                    <a:pt x="5" y="97"/>
                    <a:pt x="0" y="30"/>
                    <a:pt x="43" y="1"/>
                  </a:cubicBezTo>
                  <a:cubicBezTo>
                    <a:pt x="45" y="0"/>
                    <a:pt x="47" y="1"/>
                    <a:pt x="46" y="3"/>
                  </a:cubicBezTo>
                  <a:cubicBezTo>
                    <a:pt x="46" y="14"/>
                    <a:pt x="41" y="46"/>
                    <a:pt x="5" y="9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0">
              <a:extLst>
                <a:ext uri="{FF2B5EF4-FFF2-40B4-BE49-F238E27FC236}">
                  <a16:creationId xmlns:a16="http://schemas.microsoft.com/office/drawing/2014/main" id="{02F1F3A6-83BE-4CB9-B867-92A5907E040D}"/>
                </a:ext>
              </a:extLst>
            </p:cNvPr>
            <p:cNvSpPr>
              <a:spLocks/>
            </p:cNvSpPr>
            <p:nvPr/>
          </p:nvSpPr>
          <p:spPr bwMode="auto">
            <a:xfrm>
              <a:off x="936" y="4605"/>
              <a:ext cx="73" cy="178"/>
            </a:xfrm>
            <a:custGeom>
              <a:avLst/>
              <a:gdLst>
                <a:gd name="T0" fmla="*/ 30 w 31"/>
                <a:gd name="T1" fmla="*/ 0 h 75"/>
                <a:gd name="T2" fmla="*/ 26 w 31"/>
                <a:gd name="T3" fmla="*/ 11 h 75"/>
                <a:gd name="T4" fmla="*/ 16 w 31"/>
                <a:gd name="T5" fmla="*/ 38 h 75"/>
                <a:gd name="T6" fmla="*/ 5 w 31"/>
                <a:gd name="T7" fmla="*/ 64 h 75"/>
                <a:gd name="T8" fmla="*/ 0 w 31"/>
                <a:gd name="T9" fmla="*/ 75 h 75"/>
                <a:gd name="T10" fmla="*/ 3 w 31"/>
                <a:gd name="T11" fmla="*/ 64 h 75"/>
                <a:gd name="T12" fmla="*/ 13 w 31"/>
                <a:gd name="T13" fmla="*/ 37 h 75"/>
                <a:gd name="T14" fmla="*/ 25 w 31"/>
                <a:gd name="T15" fmla="*/ 11 h 75"/>
                <a:gd name="T16" fmla="*/ 30 w 31"/>
                <a:gd name="T1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75">
                  <a:moveTo>
                    <a:pt x="30" y="0"/>
                  </a:moveTo>
                  <a:cubicBezTo>
                    <a:pt x="31" y="0"/>
                    <a:pt x="29" y="5"/>
                    <a:pt x="26" y="11"/>
                  </a:cubicBezTo>
                  <a:cubicBezTo>
                    <a:pt x="23" y="19"/>
                    <a:pt x="20" y="28"/>
                    <a:pt x="16" y="38"/>
                  </a:cubicBezTo>
                  <a:cubicBezTo>
                    <a:pt x="12" y="48"/>
                    <a:pt x="8" y="57"/>
                    <a:pt x="5" y="64"/>
                  </a:cubicBezTo>
                  <a:cubicBezTo>
                    <a:pt x="2" y="71"/>
                    <a:pt x="1" y="75"/>
                    <a:pt x="0" y="75"/>
                  </a:cubicBezTo>
                  <a:cubicBezTo>
                    <a:pt x="0" y="75"/>
                    <a:pt x="1" y="71"/>
                    <a:pt x="3" y="64"/>
                  </a:cubicBezTo>
                  <a:cubicBezTo>
                    <a:pt x="5" y="57"/>
                    <a:pt x="9" y="47"/>
                    <a:pt x="13" y="37"/>
                  </a:cubicBezTo>
                  <a:cubicBezTo>
                    <a:pt x="18" y="27"/>
                    <a:pt x="22" y="17"/>
                    <a:pt x="25" y="11"/>
                  </a:cubicBezTo>
                  <a:cubicBezTo>
                    <a:pt x="28" y="4"/>
                    <a:pt x="30" y="0"/>
                    <a:pt x="3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1">
              <a:extLst>
                <a:ext uri="{FF2B5EF4-FFF2-40B4-BE49-F238E27FC236}">
                  <a16:creationId xmlns:a16="http://schemas.microsoft.com/office/drawing/2014/main" id="{874F018C-5063-4E5F-BF49-9BA1CA4F7F23}"/>
                </a:ext>
              </a:extLst>
            </p:cNvPr>
            <p:cNvSpPr>
              <a:spLocks/>
            </p:cNvSpPr>
            <p:nvPr/>
          </p:nvSpPr>
          <p:spPr bwMode="auto">
            <a:xfrm>
              <a:off x="613" y="3300"/>
              <a:ext cx="142" cy="204"/>
            </a:xfrm>
            <a:custGeom>
              <a:avLst/>
              <a:gdLst>
                <a:gd name="T0" fmla="*/ 60 w 60"/>
                <a:gd name="T1" fmla="*/ 86 h 86"/>
                <a:gd name="T2" fmla="*/ 0 w 60"/>
                <a:gd name="T3" fmla="*/ 3 h 86"/>
                <a:gd name="T4" fmla="*/ 3 w 60"/>
                <a:gd name="T5" fmla="*/ 1 h 86"/>
                <a:gd name="T6" fmla="*/ 60 w 60"/>
                <a:gd name="T7" fmla="*/ 86 h 86"/>
              </a:gdLst>
              <a:ahLst/>
              <a:cxnLst>
                <a:cxn ang="0">
                  <a:pos x="T0" y="T1"/>
                </a:cxn>
                <a:cxn ang="0">
                  <a:pos x="T2" y="T3"/>
                </a:cxn>
                <a:cxn ang="0">
                  <a:pos x="T4" y="T5"/>
                </a:cxn>
                <a:cxn ang="0">
                  <a:pos x="T6" y="T7"/>
                </a:cxn>
              </a:cxnLst>
              <a:rect l="0" t="0" r="r" b="b"/>
              <a:pathLst>
                <a:path w="60" h="86">
                  <a:moveTo>
                    <a:pt x="60" y="86"/>
                  </a:moveTo>
                  <a:cubicBezTo>
                    <a:pt x="60" y="86"/>
                    <a:pt x="1" y="55"/>
                    <a:pt x="0" y="3"/>
                  </a:cubicBezTo>
                  <a:cubicBezTo>
                    <a:pt x="0" y="1"/>
                    <a:pt x="2" y="0"/>
                    <a:pt x="3" y="1"/>
                  </a:cubicBezTo>
                  <a:cubicBezTo>
                    <a:pt x="12" y="8"/>
                    <a:pt x="37" y="29"/>
                    <a:pt x="60" y="8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2">
              <a:extLst>
                <a:ext uri="{FF2B5EF4-FFF2-40B4-BE49-F238E27FC236}">
                  <a16:creationId xmlns:a16="http://schemas.microsoft.com/office/drawing/2014/main" id="{1978B275-76A5-4B7A-95CC-C357E5BAEB0E}"/>
                </a:ext>
              </a:extLst>
            </p:cNvPr>
            <p:cNvSpPr>
              <a:spLocks/>
            </p:cNvSpPr>
            <p:nvPr/>
          </p:nvSpPr>
          <p:spPr bwMode="auto">
            <a:xfrm>
              <a:off x="642" y="3350"/>
              <a:ext cx="113" cy="156"/>
            </a:xfrm>
            <a:custGeom>
              <a:avLst/>
              <a:gdLst>
                <a:gd name="T0" fmla="*/ 0 w 48"/>
                <a:gd name="T1" fmla="*/ 0 h 66"/>
                <a:gd name="T2" fmla="*/ 8 w 48"/>
                <a:gd name="T3" fmla="*/ 9 h 66"/>
                <a:gd name="T4" fmla="*/ 24 w 48"/>
                <a:gd name="T5" fmla="*/ 33 h 66"/>
                <a:gd name="T6" fmla="*/ 41 w 48"/>
                <a:gd name="T7" fmla="*/ 56 h 66"/>
                <a:gd name="T8" fmla="*/ 48 w 48"/>
                <a:gd name="T9" fmla="*/ 66 h 66"/>
                <a:gd name="T10" fmla="*/ 40 w 48"/>
                <a:gd name="T11" fmla="*/ 57 h 66"/>
                <a:gd name="T12" fmla="*/ 22 w 48"/>
                <a:gd name="T13" fmla="*/ 34 h 66"/>
                <a:gd name="T14" fmla="*/ 6 w 48"/>
                <a:gd name="T15" fmla="*/ 10 h 66"/>
                <a:gd name="T16" fmla="*/ 0 w 48"/>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66">
                  <a:moveTo>
                    <a:pt x="0" y="0"/>
                  </a:moveTo>
                  <a:cubicBezTo>
                    <a:pt x="0" y="0"/>
                    <a:pt x="3" y="4"/>
                    <a:pt x="8" y="9"/>
                  </a:cubicBezTo>
                  <a:cubicBezTo>
                    <a:pt x="12" y="16"/>
                    <a:pt x="18" y="24"/>
                    <a:pt x="24" y="33"/>
                  </a:cubicBezTo>
                  <a:cubicBezTo>
                    <a:pt x="31" y="41"/>
                    <a:pt x="36" y="49"/>
                    <a:pt x="41" y="56"/>
                  </a:cubicBezTo>
                  <a:cubicBezTo>
                    <a:pt x="46" y="62"/>
                    <a:pt x="48" y="65"/>
                    <a:pt x="48" y="66"/>
                  </a:cubicBezTo>
                  <a:cubicBezTo>
                    <a:pt x="48" y="66"/>
                    <a:pt x="45" y="62"/>
                    <a:pt x="40" y="57"/>
                  </a:cubicBezTo>
                  <a:cubicBezTo>
                    <a:pt x="35" y="51"/>
                    <a:pt x="29" y="43"/>
                    <a:pt x="22" y="34"/>
                  </a:cubicBezTo>
                  <a:cubicBezTo>
                    <a:pt x="16" y="25"/>
                    <a:pt x="10" y="17"/>
                    <a:pt x="6" y="10"/>
                  </a:cubicBezTo>
                  <a:cubicBezTo>
                    <a:pt x="2" y="4"/>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53">
              <a:extLst>
                <a:ext uri="{FF2B5EF4-FFF2-40B4-BE49-F238E27FC236}">
                  <a16:creationId xmlns:a16="http://schemas.microsoft.com/office/drawing/2014/main" id="{3E37DC23-95B7-4095-8C75-4BD2738E57C9}"/>
                </a:ext>
              </a:extLst>
            </p:cNvPr>
            <p:cNvSpPr>
              <a:spLocks/>
            </p:cNvSpPr>
            <p:nvPr/>
          </p:nvSpPr>
          <p:spPr bwMode="auto">
            <a:xfrm>
              <a:off x="753" y="3637"/>
              <a:ext cx="154" cy="194"/>
            </a:xfrm>
            <a:custGeom>
              <a:avLst/>
              <a:gdLst>
                <a:gd name="T0" fmla="*/ 65 w 65"/>
                <a:gd name="T1" fmla="*/ 82 h 82"/>
                <a:gd name="T2" fmla="*/ 0 w 65"/>
                <a:gd name="T3" fmla="*/ 3 h 82"/>
                <a:gd name="T4" fmla="*/ 3 w 65"/>
                <a:gd name="T5" fmla="*/ 1 h 82"/>
                <a:gd name="T6" fmla="*/ 65 w 65"/>
                <a:gd name="T7" fmla="*/ 82 h 82"/>
              </a:gdLst>
              <a:ahLst/>
              <a:cxnLst>
                <a:cxn ang="0">
                  <a:pos x="T0" y="T1"/>
                </a:cxn>
                <a:cxn ang="0">
                  <a:pos x="T2" y="T3"/>
                </a:cxn>
                <a:cxn ang="0">
                  <a:pos x="T4" y="T5"/>
                </a:cxn>
                <a:cxn ang="0">
                  <a:pos x="T6" y="T7"/>
                </a:cxn>
              </a:cxnLst>
              <a:rect l="0" t="0" r="r" b="b"/>
              <a:pathLst>
                <a:path w="65" h="82">
                  <a:moveTo>
                    <a:pt x="65" y="82"/>
                  </a:moveTo>
                  <a:cubicBezTo>
                    <a:pt x="65" y="82"/>
                    <a:pt x="4" y="54"/>
                    <a:pt x="0" y="3"/>
                  </a:cubicBezTo>
                  <a:cubicBezTo>
                    <a:pt x="0" y="1"/>
                    <a:pt x="2" y="0"/>
                    <a:pt x="3" y="1"/>
                  </a:cubicBezTo>
                  <a:cubicBezTo>
                    <a:pt x="12" y="6"/>
                    <a:pt x="38" y="26"/>
                    <a:pt x="65" y="8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54">
              <a:extLst>
                <a:ext uri="{FF2B5EF4-FFF2-40B4-BE49-F238E27FC236}">
                  <a16:creationId xmlns:a16="http://schemas.microsoft.com/office/drawing/2014/main" id="{7644B19C-2F3B-493B-A04C-8560B180D51C}"/>
                </a:ext>
              </a:extLst>
            </p:cNvPr>
            <p:cNvSpPr>
              <a:spLocks/>
            </p:cNvSpPr>
            <p:nvPr/>
          </p:nvSpPr>
          <p:spPr bwMode="auto">
            <a:xfrm>
              <a:off x="784" y="3684"/>
              <a:ext cx="123" cy="147"/>
            </a:xfrm>
            <a:custGeom>
              <a:avLst/>
              <a:gdLst>
                <a:gd name="T0" fmla="*/ 0 w 52"/>
                <a:gd name="T1" fmla="*/ 0 h 62"/>
                <a:gd name="T2" fmla="*/ 8 w 52"/>
                <a:gd name="T3" fmla="*/ 9 h 62"/>
                <a:gd name="T4" fmla="*/ 26 w 52"/>
                <a:gd name="T5" fmla="*/ 31 h 62"/>
                <a:gd name="T6" fmla="*/ 45 w 52"/>
                <a:gd name="T7" fmla="*/ 53 h 62"/>
                <a:gd name="T8" fmla="*/ 52 w 52"/>
                <a:gd name="T9" fmla="*/ 62 h 62"/>
                <a:gd name="T10" fmla="*/ 43 w 52"/>
                <a:gd name="T11" fmla="*/ 54 h 62"/>
                <a:gd name="T12" fmla="*/ 24 w 52"/>
                <a:gd name="T13" fmla="*/ 32 h 62"/>
                <a:gd name="T14" fmla="*/ 7 w 52"/>
                <a:gd name="T15" fmla="*/ 10 h 62"/>
                <a:gd name="T16" fmla="*/ 0 w 52"/>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2">
                  <a:moveTo>
                    <a:pt x="0" y="0"/>
                  </a:moveTo>
                  <a:cubicBezTo>
                    <a:pt x="0" y="0"/>
                    <a:pt x="3" y="3"/>
                    <a:pt x="8" y="9"/>
                  </a:cubicBezTo>
                  <a:cubicBezTo>
                    <a:pt x="13" y="15"/>
                    <a:pt x="20" y="22"/>
                    <a:pt x="26" y="31"/>
                  </a:cubicBezTo>
                  <a:cubicBezTo>
                    <a:pt x="33" y="39"/>
                    <a:pt x="39" y="46"/>
                    <a:pt x="45" y="53"/>
                  </a:cubicBezTo>
                  <a:cubicBezTo>
                    <a:pt x="49" y="58"/>
                    <a:pt x="52" y="62"/>
                    <a:pt x="52" y="62"/>
                  </a:cubicBezTo>
                  <a:cubicBezTo>
                    <a:pt x="52" y="62"/>
                    <a:pt x="48" y="59"/>
                    <a:pt x="43" y="54"/>
                  </a:cubicBezTo>
                  <a:cubicBezTo>
                    <a:pt x="38" y="49"/>
                    <a:pt x="31" y="41"/>
                    <a:pt x="24" y="32"/>
                  </a:cubicBezTo>
                  <a:cubicBezTo>
                    <a:pt x="17" y="24"/>
                    <a:pt x="11" y="16"/>
                    <a:pt x="7" y="10"/>
                  </a:cubicBezTo>
                  <a:cubicBezTo>
                    <a:pt x="2" y="4"/>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55">
              <a:extLst>
                <a:ext uri="{FF2B5EF4-FFF2-40B4-BE49-F238E27FC236}">
                  <a16:creationId xmlns:a16="http://schemas.microsoft.com/office/drawing/2014/main" id="{162354DE-5934-4C4C-A93E-DDA71E81E606}"/>
                </a:ext>
              </a:extLst>
            </p:cNvPr>
            <p:cNvSpPr>
              <a:spLocks/>
            </p:cNvSpPr>
            <p:nvPr/>
          </p:nvSpPr>
          <p:spPr bwMode="auto">
            <a:xfrm>
              <a:off x="725" y="3953"/>
              <a:ext cx="102" cy="242"/>
            </a:xfrm>
            <a:custGeom>
              <a:avLst/>
              <a:gdLst>
                <a:gd name="T0" fmla="*/ 42 w 43"/>
                <a:gd name="T1" fmla="*/ 102 h 102"/>
                <a:gd name="T2" fmla="*/ 20 w 43"/>
                <a:gd name="T3" fmla="*/ 2 h 102"/>
                <a:gd name="T4" fmla="*/ 24 w 43"/>
                <a:gd name="T5" fmla="*/ 2 h 102"/>
                <a:gd name="T6" fmla="*/ 42 w 43"/>
                <a:gd name="T7" fmla="*/ 102 h 102"/>
              </a:gdLst>
              <a:ahLst/>
              <a:cxnLst>
                <a:cxn ang="0">
                  <a:pos x="T0" y="T1"/>
                </a:cxn>
                <a:cxn ang="0">
                  <a:pos x="T2" y="T3"/>
                </a:cxn>
                <a:cxn ang="0">
                  <a:pos x="T4" y="T5"/>
                </a:cxn>
                <a:cxn ang="0">
                  <a:pos x="T6" y="T7"/>
                </a:cxn>
              </a:cxnLst>
              <a:rect l="0" t="0" r="r" b="b"/>
              <a:pathLst>
                <a:path w="43" h="102">
                  <a:moveTo>
                    <a:pt x="42" y="102"/>
                  </a:moveTo>
                  <a:cubicBezTo>
                    <a:pt x="42" y="102"/>
                    <a:pt x="0" y="50"/>
                    <a:pt x="20" y="2"/>
                  </a:cubicBezTo>
                  <a:cubicBezTo>
                    <a:pt x="20" y="0"/>
                    <a:pt x="23" y="0"/>
                    <a:pt x="24" y="2"/>
                  </a:cubicBezTo>
                  <a:cubicBezTo>
                    <a:pt x="29" y="11"/>
                    <a:pt x="43" y="40"/>
                    <a:pt x="42" y="10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56">
              <a:extLst>
                <a:ext uri="{FF2B5EF4-FFF2-40B4-BE49-F238E27FC236}">
                  <a16:creationId xmlns:a16="http://schemas.microsoft.com/office/drawing/2014/main" id="{1CF96D5A-3438-4AEE-B8FD-B7DE878700B0}"/>
                </a:ext>
              </a:extLst>
            </p:cNvPr>
            <p:cNvSpPr>
              <a:spLocks/>
            </p:cNvSpPr>
            <p:nvPr/>
          </p:nvSpPr>
          <p:spPr bwMode="auto">
            <a:xfrm>
              <a:off x="782" y="4007"/>
              <a:ext cx="42" cy="188"/>
            </a:xfrm>
            <a:custGeom>
              <a:avLst/>
              <a:gdLst>
                <a:gd name="T0" fmla="*/ 0 w 18"/>
                <a:gd name="T1" fmla="*/ 0 h 79"/>
                <a:gd name="T2" fmla="*/ 3 w 18"/>
                <a:gd name="T3" fmla="*/ 12 h 79"/>
                <a:gd name="T4" fmla="*/ 9 w 18"/>
                <a:gd name="T5" fmla="*/ 40 h 79"/>
                <a:gd name="T6" fmla="*/ 15 w 18"/>
                <a:gd name="T7" fmla="*/ 68 h 79"/>
                <a:gd name="T8" fmla="*/ 18 w 18"/>
                <a:gd name="T9" fmla="*/ 79 h 79"/>
                <a:gd name="T10" fmla="*/ 14 w 18"/>
                <a:gd name="T11" fmla="*/ 68 h 79"/>
                <a:gd name="T12" fmla="*/ 7 w 18"/>
                <a:gd name="T13" fmla="*/ 40 h 79"/>
                <a:gd name="T14" fmla="*/ 1 w 18"/>
                <a:gd name="T15" fmla="*/ 12 h 79"/>
                <a:gd name="T16" fmla="*/ 0 w 18"/>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9">
                  <a:moveTo>
                    <a:pt x="0" y="0"/>
                  </a:moveTo>
                  <a:cubicBezTo>
                    <a:pt x="0" y="0"/>
                    <a:pt x="1" y="5"/>
                    <a:pt x="3" y="12"/>
                  </a:cubicBezTo>
                  <a:cubicBezTo>
                    <a:pt x="5" y="20"/>
                    <a:pt x="7" y="29"/>
                    <a:pt x="9" y="40"/>
                  </a:cubicBezTo>
                  <a:cubicBezTo>
                    <a:pt x="11" y="50"/>
                    <a:pt x="13" y="60"/>
                    <a:pt x="15" y="68"/>
                  </a:cubicBezTo>
                  <a:cubicBezTo>
                    <a:pt x="17" y="75"/>
                    <a:pt x="18" y="79"/>
                    <a:pt x="18" y="79"/>
                  </a:cubicBezTo>
                  <a:cubicBezTo>
                    <a:pt x="17" y="79"/>
                    <a:pt x="16" y="75"/>
                    <a:pt x="14" y="68"/>
                  </a:cubicBezTo>
                  <a:cubicBezTo>
                    <a:pt x="11" y="61"/>
                    <a:pt x="9" y="51"/>
                    <a:pt x="7" y="40"/>
                  </a:cubicBezTo>
                  <a:cubicBezTo>
                    <a:pt x="4" y="29"/>
                    <a:pt x="2" y="19"/>
                    <a:pt x="1" y="12"/>
                  </a:cubicBezTo>
                  <a:cubicBezTo>
                    <a:pt x="0" y="5"/>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57">
              <a:extLst>
                <a:ext uri="{FF2B5EF4-FFF2-40B4-BE49-F238E27FC236}">
                  <a16:creationId xmlns:a16="http://schemas.microsoft.com/office/drawing/2014/main" id="{5C168605-CFCB-448F-927C-1B89BBF213EE}"/>
                </a:ext>
              </a:extLst>
            </p:cNvPr>
            <p:cNvSpPr>
              <a:spLocks/>
            </p:cNvSpPr>
            <p:nvPr/>
          </p:nvSpPr>
          <p:spPr bwMode="auto">
            <a:xfrm>
              <a:off x="770" y="4427"/>
              <a:ext cx="154" cy="197"/>
            </a:xfrm>
            <a:custGeom>
              <a:avLst/>
              <a:gdLst>
                <a:gd name="T0" fmla="*/ 65 w 65"/>
                <a:gd name="T1" fmla="*/ 83 h 83"/>
                <a:gd name="T2" fmla="*/ 1 w 65"/>
                <a:gd name="T3" fmla="*/ 3 h 83"/>
                <a:gd name="T4" fmla="*/ 4 w 65"/>
                <a:gd name="T5" fmla="*/ 1 h 83"/>
                <a:gd name="T6" fmla="*/ 65 w 65"/>
                <a:gd name="T7" fmla="*/ 83 h 83"/>
              </a:gdLst>
              <a:ahLst/>
              <a:cxnLst>
                <a:cxn ang="0">
                  <a:pos x="T0" y="T1"/>
                </a:cxn>
                <a:cxn ang="0">
                  <a:pos x="T2" y="T3"/>
                </a:cxn>
                <a:cxn ang="0">
                  <a:pos x="T4" y="T5"/>
                </a:cxn>
                <a:cxn ang="0">
                  <a:pos x="T6" y="T7"/>
                </a:cxn>
              </a:cxnLst>
              <a:rect l="0" t="0" r="r" b="b"/>
              <a:pathLst>
                <a:path w="65" h="83">
                  <a:moveTo>
                    <a:pt x="65" y="83"/>
                  </a:moveTo>
                  <a:cubicBezTo>
                    <a:pt x="65" y="83"/>
                    <a:pt x="4" y="54"/>
                    <a:pt x="1" y="3"/>
                  </a:cubicBezTo>
                  <a:cubicBezTo>
                    <a:pt x="0" y="1"/>
                    <a:pt x="2" y="0"/>
                    <a:pt x="4" y="1"/>
                  </a:cubicBezTo>
                  <a:cubicBezTo>
                    <a:pt x="13" y="6"/>
                    <a:pt x="38" y="26"/>
                    <a:pt x="65" y="8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58">
              <a:extLst>
                <a:ext uri="{FF2B5EF4-FFF2-40B4-BE49-F238E27FC236}">
                  <a16:creationId xmlns:a16="http://schemas.microsoft.com/office/drawing/2014/main" id="{A36E94D1-FE49-467E-9B7B-824CD952F5FB}"/>
                </a:ext>
              </a:extLst>
            </p:cNvPr>
            <p:cNvSpPr>
              <a:spLocks/>
            </p:cNvSpPr>
            <p:nvPr/>
          </p:nvSpPr>
          <p:spPr bwMode="auto">
            <a:xfrm>
              <a:off x="801" y="4475"/>
              <a:ext cx="123" cy="149"/>
            </a:xfrm>
            <a:custGeom>
              <a:avLst/>
              <a:gdLst>
                <a:gd name="T0" fmla="*/ 1 w 52"/>
                <a:gd name="T1" fmla="*/ 0 h 63"/>
                <a:gd name="T2" fmla="*/ 8 w 52"/>
                <a:gd name="T3" fmla="*/ 9 h 63"/>
                <a:gd name="T4" fmla="*/ 26 w 52"/>
                <a:gd name="T5" fmla="*/ 31 h 63"/>
                <a:gd name="T6" fmla="*/ 44 w 52"/>
                <a:gd name="T7" fmla="*/ 54 h 63"/>
                <a:gd name="T8" fmla="*/ 51 w 52"/>
                <a:gd name="T9" fmla="*/ 63 h 63"/>
                <a:gd name="T10" fmla="*/ 43 w 52"/>
                <a:gd name="T11" fmla="*/ 55 h 63"/>
                <a:gd name="T12" fmla="*/ 24 w 52"/>
                <a:gd name="T13" fmla="*/ 33 h 63"/>
                <a:gd name="T14" fmla="*/ 7 w 52"/>
                <a:gd name="T15" fmla="*/ 10 h 63"/>
                <a:gd name="T16" fmla="*/ 1 w 52"/>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3">
                  <a:moveTo>
                    <a:pt x="1" y="0"/>
                  </a:moveTo>
                  <a:cubicBezTo>
                    <a:pt x="1" y="0"/>
                    <a:pt x="4" y="3"/>
                    <a:pt x="8" y="9"/>
                  </a:cubicBezTo>
                  <a:cubicBezTo>
                    <a:pt x="14" y="15"/>
                    <a:pt x="20" y="23"/>
                    <a:pt x="26" y="31"/>
                  </a:cubicBezTo>
                  <a:cubicBezTo>
                    <a:pt x="33" y="40"/>
                    <a:pt x="39" y="47"/>
                    <a:pt x="44" y="54"/>
                  </a:cubicBezTo>
                  <a:cubicBezTo>
                    <a:pt x="49" y="59"/>
                    <a:pt x="52" y="63"/>
                    <a:pt x="51" y="63"/>
                  </a:cubicBezTo>
                  <a:cubicBezTo>
                    <a:pt x="51" y="63"/>
                    <a:pt x="48" y="60"/>
                    <a:pt x="43" y="55"/>
                  </a:cubicBezTo>
                  <a:cubicBezTo>
                    <a:pt x="38" y="49"/>
                    <a:pt x="31" y="42"/>
                    <a:pt x="24" y="33"/>
                  </a:cubicBezTo>
                  <a:cubicBezTo>
                    <a:pt x="17" y="24"/>
                    <a:pt x="11" y="16"/>
                    <a:pt x="7" y="10"/>
                  </a:cubicBezTo>
                  <a:cubicBezTo>
                    <a:pt x="3" y="4"/>
                    <a:pt x="0" y="0"/>
                    <a:pt x="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9">
              <a:extLst>
                <a:ext uri="{FF2B5EF4-FFF2-40B4-BE49-F238E27FC236}">
                  <a16:creationId xmlns:a16="http://schemas.microsoft.com/office/drawing/2014/main" id="{50222711-B423-4F7C-9C54-22BBF9269014}"/>
                </a:ext>
              </a:extLst>
            </p:cNvPr>
            <p:cNvSpPr>
              <a:spLocks/>
            </p:cNvSpPr>
            <p:nvPr/>
          </p:nvSpPr>
          <p:spPr bwMode="auto">
            <a:xfrm>
              <a:off x="936" y="3998"/>
              <a:ext cx="275" cy="712"/>
            </a:xfrm>
            <a:custGeom>
              <a:avLst/>
              <a:gdLst>
                <a:gd name="T0" fmla="*/ 116 w 116"/>
                <a:gd name="T1" fmla="*/ 0 h 300"/>
                <a:gd name="T2" fmla="*/ 116 w 116"/>
                <a:gd name="T3" fmla="*/ 1 h 300"/>
                <a:gd name="T4" fmla="*/ 116 w 116"/>
                <a:gd name="T5" fmla="*/ 6 h 300"/>
                <a:gd name="T6" fmla="*/ 115 w 116"/>
                <a:gd name="T7" fmla="*/ 22 h 300"/>
                <a:gd name="T8" fmla="*/ 112 w 116"/>
                <a:gd name="T9" fmla="*/ 80 h 300"/>
                <a:gd name="T10" fmla="*/ 112 w 116"/>
                <a:gd name="T11" fmla="*/ 80 h 300"/>
                <a:gd name="T12" fmla="*/ 112 w 116"/>
                <a:gd name="T13" fmla="*/ 80 h 300"/>
                <a:gd name="T14" fmla="*/ 79 w 116"/>
                <a:gd name="T15" fmla="*/ 158 h 300"/>
                <a:gd name="T16" fmla="*/ 43 w 116"/>
                <a:gd name="T17" fmla="*/ 211 h 300"/>
                <a:gd name="T18" fmla="*/ 16 w 116"/>
                <a:gd name="T19" fmla="*/ 255 h 300"/>
                <a:gd name="T20" fmla="*/ 3 w 116"/>
                <a:gd name="T21" fmla="*/ 288 h 300"/>
                <a:gd name="T22" fmla="*/ 1 w 116"/>
                <a:gd name="T23" fmla="*/ 297 h 300"/>
                <a:gd name="T24" fmla="*/ 0 w 116"/>
                <a:gd name="T25" fmla="*/ 300 h 300"/>
                <a:gd name="T26" fmla="*/ 0 w 116"/>
                <a:gd name="T27" fmla="*/ 297 h 300"/>
                <a:gd name="T28" fmla="*/ 2 w 116"/>
                <a:gd name="T29" fmla="*/ 288 h 300"/>
                <a:gd name="T30" fmla="*/ 14 w 116"/>
                <a:gd name="T31" fmla="*/ 254 h 300"/>
                <a:gd name="T32" fmla="*/ 41 w 116"/>
                <a:gd name="T33" fmla="*/ 209 h 300"/>
                <a:gd name="T34" fmla="*/ 76 w 116"/>
                <a:gd name="T35" fmla="*/ 156 h 300"/>
                <a:gd name="T36" fmla="*/ 110 w 116"/>
                <a:gd name="T37" fmla="*/ 80 h 300"/>
                <a:gd name="T38" fmla="*/ 110 w 116"/>
                <a:gd name="T39" fmla="*/ 80 h 300"/>
                <a:gd name="T40" fmla="*/ 114 w 116"/>
                <a:gd name="T41" fmla="*/ 22 h 300"/>
                <a:gd name="T42" fmla="*/ 115 w 116"/>
                <a:gd name="T43" fmla="*/ 6 h 300"/>
                <a:gd name="T44" fmla="*/ 116 w 116"/>
                <a:gd name="T45" fmla="*/ 1 h 300"/>
                <a:gd name="T46" fmla="*/ 116 w 116"/>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300">
                  <a:moveTo>
                    <a:pt x="116" y="0"/>
                  </a:moveTo>
                  <a:cubicBezTo>
                    <a:pt x="116" y="0"/>
                    <a:pt x="116" y="0"/>
                    <a:pt x="116" y="1"/>
                  </a:cubicBezTo>
                  <a:cubicBezTo>
                    <a:pt x="116" y="3"/>
                    <a:pt x="116" y="4"/>
                    <a:pt x="116" y="6"/>
                  </a:cubicBezTo>
                  <a:cubicBezTo>
                    <a:pt x="116" y="10"/>
                    <a:pt x="115" y="15"/>
                    <a:pt x="115" y="22"/>
                  </a:cubicBezTo>
                  <a:cubicBezTo>
                    <a:pt x="114" y="36"/>
                    <a:pt x="113" y="56"/>
                    <a:pt x="112" y="80"/>
                  </a:cubicBezTo>
                  <a:cubicBezTo>
                    <a:pt x="112" y="80"/>
                    <a:pt x="112" y="80"/>
                    <a:pt x="112" y="80"/>
                  </a:cubicBezTo>
                  <a:cubicBezTo>
                    <a:pt x="112" y="80"/>
                    <a:pt x="112" y="80"/>
                    <a:pt x="112" y="80"/>
                  </a:cubicBezTo>
                  <a:cubicBezTo>
                    <a:pt x="108" y="105"/>
                    <a:pt x="95" y="131"/>
                    <a:pt x="79" y="158"/>
                  </a:cubicBezTo>
                  <a:cubicBezTo>
                    <a:pt x="66" y="177"/>
                    <a:pt x="54" y="194"/>
                    <a:pt x="43" y="211"/>
                  </a:cubicBezTo>
                  <a:cubicBezTo>
                    <a:pt x="32" y="227"/>
                    <a:pt x="22" y="242"/>
                    <a:pt x="16" y="255"/>
                  </a:cubicBezTo>
                  <a:cubicBezTo>
                    <a:pt x="9" y="269"/>
                    <a:pt x="5" y="280"/>
                    <a:pt x="3" y="288"/>
                  </a:cubicBezTo>
                  <a:cubicBezTo>
                    <a:pt x="2" y="292"/>
                    <a:pt x="1" y="295"/>
                    <a:pt x="1" y="297"/>
                  </a:cubicBezTo>
                  <a:cubicBezTo>
                    <a:pt x="0" y="299"/>
                    <a:pt x="0" y="300"/>
                    <a:pt x="0" y="300"/>
                  </a:cubicBezTo>
                  <a:cubicBezTo>
                    <a:pt x="0" y="300"/>
                    <a:pt x="0" y="299"/>
                    <a:pt x="0" y="297"/>
                  </a:cubicBezTo>
                  <a:cubicBezTo>
                    <a:pt x="1" y="295"/>
                    <a:pt x="1" y="292"/>
                    <a:pt x="2" y="288"/>
                  </a:cubicBezTo>
                  <a:cubicBezTo>
                    <a:pt x="4" y="280"/>
                    <a:pt x="8" y="268"/>
                    <a:pt x="14" y="254"/>
                  </a:cubicBezTo>
                  <a:cubicBezTo>
                    <a:pt x="20" y="241"/>
                    <a:pt x="30" y="226"/>
                    <a:pt x="41" y="209"/>
                  </a:cubicBezTo>
                  <a:cubicBezTo>
                    <a:pt x="52" y="193"/>
                    <a:pt x="64" y="175"/>
                    <a:pt x="76" y="156"/>
                  </a:cubicBezTo>
                  <a:cubicBezTo>
                    <a:pt x="93" y="130"/>
                    <a:pt x="105" y="104"/>
                    <a:pt x="110" y="80"/>
                  </a:cubicBezTo>
                  <a:cubicBezTo>
                    <a:pt x="110" y="80"/>
                    <a:pt x="110" y="80"/>
                    <a:pt x="110" y="80"/>
                  </a:cubicBezTo>
                  <a:cubicBezTo>
                    <a:pt x="111" y="56"/>
                    <a:pt x="113" y="36"/>
                    <a:pt x="114" y="22"/>
                  </a:cubicBezTo>
                  <a:cubicBezTo>
                    <a:pt x="114" y="15"/>
                    <a:pt x="115" y="10"/>
                    <a:pt x="115" y="6"/>
                  </a:cubicBezTo>
                  <a:cubicBezTo>
                    <a:pt x="115" y="4"/>
                    <a:pt x="115" y="3"/>
                    <a:pt x="116" y="1"/>
                  </a:cubicBezTo>
                  <a:cubicBezTo>
                    <a:pt x="116" y="0"/>
                    <a:pt x="116" y="0"/>
                    <a:pt x="116"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0">
              <a:extLst>
                <a:ext uri="{FF2B5EF4-FFF2-40B4-BE49-F238E27FC236}">
                  <a16:creationId xmlns:a16="http://schemas.microsoft.com/office/drawing/2014/main" id="{0C44A40E-9D3F-44B1-B615-2B9C310ECA2B}"/>
                </a:ext>
              </a:extLst>
            </p:cNvPr>
            <p:cNvSpPr>
              <a:spLocks/>
            </p:cNvSpPr>
            <p:nvPr/>
          </p:nvSpPr>
          <p:spPr bwMode="auto">
            <a:xfrm>
              <a:off x="1081" y="4114"/>
              <a:ext cx="104" cy="247"/>
            </a:xfrm>
            <a:custGeom>
              <a:avLst/>
              <a:gdLst>
                <a:gd name="T0" fmla="*/ 19 w 44"/>
                <a:gd name="T1" fmla="*/ 104 h 104"/>
                <a:gd name="T2" fmla="*/ 12 w 44"/>
                <a:gd name="T3" fmla="*/ 1 h 104"/>
                <a:gd name="T4" fmla="*/ 8 w 44"/>
                <a:gd name="T5" fmla="*/ 2 h 104"/>
                <a:gd name="T6" fmla="*/ 19 w 44"/>
                <a:gd name="T7" fmla="*/ 104 h 104"/>
              </a:gdLst>
              <a:ahLst/>
              <a:cxnLst>
                <a:cxn ang="0">
                  <a:pos x="T0" y="T1"/>
                </a:cxn>
                <a:cxn ang="0">
                  <a:pos x="T2" y="T3"/>
                </a:cxn>
                <a:cxn ang="0">
                  <a:pos x="T4" y="T5"/>
                </a:cxn>
                <a:cxn ang="0">
                  <a:pos x="T6" y="T7"/>
                </a:cxn>
              </a:cxnLst>
              <a:rect l="0" t="0" r="r" b="b"/>
              <a:pathLst>
                <a:path w="44" h="104">
                  <a:moveTo>
                    <a:pt x="19" y="104"/>
                  </a:moveTo>
                  <a:cubicBezTo>
                    <a:pt x="19" y="104"/>
                    <a:pt x="44" y="42"/>
                    <a:pt x="12" y="1"/>
                  </a:cubicBezTo>
                  <a:cubicBezTo>
                    <a:pt x="11" y="0"/>
                    <a:pt x="9" y="0"/>
                    <a:pt x="8" y="2"/>
                  </a:cubicBezTo>
                  <a:cubicBezTo>
                    <a:pt x="5" y="12"/>
                    <a:pt x="0" y="44"/>
                    <a:pt x="19" y="10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1">
              <a:extLst>
                <a:ext uri="{FF2B5EF4-FFF2-40B4-BE49-F238E27FC236}">
                  <a16:creationId xmlns:a16="http://schemas.microsoft.com/office/drawing/2014/main" id="{2C5C3807-DB2F-43FB-8851-07B0A65589BD}"/>
                </a:ext>
              </a:extLst>
            </p:cNvPr>
            <p:cNvSpPr>
              <a:spLocks/>
            </p:cNvSpPr>
            <p:nvPr/>
          </p:nvSpPr>
          <p:spPr bwMode="auto">
            <a:xfrm>
              <a:off x="1114" y="4169"/>
              <a:ext cx="14" cy="190"/>
            </a:xfrm>
            <a:custGeom>
              <a:avLst/>
              <a:gdLst>
                <a:gd name="T0" fmla="*/ 0 w 6"/>
                <a:gd name="T1" fmla="*/ 0 h 80"/>
                <a:gd name="T2" fmla="*/ 2 w 6"/>
                <a:gd name="T3" fmla="*/ 11 h 80"/>
                <a:gd name="T4" fmla="*/ 5 w 6"/>
                <a:gd name="T5" fmla="*/ 40 h 80"/>
                <a:gd name="T6" fmla="*/ 6 w 6"/>
                <a:gd name="T7" fmla="*/ 69 h 80"/>
                <a:gd name="T8" fmla="*/ 5 w 6"/>
                <a:gd name="T9" fmla="*/ 80 h 80"/>
                <a:gd name="T10" fmla="*/ 4 w 6"/>
                <a:gd name="T11" fmla="*/ 69 h 80"/>
                <a:gd name="T12" fmla="*/ 2 w 6"/>
                <a:gd name="T13" fmla="*/ 40 h 80"/>
                <a:gd name="T14" fmla="*/ 0 w 6"/>
                <a:gd name="T15" fmla="*/ 12 h 80"/>
                <a:gd name="T16" fmla="*/ 0 w 6"/>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0">
                  <a:moveTo>
                    <a:pt x="0" y="0"/>
                  </a:moveTo>
                  <a:cubicBezTo>
                    <a:pt x="0" y="0"/>
                    <a:pt x="1" y="4"/>
                    <a:pt x="2" y="11"/>
                  </a:cubicBezTo>
                  <a:cubicBezTo>
                    <a:pt x="3" y="19"/>
                    <a:pt x="4" y="29"/>
                    <a:pt x="5" y="40"/>
                  </a:cubicBezTo>
                  <a:cubicBezTo>
                    <a:pt x="6" y="51"/>
                    <a:pt x="6" y="61"/>
                    <a:pt x="6" y="69"/>
                  </a:cubicBezTo>
                  <a:cubicBezTo>
                    <a:pt x="6" y="76"/>
                    <a:pt x="6" y="80"/>
                    <a:pt x="5" y="80"/>
                  </a:cubicBezTo>
                  <a:cubicBezTo>
                    <a:pt x="5" y="80"/>
                    <a:pt x="5" y="76"/>
                    <a:pt x="4" y="69"/>
                  </a:cubicBezTo>
                  <a:cubicBezTo>
                    <a:pt x="4" y="60"/>
                    <a:pt x="3" y="51"/>
                    <a:pt x="2" y="40"/>
                  </a:cubicBezTo>
                  <a:cubicBezTo>
                    <a:pt x="2" y="29"/>
                    <a:pt x="1" y="20"/>
                    <a:pt x="0" y="12"/>
                  </a:cubicBezTo>
                  <a:cubicBezTo>
                    <a:pt x="0" y="4"/>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62">
              <a:extLst>
                <a:ext uri="{FF2B5EF4-FFF2-40B4-BE49-F238E27FC236}">
                  <a16:creationId xmlns:a16="http://schemas.microsoft.com/office/drawing/2014/main" id="{8C09C67D-5229-4EDA-BB91-D354C6EA1C48}"/>
                </a:ext>
              </a:extLst>
            </p:cNvPr>
            <p:cNvSpPr>
              <a:spLocks/>
            </p:cNvSpPr>
            <p:nvPr/>
          </p:nvSpPr>
          <p:spPr bwMode="auto">
            <a:xfrm>
              <a:off x="1092" y="4114"/>
              <a:ext cx="55" cy="247"/>
            </a:xfrm>
            <a:custGeom>
              <a:avLst/>
              <a:gdLst>
                <a:gd name="T0" fmla="*/ 5 w 23"/>
                <a:gd name="T1" fmla="*/ 0 h 104"/>
                <a:gd name="T2" fmla="*/ 3 w 23"/>
                <a:gd name="T3" fmla="*/ 2 h 104"/>
                <a:gd name="T4" fmla="*/ 0 w 23"/>
                <a:gd name="T5" fmla="*/ 28 h 104"/>
                <a:gd name="T6" fmla="*/ 14 w 23"/>
                <a:gd name="T7" fmla="*/ 104 h 104"/>
                <a:gd name="T8" fmla="*/ 14 w 23"/>
                <a:gd name="T9" fmla="*/ 103 h 104"/>
                <a:gd name="T10" fmla="*/ 13 w 23"/>
                <a:gd name="T11" fmla="*/ 92 h 104"/>
                <a:gd name="T12" fmla="*/ 11 w 23"/>
                <a:gd name="T13" fmla="*/ 63 h 104"/>
                <a:gd name="T14" fmla="*/ 9 w 23"/>
                <a:gd name="T15" fmla="*/ 35 h 104"/>
                <a:gd name="T16" fmla="*/ 9 w 23"/>
                <a:gd name="T17" fmla="*/ 23 h 104"/>
                <a:gd name="T18" fmla="*/ 9 w 23"/>
                <a:gd name="T19" fmla="*/ 23 h 104"/>
                <a:gd name="T20" fmla="*/ 11 w 23"/>
                <a:gd name="T21" fmla="*/ 34 h 104"/>
                <a:gd name="T22" fmla="*/ 14 w 23"/>
                <a:gd name="T23" fmla="*/ 63 h 104"/>
                <a:gd name="T24" fmla="*/ 15 w 23"/>
                <a:gd name="T25" fmla="*/ 92 h 104"/>
                <a:gd name="T26" fmla="*/ 15 w 23"/>
                <a:gd name="T27" fmla="*/ 101 h 104"/>
                <a:gd name="T28" fmla="*/ 23 w 23"/>
                <a:gd name="T29" fmla="*/ 53 h 104"/>
                <a:gd name="T30" fmla="*/ 7 w 23"/>
                <a:gd name="T31" fmla="*/ 1 h 104"/>
                <a:gd name="T32" fmla="*/ 5 w 23"/>
                <a:gd name="T3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104">
                  <a:moveTo>
                    <a:pt x="5" y="0"/>
                  </a:moveTo>
                  <a:cubicBezTo>
                    <a:pt x="4" y="0"/>
                    <a:pt x="3" y="1"/>
                    <a:pt x="3" y="2"/>
                  </a:cubicBezTo>
                  <a:cubicBezTo>
                    <a:pt x="2" y="6"/>
                    <a:pt x="0" y="15"/>
                    <a:pt x="0" y="28"/>
                  </a:cubicBezTo>
                  <a:cubicBezTo>
                    <a:pt x="0" y="45"/>
                    <a:pt x="3" y="70"/>
                    <a:pt x="14" y="104"/>
                  </a:cubicBezTo>
                  <a:cubicBezTo>
                    <a:pt x="14" y="104"/>
                    <a:pt x="14" y="103"/>
                    <a:pt x="14" y="103"/>
                  </a:cubicBezTo>
                  <a:cubicBezTo>
                    <a:pt x="14" y="101"/>
                    <a:pt x="13" y="97"/>
                    <a:pt x="13" y="92"/>
                  </a:cubicBezTo>
                  <a:cubicBezTo>
                    <a:pt x="13" y="83"/>
                    <a:pt x="12" y="74"/>
                    <a:pt x="11" y="63"/>
                  </a:cubicBezTo>
                  <a:cubicBezTo>
                    <a:pt x="11" y="52"/>
                    <a:pt x="10" y="43"/>
                    <a:pt x="9" y="35"/>
                  </a:cubicBezTo>
                  <a:cubicBezTo>
                    <a:pt x="9" y="27"/>
                    <a:pt x="9" y="23"/>
                    <a:pt x="9" y="23"/>
                  </a:cubicBezTo>
                  <a:cubicBezTo>
                    <a:pt x="9" y="23"/>
                    <a:pt x="9" y="23"/>
                    <a:pt x="9" y="23"/>
                  </a:cubicBezTo>
                  <a:cubicBezTo>
                    <a:pt x="9" y="23"/>
                    <a:pt x="10" y="27"/>
                    <a:pt x="11" y="34"/>
                  </a:cubicBezTo>
                  <a:cubicBezTo>
                    <a:pt x="12" y="42"/>
                    <a:pt x="13" y="52"/>
                    <a:pt x="14" y="63"/>
                  </a:cubicBezTo>
                  <a:cubicBezTo>
                    <a:pt x="15" y="74"/>
                    <a:pt x="15" y="84"/>
                    <a:pt x="15" y="92"/>
                  </a:cubicBezTo>
                  <a:cubicBezTo>
                    <a:pt x="15" y="96"/>
                    <a:pt x="15" y="99"/>
                    <a:pt x="15" y="101"/>
                  </a:cubicBezTo>
                  <a:cubicBezTo>
                    <a:pt x="17" y="94"/>
                    <a:pt x="23" y="75"/>
                    <a:pt x="23" y="53"/>
                  </a:cubicBezTo>
                  <a:cubicBezTo>
                    <a:pt x="23" y="36"/>
                    <a:pt x="20" y="17"/>
                    <a:pt x="7" y="1"/>
                  </a:cubicBezTo>
                  <a:cubicBezTo>
                    <a:pt x="7" y="0"/>
                    <a:pt x="6" y="0"/>
                    <a:pt x="5"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63">
              <a:extLst>
                <a:ext uri="{FF2B5EF4-FFF2-40B4-BE49-F238E27FC236}">
                  <a16:creationId xmlns:a16="http://schemas.microsoft.com/office/drawing/2014/main" id="{90C32605-378C-480E-B29D-E68BF14A765A}"/>
                </a:ext>
              </a:extLst>
            </p:cNvPr>
            <p:cNvSpPr>
              <a:spLocks/>
            </p:cNvSpPr>
            <p:nvPr/>
          </p:nvSpPr>
          <p:spPr bwMode="auto">
            <a:xfrm>
              <a:off x="1114" y="4169"/>
              <a:ext cx="14" cy="190"/>
            </a:xfrm>
            <a:custGeom>
              <a:avLst/>
              <a:gdLst>
                <a:gd name="T0" fmla="*/ 0 w 6"/>
                <a:gd name="T1" fmla="*/ 0 h 80"/>
                <a:gd name="T2" fmla="*/ 0 w 6"/>
                <a:gd name="T3" fmla="*/ 0 h 80"/>
                <a:gd name="T4" fmla="*/ 0 w 6"/>
                <a:gd name="T5" fmla="*/ 12 h 80"/>
                <a:gd name="T6" fmla="*/ 2 w 6"/>
                <a:gd name="T7" fmla="*/ 40 h 80"/>
                <a:gd name="T8" fmla="*/ 4 w 6"/>
                <a:gd name="T9" fmla="*/ 69 h 80"/>
                <a:gd name="T10" fmla="*/ 5 w 6"/>
                <a:gd name="T11" fmla="*/ 80 h 80"/>
                <a:gd name="T12" fmla="*/ 6 w 6"/>
                <a:gd name="T13" fmla="*/ 78 h 80"/>
                <a:gd name="T14" fmla="*/ 6 w 6"/>
                <a:gd name="T15" fmla="*/ 69 h 80"/>
                <a:gd name="T16" fmla="*/ 5 w 6"/>
                <a:gd name="T17" fmla="*/ 40 h 80"/>
                <a:gd name="T18" fmla="*/ 2 w 6"/>
                <a:gd name="T19" fmla="*/ 11 h 80"/>
                <a:gd name="T20" fmla="*/ 0 w 6"/>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0">
                  <a:moveTo>
                    <a:pt x="0" y="0"/>
                  </a:moveTo>
                  <a:cubicBezTo>
                    <a:pt x="0" y="0"/>
                    <a:pt x="0" y="0"/>
                    <a:pt x="0" y="0"/>
                  </a:cubicBezTo>
                  <a:cubicBezTo>
                    <a:pt x="0" y="0"/>
                    <a:pt x="0" y="4"/>
                    <a:pt x="0" y="12"/>
                  </a:cubicBezTo>
                  <a:cubicBezTo>
                    <a:pt x="1" y="20"/>
                    <a:pt x="2" y="29"/>
                    <a:pt x="2" y="40"/>
                  </a:cubicBezTo>
                  <a:cubicBezTo>
                    <a:pt x="3" y="51"/>
                    <a:pt x="4" y="60"/>
                    <a:pt x="4" y="69"/>
                  </a:cubicBezTo>
                  <a:cubicBezTo>
                    <a:pt x="4" y="74"/>
                    <a:pt x="5" y="78"/>
                    <a:pt x="5" y="80"/>
                  </a:cubicBezTo>
                  <a:cubicBezTo>
                    <a:pt x="5" y="79"/>
                    <a:pt x="5" y="79"/>
                    <a:pt x="6" y="78"/>
                  </a:cubicBezTo>
                  <a:cubicBezTo>
                    <a:pt x="6" y="76"/>
                    <a:pt x="6" y="73"/>
                    <a:pt x="6" y="69"/>
                  </a:cubicBezTo>
                  <a:cubicBezTo>
                    <a:pt x="6" y="61"/>
                    <a:pt x="6" y="51"/>
                    <a:pt x="5" y="40"/>
                  </a:cubicBezTo>
                  <a:cubicBezTo>
                    <a:pt x="4" y="29"/>
                    <a:pt x="3" y="19"/>
                    <a:pt x="2" y="11"/>
                  </a:cubicBezTo>
                  <a:cubicBezTo>
                    <a:pt x="1" y="4"/>
                    <a:pt x="0"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64">
              <a:extLst>
                <a:ext uri="{FF2B5EF4-FFF2-40B4-BE49-F238E27FC236}">
                  <a16:creationId xmlns:a16="http://schemas.microsoft.com/office/drawing/2014/main" id="{4D895486-916B-402D-B9F0-D37B1CE0856B}"/>
                </a:ext>
              </a:extLst>
            </p:cNvPr>
            <p:cNvSpPr>
              <a:spLocks/>
            </p:cNvSpPr>
            <p:nvPr/>
          </p:nvSpPr>
          <p:spPr bwMode="auto">
            <a:xfrm>
              <a:off x="879" y="4470"/>
              <a:ext cx="107" cy="245"/>
            </a:xfrm>
            <a:custGeom>
              <a:avLst/>
              <a:gdLst>
                <a:gd name="T0" fmla="*/ 24 w 45"/>
                <a:gd name="T1" fmla="*/ 103 h 103"/>
                <a:gd name="T2" fmla="*/ 9 w 45"/>
                <a:gd name="T3" fmla="*/ 1 h 103"/>
                <a:gd name="T4" fmla="*/ 5 w 45"/>
                <a:gd name="T5" fmla="*/ 2 h 103"/>
                <a:gd name="T6" fmla="*/ 24 w 45"/>
                <a:gd name="T7" fmla="*/ 103 h 103"/>
              </a:gdLst>
              <a:ahLst/>
              <a:cxnLst>
                <a:cxn ang="0">
                  <a:pos x="T0" y="T1"/>
                </a:cxn>
                <a:cxn ang="0">
                  <a:pos x="T2" y="T3"/>
                </a:cxn>
                <a:cxn ang="0">
                  <a:pos x="T4" y="T5"/>
                </a:cxn>
                <a:cxn ang="0">
                  <a:pos x="T6" y="T7"/>
                </a:cxn>
              </a:cxnLst>
              <a:rect l="0" t="0" r="r" b="b"/>
              <a:pathLst>
                <a:path w="45" h="103">
                  <a:moveTo>
                    <a:pt x="24" y="103"/>
                  </a:moveTo>
                  <a:cubicBezTo>
                    <a:pt x="24" y="103"/>
                    <a:pt x="45" y="39"/>
                    <a:pt x="9" y="1"/>
                  </a:cubicBezTo>
                  <a:cubicBezTo>
                    <a:pt x="8" y="0"/>
                    <a:pt x="6" y="1"/>
                    <a:pt x="5" y="2"/>
                  </a:cubicBezTo>
                  <a:cubicBezTo>
                    <a:pt x="3" y="13"/>
                    <a:pt x="0" y="45"/>
                    <a:pt x="24" y="10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65">
              <a:extLst>
                <a:ext uri="{FF2B5EF4-FFF2-40B4-BE49-F238E27FC236}">
                  <a16:creationId xmlns:a16="http://schemas.microsoft.com/office/drawing/2014/main" id="{AAA822AF-A0A6-474F-960C-C3F910F48168}"/>
                </a:ext>
              </a:extLst>
            </p:cNvPr>
            <p:cNvSpPr>
              <a:spLocks/>
            </p:cNvSpPr>
            <p:nvPr/>
          </p:nvSpPr>
          <p:spPr bwMode="auto">
            <a:xfrm>
              <a:off x="907" y="4525"/>
              <a:ext cx="31" cy="190"/>
            </a:xfrm>
            <a:custGeom>
              <a:avLst/>
              <a:gdLst>
                <a:gd name="T0" fmla="*/ 1 w 13"/>
                <a:gd name="T1" fmla="*/ 0 h 80"/>
                <a:gd name="T2" fmla="*/ 4 w 13"/>
                <a:gd name="T3" fmla="*/ 11 h 80"/>
                <a:gd name="T4" fmla="*/ 9 w 13"/>
                <a:gd name="T5" fmla="*/ 39 h 80"/>
                <a:gd name="T6" fmla="*/ 12 w 13"/>
                <a:gd name="T7" fmla="*/ 68 h 80"/>
                <a:gd name="T8" fmla="*/ 12 w 13"/>
                <a:gd name="T9" fmla="*/ 80 h 80"/>
                <a:gd name="T10" fmla="*/ 10 w 13"/>
                <a:gd name="T11" fmla="*/ 68 h 80"/>
                <a:gd name="T12" fmla="*/ 6 w 13"/>
                <a:gd name="T13" fmla="*/ 40 h 80"/>
                <a:gd name="T14" fmla="*/ 2 w 13"/>
                <a:gd name="T15" fmla="*/ 11 h 80"/>
                <a:gd name="T16" fmla="*/ 1 w 13"/>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80">
                  <a:moveTo>
                    <a:pt x="1" y="0"/>
                  </a:moveTo>
                  <a:cubicBezTo>
                    <a:pt x="1" y="0"/>
                    <a:pt x="2" y="4"/>
                    <a:pt x="4" y="11"/>
                  </a:cubicBezTo>
                  <a:cubicBezTo>
                    <a:pt x="5" y="18"/>
                    <a:pt x="7" y="28"/>
                    <a:pt x="9" y="39"/>
                  </a:cubicBezTo>
                  <a:cubicBezTo>
                    <a:pt x="10" y="50"/>
                    <a:pt x="12" y="61"/>
                    <a:pt x="12" y="68"/>
                  </a:cubicBezTo>
                  <a:cubicBezTo>
                    <a:pt x="13" y="75"/>
                    <a:pt x="13" y="80"/>
                    <a:pt x="12" y="80"/>
                  </a:cubicBezTo>
                  <a:cubicBezTo>
                    <a:pt x="12" y="80"/>
                    <a:pt x="11" y="75"/>
                    <a:pt x="10" y="68"/>
                  </a:cubicBezTo>
                  <a:cubicBezTo>
                    <a:pt x="9" y="60"/>
                    <a:pt x="8" y="50"/>
                    <a:pt x="6" y="40"/>
                  </a:cubicBezTo>
                  <a:cubicBezTo>
                    <a:pt x="5" y="29"/>
                    <a:pt x="3" y="20"/>
                    <a:pt x="2" y="11"/>
                  </a:cubicBezTo>
                  <a:cubicBezTo>
                    <a:pt x="1" y="4"/>
                    <a:pt x="0" y="0"/>
                    <a:pt x="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66">
              <a:extLst>
                <a:ext uri="{FF2B5EF4-FFF2-40B4-BE49-F238E27FC236}">
                  <a16:creationId xmlns:a16="http://schemas.microsoft.com/office/drawing/2014/main" id="{40FFCDDA-26CF-4133-A2D0-4B2ABBFA2280}"/>
                </a:ext>
              </a:extLst>
            </p:cNvPr>
            <p:cNvSpPr>
              <a:spLocks/>
            </p:cNvSpPr>
            <p:nvPr/>
          </p:nvSpPr>
          <p:spPr bwMode="auto">
            <a:xfrm>
              <a:off x="888" y="4472"/>
              <a:ext cx="62" cy="243"/>
            </a:xfrm>
            <a:custGeom>
              <a:avLst/>
              <a:gdLst>
                <a:gd name="T0" fmla="*/ 3 w 26"/>
                <a:gd name="T1" fmla="*/ 0 h 102"/>
                <a:gd name="T2" fmla="*/ 1 w 26"/>
                <a:gd name="T3" fmla="*/ 1 h 102"/>
                <a:gd name="T4" fmla="*/ 0 w 26"/>
                <a:gd name="T5" fmla="*/ 15 h 102"/>
                <a:gd name="T6" fmla="*/ 0 w 26"/>
                <a:gd name="T7" fmla="*/ 17 h 102"/>
                <a:gd name="T8" fmla="*/ 20 w 26"/>
                <a:gd name="T9" fmla="*/ 102 h 102"/>
                <a:gd name="T10" fmla="*/ 20 w 26"/>
                <a:gd name="T11" fmla="*/ 101 h 102"/>
                <a:gd name="T12" fmla="*/ 18 w 26"/>
                <a:gd name="T13" fmla="*/ 90 h 102"/>
                <a:gd name="T14" fmla="*/ 14 w 26"/>
                <a:gd name="T15" fmla="*/ 62 h 102"/>
                <a:gd name="T16" fmla="*/ 10 w 26"/>
                <a:gd name="T17" fmla="*/ 33 h 102"/>
                <a:gd name="T18" fmla="*/ 9 w 26"/>
                <a:gd name="T19" fmla="*/ 22 h 102"/>
                <a:gd name="T20" fmla="*/ 9 w 26"/>
                <a:gd name="T21" fmla="*/ 22 h 102"/>
                <a:gd name="T22" fmla="*/ 12 w 26"/>
                <a:gd name="T23" fmla="*/ 33 h 102"/>
                <a:gd name="T24" fmla="*/ 17 w 26"/>
                <a:gd name="T25" fmla="*/ 61 h 102"/>
                <a:gd name="T26" fmla="*/ 20 w 26"/>
                <a:gd name="T27" fmla="*/ 90 h 102"/>
                <a:gd name="T28" fmla="*/ 21 w 26"/>
                <a:gd name="T29" fmla="*/ 99 h 102"/>
                <a:gd name="T30" fmla="*/ 26 w 26"/>
                <a:gd name="T31" fmla="*/ 61 h 102"/>
                <a:gd name="T32" fmla="*/ 5 w 26"/>
                <a:gd name="T33" fmla="*/ 0 h 102"/>
                <a:gd name="T34" fmla="*/ 3 w 26"/>
                <a:gd name="T3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02">
                  <a:moveTo>
                    <a:pt x="3" y="0"/>
                  </a:moveTo>
                  <a:cubicBezTo>
                    <a:pt x="2" y="0"/>
                    <a:pt x="1" y="0"/>
                    <a:pt x="1" y="1"/>
                  </a:cubicBezTo>
                  <a:cubicBezTo>
                    <a:pt x="1" y="4"/>
                    <a:pt x="0" y="9"/>
                    <a:pt x="0" y="15"/>
                  </a:cubicBezTo>
                  <a:cubicBezTo>
                    <a:pt x="0" y="16"/>
                    <a:pt x="0" y="16"/>
                    <a:pt x="0" y="17"/>
                  </a:cubicBezTo>
                  <a:cubicBezTo>
                    <a:pt x="0" y="34"/>
                    <a:pt x="4" y="61"/>
                    <a:pt x="20" y="102"/>
                  </a:cubicBezTo>
                  <a:cubicBezTo>
                    <a:pt x="20" y="102"/>
                    <a:pt x="20" y="102"/>
                    <a:pt x="20" y="101"/>
                  </a:cubicBezTo>
                  <a:cubicBezTo>
                    <a:pt x="20" y="100"/>
                    <a:pt x="19" y="96"/>
                    <a:pt x="18" y="90"/>
                  </a:cubicBezTo>
                  <a:cubicBezTo>
                    <a:pt x="17" y="82"/>
                    <a:pt x="16" y="72"/>
                    <a:pt x="14" y="62"/>
                  </a:cubicBezTo>
                  <a:cubicBezTo>
                    <a:pt x="13" y="51"/>
                    <a:pt x="11" y="42"/>
                    <a:pt x="10" y="33"/>
                  </a:cubicBezTo>
                  <a:cubicBezTo>
                    <a:pt x="9" y="26"/>
                    <a:pt x="8" y="22"/>
                    <a:pt x="9" y="22"/>
                  </a:cubicBezTo>
                  <a:cubicBezTo>
                    <a:pt x="9" y="22"/>
                    <a:pt x="9" y="22"/>
                    <a:pt x="9" y="22"/>
                  </a:cubicBezTo>
                  <a:cubicBezTo>
                    <a:pt x="9" y="22"/>
                    <a:pt x="10" y="26"/>
                    <a:pt x="12" y="33"/>
                  </a:cubicBezTo>
                  <a:cubicBezTo>
                    <a:pt x="13" y="40"/>
                    <a:pt x="15" y="50"/>
                    <a:pt x="17" y="61"/>
                  </a:cubicBezTo>
                  <a:cubicBezTo>
                    <a:pt x="18" y="72"/>
                    <a:pt x="20" y="83"/>
                    <a:pt x="20" y="90"/>
                  </a:cubicBezTo>
                  <a:cubicBezTo>
                    <a:pt x="21" y="94"/>
                    <a:pt x="21" y="97"/>
                    <a:pt x="21" y="99"/>
                  </a:cubicBezTo>
                  <a:cubicBezTo>
                    <a:pt x="22" y="94"/>
                    <a:pt x="26" y="78"/>
                    <a:pt x="26" y="61"/>
                  </a:cubicBezTo>
                  <a:cubicBezTo>
                    <a:pt x="26" y="41"/>
                    <a:pt x="21" y="18"/>
                    <a:pt x="5" y="0"/>
                  </a:cubicBezTo>
                  <a:cubicBezTo>
                    <a:pt x="5" y="0"/>
                    <a:pt x="4" y="0"/>
                    <a:pt x="3"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67">
              <a:extLst>
                <a:ext uri="{FF2B5EF4-FFF2-40B4-BE49-F238E27FC236}">
                  <a16:creationId xmlns:a16="http://schemas.microsoft.com/office/drawing/2014/main" id="{0CBC2839-608C-4719-9C1F-CA23FDEAE4F2}"/>
                </a:ext>
              </a:extLst>
            </p:cNvPr>
            <p:cNvSpPr>
              <a:spLocks/>
            </p:cNvSpPr>
            <p:nvPr/>
          </p:nvSpPr>
          <p:spPr bwMode="auto">
            <a:xfrm>
              <a:off x="907" y="4525"/>
              <a:ext cx="31" cy="187"/>
            </a:xfrm>
            <a:custGeom>
              <a:avLst/>
              <a:gdLst>
                <a:gd name="T0" fmla="*/ 1 w 13"/>
                <a:gd name="T1" fmla="*/ 0 h 79"/>
                <a:gd name="T2" fmla="*/ 1 w 13"/>
                <a:gd name="T3" fmla="*/ 0 h 79"/>
                <a:gd name="T4" fmla="*/ 2 w 13"/>
                <a:gd name="T5" fmla="*/ 11 h 79"/>
                <a:gd name="T6" fmla="*/ 6 w 13"/>
                <a:gd name="T7" fmla="*/ 40 h 79"/>
                <a:gd name="T8" fmla="*/ 10 w 13"/>
                <a:gd name="T9" fmla="*/ 68 h 79"/>
                <a:gd name="T10" fmla="*/ 12 w 13"/>
                <a:gd name="T11" fmla="*/ 79 h 79"/>
                <a:gd name="T12" fmla="*/ 13 w 13"/>
                <a:gd name="T13" fmla="*/ 77 h 79"/>
                <a:gd name="T14" fmla="*/ 12 w 13"/>
                <a:gd name="T15" fmla="*/ 68 h 79"/>
                <a:gd name="T16" fmla="*/ 9 w 13"/>
                <a:gd name="T17" fmla="*/ 39 h 79"/>
                <a:gd name="T18" fmla="*/ 4 w 13"/>
                <a:gd name="T19" fmla="*/ 11 h 79"/>
                <a:gd name="T20" fmla="*/ 1 w 13"/>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9">
                  <a:moveTo>
                    <a:pt x="1" y="0"/>
                  </a:moveTo>
                  <a:cubicBezTo>
                    <a:pt x="1" y="0"/>
                    <a:pt x="1" y="0"/>
                    <a:pt x="1" y="0"/>
                  </a:cubicBezTo>
                  <a:cubicBezTo>
                    <a:pt x="0" y="0"/>
                    <a:pt x="1" y="4"/>
                    <a:pt x="2" y="11"/>
                  </a:cubicBezTo>
                  <a:cubicBezTo>
                    <a:pt x="3" y="20"/>
                    <a:pt x="5" y="29"/>
                    <a:pt x="6" y="40"/>
                  </a:cubicBezTo>
                  <a:cubicBezTo>
                    <a:pt x="8" y="50"/>
                    <a:pt x="9" y="60"/>
                    <a:pt x="10" y="68"/>
                  </a:cubicBezTo>
                  <a:cubicBezTo>
                    <a:pt x="11" y="74"/>
                    <a:pt x="12" y="78"/>
                    <a:pt x="12" y="79"/>
                  </a:cubicBezTo>
                  <a:cubicBezTo>
                    <a:pt x="12" y="79"/>
                    <a:pt x="12" y="78"/>
                    <a:pt x="13" y="77"/>
                  </a:cubicBezTo>
                  <a:cubicBezTo>
                    <a:pt x="13" y="75"/>
                    <a:pt x="13" y="72"/>
                    <a:pt x="12" y="68"/>
                  </a:cubicBezTo>
                  <a:cubicBezTo>
                    <a:pt x="12" y="61"/>
                    <a:pt x="10" y="50"/>
                    <a:pt x="9" y="39"/>
                  </a:cubicBezTo>
                  <a:cubicBezTo>
                    <a:pt x="7" y="28"/>
                    <a:pt x="5" y="18"/>
                    <a:pt x="4" y="11"/>
                  </a:cubicBezTo>
                  <a:cubicBezTo>
                    <a:pt x="2" y="4"/>
                    <a:pt x="1" y="0"/>
                    <a:pt x="1"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68">
              <a:extLst>
                <a:ext uri="{FF2B5EF4-FFF2-40B4-BE49-F238E27FC236}">
                  <a16:creationId xmlns:a16="http://schemas.microsoft.com/office/drawing/2014/main" id="{842ED81C-BE96-4444-85CF-1FCCB02BB38A}"/>
                </a:ext>
              </a:extLst>
            </p:cNvPr>
            <p:cNvSpPr>
              <a:spLocks/>
            </p:cNvSpPr>
            <p:nvPr/>
          </p:nvSpPr>
          <p:spPr bwMode="auto">
            <a:xfrm>
              <a:off x="1202" y="3960"/>
              <a:ext cx="130" cy="220"/>
            </a:xfrm>
            <a:custGeom>
              <a:avLst/>
              <a:gdLst>
                <a:gd name="T0" fmla="*/ 0 w 55"/>
                <a:gd name="T1" fmla="*/ 93 h 93"/>
                <a:gd name="T2" fmla="*/ 50 w 55"/>
                <a:gd name="T3" fmla="*/ 3 h 93"/>
                <a:gd name="T4" fmla="*/ 46 w 55"/>
                <a:gd name="T5" fmla="*/ 1 h 93"/>
                <a:gd name="T6" fmla="*/ 0 w 55"/>
                <a:gd name="T7" fmla="*/ 93 h 93"/>
              </a:gdLst>
              <a:ahLst/>
              <a:cxnLst>
                <a:cxn ang="0">
                  <a:pos x="T0" y="T1"/>
                </a:cxn>
                <a:cxn ang="0">
                  <a:pos x="T2" y="T3"/>
                </a:cxn>
                <a:cxn ang="0">
                  <a:pos x="T4" y="T5"/>
                </a:cxn>
                <a:cxn ang="0">
                  <a:pos x="T6" y="T7"/>
                </a:cxn>
              </a:cxnLst>
              <a:rect l="0" t="0" r="r" b="b"/>
              <a:pathLst>
                <a:path w="55" h="93">
                  <a:moveTo>
                    <a:pt x="0" y="93"/>
                  </a:moveTo>
                  <a:cubicBezTo>
                    <a:pt x="0" y="93"/>
                    <a:pt x="55" y="54"/>
                    <a:pt x="50" y="3"/>
                  </a:cubicBezTo>
                  <a:cubicBezTo>
                    <a:pt x="50" y="1"/>
                    <a:pt x="48" y="0"/>
                    <a:pt x="46" y="1"/>
                  </a:cubicBezTo>
                  <a:cubicBezTo>
                    <a:pt x="38" y="8"/>
                    <a:pt x="17" y="33"/>
                    <a:pt x="0" y="9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69">
              <a:extLst>
                <a:ext uri="{FF2B5EF4-FFF2-40B4-BE49-F238E27FC236}">
                  <a16:creationId xmlns:a16="http://schemas.microsoft.com/office/drawing/2014/main" id="{045C59AF-829F-4647-9AD8-FD9C7D634E7D}"/>
                </a:ext>
              </a:extLst>
            </p:cNvPr>
            <p:cNvSpPr>
              <a:spLocks/>
            </p:cNvSpPr>
            <p:nvPr/>
          </p:nvSpPr>
          <p:spPr bwMode="auto">
            <a:xfrm>
              <a:off x="1202" y="3962"/>
              <a:ext cx="118" cy="218"/>
            </a:xfrm>
            <a:custGeom>
              <a:avLst/>
              <a:gdLst>
                <a:gd name="T0" fmla="*/ 48 w 50"/>
                <a:gd name="T1" fmla="*/ 0 h 92"/>
                <a:gd name="T2" fmla="*/ 46 w 50"/>
                <a:gd name="T3" fmla="*/ 0 h 92"/>
                <a:gd name="T4" fmla="*/ 0 w 50"/>
                <a:gd name="T5" fmla="*/ 92 h 92"/>
                <a:gd name="T6" fmla="*/ 50 w 50"/>
                <a:gd name="T7" fmla="*/ 9 h 92"/>
                <a:gd name="T8" fmla="*/ 50 w 50"/>
                <a:gd name="T9" fmla="*/ 2 h 92"/>
                <a:gd name="T10" fmla="*/ 48 w 50"/>
                <a:gd name="T11" fmla="*/ 0 h 92"/>
              </a:gdLst>
              <a:ahLst/>
              <a:cxnLst>
                <a:cxn ang="0">
                  <a:pos x="T0" y="T1"/>
                </a:cxn>
                <a:cxn ang="0">
                  <a:pos x="T2" y="T3"/>
                </a:cxn>
                <a:cxn ang="0">
                  <a:pos x="T4" y="T5"/>
                </a:cxn>
                <a:cxn ang="0">
                  <a:pos x="T6" y="T7"/>
                </a:cxn>
                <a:cxn ang="0">
                  <a:pos x="T8" y="T9"/>
                </a:cxn>
                <a:cxn ang="0">
                  <a:pos x="T10" y="T11"/>
                </a:cxn>
              </a:cxnLst>
              <a:rect l="0" t="0" r="r" b="b"/>
              <a:pathLst>
                <a:path w="50" h="92">
                  <a:moveTo>
                    <a:pt x="48" y="0"/>
                  </a:moveTo>
                  <a:cubicBezTo>
                    <a:pt x="47" y="0"/>
                    <a:pt x="47" y="0"/>
                    <a:pt x="46" y="0"/>
                  </a:cubicBezTo>
                  <a:cubicBezTo>
                    <a:pt x="38" y="7"/>
                    <a:pt x="17" y="32"/>
                    <a:pt x="0" y="92"/>
                  </a:cubicBezTo>
                  <a:cubicBezTo>
                    <a:pt x="0" y="92"/>
                    <a:pt x="50" y="57"/>
                    <a:pt x="50" y="9"/>
                  </a:cubicBezTo>
                  <a:cubicBezTo>
                    <a:pt x="50" y="7"/>
                    <a:pt x="50" y="4"/>
                    <a:pt x="50" y="2"/>
                  </a:cubicBezTo>
                  <a:cubicBezTo>
                    <a:pt x="50" y="1"/>
                    <a:pt x="49" y="0"/>
                    <a:pt x="48"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0">
              <a:extLst>
                <a:ext uri="{FF2B5EF4-FFF2-40B4-BE49-F238E27FC236}">
                  <a16:creationId xmlns:a16="http://schemas.microsoft.com/office/drawing/2014/main" id="{65FB03A9-98FC-4F94-A706-6D06E855FE27}"/>
                </a:ext>
              </a:extLst>
            </p:cNvPr>
            <p:cNvSpPr>
              <a:spLocks/>
            </p:cNvSpPr>
            <p:nvPr/>
          </p:nvSpPr>
          <p:spPr bwMode="auto">
            <a:xfrm>
              <a:off x="1204" y="4012"/>
              <a:ext cx="93" cy="168"/>
            </a:xfrm>
            <a:custGeom>
              <a:avLst/>
              <a:gdLst>
                <a:gd name="T0" fmla="*/ 39 w 39"/>
                <a:gd name="T1" fmla="*/ 0 h 71"/>
                <a:gd name="T2" fmla="*/ 34 w 39"/>
                <a:gd name="T3" fmla="*/ 11 h 71"/>
                <a:gd name="T4" fmla="*/ 21 w 39"/>
                <a:gd name="T5" fmla="*/ 37 h 71"/>
                <a:gd name="T6" fmla="*/ 7 w 39"/>
                <a:gd name="T7" fmla="*/ 61 h 71"/>
                <a:gd name="T8" fmla="*/ 0 w 39"/>
                <a:gd name="T9" fmla="*/ 71 h 71"/>
                <a:gd name="T10" fmla="*/ 5 w 39"/>
                <a:gd name="T11" fmla="*/ 60 h 71"/>
                <a:gd name="T12" fmla="*/ 19 w 39"/>
                <a:gd name="T13" fmla="*/ 35 h 71"/>
                <a:gd name="T14" fmla="*/ 33 w 39"/>
                <a:gd name="T15" fmla="*/ 10 h 71"/>
                <a:gd name="T16" fmla="*/ 39 w 39"/>
                <a:gd name="T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71">
                  <a:moveTo>
                    <a:pt x="39" y="0"/>
                  </a:moveTo>
                  <a:cubicBezTo>
                    <a:pt x="39" y="0"/>
                    <a:pt x="38" y="4"/>
                    <a:pt x="34" y="11"/>
                  </a:cubicBezTo>
                  <a:cubicBezTo>
                    <a:pt x="31" y="18"/>
                    <a:pt x="27" y="27"/>
                    <a:pt x="21" y="37"/>
                  </a:cubicBezTo>
                  <a:cubicBezTo>
                    <a:pt x="16" y="46"/>
                    <a:pt x="11" y="55"/>
                    <a:pt x="7" y="61"/>
                  </a:cubicBezTo>
                  <a:cubicBezTo>
                    <a:pt x="3" y="68"/>
                    <a:pt x="0" y="71"/>
                    <a:pt x="0" y="71"/>
                  </a:cubicBezTo>
                  <a:cubicBezTo>
                    <a:pt x="0" y="71"/>
                    <a:pt x="2" y="67"/>
                    <a:pt x="5" y="60"/>
                  </a:cubicBezTo>
                  <a:cubicBezTo>
                    <a:pt x="9" y="53"/>
                    <a:pt x="14" y="45"/>
                    <a:pt x="19" y="35"/>
                  </a:cubicBezTo>
                  <a:cubicBezTo>
                    <a:pt x="24" y="26"/>
                    <a:pt x="29" y="17"/>
                    <a:pt x="33" y="10"/>
                  </a:cubicBezTo>
                  <a:cubicBezTo>
                    <a:pt x="36" y="4"/>
                    <a:pt x="39" y="0"/>
                    <a:pt x="39"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71">
              <a:extLst>
                <a:ext uri="{FF2B5EF4-FFF2-40B4-BE49-F238E27FC236}">
                  <a16:creationId xmlns:a16="http://schemas.microsoft.com/office/drawing/2014/main" id="{98FF2177-17C9-4BF0-BC63-444AF895C510}"/>
                </a:ext>
              </a:extLst>
            </p:cNvPr>
            <p:cNvSpPr>
              <a:spLocks/>
            </p:cNvSpPr>
            <p:nvPr/>
          </p:nvSpPr>
          <p:spPr bwMode="auto">
            <a:xfrm>
              <a:off x="988" y="4415"/>
              <a:ext cx="202" cy="150"/>
            </a:xfrm>
            <a:custGeom>
              <a:avLst/>
              <a:gdLst>
                <a:gd name="T0" fmla="*/ 0 w 85"/>
                <a:gd name="T1" fmla="*/ 63 h 63"/>
                <a:gd name="T2" fmla="*/ 84 w 85"/>
                <a:gd name="T3" fmla="*/ 3 h 63"/>
                <a:gd name="T4" fmla="*/ 81 w 85"/>
                <a:gd name="T5" fmla="*/ 1 h 63"/>
                <a:gd name="T6" fmla="*/ 0 w 85"/>
                <a:gd name="T7" fmla="*/ 63 h 63"/>
              </a:gdLst>
              <a:ahLst/>
              <a:cxnLst>
                <a:cxn ang="0">
                  <a:pos x="T0" y="T1"/>
                </a:cxn>
                <a:cxn ang="0">
                  <a:pos x="T2" y="T3"/>
                </a:cxn>
                <a:cxn ang="0">
                  <a:pos x="T4" y="T5"/>
                </a:cxn>
                <a:cxn ang="0">
                  <a:pos x="T6" y="T7"/>
                </a:cxn>
              </a:cxnLst>
              <a:rect l="0" t="0" r="r" b="b"/>
              <a:pathLst>
                <a:path w="85" h="63">
                  <a:moveTo>
                    <a:pt x="0" y="63"/>
                  </a:moveTo>
                  <a:cubicBezTo>
                    <a:pt x="0" y="63"/>
                    <a:pt x="66" y="52"/>
                    <a:pt x="84" y="3"/>
                  </a:cubicBezTo>
                  <a:cubicBezTo>
                    <a:pt x="85" y="2"/>
                    <a:pt x="83" y="0"/>
                    <a:pt x="81" y="1"/>
                  </a:cubicBezTo>
                  <a:cubicBezTo>
                    <a:pt x="71" y="4"/>
                    <a:pt x="41" y="16"/>
                    <a:pt x="0" y="6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72">
              <a:extLst>
                <a:ext uri="{FF2B5EF4-FFF2-40B4-BE49-F238E27FC236}">
                  <a16:creationId xmlns:a16="http://schemas.microsoft.com/office/drawing/2014/main" id="{63F79325-847D-4705-BDB3-0C84E189224A}"/>
                </a:ext>
              </a:extLst>
            </p:cNvPr>
            <p:cNvSpPr>
              <a:spLocks/>
            </p:cNvSpPr>
            <p:nvPr/>
          </p:nvSpPr>
          <p:spPr bwMode="auto">
            <a:xfrm>
              <a:off x="988" y="4415"/>
              <a:ext cx="199" cy="150"/>
            </a:xfrm>
            <a:custGeom>
              <a:avLst/>
              <a:gdLst>
                <a:gd name="T0" fmla="*/ 82 w 84"/>
                <a:gd name="T1" fmla="*/ 0 h 63"/>
                <a:gd name="T2" fmla="*/ 81 w 84"/>
                <a:gd name="T3" fmla="*/ 1 h 63"/>
                <a:gd name="T4" fmla="*/ 8 w 84"/>
                <a:gd name="T5" fmla="*/ 54 h 63"/>
                <a:gd name="T6" fmla="*/ 1 w 84"/>
                <a:gd name="T7" fmla="*/ 62 h 63"/>
                <a:gd name="T8" fmla="*/ 0 w 84"/>
                <a:gd name="T9" fmla="*/ 63 h 63"/>
                <a:gd name="T10" fmla="*/ 84 w 84"/>
                <a:gd name="T11" fmla="*/ 3 h 63"/>
                <a:gd name="T12" fmla="*/ 84 w 84"/>
                <a:gd name="T13" fmla="*/ 3 h 63"/>
                <a:gd name="T14" fmla="*/ 82 w 84"/>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63">
                  <a:moveTo>
                    <a:pt x="82" y="0"/>
                  </a:moveTo>
                  <a:cubicBezTo>
                    <a:pt x="82" y="0"/>
                    <a:pt x="82" y="0"/>
                    <a:pt x="81" y="1"/>
                  </a:cubicBezTo>
                  <a:cubicBezTo>
                    <a:pt x="72" y="3"/>
                    <a:pt x="45" y="14"/>
                    <a:pt x="8" y="54"/>
                  </a:cubicBezTo>
                  <a:cubicBezTo>
                    <a:pt x="6" y="56"/>
                    <a:pt x="3" y="59"/>
                    <a:pt x="1" y="62"/>
                  </a:cubicBezTo>
                  <a:cubicBezTo>
                    <a:pt x="1" y="62"/>
                    <a:pt x="0" y="62"/>
                    <a:pt x="0" y="63"/>
                  </a:cubicBezTo>
                  <a:cubicBezTo>
                    <a:pt x="0" y="63"/>
                    <a:pt x="66" y="52"/>
                    <a:pt x="84" y="3"/>
                  </a:cubicBezTo>
                  <a:cubicBezTo>
                    <a:pt x="84" y="3"/>
                    <a:pt x="84" y="3"/>
                    <a:pt x="84" y="3"/>
                  </a:cubicBezTo>
                  <a:cubicBezTo>
                    <a:pt x="84" y="1"/>
                    <a:pt x="83" y="0"/>
                    <a:pt x="82"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73">
              <a:extLst>
                <a:ext uri="{FF2B5EF4-FFF2-40B4-BE49-F238E27FC236}">
                  <a16:creationId xmlns:a16="http://schemas.microsoft.com/office/drawing/2014/main" id="{8DC98153-BF10-47AE-B45D-35E24EF9C076}"/>
                </a:ext>
              </a:extLst>
            </p:cNvPr>
            <p:cNvSpPr>
              <a:spLocks/>
            </p:cNvSpPr>
            <p:nvPr/>
          </p:nvSpPr>
          <p:spPr bwMode="auto">
            <a:xfrm>
              <a:off x="988" y="4453"/>
              <a:ext cx="159" cy="112"/>
            </a:xfrm>
            <a:custGeom>
              <a:avLst/>
              <a:gdLst>
                <a:gd name="T0" fmla="*/ 67 w 67"/>
                <a:gd name="T1" fmla="*/ 0 h 47"/>
                <a:gd name="T2" fmla="*/ 58 w 67"/>
                <a:gd name="T3" fmla="*/ 8 h 47"/>
                <a:gd name="T4" fmla="*/ 35 w 67"/>
                <a:gd name="T5" fmla="*/ 25 h 47"/>
                <a:gd name="T6" fmla="*/ 11 w 67"/>
                <a:gd name="T7" fmla="*/ 41 h 47"/>
                <a:gd name="T8" fmla="*/ 1 w 67"/>
                <a:gd name="T9" fmla="*/ 47 h 47"/>
                <a:gd name="T10" fmla="*/ 10 w 67"/>
                <a:gd name="T11" fmla="*/ 40 h 47"/>
                <a:gd name="T12" fmla="*/ 33 w 67"/>
                <a:gd name="T13" fmla="*/ 23 h 47"/>
                <a:gd name="T14" fmla="*/ 57 w 67"/>
                <a:gd name="T15" fmla="*/ 7 h 47"/>
                <a:gd name="T16" fmla="*/ 67 w 6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47">
                  <a:moveTo>
                    <a:pt x="67" y="0"/>
                  </a:moveTo>
                  <a:cubicBezTo>
                    <a:pt x="67" y="1"/>
                    <a:pt x="64" y="4"/>
                    <a:pt x="58" y="8"/>
                  </a:cubicBezTo>
                  <a:cubicBezTo>
                    <a:pt x="52" y="13"/>
                    <a:pt x="44" y="19"/>
                    <a:pt x="35" y="25"/>
                  </a:cubicBezTo>
                  <a:cubicBezTo>
                    <a:pt x="26" y="32"/>
                    <a:pt x="17" y="38"/>
                    <a:pt x="11" y="41"/>
                  </a:cubicBezTo>
                  <a:cubicBezTo>
                    <a:pt x="5" y="45"/>
                    <a:pt x="1" y="47"/>
                    <a:pt x="1" y="47"/>
                  </a:cubicBezTo>
                  <a:cubicBezTo>
                    <a:pt x="0" y="47"/>
                    <a:pt x="4" y="44"/>
                    <a:pt x="10" y="40"/>
                  </a:cubicBezTo>
                  <a:cubicBezTo>
                    <a:pt x="17" y="35"/>
                    <a:pt x="25" y="30"/>
                    <a:pt x="33" y="23"/>
                  </a:cubicBezTo>
                  <a:cubicBezTo>
                    <a:pt x="42" y="17"/>
                    <a:pt x="50" y="12"/>
                    <a:pt x="57" y="7"/>
                  </a:cubicBezTo>
                  <a:cubicBezTo>
                    <a:pt x="63" y="3"/>
                    <a:pt x="67" y="0"/>
                    <a:pt x="6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74">
              <a:extLst>
                <a:ext uri="{FF2B5EF4-FFF2-40B4-BE49-F238E27FC236}">
                  <a16:creationId xmlns:a16="http://schemas.microsoft.com/office/drawing/2014/main" id="{460CC0E6-5177-46BB-9F8F-9BD636C8593E}"/>
                </a:ext>
              </a:extLst>
            </p:cNvPr>
            <p:cNvSpPr>
              <a:spLocks/>
            </p:cNvSpPr>
            <p:nvPr/>
          </p:nvSpPr>
          <p:spPr bwMode="auto">
            <a:xfrm>
              <a:off x="793" y="4855"/>
              <a:ext cx="285" cy="308"/>
            </a:xfrm>
            <a:custGeom>
              <a:avLst/>
              <a:gdLst>
                <a:gd name="T0" fmla="*/ 46 w 285"/>
                <a:gd name="T1" fmla="*/ 0 h 308"/>
                <a:gd name="T2" fmla="*/ 0 w 285"/>
                <a:gd name="T3" fmla="*/ 308 h 308"/>
                <a:gd name="T4" fmla="*/ 285 w 285"/>
                <a:gd name="T5" fmla="*/ 308 h 308"/>
                <a:gd name="T6" fmla="*/ 247 w 285"/>
                <a:gd name="T7" fmla="*/ 0 h 308"/>
                <a:gd name="T8" fmla="*/ 46 w 285"/>
                <a:gd name="T9" fmla="*/ 0 h 308"/>
              </a:gdLst>
              <a:ahLst/>
              <a:cxnLst>
                <a:cxn ang="0">
                  <a:pos x="T0" y="T1"/>
                </a:cxn>
                <a:cxn ang="0">
                  <a:pos x="T2" y="T3"/>
                </a:cxn>
                <a:cxn ang="0">
                  <a:pos x="T4" y="T5"/>
                </a:cxn>
                <a:cxn ang="0">
                  <a:pos x="T6" y="T7"/>
                </a:cxn>
                <a:cxn ang="0">
                  <a:pos x="T8" y="T9"/>
                </a:cxn>
              </a:cxnLst>
              <a:rect l="0" t="0" r="r" b="b"/>
              <a:pathLst>
                <a:path w="285" h="308">
                  <a:moveTo>
                    <a:pt x="46" y="0"/>
                  </a:moveTo>
                  <a:lnTo>
                    <a:pt x="0" y="308"/>
                  </a:lnTo>
                  <a:lnTo>
                    <a:pt x="285" y="308"/>
                  </a:lnTo>
                  <a:lnTo>
                    <a:pt x="247" y="0"/>
                  </a:lnTo>
                  <a:lnTo>
                    <a:pt x="46"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75">
              <a:extLst>
                <a:ext uri="{FF2B5EF4-FFF2-40B4-BE49-F238E27FC236}">
                  <a16:creationId xmlns:a16="http://schemas.microsoft.com/office/drawing/2014/main" id="{AC63B9F6-12E8-4253-BA30-025BD30D5EC4}"/>
                </a:ext>
              </a:extLst>
            </p:cNvPr>
            <p:cNvSpPr>
              <a:spLocks noChangeArrowheads="1"/>
            </p:cNvSpPr>
            <p:nvPr/>
          </p:nvSpPr>
          <p:spPr bwMode="auto">
            <a:xfrm>
              <a:off x="822" y="4947"/>
              <a:ext cx="230"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76">
              <a:extLst>
                <a:ext uri="{FF2B5EF4-FFF2-40B4-BE49-F238E27FC236}">
                  <a16:creationId xmlns:a16="http://schemas.microsoft.com/office/drawing/2014/main" id="{AC8CBFF2-DDF4-4B0C-9AAD-37C5096960B2}"/>
                </a:ext>
              </a:extLst>
            </p:cNvPr>
            <p:cNvSpPr>
              <a:spLocks noChangeArrowheads="1"/>
            </p:cNvSpPr>
            <p:nvPr/>
          </p:nvSpPr>
          <p:spPr bwMode="auto">
            <a:xfrm>
              <a:off x="820" y="4971"/>
              <a:ext cx="239"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77">
              <a:extLst>
                <a:ext uri="{FF2B5EF4-FFF2-40B4-BE49-F238E27FC236}">
                  <a16:creationId xmlns:a16="http://schemas.microsoft.com/office/drawing/2014/main" id="{D44F9D66-3740-4706-B4AB-0CDF5DEA4BEE}"/>
                </a:ext>
              </a:extLst>
            </p:cNvPr>
            <p:cNvSpPr>
              <a:spLocks/>
            </p:cNvSpPr>
            <p:nvPr/>
          </p:nvSpPr>
          <p:spPr bwMode="auto">
            <a:xfrm>
              <a:off x="6085" y="4748"/>
              <a:ext cx="107" cy="221"/>
            </a:xfrm>
            <a:custGeom>
              <a:avLst/>
              <a:gdLst>
                <a:gd name="T0" fmla="*/ 28 w 45"/>
                <a:gd name="T1" fmla="*/ 1 h 93"/>
                <a:gd name="T2" fmla="*/ 8 w 45"/>
                <a:gd name="T3" fmla="*/ 17 h 93"/>
                <a:gd name="T4" fmla="*/ 1 w 45"/>
                <a:gd name="T5" fmla="*/ 42 h 93"/>
                <a:gd name="T6" fmla="*/ 15 w 45"/>
                <a:gd name="T7" fmla="*/ 93 h 93"/>
                <a:gd name="T8" fmla="*/ 41 w 45"/>
                <a:gd name="T9" fmla="*/ 51 h 93"/>
                <a:gd name="T10" fmla="*/ 28 w 45"/>
                <a:gd name="T11" fmla="*/ 1 h 93"/>
              </a:gdLst>
              <a:ahLst/>
              <a:cxnLst>
                <a:cxn ang="0">
                  <a:pos x="T0" y="T1"/>
                </a:cxn>
                <a:cxn ang="0">
                  <a:pos x="T2" y="T3"/>
                </a:cxn>
                <a:cxn ang="0">
                  <a:pos x="T4" y="T5"/>
                </a:cxn>
                <a:cxn ang="0">
                  <a:pos x="T6" y="T7"/>
                </a:cxn>
                <a:cxn ang="0">
                  <a:pos x="T8" y="T9"/>
                </a:cxn>
                <a:cxn ang="0">
                  <a:pos x="T10" y="T11"/>
                </a:cxn>
              </a:cxnLst>
              <a:rect l="0" t="0" r="r" b="b"/>
              <a:pathLst>
                <a:path w="45" h="93">
                  <a:moveTo>
                    <a:pt x="28" y="1"/>
                  </a:moveTo>
                  <a:cubicBezTo>
                    <a:pt x="19" y="3"/>
                    <a:pt x="12" y="9"/>
                    <a:pt x="8" y="17"/>
                  </a:cubicBezTo>
                  <a:cubicBezTo>
                    <a:pt x="3" y="24"/>
                    <a:pt x="1" y="33"/>
                    <a:pt x="1" y="42"/>
                  </a:cubicBezTo>
                  <a:cubicBezTo>
                    <a:pt x="0" y="59"/>
                    <a:pt x="7" y="78"/>
                    <a:pt x="15" y="93"/>
                  </a:cubicBezTo>
                  <a:cubicBezTo>
                    <a:pt x="31" y="83"/>
                    <a:pt x="38" y="62"/>
                    <a:pt x="41" y="51"/>
                  </a:cubicBezTo>
                  <a:cubicBezTo>
                    <a:pt x="45" y="34"/>
                    <a:pt x="43" y="0"/>
                    <a:pt x="28" y="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78">
              <a:extLst>
                <a:ext uri="{FF2B5EF4-FFF2-40B4-BE49-F238E27FC236}">
                  <a16:creationId xmlns:a16="http://schemas.microsoft.com/office/drawing/2014/main" id="{E5780BD9-186F-42CE-9C63-071FD39DD47B}"/>
                </a:ext>
              </a:extLst>
            </p:cNvPr>
            <p:cNvSpPr>
              <a:spLocks/>
            </p:cNvSpPr>
            <p:nvPr/>
          </p:nvSpPr>
          <p:spPr bwMode="auto">
            <a:xfrm>
              <a:off x="5959" y="4928"/>
              <a:ext cx="119" cy="105"/>
            </a:xfrm>
            <a:custGeom>
              <a:avLst/>
              <a:gdLst>
                <a:gd name="T0" fmla="*/ 46 w 50"/>
                <a:gd name="T1" fmla="*/ 42 h 44"/>
                <a:gd name="T2" fmla="*/ 42 w 50"/>
                <a:gd name="T3" fmla="*/ 14 h 44"/>
                <a:gd name="T4" fmla="*/ 16 w 50"/>
                <a:gd name="T5" fmla="*/ 1 h 44"/>
                <a:gd name="T6" fmla="*/ 3 w 50"/>
                <a:gd name="T7" fmla="*/ 4 h 44"/>
                <a:gd name="T8" fmla="*/ 1 w 50"/>
                <a:gd name="T9" fmla="*/ 16 h 44"/>
                <a:gd name="T10" fmla="*/ 9 w 50"/>
                <a:gd name="T11" fmla="*/ 26 h 44"/>
                <a:gd name="T12" fmla="*/ 46 w 50"/>
                <a:gd name="T13" fmla="*/ 42 h 44"/>
              </a:gdLst>
              <a:ahLst/>
              <a:cxnLst>
                <a:cxn ang="0">
                  <a:pos x="T0" y="T1"/>
                </a:cxn>
                <a:cxn ang="0">
                  <a:pos x="T2" y="T3"/>
                </a:cxn>
                <a:cxn ang="0">
                  <a:pos x="T4" y="T5"/>
                </a:cxn>
                <a:cxn ang="0">
                  <a:pos x="T6" y="T7"/>
                </a:cxn>
                <a:cxn ang="0">
                  <a:pos x="T8" y="T9"/>
                </a:cxn>
                <a:cxn ang="0">
                  <a:pos x="T10" y="T11"/>
                </a:cxn>
                <a:cxn ang="0">
                  <a:pos x="T12" y="T13"/>
                </a:cxn>
              </a:cxnLst>
              <a:rect l="0" t="0" r="r" b="b"/>
              <a:pathLst>
                <a:path w="50" h="44">
                  <a:moveTo>
                    <a:pt x="46" y="42"/>
                  </a:moveTo>
                  <a:cubicBezTo>
                    <a:pt x="50" y="33"/>
                    <a:pt x="48" y="22"/>
                    <a:pt x="42" y="14"/>
                  </a:cubicBezTo>
                  <a:cubicBezTo>
                    <a:pt x="36" y="6"/>
                    <a:pt x="26" y="2"/>
                    <a:pt x="16" y="1"/>
                  </a:cubicBezTo>
                  <a:cubicBezTo>
                    <a:pt x="12" y="0"/>
                    <a:pt x="7" y="1"/>
                    <a:pt x="3" y="4"/>
                  </a:cubicBezTo>
                  <a:cubicBezTo>
                    <a:pt x="0" y="7"/>
                    <a:pt x="0" y="12"/>
                    <a:pt x="1" y="16"/>
                  </a:cubicBezTo>
                  <a:cubicBezTo>
                    <a:pt x="2" y="20"/>
                    <a:pt x="5" y="24"/>
                    <a:pt x="9" y="26"/>
                  </a:cubicBezTo>
                  <a:cubicBezTo>
                    <a:pt x="19" y="36"/>
                    <a:pt x="32" y="44"/>
                    <a:pt x="46" y="4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9">
              <a:extLst>
                <a:ext uri="{FF2B5EF4-FFF2-40B4-BE49-F238E27FC236}">
                  <a16:creationId xmlns:a16="http://schemas.microsoft.com/office/drawing/2014/main" id="{4BD88B83-9365-469B-BD82-4FCC12AF862F}"/>
                </a:ext>
              </a:extLst>
            </p:cNvPr>
            <p:cNvSpPr>
              <a:spLocks/>
            </p:cNvSpPr>
            <p:nvPr/>
          </p:nvSpPr>
          <p:spPr bwMode="auto">
            <a:xfrm>
              <a:off x="6012" y="4973"/>
              <a:ext cx="80" cy="183"/>
            </a:xfrm>
            <a:custGeom>
              <a:avLst/>
              <a:gdLst>
                <a:gd name="T0" fmla="*/ 34 w 34"/>
                <a:gd name="T1" fmla="*/ 77 h 77"/>
                <a:gd name="T2" fmla="*/ 34 w 34"/>
                <a:gd name="T3" fmla="*/ 74 h 77"/>
                <a:gd name="T4" fmla="*/ 34 w 34"/>
                <a:gd name="T5" fmla="*/ 64 h 77"/>
                <a:gd name="T6" fmla="*/ 29 w 34"/>
                <a:gd name="T7" fmla="*/ 33 h 77"/>
                <a:gd name="T8" fmla="*/ 12 w 34"/>
                <a:gd name="T9" fmla="*/ 7 h 77"/>
                <a:gd name="T10" fmla="*/ 4 w 34"/>
                <a:gd name="T11" fmla="*/ 1 h 77"/>
                <a:gd name="T12" fmla="*/ 1 w 34"/>
                <a:gd name="T13" fmla="*/ 0 h 77"/>
                <a:gd name="T14" fmla="*/ 0 w 34"/>
                <a:gd name="T15" fmla="*/ 0 h 77"/>
                <a:gd name="T16" fmla="*/ 11 w 34"/>
                <a:gd name="T17" fmla="*/ 7 h 77"/>
                <a:gd name="T18" fmla="*/ 28 w 34"/>
                <a:gd name="T19" fmla="*/ 33 h 77"/>
                <a:gd name="T20" fmla="*/ 33 w 34"/>
                <a:gd name="T21" fmla="*/ 64 h 77"/>
                <a:gd name="T22" fmla="*/ 33 w 34"/>
                <a:gd name="T23" fmla="*/ 74 h 77"/>
                <a:gd name="T24" fmla="*/ 34 w 34"/>
                <a:gd name="T2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77">
                  <a:moveTo>
                    <a:pt x="34" y="77"/>
                  </a:moveTo>
                  <a:cubicBezTo>
                    <a:pt x="34" y="77"/>
                    <a:pt x="34" y="76"/>
                    <a:pt x="34" y="74"/>
                  </a:cubicBezTo>
                  <a:cubicBezTo>
                    <a:pt x="34" y="71"/>
                    <a:pt x="34" y="68"/>
                    <a:pt x="34" y="64"/>
                  </a:cubicBezTo>
                  <a:cubicBezTo>
                    <a:pt x="33" y="56"/>
                    <a:pt x="33" y="45"/>
                    <a:pt x="29" y="33"/>
                  </a:cubicBezTo>
                  <a:cubicBezTo>
                    <a:pt x="25" y="21"/>
                    <a:pt x="18" y="12"/>
                    <a:pt x="12" y="7"/>
                  </a:cubicBezTo>
                  <a:cubicBezTo>
                    <a:pt x="9" y="4"/>
                    <a:pt x="6" y="2"/>
                    <a:pt x="4" y="1"/>
                  </a:cubicBezTo>
                  <a:cubicBezTo>
                    <a:pt x="3" y="1"/>
                    <a:pt x="2" y="0"/>
                    <a:pt x="1" y="0"/>
                  </a:cubicBezTo>
                  <a:cubicBezTo>
                    <a:pt x="1" y="0"/>
                    <a:pt x="0" y="0"/>
                    <a:pt x="0" y="0"/>
                  </a:cubicBezTo>
                  <a:cubicBezTo>
                    <a:pt x="0" y="0"/>
                    <a:pt x="5" y="2"/>
                    <a:pt x="11" y="7"/>
                  </a:cubicBezTo>
                  <a:cubicBezTo>
                    <a:pt x="17" y="12"/>
                    <a:pt x="24" y="22"/>
                    <a:pt x="28" y="33"/>
                  </a:cubicBezTo>
                  <a:cubicBezTo>
                    <a:pt x="32" y="45"/>
                    <a:pt x="32" y="56"/>
                    <a:pt x="33" y="64"/>
                  </a:cubicBezTo>
                  <a:cubicBezTo>
                    <a:pt x="33" y="68"/>
                    <a:pt x="33" y="72"/>
                    <a:pt x="33" y="74"/>
                  </a:cubicBezTo>
                  <a:cubicBezTo>
                    <a:pt x="33" y="76"/>
                    <a:pt x="34" y="77"/>
                    <a:pt x="34" y="7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80">
              <a:extLst>
                <a:ext uri="{FF2B5EF4-FFF2-40B4-BE49-F238E27FC236}">
                  <a16:creationId xmlns:a16="http://schemas.microsoft.com/office/drawing/2014/main" id="{8CAA630B-B3ED-4771-AF09-2A9E45355B2E}"/>
                </a:ext>
              </a:extLst>
            </p:cNvPr>
            <p:cNvSpPr>
              <a:spLocks/>
            </p:cNvSpPr>
            <p:nvPr/>
          </p:nvSpPr>
          <p:spPr bwMode="auto">
            <a:xfrm>
              <a:off x="6090" y="4810"/>
              <a:ext cx="59" cy="353"/>
            </a:xfrm>
            <a:custGeom>
              <a:avLst/>
              <a:gdLst>
                <a:gd name="T0" fmla="*/ 25 w 25"/>
                <a:gd name="T1" fmla="*/ 0 h 149"/>
                <a:gd name="T2" fmla="*/ 25 w 25"/>
                <a:gd name="T3" fmla="*/ 2 h 149"/>
                <a:gd name="T4" fmla="*/ 24 w 25"/>
                <a:gd name="T5" fmla="*/ 6 h 149"/>
                <a:gd name="T6" fmla="*/ 20 w 25"/>
                <a:gd name="T7" fmla="*/ 22 h 149"/>
                <a:gd name="T8" fmla="*/ 11 w 25"/>
                <a:gd name="T9" fmla="*/ 74 h 149"/>
                <a:gd name="T10" fmla="*/ 3 w 25"/>
                <a:gd name="T11" fmla="*/ 127 h 149"/>
                <a:gd name="T12" fmla="*/ 1 w 25"/>
                <a:gd name="T13" fmla="*/ 143 h 149"/>
                <a:gd name="T14" fmla="*/ 0 w 25"/>
                <a:gd name="T15" fmla="*/ 148 h 149"/>
                <a:gd name="T16" fmla="*/ 0 w 25"/>
                <a:gd name="T17" fmla="*/ 149 h 149"/>
                <a:gd name="T18" fmla="*/ 1 w 25"/>
                <a:gd name="T19" fmla="*/ 148 h 149"/>
                <a:gd name="T20" fmla="*/ 1 w 25"/>
                <a:gd name="T21" fmla="*/ 143 h 149"/>
                <a:gd name="T22" fmla="*/ 4 w 25"/>
                <a:gd name="T23" fmla="*/ 127 h 149"/>
                <a:gd name="T24" fmla="*/ 12 w 25"/>
                <a:gd name="T25" fmla="*/ 75 h 149"/>
                <a:gd name="T26" fmla="*/ 21 w 25"/>
                <a:gd name="T27" fmla="*/ 22 h 149"/>
                <a:gd name="T28" fmla="*/ 24 w 25"/>
                <a:gd name="T29" fmla="*/ 6 h 149"/>
                <a:gd name="T30" fmla="*/ 25 w 25"/>
                <a:gd name="T31" fmla="*/ 2 h 149"/>
                <a:gd name="T32" fmla="*/ 25 w 25"/>
                <a:gd name="T33"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49">
                  <a:moveTo>
                    <a:pt x="25" y="0"/>
                  </a:moveTo>
                  <a:cubicBezTo>
                    <a:pt x="25" y="0"/>
                    <a:pt x="25" y="1"/>
                    <a:pt x="25" y="2"/>
                  </a:cubicBezTo>
                  <a:cubicBezTo>
                    <a:pt x="24" y="3"/>
                    <a:pt x="24" y="4"/>
                    <a:pt x="24" y="6"/>
                  </a:cubicBezTo>
                  <a:cubicBezTo>
                    <a:pt x="23" y="10"/>
                    <a:pt x="22" y="15"/>
                    <a:pt x="20" y="22"/>
                  </a:cubicBezTo>
                  <a:cubicBezTo>
                    <a:pt x="18" y="35"/>
                    <a:pt x="14" y="54"/>
                    <a:pt x="11" y="74"/>
                  </a:cubicBezTo>
                  <a:cubicBezTo>
                    <a:pt x="7" y="95"/>
                    <a:pt x="5" y="114"/>
                    <a:pt x="3" y="127"/>
                  </a:cubicBezTo>
                  <a:cubicBezTo>
                    <a:pt x="2" y="134"/>
                    <a:pt x="1" y="139"/>
                    <a:pt x="1" y="143"/>
                  </a:cubicBezTo>
                  <a:cubicBezTo>
                    <a:pt x="1" y="145"/>
                    <a:pt x="1" y="146"/>
                    <a:pt x="0" y="148"/>
                  </a:cubicBezTo>
                  <a:cubicBezTo>
                    <a:pt x="0" y="149"/>
                    <a:pt x="0" y="149"/>
                    <a:pt x="0" y="149"/>
                  </a:cubicBezTo>
                  <a:cubicBezTo>
                    <a:pt x="0" y="149"/>
                    <a:pt x="1" y="149"/>
                    <a:pt x="1" y="148"/>
                  </a:cubicBezTo>
                  <a:cubicBezTo>
                    <a:pt x="1" y="146"/>
                    <a:pt x="1" y="145"/>
                    <a:pt x="1" y="143"/>
                  </a:cubicBezTo>
                  <a:cubicBezTo>
                    <a:pt x="2" y="139"/>
                    <a:pt x="3" y="134"/>
                    <a:pt x="4" y="127"/>
                  </a:cubicBezTo>
                  <a:cubicBezTo>
                    <a:pt x="6" y="114"/>
                    <a:pt x="9" y="95"/>
                    <a:pt x="12" y="75"/>
                  </a:cubicBezTo>
                  <a:cubicBezTo>
                    <a:pt x="15" y="54"/>
                    <a:pt x="19" y="36"/>
                    <a:pt x="21" y="22"/>
                  </a:cubicBezTo>
                  <a:cubicBezTo>
                    <a:pt x="22" y="16"/>
                    <a:pt x="23" y="10"/>
                    <a:pt x="24" y="6"/>
                  </a:cubicBezTo>
                  <a:cubicBezTo>
                    <a:pt x="25" y="4"/>
                    <a:pt x="25" y="3"/>
                    <a:pt x="25" y="2"/>
                  </a:cubicBezTo>
                  <a:cubicBezTo>
                    <a:pt x="25" y="1"/>
                    <a:pt x="25" y="0"/>
                    <a:pt x="2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81">
              <a:extLst>
                <a:ext uri="{FF2B5EF4-FFF2-40B4-BE49-F238E27FC236}">
                  <a16:creationId xmlns:a16="http://schemas.microsoft.com/office/drawing/2014/main" id="{F5DA6665-85B1-4861-8AE6-3C9DCBDEC061}"/>
                </a:ext>
              </a:extLst>
            </p:cNvPr>
            <p:cNvSpPr>
              <a:spLocks/>
            </p:cNvSpPr>
            <p:nvPr/>
          </p:nvSpPr>
          <p:spPr bwMode="auto">
            <a:xfrm>
              <a:off x="6123" y="4959"/>
              <a:ext cx="147" cy="116"/>
            </a:xfrm>
            <a:custGeom>
              <a:avLst/>
              <a:gdLst>
                <a:gd name="T0" fmla="*/ 0 w 62"/>
                <a:gd name="T1" fmla="*/ 43 h 49"/>
                <a:gd name="T2" fmla="*/ 44 w 62"/>
                <a:gd name="T3" fmla="*/ 2 h 49"/>
                <a:gd name="T4" fmla="*/ 58 w 62"/>
                <a:gd name="T5" fmla="*/ 4 h 49"/>
                <a:gd name="T6" fmla="*/ 57 w 62"/>
                <a:gd name="T7" fmla="*/ 19 h 49"/>
                <a:gd name="T8" fmla="*/ 0 w 62"/>
                <a:gd name="T9" fmla="*/ 45 h 49"/>
              </a:gdLst>
              <a:ahLst/>
              <a:cxnLst>
                <a:cxn ang="0">
                  <a:pos x="T0" y="T1"/>
                </a:cxn>
                <a:cxn ang="0">
                  <a:pos x="T2" y="T3"/>
                </a:cxn>
                <a:cxn ang="0">
                  <a:pos x="T4" y="T5"/>
                </a:cxn>
                <a:cxn ang="0">
                  <a:pos x="T6" y="T7"/>
                </a:cxn>
                <a:cxn ang="0">
                  <a:pos x="T8" y="T9"/>
                </a:cxn>
              </a:cxnLst>
              <a:rect l="0" t="0" r="r" b="b"/>
              <a:pathLst>
                <a:path w="62" h="49">
                  <a:moveTo>
                    <a:pt x="0" y="43"/>
                  </a:moveTo>
                  <a:cubicBezTo>
                    <a:pt x="7" y="24"/>
                    <a:pt x="24" y="8"/>
                    <a:pt x="44" y="2"/>
                  </a:cubicBezTo>
                  <a:cubicBezTo>
                    <a:pt x="49" y="0"/>
                    <a:pt x="55" y="0"/>
                    <a:pt x="58" y="4"/>
                  </a:cubicBezTo>
                  <a:cubicBezTo>
                    <a:pt x="62" y="8"/>
                    <a:pt x="60" y="15"/>
                    <a:pt x="57" y="19"/>
                  </a:cubicBezTo>
                  <a:cubicBezTo>
                    <a:pt x="46" y="38"/>
                    <a:pt x="22" y="49"/>
                    <a:pt x="0" y="4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82">
              <a:extLst>
                <a:ext uri="{FF2B5EF4-FFF2-40B4-BE49-F238E27FC236}">
                  <a16:creationId xmlns:a16="http://schemas.microsoft.com/office/drawing/2014/main" id="{7FF8C351-612B-43E9-A43B-9C89519554F5}"/>
                </a:ext>
              </a:extLst>
            </p:cNvPr>
            <p:cNvSpPr>
              <a:spLocks/>
            </p:cNvSpPr>
            <p:nvPr/>
          </p:nvSpPr>
          <p:spPr bwMode="auto">
            <a:xfrm>
              <a:off x="6092" y="5000"/>
              <a:ext cx="124" cy="144"/>
            </a:xfrm>
            <a:custGeom>
              <a:avLst/>
              <a:gdLst>
                <a:gd name="T0" fmla="*/ 52 w 52"/>
                <a:gd name="T1" fmla="*/ 0 h 61"/>
                <a:gd name="T2" fmla="*/ 48 w 52"/>
                <a:gd name="T3" fmla="*/ 1 h 61"/>
                <a:gd name="T4" fmla="*/ 45 w 52"/>
                <a:gd name="T5" fmla="*/ 2 h 61"/>
                <a:gd name="T6" fmla="*/ 40 w 52"/>
                <a:gd name="T7" fmla="*/ 4 h 61"/>
                <a:gd name="T8" fmla="*/ 34 w 52"/>
                <a:gd name="T9" fmla="*/ 7 h 61"/>
                <a:gd name="T10" fmla="*/ 28 w 52"/>
                <a:gd name="T11" fmla="*/ 11 h 61"/>
                <a:gd name="T12" fmla="*/ 16 w 52"/>
                <a:gd name="T13" fmla="*/ 22 h 61"/>
                <a:gd name="T14" fmla="*/ 7 w 52"/>
                <a:gd name="T15" fmla="*/ 36 h 61"/>
                <a:gd name="T16" fmla="*/ 4 w 52"/>
                <a:gd name="T17" fmla="*/ 43 h 61"/>
                <a:gd name="T18" fmla="*/ 2 w 52"/>
                <a:gd name="T19" fmla="*/ 49 h 61"/>
                <a:gd name="T20" fmla="*/ 1 w 52"/>
                <a:gd name="T21" fmla="*/ 54 h 61"/>
                <a:gd name="T22" fmla="*/ 1 w 52"/>
                <a:gd name="T23" fmla="*/ 57 h 61"/>
                <a:gd name="T24" fmla="*/ 0 w 52"/>
                <a:gd name="T25" fmla="*/ 61 h 61"/>
                <a:gd name="T26" fmla="*/ 3 w 52"/>
                <a:gd name="T27" fmla="*/ 49 h 61"/>
                <a:gd name="T28" fmla="*/ 5 w 52"/>
                <a:gd name="T29" fmla="*/ 43 h 61"/>
                <a:gd name="T30" fmla="*/ 8 w 52"/>
                <a:gd name="T31" fmla="*/ 36 h 61"/>
                <a:gd name="T32" fmla="*/ 17 w 52"/>
                <a:gd name="T33" fmla="*/ 23 h 61"/>
                <a:gd name="T34" fmla="*/ 29 w 52"/>
                <a:gd name="T35" fmla="*/ 12 h 61"/>
                <a:gd name="T36" fmla="*/ 35 w 52"/>
                <a:gd name="T37" fmla="*/ 8 h 61"/>
                <a:gd name="T38" fmla="*/ 40 w 52"/>
                <a:gd name="T39" fmla="*/ 5 h 61"/>
                <a:gd name="T40" fmla="*/ 52 w 52"/>
                <a:gd name="T4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61">
                  <a:moveTo>
                    <a:pt x="52" y="0"/>
                  </a:moveTo>
                  <a:cubicBezTo>
                    <a:pt x="52" y="0"/>
                    <a:pt x="50" y="1"/>
                    <a:pt x="48" y="1"/>
                  </a:cubicBezTo>
                  <a:cubicBezTo>
                    <a:pt x="47" y="1"/>
                    <a:pt x="46" y="2"/>
                    <a:pt x="45" y="2"/>
                  </a:cubicBezTo>
                  <a:cubicBezTo>
                    <a:pt x="43" y="3"/>
                    <a:pt x="42" y="3"/>
                    <a:pt x="40" y="4"/>
                  </a:cubicBezTo>
                  <a:cubicBezTo>
                    <a:pt x="38" y="5"/>
                    <a:pt x="36" y="6"/>
                    <a:pt x="34" y="7"/>
                  </a:cubicBezTo>
                  <a:cubicBezTo>
                    <a:pt x="32" y="8"/>
                    <a:pt x="30" y="10"/>
                    <a:pt x="28" y="11"/>
                  </a:cubicBezTo>
                  <a:cubicBezTo>
                    <a:pt x="24" y="14"/>
                    <a:pt x="20" y="18"/>
                    <a:pt x="16" y="22"/>
                  </a:cubicBezTo>
                  <a:cubicBezTo>
                    <a:pt x="12" y="27"/>
                    <a:pt x="9" y="31"/>
                    <a:pt x="7" y="36"/>
                  </a:cubicBezTo>
                  <a:cubicBezTo>
                    <a:pt x="6" y="38"/>
                    <a:pt x="5" y="40"/>
                    <a:pt x="4" y="43"/>
                  </a:cubicBezTo>
                  <a:cubicBezTo>
                    <a:pt x="3" y="45"/>
                    <a:pt x="3" y="47"/>
                    <a:pt x="2" y="49"/>
                  </a:cubicBezTo>
                  <a:cubicBezTo>
                    <a:pt x="2" y="50"/>
                    <a:pt x="2" y="52"/>
                    <a:pt x="1" y="54"/>
                  </a:cubicBezTo>
                  <a:cubicBezTo>
                    <a:pt x="1" y="55"/>
                    <a:pt x="1" y="56"/>
                    <a:pt x="1" y="57"/>
                  </a:cubicBezTo>
                  <a:cubicBezTo>
                    <a:pt x="0" y="60"/>
                    <a:pt x="0" y="61"/>
                    <a:pt x="0" y="61"/>
                  </a:cubicBezTo>
                  <a:cubicBezTo>
                    <a:pt x="1" y="61"/>
                    <a:pt x="1" y="56"/>
                    <a:pt x="3" y="49"/>
                  </a:cubicBezTo>
                  <a:cubicBezTo>
                    <a:pt x="4" y="47"/>
                    <a:pt x="4" y="45"/>
                    <a:pt x="5" y="43"/>
                  </a:cubicBezTo>
                  <a:cubicBezTo>
                    <a:pt x="6" y="41"/>
                    <a:pt x="7" y="39"/>
                    <a:pt x="8" y="36"/>
                  </a:cubicBezTo>
                  <a:cubicBezTo>
                    <a:pt x="10" y="32"/>
                    <a:pt x="13" y="27"/>
                    <a:pt x="17" y="23"/>
                  </a:cubicBezTo>
                  <a:cubicBezTo>
                    <a:pt x="21" y="19"/>
                    <a:pt x="25" y="15"/>
                    <a:pt x="29" y="12"/>
                  </a:cubicBezTo>
                  <a:cubicBezTo>
                    <a:pt x="31" y="11"/>
                    <a:pt x="33" y="9"/>
                    <a:pt x="35" y="8"/>
                  </a:cubicBezTo>
                  <a:cubicBezTo>
                    <a:pt x="37" y="7"/>
                    <a:pt x="39" y="6"/>
                    <a:pt x="40" y="5"/>
                  </a:cubicBezTo>
                  <a:cubicBezTo>
                    <a:pt x="47" y="2"/>
                    <a:pt x="52" y="1"/>
                    <a:pt x="5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6" name="Group 195">
            <a:extLst>
              <a:ext uri="{FF2B5EF4-FFF2-40B4-BE49-F238E27FC236}">
                <a16:creationId xmlns:a16="http://schemas.microsoft.com/office/drawing/2014/main" id="{FDDBF023-970E-42B5-B7DA-469C0B058A59}"/>
              </a:ext>
            </a:extLst>
          </p:cNvPr>
          <p:cNvGrpSpPr/>
          <p:nvPr/>
        </p:nvGrpSpPr>
        <p:grpSpPr>
          <a:xfrm>
            <a:off x="6267805" y="642327"/>
            <a:ext cx="643132" cy="579252"/>
            <a:chOff x="5035809" y="4247797"/>
            <a:chExt cx="394930" cy="355704"/>
          </a:xfrm>
        </p:grpSpPr>
        <p:sp>
          <p:nvSpPr>
            <p:cNvPr id="197" name="Oval 196">
              <a:extLst>
                <a:ext uri="{FF2B5EF4-FFF2-40B4-BE49-F238E27FC236}">
                  <a16:creationId xmlns:a16="http://schemas.microsoft.com/office/drawing/2014/main" id="{942D53FF-708B-4FE4-92A8-AAE471CF666E}"/>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198" name="Oval 197">
              <a:extLst>
                <a:ext uri="{FF2B5EF4-FFF2-40B4-BE49-F238E27FC236}">
                  <a16:creationId xmlns:a16="http://schemas.microsoft.com/office/drawing/2014/main" id="{721959D0-EDAC-4910-B9D5-34FE41EA6AD3}"/>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i="1" dirty="0">
                  <a:solidFill>
                    <a:srgbClr val="0075B0"/>
                  </a:solidFill>
                </a:rPr>
                <a:t>1</a:t>
              </a:r>
            </a:p>
          </p:txBody>
        </p:sp>
      </p:grpSp>
      <p:sp>
        <p:nvSpPr>
          <p:cNvPr id="199" name="TextBox 198">
            <a:extLst>
              <a:ext uri="{FF2B5EF4-FFF2-40B4-BE49-F238E27FC236}">
                <a16:creationId xmlns:a16="http://schemas.microsoft.com/office/drawing/2014/main" id="{2AF475BC-DB23-4AF2-9965-A0693170DEAA}"/>
              </a:ext>
            </a:extLst>
          </p:cNvPr>
          <p:cNvSpPr txBox="1"/>
          <p:nvPr/>
        </p:nvSpPr>
        <p:spPr>
          <a:xfrm>
            <a:off x="7188201" y="527164"/>
            <a:ext cx="4385014" cy="790312"/>
          </a:xfrm>
          <a:prstGeom prst="rect">
            <a:avLst/>
          </a:prstGeom>
          <a:noFill/>
        </p:spPr>
        <p:txBody>
          <a:bodyPr wrap="square" lIns="0" tIns="0" rIns="0" bIns="0" rtlCol="0" anchor="ctr" anchorCtr="0">
            <a:noAutofit/>
          </a:bodyPr>
          <a:lstStyle/>
          <a:p>
            <a:r>
              <a:rPr lang="en-ID" sz="2000" dirty="0">
                <a:solidFill>
                  <a:schemeClr val="tx1">
                    <a:lumMod val="85000"/>
                    <a:lumOff val="15000"/>
                  </a:schemeClr>
                </a:solidFill>
              </a:rPr>
              <a:t>Lorem ipsum </a:t>
            </a:r>
            <a:r>
              <a:rPr lang="en-ID" sz="2000" dirty="0" err="1">
                <a:solidFill>
                  <a:schemeClr val="tx1">
                    <a:lumMod val="85000"/>
                    <a:lumOff val="15000"/>
                  </a:schemeClr>
                </a:solidFill>
              </a:rPr>
              <a:t>dolor</a:t>
            </a:r>
            <a:r>
              <a:rPr lang="en-ID" sz="2000" dirty="0">
                <a:solidFill>
                  <a:schemeClr val="tx1">
                    <a:lumMod val="85000"/>
                    <a:lumOff val="15000"/>
                  </a:schemeClr>
                </a:solidFill>
              </a:rPr>
              <a:t> sit </a:t>
            </a:r>
            <a:r>
              <a:rPr lang="en-ID" sz="2000" dirty="0" err="1">
                <a:solidFill>
                  <a:schemeClr val="tx1">
                    <a:lumMod val="85000"/>
                    <a:lumOff val="15000"/>
                  </a:schemeClr>
                </a:solidFill>
              </a:rPr>
              <a:t>amet</a:t>
            </a:r>
            <a:r>
              <a:rPr lang="en-ID" sz="2000" dirty="0">
                <a:solidFill>
                  <a:schemeClr val="tx1">
                    <a:lumMod val="85000"/>
                    <a:lumOff val="15000"/>
                  </a:schemeClr>
                </a:solidFill>
              </a:rPr>
              <a:t>, </a:t>
            </a:r>
            <a:r>
              <a:rPr lang="en-ID" sz="2000" dirty="0" err="1">
                <a:solidFill>
                  <a:schemeClr val="tx1">
                    <a:lumMod val="85000"/>
                    <a:lumOff val="15000"/>
                  </a:schemeClr>
                </a:solidFill>
              </a:rPr>
              <a:t>consectetur</a:t>
            </a:r>
            <a:r>
              <a:rPr lang="en-ID" sz="2000" dirty="0">
                <a:solidFill>
                  <a:schemeClr val="tx1">
                    <a:lumMod val="85000"/>
                    <a:lumOff val="15000"/>
                  </a:schemeClr>
                </a:solidFill>
              </a:rPr>
              <a:t> </a:t>
            </a:r>
            <a:r>
              <a:rPr lang="en-ID" sz="2000" dirty="0" err="1">
                <a:solidFill>
                  <a:schemeClr val="tx1">
                    <a:lumMod val="85000"/>
                    <a:lumOff val="15000"/>
                  </a:schemeClr>
                </a:solidFill>
              </a:rPr>
              <a:t>adipiscing</a:t>
            </a:r>
            <a:r>
              <a:rPr lang="en-ID" sz="2000" dirty="0">
                <a:solidFill>
                  <a:schemeClr val="tx1">
                    <a:lumMod val="85000"/>
                    <a:lumOff val="15000"/>
                  </a:schemeClr>
                </a:solidFill>
              </a:rPr>
              <a:t> </a:t>
            </a:r>
            <a:r>
              <a:rPr lang="en-ID" sz="2000" dirty="0" err="1">
                <a:solidFill>
                  <a:schemeClr val="tx1">
                    <a:lumMod val="85000"/>
                    <a:lumOff val="15000"/>
                  </a:schemeClr>
                </a:solidFill>
              </a:rPr>
              <a:t>elit</a:t>
            </a:r>
            <a:r>
              <a:rPr lang="en-ID" sz="2000" dirty="0">
                <a:solidFill>
                  <a:schemeClr val="tx1">
                    <a:lumMod val="85000"/>
                    <a:lumOff val="15000"/>
                  </a:schemeClr>
                </a:solidFill>
              </a:rPr>
              <a:t>. </a:t>
            </a:r>
          </a:p>
        </p:txBody>
      </p:sp>
      <p:grpSp>
        <p:nvGrpSpPr>
          <p:cNvPr id="200" name="Group 199">
            <a:extLst>
              <a:ext uri="{FF2B5EF4-FFF2-40B4-BE49-F238E27FC236}">
                <a16:creationId xmlns:a16="http://schemas.microsoft.com/office/drawing/2014/main" id="{FA46F190-9CA5-4210-A77C-BAFE9190D4A6}"/>
              </a:ext>
            </a:extLst>
          </p:cNvPr>
          <p:cNvGrpSpPr/>
          <p:nvPr/>
        </p:nvGrpSpPr>
        <p:grpSpPr>
          <a:xfrm>
            <a:off x="6267805" y="1823319"/>
            <a:ext cx="643132" cy="579252"/>
            <a:chOff x="5035809" y="4247797"/>
            <a:chExt cx="394930" cy="355704"/>
          </a:xfrm>
        </p:grpSpPr>
        <p:sp>
          <p:nvSpPr>
            <p:cNvPr id="201" name="Oval 200">
              <a:extLst>
                <a:ext uri="{FF2B5EF4-FFF2-40B4-BE49-F238E27FC236}">
                  <a16:creationId xmlns:a16="http://schemas.microsoft.com/office/drawing/2014/main" id="{FF82B614-C5EB-4BF5-B5D2-D2601D070796}"/>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02" name="Oval 201">
              <a:extLst>
                <a:ext uri="{FF2B5EF4-FFF2-40B4-BE49-F238E27FC236}">
                  <a16:creationId xmlns:a16="http://schemas.microsoft.com/office/drawing/2014/main" id="{4D930766-8C6A-4670-BAE0-C55AA4C07BE7}"/>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i="1" dirty="0">
                  <a:solidFill>
                    <a:srgbClr val="0075B0"/>
                  </a:solidFill>
                </a:rPr>
                <a:t>2</a:t>
              </a:r>
            </a:p>
          </p:txBody>
        </p:sp>
      </p:grpSp>
      <p:sp>
        <p:nvSpPr>
          <p:cNvPr id="203" name="TextBox 202">
            <a:extLst>
              <a:ext uri="{FF2B5EF4-FFF2-40B4-BE49-F238E27FC236}">
                <a16:creationId xmlns:a16="http://schemas.microsoft.com/office/drawing/2014/main" id="{DC633801-B1EA-4A52-AEDA-96A2DB65CDF3}"/>
              </a:ext>
            </a:extLst>
          </p:cNvPr>
          <p:cNvSpPr txBox="1"/>
          <p:nvPr/>
        </p:nvSpPr>
        <p:spPr>
          <a:xfrm>
            <a:off x="7188201" y="1717789"/>
            <a:ext cx="4385014" cy="790312"/>
          </a:xfrm>
          <a:prstGeom prst="rect">
            <a:avLst/>
          </a:prstGeom>
          <a:noFill/>
        </p:spPr>
        <p:txBody>
          <a:bodyPr wrap="square" lIns="0" tIns="0" rIns="0" bIns="0" rtlCol="0" anchor="ctr" anchorCtr="0">
            <a:noAutofit/>
          </a:bodyPr>
          <a:lstStyle/>
          <a:p>
            <a:r>
              <a:rPr lang="en-ID" sz="2000" dirty="0">
                <a:solidFill>
                  <a:schemeClr val="tx1">
                    <a:lumMod val="85000"/>
                    <a:lumOff val="15000"/>
                  </a:schemeClr>
                </a:solidFill>
              </a:rPr>
              <a:t>Lorem ipsum </a:t>
            </a:r>
            <a:r>
              <a:rPr lang="en-ID" sz="2000" dirty="0" err="1">
                <a:solidFill>
                  <a:schemeClr val="tx1">
                    <a:lumMod val="85000"/>
                    <a:lumOff val="15000"/>
                  </a:schemeClr>
                </a:solidFill>
              </a:rPr>
              <a:t>dolor</a:t>
            </a:r>
            <a:r>
              <a:rPr lang="en-ID" sz="2000" dirty="0">
                <a:solidFill>
                  <a:schemeClr val="tx1">
                    <a:lumMod val="85000"/>
                    <a:lumOff val="15000"/>
                  </a:schemeClr>
                </a:solidFill>
              </a:rPr>
              <a:t> sit </a:t>
            </a:r>
            <a:r>
              <a:rPr lang="en-ID" sz="2000" dirty="0" err="1">
                <a:solidFill>
                  <a:schemeClr val="tx1">
                    <a:lumMod val="85000"/>
                    <a:lumOff val="15000"/>
                  </a:schemeClr>
                </a:solidFill>
              </a:rPr>
              <a:t>amet</a:t>
            </a:r>
            <a:r>
              <a:rPr lang="en-ID" sz="2000" dirty="0">
                <a:solidFill>
                  <a:schemeClr val="tx1">
                    <a:lumMod val="85000"/>
                    <a:lumOff val="15000"/>
                  </a:schemeClr>
                </a:solidFill>
              </a:rPr>
              <a:t>, </a:t>
            </a:r>
            <a:r>
              <a:rPr lang="en-ID" sz="2000" dirty="0" err="1">
                <a:solidFill>
                  <a:schemeClr val="tx1">
                    <a:lumMod val="85000"/>
                    <a:lumOff val="15000"/>
                  </a:schemeClr>
                </a:solidFill>
              </a:rPr>
              <a:t>consectetur</a:t>
            </a:r>
            <a:r>
              <a:rPr lang="en-ID" sz="2000" dirty="0">
                <a:solidFill>
                  <a:schemeClr val="tx1">
                    <a:lumMod val="85000"/>
                    <a:lumOff val="15000"/>
                  </a:schemeClr>
                </a:solidFill>
              </a:rPr>
              <a:t> </a:t>
            </a:r>
            <a:r>
              <a:rPr lang="en-ID" sz="2000" dirty="0" err="1">
                <a:solidFill>
                  <a:schemeClr val="tx1">
                    <a:lumMod val="85000"/>
                    <a:lumOff val="15000"/>
                  </a:schemeClr>
                </a:solidFill>
              </a:rPr>
              <a:t>adipiscing</a:t>
            </a:r>
            <a:r>
              <a:rPr lang="en-ID" sz="2000" dirty="0">
                <a:solidFill>
                  <a:schemeClr val="tx1">
                    <a:lumMod val="85000"/>
                    <a:lumOff val="15000"/>
                  </a:schemeClr>
                </a:solidFill>
              </a:rPr>
              <a:t> </a:t>
            </a:r>
            <a:r>
              <a:rPr lang="en-ID" sz="2000" dirty="0" err="1">
                <a:solidFill>
                  <a:schemeClr val="tx1">
                    <a:lumMod val="85000"/>
                    <a:lumOff val="15000"/>
                  </a:schemeClr>
                </a:solidFill>
              </a:rPr>
              <a:t>elit</a:t>
            </a:r>
            <a:r>
              <a:rPr lang="en-ID" sz="2000" dirty="0">
                <a:solidFill>
                  <a:schemeClr val="tx1">
                    <a:lumMod val="85000"/>
                    <a:lumOff val="15000"/>
                  </a:schemeClr>
                </a:solidFill>
              </a:rPr>
              <a:t>. </a:t>
            </a:r>
          </a:p>
        </p:txBody>
      </p:sp>
      <p:grpSp>
        <p:nvGrpSpPr>
          <p:cNvPr id="204" name="Group 203">
            <a:extLst>
              <a:ext uri="{FF2B5EF4-FFF2-40B4-BE49-F238E27FC236}">
                <a16:creationId xmlns:a16="http://schemas.microsoft.com/office/drawing/2014/main" id="{E981997B-F587-4C6E-968E-958F60DA4A1B}"/>
              </a:ext>
            </a:extLst>
          </p:cNvPr>
          <p:cNvGrpSpPr/>
          <p:nvPr/>
        </p:nvGrpSpPr>
        <p:grpSpPr>
          <a:xfrm>
            <a:off x="6267805" y="3013944"/>
            <a:ext cx="643132" cy="579252"/>
            <a:chOff x="5035809" y="4247797"/>
            <a:chExt cx="394930" cy="355704"/>
          </a:xfrm>
        </p:grpSpPr>
        <p:sp>
          <p:nvSpPr>
            <p:cNvPr id="205" name="Oval 204">
              <a:extLst>
                <a:ext uri="{FF2B5EF4-FFF2-40B4-BE49-F238E27FC236}">
                  <a16:creationId xmlns:a16="http://schemas.microsoft.com/office/drawing/2014/main" id="{A1A62390-3E5D-4B99-BB1A-1A10FD79162D}"/>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06" name="Oval 205">
              <a:extLst>
                <a:ext uri="{FF2B5EF4-FFF2-40B4-BE49-F238E27FC236}">
                  <a16:creationId xmlns:a16="http://schemas.microsoft.com/office/drawing/2014/main" id="{9CC74DD5-4FBA-42EB-85B7-872384CC4466}"/>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i="1" dirty="0">
                  <a:solidFill>
                    <a:srgbClr val="0075B0"/>
                  </a:solidFill>
                </a:rPr>
                <a:t>3</a:t>
              </a:r>
            </a:p>
          </p:txBody>
        </p:sp>
      </p:grpSp>
      <p:sp>
        <p:nvSpPr>
          <p:cNvPr id="207" name="TextBox 206">
            <a:extLst>
              <a:ext uri="{FF2B5EF4-FFF2-40B4-BE49-F238E27FC236}">
                <a16:creationId xmlns:a16="http://schemas.microsoft.com/office/drawing/2014/main" id="{EBB1D791-510E-42D4-BEE0-AE463E7DD09F}"/>
              </a:ext>
            </a:extLst>
          </p:cNvPr>
          <p:cNvSpPr txBox="1"/>
          <p:nvPr/>
        </p:nvSpPr>
        <p:spPr>
          <a:xfrm>
            <a:off x="7188201" y="2908414"/>
            <a:ext cx="4385014" cy="790312"/>
          </a:xfrm>
          <a:prstGeom prst="rect">
            <a:avLst/>
          </a:prstGeom>
          <a:noFill/>
        </p:spPr>
        <p:txBody>
          <a:bodyPr wrap="square" lIns="0" tIns="0" rIns="0" bIns="0" rtlCol="0" anchor="ctr" anchorCtr="0">
            <a:noAutofit/>
          </a:bodyPr>
          <a:lstStyle/>
          <a:p>
            <a:r>
              <a:rPr lang="en-ID" sz="2000" dirty="0">
                <a:solidFill>
                  <a:schemeClr val="tx1">
                    <a:lumMod val="85000"/>
                    <a:lumOff val="15000"/>
                  </a:schemeClr>
                </a:solidFill>
              </a:rPr>
              <a:t>Lorem ipsum </a:t>
            </a:r>
            <a:r>
              <a:rPr lang="en-ID" sz="2000" dirty="0" err="1">
                <a:solidFill>
                  <a:schemeClr val="tx1">
                    <a:lumMod val="85000"/>
                    <a:lumOff val="15000"/>
                  </a:schemeClr>
                </a:solidFill>
              </a:rPr>
              <a:t>dolor</a:t>
            </a:r>
            <a:r>
              <a:rPr lang="en-ID" sz="2000" dirty="0">
                <a:solidFill>
                  <a:schemeClr val="tx1">
                    <a:lumMod val="85000"/>
                    <a:lumOff val="15000"/>
                  </a:schemeClr>
                </a:solidFill>
              </a:rPr>
              <a:t> sit </a:t>
            </a:r>
            <a:r>
              <a:rPr lang="en-ID" sz="2000" dirty="0" err="1">
                <a:solidFill>
                  <a:schemeClr val="tx1">
                    <a:lumMod val="85000"/>
                    <a:lumOff val="15000"/>
                  </a:schemeClr>
                </a:solidFill>
              </a:rPr>
              <a:t>amet</a:t>
            </a:r>
            <a:r>
              <a:rPr lang="en-ID" sz="2000" dirty="0">
                <a:solidFill>
                  <a:schemeClr val="tx1">
                    <a:lumMod val="85000"/>
                    <a:lumOff val="15000"/>
                  </a:schemeClr>
                </a:solidFill>
              </a:rPr>
              <a:t>, </a:t>
            </a:r>
            <a:r>
              <a:rPr lang="en-ID" sz="2000" dirty="0" err="1">
                <a:solidFill>
                  <a:schemeClr val="tx1">
                    <a:lumMod val="85000"/>
                    <a:lumOff val="15000"/>
                  </a:schemeClr>
                </a:solidFill>
              </a:rPr>
              <a:t>consectetur</a:t>
            </a:r>
            <a:r>
              <a:rPr lang="en-ID" sz="2000" dirty="0">
                <a:solidFill>
                  <a:schemeClr val="tx1">
                    <a:lumMod val="85000"/>
                    <a:lumOff val="15000"/>
                  </a:schemeClr>
                </a:solidFill>
              </a:rPr>
              <a:t> </a:t>
            </a:r>
            <a:r>
              <a:rPr lang="en-ID" sz="2000" dirty="0" err="1">
                <a:solidFill>
                  <a:schemeClr val="tx1">
                    <a:lumMod val="85000"/>
                    <a:lumOff val="15000"/>
                  </a:schemeClr>
                </a:solidFill>
              </a:rPr>
              <a:t>adipiscing</a:t>
            </a:r>
            <a:r>
              <a:rPr lang="en-ID" sz="2000" dirty="0">
                <a:solidFill>
                  <a:schemeClr val="tx1">
                    <a:lumMod val="85000"/>
                    <a:lumOff val="15000"/>
                  </a:schemeClr>
                </a:solidFill>
              </a:rPr>
              <a:t> </a:t>
            </a:r>
            <a:r>
              <a:rPr lang="en-ID" sz="2000" dirty="0" err="1">
                <a:solidFill>
                  <a:schemeClr val="tx1">
                    <a:lumMod val="85000"/>
                    <a:lumOff val="15000"/>
                  </a:schemeClr>
                </a:solidFill>
              </a:rPr>
              <a:t>elit</a:t>
            </a:r>
            <a:r>
              <a:rPr lang="en-ID" sz="2000" dirty="0">
                <a:solidFill>
                  <a:schemeClr val="tx1">
                    <a:lumMod val="85000"/>
                    <a:lumOff val="15000"/>
                  </a:schemeClr>
                </a:solidFill>
              </a:rPr>
              <a:t>. </a:t>
            </a:r>
          </a:p>
        </p:txBody>
      </p:sp>
      <p:grpSp>
        <p:nvGrpSpPr>
          <p:cNvPr id="208" name="Group 207">
            <a:extLst>
              <a:ext uri="{FF2B5EF4-FFF2-40B4-BE49-F238E27FC236}">
                <a16:creationId xmlns:a16="http://schemas.microsoft.com/office/drawing/2014/main" id="{7DF4D83A-50D3-472E-89A7-448FD19A38B1}"/>
              </a:ext>
            </a:extLst>
          </p:cNvPr>
          <p:cNvGrpSpPr/>
          <p:nvPr/>
        </p:nvGrpSpPr>
        <p:grpSpPr>
          <a:xfrm>
            <a:off x="6267805" y="4204569"/>
            <a:ext cx="643132" cy="579252"/>
            <a:chOff x="5035809" y="4247797"/>
            <a:chExt cx="394930" cy="355704"/>
          </a:xfrm>
        </p:grpSpPr>
        <p:sp>
          <p:nvSpPr>
            <p:cNvPr id="209" name="Oval 208">
              <a:extLst>
                <a:ext uri="{FF2B5EF4-FFF2-40B4-BE49-F238E27FC236}">
                  <a16:creationId xmlns:a16="http://schemas.microsoft.com/office/drawing/2014/main" id="{B708F780-5DC8-44B6-A32C-D3EA766675AE}"/>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10" name="Oval 209">
              <a:extLst>
                <a:ext uri="{FF2B5EF4-FFF2-40B4-BE49-F238E27FC236}">
                  <a16:creationId xmlns:a16="http://schemas.microsoft.com/office/drawing/2014/main" id="{E6F427A1-B0BD-4563-8AF4-AFE4373484B8}"/>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i="1" dirty="0">
                  <a:solidFill>
                    <a:srgbClr val="0075B0"/>
                  </a:solidFill>
                </a:rPr>
                <a:t>4</a:t>
              </a:r>
            </a:p>
          </p:txBody>
        </p:sp>
      </p:grpSp>
      <p:sp>
        <p:nvSpPr>
          <p:cNvPr id="211" name="TextBox 210">
            <a:extLst>
              <a:ext uri="{FF2B5EF4-FFF2-40B4-BE49-F238E27FC236}">
                <a16:creationId xmlns:a16="http://schemas.microsoft.com/office/drawing/2014/main" id="{86315CD4-1417-4803-9B3D-2CB03778E7A4}"/>
              </a:ext>
            </a:extLst>
          </p:cNvPr>
          <p:cNvSpPr txBox="1"/>
          <p:nvPr/>
        </p:nvSpPr>
        <p:spPr>
          <a:xfrm>
            <a:off x="7188201" y="4099039"/>
            <a:ext cx="4385014" cy="790312"/>
          </a:xfrm>
          <a:prstGeom prst="rect">
            <a:avLst/>
          </a:prstGeom>
          <a:noFill/>
        </p:spPr>
        <p:txBody>
          <a:bodyPr wrap="square" lIns="0" tIns="0" rIns="0" bIns="0" rtlCol="0" anchor="ctr" anchorCtr="0">
            <a:noAutofit/>
          </a:bodyPr>
          <a:lstStyle/>
          <a:p>
            <a:r>
              <a:rPr lang="en-ID" sz="2000" dirty="0">
                <a:solidFill>
                  <a:schemeClr val="tx1">
                    <a:lumMod val="85000"/>
                    <a:lumOff val="15000"/>
                  </a:schemeClr>
                </a:solidFill>
              </a:rPr>
              <a:t>Lorem ipsum </a:t>
            </a:r>
            <a:r>
              <a:rPr lang="en-ID" sz="2000" dirty="0" err="1">
                <a:solidFill>
                  <a:schemeClr val="tx1">
                    <a:lumMod val="85000"/>
                    <a:lumOff val="15000"/>
                  </a:schemeClr>
                </a:solidFill>
              </a:rPr>
              <a:t>dolor</a:t>
            </a:r>
            <a:r>
              <a:rPr lang="en-ID" sz="2000" dirty="0">
                <a:solidFill>
                  <a:schemeClr val="tx1">
                    <a:lumMod val="85000"/>
                    <a:lumOff val="15000"/>
                  </a:schemeClr>
                </a:solidFill>
              </a:rPr>
              <a:t> sit </a:t>
            </a:r>
            <a:r>
              <a:rPr lang="en-ID" sz="2000" dirty="0" err="1">
                <a:solidFill>
                  <a:schemeClr val="tx1">
                    <a:lumMod val="85000"/>
                    <a:lumOff val="15000"/>
                  </a:schemeClr>
                </a:solidFill>
              </a:rPr>
              <a:t>amet</a:t>
            </a:r>
            <a:r>
              <a:rPr lang="en-ID" sz="2000" dirty="0">
                <a:solidFill>
                  <a:schemeClr val="tx1">
                    <a:lumMod val="85000"/>
                    <a:lumOff val="15000"/>
                  </a:schemeClr>
                </a:solidFill>
              </a:rPr>
              <a:t>, </a:t>
            </a:r>
            <a:r>
              <a:rPr lang="en-ID" sz="2000" dirty="0" err="1">
                <a:solidFill>
                  <a:schemeClr val="tx1">
                    <a:lumMod val="85000"/>
                    <a:lumOff val="15000"/>
                  </a:schemeClr>
                </a:solidFill>
              </a:rPr>
              <a:t>consectetur</a:t>
            </a:r>
            <a:r>
              <a:rPr lang="en-ID" sz="2000" dirty="0">
                <a:solidFill>
                  <a:schemeClr val="tx1">
                    <a:lumMod val="85000"/>
                    <a:lumOff val="15000"/>
                  </a:schemeClr>
                </a:solidFill>
              </a:rPr>
              <a:t> </a:t>
            </a:r>
            <a:r>
              <a:rPr lang="en-ID" sz="2000" dirty="0" err="1">
                <a:solidFill>
                  <a:schemeClr val="tx1">
                    <a:lumMod val="85000"/>
                    <a:lumOff val="15000"/>
                  </a:schemeClr>
                </a:solidFill>
              </a:rPr>
              <a:t>adipiscing</a:t>
            </a:r>
            <a:r>
              <a:rPr lang="en-ID" sz="2000" dirty="0">
                <a:solidFill>
                  <a:schemeClr val="tx1">
                    <a:lumMod val="85000"/>
                    <a:lumOff val="15000"/>
                  </a:schemeClr>
                </a:solidFill>
              </a:rPr>
              <a:t> </a:t>
            </a:r>
            <a:r>
              <a:rPr lang="en-ID" sz="2000" dirty="0" err="1">
                <a:solidFill>
                  <a:schemeClr val="tx1">
                    <a:lumMod val="85000"/>
                    <a:lumOff val="15000"/>
                  </a:schemeClr>
                </a:solidFill>
              </a:rPr>
              <a:t>elit</a:t>
            </a:r>
            <a:r>
              <a:rPr lang="en-ID" sz="2000" dirty="0">
                <a:solidFill>
                  <a:schemeClr val="tx1">
                    <a:lumMod val="85000"/>
                    <a:lumOff val="15000"/>
                  </a:schemeClr>
                </a:solidFill>
              </a:rPr>
              <a:t>. </a:t>
            </a:r>
          </a:p>
        </p:txBody>
      </p:sp>
      <p:grpSp>
        <p:nvGrpSpPr>
          <p:cNvPr id="212" name="Group 211">
            <a:extLst>
              <a:ext uri="{FF2B5EF4-FFF2-40B4-BE49-F238E27FC236}">
                <a16:creationId xmlns:a16="http://schemas.microsoft.com/office/drawing/2014/main" id="{E0AE95B7-E1B6-48B7-B487-B5B913DE4A65}"/>
              </a:ext>
            </a:extLst>
          </p:cNvPr>
          <p:cNvGrpSpPr/>
          <p:nvPr/>
        </p:nvGrpSpPr>
        <p:grpSpPr>
          <a:xfrm>
            <a:off x="6267805" y="5404827"/>
            <a:ext cx="643132" cy="579252"/>
            <a:chOff x="5035809" y="4247797"/>
            <a:chExt cx="394930" cy="355704"/>
          </a:xfrm>
        </p:grpSpPr>
        <p:sp>
          <p:nvSpPr>
            <p:cNvPr id="213" name="Oval 212">
              <a:extLst>
                <a:ext uri="{FF2B5EF4-FFF2-40B4-BE49-F238E27FC236}">
                  <a16:creationId xmlns:a16="http://schemas.microsoft.com/office/drawing/2014/main" id="{6C0B4D82-278F-4E6A-8779-1E25DC113196}"/>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14" name="Oval 213">
              <a:extLst>
                <a:ext uri="{FF2B5EF4-FFF2-40B4-BE49-F238E27FC236}">
                  <a16:creationId xmlns:a16="http://schemas.microsoft.com/office/drawing/2014/main" id="{881C7ACF-5E68-454D-9AEF-CBA0A83F0781}"/>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i="1" dirty="0">
                  <a:solidFill>
                    <a:srgbClr val="0075B0"/>
                  </a:solidFill>
                </a:rPr>
                <a:t>5</a:t>
              </a:r>
            </a:p>
          </p:txBody>
        </p:sp>
      </p:grpSp>
      <p:sp>
        <p:nvSpPr>
          <p:cNvPr id="215" name="TextBox 214">
            <a:extLst>
              <a:ext uri="{FF2B5EF4-FFF2-40B4-BE49-F238E27FC236}">
                <a16:creationId xmlns:a16="http://schemas.microsoft.com/office/drawing/2014/main" id="{D128A9CB-32E3-4483-A957-EB8ED005156B}"/>
              </a:ext>
            </a:extLst>
          </p:cNvPr>
          <p:cNvSpPr txBox="1"/>
          <p:nvPr/>
        </p:nvSpPr>
        <p:spPr>
          <a:xfrm>
            <a:off x="7188201" y="5289664"/>
            <a:ext cx="4385014" cy="790312"/>
          </a:xfrm>
          <a:prstGeom prst="rect">
            <a:avLst/>
          </a:prstGeom>
          <a:noFill/>
        </p:spPr>
        <p:txBody>
          <a:bodyPr wrap="square" lIns="0" tIns="0" rIns="0" bIns="0" rtlCol="0" anchor="ctr" anchorCtr="0">
            <a:noAutofit/>
          </a:bodyPr>
          <a:lstStyle/>
          <a:p>
            <a:r>
              <a:rPr lang="en-ID" sz="2000" dirty="0">
                <a:solidFill>
                  <a:schemeClr val="tx1">
                    <a:lumMod val="85000"/>
                    <a:lumOff val="15000"/>
                  </a:schemeClr>
                </a:solidFill>
              </a:rPr>
              <a:t>Lorem ipsum </a:t>
            </a:r>
            <a:r>
              <a:rPr lang="en-ID" sz="2000" dirty="0" err="1">
                <a:solidFill>
                  <a:schemeClr val="tx1">
                    <a:lumMod val="85000"/>
                    <a:lumOff val="15000"/>
                  </a:schemeClr>
                </a:solidFill>
              </a:rPr>
              <a:t>dolor</a:t>
            </a:r>
            <a:r>
              <a:rPr lang="en-ID" sz="2000" dirty="0">
                <a:solidFill>
                  <a:schemeClr val="tx1">
                    <a:lumMod val="85000"/>
                    <a:lumOff val="15000"/>
                  </a:schemeClr>
                </a:solidFill>
              </a:rPr>
              <a:t> sit </a:t>
            </a:r>
            <a:r>
              <a:rPr lang="en-ID" sz="2000" dirty="0" err="1">
                <a:solidFill>
                  <a:schemeClr val="tx1">
                    <a:lumMod val="85000"/>
                    <a:lumOff val="15000"/>
                  </a:schemeClr>
                </a:solidFill>
              </a:rPr>
              <a:t>amet</a:t>
            </a:r>
            <a:r>
              <a:rPr lang="en-ID" sz="2000" dirty="0">
                <a:solidFill>
                  <a:schemeClr val="tx1">
                    <a:lumMod val="85000"/>
                    <a:lumOff val="15000"/>
                  </a:schemeClr>
                </a:solidFill>
              </a:rPr>
              <a:t>, </a:t>
            </a:r>
            <a:r>
              <a:rPr lang="en-ID" sz="2000" dirty="0" err="1">
                <a:solidFill>
                  <a:schemeClr val="tx1">
                    <a:lumMod val="85000"/>
                    <a:lumOff val="15000"/>
                  </a:schemeClr>
                </a:solidFill>
              </a:rPr>
              <a:t>consectetur</a:t>
            </a:r>
            <a:r>
              <a:rPr lang="en-ID" sz="2000" dirty="0">
                <a:solidFill>
                  <a:schemeClr val="tx1">
                    <a:lumMod val="85000"/>
                    <a:lumOff val="15000"/>
                  </a:schemeClr>
                </a:solidFill>
              </a:rPr>
              <a:t> </a:t>
            </a:r>
            <a:r>
              <a:rPr lang="en-ID" sz="2000" dirty="0" err="1">
                <a:solidFill>
                  <a:schemeClr val="tx1">
                    <a:lumMod val="85000"/>
                    <a:lumOff val="15000"/>
                  </a:schemeClr>
                </a:solidFill>
              </a:rPr>
              <a:t>adipiscing</a:t>
            </a:r>
            <a:r>
              <a:rPr lang="en-ID" sz="2000" dirty="0">
                <a:solidFill>
                  <a:schemeClr val="tx1">
                    <a:lumMod val="85000"/>
                    <a:lumOff val="15000"/>
                  </a:schemeClr>
                </a:solidFill>
              </a:rPr>
              <a:t> </a:t>
            </a:r>
            <a:r>
              <a:rPr lang="en-ID" sz="2000" dirty="0" err="1">
                <a:solidFill>
                  <a:schemeClr val="tx1">
                    <a:lumMod val="85000"/>
                    <a:lumOff val="15000"/>
                  </a:schemeClr>
                </a:solidFill>
              </a:rPr>
              <a:t>elit</a:t>
            </a:r>
            <a:r>
              <a:rPr lang="en-ID" sz="2000" dirty="0">
                <a:solidFill>
                  <a:schemeClr val="tx1">
                    <a:lumMod val="85000"/>
                    <a:lumOff val="15000"/>
                  </a:schemeClr>
                </a:solidFill>
              </a:rPr>
              <a:t>. </a:t>
            </a:r>
          </a:p>
        </p:txBody>
      </p:sp>
      <p:cxnSp>
        <p:nvCxnSpPr>
          <p:cNvPr id="217" name="Straight Connector 216">
            <a:extLst>
              <a:ext uri="{FF2B5EF4-FFF2-40B4-BE49-F238E27FC236}">
                <a16:creationId xmlns:a16="http://schemas.microsoft.com/office/drawing/2014/main" id="{5D903F30-F14E-4B89-87DF-A77FDCD63D96}"/>
              </a:ext>
            </a:extLst>
          </p:cNvPr>
          <p:cNvCxnSpPr/>
          <p:nvPr/>
        </p:nvCxnSpPr>
        <p:spPr>
          <a:xfrm>
            <a:off x="6324600" y="1517632"/>
            <a:ext cx="5283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4AFC228A-55AF-4BDB-B313-256C4DCCA1C4}"/>
              </a:ext>
            </a:extLst>
          </p:cNvPr>
          <p:cNvCxnSpPr/>
          <p:nvPr/>
        </p:nvCxnSpPr>
        <p:spPr>
          <a:xfrm>
            <a:off x="6324600" y="2708257"/>
            <a:ext cx="5283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0396D126-76DA-4277-96C4-23A594B22E33}"/>
              </a:ext>
            </a:extLst>
          </p:cNvPr>
          <p:cNvCxnSpPr/>
          <p:nvPr/>
        </p:nvCxnSpPr>
        <p:spPr>
          <a:xfrm>
            <a:off x="6324600" y="3898882"/>
            <a:ext cx="5283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82033966-3221-45A8-9087-477D92EAE9C9}"/>
              </a:ext>
            </a:extLst>
          </p:cNvPr>
          <p:cNvCxnSpPr/>
          <p:nvPr/>
        </p:nvCxnSpPr>
        <p:spPr>
          <a:xfrm>
            <a:off x="6324600" y="5089507"/>
            <a:ext cx="52832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6EE96AE4-9BDF-4FE7-84D9-5269CA28F7A4}"/>
              </a:ext>
            </a:extLst>
          </p:cNvPr>
          <p:cNvSpPr>
            <a:spLocks noGrp="1"/>
          </p:cNvSpPr>
          <p:nvPr>
            <p:ph type="sldNum" sz="quarter" idx="12"/>
          </p:nvPr>
        </p:nvSpPr>
        <p:spPr/>
        <p:txBody>
          <a:bodyPr/>
          <a:lstStyle/>
          <a:p>
            <a:fld id="{89CD6E39-4852-418B-BA35-BEEEB494AB9E}" type="slidenum">
              <a:rPr lang="en-US" smtClean="0"/>
              <a:t>5</a:t>
            </a:fld>
            <a:endParaRPr lang="en-US"/>
          </a:p>
        </p:txBody>
      </p:sp>
    </p:spTree>
    <p:extLst>
      <p:ext uri="{BB962C8B-B14F-4D97-AF65-F5344CB8AC3E}">
        <p14:creationId xmlns:p14="http://schemas.microsoft.com/office/powerpoint/2010/main" val="552346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2A1351-9BF9-4B5F-BA70-9ECAE76972DC}"/>
              </a:ext>
            </a:extLst>
          </p:cNvPr>
          <p:cNvGraphicFramePr>
            <a:graphicFrameLocks noChangeAspect="1"/>
          </p:cNvGraphicFramePr>
          <p:nvPr>
            <p:custDataLst>
              <p:tags r:id="rId2"/>
            </p:custDataLst>
            <p:extLst>
              <p:ext uri="{D42A27DB-BD31-4B8C-83A1-F6EECF244321}">
                <p14:modId xmlns:p14="http://schemas.microsoft.com/office/powerpoint/2010/main" val="41475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4B29DB2-9190-408B-8D01-17C43390FDD8}"/>
              </a:ext>
            </a:extLst>
          </p:cNvPr>
          <p:cNvSpPr/>
          <p:nvPr/>
        </p:nvSpPr>
        <p:spPr>
          <a:xfrm>
            <a:off x="0" y="5411450"/>
            <a:ext cx="12192000" cy="144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ángulo 11314">
            <a:extLst>
              <a:ext uri="{FF2B5EF4-FFF2-40B4-BE49-F238E27FC236}">
                <a16:creationId xmlns:a16="http://schemas.microsoft.com/office/drawing/2014/main" id="{4991600E-19F8-435A-95B2-6E1A015EFC53}"/>
              </a:ext>
            </a:extLst>
          </p:cNvPr>
          <p:cNvSpPr/>
          <p:nvPr/>
        </p:nvSpPr>
        <p:spPr>
          <a:xfrm>
            <a:off x="7344228" y="0"/>
            <a:ext cx="4847771" cy="6858000"/>
          </a:xfrm>
          <a:prstGeom prst="rect">
            <a:avLst/>
          </a:prstGeom>
          <a:gradFill>
            <a:gsLst>
              <a:gs pos="100000">
                <a:srgbClr val="006496"/>
              </a:gs>
              <a:gs pos="49000">
                <a:srgbClr val="0077B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ángulo 3">
            <a:extLst>
              <a:ext uri="{FF2B5EF4-FFF2-40B4-BE49-F238E27FC236}">
                <a16:creationId xmlns:a16="http://schemas.microsoft.com/office/drawing/2014/main" id="{4786D585-AF8B-4ADA-88A2-346842B2F920}"/>
              </a:ext>
            </a:extLst>
          </p:cNvPr>
          <p:cNvSpPr/>
          <p:nvPr/>
        </p:nvSpPr>
        <p:spPr>
          <a:xfrm>
            <a:off x="609600" y="429470"/>
            <a:ext cx="6429829" cy="1446550"/>
          </a:xfrm>
          <a:prstGeom prst="rect">
            <a:avLst/>
          </a:prstGeom>
        </p:spPr>
        <p:txBody>
          <a:bodyPr wrap="square" lIns="0">
            <a:spAutoFit/>
          </a:bodyPr>
          <a:lstStyle/>
          <a:p>
            <a:r>
              <a:rPr lang="en-US" sz="4400" dirty="0">
                <a:solidFill>
                  <a:srgbClr val="FB5252"/>
                </a:solidFill>
                <a:latin typeface="Arial Black" panose="020B0A04020102020204" pitchFamily="34" charset="0"/>
                <a:ea typeface="Source Sans Pro Semibold" panose="020B0603030403020204" pitchFamily="34" charset="0"/>
                <a:cs typeface="Arial" panose="020B0604020202020204" pitchFamily="34" charset="0"/>
              </a:rPr>
              <a:t>Foreign Language Learning</a:t>
            </a:r>
            <a:endParaRPr lang="en-US" sz="4400" dirty="0">
              <a:solidFill>
                <a:srgbClr val="FB5252"/>
              </a:solidFill>
              <a:latin typeface="Arial Black" panose="020B0A04020102020204" pitchFamily="34" charset="0"/>
              <a:ea typeface="Source Sans Pro Black" panose="020B0803030403020204" pitchFamily="34" charset="0"/>
              <a:cs typeface="Arial" panose="020B0604020202020204" pitchFamily="34" charset="0"/>
            </a:endParaRPr>
          </a:p>
        </p:txBody>
      </p:sp>
      <p:grpSp>
        <p:nvGrpSpPr>
          <p:cNvPr id="9" name="Group 5">
            <a:extLst>
              <a:ext uri="{FF2B5EF4-FFF2-40B4-BE49-F238E27FC236}">
                <a16:creationId xmlns:a16="http://schemas.microsoft.com/office/drawing/2014/main" id="{5E92183E-63EA-4065-80AB-0EF6B4EF49E3}"/>
              </a:ext>
            </a:extLst>
          </p:cNvPr>
          <p:cNvGrpSpPr>
            <a:grpSpLocks noChangeAspect="1"/>
          </p:cNvGrpSpPr>
          <p:nvPr/>
        </p:nvGrpSpPr>
        <p:grpSpPr bwMode="auto">
          <a:xfrm>
            <a:off x="7578476" y="3115686"/>
            <a:ext cx="4458516" cy="2821094"/>
            <a:chOff x="3255" y="427"/>
            <a:chExt cx="5473" cy="3463"/>
          </a:xfrm>
        </p:grpSpPr>
        <p:grpSp>
          <p:nvGrpSpPr>
            <p:cNvPr id="11" name="Group 206">
              <a:extLst>
                <a:ext uri="{FF2B5EF4-FFF2-40B4-BE49-F238E27FC236}">
                  <a16:creationId xmlns:a16="http://schemas.microsoft.com/office/drawing/2014/main" id="{2703F4DB-1FFF-4F02-B8AA-0531C79EAA85}"/>
                </a:ext>
              </a:extLst>
            </p:cNvPr>
            <p:cNvGrpSpPr>
              <a:grpSpLocks/>
            </p:cNvGrpSpPr>
            <p:nvPr/>
          </p:nvGrpSpPr>
          <p:grpSpPr bwMode="auto">
            <a:xfrm>
              <a:off x="3255" y="427"/>
              <a:ext cx="5473" cy="3463"/>
              <a:chOff x="3255" y="427"/>
              <a:chExt cx="5473" cy="3463"/>
            </a:xfrm>
          </p:grpSpPr>
          <p:sp>
            <p:nvSpPr>
              <p:cNvPr id="259" name="Oval 12">
                <a:extLst>
                  <a:ext uri="{FF2B5EF4-FFF2-40B4-BE49-F238E27FC236}">
                    <a16:creationId xmlns:a16="http://schemas.microsoft.com/office/drawing/2014/main" id="{AD16FDC7-599B-44DD-A913-0D0023C1621D}"/>
                  </a:ext>
                </a:extLst>
              </p:cNvPr>
              <p:cNvSpPr>
                <a:spLocks noChangeArrowheads="1"/>
              </p:cNvSpPr>
              <p:nvPr/>
            </p:nvSpPr>
            <p:spPr bwMode="auto">
              <a:xfrm flipV="1">
                <a:off x="3255" y="3820"/>
                <a:ext cx="5473" cy="56"/>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3">
                <a:extLst>
                  <a:ext uri="{FF2B5EF4-FFF2-40B4-BE49-F238E27FC236}">
                    <a16:creationId xmlns:a16="http://schemas.microsoft.com/office/drawing/2014/main" id="{68A64222-553C-4367-9A28-A2278611C0AA}"/>
                  </a:ext>
                </a:extLst>
              </p:cNvPr>
              <p:cNvSpPr>
                <a:spLocks/>
              </p:cNvSpPr>
              <p:nvPr/>
            </p:nvSpPr>
            <p:spPr bwMode="auto">
              <a:xfrm>
                <a:off x="3666" y="3562"/>
                <a:ext cx="223" cy="143"/>
              </a:xfrm>
              <a:custGeom>
                <a:avLst/>
                <a:gdLst>
                  <a:gd name="T0" fmla="*/ 76 w 94"/>
                  <a:gd name="T1" fmla="*/ 8 h 60"/>
                  <a:gd name="T2" fmla="*/ 30 w 94"/>
                  <a:gd name="T3" fmla="*/ 3 h 60"/>
                  <a:gd name="T4" fmla="*/ 7 w 94"/>
                  <a:gd name="T5" fmla="*/ 13 h 60"/>
                  <a:gd name="T6" fmla="*/ 7 w 94"/>
                  <a:gd name="T7" fmla="*/ 36 h 60"/>
                  <a:gd name="T8" fmla="*/ 21 w 94"/>
                  <a:gd name="T9" fmla="*/ 40 h 60"/>
                  <a:gd name="T10" fmla="*/ 57 w 94"/>
                  <a:gd name="T11" fmla="*/ 45 h 60"/>
                  <a:gd name="T12" fmla="*/ 73 w 94"/>
                  <a:gd name="T13" fmla="*/ 58 h 60"/>
                  <a:gd name="T14" fmla="*/ 90 w 94"/>
                  <a:gd name="T15" fmla="*/ 50 h 60"/>
                  <a:gd name="T16" fmla="*/ 92 w 94"/>
                  <a:gd name="T17" fmla="*/ 30 h 60"/>
                  <a:gd name="T18" fmla="*/ 76 w 94"/>
                  <a:gd name="T19"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60">
                    <a:moveTo>
                      <a:pt x="76" y="8"/>
                    </a:moveTo>
                    <a:cubicBezTo>
                      <a:pt x="62" y="1"/>
                      <a:pt x="46" y="0"/>
                      <a:pt x="30" y="3"/>
                    </a:cubicBezTo>
                    <a:cubicBezTo>
                      <a:pt x="21" y="4"/>
                      <a:pt x="13" y="7"/>
                      <a:pt x="7" y="13"/>
                    </a:cubicBezTo>
                    <a:cubicBezTo>
                      <a:pt x="1" y="19"/>
                      <a:pt x="0" y="31"/>
                      <a:pt x="7" y="36"/>
                    </a:cubicBezTo>
                    <a:cubicBezTo>
                      <a:pt x="11" y="39"/>
                      <a:pt x="16" y="40"/>
                      <a:pt x="21" y="40"/>
                    </a:cubicBezTo>
                    <a:cubicBezTo>
                      <a:pt x="33" y="40"/>
                      <a:pt x="47" y="37"/>
                      <a:pt x="57" y="45"/>
                    </a:cubicBezTo>
                    <a:cubicBezTo>
                      <a:pt x="63" y="49"/>
                      <a:pt x="66" y="56"/>
                      <a:pt x="73" y="58"/>
                    </a:cubicBezTo>
                    <a:cubicBezTo>
                      <a:pt x="79" y="60"/>
                      <a:pt x="87" y="56"/>
                      <a:pt x="90" y="50"/>
                    </a:cubicBezTo>
                    <a:cubicBezTo>
                      <a:pt x="94" y="44"/>
                      <a:pt x="94" y="37"/>
                      <a:pt x="92" y="30"/>
                    </a:cubicBezTo>
                    <a:cubicBezTo>
                      <a:pt x="92" y="30"/>
                      <a:pt x="91" y="16"/>
                      <a:pt x="76"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4">
                <a:extLst>
                  <a:ext uri="{FF2B5EF4-FFF2-40B4-BE49-F238E27FC236}">
                    <a16:creationId xmlns:a16="http://schemas.microsoft.com/office/drawing/2014/main" id="{CB190577-5053-45E6-B19B-4ECEC88DD03D}"/>
                  </a:ext>
                </a:extLst>
              </p:cNvPr>
              <p:cNvSpPr>
                <a:spLocks/>
              </p:cNvSpPr>
              <p:nvPr/>
            </p:nvSpPr>
            <p:spPr bwMode="auto">
              <a:xfrm>
                <a:off x="3780" y="3125"/>
                <a:ext cx="163" cy="338"/>
              </a:xfrm>
              <a:custGeom>
                <a:avLst/>
                <a:gdLst>
                  <a:gd name="T0" fmla="*/ 61 w 69"/>
                  <a:gd name="T1" fmla="*/ 130 h 142"/>
                  <a:gd name="T2" fmla="*/ 28 w 69"/>
                  <a:gd name="T3" fmla="*/ 131 h 142"/>
                  <a:gd name="T4" fmla="*/ 13 w 69"/>
                  <a:gd name="T5" fmla="*/ 102 h 142"/>
                  <a:gd name="T6" fmla="*/ 5 w 69"/>
                  <a:gd name="T7" fmla="*/ 29 h 142"/>
                  <a:gd name="T8" fmla="*/ 14 w 69"/>
                  <a:gd name="T9" fmla="*/ 9 h 142"/>
                  <a:gd name="T10" fmla="*/ 34 w 69"/>
                  <a:gd name="T11" fmla="*/ 2 h 142"/>
                  <a:gd name="T12" fmla="*/ 52 w 69"/>
                  <a:gd name="T13" fmla="*/ 21 h 142"/>
                  <a:gd name="T14" fmla="*/ 69 w 69"/>
                  <a:gd name="T15" fmla="*/ 95 h 142"/>
                  <a:gd name="T16" fmla="*/ 61 w 69"/>
                  <a:gd name="T17" fmla="*/ 1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42">
                    <a:moveTo>
                      <a:pt x="61" y="130"/>
                    </a:moveTo>
                    <a:cubicBezTo>
                      <a:pt x="52" y="142"/>
                      <a:pt x="35" y="138"/>
                      <a:pt x="28" y="131"/>
                    </a:cubicBezTo>
                    <a:cubicBezTo>
                      <a:pt x="20" y="123"/>
                      <a:pt x="16" y="112"/>
                      <a:pt x="13" y="102"/>
                    </a:cubicBezTo>
                    <a:cubicBezTo>
                      <a:pt x="7" y="78"/>
                      <a:pt x="0" y="53"/>
                      <a:pt x="5" y="29"/>
                    </a:cubicBezTo>
                    <a:cubicBezTo>
                      <a:pt x="6" y="22"/>
                      <a:pt x="9" y="14"/>
                      <a:pt x="14" y="9"/>
                    </a:cubicBezTo>
                    <a:cubicBezTo>
                      <a:pt x="19" y="4"/>
                      <a:pt x="27" y="0"/>
                      <a:pt x="34" y="2"/>
                    </a:cubicBezTo>
                    <a:cubicBezTo>
                      <a:pt x="43" y="5"/>
                      <a:pt x="48" y="13"/>
                      <a:pt x="52" y="21"/>
                    </a:cubicBezTo>
                    <a:cubicBezTo>
                      <a:pt x="63" y="44"/>
                      <a:pt x="69" y="70"/>
                      <a:pt x="69" y="95"/>
                    </a:cubicBezTo>
                    <a:cubicBezTo>
                      <a:pt x="69" y="107"/>
                      <a:pt x="68" y="120"/>
                      <a:pt x="61" y="13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5">
                <a:extLst>
                  <a:ext uri="{FF2B5EF4-FFF2-40B4-BE49-F238E27FC236}">
                    <a16:creationId xmlns:a16="http://schemas.microsoft.com/office/drawing/2014/main" id="{42BF7428-232E-41D9-8347-19B2CE2F9312}"/>
                  </a:ext>
                </a:extLst>
              </p:cNvPr>
              <p:cNvSpPr>
                <a:spLocks/>
              </p:cNvSpPr>
              <p:nvPr/>
            </p:nvSpPr>
            <p:spPr bwMode="auto">
              <a:xfrm>
                <a:off x="3787" y="3130"/>
                <a:ext cx="156" cy="323"/>
              </a:xfrm>
              <a:custGeom>
                <a:avLst/>
                <a:gdLst>
                  <a:gd name="T0" fmla="*/ 27 w 66"/>
                  <a:gd name="T1" fmla="*/ 0 h 136"/>
                  <a:gd name="T2" fmla="*/ 11 w 66"/>
                  <a:gd name="T3" fmla="*/ 7 h 136"/>
                  <a:gd name="T4" fmla="*/ 2 w 66"/>
                  <a:gd name="T5" fmla="*/ 27 h 136"/>
                  <a:gd name="T6" fmla="*/ 0 w 66"/>
                  <a:gd name="T7" fmla="*/ 45 h 136"/>
                  <a:gd name="T8" fmla="*/ 10 w 66"/>
                  <a:gd name="T9" fmla="*/ 100 h 136"/>
                  <a:gd name="T10" fmla="*/ 25 w 66"/>
                  <a:gd name="T11" fmla="*/ 129 h 136"/>
                  <a:gd name="T12" fmla="*/ 42 w 66"/>
                  <a:gd name="T13" fmla="*/ 136 h 136"/>
                  <a:gd name="T14" fmla="*/ 58 w 66"/>
                  <a:gd name="T15" fmla="*/ 128 h 136"/>
                  <a:gd name="T16" fmla="*/ 66 w 66"/>
                  <a:gd name="T17" fmla="*/ 94 h 136"/>
                  <a:gd name="T18" fmla="*/ 66 w 66"/>
                  <a:gd name="T19" fmla="*/ 93 h 136"/>
                  <a:gd name="T20" fmla="*/ 49 w 66"/>
                  <a:gd name="T21" fmla="*/ 19 h 136"/>
                  <a:gd name="T22" fmla="*/ 31 w 66"/>
                  <a:gd name="T23" fmla="*/ 0 h 136"/>
                  <a:gd name="T24" fmla="*/ 27 w 66"/>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36">
                    <a:moveTo>
                      <a:pt x="27" y="0"/>
                    </a:moveTo>
                    <a:cubicBezTo>
                      <a:pt x="21" y="0"/>
                      <a:pt x="15" y="3"/>
                      <a:pt x="11" y="7"/>
                    </a:cubicBezTo>
                    <a:cubicBezTo>
                      <a:pt x="6" y="12"/>
                      <a:pt x="3" y="20"/>
                      <a:pt x="2" y="27"/>
                    </a:cubicBezTo>
                    <a:cubicBezTo>
                      <a:pt x="1" y="33"/>
                      <a:pt x="0" y="39"/>
                      <a:pt x="0" y="45"/>
                    </a:cubicBezTo>
                    <a:cubicBezTo>
                      <a:pt x="0" y="63"/>
                      <a:pt x="5" y="82"/>
                      <a:pt x="10" y="100"/>
                    </a:cubicBezTo>
                    <a:cubicBezTo>
                      <a:pt x="13" y="110"/>
                      <a:pt x="17" y="121"/>
                      <a:pt x="25" y="129"/>
                    </a:cubicBezTo>
                    <a:cubicBezTo>
                      <a:pt x="29" y="133"/>
                      <a:pt x="36" y="136"/>
                      <a:pt x="42" y="136"/>
                    </a:cubicBezTo>
                    <a:cubicBezTo>
                      <a:pt x="48" y="136"/>
                      <a:pt x="54" y="134"/>
                      <a:pt x="58" y="128"/>
                    </a:cubicBezTo>
                    <a:cubicBezTo>
                      <a:pt x="64" y="118"/>
                      <a:pt x="66" y="106"/>
                      <a:pt x="66" y="94"/>
                    </a:cubicBezTo>
                    <a:cubicBezTo>
                      <a:pt x="66" y="94"/>
                      <a:pt x="66" y="94"/>
                      <a:pt x="66" y="93"/>
                    </a:cubicBezTo>
                    <a:cubicBezTo>
                      <a:pt x="66" y="68"/>
                      <a:pt x="60" y="42"/>
                      <a:pt x="49" y="19"/>
                    </a:cubicBezTo>
                    <a:cubicBezTo>
                      <a:pt x="45" y="11"/>
                      <a:pt x="40" y="3"/>
                      <a:pt x="31" y="0"/>
                    </a:cubicBezTo>
                    <a:cubicBezTo>
                      <a:pt x="30" y="0"/>
                      <a:pt x="28" y="0"/>
                      <a:pt x="2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6">
                <a:extLst>
                  <a:ext uri="{FF2B5EF4-FFF2-40B4-BE49-F238E27FC236}">
                    <a16:creationId xmlns:a16="http://schemas.microsoft.com/office/drawing/2014/main" id="{866AB400-1402-4662-8173-77A81CE2E750}"/>
                  </a:ext>
                </a:extLst>
              </p:cNvPr>
              <p:cNvSpPr>
                <a:spLocks/>
              </p:cNvSpPr>
              <p:nvPr/>
            </p:nvSpPr>
            <p:spPr bwMode="auto">
              <a:xfrm>
                <a:off x="3953" y="3223"/>
                <a:ext cx="270" cy="273"/>
              </a:xfrm>
              <a:custGeom>
                <a:avLst/>
                <a:gdLst>
                  <a:gd name="T0" fmla="*/ 11 w 114"/>
                  <a:gd name="T1" fmla="*/ 107 h 115"/>
                  <a:gd name="T2" fmla="*/ 5 w 114"/>
                  <a:gd name="T3" fmla="*/ 65 h 115"/>
                  <a:gd name="T4" fmla="*/ 29 w 114"/>
                  <a:gd name="T5" fmla="*/ 30 h 115"/>
                  <a:gd name="T6" fmla="*/ 73 w 114"/>
                  <a:gd name="T7" fmla="*/ 4 h 115"/>
                  <a:gd name="T8" fmla="*/ 93 w 114"/>
                  <a:gd name="T9" fmla="*/ 1 h 115"/>
                  <a:gd name="T10" fmla="*/ 109 w 114"/>
                  <a:gd name="T11" fmla="*/ 11 h 115"/>
                  <a:gd name="T12" fmla="*/ 104 w 114"/>
                  <a:gd name="T13" fmla="*/ 39 h 115"/>
                  <a:gd name="T14" fmla="*/ 76 w 114"/>
                  <a:gd name="T15" fmla="*/ 83 h 115"/>
                  <a:gd name="T16" fmla="*/ 44 w 114"/>
                  <a:gd name="T17" fmla="*/ 110 h 115"/>
                  <a:gd name="T18" fmla="*/ 10 w 114"/>
                  <a:gd name="T19" fmla="*/ 10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5">
                    <a:moveTo>
                      <a:pt x="11" y="107"/>
                    </a:moveTo>
                    <a:cubicBezTo>
                      <a:pt x="2" y="96"/>
                      <a:pt x="0" y="79"/>
                      <a:pt x="5" y="65"/>
                    </a:cubicBezTo>
                    <a:cubicBezTo>
                      <a:pt x="9" y="51"/>
                      <a:pt x="18" y="39"/>
                      <a:pt x="29" y="30"/>
                    </a:cubicBezTo>
                    <a:cubicBezTo>
                      <a:pt x="42" y="18"/>
                      <a:pt x="57" y="10"/>
                      <a:pt x="73" y="4"/>
                    </a:cubicBezTo>
                    <a:cubicBezTo>
                      <a:pt x="79" y="2"/>
                      <a:pt x="86" y="0"/>
                      <a:pt x="93" y="1"/>
                    </a:cubicBezTo>
                    <a:cubicBezTo>
                      <a:pt x="99" y="1"/>
                      <a:pt x="106" y="5"/>
                      <a:pt x="109" y="11"/>
                    </a:cubicBezTo>
                    <a:cubicBezTo>
                      <a:pt x="114" y="19"/>
                      <a:pt x="109" y="30"/>
                      <a:pt x="104" y="39"/>
                    </a:cubicBezTo>
                    <a:cubicBezTo>
                      <a:pt x="96" y="54"/>
                      <a:pt x="86" y="69"/>
                      <a:pt x="76" y="83"/>
                    </a:cubicBezTo>
                    <a:cubicBezTo>
                      <a:pt x="67" y="94"/>
                      <a:pt x="57" y="105"/>
                      <a:pt x="44" y="110"/>
                    </a:cubicBezTo>
                    <a:cubicBezTo>
                      <a:pt x="31" y="115"/>
                      <a:pt x="17" y="114"/>
                      <a:pt x="10" y="105"/>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7">
                <a:extLst>
                  <a:ext uri="{FF2B5EF4-FFF2-40B4-BE49-F238E27FC236}">
                    <a16:creationId xmlns:a16="http://schemas.microsoft.com/office/drawing/2014/main" id="{BF0E8AD2-9D9B-433F-B90E-20E600169040}"/>
                  </a:ext>
                </a:extLst>
              </p:cNvPr>
              <p:cNvSpPr>
                <a:spLocks/>
              </p:cNvSpPr>
              <p:nvPr/>
            </p:nvSpPr>
            <p:spPr bwMode="auto">
              <a:xfrm>
                <a:off x="3772" y="3608"/>
                <a:ext cx="155" cy="268"/>
              </a:xfrm>
              <a:custGeom>
                <a:avLst/>
                <a:gdLst>
                  <a:gd name="T0" fmla="*/ 64 w 65"/>
                  <a:gd name="T1" fmla="*/ 113 h 113"/>
                  <a:gd name="T2" fmla="*/ 64 w 65"/>
                  <a:gd name="T3" fmla="*/ 108 h 113"/>
                  <a:gd name="T4" fmla="*/ 62 w 65"/>
                  <a:gd name="T5" fmla="*/ 92 h 113"/>
                  <a:gd name="T6" fmla="*/ 59 w 65"/>
                  <a:gd name="T7" fmla="*/ 70 h 113"/>
                  <a:gd name="T8" fmla="*/ 50 w 65"/>
                  <a:gd name="T9" fmla="*/ 43 h 113"/>
                  <a:gd name="T10" fmla="*/ 37 w 65"/>
                  <a:gd name="T11" fmla="*/ 19 h 113"/>
                  <a:gd name="T12" fmla="*/ 20 w 65"/>
                  <a:gd name="T13" fmla="*/ 5 h 113"/>
                  <a:gd name="T14" fmla="*/ 5 w 65"/>
                  <a:gd name="T15" fmla="*/ 1 h 113"/>
                  <a:gd name="T16" fmla="*/ 0 w 65"/>
                  <a:gd name="T17" fmla="*/ 0 h 113"/>
                  <a:gd name="T18" fmla="*/ 6 w 65"/>
                  <a:gd name="T19" fmla="*/ 0 h 113"/>
                  <a:gd name="T20" fmla="*/ 21 w 65"/>
                  <a:gd name="T21" fmla="*/ 4 h 113"/>
                  <a:gd name="T22" fmla="*/ 39 w 65"/>
                  <a:gd name="T23" fmla="*/ 18 h 113"/>
                  <a:gd name="T24" fmla="*/ 53 w 65"/>
                  <a:gd name="T25" fmla="*/ 42 h 113"/>
                  <a:gd name="T26" fmla="*/ 61 w 65"/>
                  <a:gd name="T27" fmla="*/ 69 h 113"/>
                  <a:gd name="T28" fmla="*/ 64 w 65"/>
                  <a:gd name="T29" fmla="*/ 92 h 113"/>
                  <a:gd name="T30" fmla="*/ 64 w 65"/>
                  <a:gd name="T31" fmla="*/ 107 h 113"/>
                  <a:gd name="T32" fmla="*/ 64 w 65"/>
                  <a:gd name="T33"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113">
                    <a:moveTo>
                      <a:pt x="64" y="113"/>
                    </a:moveTo>
                    <a:cubicBezTo>
                      <a:pt x="64" y="113"/>
                      <a:pt x="64" y="111"/>
                      <a:pt x="64" y="108"/>
                    </a:cubicBezTo>
                    <a:cubicBezTo>
                      <a:pt x="63" y="103"/>
                      <a:pt x="63" y="98"/>
                      <a:pt x="62" y="92"/>
                    </a:cubicBezTo>
                    <a:cubicBezTo>
                      <a:pt x="61" y="86"/>
                      <a:pt x="60" y="78"/>
                      <a:pt x="59" y="70"/>
                    </a:cubicBezTo>
                    <a:cubicBezTo>
                      <a:pt x="57" y="61"/>
                      <a:pt x="54" y="52"/>
                      <a:pt x="50" y="43"/>
                    </a:cubicBezTo>
                    <a:cubicBezTo>
                      <a:pt x="47" y="34"/>
                      <a:pt x="42" y="26"/>
                      <a:pt x="37" y="19"/>
                    </a:cubicBezTo>
                    <a:cubicBezTo>
                      <a:pt x="32" y="13"/>
                      <a:pt x="26" y="8"/>
                      <a:pt x="20" y="5"/>
                    </a:cubicBezTo>
                    <a:cubicBezTo>
                      <a:pt x="14" y="2"/>
                      <a:pt x="9" y="1"/>
                      <a:pt x="5" y="1"/>
                    </a:cubicBezTo>
                    <a:cubicBezTo>
                      <a:pt x="2" y="0"/>
                      <a:pt x="0" y="0"/>
                      <a:pt x="0" y="0"/>
                    </a:cubicBezTo>
                    <a:cubicBezTo>
                      <a:pt x="0" y="0"/>
                      <a:pt x="2" y="0"/>
                      <a:pt x="6" y="0"/>
                    </a:cubicBezTo>
                    <a:cubicBezTo>
                      <a:pt x="9" y="0"/>
                      <a:pt x="15" y="1"/>
                      <a:pt x="21" y="4"/>
                    </a:cubicBezTo>
                    <a:cubicBezTo>
                      <a:pt x="27" y="6"/>
                      <a:pt x="33" y="11"/>
                      <a:pt x="39" y="18"/>
                    </a:cubicBezTo>
                    <a:cubicBezTo>
                      <a:pt x="44" y="25"/>
                      <a:pt x="49" y="33"/>
                      <a:pt x="53" y="42"/>
                    </a:cubicBezTo>
                    <a:cubicBezTo>
                      <a:pt x="56" y="52"/>
                      <a:pt x="59" y="61"/>
                      <a:pt x="61" y="69"/>
                    </a:cubicBezTo>
                    <a:cubicBezTo>
                      <a:pt x="62" y="78"/>
                      <a:pt x="63" y="86"/>
                      <a:pt x="64" y="92"/>
                    </a:cubicBezTo>
                    <a:cubicBezTo>
                      <a:pt x="64" y="99"/>
                      <a:pt x="64" y="104"/>
                      <a:pt x="64" y="107"/>
                    </a:cubicBezTo>
                    <a:cubicBezTo>
                      <a:pt x="65" y="111"/>
                      <a:pt x="64" y="113"/>
                      <a:pt x="64" y="11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8">
                <a:extLst>
                  <a:ext uri="{FF2B5EF4-FFF2-40B4-BE49-F238E27FC236}">
                    <a16:creationId xmlns:a16="http://schemas.microsoft.com/office/drawing/2014/main" id="{2069D65F-7E15-433D-94A5-C8438957DC88}"/>
                  </a:ext>
                </a:extLst>
              </p:cNvPr>
              <p:cNvSpPr>
                <a:spLocks/>
              </p:cNvSpPr>
              <p:nvPr/>
            </p:nvSpPr>
            <p:spPr bwMode="auto">
              <a:xfrm>
                <a:off x="3856" y="3247"/>
                <a:ext cx="71" cy="600"/>
              </a:xfrm>
              <a:custGeom>
                <a:avLst/>
                <a:gdLst>
                  <a:gd name="T0" fmla="*/ 28 w 30"/>
                  <a:gd name="T1" fmla="*/ 253 h 253"/>
                  <a:gd name="T2" fmla="*/ 28 w 30"/>
                  <a:gd name="T3" fmla="*/ 251 h 253"/>
                  <a:gd name="T4" fmla="*/ 28 w 30"/>
                  <a:gd name="T5" fmla="*/ 243 h 253"/>
                  <a:gd name="T6" fmla="*/ 28 w 30"/>
                  <a:gd name="T7" fmla="*/ 216 h 253"/>
                  <a:gd name="T8" fmla="*/ 21 w 30"/>
                  <a:gd name="T9" fmla="*/ 126 h 253"/>
                  <a:gd name="T10" fmla="*/ 8 w 30"/>
                  <a:gd name="T11" fmla="*/ 37 h 253"/>
                  <a:gd name="T12" fmla="*/ 4 w 30"/>
                  <a:gd name="T13" fmla="*/ 22 h 253"/>
                  <a:gd name="T14" fmla="*/ 2 w 30"/>
                  <a:gd name="T15" fmla="*/ 10 h 253"/>
                  <a:gd name="T16" fmla="*/ 0 w 30"/>
                  <a:gd name="T17" fmla="*/ 3 h 253"/>
                  <a:gd name="T18" fmla="*/ 0 w 30"/>
                  <a:gd name="T19" fmla="*/ 0 h 253"/>
                  <a:gd name="T20" fmla="*/ 1 w 30"/>
                  <a:gd name="T21" fmla="*/ 3 h 253"/>
                  <a:gd name="T22" fmla="*/ 3 w 30"/>
                  <a:gd name="T23" fmla="*/ 10 h 253"/>
                  <a:gd name="T24" fmla="*/ 6 w 30"/>
                  <a:gd name="T25" fmla="*/ 21 h 253"/>
                  <a:gd name="T26" fmla="*/ 9 w 30"/>
                  <a:gd name="T27" fmla="*/ 36 h 253"/>
                  <a:gd name="T28" fmla="*/ 24 w 30"/>
                  <a:gd name="T29" fmla="*/ 126 h 253"/>
                  <a:gd name="T30" fmla="*/ 29 w 30"/>
                  <a:gd name="T31" fmla="*/ 216 h 253"/>
                  <a:gd name="T32" fmla="*/ 29 w 30"/>
                  <a:gd name="T33" fmla="*/ 243 h 253"/>
                  <a:gd name="T34" fmla="*/ 29 w 30"/>
                  <a:gd name="T35" fmla="*/ 251 h 253"/>
                  <a:gd name="T36" fmla="*/ 28 w 30"/>
                  <a:gd name="T3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253">
                    <a:moveTo>
                      <a:pt x="28" y="253"/>
                    </a:moveTo>
                    <a:cubicBezTo>
                      <a:pt x="28" y="253"/>
                      <a:pt x="28" y="252"/>
                      <a:pt x="28" y="251"/>
                    </a:cubicBezTo>
                    <a:cubicBezTo>
                      <a:pt x="28" y="249"/>
                      <a:pt x="28" y="246"/>
                      <a:pt x="28" y="243"/>
                    </a:cubicBezTo>
                    <a:cubicBezTo>
                      <a:pt x="28" y="237"/>
                      <a:pt x="28" y="228"/>
                      <a:pt x="28" y="216"/>
                    </a:cubicBezTo>
                    <a:cubicBezTo>
                      <a:pt x="27" y="193"/>
                      <a:pt x="25" y="161"/>
                      <a:pt x="21" y="126"/>
                    </a:cubicBezTo>
                    <a:cubicBezTo>
                      <a:pt x="18" y="91"/>
                      <a:pt x="12" y="59"/>
                      <a:pt x="8" y="37"/>
                    </a:cubicBezTo>
                    <a:cubicBezTo>
                      <a:pt x="7" y="31"/>
                      <a:pt x="6" y="26"/>
                      <a:pt x="4" y="22"/>
                    </a:cubicBezTo>
                    <a:cubicBezTo>
                      <a:pt x="3" y="17"/>
                      <a:pt x="3" y="13"/>
                      <a:pt x="2" y="10"/>
                    </a:cubicBezTo>
                    <a:cubicBezTo>
                      <a:pt x="1" y="7"/>
                      <a:pt x="1" y="5"/>
                      <a:pt x="0" y="3"/>
                    </a:cubicBezTo>
                    <a:cubicBezTo>
                      <a:pt x="0" y="1"/>
                      <a:pt x="0" y="0"/>
                      <a:pt x="0" y="0"/>
                    </a:cubicBezTo>
                    <a:cubicBezTo>
                      <a:pt x="0" y="0"/>
                      <a:pt x="0" y="1"/>
                      <a:pt x="1" y="3"/>
                    </a:cubicBezTo>
                    <a:cubicBezTo>
                      <a:pt x="1" y="5"/>
                      <a:pt x="2" y="7"/>
                      <a:pt x="3" y="10"/>
                    </a:cubicBezTo>
                    <a:cubicBezTo>
                      <a:pt x="4" y="13"/>
                      <a:pt x="5" y="17"/>
                      <a:pt x="6" y="21"/>
                    </a:cubicBezTo>
                    <a:cubicBezTo>
                      <a:pt x="7" y="26"/>
                      <a:pt x="8" y="31"/>
                      <a:pt x="9" y="36"/>
                    </a:cubicBezTo>
                    <a:cubicBezTo>
                      <a:pt x="14" y="59"/>
                      <a:pt x="20" y="91"/>
                      <a:pt x="24" y="126"/>
                    </a:cubicBezTo>
                    <a:cubicBezTo>
                      <a:pt x="28" y="161"/>
                      <a:pt x="29" y="193"/>
                      <a:pt x="29" y="216"/>
                    </a:cubicBezTo>
                    <a:cubicBezTo>
                      <a:pt x="30" y="228"/>
                      <a:pt x="29" y="237"/>
                      <a:pt x="29" y="243"/>
                    </a:cubicBezTo>
                    <a:cubicBezTo>
                      <a:pt x="29" y="246"/>
                      <a:pt x="29" y="249"/>
                      <a:pt x="29" y="251"/>
                    </a:cubicBezTo>
                    <a:cubicBezTo>
                      <a:pt x="28" y="252"/>
                      <a:pt x="28" y="253"/>
                      <a:pt x="28" y="25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
                <a:extLst>
                  <a:ext uri="{FF2B5EF4-FFF2-40B4-BE49-F238E27FC236}">
                    <a16:creationId xmlns:a16="http://schemas.microsoft.com/office/drawing/2014/main" id="{C805E856-F90A-4EEB-88FA-E9C3BB64B0CA}"/>
                  </a:ext>
                </a:extLst>
              </p:cNvPr>
              <p:cNvSpPr>
                <a:spLocks/>
              </p:cNvSpPr>
              <p:nvPr/>
            </p:nvSpPr>
            <p:spPr bwMode="auto">
              <a:xfrm>
                <a:off x="3922" y="3292"/>
                <a:ext cx="197" cy="411"/>
              </a:xfrm>
              <a:custGeom>
                <a:avLst/>
                <a:gdLst>
                  <a:gd name="T0" fmla="*/ 0 w 83"/>
                  <a:gd name="T1" fmla="*/ 173 h 173"/>
                  <a:gd name="T2" fmla="*/ 0 w 83"/>
                  <a:gd name="T3" fmla="*/ 165 h 173"/>
                  <a:gd name="T4" fmla="*/ 3 w 83"/>
                  <a:gd name="T5" fmla="*/ 144 h 173"/>
                  <a:gd name="T6" fmla="*/ 9 w 83"/>
                  <a:gd name="T7" fmla="*/ 113 h 173"/>
                  <a:gd name="T8" fmla="*/ 22 w 83"/>
                  <a:gd name="T9" fmla="*/ 77 h 173"/>
                  <a:gd name="T10" fmla="*/ 60 w 83"/>
                  <a:gd name="T11" fmla="*/ 18 h 173"/>
                  <a:gd name="T12" fmla="*/ 69 w 83"/>
                  <a:gd name="T13" fmla="*/ 10 h 173"/>
                  <a:gd name="T14" fmla="*/ 73 w 83"/>
                  <a:gd name="T15" fmla="*/ 7 h 173"/>
                  <a:gd name="T16" fmla="*/ 76 w 83"/>
                  <a:gd name="T17" fmla="*/ 4 h 173"/>
                  <a:gd name="T18" fmla="*/ 83 w 83"/>
                  <a:gd name="T19" fmla="*/ 0 h 173"/>
                  <a:gd name="T20" fmla="*/ 61 w 83"/>
                  <a:gd name="T21" fmla="*/ 19 h 173"/>
                  <a:gd name="T22" fmla="*/ 24 w 83"/>
                  <a:gd name="T23" fmla="*/ 78 h 173"/>
                  <a:gd name="T24" fmla="*/ 11 w 83"/>
                  <a:gd name="T25" fmla="*/ 114 h 173"/>
                  <a:gd name="T26" fmla="*/ 4 w 83"/>
                  <a:gd name="T27" fmla="*/ 144 h 173"/>
                  <a:gd name="T28" fmla="*/ 1 w 83"/>
                  <a:gd name="T29" fmla="*/ 165 h 173"/>
                  <a:gd name="T30" fmla="*/ 0 w 83"/>
                  <a:gd name="T31"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173">
                    <a:moveTo>
                      <a:pt x="0" y="173"/>
                    </a:moveTo>
                    <a:cubicBezTo>
                      <a:pt x="0" y="173"/>
                      <a:pt x="0" y="170"/>
                      <a:pt x="0" y="165"/>
                    </a:cubicBezTo>
                    <a:cubicBezTo>
                      <a:pt x="0" y="160"/>
                      <a:pt x="1" y="153"/>
                      <a:pt x="3" y="144"/>
                    </a:cubicBezTo>
                    <a:cubicBezTo>
                      <a:pt x="4" y="135"/>
                      <a:pt x="6" y="125"/>
                      <a:pt x="9" y="113"/>
                    </a:cubicBezTo>
                    <a:cubicBezTo>
                      <a:pt x="13" y="102"/>
                      <a:pt x="17" y="89"/>
                      <a:pt x="22" y="77"/>
                    </a:cubicBezTo>
                    <a:cubicBezTo>
                      <a:pt x="33" y="52"/>
                      <a:pt x="47" y="31"/>
                      <a:pt x="60" y="18"/>
                    </a:cubicBezTo>
                    <a:cubicBezTo>
                      <a:pt x="63" y="15"/>
                      <a:pt x="66" y="12"/>
                      <a:pt x="69" y="10"/>
                    </a:cubicBezTo>
                    <a:cubicBezTo>
                      <a:pt x="70" y="9"/>
                      <a:pt x="71" y="8"/>
                      <a:pt x="73" y="7"/>
                    </a:cubicBezTo>
                    <a:cubicBezTo>
                      <a:pt x="74" y="6"/>
                      <a:pt x="75" y="5"/>
                      <a:pt x="76" y="4"/>
                    </a:cubicBezTo>
                    <a:cubicBezTo>
                      <a:pt x="80" y="2"/>
                      <a:pt x="82" y="0"/>
                      <a:pt x="83" y="0"/>
                    </a:cubicBezTo>
                    <a:cubicBezTo>
                      <a:pt x="83" y="1"/>
                      <a:pt x="73" y="6"/>
                      <a:pt x="61" y="19"/>
                    </a:cubicBezTo>
                    <a:cubicBezTo>
                      <a:pt x="49" y="32"/>
                      <a:pt x="35" y="53"/>
                      <a:pt x="24" y="78"/>
                    </a:cubicBezTo>
                    <a:cubicBezTo>
                      <a:pt x="19" y="90"/>
                      <a:pt x="15" y="102"/>
                      <a:pt x="11" y="114"/>
                    </a:cubicBezTo>
                    <a:cubicBezTo>
                      <a:pt x="8" y="125"/>
                      <a:pt x="6" y="135"/>
                      <a:pt x="4" y="144"/>
                    </a:cubicBezTo>
                    <a:cubicBezTo>
                      <a:pt x="3" y="153"/>
                      <a:pt x="2" y="160"/>
                      <a:pt x="1" y="165"/>
                    </a:cubicBezTo>
                    <a:cubicBezTo>
                      <a:pt x="1" y="170"/>
                      <a:pt x="0" y="173"/>
                      <a:pt x="0" y="17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Rectangle 20">
                <a:extLst>
                  <a:ext uri="{FF2B5EF4-FFF2-40B4-BE49-F238E27FC236}">
                    <a16:creationId xmlns:a16="http://schemas.microsoft.com/office/drawing/2014/main" id="{A2F17E1A-1BA8-468B-9E3F-A2CFA4D90A96}"/>
                  </a:ext>
                </a:extLst>
              </p:cNvPr>
              <p:cNvSpPr>
                <a:spLocks noChangeArrowheads="1"/>
              </p:cNvSpPr>
              <p:nvPr/>
            </p:nvSpPr>
            <p:spPr bwMode="auto">
              <a:xfrm>
                <a:off x="4674" y="613"/>
                <a:ext cx="2917" cy="22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Rectangle 21">
                <a:extLst>
                  <a:ext uri="{FF2B5EF4-FFF2-40B4-BE49-F238E27FC236}">
                    <a16:creationId xmlns:a16="http://schemas.microsoft.com/office/drawing/2014/main" id="{E724015A-8AA6-4C07-BB09-E9E0115890D3}"/>
                  </a:ext>
                </a:extLst>
              </p:cNvPr>
              <p:cNvSpPr>
                <a:spLocks noChangeArrowheads="1"/>
              </p:cNvSpPr>
              <p:nvPr/>
            </p:nvSpPr>
            <p:spPr bwMode="auto">
              <a:xfrm>
                <a:off x="4674" y="613"/>
                <a:ext cx="2917" cy="2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2">
                <a:extLst>
                  <a:ext uri="{FF2B5EF4-FFF2-40B4-BE49-F238E27FC236}">
                    <a16:creationId xmlns:a16="http://schemas.microsoft.com/office/drawing/2014/main" id="{44A73DE6-64FB-42D6-B033-72BDD375371D}"/>
                  </a:ext>
                </a:extLst>
              </p:cNvPr>
              <p:cNvSpPr>
                <a:spLocks/>
              </p:cNvSpPr>
              <p:nvPr/>
            </p:nvSpPr>
            <p:spPr bwMode="auto">
              <a:xfrm>
                <a:off x="4672" y="610"/>
                <a:ext cx="2922" cy="2276"/>
              </a:xfrm>
              <a:custGeom>
                <a:avLst/>
                <a:gdLst>
                  <a:gd name="T0" fmla="*/ 1230 w 1231"/>
                  <a:gd name="T1" fmla="*/ 957 h 958"/>
                  <a:gd name="T2" fmla="*/ 1229 w 1231"/>
                  <a:gd name="T3" fmla="*/ 1 h 958"/>
                  <a:gd name="T4" fmla="*/ 1230 w 1231"/>
                  <a:gd name="T5" fmla="*/ 2 h 958"/>
                  <a:gd name="T6" fmla="*/ 1 w 1231"/>
                  <a:gd name="T7" fmla="*/ 2 h 958"/>
                  <a:gd name="T8" fmla="*/ 1 w 1231"/>
                  <a:gd name="T9" fmla="*/ 2 h 958"/>
                  <a:gd name="T10" fmla="*/ 2 w 1231"/>
                  <a:gd name="T11" fmla="*/ 1 h 958"/>
                  <a:gd name="T12" fmla="*/ 1 w 1231"/>
                  <a:gd name="T13" fmla="*/ 957 h 958"/>
                  <a:gd name="T14" fmla="*/ 1 w 1231"/>
                  <a:gd name="T15" fmla="*/ 956 h 958"/>
                  <a:gd name="T16" fmla="*/ 1230 w 1231"/>
                  <a:gd name="T17" fmla="*/ 957 h 958"/>
                  <a:gd name="T18" fmla="*/ 1 w 1231"/>
                  <a:gd name="T19" fmla="*/ 958 h 958"/>
                  <a:gd name="T20" fmla="*/ 0 w 1231"/>
                  <a:gd name="T21" fmla="*/ 958 h 958"/>
                  <a:gd name="T22" fmla="*/ 0 w 1231"/>
                  <a:gd name="T23" fmla="*/ 957 h 958"/>
                  <a:gd name="T24" fmla="*/ 0 w 1231"/>
                  <a:gd name="T25" fmla="*/ 1 h 958"/>
                  <a:gd name="T26" fmla="*/ 0 w 1231"/>
                  <a:gd name="T27" fmla="*/ 0 h 958"/>
                  <a:gd name="T28" fmla="*/ 1 w 1231"/>
                  <a:gd name="T29" fmla="*/ 0 h 958"/>
                  <a:gd name="T30" fmla="*/ 1 w 1231"/>
                  <a:gd name="T31" fmla="*/ 0 h 958"/>
                  <a:gd name="T32" fmla="*/ 1230 w 1231"/>
                  <a:gd name="T33" fmla="*/ 0 h 958"/>
                  <a:gd name="T34" fmla="*/ 1231 w 1231"/>
                  <a:gd name="T35" fmla="*/ 0 h 958"/>
                  <a:gd name="T36" fmla="*/ 1231 w 1231"/>
                  <a:gd name="T37" fmla="*/ 1 h 958"/>
                  <a:gd name="T38" fmla="*/ 1230 w 1231"/>
                  <a:gd name="T39" fmla="*/ 957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1" h="958">
                    <a:moveTo>
                      <a:pt x="1230" y="957"/>
                    </a:moveTo>
                    <a:cubicBezTo>
                      <a:pt x="1230" y="950"/>
                      <a:pt x="1230" y="578"/>
                      <a:pt x="1229" y="1"/>
                    </a:cubicBezTo>
                    <a:cubicBezTo>
                      <a:pt x="1230" y="2"/>
                      <a:pt x="1230" y="2"/>
                      <a:pt x="1230" y="2"/>
                    </a:cubicBezTo>
                    <a:cubicBezTo>
                      <a:pt x="880" y="2"/>
                      <a:pt x="457" y="2"/>
                      <a:pt x="1" y="2"/>
                    </a:cubicBezTo>
                    <a:cubicBezTo>
                      <a:pt x="1" y="2"/>
                      <a:pt x="1" y="2"/>
                      <a:pt x="1" y="2"/>
                    </a:cubicBezTo>
                    <a:cubicBezTo>
                      <a:pt x="2" y="1"/>
                      <a:pt x="2" y="1"/>
                      <a:pt x="2" y="1"/>
                    </a:cubicBezTo>
                    <a:cubicBezTo>
                      <a:pt x="2" y="345"/>
                      <a:pt x="2" y="672"/>
                      <a:pt x="1" y="957"/>
                    </a:cubicBezTo>
                    <a:cubicBezTo>
                      <a:pt x="1" y="956"/>
                      <a:pt x="1" y="956"/>
                      <a:pt x="1" y="956"/>
                    </a:cubicBezTo>
                    <a:cubicBezTo>
                      <a:pt x="730" y="957"/>
                      <a:pt x="1222" y="957"/>
                      <a:pt x="1230" y="957"/>
                    </a:cubicBezTo>
                    <a:cubicBezTo>
                      <a:pt x="1222" y="957"/>
                      <a:pt x="730" y="958"/>
                      <a:pt x="1" y="958"/>
                    </a:cubicBezTo>
                    <a:cubicBezTo>
                      <a:pt x="0" y="958"/>
                      <a:pt x="0" y="958"/>
                      <a:pt x="0" y="958"/>
                    </a:cubicBezTo>
                    <a:cubicBezTo>
                      <a:pt x="0" y="957"/>
                      <a:pt x="0" y="957"/>
                      <a:pt x="0" y="957"/>
                    </a:cubicBezTo>
                    <a:cubicBezTo>
                      <a:pt x="0" y="672"/>
                      <a:pt x="0" y="345"/>
                      <a:pt x="0" y="1"/>
                    </a:cubicBezTo>
                    <a:cubicBezTo>
                      <a:pt x="0" y="0"/>
                      <a:pt x="0" y="0"/>
                      <a:pt x="0" y="0"/>
                    </a:cubicBezTo>
                    <a:cubicBezTo>
                      <a:pt x="1" y="0"/>
                      <a:pt x="1" y="0"/>
                      <a:pt x="1" y="0"/>
                    </a:cubicBezTo>
                    <a:cubicBezTo>
                      <a:pt x="1" y="0"/>
                      <a:pt x="1" y="0"/>
                      <a:pt x="1" y="0"/>
                    </a:cubicBezTo>
                    <a:cubicBezTo>
                      <a:pt x="457" y="0"/>
                      <a:pt x="880" y="0"/>
                      <a:pt x="1230" y="0"/>
                    </a:cubicBezTo>
                    <a:cubicBezTo>
                      <a:pt x="1231" y="0"/>
                      <a:pt x="1231" y="0"/>
                      <a:pt x="1231" y="0"/>
                    </a:cubicBezTo>
                    <a:cubicBezTo>
                      <a:pt x="1231" y="1"/>
                      <a:pt x="1231" y="1"/>
                      <a:pt x="1231" y="1"/>
                    </a:cubicBezTo>
                    <a:cubicBezTo>
                      <a:pt x="1230" y="578"/>
                      <a:pt x="1230" y="950"/>
                      <a:pt x="1230" y="95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23">
                <a:extLst>
                  <a:ext uri="{FF2B5EF4-FFF2-40B4-BE49-F238E27FC236}">
                    <a16:creationId xmlns:a16="http://schemas.microsoft.com/office/drawing/2014/main" id="{7FEDB611-364E-4FE5-B9EF-19720F54156C}"/>
                  </a:ext>
                </a:extLst>
              </p:cNvPr>
              <p:cNvSpPr>
                <a:spLocks noChangeArrowheads="1"/>
              </p:cNvSpPr>
              <p:nvPr/>
            </p:nvSpPr>
            <p:spPr bwMode="auto">
              <a:xfrm>
                <a:off x="5474" y="1589"/>
                <a:ext cx="5" cy="110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24">
                <a:extLst>
                  <a:ext uri="{FF2B5EF4-FFF2-40B4-BE49-F238E27FC236}">
                    <a16:creationId xmlns:a16="http://schemas.microsoft.com/office/drawing/2014/main" id="{1460C608-A394-4ACE-9AF0-CF1868384DE9}"/>
                  </a:ext>
                </a:extLst>
              </p:cNvPr>
              <p:cNvSpPr>
                <a:spLocks noChangeArrowheads="1"/>
              </p:cNvSpPr>
              <p:nvPr/>
            </p:nvSpPr>
            <p:spPr bwMode="auto">
              <a:xfrm>
                <a:off x="6739" y="1589"/>
                <a:ext cx="5" cy="110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Oval 25">
                <a:extLst>
                  <a:ext uri="{FF2B5EF4-FFF2-40B4-BE49-F238E27FC236}">
                    <a16:creationId xmlns:a16="http://schemas.microsoft.com/office/drawing/2014/main" id="{200C6D48-C379-4097-85AB-FBC5F77C094B}"/>
                  </a:ext>
                </a:extLst>
              </p:cNvPr>
              <p:cNvSpPr>
                <a:spLocks noChangeArrowheads="1"/>
              </p:cNvSpPr>
              <p:nvPr/>
            </p:nvSpPr>
            <p:spPr bwMode="auto">
              <a:xfrm>
                <a:off x="5906" y="1282"/>
                <a:ext cx="5" cy="141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Oval 26">
                <a:extLst>
                  <a:ext uri="{FF2B5EF4-FFF2-40B4-BE49-F238E27FC236}">
                    <a16:creationId xmlns:a16="http://schemas.microsoft.com/office/drawing/2014/main" id="{C1134A31-5074-4BC4-B715-2CDDA5A6A9CF}"/>
                  </a:ext>
                </a:extLst>
              </p:cNvPr>
              <p:cNvSpPr>
                <a:spLocks noChangeArrowheads="1"/>
              </p:cNvSpPr>
              <p:nvPr/>
            </p:nvSpPr>
            <p:spPr bwMode="auto">
              <a:xfrm>
                <a:off x="5030" y="1282"/>
                <a:ext cx="5" cy="141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27">
                <a:extLst>
                  <a:ext uri="{FF2B5EF4-FFF2-40B4-BE49-F238E27FC236}">
                    <a16:creationId xmlns:a16="http://schemas.microsoft.com/office/drawing/2014/main" id="{0005D4BC-DB9F-40FF-AF00-54402E8E3A27}"/>
                  </a:ext>
                </a:extLst>
              </p:cNvPr>
              <p:cNvSpPr>
                <a:spLocks noChangeArrowheads="1"/>
              </p:cNvSpPr>
              <p:nvPr/>
            </p:nvSpPr>
            <p:spPr bwMode="auto">
              <a:xfrm>
                <a:off x="7238" y="1282"/>
                <a:ext cx="4" cy="141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28">
                <a:extLst>
                  <a:ext uri="{FF2B5EF4-FFF2-40B4-BE49-F238E27FC236}">
                    <a16:creationId xmlns:a16="http://schemas.microsoft.com/office/drawing/2014/main" id="{87F29DEE-6C66-417C-8ABA-FBB571BFBC59}"/>
                  </a:ext>
                </a:extLst>
              </p:cNvPr>
              <p:cNvSpPr>
                <a:spLocks noChangeArrowheads="1"/>
              </p:cNvSpPr>
              <p:nvPr/>
            </p:nvSpPr>
            <p:spPr bwMode="auto">
              <a:xfrm>
                <a:off x="6284" y="1064"/>
                <a:ext cx="7" cy="1629"/>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29">
                <a:extLst>
                  <a:ext uri="{FF2B5EF4-FFF2-40B4-BE49-F238E27FC236}">
                    <a16:creationId xmlns:a16="http://schemas.microsoft.com/office/drawing/2014/main" id="{1153CDCA-3B7C-47B3-8AEB-05C4B0692F02}"/>
                  </a:ext>
                </a:extLst>
              </p:cNvPr>
              <p:cNvSpPr>
                <a:spLocks noChangeArrowheads="1"/>
              </p:cNvSpPr>
              <p:nvPr/>
            </p:nvSpPr>
            <p:spPr bwMode="auto">
              <a:xfrm>
                <a:off x="5465" y="1579"/>
                <a:ext cx="21" cy="2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30">
                <a:extLst>
                  <a:ext uri="{FF2B5EF4-FFF2-40B4-BE49-F238E27FC236}">
                    <a16:creationId xmlns:a16="http://schemas.microsoft.com/office/drawing/2014/main" id="{85BDEE23-35CC-4649-A12B-C6FA609CD6F8}"/>
                  </a:ext>
                </a:extLst>
              </p:cNvPr>
              <p:cNvSpPr>
                <a:spLocks noChangeArrowheads="1"/>
              </p:cNvSpPr>
              <p:nvPr/>
            </p:nvSpPr>
            <p:spPr bwMode="auto">
              <a:xfrm>
                <a:off x="5897" y="1273"/>
                <a:ext cx="21" cy="2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31">
                <a:extLst>
                  <a:ext uri="{FF2B5EF4-FFF2-40B4-BE49-F238E27FC236}">
                    <a16:creationId xmlns:a16="http://schemas.microsoft.com/office/drawing/2014/main" id="{D9EF630C-2385-48AF-8F31-5DA73E5B449C}"/>
                  </a:ext>
                </a:extLst>
              </p:cNvPr>
              <p:cNvSpPr>
                <a:spLocks noEditPoints="1"/>
              </p:cNvSpPr>
              <p:nvPr/>
            </p:nvSpPr>
            <p:spPr bwMode="auto">
              <a:xfrm>
                <a:off x="5871" y="1247"/>
                <a:ext cx="73" cy="71"/>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1 h 30"/>
                  <a:gd name="T12" fmla="*/ 1 w 31"/>
                  <a:gd name="T13" fmla="*/ 15 h 30"/>
                  <a:gd name="T14" fmla="*/ 16 w 31"/>
                  <a:gd name="T15" fmla="*/ 29 h 30"/>
                  <a:gd name="T16" fmla="*/ 30 w 31"/>
                  <a:gd name="T17" fmla="*/ 15 h 30"/>
                  <a:gd name="T18" fmla="*/ 16 w 31"/>
                  <a:gd name="T19"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4"/>
                      <a:pt x="0" y="15"/>
                    </a:cubicBezTo>
                    <a:cubicBezTo>
                      <a:pt x="0" y="7"/>
                      <a:pt x="7" y="0"/>
                      <a:pt x="16" y="0"/>
                    </a:cubicBezTo>
                    <a:cubicBezTo>
                      <a:pt x="24" y="0"/>
                      <a:pt x="31" y="7"/>
                      <a:pt x="31" y="15"/>
                    </a:cubicBezTo>
                    <a:cubicBezTo>
                      <a:pt x="31" y="24"/>
                      <a:pt x="24" y="30"/>
                      <a:pt x="16" y="30"/>
                    </a:cubicBezTo>
                    <a:close/>
                    <a:moveTo>
                      <a:pt x="16" y="1"/>
                    </a:moveTo>
                    <a:cubicBezTo>
                      <a:pt x="8" y="1"/>
                      <a:pt x="1" y="7"/>
                      <a:pt x="1" y="15"/>
                    </a:cubicBezTo>
                    <a:cubicBezTo>
                      <a:pt x="1" y="23"/>
                      <a:pt x="8" y="29"/>
                      <a:pt x="16" y="29"/>
                    </a:cubicBezTo>
                    <a:cubicBezTo>
                      <a:pt x="24" y="29"/>
                      <a:pt x="30" y="23"/>
                      <a:pt x="30" y="15"/>
                    </a:cubicBezTo>
                    <a:cubicBezTo>
                      <a:pt x="30" y="7"/>
                      <a:pt x="24" y="1"/>
                      <a:pt x="16"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32">
                <a:extLst>
                  <a:ext uri="{FF2B5EF4-FFF2-40B4-BE49-F238E27FC236}">
                    <a16:creationId xmlns:a16="http://schemas.microsoft.com/office/drawing/2014/main" id="{4E204F3D-3AB6-4C6E-BD3C-F38C7372338C}"/>
                  </a:ext>
                </a:extLst>
              </p:cNvPr>
              <p:cNvSpPr>
                <a:spLocks noChangeArrowheads="1"/>
              </p:cNvSpPr>
              <p:nvPr/>
            </p:nvSpPr>
            <p:spPr bwMode="auto">
              <a:xfrm>
                <a:off x="6276" y="1054"/>
                <a:ext cx="22" cy="2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33">
                <a:extLst>
                  <a:ext uri="{FF2B5EF4-FFF2-40B4-BE49-F238E27FC236}">
                    <a16:creationId xmlns:a16="http://schemas.microsoft.com/office/drawing/2014/main" id="{3214976D-C2EE-46C5-B770-107102349C7B}"/>
                  </a:ext>
                </a:extLst>
              </p:cNvPr>
              <p:cNvSpPr>
                <a:spLocks noChangeArrowheads="1"/>
              </p:cNvSpPr>
              <p:nvPr/>
            </p:nvSpPr>
            <p:spPr bwMode="auto">
              <a:xfrm>
                <a:off x="6732" y="1589"/>
                <a:ext cx="21" cy="2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34">
                <a:extLst>
                  <a:ext uri="{FF2B5EF4-FFF2-40B4-BE49-F238E27FC236}">
                    <a16:creationId xmlns:a16="http://schemas.microsoft.com/office/drawing/2014/main" id="{6126C171-8D89-4E50-92C5-71C1D8B245F9}"/>
                  </a:ext>
                </a:extLst>
              </p:cNvPr>
              <p:cNvSpPr>
                <a:spLocks noChangeArrowheads="1"/>
              </p:cNvSpPr>
              <p:nvPr/>
            </p:nvSpPr>
            <p:spPr bwMode="auto">
              <a:xfrm>
                <a:off x="7228" y="1273"/>
                <a:ext cx="22" cy="21"/>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35">
                <a:extLst>
                  <a:ext uri="{FF2B5EF4-FFF2-40B4-BE49-F238E27FC236}">
                    <a16:creationId xmlns:a16="http://schemas.microsoft.com/office/drawing/2014/main" id="{4DAB3EAD-555D-41FD-ACBA-8D15A7C04A4B}"/>
                  </a:ext>
                </a:extLst>
              </p:cNvPr>
              <p:cNvSpPr>
                <a:spLocks noChangeArrowheads="1"/>
              </p:cNvSpPr>
              <p:nvPr/>
            </p:nvSpPr>
            <p:spPr bwMode="auto">
              <a:xfrm>
                <a:off x="5021" y="1282"/>
                <a:ext cx="21" cy="22"/>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6">
                <a:extLst>
                  <a:ext uri="{FF2B5EF4-FFF2-40B4-BE49-F238E27FC236}">
                    <a16:creationId xmlns:a16="http://schemas.microsoft.com/office/drawing/2014/main" id="{16EA7245-EA7F-463B-9EB4-9650A75B88AF}"/>
                  </a:ext>
                </a:extLst>
              </p:cNvPr>
              <p:cNvSpPr>
                <a:spLocks/>
              </p:cNvSpPr>
              <p:nvPr/>
            </p:nvSpPr>
            <p:spPr bwMode="auto">
              <a:xfrm>
                <a:off x="4838" y="1515"/>
                <a:ext cx="2499" cy="632"/>
              </a:xfrm>
              <a:custGeom>
                <a:avLst/>
                <a:gdLst>
                  <a:gd name="T0" fmla="*/ 1049 w 1053"/>
                  <a:gd name="T1" fmla="*/ 113 h 266"/>
                  <a:gd name="T2" fmla="*/ 1008 w 1053"/>
                  <a:gd name="T3" fmla="*/ 141 h 266"/>
                  <a:gd name="T4" fmla="*/ 943 w 1053"/>
                  <a:gd name="T5" fmla="*/ 222 h 266"/>
                  <a:gd name="T6" fmla="*/ 905 w 1053"/>
                  <a:gd name="T7" fmla="*/ 248 h 266"/>
                  <a:gd name="T8" fmla="*/ 829 w 1053"/>
                  <a:gd name="T9" fmla="*/ 253 h 266"/>
                  <a:gd name="T10" fmla="*/ 784 w 1053"/>
                  <a:gd name="T11" fmla="*/ 221 h 266"/>
                  <a:gd name="T12" fmla="*/ 737 w 1053"/>
                  <a:gd name="T13" fmla="*/ 143 h 266"/>
                  <a:gd name="T14" fmla="*/ 664 w 1053"/>
                  <a:gd name="T15" fmla="*/ 36 h 266"/>
                  <a:gd name="T16" fmla="*/ 605 w 1053"/>
                  <a:gd name="T17" fmla="*/ 8 h 266"/>
                  <a:gd name="T18" fmla="*/ 539 w 1053"/>
                  <a:gd name="T19" fmla="*/ 22 h 266"/>
                  <a:gd name="T20" fmla="*/ 452 w 1053"/>
                  <a:gd name="T21" fmla="*/ 127 h 266"/>
                  <a:gd name="T22" fmla="*/ 374 w 1053"/>
                  <a:gd name="T23" fmla="*/ 233 h 266"/>
                  <a:gd name="T24" fmla="*/ 348 w 1053"/>
                  <a:gd name="T25" fmla="*/ 251 h 266"/>
                  <a:gd name="T26" fmla="*/ 305 w 1053"/>
                  <a:gd name="T27" fmla="*/ 266 h 266"/>
                  <a:gd name="T28" fmla="*/ 291 w 1053"/>
                  <a:gd name="T29" fmla="*/ 266 h 266"/>
                  <a:gd name="T30" fmla="*/ 214 w 1053"/>
                  <a:gd name="T31" fmla="*/ 236 h 266"/>
                  <a:gd name="T32" fmla="*/ 136 w 1053"/>
                  <a:gd name="T33" fmla="*/ 184 h 266"/>
                  <a:gd name="T34" fmla="*/ 64 w 1053"/>
                  <a:gd name="T35" fmla="*/ 175 h 266"/>
                  <a:gd name="T36" fmla="*/ 50 w 1053"/>
                  <a:gd name="T37" fmla="*/ 180 h 266"/>
                  <a:gd name="T38" fmla="*/ 20 w 1053"/>
                  <a:gd name="T39" fmla="*/ 201 h 266"/>
                  <a:gd name="T40" fmla="*/ 9 w 1053"/>
                  <a:gd name="T41" fmla="*/ 214 h 266"/>
                  <a:gd name="T42" fmla="*/ 0 w 1053"/>
                  <a:gd name="T43" fmla="*/ 225 h 266"/>
                  <a:gd name="T44" fmla="*/ 8 w 1053"/>
                  <a:gd name="T45" fmla="*/ 213 h 266"/>
                  <a:gd name="T46" fmla="*/ 19 w 1053"/>
                  <a:gd name="T47" fmla="*/ 200 h 266"/>
                  <a:gd name="T48" fmla="*/ 49 w 1053"/>
                  <a:gd name="T49" fmla="*/ 178 h 266"/>
                  <a:gd name="T50" fmla="*/ 64 w 1053"/>
                  <a:gd name="T51" fmla="*/ 172 h 266"/>
                  <a:gd name="T52" fmla="*/ 138 w 1053"/>
                  <a:gd name="T53" fmla="*/ 180 h 266"/>
                  <a:gd name="T54" fmla="*/ 217 w 1053"/>
                  <a:gd name="T55" fmla="*/ 232 h 266"/>
                  <a:gd name="T56" fmla="*/ 291 w 1053"/>
                  <a:gd name="T57" fmla="*/ 261 h 266"/>
                  <a:gd name="T58" fmla="*/ 305 w 1053"/>
                  <a:gd name="T59" fmla="*/ 260 h 266"/>
                  <a:gd name="T60" fmla="*/ 370 w 1053"/>
                  <a:gd name="T61" fmla="*/ 229 h 266"/>
                  <a:gd name="T62" fmla="*/ 446 w 1053"/>
                  <a:gd name="T63" fmla="*/ 125 h 266"/>
                  <a:gd name="T64" fmla="*/ 535 w 1053"/>
                  <a:gd name="T65" fmla="*/ 16 h 266"/>
                  <a:gd name="T66" fmla="*/ 606 w 1053"/>
                  <a:gd name="T67" fmla="*/ 1 h 266"/>
                  <a:gd name="T68" fmla="*/ 668 w 1053"/>
                  <a:gd name="T69" fmla="*/ 32 h 266"/>
                  <a:gd name="T70" fmla="*/ 742 w 1053"/>
                  <a:gd name="T71" fmla="*/ 140 h 266"/>
                  <a:gd name="T72" fmla="*/ 807 w 1053"/>
                  <a:gd name="T73" fmla="*/ 237 h 266"/>
                  <a:gd name="T74" fmla="*/ 856 w 1053"/>
                  <a:gd name="T75" fmla="*/ 251 h 266"/>
                  <a:gd name="T76" fmla="*/ 923 w 1053"/>
                  <a:gd name="T77" fmla="*/ 233 h 266"/>
                  <a:gd name="T78" fmla="*/ 966 w 1053"/>
                  <a:gd name="T79" fmla="*/ 190 h 266"/>
                  <a:gd name="T80" fmla="*/ 1039 w 1053"/>
                  <a:gd name="T81" fmla="*/ 116 h 266"/>
                  <a:gd name="T82" fmla="*/ 1053 w 1053"/>
                  <a:gd name="T83" fmla="*/ 11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53" h="266">
                    <a:moveTo>
                      <a:pt x="1053" y="112"/>
                    </a:moveTo>
                    <a:cubicBezTo>
                      <a:pt x="1053" y="112"/>
                      <a:pt x="1052" y="113"/>
                      <a:pt x="1049" y="113"/>
                    </a:cubicBezTo>
                    <a:cubicBezTo>
                      <a:pt x="1047" y="114"/>
                      <a:pt x="1044" y="115"/>
                      <a:pt x="1040" y="117"/>
                    </a:cubicBezTo>
                    <a:cubicBezTo>
                      <a:pt x="1031" y="120"/>
                      <a:pt x="1020" y="128"/>
                      <a:pt x="1008" y="141"/>
                    </a:cubicBezTo>
                    <a:cubicBezTo>
                      <a:pt x="996" y="154"/>
                      <a:pt x="984" y="172"/>
                      <a:pt x="969" y="192"/>
                    </a:cubicBezTo>
                    <a:cubicBezTo>
                      <a:pt x="961" y="202"/>
                      <a:pt x="953" y="212"/>
                      <a:pt x="943" y="222"/>
                    </a:cubicBezTo>
                    <a:cubicBezTo>
                      <a:pt x="938" y="227"/>
                      <a:pt x="932" y="232"/>
                      <a:pt x="926" y="237"/>
                    </a:cubicBezTo>
                    <a:cubicBezTo>
                      <a:pt x="919" y="241"/>
                      <a:pt x="913" y="245"/>
                      <a:pt x="905" y="248"/>
                    </a:cubicBezTo>
                    <a:cubicBezTo>
                      <a:pt x="890" y="254"/>
                      <a:pt x="873" y="257"/>
                      <a:pt x="856" y="256"/>
                    </a:cubicBezTo>
                    <a:cubicBezTo>
                      <a:pt x="847" y="256"/>
                      <a:pt x="838" y="255"/>
                      <a:pt x="829" y="253"/>
                    </a:cubicBezTo>
                    <a:cubicBezTo>
                      <a:pt x="820" y="251"/>
                      <a:pt x="811" y="247"/>
                      <a:pt x="804" y="241"/>
                    </a:cubicBezTo>
                    <a:cubicBezTo>
                      <a:pt x="796" y="236"/>
                      <a:pt x="789" y="229"/>
                      <a:pt x="784" y="221"/>
                    </a:cubicBezTo>
                    <a:cubicBezTo>
                      <a:pt x="778" y="213"/>
                      <a:pt x="773" y="204"/>
                      <a:pt x="768" y="195"/>
                    </a:cubicBezTo>
                    <a:cubicBezTo>
                      <a:pt x="759" y="178"/>
                      <a:pt x="749" y="161"/>
                      <a:pt x="737" y="143"/>
                    </a:cubicBezTo>
                    <a:cubicBezTo>
                      <a:pt x="726" y="125"/>
                      <a:pt x="716" y="107"/>
                      <a:pt x="705" y="88"/>
                    </a:cubicBezTo>
                    <a:cubicBezTo>
                      <a:pt x="693" y="70"/>
                      <a:pt x="680" y="52"/>
                      <a:pt x="664" y="36"/>
                    </a:cubicBezTo>
                    <a:cubicBezTo>
                      <a:pt x="656" y="29"/>
                      <a:pt x="647" y="22"/>
                      <a:pt x="637" y="17"/>
                    </a:cubicBezTo>
                    <a:cubicBezTo>
                      <a:pt x="627" y="12"/>
                      <a:pt x="616" y="9"/>
                      <a:pt x="605" y="8"/>
                    </a:cubicBezTo>
                    <a:cubicBezTo>
                      <a:pt x="594" y="7"/>
                      <a:pt x="582" y="7"/>
                      <a:pt x="571" y="10"/>
                    </a:cubicBezTo>
                    <a:cubicBezTo>
                      <a:pt x="560" y="12"/>
                      <a:pt x="549" y="16"/>
                      <a:pt x="539" y="22"/>
                    </a:cubicBezTo>
                    <a:cubicBezTo>
                      <a:pt x="518" y="34"/>
                      <a:pt x="502" y="51"/>
                      <a:pt x="488" y="69"/>
                    </a:cubicBezTo>
                    <a:cubicBezTo>
                      <a:pt x="474" y="88"/>
                      <a:pt x="463" y="108"/>
                      <a:pt x="452" y="127"/>
                    </a:cubicBezTo>
                    <a:cubicBezTo>
                      <a:pt x="441" y="147"/>
                      <a:pt x="429" y="167"/>
                      <a:pt x="416" y="185"/>
                    </a:cubicBezTo>
                    <a:cubicBezTo>
                      <a:pt x="404" y="202"/>
                      <a:pt x="390" y="219"/>
                      <a:pt x="374" y="233"/>
                    </a:cubicBezTo>
                    <a:cubicBezTo>
                      <a:pt x="370" y="236"/>
                      <a:pt x="366" y="240"/>
                      <a:pt x="362" y="243"/>
                    </a:cubicBezTo>
                    <a:cubicBezTo>
                      <a:pt x="357" y="246"/>
                      <a:pt x="353" y="249"/>
                      <a:pt x="348" y="251"/>
                    </a:cubicBezTo>
                    <a:cubicBezTo>
                      <a:pt x="339" y="256"/>
                      <a:pt x="330" y="261"/>
                      <a:pt x="320" y="263"/>
                    </a:cubicBezTo>
                    <a:cubicBezTo>
                      <a:pt x="315" y="265"/>
                      <a:pt x="310" y="265"/>
                      <a:pt x="305" y="266"/>
                    </a:cubicBezTo>
                    <a:cubicBezTo>
                      <a:pt x="303" y="266"/>
                      <a:pt x="300" y="266"/>
                      <a:pt x="298" y="266"/>
                    </a:cubicBezTo>
                    <a:cubicBezTo>
                      <a:pt x="295" y="266"/>
                      <a:pt x="293" y="266"/>
                      <a:pt x="291" y="266"/>
                    </a:cubicBezTo>
                    <a:cubicBezTo>
                      <a:pt x="281" y="266"/>
                      <a:pt x="271" y="264"/>
                      <a:pt x="262" y="261"/>
                    </a:cubicBezTo>
                    <a:cubicBezTo>
                      <a:pt x="244" y="255"/>
                      <a:pt x="228" y="246"/>
                      <a:pt x="214" y="236"/>
                    </a:cubicBezTo>
                    <a:cubicBezTo>
                      <a:pt x="200" y="226"/>
                      <a:pt x="187" y="216"/>
                      <a:pt x="174" y="207"/>
                    </a:cubicBezTo>
                    <a:cubicBezTo>
                      <a:pt x="162" y="198"/>
                      <a:pt x="149" y="190"/>
                      <a:pt x="136" y="184"/>
                    </a:cubicBezTo>
                    <a:cubicBezTo>
                      <a:pt x="123" y="178"/>
                      <a:pt x="111" y="174"/>
                      <a:pt x="98" y="173"/>
                    </a:cubicBezTo>
                    <a:cubicBezTo>
                      <a:pt x="86" y="172"/>
                      <a:pt x="75" y="173"/>
                      <a:pt x="64" y="175"/>
                    </a:cubicBezTo>
                    <a:cubicBezTo>
                      <a:pt x="62" y="176"/>
                      <a:pt x="60" y="177"/>
                      <a:pt x="57" y="178"/>
                    </a:cubicBezTo>
                    <a:cubicBezTo>
                      <a:pt x="55" y="179"/>
                      <a:pt x="52" y="179"/>
                      <a:pt x="50" y="180"/>
                    </a:cubicBezTo>
                    <a:cubicBezTo>
                      <a:pt x="46" y="183"/>
                      <a:pt x="42" y="184"/>
                      <a:pt x="38" y="187"/>
                    </a:cubicBezTo>
                    <a:cubicBezTo>
                      <a:pt x="31" y="192"/>
                      <a:pt x="25" y="197"/>
                      <a:pt x="20" y="201"/>
                    </a:cubicBezTo>
                    <a:cubicBezTo>
                      <a:pt x="18" y="204"/>
                      <a:pt x="16" y="206"/>
                      <a:pt x="14" y="208"/>
                    </a:cubicBezTo>
                    <a:cubicBezTo>
                      <a:pt x="12" y="210"/>
                      <a:pt x="10" y="212"/>
                      <a:pt x="9" y="214"/>
                    </a:cubicBezTo>
                    <a:cubicBezTo>
                      <a:pt x="6" y="218"/>
                      <a:pt x="4" y="221"/>
                      <a:pt x="3" y="223"/>
                    </a:cubicBezTo>
                    <a:cubicBezTo>
                      <a:pt x="1" y="224"/>
                      <a:pt x="0" y="225"/>
                      <a:pt x="0" y="225"/>
                    </a:cubicBezTo>
                    <a:cubicBezTo>
                      <a:pt x="0" y="225"/>
                      <a:pt x="1" y="224"/>
                      <a:pt x="2" y="222"/>
                    </a:cubicBezTo>
                    <a:cubicBezTo>
                      <a:pt x="3" y="220"/>
                      <a:pt x="5" y="217"/>
                      <a:pt x="8" y="213"/>
                    </a:cubicBezTo>
                    <a:cubicBezTo>
                      <a:pt x="9" y="211"/>
                      <a:pt x="11" y="210"/>
                      <a:pt x="13" y="207"/>
                    </a:cubicBezTo>
                    <a:cubicBezTo>
                      <a:pt x="15" y="205"/>
                      <a:pt x="17" y="203"/>
                      <a:pt x="19" y="200"/>
                    </a:cubicBezTo>
                    <a:cubicBezTo>
                      <a:pt x="24" y="196"/>
                      <a:pt x="29" y="190"/>
                      <a:pt x="37" y="185"/>
                    </a:cubicBezTo>
                    <a:cubicBezTo>
                      <a:pt x="40" y="182"/>
                      <a:pt x="45" y="180"/>
                      <a:pt x="49" y="178"/>
                    </a:cubicBezTo>
                    <a:cubicBezTo>
                      <a:pt x="51" y="177"/>
                      <a:pt x="54" y="176"/>
                      <a:pt x="56" y="175"/>
                    </a:cubicBezTo>
                    <a:cubicBezTo>
                      <a:pt x="59" y="174"/>
                      <a:pt x="61" y="173"/>
                      <a:pt x="64" y="172"/>
                    </a:cubicBezTo>
                    <a:cubicBezTo>
                      <a:pt x="74" y="169"/>
                      <a:pt x="86" y="168"/>
                      <a:pt x="99" y="170"/>
                    </a:cubicBezTo>
                    <a:cubicBezTo>
                      <a:pt x="111" y="171"/>
                      <a:pt x="125" y="174"/>
                      <a:pt x="138" y="180"/>
                    </a:cubicBezTo>
                    <a:cubicBezTo>
                      <a:pt x="151" y="186"/>
                      <a:pt x="164" y="194"/>
                      <a:pt x="177" y="203"/>
                    </a:cubicBezTo>
                    <a:cubicBezTo>
                      <a:pt x="190" y="212"/>
                      <a:pt x="203" y="222"/>
                      <a:pt x="217" y="232"/>
                    </a:cubicBezTo>
                    <a:cubicBezTo>
                      <a:pt x="231" y="241"/>
                      <a:pt x="246" y="251"/>
                      <a:pt x="264" y="256"/>
                    </a:cubicBezTo>
                    <a:cubicBezTo>
                      <a:pt x="272" y="259"/>
                      <a:pt x="281" y="261"/>
                      <a:pt x="291" y="261"/>
                    </a:cubicBezTo>
                    <a:cubicBezTo>
                      <a:pt x="293" y="261"/>
                      <a:pt x="295" y="261"/>
                      <a:pt x="298" y="261"/>
                    </a:cubicBezTo>
                    <a:cubicBezTo>
                      <a:pt x="300" y="261"/>
                      <a:pt x="302" y="261"/>
                      <a:pt x="305" y="260"/>
                    </a:cubicBezTo>
                    <a:cubicBezTo>
                      <a:pt x="309" y="260"/>
                      <a:pt x="314" y="259"/>
                      <a:pt x="319" y="258"/>
                    </a:cubicBezTo>
                    <a:cubicBezTo>
                      <a:pt x="337" y="253"/>
                      <a:pt x="355" y="242"/>
                      <a:pt x="370" y="229"/>
                    </a:cubicBezTo>
                    <a:cubicBezTo>
                      <a:pt x="386" y="215"/>
                      <a:pt x="399" y="199"/>
                      <a:pt x="412" y="181"/>
                    </a:cubicBezTo>
                    <a:cubicBezTo>
                      <a:pt x="424" y="163"/>
                      <a:pt x="435" y="144"/>
                      <a:pt x="446" y="125"/>
                    </a:cubicBezTo>
                    <a:cubicBezTo>
                      <a:pt x="457" y="105"/>
                      <a:pt x="469" y="84"/>
                      <a:pt x="483" y="65"/>
                    </a:cubicBezTo>
                    <a:cubicBezTo>
                      <a:pt x="497" y="47"/>
                      <a:pt x="514" y="29"/>
                      <a:pt x="535" y="16"/>
                    </a:cubicBezTo>
                    <a:cubicBezTo>
                      <a:pt x="546" y="10"/>
                      <a:pt x="558" y="6"/>
                      <a:pt x="570" y="3"/>
                    </a:cubicBezTo>
                    <a:cubicBezTo>
                      <a:pt x="582" y="1"/>
                      <a:pt x="594" y="0"/>
                      <a:pt x="606" y="1"/>
                    </a:cubicBezTo>
                    <a:cubicBezTo>
                      <a:pt x="618" y="3"/>
                      <a:pt x="629" y="6"/>
                      <a:pt x="640" y="12"/>
                    </a:cubicBezTo>
                    <a:cubicBezTo>
                      <a:pt x="651" y="17"/>
                      <a:pt x="660" y="24"/>
                      <a:pt x="668" y="32"/>
                    </a:cubicBezTo>
                    <a:cubicBezTo>
                      <a:pt x="685" y="48"/>
                      <a:pt x="698" y="67"/>
                      <a:pt x="710" y="85"/>
                    </a:cubicBezTo>
                    <a:cubicBezTo>
                      <a:pt x="721" y="104"/>
                      <a:pt x="731" y="123"/>
                      <a:pt x="742" y="140"/>
                    </a:cubicBezTo>
                    <a:cubicBezTo>
                      <a:pt x="754" y="158"/>
                      <a:pt x="764" y="176"/>
                      <a:pt x="773" y="193"/>
                    </a:cubicBezTo>
                    <a:cubicBezTo>
                      <a:pt x="783" y="210"/>
                      <a:pt x="792" y="227"/>
                      <a:pt x="807" y="237"/>
                    </a:cubicBezTo>
                    <a:cubicBezTo>
                      <a:pt x="814" y="242"/>
                      <a:pt x="822" y="246"/>
                      <a:pt x="830" y="248"/>
                    </a:cubicBezTo>
                    <a:cubicBezTo>
                      <a:pt x="839" y="250"/>
                      <a:pt x="848" y="251"/>
                      <a:pt x="856" y="251"/>
                    </a:cubicBezTo>
                    <a:cubicBezTo>
                      <a:pt x="873" y="252"/>
                      <a:pt x="889" y="249"/>
                      <a:pt x="903" y="244"/>
                    </a:cubicBezTo>
                    <a:cubicBezTo>
                      <a:pt x="911" y="241"/>
                      <a:pt x="917" y="237"/>
                      <a:pt x="923" y="233"/>
                    </a:cubicBezTo>
                    <a:cubicBezTo>
                      <a:pt x="929" y="229"/>
                      <a:pt x="935" y="224"/>
                      <a:pt x="940" y="220"/>
                    </a:cubicBezTo>
                    <a:cubicBezTo>
                      <a:pt x="950" y="210"/>
                      <a:pt x="959" y="200"/>
                      <a:pt x="966" y="190"/>
                    </a:cubicBezTo>
                    <a:cubicBezTo>
                      <a:pt x="981" y="170"/>
                      <a:pt x="994" y="152"/>
                      <a:pt x="1006" y="139"/>
                    </a:cubicBezTo>
                    <a:cubicBezTo>
                      <a:pt x="1018" y="126"/>
                      <a:pt x="1030" y="119"/>
                      <a:pt x="1039" y="116"/>
                    </a:cubicBezTo>
                    <a:cubicBezTo>
                      <a:pt x="1043" y="114"/>
                      <a:pt x="1047" y="113"/>
                      <a:pt x="1049" y="113"/>
                    </a:cubicBezTo>
                    <a:cubicBezTo>
                      <a:pt x="1052" y="112"/>
                      <a:pt x="1053" y="112"/>
                      <a:pt x="1053" y="1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Rectangle 37">
                <a:extLst>
                  <a:ext uri="{FF2B5EF4-FFF2-40B4-BE49-F238E27FC236}">
                    <a16:creationId xmlns:a16="http://schemas.microsoft.com/office/drawing/2014/main" id="{64F03C55-463F-411A-977A-65C99A2DBA5D}"/>
                  </a:ext>
                </a:extLst>
              </p:cNvPr>
              <p:cNvSpPr>
                <a:spLocks noChangeArrowheads="1"/>
              </p:cNvSpPr>
              <p:nvPr/>
            </p:nvSpPr>
            <p:spPr bwMode="auto">
              <a:xfrm>
                <a:off x="5021" y="867"/>
                <a:ext cx="510" cy="28"/>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Rectangle 38">
                <a:extLst>
                  <a:ext uri="{FF2B5EF4-FFF2-40B4-BE49-F238E27FC236}">
                    <a16:creationId xmlns:a16="http://schemas.microsoft.com/office/drawing/2014/main" id="{3E20DAC6-60BF-40BE-BBA0-AF5ED512ECA1}"/>
                  </a:ext>
                </a:extLst>
              </p:cNvPr>
              <p:cNvSpPr>
                <a:spLocks noChangeArrowheads="1"/>
              </p:cNvSpPr>
              <p:nvPr/>
            </p:nvSpPr>
            <p:spPr bwMode="auto">
              <a:xfrm>
                <a:off x="5021" y="933"/>
                <a:ext cx="251" cy="29"/>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39">
                <a:extLst>
                  <a:ext uri="{FF2B5EF4-FFF2-40B4-BE49-F238E27FC236}">
                    <a16:creationId xmlns:a16="http://schemas.microsoft.com/office/drawing/2014/main" id="{1F562A39-EDA0-47D0-8036-08EE8F590B0F}"/>
                  </a:ext>
                </a:extLst>
              </p:cNvPr>
              <p:cNvSpPr>
                <a:spLocks/>
              </p:cNvSpPr>
              <p:nvPr/>
            </p:nvSpPr>
            <p:spPr bwMode="auto">
              <a:xfrm>
                <a:off x="4670" y="427"/>
                <a:ext cx="2921" cy="186"/>
              </a:xfrm>
              <a:custGeom>
                <a:avLst/>
                <a:gdLst>
                  <a:gd name="T0" fmla="*/ 1213 w 1231"/>
                  <a:gd name="T1" fmla="*/ 0 h 78"/>
                  <a:gd name="T2" fmla="*/ 18 w 1231"/>
                  <a:gd name="T3" fmla="*/ 0 h 78"/>
                  <a:gd name="T4" fmla="*/ 0 w 1231"/>
                  <a:gd name="T5" fmla="*/ 18 h 78"/>
                  <a:gd name="T6" fmla="*/ 0 w 1231"/>
                  <a:gd name="T7" fmla="*/ 78 h 78"/>
                  <a:gd name="T8" fmla="*/ 1231 w 1231"/>
                  <a:gd name="T9" fmla="*/ 78 h 78"/>
                  <a:gd name="T10" fmla="*/ 1231 w 1231"/>
                  <a:gd name="T11" fmla="*/ 18 h 78"/>
                  <a:gd name="T12" fmla="*/ 1213 w 1231"/>
                  <a:gd name="T13" fmla="*/ 0 h 78"/>
                </a:gdLst>
                <a:ahLst/>
                <a:cxnLst>
                  <a:cxn ang="0">
                    <a:pos x="T0" y="T1"/>
                  </a:cxn>
                  <a:cxn ang="0">
                    <a:pos x="T2" y="T3"/>
                  </a:cxn>
                  <a:cxn ang="0">
                    <a:pos x="T4" y="T5"/>
                  </a:cxn>
                  <a:cxn ang="0">
                    <a:pos x="T6" y="T7"/>
                  </a:cxn>
                  <a:cxn ang="0">
                    <a:pos x="T8" y="T9"/>
                  </a:cxn>
                  <a:cxn ang="0">
                    <a:pos x="T10" y="T11"/>
                  </a:cxn>
                  <a:cxn ang="0">
                    <a:pos x="T12" y="T13"/>
                  </a:cxn>
                </a:cxnLst>
                <a:rect l="0" t="0" r="r" b="b"/>
                <a:pathLst>
                  <a:path w="1231" h="78">
                    <a:moveTo>
                      <a:pt x="1213" y="0"/>
                    </a:moveTo>
                    <a:cubicBezTo>
                      <a:pt x="18" y="0"/>
                      <a:pt x="18" y="0"/>
                      <a:pt x="18" y="0"/>
                    </a:cubicBezTo>
                    <a:cubicBezTo>
                      <a:pt x="8" y="0"/>
                      <a:pt x="0" y="8"/>
                      <a:pt x="0" y="18"/>
                    </a:cubicBezTo>
                    <a:cubicBezTo>
                      <a:pt x="0" y="78"/>
                      <a:pt x="0" y="78"/>
                      <a:pt x="0" y="78"/>
                    </a:cubicBezTo>
                    <a:cubicBezTo>
                      <a:pt x="1231" y="78"/>
                      <a:pt x="1231" y="78"/>
                      <a:pt x="1231" y="78"/>
                    </a:cubicBezTo>
                    <a:cubicBezTo>
                      <a:pt x="1231" y="18"/>
                      <a:pt x="1231" y="18"/>
                      <a:pt x="1231" y="18"/>
                    </a:cubicBezTo>
                    <a:cubicBezTo>
                      <a:pt x="1231" y="8"/>
                      <a:pt x="1223" y="0"/>
                      <a:pt x="1213"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40">
                <a:extLst>
                  <a:ext uri="{FF2B5EF4-FFF2-40B4-BE49-F238E27FC236}">
                    <a16:creationId xmlns:a16="http://schemas.microsoft.com/office/drawing/2014/main" id="{512DB7F3-14A8-456D-8308-8767F4CC6A69}"/>
                  </a:ext>
                </a:extLst>
              </p:cNvPr>
              <p:cNvSpPr>
                <a:spLocks noChangeArrowheads="1"/>
              </p:cNvSpPr>
              <p:nvPr/>
            </p:nvSpPr>
            <p:spPr bwMode="auto">
              <a:xfrm>
                <a:off x="4781" y="503"/>
                <a:ext cx="41"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41">
                <a:extLst>
                  <a:ext uri="{FF2B5EF4-FFF2-40B4-BE49-F238E27FC236}">
                    <a16:creationId xmlns:a16="http://schemas.microsoft.com/office/drawing/2014/main" id="{ACF05906-E109-4A9C-9975-2729CD9392A7}"/>
                  </a:ext>
                </a:extLst>
              </p:cNvPr>
              <p:cNvSpPr>
                <a:spLocks noChangeArrowheads="1"/>
              </p:cNvSpPr>
              <p:nvPr/>
            </p:nvSpPr>
            <p:spPr bwMode="auto">
              <a:xfrm>
                <a:off x="4869" y="503"/>
                <a:ext cx="40"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42">
                <a:extLst>
                  <a:ext uri="{FF2B5EF4-FFF2-40B4-BE49-F238E27FC236}">
                    <a16:creationId xmlns:a16="http://schemas.microsoft.com/office/drawing/2014/main" id="{291B1799-71C7-48B3-AC9B-694AF0650B48}"/>
                  </a:ext>
                </a:extLst>
              </p:cNvPr>
              <p:cNvSpPr>
                <a:spLocks noChangeArrowheads="1"/>
              </p:cNvSpPr>
              <p:nvPr/>
            </p:nvSpPr>
            <p:spPr bwMode="auto">
              <a:xfrm>
                <a:off x="4954" y="503"/>
                <a:ext cx="41"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45">
                <a:extLst>
                  <a:ext uri="{FF2B5EF4-FFF2-40B4-BE49-F238E27FC236}">
                    <a16:creationId xmlns:a16="http://schemas.microsoft.com/office/drawing/2014/main" id="{27F8F84D-BE02-45FC-ADB2-8BBF8FEEDB36}"/>
                  </a:ext>
                </a:extLst>
              </p:cNvPr>
              <p:cNvSpPr>
                <a:spLocks/>
              </p:cNvSpPr>
              <p:nvPr/>
            </p:nvSpPr>
            <p:spPr bwMode="auto">
              <a:xfrm>
                <a:off x="3701" y="2102"/>
                <a:ext cx="86" cy="54"/>
              </a:xfrm>
              <a:custGeom>
                <a:avLst/>
                <a:gdLst>
                  <a:gd name="T0" fmla="*/ 35 w 36"/>
                  <a:gd name="T1" fmla="*/ 0 h 23"/>
                  <a:gd name="T2" fmla="*/ 19 w 36"/>
                  <a:gd name="T3" fmla="*/ 18 h 23"/>
                  <a:gd name="T4" fmla="*/ 14 w 36"/>
                  <a:gd name="T5" fmla="*/ 22 h 23"/>
                  <a:gd name="T6" fmla="*/ 14 w 36"/>
                  <a:gd name="T7" fmla="*/ 23 h 23"/>
                  <a:gd name="T8" fmla="*/ 13 w 36"/>
                  <a:gd name="T9" fmla="*/ 22 h 23"/>
                  <a:gd name="T10" fmla="*/ 1 w 36"/>
                  <a:gd name="T11" fmla="*/ 8 h 23"/>
                  <a:gd name="T12" fmla="*/ 14 w 36"/>
                  <a:gd name="T13" fmla="*/ 20 h 23"/>
                  <a:gd name="T14" fmla="*/ 13 w 36"/>
                  <a:gd name="T15" fmla="*/ 20 h 23"/>
                  <a:gd name="T16" fmla="*/ 17 w 36"/>
                  <a:gd name="T17" fmla="*/ 17 h 23"/>
                  <a:gd name="T18" fmla="*/ 35 w 36"/>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35" y="0"/>
                    </a:moveTo>
                    <a:cubicBezTo>
                      <a:pt x="36" y="1"/>
                      <a:pt x="28" y="9"/>
                      <a:pt x="19" y="18"/>
                    </a:cubicBezTo>
                    <a:cubicBezTo>
                      <a:pt x="17" y="19"/>
                      <a:pt x="16" y="21"/>
                      <a:pt x="14" y="22"/>
                    </a:cubicBezTo>
                    <a:cubicBezTo>
                      <a:pt x="14" y="23"/>
                      <a:pt x="14" y="23"/>
                      <a:pt x="14" y="23"/>
                    </a:cubicBezTo>
                    <a:cubicBezTo>
                      <a:pt x="13" y="22"/>
                      <a:pt x="13" y="22"/>
                      <a:pt x="13" y="22"/>
                    </a:cubicBezTo>
                    <a:cubicBezTo>
                      <a:pt x="6" y="14"/>
                      <a:pt x="0" y="8"/>
                      <a:pt x="1" y="8"/>
                    </a:cubicBezTo>
                    <a:cubicBezTo>
                      <a:pt x="1" y="8"/>
                      <a:pt x="7" y="13"/>
                      <a:pt x="14" y="20"/>
                    </a:cubicBezTo>
                    <a:cubicBezTo>
                      <a:pt x="13" y="20"/>
                      <a:pt x="13" y="20"/>
                      <a:pt x="13" y="20"/>
                    </a:cubicBezTo>
                    <a:cubicBezTo>
                      <a:pt x="14" y="19"/>
                      <a:pt x="16" y="18"/>
                      <a:pt x="17" y="17"/>
                    </a:cubicBezTo>
                    <a:cubicBezTo>
                      <a:pt x="27" y="7"/>
                      <a:pt x="35" y="0"/>
                      <a:pt x="3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48">
                <a:extLst>
                  <a:ext uri="{FF2B5EF4-FFF2-40B4-BE49-F238E27FC236}">
                    <a16:creationId xmlns:a16="http://schemas.microsoft.com/office/drawing/2014/main" id="{048A8941-2055-4E45-BB17-635E302257DF}"/>
                  </a:ext>
                </a:extLst>
              </p:cNvPr>
              <p:cNvSpPr>
                <a:spLocks/>
              </p:cNvSpPr>
              <p:nvPr/>
            </p:nvSpPr>
            <p:spPr bwMode="auto">
              <a:xfrm>
                <a:off x="3901" y="1140"/>
                <a:ext cx="1182" cy="489"/>
              </a:xfrm>
              <a:custGeom>
                <a:avLst/>
                <a:gdLst>
                  <a:gd name="T0" fmla="*/ 488 w 498"/>
                  <a:gd name="T1" fmla="*/ 206 h 206"/>
                  <a:gd name="T2" fmla="*/ 11 w 498"/>
                  <a:gd name="T3" fmla="*/ 206 h 206"/>
                  <a:gd name="T4" fmla="*/ 0 w 498"/>
                  <a:gd name="T5" fmla="*/ 196 h 206"/>
                  <a:gd name="T6" fmla="*/ 0 w 498"/>
                  <a:gd name="T7" fmla="*/ 10 h 206"/>
                  <a:gd name="T8" fmla="*/ 11 w 498"/>
                  <a:gd name="T9" fmla="*/ 0 h 206"/>
                  <a:gd name="T10" fmla="*/ 488 w 498"/>
                  <a:gd name="T11" fmla="*/ 0 h 206"/>
                  <a:gd name="T12" fmla="*/ 498 w 498"/>
                  <a:gd name="T13" fmla="*/ 10 h 206"/>
                  <a:gd name="T14" fmla="*/ 498 w 498"/>
                  <a:gd name="T15" fmla="*/ 196 h 206"/>
                  <a:gd name="T16" fmla="*/ 488 w 498"/>
                  <a:gd name="T1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206">
                    <a:moveTo>
                      <a:pt x="488" y="206"/>
                    </a:moveTo>
                    <a:cubicBezTo>
                      <a:pt x="11" y="206"/>
                      <a:pt x="11" y="206"/>
                      <a:pt x="11" y="206"/>
                    </a:cubicBezTo>
                    <a:cubicBezTo>
                      <a:pt x="5" y="206"/>
                      <a:pt x="0" y="202"/>
                      <a:pt x="0" y="196"/>
                    </a:cubicBezTo>
                    <a:cubicBezTo>
                      <a:pt x="0" y="10"/>
                      <a:pt x="0" y="10"/>
                      <a:pt x="0" y="10"/>
                    </a:cubicBezTo>
                    <a:cubicBezTo>
                      <a:pt x="0" y="4"/>
                      <a:pt x="5" y="0"/>
                      <a:pt x="11" y="0"/>
                    </a:cubicBezTo>
                    <a:cubicBezTo>
                      <a:pt x="488" y="0"/>
                      <a:pt x="488" y="0"/>
                      <a:pt x="488" y="0"/>
                    </a:cubicBezTo>
                    <a:cubicBezTo>
                      <a:pt x="493" y="0"/>
                      <a:pt x="498" y="4"/>
                      <a:pt x="498" y="10"/>
                    </a:cubicBezTo>
                    <a:cubicBezTo>
                      <a:pt x="498" y="196"/>
                      <a:pt x="498" y="196"/>
                      <a:pt x="498" y="196"/>
                    </a:cubicBezTo>
                    <a:cubicBezTo>
                      <a:pt x="498" y="202"/>
                      <a:pt x="493" y="206"/>
                      <a:pt x="488" y="20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49">
                <a:extLst>
                  <a:ext uri="{FF2B5EF4-FFF2-40B4-BE49-F238E27FC236}">
                    <a16:creationId xmlns:a16="http://schemas.microsoft.com/office/drawing/2014/main" id="{4F3B71C6-7BBE-4760-A59B-E2B6D154ADBA}"/>
                  </a:ext>
                </a:extLst>
              </p:cNvPr>
              <p:cNvSpPr>
                <a:spLocks noChangeArrowheads="1"/>
              </p:cNvSpPr>
              <p:nvPr/>
            </p:nvSpPr>
            <p:spPr bwMode="auto">
              <a:xfrm>
                <a:off x="4036" y="1240"/>
                <a:ext cx="111" cy="109"/>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Rectangle 50">
                <a:extLst>
                  <a:ext uri="{FF2B5EF4-FFF2-40B4-BE49-F238E27FC236}">
                    <a16:creationId xmlns:a16="http://schemas.microsoft.com/office/drawing/2014/main" id="{B27FA923-BE06-49B8-AF01-6C9D50A2F2DC}"/>
                  </a:ext>
                </a:extLst>
              </p:cNvPr>
              <p:cNvSpPr>
                <a:spLocks noChangeArrowheads="1"/>
              </p:cNvSpPr>
              <p:nvPr/>
            </p:nvSpPr>
            <p:spPr bwMode="auto">
              <a:xfrm>
                <a:off x="4202" y="1256"/>
                <a:ext cx="385" cy="22"/>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Rectangle 51">
                <a:extLst>
                  <a:ext uri="{FF2B5EF4-FFF2-40B4-BE49-F238E27FC236}">
                    <a16:creationId xmlns:a16="http://schemas.microsoft.com/office/drawing/2014/main" id="{85CF6A66-B48D-4A38-AF3F-2D7158B03E3E}"/>
                  </a:ext>
                </a:extLst>
              </p:cNvPr>
              <p:cNvSpPr>
                <a:spLocks noChangeArrowheads="1"/>
              </p:cNvSpPr>
              <p:nvPr/>
            </p:nvSpPr>
            <p:spPr bwMode="auto">
              <a:xfrm>
                <a:off x="4202" y="1304"/>
                <a:ext cx="748"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52">
                <a:extLst>
                  <a:ext uri="{FF2B5EF4-FFF2-40B4-BE49-F238E27FC236}">
                    <a16:creationId xmlns:a16="http://schemas.microsoft.com/office/drawing/2014/main" id="{2FED6FC3-52FA-4D7B-A245-E137DEE8F3E2}"/>
                  </a:ext>
                </a:extLst>
              </p:cNvPr>
              <p:cNvSpPr>
                <a:spLocks noChangeArrowheads="1"/>
              </p:cNvSpPr>
              <p:nvPr/>
            </p:nvSpPr>
            <p:spPr bwMode="auto">
              <a:xfrm>
                <a:off x="4036" y="1408"/>
                <a:ext cx="111" cy="110"/>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53">
                <a:extLst>
                  <a:ext uri="{FF2B5EF4-FFF2-40B4-BE49-F238E27FC236}">
                    <a16:creationId xmlns:a16="http://schemas.microsoft.com/office/drawing/2014/main" id="{4D5560A8-4C96-4FA2-8CDD-3A859C957436}"/>
                  </a:ext>
                </a:extLst>
              </p:cNvPr>
              <p:cNvSpPr>
                <a:spLocks noChangeArrowheads="1"/>
              </p:cNvSpPr>
              <p:nvPr/>
            </p:nvSpPr>
            <p:spPr bwMode="auto">
              <a:xfrm>
                <a:off x="4202" y="1425"/>
                <a:ext cx="197" cy="21"/>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Rectangle 54">
                <a:extLst>
                  <a:ext uri="{FF2B5EF4-FFF2-40B4-BE49-F238E27FC236}">
                    <a16:creationId xmlns:a16="http://schemas.microsoft.com/office/drawing/2014/main" id="{6FC61950-C6F6-4755-B759-3452C80FF4DA}"/>
                  </a:ext>
                </a:extLst>
              </p:cNvPr>
              <p:cNvSpPr>
                <a:spLocks noChangeArrowheads="1"/>
              </p:cNvSpPr>
              <p:nvPr/>
            </p:nvSpPr>
            <p:spPr bwMode="auto">
              <a:xfrm>
                <a:off x="4202" y="1475"/>
                <a:ext cx="748"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55">
                <a:extLst>
                  <a:ext uri="{FF2B5EF4-FFF2-40B4-BE49-F238E27FC236}">
                    <a16:creationId xmlns:a16="http://schemas.microsoft.com/office/drawing/2014/main" id="{A675A9C7-7D9F-455E-8A1A-441C3D67816C}"/>
                  </a:ext>
                </a:extLst>
              </p:cNvPr>
              <p:cNvSpPr>
                <a:spLocks/>
              </p:cNvSpPr>
              <p:nvPr/>
            </p:nvSpPr>
            <p:spPr bwMode="auto">
              <a:xfrm>
                <a:off x="4109" y="2430"/>
                <a:ext cx="1524" cy="648"/>
              </a:xfrm>
              <a:custGeom>
                <a:avLst/>
                <a:gdLst>
                  <a:gd name="T0" fmla="*/ 626 w 642"/>
                  <a:gd name="T1" fmla="*/ 273 h 273"/>
                  <a:gd name="T2" fmla="*/ 16 w 642"/>
                  <a:gd name="T3" fmla="*/ 273 h 273"/>
                  <a:gd name="T4" fmla="*/ 0 w 642"/>
                  <a:gd name="T5" fmla="*/ 257 h 273"/>
                  <a:gd name="T6" fmla="*/ 0 w 642"/>
                  <a:gd name="T7" fmla="*/ 16 h 273"/>
                  <a:gd name="T8" fmla="*/ 16 w 642"/>
                  <a:gd name="T9" fmla="*/ 0 h 273"/>
                  <a:gd name="T10" fmla="*/ 626 w 642"/>
                  <a:gd name="T11" fmla="*/ 0 h 273"/>
                  <a:gd name="T12" fmla="*/ 642 w 642"/>
                  <a:gd name="T13" fmla="*/ 16 h 273"/>
                  <a:gd name="T14" fmla="*/ 642 w 642"/>
                  <a:gd name="T15" fmla="*/ 257 h 273"/>
                  <a:gd name="T16" fmla="*/ 626 w 642"/>
                  <a:gd name="T17"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2" h="273">
                    <a:moveTo>
                      <a:pt x="626" y="273"/>
                    </a:moveTo>
                    <a:cubicBezTo>
                      <a:pt x="16" y="273"/>
                      <a:pt x="16" y="273"/>
                      <a:pt x="16" y="273"/>
                    </a:cubicBezTo>
                    <a:cubicBezTo>
                      <a:pt x="7" y="273"/>
                      <a:pt x="0" y="266"/>
                      <a:pt x="0" y="257"/>
                    </a:cubicBezTo>
                    <a:cubicBezTo>
                      <a:pt x="0" y="16"/>
                      <a:pt x="0" y="16"/>
                      <a:pt x="0" y="16"/>
                    </a:cubicBezTo>
                    <a:cubicBezTo>
                      <a:pt x="0" y="7"/>
                      <a:pt x="7" y="0"/>
                      <a:pt x="16" y="0"/>
                    </a:cubicBezTo>
                    <a:cubicBezTo>
                      <a:pt x="626" y="0"/>
                      <a:pt x="626" y="0"/>
                      <a:pt x="626" y="0"/>
                    </a:cubicBezTo>
                    <a:cubicBezTo>
                      <a:pt x="635" y="0"/>
                      <a:pt x="642" y="7"/>
                      <a:pt x="642" y="16"/>
                    </a:cubicBezTo>
                    <a:cubicBezTo>
                      <a:pt x="642" y="257"/>
                      <a:pt x="642" y="257"/>
                      <a:pt x="642" y="257"/>
                    </a:cubicBezTo>
                    <a:cubicBezTo>
                      <a:pt x="642" y="266"/>
                      <a:pt x="635" y="273"/>
                      <a:pt x="626" y="27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56">
                <a:extLst>
                  <a:ext uri="{FF2B5EF4-FFF2-40B4-BE49-F238E27FC236}">
                    <a16:creationId xmlns:a16="http://schemas.microsoft.com/office/drawing/2014/main" id="{B746F9C3-4279-4269-A222-733A15408DBB}"/>
                  </a:ext>
                </a:extLst>
              </p:cNvPr>
              <p:cNvSpPr>
                <a:spLocks/>
              </p:cNvSpPr>
              <p:nvPr/>
            </p:nvSpPr>
            <p:spPr bwMode="auto">
              <a:xfrm>
                <a:off x="4221" y="2612"/>
                <a:ext cx="169" cy="198"/>
              </a:xfrm>
              <a:custGeom>
                <a:avLst/>
                <a:gdLst>
                  <a:gd name="T0" fmla="*/ 71 w 71"/>
                  <a:gd name="T1" fmla="*/ 55 h 83"/>
                  <a:gd name="T2" fmla="*/ 70 w 71"/>
                  <a:gd name="T3" fmla="*/ 0 h 83"/>
                  <a:gd name="T4" fmla="*/ 25 w 71"/>
                  <a:gd name="T5" fmla="*/ 17 h 83"/>
                  <a:gd name="T6" fmla="*/ 3 w 71"/>
                  <a:gd name="T7" fmla="*/ 75 h 83"/>
                  <a:gd name="T8" fmla="*/ 4 w 71"/>
                  <a:gd name="T9" fmla="*/ 83 h 83"/>
                  <a:gd name="T10" fmla="*/ 4 w 71"/>
                  <a:gd name="T11" fmla="*/ 83 h 83"/>
                  <a:gd name="T12" fmla="*/ 4 w 71"/>
                  <a:gd name="T13" fmla="*/ 83 h 83"/>
                  <a:gd name="T14" fmla="*/ 71 w 71"/>
                  <a:gd name="T15" fmla="*/ 68 h 83"/>
                  <a:gd name="T16" fmla="*/ 71 w 71"/>
                  <a:gd name="T17" fmla="*/ 5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83">
                    <a:moveTo>
                      <a:pt x="71" y="55"/>
                    </a:moveTo>
                    <a:cubicBezTo>
                      <a:pt x="70" y="0"/>
                      <a:pt x="70" y="0"/>
                      <a:pt x="70" y="0"/>
                    </a:cubicBezTo>
                    <a:cubicBezTo>
                      <a:pt x="54" y="0"/>
                      <a:pt x="37" y="6"/>
                      <a:pt x="25" y="17"/>
                    </a:cubicBezTo>
                    <a:cubicBezTo>
                      <a:pt x="10" y="31"/>
                      <a:pt x="0" y="51"/>
                      <a:pt x="3" y="75"/>
                    </a:cubicBezTo>
                    <a:cubicBezTo>
                      <a:pt x="3" y="77"/>
                      <a:pt x="3" y="80"/>
                      <a:pt x="4" y="83"/>
                    </a:cubicBezTo>
                    <a:cubicBezTo>
                      <a:pt x="4" y="83"/>
                      <a:pt x="4" y="83"/>
                      <a:pt x="4" y="83"/>
                    </a:cubicBezTo>
                    <a:cubicBezTo>
                      <a:pt x="4" y="83"/>
                      <a:pt x="4" y="83"/>
                      <a:pt x="4" y="83"/>
                    </a:cubicBezTo>
                    <a:cubicBezTo>
                      <a:pt x="71" y="68"/>
                      <a:pt x="71" y="68"/>
                      <a:pt x="71" y="68"/>
                    </a:cubicBezTo>
                    <a:lnTo>
                      <a:pt x="71" y="55"/>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57">
                <a:extLst>
                  <a:ext uri="{FF2B5EF4-FFF2-40B4-BE49-F238E27FC236}">
                    <a16:creationId xmlns:a16="http://schemas.microsoft.com/office/drawing/2014/main" id="{F6728CBE-92C8-4A2B-B932-DBEE5578B8DE}"/>
                  </a:ext>
                </a:extLst>
              </p:cNvPr>
              <p:cNvSpPr>
                <a:spLocks/>
              </p:cNvSpPr>
              <p:nvPr/>
            </p:nvSpPr>
            <p:spPr bwMode="auto">
              <a:xfrm>
                <a:off x="4406" y="2612"/>
                <a:ext cx="162" cy="198"/>
              </a:xfrm>
              <a:custGeom>
                <a:avLst/>
                <a:gdLst>
                  <a:gd name="T0" fmla="*/ 61 w 68"/>
                  <a:gd name="T1" fmla="*/ 38 h 83"/>
                  <a:gd name="T2" fmla="*/ 8 w 68"/>
                  <a:gd name="T3" fmla="*/ 0 h 83"/>
                  <a:gd name="T4" fmla="*/ 5 w 68"/>
                  <a:gd name="T5" fmla="*/ 0 h 83"/>
                  <a:gd name="T6" fmla="*/ 4 w 68"/>
                  <a:gd name="T7" fmla="*/ 0 h 83"/>
                  <a:gd name="T8" fmla="*/ 0 w 68"/>
                  <a:gd name="T9" fmla="*/ 0 h 83"/>
                  <a:gd name="T10" fmla="*/ 0 w 68"/>
                  <a:gd name="T11" fmla="*/ 0 h 83"/>
                  <a:gd name="T12" fmla="*/ 0 w 68"/>
                  <a:gd name="T13" fmla="*/ 0 h 83"/>
                  <a:gd name="T14" fmla="*/ 0 w 68"/>
                  <a:gd name="T15" fmla="*/ 0 h 83"/>
                  <a:gd name="T16" fmla="*/ 0 w 68"/>
                  <a:gd name="T17" fmla="*/ 0 h 83"/>
                  <a:gd name="T18" fmla="*/ 0 w 68"/>
                  <a:gd name="T19" fmla="*/ 55 h 83"/>
                  <a:gd name="T20" fmla="*/ 0 w 68"/>
                  <a:gd name="T21" fmla="*/ 68 h 83"/>
                  <a:gd name="T22" fmla="*/ 67 w 68"/>
                  <a:gd name="T23" fmla="*/ 83 h 83"/>
                  <a:gd name="T24" fmla="*/ 67 w 68"/>
                  <a:gd name="T25" fmla="*/ 83 h 83"/>
                  <a:gd name="T26" fmla="*/ 68 w 68"/>
                  <a:gd name="T27" fmla="*/ 68 h 83"/>
                  <a:gd name="T28" fmla="*/ 61 w 68"/>
                  <a:gd name="T29" fmla="*/ 3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83">
                    <a:moveTo>
                      <a:pt x="61" y="38"/>
                    </a:moveTo>
                    <a:cubicBezTo>
                      <a:pt x="52" y="19"/>
                      <a:pt x="34" y="3"/>
                      <a:pt x="8" y="0"/>
                    </a:cubicBezTo>
                    <a:cubicBezTo>
                      <a:pt x="7" y="0"/>
                      <a:pt x="6" y="0"/>
                      <a:pt x="5" y="0"/>
                    </a:cubicBezTo>
                    <a:cubicBezTo>
                      <a:pt x="5" y="0"/>
                      <a:pt x="5" y="0"/>
                      <a:pt x="4" y="0"/>
                    </a:cubicBezTo>
                    <a:cubicBezTo>
                      <a:pt x="3" y="0"/>
                      <a:pt x="1" y="0"/>
                      <a:pt x="0" y="0"/>
                    </a:cubicBezTo>
                    <a:cubicBezTo>
                      <a:pt x="0" y="0"/>
                      <a:pt x="0" y="0"/>
                      <a:pt x="0" y="0"/>
                    </a:cubicBezTo>
                    <a:cubicBezTo>
                      <a:pt x="0" y="0"/>
                      <a:pt x="0" y="0"/>
                      <a:pt x="0" y="0"/>
                    </a:cubicBezTo>
                    <a:cubicBezTo>
                      <a:pt x="0" y="0"/>
                      <a:pt x="0" y="0"/>
                      <a:pt x="0" y="0"/>
                    </a:cubicBezTo>
                    <a:cubicBezTo>
                      <a:pt x="0" y="0"/>
                      <a:pt x="0" y="0"/>
                      <a:pt x="0" y="0"/>
                    </a:cubicBezTo>
                    <a:cubicBezTo>
                      <a:pt x="0" y="55"/>
                      <a:pt x="0" y="55"/>
                      <a:pt x="0" y="55"/>
                    </a:cubicBezTo>
                    <a:cubicBezTo>
                      <a:pt x="0" y="68"/>
                      <a:pt x="0" y="68"/>
                      <a:pt x="0" y="68"/>
                    </a:cubicBezTo>
                    <a:cubicBezTo>
                      <a:pt x="67" y="83"/>
                      <a:pt x="67" y="83"/>
                      <a:pt x="67" y="83"/>
                    </a:cubicBezTo>
                    <a:cubicBezTo>
                      <a:pt x="67" y="83"/>
                      <a:pt x="67" y="83"/>
                      <a:pt x="67" y="83"/>
                    </a:cubicBezTo>
                    <a:cubicBezTo>
                      <a:pt x="68" y="78"/>
                      <a:pt x="68" y="73"/>
                      <a:pt x="68" y="68"/>
                    </a:cubicBezTo>
                    <a:cubicBezTo>
                      <a:pt x="68" y="58"/>
                      <a:pt x="66" y="48"/>
                      <a:pt x="61" y="3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59">
                <a:extLst>
                  <a:ext uri="{FF2B5EF4-FFF2-40B4-BE49-F238E27FC236}">
                    <a16:creationId xmlns:a16="http://schemas.microsoft.com/office/drawing/2014/main" id="{8D77AE0B-47C7-4D23-BF83-71D366C400A9}"/>
                  </a:ext>
                </a:extLst>
              </p:cNvPr>
              <p:cNvSpPr>
                <a:spLocks/>
              </p:cNvSpPr>
              <p:nvPr/>
            </p:nvSpPr>
            <p:spPr bwMode="auto">
              <a:xfrm>
                <a:off x="4240" y="2791"/>
                <a:ext cx="316" cy="161"/>
              </a:xfrm>
              <a:custGeom>
                <a:avLst/>
                <a:gdLst>
                  <a:gd name="T0" fmla="*/ 66 w 133"/>
                  <a:gd name="T1" fmla="*/ 0 h 68"/>
                  <a:gd name="T2" fmla="*/ 0 w 133"/>
                  <a:gd name="T3" fmla="*/ 15 h 68"/>
                  <a:gd name="T4" fmla="*/ 66 w 133"/>
                  <a:gd name="T5" fmla="*/ 68 h 68"/>
                  <a:gd name="T6" fmla="*/ 133 w 133"/>
                  <a:gd name="T7" fmla="*/ 15 h 68"/>
                  <a:gd name="T8" fmla="*/ 66 w 133"/>
                  <a:gd name="T9" fmla="*/ 0 h 68"/>
                  <a:gd name="T10" fmla="*/ 66 w 133"/>
                  <a:gd name="T11" fmla="*/ 0 h 68"/>
                </a:gdLst>
                <a:ahLst/>
                <a:cxnLst>
                  <a:cxn ang="0">
                    <a:pos x="T0" y="T1"/>
                  </a:cxn>
                  <a:cxn ang="0">
                    <a:pos x="T2" y="T3"/>
                  </a:cxn>
                  <a:cxn ang="0">
                    <a:pos x="T4" y="T5"/>
                  </a:cxn>
                  <a:cxn ang="0">
                    <a:pos x="T6" y="T7"/>
                  </a:cxn>
                  <a:cxn ang="0">
                    <a:pos x="T8" y="T9"/>
                  </a:cxn>
                  <a:cxn ang="0">
                    <a:pos x="T10" y="T11"/>
                  </a:cxn>
                </a:cxnLst>
                <a:rect l="0" t="0" r="r" b="b"/>
                <a:pathLst>
                  <a:path w="133" h="68">
                    <a:moveTo>
                      <a:pt x="66" y="0"/>
                    </a:moveTo>
                    <a:cubicBezTo>
                      <a:pt x="0" y="15"/>
                      <a:pt x="0" y="15"/>
                      <a:pt x="0" y="15"/>
                    </a:cubicBezTo>
                    <a:cubicBezTo>
                      <a:pt x="6" y="46"/>
                      <a:pt x="34" y="68"/>
                      <a:pt x="66" y="68"/>
                    </a:cubicBezTo>
                    <a:cubicBezTo>
                      <a:pt x="99" y="68"/>
                      <a:pt x="126" y="45"/>
                      <a:pt x="133" y="15"/>
                    </a:cubicBezTo>
                    <a:cubicBezTo>
                      <a:pt x="66" y="0"/>
                      <a:pt x="66" y="0"/>
                      <a:pt x="66" y="0"/>
                    </a:cubicBezTo>
                    <a:cubicBezTo>
                      <a:pt x="66" y="0"/>
                      <a:pt x="66" y="0"/>
                      <a:pt x="66" y="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60">
                <a:extLst>
                  <a:ext uri="{FF2B5EF4-FFF2-40B4-BE49-F238E27FC236}">
                    <a16:creationId xmlns:a16="http://schemas.microsoft.com/office/drawing/2014/main" id="{EF4623DF-7C75-4350-901B-5C612460AFB4}"/>
                  </a:ext>
                </a:extLst>
              </p:cNvPr>
              <p:cNvSpPr>
                <a:spLocks/>
              </p:cNvSpPr>
              <p:nvPr/>
            </p:nvSpPr>
            <p:spPr bwMode="auto">
              <a:xfrm>
                <a:off x="4240" y="2791"/>
                <a:ext cx="316" cy="161"/>
              </a:xfrm>
              <a:custGeom>
                <a:avLst/>
                <a:gdLst>
                  <a:gd name="T0" fmla="*/ 66 w 133"/>
                  <a:gd name="T1" fmla="*/ 0 h 68"/>
                  <a:gd name="T2" fmla="*/ 0 w 133"/>
                  <a:gd name="T3" fmla="*/ 15 h 68"/>
                  <a:gd name="T4" fmla="*/ 66 w 133"/>
                  <a:gd name="T5" fmla="*/ 68 h 68"/>
                  <a:gd name="T6" fmla="*/ 133 w 133"/>
                  <a:gd name="T7" fmla="*/ 15 h 68"/>
                  <a:gd name="T8" fmla="*/ 66 w 133"/>
                  <a:gd name="T9" fmla="*/ 0 h 68"/>
                  <a:gd name="T10" fmla="*/ 66 w 133"/>
                  <a:gd name="T11" fmla="*/ 0 h 68"/>
                </a:gdLst>
                <a:ahLst/>
                <a:cxnLst>
                  <a:cxn ang="0">
                    <a:pos x="T0" y="T1"/>
                  </a:cxn>
                  <a:cxn ang="0">
                    <a:pos x="T2" y="T3"/>
                  </a:cxn>
                  <a:cxn ang="0">
                    <a:pos x="T4" y="T5"/>
                  </a:cxn>
                  <a:cxn ang="0">
                    <a:pos x="T6" y="T7"/>
                  </a:cxn>
                  <a:cxn ang="0">
                    <a:pos x="T8" y="T9"/>
                  </a:cxn>
                  <a:cxn ang="0">
                    <a:pos x="T10" y="T11"/>
                  </a:cxn>
                </a:cxnLst>
                <a:rect l="0" t="0" r="r" b="b"/>
                <a:pathLst>
                  <a:path w="133" h="68">
                    <a:moveTo>
                      <a:pt x="66" y="0"/>
                    </a:moveTo>
                    <a:cubicBezTo>
                      <a:pt x="0" y="15"/>
                      <a:pt x="0" y="15"/>
                      <a:pt x="0" y="15"/>
                    </a:cubicBezTo>
                    <a:cubicBezTo>
                      <a:pt x="6" y="46"/>
                      <a:pt x="34" y="68"/>
                      <a:pt x="66" y="68"/>
                    </a:cubicBezTo>
                    <a:cubicBezTo>
                      <a:pt x="99" y="68"/>
                      <a:pt x="126" y="45"/>
                      <a:pt x="133" y="15"/>
                    </a:cubicBezTo>
                    <a:cubicBezTo>
                      <a:pt x="66" y="0"/>
                      <a:pt x="66" y="0"/>
                      <a:pt x="66" y="0"/>
                    </a:cubicBezTo>
                    <a:cubicBezTo>
                      <a:pt x="66" y="0"/>
                      <a:pt x="66" y="0"/>
                      <a:pt x="66" y="0"/>
                    </a:cubicBezTo>
                  </a:path>
                </a:pathLst>
              </a:custGeom>
              <a:solidFill>
                <a:srgbClr val="D04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61">
                <a:extLst>
                  <a:ext uri="{FF2B5EF4-FFF2-40B4-BE49-F238E27FC236}">
                    <a16:creationId xmlns:a16="http://schemas.microsoft.com/office/drawing/2014/main" id="{177BEA18-3420-403A-8441-70620C3089C8}"/>
                  </a:ext>
                </a:extLst>
              </p:cNvPr>
              <p:cNvSpPr>
                <a:spLocks noChangeArrowheads="1"/>
              </p:cNvSpPr>
              <p:nvPr/>
            </p:nvSpPr>
            <p:spPr bwMode="auto">
              <a:xfrm>
                <a:off x="4674" y="2650"/>
                <a:ext cx="805"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Rectangle 62">
                <a:extLst>
                  <a:ext uri="{FF2B5EF4-FFF2-40B4-BE49-F238E27FC236}">
                    <a16:creationId xmlns:a16="http://schemas.microsoft.com/office/drawing/2014/main" id="{DB66EB26-7839-4B60-B760-BADD59E63C0E}"/>
                  </a:ext>
                </a:extLst>
              </p:cNvPr>
              <p:cNvSpPr>
                <a:spLocks noChangeArrowheads="1"/>
              </p:cNvSpPr>
              <p:nvPr/>
            </p:nvSpPr>
            <p:spPr bwMode="auto">
              <a:xfrm>
                <a:off x="4674" y="2748"/>
                <a:ext cx="805" cy="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63">
                <a:extLst>
                  <a:ext uri="{FF2B5EF4-FFF2-40B4-BE49-F238E27FC236}">
                    <a16:creationId xmlns:a16="http://schemas.microsoft.com/office/drawing/2014/main" id="{28D3E91A-F0F1-42E8-9E18-53E338EED793}"/>
                  </a:ext>
                </a:extLst>
              </p:cNvPr>
              <p:cNvSpPr>
                <a:spLocks noChangeArrowheads="1"/>
              </p:cNvSpPr>
              <p:nvPr/>
            </p:nvSpPr>
            <p:spPr bwMode="auto">
              <a:xfrm>
                <a:off x="4674" y="2852"/>
                <a:ext cx="435" cy="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64">
                <a:extLst>
                  <a:ext uri="{FF2B5EF4-FFF2-40B4-BE49-F238E27FC236}">
                    <a16:creationId xmlns:a16="http://schemas.microsoft.com/office/drawing/2014/main" id="{024CEB07-5B63-4716-99FF-83EBCCD8B838}"/>
                  </a:ext>
                </a:extLst>
              </p:cNvPr>
              <p:cNvSpPr>
                <a:spLocks/>
              </p:cNvSpPr>
              <p:nvPr/>
            </p:nvSpPr>
            <p:spPr bwMode="auto">
              <a:xfrm>
                <a:off x="5887" y="1971"/>
                <a:ext cx="1588" cy="1530"/>
              </a:xfrm>
              <a:custGeom>
                <a:avLst/>
                <a:gdLst>
                  <a:gd name="T0" fmla="*/ 636 w 669"/>
                  <a:gd name="T1" fmla="*/ 644 h 644"/>
                  <a:gd name="T2" fmla="*/ 33 w 669"/>
                  <a:gd name="T3" fmla="*/ 644 h 644"/>
                  <a:gd name="T4" fmla="*/ 0 w 669"/>
                  <a:gd name="T5" fmla="*/ 611 h 644"/>
                  <a:gd name="T6" fmla="*/ 0 w 669"/>
                  <a:gd name="T7" fmla="*/ 33 h 644"/>
                  <a:gd name="T8" fmla="*/ 33 w 669"/>
                  <a:gd name="T9" fmla="*/ 0 h 644"/>
                  <a:gd name="T10" fmla="*/ 636 w 669"/>
                  <a:gd name="T11" fmla="*/ 0 h 644"/>
                  <a:gd name="T12" fmla="*/ 669 w 669"/>
                  <a:gd name="T13" fmla="*/ 33 h 644"/>
                  <a:gd name="T14" fmla="*/ 669 w 669"/>
                  <a:gd name="T15" fmla="*/ 611 h 644"/>
                  <a:gd name="T16" fmla="*/ 636 w 669"/>
                  <a:gd name="T17"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9" h="644">
                    <a:moveTo>
                      <a:pt x="636" y="644"/>
                    </a:moveTo>
                    <a:cubicBezTo>
                      <a:pt x="33" y="644"/>
                      <a:pt x="33" y="644"/>
                      <a:pt x="33" y="644"/>
                    </a:cubicBezTo>
                    <a:cubicBezTo>
                      <a:pt x="15" y="644"/>
                      <a:pt x="0" y="629"/>
                      <a:pt x="0" y="611"/>
                    </a:cubicBezTo>
                    <a:cubicBezTo>
                      <a:pt x="0" y="33"/>
                      <a:pt x="0" y="33"/>
                      <a:pt x="0" y="33"/>
                    </a:cubicBezTo>
                    <a:cubicBezTo>
                      <a:pt x="0" y="15"/>
                      <a:pt x="15" y="0"/>
                      <a:pt x="33" y="0"/>
                    </a:cubicBezTo>
                    <a:cubicBezTo>
                      <a:pt x="636" y="0"/>
                      <a:pt x="636" y="0"/>
                      <a:pt x="636" y="0"/>
                    </a:cubicBezTo>
                    <a:cubicBezTo>
                      <a:pt x="654" y="0"/>
                      <a:pt x="669" y="15"/>
                      <a:pt x="669" y="33"/>
                    </a:cubicBezTo>
                    <a:cubicBezTo>
                      <a:pt x="669" y="611"/>
                      <a:pt x="669" y="611"/>
                      <a:pt x="669" y="611"/>
                    </a:cubicBezTo>
                    <a:cubicBezTo>
                      <a:pt x="669" y="629"/>
                      <a:pt x="654" y="644"/>
                      <a:pt x="636" y="644"/>
                    </a:cubicBez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65">
                <a:extLst>
                  <a:ext uri="{FF2B5EF4-FFF2-40B4-BE49-F238E27FC236}">
                    <a16:creationId xmlns:a16="http://schemas.microsoft.com/office/drawing/2014/main" id="{788AAF2C-FE34-477A-A74C-E344E31F8E00}"/>
                  </a:ext>
                </a:extLst>
              </p:cNvPr>
              <p:cNvSpPr>
                <a:spLocks noChangeArrowheads="1"/>
              </p:cNvSpPr>
              <p:nvPr/>
            </p:nvSpPr>
            <p:spPr bwMode="auto">
              <a:xfrm>
                <a:off x="5996" y="3019"/>
                <a:ext cx="53" cy="16"/>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66">
                <a:extLst>
                  <a:ext uri="{FF2B5EF4-FFF2-40B4-BE49-F238E27FC236}">
                    <a16:creationId xmlns:a16="http://schemas.microsoft.com/office/drawing/2014/main" id="{10FCBECD-E605-40B0-A43B-23B8F3B03568}"/>
                  </a:ext>
                </a:extLst>
              </p:cNvPr>
              <p:cNvSpPr>
                <a:spLocks noChangeArrowheads="1"/>
              </p:cNvSpPr>
              <p:nvPr/>
            </p:nvSpPr>
            <p:spPr bwMode="auto">
              <a:xfrm>
                <a:off x="6115" y="3099"/>
                <a:ext cx="66"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67">
                <a:extLst>
                  <a:ext uri="{FF2B5EF4-FFF2-40B4-BE49-F238E27FC236}">
                    <a16:creationId xmlns:a16="http://schemas.microsoft.com/office/drawing/2014/main" id="{38A6C18E-4B7B-45E4-9AA3-1BA7C5143137}"/>
                  </a:ext>
                </a:extLst>
              </p:cNvPr>
              <p:cNvSpPr>
                <a:spLocks noChangeArrowheads="1"/>
              </p:cNvSpPr>
              <p:nvPr/>
            </p:nvSpPr>
            <p:spPr bwMode="auto">
              <a:xfrm>
                <a:off x="6348" y="3099"/>
                <a:ext cx="66"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68">
                <a:extLst>
                  <a:ext uri="{FF2B5EF4-FFF2-40B4-BE49-F238E27FC236}">
                    <a16:creationId xmlns:a16="http://schemas.microsoft.com/office/drawing/2014/main" id="{44151B23-12DF-4B6C-A9F8-4BD212BA2D45}"/>
                  </a:ext>
                </a:extLst>
              </p:cNvPr>
              <p:cNvSpPr>
                <a:spLocks noChangeArrowheads="1"/>
              </p:cNvSpPr>
              <p:nvPr/>
            </p:nvSpPr>
            <p:spPr bwMode="auto">
              <a:xfrm>
                <a:off x="6580" y="3099"/>
                <a:ext cx="67"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69">
                <a:extLst>
                  <a:ext uri="{FF2B5EF4-FFF2-40B4-BE49-F238E27FC236}">
                    <a16:creationId xmlns:a16="http://schemas.microsoft.com/office/drawing/2014/main" id="{17610430-2F87-4697-B184-9C880559CE6C}"/>
                  </a:ext>
                </a:extLst>
              </p:cNvPr>
              <p:cNvSpPr>
                <a:spLocks noChangeArrowheads="1"/>
              </p:cNvSpPr>
              <p:nvPr/>
            </p:nvSpPr>
            <p:spPr bwMode="auto">
              <a:xfrm>
                <a:off x="6813" y="3099"/>
                <a:ext cx="66"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70">
                <a:extLst>
                  <a:ext uri="{FF2B5EF4-FFF2-40B4-BE49-F238E27FC236}">
                    <a16:creationId xmlns:a16="http://schemas.microsoft.com/office/drawing/2014/main" id="{9D3B30CC-36E0-4975-8A5C-52FBCF146F5C}"/>
                  </a:ext>
                </a:extLst>
              </p:cNvPr>
              <p:cNvSpPr>
                <a:spLocks noChangeArrowheads="1"/>
              </p:cNvSpPr>
              <p:nvPr/>
            </p:nvSpPr>
            <p:spPr bwMode="auto">
              <a:xfrm>
                <a:off x="7045" y="3099"/>
                <a:ext cx="67"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Rectangle 71">
                <a:extLst>
                  <a:ext uri="{FF2B5EF4-FFF2-40B4-BE49-F238E27FC236}">
                    <a16:creationId xmlns:a16="http://schemas.microsoft.com/office/drawing/2014/main" id="{AAC6A544-AF22-455F-A1EB-379062018AEA}"/>
                  </a:ext>
                </a:extLst>
              </p:cNvPr>
              <p:cNvSpPr>
                <a:spLocks noChangeArrowheads="1"/>
              </p:cNvSpPr>
              <p:nvPr/>
            </p:nvSpPr>
            <p:spPr bwMode="auto">
              <a:xfrm>
                <a:off x="7276" y="3099"/>
                <a:ext cx="66" cy="15"/>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72">
                <a:extLst>
                  <a:ext uri="{FF2B5EF4-FFF2-40B4-BE49-F238E27FC236}">
                    <a16:creationId xmlns:a16="http://schemas.microsoft.com/office/drawing/2014/main" id="{0AD49D4D-3872-424D-B23E-812B2D06E5DA}"/>
                  </a:ext>
                </a:extLst>
              </p:cNvPr>
              <p:cNvSpPr>
                <a:spLocks noChangeArrowheads="1"/>
              </p:cNvSpPr>
              <p:nvPr/>
            </p:nvSpPr>
            <p:spPr bwMode="auto">
              <a:xfrm>
                <a:off x="5996" y="2819"/>
                <a:ext cx="53" cy="14"/>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73">
                <a:extLst>
                  <a:ext uri="{FF2B5EF4-FFF2-40B4-BE49-F238E27FC236}">
                    <a16:creationId xmlns:a16="http://schemas.microsoft.com/office/drawing/2014/main" id="{8243EA89-28A4-41FC-A48A-E8917B0A1C8A}"/>
                  </a:ext>
                </a:extLst>
              </p:cNvPr>
              <p:cNvSpPr>
                <a:spLocks noChangeArrowheads="1"/>
              </p:cNvSpPr>
              <p:nvPr/>
            </p:nvSpPr>
            <p:spPr bwMode="auto">
              <a:xfrm>
                <a:off x="5996" y="2439"/>
                <a:ext cx="53" cy="17"/>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74">
                <a:extLst>
                  <a:ext uri="{FF2B5EF4-FFF2-40B4-BE49-F238E27FC236}">
                    <a16:creationId xmlns:a16="http://schemas.microsoft.com/office/drawing/2014/main" id="{3E2DB170-680F-45C0-8B3E-F859314FFE49}"/>
                  </a:ext>
                </a:extLst>
              </p:cNvPr>
              <p:cNvSpPr>
                <a:spLocks noChangeArrowheads="1"/>
              </p:cNvSpPr>
              <p:nvPr/>
            </p:nvSpPr>
            <p:spPr bwMode="auto">
              <a:xfrm>
                <a:off x="5996" y="2249"/>
                <a:ext cx="53" cy="17"/>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75">
                <a:extLst>
                  <a:ext uri="{FF2B5EF4-FFF2-40B4-BE49-F238E27FC236}">
                    <a16:creationId xmlns:a16="http://schemas.microsoft.com/office/drawing/2014/main" id="{B4845941-44A4-45F1-BB92-CB3B158478C8}"/>
                  </a:ext>
                </a:extLst>
              </p:cNvPr>
              <p:cNvSpPr>
                <a:spLocks noChangeArrowheads="1"/>
              </p:cNvSpPr>
              <p:nvPr/>
            </p:nvSpPr>
            <p:spPr bwMode="auto">
              <a:xfrm>
                <a:off x="6001" y="2629"/>
                <a:ext cx="52" cy="14"/>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76">
                <a:extLst>
                  <a:ext uri="{FF2B5EF4-FFF2-40B4-BE49-F238E27FC236}">
                    <a16:creationId xmlns:a16="http://schemas.microsoft.com/office/drawing/2014/main" id="{6B9B9246-DE14-4D7E-8C94-6F728427EC3B}"/>
                  </a:ext>
                </a:extLst>
              </p:cNvPr>
              <p:cNvSpPr>
                <a:spLocks/>
              </p:cNvSpPr>
              <p:nvPr/>
            </p:nvSpPr>
            <p:spPr bwMode="auto">
              <a:xfrm>
                <a:off x="6075" y="2133"/>
                <a:ext cx="1267" cy="905"/>
              </a:xfrm>
              <a:custGeom>
                <a:avLst/>
                <a:gdLst>
                  <a:gd name="T0" fmla="*/ 534 w 534"/>
                  <a:gd name="T1" fmla="*/ 380 h 381"/>
                  <a:gd name="T2" fmla="*/ 531 w 534"/>
                  <a:gd name="T3" fmla="*/ 380 h 381"/>
                  <a:gd name="T4" fmla="*/ 524 w 534"/>
                  <a:gd name="T5" fmla="*/ 380 h 381"/>
                  <a:gd name="T6" fmla="*/ 498 w 534"/>
                  <a:gd name="T7" fmla="*/ 380 h 381"/>
                  <a:gd name="T8" fmla="*/ 400 w 534"/>
                  <a:gd name="T9" fmla="*/ 380 h 381"/>
                  <a:gd name="T10" fmla="*/ 77 w 534"/>
                  <a:gd name="T11" fmla="*/ 381 h 381"/>
                  <a:gd name="T12" fmla="*/ 1 w 534"/>
                  <a:gd name="T13" fmla="*/ 381 h 381"/>
                  <a:gd name="T14" fmla="*/ 0 w 534"/>
                  <a:gd name="T15" fmla="*/ 381 h 381"/>
                  <a:gd name="T16" fmla="*/ 0 w 534"/>
                  <a:gd name="T17" fmla="*/ 380 h 381"/>
                  <a:gd name="T18" fmla="*/ 0 w 534"/>
                  <a:gd name="T19" fmla="*/ 109 h 381"/>
                  <a:gd name="T20" fmla="*/ 1 w 534"/>
                  <a:gd name="T21" fmla="*/ 29 h 381"/>
                  <a:gd name="T22" fmla="*/ 1 w 534"/>
                  <a:gd name="T23" fmla="*/ 7 h 381"/>
                  <a:gd name="T24" fmla="*/ 1 w 534"/>
                  <a:gd name="T25" fmla="*/ 2 h 381"/>
                  <a:gd name="T26" fmla="*/ 1 w 534"/>
                  <a:gd name="T27" fmla="*/ 0 h 381"/>
                  <a:gd name="T28" fmla="*/ 1 w 534"/>
                  <a:gd name="T29" fmla="*/ 2 h 381"/>
                  <a:gd name="T30" fmla="*/ 1 w 534"/>
                  <a:gd name="T31" fmla="*/ 7 h 381"/>
                  <a:gd name="T32" fmla="*/ 1 w 534"/>
                  <a:gd name="T33" fmla="*/ 29 h 381"/>
                  <a:gd name="T34" fmla="*/ 2 w 534"/>
                  <a:gd name="T35" fmla="*/ 109 h 381"/>
                  <a:gd name="T36" fmla="*/ 2 w 534"/>
                  <a:gd name="T37" fmla="*/ 380 h 381"/>
                  <a:gd name="T38" fmla="*/ 1 w 534"/>
                  <a:gd name="T39" fmla="*/ 379 h 381"/>
                  <a:gd name="T40" fmla="*/ 77 w 534"/>
                  <a:gd name="T41" fmla="*/ 379 h 381"/>
                  <a:gd name="T42" fmla="*/ 400 w 534"/>
                  <a:gd name="T43" fmla="*/ 379 h 381"/>
                  <a:gd name="T44" fmla="*/ 498 w 534"/>
                  <a:gd name="T45" fmla="*/ 379 h 381"/>
                  <a:gd name="T46" fmla="*/ 524 w 534"/>
                  <a:gd name="T47" fmla="*/ 379 h 381"/>
                  <a:gd name="T48" fmla="*/ 531 w 534"/>
                  <a:gd name="T49" fmla="*/ 379 h 381"/>
                  <a:gd name="T50" fmla="*/ 534 w 534"/>
                  <a:gd name="T51" fmla="*/ 38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4" h="381">
                    <a:moveTo>
                      <a:pt x="534" y="380"/>
                    </a:moveTo>
                    <a:cubicBezTo>
                      <a:pt x="534" y="380"/>
                      <a:pt x="533" y="380"/>
                      <a:pt x="531" y="380"/>
                    </a:cubicBezTo>
                    <a:cubicBezTo>
                      <a:pt x="530" y="380"/>
                      <a:pt x="527" y="380"/>
                      <a:pt x="524" y="380"/>
                    </a:cubicBezTo>
                    <a:cubicBezTo>
                      <a:pt x="518" y="380"/>
                      <a:pt x="509" y="380"/>
                      <a:pt x="498" y="380"/>
                    </a:cubicBezTo>
                    <a:cubicBezTo>
                      <a:pt x="475" y="380"/>
                      <a:pt x="441" y="380"/>
                      <a:pt x="400" y="380"/>
                    </a:cubicBezTo>
                    <a:cubicBezTo>
                      <a:pt x="317" y="380"/>
                      <a:pt x="203" y="380"/>
                      <a:pt x="77" y="381"/>
                    </a:cubicBezTo>
                    <a:cubicBezTo>
                      <a:pt x="51" y="381"/>
                      <a:pt x="26" y="381"/>
                      <a:pt x="1" y="381"/>
                    </a:cubicBezTo>
                    <a:cubicBezTo>
                      <a:pt x="0" y="381"/>
                      <a:pt x="0" y="381"/>
                      <a:pt x="0" y="381"/>
                    </a:cubicBezTo>
                    <a:cubicBezTo>
                      <a:pt x="0" y="380"/>
                      <a:pt x="0" y="380"/>
                      <a:pt x="0" y="380"/>
                    </a:cubicBezTo>
                    <a:cubicBezTo>
                      <a:pt x="0" y="272"/>
                      <a:pt x="0" y="177"/>
                      <a:pt x="0" y="109"/>
                    </a:cubicBezTo>
                    <a:cubicBezTo>
                      <a:pt x="0" y="75"/>
                      <a:pt x="0" y="48"/>
                      <a:pt x="1" y="29"/>
                    </a:cubicBezTo>
                    <a:cubicBezTo>
                      <a:pt x="1" y="19"/>
                      <a:pt x="1" y="12"/>
                      <a:pt x="1" y="7"/>
                    </a:cubicBezTo>
                    <a:cubicBezTo>
                      <a:pt x="1" y="5"/>
                      <a:pt x="1" y="3"/>
                      <a:pt x="1" y="2"/>
                    </a:cubicBezTo>
                    <a:cubicBezTo>
                      <a:pt x="1" y="0"/>
                      <a:pt x="1" y="0"/>
                      <a:pt x="1" y="0"/>
                    </a:cubicBezTo>
                    <a:cubicBezTo>
                      <a:pt x="1" y="0"/>
                      <a:pt x="1" y="0"/>
                      <a:pt x="1" y="2"/>
                    </a:cubicBezTo>
                    <a:cubicBezTo>
                      <a:pt x="1" y="3"/>
                      <a:pt x="1" y="5"/>
                      <a:pt x="1" y="7"/>
                    </a:cubicBezTo>
                    <a:cubicBezTo>
                      <a:pt x="1" y="12"/>
                      <a:pt x="1" y="19"/>
                      <a:pt x="1" y="29"/>
                    </a:cubicBezTo>
                    <a:cubicBezTo>
                      <a:pt x="1" y="48"/>
                      <a:pt x="1" y="75"/>
                      <a:pt x="2" y="109"/>
                    </a:cubicBezTo>
                    <a:cubicBezTo>
                      <a:pt x="2" y="177"/>
                      <a:pt x="2" y="272"/>
                      <a:pt x="2" y="380"/>
                    </a:cubicBezTo>
                    <a:cubicBezTo>
                      <a:pt x="1" y="379"/>
                      <a:pt x="1" y="379"/>
                      <a:pt x="1" y="379"/>
                    </a:cubicBezTo>
                    <a:cubicBezTo>
                      <a:pt x="26" y="379"/>
                      <a:pt x="51" y="379"/>
                      <a:pt x="77" y="379"/>
                    </a:cubicBezTo>
                    <a:cubicBezTo>
                      <a:pt x="203" y="379"/>
                      <a:pt x="317" y="379"/>
                      <a:pt x="400" y="379"/>
                    </a:cubicBezTo>
                    <a:cubicBezTo>
                      <a:pt x="441" y="379"/>
                      <a:pt x="475" y="379"/>
                      <a:pt x="498" y="379"/>
                    </a:cubicBezTo>
                    <a:cubicBezTo>
                      <a:pt x="509" y="379"/>
                      <a:pt x="518" y="379"/>
                      <a:pt x="524" y="379"/>
                    </a:cubicBezTo>
                    <a:cubicBezTo>
                      <a:pt x="527" y="379"/>
                      <a:pt x="530" y="379"/>
                      <a:pt x="531" y="379"/>
                    </a:cubicBezTo>
                    <a:cubicBezTo>
                      <a:pt x="533" y="379"/>
                      <a:pt x="534" y="380"/>
                      <a:pt x="534" y="38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77">
                <a:extLst>
                  <a:ext uri="{FF2B5EF4-FFF2-40B4-BE49-F238E27FC236}">
                    <a16:creationId xmlns:a16="http://schemas.microsoft.com/office/drawing/2014/main" id="{88BE289A-D74C-453D-B24A-4332A1714A82}"/>
                  </a:ext>
                </a:extLst>
              </p:cNvPr>
              <p:cNvSpPr>
                <a:spLocks noChangeArrowheads="1"/>
              </p:cNvSpPr>
              <p:nvPr/>
            </p:nvSpPr>
            <p:spPr bwMode="auto">
              <a:xfrm>
                <a:off x="6127" y="2634"/>
                <a:ext cx="122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78">
                <a:extLst>
                  <a:ext uri="{FF2B5EF4-FFF2-40B4-BE49-F238E27FC236}">
                    <a16:creationId xmlns:a16="http://schemas.microsoft.com/office/drawing/2014/main" id="{DC10D160-2D39-4EC9-A6DF-D8D1AFEB8BDE}"/>
                  </a:ext>
                </a:extLst>
              </p:cNvPr>
              <p:cNvSpPr>
                <a:spLocks noChangeArrowheads="1"/>
              </p:cNvSpPr>
              <p:nvPr/>
            </p:nvSpPr>
            <p:spPr bwMode="auto">
              <a:xfrm>
                <a:off x="6127" y="2446"/>
                <a:ext cx="122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Oval 79">
                <a:extLst>
                  <a:ext uri="{FF2B5EF4-FFF2-40B4-BE49-F238E27FC236}">
                    <a16:creationId xmlns:a16="http://schemas.microsoft.com/office/drawing/2014/main" id="{923F4211-F120-4650-B350-0C17E6D4A0BA}"/>
                  </a:ext>
                </a:extLst>
              </p:cNvPr>
              <p:cNvSpPr>
                <a:spLocks noChangeArrowheads="1"/>
              </p:cNvSpPr>
              <p:nvPr/>
            </p:nvSpPr>
            <p:spPr bwMode="auto">
              <a:xfrm>
                <a:off x="6127" y="2256"/>
                <a:ext cx="122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80">
                <a:extLst>
                  <a:ext uri="{FF2B5EF4-FFF2-40B4-BE49-F238E27FC236}">
                    <a16:creationId xmlns:a16="http://schemas.microsoft.com/office/drawing/2014/main" id="{3AA18173-DEB6-4331-8597-0EA9E490ED54}"/>
                  </a:ext>
                </a:extLst>
              </p:cNvPr>
              <p:cNvSpPr>
                <a:spLocks noChangeArrowheads="1"/>
              </p:cNvSpPr>
              <p:nvPr/>
            </p:nvSpPr>
            <p:spPr bwMode="auto">
              <a:xfrm>
                <a:off x="6127" y="2824"/>
                <a:ext cx="1229"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81">
                <a:extLst>
                  <a:ext uri="{FF2B5EF4-FFF2-40B4-BE49-F238E27FC236}">
                    <a16:creationId xmlns:a16="http://schemas.microsoft.com/office/drawing/2014/main" id="{C93B9E14-041A-4CC6-A45B-2690BBE1A034}"/>
                  </a:ext>
                </a:extLst>
              </p:cNvPr>
              <p:cNvSpPr>
                <a:spLocks/>
              </p:cNvSpPr>
              <p:nvPr/>
            </p:nvSpPr>
            <p:spPr bwMode="auto">
              <a:xfrm>
                <a:off x="6141" y="2147"/>
                <a:ext cx="1201" cy="845"/>
              </a:xfrm>
              <a:custGeom>
                <a:avLst/>
                <a:gdLst>
                  <a:gd name="T0" fmla="*/ 0 w 506"/>
                  <a:gd name="T1" fmla="*/ 356 h 356"/>
                  <a:gd name="T2" fmla="*/ 0 w 506"/>
                  <a:gd name="T3" fmla="*/ 286 h 356"/>
                  <a:gd name="T4" fmla="*/ 44 w 506"/>
                  <a:gd name="T5" fmla="*/ 217 h 356"/>
                  <a:gd name="T6" fmla="*/ 73 w 506"/>
                  <a:gd name="T7" fmla="*/ 240 h 356"/>
                  <a:gd name="T8" fmla="*/ 135 w 506"/>
                  <a:gd name="T9" fmla="*/ 145 h 356"/>
                  <a:gd name="T10" fmla="*/ 171 w 506"/>
                  <a:gd name="T11" fmla="*/ 171 h 356"/>
                  <a:gd name="T12" fmla="*/ 221 w 506"/>
                  <a:gd name="T13" fmla="*/ 83 h 356"/>
                  <a:gd name="T14" fmla="*/ 262 w 506"/>
                  <a:gd name="T15" fmla="*/ 116 h 356"/>
                  <a:gd name="T16" fmla="*/ 323 w 506"/>
                  <a:gd name="T17" fmla="*/ 0 h 356"/>
                  <a:gd name="T18" fmla="*/ 389 w 506"/>
                  <a:gd name="T19" fmla="*/ 130 h 356"/>
                  <a:gd name="T20" fmla="*/ 443 w 506"/>
                  <a:gd name="T21" fmla="*/ 65 h 356"/>
                  <a:gd name="T22" fmla="*/ 506 w 506"/>
                  <a:gd name="T23" fmla="*/ 47 h 356"/>
                  <a:gd name="T24" fmla="*/ 506 w 506"/>
                  <a:gd name="T25" fmla="*/ 356 h 356"/>
                  <a:gd name="T26" fmla="*/ 0 w 506"/>
                  <a:gd name="T2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6" h="356">
                    <a:moveTo>
                      <a:pt x="0" y="356"/>
                    </a:moveTo>
                    <a:cubicBezTo>
                      <a:pt x="0" y="343"/>
                      <a:pt x="0" y="286"/>
                      <a:pt x="0" y="286"/>
                    </a:cubicBezTo>
                    <a:cubicBezTo>
                      <a:pt x="44" y="217"/>
                      <a:pt x="44" y="217"/>
                      <a:pt x="44" y="217"/>
                    </a:cubicBezTo>
                    <a:cubicBezTo>
                      <a:pt x="73" y="240"/>
                      <a:pt x="73" y="240"/>
                      <a:pt x="73" y="240"/>
                    </a:cubicBezTo>
                    <a:cubicBezTo>
                      <a:pt x="135" y="145"/>
                      <a:pt x="135" y="145"/>
                      <a:pt x="135" y="145"/>
                    </a:cubicBezTo>
                    <a:cubicBezTo>
                      <a:pt x="171" y="171"/>
                      <a:pt x="171" y="171"/>
                      <a:pt x="171" y="171"/>
                    </a:cubicBezTo>
                    <a:cubicBezTo>
                      <a:pt x="221" y="83"/>
                      <a:pt x="221" y="83"/>
                      <a:pt x="221" y="83"/>
                    </a:cubicBezTo>
                    <a:cubicBezTo>
                      <a:pt x="262" y="116"/>
                      <a:pt x="262" y="116"/>
                      <a:pt x="262" y="116"/>
                    </a:cubicBezTo>
                    <a:cubicBezTo>
                      <a:pt x="323" y="0"/>
                      <a:pt x="323" y="0"/>
                      <a:pt x="323" y="0"/>
                    </a:cubicBezTo>
                    <a:cubicBezTo>
                      <a:pt x="389" y="130"/>
                      <a:pt x="389" y="130"/>
                      <a:pt x="389" y="130"/>
                    </a:cubicBezTo>
                    <a:cubicBezTo>
                      <a:pt x="443" y="65"/>
                      <a:pt x="443" y="65"/>
                      <a:pt x="443" y="65"/>
                    </a:cubicBezTo>
                    <a:cubicBezTo>
                      <a:pt x="506" y="47"/>
                      <a:pt x="506" y="47"/>
                      <a:pt x="506" y="47"/>
                    </a:cubicBezTo>
                    <a:cubicBezTo>
                      <a:pt x="506" y="356"/>
                      <a:pt x="506" y="356"/>
                      <a:pt x="506" y="356"/>
                    </a:cubicBezTo>
                    <a:lnTo>
                      <a:pt x="0" y="356"/>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82">
                <a:extLst>
                  <a:ext uri="{FF2B5EF4-FFF2-40B4-BE49-F238E27FC236}">
                    <a16:creationId xmlns:a16="http://schemas.microsoft.com/office/drawing/2014/main" id="{4B28869E-94A7-4DA5-8D4C-4FBDC92AC6F9}"/>
                  </a:ext>
                </a:extLst>
              </p:cNvPr>
              <p:cNvSpPr>
                <a:spLocks/>
              </p:cNvSpPr>
              <p:nvPr/>
            </p:nvSpPr>
            <p:spPr bwMode="auto">
              <a:xfrm>
                <a:off x="6141" y="2197"/>
                <a:ext cx="1215" cy="684"/>
              </a:xfrm>
              <a:custGeom>
                <a:avLst/>
                <a:gdLst>
                  <a:gd name="T0" fmla="*/ 512 w 512"/>
                  <a:gd name="T1" fmla="*/ 1 h 288"/>
                  <a:gd name="T2" fmla="*/ 511 w 512"/>
                  <a:gd name="T3" fmla="*/ 1 h 288"/>
                  <a:gd name="T4" fmla="*/ 507 w 512"/>
                  <a:gd name="T5" fmla="*/ 1 h 288"/>
                  <a:gd name="T6" fmla="*/ 495 w 512"/>
                  <a:gd name="T7" fmla="*/ 1 h 288"/>
                  <a:gd name="T8" fmla="*/ 446 w 512"/>
                  <a:gd name="T9" fmla="*/ 1 h 288"/>
                  <a:gd name="T10" fmla="*/ 447 w 512"/>
                  <a:gd name="T11" fmla="*/ 1 h 288"/>
                  <a:gd name="T12" fmla="*/ 395 w 512"/>
                  <a:gd name="T13" fmla="*/ 69 h 288"/>
                  <a:gd name="T14" fmla="*/ 395 w 512"/>
                  <a:gd name="T15" fmla="*/ 69 h 288"/>
                  <a:gd name="T16" fmla="*/ 395 w 512"/>
                  <a:gd name="T17" fmla="*/ 69 h 288"/>
                  <a:gd name="T18" fmla="*/ 265 w 512"/>
                  <a:gd name="T19" fmla="*/ 69 h 288"/>
                  <a:gd name="T20" fmla="*/ 266 w 512"/>
                  <a:gd name="T21" fmla="*/ 69 h 288"/>
                  <a:gd name="T22" fmla="*/ 212 w 512"/>
                  <a:gd name="T23" fmla="*/ 159 h 288"/>
                  <a:gd name="T24" fmla="*/ 158 w 512"/>
                  <a:gd name="T25" fmla="*/ 248 h 288"/>
                  <a:gd name="T26" fmla="*/ 157 w 512"/>
                  <a:gd name="T27" fmla="*/ 249 h 288"/>
                  <a:gd name="T28" fmla="*/ 156 w 512"/>
                  <a:gd name="T29" fmla="*/ 248 h 288"/>
                  <a:gd name="T30" fmla="*/ 86 w 512"/>
                  <a:gd name="T31" fmla="*/ 152 h 288"/>
                  <a:gd name="T32" fmla="*/ 88 w 512"/>
                  <a:gd name="T33" fmla="*/ 152 h 288"/>
                  <a:gd name="T34" fmla="*/ 24 w 512"/>
                  <a:gd name="T35" fmla="*/ 251 h 288"/>
                  <a:gd name="T36" fmla="*/ 6 w 512"/>
                  <a:gd name="T37" fmla="*/ 279 h 288"/>
                  <a:gd name="T38" fmla="*/ 1 w 512"/>
                  <a:gd name="T39" fmla="*/ 286 h 288"/>
                  <a:gd name="T40" fmla="*/ 0 w 512"/>
                  <a:gd name="T41" fmla="*/ 288 h 288"/>
                  <a:gd name="T42" fmla="*/ 1 w 512"/>
                  <a:gd name="T43" fmla="*/ 286 h 288"/>
                  <a:gd name="T44" fmla="*/ 6 w 512"/>
                  <a:gd name="T45" fmla="*/ 278 h 288"/>
                  <a:gd name="T46" fmla="*/ 23 w 512"/>
                  <a:gd name="T47" fmla="*/ 251 h 288"/>
                  <a:gd name="T48" fmla="*/ 86 w 512"/>
                  <a:gd name="T49" fmla="*/ 151 h 288"/>
                  <a:gd name="T50" fmla="*/ 87 w 512"/>
                  <a:gd name="T51" fmla="*/ 150 h 288"/>
                  <a:gd name="T52" fmla="*/ 88 w 512"/>
                  <a:gd name="T53" fmla="*/ 151 h 288"/>
                  <a:gd name="T54" fmla="*/ 158 w 512"/>
                  <a:gd name="T55" fmla="*/ 247 h 288"/>
                  <a:gd name="T56" fmla="*/ 156 w 512"/>
                  <a:gd name="T57" fmla="*/ 247 h 288"/>
                  <a:gd name="T58" fmla="*/ 210 w 512"/>
                  <a:gd name="T59" fmla="*/ 158 h 288"/>
                  <a:gd name="T60" fmla="*/ 264 w 512"/>
                  <a:gd name="T61" fmla="*/ 67 h 288"/>
                  <a:gd name="T62" fmla="*/ 265 w 512"/>
                  <a:gd name="T63" fmla="*/ 67 h 288"/>
                  <a:gd name="T64" fmla="*/ 265 w 512"/>
                  <a:gd name="T65" fmla="*/ 67 h 288"/>
                  <a:gd name="T66" fmla="*/ 395 w 512"/>
                  <a:gd name="T67" fmla="*/ 67 h 288"/>
                  <a:gd name="T68" fmla="*/ 394 w 512"/>
                  <a:gd name="T69" fmla="*/ 68 h 288"/>
                  <a:gd name="T70" fmla="*/ 446 w 512"/>
                  <a:gd name="T71" fmla="*/ 0 h 288"/>
                  <a:gd name="T72" fmla="*/ 446 w 512"/>
                  <a:gd name="T73" fmla="*/ 0 h 288"/>
                  <a:gd name="T74" fmla="*/ 446 w 512"/>
                  <a:gd name="T75" fmla="*/ 0 h 288"/>
                  <a:gd name="T76" fmla="*/ 495 w 512"/>
                  <a:gd name="T77" fmla="*/ 0 h 288"/>
                  <a:gd name="T78" fmla="*/ 507 w 512"/>
                  <a:gd name="T79" fmla="*/ 0 h 288"/>
                  <a:gd name="T80" fmla="*/ 511 w 512"/>
                  <a:gd name="T81" fmla="*/ 0 h 288"/>
                  <a:gd name="T82" fmla="*/ 512 w 512"/>
                  <a:gd name="T83" fmla="*/ 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288">
                    <a:moveTo>
                      <a:pt x="512" y="1"/>
                    </a:moveTo>
                    <a:cubicBezTo>
                      <a:pt x="512" y="1"/>
                      <a:pt x="511" y="1"/>
                      <a:pt x="511" y="1"/>
                    </a:cubicBezTo>
                    <a:cubicBezTo>
                      <a:pt x="510" y="1"/>
                      <a:pt x="509" y="1"/>
                      <a:pt x="507" y="1"/>
                    </a:cubicBezTo>
                    <a:cubicBezTo>
                      <a:pt x="504" y="1"/>
                      <a:pt x="500" y="1"/>
                      <a:pt x="495" y="1"/>
                    </a:cubicBezTo>
                    <a:cubicBezTo>
                      <a:pt x="483" y="1"/>
                      <a:pt x="467" y="1"/>
                      <a:pt x="446" y="1"/>
                    </a:cubicBezTo>
                    <a:cubicBezTo>
                      <a:pt x="447" y="1"/>
                      <a:pt x="447" y="1"/>
                      <a:pt x="447" y="1"/>
                    </a:cubicBezTo>
                    <a:cubicBezTo>
                      <a:pt x="433" y="19"/>
                      <a:pt x="415" y="42"/>
                      <a:pt x="395" y="69"/>
                    </a:cubicBezTo>
                    <a:cubicBezTo>
                      <a:pt x="395" y="69"/>
                      <a:pt x="395" y="69"/>
                      <a:pt x="395" y="69"/>
                    </a:cubicBezTo>
                    <a:cubicBezTo>
                      <a:pt x="395" y="69"/>
                      <a:pt x="395" y="69"/>
                      <a:pt x="395" y="69"/>
                    </a:cubicBezTo>
                    <a:cubicBezTo>
                      <a:pt x="357" y="69"/>
                      <a:pt x="313" y="69"/>
                      <a:pt x="265" y="69"/>
                    </a:cubicBezTo>
                    <a:cubicBezTo>
                      <a:pt x="266" y="69"/>
                      <a:pt x="266" y="69"/>
                      <a:pt x="266" y="69"/>
                    </a:cubicBezTo>
                    <a:cubicBezTo>
                      <a:pt x="249" y="97"/>
                      <a:pt x="231" y="127"/>
                      <a:pt x="212" y="159"/>
                    </a:cubicBezTo>
                    <a:cubicBezTo>
                      <a:pt x="193" y="190"/>
                      <a:pt x="175" y="220"/>
                      <a:pt x="158" y="248"/>
                    </a:cubicBezTo>
                    <a:cubicBezTo>
                      <a:pt x="157" y="249"/>
                      <a:pt x="157" y="249"/>
                      <a:pt x="157" y="249"/>
                    </a:cubicBezTo>
                    <a:cubicBezTo>
                      <a:pt x="156" y="248"/>
                      <a:pt x="156" y="248"/>
                      <a:pt x="156" y="248"/>
                    </a:cubicBezTo>
                    <a:cubicBezTo>
                      <a:pt x="131" y="213"/>
                      <a:pt x="107" y="180"/>
                      <a:pt x="86" y="152"/>
                    </a:cubicBezTo>
                    <a:cubicBezTo>
                      <a:pt x="88" y="152"/>
                      <a:pt x="88" y="152"/>
                      <a:pt x="88" y="152"/>
                    </a:cubicBezTo>
                    <a:cubicBezTo>
                      <a:pt x="61" y="193"/>
                      <a:pt x="39" y="227"/>
                      <a:pt x="24" y="251"/>
                    </a:cubicBezTo>
                    <a:cubicBezTo>
                      <a:pt x="16" y="263"/>
                      <a:pt x="10" y="272"/>
                      <a:pt x="6" y="279"/>
                    </a:cubicBezTo>
                    <a:cubicBezTo>
                      <a:pt x="4" y="282"/>
                      <a:pt x="2" y="284"/>
                      <a:pt x="1" y="286"/>
                    </a:cubicBezTo>
                    <a:cubicBezTo>
                      <a:pt x="0" y="288"/>
                      <a:pt x="0" y="288"/>
                      <a:pt x="0" y="288"/>
                    </a:cubicBezTo>
                    <a:cubicBezTo>
                      <a:pt x="0" y="288"/>
                      <a:pt x="0" y="287"/>
                      <a:pt x="1" y="286"/>
                    </a:cubicBezTo>
                    <a:cubicBezTo>
                      <a:pt x="2" y="284"/>
                      <a:pt x="4" y="282"/>
                      <a:pt x="6" y="278"/>
                    </a:cubicBezTo>
                    <a:cubicBezTo>
                      <a:pt x="10" y="272"/>
                      <a:pt x="15" y="263"/>
                      <a:pt x="23" y="251"/>
                    </a:cubicBezTo>
                    <a:cubicBezTo>
                      <a:pt x="38" y="227"/>
                      <a:pt x="60" y="192"/>
                      <a:pt x="86" y="151"/>
                    </a:cubicBezTo>
                    <a:cubicBezTo>
                      <a:pt x="87" y="150"/>
                      <a:pt x="87" y="150"/>
                      <a:pt x="87" y="150"/>
                    </a:cubicBezTo>
                    <a:cubicBezTo>
                      <a:pt x="88" y="151"/>
                      <a:pt x="88" y="151"/>
                      <a:pt x="88" y="151"/>
                    </a:cubicBezTo>
                    <a:cubicBezTo>
                      <a:pt x="109" y="179"/>
                      <a:pt x="132" y="212"/>
                      <a:pt x="158" y="247"/>
                    </a:cubicBezTo>
                    <a:cubicBezTo>
                      <a:pt x="156" y="247"/>
                      <a:pt x="156" y="247"/>
                      <a:pt x="156" y="247"/>
                    </a:cubicBezTo>
                    <a:cubicBezTo>
                      <a:pt x="173" y="219"/>
                      <a:pt x="191" y="189"/>
                      <a:pt x="210" y="158"/>
                    </a:cubicBezTo>
                    <a:cubicBezTo>
                      <a:pt x="229" y="126"/>
                      <a:pt x="247" y="96"/>
                      <a:pt x="264" y="67"/>
                    </a:cubicBezTo>
                    <a:cubicBezTo>
                      <a:pt x="265" y="67"/>
                      <a:pt x="265" y="67"/>
                      <a:pt x="265" y="67"/>
                    </a:cubicBezTo>
                    <a:cubicBezTo>
                      <a:pt x="265" y="67"/>
                      <a:pt x="265" y="67"/>
                      <a:pt x="265" y="67"/>
                    </a:cubicBezTo>
                    <a:cubicBezTo>
                      <a:pt x="313" y="67"/>
                      <a:pt x="357" y="67"/>
                      <a:pt x="395" y="67"/>
                    </a:cubicBezTo>
                    <a:cubicBezTo>
                      <a:pt x="394" y="68"/>
                      <a:pt x="394" y="68"/>
                      <a:pt x="394" y="68"/>
                    </a:cubicBezTo>
                    <a:cubicBezTo>
                      <a:pt x="414" y="41"/>
                      <a:pt x="432" y="19"/>
                      <a:pt x="446" y="0"/>
                    </a:cubicBezTo>
                    <a:cubicBezTo>
                      <a:pt x="446" y="0"/>
                      <a:pt x="446" y="0"/>
                      <a:pt x="446" y="0"/>
                    </a:cubicBezTo>
                    <a:cubicBezTo>
                      <a:pt x="446" y="0"/>
                      <a:pt x="446" y="0"/>
                      <a:pt x="446" y="0"/>
                    </a:cubicBezTo>
                    <a:cubicBezTo>
                      <a:pt x="467" y="0"/>
                      <a:pt x="483" y="0"/>
                      <a:pt x="495" y="0"/>
                    </a:cubicBezTo>
                    <a:cubicBezTo>
                      <a:pt x="500" y="0"/>
                      <a:pt x="504" y="0"/>
                      <a:pt x="507" y="0"/>
                    </a:cubicBezTo>
                    <a:cubicBezTo>
                      <a:pt x="509" y="0"/>
                      <a:pt x="510" y="0"/>
                      <a:pt x="511" y="0"/>
                    </a:cubicBezTo>
                    <a:cubicBezTo>
                      <a:pt x="511" y="1"/>
                      <a:pt x="512" y="1"/>
                      <a:pt x="512"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Oval 83">
                <a:extLst>
                  <a:ext uri="{FF2B5EF4-FFF2-40B4-BE49-F238E27FC236}">
                    <a16:creationId xmlns:a16="http://schemas.microsoft.com/office/drawing/2014/main" id="{0A423AE9-063A-4CA6-AD7C-CFF09B73619D}"/>
                  </a:ext>
                </a:extLst>
              </p:cNvPr>
              <p:cNvSpPr>
                <a:spLocks noChangeArrowheads="1"/>
              </p:cNvSpPr>
              <p:nvPr/>
            </p:nvSpPr>
            <p:spPr bwMode="auto">
              <a:xfrm>
                <a:off x="6374" y="2598"/>
                <a:ext cx="23" cy="2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Oval 84">
                <a:extLst>
                  <a:ext uri="{FF2B5EF4-FFF2-40B4-BE49-F238E27FC236}">
                    <a16:creationId xmlns:a16="http://schemas.microsoft.com/office/drawing/2014/main" id="{2B291E2C-44B9-46DD-81B3-AAC6FF71FD7B}"/>
                  </a:ext>
                </a:extLst>
              </p:cNvPr>
              <p:cNvSpPr>
                <a:spLocks noChangeArrowheads="1"/>
              </p:cNvSpPr>
              <p:nvPr/>
            </p:nvSpPr>
            <p:spPr bwMode="auto">
              <a:xfrm>
                <a:off x="6730" y="2396"/>
                <a:ext cx="23" cy="2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85">
                <a:extLst>
                  <a:ext uri="{FF2B5EF4-FFF2-40B4-BE49-F238E27FC236}">
                    <a16:creationId xmlns:a16="http://schemas.microsoft.com/office/drawing/2014/main" id="{CE2AD6BE-3192-4DBE-91BD-D6D65D488B8F}"/>
                  </a:ext>
                </a:extLst>
              </p:cNvPr>
              <p:cNvSpPr>
                <a:spLocks noChangeArrowheads="1"/>
              </p:cNvSpPr>
              <p:nvPr/>
            </p:nvSpPr>
            <p:spPr bwMode="auto">
              <a:xfrm>
                <a:off x="7005" y="2346"/>
                <a:ext cx="24" cy="2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Oval 86">
                <a:extLst>
                  <a:ext uri="{FF2B5EF4-FFF2-40B4-BE49-F238E27FC236}">
                    <a16:creationId xmlns:a16="http://schemas.microsoft.com/office/drawing/2014/main" id="{32B9A480-6B41-4074-97ED-AF612597ED16}"/>
                  </a:ext>
                </a:extLst>
              </p:cNvPr>
              <p:cNvSpPr>
                <a:spLocks noChangeArrowheads="1"/>
              </p:cNvSpPr>
              <p:nvPr/>
            </p:nvSpPr>
            <p:spPr bwMode="auto">
              <a:xfrm>
                <a:off x="6115" y="3228"/>
                <a:ext cx="152" cy="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Rectangle 87">
                <a:extLst>
                  <a:ext uri="{FF2B5EF4-FFF2-40B4-BE49-F238E27FC236}">
                    <a16:creationId xmlns:a16="http://schemas.microsoft.com/office/drawing/2014/main" id="{29BF9974-9CD6-47E1-8450-526E1A0008EF}"/>
                  </a:ext>
                </a:extLst>
              </p:cNvPr>
              <p:cNvSpPr>
                <a:spLocks noChangeArrowheads="1"/>
              </p:cNvSpPr>
              <p:nvPr/>
            </p:nvSpPr>
            <p:spPr bwMode="auto">
              <a:xfrm>
                <a:off x="6381" y="3251"/>
                <a:ext cx="895" cy="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Rectangle 88">
                <a:extLst>
                  <a:ext uri="{FF2B5EF4-FFF2-40B4-BE49-F238E27FC236}">
                    <a16:creationId xmlns:a16="http://schemas.microsoft.com/office/drawing/2014/main" id="{CC9C7C8A-1ED7-40C8-8768-C7017C4C1C03}"/>
                  </a:ext>
                </a:extLst>
              </p:cNvPr>
              <p:cNvSpPr>
                <a:spLocks noChangeArrowheads="1"/>
              </p:cNvSpPr>
              <p:nvPr/>
            </p:nvSpPr>
            <p:spPr bwMode="auto">
              <a:xfrm>
                <a:off x="6381" y="3320"/>
                <a:ext cx="372"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89">
                <a:extLst>
                  <a:ext uri="{FF2B5EF4-FFF2-40B4-BE49-F238E27FC236}">
                    <a16:creationId xmlns:a16="http://schemas.microsoft.com/office/drawing/2014/main" id="{337403AF-4FE4-4DAB-A6E8-46F04117722E}"/>
                  </a:ext>
                </a:extLst>
              </p:cNvPr>
              <p:cNvSpPr>
                <a:spLocks/>
              </p:cNvSpPr>
              <p:nvPr/>
            </p:nvSpPr>
            <p:spPr bwMode="auto">
              <a:xfrm>
                <a:off x="6965" y="781"/>
                <a:ext cx="1054" cy="877"/>
              </a:xfrm>
              <a:custGeom>
                <a:avLst/>
                <a:gdLst>
                  <a:gd name="T0" fmla="*/ 425 w 444"/>
                  <a:gd name="T1" fmla="*/ 369 h 369"/>
                  <a:gd name="T2" fmla="*/ 19 w 444"/>
                  <a:gd name="T3" fmla="*/ 369 h 369"/>
                  <a:gd name="T4" fmla="*/ 0 w 444"/>
                  <a:gd name="T5" fmla="*/ 349 h 369"/>
                  <a:gd name="T6" fmla="*/ 0 w 444"/>
                  <a:gd name="T7" fmla="*/ 20 h 369"/>
                  <a:gd name="T8" fmla="*/ 19 w 444"/>
                  <a:gd name="T9" fmla="*/ 0 h 369"/>
                  <a:gd name="T10" fmla="*/ 425 w 444"/>
                  <a:gd name="T11" fmla="*/ 0 h 369"/>
                  <a:gd name="T12" fmla="*/ 444 w 444"/>
                  <a:gd name="T13" fmla="*/ 20 h 369"/>
                  <a:gd name="T14" fmla="*/ 444 w 444"/>
                  <a:gd name="T15" fmla="*/ 349 h 369"/>
                  <a:gd name="T16" fmla="*/ 425 w 444"/>
                  <a:gd name="T1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369">
                    <a:moveTo>
                      <a:pt x="425" y="369"/>
                    </a:moveTo>
                    <a:cubicBezTo>
                      <a:pt x="19" y="369"/>
                      <a:pt x="19" y="369"/>
                      <a:pt x="19" y="369"/>
                    </a:cubicBezTo>
                    <a:cubicBezTo>
                      <a:pt x="9" y="369"/>
                      <a:pt x="0" y="360"/>
                      <a:pt x="0" y="349"/>
                    </a:cubicBezTo>
                    <a:cubicBezTo>
                      <a:pt x="0" y="20"/>
                      <a:pt x="0" y="20"/>
                      <a:pt x="0" y="20"/>
                    </a:cubicBezTo>
                    <a:cubicBezTo>
                      <a:pt x="0" y="9"/>
                      <a:pt x="9" y="0"/>
                      <a:pt x="19" y="0"/>
                    </a:cubicBezTo>
                    <a:cubicBezTo>
                      <a:pt x="425" y="0"/>
                      <a:pt x="425" y="0"/>
                      <a:pt x="425" y="0"/>
                    </a:cubicBezTo>
                    <a:cubicBezTo>
                      <a:pt x="435" y="0"/>
                      <a:pt x="444" y="9"/>
                      <a:pt x="444" y="20"/>
                    </a:cubicBezTo>
                    <a:cubicBezTo>
                      <a:pt x="444" y="349"/>
                      <a:pt x="444" y="349"/>
                      <a:pt x="444" y="349"/>
                    </a:cubicBezTo>
                    <a:cubicBezTo>
                      <a:pt x="444" y="360"/>
                      <a:pt x="435" y="369"/>
                      <a:pt x="425" y="369"/>
                    </a:cubicBezTo>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Rectangle 90">
                <a:extLst>
                  <a:ext uri="{FF2B5EF4-FFF2-40B4-BE49-F238E27FC236}">
                    <a16:creationId xmlns:a16="http://schemas.microsoft.com/office/drawing/2014/main" id="{7C6C4D7E-8ED5-4173-BDF4-48DAFFC5FAD5}"/>
                  </a:ext>
                </a:extLst>
              </p:cNvPr>
              <p:cNvSpPr>
                <a:spLocks noChangeArrowheads="1"/>
              </p:cNvSpPr>
              <p:nvPr/>
            </p:nvSpPr>
            <p:spPr bwMode="auto">
              <a:xfrm>
                <a:off x="7147" y="1130"/>
                <a:ext cx="57" cy="430"/>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Rectangle 91">
                <a:extLst>
                  <a:ext uri="{FF2B5EF4-FFF2-40B4-BE49-F238E27FC236}">
                    <a16:creationId xmlns:a16="http://schemas.microsoft.com/office/drawing/2014/main" id="{9E40B165-9395-43F0-9956-9101FC6B886A}"/>
                  </a:ext>
                </a:extLst>
              </p:cNvPr>
              <p:cNvSpPr>
                <a:spLocks noChangeArrowheads="1"/>
              </p:cNvSpPr>
              <p:nvPr/>
            </p:nvSpPr>
            <p:spPr bwMode="auto">
              <a:xfrm>
                <a:off x="7406" y="1097"/>
                <a:ext cx="57" cy="463"/>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Rectangle 92">
                <a:extLst>
                  <a:ext uri="{FF2B5EF4-FFF2-40B4-BE49-F238E27FC236}">
                    <a16:creationId xmlns:a16="http://schemas.microsoft.com/office/drawing/2014/main" id="{75FBD251-629C-442B-B0ED-F7FC3B1A134C}"/>
                  </a:ext>
                </a:extLst>
              </p:cNvPr>
              <p:cNvSpPr>
                <a:spLocks noChangeArrowheads="1"/>
              </p:cNvSpPr>
              <p:nvPr/>
            </p:nvSpPr>
            <p:spPr bwMode="auto">
              <a:xfrm>
                <a:off x="7674" y="1038"/>
                <a:ext cx="57" cy="522"/>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Rectangle 93">
                <a:extLst>
                  <a:ext uri="{FF2B5EF4-FFF2-40B4-BE49-F238E27FC236}">
                    <a16:creationId xmlns:a16="http://schemas.microsoft.com/office/drawing/2014/main" id="{84538A62-F1F9-4155-AFE4-1943FE62A21B}"/>
                  </a:ext>
                </a:extLst>
              </p:cNvPr>
              <p:cNvSpPr>
                <a:spLocks noChangeArrowheads="1"/>
              </p:cNvSpPr>
              <p:nvPr/>
            </p:nvSpPr>
            <p:spPr bwMode="auto">
              <a:xfrm>
                <a:off x="7549" y="1351"/>
                <a:ext cx="57" cy="209"/>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94">
                <a:extLst>
                  <a:ext uri="{FF2B5EF4-FFF2-40B4-BE49-F238E27FC236}">
                    <a16:creationId xmlns:a16="http://schemas.microsoft.com/office/drawing/2014/main" id="{79E728C9-E6EA-47BF-A307-16EDF60FD836}"/>
                  </a:ext>
                </a:extLst>
              </p:cNvPr>
              <p:cNvSpPr>
                <a:spLocks noChangeArrowheads="1"/>
              </p:cNvSpPr>
              <p:nvPr/>
            </p:nvSpPr>
            <p:spPr bwMode="auto">
              <a:xfrm>
                <a:off x="7549" y="1351"/>
                <a:ext cx="57"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Rectangle 95">
                <a:extLst>
                  <a:ext uri="{FF2B5EF4-FFF2-40B4-BE49-F238E27FC236}">
                    <a16:creationId xmlns:a16="http://schemas.microsoft.com/office/drawing/2014/main" id="{AE86B99B-94A7-4F77-B2C3-97608C95AC31}"/>
                  </a:ext>
                </a:extLst>
              </p:cNvPr>
              <p:cNvSpPr>
                <a:spLocks noChangeArrowheads="1"/>
              </p:cNvSpPr>
              <p:nvPr/>
            </p:nvSpPr>
            <p:spPr bwMode="auto">
              <a:xfrm>
                <a:off x="7549" y="1351"/>
                <a:ext cx="57" cy="209"/>
              </a:xfrm>
              <a:prstGeom prst="rect">
                <a:avLst/>
              </a:prstGeom>
              <a:solidFill>
                <a:srgbClr val="BA40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Rectangle 96">
                <a:extLst>
                  <a:ext uri="{FF2B5EF4-FFF2-40B4-BE49-F238E27FC236}">
                    <a16:creationId xmlns:a16="http://schemas.microsoft.com/office/drawing/2014/main" id="{9316A52A-DC81-4A3A-931B-40554B02E2E1}"/>
                  </a:ext>
                </a:extLst>
              </p:cNvPr>
              <p:cNvSpPr>
                <a:spLocks noChangeArrowheads="1"/>
              </p:cNvSpPr>
              <p:nvPr/>
            </p:nvSpPr>
            <p:spPr bwMode="auto">
              <a:xfrm>
                <a:off x="7549" y="1351"/>
                <a:ext cx="57"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Rectangle 97">
                <a:extLst>
                  <a:ext uri="{FF2B5EF4-FFF2-40B4-BE49-F238E27FC236}">
                    <a16:creationId xmlns:a16="http://schemas.microsoft.com/office/drawing/2014/main" id="{91FA64DA-16DE-48F8-9A60-4C4A4C3CE70E}"/>
                  </a:ext>
                </a:extLst>
              </p:cNvPr>
              <p:cNvSpPr>
                <a:spLocks noChangeArrowheads="1"/>
              </p:cNvSpPr>
              <p:nvPr/>
            </p:nvSpPr>
            <p:spPr bwMode="auto">
              <a:xfrm>
                <a:off x="7214" y="1085"/>
                <a:ext cx="57" cy="475"/>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Rectangle 98">
                <a:extLst>
                  <a:ext uri="{FF2B5EF4-FFF2-40B4-BE49-F238E27FC236}">
                    <a16:creationId xmlns:a16="http://schemas.microsoft.com/office/drawing/2014/main" id="{FE65FB3D-EDDC-43B7-9FE4-2DCCD725D89E}"/>
                  </a:ext>
                </a:extLst>
              </p:cNvPr>
              <p:cNvSpPr>
                <a:spLocks noChangeArrowheads="1"/>
              </p:cNvSpPr>
              <p:nvPr/>
            </p:nvSpPr>
            <p:spPr bwMode="auto">
              <a:xfrm>
                <a:off x="7214" y="1085"/>
                <a:ext cx="57" cy="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99">
                <a:extLst>
                  <a:ext uri="{FF2B5EF4-FFF2-40B4-BE49-F238E27FC236}">
                    <a16:creationId xmlns:a16="http://schemas.microsoft.com/office/drawing/2014/main" id="{4B54A4FD-0F5A-4B15-8F80-D9970C5584D7}"/>
                  </a:ext>
                </a:extLst>
              </p:cNvPr>
              <p:cNvSpPr>
                <a:spLocks noChangeArrowheads="1"/>
              </p:cNvSpPr>
              <p:nvPr/>
            </p:nvSpPr>
            <p:spPr bwMode="auto">
              <a:xfrm>
                <a:off x="7214" y="1085"/>
                <a:ext cx="57" cy="475"/>
              </a:xfrm>
              <a:prstGeom prst="rect">
                <a:avLst/>
              </a:prstGeom>
              <a:solidFill>
                <a:srgbClr val="D048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100">
                <a:extLst>
                  <a:ext uri="{FF2B5EF4-FFF2-40B4-BE49-F238E27FC236}">
                    <a16:creationId xmlns:a16="http://schemas.microsoft.com/office/drawing/2014/main" id="{853CE77C-7986-4A7D-8CED-A86AA2581485}"/>
                  </a:ext>
                </a:extLst>
              </p:cNvPr>
              <p:cNvSpPr>
                <a:spLocks noChangeArrowheads="1"/>
              </p:cNvSpPr>
              <p:nvPr/>
            </p:nvSpPr>
            <p:spPr bwMode="auto">
              <a:xfrm>
                <a:off x="7214" y="1085"/>
                <a:ext cx="57" cy="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101">
                <a:extLst>
                  <a:ext uri="{FF2B5EF4-FFF2-40B4-BE49-F238E27FC236}">
                    <a16:creationId xmlns:a16="http://schemas.microsoft.com/office/drawing/2014/main" id="{576A96E7-12E2-4E4E-9ED1-D2E4CDC094DB}"/>
                  </a:ext>
                </a:extLst>
              </p:cNvPr>
              <p:cNvSpPr>
                <a:spLocks noChangeArrowheads="1"/>
              </p:cNvSpPr>
              <p:nvPr/>
            </p:nvSpPr>
            <p:spPr bwMode="auto">
              <a:xfrm>
                <a:off x="7477" y="986"/>
                <a:ext cx="57" cy="574"/>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02">
                <a:extLst>
                  <a:ext uri="{FF2B5EF4-FFF2-40B4-BE49-F238E27FC236}">
                    <a16:creationId xmlns:a16="http://schemas.microsoft.com/office/drawing/2014/main" id="{59B25ED4-4591-4DA6-BAF6-F0ABC1367F1B}"/>
                  </a:ext>
                </a:extLst>
              </p:cNvPr>
              <p:cNvSpPr>
                <a:spLocks noChangeArrowheads="1"/>
              </p:cNvSpPr>
              <p:nvPr/>
            </p:nvSpPr>
            <p:spPr bwMode="auto">
              <a:xfrm>
                <a:off x="7477" y="986"/>
                <a:ext cx="57"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03">
                <a:extLst>
                  <a:ext uri="{FF2B5EF4-FFF2-40B4-BE49-F238E27FC236}">
                    <a16:creationId xmlns:a16="http://schemas.microsoft.com/office/drawing/2014/main" id="{4F4B9D4E-1751-4AFB-B1C8-517993754D82}"/>
                  </a:ext>
                </a:extLst>
              </p:cNvPr>
              <p:cNvSpPr>
                <a:spLocks noChangeArrowheads="1"/>
              </p:cNvSpPr>
              <p:nvPr/>
            </p:nvSpPr>
            <p:spPr bwMode="auto">
              <a:xfrm>
                <a:off x="7477" y="986"/>
                <a:ext cx="57" cy="574"/>
              </a:xfrm>
              <a:prstGeom prst="rect">
                <a:avLst/>
              </a:prstGeom>
              <a:solidFill>
                <a:srgbClr val="D048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Rectangle 104">
                <a:extLst>
                  <a:ext uri="{FF2B5EF4-FFF2-40B4-BE49-F238E27FC236}">
                    <a16:creationId xmlns:a16="http://schemas.microsoft.com/office/drawing/2014/main" id="{844E3F67-951B-405C-9EFB-051AA9EC14DD}"/>
                  </a:ext>
                </a:extLst>
              </p:cNvPr>
              <p:cNvSpPr>
                <a:spLocks noChangeArrowheads="1"/>
              </p:cNvSpPr>
              <p:nvPr/>
            </p:nvSpPr>
            <p:spPr bwMode="auto">
              <a:xfrm>
                <a:off x="7477" y="986"/>
                <a:ext cx="57"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105">
                <a:extLst>
                  <a:ext uri="{FF2B5EF4-FFF2-40B4-BE49-F238E27FC236}">
                    <a16:creationId xmlns:a16="http://schemas.microsoft.com/office/drawing/2014/main" id="{0F0C33B5-1FB0-4763-9CFA-4A2A9ABA0D9E}"/>
                  </a:ext>
                </a:extLst>
              </p:cNvPr>
              <p:cNvSpPr>
                <a:spLocks noChangeArrowheads="1"/>
              </p:cNvSpPr>
              <p:nvPr/>
            </p:nvSpPr>
            <p:spPr bwMode="auto">
              <a:xfrm>
                <a:off x="7822" y="986"/>
                <a:ext cx="56" cy="574"/>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106">
                <a:extLst>
                  <a:ext uri="{FF2B5EF4-FFF2-40B4-BE49-F238E27FC236}">
                    <a16:creationId xmlns:a16="http://schemas.microsoft.com/office/drawing/2014/main" id="{5485C97F-62B4-4A6B-910A-821CEAAC886A}"/>
                  </a:ext>
                </a:extLst>
              </p:cNvPr>
              <p:cNvSpPr>
                <a:spLocks noChangeArrowheads="1"/>
              </p:cNvSpPr>
              <p:nvPr/>
            </p:nvSpPr>
            <p:spPr bwMode="auto">
              <a:xfrm>
                <a:off x="7822" y="986"/>
                <a:ext cx="56"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107">
                <a:extLst>
                  <a:ext uri="{FF2B5EF4-FFF2-40B4-BE49-F238E27FC236}">
                    <a16:creationId xmlns:a16="http://schemas.microsoft.com/office/drawing/2014/main" id="{250CDE00-A9CC-4F58-8359-7DBD3E0F2A80}"/>
                  </a:ext>
                </a:extLst>
              </p:cNvPr>
              <p:cNvSpPr>
                <a:spLocks/>
              </p:cNvSpPr>
              <p:nvPr/>
            </p:nvSpPr>
            <p:spPr bwMode="auto">
              <a:xfrm>
                <a:off x="7822" y="986"/>
                <a:ext cx="56" cy="570"/>
              </a:xfrm>
              <a:custGeom>
                <a:avLst/>
                <a:gdLst>
                  <a:gd name="T0" fmla="*/ 24 w 24"/>
                  <a:gd name="T1" fmla="*/ 0 h 240"/>
                  <a:gd name="T2" fmla="*/ 0 w 24"/>
                  <a:gd name="T3" fmla="*/ 0 h 240"/>
                  <a:gd name="T4" fmla="*/ 0 w 24"/>
                  <a:gd name="T5" fmla="*/ 231 h 240"/>
                  <a:gd name="T6" fmla="*/ 24 w 24"/>
                  <a:gd name="T7" fmla="*/ 240 h 240"/>
                  <a:gd name="T8" fmla="*/ 24 w 24"/>
                  <a:gd name="T9" fmla="*/ 0 h 240"/>
                </a:gdLst>
                <a:ahLst/>
                <a:cxnLst>
                  <a:cxn ang="0">
                    <a:pos x="T0" y="T1"/>
                  </a:cxn>
                  <a:cxn ang="0">
                    <a:pos x="T2" y="T3"/>
                  </a:cxn>
                  <a:cxn ang="0">
                    <a:pos x="T4" y="T5"/>
                  </a:cxn>
                  <a:cxn ang="0">
                    <a:pos x="T6" y="T7"/>
                  </a:cxn>
                  <a:cxn ang="0">
                    <a:pos x="T8" y="T9"/>
                  </a:cxn>
                </a:cxnLst>
                <a:rect l="0" t="0" r="r" b="b"/>
                <a:pathLst>
                  <a:path w="24" h="240">
                    <a:moveTo>
                      <a:pt x="24" y="0"/>
                    </a:moveTo>
                    <a:cubicBezTo>
                      <a:pt x="0" y="0"/>
                      <a:pt x="0" y="0"/>
                      <a:pt x="0" y="0"/>
                    </a:cubicBezTo>
                    <a:cubicBezTo>
                      <a:pt x="0" y="231"/>
                      <a:pt x="0" y="231"/>
                      <a:pt x="0" y="231"/>
                    </a:cubicBezTo>
                    <a:cubicBezTo>
                      <a:pt x="7" y="231"/>
                      <a:pt x="16" y="233"/>
                      <a:pt x="24" y="240"/>
                    </a:cubicBezTo>
                    <a:cubicBezTo>
                      <a:pt x="24" y="0"/>
                      <a:pt x="24" y="0"/>
                      <a:pt x="24"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108">
                <a:extLst>
                  <a:ext uri="{FF2B5EF4-FFF2-40B4-BE49-F238E27FC236}">
                    <a16:creationId xmlns:a16="http://schemas.microsoft.com/office/drawing/2014/main" id="{3F2F4A97-27C2-462A-A3EB-F255AA2F1833}"/>
                  </a:ext>
                </a:extLst>
              </p:cNvPr>
              <p:cNvSpPr>
                <a:spLocks noChangeArrowheads="1"/>
              </p:cNvSpPr>
              <p:nvPr/>
            </p:nvSpPr>
            <p:spPr bwMode="auto">
              <a:xfrm>
                <a:off x="7748" y="872"/>
                <a:ext cx="57" cy="688"/>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109">
                <a:extLst>
                  <a:ext uri="{FF2B5EF4-FFF2-40B4-BE49-F238E27FC236}">
                    <a16:creationId xmlns:a16="http://schemas.microsoft.com/office/drawing/2014/main" id="{366A49E1-2117-42A2-B0AF-81396DDA0DAA}"/>
                  </a:ext>
                </a:extLst>
              </p:cNvPr>
              <p:cNvSpPr>
                <a:spLocks noChangeArrowheads="1"/>
              </p:cNvSpPr>
              <p:nvPr/>
            </p:nvSpPr>
            <p:spPr bwMode="auto">
              <a:xfrm>
                <a:off x="7748" y="872"/>
                <a:ext cx="57" cy="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10">
                <a:extLst>
                  <a:ext uri="{FF2B5EF4-FFF2-40B4-BE49-F238E27FC236}">
                    <a16:creationId xmlns:a16="http://schemas.microsoft.com/office/drawing/2014/main" id="{45CC577B-87B5-41B5-8E73-793AA286C990}"/>
                  </a:ext>
                </a:extLst>
              </p:cNvPr>
              <p:cNvSpPr>
                <a:spLocks/>
              </p:cNvSpPr>
              <p:nvPr/>
            </p:nvSpPr>
            <p:spPr bwMode="auto">
              <a:xfrm>
                <a:off x="7748" y="872"/>
                <a:ext cx="57" cy="665"/>
              </a:xfrm>
              <a:custGeom>
                <a:avLst/>
                <a:gdLst>
                  <a:gd name="T0" fmla="*/ 24 w 24"/>
                  <a:gd name="T1" fmla="*/ 0 h 280"/>
                  <a:gd name="T2" fmla="*/ 0 w 24"/>
                  <a:gd name="T3" fmla="*/ 0 h 280"/>
                  <a:gd name="T4" fmla="*/ 0 w 24"/>
                  <a:gd name="T5" fmla="*/ 280 h 280"/>
                  <a:gd name="T6" fmla="*/ 17 w 24"/>
                  <a:gd name="T7" fmla="*/ 280 h 280"/>
                  <a:gd name="T8" fmla="*/ 24 w 24"/>
                  <a:gd name="T9" fmla="*/ 279 h 280"/>
                  <a:gd name="T10" fmla="*/ 24 w 24"/>
                  <a:gd name="T11" fmla="*/ 0 h 280"/>
                </a:gdLst>
                <a:ahLst/>
                <a:cxnLst>
                  <a:cxn ang="0">
                    <a:pos x="T0" y="T1"/>
                  </a:cxn>
                  <a:cxn ang="0">
                    <a:pos x="T2" y="T3"/>
                  </a:cxn>
                  <a:cxn ang="0">
                    <a:pos x="T4" y="T5"/>
                  </a:cxn>
                  <a:cxn ang="0">
                    <a:pos x="T6" y="T7"/>
                  </a:cxn>
                  <a:cxn ang="0">
                    <a:pos x="T8" y="T9"/>
                  </a:cxn>
                  <a:cxn ang="0">
                    <a:pos x="T10" y="T11"/>
                  </a:cxn>
                </a:cxnLst>
                <a:rect l="0" t="0" r="r" b="b"/>
                <a:pathLst>
                  <a:path w="24" h="280">
                    <a:moveTo>
                      <a:pt x="24" y="0"/>
                    </a:moveTo>
                    <a:cubicBezTo>
                      <a:pt x="0" y="0"/>
                      <a:pt x="0" y="0"/>
                      <a:pt x="0" y="0"/>
                    </a:cubicBezTo>
                    <a:cubicBezTo>
                      <a:pt x="0" y="280"/>
                      <a:pt x="0" y="280"/>
                      <a:pt x="0" y="280"/>
                    </a:cubicBezTo>
                    <a:cubicBezTo>
                      <a:pt x="5" y="280"/>
                      <a:pt x="10" y="280"/>
                      <a:pt x="17" y="280"/>
                    </a:cubicBezTo>
                    <a:cubicBezTo>
                      <a:pt x="17" y="280"/>
                      <a:pt x="19" y="279"/>
                      <a:pt x="24" y="279"/>
                    </a:cubicBezTo>
                    <a:cubicBezTo>
                      <a:pt x="24" y="0"/>
                      <a:pt x="24" y="0"/>
                      <a:pt x="24" y="0"/>
                    </a:cubicBezTo>
                  </a:path>
                </a:pathLst>
              </a:custGeom>
              <a:solidFill>
                <a:srgbClr val="D04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111">
                <a:extLst>
                  <a:ext uri="{FF2B5EF4-FFF2-40B4-BE49-F238E27FC236}">
                    <a16:creationId xmlns:a16="http://schemas.microsoft.com/office/drawing/2014/main" id="{BEA17597-8684-4C5A-9F75-58965123B520}"/>
                  </a:ext>
                </a:extLst>
              </p:cNvPr>
              <p:cNvSpPr>
                <a:spLocks noChangeArrowheads="1"/>
              </p:cNvSpPr>
              <p:nvPr/>
            </p:nvSpPr>
            <p:spPr bwMode="auto">
              <a:xfrm>
                <a:off x="7285" y="1259"/>
                <a:ext cx="57" cy="301"/>
              </a:xfrm>
              <a:prstGeom prst="rect">
                <a:avLst/>
              </a:prstGeom>
              <a:solidFill>
                <a:srgbClr val="E850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112">
                <a:extLst>
                  <a:ext uri="{FF2B5EF4-FFF2-40B4-BE49-F238E27FC236}">
                    <a16:creationId xmlns:a16="http://schemas.microsoft.com/office/drawing/2014/main" id="{209A66F5-83E0-4990-B929-EC807A0065CB}"/>
                  </a:ext>
                </a:extLst>
              </p:cNvPr>
              <p:cNvSpPr>
                <a:spLocks noChangeArrowheads="1"/>
              </p:cNvSpPr>
              <p:nvPr/>
            </p:nvSpPr>
            <p:spPr bwMode="auto">
              <a:xfrm>
                <a:off x="7285" y="1259"/>
                <a:ext cx="57" cy="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113">
                <a:extLst>
                  <a:ext uri="{FF2B5EF4-FFF2-40B4-BE49-F238E27FC236}">
                    <a16:creationId xmlns:a16="http://schemas.microsoft.com/office/drawing/2014/main" id="{8C7A274D-71E0-4C4F-A285-664B532C9F4E}"/>
                  </a:ext>
                </a:extLst>
              </p:cNvPr>
              <p:cNvSpPr>
                <a:spLocks noChangeArrowheads="1"/>
              </p:cNvSpPr>
              <p:nvPr/>
            </p:nvSpPr>
            <p:spPr bwMode="auto">
              <a:xfrm>
                <a:off x="7285" y="1259"/>
                <a:ext cx="57" cy="301"/>
              </a:xfrm>
              <a:prstGeom prst="rect">
                <a:avLst/>
              </a:prstGeom>
              <a:solidFill>
                <a:srgbClr val="BA40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114">
                <a:extLst>
                  <a:ext uri="{FF2B5EF4-FFF2-40B4-BE49-F238E27FC236}">
                    <a16:creationId xmlns:a16="http://schemas.microsoft.com/office/drawing/2014/main" id="{7DBF14A0-5883-4A9C-8E9D-2AA9CD6E10D0}"/>
                  </a:ext>
                </a:extLst>
              </p:cNvPr>
              <p:cNvSpPr>
                <a:spLocks noChangeArrowheads="1"/>
              </p:cNvSpPr>
              <p:nvPr/>
            </p:nvSpPr>
            <p:spPr bwMode="auto">
              <a:xfrm>
                <a:off x="7285" y="1259"/>
                <a:ext cx="57" cy="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Oval 115">
                <a:extLst>
                  <a:ext uri="{FF2B5EF4-FFF2-40B4-BE49-F238E27FC236}">
                    <a16:creationId xmlns:a16="http://schemas.microsoft.com/office/drawing/2014/main" id="{68333855-1034-4E1F-99D3-E754D5467F1C}"/>
                  </a:ext>
                </a:extLst>
              </p:cNvPr>
              <p:cNvSpPr>
                <a:spLocks noChangeArrowheads="1"/>
              </p:cNvSpPr>
              <p:nvPr/>
            </p:nvSpPr>
            <p:spPr bwMode="auto">
              <a:xfrm>
                <a:off x="7053" y="1584"/>
                <a:ext cx="906"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Rectangle 116">
                <a:extLst>
                  <a:ext uri="{FF2B5EF4-FFF2-40B4-BE49-F238E27FC236}">
                    <a16:creationId xmlns:a16="http://schemas.microsoft.com/office/drawing/2014/main" id="{1277D817-88EE-4DB4-BD58-DA43D6F4300E}"/>
                  </a:ext>
                </a:extLst>
              </p:cNvPr>
              <p:cNvSpPr>
                <a:spLocks noChangeArrowheads="1"/>
              </p:cNvSpPr>
              <p:nvPr/>
            </p:nvSpPr>
            <p:spPr bwMode="auto">
              <a:xfrm>
                <a:off x="7026" y="1484"/>
                <a:ext cx="36" cy="12"/>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Rectangle 117">
                <a:extLst>
                  <a:ext uri="{FF2B5EF4-FFF2-40B4-BE49-F238E27FC236}">
                    <a16:creationId xmlns:a16="http://schemas.microsoft.com/office/drawing/2014/main" id="{7AD9752F-4C6F-41F1-9326-01E96A079D77}"/>
                  </a:ext>
                </a:extLst>
              </p:cNvPr>
              <p:cNvSpPr>
                <a:spLocks noChangeArrowheads="1"/>
              </p:cNvSpPr>
              <p:nvPr/>
            </p:nvSpPr>
            <p:spPr bwMode="auto">
              <a:xfrm>
                <a:off x="7026" y="1332"/>
                <a:ext cx="36" cy="12"/>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Rectangle 118">
                <a:extLst>
                  <a:ext uri="{FF2B5EF4-FFF2-40B4-BE49-F238E27FC236}">
                    <a16:creationId xmlns:a16="http://schemas.microsoft.com/office/drawing/2014/main" id="{C5BB080B-347C-4176-8FAC-607A11B6DE35}"/>
                  </a:ext>
                </a:extLst>
              </p:cNvPr>
              <p:cNvSpPr>
                <a:spLocks noChangeArrowheads="1"/>
              </p:cNvSpPr>
              <p:nvPr/>
            </p:nvSpPr>
            <p:spPr bwMode="auto">
              <a:xfrm>
                <a:off x="7026" y="1045"/>
                <a:ext cx="36" cy="9"/>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Rectangle 119">
                <a:extLst>
                  <a:ext uri="{FF2B5EF4-FFF2-40B4-BE49-F238E27FC236}">
                    <a16:creationId xmlns:a16="http://schemas.microsoft.com/office/drawing/2014/main" id="{370213F0-A244-4C46-A4A6-A54CB1EA6C54}"/>
                  </a:ext>
                </a:extLst>
              </p:cNvPr>
              <p:cNvSpPr>
                <a:spLocks noChangeArrowheads="1"/>
              </p:cNvSpPr>
              <p:nvPr/>
            </p:nvSpPr>
            <p:spPr bwMode="auto">
              <a:xfrm>
                <a:off x="7026" y="900"/>
                <a:ext cx="36" cy="12"/>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Rectangle 120">
                <a:extLst>
                  <a:ext uri="{FF2B5EF4-FFF2-40B4-BE49-F238E27FC236}">
                    <a16:creationId xmlns:a16="http://schemas.microsoft.com/office/drawing/2014/main" id="{CE3A27C8-2232-48D8-81B3-82D3FE448202}"/>
                  </a:ext>
                </a:extLst>
              </p:cNvPr>
              <p:cNvSpPr>
                <a:spLocks noChangeArrowheads="1"/>
              </p:cNvSpPr>
              <p:nvPr/>
            </p:nvSpPr>
            <p:spPr bwMode="auto">
              <a:xfrm>
                <a:off x="7029" y="1187"/>
                <a:ext cx="33" cy="12"/>
              </a:xfrm>
              <a:prstGeom prst="rect">
                <a:avLst/>
              </a:prstGeom>
              <a:solidFill>
                <a:srgbClr val="2632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121">
                <a:extLst>
                  <a:ext uri="{FF2B5EF4-FFF2-40B4-BE49-F238E27FC236}">
                    <a16:creationId xmlns:a16="http://schemas.microsoft.com/office/drawing/2014/main" id="{260952FB-EF91-4CF0-B21F-7E714D26FC5E}"/>
                  </a:ext>
                </a:extLst>
              </p:cNvPr>
              <p:cNvSpPr>
                <a:spLocks/>
              </p:cNvSpPr>
              <p:nvPr/>
            </p:nvSpPr>
            <p:spPr bwMode="auto">
              <a:xfrm>
                <a:off x="5750" y="710"/>
                <a:ext cx="1082" cy="304"/>
              </a:xfrm>
              <a:custGeom>
                <a:avLst/>
                <a:gdLst>
                  <a:gd name="T0" fmla="*/ 443 w 456"/>
                  <a:gd name="T1" fmla="*/ 128 h 128"/>
                  <a:gd name="T2" fmla="*/ 13 w 456"/>
                  <a:gd name="T3" fmla="*/ 128 h 128"/>
                  <a:gd name="T4" fmla="*/ 0 w 456"/>
                  <a:gd name="T5" fmla="*/ 115 h 128"/>
                  <a:gd name="T6" fmla="*/ 0 w 456"/>
                  <a:gd name="T7" fmla="*/ 13 h 128"/>
                  <a:gd name="T8" fmla="*/ 13 w 456"/>
                  <a:gd name="T9" fmla="*/ 0 h 128"/>
                  <a:gd name="T10" fmla="*/ 443 w 456"/>
                  <a:gd name="T11" fmla="*/ 0 h 128"/>
                  <a:gd name="T12" fmla="*/ 456 w 456"/>
                  <a:gd name="T13" fmla="*/ 13 h 128"/>
                  <a:gd name="T14" fmla="*/ 456 w 456"/>
                  <a:gd name="T15" fmla="*/ 115 h 128"/>
                  <a:gd name="T16" fmla="*/ 443 w 45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128">
                    <a:moveTo>
                      <a:pt x="443" y="128"/>
                    </a:moveTo>
                    <a:cubicBezTo>
                      <a:pt x="13" y="128"/>
                      <a:pt x="13" y="128"/>
                      <a:pt x="13" y="128"/>
                    </a:cubicBezTo>
                    <a:cubicBezTo>
                      <a:pt x="6" y="128"/>
                      <a:pt x="0" y="122"/>
                      <a:pt x="0" y="115"/>
                    </a:cubicBezTo>
                    <a:cubicBezTo>
                      <a:pt x="0" y="13"/>
                      <a:pt x="0" y="13"/>
                      <a:pt x="0" y="13"/>
                    </a:cubicBezTo>
                    <a:cubicBezTo>
                      <a:pt x="0" y="6"/>
                      <a:pt x="6" y="0"/>
                      <a:pt x="13" y="0"/>
                    </a:cubicBezTo>
                    <a:cubicBezTo>
                      <a:pt x="443" y="0"/>
                      <a:pt x="443" y="0"/>
                      <a:pt x="443" y="0"/>
                    </a:cubicBezTo>
                    <a:cubicBezTo>
                      <a:pt x="450" y="0"/>
                      <a:pt x="456" y="6"/>
                      <a:pt x="456" y="13"/>
                    </a:cubicBezTo>
                    <a:cubicBezTo>
                      <a:pt x="456" y="115"/>
                      <a:pt x="456" y="115"/>
                      <a:pt x="456" y="115"/>
                    </a:cubicBezTo>
                    <a:cubicBezTo>
                      <a:pt x="456" y="122"/>
                      <a:pt x="450" y="128"/>
                      <a:pt x="443" y="12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122">
                <a:extLst>
                  <a:ext uri="{FF2B5EF4-FFF2-40B4-BE49-F238E27FC236}">
                    <a16:creationId xmlns:a16="http://schemas.microsoft.com/office/drawing/2014/main" id="{9991FD6C-98EB-46A4-B7B3-4C13EBBFDEAF}"/>
                  </a:ext>
                </a:extLst>
              </p:cNvPr>
              <p:cNvSpPr>
                <a:spLocks/>
              </p:cNvSpPr>
              <p:nvPr/>
            </p:nvSpPr>
            <p:spPr bwMode="auto">
              <a:xfrm>
                <a:off x="5852" y="796"/>
                <a:ext cx="149" cy="149"/>
              </a:xfrm>
              <a:custGeom>
                <a:avLst/>
                <a:gdLst>
                  <a:gd name="T0" fmla="*/ 53 w 63"/>
                  <a:gd name="T1" fmla="*/ 49 h 63"/>
                  <a:gd name="T2" fmla="*/ 14 w 63"/>
                  <a:gd name="T3" fmla="*/ 53 h 63"/>
                  <a:gd name="T4" fmla="*/ 10 w 63"/>
                  <a:gd name="T5" fmla="*/ 14 h 63"/>
                  <a:gd name="T6" fmla="*/ 49 w 63"/>
                  <a:gd name="T7" fmla="*/ 10 h 63"/>
                  <a:gd name="T8" fmla="*/ 53 w 63"/>
                  <a:gd name="T9" fmla="*/ 49 h 63"/>
                </a:gdLst>
                <a:ahLst/>
                <a:cxnLst>
                  <a:cxn ang="0">
                    <a:pos x="T0" y="T1"/>
                  </a:cxn>
                  <a:cxn ang="0">
                    <a:pos x="T2" y="T3"/>
                  </a:cxn>
                  <a:cxn ang="0">
                    <a:pos x="T4" y="T5"/>
                  </a:cxn>
                  <a:cxn ang="0">
                    <a:pos x="T6" y="T7"/>
                  </a:cxn>
                  <a:cxn ang="0">
                    <a:pos x="T8" y="T9"/>
                  </a:cxn>
                </a:cxnLst>
                <a:rect l="0" t="0" r="r" b="b"/>
                <a:pathLst>
                  <a:path w="63" h="63">
                    <a:moveTo>
                      <a:pt x="53" y="49"/>
                    </a:moveTo>
                    <a:cubicBezTo>
                      <a:pt x="43" y="61"/>
                      <a:pt x="26" y="63"/>
                      <a:pt x="14" y="53"/>
                    </a:cubicBezTo>
                    <a:cubicBezTo>
                      <a:pt x="2" y="44"/>
                      <a:pt x="0" y="26"/>
                      <a:pt x="10" y="14"/>
                    </a:cubicBezTo>
                    <a:cubicBezTo>
                      <a:pt x="19" y="2"/>
                      <a:pt x="37" y="0"/>
                      <a:pt x="49" y="10"/>
                    </a:cubicBezTo>
                    <a:cubicBezTo>
                      <a:pt x="61" y="20"/>
                      <a:pt x="63" y="37"/>
                      <a:pt x="53"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123">
                <a:extLst>
                  <a:ext uri="{FF2B5EF4-FFF2-40B4-BE49-F238E27FC236}">
                    <a16:creationId xmlns:a16="http://schemas.microsoft.com/office/drawing/2014/main" id="{C4B22CE8-B9EE-410C-9655-8594D885EA7D}"/>
                  </a:ext>
                </a:extLst>
              </p:cNvPr>
              <p:cNvSpPr>
                <a:spLocks noEditPoints="1"/>
              </p:cNvSpPr>
              <p:nvPr/>
            </p:nvSpPr>
            <p:spPr bwMode="auto">
              <a:xfrm>
                <a:off x="5859" y="805"/>
                <a:ext cx="135" cy="133"/>
              </a:xfrm>
              <a:custGeom>
                <a:avLst/>
                <a:gdLst>
                  <a:gd name="T0" fmla="*/ 28 w 57"/>
                  <a:gd name="T1" fmla="*/ 56 h 56"/>
                  <a:gd name="T2" fmla="*/ 11 w 57"/>
                  <a:gd name="T3" fmla="*/ 50 h 56"/>
                  <a:gd name="T4" fmla="*/ 1 w 57"/>
                  <a:gd name="T5" fmla="*/ 31 h 56"/>
                  <a:gd name="T6" fmla="*/ 6 w 57"/>
                  <a:gd name="T7" fmla="*/ 10 h 56"/>
                  <a:gd name="T8" fmla="*/ 25 w 57"/>
                  <a:gd name="T9" fmla="*/ 0 h 56"/>
                  <a:gd name="T10" fmla="*/ 28 w 57"/>
                  <a:gd name="T11" fmla="*/ 0 h 56"/>
                  <a:gd name="T12" fmla="*/ 46 w 57"/>
                  <a:gd name="T13" fmla="*/ 6 h 56"/>
                  <a:gd name="T14" fmla="*/ 56 w 57"/>
                  <a:gd name="T15" fmla="*/ 25 h 56"/>
                  <a:gd name="T16" fmla="*/ 50 w 57"/>
                  <a:gd name="T17" fmla="*/ 45 h 56"/>
                  <a:gd name="T18" fmla="*/ 31 w 57"/>
                  <a:gd name="T19" fmla="*/ 55 h 56"/>
                  <a:gd name="T20" fmla="*/ 28 w 57"/>
                  <a:gd name="T21" fmla="*/ 56 h 56"/>
                  <a:gd name="T22" fmla="*/ 28 w 57"/>
                  <a:gd name="T23" fmla="*/ 0 h 56"/>
                  <a:gd name="T24" fmla="*/ 25 w 57"/>
                  <a:gd name="T25" fmla="*/ 0 h 56"/>
                  <a:gd name="T26" fmla="*/ 7 w 57"/>
                  <a:gd name="T27" fmla="*/ 10 h 56"/>
                  <a:gd name="T28" fmla="*/ 1 w 57"/>
                  <a:gd name="T29" fmla="*/ 31 h 56"/>
                  <a:gd name="T30" fmla="*/ 11 w 57"/>
                  <a:gd name="T31" fmla="*/ 49 h 56"/>
                  <a:gd name="T32" fmla="*/ 31 w 57"/>
                  <a:gd name="T33" fmla="*/ 55 h 56"/>
                  <a:gd name="T34" fmla="*/ 50 w 57"/>
                  <a:gd name="T35" fmla="*/ 45 h 56"/>
                  <a:gd name="T36" fmla="*/ 56 w 57"/>
                  <a:gd name="T37" fmla="*/ 25 h 56"/>
                  <a:gd name="T38" fmla="*/ 46 w 57"/>
                  <a:gd name="T39" fmla="*/ 6 h 56"/>
                  <a:gd name="T40" fmla="*/ 28 w 57"/>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56">
                    <a:moveTo>
                      <a:pt x="28" y="56"/>
                    </a:moveTo>
                    <a:cubicBezTo>
                      <a:pt x="22" y="56"/>
                      <a:pt x="16" y="54"/>
                      <a:pt x="11" y="50"/>
                    </a:cubicBezTo>
                    <a:cubicBezTo>
                      <a:pt x="5" y="45"/>
                      <a:pt x="1" y="38"/>
                      <a:pt x="1" y="31"/>
                    </a:cubicBezTo>
                    <a:cubicBezTo>
                      <a:pt x="0" y="23"/>
                      <a:pt x="2" y="16"/>
                      <a:pt x="6" y="10"/>
                    </a:cubicBezTo>
                    <a:cubicBezTo>
                      <a:pt x="11" y="4"/>
                      <a:pt x="18" y="1"/>
                      <a:pt x="25" y="0"/>
                    </a:cubicBezTo>
                    <a:cubicBezTo>
                      <a:pt x="26" y="0"/>
                      <a:pt x="27" y="0"/>
                      <a:pt x="28" y="0"/>
                    </a:cubicBezTo>
                    <a:cubicBezTo>
                      <a:pt x="35" y="0"/>
                      <a:pt x="41" y="2"/>
                      <a:pt x="46" y="6"/>
                    </a:cubicBezTo>
                    <a:cubicBezTo>
                      <a:pt x="51" y="11"/>
                      <a:pt x="55" y="17"/>
                      <a:pt x="56" y="25"/>
                    </a:cubicBezTo>
                    <a:cubicBezTo>
                      <a:pt x="57" y="32"/>
                      <a:pt x="55" y="39"/>
                      <a:pt x="50" y="45"/>
                    </a:cubicBezTo>
                    <a:cubicBezTo>
                      <a:pt x="45" y="51"/>
                      <a:pt x="39" y="55"/>
                      <a:pt x="31" y="55"/>
                    </a:cubicBezTo>
                    <a:cubicBezTo>
                      <a:pt x="30" y="56"/>
                      <a:pt x="29" y="56"/>
                      <a:pt x="28" y="56"/>
                    </a:cubicBezTo>
                    <a:close/>
                    <a:moveTo>
                      <a:pt x="28" y="0"/>
                    </a:moveTo>
                    <a:cubicBezTo>
                      <a:pt x="27" y="0"/>
                      <a:pt x="26" y="0"/>
                      <a:pt x="25" y="0"/>
                    </a:cubicBezTo>
                    <a:cubicBezTo>
                      <a:pt x="18" y="1"/>
                      <a:pt x="11" y="5"/>
                      <a:pt x="7" y="10"/>
                    </a:cubicBezTo>
                    <a:cubicBezTo>
                      <a:pt x="2" y="16"/>
                      <a:pt x="0" y="23"/>
                      <a:pt x="1" y="31"/>
                    </a:cubicBezTo>
                    <a:cubicBezTo>
                      <a:pt x="2" y="38"/>
                      <a:pt x="5" y="45"/>
                      <a:pt x="11" y="49"/>
                    </a:cubicBezTo>
                    <a:cubicBezTo>
                      <a:pt x="17" y="54"/>
                      <a:pt x="24" y="56"/>
                      <a:pt x="31" y="55"/>
                    </a:cubicBezTo>
                    <a:cubicBezTo>
                      <a:pt x="39" y="54"/>
                      <a:pt x="45" y="51"/>
                      <a:pt x="50" y="45"/>
                    </a:cubicBezTo>
                    <a:cubicBezTo>
                      <a:pt x="54" y="39"/>
                      <a:pt x="57" y="32"/>
                      <a:pt x="56" y="25"/>
                    </a:cubicBezTo>
                    <a:cubicBezTo>
                      <a:pt x="55" y="17"/>
                      <a:pt x="51" y="11"/>
                      <a:pt x="46" y="6"/>
                    </a:cubicBezTo>
                    <a:cubicBezTo>
                      <a:pt x="41" y="2"/>
                      <a:pt x="35" y="0"/>
                      <a:pt x="2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124">
                <a:extLst>
                  <a:ext uri="{FF2B5EF4-FFF2-40B4-BE49-F238E27FC236}">
                    <a16:creationId xmlns:a16="http://schemas.microsoft.com/office/drawing/2014/main" id="{3CE0C424-B200-461B-ABA0-715C7F9953FD}"/>
                  </a:ext>
                </a:extLst>
              </p:cNvPr>
              <p:cNvSpPr>
                <a:spLocks/>
              </p:cNvSpPr>
              <p:nvPr/>
            </p:nvSpPr>
            <p:spPr bwMode="auto">
              <a:xfrm>
                <a:off x="5887" y="848"/>
                <a:ext cx="76" cy="50"/>
              </a:xfrm>
              <a:custGeom>
                <a:avLst/>
                <a:gdLst>
                  <a:gd name="T0" fmla="*/ 32 w 32"/>
                  <a:gd name="T1" fmla="*/ 0 h 21"/>
                  <a:gd name="T2" fmla="*/ 17 w 32"/>
                  <a:gd name="T3" fmla="*/ 16 h 21"/>
                  <a:gd name="T4" fmla="*/ 13 w 32"/>
                  <a:gd name="T5" fmla="*/ 20 h 21"/>
                  <a:gd name="T6" fmla="*/ 12 w 32"/>
                  <a:gd name="T7" fmla="*/ 21 h 21"/>
                  <a:gd name="T8" fmla="*/ 12 w 32"/>
                  <a:gd name="T9" fmla="*/ 20 h 21"/>
                  <a:gd name="T10" fmla="*/ 1 w 32"/>
                  <a:gd name="T11" fmla="*/ 7 h 21"/>
                  <a:gd name="T12" fmla="*/ 13 w 32"/>
                  <a:gd name="T13" fmla="*/ 18 h 21"/>
                  <a:gd name="T14" fmla="*/ 12 w 32"/>
                  <a:gd name="T15" fmla="*/ 18 h 21"/>
                  <a:gd name="T16" fmla="*/ 15 w 32"/>
                  <a:gd name="T17" fmla="*/ 15 h 21"/>
                  <a:gd name="T18" fmla="*/ 32 w 32"/>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32" y="0"/>
                    </a:moveTo>
                    <a:cubicBezTo>
                      <a:pt x="32" y="1"/>
                      <a:pt x="26" y="8"/>
                      <a:pt x="17" y="16"/>
                    </a:cubicBezTo>
                    <a:cubicBezTo>
                      <a:pt x="16" y="18"/>
                      <a:pt x="14" y="19"/>
                      <a:pt x="13" y="20"/>
                    </a:cubicBezTo>
                    <a:cubicBezTo>
                      <a:pt x="12" y="21"/>
                      <a:pt x="12" y="21"/>
                      <a:pt x="12" y="21"/>
                    </a:cubicBezTo>
                    <a:cubicBezTo>
                      <a:pt x="12" y="20"/>
                      <a:pt x="12" y="20"/>
                      <a:pt x="12" y="20"/>
                    </a:cubicBezTo>
                    <a:cubicBezTo>
                      <a:pt x="5" y="13"/>
                      <a:pt x="0" y="8"/>
                      <a:pt x="1" y="7"/>
                    </a:cubicBezTo>
                    <a:cubicBezTo>
                      <a:pt x="1" y="7"/>
                      <a:pt x="6" y="12"/>
                      <a:pt x="13" y="18"/>
                    </a:cubicBezTo>
                    <a:cubicBezTo>
                      <a:pt x="12" y="18"/>
                      <a:pt x="12" y="18"/>
                      <a:pt x="12" y="18"/>
                    </a:cubicBezTo>
                    <a:cubicBezTo>
                      <a:pt x="13" y="17"/>
                      <a:pt x="14" y="16"/>
                      <a:pt x="15" y="15"/>
                    </a:cubicBezTo>
                    <a:cubicBezTo>
                      <a:pt x="24" y="6"/>
                      <a:pt x="31" y="0"/>
                      <a:pt x="32"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Oval 125">
                <a:extLst>
                  <a:ext uri="{FF2B5EF4-FFF2-40B4-BE49-F238E27FC236}">
                    <a16:creationId xmlns:a16="http://schemas.microsoft.com/office/drawing/2014/main" id="{0D332A54-8753-4E86-AAE1-5EE526E41C57}"/>
                  </a:ext>
                </a:extLst>
              </p:cNvPr>
              <p:cNvSpPr>
                <a:spLocks noChangeArrowheads="1"/>
              </p:cNvSpPr>
              <p:nvPr/>
            </p:nvSpPr>
            <p:spPr bwMode="auto">
              <a:xfrm>
                <a:off x="6110" y="836"/>
                <a:ext cx="615" cy="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Oval 126">
                <a:extLst>
                  <a:ext uri="{FF2B5EF4-FFF2-40B4-BE49-F238E27FC236}">
                    <a16:creationId xmlns:a16="http://schemas.microsoft.com/office/drawing/2014/main" id="{3235FBAB-E14D-4519-9062-DAFC8AC7F94E}"/>
                  </a:ext>
                </a:extLst>
              </p:cNvPr>
              <p:cNvSpPr>
                <a:spLocks noChangeArrowheads="1"/>
              </p:cNvSpPr>
              <p:nvPr/>
            </p:nvSpPr>
            <p:spPr bwMode="auto">
              <a:xfrm>
                <a:off x="6117" y="898"/>
                <a:ext cx="356" cy="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127">
                <a:extLst>
                  <a:ext uri="{FF2B5EF4-FFF2-40B4-BE49-F238E27FC236}">
                    <a16:creationId xmlns:a16="http://schemas.microsoft.com/office/drawing/2014/main" id="{18328563-26D5-495E-BEC9-21A547B4E767}"/>
                  </a:ext>
                </a:extLst>
              </p:cNvPr>
              <p:cNvSpPr>
                <a:spLocks/>
              </p:cNvSpPr>
              <p:nvPr/>
            </p:nvSpPr>
            <p:spPr bwMode="auto">
              <a:xfrm>
                <a:off x="8064" y="3560"/>
                <a:ext cx="218" cy="299"/>
              </a:xfrm>
              <a:custGeom>
                <a:avLst/>
                <a:gdLst>
                  <a:gd name="T0" fmla="*/ 32 w 92"/>
                  <a:gd name="T1" fmla="*/ 75 h 126"/>
                  <a:gd name="T2" fmla="*/ 6 w 92"/>
                  <a:gd name="T3" fmla="*/ 49 h 126"/>
                  <a:gd name="T4" fmla="*/ 54 w 92"/>
                  <a:gd name="T5" fmla="*/ 0 h 126"/>
                  <a:gd name="T6" fmla="*/ 92 w 92"/>
                  <a:gd name="T7" fmla="*/ 38 h 126"/>
                  <a:gd name="T8" fmla="*/ 90 w 92"/>
                  <a:gd name="T9" fmla="*/ 41 h 126"/>
                  <a:gd name="T10" fmla="*/ 13 w 92"/>
                  <a:gd name="T11" fmla="*/ 119 h 126"/>
                  <a:gd name="T12" fmla="*/ 32 w 92"/>
                  <a:gd name="T13" fmla="*/ 75 h 126"/>
                </a:gdLst>
                <a:ahLst/>
                <a:cxnLst>
                  <a:cxn ang="0">
                    <a:pos x="T0" y="T1"/>
                  </a:cxn>
                  <a:cxn ang="0">
                    <a:pos x="T2" y="T3"/>
                  </a:cxn>
                  <a:cxn ang="0">
                    <a:pos x="T4" y="T5"/>
                  </a:cxn>
                  <a:cxn ang="0">
                    <a:pos x="T6" y="T7"/>
                  </a:cxn>
                  <a:cxn ang="0">
                    <a:pos x="T8" y="T9"/>
                  </a:cxn>
                  <a:cxn ang="0">
                    <a:pos x="T10" y="T11"/>
                  </a:cxn>
                  <a:cxn ang="0">
                    <a:pos x="T12" y="T13"/>
                  </a:cxn>
                </a:cxnLst>
                <a:rect l="0" t="0" r="r" b="b"/>
                <a:pathLst>
                  <a:path w="92" h="126">
                    <a:moveTo>
                      <a:pt x="32" y="75"/>
                    </a:moveTo>
                    <a:cubicBezTo>
                      <a:pt x="6" y="49"/>
                      <a:pt x="6" y="49"/>
                      <a:pt x="6" y="49"/>
                    </a:cubicBezTo>
                    <a:cubicBezTo>
                      <a:pt x="54" y="0"/>
                      <a:pt x="54" y="0"/>
                      <a:pt x="54" y="0"/>
                    </a:cubicBezTo>
                    <a:cubicBezTo>
                      <a:pt x="92" y="38"/>
                      <a:pt x="92" y="38"/>
                      <a:pt x="92" y="38"/>
                    </a:cubicBezTo>
                    <a:cubicBezTo>
                      <a:pt x="90" y="41"/>
                      <a:pt x="90" y="41"/>
                      <a:pt x="90" y="41"/>
                    </a:cubicBezTo>
                    <a:cubicBezTo>
                      <a:pt x="77" y="55"/>
                      <a:pt x="24" y="112"/>
                      <a:pt x="13" y="119"/>
                    </a:cubicBezTo>
                    <a:cubicBezTo>
                      <a:pt x="0" y="126"/>
                      <a:pt x="32" y="75"/>
                      <a:pt x="32" y="7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128">
                <a:extLst>
                  <a:ext uri="{FF2B5EF4-FFF2-40B4-BE49-F238E27FC236}">
                    <a16:creationId xmlns:a16="http://schemas.microsoft.com/office/drawing/2014/main" id="{CBA4305E-EC97-40A1-8ACB-4C2A4080EFDA}"/>
                  </a:ext>
                </a:extLst>
              </p:cNvPr>
              <p:cNvSpPr>
                <a:spLocks/>
              </p:cNvSpPr>
              <p:nvPr/>
            </p:nvSpPr>
            <p:spPr bwMode="auto">
              <a:xfrm>
                <a:off x="8230" y="3617"/>
                <a:ext cx="52" cy="74"/>
              </a:xfrm>
              <a:custGeom>
                <a:avLst/>
                <a:gdLst>
                  <a:gd name="T0" fmla="*/ 4 w 22"/>
                  <a:gd name="T1" fmla="*/ 31 h 31"/>
                  <a:gd name="T2" fmla="*/ 0 w 22"/>
                  <a:gd name="T3" fmla="*/ 14 h 31"/>
                  <a:gd name="T4" fmla="*/ 8 w 22"/>
                  <a:gd name="T5" fmla="*/ 0 h 31"/>
                  <a:gd name="T6" fmla="*/ 22 w 22"/>
                  <a:gd name="T7" fmla="*/ 13 h 31"/>
                  <a:gd name="T8" fmla="*/ 4 w 22"/>
                  <a:gd name="T9" fmla="*/ 31 h 31"/>
                </a:gdLst>
                <a:ahLst/>
                <a:cxnLst>
                  <a:cxn ang="0">
                    <a:pos x="T0" y="T1"/>
                  </a:cxn>
                  <a:cxn ang="0">
                    <a:pos x="T2" y="T3"/>
                  </a:cxn>
                  <a:cxn ang="0">
                    <a:pos x="T4" y="T5"/>
                  </a:cxn>
                  <a:cxn ang="0">
                    <a:pos x="T6" y="T7"/>
                  </a:cxn>
                  <a:cxn ang="0">
                    <a:pos x="T8" y="T9"/>
                  </a:cxn>
                </a:cxnLst>
                <a:rect l="0" t="0" r="r" b="b"/>
                <a:pathLst>
                  <a:path w="22" h="31">
                    <a:moveTo>
                      <a:pt x="4" y="31"/>
                    </a:moveTo>
                    <a:cubicBezTo>
                      <a:pt x="1" y="26"/>
                      <a:pt x="0" y="20"/>
                      <a:pt x="0" y="14"/>
                    </a:cubicBezTo>
                    <a:cubicBezTo>
                      <a:pt x="1" y="9"/>
                      <a:pt x="4" y="3"/>
                      <a:pt x="8" y="0"/>
                    </a:cubicBezTo>
                    <a:cubicBezTo>
                      <a:pt x="22" y="13"/>
                      <a:pt x="22" y="13"/>
                      <a:pt x="22" y="13"/>
                    </a:cubicBezTo>
                    <a:lnTo>
                      <a:pt x="4" y="3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129">
                <a:extLst>
                  <a:ext uri="{FF2B5EF4-FFF2-40B4-BE49-F238E27FC236}">
                    <a16:creationId xmlns:a16="http://schemas.microsoft.com/office/drawing/2014/main" id="{A857FF8F-78D9-4FCE-9DDE-955BEAF9FC54}"/>
                  </a:ext>
                </a:extLst>
              </p:cNvPr>
              <p:cNvSpPr>
                <a:spLocks/>
              </p:cNvSpPr>
              <p:nvPr/>
            </p:nvSpPr>
            <p:spPr bwMode="auto">
              <a:xfrm>
                <a:off x="8080" y="3648"/>
                <a:ext cx="202" cy="197"/>
              </a:xfrm>
              <a:custGeom>
                <a:avLst/>
                <a:gdLst>
                  <a:gd name="T0" fmla="*/ 10 w 85"/>
                  <a:gd name="T1" fmla="*/ 63 h 83"/>
                  <a:gd name="T2" fmla="*/ 4 w 85"/>
                  <a:gd name="T3" fmla="*/ 83 h 83"/>
                  <a:gd name="T4" fmla="*/ 85 w 85"/>
                  <a:gd name="T5" fmla="*/ 1 h 83"/>
                  <a:gd name="T6" fmla="*/ 84 w 85"/>
                  <a:gd name="T7" fmla="*/ 0 h 83"/>
                  <a:gd name="T8" fmla="*/ 20 w 85"/>
                  <a:gd name="T9" fmla="*/ 65 h 83"/>
                  <a:gd name="T10" fmla="*/ 10 w 85"/>
                  <a:gd name="T11" fmla="*/ 63 h 83"/>
                </a:gdLst>
                <a:ahLst/>
                <a:cxnLst>
                  <a:cxn ang="0">
                    <a:pos x="T0" y="T1"/>
                  </a:cxn>
                  <a:cxn ang="0">
                    <a:pos x="T2" y="T3"/>
                  </a:cxn>
                  <a:cxn ang="0">
                    <a:pos x="T4" y="T5"/>
                  </a:cxn>
                  <a:cxn ang="0">
                    <a:pos x="T6" y="T7"/>
                  </a:cxn>
                  <a:cxn ang="0">
                    <a:pos x="T8" y="T9"/>
                  </a:cxn>
                  <a:cxn ang="0">
                    <a:pos x="T10" y="T11"/>
                  </a:cxn>
                </a:cxnLst>
                <a:rect l="0" t="0" r="r" b="b"/>
                <a:pathLst>
                  <a:path w="85" h="83">
                    <a:moveTo>
                      <a:pt x="10" y="63"/>
                    </a:moveTo>
                    <a:cubicBezTo>
                      <a:pt x="10" y="63"/>
                      <a:pt x="0" y="82"/>
                      <a:pt x="4" y="83"/>
                    </a:cubicBezTo>
                    <a:cubicBezTo>
                      <a:pt x="8" y="83"/>
                      <a:pt x="63" y="27"/>
                      <a:pt x="85" y="1"/>
                    </a:cubicBezTo>
                    <a:cubicBezTo>
                      <a:pt x="84" y="0"/>
                      <a:pt x="84" y="0"/>
                      <a:pt x="84" y="0"/>
                    </a:cubicBezTo>
                    <a:cubicBezTo>
                      <a:pt x="20" y="65"/>
                      <a:pt x="20" y="65"/>
                      <a:pt x="20" y="65"/>
                    </a:cubicBezTo>
                    <a:cubicBezTo>
                      <a:pt x="20" y="65"/>
                      <a:pt x="13" y="61"/>
                      <a:pt x="10" y="6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130">
                <a:extLst>
                  <a:ext uri="{FF2B5EF4-FFF2-40B4-BE49-F238E27FC236}">
                    <a16:creationId xmlns:a16="http://schemas.microsoft.com/office/drawing/2014/main" id="{EBA70F63-C664-4F95-B714-C869C7712165}"/>
                  </a:ext>
                </a:extLst>
              </p:cNvPr>
              <p:cNvSpPr>
                <a:spLocks/>
              </p:cNvSpPr>
              <p:nvPr/>
            </p:nvSpPr>
            <p:spPr bwMode="auto">
              <a:xfrm>
                <a:off x="8087" y="3646"/>
                <a:ext cx="195" cy="197"/>
              </a:xfrm>
              <a:custGeom>
                <a:avLst/>
                <a:gdLst>
                  <a:gd name="T0" fmla="*/ 82 w 82"/>
                  <a:gd name="T1" fmla="*/ 0 h 83"/>
                  <a:gd name="T2" fmla="*/ 81 w 82"/>
                  <a:gd name="T3" fmla="*/ 1 h 83"/>
                  <a:gd name="T4" fmla="*/ 79 w 82"/>
                  <a:gd name="T5" fmla="*/ 3 h 83"/>
                  <a:gd name="T6" fmla="*/ 71 w 82"/>
                  <a:gd name="T7" fmla="*/ 13 h 83"/>
                  <a:gd name="T8" fmla="*/ 42 w 82"/>
                  <a:gd name="T9" fmla="*/ 42 h 83"/>
                  <a:gd name="T10" fmla="*/ 13 w 82"/>
                  <a:gd name="T11" fmla="*/ 71 h 83"/>
                  <a:gd name="T12" fmla="*/ 3 w 82"/>
                  <a:gd name="T13" fmla="*/ 80 h 83"/>
                  <a:gd name="T14" fmla="*/ 1 w 82"/>
                  <a:gd name="T15" fmla="*/ 82 h 83"/>
                  <a:gd name="T16" fmla="*/ 0 w 82"/>
                  <a:gd name="T17" fmla="*/ 83 h 83"/>
                  <a:gd name="T18" fmla="*/ 1 w 82"/>
                  <a:gd name="T19" fmla="*/ 82 h 83"/>
                  <a:gd name="T20" fmla="*/ 3 w 82"/>
                  <a:gd name="T21" fmla="*/ 80 h 83"/>
                  <a:gd name="T22" fmla="*/ 12 w 82"/>
                  <a:gd name="T23" fmla="*/ 71 h 83"/>
                  <a:gd name="T24" fmla="*/ 41 w 82"/>
                  <a:gd name="T25" fmla="*/ 42 h 83"/>
                  <a:gd name="T26" fmla="*/ 70 w 82"/>
                  <a:gd name="T27" fmla="*/ 12 h 83"/>
                  <a:gd name="T28" fmla="*/ 79 w 82"/>
                  <a:gd name="T29" fmla="*/ 3 h 83"/>
                  <a:gd name="T30" fmla="*/ 81 w 82"/>
                  <a:gd name="T31" fmla="*/ 1 h 83"/>
                  <a:gd name="T32" fmla="*/ 82 w 82"/>
                  <a:gd name="T3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83">
                    <a:moveTo>
                      <a:pt x="82" y="0"/>
                    </a:moveTo>
                    <a:cubicBezTo>
                      <a:pt x="82" y="0"/>
                      <a:pt x="82" y="0"/>
                      <a:pt x="81" y="1"/>
                    </a:cubicBezTo>
                    <a:cubicBezTo>
                      <a:pt x="81" y="2"/>
                      <a:pt x="80" y="2"/>
                      <a:pt x="79" y="3"/>
                    </a:cubicBezTo>
                    <a:cubicBezTo>
                      <a:pt x="77" y="6"/>
                      <a:pt x="74" y="9"/>
                      <a:pt x="71" y="13"/>
                    </a:cubicBezTo>
                    <a:cubicBezTo>
                      <a:pt x="63" y="20"/>
                      <a:pt x="53" y="31"/>
                      <a:pt x="42" y="42"/>
                    </a:cubicBezTo>
                    <a:cubicBezTo>
                      <a:pt x="31" y="54"/>
                      <a:pt x="20" y="64"/>
                      <a:pt x="13" y="71"/>
                    </a:cubicBezTo>
                    <a:cubicBezTo>
                      <a:pt x="9" y="75"/>
                      <a:pt x="6" y="78"/>
                      <a:pt x="3" y="80"/>
                    </a:cubicBezTo>
                    <a:cubicBezTo>
                      <a:pt x="2" y="81"/>
                      <a:pt x="2" y="81"/>
                      <a:pt x="1" y="82"/>
                    </a:cubicBezTo>
                    <a:cubicBezTo>
                      <a:pt x="0" y="83"/>
                      <a:pt x="0" y="83"/>
                      <a:pt x="0" y="83"/>
                    </a:cubicBezTo>
                    <a:cubicBezTo>
                      <a:pt x="0" y="83"/>
                      <a:pt x="0" y="83"/>
                      <a:pt x="1" y="82"/>
                    </a:cubicBezTo>
                    <a:cubicBezTo>
                      <a:pt x="1" y="81"/>
                      <a:pt x="2" y="81"/>
                      <a:pt x="3" y="80"/>
                    </a:cubicBezTo>
                    <a:cubicBezTo>
                      <a:pt x="6" y="77"/>
                      <a:pt x="9" y="74"/>
                      <a:pt x="12" y="71"/>
                    </a:cubicBezTo>
                    <a:cubicBezTo>
                      <a:pt x="20" y="64"/>
                      <a:pt x="30" y="53"/>
                      <a:pt x="41" y="42"/>
                    </a:cubicBezTo>
                    <a:cubicBezTo>
                      <a:pt x="53" y="30"/>
                      <a:pt x="63" y="20"/>
                      <a:pt x="70" y="12"/>
                    </a:cubicBezTo>
                    <a:cubicBezTo>
                      <a:pt x="74" y="9"/>
                      <a:pt x="76" y="6"/>
                      <a:pt x="79" y="3"/>
                    </a:cubicBezTo>
                    <a:cubicBezTo>
                      <a:pt x="80" y="2"/>
                      <a:pt x="80" y="1"/>
                      <a:pt x="81" y="1"/>
                    </a:cubicBezTo>
                    <a:cubicBezTo>
                      <a:pt x="82" y="0"/>
                      <a:pt x="82" y="0"/>
                      <a:pt x="82"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131">
                <a:extLst>
                  <a:ext uri="{FF2B5EF4-FFF2-40B4-BE49-F238E27FC236}">
                    <a16:creationId xmlns:a16="http://schemas.microsoft.com/office/drawing/2014/main" id="{C3C6A3D7-8FCA-40FC-B5F1-4CA0BA933681}"/>
                  </a:ext>
                </a:extLst>
              </p:cNvPr>
              <p:cNvSpPr>
                <a:spLocks/>
              </p:cNvSpPr>
              <p:nvPr/>
            </p:nvSpPr>
            <p:spPr bwMode="auto">
              <a:xfrm>
                <a:off x="8102" y="3795"/>
                <a:ext cx="28" cy="10"/>
              </a:xfrm>
              <a:custGeom>
                <a:avLst/>
                <a:gdLst>
                  <a:gd name="T0" fmla="*/ 12 w 12"/>
                  <a:gd name="T1" fmla="*/ 4 h 4"/>
                  <a:gd name="T2" fmla="*/ 6 w 12"/>
                  <a:gd name="T3" fmla="*/ 2 h 4"/>
                  <a:gd name="T4" fmla="*/ 0 w 12"/>
                  <a:gd name="T5" fmla="*/ 1 h 4"/>
                  <a:gd name="T6" fmla="*/ 6 w 12"/>
                  <a:gd name="T7" fmla="*/ 1 h 4"/>
                  <a:gd name="T8" fmla="*/ 12 w 12"/>
                  <a:gd name="T9" fmla="*/ 4 h 4"/>
                </a:gdLst>
                <a:ahLst/>
                <a:cxnLst>
                  <a:cxn ang="0">
                    <a:pos x="T0" y="T1"/>
                  </a:cxn>
                  <a:cxn ang="0">
                    <a:pos x="T2" y="T3"/>
                  </a:cxn>
                  <a:cxn ang="0">
                    <a:pos x="T4" y="T5"/>
                  </a:cxn>
                  <a:cxn ang="0">
                    <a:pos x="T6" y="T7"/>
                  </a:cxn>
                  <a:cxn ang="0">
                    <a:pos x="T8" y="T9"/>
                  </a:cxn>
                </a:cxnLst>
                <a:rect l="0" t="0" r="r" b="b"/>
                <a:pathLst>
                  <a:path w="12" h="4">
                    <a:moveTo>
                      <a:pt x="12" y="4"/>
                    </a:moveTo>
                    <a:cubicBezTo>
                      <a:pt x="12" y="4"/>
                      <a:pt x="10" y="2"/>
                      <a:pt x="6" y="2"/>
                    </a:cubicBezTo>
                    <a:cubicBezTo>
                      <a:pt x="3" y="1"/>
                      <a:pt x="0" y="1"/>
                      <a:pt x="0" y="1"/>
                    </a:cubicBezTo>
                    <a:cubicBezTo>
                      <a:pt x="0" y="1"/>
                      <a:pt x="3" y="0"/>
                      <a:pt x="6" y="1"/>
                    </a:cubicBezTo>
                    <a:cubicBezTo>
                      <a:pt x="10" y="2"/>
                      <a:pt x="12" y="4"/>
                      <a:pt x="12"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132">
                <a:extLst>
                  <a:ext uri="{FF2B5EF4-FFF2-40B4-BE49-F238E27FC236}">
                    <a16:creationId xmlns:a16="http://schemas.microsoft.com/office/drawing/2014/main" id="{21C352AA-EB5D-4A51-87E9-6F15143DB4D7}"/>
                  </a:ext>
                </a:extLst>
              </p:cNvPr>
              <p:cNvSpPr>
                <a:spLocks/>
              </p:cNvSpPr>
              <p:nvPr/>
            </p:nvSpPr>
            <p:spPr bwMode="auto">
              <a:xfrm>
                <a:off x="8130" y="3750"/>
                <a:ext cx="17" cy="5"/>
              </a:xfrm>
              <a:custGeom>
                <a:avLst/>
                <a:gdLst>
                  <a:gd name="T0" fmla="*/ 7 w 7"/>
                  <a:gd name="T1" fmla="*/ 1 h 2"/>
                  <a:gd name="T2" fmla="*/ 4 w 7"/>
                  <a:gd name="T3" fmla="*/ 1 h 2"/>
                  <a:gd name="T4" fmla="*/ 0 w 7"/>
                  <a:gd name="T5" fmla="*/ 0 h 2"/>
                  <a:gd name="T6" fmla="*/ 4 w 7"/>
                  <a:gd name="T7" fmla="*/ 0 h 2"/>
                  <a:gd name="T8" fmla="*/ 7 w 7"/>
                  <a:gd name="T9" fmla="*/ 1 h 2"/>
                </a:gdLst>
                <a:ahLst/>
                <a:cxnLst>
                  <a:cxn ang="0">
                    <a:pos x="T0" y="T1"/>
                  </a:cxn>
                  <a:cxn ang="0">
                    <a:pos x="T2" y="T3"/>
                  </a:cxn>
                  <a:cxn ang="0">
                    <a:pos x="T4" y="T5"/>
                  </a:cxn>
                  <a:cxn ang="0">
                    <a:pos x="T6" y="T7"/>
                  </a:cxn>
                  <a:cxn ang="0">
                    <a:pos x="T8" y="T9"/>
                  </a:cxn>
                </a:cxnLst>
                <a:rect l="0" t="0" r="r" b="b"/>
                <a:pathLst>
                  <a:path w="7" h="2">
                    <a:moveTo>
                      <a:pt x="7" y="1"/>
                    </a:moveTo>
                    <a:cubicBezTo>
                      <a:pt x="7" y="2"/>
                      <a:pt x="6" y="1"/>
                      <a:pt x="4" y="1"/>
                    </a:cubicBezTo>
                    <a:cubicBezTo>
                      <a:pt x="2" y="1"/>
                      <a:pt x="0" y="0"/>
                      <a:pt x="0" y="0"/>
                    </a:cubicBezTo>
                    <a:cubicBezTo>
                      <a:pt x="1" y="0"/>
                      <a:pt x="2" y="0"/>
                      <a:pt x="4" y="0"/>
                    </a:cubicBezTo>
                    <a:cubicBezTo>
                      <a:pt x="6" y="1"/>
                      <a:pt x="7" y="1"/>
                      <a:pt x="7"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33">
                <a:extLst>
                  <a:ext uri="{FF2B5EF4-FFF2-40B4-BE49-F238E27FC236}">
                    <a16:creationId xmlns:a16="http://schemas.microsoft.com/office/drawing/2014/main" id="{2D72F46C-0DD7-4826-AFC6-FA4093F4A257}"/>
                  </a:ext>
                </a:extLst>
              </p:cNvPr>
              <p:cNvSpPr>
                <a:spLocks/>
              </p:cNvSpPr>
              <p:nvPr/>
            </p:nvSpPr>
            <p:spPr bwMode="auto">
              <a:xfrm>
                <a:off x="8137" y="3738"/>
                <a:ext cx="14" cy="3"/>
              </a:xfrm>
              <a:custGeom>
                <a:avLst/>
                <a:gdLst>
                  <a:gd name="T0" fmla="*/ 6 w 6"/>
                  <a:gd name="T1" fmla="*/ 0 h 1"/>
                  <a:gd name="T2" fmla="*/ 3 w 6"/>
                  <a:gd name="T3" fmla="*/ 1 h 1"/>
                  <a:gd name="T4" fmla="*/ 0 w 6"/>
                  <a:gd name="T5" fmla="*/ 1 h 1"/>
                  <a:gd name="T6" fmla="*/ 3 w 6"/>
                  <a:gd name="T7" fmla="*/ 0 h 1"/>
                  <a:gd name="T8" fmla="*/ 6 w 6"/>
                  <a:gd name="T9" fmla="*/ 0 h 1"/>
                </a:gdLst>
                <a:ahLst/>
                <a:cxnLst>
                  <a:cxn ang="0">
                    <a:pos x="T0" y="T1"/>
                  </a:cxn>
                  <a:cxn ang="0">
                    <a:pos x="T2" y="T3"/>
                  </a:cxn>
                  <a:cxn ang="0">
                    <a:pos x="T4" y="T5"/>
                  </a:cxn>
                  <a:cxn ang="0">
                    <a:pos x="T6" y="T7"/>
                  </a:cxn>
                  <a:cxn ang="0">
                    <a:pos x="T8" y="T9"/>
                  </a:cxn>
                </a:cxnLst>
                <a:rect l="0" t="0" r="r" b="b"/>
                <a:pathLst>
                  <a:path w="6" h="1">
                    <a:moveTo>
                      <a:pt x="6" y="0"/>
                    </a:moveTo>
                    <a:cubicBezTo>
                      <a:pt x="6" y="1"/>
                      <a:pt x="5" y="1"/>
                      <a:pt x="3" y="1"/>
                    </a:cubicBezTo>
                    <a:cubicBezTo>
                      <a:pt x="1" y="1"/>
                      <a:pt x="0" y="1"/>
                      <a:pt x="0" y="1"/>
                    </a:cubicBezTo>
                    <a:cubicBezTo>
                      <a:pt x="0" y="0"/>
                      <a:pt x="1" y="0"/>
                      <a:pt x="3" y="0"/>
                    </a:cubicBezTo>
                    <a:cubicBezTo>
                      <a:pt x="5" y="0"/>
                      <a:pt x="6" y="0"/>
                      <a:pt x="6"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34">
                <a:extLst>
                  <a:ext uri="{FF2B5EF4-FFF2-40B4-BE49-F238E27FC236}">
                    <a16:creationId xmlns:a16="http://schemas.microsoft.com/office/drawing/2014/main" id="{309E56EF-9DDE-4ADF-ADBB-DC947536BA8E}"/>
                  </a:ext>
                </a:extLst>
              </p:cNvPr>
              <p:cNvSpPr>
                <a:spLocks/>
              </p:cNvSpPr>
              <p:nvPr/>
            </p:nvSpPr>
            <p:spPr bwMode="auto">
              <a:xfrm>
                <a:off x="8135" y="3722"/>
                <a:ext cx="12" cy="14"/>
              </a:xfrm>
              <a:custGeom>
                <a:avLst/>
                <a:gdLst>
                  <a:gd name="T0" fmla="*/ 5 w 5"/>
                  <a:gd name="T1" fmla="*/ 0 h 6"/>
                  <a:gd name="T2" fmla="*/ 3 w 5"/>
                  <a:gd name="T3" fmla="*/ 3 h 6"/>
                  <a:gd name="T4" fmla="*/ 0 w 5"/>
                  <a:gd name="T5" fmla="*/ 5 h 6"/>
                  <a:gd name="T6" fmla="*/ 2 w 5"/>
                  <a:gd name="T7" fmla="*/ 3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5" y="0"/>
                      <a:pt x="4" y="2"/>
                      <a:pt x="3" y="3"/>
                    </a:cubicBezTo>
                    <a:cubicBezTo>
                      <a:pt x="1" y="5"/>
                      <a:pt x="0" y="6"/>
                      <a:pt x="0" y="5"/>
                    </a:cubicBezTo>
                    <a:cubicBezTo>
                      <a:pt x="0" y="5"/>
                      <a:pt x="1" y="4"/>
                      <a:pt x="2" y="3"/>
                    </a:cubicBezTo>
                    <a:cubicBezTo>
                      <a:pt x="3" y="1"/>
                      <a:pt x="5" y="0"/>
                      <a:pt x="5"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35">
                <a:extLst>
                  <a:ext uri="{FF2B5EF4-FFF2-40B4-BE49-F238E27FC236}">
                    <a16:creationId xmlns:a16="http://schemas.microsoft.com/office/drawing/2014/main" id="{F49AB1D8-D64F-4D25-88FB-10426906B494}"/>
                  </a:ext>
                </a:extLst>
              </p:cNvPr>
              <p:cNvSpPr>
                <a:spLocks/>
              </p:cNvSpPr>
              <p:nvPr/>
            </p:nvSpPr>
            <p:spPr bwMode="auto">
              <a:xfrm>
                <a:off x="8128" y="3712"/>
                <a:ext cx="14" cy="17"/>
              </a:xfrm>
              <a:custGeom>
                <a:avLst/>
                <a:gdLst>
                  <a:gd name="T0" fmla="*/ 5 w 6"/>
                  <a:gd name="T1" fmla="*/ 0 h 7"/>
                  <a:gd name="T2" fmla="*/ 3 w 6"/>
                  <a:gd name="T3" fmla="*/ 4 h 7"/>
                  <a:gd name="T4" fmla="*/ 0 w 6"/>
                  <a:gd name="T5" fmla="*/ 6 h 7"/>
                  <a:gd name="T6" fmla="*/ 3 w 6"/>
                  <a:gd name="T7" fmla="*/ 3 h 7"/>
                  <a:gd name="T8" fmla="*/ 5 w 6"/>
                  <a:gd name="T9" fmla="*/ 0 h 7"/>
                </a:gdLst>
                <a:ahLst/>
                <a:cxnLst>
                  <a:cxn ang="0">
                    <a:pos x="T0" y="T1"/>
                  </a:cxn>
                  <a:cxn ang="0">
                    <a:pos x="T2" y="T3"/>
                  </a:cxn>
                  <a:cxn ang="0">
                    <a:pos x="T4" y="T5"/>
                  </a:cxn>
                  <a:cxn ang="0">
                    <a:pos x="T6" y="T7"/>
                  </a:cxn>
                  <a:cxn ang="0">
                    <a:pos x="T8" y="T9"/>
                  </a:cxn>
                </a:cxnLst>
                <a:rect l="0" t="0" r="r" b="b"/>
                <a:pathLst>
                  <a:path w="6" h="7">
                    <a:moveTo>
                      <a:pt x="5" y="0"/>
                    </a:moveTo>
                    <a:cubicBezTo>
                      <a:pt x="6" y="0"/>
                      <a:pt x="5" y="2"/>
                      <a:pt x="3" y="4"/>
                    </a:cubicBezTo>
                    <a:cubicBezTo>
                      <a:pt x="2" y="6"/>
                      <a:pt x="0" y="7"/>
                      <a:pt x="0" y="6"/>
                    </a:cubicBezTo>
                    <a:cubicBezTo>
                      <a:pt x="0" y="6"/>
                      <a:pt x="1" y="5"/>
                      <a:pt x="3" y="3"/>
                    </a:cubicBezTo>
                    <a:cubicBezTo>
                      <a:pt x="4" y="2"/>
                      <a:pt x="5" y="0"/>
                      <a:pt x="5"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6">
                <a:extLst>
                  <a:ext uri="{FF2B5EF4-FFF2-40B4-BE49-F238E27FC236}">
                    <a16:creationId xmlns:a16="http://schemas.microsoft.com/office/drawing/2014/main" id="{D54E14A5-339C-434A-9808-BEE737775DD6}"/>
                  </a:ext>
                </a:extLst>
              </p:cNvPr>
              <p:cNvSpPr>
                <a:spLocks/>
              </p:cNvSpPr>
              <p:nvPr/>
            </p:nvSpPr>
            <p:spPr bwMode="auto">
              <a:xfrm>
                <a:off x="8104" y="3745"/>
                <a:ext cx="31" cy="19"/>
              </a:xfrm>
              <a:custGeom>
                <a:avLst/>
                <a:gdLst>
                  <a:gd name="T0" fmla="*/ 12 w 13"/>
                  <a:gd name="T1" fmla="*/ 1 h 8"/>
                  <a:gd name="T2" fmla="*/ 9 w 13"/>
                  <a:gd name="T3" fmla="*/ 4 h 8"/>
                  <a:gd name="T4" fmla="*/ 5 w 13"/>
                  <a:gd name="T5" fmla="*/ 7 h 8"/>
                  <a:gd name="T6" fmla="*/ 2 w 13"/>
                  <a:gd name="T7" fmla="*/ 8 h 8"/>
                  <a:gd name="T8" fmla="*/ 1 w 13"/>
                  <a:gd name="T9" fmla="*/ 8 h 8"/>
                  <a:gd name="T10" fmla="*/ 0 w 13"/>
                  <a:gd name="T11" fmla="*/ 6 h 8"/>
                  <a:gd name="T12" fmla="*/ 9 w 13"/>
                  <a:gd name="T13" fmla="*/ 0 h 8"/>
                  <a:gd name="T14" fmla="*/ 12 w 13"/>
                  <a:gd name="T15" fmla="*/ 1 h 8"/>
                  <a:gd name="T16" fmla="*/ 13 w 13"/>
                  <a:gd name="T17" fmla="*/ 2 h 8"/>
                  <a:gd name="T18" fmla="*/ 8 w 13"/>
                  <a:gd name="T19" fmla="*/ 1 h 8"/>
                  <a:gd name="T20" fmla="*/ 4 w 13"/>
                  <a:gd name="T21" fmla="*/ 2 h 8"/>
                  <a:gd name="T22" fmla="*/ 1 w 13"/>
                  <a:gd name="T23" fmla="*/ 6 h 8"/>
                  <a:gd name="T24" fmla="*/ 2 w 13"/>
                  <a:gd name="T25" fmla="*/ 7 h 8"/>
                  <a:gd name="T26" fmla="*/ 5 w 13"/>
                  <a:gd name="T27" fmla="*/ 6 h 8"/>
                  <a:gd name="T28" fmla="*/ 9 w 13"/>
                  <a:gd name="T29" fmla="*/ 3 h 8"/>
                  <a:gd name="T30" fmla="*/ 12 w 13"/>
                  <a:gd name="T3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
                    <a:moveTo>
                      <a:pt x="12" y="1"/>
                    </a:moveTo>
                    <a:cubicBezTo>
                      <a:pt x="12" y="1"/>
                      <a:pt x="11" y="2"/>
                      <a:pt x="9" y="4"/>
                    </a:cubicBezTo>
                    <a:cubicBezTo>
                      <a:pt x="8" y="5"/>
                      <a:pt x="7" y="6"/>
                      <a:pt x="5" y="7"/>
                    </a:cubicBezTo>
                    <a:cubicBezTo>
                      <a:pt x="4" y="7"/>
                      <a:pt x="3" y="7"/>
                      <a:pt x="2" y="8"/>
                    </a:cubicBezTo>
                    <a:cubicBezTo>
                      <a:pt x="2" y="8"/>
                      <a:pt x="1" y="8"/>
                      <a:pt x="1" y="8"/>
                    </a:cubicBezTo>
                    <a:cubicBezTo>
                      <a:pt x="0" y="7"/>
                      <a:pt x="0" y="6"/>
                      <a:pt x="0" y="6"/>
                    </a:cubicBezTo>
                    <a:cubicBezTo>
                      <a:pt x="1" y="1"/>
                      <a:pt x="6" y="0"/>
                      <a:pt x="9" y="0"/>
                    </a:cubicBezTo>
                    <a:cubicBezTo>
                      <a:pt x="10" y="1"/>
                      <a:pt x="11" y="1"/>
                      <a:pt x="12" y="1"/>
                    </a:cubicBezTo>
                    <a:cubicBezTo>
                      <a:pt x="12" y="2"/>
                      <a:pt x="13" y="2"/>
                      <a:pt x="13" y="2"/>
                    </a:cubicBezTo>
                    <a:cubicBezTo>
                      <a:pt x="13" y="2"/>
                      <a:pt x="11" y="1"/>
                      <a:pt x="8" y="1"/>
                    </a:cubicBezTo>
                    <a:cubicBezTo>
                      <a:pt x="7" y="1"/>
                      <a:pt x="6" y="1"/>
                      <a:pt x="4" y="2"/>
                    </a:cubicBezTo>
                    <a:cubicBezTo>
                      <a:pt x="3" y="3"/>
                      <a:pt x="1" y="4"/>
                      <a:pt x="1" y="6"/>
                    </a:cubicBezTo>
                    <a:cubicBezTo>
                      <a:pt x="1" y="7"/>
                      <a:pt x="1" y="7"/>
                      <a:pt x="2" y="7"/>
                    </a:cubicBezTo>
                    <a:cubicBezTo>
                      <a:pt x="3" y="7"/>
                      <a:pt x="4" y="6"/>
                      <a:pt x="5" y="6"/>
                    </a:cubicBezTo>
                    <a:cubicBezTo>
                      <a:pt x="6" y="5"/>
                      <a:pt x="8" y="4"/>
                      <a:pt x="9" y="3"/>
                    </a:cubicBezTo>
                    <a:cubicBezTo>
                      <a:pt x="11" y="2"/>
                      <a:pt x="12" y="1"/>
                      <a:pt x="12"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37">
                <a:extLst>
                  <a:ext uri="{FF2B5EF4-FFF2-40B4-BE49-F238E27FC236}">
                    <a16:creationId xmlns:a16="http://schemas.microsoft.com/office/drawing/2014/main" id="{8FB7B86A-4F70-4236-AFB4-90BE4F806180}"/>
                  </a:ext>
                </a:extLst>
              </p:cNvPr>
              <p:cNvSpPr>
                <a:spLocks/>
              </p:cNvSpPr>
              <p:nvPr/>
            </p:nvSpPr>
            <p:spPr bwMode="auto">
              <a:xfrm>
                <a:off x="8121" y="3726"/>
                <a:ext cx="11" cy="24"/>
              </a:xfrm>
              <a:custGeom>
                <a:avLst/>
                <a:gdLst>
                  <a:gd name="T0" fmla="*/ 5 w 5"/>
                  <a:gd name="T1" fmla="*/ 10 h 10"/>
                  <a:gd name="T2" fmla="*/ 2 w 5"/>
                  <a:gd name="T3" fmla="*/ 8 h 10"/>
                  <a:gd name="T4" fmla="*/ 1 w 5"/>
                  <a:gd name="T5" fmla="*/ 5 h 10"/>
                  <a:gd name="T6" fmla="*/ 2 w 5"/>
                  <a:gd name="T7" fmla="*/ 1 h 10"/>
                  <a:gd name="T8" fmla="*/ 4 w 5"/>
                  <a:gd name="T9" fmla="*/ 1 h 10"/>
                  <a:gd name="T10" fmla="*/ 5 w 5"/>
                  <a:gd name="T11" fmla="*/ 3 h 10"/>
                  <a:gd name="T12" fmla="*/ 5 w 5"/>
                  <a:gd name="T13" fmla="*/ 6 h 10"/>
                  <a:gd name="T14" fmla="*/ 5 w 5"/>
                  <a:gd name="T15" fmla="*/ 10 h 10"/>
                  <a:gd name="T16" fmla="*/ 5 w 5"/>
                  <a:gd name="T17" fmla="*/ 6 h 10"/>
                  <a:gd name="T18" fmla="*/ 4 w 5"/>
                  <a:gd name="T19" fmla="*/ 3 h 10"/>
                  <a:gd name="T20" fmla="*/ 2 w 5"/>
                  <a:gd name="T21" fmla="*/ 1 h 10"/>
                  <a:gd name="T22" fmla="*/ 1 w 5"/>
                  <a:gd name="T23" fmla="*/ 5 h 10"/>
                  <a:gd name="T24" fmla="*/ 2 w 5"/>
                  <a:gd name="T25" fmla="*/ 8 h 10"/>
                  <a:gd name="T26" fmla="*/ 5 w 5"/>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0">
                    <a:moveTo>
                      <a:pt x="5" y="10"/>
                    </a:moveTo>
                    <a:cubicBezTo>
                      <a:pt x="5" y="10"/>
                      <a:pt x="3" y="10"/>
                      <a:pt x="2" y="8"/>
                    </a:cubicBezTo>
                    <a:cubicBezTo>
                      <a:pt x="1" y="7"/>
                      <a:pt x="1" y="6"/>
                      <a:pt x="1" y="5"/>
                    </a:cubicBezTo>
                    <a:cubicBezTo>
                      <a:pt x="0" y="4"/>
                      <a:pt x="0" y="2"/>
                      <a:pt x="2" y="1"/>
                    </a:cubicBezTo>
                    <a:cubicBezTo>
                      <a:pt x="2" y="0"/>
                      <a:pt x="4" y="1"/>
                      <a:pt x="4" y="1"/>
                    </a:cubicBezTo>
                    <a:cubicBezTo>
                      <a:pt x="4" y="2"/>
                      <a:pt x="5" y="2"/>
                      <a:pt x="5" y="3"/>
                    </a:cubicBezTo>
                    <a:cubicBezTo>
                      <a:pt x="5" y="4"/>
                      <a:pt x="5" y="5"/>
                      <a:pt x="5" y="6"/>
                    </a:cubicBezTo>
                    <a:cubicBezTo>
                      <a:pt x="5" y="8"/>
                      <a:pt x="5" y="10"/>
                      <a:pt x="5" y="10"/>
                    </a:cubicBezTo>
                    <a:cubicBezTo>
                      <a:pt x="5" y="9"/>
                      <a:pt x="5" y="8"/>
                      <a:pt x="5" y="6"/>
                    </a:cubicBezTo>
                    <a:cubicBezTo>
                      <a:pt x="5" y="6"/>
                      <a:pt x="4" y="4"/>
                      <a:pt x="4" y="3"/>
                    </a:cubicBezTo>
                    <a:cubicBezTo>
                      <a:pt x="4" y="2"/>
                      <a:pt x="3" y="1"/>
                      <a:pt x="2" y="1"/>
                    </a:cubicBezTo>
                    <a:cubicBezTo>
                      <a:pt x="1" y="2"/>
                      <a:pt x="1" y="4"/>
                      <a:pt x="1" y="5"/>
                    </a:cubicBezTo>
                    <a:cubicBezTo>
                      <a:pt x="2" y="6"/>
                      <a:pt x="2" y="7"/>
                      <a:pt x="2" y="8"/>
                    </a:cubicBezTo>
                    <a:cubicBezTo>
                      <a:pt x="4" y="9"/>
                      <a:pt x="5" y="10"/>
                      <a:pt x="5" y="1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38">
                <a:extLst>
                  <a:ext uri="{FF2B5EF4-FFF2-40B4-BE49-F238E27FC236}">
                    <a16:creationId xmlns:a16="http://schemas.microsoft.com/office/drawing/2014/main" id="{489A5B26-4856-4254-8C1E-A9245D389903}"/>
                  </a:ext>
                </a:extLst>
              </p:cNvPr>
              <p:cNvSpPr>
                <a:spLocks/>
              </p:cNvSpPr>
              <p:nvPr/>
            </p:nvSpPr>
            <p:spPr bwMode="auto">
              <a:xfrm>
                <a:off x="8225" y="3617"/>
                <a:ext cx="24" cy="74"/>
              </a:xfrm>
              <a:custGeom>
                <a:avLst/>
                <a:gdLst>
                  <a:gd name="T0" fmla="*/ 10 w 10"/>
                  <a:gd name="T1" fmla="*/ 0 h 31"/>
                  <a:gd name="T2" fmla="*/ 6 w 10"/>
                  <a:gd name="T3" fmla="*/ 3 h 31"/>
                  <a:gd name="T4" fmla="*/ 2 w 10"/>
                  <a:gd name="T5" fmla="*/ 15 h 31"/>
                  <a:gd name="T6" fmla="*/ 4 w 10"/>
                  <a:gd name="T7" fmla="*/ 26 h 31"/>
                  <a:gd name="T8" fmla="*/ 6 w 10"/>
                  <a:gd name="T9" fmla="*/ 31 h 31"/>
                  <a:gd name="T10" fmla="*/ 5 w 10"/>
                  <a:gd name="T11" fmla="*/ 30 h 31"/>
                  <a:gd name="T12" fmla="*/ 3 w 10"/>
                  <a:gd name="T13" fmla="*/ 27 h 31"/>
                  <a:gd name="T14" fmla="*/ 1 w 10"/>
                  <a:gd name="T15" fmla="*/ 14 h 31"/>
                  <a:gd name="T16" fmla="*/ 6 w 10"/>
                  <a:gd name="T17" fmla="*/ 3 h 31"/>
                  <a:gd name="T18" fmla="*/ 8 w 10"/>
                  <a:gd name="T19" fmla="*/ 0 h 31"/>
                  <a:gd name="T20" fmla="*/ 10 w 10"/>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1">
                    <a:moveTo>
                      <a:pt x="10" y="0"/>
                    </a:moveTo>
                    <a:cubicBezTo>
                      <a:pt x="10" y="0"/>
                      <a:pt x="8" y="1"/>
                      <a:pt x="6" y="3"/>
                    </a:cubicBezTo>
                    <a:cubicBezTo>
                      <a:pt x="4" y="6"/>
                      <a:pt x="2" y="10"/>
                      <a:pt x="2" y="15"/>
                    </a:cubicBezTo>
                    <a:cubicBezTo>
                      <a:pt x="1" y="19"/>
                      <a:pt x="2" y="24"/>
                      <a:pt x="4" y="26"/>
                    </a:cubicBezTo>
                    <a:cubicBezTo>
                      <a:pt x="5" y="29"/>
                      <a:pt x="6" y="31"/>
                      <a:pt x="6" y="31"/>
                    </a:cubicBezTo>
                    <a:cubicBezTo>
                      <a:pt x="6" y="31"/>
                      <a:pt x="6" y="30"/>
                      <a:pt x="5" y="30"/>
                    </a:cubicBezTo>
                    <a:cubicBezTo>
                      <a:pt x="5" y="29"/>
                      <a:pt x="4" y="28"/>
                      <a:pt x="3" y="27"/>
                    </a:cubicBezTo>
                    <a:cubicBezTo>
                      <a:pt x="2" y="24"/>
                      <a:pt x="0" y="19"/>
                      <a:pt x="1" y="14"/>
                    </a:cubicBezTo>
                    <a:cubicBezTo>
                      <a:pt x="1" y="9"/>
                      <a:pt x="4" y="5"/>
                      <a:pt x="6" y="3"/>
                    </a:cubicBezTo>
                    <a:cubicBezTo>
                      <a:pt x="7" y="2"/>
                      <a:pt x="8" y="1"/>
                      <a:pt x="8" y="0"/>
                    </a:cubicBezTo>
                    <a:cubicBezTo>
                      <a:pt x="9" y="0"/>
                      <a:pt x="10" y="0"/>
                      <a:pt x="1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39">
                <a:extLst>
                  <a:ext uri="{FF2B5EF4-FFF2-40B4-BE49-F238E27FC236}">
                    <a16:creationId xmlns:a16="http://schemas.microsoft.com/office/drawing/2014/main" id="{D455D089-765A-4767-B1EF-B463262E26D4}"/>
                  </a:ext>
                </a:extLst>
              </p:cNvPr>
              <p:cNvSpPr>
                <a:spLocks/>
              </p:cNvSpPr>
              <p:nvPr/>
            </p:nvSpPr>
            <p:spPr bwMode="auto">
              <a:xfrm>
                <a:off x="8187" y="3579"/>
                <a:ext cx="50" cy="48"/>
              </a:xfrm>
              <a:custGeom>
                <a:avLst/>
                <a:gdLst>
                  <a:gd name="T0" fmla="*/ 0 w 21"/>
                  <a:gd name="T1" fmla="*/ 1 h 20"/>
                  <a:gd name="T2" fmla="*/ 11 w 21"/>
                  <a:gd name="T3" fmla="*/ 10 h 20"/>
                  <a:gd name="T4" fmla="*/ 21 w 21"/>
                  <a:gd name="T5" fmla="*/ 20 h 20"/>
                  <a:gd name="T6" fmla="*/ 10 w 21"/>
                  <a:gd name="T7" fmla="*/ 11 h 20"/>
                  <a:gd name="T8" fmla="*/ 0 w 21"/>
                  <a:gd name="T9" fmla="*/ 1 h 20"/>
                </a:gdLst>
                <a:ahLst/>
                <a:cxnLst>
                  <a:cxn ang="0">
                    <a:pos x="T0" y="T1"/>
                  </a:cxn>
                  <a:cxn ang="0">
                    <a:pos x="T2" y="T3"/>
                  </a:cxn>
                  <a:cxn ang="0">
                    <a:pos x="T4" y="T5"/>
                  </a:cxn>
                  <a:cxn ang="0">
                    <a:pos x="T6" y="T7"/>
                  </a:cxn>
                  <a:cxn ang="0">
                    <a:pos x="T8" y="T9"/>
                  </a:cxn>
                </a:cxnLst>
                <a:rect l="0" t="0" r="r" b="b"/>
                <a:pathLst>
                  <a:path w="21" h="20">
                    <a:moveTo>
                      <a:pt x="0" y="1"/>
                    </a:moveTo>
                    <a:cubicBezTo>
                      <a:pt x="0" y="0"/>
                      <a:pt x="5" y="5"/>
                      <a:pt x="11" y="10"/>
                    </a:cubicBezTo>
                    <a:cubicBezTo>
                      <a:pt x="16" y="16"/>
                      <a:pt x="21" y="20"/>
                      <a:pt x="21" y="20"/>
                    </a:cubicBezTo>
                    <a:cubicBezTo>
                      <a:pt x="20" y="20"/>
                      <a:pt x="16" y="16"/>
                      <a:pt x="10" y="11"/>
                    </a:cubicBezTo>
                    <a:cubicBezTo>
                      <a:pt x="5" y="5"/>
                      <a:pt x="0" y="1"/>
                      <a:pt x="0"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40">
                <a:extLst>
                  <a:ext uri="{FF2B5EF4-FFF2-40B4-BE49-F238E27FC236}">
                    <a16:creationId xmlns:a16="http://schemas.microsoft.com/office/drawing/2014/main" id="{0BDC0910-2805-40E8-BFE1-550ED14E857B}"/>
                  </a:ext>
                </a:extLst>
              </p:cNvPr>
              <p:cNvSpPr>
                <a:spLocks/>
              </p:cNvSpPr>
              <p:nvPr/>
            </p:nvSpPr>
            <p:spPr bwMode="auto">
              <a:xfrm>
                <a:off x="8180" y="3693"/>
                <a:ext cx="36" cy="36"/>
              </a:xfrm>
              <a:custGeom>
                <a:avLst/>
                <a:gdLst>
                  <a:gd name="T0" fmla="*/ 15 w 15"/>
                  <a:gd name="T1" fmla="*/ 0 h 15"/>
                  <a:gd name="T2" fmla="*/ 8 w 15"/>
                  <a:gd name="T3" fmla="*/ 8 h 15"/>
                  <a:gd name="T4" fmla="*/ 1 w 15"/>
                  <a:gd name="T5" fmla="*/ 15 h 15"/>
                  <a:gd name="T6" fmla="*/ 8 w 15"/>
                  <a:gd name="T7" fmla="*/ 8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cubicBezTo>
                      <a:pt x="15" y="1"/>
                      <a:pt x="12" y="4"/>
                      <a:pt x="8" y="8"/>
                    </a:cubicBezTo>
                    <a:cubicBezTo>
                      <a:pt x="4" y="12"/>
                      <a:pt x="1" y="15"/>
                      <a:pt x="1" y="15"/>
                    </a:cubicBezTo>
                    <a:cubicBezTo>
                      <a:pt x="0" y="15"/>
                      <a:pt x="4" y="12"/>
                      <a:pt x="8" y="8"/>
                    </a:cubicBezTo>
                    <a:cubicBezTo>
                      <a:pt x="12" y="4"/>
                      <a:pt x="14" y="0"/>
                      <a:pt x="15"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41">
                <a:extLst>
                  <a:ext uri="{FF2B5EF4-FFF2-40B4-BE49-F238E27FC236}">
                    <a16:creationId xmlns:a16="http://schemas.microsoft.com/office/drawing/2014/main" id="{5AE65813-51CB-4E64-BD0F-0CEE523B2BFC}"/>
                  </a:ext>
                </a:extLst>
              </p:cNvPr>
              <p:cNvSpPr>
                <a:spLocks/>
              </p:cNvSpPr>
              <p:nvPr/>
            </p:nvSpPr>
            <p:spPr bwMode="auto">
              <a:xfrm>
                <a:off x="8237" y="3672"/>
                <a:ext cx="5" cy="9"/>
              </a:xfrm>
              <a:custGeom>
                <a:avLst/>
                <a:gdLst>
                  <a:gd name="T0" fmla="*/ 0 w 2"/>
                  <a:gd name="T1" fmla="*/ 0 h 4"/>
                  <a:gd name="T2" fmla="*/ 1 w 2"/>
                  <a:gd name="T3" fmla="*/ 2 h 4"/>
                  <a:gd name="T4" fmla="*/ 2 w 2"/>
                  <a:gd name="T5" fmla="*/ 4 h 4"/>
                  <a:gd name="T6" fmla="*/ 0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0"/>
                      <a:pt x="1" y="1"/>
                      <a:pt x="1" y="2"/>
                    </a:cubicBezTo>
                    <a:cubicBezTo>
                      <a:pt x="1" y="3"/>
                      <a:pt x="2" y="4"/>
                      <a:pt x="2" y="4"/>
                    </a:cubicBezTo>
                    <a:cubicBezTo>
                      <a:pt x="1" y="4"/>
                      <a:pt x="1" y="3"/>
                      <a:pt x="0" y="2"/>
                    </a:cubicBezTo>
                    <a:cubicBezTo>
                      <a:pt x="0" y="1"/>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142">
                <a:extLst>
                  <a:ext uri="{FF2B5EF4-FFF2-40B4-BE49-F238E27FC236}">
                    <a16:creationId xmlns:a16="http://schemas.microsoft.com/office/drawing/2014/main" id="{4419586F-A841-4E6A-BD01-7B1309D373F2}"/>
                  </a:ext>
                </a:extLst>
              </p:cNvPr>
              <p:cNvSpPr>
                <a:spLocks noChangeArrowheads="1"/>
              </p:cNvSpPr>
              <p:nvPr/>
            </p:nvSpPr>
            <p:spPr bwMode="auto">
              <a:xfrm>
                <a:off x="8234" y="3653"/>
                <a:ext cx="3"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143">
                <a:extLst>
                  <a:ext uri="{FF2B5EF4-FFF2-40B4-BE49-F238E27FC236}">
                    <a16:creationId xmlns:a16="http://schemas.microsoft.com/office/drawing/2014/main" id="{837A0391-36E1-4EB4-BA8C-36B825E7349A}"/>
                  </a:ext>
                </a:extLst>
              </p:cNvPr>
              <p:cNvSpPr>
                <a:spLocks/>
              </p:cNvSpPr>
              <p:nvPr/>
            </p:nvSpPr>
            <p:spPr bwMode="auto">
              <a:xfrm>
                <a:off x="8237" y="3634"/>
                <a:ext cx="5" cy="9"/>
              </a:xfrm>
              <a:custGeom>
                <a:avLst/>
                <a:gdLst>
                  <a:gd name="T0" fmla="*/ 2 w 2"/>
                  <a:gd name="T1" fmla="*/ 1 h 4"/>
                  <a:gd name="T2" fmla="*/ 1 w 2"/>
                  <a:gd name="T3" fmla="*/ 2 h 4"/>
                  <a:gd name="T4" fmla="*/ 0 w 2"/>
                  <a:gd name="T5" fmla="*/ 4 h 4"/>
                  <a:gd name="T6" fmla="*/ 1 w 2"/>
                  <a:gd name="T7" fmla="*/ 2 h 4"/>
                  <a:gd name="T8" fmla="*/ 2 w 2"/>
                  <a:gd name="T9" fmla="*/ 1 h 4"/>
                </a:gdLst>
                <a:ahLst/>
                <a:cxnLst>
                  <a:cxn ang="0">
                    <a:pos x="T0" y="T1"/>
                  </a:cxn>
                  <a:cxn ang="0">
                    <a:pos x="T2" y="T3"/>
                  </a:cxn>
                  <a:cxn ang="0">
                    <a:pos x="T4" y="T5"/>
                  </a:cxn>
                  <a:cxn ang="0">
                    <a:pos x="T6" y="T7"/>
                  </a:cxn>
                  <a:cxn ang="0">
                    <a:pos x="T8" y="T9"/>
                  </a:cxn>
                </a:cxnLst>
                <a:rect l="0" t="0" r="r" b="b"/>
                <a:pathLst>
                  <a:path w="2" h="4">
                    <a:moveTo>
                      <a:pt x="2" y="1"/>
                    </a:moveTo>
                    <a:cubicBezTo>
                      <a:pt x="2" y="1"/>
                      <a:pt x="2" y="1"/>
                      <a:pt x="1" y="2"/>
                    </a:cubicBezTo>
                    <a:cubicBezTo>
                      <a:pt x="1" y="3"/>
                      <a:pt x="1" y="4"/>
                      <a:pt x="0" y="4"/>
                    </a:cubicBezTo>
                    <a:cubicBezTo>
                      <a:pt x="0" y="4"/>
                      <a:pt x="0" y="3"/>
                      <a:pt x="1" y="2"/>
                    </a:cubicBezTo>
                    <a:cubicBezTo>
                      <a:pt x="1" y="1"/>
                      <a:pt x="2" y="0"/>
                      <a:pt x="2"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144">
                <a:extLst>
                  <a:ext uri="{FF2B5EF4-FFF2-40B4-BE49-F238E27FC236}">
                    <a16:creationId xmlns:a16="http://schemas.microsoft.com/office/drawing/2014/main" id="{8AA18E70-3988-45E0-BFA7-D7C76A66B8F9}"/>
                  </a:ext>
                </a:extLst>
              </p:cNvPr>
              <p:cNvSpPr>
                <a:spLocks/>
              </p:cNvSpPr>
              <p:nvPr/>
            </p:nvSpPr>
            <p:spPr bwMode="auto">
              <a:xfrm>
                <a:off x="8246" y="3624"/>
                <a:ext cx="3" cy="5"/>
              </a:xfrm>
              <a:custGeom>
                <a:avLst/>
                <a:gdLst>
                  <a:gd name="T0" fmla="*/ 1 w 1"/>
                  <a:gd name="T1" fmla="*/ 0 h 2"/>
                  <a:gd name="T2" fmla="*/ 1 w 1"/>
                  <a:gd name="T3" fmla="*/ 1 h 2"/>
                  <a:gd name="T4" fmla="*/ 0 w 1"/>
                  <a:gd name="T5" fmla="*/ 2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1"/>
                      <a:pt x="1" y="1"/>
                    </a:cubicBezTo>
                    <a:cubicBezTo>
                      <a:pt x="1" y="2"/>
                      <a:pt x="0" y="2"/>
                      <a:pt x="0" y="2"/>
                    </a:cubicBezTo>
                    <a:cubicBezTo>
                      <a:pt x="0" y="2"/>
                      <a:pt x="0" y="1"/>
                      <a:pt x="0" y="1"/>
                    </a:cubicBezTo>
                    <a:cubicBezTo>
                      <a:pt x="0" y="0"/>
                      <a:pt x="1"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145">
                <a:extLst>
                  <a:ext uri="{FF2B5EF4-FFF2-40B4-BE49-F238E27FC236}">
                    <a16:creationId xmlns:a16="http://schemas.microsoft.com/office/drawing/2014/main" id="{6D25F662-D2FF-4338-B2B1-6B7235BA5D69}"/>
                  </a:ext>
                </a:extLst>
              </p:cNvPr>
              <p:cNvSpPr>
                <a:spLocks/>
              </p:cNvSpPr>
              <p:nvPr/>
            </p:nvSpPr>
            <p:spPr bwMode="auto">
              <a:xfrm>
                <a:off x="7530" y="3752"/>
                <a:ext cx="303" cy="138"/>
              </a:xfrm>
              <a:custGeom>
                <a:avLst/>
                <a:gdLst>
                  <a:gd name="T0" fmla="*/ 58 w 128"/>
                  <a:gd name="T1" fmla="*/ 37 h 58"/>
                  <a:gd name="T2" fmla="*/ 59 w 128"/>
                  <a:gd name="T3" fmla="*/ 0 h 58"/>
                  <a:gd name="T4" fmla="*/ 128 w 128"/>
                  <a:gd name="T5" fmla="*/ 1 h 58"/>
                  <a:gd name="T6" fmla="*/ 127 w 128"/>
                  <a:gd name="T7" fmla="*/ 55 h 58"/>
                  <a:gd name="T8" fmla="*/ 123 w 128"/>
                  <a:gd name="T9" fmla="*/ 55 h 58"/>
                  <a:gd name="T10" fmla="*/ 14 w 128"/>
                  <a:gd name="T11" fmla="*/ 54 h 58"/>
                  <a:gd name="T12" fmla="*/ 58 w 128"/>
                  <a:gd name="T13" fmla="*/ 37 h 58"/>
                </a:gdLst>
                <a:ahLst/>
                <a:cxnLst>
                  <a:cxn ang="0">
                    <a:pos x="T0" y="T1"/>
                  </a:cxn>
                  <a:cxn ang="0">
                    <a:pos x="T2" y="T3"/>
                  </a:cxn>
                  <a:cxn ang="0">
                    <a:pos x="T4" y="T5"/>
                  </a:cxn>
                  <a:cxn ang="0">
                    <a:pos x="T6" y="T7"/>
                  </a:cxn>
                  <a:cxn ang="0">
                    <a:pos x="T8" y="T9"/>
                  </a:cxn>
                  <a:cxn ang="0">
                    <a:pos x="T10" y="T11"/>
                  </a:cxn>
                  <a:cxn ang="0">
                    <a:pos x="T12" y="T13"/>
                  </a:cxn>
                </a:cxnLst>
                <a:rect l="0" t="0" r="r" b="b"/>
                <a:pathLst>
                  <a:path w="128" h="58">
                    <a:moveTo>
                      <a:pt x="58" y="37"/>
                    </a:moveTo>
                    <a:cubicBezTo>
                      <a:pt x="59" y="0"/>
                      <a:pt x="59" y="0"/>
                      <a:pt x="59" y="0"/>
                    </a:cubicBezTo>
                    <a:cubicBezTo>
                      <a:pt x="128" y="1"/>
                      <a:pt x="128" y="1"/>
                      <a:pt x="128" y="1"/>
                    </a:cubicBezTo>
                    <a:cubicBezTo>
                      <a:pt x="127" y="55"/>
                      <a:pt x="127" y="55"/>
                      <a:pt x="127" y="55"/>
                    </a:cubicBezTo>
                    <a:cubicBezTo>
                      <a:pt x="123" y="55"/>
                      <a:pt x="123" y="55"/>
                      <a:pt x="123" y="55"/>
                    </a:cubicBezTo>
                    <a:cubicBezTo>
                      <a:pt x="104" y="56"/>
                      <a:pt x="27" y="58"/>
                      <a:pt x="14" y="54"/>
                    </a:cubicBezTo>
                    <a:cubicBezTo>
                      <a:pt x="0" y="49"/>
                      <a:pt x="58" y="37"/>
                      <a:pt x="58" y="37"/>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146">
                <a:extLst>
                  <a:ext uri="{FF2B5EF4-FFF2-40B4-BE49-F238E27FC236}">
                    <a16:creationId xmlns:a16="http://schemas.microsoft.com/office/drawing/2014/main" id="{EEA6A055-8EAB-4500-BFE6-76CDC2F872AF}"/>
                  </a:ext>
                </a:extLst>
              </p:cNvPr>
              <p:cNvSpPr>
                <a:spLocks/>
              </p:cNvSpPr>
              <p:nvPr/>
            </p:nvSpPr>
            <p:spPr bwMode="auto">
              <a:xfrm>
                <a:off x="7772" y="3833"/>
                <a:ext cx="61" cy="48"/>
              </a:xfrm>
              <a:custGeom>
                <a:avLst/>
                <a:gdLst>
                  <a:gd name="T0" fmla="*/ 0 w 26"/>
                  <a:gd name="T1" fmla="*/ 20 h 20"/>
                  <a:gd name="T2" fmla="*/ 9 w 26"/>
                  <a:gd name="T3" fmla="*/ 6 h 20"/>
                  <a:gd name="T4" fmla="*/ 26 w 26"/>
                  <a:gd name="T5" fmla="*/ 1 h 20"/>
                  <a:gd name="T6" fmla="*/ 25 w 26"/>
                  <a:gd name="T7" fmla="*/ 20 h 20"/>
                  <a:gd name="T8" fmla="*/ 0 w 26"/>
                  <a:gd name="T9" fmla="*/ 20 h 20"/>
                </a:gdLst>
                <a:ahLst/>
                <a:cxnLst>
                  <a:cxn ang="0">
                    <a:pos x="T0" y="T1"/>
                  </a:cxn>
                  <a:cxn ang="0">
                    <a:pos x="T2" y="T3"/>
                  </a:cxn>
                  <a:cxn ang="0">
                    <a:pos x="T4" y="T5"/>
                  </a:cxn>
                  <a:cxn ang="0">
                    <a:pos x="T6" y="T7"/>
                  </a:cxn>
                  <a:cxn ang="0">
                    <a:pos x="T8" y="T9"/>
                  </a:cxn>
                </a:cxnLst>
                <a:rect l="0" t="0" r="r" b="b"/>
                <a:pathLst>
                  <a:path w="26" h="20">
                    <a:moveTo>
                      <a:pt x="0" y="20"/>
                    </a:moveTo>
                    <a:cubicBezTo>
                      <a:pt x="2" y="14"/>
                      <a:pt x="5" y="9"/>
                      <a:pt x="9" y="6"/>
                    </a:cubicBezTo>
                    <a:cubicBezTo>
                      <a:pt x="14" y="2"/>
                      <a:pt x="20" y="0"/>
                      <a:pt x="26" y="1"/>
                    </a:cubicBezTo>
                    <a:cubicBezTo>
                      <a:pt x="25" y="20"/>
                      <a:pt x="25" y="20"/>
                      <a:pt x="25" y="20"/>
                    </a:cubicBezTo>
                    <a:lnTo>
                      <a:pt x="0" y="2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147">
                <a:extLst>
                  <a:ext uri="{FF2B5EF4-FFF2-40B4-BE49-F238E27FC236}">
                    <a16:creationId xmlns:a16="http://schemas.microsoft.com/office/drawing/2014/main" id="{01938C35-F261-4CCE-A4B0-331BF6EA4D22}"/>
                  </a:ext>
                </a:extLst>
              </p:cNvPr>
              <p:cNvSpPr>
                <a:spLocks/>
              </p:cNvSpPr>
              <p:nvPr/>
            </p:nvSpPr>
            <p:spPr bwMode="auto">
              <a:xfrm>
                <a:off x="7551" y="3857"/>
                <a:ext cx="280" cy="33"/>
              </a:xfrm>
              <a:custGeom>
                <a:avLst/>
                <a:gdLst>
                  <a:gd name="T0" fmla="*/ 21 w 118"/>
                  <a:gd name="T1" fmla="*/ 0 h 14"/>
                  <a:gd name="T2" fmla="*/ 3 w 118"/>
                  <a:gd name="T3" fmla="*/ 9 h 14"/>
                  <a:gd name="T4" fmla="*/ 118 w 118"/>
                  <a:gd name="T5" fmla="*/ 11 h 14"/>
                  <a:gd name="T6" fmla="*/ 118 w 118"/>
                  <a:gd name="T7" fmla="*/ 10 h 14"/>
                  <a:gd name="T8" fmla="*/ 27 w 118"/>
                  <a:gd name="T9" fmla="*/ 9 h 14"/>
                  <a:gd name="T10" fmla="*/ 21 w 118"/>
                  <a:gd name="T11" fmla="*/ 0 h 14"/>
                </a:gdLst>
                <a:ahLst/>
                <a:cxnLst>
                  <a:cxn ang="0">
                    <a:pos x="T0" y="T1"/>
                  </a:cxn>
                  <a:cxn ang="0">
                    <a:pos x="T2" y="T3"/>
                  </a:cxn>
                  <a:cxn ang="0">
                    <a:pos x="T4" y="T5"/>
                  </a:cxn>
                  <a:cxn ang="0">
                    <a:pos x="T6" y="T7"/>
                  </a:cxn>
                  <a:cxn ang="0">
                    <a:pos x="T8" y="T9"/>
                  </a:cxn>
                  <a:cxn ang="0">
                    <a:pos x="T10" y="T11"/>
                  </a:cxn>
                </a:cxnLst>
                <a:rect l="0" t="0" r="r" b="b"/>
                <a:pathLst>
                  <a:path w="118" h="14">
                    <a:moveTo>
                      <a:pt x="21" y="0"/>
                    </a:moveTo>
                    <a:cubicBezTo>
                      <a:pt x="21" y="0"/>
                      <a:pt x="0" y="5"/>
                      <a:pt x="3" y="9"/>
                    </a:cubicBezTo>
                    <a:cubicBezTo>
                      <a:pt x="5" y="12"/>
                      <a:pt x="84" y="14"/>
                      <a:pt x="118" y="11"/>
                    </a:cubicBezTo>
                    <a:cubicBezTo>
                      <a:pt x="118" y="10"/>
                      <a:pt x="118" y="10"/>
                      <a:pt x="118" y="10"/>
                    </a:cubicBezTo>
                    <a:cubicBezTo>
                      <a:pt x="27" y="9"/>
                      <a:pt x="27" y="9"/>
                      <a:pt x="27" y="9"/>
                    </a:cubicBezTo>
                    <a:cubicBezTo>
                      <a:pt x="27" y="9"/>
                      <a:pt x="25" y="0"/>
                      <a:pt x="2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148">
                <a:extLst>
                  <a:ext uri="{FF2B5EF4-FFF2-40B4-BE49-F238E27FC236}">
                    <a16:creationId xmlns:a16="http://schemas.microsoft.com/office/drawing/2014/main" id="{8A452F2D-C6FE-4580-B8E8-FD56633A15AE}"/>
                  </a:ext>
                </a:extLst>
              </p:cNvPr>
              <p:cNvSpPr>
                <a:spLocks/>
              </p:cNvSpPr>
              <p:nvPr/>
            </p:nvSpPr>
            <p:spPr bwMode="auto">
              <a:xfrm>
                <a:off x="7558" y="3876"/>
                <a:ext cx="275" cy="5"/>
              </a:xfrm>
              <a:custGeom>
                <a:avLst/>
                <a:gdLst>
                  <a:gd name="T0" fmla="*/ 116 w 116"/>
                  <a:gd name="T1" fmla="*/ 2 h 2"/>
                  <a:gd name="T2" fmla="*/ 115 w 116"/>
                  <a:gd name="T3" fmla="*/ 2 h 2"/>
                  <a:gd name="T4" fmla="*/ 112 w 116"/>
                  <a:gd name="T5" fmla="*/ 2 h 2"/>
                  <a:gd name="T6" fmla="*/ 99 w 116"/>
                  <a:gd name="T7" fmla="*/ 2 h 2"/>
                  <a:gd name="T8" fmla="*/ 58 w 116"/>
                  <a:gd name="T9" fmla="*/ 2 h 2"/>
                  <a:gd name="T10" fmla="*/ 17 w 116"/>
                  <a:gd name="T11" fmla="*/ 1 h 2"/>
                  <a:gd name="T12" fmla="*/ 4 w 116"/>
                  <a:gd name="T13" fmla="*/ 0 h 2"/>
                  <a:gd name="T14" fmla="*/ 1 w 116"/>
                  <a:gd name="T15" fmla="*/ 0 h 2"/>
                  <a:gd name="T16" fmla="*/ 0 w 116"/>
                  <a:gd name="T17" fmla="*/ 0 h 2"/>
                  <a:gd name="T18" fmla="*/ 1 w 116"/>
                  <a:gd name="T19" fmla="*/ 0 h 2"/>
                  <a:gd name="T20" fmla="*/ 4 w 116"/>
                  <a:gd name="T21" fmla="*/ 0 h 2"/>
                  <a:gd name="T22" fmla="*/ 17 w 116"/>
                  <a:gd name="T23" fmla="*/ 0 h 2"/>
                  <a:gd name="T24" fmla="*/ 58 w 116"/>
                  <a:gd name="T25" fmla="*/ 1 h 2"/>
                  <a:gd name="T26" fmla="*/ 99 w 116"/>
                  <a:gd name="T27" fmla="*/ 2 h 2"/>
                  <a:gd name="T28" fmla="*/ 112 w 116"/>
                  <a:gd name="T29" fmla="*/ 1 h 2"/>
                  <a:gd name="T30" fmla="*/ 115 w 116"/>
                  <a:gd name="T31" fmla="*/ 2 h 2"/>
                  <a:gd name="T32" fmla="*/ 116 w 116"/>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2">
                    <a:moveTo>
                      <a:pt x="116" y="2"/>
                    </a:moveTo>
                    <a:cubicBezTo>
                      <a:pt x="116" y="2"/>
                      <a:pt x="116" y="2"/>
                      <a:pt x="115" y="2"/>
                    </a:cubicBezTo>
                    <a:cubicBezTo>
                      <a:pt x="114" y="2"/>
                      <a:pt x="113" y="2"/>
                      <a:pt x="112" y="2"/>
                    </a:cubicBezTo>
                    <a:cubicBezTo>
                      <a:pt x="108" y="2"/>
                      <a:pt x="104" y="2"/>
                      <a:pt x="99" y="2"/>
                    </a:cubicBezTo>
                    <a:cubicBezTo>
                      <a:pt x="89" y="2"/>
                      <a:pt x="74" y="2"/>
                      <a:pt x="58" y="2"/>
                    </a:cubicBezTo>
                    <a:cubicBezTo>
                      <a:pt x="42" y="2"/>
                      <a:pt x="27" y="1"/>
                      <a:pt x="17" y="1"/>
                    </a:cubicBezTo>
                    <a:cubicBezTo>
                      <a:pt x="12" y="0"/>
                      <a:pt x="8" y="0"/>
                      <a:pt x="4" y="0"/>
                    </a:cubicBezTo>
                    <a:cubicBezTo>
                      <a:pt x="3" y="0"/>
                      <a:pt x="2" y="0"/>
                      <a:pt x="1" y="0"/>
                    </a:cubicBezTo>
                    <a:cubicBezTo>
                      <a:pt x="0" y="0"/>
                      <a:pt x="0" y="0"/>
                      <a:pt x="0" y="0"/>
                    </a:cubicBezTo>
                    <a:cubicBezTo>
                      <a:pt x="0" y="0"/>
                      <a:pt x="0" y="0"/>
                      <a:pt x="1" y="0"/>
                    </a:cubicBezTo>
                    <a:cubicBezTo>
                      <a:pt x="2" y="0"/>
                      <a:pt x="3" y="0"/>
                      <a:pt x="4" y="0"/>
                    </a:cubicBezTo>
                    <a:cubicBezTo>
                      <a:pt x="8" y="0"/>
                      <a:pt x="12" y="0"/>
                      <a:pt x="17" y="0"/>
                    </a:cubicBezTo>
                    <a:cubicBezTo>
                      <a:pt x="27" y="1"/>
                      <a:pt x="42" y="1"/>
                      <a:pt x="58" y="1"/>
                    </a:cubicBezTo>
                    <a:cubicBezTo>
                      <a:pt x="74" y="2"/>
                      <a:pt x="89" y="2"/>
                      <a:pt x="99" y="2"/>
                    </a:cubicBezTo>
                    <a:cubicBezTo>
                      <a:pt x="104" y="2"/>
                      <a:pt x="108" y="2"/>
                      <a:pt x="112" y="1"/>
                    </a:cubicBezTo>
                    <a:cubicBezTo>
                      <a:pt x="113" y="1"/>
                      <a:pt x="114" y="1"/>
                      <a:pt x="115" y="2"/>
                    </a:cubicBezTo>
                    <a:cubicBezTo>
                      <a:pt x="116" y="2"/>
                      <a:pt x="116" y="2"/>
                      <a:pt x="116"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149">
                <a:extLst>
                  <a:ext uri="{FF2B5EF4-FFF2-40B4-BE49-F238E27FC236}">
                    <a16:creationId xmlns:a16="http://schemas.microsoft.com/office/drawing/2014/main" id="{D059C8B4-6FF9-4082-96D5-FD1E84326848}"/>
                  </a:ext>
                </a:extLst>
              </p:cNvPr>
              <p:cNvSpPr>
                <a:spLocks/>
              </p:cNvSpPr>
              <p:nvPr/>
            </p:nvSpPr>
            <p:spPr bwMode="auto">
              <a:xfrm>
                <a:off x="7598" y="3855"/>
                <a:ext cx="17" cy="26"/>
              </a:xfrm>
              <a:custGeom>
                <a:avLst/>
                <a:gdLst>
                  <a:gd name="T0" fmla="*/ 7 w 7"/>
                  <a:gd name="T1" fmla="*/ 11 h 11"/>
                  <a:gd name="T2" fmla="*/ 4 w 7"/>
                  <a:gd name="T3" fmla="*/ 5 h 11"/>
                  <a:gd name="T4" fmla="*/ 0 w 7"/>
                  <a:gd name="T5" fmla="*/ 0 h 11"/>
                  <a:gd name="T6" fmla="*/ 5 w 7"/>
                  <a:gd name="T7" fmla="*/ 4 h 11"/>
                  <a:gd name="T8" fmla="*/ 7 w 7"/>
                  <a:gd name="T9" fmla="*/ 11 h 11"/>
                </a:gdLst>
                <a:ahLst/>
                <a:cxnLst>
                  <a:cxn ang="0">
                    <a:pos x="T0" y="T1"/>
                  </a:cxn>
                  <a:cxn ang="0">
                    <a:pos x="T2" y="T3"/>
                  </a:cxn>
                  <a:cxn ang="0">
                    <a:pos x="T4" y="T5"/>
                  </a:cxn>
                  <a:cxn ang="0">
                    <a:pos x="T6" y="T7"/>
                  </a:cxn>
                  <a:cxn ang="0">
                    <a:pos x="T8" y="T9"/>
                  </a:cxn>
                </a:cxnLst>
                <a:rect l="0" t="0" r="r" b="b"/>
                <a:pathLst>
                  <a:path w="7" h="11">
                    <a:moveTo>
                      <a:pt x="7" y="11"/>
                    </a:moveTo>
                    <a:cubicBezTo>
                      <a:pt x="6" y="11"/>
                      <a:pt x="6" y="8"/>
                      <a:pt x="4" y="5"/>
                    </a:cubicBezTo>
                    <a:cubicBezTo>
                      <a:pt x="3" y="2"/>
                      <a:pt x="0" y="0"/>
                      <a:pt x="0" y="0"/>
                    </a:cubicBezTo>
                    <a:cubicBezTo>
                      <a:pt x="0" y="0"/>
                      <a:pt x="3" y="1"/>
                      <a:pt x="5" y="4"/>
                    </a:cubicBezTo>
                    <a:cubicBezTo>
                      <a:pt x="7" y="8"/>
                      <a:pt x="7" y="11"/>
                      <a:pt x="7" y="1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150">
                <a:extLst>
                  <a:ext uri="{FF2B5EF4-FFF2-40B4-BE49-F238E27FC236}">
                    <a16:creationId xmlns:a16="http://schemas.microsoft.com/office/drawing/2014/main" id="{10E7865A-DF58-4391-BB2C-C761CDBA9E8A}"/>
                  </a:ext>
                </a:extLst>
              </p:cNvPr>
              <p:cNvSpPr>
                <a:spLocks/>
              </p:cNvSpPr>
              <p:nvPr/>
            </p:nvSpPr>
            <p:spPr bwMode="auto">
              <a:xfrm>
                <a:off x="7653" y="3843"/>
                <a:ext cx="10" cy="14"/>
              </a:xfrm>
              <a:custGeom>
                <a:avLst/>
                <a:gdLst>
                  <a:gd name="T0" fmla="*/ 4 w 4"/>
                  <a:gd name="T1" fmla="*/ 6 h 6"/>
                  <a:gd name="T2" fmla="*/ 2 w 4"/>
                  <a:gd name="T3" fmla="*/ 3 h 6"/>
                  <a:gd name="T4" fmla="*/ 1 w 4"/>
                  <a:gd name="T5" fmla="*/ 0 h 6"/>
                  <a:gd name="T6" fmla="*/ 3 w 4"/>
                  <a:gd name="T7" fmla="*/ 3 h 6"/>
                  <a:gd name="T8" fmla="*/ 4 w 4"/>
                  <a:gd name="T9" fmla="*/ 6 h 6"/>
                </a:gdLst>
                <a:ahLst/>
                <a:cxnLst>
                  <a:cxn ang="0">
                    <a:pos x="T0" y="T1"/>
                  </a:cxn>
                  <a:cxn ang="0">
                    <a:pos x="T2" y="T3"/>
                  </a:cxn>
                  <a:cxn ang="0">
                    <a:pos x="T4" y="T5"/>
                  </a:cxn>
                  <a:cxn ang="0">
                    <a:pos x="T6" y="T7"/>
                  </a:cxn>
                  <a:cxn ang="0">
                    <a:pos x="T8" y="T9"/>
                  </a:cxn>
                </a:cxnLst>
                <a:rect l="0" t="0" r="r" b="b"/>
                <a:pathLst>
                  <a:path w="4" h="6">
                    <a:moveTo>
                      <a:pt x="4" y="6"/>
                    </a:moveTo>
                    <a:cubicBezTo>
                      <a:pt x="4" y="6"/>
                      <a:pt x="3" y="5"/>
                      <a:pt x="2" y="3"/>
                    </a:cubicBezTo>
                    <a:cubicBezTo>
                      <a:pt x="1" y="2"/>
                      <a:pt x="0" y="0"/>
                      <a:pt x="1" y="0"/>
                    </a:cubicBezTo>
                    <a:cubicBezTo>
                      <a:pt x="1" y="0"/>
                      <a:pt x="2" y="1"/>
                      <a:pt x="3" y="3"/>
                    </a:cubicBezTo>
                    <a:cubicBezTo>
                      <a:pt x="4" y="4"/>
                      <a:pt x="4" y="6"/>
                      <a:pt x="4" y="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151">
                <a:extLst>
                  <a:ext uri="{FF2B5EF4-FFF2-40B4-BE49-F238E27FC236}">
                    <a16:creationId xmlns:a16="http://schemas.microsoft.com/office/drawing/2014/main" id="{39E7FDB6-FAD8-4183-B18C-8837E2E08F19}"/>
                  </a:ext>
                </a:extLst>
              </p:cNvPr>
              <p:cNvSpPr>
                <a:spLocks/>
              </p:cNvSpPr>
              <p:nvPr/>
            </p:nvSpPr>
            <p:spPr bwMode="auto">
              <a:xfrm>
                <a:off x="7665" y="3840"/>
                <a:ext cx="12" cy="10"/>
              </a:xfrm>
              <a:custGeom>
                <a:avLst/>
                <a:gdLst>
                  <a:gd name="T0" fmla="*/ 5 w 5"/>
                  <a:gd name="T1" fmla="*/ 4 h 4"/>
                  <a:gd name="T2" fmla="*/ 2 w 5"/>
                  <a:gd name="T3" fmla="*/ 2 h 4"/>
                  <a:gd name="T4" fmla="*/ 1 w 5"/>
                  <a:gd name="T5" fmla="*/ 0 h 4"/>
                  <a:gd name="T6" fmla="*/ 3 w 5"/>
                  <a:gd name="T7" fmla="*/ 2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cubicBezTo>
                      <a:pt x="5" y="4"/>
                      <a:pt x="4" y="3"/>
                      <a:pt x="2" y="2"/>
                    </a:cubicBezTo>
                    <a:cubicBezTo>
                      <a:pt x="1" y="1"/>
                      <a:pt x="0" y="0"/>
                      <a:pt x="1" y="0"/>
                    </a:cubicBezTo>
                    <a:cubicBezTo>
                      <a:pt x="1" y="0"/>
                      <a:pt x="2" y="1"/>
                      <a:pt x="3" y="2"/>
                    </a:cubicBezTo>
                    <a:cubicBezTo>
                      <a:pt x="4" y="3"/>
                      <a:pt x="5" y="4"/>
                      <a:pt x="5"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Oval 152">
                <a:extLst>
                  <a:ext uri="{FF2B5EF4-FFF2-40B4-BE49-F238E27FC236}">
                    <a16:creationId xmlns:a16="http://schemas.microsoft.com/office/drawing/2014/main" id="{ED633808-A2B3-4C6E-89F9-886E9F57BBCB}"/>
                  </a:ext>
                </a:extLst>
              </p:cNvPr>
              <p:cNvSpPr>
                <a:spLocks noChangeArrowheads="1"/>
              </p:cNvSpPr>
              <p:nvPr/>
            </p:nvSpPr>
            <p:spPr bwMode="auto">
              <a:xfrm>
                <a:off x="7667" y="3833"/>
                <a:ext cx="17" cy="3"/>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153">
                <a:extLst>
                  <a:ext uri="{FF2B5EF4-FFF2-40B4-BE49-F238E27FC236}">
                    <a16:creationId xmlns:a16="http://schemas.microsoft.com/office/drawing/2014/main" id="{561F7EBE-35C1-46F7-AC04-36B0AEE9D999}"/>
                  </a:ext>
                </a:extLst>
              </p:cNvPr>
              <p:cNvSpPr>
                <a:spLocks/>
              </p:cNvSpPr>
              <p:nvPr/>
            </p:nvSpPr>
            <p:spPr bwMode="auto">
              <a:xfrm>
                <a:off x="7670" y="3824"/>
                <a:ext cx="19" cy="2"/>
              </a:xfrm>
              <a:custGeom>
                <a:avLst/>
                <a:gdLst>
                  <a:gd name="T0" fmla="*/ 8 w 8"/>
                  <a:gd name="T1" fmla="*/ 0 h 1"/>
                  <a:gd name="T2" fmla="*/ 4 w 8"/>
                  <a:gd name="T3" fmla="*/ 1 h 1"/>
                  <a:gd name="T4" fmla="*/ 0 w 8"/>
                  <a:gd name="T5" fmla="*/ 1 h 1"/>
                  <a:gd name="T6" fmla="*/ 4 w 8"/>
                  <a:gd name="T7" fmla="*/ 0 h 1"/>
                  <a:gd name="T8" fmla="*/ 8 w 8"/>
                  <a:gd name="T9" fmla="*/ 0 h 1"/>
                </a:gdLst>
                <a:ahLst/>
                <a:cxnLst>
                  <a:cxn ang="0">
                    <a:pos x="T0" y="T1"/>
                  </a:cxn>
                  <a:cxn ang="0">
                    <a:pos x="T2" y="T3"/>
                  </a:cxn>
                  <a:cxn ang="0">
                    <a:pos x="T4" y="T5"/>
                  </a:cxn>
                  <a:cxn ang="0">
                    <a:pos x="T6" y="T7"/>
                  </a:cxn>
                  <a:cxn ang="0">
                    <a:pos x="T8" y="T9"/>
                  </a:cxn>
                </a:cxnLst>
                <a:rect l="0" t="0" r="r" b="b"/>
                <a:pathLst>
                  <a:path w="8" h="1">
                    <a:moveTo>
                      <a:pt x="8" y="0"/>
                    </a:moveTo>
                    <a:cubicBezTo>
                      <a:pt x="8" y="0"/>
                      <a:pt x="6" y="1"/>
                      <a:pt x="4" y="1"/>
                    </a:cubicBezTo>
                    <a:cubicBezTo>
                      <a:pt x="1" y="1"/>
                      <a:pt x="0" y="1"/>
                      <a:pt x="0" y="1"/>
                    </a:cubicBezTo>
                    <a:cubicBezTo>
                      <a:pt x="0" y="0"/>
                      <a:pt x="1" y="0"/>
                      <a:pt x="4" y="0"/>
                    </a:cubicBezTo>
                    <a:cubicBezTo>
                      <a:pt x="6" y="0"/>
                      <a:pt x="8" y="0"/>
                      <a:pt x="8"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154">
                <a:extLst>
                  <a:ext uri="{FF2B5EF4-FFF2-40B4-BE49-F238E27FC236}">
                    <a16:creationId xmlns:a16="http://schemas.microsoft.com/office/drawing/2014/main" id="{FCDFBFEA-7FB3-4BD1-B1C6-BF7A58BD4944}"/>
                  </a:ext>
                </a:extLst>
              </p:cNvPr>
              <p:cNvSpPr>
                <a:spLocks/>
              </p:cNvSpPr>
              <p:nvPr/>
            </p:nvSpPr>
            <p:spPr bwMode="auto">
              <a:xfrm>
                <a:off x="7627" y="3824"/>
                <a:ext cx="31" cy="21"/>
              </a:xfrm>
              <a:custGeom>
                <a:avLst/>
                <a:gdLst>
                  <a:gd name="T0" fmla="*/ 13 w 13"/>
                  <a:gd name="T1" fmla="*/ 8 h 9"/>
                  <a:gd name="T2" fmla="*/ 9 w 13"/>
                  <a:gd name="T3" fmla="*/ 8 h 9"/>
                  <a:gd name="T4" fmla="*/ 4 w 13"/>
                  <a:gd name="T5" fmla="*/ 7 h 9"/>
                  <a:gd name="T6" fmla="*/ 1 w 13"/>
                  <a:gd name="T7" fmla="*/ 6 h 9"/>
                  <a:gd name="T8" fmla="*/ 0 w 13"/>
                  <a:gd name="T9" fmla="*/ 4 h 9"/>
                  <a:gd name="T10" fmla="*/ 1 w 13"/>
                  <a:gd name="T11" fmla="*/ 2 h 9"/>
                  <a:gd name="T12" fmla="*/ 11 w 13"/>
                  <a:gd name="T13" fmla="*/ 5 h 9"/>
                  <a:gd name="T14" fmla="*/ 12 w 13"/>
                  <a:gd name="T15" fmla="*/ 8 h 9"/>
                  <a:gd name="T16" fmla="*/ 12 w 13"/>
                  <a:gd name="T17" fmla="*/ 9 h 9"/>
                  <a:gd name="T18" fmla="*/ 10 w 13"/>
                  <a:gd name="T19" fmla="*/ 5 h 9"/>
                  <a:gd name="T20" fmla="*/ 7 w 13"/>
                  <a:gd name="T21" fmla="*/ 3 h 9"/>
                  <a:gd name="T22" fmla="*/ 1 w 13"/>
                  <a:gd name="T23" fmla="*/ 3 h 9"/>
                  <a:gd name="T24" fmla="*/ 2 w 13"/>
                  <a:gd name="T25" fmla="*/ 5 h 9"/>
                  <a:gd name="T26" fmla="*/ 4 w 13"/>
                  <a:gd name="T27" fmla="*/ 6 h 9"/>
                  <a:gd name="T28" fmla="*/ 9 w 13"/>
                  <a:gd name="T29" fmla="*/ 7 h 9"/>
                  <a:gd name="T30" fmla="*/ 13 w 13"/>
                  <a:gd name="T31"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9">
                    <a:moveTo>
                      <a:pt x="13" y="8"/>
                    </a:moveTo>
                    <a:cubicBezTo>
                      <a:pt x="13" y="8"/>
                      <a:pt x="11" y="8"/>
                      <a:pt x="9" y="8"/>
                    </a:cubicBezTo>
                    <a:cubicBezTo>
                      <a:pt x="7" y="8"/>
                      <a:pt x="6" y="7"/>
                      <a:pt x="4" y="7"/>
                    </a:cubicBezTo>
                    <a:cubicBezTo>
                      <a:pt x="3" y="6"/>
                      <a:pt x="2" y="6"/>
                      <a:pt x="1" y="6"/>
                    </a:cubicBezTo>
                    <a:cubicBezTo>
                      <a:pt x="1" y="5"/>
                      <a:pt x="0" y="5"/>
                      <a:pt x="0" y="4"/>
                    </a:cubicBezTo>
                    <a:cubicBezTo>
                      <a:pt x="0" y="3"/>
                      <a:pt x="0" y="3"/>
                      <a:pt x="1" y="2"/>
                    </a:cubicBezTo>
                    <a:cubicBezTo>
                      <a:pt x="5" y="0"/>
                      <a:pt x="9" y="3"/>
                      <a:pt x="11" y="5"/>
                    </a:cubicBezTo>
                    <a:cubicBezTo>
                      <a:pt x="12" y="6"/>
                      <a:pt x="12" y="7"/>
                      <a:pt x="12" y="8"/>
                    </a:cubicBezTo>
                    <a:cubicBezTo>
                      <a:pt x="12" y="9"/>
                      <a:pt x="12" y="9"/>
                      <a:pt x="12" y="9"/>
                    </a:cubicBezTo>
                    <a:cubicBezTo>
                      <a:pt x="12" y="9"/>
                      <a:pt x="12" y="7"/>
                      <a:pt x="10" y="5"/>
                    </a:cubicBezTo>
                    <a:cubicBezTo>
                      <a:pt x="9" y="4"/>
                      <a:pt x="8" y="3"/>
                      <a:pt x="7" y="3"/>
                    </a:cubicBezTo>
                    <a:cubicBezTo>
                      <a:pt x="5" y="2"/>
                      <a:pt x="3" y="2"/>
                      <a:pt x="1" y="3"/>
                    </a:cubicBezTo>
                    <a:cubicBezTo>
                      <a:pt x="1" y="4"/>
                      <a:pt x="1" y="4"/>
                      <a:pt x="2" y="5"/>
                    </a:cubicBezTo>
                    <a:cubicBezTo>
                      <a:pt x="2" y="5"/>
                      <a:pt x="3" y="6"/>
                      <a:pt x="4" y="6"/>
                    </a:cubicBezTo>
                    <a:cubicBezTo>
                      <a:pt x="6" y="7"/>
                      <a:pt x="7" y="7"/>
                      <a:pt x="9" y="7"/>
                    </a:cubicBezTo>
                    <a:cubicBezTo>
                      <a:pt x="11" y="8"/>
                      <a:pt x="13" y="8"/>
                      <a:pt x="13" y="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55">
                <a:extLst>
                  <a:ext uri="{FF2B5EF4-FFF2-40B4-BE49-F238E27FC236}">
                    <a16:creationId xmlns:a16="http://schemas.microsoft.com/office/drawing/2014/main" id="{8B3AF71D-4182-4DE9-8941-F0A27B195977}"/>
                  </a:ext>
                </a:extLst>
              </p:cNvPr>
              <p:cNvSpPr>
                <a:spLocks/>
              </p:cNvSpPr>
              <p:nvPr/>
            </p:nvSpPr>
            <p:spPr bwMode="auto">
              <a:xfrm>
                <a:off x="7653" y="3821"/>
                <a:ext cx="17" cy="22"/>
              </a:xfrm>
              <a:custGeom>
                <a:avLst/>
                <a:gdLst>
                  <a:gd name="T0" fmla="*/ 1 w 7"/>
                  <a:gd name="T1" fmla="*/ 9 h 9"/>
                  <a:gd name="T2" fmla="*/ 0 w 7"/>
                  <a:gd name="T3" fmla="*/ 6 h 9"/>
                  <a:gd name="T4" fmla="*/ 2 w 7"/>
                  <a:gd name="T5" fmla="*/ 3 h 9"/>
                  <a:gd name="T6" fmla="*/ 5 w 7"/>
                  <a:gd name="T7" fmla="*/ 1 h 9"/>
                  <a:gd name="T8" fmla="*/ 7 w 7"/>
                  <a:gd name="T9" fmla="*/ 3 h 9"/>
                  <a:gd name="T10" fmla="*/ 6 w 7"/>
                  <a:gd name="T11" fmla="*/ 5 h 9"/>
                  <a:gd name="T12" fmla="*/ 4 w 7"/>
                  <a:gd name="T13" fmla="*/ 7 h 9"/>
                  <a:gd name="T14" fmla="*/ 1 w 7"/>
                  <a:gd name="T15" fmla="*/ 9 h 9"/>
                  <a:gd name="T16" fmla="*/ 3 w 7"/>
                  <a:gd name="T17" fmla="*/ 7 h 9"/>
                  <a:gd name="T18" fmla="*/ 5 w 7"/>
                  <a:gd name="T19" fmla="*/ 4 h 9"/>
                  <a:gd name="T20" fmla="*/ 5 w 7"/>
                  <a:gd name="T21" fmla="*/ 1 h 9"/>
                  <a:gd name="T22" fmla="*/ 2 w 7"/>
                  <a:gd name="T23" fmla="*/ 3 h 9"/>
                  <a:gd name="T24" fmla="*/ 1 w 7"/>
                  <a:gd name="T25" fmla="*/ 6 h 9"/>
                  <a:gd name="T26" fmla="*/ 1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1" y="9"/>
                    </a:moveTo>
                    <a:cubicBezTo>
                      <a:pt x="1" y="9"/>
                      <a:pt x="0" y="8"/>
                      <a:pt x="0" y="6"/>
                    </a:cubicBezTo>
                    <a:cubicBezTo>
                      <a:pt x="0" y="5"/>
                      <a:pt x="1" y="4"/>
                      <a:pt x="2" y="3"/>
                    </a:cubicBezTo>
                    <a:cubicBezTo>
                      <a:pt x="2" y="2"/>
                      <a:pt x="3" y="0"/>
                      <a:pt x="5" y="1"/>
                    </a:cubicBezTo>
                    <a:cubicBezTo>
                      <a:pt x="6" y="1"/>
                      <a:pt x="7" y="2"/>
                      <a:pt x="7" y="3"/>
                    </a:cubicBezTo>
                    <a:cubicBezTo>
                      <a:pt x="7" y="3"/>
                      <a:pt x="6" y="4"/>
                      <a:pt x="6" y="5"/>
                    </a:cubicBezTo>
                    <a:cubicBezTo>
                      <a:pt x="5" y="6"/>
                      <a:pt x="4" y="7"/>
                      <a:pt x="4" y="7"/>
                    </a:cubicBezTo>
                    <a:cubicBezTo>
                      <a:pt x="2" y="9"/>
                      <a:pt x="1" y="9"/>
                      <a:pt x="1" y="9"/>
                    </a:cubicBezTo>
                    <a:cubicBezTo>
                      <a:pt x="1" y="9"/>
                      <a:pt x="2" y="8"/>
                      <a:pt x="3" y="7"/>
                    </a:cubicBezTo>
                    <a:cubicBezTo>
                      <a:pt x="4" y="6"/>
                      <a:pt x="5" y="5"/>
                      <a:pt x="5" y="4"/>
                    </a:cubicBezTo>
                    <a:cubicBezTo>
                      <a:pt x="6" y="3"/>
                      <a:pt x="6" y="2"/>
                      <a:pt x="5" y="1"/>
                    </a:cubicBezTo>
                    <a:cubicBezTo>
                      <a:pt x="4" y="1"/>
                      <a:pt x="3" y="2"/>
                      <a:pt x="2" y="3"/>
                    </a:cubicBezTo>
                    <a:cubicBezTo>
                      <a:pt x="2" y="4"/>
                      <a:pt x="1" y="5"/>
                      <a:pt x="1" y="6"/>
                    </a:cubicBezTo>
                    <a:cubicBezTo>
                      <a:pt x="1" y="8"/>
                      <a:pt x="1" y="9"/>
                      <a:pt x="1" y="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56">
                <a:extLst>
                  <a:ext uri="{FF2B5EF4-FFF2-40B4-BE49-F238E27FC236}">
                    <a16:creationId xmlns:a16="http://schemas.microsoft.com/office/drawing/2014/main" id="{869E36FE-FBE9-40FE-A09F-9D1F071C0179}"/>
                  </a:ext>
                </a:extLst>
              </p:cNvPr>
              <p:cNvSpPr>
                <a:spLocks/>
              </p:cNvSpPr>
              <p:nvPr/>
            </p:nvSpPr>
            <p:spPr bwMode="auto">
              <a:xfrm>
                <a:off x="7772" y="3833"/>
                <a:ext cx="59" cy="48"/>
              </a:xfrm>
              <a:custGeom>
                <a:avLst/>
                <a:gdLst>
                  <a:gd name="T0" fmla="*/ 25 w 25"/>
                  <a:gd name="T1" fmla="*/ 1 h 20"/>
                  <a:gd name="T2" fmla="*/ 20 w 25"/>
                  <a:gd name="T3" fmla="*/ 1 h 20"/>
                  <a:gd name="T4" fmla="*/ 9 w 25"/>
                  <a:gd name="T5" fmla="*/ 5 h 20"/>
                  <a:gd name="T6" fmla="*/ 2 w 25"/>
                  <a:gd name="T7" fmla="*/ 15 h 20"/>
                  <a:gd name="T8" fmla="*/ 1 w 25"/>
                  <a:gd name="T9" fmla="*/ 20 h 20"/>
                  <a:gd name="T10" fmla="*/ 1 w 25"/>
                  <a:gd name="T11" fmla="*/ 18 h 20"/>
                  <a:gd name="T12" fmla="*/ 1 w 25"/>
                  <a:gd name="T13" fmla="*/ 15 h 20"/>
                  <a:gd name="T14" fmla="*/ 9 w 25"/>
                  <a:gd name="T15" fmla="*/ 5 h 20"/>
                  <a:gd name="T16" fmla="*/ 20 w 25"/>
                  <a:gd name="T17" fmla="*/ 0 h 20"/>
                  <a:gd name="T18" fmla="*/ 24 w 25"/>
                  <a:gd name="T19" fmla="*/ 0 h 20"/>
                  <a:gd name="T20" fmla="*/ 25 w 25"/>
                  <a:gd name="T21"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0">
                    <a:moveTo>
                      <a:pt x="25" y="1"/>
                    </a:moveTo>
                    <a:cubicBezTo>
                      <a:pt x="25" y="1"/>
                      <a:pt x="23" y="1"/>
                      <a:pt x="20" y="1"/>
                    </a:cubicBezTo>
                    <a:cubicBezTo>
                      <a:pt x="17" y="1"/>
                      <a:pt x="13" y="2"/>
                      <a:pt x="9" y="5"/>
                    </a:cubicBezTo>
                    <a:cubicBezTo>
                      <a:pt x="5" y="8"/>
                      <a:pt x="3" y="12"/>
                      <a:pt x="2" y="15"/>
                    </a:cubicBezTo>
                    <a:cubicBezTo>
                      <a:pt x="1" y="18"/>
                      <a:pt x="1" y="20"/>
                      <a:pt x="1" y="20"/>
                    </a:cubicBezTo>
                    <a:cubicBezTo>
                      <a:pt x="1" y="20"/>
                      <a:pt x="0" y="19"/>
                      <a:pt x="1" y="18"/>
                    </a:cubicBezTo>
                    <a:cubicBezTo>
                      <a:pt x="1" y="17"/>
                      <a:pt x="1" y="16"/>
                      <a:pt x="1" y="15"/>
                    </a:cubicBezTo>
                    <a:cubicBezTo>
                      <a:pt x="2" y="12"/>
                      <a:pt x="5" y="8"/>
                      <a:pt x="9" y="5"/>
                    </a:cubicBezTo>
                    <a:cubicBezTo>
                      <a:pt x="12" y="2"/>
                      <a:pt x="17" y="0"/>
                      <a:pt x="20" y="0"/>
                    </a:cubicBezTo>
                    <a:cubicBezTo>
                      <a:pt x="22" y="0"/>
                      <a:pt x="23" y="0"/>
                      <a:pt x="24" y="0"/>
                    </a:cubicBezTo>
                    <a:cubicBezTo>
                      <a:pt x="25" y="1"/>
                      <a:pt x="25" y="1"/>
                      <a:pt x="25"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Oval 157">
                <a:extLst>
                  <a:ext uri="{FF2B5EF4-FFF2-40B4-BE49-F238E27FC236}">
                    <a16:creationId xmlns:a16="http://schemas.microsoft.com/office/drawing/2014/main" id="{3702BD40-78DD-4B8C-B91E-BAEBBF9F04F4}"/>
                  </a:ext>
                </a:extLst>
              </p:cNvPr>
              <p:cNvSpPr>
                <a:spLocks noChangeArrowheads="1"/>
              </p:cNvSpPr>
              <p:nvPr/>
            </p:nvSpPr>
            <p:spPr bwMode="auto">
              <a:xfrm>
                <a:off x="7814" y="3767"/>
                <a:ext cx="3" cy="66"/>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58">
                <a:extLst>
                  <a:ext uri="{FF2B5EF4-FFF2-40B4-BE49-F238E27FC236}">
                    <a16:creationId xmlns:a16="http://schemas.microsoft.com/office/drawing/2014/main" id="{F3BEF0B2-DEFB-41C8-93DB-E4F7A531ABB4}"/>
                  </a:ext>
                </a:extLst>
              </p:cNvPr>
              <p:cNvSpPr>
                <a:spLocks/>
              </p:cNvSpPr>
              <p:nvPr/>
            </p:nvSpPr>
            <p:spPr bwMode="auto">
              <a:xfrm>
                <a:off x="7705" y="3864"/>
                <a:ext cx="48" cy="2"/>
              </a:xfrm>
              <a:custGeom>
                <a:avLst/>
                <a:gdLst>
                  <a:gd name="T0" fmla="*/ 20 w 20"/>
                  <a:gd name="T1" fmla="*/ 0 h 1"/>
                  <a:gd name="T2" fmla="*/ 10 w 20"/>
                  <a:gd name="T3" fmla="*/ 1 h 1"/>
                  <a:gd name="T4" fmla="*/ 0 w 20"/>
                  <a:gd name="T5" fmla="*/ 0 h 1"/>
                  <a:gd name="T6" fmla="*/ 10 w 20"/>
                  <a:gd name="T7" fmla="*/ 0 h 1"/>
                  <a:gd name="T8" fmla="*/ 20 w 20"/>
                  <a:gd name="T9" fmla="*/ 0 h 1"/>
                </a:gdLst>
                <a:ahLst/>
                <a:cxnLst>
                  <a:cxn ang="0">
                    <a:pos x="T0" y="T1"/>
                  </a:cxn>
                  <a:cxn ang="0">
                    <a:pos x="T2" y="T3"/>
                  </a:cxn>
                  <a:cxn ang="0">
                    <a:pos x="T4" y="T5"/>
                  </a:cxn>
                  <a:cxn ang="0">
                    <a:pos x="T6" y="T7"/>
                  </a:cxn>
                  <a:cxn ang="0">
                    <a:pos x="T8" y="T9"/>
                  </a:cxn>
                </a:cxnLst>
                <a:rect l="0" t="0" r="r" b="b"/>
                <a:pathLst>
                  <a:path w="20" h="1">
                    <a:moveTo>
                      <a:pt x="20" y="0"/>
                    </a:moveTo>
                    <a:cubicBezTo>
                      <a:pt x="20" y="1"/>
                      <a:pt x="15" y="1"/>
                      <a:pt x="10" y="1"/>
                    </a:cubicBezTo>
                    <a:cubicBezTo>
                      <a:pt x="4" y="1"/>
                      <a:pt x="0" y="0"/>
                      <a:pt x="0" y="0"/>
                    </a:cubicBezTo>
                    <a:cubicBezTo>
                      <a:pt x="0" y="0"/>
                      <a:pt x="4" y="0"/>
                      <a:pt x="10" y="0"/>
                    </a:cubicBezTo>
                    <a:cubicBezTo>
                      <a:pt x="15" y="0"/>
                      <a:pt x="20" y="0"/>
                      <a:pt x="2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59">
                <a:extLst>
                  <a:ext uri="{FF2B5EF4-FFF2-40B4-BE49-F238E27FC236}">
                    <a16:creationId xmlns:a16="http://schemas.microsoft.com/office/drawing/2014/main" id="{42933C3A-CC31-4717-ABA3-70B8FA8A381A}"/>
                  </a:ext>
                </a:extLst>
              </p:cNvPr>
              <p:cNvSpPr>
                <a:spLocks/>
              </p:cNvSpPr>
              <p:nvPr/>
            </p:nvSpPr>
            <p:spPr bwMode="auto">
              <a:xfrm>
                <a:off x="7779" y="3864"/>
                <a:ext cx="7" cy="10"/>
              </a:xfrm>
              <a:custGeom>
                <a:avLst/>
                <a:gdLst>
                  <a:gd name="T0" fmla="*/ 2 w 3"/>
                  <a:gd name="T1" fmla="*/ 1 h 4"/>
                  <a:gd name="T2" fmla="*/ 2 w 3"/>
                  <a:gd name="T3" fmla="*/ 2 h 4"/>
                  <a:gd name="T4" fmla="*/ 1 w 3"/>
                  <a:gd name="T5" fmla="*/ 4 h 4"/>
                  <a:gd name="T6" fmla="*/ 1 w 3"/>
                  <a:gd name="T7" fmla="*/ 2 h 4"/>
                  <a:gd name="T8" fmla="*/ 2 w 3"/>
                  <a:gd name="T9" fmla="*/ 1 h 4"/>
                </a:gdLst>
                <a:ahLst/>
                <a:cxnLst>
                  <a:cxn ang="0">
                    <a:pos x="T0" y="T1"/>
                  </a:cxn>
                  <a:cxn ang="0">
                    <a:pos x="T2" y="T3"/>
                  </a:cxn>
                  <a:cxn ang="0">
                    <a:pos x="T4" y="T5"/>
                  </a:cxn>
                  <a:cxn ang="0">
                    <a:pos x="T6" y="T7"/>
                  </a:cxn>
                  <a:cxn ang="0">
                    <a:pos x="T8" y="T9"/>
                  </a:cxn>
                </a:cxnLst>
                <a:rect l="0" t="0" r="r" b="b"/>
                <a:pathLst>
                  <a:path w="3" h="4">
                    <a:moveTo>
                      <a:pt x="2" y="1"/>
                    </a:moveTo>
                    <a:cubicBezTo>
                      <a:pt x="3" y="1"/>
                      <a:pt x="2" y="1"/>
                      <a:pt x="2" y="2"/>
                    </a:cubicBezTo>
                    <a:cubicBezTo>
                      <a:pt x="1" y="3"/>
                      <a:pt x="1" y="4"/>
                      <a:pt x="1" y="4"/>
                    </a:cubicBezTo>
                    <a:cubicBezTo>
                      <a:pt x="0" y="4"/>
                      <a:pt x="0" y="3"/>
                      <a:pt x="1" y="2"/>
                    </a:cubicBezTo>
                    <a:cubicBezTo>
                      <a:pt x="1" y="1"/>
                      <a:pt x="2" y="0"/>
                      <a:pt x="2"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60">
                <a:extLst>
                  <a:ext uri="{FF2B5EF4-FFF2-40B4-BE49-F238E27FC236}">
                    <a16:creationId xmlns:a16="http://schemas.microsoft.com/office/drawing/2014/main" id="{FCBB8E19-6ED9-4C38-8BB7-32418E493929}"/>
                  </a:ext>
                </a:extLst>
              </p:cNvPr>
              <p:cNvSpPr>
                <a:spLocks/>
              </p:cNvSpPr>
              <p:nvPr/>
            </p:nvSpPr>
            <p:spPr bwMode="auto">
              <a:xfrm>
                <a:off x="7791" y="3850"/>
                <a:ext cx="7" cy="7"/>
              </a:xfrm>
              <a:custGeom>
                <a:avLst/>
                <a:gdLst>
                  <a:gd name="T0" fmla="*/ 3 w 3"/>
                  <a:gd name="T1" fmla="*/ 0 h 3"/>
                  <a:gd name="T2" fmla="*/ 2 w 3"/>
                  <a:gd name="T3" fmla="*/ 2 h 3"/>
                  <a:gd name="T4" fmla="*/ 0 w 3"/>
                  <a:gd name="T5" fmla="*/ 3 h 3"/>
                  <a:gd name="T6" fmla="*/ 1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2" y="1"/>
                      <a:pt x="2" y="2"/>
                    </a:cubicBezTo>
                    <a:cubicBezTo>
                      <a:pt x="1" y="3"/>
                      <a:pt x="0" y="3"/>
                      <a:pt x="0" y="3"/>
                    </a:cubicBezTo>
                    <a:cubicBezTo>
                      <a:pt x="0" y="3"/>
                      <a:pt x="0" y="2"/>
                      <a:pt x="1" y="1"/>
                    </a:cubicBezTo>
                    <a:cubicBezTo>
                      <a:pt x="2" y="1"/>
                      <a:pt x="2" y="0"/>
                      <a:pt x="3"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61">
                <a:extLst>
                  <a:ext uri="{FF2B5EF4-FFF2-40B4-BE49-F238E27FC236}">
                    <a16:creationId xmlns:a16="http://schemas.microsoft.com/office/drawing/2014/main" id="{CE15E835-F7F3-49DA-A475-126696FB851F}"/>
                  </a:ext>
                </a:extLst>
              </p:cNvPr>
              <p:cNvSpPr>
                <a:spLocks/>
              </p:cNvSpPr>
              <p:nvPr/>
            </p:nvSpPr>
            <p:spPr bwMode="auto">
              <a:xfrm>
                <a:off x="7805" y="3843"/>
                <a:ext cx="9" cy="4"/>
              </a:xfrm>
              <a:custGeom>
                <a:avLst/>
                <a:gdLst>
                  <a:gd name="T0" fmla="*/ 4 w 4"/>
                  <a:gd name="T1" fmla="*/ 1 h 2"/>
                  <a:gd name="T2" fmla="*/ 2 w 4"/>
                  <a:gd name="T3" fmla="*/ 1 h 2"/>
                  <a:gd name="T4" fmla="*/ 0 w 4"/>
                  <a:gd name="T5" fmla="*/ 2 h 2"/>
                  <a:gd name="T6" fmla="*/ 2 w 4"/>
                  <a:gd name="T7" fmla="*/ 0 h 2"/>
                  <a:gd name="T8" fmla="*/ 4 w 4"/>
                  <a:gd name="T9" fmla="*/ 1 h 2"/>
                </a:gdLst>
                <a:ahLst/>
                <a:cxnLst>
                  <a:cxn ang="0">
                    <a:pos x="T0" y="T1"/>
                  </a:cxn>
                  <a:cxn ang="0">
                    <a:pos x="T2" y="T3"/>
                  </a:cxn>
                  <a:cxn ang="0">
                    <a:pos x="T4" y="T5"/>
                  </a:cxn>
                  <a:cxn ang="0">
                    <a:pos x="T6" y="T7"/>
                  </a:cxn>
                  <a:cxn ang="0">
                    <a:pos x="T8" y="T9"/>
                  </a:cxn>
                </a:cxnLst>
                <a:rect l="0" t="0" r="r" b="b"/>
                <a:pathLst>
                  <a:path w="4" h="2">
                    <a:moveTo>
                      <a:pt x="4" y="1"/>
                    </a:moveTo>
                    <a:cubicBezTo>
                      <a:pt x="4" y="1"/>
                      <a:pt x="3" y="1"/>
                      <a:pt x="2" y="1"/>
                    </a:cubicBezTo>
                    <a:cubicBezTo>
                      <a:pt x="1" y="1"/>
                      <a:pt x="0" y="2"/>
                      <a:pt x="0" y="2"/>
                    </a:cubicBezTo>
                    <a:cubicBezTo>
                      <a:pt x="0" y="2"/>
                      <a:pt x="0" y="1"/>
                      <a:pt x="2" y="0"/>
                    </a:cubicBezTo>
                    <a:cubicBezTo>
                      <a:pt x="3" y="0"/>
                      <a:pt x="4" y="0"/>
                      <a:pt x="4"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62">
                <a:extLst>
                  <a:ext uri="{FF2B5EF4-FFF2-40B4-BE49-F238E27FC236}">
                    <a16:creationId xmlns:a16="http://schemas.microsoft.com/office/drawing/2014/main" id="{63C3B79B-D92B-4174-86BE-E238551E561F}"/>
                  </a:ext>
                </a:extLst>
              </p:cNvPr>
              <p:cNvSpPr>
                <a:spLocks/>
              </p:cNvSpPr>
              <p:nvPr/>
            </p:nvSpPr>
            <p:spPr bwMode="auto">
              <a:xfrm>
                <a:off x="7822" y="3840"/>
                <a:ext cx="4" cy="3"/>
              </a:xfrm>
              <a:custGeom>
                <a:avLst/>
                <a:gdLst>
                  <a:gd name="T0" fmla="*/ 2 w 2"/>
                  <a:gd name="T1" fmla="*/ 0 h 1"/>
                  <a:gd name="T2" fmla="*/ 1 w 2"/>
                  <a:gd name="T3" fmla="*/ 1 h 1"/>
                  <a:gd name="T4" fmla="*/ 0 w 2"/>
                  <a:gd name="T5" fmla="*/ 1 h 1"/>
                  <a:gd name="T6" fmla="*/ 1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2" y="1"/>
                      <a:pt x="1" y="1"/>
                    </a:cubicBezTo>
                    <a:cubicBezTo>
                      <a:pt x="1" y="1"/>
                      <a:pt x="0" y="1"/>
                      <a:pt x="0" y="1"/>
                    </a:cubicBezTo>
                    <a:cubicBezTo>
                      <a:pt x="0" y="1"/>
                      <a:pt x="0" y="0"/>
                      <a:pt x="1" y="0"/>
                    </a:cubicBezTo>
                    <a:cubicBezTo>
                      <a:pt x="1" y="0"/>
                      <a:pt x="2" y="0"/>
                      <a:pt x="2"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63">
                <a:extLst>
                  <a:ext uri="{FF2B5EF4-FFF2-40B4-BE49-F238E27FC236}">
                    <a16:creationId xmlns:a16="http://schemas.microsoft.com/office/drawing/2014/main" id="{63FC46CD-D1CA-44BE-9113-B04D97B77B1C}"/>
                  </a:ext>
                </a:extLst>
              </p:cNvPr>
              <p:cNvSpPr>
                <a:spLocks/>
              </p:cNvSpPr>
              <p:nvPr/>
            </p:nvSpPr>
            <p:spPr bwMode="auto">
              <a:xfrm>
                <a:off x="7492" y="1938"/>
                <a:ext cx="441" cy="765"/>
              </a:xfrm>
              <a:custGeom>
                <a:avLst/>
                <a:gdLst>
                  <a:gd name="T0" fmla="*/ 111 w 186"/>
                  <a:gd name="T1" fmla="*/ 14 h 322"/>
                  <a:gd name="T2" fmla="*/ 40 w 186"/>
                  <a:gd name="T3" fmla="*/ 226 h 322"/>
                  <a:gd name="T4" fmla="*/ 21 w 186"/>
                  <a:gd name="T5" fmla="*/ 235 h 322"/>
                  <a:gd name="T6" fmla="*/ 7 w 186"/>
                  <a:gd name="T7" fmla="*/ 236 h 322"/>
                  <a:gd name="T8" fmla="*/ 3 w 186"/>
                  <a:gd name="T9" fmla="*/ 244 h 322"/>
                  <a:gd name="T10" fmla="*/ 31 w 186"/>
                  <a:gd name="T11" fmla="*/ 244 h 322"/>
                  <a:gd name="T12" fmla="*/ 30 w 186"/>
                  <a:gd name="T13" fmla="*/ 267 h 322"/>
                  <a:gd name="T14" fmla="*/ 14 w 186"/>
                  <a:gd name="T15" fmla="*/ 299 h 322"/>
                  <a:gd name="T16" fmla="*/ 25 w 186"/>
                  <a:gd name="T17" fmla="*/ 295 h 322"/>
                  <a:gd name="T18" fmla="*/ 44 w 186"/>
                  <a:gd name="T19" fmla="*/ 269 h 322"/>
                  <a:gd name="T20" fmla="*/ 25 w 186"/>
                  <a:gd name="T21" fmla="*/ 306 h 322"/>
                  <a:gd name="T22" fmla="*/ 24 w 186"/>
                  <a:gd name="T23" fmla="*/ 315 h 322"/>
                  <a:gd name="T24" fmla="*/ 55 w 186"/>
                  <a:gd name="T25" fmla="*/ 279 h 322"/>
                  <a:gd name="T26" fmla="*/ 56 w 186"/>
                  <a:gd name="T27" fmla="*/ 281 h 322"/>
                  <a:gd name="T28" fmla="*/ 41 w 186"/>
                  <a:gd name="T29" fmla="*/ 318 h 322"/>
                  <a:gd name="T30" fmla="*/ 66 w 186"/>
                  <a:gd name="T31" fmla="*/ 286 h 322"/>
                  <a:gd name="T32" fmla="*/ 59 w 186"/>
                  <a:gd name="T33" fmla="*/ 315 h 322"/>
                  <a:gd name="T34" fmla="*/ 72 w 186"/>
                  <a:gd name="T35" fmla="*/ 299 h 322"/>
                  <a:gd name="T36" fmla="*/ 92 w 186"/>
                  <a:gd name="T37" fmla="*/ 243 h 322"/>
                  <a:gd name="T38" fmla="*/ 186 w 186"/>
                  <a:gd name="T39" fmla="*/ 0 h 322"/>
                  <a:gd name="T40" fmla="*/ 111 w 186"/>
                  <a:gd name="T41" fmla="*/ 1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322">
                    <a:moveTo>
                      <a:pt x="111" y="14"/>
                    </a:moveTo>
                    <a:cubicBezTo>
                      <a:pt x="86" y="90"/>
                      <a:pt x="40" y="226"/>
                      <a:pt x="40" y="226"/>
                    </a:cubicBezTo>
                    <a:cubicBezTo>
                      <a:pt x="37" y="228"/>
                      <a:pt x="25" y="234"/>
                      <a:pt x="21" y="235"/>
                    </a:cubicBezTo>
                    <a:cubicBezTo>
                      <a:pt x="16" y="236"/>
                      <a:pt x="10" y="237"/>
                      <a:pt x="7" y="236"/>
                    </a:cubicBezTo>
                    <a:cubicBezTo>
                      <a:pt x="3" y="236"/>
                      <a:pt x="0" y="241"/>
                      <a:pt x="3" y="244"/>
                    </a:cubicBezTo>
                    <a:cubicBezTo>
                      <a:pt x="5" y="246"/>
                      <a:pt x="17" y="248"/>
                      <a:pt x="31" y="244"/>
                    </a:cubicBezTo>
                    <a:cubicBezTo>
                      <a:pt x="44" y="240"/>
                      <a:pt x="34" y="260"/>
                      <a:pt x="30" y="267"/>
                    </a:cubicBezTo>
                    <a:cubicBezTo>
                      <a:pt x="25" y="274"/>
                      <a:pt x="13" y="296"/>
                      <a:pt x="14" y="299"/>
                    </a:cubicBezTo>
                    <a:cubicBezTo>
                      <a:pt x="15" y="303"/>
                      <a:pt x="21" y="301"/>
                      <a:pt x="25" y="295"/>
                    </a:cubicBezTo>
                    <a:cubicBezTo>
                      <a:pt x="29" y="288"/>
                      <a:pt x="42" y="268"/>
                      <a:pt x="44" y="269"/>
                    </a:cubicBezTo>
                    <a:cubicBezTo>
                      <a:pt x="47" y="271"/>
                      <a:pt x="25" y="306"/>
                      <a:pt x="25" y="306"/>
                    </a:cubicBezTo>
                    <a:cubicBezTo>
                      <a:pt x="25" y="306"/>
                      <a:pt x="20" y="312"/>
                      <a:pt x="24" y="315"/>
                    </a:cubicBezTo>
                    <a:cubicBezTo>
                      <a:pt x="31" y="321"/>
                      <a:pt x="53" y="283"/>
                      <a:pt x="55" y="279"/>
                    </a:cubicBezTo>
                    <a:cubicBezTo>
                      <a:pt x="56" y="277"/>
                      <a:pt x="58" y="279"/>
                      <a:pt x="56" y="281"/>
                    </a:cubicBezTo>
                    <a:cubicBezTo>
                      <a:pt x="54" y="284"/>
                      <a:pt x="36" y="315"/>
                      <a:pt x="41" y="318"/>
                    </a:cubicBezTo>
                    <a:cubicBezTo>
                      <a:pt x="47" y="322"/>
                      <a:pt x="60" y="291"/>
                      <a:pt x="66" y="286"/>
                    </a:cubicBezTo>
                    <a:cubicBezTo>
                      <a:pt x="72" y="279"/>
                      <a:pt x="53" y="311"/>
                      <a:pt x="59" y="315"/>
                    </a:cubicBezTo>
                    <a:cubicBezTo>
                      <a:pt x="61" y="317"/>
                      <a:pt x="62" y="317"/>
                      <a:pt x="72" y="299"/>
                    </a:cubicBezTo>
                    <a:cubicBezTo>
                      <a:pt x="78" y="287"/>
                      <a:pt x="86" y="261"/>
                      <a:pt x="92" y="243"/>
                    </a:cubicBezTo>
                    <a:cubicBezTo>
                      <a:pt x="112" y="204"/>
                      <a:pt x="168" y="82"/>
                      <a:pt x="186" y="0"/>
                    </a:cubicBezTo>
                    <a:cubicBezTo>
                      <a:pt x="111" y="14"/>
                      <a:pt x="111" y="14"/>
                      <a:pt x="111" y="14"/>
                    </a:cubicBezTo>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64">
                <a:extLst>
                  <a:ext uri="{FF2B5EF4-FFF2-40B4-BE49-F238E27FC236}">
                    <a16:creationId xmlns:a16="http://schemas.microsoft.com/office/drawing/2014/main" id="{3FFB0AC2-3D2F-4E43-9A76-849BBEFC746F}"/>
                  </a:ext>
                </a:extLst>
              </p:cNvPr>
              <p:cNvSpPr>
                <a:spLocks/>
              </p:cNvSpPr>
              <p:nvPr/>
            </p:nvSpPr>
            <p:spPr bwMode="auto">
              <a:xfrm>
                <a:off x="7610" y="1499"/>
                <a:ext cx="406" cy="881"/>
              </a:xfrm>
              <a:custGeom>
                <a:avLst/>
                <a:gdLst>
                  <a:gd name="T0" fmla="*/ 75 w 171"/>
                  <a:gd name="T1" fmla="*/ 16 h 371"/>
                  <a:gd name="T2" fmla="*/ 140 w 171"/>
                  <a:gd name="T3" fmla="*/ 83 h 371"/>
                  <a:gd name="T4" fmla="*/ 168 w 171"/>
                  <a:gd name="T5" fmla="*/ 327 h 371"/>
                  <a:gd name="T6" fmla="*/ 165 w 171"/>
                  <a:gd name="T7" fmla="*/ 336 h 371"/>
                  <a:gd name="T8" fmla="*/ 171 w 171"/>
                  <a:gd name="T9" fmla="*/ 351 h 371"/>
                  <a:gd name="T10" fmla="*/ 156 w 171"/>
                  <a:gd name="T11" fmla="*/ 364 h 371"/>
                  <a:gd name="T12" fmla="*/ 13 w 171"/>
                  <a:gd name="T13" fmla="*/ 371 h 371"/>
                  <a:gd name="T14" fmla="*/ 0 w 171"/>
                  <a:gd name="T15" fmla="*/ 359 h 371"/>
                  <a:gd name="T16" fmla="*/ 6 w 171"/>
                  <a:gd name="T17" fmla="*/ 341 h 371"/>
                  <a:gd name="T18" fmla="*/ 21 w 171"/>
                  <a:gd name="T19" fmla="*/ 42 h 371"/>
                  <a:gd name="T20" fmla="*/ 75 w 171"/>
                  <a:gd name="T21" fmla="*/ 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371">
                    <a:moveTo>
                      <a:pt x="75" y="16"/>
                    </a:moveTo>
                    <a:cubicBezTo>
                      <a:pt x="75" y="16"/>
                      <a:pt x="129" y="0"/>
                      <a:pt x="140" y="83"/>
                    </a:cubicBezTo>
                    <a:cubicBezTo>
                      <a:pt x="147" y="136"/>
                      <a:pt x="162" y="262"/>
                      <a:pt x="168" y="327"/>
                    </a:cubicBezTo>
                    <a:cubicBezTo>
                      <a:pt x="169" y="333"/>
                      <a:pt x="165" y="331"/>
                      <a:pt x="165" y="336"/>
                    </a:cubicBezTo>
                    <a:cubicBezTo>
                      <a:pt x="166" y="342"/>
                      <a:pt x="171" y="346"/>
                      <a:pt x="171" y="351"/>
                    </a:cubicBezTo>
                    <a:cubicBezTo>
                      <a:pt x="171" y="364"/>
                      <a:pt x="156" y="364"/>
                      <a:pt x="156" y="364"/>
                    </a:cubicBezTo>
                    <a:cubicBezTo>
                      <a:pt x="13" y="371"/>
                      <a:pt x="13" y="371"/>
                      <a:pt x="13" y="371"/>
                    </a:cubicBezTo>
                    <a:cubicBezTo>
                      <a:pt x="13" y="371"/>
                      <a:pt x="0" y="371"/>
                      <a:pt x="0" y="359"/>
                    </a:cubicBezTo>
                    <a:cubicBezTo>
                      <a:pt x="0" y="350"/>
                      <a:pt x="6" y="347"/>
                      <a:pt x="6" y="341"/>
                    </a:cubicBezTo>
                    <a:cubicBezTo>
                      <a:pt x="12" y="263"/>
                      <a:pt x="12" y="69"/>
                      <a:pt x="21" y="42"/>
                    </a:cubicBezTo>
                    <a:cubicBezTo>
                      <a:pt x="29" y="16"/>
                      <a:pt x="35" y="16"/>
                      <a:pt x="75" y="1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65">
                <a:extLst>
                  <a:ext uri="{FF2B5EF4-FFF2-40B4-BE49-F238E27FC236}">
                    <a16:creationId xmlns:a16="http://schemas.microsoft.com/office/drawing/2014/main" id="{33C4200E-5BE3-4E87-BBBD-6640B2C86B39}"/>
                  </a:ext>
                </a:extLst>
              </p:cNvPr>
              <p:cNvSpPr>
                <a:spLocks/>
              </p:cNvSpPr>
              <p:nvPr/>
            </p:nvSpPr>
            <p:spPr bwMode="auto">
              <a:xfrm>
                <a:off x="7814" y="1546"/>
                <a:ext cx="50" cy="62"/>
              </a:xfrm>
              <a:custGeom>
                <a:avLst/>
                <a:gdLst>
                  <a:gd name="T0" fmla="*/ 0 w 21"/>
                  <a:gd name="T1" fmla="*/ 0 h 26"/>
                  <a:gd name="T2" fmla="*/ 3 w 21"/>
                  <a:gd name="T3" fmla="*/ 3 h 26"/>
                  <a:gd name="T4" fmla="*/ 11 w 21"/>
                  <a:gd name="T5" fmla="*/ 12 h 26"/>
                  <a:gd name="T6" fmla="*/ 18 w 21"/>
                  <a:gd name="T7" fmla="*/ 21 h 26"/>
                  <a:gd name="T8" fmla="*/ 21 w 21"/>
                  <a:gd name="T9" fmla="*/ 26 h 26"/>
                  <a:gd name="T10" fmla="*/ 18 w 21"/>
                  <a:gd name="T11" fmla="*/ 22 h 26"/>
                  <a:gd name="T12" fmla="*/ 10 w 21"/>
                  <a:gd name="T13" fmla="*/ 13 h 26"/>
                  <a:gd name="T14" fmla="*/ 3 w 21"/>
                  <a:gd name="T15" fmla="*/ 4 h 26"/>
                  <a:gd name="T16" fmla="*/ 0 w 21"/>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6">
                    <a:moveTo>
                      <a:pt x="0" y="0"/>
                    </a:moveTo>
                    <a:cubicBezTo>
                      <a:pt x="0" y="0"/>
                      <a:pt x="1" y="1"/>
                      <a:pt x="3" y="3"/>
                    </a:cubicBezTo>
                    <a:cubicBezTo>
                      <a:pt x="5" y="6"/>
                      <a:pt x="8" y="9"/>
                      <a:pt x="11" y="12"/>
                    </a:cubicBezTo>
                    <a:cubicBezTo>
                      <a:pt x="14" y="16"/>
                      <a:pt x="16" y="19"/>
                      <a:pt x="18" y="21"/>
                    </a:cubicBezTo>
                    <a:cubicBezTo>
                      <a:pt x="20" y="24"/>
                      <a:pt x="21" y="25"/>
                      <a:pt x="21" y="26"/>
                    </a:cubicBezTo>
                    <a:cubicBezTo>
                      <a:pt x="20" y="26"/>
                      <a:pt x="19" y="24"/>
                      <a:pt x="18" y="22"/>
                    </a:cubicBezTo>
                    <a:cubicBezTo>
                      <a:pt x="16" y="19"/>
                      <a:pt x="13" y="16"/>
                      <a:pt x="10" y="13"/>
                    </a:cubicBezTo>
                    <a:cubicBezTo>
                      <a:pt x="7" y="9"/>
                      <a:pt x="4" y="6"/>
                      <a:pt x="3" y="4"/>
                    </a:cubicBezTo>
                    <a:cubicBezTo>
                      <a:pt x="1" y="1"/>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66">
                <a:extLst>
                  <a:ext uri="{FF2B5EF4-FFF2-40B4-BE49-F238E27FC236}">
                    <a16:creationId xmlns:a16="http://schemas.microsoft.com/office/drawing/2014/main" id="{C043AC77-D0AD-4611-95D3-251802A18388}"/>
                  </a:ext>
                </a:extLst>
              </p:cNvPr>
              <p:cNvSpPr>
                <a:spLocks/>
              </p:cNvSpPr>
              <p:nvPr/>
            </p:nvSpPr>
            <p:spPr bwMode="auto">
              <a:xfrm>
                <a:off x="7686" y="1541"/>
                <a:ext cx="143" cy="50"/>
              </a:xfrm>
              <a:custGeom>
                <a:avLst/>
                <a:gdLst>
                  <a:gd name="T0" fmla="*/ 60 w 60"/>
                  <a:gd name="T1" fmla="*/ 0 h 21"/>
                  <a:gd name="T2" fmla="*/ 58 w 60"/>
                  <a:gd name="T3" fmla="*/ 1 h 21"/>
                  <a:gd name="T4" fmla="*/ 51 w 60"/>
                  <a:gd name="T5" fmla="*/ 4 h 21"/>
                  <a:gd name="T6" fmla="*/ 30 w 60"/>
                  <a:gd name="T7" fmla="*/ 12 h 21"/>
                  <a:gd name="T8" fmla="*/ 9 w 60"/>
                  <a:gd name="T9" fmla="*/ 19 h 21"/>
                  <a:gd name="T10" fmla="*/ 2 w 60"/>
                  <a:gd name="T11" fmla="*/ 21 h 21"/>
                  <a:gd name="T12" fmla="*/ 0 w 60"/>
                  <a:gd name="T13" fmla="*/ 21 h 21"/>
                  <a:gd name="T14" fmla="*/ 2 w 60"/>
                  <a:gd name="T15" fmla="*/ 20 h 21"/>
                  <a:gd name="T16" fmla="*/ 9 w 60"/>
                  <a:gd name="T17" fmla="*/ 18 h 21"/>
                  <a:gd name="T18" fmla="*/ 30 w 60"/>
                  <a:gd name="T19" fmla="*/ 11 h 21"/>
                  <a:gd name="T20" fmla="*/ 51 w 60"/>
                  <a:gd name="T21" fmla="*/ 3 h 21"/>
                  <a:gd name="T22" fmla="*/ 58 w 60"/>
                  <a:gd name="T23" fmla="*/ 1 h 21"/>
                  <a:gd name="T24" fmla="*/ 60 w 60"/>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21">
                    <a:moveTo>
                      <a:pt x="60" y="0"/>
                    </a:moveTo>
                    <a:cubicBezTo>
                      <a:pt x="60" y="0"/>
                      <a:pt x="59" y="1"/>
                      <a:pt x="58" y="1"/>
                    </a:cubicBezTo>
                    <a:cubicBezTo>
                      <a:pt x="56" y="2"/>
                      <a:pt x="54" y="3"/>
                      <a:pt x="51" y="4"/>
                    </a:cubicBezTo>
                    <a:cubicBezTo>
                      <a:pt x="46" y="6"/>
                      <a:pt x="39" y="9"/>
                      <a:pt x="30" y="12"/>
                    </a:cubicBezTo>
                    <a:cubicBezTo>
                      <a:pt x="22" y="15"/>
                      <a:pt x="14" y="17"/>
                      <a:pt x="9" y="19"/>
                    </a:cubicBezTo>
                    <a:cubicBezTo>
                      <a:pt x="6" y="19"/>
                      <a:pt x="4" y="20"/>
                      <a:pt x="2" y="21"/>
                    </a:cubicBezTo>
                    <a:cubicBezTo>
                      <a:pt x="1" y="21"/>
                      <a:pt x="0" y="21"/>
                      <a:pt x="0" y="21"/>
                    </a:cubicBezTo>
                    <a:cubicBezTo>
                      <a:pt x="0" y="21"/>
                      <a:pt x="1" y="21"/>
                      <a:pt x="2" y="20"/>
                    </a:cubicBezTo>
                    <a:cubicBezTo>
                      <a:pt x="4" y="20"/>
                      <a:pt x="6" y="19"/>
                      <a:pt x="9" y="18"/>
                    </a:cubicBezTo>
                    <a:cubicBezTo>
                      <a:pt x="14" y="16"/>
                      <a:pt x="22" y="14"/>
                      <a:pt x="30" y="11"/>
                    </a:cubicBezTo>
                    <a:cubicBezTo>
                      <a:pt x="38" y="8"/>
                      <a:pt x="46" y="5"/>
                      <a:pt x="51" y="3"/>
                    </a:cubicBezTo>
                    <a:cubicBezTo>
                      <a:pt x="53" y="3"/>
                      <a:pt x="56" y="2"/>
                      <a:pt x="58" y="1"/>
                    </a:cubicBezTo>
                    <a:cubicBezTo>
                      <a:pt x="59" y="1"/>
                      <a:pt x="60" y="0"/>
                      <a:pt x="6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Oval 167">
                <a:extLst>
                  <a:ext uri="{FF2B5EF4-FFF2-40B4-BE49-F238E27FC236}">
                    <a16:creationId xmlns:a16="http://schemas.microsoft.com/office/drawing/2014/main" id="{731A2A1E-3763-40E5-9ADE-A0D2E285A1CC}"/>
                  </a:ext>
                </a:extLst>
              </p:cNvPr>
              <p:cNvSpPr>
                <a:spLocks noChangeArrowheads="1"/>
              </p:cNvSpPr>
              <p:nvPr/>
            </p:nvSpPr>
            <p:spPr bwMode="auto">
              <a:xfrm>
                <a:off x="7686" y="1556"/>
                <a:ext cx="3" cy="3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Oval 168">
                <a:extLst>
                  <a:ext uri="{FF2B5EF4-FFF2-40B4-BE49-F238E27FC236}">
                    <a16:creationId xmlns:a16="http://schemas.microsoft.com/office/drawing/2014/main" id="{35C0EC18-1D69-48D0-ACBC-0656EC6A4565}"/>
                  </a:ext>
                </a:extLst>
              </p:cNvPr>
              <p:cNvSpPr>
                <a:spLocks noChangeArrowheads="1"/>
              </p:cNvSpPr>
              <p:nvPr/>
            </p:nvSpPr>
            <p:spPr bwMode="auto">
              <a:xfrm>
                <a:off x="7663" y="1605"/>
                <a:ext cx="256"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69">
                <a:extLst>
                  <a:ext uri="{FF2B5EF4-FFF2-40B4-BE49-F238E27FC236}">
                    <a16:creationId xmlns:a16="http://schemas.microsoft.com/office/drawing/2014/main" id="{1BB25957-4536-49CE-8F09-901FBD9C3B53}"/>
                  </a:ext>
                </a:extLst>
              </p:cNvPr>
              <p:cNvSpPr>
                <a:spLocks/>
              </p:cNvSpPr>
              <p:nvPr/>
            </p:nvSpPr>
            <p:spPr bwMode="auto">
              <a:xfrm>
                <a:off x="7651" y="1641"/>
                <a:ext cx="284" cy="7"/>
              </a:xfrm>
              <a:custGeom>
                <a:avLst/>
                <a:gdLst>
                  <a:gd name="T0" fmla="*/ 120 w 120"/>
                  <a:gd name="T1" fmla="*/ 3 h 3"/>
                  <a:gd name="T2" fmla="*/ 119 w 120"/>
                  <a:gd name="T3" fmla="*/ 3 h 3"/>
                  <a:gd name="T4" fmla="*/ 115 w 120"/>
                  <a:gd name="T5" fmla="*/ 3 h 3"/>
                  <a:gd name="T6" fmla="*/ 102 w 120"/>
                  <a:gd name="T7" fmla="*/ 3 h 3"/>
                  <a:gd name="T8" fmla="*/ 60 w 120"/>
                  <a:gd name="T9" fmla="*/ 1 h 3"/>
                  <a:gd name="T10" fmla="*/ 18 w 120"/>
                  <a:gd name="T11" fmla="*/ 1 h 3"/>
                  <a:gd name="T12" fmla="*/ 5 w 120"/>
                  <a:gd name="T13" fmla="*/ 1 h 3"/>
                  <a:gd name="T14" fmla="*/ 1 w 120"/>
                  <a:gd name="T15" fmla="*/ 0 h 3"/>
                  <a:gd name="T16" fmla="*/ 0 w 120"/>
                  <a:gd name="T17" fmla="*/ 0 h 3"/>
                  <a:gd name="T18" fmla="*/ 1 w 120"/>
                  <a:gd name="T19" fmla="*/ 0 h 3"/>
                  <a:gd name="T20" fmla="*/ 5 w 120"/>
                  <a:gd name="T21" fmla="*/ 0 h 3"/>
                  <a:gd name="T22" fmla="*/ 18 w 120"/>
                  <a:gd name="T23" fmla="*/ 0 h 3"/>
                  <a:gd name="T24" fmla="*/ 60 w 120"/>
                  <a:gd name="T25" fmla="*/ 1 h 3"/>
                  <a:gd name="T26" fmla="*/ 102 w 120"/>
                  <a:gd name="T27" fmla="*/ 2 h 3"/>
                  <a:gd name="T28" fmla="*/ 115 w 120"/>
                  <a:gd name="T29" fmla="*/ 3 h 3"/>
                  <a:gd name="T30" fmla="*/ 119 w 120"/>
                  <a:gd name="T31" fmla="*/ 3 h 3"/>
                  <a:gd name="T32" fmla="*/ 120 w 120"/>
                  <a:gd name="T3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3">
                    <a:moveTo>
                      <a:pt x="120" y="3"/>
                    </a:moveTo>
                    <a:cubicBezTo>
                      <a:pt x="120" y="3"/>
                      <a:pt x="120" y="3"/>
                      <a:pt x="119" y="3"/>
                    </a:cubicBezTo>
                    <a:cubicBezTo>
                      <a:pt x="118" y="3"/>
                      <a:pt x="117" y="3"/>
                      <a:pt x="115" y="3"/>
                    </a:cubicBezTo>
                    <a:cubicBezTo>
                      <a:pt x="112" y="3"/>
                      <a:pt x="107" y="3"/>
                      <a:pt x="102" y="3"/>
                    </a:cubicBezTo>
                    <a:cubicBezTo>
                      <a:pt x="91" y="2"/>
                      <a:pt x="76" y="2"/>
                      <a:pt x="60" y="1"/>
                    </a:cubicBezTo>
                    <a:cubicBezTo>
                      <a:pt x="44" y="1"/>
                      <a:pt x="29" y="1"/>
                      <a:pt x="18" y="1"/>
                    </a:cubicBezTo>
                    <a:cubicBezTo>
                      <a:pt x="13" y="1"/>
                      <a:pt x="8" y="1"/>
                      <a:pt x="5" y="1"/>
                    </a:cubicBezTo>
                    <a:cubicBezTo>
                      <a:pt x="3" y="1"/>
                      <a:pt x="2" y="0"/>
                      <a:pt x="1" y="0"/>
                    </a:cubicBezTo>
                    <a:cubicBezTo>
                      <a:pt x="0" y="0"/>
                      <a:pt x="0" y="0"/>
                      <a:pt x="0" y="0"/>
                    </a:cubicBezTo>
                    <a:cubicBezTo>
                      <a:pt x="0" y="0"/>
                      <a:pt x="0" y="0"/>
                      <a:pt x="1" y="0"/>
                    </a:cubicBezTo>
                    <a:cubicBezTo>
                      <a:pt x="2" y="0"/>
                      <a:pt x="3" y="0"/>
                      <a:pt x="5" y="0"/>
                    </a:cubicBezTo>
                    <a:cubicBezTo>
                      <a:pt x="8" y="0"/>
                      <a:pt x="13" y="0"/>
                      <a:pt x="18" y="0"/>
                    </a:cubicBezTo>
                    <a:cubicBezTo>
                      <a:pt x="28" y="0"/>
                      <a:pt x="43" y="0"/>
                      <a:pt x="60" y="1"/>
                    </a:cubicBezTo>
                    <a:cubicBezTo>
                      <a:pt x="77" y="1"/>
                      <a:pt x="92" y="2"/>
                      <a:pt x="102" y="2"/>
                    </a:cubicBezTo>
                    <a:cubicBezTo>
                      <a:pt x="108" y="3"/>
                      <a:pt x="112" y="3"/>
                      <a:pt x="115" y="3"/>
                    </a:cubicBezTo>
                    <a:cubicBezTo>
                      <a:pt x="117" y="3"/>
                      <a:pt x="118" y="3"/>
                      <a:pt x="119" y="3"/>
                    </a:cubicBezTo>
                    <a:cubicBezTo>
                      <a:pt x="120" y="3"/>
                      <a:pt x="120" y="3"/>
                      <a:pt x="120"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Oval 170">
                <a:extLst>
                  <a:ext uri="{FF2B5EF4-FFF2-40B4-BE49-F238E27FC236}">
                    <a16:creationId xmlns:a16="http://schemas.microsoft.com/office/drawing/2014/main" id="{B1BC8CBA-769A-4A1E-9AF4-53862E37E97F}"/>
                  </a:ext>
                </a:extLst>
              </p:cNvPr>
              <p:cNvSpPr>
                <a:spLocks noChangeArrowheads="1"/>
              </p:cNvSpPr>
              <p:nvPr/>
            </p:nvSpPr>
            <p:spPr bwMode="auto">
              <a:xfrm>
                <a:off x="7648" y="1686"/>
                <a:ext cx="292" cy="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Oval 171">
                <a:extLst>
                  <a:ext uri="{FF2B5EF4-FFF2-40B4-BE49-F238E27FC236}">
                    <a16:creationId xmlns:a16="http://schemas.microsoft.com/office/drawing/2014/main" id="{55A261FA-3AC2-4BD8-8071-7872932C799D}"/>
                  </a:ext>
                </a:extLst>
              </p:cNvPr>
              <p:cNvSpPr>
                <a:spLocks noChangeArrowheads="1"/>
              </p:cNvSpPr>
              <p:nvPr/>
            </p:nvSpPr>
            <p:spPr bwMode="auto">
              <a:xfrm>
                <a:off x="7646" y="1727"/>
                <a:ext cx="301"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Oval 172">
                <a:extLst>
                  <a:ext uri="{FF2B5EF4-FFF2-40B4-BE49-F238E27FC236}">
                    <a16:creationId xmlns:a16="http://schemas.microsoft.com/office/drawing/2014/main" id="{E07C70F0-0536-4FD0-87CC-9048AA155387}"/>
                  </a:ext>
                </a:extLst>
              </p:cNvPr>
              <p:cNvSpPr>
                <a:spLocks noChangeArrowheads="1"/>
              </p:cNvSpPr>
              <p:nvPr/>
            </p:nvSpPr>
            <p:spPr bwMode="auto">
              <a:xfrm>
                <a:off x="7646" y="1769"/>
                <a:ext cx="308"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Oval 173">
                <a:extLst>
                  <a:ext uri="{FF2B5EF4-FFF2-40B4-BE49-F238E27FC236}">
                    <a16:creationId xmlns:a16="http://schemas.microsoft.com/office/drawing/2014/main" id="{F66726F8-D226-4A6D-9C6D-28A0F2C971A6}"/>
                  </a:ext>
                </a:extLst>
              </p:cNvPr>
              <p:cNvSpPr>
                <a:spLocks noChangeArrowheads="1"/>
              </p:cNvSpPr>
              <p:nvPr/>
            </p:nvSpPr>
            <p:spPr bwMode="auto">
              <a:xfrm>
                <a:off x="7646" y="1814"/>
                <a:ext cx="311"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Oval 174">
                <a:extLst>
                  <a:ext uri="{FF2B5EF4-FFF2-40B4-BE49-F238E27FC236}">
                    <a16:creationId xmlns:a16="http://schemas.microsoft.com/office/drawing/2014/main" id="{A2406B32-AEB8-47A0-AB83-85E4E8ED10EA}"/>
                  </a:ext>
                </a:extLst>
              </p:cNvPr>
              <p:cNvSpPr>
                <a:spLocks noChangeArrowheads="1"/>
              </p:cNvSpPr>
              <p:nvPr/>
            </p:nvSpPr>
            <p:spPr bwMode="auto">
              <a:xfrm>
                <a:off x="7646" y="1862"/>
                <a:ext cx="318"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Oval 175">
                <a:extLst>
                  <a:ext uri="{FF2B5EF4-FFF2-40B4-BE49-F238E27FC236}">
                    <a16:creationId xmlns:a16="http://schemas.microsoft.com/office/drawing/2014/main" id="{16184DAA-D7AA-4665-B559-3A4DA3030AAA}"/>
                  </a:ext>
                </a:extLst>
              </p:cNvPr>
              <p:cNvSpPr>
                <a:spLocks noChangeArrowheads="1"/>
              </p:cNvSpPr>
              <p:nvPr/>
            </p:nvSpPr>
            <p:spPr bwMode="auto">
              <a:xfrm>
                <a:off x="7646" y="1905"/>
                <a:ext cx="323" cy="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Oval 176">
                <a:extLst>
                  <a:ext uri="{FF2B5EF4-FFF2-40B4-BE49-F238E27FC236}">
                    <a16:creationId xmlns:a16="http://schemas.microsoft.com/office/drawing/2014/main" id="{77D29ECA-B818-4B3C-80A8-8E08EF4C5AE0}"/>
                  </a:ext>
                </a:extLst>
              </p:cNvPr>
              <p:cNvSpPr>
                <a:spLocks noChangeArrowheads="1"/>
              </p:cNvSpPr>
              <p:nvPr/>
            </p:nvSpPr>
            <p:spPr bwMode="auto">
              <a:xfrm>
                <a:off x="7646" y="1950"/>
                <a:ext cx="330" cy="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Oval 177">
                <a:extLst>
                  <a:ext uri="{FF2B5EF4-FFF2-40B4-BE49-F238E27FC236}">
                    <a16:creationId xmlns:a16="http://schemas.microsoft.com/office/drawing/2014/main" id="{46C928B0-54F7-4E0F-8EDD-1E9A09975C52}"/>
                  </a:ext>
                </a:extLst>
              </p:cNvPr>
              <p:cNvSpPr>
                <a:spLocks noChangeArrowheads="1"/>
              </p:cNvSpPr>
              <p:nvPr/>
            </p:nvSpPr>
            <p:spPr bwMode="auto">
              <a:xfrm>
                <a:off x="7646" y="1995"/>
                <a:ext cx="332"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Oval 178">
                <a:extLst>
                  <a:ext uri="{FF2B5EF4-FFF2-40B4-BE49-F238E27FC236}">
                    <a16:creationId xmlns:a16="http://schemas.microsoft.com/office/drawing/2014/main" id="{AB8DED7D-3B19-428A-94C3-1E49B84AF5BC}"/>
                  </a:ext>
                </a:extLst>
              </p:cNvPr>
              <p:cNvSpPr>
                <a:spLocks noChangeArrowheads="1"/>
              </p:cNvSpPr>
              <p:nvPr/>
            </p:nvSpPr>
            <p:spPr bwMode="auto">
              <a:xfrm>
                <a:off x="7646" y="2040"/>
                <a:ext cx="339"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Oval 179">
                <a:extLst>
                  <a:ext uri="{FF2B5EF4-FFF2-40B4-BE49-F238E27FC236}">
                    <a16:creationId xmlns:a16="http://schemas.microsoft.com/office/drawing/2014/main" id="{3366740A-0B61-4FC6-8DA3-05099CB83E35}"/>
                  </a:ext>
                </a:extLst>
              </p:cNvPr>
              <p:cNvSpPr>
                <a:spLocks noChangeArrowheads="1"/>
              </p:cNvSpPr>
              <p:nvPr/>
            </p:nvSpPr>
            <p:spPr bwMode="auto">
              <a:xfrm>
                <a:off x="7646" y="2085"/>
                <a:ext cx="344"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Oval 180">
                <a:extLst>
                  <a:ext uri="{FF2B5EF4-FFF2-40B4-BE49-F238E27FC236}">
                    <a16:creationId xmlns:a16="http://schemas.microsoft.com/office/drawing/2014/main" id="{65C3454F-0B22-4065-BA96-369C6E70A71D}"/>
                  </a:ext>
                </a:extLst>
              </p:cNvPr>
              <p:cNvSpPr>
                <a:spLocks noChangeArrowheads="1"/>
              </p:cNvSpPr>
              <p:nvPr/>
            </p:nvSpPr>
            <p:spPr bwMode="auto">
              <a:xfrm>
                <a:off x="7639" y="2130"/>
                <a:ext cx="356"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Oval 181">
                <a:extLst>
                  <a:ext uri="{FF2B5EF4-FFF2-40B4-BE49-F238E27FC236}">
                    <a16:creationId xmlns:a16="http://schemas.microsoft.com/office/drawing/2014/main" id="{CDF20880-C24B-49E4-BAD8-7E1C130A5DD6}"/>
                  </a:ext>
                </a:extLst>
              </p:cNvPr>
              <p:cNvSpPr>
                <a:spLocks noChangeArrowheads="1"/>
              </p:cNvSpPr>
              <p:nvPr/>
            </p:nvSpPr>
            <p:spPr bwMode="auto">
              <a:xfrm>
                <a:off x="7632" y="2175"/>
                <a:ext cx="368" cy="3"/>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Oval 182">
                <a:extLst>
                  <a:ext uri="{FF2B5EF4-FFF2-40B4-BE49-F238E27FC236}">
                    <a16:creationId xmlns:a16="http://schemas.microsoft.com/office/drawing/2014/main" id="{938806F6-9DCE-4231-8341-A4935AB1BED0}"/>
                  </a:ext>
                </a:extLst>
              </p:cNvPr>
              <p:cNvSpPr>
                <a:spLocks noChangeArrowheads="1"/>
              </p:cNvSpPr>
              <p:nvPr/>
            </p:nvSpPr>
            <p:spPr bwMode="auto">
              <a:xfrm>
                <a:off x="7629" y="2221"/>
                <a:ext cx="375"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Oval 183">
                <a:extLst>
                  <a:ext uri="{FF2B5EF4-FFF2-40B4-BE49-F238E27FC236}">
                    <a16:creationId xmlns:a16="http://schemas.microsoft.com/office/drawing/2014/main" id="{1C15D7C2-C0A2-41C8-B9EE-6CC77515DCB1}"/>
                  </a:ext>
                </a:extLst>
              </p:cNvPr>
              <p:cNvSpPr>
                <a:spLocks noChangeArrowheads="1"/>
              </p:cNvSpPr>
              <p:nvPr/>
            </p:nvSpPr>
            <p:spPr bwMode="auto">
              <a:xfrm>
                <a:off x="7629" y="2266"/>
                <a:ext cx="380" cy="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184">
                <a:extLst>
                  <a:ext uri="{FF2B5EF4-FFF2-40B4-BE49-F238E27FC236}">
                    <a16:creationId xmlns:a16="http://schemas.microsoft.com/office/drawing/2014/main" id="{469B7DBB-B6D7-4129-BB87-B4274CFA56F1}"/>
                  </a:ext>
                </a:extLst>
              </p:cNvPr>
              <p:cNvSpPr>
                <a:spLocks/>
              </p:cNvSpPr>
              <p:nvPr/>
            </p:nvSpPr>
            <p:spPr bwMode="auto">
              <a:xfrm>
                <a:off x="7625" y="2308"/>
                <a:ext cx="382" cy="5"/>
              </a:xfrm>
              <a:custGeom>
                <a:avLst/>
                <a:gdLst>
                  <a:gd name="T0" fmla="*/ 161 w 161"/>
                  <a:gd name="T1" fmla="*/ 2 h 2"/>
                  <a:gd name="T2" fmla="*/ 80 w 161"/>
                  <a:gd name="T3" fmla="*/ 1 h 2"/>
                  <a:gd name="T4" fmla="*/ 0 w 161"/>
                  <a:gd name="T5" fmla="*/ 0 h 2"/>
                  <a:gd name="T6" fmla="*/ 80 w 161"/>
                  <a:gd name="T7" fmla="*/ 0 h 2"/>
                  <a:gd name="T8" fmla="*/ 161 w 161"/>
                  <a:gd name="T9" fmla="*/ 2 h 2"/>
                </a:gdLst>
                <a:ahLst/>
                <a:cxnLst>
                  <a:cxn ang="0">
                    <a:pos x="T0" y="T1"/>
                  </a:cxn>
                  <a:cxn ang="0">
                    <a:pos x="T2" y="T3"/>
                  </a:cxn>
                  <a:cxn ang="0">
                    <a:pos x="T4" y="T5"/>
                  </a:cxn>
                  <a:cxn ang="0">
                    <a:pos x="T6" y="T7"/>
                  </a:cxn>
                  <a:cxn ang="0">
                    <a:pos x="T8" y="T9"/>
                  </a:cxn>
                </a:cxnLst>
                <a:rect l="0" t="0" r="r" b="b"/>
                <a:pathLst>
                  <a:path w="161" h="2">
                    <a:moveTo>
                      <a:pt x="161" y="2"/>
                    </a:moveTo>
                    <a:cubicBezTo>
                      <a:pt x="161" y="2"/>
                      <a:pt x="125" y="2"/>
                      <a:pt x="80" y="1"/>
                    </a:cubicBezTo>
                    <a:cubicBezTo>
                      <a:pt x="36" y="1"/>
                      <a:pt x="0" y="0"/>
                      <a:pt x="0" y="0"/>
                    </a:cubicBezTo>
                    <a:cubicBezTo>
                      <a:pt x="0" y="0"/>
                      <a:pt x="36" y="0"/>
                      <a:pt x="80" y="0"/>
                    </a:cubicBezTo>
                    <a:cubicBezTo>
                      <a:pt x="125" y="1"/>
                      <a:pt x="161" y="1"/>
                      <a:pt x="161" y="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85">
                <a:extLst>
                  <a:ext uri="{FF2B5EF4-FFF2-40B4-BE49-F238E27FC236}">
                    <a16:creationId xmlns:a16="http://schemas.microsoft.com/office/drawing/2014/main" id="{8430B39E-E7D0-48B0-9585-D60BC0E7D9C2}"/>
                  </a:ext>
                </a:extLst>
              </p:cNvPr>
              <p:cNvSpPr>
                <a:spLocks/>
              </p:cNvSpPr>
              <p:nvPr/>
            </p:nvSpPr>
            <p:spPr bwMode="auto">
              <a:xfrm>
                <a:off x="7610" y="2354"/>
                <a:ext cx="397" cy="4"/>
              </a:xfrm>
              <a:custGeom>
                <a:avLst/>
                <a:gdLst>
                  <a:gd name="T0" fmla="*/ 167 w 167"/>
                  <a:gd name="T1" fmla="*/ 0 h 2"/>
                  <a:gd name="T2" fmla="*/ 83 w 167"/>
                  <a:gd name="T3" fmla="*/ 1 h 2"/>
                  <a:gd name="T4" fmla="*/ 0 w 167"/>
                  <a:gd name="T5" fmla="*/ 2 h 2"/>
                  <a:gd name="T6" fmla="*/ 83 w 167"/>
                  <a:gd name="T7" fmla="*/ 1 h 2"/>
                  <a:gd name="T8" fmla="*/ 167 w 167"/>
                  <a:gd name="T9" fmla="*/ 0 h 2"/>
                </a:gdLst>
                <a:ahLst/>
                <a:cxnLst>
                  <a:cxn ang="0">
                    <a:pos x="T0" y="T1"/>
                  </a:cxn>
                  <a:cxn ang="0">
                    <a:pos x="T2" y="T3"/>
                  </a:cxn>
                  <a:cxn ang="0">
                    <a:pos x="T4" y="T5"/>
                  </a:cxn>
                  <a:cxn ang="0">
                    <a:pos x="T6" y="T7"/>
                  </a:cxn>
                  <a:cxn ang="0">
                    <a:pos x="T8" y="T9"/>
                  </a:cxn>
                </a:cxnLst>
                <a:rect l="0" t="0" r="r" b="b"/>
                <a:pathLst>
                  <a:path w="167" h="2">
                    <a:moveTo>
                      <a:pt x="167" y="0"/>
                    </a:moveTo>
                    <a:cubicBezTo>
                      <a:pt x="167" y="0"/>
                      <a:pt x="129" y="1"/>
                      <a:pt x="83" y="1"/>
                    </a:cubicBezTo>
                    <a:cubicBezTo>
                      <a:pt x="37" y="2"/>
                      <a:pt x="0" y="2"/>
                      <a:pt x="0" y="2"/>
                    </a:cubicBezTo>
                    <a:cubicBezTo>
                      <a:pt x="0" y="2"/>
                      <a:pt x="37" y="1"/>
                      <a:pt x="83" y="1"/>
                    </a:cubicBezTo>
                    <a:cubicBezTo>
                      <a:pt x="129" y="0"/>
                      <a:pt x="167" y="0"/>
                      <a:pt x="167"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86">
                <a:extLst>
                  <a:ext uri="{FF2B5EF4-FFF2-40B4-BE49-F238E27FC236}">
                    <a16:creationId xmlns:a16="http://schemas.microsoft.com/office/drawing/2014/main" id="{7827B56D-4EBA-4D07-81FF-D9426F652DF7}"/>
                  </a:ext>
                </a:extLst>
              </p:cNvPr>
              <p:cNvSpPr>
                <a:spLocks/>
              </p:cNvSpPr>
              <p:nvPr/>
            </p:nvSpPr>
            <p:spPr bwMode="auto">
              <a:xfrm>
                <a:off x="7750" y="1729"/>
                <a:ext cx="188" cy="416"/>
              </a:xfrm>
              <a:custGeom>
                <a:avLst/>
                <a:gdLst>
                  <a:gd name="T0" fmla="*/ 0 w 79"/>
                  <a:gd name="T1" fmla="*/ 174 h 175"/>
                  <a:gd name="T2" fmla="*/ 26 w 79"/>
                  <a:gd name="T3" fmla="*/ 167 h 175"/>
                  <a:gd name="T4" fmla="*/ 45 w 79"/>
                  <a:gd name="T5" fmla="*/ 146 h 175"/>
                  <a:gd name="T6" fmla="*/ 77 w 79"/>
                  <a:gd name="T7" fmla="*/ 52 h 175"/>
                  <a:gd name="T8" fmla="*/ 77 w 79"/>
                  <a:gd name="T9" fmla="*/ 0 h 175"/>
                  <a:gd name="T10" fmla="*/ 52 w 79"/>
                  <a:gd name="T11" fmla="*/ 98 h 175"/>
                  <a:gd name="T12" fmla="*/ 8 w 79"/>
                  <a:gd name="T13" fmla="*/ 170 h 175"/>
                  <a:gd name="T14" fmla="*/ 0 w 79"/>
                  <a:gd name="T15" fmla="*/ 174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75">
                    <a:moveTo>
                      <a:pt x="0" y="174"/>
                    </a:moveTo>
                    <a:cubicBezTo>
                      <a:pt x="9" y="175"/>
                      <a:pt x="19" y="172"/>
                      <a:pt x="26" y="167"/>
                    </a:cubicBezTo>
                    <a:cubicBezTo>
                      <a:pt x="34" y="162"/>
                      <a:pt x="40" y="154"/>
                      <a:pt x="45" y="146"/>
                    </a:cubicBezTo>
                    <a:cubicBezTo>
                      <a:pt x="64" y="119"/>
                      <a:pt x="75" y="86"/>
                      <a:pt x="77" y="52"/>
                    </a:cubicBezTo>
                    <a:cubicBezTo>
                      <a:pt x="78" y="44"/>
                      <a:pt x="79" y="13"/>
                      <a:pt x="77" y="0"/>
                    </a:cubicBezTo>
                    <a:cubicBezTo>
                      <a:pt x="72" y="37"/>
                      <a:pt x="61" y="76"/>
                      <a:pt x="52" y="98"/>
                    </a:cubicBezTo>
                    <a:cubicBezTo>
                      <a:pt x="40" y="126"/>
                      <a:pt x="28" y="147"/>
                      <a:pt x="8" y="170"/>
                    </a:cubicBezTo>
                    <a:cubicBezTo>
                      <a:pt x="0" y="174"/>
                      <a:pt x="0" y="174"/>
                      <a:pt x="0" y="174"/>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87">
                <a:extLst>
                  <a:ext uri="{FF2B5EF4-FFF2-40B4-BE49-F238E27FC236}">
                    <a16:creationId xmlns:a16="http://schemas.microsoft.com/office/drawing/2014/main" id="{C2C15937-A184-45FE-9840-BA2EEB5304CF}"/>
                  </a:ext>
                </a:extLst>
              </p:cNvPr>
              <p:cNvSpPr>
                <a:spLocks/>
              </p:cNvSpPr>
              <p:nvPr/>
            </p:nvSpPr>
            <p:spPr bwMode="auto">
              <a:xfrm>
                <a:off x="7750" y="1729"/>
                <a:ext cx="185" cy="413"/>
              </a:xfrm>
              <a:custGeom>
                <a:avLst/>
                <a:gdLst>
                  <a:gd name="T0" fmla="*/ 77 w 78"/>
                  <a:gd name="T1" fmla="*/ 0 h 174"/>
                  <a:gd name="T2" fmla="*/ 74 w 78"/>
                  <a:gd name="T3" fmla="*/ 18 h 174"/>
                  <a:gd name="T4" fmla="*/ 74 w 78"/>
                  <a:gd name="T5" fmla="*/ 18 h 174"/>
                  <a:gd name="T6" fmla="*/ 70 w 78"/>
                  <a:gd name="T7" fmla="*/ 36 h 174"/>
                  <a:gd name="T8" fmla="*/ 70 w 78"/>
                  <a:gd name="T9" fmla="*/ 37 h 174"/>
                  <a:gd name="T10" fmla="*/ 66 w 78"/>
                  <a:gd name="T11" fmla="*/ 56 h 174"/>
                  <a:gd name="T12" fmla="*/ 65 w 78"/>
                  <a:gd name="T13" fmla="*/ 57 h 174"/>
                  <a:gd name="T14" fmla="*/ 60 w 78"/>
                  <a:gd name="T15" fmla="*/ 74 h 174"/>
                  <a:gd name="T16" fmla="*/ 60 w 78"/>
                  <a:gd name="T17" fmla="*/ 74 h 174"/>
                  <a:gd name="T18" fmla="*/ 54 w 78"/>
                  <a:gd name="T19" fmla="*/ 93 h 174"/>
                  <a:gd name="T20" fmla="*/ 54 w 78"/>
                  <a:gd name="T21" fmla="*/ 93 h 174"/>
                  <a:gd name="T22" fmla="*/ 52 w 78"/>
                  <a:gd name="T23" fmla="*/ 98 h 174"/>
                  <a:gd name="T24" fmla="*/ 46 w 78"/>
                  <a:gd name="T25" fmla="*/ 112 h 174"/>
                  <a:gd name="T26" fmla="*/ 45 w 78"/>
                  <a:gd name="T27" fmla="*/ 112 h 174"/>
                  <a:gd name="T28" fmla="*/ 36 w 78"/>
                  <a:gd name="T29" fmla="*/ 131 h 174"/>
                  <a:gd name="T30" fmla="*/ 36 w 78"/>
                  <a:gd name="T31" fmla="*/ 132 h 174"/>
                  <a:gd name="T32" fmla="*/ 8 w 78"/>
                  <a:gd name="T33" fmla="*/ 170 h 174"/>
                  <a:gd name="T34" fmla="*/ 0 w 78"/>
                  <a:gd name="T35" fmla="*/ 174 h 174"/>
                  <a:gd name="T36" fmla="*/ 5 w 78"/>
                  <a:gd name="T37" fmla="*/ 174 h 174"/>
                  <a:gd name="T38" fmla="*/ 26 w 78"/>
                  <a:gd name="T39" fmla="*/ 167 h 174"/>
                  <a:gd name="T40" fmla="*/ 45 w 78"/>
                  <a:gd name="T41" fmla="*/ 146 h 174"/>
                  <a:gd name="T42" fmla="*/ 77 w 78"/>
                  <a:gd name="T43" fmla="*/ 52 h 174"/>
                  <a:gd name="T44" fmla="*/ 78 w 78"/>
                  <a:gd name="T45" fmla="*/ 25 h 174"/>
                  <a:gd name="T46" fmla="*/ 77 w 78"/>
                  <a:gd name="T4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174">
                    <a:moveTo>
                      <a:pt x="77" y="0"/>
                    </a:moveTo>
                    <a:cubicBezTo>
                      <a:pt x="76" y="6"/>
                      <a:pt x="75" y="12"/>
                      <a:pt x="74" y="18"/>
                    </a:cubicBezTo>
                    <a:cubicBezTo>
                      <a:pt x="74" y="18"/>
                      <a:pt x="74" y="18"/>
                      <a:pt x="74" y="18"/>
                    </a:cubicBezTo>
                    <a:cubicBezTo>
                      <a:pt x="73" y="24"/>
                      <a:pt x="72" y="30"/>
                      <a:pt x="70" y="36"/>
                    </a:cubicBezTo>
                    <a:cubicBezTo>
                      <a:pt x="70" y="36"/>
                      <a:pt x="70" y="37"/>
                      <a:pt x="70" y="37"/>
                    </a:cubicBezTo>
                    <a:cubicBezTo>
                      <a:pt x="69" y="43"/>
                      <a:pt x="67" y="50"/>
                      <a:pt x="66" y="56"/>
                    </a:cubicBezTo>
                    <a:cubicBezTo>
                      <a:pt x="65" y="56"/>
                      <a:pt x="65" y="57"/>
                      <a:pt x="65" y="57"/>
                    </a:cubicBezTo>
                    <a:cubicBezTo>
                      <a:pt x="64" y="63"/>
                      <a:pt x="62" y="68"/>
                      <a:pt x="60" y="74"/>
                    </a:cubicBezTo>
                    <a:cubicBezTo>
                      <a:pt x="60" y="74"/>
                      <a:pt x="60" y="74"/>
                      <a:pt x="60" y="74"/>
                    </a:cubicBezTo>
                    <a:cubicBezTo>
                      <a:pt x="58" y="81"/>
                      <a:pt x="56" y="87"/>
                      <a:pt x="54" y="93"/>
                    </a:cubicBezTo>
                    <a:cubicBezTo>
                      <a:pt x="54" y="93"/>
                      <a:pt x="54" y="93"/>
                      <a:pt x="54" y="93"/>
                    </a:cubicBezTo>
                    <a:cubicBezTo>
                      <a:pt x="53" y="95"/>
                      <a:pt x="52" y="97"/>
                      <a:pt x="52" y="98"/>
                    </a:cubicBezTo>
                    <a:cubicBezTo>
                      <a:pt x="50" y="103"/>
                      <a:pt x="48" y="107"/>
                      <a:pt x="46" y="112"/>
                    </a:cubicBezTo>
                    <a:cubicBezTo>
                      <a:pt x="46" y="112"/>
                      <a:pt x="45" y="112"/>
                      <a:pt x="45" y="112"/>
                    </a:cubicBezTo>
                    <a:cubicBezTo>
                      <a:pt x="42" y="119"/>
                      <a:pt x="39" y="125"/>
                      <a:pt x="36" y="131"/>
                    </a:cubicBezTo>
                    <a:cubicBezTo>
                      <a:pt x="36" y="131"/>
                      <a:pt x="36" y="131"/>
                      <a:pt x="36" y="132"/>
                    </a:cubicBezTo>
                    <a:cubicBezTo>
                      <a:pt x="28" y="145"/>
                      <a:pt x="20" y="157"/>
                      <a:pt x="8" y="170"/>
                    </a:cubicBezTo>
                    <a:cubicBezTo>
                      <a:pt x="0" y="174"/>
                      <a:pt x="0" y="174"/>
                      <a:pt x="0" y="174"/>
                    </a:cubicBezTo>
                    <a:cubicBezTo>
                      <a:pt x="2" y="174"/>
                      <a:pt x="3" y="174"/>
                      <a:pt x="5" y="174"/>
                    </a:cubicBezTo>
                    <a:cubicBezTo>
                      <a:pt x="12" y="174"/>
                      <a:pt x="20" y="172"/>
                      <a:pt x="26" y="167"/>
                    </a:cubicBezTo>
                    <a:cubicBezTo>
                      <a:pt x="34" y="162"/>
                      <a:pt x="40" y="154"/>
                      <a:pt x="45" y="146"/>
                    </a:cubicBezTo>
                    <a:cubicBezTo>
                      <a:pt x="64" y="119"/>
                      <a:pt x="75" y="86"/>
                      <a:pt x="77" y="52"/>
                    </a:cubicBezTo>
                    <a:cubicBezTo>
                      <a:pt x="77" y="48"/>
                      <a:pt x="78" y="36"/>
                      <a:pt x="78" y="25"/>
                    </a:cubicBezTo>
                    <a:cubicBezTo>
                      <a:pt x="78" y="15"/>
                      <a:pt x="78" y="6"/>
                      <a:pt x="7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88">
                <a:extLst>
                  <a:ext uri="{FF2B5EF4-FFF2-40B4-BE49-F238E27FC236}">
                    <a16:creationId xmlns:a16="http://schemas.microsoft.com/office/drawing/2014/main" id="{AAF1A120-5500-4CA8-BEB6-814B58A288C5}"/>
                  </a:ext>
                </a:extLst>
              </p:cNvPr>
              <p:cNvSpPr>
                <a:spLocks/>
              </p:cNvSpPr>
              <p:nvPr/>
            </p:nvSpPr>
            <p:spPr bwMode="auto">
              <a:xfrm>
                <a:off x="7684" y="2183"/>
                <a:ext cx="280" cy="133"/>
              </a:xfrm>
              <a:custGeom>
                <a:avLst/>
                <a:gdLst>
                  <a:gd name="T0" fmla="*/ 118 w 118"/>
                  <a:gd name="T1" fmla="*/ 0 h 56"/>
                  <a:gd name="T2" fmla="*/ 104 w 118"/>
                  <a:gd name="T3" fmla="*/ 14 h 56"/>
                  <a:gd name="T4" fmla="*/ 87 w 118"/>
                  <a:gd name="T5" fmla="*/ 26 h 56"/>
                  <a:gd name="T6" fmla="*/ 64 w 118"/>
                  <a:gd name="T7" fmla="*/ 39 h 56"/>
                  <a:gd name="T8" fmla="*/ 40 w 118"/>
                  <a:gd name="T9" fmla="*/ 49 h 56"/>
                  <a:gd name="T10" fmla="*/ 19 w 118"/>
                  <a:gd name="T11" fmla="*/ 54 h 56"/>
                  <a:gd name="T12" fmla="*/ 0 w 118"/>
                  <a:gd name="T13" fmla="*/ 56 h 56"/>
                  <a:gd name="T14" fmla="*/ 1 w 118"/>
                  <a:gd name="T15" fmla="*/ 56 h 56"/>
                  <a:gd name="T16" fmla="*/ 5 w 118"/>
                  <a:gd name="T17" fmla="*/ 55 h 56"/>
                  <a:gd name="T18" fmla="*/ 19 w 118"/>
                  <a:gd name="T19" fmla="*/ 53 h 56"/>
                  <a:gd name="T20" fmla="*/ 40 w 118"/>
                  <a:gd name="T21" fmla="*/ 48 h 56"/>
                  <a:gd name="T22" fmla="*/ 64 w 118"/>
                  <a:gd name="T23" fmla="*/ 38 h 56"/>
                  <a:gd name="T24" fmla="*/ 86 w 118"/>
                  <a:gd name="T25" fmla="*/ 26 h 56"/>
                  <a:gd name="T26" fmla="*/ 104 w 118"/>
                  <a:gd name="T27" fmla="*/ 13 h 56"/>
                  <a:gd name="T28" fmla="*/ 114 w 118"/>
                  <a:gd name="T29" fmla="*/ 4 h 56"/>
                  <a:gd name="T30" fmla="*/ 117 w 118"/>
                  <a:gd name="T31" fmla="*/ 1 h 56"/>
                  <a:gd name="T32" fmla="*/ 118 w 118"/>
                  <a:gd name="T3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8" h="56">
                    <a:moveTo>
                      <a:pt x="118" y="0"/>
                    </a:moveTo>
                    <a:cubicBezTo>
                      <a:pt x="118" y="0"/>
                      <a:pt x="113" y="6"/>
                      <a:pt x="104" y="14"/>
                    </a:cubicBezTo>
                    <a:cubicBezTo>
                      <a:pt x="99" y="18"/>
                      <a:pt x="94" y="22"/>
                      <a:pt x="87" y="26"/>
                    </a:cubicBezTo>
                    <a:cubicBezTo>
                      <a:pt x="80" y="31"/>
                      <a:pt x="72" y="35"/>
                      <a:pt x="64" y="39"/>
                    </a:cubicBezTo>
                    <a:cubicBezTo>
                      <a:pt x="56" y="43"/>
                      <a:pt x="48" y="46"/>
                      <a:pt x="40" y="49"/>
                    </a:cubicBezTo>
                    <a:cubicBezTo>
                      <a:pt x="32" y="51"/>
                      <a:pt x="25" y="53"/>
                      <a:pt x="19" y="54"/>
                    </a:cubicBezTo>
                    <a:cubicBezTo>
                      <a:pt x="7" y="56"/>
                      <a:pt x="0" y="56"/>
                      <a:pt x="0" y="56"/>
                    </a:cubicBezTo>
                    <a:cubicBezTo>
                      <a:pt x="0" y="56"/>
                      <a:pt x="0" y="56"/>
                      <a:pt x="1" y="56"/>
                    </a:cubicBezTo>
                    <a:cubicBezTo>
                      <a:pt x="2" y="56"/>
                      <a:pt x="4" y="56"/>
                      <a:pt x="5" y="55"/>
                    </a:cubicBezTo>
                    <a:cubicBezTo>
                      <a:pt x="8" y="55"/>
                      <a:pt x="13" y="54"/>
                      <a:pt x="19" y="53"/>
                    </a:cubicBezTo>
                    <a:cubicBezTo>
                      <a:pt x="25" y="52"/>
                      <a:pt x="32" y="50"/>
                      <a:pt x="40" y="48"/>
                    </a:cubicBezTo>
                    <a:cubicBezTo>
                      <a:pt x="47" y="45"/>
                      <a:pt x="55" y="42"/>
                      <a:pt x="64" y="38"/>
                    </a:cubicBezTo>
                    <a:cubicBezTo>
                      <a:pt x="72" y="34"/>
                      <a:pt x="80" y="30"/>
                      <a:pt x="86" y="26"/>
                    </a:cubicBezTo>
                    <a:cubicBezTo>
                      <a:pt x="93" y="21"/>
                      <a:pt x="99" y="17"/>
                      <a:pt x="104" y="13"/>
                    </a:cubicBezTo>
                    <a:cubicBezTo>
                      <a:pt x="108" y="9"/>
                      <a:pt x="112" y="6"/>
                      <a:pt x="114" y="4"/>
                    </a:cubicBezTo>
                    <a:cubicBezTo>
                      <a:pt x="115" y="3"/>
                      <a:pt x="116" y="2"/>
                      <a:pt x="117" y="1"/>
                    </a:cubicBezTo>
                    <a:cubicBezTo>
                      <a:pt x="118" y="0"/>
                      <a:pt x="118" y="0"/>
                      <a:pt x="11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89">
                <a:extLst>
                  <a:ext uri="{FF2B5EF4-FFF2-40B4-BE49-F238E27FC236}">
                    <a16:creationId xmlns:a16="http://schemas.microsoft.com/office/drawing/2014/main" id="{FCA8555A-382A-498F-AD20-06DA0D1AC3E9}"/>
                  </a:ext>
                </a:extLst>
              </p:cNvPr>
              <p:cNvSpPr>
                <a:spLocks/>
              </p:cNvSpPr>
              <p:nvPr/>
            </p:nvSpPr>
            <p:spPr bwMode="auto">
              <a:xfrm>
                <a:off x="7689" y="1907"/>
                <a:ext cx="182" cy="62"/>
              </a:xfrm>
              <a:custGeom>
                <a:avLst/>
                <a:gdLst>
                  <a:gd name="T0" fmla="*/ 77 w 77"/>
                  <a:gd name="T1" fmla="*/ 26 h 26"/>
                  <a:gd name="T2" fmla="*/ 76 w 77"/>
                  <a:gd name="T3" fmla="*/ 26 h 26"/>
                  <a:gd name="T4" fmla="*/ 74 w 77"/>
                  <a:gd name="T5" fmla="*/ 25 h 26"/>
                  <a:gd name="T6" fmla="*/ 66 w 77"/>
                  <a:gd name="T7" fmla="*/ 22 h 26"/>
                  <a:gd name="T8" fmla="*/ 39 w 77"/>
                  <a:gd name="T9" fmla="*/ 12 h 26"/>
                  <a:gd name="T10" fmla="*/ 12 w 77"/>
                  <a:gd name="T11" fmla="*/ 3 h 26"/>
                  <a:gd name="T12" fmla="*/ 3 w 77"/>
                  <a:gd name="T13" fmla="*/ 1 h 26"/>
                  <a:gd name="T14" fmla="*/ 1 w 77"/>
                  <a:gd name="T15" fmla="*/ 0 h 26"/>
                  <a:gd name="T16" fmla="*/ 0 w 77"/>
                  <a:gd name="T17" fmla="*/ 0 h 26"/>
                  <a:gd name="T18" fmla="*/ 1 w 77"/>
                  <a:gd name="T19" fmla="*/ 0 h 26"/>
                  <a:gd name="T20" fmla="*/ 3 w 77"/>
                  <a:gd name="T21" fmla="*/ 0 h 26"/>
                  <a:gd name="T22" fmla="*/ 12 w 77"/>
                  <a:gd name="T23" fmla="*/ 3 h 26"/>
                  <a:gd name="T24" fmla="*/ 39 w 77"/>
                  <a:gd name="T25" fmla="*/ 11 h 26"/>
                  <a:gd name="T26" fmla="*/ 66 w 77"/>
                  <a:gd name="T27" fmla="*/ 22 h 26"/>
                  <a:gd name="T28" fmla="*/ 74 w 77"/>
                  <a:gd name="T29" fmla="*/ 25 h 26"/>
                  <a:gd name="T30" fmla="*/ 76 w 77"/>
                  <a:gd name="T31" fmla="*/ 26 h 26"/>
                  <a:gd name="T32" fmla="*/ 77 w 77"/>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26">
                    <a:moveTo>
                      <a:pt x="77" y="26"/>
                    </a:moveTo>
                    <a:cubicBezTo>
                      <a:pt x="77" y="26"/>
                      <a:pt x="77" y="26"/>
                      <a:pt x="76" y="26"/>
                    </a:cubicBezTo>
                    <a:cubicBezTo>
                      <a:pt x="75" y="25"/>
                      <a:pt x="75" y="25"/>
                      <a:pt x="74" y="25"/>
                    </a:cubicBezTo>
                    <a:cubicBezTo>
                      <a:pt x="72" y="24"/>
                      <a:pt x="69" y="23"/>
                      <a:pt x="66" y="22"/>
                    </a:cubicBezTo>
                    <a:cubicBezTo>
                      <a:pt x="58" y="19"/>
                      <a:pt x="49" y="16"/>
                      <a:pt x="39" y="12"/>
                    </a:cubicBezTo>
                    <a:cubicBezTo>
                      <a:pt x="28" y="8"/>
                      <a:pt x="19" y="5"/>
                      <a:pt x="12" y="3"/>
                    </a:cubicBezTo>
                    <a:cubicBezTo>
                      <a:pt x="9" y="2"/>
                      <a:pt x="6" y="1"/>
                      <a:pt x="3" y="1"/>
                    </a:cubicBezTo>
                    <a:cubicBezTo>
                      <a:pt x="3" y="1"/>
                      <a:pt x="2" y="0"/>
                      <a:pt x="1" y="0"/>
                    </a:cubicBezTo>
                    <a:cubicBezTo>
                      <a:pt x="1" y="0"/>
                      <a:pt x="0" y="0"/>
                      <a:pt x="0" y="0"/>
                    </a:cubicBezTo>
                    <a:cubicBezTo>
                      <a:pt x="0" y="0"/>
                      <a:pt x="1" y="0"/>
                      <a:pt x="1" y="0"/>
                    </a:cubicBezTo>
                    <a:cubicBezTo>
                      <a:pt x="2" y="0"/>
                      <a:pt x="3" y="0"/>
                      <a:pt x="3" y="0"/>
                    </a:cubicBezTo>
                    <a:cubicBezTo>
                      <a:pt x="5" y="1"/>
                      <a:pt x="8" y="2"/>
                      <a:pt x="12" y="3"/>
                    </a:cubicBezTo>
                    <a:cubicBezTo>
                      <a:pt x="19" y="4"/>
                      <a:pt x="29" y="7"/>
                      <a:pt x="39" y="11"/>
                    </a:cubicBezTo>
                    <a:cubicBezTo>
                      <a:pt x="50" y="15"/>
                      <a:pt x="59" y="19"/>
                      <a:pt x="66" y="22"/>
                    </a:cubicBezTo>
                    <a:cubicBezTo>
                      <a:pt x="69" y="23"/>
                      <a:pt x="72" y="24"/>
                      <a:pt x="74" y="25"/>
                    </a:cubicBezTo>
                    <a:cubicBezTo>
                      <a:pt x="75" y="25"/>
                      <a:pt x="76" y="25"/>
                      <a:pt x="76" y="26"/>
                    </a:cubicBezTo>
                    <a:cubicBezTo>
                      <a:pt x="77" y="26"/>
                      <a:pt x="77" y="26"/>
                      <a:pt x="77"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90">
                <a:extLst>
                  <a:ext uri="{FF2B5EF4-FFF2-40B4-BE49-F238E27FC236}">
                    <a16:creationId xmlns:a16="http://schemas.microsoft.com/office/drawing/2014/main" id="{8F7B5AFE-7EF1-4226-AE14-9F393C054AE9}"/>
                  </a:ext>
                </a:extLst>
              </p:cNvPr>
              <p:cNvSpPr>
                <a:spLocks/>
              </p:cNvSpPr>
              <p:nvPr/>
            </p:nvSpPr>
            <p:spPr bwMode="auto">
              <a:xfrm>
                <a:off x="7691" y="1605"/>
                <a:ext cx="244" cy="364"/>
              </a:xfrm>
              <a:custGeom>
                <a:avLst/>
                <a:gdLst>
                  <a:gd name="T0" fmla="*/ 76 w 103"/>
                  <a:gd name="T1" fmla="*/ 153 h 153"/>
                  <a:gd name="T2" fmla="*/ 77 w 103"/>
                  <a:gd name="T3" fmla="*/ 150 h 153"/>
                  <a:gd name="T4" fmla="*/ 80 w 103"/>
                  <a:gd name="T5" fmla="*/ 141 h 153"/>
                  <a:gd name="T6" fmla="*/ 91 w 103"/>
                  <a:gd name="T7" fmla="*/ 108 h 153"/>
                  <a:gd name="T8" fmla="*/ 100 w 103"/>
                  <a:gd name="T9" fmla="*/ 57 h 153"/>
                  <a:gd name="T10" fmla="*/ 99 w 103"/>
                  <a:gd name="T11" fmla="*/ 27 h 153"/>
                  <a:gd name="T12" fmla="*/ 91 w 103"/>
                  <a:gd name="T13" fmla="*/ 13 h 153"/>
                  <a:gd name="T14" fmla="*/ 85 w 103"/>
                  <a:gd name="T15" fmla="*/ 8 h 153"/>
                  <a:gd name="T16" fmla="*/ 78 w 103"/>
                  <a:gd name="T17" fmla="*/ 3 h 153"/>
                  <a:gd name="T18" fmla="*/ 62 w 103"/>
                  <a:gd name="T19" fmla="*/ 1 h 153"/>
                  <a:gd name="T20" fmla="*/ 48 w 103"/>
                  <a:gd name="T21" fmla="*/ 7 h 153"/>
                  <a:gd name="T22" fmla="*/ 31 w 103"/>
                  <a:gd name="T23" fmla="*/ 32 h 153"/>
                  <a:gd name="T24" fmla="*/ 15 w 103"/>
                  <a:gd name="T25" fmla="*/ 81 h 153"/>
                  <a:gd name="T26" fmla="*/ 4 w 103"/>
                  <a:gd name="T27" fmla="*/ 114 h 153"/>
                  <a:gd name="T28" fmla="*/ 1 w 103"/>
                  <a:gd name="T29" fmla="*/ 123 h 153"/>
                  <a:gd name="T30" fmla="*/ 0 w 103"/>
                  <a:gd name="T31" fmla="*/ 126 h 153"/>
                  <a:gd name="T32" fmla="*/ 1 w 103"/>
                  <a:gd name="T33" fmla="*/ 123 h 153"/>
                  <a:gd name="T34" fmla="*/ 4 w 103"/>
                  <a:gd name="T35" fmla="*/ 114 h 153"/>
                  <a:gd name="T36" fmla="*/ 15 w 103"/>
                  <a:gd name="T37" fmla="*/ 81 h 153"/>
                  <a:gd name="T38" fmla="*/ 31 w 103"/>
                  <a:gd name="T39" fmla="*/ 32 h 153"/>
                  <a:gd name="T40" fmla="*/ 37 w 103"/>
                  <a:gd name="T41" fmla="*/ 18 h 153"/>
                  <a:gd name="T42" fmla="*/ 47 w 103"/>
                  <a:gd name="T43" fmla="*/ 7 h 153"/>
                  <a:gd name="T44" fmla="*/ 62 w 103"/>
                  <a:gd name="T45" fmla="*/ 1 h 153"/>
                  <a:gd name="T46" fmla="*/ 79 w 103"/>
                  <a:gd name="T47" fmla="*/ 2 h 153"/>
                  <a:gd name="T48" fmla="*/ 86 w 103"/>
                  <a:gd name="T49" fmla="*/ 7 h 153"/>
                  <a:gd name="T50" fmla="*/ 92 w 103"/>
                  <a:gd name="T51" fmla="*/ 13 h 153"/>
                  <a:gd name="T52" fmla="*/ 100 w 103"/>
                  <a:gd name="T53" fmla="*/ 27 h 153"/>
                  <a:gd name="T54" fmla="*/ 101 w 103"/>
                  <a:gd name="T55" fmla="*/ 57 h 153"/>
                  <a:gd name="T56" fmla="*/ 91 w 103"/>
                  <a:gd name="T57" fmla="*/ 108 h 153"/>
                  <a:gd name="T58" fmla="*/ 81 w 103"/>
                  <a:gd name="T59" fmla="*/ 141 h 153"/>
                  <a:gd name="T60" fmla="*/ 76 w 103"/>
                  <a:gd name="T61"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53">
                    <a:moveTo>
                      <a:pt x="76" y="153"/>
                    </a:moveTo>
                    <a:cubicBezTo>
                      <a:pt x="76" y="153"/>
                      <a:pt x="76" y="152"/>
                      <a:pt x="77" y="150"/>
                    </a:cubicBezTo>
                    <a:cubicBezTo>
                      <a:pt x="78" y="148"/>
                      <a:pt x="79" y="145"/>
                      <a:pt x="80" y="141"/>
                    </a:cubicBezTo>
                    <a:cubicBezTo>
                      <a:pt x="83" y="133"/>
                      <a:pt x="87" y="122"/>
                      <a:pt x="91" y="108"/>
                    </a:cubicBezTo>
                    <a:cubicBezTo>
                      <a:pt x="95" y="94"/>
                      <a:pt x="97" y="76"/>
                      <a:pt x="100" y="57"/>
                    </a:cubicBezTo>
                    <a:cubicBezTo>
                      <a:pt x="102" y="48"/>
                      <a:pt x="102" y="37"/>
                      <a:pt x="99" y="27"/>
                    </a:cubicBezTo>
                    <a:cubicBezTo>
                      <a:pt x="97" y="22"/>
                      <a:pt x="95" y="18"/>
                      <a:pt x="91" y="13"/>
                    </a:cubicBezTo>
                    <a:cubicBezTo>
                      <a:pt x="89" y="11"/>
                      <a:pt x="87" y="10"/>
                      <a:pt x="85" y="8"/>
                    </a:cubicBezTo>
                    <a:cubicBezTo>
                      <a:pt x="83" y="6"/>
                      <a:pt x="81" y="4"/>
                      <a:pt x="78" y="3"/>
                    </a:cubicBezTo>
                    <a:cubicBezTo>
                      <a:pt x="73" y="1"/>
                      <a:pt x="68" y="1"/>
                      <a:pt x="62" y="1"/>
                    </a:cubicBezTo>
                    <a:cubicBezTo>
                      <a:pt x="57" y="2"/>
                      <a:pt x="52" y="5"/>
                      <a:pt x="48" y="7"/>
                    </a:cubicBezTo>
                    <a:cubicBezTo>
                      <a:pt x="39" y="13"/>
                      <a:pt x="35" y="23"/>
                      <a:pt x="31" y="32"/>
                    </a:cubicBezTo>
                    <a:cubicBezTo>
                      <a:pt x="25" y="51"/>
                      <a:pt x="20" y="67"/>
                      <a:pt x="15" y="81"/>
                    </a:cubicBezTo>
                    <a:cubicBezTo>
                      <a:pt x="10" y="95"/>
                      <a:pt x="7" y="106"/>
                      <a:pt x="4" y="114"/>
                    </a:cubicBezTo>
                    <a:cubicBezTo>
                      <a:pt x="3" y="118"/>
                      <a:pt x="2" y="121"/>
                      <a:pt x="1" y="123"/>
                    </a:cubicBezTo>
                    <a:cubicBezTo>
                      <a:pt x="0" y="125"/>
                      <a:pt x="0" y="126"/>
                      <a:pt x="0" y="126"/>
                    </a:cubicBezTo>
                    <a:cubicBezTo>
                      <a:pt x="0" y="126"/>
                      <a:pt x="0" y="125"/>
                      <a:pt x="1" y="123"/>
                    </a:cubicBezTo>
                    <a:cubicBezTo>
                      <a:pt x="2" y="121"/>
                      <a:pt x="3" y="118"/>
                      <a:pt x="4" y="114"/>
                    </a:cubicBezTo>
                    <a:cubicBezTo>
                      <a:pt x="6" y="106"/>
                      <a:pt x="10" y="95"/>
                      <a:pt x="15" y="81"/>
                    </a:cubicBezTo>
                    <a:cubicBezTo>
                      <a:pt x="19" y="67"/>
                      <a:pt x="25" y="50"/>
                      <a:pt x="31" y="32"/>
                    </a:cubicBezTo>
                    <a:cubicBezTo>
                      <a:pt x="32" y="27"/>
                      <a:pt x="34" y="23"/>
                      <a:pt x="37" y="18"/>
                    </a:cubicBezTo>
                    <a:cubicBezTo>
                      <a:pt x="39" y="14"/>
                      <a:pt x="43" y="10"/>
                      <a:pt x="47" y="7"/>
                    </a:cubicBezTo>
                    <a:cubicBezTo>
                      <a:pt x="52" y="4"/>
                      <a:pt x="57" y="2"/>
                      <a:pt x="62" y="1"/>
                    </a:cubicBezTo>
                    <a:cubicBezTo>
                      <a:pt x="68" y="0"/>
                      <a:pt x="73" y="0"/>
                      <a:pt x="79" y="2"/>
                    </a:cubicBezTo>
                    <a:cubicBezTo>
                      <a:pt x="81" y="3"/>
                      <a:pt x="84" y="5"/>
                      <a:pt x="86" y="7"/>
                    </a:cubicBezTo>
                    <a:cubicBezTo>
                      <a:pt x="88" y="9"/>
                      <a:pt x="90" y="11"/>
                      <a:pt x="92" y="13"/>
                    </a:cubicBezTo>
                    <a:cubicBezTo>
                      <a:pt x="95" y="17"/>
                      <a:pt x="98" y="22"/>
                      <a:pt x="100" y="27"/>
                    </a:cubicBezTo>
                    <a:cubicBezTo>
                      <a:pt x="103" y="37"/>
                      <a:pt x="102" y="48"/>
                      <a:pt x="101" y="57"/>
                    </a:cubicBezTo>
                    <a:cubicBezTo>
                      <a:pt x="98" y="76"/>
                      <a:pt x="95" y="94"/>
                      <a:pt x="91" y="108"/>
                    </a:cubicBezTo>
                    <a:cubicBezTo>
                      <a:pt x="88" y="122"/>
                      <a:pt x="83" y="133"/>
                      <a:pt x="81" y="141"/>
                    </a:cubicBezTo>
                    <a:cubicBezTo>
                      <a:pt x="78" y="149"/>
                      <a:pt x="76" y="153"/>
                      <a:pt x="76" y="15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91">
                <a:extLst>
                  <a:ext uri="{FF2B5EF4-FFF2-40B4-BE49-F238E27FC236}">
                    <a16:creationId xmlns:a16="http://schemas.microsoft.com/office/drawing/2014/main" id="{A96BEEE9-9A72-4D24-B19F-5E633468EED7}"/>
                  </a:ext>
                </a:extLst>
              </p:cNvPr>
              <p:cNvSpPr>
                <a:spLocks/>
              </p:cNvSpPr>
              <p:nvPr/>
            </p:nvSpPr>
            <p:spPr bwMode="auto">
              <a:xfrm>
                <a:off x="7791" y="2513"/>
                <a:ext cx="441" cy="1218"/>
              </a:xfrm>
              <a:custGeom>
                <a:avLst/>
                <a:gdLst>
                  <a:gd name="T0" fmla="*/ 68 w 186"/>
                  <a:gd name="T1" fmla="*/ 0 h 513"/>
                  <a:gd name="T2" fmla="*/ 71 w 186"/>
                  <a:gd name="T3" fmla="*/ 232 h 513"/>
                  <a:gd name="T4" fmla="*/ 76 w 186"/>
                  <a:gd name="T5" fmla="*/ 280 h 513"/>
                  <a:gd name="T6" fmla="*/ 100 w 186"/>
                  <a:gd name="T7" fmla="*/ 347 h 513"/>
                  <a:gd name="T8" fmla="*/ 186 w 186"/>
                  <a:gd name="T9" fmla="*/ 448 h 513"/>
                  <a:gd name="T10" fmla="*/ 130 w 186"/>
                  <a:gd name="T11" fmla="*/ 513 h 513"/>
                  <a:gd name="T12" fmla="*/ 3 w 186"/>
                  <a:gd name="T13" fmla="*/ 332 h 513"/>
                  <a:gd name="T14" fmla="*/ 3 w 186"/>
                  <a:gd name="T15" fmla="*/ 22 h 513"/>
                  <a:gd name="T16" fmla="*/ 68 w 186"/>
                  <a:gd name="T17"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13">
                    <a:moveTo>
                      <a:pt x="68" y="0"/>
                    </a:moveTo>
                    <a:cubicBezTo>
                      <a:pt x="71" y="232"/>
                      <a:pt x="71" y="232"/>
                      <a:pt x="71" y="232"/>
                    </a:cubicBezTo>
                    <a:cubicBezTo>
                      <a:pt x="71" y="248"/>
                      <a:pt x="73" y="264"/>
                      <a:pt x="76" y="280"/>
                    </a:cubicBezTo>
                    <a:cubicBezTo>
                      <a:pt x="80" y="302"/>
                      <a:pt x="88" y="330"/>
                      <a:pt x="100" y="347"/>
                    </a:cubicBezTo>
                    <a:cubicBezTo>
                      <a:pt x="119" y="373"/>
                      <a:pt x="186" y="448"/>
                      <a:pt x="186" y="448"/>
                    </a:cubicBezTo>
                    <a:cubicBezTo>
                      <a:pt x="130" y="513"/>
                      <a:pt x="130" y="513"/>
                      <a:pt x="130" y="513"/>
                    </a:cubicBezTo>
                    <a:cubicBezTo>
                      <a:pt x="130" y="513"/>
                      <a:pt x="11" y="419"/>
                      <a:pt x="3" y="332"/>
                    </a:cubicBezTo>
                    <a:cubicBezTo>
                      <a:pt x="0" y="287"/>
                      <a:pt x="3" y="22"/>
                      <a:pt x="3" y="22"/>
                    </a:cubicBezTo>
                    <a:lnTo>
                      <a:pt x="68"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92">
                <a:extLst>
                  <a:ext uri="{FF2B5EF4-FFF2-40B4-BE49-F238E27FC236}">
                    <a16:creationId xmlns:a16="http://schemas.microsoft.com/office/drawing/2014/main" id="{8E4E21C9-423C-466C-B2B4-4C333E25B56F}"/>
                  </a:ext>
                </a:extLst>
              </p:cNvPr>
              <p:cNvSpPr>
                <a:spLocks/>
              </p:cNvSpPr>
              <p:nvPr/>
            </p:nvSpPr>
            <p:spPr bwMode="auto">
              <a:xfrm>
                <a:off x="7639" y="2363"/>
                <a:ext cx="349" cy="1444"/>
              </a:xfrm>
              <a:custGeom>
                <a:avLst/>
                <a:gdLst>
                  <a:gd name="T0" fmla="*/ 1 w 147"/>
                  <a:gd name="T1" fmla="*/ 7 h 608"/>
                  <a:gd name="T2" fmla="*/ 0 w 147"/>
                  <a:gd name="T3" fmla="*/ 608 h 608"/>
                  <a:gd name="T4" fmla="*/ 92 w 147"/>
                  <a:gd name="T5" fmla="*/ 608 h 608"/>
                  <a:gd name="T6" fmla="*/ 109 w 147"/>
                  <a:gd name="T7" fmla="*/ 85 h 608"/>
                  <a:gd name="T8" fmla="*/ 140 w 147"/>
                  <a:gd name="T9" fmla="*/ 44 h 608"/>
                  <a:gd name="T10" fmla="*/ 144 w 147"/>
                  <a:gd name="T11" fmla="*/ 0 h 608"/>
                  <a:gd name="T12" fmla="*/ 1 w 147"/>
                  <a:gd name="T13" fmla="*/ 7 h 608"/>
                </a:gdLst>
                <a:ahLst/>
                <a:cxnLst>
                  <a:cxn ang="0">
                    <a:pos x="T0" y="T1"/>
                  </a:cxn>
                  <a:cxn ang="0">
                    <a:pos x="T2" y="T3"/>
                  </a:cxn>
                  <a:cxn ang="0">
                    <a:pos x="T4" y="T5"/>
                  </a:cxn>
                  <a:cxn ang="0">
                    <a:pos x="T6" y="T7"/>
                  </a:cxn>
                  <a:cxn ang="0">
                    <a:pos x="T8" y="T9"/>
                  </a:cxn>
                  <a:cxn ang="0">
                    <a:pos x="T10" y="T11"/>
                  </a:cxn>
                  <a:cxn ang="0">
                    <a:pos x="T12" y="T13"/>
                  </a:cxn>
                </a:cxnLst>
                <a:rect l="0" t="0" r="r" b="b"/>
                <a:pathLst>
                  <a:path w="147" h="608">
                    <a:moveTo>
                      <a:pt x="1" y="7"/>
                    </a:moveTo>
                    <a:cubicBezTo>
                      <a:pt x="0" y="608"/>
                      <a:pt x="0" y="608"/>
                      <a:pt x="0" y="608"/>
                    </a:cubicBezTo>
                    <a:cubicBezTo>
                      <a:pt x="92" y="608"/>
                      <a:pt x="92" y="608"/>
                      <a:pt x="92" y="608"/>
                    </a:cubicBezTo>
                    <a:cubicBezTo>
                      <a:pt x="109" y="85"/>
                      <a:pt x="109" y="85"/>
                      <a:pt x="109" y="85"/>
                    </a:cubicBezTo>
                    <a:cubicBezTo>
                      <a:pt x="109" y="85"/>
                      <a:pt x="135" y="67"/>
                      <a:pt x="140" y="44"/>
                    </a:cubicBezTo>
                    <a:cubicBezTo>
                      <a:pt x="147" y="14"/>
                      <a:pt x="144" y="0"/>
                      <a:pt x="144" y="0"/>
                    </a:cubicBezTo>
                    <a:lnTo>
                      <a:pt x="1" y="7"/>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Rectangle 193">
                <a:extLst>
                  <a:ext uri="{FF2B5EF4-FFF2-40B4-BE49-F238E27FC236}">
                    <a16:creationId xmlns:a16="http://schemas.microsoft.com/office/drawing/2014/main" id="{23EB69A2-AB96-4B82-97D4-37D3124BC6F9}"/>
                  </a:ext>
                </a:extLst>
              </p:cNvPr>
              <p:cNvSpPr>
                <a:spLocks noChangeArrowheads="1"/>
              </p:cNvSpPr>
              <p:nvPr/>
            </p:nvSpPr>
            <p:spPr bwMode="auto">
              <a:xfrm>
                <a:off x="7627" y="3774"/>
                <a:ext cx="240" cy="33"/>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94">
                <a:extLst>
                  <a:ext uri="{FF2B5EF4-FFF2-40B4-BE49-F238E27FC236}">
                    <a16:creationId xmlns:a16="http://schemas.microsoft.com/office/drawing/2014/main" id="{D8ABBD8D-655E-439F-9701-35C658749EFA}"/>
                  </a:ext>
                </a:extLst>
              </p:cNvPr>
              <p:cNvSpPr>
                <a:spLocks/>
              </p:cNvSpPr>
              <p:nvPr/>
            </p:nvSpPr>
            <p:spPr bwMode="auto">
              <a:xfrm>
                <a:off x="8061" y="3543"/>
                <a:ext cx="190" cy="198"/>
              </a:xfrm>
              <a:custGeom>
                <a:avLst/>
                <a:gdLst>
                  <a:gd name="T0" fmla="*/ 190 w 190"/>
                  <a:gd name="T1" fmla="*/ 24 h 198"/>
                  <a:gd name="T2" fmla="*/ 26 w 190"/>
                  <a:gd name="T3" fmla="*/ 198 h 198"/>
                  <a:gd name="T4" fmla="*/ 0 w 190"/>
                  <a:gd name="T5" fmla="*/ 174 h 198"/>
                  <a:gd name="T6" fmla="*/ 166 w 190"/>
                  <a:gd name="T7" fmla="*/ 0 h 198"/>
                  <a:gd name="T8" fmla="*/ 190 w 190"/>
                  <a:gd name="T9" fmla="*/ 24 h 198"/>
                </a:gdLst>
                <a:ahLst/>
                <a:cxnLst>
                  <a:cxn ang="0">
                    <a:pos x="T0" y="T1"/>
                  </a:cxn>
                  <a:cxn ang="0">
                    <a:pos x="T2" y="T3"/>
                  </a:cxn>
                  <a:cxn ang="0">
                    <a:pos x="T4" y="T5"/>
                  </a:cxn>
                  <a:cxn ang="0">
                    <a:pos x="T6" y="T7"/>
                  </a:cxn>
                  <a:cxn ang="0">
                    <a:pos x="T8" y="T9"/>
                  </a:cxn>
                </a:cxnLst>
                <a:rect l="0" t="0" r="r" b="b"/>
                <a:pathLst>
                  <a:path w="190" h="198">
                    <a:moveTo>
                      <a:pt x="190" y="24"/>
                    </a:moveTo>
                    <a:lnTo>
                      <a:pt x="26" y="198"/>
                    </a:lnTo>
                    <a:lnTo>
                      <a:pt x="0" y="174"/>
                    </a:lnTo>
                    <a:lnTo>
                      <a:pt x="166" y="0"/>
                    </a:lnTo>
                    <a:lnTo>
                      <a:pt x="190" y="24"/>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95">
                <a:extLst>
                  <a:ext uri="{FF2B5EF4-FFF2-40B4-BE49-F238E27FC236}">
                    <a16:creationId xmlns:a16="http://schemas.microsoft.com/office/drawing/2014/main" id="{14803AC4-A8E9-4CAA-B9D6-1A49BB4042A9}"/>
                  </a:ext>
                </a:extLst>
              </p:cNvPr>
              <p:cNvSpPr>
                <a:spLocks/>
              </p:cNvSpPr>
              <p:nvPr/>
            </p:nvSpPr>
            <p:spPr bwMode="auto">
              <a:xfrm>
                <a:off x="8073" y="3558"/>
                <a:ext cx="145" cy="149"/>
              </a:xfrm>
              <a:custGeom>
                <a:avLst/>
                <a:gdLst>
                  <a:gd name="T0" fmla="*/ 61 w 61"/>
                  <a:gd name="T1" fmla="*/ 0 h 63"/>
                  <a:gd name="T2" fmla="*/ 60 w 61"/>
                  <a:gd name="T3" fmla="*/ 0 h 63"/>
                  <a:gd name="T4" fmla="*/ 58 w 61"/>
                  <a:gd name="T5" fmla="*/ 2 h 63"/>
                  <a:gd name="T6" fmla="*/ 52 w 61"/>
                  <a:gd name="T7" fmla="*/ 9 h 63"/>
                  <a:gd name="T8" fmla="*/ 31 w 61"/>
                  <a:gd name="T9" fmla="*/ 32 h 63"/>
                  <a:gd name="T10" fmla="*/ 9 w 61"/>
                  <a:gd name="T11" fmla="*/ 54 h 63"/>
                  <a:gd name="T12" fmla="*/ 2 w 61"/>
                  <a:gd name="T13" fmla="*/ 61 h 63"/>
                  <a:gd name="T14" fmla="*/ 0 w 61"/>
                  <a:gd name="T15" fmla="*/ 62 h 63"/>
                  <a:gd name="T16" fmla="*/ 0 w 61"/>
                  <a:gd name="T17" fmla="*/ 63 h 63"/>
                  <a:gd name="T18" fmla="*/ 0 w 61"/>
                  <a:gd name="T19" fmla="*/ 62 h 63"/>
                  <a:gd name="T20" fmla="*/ 2 w 61"/>
                  <a:gd name="T21" fmla="*/ 60 h 63"/>
                  <a:gd name="T22" fmla="*/ 9 w 61"/>
                  <a:gd name="T23" fmla="*/ 54 h 63"/>
                  <a:gd name="T24" fmla="*/ 30 w 61"/>
                  <a:gd name="T25" fmla="*/ 31 h 63"/>
                  <a:gd name="T26" fmla="*/ 52 w 61"/>
                  <a:gd name="T27" fmla="*/ 9 h 63"/>
                  <a:gd name="T28" fmla="*/ 58 w 61"/>
                  <a:gd name="T29" fmla="*/ 2 h 63"/>
                  <a:gd name="T30" fmla="*/ 60 w 61"/>
                  <a:gd name="T31" fmla="*/ 0 h 63"/>
                  <a:gd name="T32" fmla="*/ 61 w 61"/>
                  <a:gd name="T3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63">
                    <a:moveTo>
                      <a:pt x="61" y="0"/>
                    </a:moveTo>
                    <a:cubicBezTo>
                      <a:pt x="61" y="0"/>
                      <a:pt x="61" y="0"/>
                      <a:pt x="60" y="0"/>
                    </a:cubicBezTo>
                    <a:cubicBezTo>
                      <a:pt x="60" y="1"/>
                      <a:pt x="59" y="2"/>
                      <a:pt x="58" y="2"/>
                    </a:cubicBezTo>
                    <a:cubicBezTo>
                      <a:pt x="57" y="4"/>
                      <a:pt x="54" y="6"/>
                      <a:pt x="52" y="9"/>
                    </a:cubicBezTo>
                    <a:cubicBezTo>
                      <a:pt x="47" y="15"/>
                      <a:pt x="39" y="23"/>
                      <a:pt x="31" y="32"/>
                    </a:cubicBezTo>
                    <a:cubicBezTo>
                      <a:pt x="23" y="40"/>
                      <a:pt x="15" y="48"/>
                      <a:pt x="9" y="54"/>
                    </a:cubicBezTo>
                    <a:cubicBezTo>
                      <a:pt x="6" y="56"/>
                      <a:pt x="4" y="59"/>
                      <a:pt x="2" y="61"/>
                    </a:cubicBezTo>
                    <a:cubicBezTo>
                      <a:pt x="2" y="61"/>
                      <a:pt x="1" y="62"/>
                      <a:pt x="0" y="62"/>
                    </a:cubicBezTo>
                    <a:cubicBezTo>
                      <a:pt x="0" y="63"/>
                      <a:pt x="0" y="63"/>
                      <a:pt x="0" y="63"/>
                    </a:cubicBezTo>
                    <a:cubicBezTo>
                      <a:pt x="0" y="63"/>
                      <a:pt x="0" y="63"/>
                      <a:pt x="0" y="62"/>
                    </a:cubicBezTo>
                    <a:cubicBezTo>
                      <a:pt x="1" y="62"/>
                      <a:pt x="1" y="61"/>
                      <a:pt x="2" y="60"/>
                    </a:cubicBezTo>
                    <a:cubicBezTo>
                      <a:pt x="4" y="58"/>
                      <a:pt x="6" y="56"/>
                      <a:pt x="9" y="54"/>
                    </a:cubicBezTo>
                    <a:cubicBezTo>
                      <a:pt x="15" y="47"/>
                      <a:pt x="22" y="40"/>
                      <a:pt x="30" y="31"/>
                    </a:cubicBezTo>
                    <a:cubicBezTo>
                      <a:pt x="38" y="23"/>
                      <a:pt x="46" y="15"/>
                      <a:pt x="52" y="9"/>
                    </a:cubicBezTo>
                    <a:cubicBezTo>
                      <a:pt x="54" y="6"/>
                      <a:pt x="57" y="4"/>
                      <a:pt x="58" y="2"/>
                    </a:cubicBezTo>
                    <a:cubicBezTo>
                      <a:pt x="59" y="1"/>
                      <a:pt x="59" y="1"/>
                      <a:pt x="60" y="0"/>
                    </a:cubicBezTo>
                    <a:cubicBezTo>
                      <a:pt x="61" y="0"/>
                      <a:pt x="61" y="0"/>
                      <a:pt x="6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96">
                <a:extLst>
                  <a:ext uri="{FF2B5EF4-FFF2-40B4-BE49-F238E27FC236}">
                    <a16:creationId xmlns:a16="http://schemas.microsoft.com/office/drawing/2014/main" id="{E41BC0B4-8412-44E5-90B1-C13A7F81C4BF}"/>
                  </a:ext>
                </a:extLst>
              </p:cNvPr>
              <p:cNvSpPr>
                <a:spLocks/>
              </p:cNvSpPr>
              <p:nvPr/>
            </p:nvSpPr>
            <p:spPr bwMode="auto">
              <a:xfrm>
                <a:off x="7722" y="2370"/>
                <a:ext cx="88" cy="1406"/>
              </a:xfrm>
              <a:custGeom>
                <a:avLst/>
                <a:gdLst>
                  <a:gd name="T0" fmla="*/ 37 w 37"/>
                  <a:gd name="T1" fmla="*/ 0 h 592"/>
                  <a:gd name="T2" fmla="*/ 36 w 37"/>
                  <a:gd name="T3" fmla="*/ 2 h 592"/>
                  <a:gd name="T4" fmla="*/ 35 w 37"/>
                  <a:gd name="T5" fmla="*/ 6 h 592"/>
                  <a:gd name="T6" fmla="*/ 31 w 37"/>
                  <a:gd name="T7" fmla="*/ 12 h 592"/>
                  <a:gd name="T8" fmla="*/ 24 w 37"/>
                  <a:gd name="T9" fmla="*/ 20 h 592"/>
                  <a:gd name="T10" fmla="*/ 16 w 37"/>
                  <a:gd name="T11" fmla="*/ 29 h 592"/>
                  <a:gd name="T12" fmla="*/ 13 w 37"/>
                  <a:gd name="T13" fmla="*/ 43 h 592"/>
                  <a:gd name="T14" fmla="*/ 12 w 37"/>
                  <a:gd name="T15" fmla="*/ 80 h 592"/>
                  <a:gd name="T16" fmla="*/ 10 w 37"/>
                  <a:gd name="T17" fmla="*/ 124 h 592"/>
                  <a:gd name="T18" fmla="*/ 9 w 37"/>
                  <a:gd name="T19" fmla="*/ 175 h 592"/>
                  <a:gd name="T20" fmla="*/ 5 w 37"/>
                  <a:gd name="T21" fmla="*/ 292 h 592"/>
                  <a:gd name="T22" fmla="*/ 2 w 37"/>
                  <a:gd name="T23" fmla="*/ 504 h 592"/>
                  <a:gd name="T24" fmla="*/ 0 w 37"/>
                  <a:gd name="T25" fmla="*/ 592 h 592"/>
                  <a:gd name="T26" fmla="*/ 0 w 37"/>
                  <a:gd name="T27" fmla="*/ 586 h 592"/>
                  <a:gd name="T28" fmla="*/ 0 w 37"/>
                  <a:gd name="T29" fmla="*/ 568 h 592"/>
                  <a:gd name="T30" fmla="*/ 1 w 37"/>
                  <a:gd name="T31" fmla="*/ 504 h 592"/>
                  <a:gd name="T32" fmla="*/ 5 w 37"/>
                  <a:gd name="T33" fmla="*/ 292 h 592"/>
                  <a:gd name="T34" fmla="*/ 8 w 37"/>
                  <a:gd name="T35" fmla="*/ 175 h 592"/>
                  <a:gd name="T36" fmla="*/ 9 w 37"/>
                  <a:gd name="T37" fmla="*/ 124 h 592"/>
                  <a:gd name="T38" fmla="*/ 11 w 37"/>
                  <a:gd name="T39" fmla="*/ 80 h 592"/>
                  <a:gd name="T40" fmla="*/ 12 w 37"/>
                  <a:gd name="T41" fmla="*/ 43 h 592"/>
                  <a:gd name="T42" fmla="*/ 15 w 37"/>
                  <a:gd name="T43" fmla="*/ 29 h 592"/>
                  <a:gd name="T44" fmla="*/ 24 w 37"/>
                  <a:gd name="T45" fmla="*/ 19 h 592"/>
                  <a:gd name="T46" fmla="*/ 31 w 37"/>
                  <a:gd name="T47" fmla="*/ 12 h 592"/>
                  <a:gd name="T48" fmla="*/ 35 w 37"/>
                  <a:gd name="T49" fmla="*/ 6 h 592"/>
                  <a:gd name="T50" fmla="*/ 36 w 37"/>
                  <a:gd name="T51" fmla="*/ 2 h 592"/>
                  <a:gd name="T52" fmla="*/ 37 w 37"/>
                  <a:gd name="T5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92">
                    <a:moveTo>
                      <a:pt x="37" y="0"/>
                    </a:moveTo>
                    <a:cubicBezTo>
                      <a:pt x="37" y="0"/>
                      <a:pt x="37" y="1"/>
                      <a:pt x="36" y="2"/>
                    </a:cubicBezTo>
                    <a:cubicBezTo>
                      <a:pt x="36" y="3"/>
                      <a:pt x="36" y="4"/>
                      <a:pt x="35" y="6"/>
                    </a:cubicBezTo>
                    <a:cubicBezTo>
                      <a:pt x="34" y="8"/>
                      <a:pt x="33" y="10"/>
                      <a:pt x="31" y="12"/>
                    </a:cubicBezTo>
                    <a:cubicBezTo>
                      <a:pt x="29" y="15"/>
                      <a:pt x="27" y="17"/>
                      <a:pt x="24" y="20"/>
                    </a:cubicBezTo>
                    <a:cubicBezTo>
                      <a:pt x="21" y="22"/>
                      <a:pt x="18" y="25"/>
                      <a:pt x="16" y="29"/>
                    </a:cubicBezTo>
                    <a:cubicBezTo>
                      <a:pt x="13" y="33"/>
                      <a:pt x="13" y="38"/>
                      <a:pt x="13" y="43"/>
                    </a:cubicBezTo>
                    <a:cubicBezTo>
                      <a:pt x="12" y="54"/>
                      <a:pt x="12" y="66"/>
                      <a:pt x="12" y="80"/>
                    </a:cubicBezTo>
                    <a:cubicBezTo>
                      <a:pt x="11" y="94"/>
                      <a:pt x="11" y="108"/>
                      <a:pt x="10" y="124"/>
                    </a:cubicBezTo>
                    <a:cubicBezTo>
                      <a:pt x="10" y="140"/>
                      <a:pt x="9" y="157"/>
                      <a:pt x="9" y="175"/>
                    </a:cubicBezTo>
                    <a:cubicBezTo>
                      <a:pt x="8" y="211"/>
                      <a:pt x="6" y="251"/>
                      <a:pt x="5" y="292"/>
                    </a:cubicBezTo>
                    <a:cubicBezTo>
                      <a:pt x="4" y="375"/>
                      <a:pt x="3" y="450"/>
                      <a:pt x="2" y="504"/>
                    </a:cubicBezTo>
                    <a:cubicBezTo>
                      <a:pt x="1" y="557"/>
                      <a:pt x="0" y="586"/>
                      <a:pt x="0" y="592"/>
                    </a:cubicBezTo>
                    <a:cubicBezTo>
                      <a:pt x="0" y="592"/>
                      <a:pt x="0" y="590"/>
                      <a:pt x="0" y="586"/>
                    </a:cubicBezTo>
                    <a:cubicBezTo>
                      <a:pt x="0" y="582"/>
                      <a:pt x="0" y="576"/>
                      <a:pt x="0" y="568"/>
                    </a:cubicBezTo>
                    <a:cubicBezTo>
                      <a:pt x="1" y="553"/>
                      <a:pt x="1" y="531"/>
                      <a:pt x="1" y="504"/>
                    </a:cubicBezTo>
                    <a:cubicBezTo>
                      <a:pt x="2" y="450"/>
                      <a:pt x="3" y="375"/>
                      <a:pt x="5" y="292"/>
                    </a:cubicBezTo>
                    <a:cubicBezTo>
                      <a:pt x="5" y="251"/>
                      <a:pt x="7" y="211"/>
                      <a:pt x="8" y="175"/>
                    </a:cubicBezTo>
                    <a:cubicBezTo>
                      <a:pt x="8" y="157"/>
                      <a:pt x="9" y="140"/>
                      <a:pt x="9" y="124"/>
                    </a:cubicBezTo>
                    <a:cubicBezTo>
                      <a:pt x="10" y="108"/>
                      <a:pt x="10" y="94"/>
                      <a:pt x="11" y="80"/>
                    </a:cubicBezTo>
                    <a:cubicBezTo>
                      <a:pt x="11" y="66"/>
                      <a:pt x="12" y="54"/>
                      <a:pt x="12" y="43"/>
                    </a:cubicBezTo>
                    <a:cubicBezTo>
                      <a:pt x="13" y="38"/>
                      <a:pt x="12" y="33"/>
                      <a:pt x="15" y="29"/>
                    </a:cubicBezTo>
                    <a:cubicBezTo>
                      <a:pt x="18" y="25"/>
                      <a:pt x="21" y="22"/>
                      <a:pt x="24" y="19"/>
                    </a:cubicBezTo>
                    <a:cubicBezTo>
                      <a:pt x="27" y="17"/>
                      <a:pt x="29" y="15"/>
                      <a:pt x="31" y="12"/>
                    </a:cubicBezTo>
                    <a:cubicBezTo>
                      <a:pt x="33" y="10"/>
                      <a:pt x="34" y="8"/>
                      <a:pt x="35" y="6"/>
                    </a:cubicBezTo>
                    <a:cubicBezTo>
                      <a:pt x="36" y="4"/>
                      <a:pt x="36" y="3"/>
                      <a:pt x="36" y="2"/>
                    </a:cubicBezTo>
                    <a:cubicBezTo>
                      <a:pt x="37" y="1"/>
                      <a:pt x="37" y="0"/>
                      <a:pt x="37"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97">
                <a:extLst>
                  <a:ext uri="{FF2B5EF4-FFF2-40B4-BE49-F238E27FC236}">
                    <a16:creationId xmlns:a16="http://schemas.microsoft.com/office/drawing/2014/main" id="{C752A6EF-4BFD-42F9-88EF-F9E0E44F3DAF}"/>
                  </a:ext>
                </a:extLst>
              </p:cNvPr>
              <p:cNvSpPr>
                <a:spLocks/>
              </p:cNvSpPr>
              <p:nvPr/>
            </p:nvSpPr>
            <p:spPr bwMode="auto">
              <a:xfrm>
                <a:off x="7672" y="2380"/>
                <a:ext cx="7" cy="9"/>
              </a:xfrm>
              <a:custGeom>
                <a:avLst/>
                <a:gdLst>
                  <a:gd name="T0" fmla="*/ 2 w 3"/>
                  <a:gd name="T1" fmla="*/ 4 h 4"/>
                  <a:gd name="T2" fmla="*/ 1 w 3"/>
                  <a:gd name="T3" fmla="*/ 2 h 4"/>
                  <a:gd name="T4" fmla="*/ 0 w 3"/>
                  <a:gd name="T5" fmla="*/ 0 h 4"/>
                  <a:gd name="T6" fmla="*/ 2 w 3"/>
                  <a:gd name="T7" fmla="*/ 2 h 4"/>
                  <a:gd name="T8" fmla="*/ 2 w 3"/>
                  <a:gd name="T9" fmla="*/ 4 h 4"/>
                </a:gdLst>
                <a:ahLst/>
                <a:cxnLst>
                  <a:cxn ang="0">
                    <a:pos x="T0" y="T1"/>
                  </a:cxn>
                  <a:cxn ang="0">
                    <a:pos x="T2" y="T3"/>
                  </a:cxn>
                  <a:cxn ang="0">
                    <a:pos x="T4" y="T5"/>
                  </a:cxn>
                  <a:cxn ang="0">
                    <a:pos x="T6" y="T7"/>
                  </a:cxn>
                  <a:cxn ang="0">
                    <a:pos x="T8" y="T9"/>
                  </a:cxn>
                </a:cxnLst>
                <a:rect l="0" t="0" r="r" b="b"/>
                <a:pathLst>
                  <a:path w="3" h="4">
                    <a:moveTo>
                      <a:pt x="2" y="4"/>
                    </a:moveTo>
                    <a:cubicBezTo>
                      <a:pt x="2" y="4"/>
                      <a:pt x="2" y="3"/>
                      <a:pt x="1" y="2"/>
                    </a:cubicBezTo>
                    <a:cubicBezTo>
                      <a:pt x="0" y="1"/>
                      <a:pt x="0" y="0"/>
                      <a:pt x="0" y="0"/>
                    </a:cubicBezTo>
                    <a:cubicBezTo>
                      <a:pt x="1" y="0"/>
                      <a:pt x="1" y="1"/>
                      <a:pt x="2" y="2"/>
                    </a:cubicBezTo>
                    <a:cubicBezTo>
                      <a:pt x="2" y="3"/>
                      <a:pt x="3" y="3"/>
                      <a:pt x="2"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98">
                <a:extLst>
                  <a:ext uri="{FF2B5EF4-FFF2-40B4-BE49-F238E27FC236}">
                    <a16:creationId xmlns:a16="http://schemas.microsoft.com/office/drawing/2014/main" id="{FD1B0B3F-F7C0-4E21-BCBF-2853A0AB583C}"/>
                  </a:ext>
                </a:extLst>
              </p:cNvPr>
              <p:cNvSpPr>
                <a:spLocks/>
              </p:cNvSpPr>
              <p:nvPr/>
            </p:nvSpPr>
            <p:spPr bwMode="auto">
              <a:xfrm>
                <a:off x="7684" y="2396"/>
                <a:ext cx="7" cy="7"/>
              </a:xfrm>
              <a:custGeom>
                <a:avLst/>
                <a:gdLst>
                  <a:gd name="T0" fmla="*/ 3 w 3"/>
                  <a:gd name="T1" fmla="*/ 3 h 3"/>
                  <a:gd name="T2" fmla="*/ 1 w 3"/>
                  <a:gd name="T3" fmla="*/ 1 h 3"/>
                  <a:gd name="T4" fmla="*/ 0 w 3"/>
                  <a:gd name="T5" fmla="*/ 0 h 3"/>
                  <a:gd name="T6" fmla="*/ 1 w 3"/>
                  <a:gd name="T7" fmla="*/ 1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cubicBezTo>
                      <a:pt x="2" y="3"/>
                      <a:pt x="2" y="2"/>
                      <a:pt x="1" y="1"/>
                    </a:cubicBezTo>
                    <a:cubicBezTo>
                      <a:pt x="0" y="1"/>
                      <a:pt x="0" y="0"/>
                      <a:pt x="0" y="0"/>
                    </a:cubicBezTo>
                    <a:cubicBezTo>
                      <a:pt x="0" y="0"/>
                      <a:pt x="1" y="0"/>
                      <a:pt x="1" y="1"/>
                    </a:cubicBezTo>
                    <a:cubicBezTo>
                      <a:pt x="2" y="2"/>
                      <a:pt x="3" y="2"/>
                      <a:pt x="3" y="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99">
                <a:extLst>
                  <a:ext uri="{FF2B5EF4-FFF2-40B4-BE49-F238E27FC236}">
                    <a16:creationId xmlns:a16="http://schemas.microsoft.com/office/drawing/2014/main" id="{82A6A906-A48F-4D41-9A9B-253E9B9626CF}"/>
                  </a:ext>
                </a:extLst>
              </p:cNvPr>
              <p:cNvSpPr>
                <a:spLocks/>
              </p:cNvSpPr>
              <p:nvPr/>
            </p:nvSpPr>
            <p:spPr bwMode="auto">
              <a:xfrm>
                <a:off x="7698" y="2408"/>
                <a:ext cx="7" cy="5"/>
              </a:xfrm>
              <a:custGeom>
                <a:avLst/>
                <a:gdLst>
                  <a:gd name="T0" fmla="*/ 3 w 3"/>
                  <a:gd name="T1" fmla="*/ 2 h 2"/>
                  <a:gd name="T2" fmla="*/ 1 w 3"/>
                  <a:gd name="T3" fmla="*/ 1 h 2"/>
                  <a:gd name="T4" fmla="*/ 0 w 3"/>
                  <a:gd name="T5" fmla="*/ 0 h 2"/>
                  <a:gd name="T6" fmla="*/ 2 w 3"/>
                  <a:gd name="T7" fmla="*/ 1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cubicBezTo>
                      <a:pt x="3" y="2"/>
                      <a:pt x="2" y="2"/>
                      <a:pt x="1" y="1"/>
                    </a:cubicBezTo>
                    <a:cubicBezTo>
                      <a:pt x="0" y="1"/>
                      <a:pt x="0" y="0"/>
                      <a:pt x="0" y="0"/>
                    </a:cubicBezTo>
                    <a:cubicBezTo>
                      <a:pt x="0" y="0"/>
                      <a:pt x="1" y="0"/>
                      <a:pt x="2" y="1"/>
                    </a:cubicBezTo>
                    <a:cubicBezTo>
                      <a:pt x="3" y="1"/>
                      <a:pt x="3" y="2"/>
                      <a:pt x="3"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200">
                <a:extLst>
                  <a:ext uri="{FF2B5EF4-FFF2-40B4-BE49-F238E27FC236}">
                    <a16:creationId xmlns:a16="http://schemas.microsoft.com/office/drawing/2014/main" id="{92264BCC-834A-45B4-A61D-6DA54AD37CEE}"/>
                  </a:ext>
                </a:extLst>
              </p:cNvPr>
              <p:cNvSpPr>
                <a:spLocks/>
              </p:cNvSpPr>
              <p:nvPr/>
            </p:nvSpPr>
            <p:spPr bwMode="auto">
              <a:xfrm>
                <a:off x="7715" y="2415"/>
                <a:ext cx="9" cy="3"/>
              </a:xfrm>
              <a:custGeom>
                <a:avLst/>
                <a:gdLst>
                  <a:gd name="T0" fmla="*/ 4 w 4"/>
                  <a:gd name="T1" fmla="*/ 1 h 1"/>
                  <a:gd name="T2" fmla="*/ 2 w 4"/>
                  <a:gd name="T3" fmla="*/ 1 h 1"/>
                  <a:gd name="T4" fmla="*/ 0 w 4"/>
                  <a:gd name="T5" fmla="*/ 0 h 1"/>
                  <a:gd name="T6" fmla="*/ 2 w 4"/>
                  <a:gd name="T7" fmla="*/ 0 h 1"/>
                  <a:gd name="T8" fmla="*/ 4 w 4"/>
                  <a:gd name="T9" fmla="*/ 1 h 1"/>
                </a:gdLst>
                <a:ahLst/>
                <a:cxnLst>
                  <a:cxn ang="0">
                    <a:pos x="T0" y="T1"/>
                  </a:cxn>
                  <a:cxn ang="0">
                    <a:pos x="T2" y="T3"/>
                  </a:cxn>
                  <a:cxn ang="0">
                    <a:pos x="T4" y="T5"/>
                  </a:cxn>
                  <a:cxn ang="0">
                    <a:pos x="T6" y="T7"/>
                  </a:cxn>
                  <a:cxn ang="0">
                    <a:pos x="T8" y="T9"/>
                  </a:cxn>
                </a:cxnLst>
                <a:rect l="0" t="0" r="r" b="b"/>
                <a:pathLst>
                  <a:path w="4" h="1">
                    <a:moveTo>
                      <a:pt x="4" y="1"/>
                    </a:moveTo>
                    <a:cubicBezTo>
                      <a:pt x="4" y="1"/>
                      <a:pt x="3" y="1"/>
                      <a:pt x="2" y="1"/>
                    </a:cubicBezTo>
                    <a:cubicBezTo>
                      <a:pt x="1" y="1"/>
                      <a:pt x="0" y="0"/>
                      <a:pt x="0" y="0"/>
                    </a:cubicBezTo>
                    <a:cubicBezTo>
                      <a:pt x="0" y="0"/>
                      <a:pt x="1" y="0"/>
                      <a:pt x="2" y="0"/>
                    </a:cubicBezTo>
                    <a:cubicBezTo>
                      <a:pt x="3" y="0"/>
                      <a:pt x="4" y="1"/>
                      <a:pt x="4"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201">
                <a:extLst>
                  <a:ext uri="{FF2B5EF4-FFF2-40B4-BE49-F238E27FC236}">
                    <a16:creationId xmlns:a16="http://schemas.microsoft.com/office/drawing/2014/main" id="{F81F1F05-740E-4905-826F-E00EC94F2FA2}"/>
                  </a:ext>
                </a:extLst>
              </p:cNvPr>
              <p:cNvSpPr>
                <a:spLocks/>
              </p:cNvSpPr>
              <p:nvPr/>
            </p:nvSpPr>
            <p:spPr bwMode="auto">
              <a:xfrm>
                <a:off x="7734" y="2415"/>
                <a:ext cx="9" cy="5"/>
              </a:xfrm>
              <a:custGeom>
                <a:avLst/>
                <a:gdLst>
                  <a:gd name="T0" fmla="*/ 4 w 4"/>
                  <a:gd name="T1" fmla="*/ 1 h 2"/>
                  <a:gd name="T2" fmla="*/ 2 w 4"/>
                  <a:gd name="T3" fmla="*/ 1 h 2"/>
                  <a:gd name="T4" fmla="*/ 0 w 4"/>
                  <a:gd name="T5" fmla="*/ 1 h 2"/>
                  <a:gd name="T6" fmla="*/ 2 w 4"/>
                  <a:gd name="T7" fmla="*/ 1 h 2"/>
                  <a:gd name="T8" fmla="*/ 4 w 4"/>
                  <a:gd name="T9" fmla="*/ 1 h 2"/>
                </a:gdLst>
                <a:ahLst/>
                <a:cxnLst>
                  <a:cxn ang="0">
                    <a:pos x="T0" y="T1"/>
                  </a:cxn>
                  <a:cxn ang="0">
                    <a:pos x="T2" y="T3"/>
                  </a:cxn>
                  <a:cxn ang="0">
                    <a:pos x="T4" y="T5"/>
                  </a:cxn>
                  <a:cxn ang="0">
                    <a:pos x="T6" y="T7"/>
                  </a:cxn>
                  <a:cxn ang="0">
                    <a:pos x="T8" y="T9"/>
                  </a:cxn>
                </a:cxnLst>
                <a:rect l="0" t="0" r="r" b="b"/>
                <a:pathLst>
                  <a:path w="4" h="2">
                    <a:moveTo>
                      <a:pt x="4" y="1"/>
                    </a:moveTo>
                    <a:cubicBezTo>
                      <a:pt x="4" y="1"/>
                      <a:pt x="3" y="1"/>
                      <a:pt x="2" y="1"/>
                    </a:cubicBezTo>
                    <a:cubicBezTo>
                      <a:pt x="1" y="2"/>
                      <a:pt x="0" y="1"/>
                      <a:pt x="0" y="1"/>
                    </a:cubicBezTo>
                    <a:cubicBezTo>
                      <a:pt x="0" y="1"/>
                      <a:pt x="1" y="1"/>
                      <a:pt x="2" y="1"/>
                    </a:cubicBezTo>
                    <a:cubicBezTo>
                      <a:pt x="3" y="0"/>
                      <a:pt x="4" y="0"/>
                      <a:pt x="4"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02">
                <a:extLst>
                  <a:ext uri="{FF2B5EF4-FFF2-40B4-BE49-F238E27FC236}">
                    <a16:creationId xmlns:a16="http://schemas.microsoft.com/office/drawing/2014/main" id="{E0B89CA5-E29C-4F7B-B995-CCAD5EDD91D4}"/>
                  </a:ext>
                </a:extLst>
              </p:cNvPr>
              <p:cNvSpPr>
                <a:spLocks/>
              </p:cNvSpPr>
              <p:nvPr/>
            </p:nvSpPr>
            <p:spPr bwMode="auto">
              <a:xfrm>
                <a:off x="7753" y="2411"/>
                <a:ext cx="9" cy="4"/>
              </a:xfrm>
              <a:custGeom>
                <a:avLst/>
                <a:gdLst>
                  <a:gd name="T0" fmla="*/ 4 w 4"/>
                  <a:gd name="T1" fmla="*/ 0 h 2"/>
                  <a:gd name="T2" fmla="*/ 2 w 4"/>
                  <a:gd name="T3" fmla="*/ 1 h 2"/>
                  <a:gd name="T4" fmla="*/ 0 w 4"/>
                  <a:gd name="T5" fmla="*/ 2 h 2"/>
                  <a:gd name="T6" fmla="*/ 2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cubicBezTo>
                      <a:pt x="4" y="0"/>
                      <a:pt x="3" y="1"/>
                      <a:pt x="2" y="1"/>
                    </a:cubicBezTo>
                    <a:cubicBezTo>
                      <a:pt x="1" y="2"/>
                      <a:pt x="0" y="2"/>
                      <a:pt x="0" y="2"/>
                    </a:cubicBezTo>
                    <a:cubicBezTo>
                      <a:pt x="0" y="1"/>
                      <a:pt x="1" y="1"/>
                      <a:pt x="2" y="0"/>
                    </a:cubicBezTo>
                    <a:cubicBezTo>
                      <a:pt x="3" y="0"/>
                      <a:pt x="3" y="0"/>
                      <a:pt x="4"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203">
                <a:extLst>
                  <a:ext uri="{FF2B5EF4-FFF2-40B4-BE49-F238E27FC236}">
                    <a16:creationId xmlns:a16="http://schemas.microsoft.com/office/drawing/2014/main" id="{E5F98B77-C951-483B-B668-764A7CB7532D}"/>
                  </a:ext>
                </a:extLst>
              </p:cNvPr>
              <p:cNvSpPr>
                <a:spLocks/>
              </p:cNvSpPr>
              <p:nvPr/>
            </p:nvSpPr>
            <p:spPr bwMode="auto">
              <a:xfrm>
                <a:off x="7769" y="2399"/>
                <a:ext cx="7" cy="7"/>
              </a:xfrm>
              <a:custGeom>
                <a:avLst/>
                <a:gdLst>
                  <a:gd name="T0" fmla="*/ 3 w 3"/>
                  <a:gd name="T1" fmla="*/ 0 h 3"/>
                  <a:gd name="T2" fmla="*/ 2 w 3"/>
                  <a:gd name="T3" fmla="*/ 2 h 3"/>
                  <a:gd name="T4" fmla="*/ 0 w 3"/>
                  <a:gd name="T5" fmla="*/ 3 h 3"/>
                  <a:gd name="T6" fmla="*/ 1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3" y="1"/>
                      <a:pt x="2" y="2"/>
                    </a:cubicBezTo>
                    <a:cubicBezTo>
                      <a:pt x="1" y="3"/>
                      <a:pt x="0" y="3"/>
                      <a:pt x="0" y="3"/>
                    </a:cubicBezTo>
                    <a:cubicBezTo>
                      <a:pt x="0" y="3"/>
                      <a:pt x="0" y="2"/>
                      <a:pt x="1" y="1"/>
                    </a:cubicBezTo>
                    <a:cubicBezTo>
                      <a:pt x="2" y="0"/>
                      <a:pt x="3" y="0"/>
                      <a:pt x="3"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204">
                <a:extLst>
                  <a:ext uri="{FF2B5EF4-FFF2-40B4-BE49-F238E27FC236}">
                    <a16:creationId xmlns:a16="http://schemas.microsoft.com/office/drawing/2014/main" id="{955B1052-A10C-484F-B817-59EA9D23D5BB}"/>
                  </a:ext>
                </a:extLst>
              </p:cNvPr>
              <p:cNvSpPr>
                <a:spLocks/>
              </p:cNvSpPr>
              <p:nvPr/>
            </p:nvSpPr>
            <p:spPr bwMode="auto">
              <a:xfrm>
                <a:off x="7781" y="2384"/>
                <a:ext cx="7" cy="8"/>
              </a:xfrm>
              <a:custGeom>
                <a:avLst/>
                <a:gdLst>
                  <a:gd name="T0" fmla="*/ 3 w 3"/>
                  <a:gd name="T1" fmla="*/ 0 h 3"/>
                  <a:gd name="T2" fmla="*/ 2 w 3"/>
                  <a:gd name="T3" fmla="*/ 2 h 3"/>
                  <a:gd name="T4" fmla="*/ 1 w 3"/>
                  <a:gd name="T5" fmla="*/ 3 h 3"/>
                  <a:gd name="T6" fmla="*/ 1 w 3"/>
                  <a:gd name="T7" fmla="*/ 1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3" y="1"/>
                      <a:pt x="2" y="2"/>
                    </a:cubicBezTo>
                    <a:cubicBezTo>
                      <a:pt x="1" y="3"/>
                      <a:pt x="1" y="3"/>
                      <a:pt x="1" y="3"/>
                    </a:cubicBezTo>
                    <a:cubicBezTo>
                      <a:pt x="0" y="3"/>
                      <a:pt x="1" y="2"/>
                      <a:pt x="1" y="1"/>
                    </a:cubicBezTo>
                    <a:cubicBezTo>
                      <a:pt x="2" y="0"/>
                      <a:pt x="3" y="0"/>
                      <a:pt x="3"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205">
                <a:extLst>
                  <a:ext uri="{FF2B5EF4-FFF2-40B4-BE49-F238E27FC236}">
                    <a16:creationId xmlns:a16="http://schemas.microsoft.com/office/drawing/2014/main" id="{0064B45F-C8AD-439F-902E-DE926262891C}"/>
                  </a:ext>
                </a:extLst>
              </p:cNvPr>
              <p:cNvSpPr>
                <a:spLocks/>
              </p:cNvSpPr>
              <p:nvPr/>
            </p:nvSpPr>
            <p:spPr bwMode="auto">
              <a:xfrm>
                <a:off x="7791" y="2373"/>
                <a:ext cx="2" cy="2"/>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1"/>
                    </a:cubicBezTo>
                    <a:cubicBezTo>
                      <a:pt x="1" y="1"/>
                      <a:pt x="1" y="1"/>
                      <a:pt x="0" y="1"/>
                    </a:cubicBezTo>
                    <a:cubicBezTo>
                      <a:pt x="0" y="1"/>
                      <a:pt x="0" y="1"/>
                      <a:pt x="0" y="0"/>
                    </a:cubicBezTo>
                    <a:cubicBezTo>
                      <a:pt x="0" y="0"/>
                      <a:pt x="1"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407">
              <a:extLst>
                <a:ext uri="{FF2B5EF4-FFF2-40B4-BE49-F238E27FC236}">
                  <a16:creationId xmlns:a16="http://schemas.microsoft.com/office/drawing/2014/main" id="{FE407F4E-4BBD-43D7-A6FA-6A2B586B84BD}"/>
                </a:ext>
              </a:extLst>
            </p:cNvPr>
            <p:cNvGrpSpPr>
              <a:grpSpLocks/>
            </p:cNvGrpSpPr>
            <p:nvPr/>
          </p:nvGrpSpPr>
          <p:grpSpPr bwMode="auto">
            <a:xfrm>
              <a:off x="4786" y="1147"/>
              <a:ext cx="3083" cy="2724"/>
              <a:chOff x="4786" y="1147"/>
              <a:chExt cx="3083" cy="2724"/>
            </a:xfrm>
          </p:grpSpPr>
          <p:sp>
            <p:nvSpPr>
              <p:cNvPr id="53" name="Freeform 207">
                <a:extLst>
                  <a:ext uri="{FF2B5EF4-FFF2-40B4-BE49-F238E27FC236}">
                    <a16:creationId xmlns:a16="http://schemas.microsoft.com/office/drawing/2014/main" id="{2C010E44-40DC-4381-B9CF-D7C9FD085889}"/>
                  </a:ext>
                </a:extLst>
              </p:cNvPr>
              <p:cNvSpPr>
                <a:spLocks/>
              </p:cNvSpPr>
              <p:nvPr/>
            </p:nvSpPr>
            <p:spPr bwMode="auto">
              <a:xfrm>
                <a:off x="7734" y="2444"/>
                <a:ext cx="2"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08">
                <a:extLst>
                  <a:ext uri="{FF2B5EF4-FFF2-40B4-BE49-F238E27FC236}">
                    <a16:creationId xmlns:a16="http://schemas.microsoft.com/office/drawing/2014/main" id="{E6998A06-5B7B-4B72-8840-D9D03565F6D9}"/>
                  </a:ext>
                </a:extLst>
              </p:cNvPr>
              <p:cNvSpPr>
                <a:spLocks/>
              </p:cNvSpPr>
              <p:nvPr/>
            </p:nvSpPr>
            <p:spPr bwMode="auto">
              <a:xfrm>
                <a:off x="7734" y="2463"/>
                <a:ext cx="2" cy="9"/>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209">
                <a:extLst>
                  <a:ext uri="{FF2B5EF4-FFF2-40B4-BE49-F238E27FC236}">
                    <a16:creationId xmlns:a16="http://schemas.microsoft.com/office/drawing/2014/main" id="{F3893D24-F24F-425D-ADF4-6056AF28481B}"/>
                  </a:ext>
                </a:extLst>
              </p:cNvPr>
              <p:cNvSpPr>
                <a:spLocks noChangeArrowheads="1"/>
              </p:cNvSpPr>
              <p:nvPr/>
            </p:nvSpPr>
            <p:spPr bwMode="auto">
              <a:xfrm>
                <a:off x="7731" y="2482"/>
                <a:ext cx="3"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10">
                <a:extLst>
                  <a:ext uri="{FF2B5EF4-FFF2-40B4-BE49-F238E27FC236}">
                    <a16:creationId xmlns:a16="http://schemas.microsoft.com/office/drawing/2014/main" id="{245CFC96-5140-48E7-96CF-1499BC4F6E1D}"/>
                  </a:ext>
                </a:extLst>
              </p:cNvPr>
              <p:cNvSpPr>
                <a:spLocks/>
              </p:cNvSpPr>
              <p:nvPr/>
            </p:nvSpPr>
            <p:spPr bwMode="auto">
              <a:xfrm>
                <a:off x="7731" y="2501"/>
                <a:ext cx="3" cy="9"/>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11">
                <a:extLst>
                  <a:ext uri="{FF2B5EF4-FFF2-40B4-BE49-F238E27FC236}">
                    <a16:creationId xmlns:a16="http://schemas.microsoft.com/office/drawing/2014/main" id="{36A99817-C308-4139-9D91-CE3192CAF1D5}"/>
                  </a:ext>
                </a:extLst>
              </p:cNvPr>
              <p:cNvSpPr>
                <a:spLocks/>
              </p:cNvSpPr>
              <p:nvPr/>
            </p:nvSpPr>
            <p:spPr bwMode="auto">
              <a:xfrm>
                <a:off x="7731" y="2520"/>
                <a:ext cx="3"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12">
                <a:extLst>
                  <a:ext uri="{FF2B5EF4-FFF2-40B4-BE49-F238E27FC236}">
                    <a16:creationId xmlns:a16="http://schemas.microsoft.com/office/drawing/2014/main" id="{175554D4-8CAC-4AD3-93D9-441110881DC9}"/>
                  </a:ext>
                </a:extLst>
              </p:cNvPr>
              <p:cNvSpPr>
                <a:spLocks/>
              </p:cNvSpPr>
              <p:nvPr/>
            </p:nvSpPr>
            <p:spPr bwMode="auto">
              <a:xfrm>
                <a:off x="7731" y="2539"/>
                <a:ext cx="3" cy="9"/>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213">
                <a:extLst>
                  <a:ext uri="{FF2B5EF4-FFF2-40B4-BE49-F238E27FC236}">
                    <a16:creationId xmlns:a16="http://schemas.microsoft.com/office/drawing/2014/main" id="{1DA46754-CEF1-42CC-B795-FCCFC8A114CA}"/>
                  </a:ext>
                </a:extLst>
              </p:cNvPr>
              <p:cNvSpPr>
                <a:spLocks noChangeArrowheads="1"/>
              </p:cNvSpPr>
              <p:nvPr/>
            </p:nvSpPr>
            <p:spPr bwMode="auto">
              <a:xfrm>
                <a:off x="7729" y="2558"/>
                <a:ext cx="2"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214">
                <a:extLst>
                  <a:ext uri="{FF2B5EF4-FFF2-40B4-BE49-F238E27FC236}">
                    <a16:creationId xmlns:a16="http://schemas.microsoft.com/office/drawing/2014/main" id="{DB8A32FF-21C4-4140-B06F-541619EF6E28}"/>
                  </a:ext>
                </a:extLst>
              </p:cNvPr>
              <p:cNvSpPr>
                <a:spLocks noChangeArrowheads="1"/>
              </p:cNvSpPr>
              <p:nvPr/>
            </p:nvSpPr>
            <p:spPr bwMode="auto">
              <a:xfrm>
                <a:off x="7729" y="2577"/>
                <a:ext cx="2"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15">
                <a:extLst>
                  <a:ext uri="{FF2B5EF4-FFF2-40B4-BE49-F238E27FC236}">
                    <a16:creationId xmlns:a16="http://schemas.microsoft.com/office/drawing/2014/main" id="{CB9581D0-FB3A-4BC4-B027-C3D33528EF2E}"/>
                  </a:ext>
                </a:extLst>
              </p:cNvPr>
              <p:cNvSpPr>
                <a:spLocks noChangeArrowheads="1"/>
              </p:cNvSpPr>
              <p:nvPr/>
            </p:nvSpPr>
            <p:spPr bwMode="auto">
              <a:xfrm>
                <a:off x="7729" y="2596"/>
                <a:ext cx="2"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16">
                <a:extLst>
                  <a:ext uri="{FF2B5EF4-FFF2-40B4-BE49-F238E27FC236}">
                    <a16:creationId xmlns:a16="http://schemas.microsoft.com/office/drawing/2014/main" id="{602149E4-C174-4319-82C1-AC98EE317814}"/>
                  </a:ext>
                </a:extLst>
              </p:cNvPr>
              <p:cNvSpPr>
                <a:spLocks noChangeArrowheads="1"/>
              </p:cNvSpPr>
              <p:nvPr/>
            </p:nvSpPr>
            <p:spPr bwMode="auto">
              <a:xfrm>
                <a:off x="7729" y="2615"/>
                <a:ext cx="2"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17">
                <a:extLst>
                  <a:ext uri="{FF2B5EF4-FFF2-40B4-BE49-F238E27FC236}">
                    <a16:creationId xmlns:a16="http://schemas.microsoft.com/office/drawing/2014/main" id="{628023DA-C8A9-4CFF-99E4-55DA1FE09213}"/>
                  </a:ext>
                </a:extLst>
              </p:cNvPr>
              <p:cNvSpPr>
                <a:spLocks/>
              </p:cNvSpPr>
              <p:nvPr/>
            </p:nvSpPr>
            <p:spPr bwMode="auto">
              <a:xfrm>
                <a:off x="7727" y="2634"/>
                <a:ext cx="2" cy="9"/>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1"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18">
                <a:extLst>
                  <a:ext uri="{FF2B5EF4-FFF2-40B4-BE49-F238E27FC236}">
                    <a16:creationId xmlns:a16="http://schemas.microsoft.com/office/drawing/2014/main" id="{0B7C2BE5-C712-4E3E-AB37-F389900CBB89}"/>
                  </a:ext>
                </a:extLst>
              </p:cNvPr>
              <p:cNvSpPr>
                <a:spLocks/>
              </p:cNvSpPr>
              <p:nvPr/>
            </p:nvSpPr>
            <p:spPr bwMode="auto">
              <a:xfrm>
                <a:off x="7727" y="2653"/>
                <a:ext cx="2" cy="9"/>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19">
                <a:extLst>
                  <a:ext uri="{FF2B5EF4-FFF2-40B4-BE49-F238E27FC236}">
                    <a16:creationId xmlns:a16="http://schemas.microsoft.com/office/drawing/2014/main" id="{5F9CC78F-D04A-4713-AD99-4A7CA309381A}"/>
                  </a:ext>
                </a:extLst>
              </p:cNvPr>
              <p:cNvSpPr>
                <a:spLocks/>
              </p:cNvSpPr>
              <p:nvPr/>
            </p:nvSpPr>
            <p:spPr bwMode="auto">
              <a:xfrm>
                <a:off x="7727" y="2672"/>
                <a:ext cx="2" cy="9"/>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20">
                <a:extLst>
                  <a:ext uri="{FF2B5EF4-FFF2-40B4-BE49-F238E27FC236}">
                    <a16:creationId xmlns:a16="http://schemas.microsoft.com/office/drawing/2014/main" id="{D35AAB68-19F0-4159-A599-7402B176B890}"/>
                  </a:ext>
                </a:extLst>
              </p:cNvPr>
              <p:cNvSpPr>
                <a:spLocks/>
              </p:cNvSpPr>
              <p:nvPr/>
            </p:nvSpPr>
            <p:spPr bwMode="auto">
              <a:xfrm>
                <a:off x="7727" y="2691"/>
                <a:ext cx="2"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4"/>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21">
                <a:extLst>
                  <a:ext uri="{FF2B5EF4-FFF2-40B4-BE49-F238E27FC236}">
                    <a16:creationId xmlns:a16="http://schemas.microsoft.com/office/drawing/2014/main" id="{A48D3641-7AD0-4155-AFFE-B022B1077A7E}"/>
                  </a:ext>
                </a:extLst>
              </p:cNvPr>
              <p:cNvSpPr>
                <a:spLocks/>
              </p:cNvSpPr>
              <p:nvPr/>
            </p:nvSpPr>
            <p:spPr bwMode="auto">
              <a:xfrm>
                <a:off x="7727" y="2710"/>
                <a:ext cx="2" cy="9"/>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0" y="2"/>
                    </a:cubicBezTo>
                    <a:cubicBezTo>
                      <a:pt x="0" y="4"/>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22">
                <a:extLst>
                  <a:ext uri="{FF2B5EF4-FFF2-40B4-BE49-F238E27FC236}">
                    <a16:creationId xmlns:a16="http://schemas.microsoft.com/office/drawing/2014/main" id="{89C7980F-2EEF-4C11-9F7F-73F23B09BE8A}"/>
                  </a:ext>
                </a:extLst>
              </p:cNvPr>
              <p:cNvSpPr>
                <a:spLocks noChangeArrowheads="1"/>
              </p:cNvSpPr>
              <p:nvPr/>
            </p:nvSpPr>
            <p:spPr bwMode="auto">
              <a:xfrm>
                <a:off x="7724" y="2729"/>
                <a:ext cx="3"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23">
                <a:extLst>
                  <a:ext uri="{FF2B5EF4-FFF2-40B4-BE49-F238E27FC236}">
                    <a16:creationId xmlns:a16="http://schemas.microsoft.com/office/drawing/2014/main" id="{5DCEC57B-B1A5-43F2-BCC2-77FFDA85C8B4}"/>
                  </a:ext>
                </a:extLst>
              </p:cNvPr>
              <p:cNvSpPr>
                <a:spLocks/>
              </p:cNvSpPr>
              <p:nvPr/>
            </p:nvSpPr>
            <p:spPr bwMode="auto">
              <a:xfrm>
                <a:off x="7724" y="2748"/>
                <a:ext cx="3" cy="9"/>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1" y="0"/>
                      <a:pt x="1"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4">
                <a:extLst>
                  <a:ext uri="{FF2B5EF4-FFF2-40B4-BE49-F238E27FC236}">
                    <a16:creationId xmlns:a16="http://schemas.microsoft.com/office/drawing/2014/main" id="{9D4CF092-2FF4-4397-BED6-D47A5304431F}"/>
                  </a:ext>
                </a:extLst>
              </p:cNvPr>
              <p:cNvSpPr>
                <a:spLocks/>
              </p:cNvSpPr>
              <p:nvPr/>
            </p:nvSpPr>
            <p:spPr bwMode="auto">
              <a:xfrm>
                <a:off x="7724" y="2767"/>
                <a:ext cx="3" cy="9"/>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1" y="0"/>
                    </a:cubicBezTo>
                    <a:cubicBezTo>
                      <a:pt x="1" y="0"/>
                      <a:pt x="1" y="1"/>
                      <a:pt x="1" y="2"/>
                    </a:cubicBezTo>
                    <a:cubicBezTo>
                      <a:pt x="1" y="4"/>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25">
                <a:extLst>
                  <a:ext uri="{FF2B5EF4-FFF2-40B4-BE49-F238E27FC236}">
                    <a16:creationId xmlns:a16="http://schemas.microsoft.com/office/drawing/2014/main" id="{C3CA2EBB-4BD0-47A4-8D65-9997C961AF1C}"/>
                  </a:ext>
                </a:extLst>
              </p:cNvPr>
              <p:cNvSpPr>
                <a:spLocks/>
              </p:cNvSpPr>
              <p:nvPr/>
            </p:nvSpPr>
            <p:spPr bwMode="auto">
              <a:xfrm>
                <a:off x="7724" y="2786"/>
                <a:ext cx="3"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1" y="0"/>
                      <a:pt x="1" y="1"/>
                      <a:pt x="1" y="2"/>
                    </a:cubicBezTo>
                    <a:cubicBezTo>
                      <a:pt x="1" y="4"/>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226">
                <a:extLst>
                  <a:ext uri="{FF2B5EF4-FFF2-40B4-BE49-F238E27FC236}">
                    <a16:creationId xmlns:a16="http://schemas.microsoft.com/office/drawing/2014/main" id="{8C2D1CDB-E76A-49D5-9E75-32CD393CEB6D}"/>
                  </a:ext>
                </a:extLst>
              </p:cNvPr>
              <p:cNvSpPr>
                <a:spLocks noChangeArrowheads="1"/>
              </p:cNvSpPr>
              <p:nvPr/>
            </p:nvSpPr>
            <p:spPr bwMode="auto">
              <a:xfrm>
                <a:off x="7724" y="2805"/>
                <a:ext cx="3" cy="9"/>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27">
                <a:extLst>
                  <a:ext uri="{FF2B5EF4-FFF2-40B4-BE49-F238E27FC236}">
                    <a16:creationId xmlns:a16="http://schemas.microsoft.com/office/drawing/2014/main" id="{772B4F88-2D61-4A11-B9F6-960B9DCBC02F}"/>
                  </a:ext>
                </a:extLst>
              </p:cNvPr>
              <p:cNvSpPr>
                <a:spLocks/>
              </p:cNvSpPr>
              <p:nvPr/>
            </p:nvSpPr>
            <p:spPr bwMode="auto">
              <a:xfrm>
                <a:off x="7724" y="2824"/>
                <a:ext cx="0" cy="12"/>
              </a:xfrm>
              <a:custGeom>
                <a:avLst/>
                <a:gdLst>
                  <a:gd name="T0" fmla="*/ 4 h 5"/>
                  <a:gd name="T1" fmla="*/ 2 h 5"/>
                  <a:gd name="T2" fmla="*/ 0 h 5"/>
                  <a:gd name="T3" fmla="*/ 2 h 5"/>
                  <a:gd name="T4" fmla="*/ 4 h 5"/>
                </a:gdLst>
                <a:ahLst/>
                <a:cxnLst>
                  <a:cxn ang="0">
                    <a:pos x="0" y="T0"/>
                  </a:cxn>
                  <a:cxn ang="0">
                    <a:pos x="0" y="T1"/>
                  </a:cxn>
                  <a:cxn ang="0">
                    <a:pos x="0" y="T2"/>
                  </a:cxn>
                  <a:cxn ang="0">
                    <a:pos x="0" y="T3"/>
                  </a:cxn>
                  <a:cxn ang="0">
                    <a:pos x="0" y="T4"/>
                  </a:cxn>
                </a:cxnLst>
                <a:rect l="0" t="0" r="r" b="b"/>
                <a:pathLst>
                  <a:path h="5">
                    <a:moveTo>
                      <a:pt x="0" y="4"/>
                    </a:moveTo>
                    <a:cubicBezTo>
                      <a:pt x="0" y="4"/>
                      <a:pt x="0" y="4"/>
                      <a:pt x="0" y="2"/>
                    </a:cubicBezTo>
                    <a:cubicBezTo>
                      <a:pt x="0" y="1"/>
                      <a:pt x="0" y="0"/>
                      <a:pt x="0" y="0"/>
                    </a:cubicBezTo>
                    <a:cubicBezTo>
                      <a:pt x="0" y="0"/>
                      <a:pt x="0" y="1"/>
                      <a:pt x="0" y="2"/>
                    </a:cubicBezTo>
                    <a:cubicBezTo>
                      <a:pt x="0" y="4"/>
                      <a:pt x="0" y="5"/>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28">
                <a:extLst>
                  <a:ext uri="{FF2B5EF4-FFF2-40B4-BE49-F238E27FC236}">
                    <a16:creationId xmlns:a16="http://schemas.microsoft.com/office/drawing/2014/main" id="{80494956-9CA1-4D6C-922D-289BEA3333F2}"/>
                  </a:ext>
                </a:extLst>
              </p:cNvPr>
              <p:cNvSpPr>
                <a:spLocks/>
              </p:cNvSpPr>
              <p:nvPr/>
            </p:nvSpPr>
            <p:spPr bwMode="auto">
              <a:xfrm>
                <a:off x="7722" y="2843"/>
                <a:ext cx="2" cy="12"/>
              </a:xfrm>
              <a:custGeom>
                <a:avLst/>
                <a:gdLst>
                  <a:gd name="T0" fmla="*/ 1 w 1"/>
                  <a:gd name="T1" fmla="*/ 5 h 5"/>
                  <a:gd name="T2" fmla="*/ 0 w 1"/>
                  <a:gd name="T3" fmla="*/ 3 h 5"/>
                  <a:gd name="T4" fmla="*/ 1 w 1"/>
                  <a:gd name="T5" fmla="*/ 1 h 5"/>
                  <a:gd name="T6" fmla="*/ 1 w 1"/>
                  <a:gd name="T7" fmla="*/ 3 h 5"/>
                  <a:gd name="T8" fmla="*/ 1 w 1"/>
                  <a:gd name="T9" fmla="*/ 5 h 5"/>
                </a:gdLst>
                <a:ahLst/>
                <a:cxnLst>
                  <a:cxn ang="0">
                    <a:pos x="T0" y="T1"/>
                  </a:cxn>
                  <a:cxn ang="0">
                    <a:pos x="T2" y="T3"/>
                  </a:cxn>
                  <a:cxn ang="0">
                    <a:pos x="T4" y="T5"/>
                  </a:cxn>
                  <a:cxn ang="0">
                    <a:pos x="T6" y="T7"/>
                  </a:cxn>
                  <a:cxn ang="0">
                    <a:pos x="T8" y="T9"/>
                  </a:cxn>
                </a:cxnLst>
                <a:rect l="0" t="0" r="r" b="b"/>
                <a:pathLst>
                  <a:path w="1" h="5">
                    <a:moveTo>
                      <a:pt x="1" y="5"/>
                    </a:moveTo>
                    <a:cubicBezTo>
                      <a:pt x="1" y="5"/>
                      <a:pt x="0" y="4"/>
                      <a:pt x="0" y="3"/>
                    </a:cubicBezTo>
                    <a:cubicBezTo>
                      <a:pt x="0" y="1"/>
                      <a:pt x="1" y="0"/>
                      <a:pt x="1" y="1"/>
                    </a:cubicBezTo>
                    <a:cubicBezTo>
                      <a:pt x="1" y="1"/>
                      <a:pt x="1" y="1"/>
                      <a:pt x="1" y="3"/>
                    </a:cubicBezTo>
                    <a:cubicBezTo>
                      <a:pt x="1" y="4"/>
                      <a:pt x="1" y="5"/>
                      <a:pt x="1" y="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229">
                <a:extLst>
                  <a:ext uri="{FF2B5EF4-FFF2-40B4-BE49-F238E27FC236}">
                    <a16:creationId xmlns:a16="http://schemas.microsoft.com/office/drawing/2014/main" id="{E161EF97-CEFC-43F5-A1F7-1710016F707C}"/>
                  </a:ext>
                </a:extLst>
              </p:cNvPr>
              <p:cNvSpPr>
                <a:spLocks noChangeArrowheads="1"/>
              </p:cNvSpPr>
              <p:nvPr/>
            </p:nvSpPr>
            <p:spPr bwMode="auto">
              <a:xfrm>
                <a:off x="7722" y="2864"/>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230">
                <a:extLst>
                  <a:ext uri="{FF2B5EF4-FFF2-40B4-BE49-F238E27FC236}">
                    <a16:creationId xmlns:a16="http://schemas.microsoft.com/office/drawing/2014/main" id="{FB0048F1-4F4D-4F24-97C2-CE825053B00F}"/>
                  </a:ext>
                </a:extLst>
              </p:cNvPr>
              <p:cNvSpPr>
                <a:spLocks noChangeArrowheads="1"/>
              </p:cNvSpPr>
              <p:nvPr/>
            </p:nvSpPr>
            <p:spPr bwMode="auto">
              <a:xfrm>
                <a:off x="7722" y="288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31">
                <a:extLst>
                  <a:ext uri="{FF2B5EF4-FFF2-40B4-BE49-F238E27FC236}">
                    <a16:creationId xmlns:a16="http://schemas.microsoft.com/office/drawing/2014/main" id="{0CE03831-D4F1-4F41-9B8D-6A7842EBC8A1}"/>
                  </a:ext>
                </a:extLst>
              </p:cNvPr>
              <p:cNvSpPr>
                <a:spLocks/>
              </p:cNvSpPr>
              <p:nvPr/>
            </p:nvSpPr>
            <p:spPr bwMode="auto">
              <a:xfrm>
                <a:off x="7722" y="2902"/>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0"/>
                      <a:pt x="0" y="0"/>
                      <a:pt x="0" y="0"/>
                    </a:cubicBezTo>
                    <a:cubicBezTo>
                      <a:pt x="1" y="0"/>
                      <a:pt x="1" y="0"/>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32">
                <a:extLst>
                  <a:ext uri="{FF2B5EF4-FFF2-40B4-BE49-F238E27FC236}">
                    <a16:creationId xmlns:a16="http://schemas.microsoft.com/office/drawing/2014/main" id="{56DF33D5-83BC-4930-ADB5-8ADFF6F1383A}"/>
                  </a:ext>
                </a:extLst>
              </p:cNvPr>
              <p:cNvSpPr>
                <a:spLocks/>
              </p:cNvSpPr>
              <p:nvPr/>
            </p:nvSpPr>
            <p:spPr bwMode="auto">
              <a:xfrm>
                <a:off x="7722" y="2921"/>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0"/>
                      <a:pt x="0" y="0"/>
                      <a:pt x="0" y="0"/>
                    </a:cubicBezTo>
                    <a:cubicBezTo>
                      <a:pt x="0" y="0"/>
                      <a:pt x="1" y="0"/>
                      <a:pt x="1"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33">
                <a:extLst>
                  <a:ext uri="{FF2B5EF4-FFF2-40B4-BE49-F238E27FC236}">
                    <a16:creationId xmlns:a16="http://schemas.microsoft.com/office/drawing/2014/main" id="{EE0AFA17-3443-4BD2-9B16-74DA829C32E9}"/>
                  </a:ext>
                </a:extLst>
              </p:cNvPr>
              <p:cNvSpPr>
                <a:spLocks/>
              </p:cNvSpPr>
              <p:nvPr/>
            </p:nvSpPr>
            <p:spPr bwMode="auto">
              <a:xfrm>
                <a:off x="7722" y="2940"/>
                <a:ext cx="0" cy="10"/>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cubicBezTo>
                      <a:pt x="0" y="4"/>
                      <a:pt x="0" y="3"/>
                      <a:pt x="0" y="2"/>
                    </a:cubicBezTo>
                    <a:cubicBezTo>
                      <a:pt x="0" y="0"/>
                      <a:pt x="0" y="0"/>
                      <a:pt x="0" y="0"/>
                    </a:cubicBezTo>
                    <a:cubicBezTo>
                      <a:pt x="0" y="0"/>
                      <a:pt x="0"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34">
                <a:extLst>
                  <a:ext uri="{FF2B5EF4-FFF2-40B4-BE49-F238E27FC236}">
                    <a16:creationId xmlns:a16="http://schemas.microsoft.com/office/drawing/2014/main" id="{1F9DC8BC-6CB1-48E2-B060-9468111E5C7E}"/>
                  </a:ext>
                </a:extLst>
              </p:cNvPr>
              <p:cNvSpPr>
                <a:spLocks noChangeArrowheads="1"/>
              </p:cNvSpPr>
              <p:nvPr/>
            </p:nvSpPr>
            <p:spPr bwMode="auto">
              <a:xfrm>
                <a:off x="7719" y="2959"/>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235">
                <a:extLst>
                  <a:ext uri="{FF2B5EF4-FFF2-40B4-BE49-F238E27FC236}">
                    <a16:creationId xmlns:a16="http://schemas.microsoft.com/office/drawing/2014/main" id="{E795272D-D9D7-4943-A115-A770D05147FD}"/>
                  </a:ext>
                </a:extLst>
              </p:cNvPr>
              <p:cNvSpPr>
                <a:spLocks noChangeArrowheads="1"/>
              </p:cNvSpPr>
              <p:nvPr/>
            </p:nvSpPr>
            <p:spPr bwMode="auto">
              <a:xfrm>
                <a:off x="7719" y="2978"/>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36">
                <a:extLst>
                  <a:ext uri="{FF2B5EF4-FFF2-40B4-BE49-F238E27FC236}">
                    <a16:creationId xmlns:a16="http://schemas.microsoft.com/office/drawing/2014/main" id="{D8869789-A2D1-42C6-99D0-ABD7254DB1D4}"/>
                  </a:ext>
                </a:extLst>
              </p:cNvPr>
              <p:cNvSpPr>
                <a:spLocks/>
              </p:cNvSpPr>
              <p:nvPr/>
            </p:nvSpPr>
            <p:spPr bwMode="auto">
              <a:xfrm>
                <a:off x="7719" y="2997"/>
                <a:ext cx="3"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237">
                <a:extLst>
                  <a:ext uri="{FF2B5EF4-FFF2-40B4-BE49-F238E27FC236}">
                    <a16:creationId xmlns:a16="http://schemas.microsoft.com/office/drawing/2014/main" id="{8E43C579-DCB0-48F5-B858-BADCBC3CD022}"/>
                  </a:ext>
                </a:extLst>
              </p:cNvPr>
              <p:cNvSpPr>
                <a:spLocks noChangeArrowheads="1"/>
              </p:cNvSpPr>
              <p:nvPr/>
            </p:nvSpPr>
            <p:spPr bwMode="auto">
              <a:xfrm>
                <a:off x="7719" y="3016"/>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238">
                <a:extLst>
                  <a:ext uri="{FF2B5EF4-FFF2-40B4-BE49-F238E27FC236}">
                    <a16:creationId xmlns:a16="http://schemas.microsoft.com/office/drawing/2014/main" id="{D8DA6866-E3E1-4EB8-8FF7-FBBF10B03EA1}"/>
                  </a:ext>
                </a:extLst>
              </p:cNvPr>
              <p:cNvSpPr>
                <a:spLocks noChangeArrowheads="1"/>
              </p:cNvSpPr>
              <p:nvPr/>
            </p:nvSpPr>
            <p:spPr bwMode="auto">
              <a:xfrm>
                <a:off x="7719" y="3035"/>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239">
                <a:extLst>
                  <a:ext uri="{FF2B5EF4-FFF2-40B4-BE49-F238E27FC236}">
                    <a16:creationId xmlns:a16="http://schemas.microsoft.com/office/drawing/2014/main" id="{FCEF77F5-453E-41FF-8351-3D3D5B624881}"/>
                  </a:ext>
                </a:extLst>
              </p:cNvPr>
              <p:cNvSpPr>
                <a:spLocks noChangeArrowheads="1"/>
              </p:cNvSpPr>
              <p:nvPr/>
            </p:nvSpPr>
            <p:spPr bwMode="auto">
              <a:xfrm>
                <a:off x="7719" y="3054"/>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40">
                <a:extLst>
                  <a:ext uri="{FF2B5EF4-FFF2-40B4-BE49-F238E27FC236}">
                    <a16:creationId xmlns:a16="http://schemas.microsoft.com/office/drawing/2014/main" id="{169B7C31-94AD-42AC-9630-7E705DB1A9D8}"/>
                  </a:ext>
                </a:extLst>
              </p:cNvPr>
              <p:cNvSpPr>
                <a:spLocks noChangeArrowheads="1"/>
              </p:cNvSpPr>
              <p:nvPr/>
            </p:nvSpPr>
            <p:spPr bwMode="auto">
              <a:xfrm>
                <a:off x="7717" y="307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41">
                <a:extLst>
                  <a:ext uri="{FF2B5EF4-FFF2-40B4-BE49-F238E27FC236}">
                    <a16:creationId xmlns:a16="http://schemas.microsoft.com/office/drawing/2014/main" id="{F7E3ABEA-D4F6-4A22-B0D9-1D73E93A112C}"/>
                  </a:ext>
                </a:extLst>
              </p:cNvPr>
              <p:cNvSpPr>
                <a:spLocks/>
              </p:cNvSpPr>
              <p:nvPr/>
            </p:nvSpPr>
            <p:spPr bwMode="auto">
              <a:xfrm>
                <a:off x="7717" y="3092"/>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42">
                <a:extLst>
                  <a:ext uri="{FF2B5EF4-FFF2-40B4-BE49-F238E27FC236}">
                    <a16:creationId xmlns:a16="http://schemas.microsoft.com/office/drawing/2014/main" id="{49513A8A-A56A-4299-9C70-FC35C89F9844}"/>
                  </a:ext>
                </a:extLst>
              </p:cNvPr>
              <p:cNvSpPr>
                <a:spLocks noChangeArrowheads="1"/>
              </p:cNvSpPr>
              <p:nvPr/>
            </p:nvSpPr>
            <p:spPr bwMode="auto">
              <a:xfrm>
                <a:off x="7717" y="3111"/>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43">
                <a:extLst>
                  <a:ext uri="{FF2B5EF4-FFF2-40B4-BE49-F238E27FC236}">
                    <a16:creationId xmlns:a16="http://schemas.microsoft.com/office/drawing/2014/main" id="{3B78623B-DA3D-490F-A5CB-D8729F8C614C}"/>
                  </a:ext>
                </a:extLst>
              </p:cNvPr>
              <p:cNvSpPr>
                <a:spLocks noChangeArrowheads="1"/>
              </p:cNvSpPr>
              <p:nvPr/>
            </p:nvSpPr>
            <p:spPr bwMode="auto">
              <a:xfrm>
                <a:off x="7717" y="3130"/>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44">
                <a:extLst>
                  <a:ext uri="{FF2B5EF4-FFF2-40B4-BE49-F238E27FC236}">
                    <a16:creationId xmlns:a16="http://schemas.microsoft.com/office/drawing/2014/main" id="{C845B10E-198E-4E2C-9AB4-A739A9458B3C}"/>
                  </a:ext>
                </a:extLst>
              </p:cNvPr>
              <p:cNvSpPr>
                <a:spLocks/>
              </p:cNvSpPr>
              <p:nvPr/>
            </p:nvSpPr>
            <p:spPr bwMode="auto">
              <a:xfrm>
                <a:off x="7717" y="3149"/>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245">
                <a:extLst>
                  <a:ext uri="{FF2B5EF4-FFF2-40B4-BE49-F238E27FC236}">
                    <a16:creationId xmlns:a16="http://schemas.microsoft.com/office/drawing/2014/main" id="{D7A8EAAE-58CF-4943-918F-6D15A6C5E9F1}"/>
                  </a:ext>
                </a:extLst>
              </p:cNvPr>
              <p:cNvSpPr>
                <a:spLocks noChangeArrowheads="1"/>
              </p:cNvSpPr>
              <p:nvPr/>
            </p:nvSpPr>
            <p:spPr bwMode="auto">
              <a:xfrm>
                <a:off x="7717" y="3168"/>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246">
                <a:extLst>
                  <a:ext uri="{FF2B5EF4-FFF2-40B4-BE49-F238E27FC236}">
                    <a16:creationId xmlns:a16="http://schemas.microsoft.com/office/drawing/2014/main" id="{894AABD0-5FF6-4ABC-8AD2-47EA155C9513}"/>
                  </a:ext>
                </a:extLst>
              </p:cNvPr>
              <p:cNvSpPr>
                <a:spLocks noChangeArrowheads="1"/>
              </p:cNvSpPr>
              <p:nvPr/>
            </p:nvSpPr>
            <p:spPr bwMode="auto">
              <a:xfrm>
                <a:off x="7717" y="3187"/>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47">
                <a:extLst>
                  <a:ext uri="{FF2B5EF4-FFF2-40B4-BE49-F238E27FC236}">
                    <a16:creationId xmlns:a16="http://schemas.microsoft.com/office/drawing/2014/main" id="{04BEF587-9B9E-4D42-ACFF-6E6FACB7372A}"/>
                  </a:ext>
                </a:extLst>
              </p:cNvPr>
              <p:cNvSpPr>
                <a:spLocks noChangeArrowheads="1"/>
              </p:cNvSpPr>
              <p:nvPr/>
            </p:nvSpPr>
            <p:spPr bwMode="auto">
              <a:xfrm>
                <a:off x="7715" y="3206"/>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48">
                <a:extLst>
                  <a:ext uri="{FF2B5EF4-FFF2-40B4-BE49-F238E27FC236}">
                    <a16:creationId xmlns:a16="http://schemas.microsoft.com/office/drawing/2014/main" id="{1BFD038F-0256-4696-8134-82CCC5C1C2DF}"/>
                  </a:ext>
                </a:extLst>
              </p:cNvPr>
              <p:cNvSpPr>
                <a:spLocks noChangeArrowheads="1"/>
              </p:cNvSpPr>
              <p:nvPr/>
            </p:nvSpPr>
            <p:spPr bwMode="auto">
              <a:xfrm>
                <a:off x="7715" y="3225"/>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49">
                <a:extLst>
                  <a:ext uri="{FF2B5EF4-FFF2-40B4-BE49-F238E27FC236}">
                    <a16:creationId xmlns:a16="http://schemas.microsoft.com/office/drawing/2014/main" id="{CE60B385-2897-481B-B66F-EB2CA4B59561}"/>
                  </a:ext>
                </a:extLst>
              </p:cNvPr>
              <p:cNvSpPr>
                <a:spLocks/>
              </p:cNvSpPr>
              <p:nvPr/>
            </p:nvSpPr>
            <p:spPr bwMode="auto">
              <a:xfrm>
                <a:off x="7715" y="3244"/>
                <a:ext cx="2"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50">
                <a:extLst>
                  <a:ext uri="{FF2B5EF4-FFF2-40B4-BE49-F238E27FC236}">
                    <a16:creationId xmlns:a16="http://schemas.microsoft.com/office/drawing/2014/main" id="{E837BEA7-C8FA-4368-AA7A-6923D94E2317}"/>
                  </a:ext>
                </a:extLst>
              </p:cNvPr>
              <p:cNvSpPr>
                <a:spLocks noChangeArrowheads="1"/>
              </p:cNvSpPr>
              <p:nvPr/>
            </p:nvSpPr>
            <p:spPr bwMode="auto">
              <a:xfrm>
                <a:off x="7715" y="326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251">
                <a:extLst>
                  <a:ext uri="{FF2B5EF4-FFF2-40B4-BE49-F238E27FC236}">
                    <a16:creationId xmlns:a16="http://schemas.microsoft.com/office/drawing/2014/main" id="{93E30A27-1164-488B-AB02-6A7BA58FF5BF}"/>
                  </a:ext>
                </a:extLst>
              </p:cNvPr>
              <p:cNvSpPr>
                <a:spLocks noChangeArrowheads="1"/>
              </p:cNvSpPr>
              <p:nvPr/>
            </p:nvSpPr>
            <p:spPr bwMode="auto">
              <a:xfrm>
                <a:off x="7715" y="3282"/>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52">
                <a:extLst>
                  <a:ext uri="{FF2B5EF4-FFF2-40B4-BE49-F238E27FC236}">
                    <a16:creationId xmlns:a16="http://schemas.microsoft.com/office/drawing/2014/main" id="{5719D0D5-D08F-4877-8F37-94ECA133B174}"/>
                  </a:ext>
                </a:extLst>
              </p:cNvPr>
              <p:cNvSpPr>
                <a:spLocks/>
              </p:cNvSpPr>
              <p:nvPr/>
            </p:nvSpPr>
            <p:spPr bwMode="auto">
              <a:xfrm>
                <a:off x="7715" y="3301"/>
                <a:ext cx="2" cy="10"/>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53">
                <a:extLst>
                  <a:ext uri="{FF2B5EF4-FFF2-40B4-BE49-F238E27FC236}">
                    <a16:creationId xmlns:a16="http://schemas.microsoft.com/office/drawing/2014/main" id="{F720FD8F-3C4B-4C7E-B876-A1F7B6DB01CB}"/>
                  </a:ext>
                </a:extLst>
              </p:cNvPr>
              <p:cNvSpPr>
                <a:spLocks/>
              </p:cNvSpPr>
              <p:nvPr/>
            </p:nvSpPr>
            <p:spPr bwMode="auto">
              <a:xfrm>
                <a:off x="7712" y="3320"/>
                <a:ext cx="3" cy="10"/>
              </a:xfrm>
              <a:custGeom>
                <a:avLst/>
                <a:gdLst>
                  <a:gd name="T0" fmla="*/ 1 w 1"/>
                  <a:gd name="T1" fmla="*/ 4 h 4"/>
                  <a:gd name="T2" fmla="*/ 1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1" y="2"/>
                    </a:cubicBezTo>
                    <a:cubicBezTo>
                      <a:pt x="1"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254">
                <a:extLst>
                  <a:ext uri="{FF2B5EF4-FFF2-40B4-BE49-F238E27FC236}">
                    <a16:creationId xmlns:a16="http://schemas.microsoft.com/office/drawing/2014/main" id="{31333C53-7608-47B4-9285-09F58C233CDF}"/>
                  </a:ext>
                </a:extLst>
              </p:cNvPr>
              <p:cNvSpPr>
                <a:spLocks noChangeArrowheads="1"/>
              </p:cNvSpPr>
              <p:nvPr/>
            </p:nvSpPr>
            <p:spPr bwMode="auto">
              <a:xfrm>
                <a:off x="7712" y="3339"/>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255">
                <a:extLst>
                  <a:ext uri="{FF2B5EF4-FFF2-40B4-BE49-F238E27FC236}">
                    <a16:creationId xmlns:a16="http://schemas.microsoft.com/office/drawing/2014/main" id="{F7848060-109E-40D8-98CD-4F199F98B5C4}"/>
                  </a:ext>
                </a:extLst>
              </p:cNvPr>
              <p:cNvSpPr>
                <a:spLocks noChangeArrowheads="1"/>
              </p:cNvSpPr>
              <p:nvPr/>
            </p:nvSpPr>
            <p:spPr bwMode="auto">
              <a:xfrm>
                <a:off x="7712" y="3358"/>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56">
                <a:extLst>
                  <a:ext uri="{FF2B5EF4-FFF2-40B4-BE49-F238E27FC236}">
                    <a16:creationId xmlns:a16="http://schemas.microsoft.com/office/drawing/2014/main" id="{1BBB1DEB-BBBD-4E43-9FCF-AAC26556909C}"/>
                  </a:ext>
                </a:extLst>
              </p:cNvPr>
              <p:cNvSpPr>
                <a:spLocks/>
              </p:cNvSpPr>
              <p:nvPr/>
            </p:nvSpPr>
            <p:spPr bwMode="auto">
              <a:xfrm>
                <a:off x="7712" y="3377"/>
                <a:ext cx="3"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257">
                <a:extLst>
                  <a:ext uri="{FF2B5EF4-FFF2-40B4-BE49-F238E27FC236}">
                    <a16:creationId xmlns:a16="http://schemas.microsoft.com/office/drawing/2014/main" id="{F4307B90-0DA0-49F3-8285-734E5259466D}"/>
                  </a:ext>
                </a:extLst>
              </p:cNvPr>
              <p:cNvSpPr>
                <a:spLocks noChangeArrowheads="1"/>
              </p:cNvSpPr>
              <p:nvPr/>
            </p:nvSpPr>
            <p:spPr bwMode="auto">
              <a:xfrm>
                <a:off x="7712" y="3396"/>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258">
                <a:extLst>
                  <a:ext uri="{FF2B5EF4-FFF2-40B4-BE49-F238E27FC236}">
                    <a16:creationId xmlns:a16="http://schemas.microsoft.com/office/drawing/2014/main" id="{45F0C6D6-326F-4939-8406-E0F95F2431B3}"/>
                  </a:ext>
                </a:extLst>
              </p:cNvPr>
              <p:cNvSpPr>
                <a:spLocks noChangeArrowheads="1"/>
              </p:cNvSpPr>
              <p:nvPr/>
            </p:nvSpPr>
            <p:spPr bwMode="auto">
              <a:xfrm>
                <a:off x="7712" y="3415"/>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59">
                <a:extLst>
                  <a:ext uri="{FF2B5EF4-FFF2-40B4-BE49-F238E27FC236}">
                    <a16:creationId xmlns:a16="http://schemas.microsoft.com/office/drawing/2014/main" id="{89018E39-5CBE-44EF-BE92-334C9504CF04}"/>
                  </a:ext>
                </a:extLst>
              </p:cNvPr>
              <p:cNvSpPr>
                <a:spLocks noChangeArrowheads="1"/>
              </p:cNvSpPr>
              <p:nvPr/>
            </p:nvSpPr>
            <p:spPr bwMode="auto">
              <a:xfrm>
                <a:off x="7712" y="3434"/>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260">
                <a:extLst>
                  <a:ext uri="{FF2B5EF4-FFF2-40B4-BE49-F238E27FC236}">
                    <a16:creationId xmlns:a16="http://schemas.microsoft.com/office/drawing/2014/main" id="{1CC7AF62-AB29-45F7-9CA2-48B6EA268744}"/>
                  </a:ext>
                </a:extLst>
              </p:cNvPr>
              <p:cNvSpPr>
                <a:spLocks noChangeArrowheads="1"/>
              </p:cNvSpPr>
              <p:nvPr/>
            </p:nvSpPr>
            <p:spPr bwMode="auto">
              <a:xfrm>
                <a:off x="7710" y="345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61">
                <a:extLst>
                  <a:ext uri="{FF2B5EF4-FFF2-40B4-BE49-F238E27FC236}">
                    <a16:creationId xmlns:a16="http://schemas.microsoft.com/office/drawing/2014/main" id="{E1F2159B-7523-42A1-A63F-D6811C1F0EED}"/>
                  </a:ext>
                </a:extLst>
              </p:cNvPr>
              <p:cNvSpPr>
                <a:spLocks noChangeArrowheads="1"/>
              </p:cNvSpPr>
              <p:nvPr/>
            </p:nvSpPr>
            <p:spPr bwMode="auto">
              <a:xfrm>
                <a:off x="7710" y="3472"/>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262">
                <a:extLst>
                  <a:ext uri="{FF2B5EF4-FFF2-40B4-BE49-F238E27FC236}">
                    <a16:creationId xmlns:a16="http://schemas.microsoft.com/office/drawing/2014/main" id="{42F702E7-E8B9-4323-A7DB-6583AB21E47A}"/>
                  </a:ext>
                </a:extLst>
              </p:cNvPr>
              <p:cNvSpPr>
                <a:spLocks/>
              </p:cNvSpPr>
              <p:nvPr/>
            </p:nvSpPr>
            <p:spPr bwMode="auto">
              <a:xfrm>
                <a:off x="7710" y="3491"/>
                <a:ext cx="2"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263">
                <a:extLst>
                  <a:ext uri="{FF2B5EF4-FFF2-40B4-BE49-F238E27FC236}">
                    <a16:creationId xmlns:a16="http://schemas.microsoft.com/office/drawing/2014/main" id="{10072342-E4FC-43EF-AEF7-76B0AD964676}"/>
                  </a:ext>
                </a:extLst>
              </p:cNvPr>
              <p:cNvSpPr>
                <a:spLocks noChangeArrowheads="1"/>
              </p:cNvSpPr>
              <p:nvPr/>
            </p:nvSpPr>
            <p:spPr bwMode="auto">
              <a:xfrm>
                <a:off x="7710" y="3510"/>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264">
                <a:extLst>
                  <a:ext uri="{FF2B5EF4-FFF2-40B4-BE49-F238E27FC236}">
                    <a16:creationId xmlns:a16="http://schemas.microsoft.com/office/drawing/2014/main" id="{DB3F0095-DB72-4731-9055-F850DF9C5CA7}"/>
                  </a:ext>
                </a:extLst>
              </p:cNvPr>
              <p:cNvSpPr>
                <a:spLocks noChangeArrowheads="1"/>
              </p:cNvSpPr>
              <p:nvPr/>
            </p:nvSpPr>
            <p:spPr bwMode="auto">
              <a:xfrm>
                <a:off x="7710" y="3529"/>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265">
                <a:extLst>
                  <a:ext uri="{FF2B5EF4-FFF2-40B4-BE49-F238E27FC236}">
                    <a16:creationId xmlns:a16="http://schemas.microsoft.com/office/drawing/2014/main" id="{2524DAD7-ABEB-4C14-AF0C-A1523F2693DC}"/>
                  </a:ext>
                </a:extLst>
              </p:cNvPr>
              <p:cNvSpPr>
                <a:spLocks noChangeArrowheads="1"/>
              </p:cNvSpPr>
              <p:nvPr/>
            </p:nvSpPr>
            <p:spPr bwMode="auto">
              <a:xfrm>
                <a:off x="7710" y="3548"/>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266">
                <a:extLst>
                  <a:ext uri="{FF2B5EF4-FFF2-40B4-BE49-F238E27FC236}">
                    <a16:creationId xmlns:a16="http://schemas.microsoft.com/office/drawing/2014/main" id="{99493351-DF26-4577-96FF-B685029F8EBD}"/>
                  </a:ext>
                </a:extLst>
              </p:cNvPr>
              <p:cNvSpPr>
                <a:spLocks noChangeArrowheads="1"/>
              </p:cNvSpPr>
              <p:nvPr/>
            </p:nvSpPr>
            <p:spPr bwMode="auto">
              <a:xfrm>
                <a:off x="7708" y="3567"/>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267">
                <a:extLst>
                  <a:ext uri="{FF2B5EF4-FFF2-40B4-BE49-F238E27FC236}">
                    <a16:creationId xmlns:a16="http://schemas.microsoft.com/office/drawing/2014/main" id="{B4BD35AB-4528-4CDD-844A-9AB0470102DF}"/>
                  </a:ext>
                </a:extLst>
              </p:cNvPr>
              <p:cNvSpPr>
                <a:spLocks noChangeArrowheads="1"/>
              </p:cNvSpPr>
              <p:nvPr/>
            </p:nvSpPr>
            <p:spPr bwMode="auto">
              <a:xfrm>
                <a:off x="7708" y="3586"/>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68">
                <a:extLst>
                  <a:ext uri="{FF2B5EF4-FFF2-40B4-BE49-F238E27FC236}">
                    <a16:creationId xmlns:a16="http://schemas.microsoft.com/office/drawing/2014/main" id="{6B3FCC1A-1B57-4690-A9E5-3A4893EA2358}"/>
                  </a:ext>
                </a:extLst>
              </p:cNvPr>
              <p:cNvSpPr>
                <a:spLocks/>
              </p:cNvSpPr>
              <p:nvPr/>
            </p:nvSpPr>
            <p:spPr bwMode="auto">
              <a:xfrm>
                <a:off x="7708" y="3605"/>
                <a:ext cx="2"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269">
                <a:extLst>
                  <a:ext uri="{FF2B5EF4-FFF2-40B4-BE49-F238E27FC236}">
                    <a16:creationId xmlns:a16="http://schemas.microsoft.com/office/drawing/2014/main" id="{FFACB834-F8C1-4183-B45A-03CE48337FE9}"/>
                  </a:ext>
                </a:extLst>
              </p:cNvPr>
              <p:cNvSpPr>
                <a:spLocks/>
              </p:cNvSpPr>
              <p:nvPr/>
            </p:nvSpPr>
            <p:spPr bwMode="auto">
              <a:xfrm>
                <a:off x="7708" y="3624"/>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70">
                <a:extLst>
                  <a:ext uri="{FF2B5EF4-FFF2-40B4-BE49-F238E27FC236}">
                    <a16:creationId xmlns:a16="http://schemas.microsoft.com/office/drawing/2014/main" id="{8F7A270E-95CE-4FE4-ACAA-39DA807C76F6}"/>
                  </a:ext>
                </a:extLst>
              </p:cNvPr>
              <p:cNvSpPr>
                <a:spLocks/>
              </p:cNvSpPr>
              <p:nvPr/>
            </p:nvSpPr>
            <p:spPr bwMode="auto">
              <a:xfrm>
                <a:off x="7708" y="3643"/>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1"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71">
                <a:extLst>
                  <a:ext uri="{FF2B5EF4-FFF2-40B4-BE49-F238E27FC236}">
                    <a16:creationId xmlns:a16="http://schemas.microsoft.com/office/drawing/2014/main" id="{C365D898-0000-4260-B028-9ED82FCB60A3}"/>
                  </a:ext>
                </a:extLst>
              </p:cNvPr>
              <p:cNvSpPr>
                <a:spLocks/>
              </p:cNvSpPr>
              <p:nvPr/>
            </p:nvSpPr>
            <p:spPr bwMode="auto">
              <a:xfrm>
                <a:off x="7705" y="3662"/>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1"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72">
                <a:extLst>
                  <a:ext uri="{FF2B5EF4-FFF2-40B4-BE49-F238E27FC236}">
                    <a16:creationId xmlns:a16="http://schemas.microsoft.com/office/drawing/2014/main" id="{A7C60068-6CFD-4AB6-A002-9888AC387B25}"/>
                  </a:ext>
                </a:extLst>
              </p:cNvPr>
              <p:cNvSpPr>
                <a:spLocks/>
              </p:cNvSpPr>
              <p:nvPr/>
            </p:nvSpPr>
            <p:spPr bwMode="auto">
              <a:xfrm>
                <a:off x="7705" y="3681"/>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73">
                <a:extLst>
                  <a:ext uri="{FF2B5EF4-FFF2-40B4-BE49-F238E27FC236}">
                    <a16:creationId xmlns:a16="http://schemas.microsoft.com/office/drawing/2014/main" id="{4E82A1F6-A636-43F8-98B1-F60EE224BA1B}"/>
                  </a:ext>
                </a:extLst>
              </p:cNvPr>
              <p:cNvSpPr>
                <a:spLocks/>
              </p:cNvSpPr>
              <p:nvPr/>
            </p:nvSpPr>
            <p:spPr bwMode="auto">
              <a:xfrm>
                <a:off x="7705" y="3700"/>
                <a:ext cx="3" cy="10"/>
              </a:xfrm>
              <a:custGeom>
                <a:avLst/>
                <a:gdLst>
                  <a:gd name="T0" fmla="*/ 0 w 1"/>
                  <a:gd name="T1" fmla="*/ 4 h 4"/>
                  <a:gd name="T2" fmla="*/ 0 w 1"/>
                  <a:gd name="T3" fmla="*/ 2 h 4"/>
                  <a:gd name="T4" fmla="*/ 1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1" y="0"/>
                    </a:cubicBezTo>
                    <a:cubicBezTo>
                      <a:pt x="1"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74">
                <a:extLst>
                  <a:ext uri="{FF2B5EF4-FFF2-40B4-BE49-F238E27FC236}">
                    <a16:creationId xmlns:a16="http://schemas.microsoft.com/office/drawing/2014/main" id="{36A903FA-8840-4A9E-8C44-80312C27FB11}"/>
                  </a:ext>
                </a:extLst>
              </p:cNvPr>
              <p:cNvSpPr>
                <a:spLocks/>
              </p:cNvSpPr>
              <p:nvPr/>
            </p:nvSpPr>
            <p:spPr bwMode="auto">
              <a:xfrm>
                <a:off x="7705" y="3719"/>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75">
                <a:extLst>
                  <a:ext uri="{FF2B5EF4-FFF2-40B4-BE49-F238E27FC236}">
                    <a16:creationId xmlns:a16="http://schemas.microsoft.com/office/drawing/2014/main" id="{096F8A5D-28D2-4E93-ABE3-8DB1B02C9E72}"/>
                  </a:ext>
                </a:extLst>
              </p:cNvPr>
              <p:cNvSpPr>
                <a:spLocks/>
              </p:cNvSpPr>
              <p:nvPr/>
            </p:nvSpPr>
            <p:spPr bwMode="auto">
              <a:xfrm>
                <a:off x="7705" y="3738"/>
                <a:ext cx="3" cy="10"/>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76">
                <a:extLst>
                  <a:ext uri="{FF2B5EF4-FFF2-40B4-BE49-F238E27FC236}">
                    <a16:creationId xmlns:a16="http://schemas.microsoft.com/office/drawing/2014/main" id="{53B0C319-0218-496A-9CA1-230CB04ECF0F}"/>
                  </a:ext>
                </a:extLst>
              </p:cNvPr>
              <p:cNvSpPr>
                <a:spLocks noChangeArrowheads="1"/>
              </p:cNvSpPr>
              <p:nvPr/>
            </p:nvSpPr>
            <p:spPr bwMode="auto">
              <a:xfrm>
                <a:off x="7703" y="3757"/>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277">
                <a:extLst>
                  <a:ext uri="{FF2B5EF4-FFF2-40B4-BE49-F238E27FC236}">
                    <a16:creationId xmlns:a16="http://schemas.microsoft.com/office/drawing/2014/main" id="{5743ACBA-3F58-485D-A7B8-23801C03DF49}"/>
                  </a:ext>
                </a:extLst>
              </p:cNvPr>
              <p:cNvSpPr>
                <a:spLocks/>
              </p:cNvSpPr>
              <p:nvPr/>
            </p:nvSpPr>
            <p:spPr bwMode="auto">
              <a:xfrm>
                <a:off x="7608" y="1192"/>
                <a:ext cx="225" cy="394"/>
              </a:xfrm>
              <a:custGeom>
                <a:avLst/>
                <a:gdLst>
                  <a:gd name="T0" fmla="*/ 34 w 95"/>
                  <a:gd name="T1" fmla="*/ 166 h 166"/>
                  <a:gd name="T2" fmla="*/ 32 w 95"/>
                  <a:gd name="T3" fmla="*/ 122 h 166"/>
                  <a:gd name="T4" fmla="*/ 4 w 95"/>
                  <a:gd name="T5" fmla="*/ 96 h 166"/>
                  <a:gd name="T6" fmla="*/ 0 w 95"/>
                  <a:gd name="T7" fmla="*/ 14 h 166"/>
                  <a:gd name="T8" fmla="*/ 88 w 95"/>
                  <a:gd name="T9" fmla="*/ 17 h 166"/>
                  <a:gd name="T10" fmla="*/ 94 w 95"/>
                  <a:gd name="T11" fmla="*/ 21 h 166"/>
                  <a:gd name="T12" fmla="*/ 95 w 95"/>
                  <a:gd name="T13" fmla="*/ 50 h 166"/>
                  <a:gd name="T14" fmla="*/ 93 w 95"/>
                  <a:gd name="T15" fmla="*/ 76 h 166"/>
                  <a:gd name="T16" fmla="*/ 92 w 95"/>
                  <a:gd name="T17" fmla="*/ 147 h 166"/>
                  <a:gd name="T18" fmla="*/ 34 w 95"/>
                  <a:gd name="T19"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166">
                    <a:moveTo>
                      <a:pt x="34" y="166"/>
                    </a:moveTo>
                    <a:cubicBezTo>
                      <a:pt x="34" y="158"/>
                      <a:pt x="32" y="122"/>
                      <a:pt x="32" y="122"/>
                    </a:cubicBezTo>
                    <a:cubicBezTo>
                      <a:pt x="32" y="122"/>
                      <a:pt x="7" y="121"/>
                      <a:pt x="4" y="96"/>
                    </a:cubicBezTo>
                    <a:cubicBezTo>
                      <a:pt x="1" y="72"/>
                      <a:pt x="0" y="14"/>
                      <a:pt x="0" y="14"/>
                    </a:cubicBezTo>
                    <a:cubicBezTo>
                      <a:pt x="28" y="0"/>
                      <a:pt x="61" y="0"/>
                      <a:pt x="88" y="17"/>
                    </a:cubicBezTo>
                    <a:cubicBezTo>
                      <a:pt x="94" y="21"/>
                      <a:pt x="94" y="21"/>
                      <a:pt x="94" y="21"/>
                    </a:cubicBezTo>
                    <a:cubicBezTo>
                      <a:pt x="95" y="50"/>
                      <a:pt x="95" y="50"/>
                      <a:pt x="95" y="50"/>
                    </a:cubicBezTo>
                    <a:cubicBezTo>
                      <a:pt x="93" y="76"/>
                      <a:pt x="93" y="76"/>
                      <a:pt x="93" y="76"/>
                    </a:cubicBezTo>
                    <a:cubicBezTo>
                      <a:pt x="92" y="147"/>
                      <a:pt x="92" y="147"/>
                      <a:pt x="92" y="147"/>
                    </a:cubicBezTo>
                    <a:cubicBezTo>
                      <a:pt x="34" y="166"/>
                      <a:pt x="34" y="166"/>
                      <a:pt x="34" y="166"/>
                    </a:cubicBez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278">
                <a:extLst>
                  <a:ext uri="{FF2B5EF4-FFF2-40B4-BE49-F238E27FC236}">
                    <a16:creationId xmlns:a16="http://schemas.microsoft.com/office/drawing/2014/main" id="{EF0A0079-5E49-4B1C-9584-3728862B7E84}"/>
                  </a:ext>
                </a:extLst>
              </p:cNvPr>
              <p:cNvSpPr>
                <a:spLocks/>
              </p:cNvSpPr>
              <p:nvPr/>
            </p:nvSpPr>
            <p:spPr bwMode="auto">
              <a:xfrm>
                <a:off x="7617" y="1313"/>
                <a:ext cx="17" cy="15"/>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1"/>
                      <a:pt x="5" y="0"/>
                      <a:pt x="3" y="0"/>
                    </a:cubicBezTo>
                    <a:cubicBezTo>
                      <a:pt x="2" y="0"/>
                      <a:pt x="0" y="1"/>
                      <a:pt x="0"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279">
                <a:extLst>
                  <a:ext uri="{FF2B5EF4-FFF2-40B4-BE49-F238E27FC236}">
                    <a16:creationId xmlns:a16="http://schemas.microsoft.com/office/drawing/2014/main" id="{E02E76BF-11FB-4EF6-9AEF-732C18ED6EF2}"/>
                  </a:ext>
                </a:extLst>
              </p:cNvPr>
              <p:cNvSpPr>
                <a:spLocks/>
              </p:cNvSpPr>
              <p:nvPr/>
            </p:nvSpPr>
            <p:spPr bwMode="auto">
              <a:xfrm>
                <a:off x="7617" y="1309"/>
                <a:ext cx="31" cy="9"/>
              </a:xfrm>
              <a:custGeom>
                <a:avLst/>
                <a:gdLst>
                  <a:gd name="T0" fmla="*/ 0 w 13"/>
                  <a:gd name="T1" fmla="*/ 4 h 4"/>
                  <a:gd name="T2" fmla="*/ 6 w 13"/>
                  <a:gd name="T3" fmla="*/ 2 h 4"/>
                  <a:gd name="T4" fmla="*/ 12 w 13"/>
                  <a:gd name="T5" fmla="*/ 3 h 4"/>
                  <a:gd name="T6" fmla="*/ 11 w 13"/>
                  <a:gd name="T7" fmla="*/ 1 h 4"/>
                  <a:gd name="T8" fmla="*/ 6 w 13"/>
                  <a:gd name="T9" fmla="*/ 0 h 4"/>
                  <a:gd name="T10" fmla="*/ 1 w 13"/>
                  <a:gd name="T11" fmla="*/ 2 h 4"/>
                  <a:gd name="T12" fmla="*/ 0 w 1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0" y="4"/>
                    </a:moveTo>
                    <a:cubicBezTo>
                      <a:pt x="0" y="4"/>
                      <a:pt x="3" y="2"/>
                      <a:pt x="6" y="2"/>
                    </a:cubicBezTo>
                    <a:cubicBezTo>
                      <a:pt x="9" y="2"/>
                      <a:pt x="12" y="3"/>
                      <a:pt x="12" y="3"/>
                    </a:cubicBezTo>
                    <a:cubicBezTo>
                      <a:pt x="13" y="2"/>
                      <a:pt x="12" y="2"/>
                      <a:pt x="11" y="1"/>
                    </a:cubicBezTo>
                    <a:cubicBezTo>
                      <a:pt x="10" y="0"/>
                      <a:pt x="8" y="0"/>
                      <a:pt x="6" y="0"/>
                    </a:cubicBezTo>
                    <a:cubicBezTo>
                      <a:pt x="4" y="0"/>
                      <a:pt x="2" y="1"/>
                      <a:pt x="1" y="2"/>
                    </a:cubicBezTo>
                    <a:cubicBezTo>
                      <a:pt x="0" y="3"/>
                      <a:pt x="0" y="4"/>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280">
                <a:extLst>
                  <a:ext uri="{FF2B5EF4-FFF2-40B4-BE49-F238E27FC236}">
                    <a16:creationId xmlns:a16="http://schemas.microsoft.com/office/drawing/2014/main" id="{E48052D7-A169-4C1E-9BD1-C3D9FA913694}"/>
                  </a:ext>
                </a:extLst>
              </p:cNvPr>
              <p:cNvSpPr>
                <a:spLocks/>
              </p:cNvSpPr>
              <p:nvPr/>
            </p:nvSpPr>
            <p:spPr bwMode="auto">
              <a:xfrm>
                <a:off x="7705" y="1309"/>
                <a:ext cx="19" cy="16"/>
              </a:xfrm>
              <a:custGeom>
                <a:avLst/>
                <a:gdLst>
                  <a:gd name="T0" fmla="*/ 2 w 8"/>
                  <a:gd name="T1" fmla="*/ 1 h 7"/>
                  <a:gd name="T2" fmla="*/ 1 w 8"/>
                  <a:gd name="T3" fmla="*/ 5 h 7"/>
                  <a:gd name="T4" fmla="*/ 6 w 8"/>
                  <a:gd name="T5" fmla="*/ 6 h 7"/>
                  <a:gd name="T6" fmla="*/ 6 w 8"/>
                  <a:gd name="T7" fmla="*/ 2 h 7"/>
                  <a:gd name="T8" fmla="*/ 2 w 8"/>
                  <a:gd name="T9" fmla="*/ 1 h 7"/>
                </a:gdLst>
                <a:ahLst/>
                <a:cxnLst>
                  <a:cxn ang="0">
                    <a:pos x="T0" y="T1"/>
                  </a:cxn>
                  <a:cxn ang="0">
                    <a:pos x="T2" y="T3"/>
                  </a:cxn>
                  <a:cxn ang="0">
                    <a:pos x="T4" y="T5"/>
                  </a:cxn>
                  <a:cxn ang="0">
                    <a:pos x="T6" y="T7"/>
                  </a:cxn>
                  <a:cxn ang="0">
                    <a:pos x="T8" y="T9"/>
                  </a:cxn>
                </a:cxnLst>
                <a:rect l="0" t="0" r="r" b="b"/>
                <a:pathLst>
                  <a:path w="8" h="7">
                    <a:moveTo>
                      <a:pt x="2" y="1"/>
                    </a:moveTo>
                    <a:cubicBezTo>
                      <a:pt x="1" y="2"/>
                      <a:pt x="0" y="4"/>
                      <a:pt x="1" y="5"/>
                    </a:cubicBezTo>
                    <a:cubicBezTo>
                      <a:pt x="2" y="7"/>
                      <a:pt x="4" y="7"/>
                      <a:pt x="6" y="6"/>
                    </a:cubicBezTo>
                    <a:cubicBezTo>
                      <a:pt x="7" y="5"/>
                      <a:pt x="8" y="3"/>
                      <a:pt x="6" y="2"/>
                    </a:cubicBezTo>
                    <a:cubicBezTo>
                      <a:pt x="5" y="0"/>
                      <a:pt x="3" y="0"/>
                      <a:pt x="2"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281">
                <a:extLst>
                  <a:ext uri="{FF2B5EF4-FFF2-40B4-BE49-F238E27FC236}">
                    <a16:creationId xmlns:a16="http://schemas.microsoft.com/office/drawing/2014/main" id="{91216D02-18C4-42EC-820A-7584F24CCE66}"/>
                  </a:ext>
                </a:extLst>
              </p:cNvPr>
              <p:cNvSpPr>
                <a:spLocks/>
              </p:cNvSpPr>
              <p:nvPr/>
            </p:nvSpPr>
            <p:spPr bwMode="auto">
              <a:xfrm>
                <a:off x="7708" y="1304"/>
                <a:ext cx="28" cy="12"/>
              </a:xfrm>
              <a:custGeom>
                <a:avLst/>
                <a:gdLst>
                  <a:gd name="T0" fmla="*/ 0 w 12"/>
                  <a:gd name="T1" fmla="*/ 4 h 5"/>
                  <a:gd name="T2" fmla="*/ 6 w 12"/>
                  <a:gd name="T3" fmla="*/ 2 h 5"/>
                  <a:gd name="T4" fmla="*/ 12 w 12"/>
                  <a:gd name="T5" fmla="*/ 3 h 5"/>
                  <a:gd name="T6" fmla="*/ 11 w 12"/>
                  <a:gd name="T7" fmla="*/ 1 h 5"/>
                  <a:gd name="T8" fmla="*/ 6 w 12"/>
                  <a:gd name="T9" fmla="*/ 0 h 5"/>
                  <a:gd name="T10" fmla="*/ 1 w 12"/>
                  <a:gd name="T11" fmla="*/ 2 h 5"/>
                  <a:gd name="T12" fmla="*/ 0 w 12"/>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0" y="4"/>
                    </a:moveTo>
                    <a:cubicBezTo>
                      <a:pt x="0" y="5"/>
                      <a:pt x="2" y="3"/>
                      <a:pt x="6" y="2"/>
                    </a:cubicBezTo>
                    <a:cubicBezTo>
                      <a:pt x="9" y="2"/>
                      <a:pt x="12" y="3"/>
                      <a:pt x="12" y="3"/>
                    </a:cubicBezTo>
                    <a:cubicBezTo>
                      <a:pt x="12" y="3"/>
                      <a:pt x="12" y="2"/>
                      <a:pt x="11" y="1"/>
                    </a:cubicBezTo>
                    <a:cubicBezTo>
                      <a:pt x="10" y="1"/>
                      <a:pt x="8" y="0"/>
                      <a:pt x="6" y="0"/>
                    </a:cubicBezTo>
                    <a:cubicBezTo>
                      <a:pt x="4" y="0"/>
                      <a:pt x="2" y="1"/>
                      <a:pt x="1" y="2"/>
                    </a:cubicBezTo>
                    <a:cubicBezTo>
                      <a:pt x="0" y="3"/>
                      <a:pt x="0" y="4"/>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82">
                <a:extLst>
                  <a:ext uri="{FF2B5EF4-FFF2-40B4-BE49-F238E27FC236}">
                    <a16:creationId xmlns:a16="http://schemas.microsoft.com/office/drawing/2014/main" id="{F6E42B63-C412-4F9D-8AD7-2028920662D4}"/>
                  </a:ext>
                </a:extLst>
              </p:cNvPr>
              <p:cNvSpPr>
                <a:spLocks/>
              </p:cNvSpPr>
              <p:nvPr/>
            </p:nvSpPr>
            <p:spPr bwMode="auto">
              <a:xfrm>
                <a:off x="7658" y="1313"/>
                <a:ext cx="23" cy="74"/>
              </a:xfrm>
              <a:custGeom>
                <a:avLst/>
                <a:gdLst>
                  <a:gd name="T0" fmla="*/ 10 w 10"/>
                  <a:gd name="T1" fmla="*/ 30 h 31"/>
                  <a:gd name="T2" fmla="*/ 4 w 10"/>
                  <a:gd name="T3" fmla="*/ 30 h 31"/>
                  <a:gd name="T4" fmla="*/ 1 w 10"/>
                  <a:gd name="T5" fmla="*/ 29 h 31"/>
                  <a:gd name="T6" fmla="*/ 1 w 10"/>
                  <a:gd name="T7" fmla="*/ 25 h 31"/>
                  <a:gd name="T8" fmla="*/ 3 w 10"/>
                  <a:gd name="T9" fmla="*/ 18 h 31"/>
                  <a:gd name="T10" fmla="*/ 9 w 10"/>
                  <a:gd name="T11" fmla="*/ 0 h 31"/>
                  <a:gd name="T12" fmla="*/ 5 w 10"/>
                  <a:gd name="T13" fmla="*/ 19 h 31"/>
                  <a:gd name="T14" fmla="*/ 3 w 10"/>
                  <a:gd name="T15" fmla="*/ 26 h 31"/>
                  <a:gd name="T16" fmla="*/ 2 w 10"/>
                  <a:gd name="T17" fmla="*/ 28 h 31"/>
                  <a:gd name="T18" fmla="*/ 4 w 10"/>
                  <a:gd name="T19" fmla="*/ 29 h 31"/>
                  <a:gd name="T20" fmla="*/ 10 w 10"/>
                  <a:gd name="T2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1">
                    <a:moveTo>
                      <a:pt x="10" y="30"/>
                    </a:moveTo>
                    <a:cubicBezTo>
                      <a:pt x="10" y="30"/>
                      <a:pt x="8" y="30"/>
                      <a:pt x="4" y="30"/>
                    </a:cubicBezTo>
                    <a:cubicBezTo>
                      <a:pt x="3" y="30"/>
                      <a:pt x="2" y="31"/>
                      <a:pt x="1" y="29"/>
                    </a:cubicBezTo>
                    <a:cubicBezTo>
                      <a:pt x="0" y="28"/>
                      <a:pt x="1" y="26"/>
                      <a:pt x="1" y="25"/>
                    </a:cubicBezTo>
                    <a:cubicBezTo>
                      <a:pt x="2" y="23"/>
                      <a:pt x="2" y="20"/>
                      <a:pt x="3" y="18"/>
                    </a:cubicBezTo>
                    <a:cubicBezTo>
                      <a:pt x="6" y="8"/>
                      <a:pt x="9" y="0"/>
                      <a:pt x="9" y="0"/>
                    </a:cubicBezTo>
                    <a:cubicBezTo>
                      <a:pt x="9" y="0"/>
                      <a:pt x="8" y="8"/>
                      <a:pt x="5" y="19"/>
                    </a:cubicBezTo>
                    <a:cubicBezTo>
                      <a:pt x="4" y="21"/>
                      <a:pt x="3" y="23"/>
                      <a:pt x="3" y="26"/>
                    </a:cubicBezTo>
                    <a:cubicBezTo>
                      <a:pt x="2" y="27"/>
                      <a:pt x="2" y="28"/>
                      <a:pt x="2" y="28"/>
                    </a:cubicBezTo>
                    <a:cubicBezTo>
                      <a:pt x="2" y="29"/>
                      <a:pt x="3" y="29"/>
                      <a:pt x="4" y="29"/>
                    </a:cubicBezTo>
                    <a:cubicBezTo>
                      <a:pt x="8" y="29"/>
                      <a:pt x="10" y="29"/>
                      <a:pt x="10" y="3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83">
                <a:extLst>
                  <a:ext uri="{FF2B5EF4-FFF2-40B4-BE49-F238E27FC236}">
                    <a16:creationId xmlns:a16="http://schemas.microsoft.com/office/drawing/2014/main" id="{58590B8E-0E8A-4423-826F-5EF57792EC26}"/>
                  </a:ext>
                </a:extLst>
              </p:cNvPr>
              <p:cNvSpPr>
                <a:spLocks/>
              </p:cNvSpPr>
              <p:nvPr/>
            </p:nvSpPr>
            <p:spPr bwMode="auto">
              <a:xfrm>
                <a:off x="7670" y="1385"/>
                <a:ext cx="45" cy="35"/>
              </a:xfrm>
              <a:custGeom>
                <a:avLst/>
                <a:gdLst>
                  <a:gd name="T0" fmla="*/ 16 w 19"/>
                  <a:gd name="T1" fmla="*/ 2 h 15"/>
                  <a:gd name="T2" fmla="*/ 0 w 19"/>
                  <a:gd name="T3" fmla="*/ 9 h 15"/>
                  <a:gd name="T4" fmla="*/ 11 w 19"/>
                  <a:gd name="T5" fmla="*/ 11 h 15"/>
                  <a:gd name="T6" fmla="*/ 16 w 19"/>
                  <a:gd name="T7" fmla="*/ 2 h 15"/>
                </a:gdLst>
                <a:ahLst/>
                <a:cxnLst>
                  <a:cxn ang="0">
                    <a:pos x="T0" y="T1"/>
                  </a:cxn>
                  <a:cxn ang="0">
                    <a:pos x="T2" y="T3"/>
                  </a:cxn>
                  <a:cxn ang="0">
                    <a:pos x="T4" y="T5"/>
                  </a:cxn>
                  <a:cxn ang="0">
                    <a:pos x="T6" y="T7"/>
                  </a:cxn>
                </a:cxnLst>
                <a:rect l="0" t="0" r="r" b="b"/>
                <a:pathLst>
                  <a:path w="19" h="15">
                    <a:moveTo>
                      <a:pt x="16" y="2"/>
                    </a:moveTo>
                    <a:cubicBezTo>
                      <a:pt x="19" y="0"/>
                      <a:pt x="7" y="8"/>
                      <a:pt x="0" y="9"/>
                    </a:cubicBezTo>
                    <a:cubicBezTo>
                      <a:pt x="0" y="9"/>
                      <a:pt x="4" y="15"/>
                      <a:pt x="11" y="11"/>
                    </a:cubicBezTo>
                    <a:cubicBezTo>
                      <a:pt x="18" y="8"/>
                      <a:pt x="16" y="2"/>
                      <a:pt x="1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284">
                <a:extLst>
                  <a:ext uri="{FF2B5EF4-FFF2-40B4-BE49-F238E27FC236}">
                    <a16:creationId xmlns:a16="http://schemas.microsoft.com/office/drawing/2014/main" id="{23E7CEEF-5800-4CF6-A680-F86BBBEAC935}"/>
                  </a:ext>
                </a:extLst>
              </p:cNvPr>
              <p:cNvSpPr>
                <a:spLocks/>
              </p:cNvSpPr>
              <p:nvPr/>
            </p:nvSpPr>
            <p:spPr bwMode="auto">
              <a:xfrm>
                <a:off x="7684" y="1453"/>
                <a:ext cx="76" cy="46"/>
              </a:xfrm>
              <a:custGeom>
                <a:avLst/>
                <a:gdLst>
                  <a:gd name="T0" fmla="*/ 0 w 32"/>
                  <a:gd name="T1" fmla="*/ 13 h 19"/>
                  <a:gd name="T2" fmla="*/ 32 w 32"/>
                  <a:gd name="T3" fmla="*/ 0 h 19"/>
                  <a:gd name="T4" fmla="*/ 0 w 32"/>
                  <a:gd name="T5" fmla="*/ 19 h 19"/>
                  <a:gd name="T6" fmla="*/ 0 w 32"/>
                  <a:gd name="T7" fmla="*/ 13 h 19"/>
                </a:gdLst>
                <a:ahLst/>
                <a:cxnLst>
                  <a:cxn ang="0">
                    <a:pos x="T0" y="T1"/>
                  </a:cxn>
                  <a:cxn ang="0">
                    <a:pos x="T2" y="T3"/>
                  </a:cxn>
                  <a:cxn ang="0">
                    <a:pos x="T4" y="T5"/>
                  </a:cxn>
                  <a:cxn ang="0">
                    <a:pos x="T6" y="T7"/>
                  </a:cxn>
                </a:cxnLst>
                <a:rect l="0" t="0" r="r" b="b"/>
                <a:pathLst>
                  <a:path w="32" h="19">
                    <a:moveTo>
                      <a:pt x="0" y="13"/>
                    </a:moveTo>
                    <a:cubicBezTo>
                      <a:pt x="0" y="13"/>
                      <a:pt x="16" y="12"/>
                      <a:pt x="32" y="0"/>
                    </a:cubicBezTo>
                    <a:cubicBezTo>
                      <a:pt x="32" y="0"/>
                      <a:pt x="25" y="19"/>
                      <a:pt x="0" y="19"/>
                    </a:cubicBezTo>
                    <a:lnTo>
                      <a:pt x="0" y="13"/>
                    </a:ln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285">
                <a:extLst>
                  <a:ext uri="{FF2B5EF4-FFF2-40B4-BE49-F238E27FC236}">
                    <a16:creationId xmlns:a16="http://schemas.microsoft.com/office/drawing/2014/main" id="{199C07CA-56E8-4A7F-8F25-9F367827D282}"/>
                  </a:ext>
                </a:extLst>
              </p:cNvPr>
              <p:cNvSpPr>
                <a:spLocks/>
              </p:cNvSpPr>
              <p:nvPr/>
            </p:nvSpPr>
            <p:spPr bwMode="auto">
              <a:xfrm>
                <a:off x="7579" y="1147"/>
                <a:ext cx="276" cy="219"/>
              </a:xfrm>
              <a:custGeom>
                <a:avLst/>
                <a:gdLst>
                  <a:gd name="T0" fmla="*/ 93 w 116"/>
                  <a:gd name="T1" fmla="*/ 19 h 92"/>
                  <a:gd name="T2" fmla="*/ 70 w 116"/>
                  <a:gd name="T3" fmla="*/ 5 h 92"/>
                  <a:gd name="T4" fmla="*/ 44 w 116"/>
                  <a:gd name="T5" fmla="*/ 4 h 92"/>
                  <a:gd name="T6" fmla="*/ 33 w 116"/>
                  <a:gd name="T7" fmla="*/ 10 h 92"/>
                  <a:gd name="T8" fmla="*/ 8 w 116"/>
                  <a:gd name="T9" fmla="*/ 16 h 92"/>
                  <a:gd name="T10" fmla="*/ 4 w 116"/>
                  <a:gd name="T11" fmla="*/ 38 h 92"/>
                  <a:gd name="T12" fmla="*/ 23 w 116"/>
                  <a:gd name="T13" fmla="*/ 50 h 92"/>
                  <a:gd name="T14" fmla="*/ 47 w 116"/>
                  <a:gd name="T15" fmla="*/ 46 h 92"/>
                  <a:gd name="T16" fmla="*/ 60 w 116"/>
                  <a:gd name="T17" fmla="*/ 45 h 92"/>
                  <a:gd name="T18" fmla="*/ 72 w 116"/>
                  <a:gd name="T19" fmla="*/ 51 h 92"/>
                  <a:gd name="T20" fmla="*/ 83 w 116"/>
                  <a:gd name="T21" fmla="*/ 51 h 92"/>
                  <a:gd name="T22" fmla="*/ 85 w 116"/>
                  <a:gd name="T23" fmla="*/ 56 h 92"/>
                  <a:gd name="T24" fmla="*/ 93 w 116"/>
                  <a:gd name="T25" fmla="*/ 90 h 92"/>
                  <a:gd name="T26" fmla="*/ 107 w 116"/>
                  <a:gd name="T27" fmla="*/ 85 h 92"/>
                  <a:gd name="T28" fmla="*/ 112 w 116"/>
                  <a:gd name="T29" fmla="*/ 29 h 92"/>
                  <a:gd name="T30" fmla="*/ 105 w 116"/>
                  <a:gd name="T31" fmla="*/ 17 h 92"/>
                  <a:gd name="T32" fmla="*/ 92 w 116"/>
                  <a:gd name="T33"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92">
                    <a:moveTo>
                      <a:pt x="93" y="19"/>
                    </a:moveTo>
                    <a:cubicBezTo>
                      <a:pt x="86" y="14"/>
                      <a:pt x="79" y="8"/>
                      <a:pt x="70" y="5"/>
                    </a:cubicBezTo>
                    <a:cubicBezTo>
                      <a:pt x="62" y="1"/>
                      <a:pt x="52" y="0"/>
                      <a:pt x="44" y="4"/>
                    </a:cubicBezTo>
                    <a:cubicBezTo>
                      <a:pt x="40" y="6"/>
                      <a:pt x="37" y="9"/>
                      <a:pt x="33" y="10"/>
                    </a:cubicBezTo>
                    <a:cubicBezTo>
                      <a:pt x="25" y="13"/>
                      <a:pt x="15" y="11"/>
                      <a:pt x="8" y="16"/>
                    </a:cubicBezTo>
                    <a:cubicBezTo>
                      <a:pt x="2" y="21"/>
                      <a:pt x="0" y="31"/>
                      <a:pt x="4" y="38"/>
                    </a:cubicBezTo>
                    <a:cubicBezTo>
                      <a:pt x="8" y="45"/>
                      <a:pt x="16" y="49"/>
                      <a:pt x="23" y="50"/>
                    </a:cubicBezTo>
                    <a:cubicBezTo>
                      <a:pt x="31" y="51"/>
                      <a:pt x="39" y="49"/>
                      <a:pt x="47" y="46"/>
                    </a:cubicBezTo>
                    <a:cubicBezTo>
                      <a:pt x="51" y="45"/>
                      <a:pt x="56" y="43"/>
                      <a:pt x="60" y="45"/>
                    </a:cubicBezTo>
                    <a:cubicBezTo>
                      <a:pt x="65" y="46"/>
                      <a:pt x="67" y="51"/>
                      <a:pt x="72" y="51"/>
                    </a:cubicBezTo>
                    <a:cubicBezTo>
                      <a:pt x="76" y="52"/>
                      <a:pt x="80" y="49"/>
                      <a:pt x="83" y="51"/>
                    </a:cubicBezTo>
                    <a:cubicBezTo>
                      <a:pt x="84" y="52"/>
                      <a:pt x="85" y="54"/>
                      <a:pt x="85" y="56"/>
                    </a:cubicBezTo>
                    <a:cubicBezTo>
                      <a:pt x="87" y="64"/>
                      <a:pt x="92" y="81"/>
                      <a:pt x="93" y="90"/>
                    </a:cubicBezTo>
                    <a:cubicBezTo>
                      <a:pt x="99" y="92"/>
                      <a:pt x="101" y="85"/>
                      <a:pt x="107" y="85"/>
                    </a:cubicBezTo>
                    <a:cubicBezTo>
                      <a:pt x="108" y="66"/>
                      <a:pt x="116" y="47"/>
                      <a:pt x="112" y="29"/>
                    </a:cubicBezTo>
                    <a:cubicBezTo>
                      <a:pt x="111" y="24"/>
                      <a:pt x="108" y="20"/>
                      <a:pt x="105" y="17"/>
                    </a:cubicBezTo>
                    <a:cubicBezTo>
                      <a:pt x="101" y="15"/>
                      <a:pt x="95" y="15"/>
                      <a:pt x="92" y="19"/>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286">
                <a:extLst>
                  <a:ext uri="{FF2B5EF4-FFF2-40B4-BE49-F238E27FC236}">
                    <a16:creationId xmlns:a16="http://schemas.microsoft.com/office/drawing/2014/main" id="{3C69AB09-258C-40B4-8D50-59B039A94647}"/>
                  </a:ext>
                </a:extLst>
              </p:cNvPr>
              <p:cNvSpPr>
                <a:spLocks/>
              </p:cNvSpPr>
              <p:nvPr/>
            </p:nvSpPr>
            <p:spPr bwMode="auto">
              <a:xfrm>
                <a:off x="7810" y="1287"/>
                <a:ext cx="52" cy="95"/>
              </a:xfrm>
              <a:custGeom>
                <a:avLst/>
                <a:gdLst>
                  <a:gd name="T0" fmla="*/ 0 w 22"/>
                  <a:gd name="T1" fmla="*/ 6 h 40"/>
                  <a:gd name="T2" fmla="*/ 19 w 22"/>
                  <a:gd name="T3" fmla="*/ 20 h 40"/>
                  <a:gd name="T4" fmla="*/ 1 w 22"/>
                  <a:gd name="T5" fmla="*/ 35 h 40"/>
                  <a:gd name="T6" fmla="*/ 0 w 22"/>
                  <a:gd name="T7" fmla="*/ 6 h 40"/>
                </a:gdLst>
                <a:ahLst/>
                <a:cxnLst>
                  <a:cxn ang="0">
                    <a:pos x="T0" y="T1"/>
                  </a:cxn>
                  <a:cxn ang="0">
                    <a:pos x="T2" y="T3"/>
                  </a:cxn>
                  <a:cxn ang="0">
                    <a:pos x="T4" y="T5"/>
                  </a:cxn>
                  <a:cxn ang="0">
                    <a:pos x="T6" y="T7"/>
                  </a:cxn>
                </a:cxnLst>
                <a:rect l="0" t="0" r="r" b="b"/>
                <a:pathLst>
                  <a:path w="22" h="40">
                    <a:moveTo>
                      <a:pt x="0" y="6"/>
                    </a:moveTo>
                    <a:cubicBezTo>
                      <a:pt x="0" y="6"/>
                      <a:pt x="16" y="0"/>
                      <a:pt x="19" y="20"/>
                    </a:cubicBezTo>
                    <a:cubicBezTo>
                      <a:pt x="22" y="40"/>
                      <a:pt x="1" y="36"/>
                      <a:pt x="1" y="35"/>
                    </a:cubicBezTo>
                    <a:cubicBezTo>
                      <a:pt x="1" y="35"/>
                      <a:pt x="0" y="6"/>
                      <a:pt x="0" y="6"/>
                    </a:cubicBez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287">
                <a:extLst>
                  <a:ext uri="{FF2B5EF4-FFF2-40B4-BE49-F238E27FC236}">
                    <a16:creationId xmlns:a16="http://schemas.microsoft.com/office/drawing/2014/main" id="{5A3F7EC7-14B4-4D56-8922-69AFB371E746}"/>
                  </a:ext>
                </a:extLst>
              </p:cNvPr>
              <p:cNvSpPr>
                <a:spLocks/>
              </p:cNvSpPr>
              <p:nvPr/>
            </p:nvSpPr>
            <p:spPr bwMode="auto">
              <a:xfrm>
                <a:off x="7822" y="1313"/>
                <a:ext cx="21" cy="43"/>
              </a:xfrm>
              <a:custGeom>
                <a:avLst/>
                <a:gdLst>
                  <a:gd name="T0" fmla="*/ 1 w 9"/>
                  <a:gd name="T1" fmla="*/ 17 h 18"/>
                  <a:gd name="T2" fmla="*/ 2 w 9"/>
                  <a:gd name="T3" fmla="*/ 17 h 18"/>
                  <a:gd name="T4" fmla="*/ 5 w 9"/>
                  <a:gd name="T5" fmla="*/ 17 h 18"/>
                  <a:gd name="T6" fmla="*/ 8 w 9"/>
                  <a:gd name="T7" fmla="*/ 8 h 18"/>
                  <a:gd name="T8" fmla="*/ 6 w 9"/>
                  <a:gd name="T9" fmla="*/ 3 h 18"/>
                  <a:gd name="T10" fmla="*/ 3 w 9"/>
                  <a:gd name="T11" fmla="*/ 1 h 18"/>
                  <a:gd name="T12" fmla="*/ 1 w 9"/>
                  <a:gd name="T13" fmla="*/ 2 h 18"/>
                  <a:gd name="T14" fmla="*/ 1 w 9"/>
                  <a:gd name="T15" fmla="*/ 3 h 18"/>
                  <a:gd name="T16" fmla="*/ 0 w 9"/>
                  <a:gd name="T17" fmla="*/ 2 h 18"/>
                  <a:gd name="T18" fmla="*/ 1 w 9"/>
                  <a:gd name="T19" fmla="*/ 1 h 18"/>
                  <a:gd name="T20" fmla="*/ 3 w 9"/>
                  <a:gd name="T21" fmla="*/ 0 h 18"/>
                  <a:gd name="T22" fmla="*/ 7 w 9"/>
                  <a:gd name="T23" fmla="*/ 3 h 18"/>
                  <a:gd name="T24" fmla="*/ 9 w 9"/>
                  <a:gd name="T25" fmla="*/ 8 h 18"/>
                  <a:gd name="T26" fmla="*/ 5 w 9"/>
                  <a:gd name="T27" fmla="*/ 17 h 18"/>
                  <a:gd name="T28" fmla="*/ 2 w 9"/>
                  <a:gd name="T29" fmla="*/ 17 h 18"/>
                  <a:gd name="T30" fmla="*/ 1 w 9"/>
                  <a:gd name="T31"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8">
                    <a:moveTo>
                      <a:pt x="1" y="17"/>
                    </a:moveTo>
                    <a:cubicBezTo>
                      <a:pt x="1" y="16"/>
                      <a:pt x="1" y="17"/>
                      <a:pt x="2" y="17"/>
                    </a:cubicBezTo>
                    <a:cubicBezTo>
                      <a:pt x="3" y="17"/>
                      <a:pt x="4" y="17"/>
                      <a:pt x="5" y="17"/>
                    </a:cubicBezTo>
                    <a:cubicBezTo>
                      <a:pt x="7" y="16"/>
                      <a:pt x="8" y="12"/>
                      <a:pt x="8" y="8"/>
                    </a:cubicBezTo>
                    <a:cubicBezTo>
                      <a:pt x="7" y="6"/>
                      <a:pt x="7" y="5"/>
                      <a:pt x="6" y="3"/>
                    </a:cubicBezTo>
                    <a:cubicBezTo>
                      <a:pt x="5" y="2"/>
                      <a:pt x="4" y="1"/>
                      <a:pt x="3" y="1"/>
                    </a:cubicBezTo>
                    <a:cubicBezTo>
                      <a:pt x="2" y="1"/>
                      <a:pt x="1" y="2"/>
                      <a:pt x="1" y="2"/>
                    </a:cubicBezTo>
                    <a:cubicBezTo>
                      <a:pt x="1" y="3"/>
                      <a:pt x="1" y="3"/>
                      <a:pt x="1" y="3"/>
                    </a:cubicBezTo>
                    <a:cubicBezTo>
                      <a:pt x="1" y="4"/>
                      <a:pt x="0" y="3"/>
                      <a:pt x="0" y="2"/>
                    </a:cubicBezTo>
                    <a:cubicBezTo>
                      <a:pt x="0" y="2"/>
                      <a:pt x="1" y="1"/>
                      <a:pt x="1" y="1"/>
                    </a:cubicBezTo>
                    <a:cubicBezTo>
                      <a:pt x="1" y="1"/>
                      <a:pt x="2" y="0"/>
                      <a:pt x="3" y="0"/>
                    </a:cubicBezTo>
                    <a:cubicBezTo>
                      <a:pt x="4" y="0"/>
                      <a:pt x="6" y="1"/>
                      <a:pt x="7" y="3"/>
                    </a:cubicBezTo>
                    <a:cubicBezTo>
                      <a:pt x="8" y="4"/>
                      <a:pt x="9" y="6"/>
                      <a:pt x="9" y="8"/>
                    </a:cubicBezTo>
                    <a:cubicBezTo>
                      <a:pt x="9" y="12"/>
                      <a:pt x="8" y="16"/>
                      <a:pt x="5" y="17"/>
                    </a:cubicBezTo>
                    <a:cubicBezTo>
                      <a:pt x="4" y="18"/>
                      <a:pt x="3" y="18"/>
                      <a:pt x="2" y="17"/>
                    </a:cubicBezTo>
                    <a:cubicBezTo>
                      <a:pt x="1" y="17"/>
                      <a:pt x="1" y="17"/>
                      <a:pt x="1" y="17"/>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88">
                <a:extLst>
                  <a:ext uri="{FF2B5EF4-FFF2-40B4-BE49-F238E27FC236}">
                    <a16:creationId xmlns:a16="http://schemas.microsoft.com/office/drawing/2014/main" id="{076CD6E3-52B4-4D39-8603-90D38EF7C69B}"/>
                  </a:ext>
                </a:extLst>
              </p:cNvPr>
              <p:cNvSpPr>
                <a:spLocks/>
              </p:cNvSpPr>
              <p:nvPr/>
            </p:nvSpPr>
            <p:spPr bwMode="auto">
              <a:xfrm>
                <a:off x="7788" y="1161"/>
                <a:ext cx="12" cy="34"/>
              </a:xfrm>
              <a:custGeom>
                <a:avLst/>
                <a:gdLst>
                  <a:gd name="T0" fmla="*/ 1 w 5"/>
                  <a:gd name="T1" fmla="*/ 0 h 14"/>
                  <a:gd name="T2" fmla="*/ 4 w 5"/>
                  <a:gd name="T3" fmla="*/ 7 h 14"/>
                  <a:gd name="T4" fmla="*/ 4 w 5"/>
                  <a:gd name="T5" fmla="*/ 14 h 14"/>
                  <a:gd name="T6" fmla="*/ 1 w 5"/>
                  <a:gd name="T7" fmla="*/ 7 h 14"/>
                  <a:gd name="T8" fmla="*/ 1 w 5"/>
                  <a:gd name="T9" fmla="*/ 0 h 14"/>
                </a:gdLst>
                <a:ahLst/>
                <a:cxnLst>
                  <a:cxn ang="0">
                    <a:pos x="T0" y="T1"/>
                  </a:cxn>
                  <a:cxn ang="0">
                    <a:pos x="T2" y="T3"/>
                  </a:cxn>
                  <a:cxn ang="0">
                    <a:pos x="T4" y="T5"/>
                  </a:cxn>
                  <a:cxn ang="0">
                    <a:pos x="T6" y="T7"/>
                  </a:cxn>
                  <a:cxn ang="0">
                    <a:pos x="T8" y="T9"/>
                  </a:cxn>
                </a:cxnLst>
                <a:rect l="0" t="0" r="r" b="b"/>
                <a:pathLst>
                  <a:path w="5" h="14">
                    <a:moveTo>
                      <a:pt x="1" y="0"/>
                    </a:moveTo>
                    <a:cubicBezTo>
                      <a:pt x="1" y="0"/>
                      <a:pt x="3" y="3"/>
                      <a:pt x="4" y="7"/>
                    </a:cubicBezTo>
                    <a:cubicBezTo>
                      <a:pt x="4" y="11"/>
                      <a:pt x="5" y="14"/>
                      <a:pt x="4" y="14"/>
                    </a:cubicBezTo>
                    <a:cubicBezTo>
                      <a:pt x="4" y="14"/>
                      <a:pt x="2" y="11"/>
                      <a:pt x="1" y="7"/>
                    </a:cubicBezTo>
                    <a:cubicBezTo>
                      <a:pt x="1" y="3"/>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289">
                <a:extLst>
                  <a:ext uri="{FF2B5EF4-FFF2-40B4-BE49-F238E27FC236}">
                    <a16:creationId xmlns:a16="http://schemas.microsoft.com/office/drawing/2014/main" id="{59BC3DBB-7AFD-4588-84DF-29B1975A8D57}"/>
                  </a:ext>
                </a:extLst>
              </p:cNvPr>
              <p:cNvSpPr>
                <a:spLocks/>
              </p:cNvSpPr>
              <p:nvPr/>
            </p:nvSpPr>
            <p:spPr bwMode="auto">
              <a:xfrm>
                <a:off x="7795" y="1161"/>
                <a:ext cx="17" cy="34"/>
              </a:xfrm>
              <a:custGeom>
                <a:avLst/>
                <a:gdLst>
                  <a:gd name="T0" fmla="*/ 7 w 7"/>
                  <a:gd name="T1" fmla="*/ 1 h 14"/>
                  <a:gd name="T2" fmla="*/ 5 w 7"/>
                  <a:gd name="T3" fmla="*/ 8 h 14"/>
                  <a:gd name="T4" fmla="*/ 1 w 7"/>
                  <a:gd name="T5" fmla="*/ 14 h 14"/>
                  <a:gd name="T6" fmla="*/ 3 w 7"/>
                  <a:gd name="T7" fmla="*/ 7 h 14"/>
                  <a:gd name="T8" fmla="*/ 7 w 7"/>
                  <a:gd name="T9" fmla="*/ 1 h 14"/>
                </a:gdLst>
                <a:ahLst/>
                <a:cxnLst>
                  <a:cxn ang="0">
                    <a:pos x="T0" y="T1"/>
                  </a:cxn>
                  <a:cxn ang="0">
                    <a:pos x="T2" y="T3"/>
                  </a:cxn>
                  <a:cxn ang="0">
                    <a:pos x="T4" y="T5"/>
                  </a:cxn>
                  <a:cxn ang="0">
                    <a:pos x="T6" y="T7"/>
                  </a:cxn>
                  <a:cxn ang="0">
                    <a:pos x="T8" y="T9"/>
                  </a:cxn>
                </a:cxnLst>
                <a:rect l="0" t="0" r="r" b="b"/>
                <a:pathLst>
                  <a:path w="7" h="14">
                    <a:moveTo>
                      <a:pt x="7" y="1"/>
                    </a:moveTo>
                    <a:cubicBezTo>
                      <a:pt x="7" y="1"/>
                      <a:pt x="6" y="4"/>
                      <a:pt x="5" y="8"/>
                    </a:cubicBezTo>
                    <a:cubicBezTo>
                      <a:pt x="3" y="12"/>
                      <a:pt x="1" y="14"/>
                      <a:pt x="1" y="14"/>
                    </a:cubicBezTo>
                    <a:cubicBezTo>
                      <a:pt x="0" y="14"/>
                      <a:pt x="1" y="11"/>
                      <a:pt x="3" y="7"/>
                    </a:cubicBezTo>
                    <a:cubicBezTo>
                      <a:pt x="4" y="3"/>
                      <a:pt x="6" y="0"/>
                      <a:pt x="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290">
                <a:extLst>
                  <a:ext uri="{FF2B5EF4-FFF2-40B4-BE49-F238E27FC236}">
                    <a16:creationId xmlns:a16="http://schemas.microsoft.com/office/drawing/2014/main" id="{7A2EBA97-5AEA-4482-8E20-738594C73952}"/>
                  </a:ext>
                </a:extLst>
              </p:cNvPr>
              <p:cNvSpPr>
                <a:spLocks/>
              </p:cNvSpPr>
              <p:nvPr/>
            </p:nvSpPr>
            <p:spPr bwMode="auto">
              <a:xfrm>
                <a:off x="7202" y="1598"/>
                <a:ext cx="667" cy="561"/>
              </a:xfrm>
              <a:custGeom>
                <a:avLst/>
                <a:gdLst>
                  <a:gd name="T0" fmla="*/ 208 w 281"/>
                  <a:gd name="T1" fmla="*/ 131 h 236"/>
                  <a:gd name="T2" fmla="*/ 201 w 281"/>
                  <a:gd name="T3" fmla="*/ 147 h 236"/>
                  <a:gd name="T4" fmla="*/ 92 w 281"/>
                  <a:gd name="T5" fmla="*/ 52 h 236"/>
                  <a:gd name="T6" fmla="*/ 91 w 281"/>
                  <a:gd name="T7" fmla="*/ 31 h 236"/>
                  <a:gd name="T8" fmla="*/ 95 w 281"/>
                  <a:gd name="T9" fmla="*/ 18 h 236"/>
                  <a:gd name="T10" fmla="*/ 90 w 281"/>
                  <a:gd name="T11" fmla="*/ 12 h 236"/>
                  <a:gd name="T12" fmla="*/ 79 w 281"/>
                  <a:gd name="T13" fmla="*/ 37 h 236"/>
                  <a:gd name="T14" fmla="*/ 58 w 281"/>
                  <a:gd name="T15" fmla="*/ 27 h 236"/>
                  <a:gd name="T16" fmla="*/ 36 w 281"/>
                  <a:gd name="T17" fmla="*/ 0 h 236"/>
                  <a:gd name="T18" fmla="*/ 35 w 281"/>
                  <a:gd name="T19" fmla="*/ 12 h 236"/>
                  <a:gd name="T20" fmla="*/ 51 w 281"/>
                  <a:gd name="T21" fmla="*/ 39 h 236"/>
                  <a:gd name="T22" fmla="*/ 25 w 281"/>
                  <a:gd name="T23" fmla="*/ 8 h 236"/>
                  <a:gd name="T24" fmla="*/ 17 w 281"/>
                  <a:gd name="T25" fmla="*/ 3 h 236"/>
                  <a:gd name="T26" fmla="*/ 37 w 281"/>
                  <a:gd name="T27" fmla="*/ 44 h 236"/>
                  <a:gd name="T28" fmla="*/ 35 w 281"/>
                  <a:gd name="T29" fmla="*/ 45 h 236"/>
                  <a:gd name="T30" fmla="*/ 7 w 281"/>
                  <a:gd name="T31" fmla="*/ 17 h 236"/>
                  <a:gd name="T32" fmla="*/ 27 w 281"/>
                  <a:gd name="T33" fmla="*/ 52 h 236"/>
                  <a:gd name="T34" fmla="*/ 3 w 281"/>
                  <a:gd name="T35" fmla="*/ 34 h 236"/>
                  <a:gd name="T36" fmla="*/ 13 w 281"/>
                  <a:gd name="T37" fmla="*/ 52 h 236"/>
                  <a:gd name="T38" fmla="*/ 56 w 281"/>
                  <a:gd name="T39" fmla="*/ 93 h 236"/>
                  <a:gd name="T40" fmla="*/ 225 w 281"/>
                  <a:gd name="T41" fmla="*/ 230 h 236"/>
                  <a:gd name="T42" fmla="*/ 250 w 281"/>
                  <a:gd name="T43" fmla="*/ 215 h 236"/>
                  <a:gd name="T44" fmla="*/ 281 w 281"/>
                  <a:gd name="T45" fmla="*/ 155 h 236"/>
                  <a:gd name="T46" fmla="*/ 208 w 281"/>
                  <a:gd name="T47" fmla="*/ 1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36">
                    <a:moveTo>
                      <a:pt x="208" y="131"/>
                    </a:moveTo>
                    <a:cubicBezTo>
                      <a:pt x="206" y="139"/>
                      <a:pt x="204" y="144"/>
                      <a:pt x="201" y="147"/>
                    </a:cubicBezTo>
                    <a:cubicBezTo>
                      <a:pt x="190" y="159"/>
                      <a:pt x="92" y="52"/>
                      <a:pt x="92" y="52"/>
                    </a:cubicBezTo>
                    <a:cubicBezTo>
                      <a:pt x="91" y="49"/>
                      <a:pt x="90" y="35"/>
                      <a:pt x="91" y="31"/>
                    </a:cubicBezTo>
                    <a:cubicBezTo>
                      <a:pt x="92" y="27"/>
                      <a:pt x="93" y="21"/>
                      <a:pt x="95" y="18"/>
                    </a:cubicBezTo>
                    <a:cubicBezTo>
                      <a:pt x="97" y="15"/>
                      <a:pt x="94" y="10"/>
                      <a:pt x="90" y="12"/>
                    </a:cubicBezTo>
                    <a:cubicBezTo>
                      <a:pt x="87" y="13"/>
                      <a:pt x="80" y="23"/>
                      <a:pt x="79" y="37"/>
                    </a:cubicBezTo>
                    <a:cubicBezTo>
                      <a:pt x="77" y="50"/>
                      <a:pt x="63" y="33"/>
                      <a:pt x="58" y="27"/>
                    </a:cubicBezTo>
                    <a:cubicBezTo>
                      <a:pt x="54" y="20"/>
                      <a:pt x="39" y="0"/>
                      <a:pt x="36" y="0"/>
                    </a:cubicBezTo>
                    <a:cubicBezTo>
                      <a:pt x="31" y="0"/>
                      <a:pt x="31" y="5"/>
                      <a:pt x="35" y="12"/>
                    </a:cubicBezTo>
                    <a:cubicBezTo>
                      <a:pt x="40" y="18"/>
                      <a:pt x="53" y="37"/>
                      <a:pt x="51" y="39"/>
                    </a:cubicBezTo>
                    <a:cubicBezTo>
                      <a:pt x="48" y="41"/>
                      <a:pt x="25" y="8"/>
                      <a:pt x="25" y="8"/>
                    </a:cubicBezTo>
                    <a:cubicBezTo>
                      <a:pt x="25" y="8"/>
                      <a:pt x="21" y="1"/>
                      <a:pt x="17" y="3"/>
                    </a:cubicBezTo>
                    <a:cubicBezTo>
                      <a:pt x="9" y="7"/>
                      <a:pt x="35" y="41"/>
                      <a:pt x="37" y="44"/>
                    </a:cubicBezTo>
                    <a:cubicBezTo>
                      <a:pt x="39" y="47"/>
                      <a:pt x="37" y="47"/>
                      <a:pt x="35" y="45"/>
                    </a:cubicBezTo>
                    <a:cubicBezTo>
                      <a:pt x="33" y="42"/>
                      <a:pt x="13" y="13"/>
                      <a:pt x="7" y="17"/>
                    </a:cubicBezTo>
                    <a:cubicBezTo>
                      <a:pt x="2" y="21"/>
                      <a:pt x="24" y="45"/>
                      <a:pt x="27" y="52"/>
                    </a:cubicBezTo>
                    <a:cubicBezTo>
                      <a:pt x="31" y="60"/>
                      <a:pt x="9" y="31"/>
                      <a:pt x="3" y="34"/>
                    </a:cubicBezTo>
                    <a:cubicBezTo>
                      <a:pt x="1" y="35"/>
                      <a:pt x="0" y="37"/>
                      <a:pt x="13" y="52"/>
                    </a:cubicBezTo>
                    <a:cubicBezTo>
                      <a:pt x="22" y="62"/>
                      <a:pt x="42" y="80"/>
                      <a:pt x="56" y="93"/>
                    </a:cubicBezTo>
                    <a:cubicBezTo>
                      <a:pt x="83" y="126"/>
                      <a:pt x="180" y="236"/>
                      <a:pt x="225" y="230"/>
                    </a:cubicBezTo>
                    <a:cubicBezTo>
                      <a:pt x="235" y="229"/>
                      <a:pt x="244" y="224"/>
                      <a:pt x="250" y="215"/>
                    </a:cubicBezTo>
                    <a:cubicBezTo>
                      <a:pt x="263" y="193"/>
                      <a:pt x="273" y="176"/>
                      <a:pt x="281" y="155"/>
                    </a:cubicBezTo>
                    <a:lnTo>
                      <a:pt x="208" y="131"/>
                    </a:ln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291">
                <a:extLst>
                  <a:ext uri="{FF2B5EF4-FFF2-40B4-BE49-F238E27FC236}">
                    <a16:creationId xmlns:a16="http://schemas.microsoft.com/office/drawing/2014/main" id="{DD9E2927-5F69-44D6-8CA6-B757736EB641}"/>
                  </a:ext>
                </a:extLst>
              </p:cNvPr>
              <p:cNvSpPr>
                <a:spLocks/>
              </p:cNvSpPr>
              <p:nvPr/>
            </p:nvSpPr>
            <p:spPr bwMode="auto">
              <a:xfrm>
                <a:off x="5011" y="3736"/>
                <a:ext cx="304" cy="135"/>
              </a:xfrm>
              <a:custGeom>
                <a:avLst/>
                <a:gdLst>
                  <a:gd name="T0" fmla="*/ 70 w 128"/>
                  <a:gd name="T1" fmla="*/ 36 h 57"/>
                  <a:gd name="T2" fmla="*/ 69 w 128"/>
                  <a:gd name="T3" fmla="*/ 0 h 57"/>
                  <a:gd name="T4" fmla="*/ 0 w 128"/>
                  <a:gd name="T5" fmla="*/ 1 h 57"/>
                  <a:gd name="T6" fmla="*/ 1 w 128"/>
                  <a:gd name="T7" fmla="*/ 55 h 57"/>
                  <a:gd name="T8" fmla="*/ 5 w 128"/>
                  <a:gd name="T9" fmla="*/ 55 h 57"/>
                  <a:gd name="T10" fmla="*/ 114 w 128"/>
                  <a:gd name="T11" fmla="*/ 53 h 57"/>
                  <a:gd name="T12" fmla="*/ 70 w 128"/>
                  <a:gd name="T13" fmla="*/ 36 h 57"/>
                </a:gdLst>
                <a:ahLst/>
                <a:cxnLst>
                  <a:cxn ang="0">
                    <a:pos x="T0" y="T1"/>
                  </a:cxn>
                  <a:cxn ang="0">
                    <a:pos x="T2" y="T3"/>
                  </a:cxn>
                  <a:cxn ang="0">
                    <a:pos x="T4" y="T5"/>
                  </a:cxn>
                  <a:cxn ang="0">
                    <a:pos x="T6" y="T7"/>
                  </a:cxn>
                  <a:cxn ang="0">
                    <a:pos x="T8" y="T9"/>
                  </a:cxn>
                  <a:cxn ang="0">
                    <a:pos x="T10" y="T11"/>
                  </a:cxn>
                  <a:cxn ang="0">
                    <a:pos x="T12" y="T13"/>
                  </a:cxn>
                </a:cxnLst>
                <a:rect l="0" t="0" r="r" b="b"/>
                <a:pathLst>
                  <a:path w="128" h="57">
                    <a:moveTo>
                      <a:pt x="70" y="36"/>
                    </a:moveTo>
                    <a:cubicBezTo>
                      <a:pt x="69" y="0"/>
                      <a:pt x="69" y="0"/>
                      <a:pt x="69" y="0"/>
                    </a:cubicBezTo>
                    <a:cubicBezTo>
                      <a:pt x="0" y="1"/>
                      <a:pt x="0" y="1"/>
                      <a:pt x="0" y="1"/>
                    </a:cubicBezTo>
                    <a:cubicBezTo>
                      <a:pt x="1" y="55"/>
                      <a:pt x="1" y="55"/>
                      <a:pt x="1" y="55"/>
                    </a:cubicBezTo>
                    <a:cubicBezTo>
                      <a:pt x="5" y="55"/>
                      <a:pt x="5" y="55"/>
                      <a:pt x="5" y="55"/>
                    </a:cubicBezTo>
                    <a:cubicBezTo>
                      <a:pt x="24" y="56"/>
                      <a:pt x="102" y="57"/>
                      <a:pt x="114" y="53"/>
                    </a:cubicBezTo>
                    <a:cubicBezTo>
                      <a:pt x="128" y="49"/>
                      <a:pt x="70" y="36"/>
                      <a:pt x="70" y="3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292">
                <a:extLst>
                  <a:ext uri="{FF2B5EF4-FFF2-40B4-BE49-F238E27FC236}">
                    <a16:creationId xmlns:a16="http://schemas.microsoft.com/office/drawing/2014/main" id="{910D33A2-AEDA-4F83-90FC-16126D93804E}"/>
                  </a:ext>
                </a:extLst>
              </p:cNvPr>
              <p:cNvSpPr>
                <a:spLocks/>
              </p:cNvSpPr>
              <p:nvPr/>
            </p:nvSpPr>
            <p:spPr bwMode="auto">
              <a:xfrm>
                <a:off x="5011" y="3817"/>
                <a:ext cx="60" cy="47"/>
              </a:xfrm>
              <a:custGeom>
                <a:avLst/>
                <a:gdLst>
                  <a:gd name="T0" fmla="*/ 25 w 25"/>
                  <a:gd name="T1" fmla="*/ 20 h 20"/>
                  <a:gd name="T2" fmla="*/ 16 w 25"/>
                  <a:gd name="T3" fmla="*/ 5 h 20"/>
                  <a:gd name="T4" fmla="*/ 0 w 25"/>
                  <a:gd name="T5" fmla="*/ 1 h 20"/>
                  <a:gd name="T6" fmla="*/ 0 w 25"/>
                  <a:gd name="T7" fmla="*/ 20 h 20"/>
                  <a:gd name="T8" fmla="*/ 25 w 25"/>
                  <a:gd name="T9" fmla="*/ 20 h 20"/>
                </a:gdLst>
                <a:ahLst/>
                <a:cxnLst>
                  <a:cxn ang="0">
                    <a:pos x="T0" y="T1"/>
                  </a:cxn>
                  <a:cxn ang="0">
                    <a:pos x="T2" y="T3"/>
                  </a:cxn>
                  <a:cxn ang="0">
                    <a:pos x="T4" y="T5"/>
                  </a:cxn>
                  <a:cxn ang="0">
                    <a:pos x="T6" y="T7"/>
                  </a:cxn>
                  <a:cxn ang="0">
                    <a:pos x="T8" y="T9"/>
                  </a:cxn>
                </a:cxnLst>
                <a:rect l="0" t="0" r="r" b="b"/>
                <a:pathLst>
                  <a:path w="25" h="20">
                    <a:moveTo>
                      <a:pt x="25" y="20"/>
                    </a:moveTo>
                    <a:cubicBezTo>
                      <a:pt x="24" y="14"/>
                      <a:pt x="21" y="9"/>
                      <a:pt x="16" y="5"/>
                    </a:cubicBezTo>
                    <a:cubicBezTo>
                      <a:pt x="12" y="2"/>
                      <a:pt x="6" y="0"/>
                      <a:pt x="0" y="1"/>
                    </a:cubicBezTo>
                    <a:cubicBezTo>
                      <a:pt x="0" y="20"/>
                      <a:pt x="0" y="20"/>
                      <a:pt x="0" y="20"/>
                    </a:cubicBezTo>
                    <a:lnTo>
                      <a:pt x="25" y="2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93">
                <a:extLst>
                  <a:ext uri="{FF2B5EF4-FFF2-40B4-BE49-F238E27FC236}">
                    <a16:creationId xmlns:a16="http://schemas.microsoft.com/office/drawing/2014/main" id="{C9716002-5A5B-42F2-96F3-A6C823514AE2}"/>
                  </a:ext>
                </a:extLst>
              </p:cNvPr>
              <p:cNvSpPr>
                <a:spLocks/>
              </p:cNvSpPr>
              <p:nvPr/>
            </p:nvSpPr>
            <p:spPr bwMode="auto">
              <a:xfrm>
                <a:off x="5014" y="3838"/>
                <a:ext cx="280" cy="33"/>
              </a:xfrm>
              <a:custGeom>
                <a:avLst/>
                <a:gdLst>
                  <a:gd name="T0" fmla="*/ 97 w 118"/>
                  <a:gd name="T1" fmla="*/ 0 h 14"/>
                  <a:gd name="T2" fmla="*/ 115 w 118"/>
                  <a:gd name="T3" fmla="*/ 9 h 14"/>
                  <a:gd name="T4" fmla="*/ 0 w 118"/>
                  <a:gd name="T5" fmla="*/ 12 h 14"/>
                  <a:gd name="T6" fmla="*/ 0 w 118"/>
                  <a:gd name="T7" fmla="*/ 10 h 14"/>
                  <a:gd name="T8" fmla="*/ 91 w 118"/>
                  <a:gd name="T9" fmla="*/ 9 h 14"/>
                  <a:gd name="T10" fmla="*/ 97 w 118"/>
                  <a:gd name="T11" fmla="*/ 0 h 14"/>
                </a:gdLst>
                <a:ahLst/>
                <a:cxnLst>
                  <a:cxn ang="0">
                    <a:pos x="T0" y="T1"/>
                  </a:cxn>
                  <a:cxn ang="0">
                    <a:pos x="T2" y="T3"/>
                  </a:cxn>
                  <a:cxn ang="0">
                    <a:pos x="T4" y="T5"/>
                  </a:cxn>
                  <a:cxn ang="0">
                    <a:pos x="T6" y="T7"/>
                  </a:cxn>
                  <a:cxn ang="0">
                    <a:pos x="T8" y="T9"/>
                  </a:cxn>
                  <a:cxn ang="0">
                    <a:pos x="T10" y="T11"/>
                  </a:cxn>
                </a:cxnLst>
                <a:rect l="0" t="0" r="r" b="b"/>
                <a:pathLst>
                  <a:path w="118" h="14">
                    <a:moveTo>
                      <a:pt x="97" y="0"/>
                    </a:moveTo>
                    <a:cubicBezTo>
                      <a:pt x="97" y="0"/>
                      <a:pt x="118" y="6"/>
                      <a:pt x="115" y="9"/>
                    </a:cubicBezTo>
                    <a:cubicBezTo>
                      <a:pt x="113" y="13"/>
                      <a:pt x="34" y="14"/>
                      <a:pt x="0" y="12"/>
                    </a:cubicBezTo>
                    <a:cubicBezTo>
                      <a:pt x="0" y="10"/>
                      <a:pt x="0" y="10"/>
                      <a:pt x="0" y="10"/>
                    </a:cubicBezTo>
                    <a:cubicBezTo>
                      <a:pt x="91" y="9"/>
                      <a:pt x="91" y="9"/>
                      <a:pt x="91" y="9"/>
                    </a:cubicBezTo>
                    <a:cubicBezTo>
                      <a:pt x="91" y="9"/>
                      <a:pt x="93" y="1"/>
                      <a:pt x="9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294">
                <a:extLst>
                  <a:ext uri="{FF2B5EF4-FFF2-40B4-BE49-F238E27FC236}">
                    <a16:creationId xmlns:a16="http://schemas.microsoft.com/office/drawing/2014/main" id="{FC1D0E7B-8818-4539-9D8A-477F27D87E00}"/>
                  </a:ext>
                </a:extLst>
              </p:cNvPr>
              <p:cNvSpPr>
                <a:spLocks/>
              </p:cNvSpPr>
              <p:nvPr/>
            </p:nvSpPr>
            <p:spPr bwMode="auto">
              <a:xfrm>
                <a:off x="5011" y="3857"/>
                <a:ext cx="276" cy="7"/>
              </a:xfrm>
              <a:custGeom>
                <a:avLst/>
                <a:gdLst>
                  <a:gd name="T0" fmla="*/ 0 w 116"/>
                  <a:gd name="T1" fmla="*/ 2 h 3"/>
                  <a:gd name="T2" fmla="*/ 1 w 116"/>
                  <a:gd name="T3" fmla="*/ 2 h 3"/>
                  <a:gd name="T4" fmla="*/ 4 w 116"/>
                  <a:gd name="T5" fmla="*/ 2 h 3"/>
                  <a:gd name="T6" fmla="*/ 17 w 116"/>
                  <a:gd name="T7" fmla="*/ 2 h 3"/>
                  <a:gd name="T8" fmla="*/ 58 w 116"/>
                  <a:gd name="T9" fmla="*/ 2 h 3"/>
                  <a:gd name="T10" fmla="*/ 99 w 116"/>
                  <a:gd name="T11" fmla="*/ 1 h 3"/>
                  <a:gd name="T12" fmla="*/ 112 w 116"/>
                  <a:gd name="T13" fmla="*/ 0 h 3"/>
                  <a:gd name="T14" fmla="*/ 115 w 116"/>
                  <a:gd name="T15" fmla="*/ 0 h 3"/>
                  <a:gd name="T16" fmla="*/ 116 w 116"/>
                  <a:gd name="T17" fmla="*/ 0 h 3"/>
                  <a:gd name="T18" fmla="*/ 115 w 116"/>
                  <a:gd name="T19" fmla="*/ 0 h 3"/>
                  <a:gd name="T20" fmla="*/ 112 w 116"/>
                  <a:gd name="T21" fmla="*/ 1 h 3"/>
                  <a:gd name="T22" fmla="*/ 99 w 116"/>
                  <a:gd name="T23" fmla="*/ 1 h 3"/>
                  <a:gd name="T24" fmla="*/ 58 w 116"/>
                  <a:gd name="T25" fmla="*/ 3 h 3"/>
                  <a:gd name="T26" fmla="*/ 17 w 116"/>
                  <a:gd name="T27" fmla="*/ 3 h 3"/>
                  <a:gd name="T28" fmla="*/ 4 w 116"/>
                  <a:gd name="T29" fmla="*/ 2 h 3"/>
                  <a:gd name="T30" fmla="*/ 1 w 116"/>
                  <a:gd name="T31" fmla="*/ 2 h 3"/>
                  <a:gd name="T32" fmla="*/ 0 w 116"/>
                  <a:gd name="T3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3">
                    <a:moveTo>
                      <a:pt x="0" y="2"/>
                    </a:moveTo>
                    <a:cubicBezTo>
                      <a:pt x="0" y="2"/>
                      <a:pt x="0" y="2"/>
                      <a:pt x="1" y="2"/>
                    </a:cubicBezTo>
                    <a:cubicBezTo>
                      <a:pt x="2" y="2"/>
                      <a:pt x="3" y="2"/>
                      <a:pt x="4" y="2"/>
                    </a:cubicBezTo>
                    <a:cubicBezTo>
                      <a:pt x="8" y="2"/>
                      <a:pt x="12" y="2"/>
                      <a:pt x="17" y="2"/>
                    </a:cubicBezTo>
                    <a:cubicBezTo>
                      <a:pt x="27" y="2"/>
                      <a:pt x="42" y="2"/>
                      <a:pt x="58" y="2"/>
                    </a:cubicBezTo>
                    <a:cubicBezTo>
                      <a:pt x="74" y="2"/>
                      <a:pt x="89" y="1"/>
                      <a:pt x="99" y="1"/>
                    </a:cubicBezTo>
                    <a:cubicBezTo>
                      <a:pt x="104" y="1"/>
                      <a:pt x="108" y="0"/>
                      <a:pt x="112" y="0"/>
                    </a:cubicBezTo>
                    <a:cubicBezTo>
                      <a:pt x="113" y="0"/>
                      <a:pt x="114" y="0"/>
                      <a:pt x="115" y="0"/>
                    </a:cubicBezTo>
                    <a:cubicBezTo>
                      <a:pt x="116" y="0"/>
                      <a:pt x="116" y="0"/>
                      <a:pt x="116" y="0"/>
                    </a:cubicBezTo>
                    <a:cubicBezTo>
                      <a:pt x="116" y="0"/>
                      <a:pt x="116" y="0"/>
                      <a:pt x="115" y="0"/>
                    </a:cubicBezTo>
                    <a:cubicBezTo>
                      <a:pt x="114" y="0"/>
                      <a:pt x="113" y="0"/>
                      <a:pt x="112" y="1"/>
                    </a:cubicBezTo>
                    <a:cubicBezTo>
                      <a:pt x="108" y="1"/>
                      <a:pt x="104" y="1"/>
                      <a:pt x="99" y="1"/>
                    </a:cubicBezTo>
                    <a:cubicBezTo>
                      <a:pt x="89" y="2"/>
                      <a:pt x="74" y="2"/>
                      <a:pt x="58" y="3"/>
                    </a:cubicBezTo>
                    <a:cubicBezTo>
                      <a:pt x="42" y="3"/>
                      <a:pt x="27" y="3"/>
                      <a:pt x="17" y="3"/>
                    </a:cubicBezTo>
                    <a:cubicBezTo>
                      <a:pt x="12" y="3"/>
                      <a:pt x="8" y="2"/>
                      <a:pt x="4" y="2"/>
                    </a:cubicBezTo>
                    <a:cubicBezTo>
                      <a:pt x="3" y="2"/>
                      <a:pt x="2" y="2"/>
                      <a:pt x="1" y="2"/>
                    </a:cubicBezTo>
                    <a:cubicBezTo>
                      <a:pt x="0" y="2"/>
                      <a:pt x="0" y="2"/>
                      <a:pt x="0" y="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295">
                <a:extLst>
                  <a:ext uri="{FF2B5EF4-FFF2-40B4-BE49-F238E27FC236}">
                    <a16:creationId xmlns:a16="http://schemas.microsoft.com/office/drawing/2014/main" id="{844025A8-9CC8-4512-9D02-F2E159AB3681}"/>
                  </a:ext>
                </a:extLst>
              </p:cNvPr>
              <p:cNvSpPr>
                <a:spLocks/>
              </p:cNvSpPr>
              <p:nvPr/>
            </p:nvSpPr>
            <p:spPr bwMode="auto">
              <a:xfrm>
                <a:off x="5230" y="3836"/>
                <a:ext cx="16" cy="26"/>
              </a:xfrm>
              <a:custGeom>
                <a:avLst/>
                <a:gdLst>
                  <a:gd name="T0" fmla="*/ 0 w 7"/>
                  <a:gd name="T1" fmla="*/ 11 h 11"/>
                  <a:gd name="T2" fmla="*/ 2 w 7"/>
                  <a:gd name="T3" fmla="*/ 5 h 11"/>
                  <a:gd name="T4" fmla="*/ 7 w 7"/>
                  <a:gd name="T5" fmla="*/ 1 h 11"/>
                  <a:gd name="T6" fmla="*/ 3 w 7"/>
                  <a:gd name="T7" fmla="*/ 5 h 11"/>
                  <a:gd name="T8" fmla="*/ 0 w 7"/>
                  <a:gd name="T9" fmla="*/ 11 h 11"/>
                </a:gdLst>
                <a:ahLst/>
                <a:cxnLst>
                  <a:cxn ang="0">
                    <a:pos x="T0" y="T1"/>
                  </a:cxn>
                  <a:cxn ang="0">
                    <a:pos x="T2" y="T3"/>
                  </a:cxn>
                  <a:cxn ang="0">
                    <a:pos x="T4" y="T5"/>
                  </a:cxn>
                  <a:cxn ang="0">
                    <a:pos x="T6" y="T7"/>
                  </a:cxn>
                  <a:cxn ang="0">
                    <a:pos x="T8" y="T9"/>
                  </a:cxn>
                </a:cxnLst>
                <a:rect l="0" t="0" r="r" b="b"/>
                <a:pathLst>
                  <a:path w="7" h="11">
                    <a:moveTo>
                      <a:pt x="0" y="11"/>
                    </a:moveTo>
                    <a:cubicBezTo>
                      <a:pt x="0" y="11"/>
                      <a:pt x="0" y="8"/>
                      <a:pt x="2" y="5"/>
                    </a:cubicBezTo>
                    <a:cubicBezTo>
                      <a:pt x="4" y="2"/>
                      <a:pt x="7" y="0"/>
                      <a:pt x="7" y="1"/>
                    </a:cubicBezTo>
                    <a:cubicBezTo>
                      <a:pt x="7" y="1"/>
                      <a:pt x="4" y="2"/>
                      <a:pt x="3" y="5"/>
                    </a:cubicBezTo>
                    <a:cubicBezTo>
                      <a:pt x="1" y="8"/>
                      <a:pt x="1" y="11"/>
                      <a:pt x="0" y="1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296">
                <a:extLst>
                  <a:ext uri="{FF2B5EF4-FFF2-40B4-BE49-F238E27FC236}">
                    <a16:creationId xmlns:a16="http://schemas.microsoft.com/office/drawing/2014/main" id="{78D7542A-9628-4EAA-802A-58B69CD4BC0C}"/>
                  </a:ext>
                </a:extLst>
              </p:cNvPr>
              <p:cNvSpPr>
                <a:spLocks/>
              </p:cNvSpPr>
              <p:nvPr/>
            </p:nvSpPr>
            <p:spPr bwMode="auto">
              <a:xfrm>
                <a:off x="5182" y="3826"/>
                <a:ext cx="10" cy="14"/>
              </a:xfrm>
              <a:custGeom>
                <a:avLst/>
                <a:gdLst>
                  <a:gd name="T0" fmla="*/ 0 w 4"/>
                  <a:gd name="T1" fmla="*/ 5 h 6"/>
                  <a:gd name="T2" fmla="*/ 1 w 4"/>
                  <a:gd name="T3" fmla="*/ 2 h 6"/>
                  <a:gd name="T4" fmla="*/ 3 w 4"/>
                  <a:gd name="T5" fmla="*/ 0 h 6"/>
                  <a:gd name="T6" fmla="*/ 2 w 4"/>
                  <a:gd name="T7" fmla="*/ 3 h 6"/>
                  <a:gd name="T8" fmla="*/ 0 w 4"/>
                  <a:gd name="T9" fmla="*/ 5 h 6"/>
                </a:gdLst>
                <a:ahLst/>
                <a:cxnLst>
                  <a:cxn ang="0">
                    <a:pos x="T0" y="T1"/>
                  </a:cxn>
                  <a:cxn ang="0">
                    <a:pos x="T2" y="T3"/>
                  </a:cxn>
                  <a:cxn ang="0">
                    <a:pos x="T4" y="T5"/>
                  </a:cxn>
                  <a:cxn ang="0">
                    <a:pos x="T6" y="T7"/>
                  </a:cxn>
                  <a:cxn ang="0">
                    <a:pos x="T8" y="T9"/>
                  </a:cxn>
                </a:cxnLst>
                <a:rect l="0" t="0" r="r" b="b"/>
                <a:pathLst>
                  <a:path w="4" h="6">
                    <a:moveTo>
                      <a:pt x="0" y="5"/>
                    </a:moveTo>
                    <a:cubicBezTo>
                      <a:pt x="0" y="5"/>
                      <a:pt x="0" y="4"/>
                      <a:pt x="1" y="2"/>
                    </a:cubicBezTo>
                    <a:cubicBezTo>
                      <a:pt x="2" y="1"/>
                      <a:pt x="3" y="0"/>
                      <a:pt x="3" y="0"/>
                    </a:cubicBezTo>
                    <a:cubicBezTo>
                      <a:pt x="4" y="0"/>
                      <a:pt x="3" y="1"/>
                      <a:pt x="2" y="3"/>
                    </a:cubicBezTo>
                    <a:cubicBezTo>
                      <a:pt x="1" y="4"/>
                      <a:pt x="0" y="6"/>
                      <a:pt x="0" y="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297">
                <a:extLst>
                  <a:ext uri="{FF2B5EF4-FFF2-40B4-BE49-F238E27FC236}">
                    <a16:creationId xmlns:a16="http://schemas.microsoft.com/office/drawing/2014/main" id="{7A32AD05-2CEC-45C0-BD89-75FAABFEB17B}"/>
                  </a:ext>
                </a:extLst>
              </p:cNvPr>
              <p:cNvSpPr>
                <a:spLocks/>
              </p:cNvSpPr>
              <p:nvPr/>
            </p:nvSpPr>
            <p:spPr bwMode="auto">
              <a:xfrm>
                <a:off x="5168" y="3821"/>
                <a:ext cx="12" cy="12"/>
              </a:xfrm>
              <a:custGeom>
                <a:avLst/>
                <a:gdLst>
                  <a:gd name="T0" fmla="*/ 0 w 5"/>
                  <a:gd name="T1" fmla="*/ 5 h 5"/>
                  <a:gd name="T2" fmla="*/ 2 w 5"/>
                  <a:gd name="T3" fmla="*/ 2 h 5"/>
                  <a:gd name="T4" fmla="*/ 4 w 5"/>
                  <a:gd name="T5" fmla="*/ 1 h 5"/>
                  <a:gd name="T6" fmla="*/ 3 w 5"/>
                  <a:gd name="T7" fmla="*/ 3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cubicBezTo>
                      <a:pt x="0" y="4"/>
                      <a:pt x="1" y="3"/>
                      <a:pt x="2" y="2"/>
                    </a:cubicBezTo>
                    <a:cubicBezTo>
                      <a:pt x="3" y="1"/>
                      <a:pt x="4" y="0"/>
                      <a:pt x="4" y="1"/>
                    </a:cubicBezTo>
                    <a:cubicBezTo>
                      <a:pt x="5" y="1"/>
                      <a:pt x="4" y="2"/>
                      <a:pt x="3" y="3"/>
                    </a:cubicBezTo>
                    <a:cubicBezTo>
                      <a:pt x="1" y="4"/>
                      <a:pt x="0" y="5"/>
                      <a:pt x="0" y="5"/>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298">
                <a:extLst>
                  <a:ext uri="{FF2B5EF4-FFF2-40B4-BE49-F238E27FC236}">
                    <a16:creationId xmlns:a16="http://schemas.microsoft.com/office/drawing/2014/main" id="{6A8A25BC-8FC2-4950-BBF1-CE3F948B20BA}"/>
                  </a:ext>
                </a:extLst>
              </p:cNvPr>
              <p:cNvSpPr>
                <a:spLocks noChangeArrowheads="1"/>
              </p:cNvSpPr>
              <p:nvPr/>
            </p:nvSpPr>
            <p:spPr bwMode="auto">
              <a:xfrm>
                <a:off x="5161" y="3817"/>
                <a:ext cx="17" cy="2"/>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99">
                <a:extLst>
                  <a:ext uri="{FF2B5EF4-FFF2-40B4-BE49-F238E27FC236}">
                    <a16:creationId xmlns:a16="http://schemas.microsoft.com/office/drawing/2014/main" id="{084E9F41-E3AE-46C6-9D42-2D99143754A6}"/>
                  </a:ext>
                </a:extLst>
              </p:cNvPr>
              <p:cNvSpPr>
                <a:spLocks/>
              </p:cNvSpPr>
              <p:nvPr/>
            </p:nvSpPr>
            <p:spPr bwMode="auto">
              <a:xfrm>
                <a:off x="5156" y="3805"/>
                <a:ext cx="22" cy="4"/>
              </a:xfrm>
              <a:custGeom>
                <a:avLst/>
                <a:gdLst>
                  <a:gd name="T0" fmla="*/ 0 w 9"/>
                  <a:gd name="T1" fmla="*/ 1 h 2"/>
                  <a:gd name="T2" fmla="*/ 4 w 9"/>
                  <a:gd name="T3" fmla="*/ 1 h 2"/>
                  <a:gd name="T4" fmla="*/ 8 w 9"/>
                  <a:gd name="T5" fmla="*/ 1 h 2"/>
                  <a:gd name="T6" fmla="*/ 4 w 9"/>
                  <a:gd name="T7" fmla="*/ 2 h 2"/>
                  <a:gd name="T8" fmla="*/ 0 w 9"/>
                  <a:gd name="T9" fmla="*/ 1 h 2"/>
                </a:gdLst>
                <a:ahLst/>
                <a:cxnLst>
                  <a:cxn ang="0">
                    <a:pos x="T0" y="T1"/>
                  </a:cxn>
                  <a:cxn ang="0">
                    <a:pos x="T2" y="T3"/>
                  </a:cxn>
                  <a:cxn ang="0">
                    <a:pos x="T4" y="T5"/>
                  </a:cxn>
                  <a:cxn ang="0">
                    <a:pos x="T6" y="T7"/>
                  </a:cxn>
                  <a:cxn ang="0">
                    <a:pos x="T8" y="T9"/>
                  </a:cxn>
                </a:cxnLst>
                <a:rect l="0" t="0" r="r" b="b"/>
                <a:pathLst>
                  <a:path w="9" h="2">
                    <a:moveTo>
                      <a:pt x="0" y="1"/>
                    </a:moveTo>
                    <a:cubicBezTo>
                      <a:pt x="0" y="0"/>
                      <a:pt x="2" y="1"/>
                      <a:pt x="4" y="1"/>
                    </a:cubicBezTo>
                    <a:cubicBezTo>
                      <a:pt x="7" y="1"/>
                      <a:pt x="8" y="1"/>
                      <a:pt x="8" y="1"/>
                    </a:cubicBezTo>
                    <a:cubicBezTo>
                      <a:pt x="9" y="1"/>
                      <a:pt x="7" y="2"/>
                      <a:pt x="4" y="2"/>
                    </a:cubicBezTo>
                    <a:cubicBezTo>
                      <a:pt x="2" y="2"/>
                      <a:pt x="0" y="1"/>
                      <a:pt x="0"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00">
                <a:extLst>
                  <a:ext uri="{FF2B5EF4-FFF2-40B4-BE49-F238E27FC236}">
                    <a16:creationId xmlns:a16="http://schemas.microsoft.com/office/drawing/2014/main" id="{14B096E3-EFB8-4E3A-BFD3-88B39832865F}"/>
                  </a:ext>
                </a:extLst>
              </p:cNvPr>
              <p:cNvSpPr>
                <a:spLocks/>
              </p:cNvSpPr>
              <p:nvPr/>
            </p:nvSpPr>
            <p:spPr bwMode="auto">
              <a:xfrm>
                <a:off x="5187" y="3807"/>
                <a:ext cx="31" cy="21"/>
              </a:xfrm>
              <a:custGeom>
                <a:avLst/>
                <a:gdLst>
                  <a:gd name="T0" fmla="*/ 0 w 13"/>
                  <a:gd name="T1" fmla="*/ 7 h 9"/>
                  <a:gd name="T2" fmla="*/ 4 w 13"/>
                  <a:gd name="T3" fmla="*/ 7 h 9"/>
                  <a:gd name="T4" fmla="*/ 9 w 13"/>
                  <a:gd name="T5" fmla="*/ 5 h 9"/>
                  <a:gd name="T6" fmla="*/ 11 w 13"/>
                  <a:gd name="T7" fmla="*/ 4 h 9"/>
                  <a:gd name="T8" fmla="*/ 12 w 13"/>
                  <a:gd name="T9" fmla="*/ 3 h 9"/>
                  <a:gd name="T10" fmla="*/ 6 w 13"/>
                  <a:gd name="T11" fmla="*/ 2 h 9"/>
                  <a:gd name="T12" fmla="*/ 3 w 13"/>
                  <a:gd name="T13" fmla="*/ 5 h 9"/>
                  <a:gd name="T14" fmla="*/ 1 w 13"/>
                  <a:gd name="T15" fmla="*/ 9 h 9"/>
                  <a:gd name="T16" fmla="*/ 1 w 13"/>
                  <a:gd name="T17" fmla="*/ 7 h 9"/>
                  <a:gd name="T18" fmla="*/ 2 w 13"/>
                  <a:gd name="T19" fmla="*/ 4 h 9"/>
                  <a:gd name="T20" fmla="*/ 12 w 13"/>
                  <a:gd name="T21" fmla="*/ 2 h 9"/>
                  <a:gd name="T22" fmla="*/ 13 w 13"/>
                  <a:gd name="T23" fmla="*/ 4 h 9"/>
                  <a:gd name="T24" fmla="*/ 12 w 13"/>
                  <a:gd name="T25" fmla="*/ 5 h 9"/>
                  <a:gd name="T26" fmla="*/ 9 w 13"/>
                  <a:gd name="T27" fmla="*/ 6 h 9"/>
                  <a:gd name="T28" fmla="*/ 4 w 13"/>
                  <a:gd name="T29" fmla="*/ 7 h 9"/>
                  <a:gd name="T30" fmla="*/ 0 w 13"/>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9">
                    <a:moveTo>
                      <a:pt x="0" y="7"/>
                    </a:moveTo>
                    <a:cubicBezTo>
                      <a:pt x="0" y="7"/>
                      <a:pt x="2" y="7"/>
                      <a:pt x="4" y="7"/>
                    </a:cubicBezTo>
                    <a:cubicBezTo>
                      <a:pt x="6" y="6"/>
                      <a:pt x="7" y="6"/>
                      <a:pt x="9" y="5"/>
                    </a:cubicBezTo>
                    <a:cubicBezTo>
                      <a:pt x="10" y="5"/>
                      <a:pt x="11" y="5"/>
                      <a:pt x="11" y="4"/>
                    </a:cubicBezTo>
                    <a:cubicBezTo>
                      <a:pt x="12" y="4"/>
                      <a:pt x="12" y="3"/>
                      <a:pt x="12" y="3"/>
                    </a:cubicBezTo>
                    <a:cubicBezTo>
                      <a:pt x="10" y="2"/>
                      <a:pt x="8" y="2"/>
                      <a:pt x="6" y="2"/>
                    </a:cubicBezTo>
                    <a:cubicBezTo>
                      <a:pt x="5" y="3"/>
                      <a:pt x="4" y="4"/>
                      <a:pt x="3" y="5"/>
                    </a:cubicBezTo>
                    <a:cubicBezTo>
                      <a:pt x="1" y="7"/>
                      <a:pt x="1" y="9"/>
                      <a:pt x="1" y="9"/>
                    </a:cubicBezTo>
                    <a:cubicBezTo>
                      <a:pt x="1" y="9"/>
                      <a:pt x="1" y="8"/>
                      <a:pt x="1" y="7"/>
                    </a:cubicBezTo>
                    <a:cubicBezTo>
                      <a:pt x="1" y="7"/>
                      <a:pt x="1" y="6"/>
                      <a:pt x="2" y="4"/>
                    </a:cubicBezTo>
                    <a:cubicBezTo>
                      <a:pt x="4" y="2"/>
                      <a:pt x="8" y="0"/>
                      <a:pt x="12" y="2"/>
                    </a:cubicBezTo>
                    <a:cubicBezTo>
                      <a:pt x="13" y="2"/>
                      <a:pt x="13" y="3"/>
                      <a:pt x="13" y="4"/>
                    </a:cubicBezTo>
                    <a:cubicBezTo>
                      <a:pt x="13" y="4"/>
                      <a:pt x="12" y="5"/>
                      <a:pt x="12" y="5"/>
                    </a:cubicBezTo>
                    <a:cubicBezTo>
                      <a:pt x="11" y="6"/>
                      <a:pt x="10" y="6"/>
                      <a:pt x="9" y="6"/>
                    </a:cubicBezTo>
                    <a:cubicBezTo>
                      <a:pt x="7" y="7"/>
                      <a:pt x="6" y="7"/>
                      <a:pt x="4" y="7"/>
                    </a:cubicBezTo>
                    <a:cubicBezTo>
                      <a:pt x="2" y="8"/>
                      <a:pt x="0" y="7"/>
                      <a:pt x="0" y="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01">
                <a:extLst>
                  <a:ext uri="{FF2B5EF4-FFF2-40B4-BE49-F238E27FC236}">
                    <a16:creationId xmlns:a16="http://schemas.microsoft.com/office/drawing/2014/main" id="{A4B21199-B3B2-4478-A199-F8F93433B2BD}"/>
                  </a:ext>
                </a:extLst>
              </p:cNvPr>
              <p:cNvSpPr>
                <a:spLocks/>
              </p:cNvSpPr>
              <p:nvPr/>
            </p:nvSpPr>
            <p:spPr bwMode="auto">
              <a:xfrm>
                <a:off x="5175" y="3805"/>
                <a:ext cx="17" cy="21"/>
              </a:xfrm>
              <a:custGeom>
                <a:avLst/>
                <a:gdLst>
                  <a:gd name="T0" fmla="*/ 6 w 7"/>
                  <a:gd name="T1" fmla="*/ 9 h 9"/>
                  <a:gd name="T2" fmla="*/ 6 w 7"/>
                  <a:gd name="T3" fmla="*/ 6 h 9"/>
                  <a:gd name="T4" fmla="*/ 5 w 7"/>
                  <a:gd name="T5" fmla="*/ 3 h 9"/>
                  <a:gd name="T6" fmla="*/ 2 w 7"/>
                  <a:gd name="T7" fmla="*/ 1 h 9"/>
                  <a:gd name="T8" fmla="*/ 2 w 7"/>
                  <a:gd name="T9" fmla="*/ 4 h 9"/>
                  <a:gd name="T10" fmla="*/ 4 w 7"/>
                  <a:gd name="T11" fmla="*/ 6 h 9"/>
                  <a:gd name="T12" fmla="*/ 6 w 7"/>
                  <a:gd name="T13" fmla="*/ 9 h 9"/>
                  <a:gd name="T14" fmla="*/ 3 w 7"/>
                  <a:gd name="T15" fmla="*/ 7 h 9"/>
                  <a:gd name="T16" fmla="*/ 1 w 7"/>
                  <a:gd name="T17" fmla="*/ 4 h 9"/>
                  <a:gd name="T18" fmla="*/ 0 w 7"/>
                  <a:gd name="T19" fmla="*/ 2 h 9"/>
                  <a:gd name="T20" fmla="*/ 2 w 7"/>
                  <a:gd name="T21" fmla="*/ 0 h 9"/>
                  <a:gd name="T22" fmla="*/ 5 w 7"/>
                  <a:gd name="T23" fmla="*/ 2 h 9"/>
                  <a:gd name="T24" fmla="*/ 7 w 7"/>
                  <a:gd name="T25" fmla="*/ 6 h 9"/>
                  <a:gd name="T26" fmla="*/ 6 w 7"/>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9">
                    <a:moveTo>
                      <a:pt x="6" y="9"/>
                    </a:moveTo>
                    <a:cubicBezTo>
                      <a:pt x="6" y="9"/>
                      <a:pt x="6" y="7"/>
                      <a:pt x="6" y="6"/>
                    </a:cubicBezTo>
                    <a:cubicBezTo>
                      <a:pt x="6" y="5"/>
                      <a:pt x="6" y="4"/>
                      <a:pt x="5" y="3"/>
                    </a:cubicBezTo>
                    <a:cubicBezTo>
                      <a:pt x="4" y="2"/>
                      <a:pt x="3" y="1"/>
                      <a:pt x="2" y="1"/>
                    </a:cubicBezTo>
                    <a:cubicBezTo>
                      <a:pt x="1" y="1"/>
                      <a:pt x="1" y="3"/>
                      <a:pt x="2" y="4"/>
                    </a:cubicBezTo>
                    <a:cubicBezTo>
                      <a:pt x="2" y="5"/>
                      <a:pt x="3" y="6"/>
                      <a:pt x="4" y="6"/>
                    </a:cubicBezTo>
                    <a:cubicBezTo>
                      <a:pt x="5" y="8"/>
                      <a:pt x="6" y="8"/>
                      <a:pt x="6" y="9"/>
                    </a:cubicBezTo>
                    <a:cubicBezTo>
                      <a:pt x="6" y="9"/>
                      <a:pt x="5" y="8"/>
                      <a:pt x="3" y="7"/>
                    </a:cubicBezTo>
                    <a:cubicBezTo>
                      <a:pt x="3" y="6"/>
                      <a:pt x="2" y="5"/>
                      <a:pt x="1" y="4"/>
                    </a:cubicBezTo>
                    <a:cubicBezTo>
                      <a:pt x="1" y="4"/>
                      <a:pt x="0" y="3"/>
                      <a:pt x="0" y="2"/>
                    </a:cubicBezTo>
                    <a:cubicBezTo>
                      <a:pt x="0" y="1"/>
                      <a:pt x="1" y="0"/>
                      <a:pt x="2" y="0"/>
                    </a:cubicBezTo>
                    <a:cubicBezTo>
                      <a:pt x="4" y="0"/>
                      <a:pt x="5" y="1"/>
                      <a:pt x="5" y="2"/>
                    </a:cubicBezTo>
                    <a:cubicBezTo>
                      <a:pt x="6" y="3"/>
                      <a:pt x="7" y="5"/>
                      <a:pt x="7" y="6"/>
                    </a:cubicBezTo>
                    <a:cubicBezTo>
                      <a:pt x="7" y="8"/>
                      <a:pt x="6" y="9"/>
                      <a:pt x="6" y="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02">
                <a:extLst>
                  <a:ext uri="{FF2B5EF4-FFF2-40B4-BE49-F238E27FC236}">
                    <a16:creationId xmlns:a16="http://schemas.microsoft.com/office/drawing/2014/main" id="{FA2CF653-8856-4B98-9411-E5AAFAF34552}"/>
                  </a:ext>
                </a:extLst>
              </p:cNvPr>
              <p:cNvSpPr>
                <a:spLocks/>
              </p:cNvSpPr>
              <p:nvPr/>
            </p:nvSpPr>
            <p:spPr bwMode="auto">
              <a:xfrm>
                <a:off x="5014" y="3817"/>
                <a:ext cx="59" cy="45"/>
              </a:xfrm>
              <a:custGeom>
                <a:avLst/>
                <a:gdLst>
                  <a:gd name="T0" fmla="*/ 0 w 25"/>
                  <a:gd name="T1" fmla="*/ 0 h 19"/>
                  <a:gd name="T2" fmla="*/ 1 w 25"/>
                  <a:gd name="T3" fmla="*/ 0 h 19"/>
                  <a:gd name="T4" fmla="*/ 5 w 25"/>
                  <a:gd name="T5" fmla="*/ 0 h 19"/>
                  <a:gd name="T6" fmla="*/ 16 w 25"/>
                  <a:gd name="T7" fmla="*/ 4 h 19"/>
                  <a:gd name="T8" fmla="*/ 24 w 25"/>
                  <a:gd name="T9" fmla="*/ 14 h 19"/>
                  <a:gd name="T10" fmla="*/ 24 w 25"/>
                  <a:gd name="T11" fmla="*/ 18 h 19"/>
                  <a:gd name="T12" fmla="*/ 24 w 25"/>
                  <a:gd name="T13" fmla="*/ 19 h 19"/>
                  <a:gd name="T14" fmla="*/ 23 w 25"/>
                  <a:gd name="T15" fmla="*/ 14 h 19"/>
                  <a:gd name="T16" fmla="*/ 16 w 25"/>
                  <a:gd name="T17" fmla="*/ 5 h 19"/>
                  <a:gd name="T18" fmla="*/ 5 w 25"/>
                  <a:gd name="T19" fmla="*/ 0 h 19"/>
                  <a:gd name="T20" fmla="*/ 0 w 25"/>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9">
                    <a:moveTo>
                      <a:pt x="0" y="0"/>
                    </a:moveTo>
                    <a:cubicBezTo>
                      <a:pt x="0" y="0"/>
                      <a:pt x="0" y="0"/>
                      <a:pt x="1" y="0"/>
                    </a:cubicBezTo>
                    <a:cubicBezTo>
                      <a:pt x="2" y="0"/>
                      <a:pt x="3" y="0"/>
                      <a:pt x="5" y="0"/>
                    </a:cubicBezTo>
                    <a:cubicBezTo>
                      <a:pt x="8" y="0"/>
                      <a:pt x="13" y="1"/>
                      <a:pt x="16" y="4"/>
                    </a:cubicBezTo>
                    <a:cubicBezTo>
                      <a:pt x="20" y="7"/>
                      <a:pt x="23" y="11"/>
                      <a:pt x="24" y="14"/>
                    </a:cubicBezTo>
                    <a:cubicBezTo>
                      <a:pt x="24" y="16"/>
                      <a:pt x="24" y="17"/>
                      <a:pt x="24" y="18"/>
                    </a:cubicBezTo>
                    <a:cubicBezTo>
                      <a:pt x="25" y="19"/>
                      <a:pt x="25" y="19"/>
                      <a:pt x="24" y="19"/>
                    </a:cubicBezTo>
                    <a:cubicBezTo>
                      <a:pt x="24" y="19"/>
                      <a:pt x="24" y="17"/>
                      <a:pt x="23" y="14"/>
                    </a:cubicBezTo>
                    <a:cubicBezTo>
                      <a:pt x="22" y="11"/>
                      <a:pt x="20" y="8"/>
                      <a:pt x="16" y="5"/>
                    </a:cubicBezTo>
                    <a:cubicBezTo>
                      <a:pt x="12" y="2"/>
                      <a:pt x="8" y="1"/>
                      <a:pt x="5" y="0"/>
                    </a:cubicBezTo>
                    <a:cubicBezTo>
                      <a:pt x="2" y="0"/>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03">
                <a:extLst>
                  <a:ext uri="{FF2B5EF4-FFF2-40B4-BE49-F238E27FC236}">
                    <a16:creationId xmlns:a16="http://schemas.microsoft.com/office/drawing/2014/main" id="{996B3D4A-EA7B-4E5E-A719-A55680C0EBCE}"/>
                  </a:ext>
                </a:extLst>
              </p:cNvPr>
              <p:cNvSpPr>
                <a:spLocks/>
              </p:cNvSpPr>
              <p:nvPr/>
            </p:nvSpPr>
            <p:spPr bwMode="auto">
              <a:xfrm>
                <a:off x="5028" y="3750"/>
                <a:ext cx="2" cy="67"/>
              </a:xfrm>
              <a:custGeom>
                <a:avLst/>
                <a:gdLst>
                  <a:gd name="T0" fmla="*/ 0 w 1"/>
                  <a:gd name="T1" fmla="*/ 0 h 28"/>
                  <a:gd name="T2" fmla="*/ 1 w 1"/>
                  <a:gd name="T3" fmla="*/ 14 h 28"/>
                  <a:gd name="T4" fmla="*/ 1 w 1"/>
                  <a:gd name="T5" fmla="*/ 28 h 28"/>
                  <a:gd name="T6" fmla="*/ 0 w 1"/>
                  <a:gd name="T7" fmla="*/ 14 h 28"/>
                  <a:gd name="T8" fmla="*/ 0 w 1"/>
                  <a:gd name="T9" fmla="*/ 0 h 28"/>
                </a:gdLst>
                <a:ahLst/>
                <a:cxnLst>
                  <a:cxn ang="0">
                    <a:pos x="T0" y="T1"/>
                  </a:cxn>
                  <a:cxn ang="0">
                    <a:pos x="T2" y="T3"/>
                  </a:cxn>
                  <a:cxn ang="0">
                    <a:pos x="T4" y="T5"/>
                  </a:cxn>
                  <a:cxn ang="0">
                    <a:pos x="T6" y="T7"/>
                  </a:cxn>
                  <a:cxn ang="0">
                    <a:pos x="T8" y="T9"/>
                  </a:cxn>
                </a:cxnLst>
                <a:rect l="0" t="0" r="r" b="b"/>
                <a:pathLst>
                  <a:path w="1" h="28">
                    <a:moveTo>
                      <a:pt x="0" y="0"/>
                    </a:moveTo>
                    <a:cubicBezTo>
                      <a:pt x="1" y="0"/>
                      <a:pt x="1" y="6"/>
                      <a:pt x="1" y="14"/>
                    </a:cubicBezTo>
                    <a:cubicBezTo>
                      <a:pt x="1" y="21"/>
                      <a:pt x="1" y="28"/>
                      <a:pt x="1" y="28"/>
                    </a:cubicBezTo>
                    <a:cubicBezTo>
                      <a:pt x="0" y="28"/>
                      <a:pt x="0" y="21"/>
                      <a:pt x="0" y="14"/>
                    </a:cubicBezTo>
                    <a:cubicBezTo>
                      <a:pt x="0" y="6"/>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04">
                <a:extLst>
                  <a:ext uri="{FF2B5EF4-FFF2-40B4-BE49-F238E27FC236}">
                    <a16:creationId xmlns:a16="http://schemas.microsoft.com/office/drawing/2014/main" id="{1FFB573F-ADAE-463A-AD50-0C96207F08C9}"/>
                  </a:ext>
                </a:extLst>
              </p:cNvPr>
              <p:cNvSpPr>
                <a:spLocks/>
              </p:cNvSpPr>
              <p:nvPr/>
            </p:nvSpPr>
            <p:spPr bwMode="auto">
              <a:xfrm>
                <a:off x="5092" y="3845"/>
                <a:ext cx="48" cy="5"/>
              </a:xfrm>
              <a:custGeom>
                <a:avLst/>
                <a:gdLst>
                  <a:gd name="T0" fmla="*/ 0 w 20"/>
                  <a:gd name="T1" fmla="*/ 1 h 2"/>
                  <a:gd name="T2" fmla="*/ 10 w 20"/>
                  <a:gd name="T3" fmla="*/ 1 h 2"/>
                  <a:gd name="T4" fmla="*/ 20 w 20"/>
                  <a:gd name="T5" fmla="*/ 1 h 2"/>
                  <a:gd name="T6" fmla="*/ 10 w 20"/>
                  <a:gd name="T7" fmla="*/ 2 h 2"/>
                  <a:gd name="T8" fmla="*/ 0 w 20"/>
                  <a:gd name="T9" fmla="*/ 1 h 2"/>
                </a:gdLst>
                <a:ahLst/>
                <a:cxnLst>
                  <a:cxn ang="0">
                    <a:pos x="T0" y="T1"/>
                  </a:cxn>
                  <a:cxn ang="0">
                    <a:pos x="T2" y="T3"/>
                  </a:cxn>
                  <a:cxn ang="0">
                    <a:pos x="T4" y="T5"/>
                  </a:cxn>
                  <a:cxn ang="0">
                    <a:pos x="T6" y="T7"/>
                  </a:cxn>
                  <a:cxn ang="0">
                    <a:pos x="T8" y="T9"/>
                  </a:cxn>
                </a:cxnLst>
                <a:rect l="0" t="0" r="r" b="b"/>
                <a:pathLst>
                  <a:path w="20" h="2">
                    <a:moveTo>
                      <a:pt x="0" y="1"/>
                    </a:moveTo>
                    <a:cubicBezTo>
                      <a:pt x="0" y="1"/>
                      <a:pt x="5" y="1"/>
                      <a:pt x="10" y="1"/>
                    </a:cubicBezTo>
                    <a:cubicBezTo>
                      <a:pt x="16" y="1"/>
                      <a:pt x="20" y="0"/>
                      <a:pt x="20" y="1"/>
                    </a:cubicBezTo>
                    <a:cubicBezTo>
                      <a:pt x="20" y="1"/>
                      <a:pt x="16" y="2"/>
                      <a:pt x="10" y="2"/>
                    </a:cubicBezTo>
                    <a:cubicBezTo>
                      <a:pt x="5" y="2"/>
                      <a:pt x="0" y="1"/>
                      <a:pt x="0"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05">
                <a:extLst>
                  <a:ext uri="{FF2B5EF4-FFF2-40B4-BE49-F238E27FC236}">
                    <a16:creationId xmlns:a16="http://schemas.microsoft.com/office/drawing/2014/main" id="{4FC77B00-1335-44F5-AD97-2C9D3E0DAA29}"/>
                  </a:ext>
                </a:extLst>
              </p:cNvPr>
              <p:cNvSpPr>
                <a:spLocks/>
              </p:cNvSpPr>
              <p:nvPr/>
            </p:nvSpPr>
            <p:spPr bwMode="auto">
              <a:xfrm>
                <a:off x="5059" y="3847"/>
                <a:ext cx="7" cy="10"/>
              </a:xfrm>
              <a:custGeom>
                <a:avLst/>
                <a:gdLst>
                  <a:gd name="T0" fmla="*/ 1 w 3"/>
                  <a:gd name="T1" fmla="*/ 0 h 4"/>
                  <a:gd name="T2" fmla="*/ 2 w 3"/>
                  <a:gd name="T3" fmla="*/ 2 h 4"/>
                  <a:gd name="T4" fmla="*/ 2 w 3"/>
                  <a:gd name="T5" fmla="*/ 4 h 4"/>
                  <a:gd name="T6" fmla="*/ 2 w 3"/>
                  <a:gd name="T7" fmla="*/ 2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1" y="0"/>
                      <a:pt x="2" y="0"/>
                      <a:pt x="2" y="2"/>
                    </a:cubicBezTo>
                    <a:cubicBezTo>
                      <a:pt x="3" y="3"/>
                      <a:pt x="3" y="4"/>
                      <a:pt x="2" y="4"/>
                    </a:cubicBezTo>
                    <a:cubicBezTo>
                      <a:pt x="2" y="4"/>
                      <a:pt x="2" y="3"/>
                      <a:pt x="2" y="2"/>
                    </a:cubicBezTo>
                    <a:cubicBezTo>
                      <a:pt x="1" y="1"/>
                      <a:pt x="0"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06">
                <a:extLst>
                  <a:ext uri="{FF2B5EF4-FFF2-40B4-BE49-F238E27FC236}">
                    <a16:creationId xmlns:a16="http://schemas.microsoft.com/office/drawing/2014/main" id="{85522DBA-D8B1-4261-A974-F88159BC24B1}"/>
                  </a:ext>
                </a:extLst>
              </p:cNvPr>
              <p:cNvSpPr>
                <a:spLocks/>
              </p:cNvSpPr>
              <p:nvPr/>
            </p:nvSpPr>
            <p:spPr bwMode="auto">
              <a:xfrm>
                <a:off x="5047" y="3833"/>
                <a:ext cx="7" cy="7"/>
              </a:xfrm>
              <a:custGeom>
                <a:avLst/>
                <a:gdLst>
                  <a:gd name="T0" fmla="*/ 0 w 3"/>
                  <a:gd name="T1" fmla="*/ 0 h 3"/>
                  <a:gd name="T2" fmla="*/ 2 w 3"/>
                  <a:gd name="T3" fmla="*/ 1 h 3"/>
                  <a:gd name="T4" fmla="*/ 3 w 3"/>
                  <a:gd name="T5" fmla="*/ 2 h 3"/>
                  <a:gd name="T6" fmla="*/ 1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cubicBezTo>
                      <a:pt x="1" y="0"/>
                      <a:pt x="1" y="0"/>
                      <a:pt x="2" y="1"/>
                    </a:cubicBezTo>
                    <a:cubicBezTo>
                      <a:pt x="3" y="1"/>
                      <a:pt x="3" y="2"/>
                      <a:pt x="3" y="2"/>
                    </a:cubicBezTo>
                    <a:cubicBezTo>
                      <a:pt x="3" y="3"/>
                      <a:pt x="2" y="2"/>
                      <a:pt x="1" y="1"/>
                    </a:cubicBezTo>
                    <a:cubicBezTo>
                      <a:pt x="1" y="1"/>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07">
                <a:extLst>
                  <a:ext uri="{FF2B5EF4-FFF2-40B4-BE49-F238E27FC236}">
                    <a16:creationId xmlns:a16="http://schemas.microsoft.com/office/drawing/2014/main" id="{18326F4D-E1E8-4DF5-833A-E1B656DA2915}"/>
                  </a:ext>
                </a:extLst>
              </p:cNvPr>
              <p:cNvSpPr>
                <a:spLocks/>
              </p:cNvSpPr>
              <p:nvPr/>
            </p:nvSpPr>
            <p:spPr bwMode="auto">
              <a:xfrm>
                <a:off x="5030" y="3824"/>
                <a:ext cx="10" cy="4"/>
              </a:xfrm>
              <a:custGeom>
                <a:avLst/>
                <a:gdLst>
                  <a:gd name="T0" fmla="*/ 0 w 4"/>
                  <a:gd name="T1" fmla="*/ 1 h 2"/>
                  <a:gd name="T2" fmla="*/ 2 w 4"/>
                  <a:gd name="T3" fmla="*/ 1 h 2"/>
                  <a:gd name="T4" fmla="*/ 4 w 4"/>
                  <a:gd name="T5" fmla="*/ 2 h 2"/>
                  <a:gd name="T6" fmla="*/ 2 w 4"/>
                  <a:gd name="T7" fmla="*/ 2 h 2"/>
                  <a:gd name="T8" fmla="*/ 0 w 4"/>
                  <a:gd name="T9" fmla="*/ 1 h 2"/>
                </a:gdLst>
                <a:ahLst/>
                <a:cxnLst>
                  <a:cxn ang="0">
                    <a:pos x="T0" y="T1"/>
                  </a:cxn>
                  <a:cxn ang="0">
                    <a:pos x="T2" y="T3"/>
                  </a:cxn>
                  <a:cxn ang="0">
                    <a:pos x="T4" y="T5"/>
                  </a:cxn>
                  <a:cxn ang="0">
                    <a:pos x="T6" y="T7"/>
                  </a:cxn>
                  <a:cxn ang="0">
                    <a:pos x="T8" y="T9"/>
                  </a:cxn>
                </a:cxnLst>
                <a:rect l="0" t="0" r="r" b="b"/>
                <a:pathLst>
                  <a:path w="4" h="2">
                    <a:moveTo>
                      <a:pt x="0" y="1"/>
                    </a:moveTo>
                    <a:cubicBezTo>
                      <a:pt x="0" y="1"/>
                      <a:pt x="1" y="0"/>
                      <a:pt x="2" y="1"/>
                    </a:cubicBezTo>
                    <a:cubicBezTo>
                      <a:pt x="4" y="1"/>
                      <a:pt x="4" y="2"/>
                      <a:pt x="4" y="2"/>
                    </a:cubicBezTo>
                    <a:cubicBezTo>
                      <a:pt x="4" y="2"/>
                      <a:pt x="3" y="2"/>
                      <a:pt x="2" y="2"/>
                    </a:cubicBezTo>
                    <a:cubicBezTo>
                      <a:pt x="1" y="1"/>
                      <a:pt x="0" y="1"/>
                      <a:pt x="0" y="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308">
                <a:extLst>
                  <a:ext uri="{FF2B5EF4-FFF2-40B4-BE49-F238E27FC236}">
                    <a16:creationId xmlns:a16="http://schemas.microsoft.com/office/drawing/2014/main" id="{8E038A64-62F5-462E-82EF-3C2762666601}"/>
                  </a:ext>
                </a:extLst>
              </p:cNvPr>
              <p:cNvSpPr>
                <a:spLocks/>
              </p:cNvSpPr>
              <p:nvPr/>
            </p:nvSpPr>
            <p:spPr bwMode="auto">
              <a:xfrm>
                <a:off x="5019" y="3824"/>
                <a:ext cx="4" cy="2"/>
              </a:xfrm>
              <a:custGeom>
                <a:avLst/>
                <a:gdLst>
                  <a:gd name="T0" fmla="*/ 0 w 2"/>
                  <a:gd name="T1" fmla="*/ 0 h 1"/>
                  <a:gd name="T2" fmla="*/ 1 w 2"/>
                  <a:gd name="T3" fmla="*/ 0 h 1"/>
                  <a:gd name="T4" fmla="*/ 2 w 2"/>
                  <a:gd name="T5" fmla="*/ 1 h 1"/>
                  <a:gd name="T6" fmla="*/ 1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1" y="0"/>
                      <a:pt x="1" y="0"/>
                    </a:cubicBezTo>
                    <a:cubicBezTo>
                      <a:pt x="2" y="0"/>
                      <a:pt x="2" y="0"/>
                      <a:pt x="2" y="1"/>
                    </a:cubicBezTo>
                    <a:cubicBezTo>
                      <a:pt x="2" y="1"/>
                      <a:pt x="1" y="1"/>
                      <a:pt x="1" y="1"/>
                    </a:cubicBezTo>
                    <a:cubicBezTo>
                      <a:pt x="0" y="0"/>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309">
                <a:extLst>
                  <a:ext uri="{FF2B5EF4-FFF2-40B4-BE49-F238E27FC236}">
                    <a16:creationId xmlns:a16="http://schemas.microsoft.com/office/drawing/2014/main" id="{3FAA8D14-905F-434A-B092-379FB4E96FBF}"/>
                  </a:ext>
                </a:extLst>
              </p:cNvPr>
              <p:cNvSpPr>
                <a:spLocks/>
              </p:cNvSpPr>
              <p:nvPr/>
            </p:nvSpPr>
            <p:spPr bwMode="auto">
              <a:xfrm>
                <a:off x="5747" y="1233"/>
                <a:ext cx="185" cy="218"/>
              </a:xfrm>
              <a:custGeom>
                <a:avLst/>
                <a:gdLst>
                  <a:gd name="T0" fmla="*/ 0 w 78"/>
                  <a:gd name="T1" fmla="*/ 61 h 92"/>
                  <a:gd name="T2" fmla="*/ 64 w 78"/>
                  <a:gd name="T3" fmla="*/ 3 h 92"/>
                  <a:gd name="T4" fmla="*/ 46 w 78"/>
                  <a:gd name="T5" fmla="*/ 34 h 92"/>
                  <a:gd name="T6" fmla="*/ 33 w 78"/>
                  <a:gd name="T7" fmla="*/ 92 h 92"/>
                  <a:gd name="T8" fmla="*/ 0 w 78"/>
                  <a:gd name="T9" fmla="*/ 61 h 92"/>
                </a:gdLst>
                <a:ahLst/>
                <a:cxnLst>
                  <a:cxn ang="0">
                    <a:pos x="T0" y="T1"/>
                  </a:cxn>
                  <a:cxn ang="0">
                    <a:pos x="T2" y="T3"/>
                  </a:cxn>
                  <a:cxn ang="0">
                    <a:pos x="T4" y="T5"/>
                  </a:cxn>
                  <a:cxn ang="0">
                    <a:pos x="T6" y="T7"/>
                  </a:cxn>
                  <a:cxn ang="0">
                    <a:pos x="T8" y="T9"/>
                  </a:cxn>
                </a:cxnLst>
                <a:rect l="0" t="0" r="r" b="b"/>
                <a:pathLst>
                  <a:path w="78" h="92">
                    <a:moveTo>
                      <a:pt x="0" y="61"/>
                    </a:moveTo>
                    <a:cubicBezTo>
                      <a:pt x="0" y="61"/>
                      <a:pt x="59" y="0"/>
                      <a:pt x="64" y="3"/>
                    </a:cubicBezTo>
                    <a:cubicBezTo>
                      <a:pt x="70" y="6"/>
                      <a:pt x="43" y="30"/>
                      <a:pt x="46" y="34"/>
                    </a:cubicBezTo>
                    <a:cubicBezTo>
                      <a:pt x="50" y="37"/>
                      <a:pt x="78" y="58"/>
                      <a:pt x="33" y="92"/>
                    </a:cubicBezTo>
                    <a:lnTo>
                      <a:pt x="0" y="61"/>
                    </a:ln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10">
                <a:extLst>
                  <a:ext uri="{FF2B5EF4-FFF2-40B4-BE49-F238E27FC236}">
                    <a16:creationId xmlns:a16="http://schemas.microsoft.com/office/drawing/2014/main" id="{4836634B-D197-4D69-86EF-0430426C8232}"/>
                  </a:ext>
                </a:extLst>
              </p:cNvPr>
              <p:cNvSpPr>
                <a:spLocks/>
              </p:cNvSpPr>
              <p:nvPr/>
            </p:nvSpPr>
            <p:spPr bwMode="auto">
              <a:xfrm>
                <a:off x="5825" y="1320"/>
                <a:ext cx="43" cy="57"/>
              </a:xfrm>
              <a:custGeom>
                <a:avLst/>
                <a:gdLst>
                  <a:gd name="T0" fmla="*/ 18 w 18"/>
                  <a:gd name="T1" fmla="*/ 6 h 24"/>
                  <a:gd name="T2" fmla="*/ 17 w 18"/>
                  <a:gd name="T3" fmla="*/ 8 h 24"/>
                  <a:gd name="T4" fmla="*/ 14 w 18"/>
                  <a:gd name="T5" fmla="*/ 13 h 24"/>
                  <a:gd name="T6" fmla="*/ 10 w 18"/>
                  <a:gd name="T7" fmla="*/ 20 h 24"/>
                  <a:gd name="T8" fmla="*/ 6 w 18"/>
                  <a:gd name="T9" fmla="*/ 23 h 24"/>
                  <a:gd name="T10" fmla="*/ 1 w 18"/>
                  <a:gd name="T11" fmla="*/ 23 h 24"/>
                  <a:gd name="T12" fmla="*/ 1 w 18"/>
                  <a:gd name="T13" fmla="*/ 17 h 24"/>
                  <a:gd name="T14" fmla="*/ 4 w 18"/>
                  <a:gd name="T15" fmla="*/ 13 h 24"/>
                  <a:gd name="T16" fmla="*/ 8 w 18"/>
                  <a:gd name="T17" fmla="*/ 6 h 24"/>
                  <a:gd name="T18" fmla="*/ 12 w 18"/>
                  <a:gd name="T19" fmla="*/ 2 h 24"/>
                  <a:gd name="T20" fmla="*/ 13 w 18"/>
                  <a:gd name="T21" fmla="*/ 0 h 24"/>
                  <a:gd name="T22" fmla="*/ 12 w 18"/>
                  <a:gd name="T23" fmla="*/ 2 h 24"/>
                  <a:gd name="T24" fmla="*/ 9 w 18"/>
                  <a:gd name="T25" fmla="*/ 7 h 24"/>
                  <a:gd name="T26" fmla="*/ 5 w 18"/>
                  <a:gd name="T27" fmla="*/ 14 h 24"/>
                  <a:gd name="T28" fmla="*/ 2 w 18"/>
                  <a:gd name="T29" fmla="*/ 18 h 24"/>
                  <a:gd name="T30" fmla="*/ 2 w 18"/>
                  <a:gd name="T31" fmla="*/ 22 h 24"/>
                  <a:gd name="T32" fmla="*/ 6 w 18"/>
                  <a:gd name="T33" fmla="*/ 23 h 24"/>
                  <a:gd name="T34" fmla="*/ 9 w 18"/>
                  <a:gd name="T35" fmla="*/ 19 h 24"/>
                  <a:gd name="T36" fmla="*/ 14 w 18"/>
                  <a:gd name="T37" fmla="*/ 13 h 24"/>
                  <a:gd name="T38" fmla="*/ 17 w 18"/>
                  <a:gd name="T39" fmla="*/ 8 h 24"/>
                  <a:gd name="T40" fmla="*/ 18 w 18"/>
                  <a:gd name="T41"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4">
                    <a:moveTo>
                      <a:pt x="18" y="6"/>
                    </a:moveTo>
                    <a:cubicBezTo>
                      <a:pt x="18" y="6"/>
                      <a:pt x="18" y="7"/>
                      <a:pt x="17" y="8"/>
                    </a:cubicBezTo>
                    <a:cubicBezTo>
                      <a:pt x="16" y="10"/>
                      <a:pt x="15" y="11"/>
                      <a:pt x="14" y="13"/>
                    </a:cubicBezTo>
                    <a:cubicBezTo>
                      <a:pt x="13" y="15"/>
                      <a:pt x="11" y="17"/>
                      <a:pt x="10" y="20"/>
                    </a:cubicBezTo>
                    <a:cubicBezTo>
                      <a:pt x="9" y="21"/>
                      <a:pt x="8" y="22"/>
                      <a:pt x="6" y="23"/>
                    </a:cubicBezTo>
                    <a:cubicBezTo>
                      <a:pt x="5" y="24"/>
                      <a:pt x="2" y="24"/>
                      <a:pt x="1" y="23"/>
                    </a:cubicBezTo>
                    <a:cubicBezTo>
                      <a:pt x="0" y="21"/>
                      <a:pt x="1" y="19"/>
                      <a:pt x="1" y="17"/>
                    </a:cubicBezTo>
                    <a:cubicBezTo>
                      <a:pt x="2" y="16"/>
                      <a:pt x="3" y="14"/>
                      <a:pt x="4" y="13"/>
                    </a:cubicBezTo>
                    <a:cubicBezTo>
                      <a:pt x="6" y="11"/>
                      <a:pt x="7" y="9"/>
                      <a:pt x="8" y="6"/>
                    </a:cubicBezTo>
                    <a:cubicBezTo>
                      <a:pt x="10" y="5"/>
                      <a:pt x="11" y="3"/>
                      <a:pt x="12" y="2"/>
                    </a:cubicBezTo>
                    <a:cubicBezTo>
                      <a:pt x="12" y="1"/>
                      <a:pt x="13" y="0"/>
                      <a:pt x="13" y="0"/>
                    </a:cubicBezTo>
                    <a:cubicBezTo>
                      <a:pt x="13" y="0"/>
                      <a:pt x="12" y="1"/>
                      <a:pt x="12" y="2"/>
                    </a:cubicBezTo>
                    <a:cubicBezTo>
                      <a:pt x="11" y="4"/>
                      <a:pt x="10" y="5"/>
                      <a:pt x="9" y="7"/>
                    </a:cubicBezTo>
                    <a:cubicBezTo>
                      <a:pt x="8" y="9"/>
                      <a:pt x="6" y="11"/>
                      <a:pt x="5" y="14"/>
                    </a:cubicBezTo>
                    <a:cubicBezTo>
                      <a:pt x="4" y="15"/>
                      <a:pt x="3" y="16"/>
                      <a:pt x="2" y="18"/>
                    </a:cubicBezTo>
                    <a:cubicBezTo>
                      <a:pt x="1" y="19"/>
                      <a:pt x="1" y="21"/>
                      <a:pt x="2" y="22"/>
                    </a:cubicBezTo>
                    <a:cubicBezTo>
                      <a:pt x="3" y="23"/>
                      <a:pt x="5" y="23"/>
                      <a:pt x="6" y="23"/>
                    </a:cubicBezTo>
                    <a:cubicBezTo>
                      <a:pt x="7" y="22"/>
                      <a:pt x="8" y="21"/>
                      <a:pt x="9" y="19"/>
                    </a:cubicBezTo>
                    <a:cubicBezTo>
                      <a:pt x="11" y="17"/>
                      <a:pt x="12" y="15"/>
                      <a:pt x="14" y="13"/>
                    </a:cubicBezTo>
                    <a:cubicBezTo>
                      <a:pt x="15" y="11"/>
                      <a:pt x="16" y="9"/>
                      <a:pt x="17" y="8"/>
                    </a:cubicBezTo>
                    <a:cubicBezTo>
                      <a:pt x="17" y="7"/>
                      <a:pt x="18" y="6"/>
                      <a:pt x="18" y="6"/>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311">
                <a:extLst>
                  <a:ext uri="{FF2B5EF4-FFF2-40B4-BE49-F238E27FC236}">
                    <a16:creationId xmlns:a16="http://schemas.microsoft.com/office/drawing/2014/main" id="{9FBE0DCE-C0B6-4DD2-A9A9-C32F3D0E0666}"/>
                  </a:ext>
                </a:extLst>
              </p:cNvPr>
              <p:cNvSpPr>
                <a:spLocks/>
              </p:cNvSpPr>
              <p:nvPr/>
            </p:nvSpPr>
            <p:spPr bwMode="auto">
              <a:xfrm>
                <a:off x="5840" y="1339"/>
                <a:ext cx="35" cy="50"/>
              </a:xfrm>
              <a:custGeom>
                <a:avLst/>
                <a:gdLst>
                  <a:gd name="T0" fmla="*/ 15 w 15"/>
                  <a:gd name="T1" fmla="*/ 5 h 21"/>
                  <a:gd name="T2" fmla="*/ 15 w 15"/>
                  <a:gd name="T3" fmla="*/ 7 h 21"/>
                  <a:gd name="T4" fmla="*/ 13 w 15"/>
                  <a:gd name="T5" fmla="*/ 11 h 21"/>
                  <a:gd name="T6" fmla="*/ 9 w 15"/>
                  <a:gd name="T7" fmla="*/ 17 h 21"/>
                  <a:gd name="T8" fmla="*/ 6 w 15"/>
                  <a:gd name="T9" fmla="*/ 20 h 21"/>
                  <a:gd name="T10" fmla="*/ 2 w 15"/>
                  <a:gd name="T11" fmla="*/ 20 h 21"/>
                  <a:gd name="T12" fmla="*/ 1 w 15"/>
                  <a:gd name="T13" fmla="*/ 15 h 21"/>
                  <a:gd name="T14" fmla="*/ 3 w 15"/>
                  <a:gd name="T15" fmla="*/ 11 h 21"/>
                  <a:gd name="T16" fmla="*/ 7 w 15"/>
                  <a:gd name="T17" fmla="*/ 5 h 21"/>
                  <a:gd name="T18" fmla="*/ 9 w 15"/>
                  <a:gd name="T19" fmla="*/ 2 h 21"/>
                  <a:gd name="T20" fmla="*/ 11 w 15"/>
                  <a:gd name="T21" fmla="*/ 0 h 21"/>
                  <a:gd name="T22" fmla="*/ 10 w 15"/>
                  <a:gd name="T23" fmla="*/ 2 h 21"/>
                  <a:gd name="T24" fmla="*/ 7 w 15"/>
                  <a:gd name="T25" fmla="*/ 6 h 21"/>
                  <a:gd name="T26" fmla="*/ 4 w 15"/>
                  <a:gd name="T27" fmla="*/ 12 h 21"/>
                  <a:gd name="T28" fmla="*/ 2 w 15"/>
                  <a:gd name="T29" fmla="*/ 15 h 21"/>
                  <a:gd name="T30" fmla="*/ 2 w 15"/>
                  <a:gd name="T31" fmla="*/ 19 h 21"/>
                  <a:gd name="T32" fmla="*/ 6 w 15"/>
                  <a:gd name="T33" fmla="*/ 19 h 21"/>
                  <a:gd name="T34" fmla="*/ 9 w 15"/>
                  <a:gd name="T35" fmla="*/ 17 h 21"/>
                  <a:gd name="T36" fmla="*/ 13 w 15"/>
                  <a:gd name="T37" fmla="*/ 11 h 21"/>
                  <a:gd name="T38" fmla="*/ 15 w 15"/>
                  <a:gd name="T39"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21">
                    <a:moveTo>
                      <a:pt x="15" y="5"/>
                    </a:moveTo>
                    <a:cubicBezTo>
                      <a:pt x="15" y="5"/>
                      <a:pt x="15" y="6"/>
                      <a:pt x="15" y="7"/>
                    </a:cubicBezTo>
                    <a:cubicBezTo>
                      <a:pt x="14" y="8"/>
                      <a:pt x="14" y="9"/>
                      <a:pt x="13" y="11"/>
                    </a:cubicBezTo>
                    <a:cubicBezTo>
                      <a:pt x="12" y="13"/>
                      <a:pt x="11" y="15"/>
                      <a:pt x="9" y="17"/>
                    </a:cubicBezTo>
                    <a:cubicBezTo>
                      <a:pt x="8" y="18"/>
                      <a:pt x="7" y="19"/>
                      <a:pt x="6" y="20"/>
                    </a:cubicBezTo>
                    <a:cubicBezTo>
                      <a:pt x="5" y="21"/>
                      <a:pt x="3" y="21"/>
                      <a:pt x="2" y="20"/>
                    </a:cubicBezTo>
                    <a:cubicBezTo>
                      <a:pt x="0" y="18"/>
                      <a:pt x="0" y="16"/>
                      <a:pt x="1" y="15"/>
                    </a:cubicBezTo>
                    <a:cubicBezTo>
                      <a:pt x="1" y="14"/>
                      <a:pt x="2" y="12"/>
                      <a:pt x="3" y="11"/>
                    </a:cubicBezTo>
                    <a:cubicBezTo>
                      <a:pt x="5" y="9"/>
                      <a:pt x="6" y="7"/>
                      <a:pt x="7" y="5"/>
                    </a:cubicBezTo>
                    <a:cubicBezTo>
                      <a:pt x="8" y="4"/>
                      <a:pt x="9" y="2"/>
                      <a:pt x="9" y="2"/>
                    </a:cubicBezTo>
                    <a:cubicBezTo>
                      <a:pt x="10" y="1"/>
                      <a:pt x="11" y="0"/>
                      <a:pt x="11" y="0"/>
                    </a:cubicBezTo>
                    <a:cubicBezTo>
                      <a:pt x="11" y="0"/>
                      <a:pt x="10" y="1"/>
                      <a:pt x="10" y="2"/>
                    </a:cubicBezTo>
                    <a:cubicBezTo>
                      <a:pt x="9" y="3"/>
                      <a:pt x="8" y="4"/>
                      <a:pt x="7" y="6"/>
                    </a:cubicBezTo>
                    <a:cubicBezTo>
                      <a:pt x="6" y="8"/>
                      <a:pt x="5" y="10"/>
                      <a:pt x="4" y="12"/>
                    </a:cubicBezTo>
                    <a:cubicBezTo>
                      <a:pt x="3" y="13"/>
                      <a:pt x="2" y="14"/>
                      <a:pt x="2" y="15"/>
                    </a:cubicBezTo>
                    <a:cubicBezTo>
                      <a:pt x="1" y="16"/>
                      <a:pt x="1" y="18"/>
                      <a:pt x="2" y="19"/>
                    </a:cubicBezTo>
                    <a:cubicBezTo>
                      <a:pt x="3" y="20"/>
                      <a:pt x="5" y="20"/>
                      <a:pt x="6" y="19"/>
                    </a:cubicBezTo>
                    <a:cubicBezTo>
                      <a:pt x="7" y="19"/>
                      <a:pt x="8" y="18"/>
                      <a:pt x="9" y="17"/>
                    </a:cubicBezTo>
                    <a:cubicBezTo>
                      <a:pt x="10" y="15"/>
                      <a:pt x="12" y="13"/>
                      <a:pt x="13" y="11"/>
                    </a:cubicBezTo>
                    <a:cubicBezTo>
                      <a:pt x="14" y="7"/>
                      <a:pt x="15" y="5"/>
                      <a:pt x="15" y="5"/>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312">
                <a:extLst>
                  <a:ext uri="{FF2B5EF4-FFF2-40B4-BE49-F238E27FC236}">
                    <a16:creationId xmlns:a16="http://schemas.microsoft.com/office/drawing/2014/main" id="{6E3C3FD6-2702-4936-8C57-43EF6D83FB8B}"/>
                  </a:ext>
                </a:extLst>
              </p:cNvPr>
              <p:cNvSpPr>
                <a:spLocks/>
              </p:cNvSpPr>
              <p:nvPr/>
            </p:nvSpPr>
            <p:spPr bwMode="auto">
              <a:xfrm>
                <a:off x="5778" y="1344"/>
                <a:ext cx="69" cy="33"/>
              </a:xfrm>
              <a:custGeom>
                <a:avLst/>
                <a:gdLst>
                  <a:gd name="T0" fmla="*/ 5 w 29"/>
                  <a:gd name="T1" fmla="*/ 1 h 14"/>
                  <a:gd name="T2" fmla="*/ 27 w 29"/>
                  <a:gd name="T3" fmla="*/ 0 h 14"/>
                  <a:gd name="T4" fmla="*/ 28 w 29"/>
                  <a:gd name="T5" fmla="*/ 0 h 14"/>
                  <a:gd name="T6" fmla="*/ 29 w 29"/>
                  <a:gd name="T7" fmla="*/ 3 h 14"/>
                  <a:gd name="T8" fmla="*/ 22 w 29"/>
                  <a:gd name="T9" fmla="*/ 11 h 14"/>
                  <a:gd name="T10" fmla="*/ 11 w 29"/>
                  <a:gd name="T11" fmla="*/ 13 h 14"/>
                  <a:gd name="T12" fmla="*/ 0 w 2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9" h="14">
                    <a:moveTo>
                      <a:pt x="5" y="1"/>
                    </a:moveTo>
                    <a:cubicBezTo>
                      <a:pt x="13" y="1"/>
                      <a:pt x="20" y="0"/>
                      <a:pt x="27" y="0"/>
                    </a:cubicBezTo>
                    <a:cubicBezTo>
                      <a:pt x="27" y="0"/>
                      <a:pt x="28" y="0"/>
                      <a:pt x="28" y="0"/>
                    </a:cubicBezTo>
                    <a:cubicBezTo>
                      <a:pt x="29" y="0"/>
                      <a:pt x="29" y="2"/>
                      <a:pt x="29" y="3"/>
                    </a:cubicBezTo>
                    <a:cubicBezTo>
                      <a:pt x="28" y="7"/>
                      <a:pt x="25" y="10"/>
                      <a:pt x="22" y="11"/>
                    </a:cubicBezTo>
                    <a:cubicBezTo>
                      <a:pt x="18" y="12"/>
                      <a:pt x="14" y="13"/>
                      <a:pt x="11" y="13"/>
                    </a:cubicBezTo>
                    <a:cubicBezTo>
                      <a:pt x="7" y="13"/>
                      <a:pt x="4" y="13"/>
                      <a:pt x="0" y="14"/>
                    </a:cubicBezTo>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313">
                <a:extLst>
                  <a:ext uri="{FF2B5EF4-FFF2-40B4-BE49-F238E27FC236}">
                    <a16:creationId xmlns:a16="http://schemas.microsoft.com/office/drawing/2014/main" id="{D6A1C8AA-5858-46CA-9EAA-86E1E357E0C6}"/>
                  </a:ext>
                </a:extLst>
              </p:cNvPr>
              <p:cNvSpPr>
                <a:spLocks/>
              </p:cNvSpPr>
              <p:nvPr/>
            </p:nvSpPr>
            <p:spPr bwMode="auto">
              <a:xfrm>
                <a:off x="5778" y="1344"/>
                <a:ext cx="71" cy="33"/>
              </a:xfrm>
              <a:custGeom>
                <a:avLst/>
                <a:gdLst>
                  <a:gd name="T0" fmla="*/ 0 w 30"/>
                  <a:gd name="T1" fmla="*/ 14 h 14"/>
                  <a:gd name="T2" fmla="*/ 3 w 30"/>
                  <a:gd name="T3" fmla="*/ 13 h 14"/>
                  <a:gd name="T4" fmla="*/ 9 w 30"/>
                  <a:gd name="T5" fmla="*/ 13 h 14"/>
                  <a:gd name="T6" fmla="*/ 18 w 30"/>
                  <a:gd name="T7" fmla="*/ 12 h 14"/>
                  <a:gd name="T8" fmla="*/ 28 w 30"/>
                  <a:gd name="T9" fmla="*/ 6 h 14"/>
                  <a:gd name="T10" fmla="*/ 29 w 30"/>
                  <a:gd name="T11" fmla="*/ 1 h 14"/>
                  <a:gd name="T12" fmla="*/ 26 w 30"/>
                  <a:gd name="T13" fmla="*/ 0 h 14"/>
                  <a:gd name="T14" fmla="*/ 24 w 30"/>
                  <a:gd name="T15" fmla="*/ 1 h 14"/>
                  <a:gd name="T16" fmla="*/ 14 w 30"/>
                  <a:gd name="T17" fmla="*/ 1 h 14"/>
                  <a:gd name="T18" fmla="*/ 8 w 30"/>
                  <a:gd name="T19" fmla="*/ 1 h 14"/>
                  <a:gd name="T20" fmla="*/ 5 w 30"/>
                  <a:gd name="T21" fmla="*/ 1 h 14"/>
                  <a:gd name="T22" fmla="*/ 8 w 30"/>
                  <a:gd name="T23" fmla="*/ 1 h 14"/>
                  <a:gd name="T24" fmla="*/ 14 w 30"/>
                  <a:gd name="T25" fmla="*/ 1 h 14"/>
                  <a:gd name="T26" fmla="*/ 23 w 30"/>
                  <a:gd name="T27" fmla="*/ 0 h 14"/>
                  <a:gd name="T28" fmla="*/ 26 w 30"/>
                  <a:gd name="T29" fmla="*/ 0 h 14"/>
                  <a:gd name="T30" fmla="*/ 28 w 30"/>
                  <a:gd name="T31" fmla="*/ 0 h 14"/>
                  <a:gd name="T32" fmla="*/ 29 w 30"/>
                  <a:gd name="T33" fmla="*/ 0 h 14"/>
                  <a:gd name="T34" fmla="*/ 30 w 30"/>
                  <a:gd name="T35" fmla="*/ 4 h 14"/>
                  <a:gd name="T36" fmla="*/ 28 w 30"/>
                  <a:gd name="T37" fmla="*/ 6 h 14"/>
                  <a:gd name="T38" fmla="*/ 18 w 30"/>
                  <a:gd name="T39" fmla="*/ 12 h 14"/>
                  <a:gd name="T40" fmla="*/ 9 w 30"/>
                  <a:gd name="T41" fmla="*/ 13 h 14"/>
                  <a:gd name="T42" fmla="*/ 3 w 30"/>
                  <a:gd name="T43" fmla="*/ 14 h 14"/>
                  <a:gd name="T44" fmla="*/ 0 w 30"/>
                  <a:gd name="T4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4">
                    <a:moveTo>
                      <a:pt x="0" y="14"/>
                    </a:moveTo>
                    <a:cubicBezTo>
                      <a:pt x="0" y="13"/>
                      <a:pt x="1" y="13"/>
                      <a:pt x="3" y="13"/>
                    </a:cubicBezTo>
                    <a:cubicBezTo>
                      <a:pt x="5" y="13"/>
                      <a:pt x="7" y="13"/>
                      <a:pt x="9" y="13"/>
                    </a:cubicBezTo>
                    <a:cubicBezTo>
                      <a:pt x="12" y="13"/>
                      <a:pt x="15" y="12"/>
                      <a:pt x="18" y="12"/>
                    </a:cubicBezTo>
                    <a:cubicBezTo>
                      <a:pt x="22" y="11"/>
                      <a:pt x="25" y="9"/>
                      <a:pt x="28" y="6"/>
                    </a:cubicBezTo>
                    <a:cubicBezTo>
                      <a:pt x="29" y="4"/>
                      <a:pt x="29" y="2"/>
                      <a:pt x="29" y="1"/>
                    </a:cubicBezTo>
                    <a:cubicBezTo>
                      <a:pt x="28" y="0"/>
                      <a:pt x="27" y="0"/>
                      <a:pt x="26" y="0"/>
                    </a:cubicBezTo>
                    <a:cubicBezTo>
                      <a:pt x="25" y="0"/>
                      <a:pt x="24" y="1"/>
                      <a:pt x="24" y="1"/>
                    </a:cubicBezTo>
                    <a:cubicBezTo>
                      <a:pt x="20" y="1"/>
                      <a:pt x="17" y="1"/>
                      <a:pt x="14" y="1"/>
                    </a:cubicBezTo>
                    <a:cubicBezTo>
                      <a:pt x="12" y="1"/>
                      <a:pt x="10" y="1"/>
                      <a:pt x="8" y="1"/>
                    </a:cubicBezTo>
                    <a:cubicBezTo>
                      <a:pt x="6" y="1"/>
                      <a:pt x="5" y="1"/>
                      <a:pt x="5" y="1"/>
                    </a:cubicBezTo>
                    <a:cubicBezTo>
                      <a:pt x="5" y="1"/>
                      <a:pt x="6" y="1"/>
                      <a:pt x="8" y="1"/>
                    </a:cubicBezTo>
                    <a:cubicBezTo>
                      <a:pt x="10" y="1"/>
                      <a:pt x="12" y="1"/>
                      <a:pt x="14" y="1"/>
                    </a:cubicBezTo>
                    <a:cubicBezTo>
                      <a:pt x="17" y="0"/>
                      <a:pt x="20" y="0"/>
                      <a:pt x="23" y="0"/>
                    </a:cubicBezTo>
                    <a:cubicBezTo>
                      <a:pt x="24" y="0"/>
                      <a:pt x="25" y="0"/>
                      <a:pt x="26" y="0"/>
                    </a:cubicBezTo>
                    <a:cubicBezTo>
                      <a:pt x="27" y="0"/>
                      <a:pt x="27" y="0"/>
                      <a:pt x="28" y="0"/>
                    </a:cubicBezTo>
                    <a:cubicBezTo>
                      <a:pt x="28" y="0"/>
                      <a:pt x="29" y="0"/>
                      <a:pt x="29" y="0"/>
                    </a:cubicBezTo>
                    <a:cubicBezTo>
                      <a:pt x="30" y="1"/>
                      <a:pt x="30" y="3"/>
                      <a:pt x="30" y="4"/>
                    </a:cubicBezTo>
                    <a:cubicBezTo>
                      <a:pt x="29" y="5"/>
                      <a:pt x="29" y="6"/>
                      <a:pt x="28" y="6"/>
                    </a:cubicBezTo>
                    <a:cubicBezTo>
                      <a:pt x="26" y="10"/>
                      <a:pt x="22" y="12"/>
                      <a:pt x="18" y="12"/>
                    </a:cubicBezTo>
                    <a:cubicBezTo>
                      <a:pt x="15" y="13"/>
                      <a:pt x="12" y="13"/>
                      <a:pt x="9" y="13"/>
                    </a:cubicBezTo>
                    <a:cubicBezTo>
                      <a:pt x="7" y="13"/>
                      <a:pt x="5" y="13"/>
                      <a:pt x="3" y="14"/>
                    </a:cubicBezTo>
                    <a:cubicBezTo>
                      <a:pt x="1" y="14"/>
                      <a:pt x="0" y="14"/>
                      <a:pt x="0" y="14"/>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14">
                <a:extLst>
                  <a:ext uri="{FF2B5EF4-FFF2-40B4-BE49-F238E27FC236}">
                    <a16:creationId xmlns:a16="http://schemas.microsoft.com/office/drawing/2014/main" id="{B03FD614-2EC4-49C0-96AC-D0FDAE91FE3C}"/>
                  </a:ext>
                </a:extLst>
              </p:cNvPr>
              <p:cNvSpPr>
                <a:spLocks/>
              </p:cNvSpPr>
              <p:nvPr/>
            </p:nvSpPr>
            <p:spPr bwMode="auto">
              <a:xfrm>
                <a:off x="5859" y="1354"/>
                <a:ext cx="26" cy="42"/>
              </a:xfrm>
              <a:custGeom>
                <a:avLst/>
                <a:gdLst>
                  <a:gd name="T0" fmla="*/ 10 w 11"/>
                  <a:gd name="T1" fmla="*/ 5 h 18"/>
                  <a:gd name="T2" fmla="*/ 10 w 11"/>
                  <a:gd name="T3" fmla="*/ 6 h 18"/>
                  <a:gd name="T4" fmla="*/ 9 w 11"/>
                  <a:gd name="T5" fmla="*/ 10 h 18"/>
                  <a:gd name="T6" fmla="*/ 7 w 11"/>
                  <a:gd name="T7" fmla="*/ 15 h 18"/>
                  <a:gd name="T8" fmla="*/ 4 w 11"/>
                  <a:gd name="T9" fmla="*/ 17 h 18"/>
                  <a:gd name="T10" fmla="*/ 3 w 11"/>
                  <a:gd name="T11" fmla="*/ 18 h 18"/>
                  <a:gd name="T12" fmla="*/ 1 w 11"/>
                  <a:gd name="T13" fmla="*/ 17 h 18"/>
                  <a:gd name="T14" fmla="*/ 1 w 11"/>
                  <a:gd name="T15" fmla="*/ 13 h 18"/>
                  <a:gd name="T16" fmla="*/ 2 w 11"/>
                  <a:gd name="T17" fmla="*/ 10 h 18"/>
                  <a:gd name="T18" fmla="*/ 4 w 11"/>
                  <a:gd name="T19" fmla="*/ 5 h 18"/>
                  <a:gd name="T20" fmla="*/ 7 w 11"/>
                  <a:gd name="T21" fmla="*/ 0 h 18"/>
                  <a:gd name="T22" fmla="*/ 5 w 11"/>
                  <a:gd name="T23" fmla="*/ 5 h 18"/>
                  <a:gd name="T24" fmla="*/ 3 w 11"/>
                  <a:gd name="T25" fmla="*/ 10 h 18"/>
                  <a:gd name="T26" fmla="*/ 2 w 11"/>
                  <a:gd name="T27" fmla="*/ 16 h 18"/>
                  <a:gd name="T28" fmla="*/ 4 w 11"/>
                  <a:gd name="T29" fmla="*/ 17 h 18"/>
                  <a:gd name="T30" fmla="*/ 6 w 11"/>
                  <a:gd name="T31" fmla="*/ 15 h 18"/>
                  <a:gd name="T32" fmla="*/ 8 w 11"/>
                  <a:gd name="T33" fmla="*/ 10 h 18"/>
                  <a:gd name="T34" fmla="*/ 10 w 11"/>
                  <a:gd name="T35"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8">
                    <a:moveTo>
                      <a:pt x="10" y="5"/>
                    </a:moveTo>
                    <a:cubicBezTo>
                      <a:pt x="11" y="5"/>
                      <a:pt x="10" y="5"/>
                      <a:pt x="10" y="6"/>
                    </a:cubicBezTo>
                    <a:cubicBezTo>
                      <a:pt x="10" y="7"/>
                      <a:pt x="9" y="8"/>
                      <a:pt x="9" y="10"/>
                    </a:cubicBezTo>
                    <a:cubicBezTo>
                      <a:pt x="8" y="11"/>
                      <a:pt x="8" y="13"/>
                      <a:pt x="7" y="15"/>
                    </a:cubicBezTo>
                    <a:cubicBezTo>
                      <a:pt x="6" y="16"/>
                      <a:pt x="6" y="17"/>
                      <a:pt x="4" y="17"/>
                    </a:cubicBezTo>
                    <a:cubicBezTo>
                      <a:pt x="4" y="18"/>
                      <a:pt x="3" y="18"/>
                      <a:pt x="3" y="18"/>
                    </a:cubicBezTo>
                    <a:cubicBezTo>
                      <a:pt x="2" y="18"/>
                      <a:pt x="1" y="17"/>
                      <a:pt x="1" y="17"/>
                    </a:cubicBezTo>
                    <a:cubicBezTo>
                      <a:pt x="0" y="16"/>
                      <a:pt x="0" y="14"/>
                      <a:pt x="1" y="13"/>
                    </a:cubicBezTo>
                    <a:cubicBezTo>
                      <a:pt x="1" y="12"/>
                      <a:pt x="2" y="11"/>
                      <a:pt x="2" y="10"/>
                    </a:cubicBezTo>
                    <a:cubicBezTo>
                      <a:pt x="3" y="8"/>
                      <a:pt x="3" y="7"/>
                      <a:pt x="4" y="5"/>
                    </a:cubicBezTo>
                    <a:cubicBezTo>
                      <a:pt x="6" y="2"/>
                      <a:pt x="6" y="0"/>
                      <a:pt x="7" y="0"/>
                    </a:cubicBezTo>
                    <a:cubicBezTo>
                      <a:pt x="7" y="0"/>
                      <a:pt x="6" y="2"/>
                      <a:pt x="5" y="5"/>
                    </a:cubicBezTo>
                    <a:cubicBezTo>
                      <a:pt x="4" y="7"/>
                      <a:pt x="3" y="9"/>
                      <a:pt x="3" y="10"/>
                    </a:cubicBezTo>
                    <a:cubicBezTo>
                      <a:pt x="2" y="12"/>
                      <a:pt x="0" y="14"/>
                      <a:pt x="2" y="16"/>
                    </a:cubicBezTo>
                    <a:cubicBezTo>
                      <a:pt x="2" y="17"/>
                      <a:pt x="3" y="17"/>
                      <a:pt x="4" y="17"/>
                    </a:cubicBezTo>
                    <a:cubicBezTo>
                      <a:pt x="5" y="16"/>
                      <a:pt x="6" y="15"/>
                      <a:pt x="6" y="15"/>
                    </a:cubicBezTo>
                    <a:cubicBezTo>
                      <a:pt x="7" y="13"/>
                      <a:pt x="8" y="11"/>
                      <a:pt x="8" y="10"/>
                    </a:cubicBezTo>
                    <a:cubicBezTo>
                      <a:pt x="9" y="7"/>
                      <a:pt x="10" y="5"/>
                      <a:pt x="10" y="5"/>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15">
                <a:extLst>
                  <a:ext uri="{FF2B5EF4-FFF2-40B4-BE49-F238E27FC236}">
                    <a16:creationId xmlns:a16="http://schemas.microsoft.com/office/drawing/2014/main" id="{54D8045A-1410-44C0-B901-3D52F09DE6B6}"/>
                  </a:ext>
                </a:extLst>
              </p:cNvPr>
              <p:cNvSpPr>
                <a:spLocks/>
              </p:cNvSpPr>
              <p:nvPr/>
            </p:nvSpPr>
            <p:spPr bwMode="auto">
              <a:xfrm>
                <a:off x="5818" y="1373"/>
                <a:ext cx="7" cy="45"/>
              </a:xfrm>
              <a:custGeom>
                <a:avLst/>
                <a:gdLst>
                  <a:gd name="T0" fmla="*/ 0 w 3"/>
                  <a:gd name="T1" fmla="*/ 19 h 19"/>
                  <a:gd name="T2" fmla="*/ 1 w 3"/>
                  <a:gd name="T3" fmla="*/ 10 h 19"/>
                  <a:gd name="T4" fmla="*/ 1 w 3"/>
                  <a:gd name="T5" fmla="*/ 0 h 19"/>
                  <a:gd name="T6" fmla="*/ 2 w 3"/>
                  <a:gd name="T7" fmla="*/ 10 h 19"/>
                  <a:gd name="T8" fmla="*/ 0 w 3"/>
                  <a:gd name="T9" fmla="*/ 19 h 19"/>
                </a:gdLst>
                <a:ahLst/>
                <a:cxnLst>
                  <a:cxn ang="0">
                    <a:pos x="T0" y="T1"/>
                  </a:cxn>
                  <a:cxn ang="0">
                    <a:pos x="T2" y="T3"/>
                  </a:cxn>
                  <a:cxn ang="0">
                    <a:pos x="T4" y="T5"/>
                  </a:cxn>
                  <a:cxn ang="0">
                    <a:pos x="T6" y="T7"/>
                  </a:cxn>
                  <a:cxn ang="0">
                    <a:pos x="T8" y="T9"/>
                  </a:cxn>
                </a:cxnLst>
                <a:rect l="0" t="0" r="r" b="b"/>
                <a:pathLst>
                  <a:path w="3" h="19">
                    <a:moveTo>
                      <a:pt x="0" y="19"/>
                    </a:moveTo>
                    <a:cubicBezTo>
                      <a:pt x="0" y="19"/>
                      <a:pt x="1" y="15"/>
                      <a:pt x="1" y="10"/>
                    </a:cubicBezTo>
                    <a:cubicBezTo>
                      <a:pt x="2" y="5"/>
                      <a:pt x="1" y="0"/>
                      <a:pt x="1" y="0"/>
                    </a:cubicBezTo>
                    <a:cubicBezTo>
                      <a:pt x="2" y="0"/>
                      <a:pt x="3" y="4"/>
                      <a:pt x="2" y="10"/>
                    </a:cubicBezTo>
                    <a:cubicBezTo>
                      <a:pt x="2" y="15"/>
                      <a:pt x="0" y="19"/>
                      <a:pt x="0" y="19"/>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16">
                <a:extLst>
                  <a:ext uri="{FF2B5EF4-FFF2-40B4-BE49-F238E27FC236}">
                    <a16:creationId xmlns:a16="http://schemas.microsoft.com/office/drawing/2014/main" id="{9CE2DE6D-33E3-4248-896F-31DBA53586D8}"/>
                  </a:ext>
                </a:extLst>
              </p:cNvPr>
              <p:cNvSpPr>
                <a:spLocks/>
              </p:cNvSpPr>
              <p:nvPr/>
            </p:nvSpPr>
            <p:spPr bwMode="auto">
              <a:xfrm>
                <a:off x="4976" y="1330"/>
                <a:ext cx="273" cy="290"/>
              </a:xfrm>
              <a:custGeom>
                <a:avLst/>
                <a:gdLst>
                  <a:gd name="T0" fmla="*/ 76 w 115"/>
                  <a:gd name="T1" fmla="*/ 0 h 122"/>
                  <a:gd name="T2" fmla="*/ 98 w 115"/>
                  <a:gd name="T3" fmla="*/ 39 h 122"/>
                  <a:gd name="T4" fmla="*/ 109 w 115"/>
                  <a:gd name="T5" fmla="*/ 45 h 122"/>
                  <a:gd name="T6" fmla="*/ 115 w 115"/>
                  <a:gd name="T7" fmla="*/ 56 h 122"/>
                  <a:gd name="T8" fmla="*/ 102 w 115"/>
                  <a:gd name="T9" fmla="*/ 69 h 122"/>
                  <a:gd name="T10" fmla="*/ 102 w 115"/>
                  <a:gd name="T11" fmla="*/ 93 h 122"/>
                  <a:gd name="T12" fmla="*/ 79 w 115"/>
                  <a:gd name="T13" fmla="*/ 92 h 122"/>
                  <a:gd name="T14" fmla="*/ 57 w 115"/>
                  <a:gd name="T15" fmla="*/ 118 h 122"/>
                  <a:gd name="T16" fmla="*/ 22 w 115"/>
                  <a:gd name="T17" fmla="*/ 111 h 122"/>
                  <a:gd name="T18" fmla="*/ 0 w 115"/>
                  <a:gd name="T19" fmla="*/ 8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122">
                    <a:moveTo>
                      <a:pt x="76" y="0"/>
                    </a:moveTo>
                    <a:cubicBezTo>
                      <a:pt x="76" y="15"/>
                      <a:pt x="85" y="31"/>
                      <a:pt x="98" y="39"/>
                    </a:cubicBezTo>
                    <a:cubicBezTo>
                      <a:pt x="102" y="41"/>
                      <a:pt x="106" y="42"/>
                      <a:pt x="109" y="45"/>
                    </a:cubicBezTo>
                    <a:cubicBezTo>
                      <a:pt x="112" y="48"/>
                      <a:pt x="115" y="51"/>
                      <a:pt x="115" y="56"/>
                    </a:cubicBezTo>
                    <a:cubicBezTo>
                      <a:pt x="114" y="62"/>
                      <a:pt x="108" y="66"/>
                      <a:pt x="102" y="69"/>
                    </a:cubicBezTo>
                    <a:cubicBezTo>
                      <a:pt x="108" y="75"/>
                      <a:pt x="108" y="87"/>
                      <a:pt x="102" y="93"/>
                    </a:cubicBezTo>
                    <a:cubicBezTo>
                      <a:pt x="96" y="99"/>
                      <a:pt x="84" y="98"/>
                      <a:pt x="79" y="92"/>
                    </a:cubicBezTo>
                    <a:cubicBezTo>
                      <a:pt x="78" y="104"/>
                      <a:pt x="69" y="115"/>
                      <a:pt x="57" y="118"/>
                    </a:cubicBezTo>
                    <a:cubicBezTo>
                      <a:pt x="45" y="122"/>
                      <a:pt x="32" y="118"/>
                      <a:pt x="22" y="111"/>
                    </a:cubicBezTo>
                    <a:cubicBezTo>
                      <a:pt x="12" y="104"/>
                      <a:pt x="5" y="93"/>
                      <a:pt x="0" y="8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317">
                <a:extLst>
                  <a:ext uri="{FF2B5EF4-FFF2-40B4-BE49-F238E27FC236}">
                    <a16:creationId xmlns:a16="http://schemas.microsoft.com/office/drawing/2014/main" id="{6A452E71-0911-4D10-A24A-6AEC3CA3CAC2}"/>
                  </a:ext>
                </a:extLst>
              </p:cNvPr>
              <p:cNvSpPr>
                <a:spLocks/>
              </p:cNvSpPr>
              <p:nvPr/>
            </p:nvSpPr>
            <p:spPr bwMode="auto">
              <a:xfrm>
                <a:off x="4933" y="1228"/>
                <a:ext cx="221" cy="373"/>
              </a:xfrm>
              <a:custGeom>
                <a:avLst/>
                <a:gdLst>
                  <a:gd name="T0" fmla="*/ 65 w 93"/>
                  <a:gd name="T1" fmla="*/ 157 h 157"/>
                  <a:gd name="T2" fmla="*/ 66 w 93"/>
                  <a:gd name="T3" fmla="*/ 125 h 157"/>
                  <a:gd name="T4" fmla="*/ 91 w 93"/>
                  <a:gd name="T5" fmla="*/ 99 h 157"/>
                  <a:gd name="T6" fmla="*/ 91 w 93"/>
                  <a:gd name="T7" fmla="*/ 21 h 157"/>
                  <a:gd name="T8" fmla="*/ 48 w 93"/>
                  <a:gd name="T9" fmla="*/ 0 h 157"/>
                  <a:gd name="T10" fmla="*/ 0 w 93"/>
                  <a:gd name="T11" fmla="*/ 36 h 157"/>
                  <a:gd name="T12" fmla="*/ 8 w 93"/>
                  <a:gd name="T13" fmla="*/ 154 h 157"/>
                  <a:gd name="T14" fmla="*/ 65 w 93"/>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157">
                    <a:moveTo>
                      <a:pt x="65" y="157"/>
                    </a:moveTo>
                    <a:cubicBezTo>
                      <a:pt x="64" y="151"/>
                      <a:pt x="66" y="125"/>
                      <a:pt x="66" y="125"/>
                    </a:cubicBezTo>
                    <a:cubicBezTo>
                      <a:pt x="66" y="125"/>
                      <a:pt x="90" y="122"/>
                      <a:pt x="91" y="99"/>
                    </a:cubicBezTo>
                    <a:cubicBezTo>
                      <a:pt x="93" y="75"/>
                      <a:pt x="91" y="21"/>
                      <a:pt x="91" y="21"/>
                    </a:cubicBezTo>
                    <a:cubicBezTo>
                      <a:pt x="48" y="0"/>
                      <a:pt x="48" y="0"/>
                      <a:pt x="48" y="0"/>
                    </a:cubicBezTo>
                    <a:cubicBezTo>
                      <a:pt x="0" y="36"/>
                      <a:pt x="0" y="36"/>
                      <a:pt x="0" y="36"/>
                    </a:cubicBezTo>
                    <a:cubicBezTo>
                      <a:pt x="8" y="154"/>
                      <a:pt x="8" y="154"/>
                      <a:pt x="8" y="154"/>
                    </a:cubicBezTo>
                    <a:lnTo>
                      <a:pt x="65" y="157"/>
                    </a:ln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318">
                <a:extLst>
                  <a:ext uri="{FF2B5EF4-FFF2-40B4-BE49-F238E27FC236}">
                    <a16:creationId xmlns:a16="http://schemas.microsoft.com/office/drawing/2014/main" id="{96C0CD14-011F-4AA0-B609-0876ABED6396}"/>
                  </a:ext>
                </a:extLst>
              </p:cNvPr>
              <p:cNvSpPr>
                <a:spLocks noChangeArrowheads="1"/>
              </p:cNvSpPr>
              <p:nvPr/>
            </p:nvSpPr>
            <p:spPr bwMode="auto">
              <a:xfrm>
                <a:off x="5125" y="1366"/>
                <a:ext cx="15" cy="1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19">
                <a:extLst>
                  <a:ext uri="{FF2B5EF4-FFF2-40B4-BE49-F238E27FC236}">
                    <a16:creationId xmlns:a16="http://schemas.microsoft.com/office/drawing/2014/main" id="{15FDF08A-ACFA-45A1-95CA-F154BA1CC1CE}"/>
                  </a:ext>
                </a:extLst>
              </p:cNvPr>
              <p:cNvSpPr>
                <a:spLocks/>
              </p:cNvSpPr>
              <p:nvPr/>
            </p:nvSpPr>
            <p:spPr bwMode="auto">
              <a:xfrm>
                <a:off x="5116" y="1356"/>
                <a:ext cx="31" cy="10"/>
              </a:xfrm>
              <a:custGeom>
                <a:avLst/>
                <a:gdLst>
                  <a:gd name="T0" fmla="*/ 12 w 13"/>
                  <a:gd name="T1" fmla="*/ 3 h 4"/>
                  <a:gd name="T2" fmla="*/ 7 w 13"/>
                  <a:gd name="T3" fmla="*/ 2 h 4"/>
                  <a:gd name="T4" fmla="*/ 1 w 13"/>
                  <a:gd name="T5" fmla="*/ 3 h 4"/>
                  <a:gd name="T6" fmla="*/ 2 w 13"/>
                  <a:gd name="T7" fmla="*/ 1 h 4"/>
                  <a:gd name="T8" fmla="*/ 7 w 13"/>
                  <a:gd name="T9" fmla="*/ 0 h 4"/>
                  <a:gd name="T10" fmla="*/ 11 w 13"/>
                  <a:gd name="T11" fmla="*/ 2 h 4"/>
                  <a:gd name="T12" fmla="*/ 12 w 13"/>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2" y="3"/>
                    </a:moveTo>
                    <a:cubicBezTo>
                      <a:pt x="12" y="4"/>
                      <a:pt x="10" y="2"/>
                      <a:pt x="7" y="2"/>
                    </a:cubicBezTo>
                    <a:cubicBezTo>
                      <a:pt x="3" y="1"/>
                      <a:pt x="1" y="3"/>
                      <a:pt x="1" y="3"/>
                    </a:cubicBezTo>
                    <a:cubicBezTo>
                      <a:pt x="0" y="2"/>
                      <a:pt x="1" y="2"/>
                      <a:pt x="2" y="1"/>
                    </a:cubicBezTo>
                    <a:cubicBezTo>
                      <a:pt x="3" y="0"/>
                      <a:pt x="5" y="0"/>
                      <a:pt x="7" y="0"/>
                    </a:cubicBezTo>
                    <a:cubicBezTo>
                      <a:pt x="9" y="0"/>
                      <a:pt x="10" y="1"/>
                      <a:pt x="11" y="2"/>
                    </a:cubicBezTo>
                    <a:cubicBezTo>
                      <a:pt x="12" y="2"/>
                      <a:pt x="13" y="3"/>
                      <a:pt x="12"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320">
                <a:extLst>
                  <a:ext uri="{FF2B5EF4-FFF2-40B4-BE49-F238E27FC236}">
                    <a16:creationId xmlns:a16="http://schemas.microsoft.com/office/drawing/2014/main" id="{E0BAE117-C071-4BFD-B709-BF94ED911084}"/>
                  </a:ext>
                </a:extLst>
              </p:cNvPr>
              <p:cNvSpPr>
                <a:spLocks noChangeArrowheads="1"/>
              </p:cNvSpPr>
              <p:nvPr/>
            </p:nvSpPr>
            <p:spPr bwMode="auto">
              <a:xfrm>
                <a:off x="5042" y="1366"/>
                <a:ext cx="14" cy="1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21">
                <a:extLst>
                  <a:ext uri="{FF2B5EF4-FFF2-40B4-BE49-F238E27FC236}">
                    <a16:creationId xmlns:a16="http://schemas.microsoft.com/office/drawing/2014/main" id="{0F0C3176-DFA4-42A9-89FE-D6597992AD09}"/>
                  </a:ext>
                </a:extLst>
              </p:cNvPr>
              <p:cNvSpPr>
                <a:spLocks/>
              </p:cNvSpPr>
              <p:nvPr/>
            </p:nvSpPr>
            <p:spPr bwMode="auto">
              <a:xfrm>
                <a:off x="5030" y="1356"/>
                <a:ext cx="31" cy="10"/>
              </a:xfrm>
              <a:custGeom>
                <a:avLst/>
                <a:gdLst>
                  <a:gd name="T0" fmla="*/ 13 w 13"/>
                  <a:gd name="T1" fmla="*/ 3 h 4"/>
                  <a:gd name="T2" fmla="*/ 7 w 13"/>
                  <a:gd name="T3" fmla="*/ 2 h 4"/>
                  <a:gd name="T4" fmla="*/ 1 w 13"/>
                  <a:gd name="T5" fmla="*/ 3 h 4"/>
                  <a:gd name="T6" fmla="*/ 2 w 13"/>
                  <a:gd name="T7" fmla="*/ 1 h 4"/>
                  <a:gd name="T8" fmla="*/ 7 w 13"/>
                  <a:gd name="T9" fmla="*/ 0 h 4"/>
                  <a:gd name="T10" fmla="*/ 11 w 13"/>
                  <a:gd name="T11" fmla="*/ 2 h 4"/>
                  <a:gd name="T12" fmla="*/ 13 w 13"/>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3" y="3"/>
                    </a:moveTo>
                    <a:cubicBezTo>
                      <a:pt x="12" y="4"/>
                      <a:pt x="10" y="2"/>
                      <a:pt x="7" y="2"/>
                    </a:cubicBezTo>
                    <a:cubicBezTo>
                      <a:pt x="3" y="1"/>
                      <a:pt x="1" y="3"/>
                      <a:pt x="1" y="3"/>
                    </a:cubicBezTo>
                    <a:cubicBezTo>
                      <a:pt x="0" y="2"/>
                      <a:pt x="1" y="2"/>
                      <a:pt x="2" y="1"/>
                    </a:cubicBezTo>
                    <a:cubicBezTo>
                      <a:pt x="3" y="0"/>
                      <a:pt x="5" y="0"/>
                      <a:pt x="7" y="0"/>
                    </a:cubicBezTo>
                    <a:cubicBezTo>
                      <a:pt x="9" y="0"/>
                      <a:pt x="10" y="1"/>
                      <a:pt x="11" y="2"/>
                    </a:cubicBezTo>
                    <a:cubicBezTo>
                      <a:pt x="12" y="2"/>
                      <a:pt x="13" y="3"/>
                      <a:pt x="13" y="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22">
                <a:extLst>
                  <a:ext uri="{FF2B5EF4-FFF2-40B4-BE49-F238E27FC236}">
                    <a16:creationId xmlns:a16="http://schemas.microsoft.com/office/drawing/2014/main" id="{B17BFA72-2561-4540-9DBB-EC96E8968223}"/>
                  </a:ext>
                </a:extLst>
              </p:cNvPr>
              <p:cNvSpPr>
                <a:spLocks/>
              </p:cNvSpPr>
              <p:nvPr/>
            </p:nvSpPr>
            <p:spPr bwMode="auto">
              <a:xfrm>
                <a:off x="5087" y="1361"/>
                <a:ext cx="22" cy="69"/>
              </a:xfrm>
              <a:custGeom>
                <a:avLst/>
                <a:gdLst>
                  <a:gd name="T0" fmla="*/ 0 w 9"/>
                  <a:gd name="T1" fmla="*/ 29 h 29"/>
                  <a:gd name="T2" fmla="*/ 5 w 9"/>
                  <a:gd name="T3" fmla="*/ 28 h 29"/>
                  <a:gd name="T4" fmla="*/ 7 w 9"/>
                  <a:gd name="T5" fmla="*/ 27 h 29"/>
                  <a:gd name="T6" fmla="*/ 7 w 9"/>
                  <a:gd name="T7" fmla="*/ 25 h 29"/>
                  <a:gd name="T8" fmla="*/ 5 w 9"/>
                  <a:gd name="T9" fmla="*/ 18 h 29"/>
                  <a:gd name="T10" fmla="*/ 1 w 9"/>
                  <a:gd name="T11" fmla="*/ 6 h 29"/>
                  <a:gd name="T12" fmla="*/ 0 w 9"/>
                  <a:gd name="T13" fmla="*/ 0 h 29"/>
                  <a:gd name="T14" fmla="*/ 2 w 9"/>
                  <a:gd name="T15" fmla="*/ 5 h 29"/>
                  <a:gd name="T16" fmla="*/ 6 w 9"/>
                  <a:gd name="T17" fmla="*/ 17 h 29"/>
                  <a:gd name="T18" fmla="*/ 8 w 9"/>
                  <a:gd name="T19" fmla="*/ 24 h 29"/>
                  <a:gd name="T20" fmla="*/ 8 w 9"/>
                  <a:gd name="T21" fmla="*/ 28 h 29"/>
                  <a:gd name="T22" fmla="*/ 6 w 9"/>
                  <a:gd name="T23" fmla="*/ 29 h 29"/>
                  <a:gd name="T24" fmla="*/ 0 w 9"/>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29">
                    <a:moveTo>
                      <a:pt x="0" y="29"/>
                    </a:moveTo>
                    <a:cubicBezTo>
                      <a:pt x="0" y="28"/>
                      <a:pt x="2" y="28"/>
                      <a:pt x="5" y="28"/>
                    </a:cubicBezTo>
                    <a:cubicBezTo>
                      <a:pt x="6" y="28"/>
                      <a:pt x="7" y="28"/>
                      <a:pt x="7" y="27"/>
                    </a:cubicBezTo>
                    <a:cubicBezTo>
                      <a:pt x="8" y="27"/>
                      <a:pt x="7" y="26"/>
                      <a:pt x="7" y="25"/>
                    </a:cubicBezTo>
                    <a:cubicBezTo>
                      <a:pt x="6" y="22"/>
                      <a:pt x="5" y="20"/>
                      <a:pt x="5" y="18"/>
                    </a:cubicBezTo>
                    <a:cubicBezTo>
                      <a:pt x="3" y="13"/>
                      <a:pt x="2" y="9"/>
                      <a:pt x="1" y="6"/>
                    </a:cubicBezTo>
                    <a:cubicBezTo>
                      <a:pt x="0" y="2"/>
                      <a:pt x="0" y="1"/>
                      <a:pt x="0" y="0"/>
                    </a:cubicBezTo>
                    <a:cubicBezTo>
                      <a:pt x="0" y="0"/>
                      <a:pt x="1" y="2"/>
                      <a:pt x="2" y="5"/>
                    </a:cubicBezTo>
                    <a:cubicBezTo>
                      <a:pt x="3" y="8"/>
                      <a:pt x="4" y="13"/>
                      <a:pt x="6" y="17"/>
                    </a:cubicBezTo>
                    <a:cubicBezTo>
                      <a:pt x="7" y="20"/>
                      <a:pt x="7" y="22"/>
                      <a:pt x="8" y="24"/>
                    </a:cubicBezTo>
                    <a:cubicBezTo>
                      <a:pt x="8" y="25"/>
                      <a:pt x="9" y="26"/>
                      <a:pt x="8" y="28"/>
                    </a:cubicBezTo>
                    <a:cubicBezTo>
                      <a:pt x="8" y="29"/>
                      <a:pt x="6" y="29"/>
                      <a:pt x="6" y="29"/>
                    </a:cubicBezTo>
                    <a:cubicBezTo>
                      <a:pt x="2" y="29"/>
                      <a:pt x="0" y="29"/>
                      <a:pt x="0" y="2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323">
                <a:extLst>
                  <a:ext uri="{FF2B5EF4-FFF2-40B4-BE49-F238E27FC236}">
                    <a16:creationId xmlns:a16="http://schemas.microsoft.com/office/drawing/2014/main" id="{F5457111-413B-4B55-8A4B-D558D13AF458}"/>
                  </a:ext>
                </a:extLst>
              </p:cNvPr>
              <p:cNvSpPr>
                <a:spLocks/>
              </p:cNvSpPr>
              <p:nvPr/>
            </p:nvSpPr>
            <p:spPr bwMode="auto">
              <a:xfrm>
                <a:off x="5054" y="1432"/>
                <a:ext cx="45" cy="31"/>
              </a:xfrm>
              <a:custGeom>
                <a:avLst/>
                <a:gdLst>
                  <a:gd name="T0" fmla="*/ 3 w 19"/>
                  <a:gd name="T1" fmla="*/ 2 h 13"/>
                  <a:gd name="T2" fmla="*/ 19 w 19"/>
                  <a:gd name="T3" fmla="*/ 7 h 13"/>
                  <a:gd name="T4" fmla="*/ 8 w 19"/>
                  <a:gd name="T5" fmla="*/ 10 h 13"/>
                  <a:gd name="T6" fmla="*/ 3 w 19"/>
                  <a:gd name="T7" fmla="*/ 2 h 13"/>
                </a:gdLst>
                <a:ahLst/>
                <a:cxnLst>
                  <a:cxn ang="0">
                    <a:pos x="T0" y="T1"/>
                  </a:cxn>
                  <a:cxn ang="0">
                    <a:pos x="T2" y="T3"/>
                  </a:cxn>
                  <a:cxn ang="0">
                    <a:pos x="T4" y="T5"/>
                  </a:cxn>
                  <a:cxn ang="0">
                    <a:pos x="T6" y="T7"/>
                  </a:cxn>
                </a:cxnLst>
                <a:rect l="0" t="0" r="r" b="b"/>
                <a:pathLst>
                  <a:path w="19" h="13">
                    <a:moveTo>
                      <a:pt x="3" y="2"/>
                    </a:moveTo>
                    <a:cubicBezTo>
                      <a:pt x="0" y="0"/>
                      <a:pt x="13" y="7"/>
                      <a:pt x="19" y="7"/>
                    </a:cubicBezTo>
                    <a:cubicBezTo>
                      <a:pt x="19" y="7"/>
                      <a:pt x="15" y="13"/>
                      <a:pt x="8" y="10"/>
                    </a:cubicBezTo>
                    <a:cubicBezTo>
                      <a:pt x="1" y="7"/>
                      <a:pt x="3" y="2"/>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324">
                <a:extLst>
                  <a:ext uri="{FF2B5EF4-FFF2-40B4-BE49-F238E27FC236}">
                    <a16:creationId xmlns:a16="http://schemas.microsoft.com/office/drawing/2014/main" id="{D44D6416-64DD-42D7-B45B-3C5E3A5B4D1F}"/>
                  </a:ext>
                </a:extLst>
              </p:cNvPr>
              <p:cNvSpPr>
                <a:spLocks/>
              </p:cNvSpPr>
              <p:nvPr/>
            </p:nvSpPr>
            <p:spPr bwMode="auto">
              <a:xfrm>
                <a:off x="5016" y="1499"/>
                <a:ext cx="74" cy="42"/>
              </a:xfrm>
              <a:custGeom>
                <a:avLst/>
                <a:gdLst>
                  <a:gd name="T0" fmla="*/ 31 w 31"/>
                  <a:gd name="T1" fmla="*/ 11 h 18"/>
                  <a:gd name="T2" fmla="*/ 0 w 31"/>
                  <a:gd name="T3" fmla="*/ 0 h 18"/>
                  <a:gd name="T4" fmla="*/ 31 w 31"/>
                  <a:gd name="T5" fmla="*/ 17 h 18"/>
                  <a:gd name="T6" fmla="*/ 31 w 31"/>
                  <a:gd name="T7" fmla="*/ 11 h 18"/>
                </a:gdLst>
                <a:ahLst/>
                <a:cxnLst>
                  <a:cxn ang="0">
                    <a:pos x="T0" y="T1"/>
                  </a:cxn>
                  <a:cxn ang="0">
                    <a:pos x="T2" y="T3"/>
                  </a:cxn>
                  <a:cxn ang="0">
                    <a:pos x="T4" y="T5"/>
                  </a:cxn>
                  <a:cxn ang="0">
                    <a:pos x="T6" y="T7"/>
                  </a:cxn>
                </a:cxnLst>
                <a:rect l="0" t="0" r="r" b="b"/>
                <a:pathLst>
                  <a:path w="31" h="18">
                    <a:moveTo>
                      <a:pt x="31" y="11"/>
                    </a:moveTo>
                    <a:cubicBezTo>
                      <a:pt x="31" y="11"/>
                      <a:pt x="15" y="11"/>
                      <a:pt x="0" y="0"/>
                    </a:cubicBezTo>
                    <a:cubicBezTo>
                      <a:pt x="0" y="0"/>
                      <a:pt x="7" y="18"/>
                      <a:pt x="31" y="17"/>
                    </a:cubicBezTo>
                    <a:lnTo>
                      <a:pt x="31" y="11"/>
                    </a:ln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325">
                <a:extLst>
                  <a:ext uri="{FF2B5EF4-FFF2-40B4-BE49-F238E27FC236}">
                    <a16:creationId xmlns:a16="http://schemas.microsoft.com/office/drawing/2014/main" id="{9C8F06B4-136D-4038-9C41-427614D97899}"/>
                  </a:ext>
                </a:extLst>
              </p:cNvPr>
              <p:cNvSpPr>
                <a:spLocks/>
              </p:cNvSpPr>
              <p:nvPr/>
            </p:nvSpPr>
            <p:spPr bwMode="auto">
              <a:xfrm>
                <a:off x="4800" y="1180"/>
                <a:ext cx="382" cy="418"/>
              </a:xfrm>
              <a:custGeom>
                <a:avLst/>
                <a:gdLst>
                  <a:gd name="T0" fmla="*/ 137 w 161"/>
                  <a:gd name="T1" fmla="*/ 24 h 176"/>
                  <a:gd name="T2" fmla="*/ 89 w 161"/>
                  <a:gd name="T3" fmla="*/ 5 h 176"/>
                  <a:gd name="T4" fmla="*/ 38 w 161"/>
                  <a:gd name="T5" fmla="*/ 34 h 176"/>
                  <a:gd name="T6" fmla="*/ 38 w 161"/>
                  <a:gd name="T7" fmla="*/ 34 h 176"/>
                  <a:gd name="T8" fmla="*/ 21 w 161"/>
                  <a:gd name="T9" fmla="*/ 71 h 176"/>
                  <a:gd name="T10" fmla="*/ 21 w 161"/>
                  <a:gd name="T11" fmla="*/ 94 h 176"/>
                  <a:gd name="T12" fmla="*/ 13 w 161"/>
                  <a:gd name="T13" fmla="*/ 116 h 176"/>
                  <a:gd name="T14" fmla="*/ 2 w 161"/>
                  <a:gd name="T15" fmla="*/ 125 h 176"/>
                  <a:gd name="T16" fmla="*/ 7 w 161"/>
                  <a:gd name="T17" fmla="*/ 140 h 176"/>
                  <a:gd name="T18" fmla="*/ 24 w 161"/>
                  <a:gd name="T19" fmla="*/ 144 h 176"/>
                  <a:gd name="T20" fmla="*/ 43 w 161"/>
                  <a:gd name="T21" fmla="*/ 169 h 176"/>
                  <a:gd name="T22" fmla="*/ 60 w 161"/>
                  <a:gd name="T23" fmla="*/ 165 h 176"/>
                  <a:gd name="T24" fmla="*/ 73 w 161"/>
                  <a:gd name="T25" fmla="*/ 176 h 176"/>
                  <a:gd name="T26" fmla="*/ 71 w 161"/>
                  <a:gd name="T27" fmla="*/ 73 h 176"/>
                  <a:gd name="T28" fmla="*/ 119 w 161"/>
                  <a:gd name="T29" fmla="*/ 36 h 176"/>
                  <a:gd name="T30" fmla="*/ 148 w 161"/>
                  <a:gd name="T31" fmla="*/ 69 h 176"/>
                  <a:gd name="T32" fmla="*/ 137 w 161"/>
                  <a:gd name="T33" fmla="*/ 2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176">
                    <a:moveTo>
                      <a:pt x="137" y="24"/>
                    </a:moveTo>
                    <a:cubicBezTo>
                      <a:pt x="114" y="0"/>
                      <a:pt x="98" y="5"/>
                      <a:pt x="89" y="5"/>
                    </a:cubicBezTo>
                    <a:cubicBezTo>
                      <a:pt x="82" y="5"/>
                      <a:pt x="56" y="10"/>
                      <a:pt x="38" y="34"/>
                    </a:cubicBezTo>
                    <a:cubicBezTo>
                      <a:pt x="38" y="34"/>
                      <a:pt x="38" y="34"/>
                      <a:pt x="38" y="34"/>
                    </a:cubicBezTo>
                    <a:cubicBezTo>
                      <a:pt x="31" y="41"/>
                      <a:pt x="22" y="63"/>
                      <a:pt x="21" y="71"/>
                    </a:cubicBezTo>
                    <a:cubicBezTo>
                      <a:pt x="20" y="78"/>
                      <a:pt x="21" y="86"/>
                      <a:pt x="21" y="94"/>
                    </a:cubicBezTo>
                    <a:cubicBezTo>
                      <a:pt x="21" y="102"/>
                      <a:pt x="19" y="111"/>
                      <a:pt x="13" y="116"/>
                    </a:cubicBezTo>
                    <a:cubicBezTo>
                      <a:pt x="10" y="119"/>
                      <a:pt x="5" y="121"/>
                      <a:pt x="2" y="125"/>
                    </a:cubicBezTo>
                    <a:cubicBezTo>
                      <a:pt x="0" y="131"/>
                      <a:pt x="3" y="137"/>
                      <a:pt x="7" y="140"/>
                    </a:cubicBezTo>
                    <a:cubicBezTo>
                      <a:pt x="12" y="144"/>
                      <a:pt x="18" y="144"/>
                      <a:pt x="24" y="144"/>
                    </a:cubicBezTo>
                    <a:cubicBezTo>
                      <a:pt x="23" y="156"/>
                      <a:pt x="32" y="167"/>
                      <a:pt x="43" y="169"/>
                    </a:cubicBezTo>
                    <a:cubicBezTo>
                      <a:pt x="49" y="170"/>
                      <a:pt x="55" y="168"/>
                      <a:pt x="60" y="165"/>
                    </a:cubicBezTo>
                    <a:cubicBezTo>
                      <a:pt x="64" y="169"/>
                      <a:pt x="68" y="172"/>
                      <a:pt x="73" y="176"/>
                    </a:cubicBezTo>
                    <a:cubicBezTo>
                      <a:pt x="74" y="141"/>
                      <a:pt x="73" y="107"/>
                      <a:pt x="71" y="73"/>
                    </a:cubicBezTo>
                    <a:cubicBezTo>
                      <a:pt x="86" y="70"/>
                      <a:pt x="115" y="62"/>
                      <a:pt x="119" y="36"/>
                    </a:cubicBezTo>
                    <a:cubicBezTo>
                      <a:pt x="126" y="51"/>
                      <a:pt x="135" y="59"/>
                      <a:pt x="148" y="69"/>
                    </a:cubicBezTo>
                    <a:cubicBezTo>
                      <a:pt x="148" y="69"/>
                      <a:pt x="161" y="48"/>
                      <a:pt x="137" y="2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326">
                <a:extLst>
                  <a:ext uri="{FF2B5EF4-FFF2-40B4-BE49-F238E27FC236}">
                    <a16:creationId xmlns:a16="http://schemas.microsoft.com/office/drawing/2014/main" id="{B1C1449A-A552-41B8-B801-6172B49EB02F}"/>
                  </a:ext>
                </a:extLst>
              </p:cNvPr>
              <p:cNvSpPr>
                <a:spLocks/>
              </p:cNvSpPr>
              <p:nvPr/>
            </p:nvSpPr>
            <p:spPr bwMode="auto">
              <a:xfrm>
                <a:off x="4971" y="1263"/>
                <a:ext cx="114" cy="76"/>
              </a:xfrm>
              <a:custGeom>
                <a:avLst/>
                <a:gdLst>
                  <a:gd name="T0" fmla="*/ 0 w 48"/>
                  <a:gd name="T1" fmla="*/ 29 h 32"/>
                  <a:gd name="T2" fmla="*/ 10 w 48"/>
                  <a:gd name="T3" fmla="*/ 29 h 32"/>
                  <a:gd name="T4" fmla="*/ 32 w 48"/>
                  <a:gd name="T5" fmla="*/ 26 h 32"/>
                  <a:gd name="T6" fmla="*/ 42 w 48"/>
                  <a:gd name="T7" fmla="*/ 19 h 32"/>
                  <a:gd name="T8" fmla="*/ 45 w 48"/>
                  <a:gd name="T9" fmla="*/ 9 h 32"/>
                  <a:gd name="T10" fmla="*/ 46 w 48"/>
                  <a:gd name="T11" fmla="*/ 0 h 32"/>
                  <a:gd name="T12" fmla="*/ 47 w 48"/>
                  <a:gd name="T13" fmla="*/ 10 h 32"/>
                  <a:gd name="T14" fmla="*/ 43 w 48"/>
                  <a:gd name="T15" fmla="*/ 20 h 32"/>
                  <a:gd name="T16" fmla="*/ 33 w 48"/>
                  <a:gd name="T17" fmla="*/ 28 h 32"/>
                  <a:gd name="T18" fmla="*/ 10 w 48"/>
                  <a:gd name="T19" fmla="*/ 30 h 32"/>
                  <a:gd name="T20" fmla="*/ 0 w 48"/>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2">
                    <a:moveTo>
                      <a:pt x="0" y="29"/>
                    </a:moveTo>
                    <a:cubicBezTo>
                      <a:pt x="0" y="28"/>
                      <a:pt x="4" y="28"/>
                      <a:pt x="10" y="29"/>
                    </a:cubicBezTo>
                    <a:cubicBezTo>
                      <a:pt x="16" y="29"/>
                      <a:pt x="24" y="30"/>
                      <a:pt x="32" y="26"/>
                    </a:cubicBezTo>
                    <a:cubicBezTo>
                      <a:pt x="36" y="24"/>
                      <a:pt x="40" y="22"/>
                      <a:pt x="42" y="19"/>
                    </a:cubicBezTo>
                    <a:cubicBezTo>
                      <a:pt x="44" y="15"/>
                      <a:pt x="45" y="12"/>
                      <a:pt x="45" y="9"/>
                    </a:cubicBezTo>
                    <a:cubicBezTo>
                      <a:pt x="47" y="4"/>
                      <a:pt x="46" y="0"/>
                      <a:pt x="46" y="0"/>
                    </a:cubicBezTo>
                    <a:cubicBezTo>
                      <a:pt x="47" y="0"/>
                      <a:pt x="48" y="3"/>
                      <a:pt x="47" y="10"/>
                    </a:cubicBezTo>
                    <a:cubicBezTo>
                      <a:pt x="46" y="13"/>
                      <a:pt x="45" y="16"/>
                      <a:pt x="43" y="20"/>
                    </a:cubicBezTo>
                    <a:cubicBezTo>
                      <a:pt x="41" y="23"/>
                      <a:pt x="38" y="26"/>
                      <a:pt x="33" y="28"/>
                    </a:cubicBezTo>
                    <a:cubicBezTo>
                      <a:pt x="24" y="32"/>
                      <a:pt x="16" y="31"/>
                      <a:pt x="10" y="30"/>
                    </a:cubicBezTo>
                    <a:cubicBezTo>
                      <a:pt x="4" y="29"/>
                      <a:pt x="0" y="29"/>
                      <a:pt x="0" y="2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327">
                <a:extLst>
                  <a:ext uri="{FF2B5EF4-FFF2-40B4-BE49-F238E27FC236}">
                    <a16:creationId xmlns:a16="http://schemas.microsoft.com/office/drawing/2014/main" id="{FB27B4B7-AD60-4CB4-BA08-073490F8B7F2}"/>
                  </a:ext>
                </a:extLst>
              </p:cNvPr>
              <p:cNvSpPr>
                <a:spLocks/>
              </p:cNvSpPr>
              <p:nvPr/>
            </p:nvSpPr>
            <p:spPr bwMode="auto">
              <a:xfrm>
                <a:off x="4826" y="1268"/>
                <a:ext cx="79" cy="202"/>
              </a:xfrm>
              <a:custGeom>
                <a:avLst/>
                <a:gdLst>
                  <a:gd name="T0" fmla="*/ 0 w 33"/>
                  <a:gd name="T1" fmla="*/ 84 h 85"/>
                  <a:gd name="T2" fmla="*/ 4 w 33"/>
                  <a:gd name="T3" fmla="*/ 84 h 85"/>
                  <a:gd name="T4" fmla="*/ 10 w 33"/>
                  <a:gd name="T5" fmla="*/ 76 h 85"/>
                  <a:gd name="T6" fmla="*/ 7 w 33"/>
                  <a:gd name="T7" fmla="*/ 61 h 85"/>
                  <a:gd name="T8" fmla="*/ 4 w 33"/>
                  <a:gd name="T9" fmla="*/ 52 h 85"/>
                  <a:gd name="T10" fmla="*/ 3 w 33"/>
                  <a:gd name="T11" fmla="*/ 41 h 85"/>
                  <a:gd name="T12" fmla="*/ 11 w 33"/>
                  <a:gd name="T13" fmla="*/ 22 h 85"/>
                  <a:gd name="T14" fmla="*/ 21 w 33"/>
                  <a:gd name="T15" fmla="*/ 10 h 85"/>
                  <a:gd name="T16" fmla="*/ 29 w 33"/>
                  <a:gd name="T17" fmla="*/ 2 h 85"/>
                  <a:gd name="T18" fmla="*/ 33 w 33"/>
                  <a:gd name="T19" fmla="*/ 0 h 85"/>
                  <a:gd name="T20" fmla="*/ 22 w 33"/>
                  <a:gd name="T21" fmla="*/ 11 h 85"/>
                  <a:gd name="T22" fmla="*/ 12 w 33"/>
                  <a:gd name="T23" fmla="*/ 23 h 85"/>
                  <a:gd name="T24" fmla="*/ 6 w 33"/>
                  <a:gd name="T25" fmla="*/ 41 h 85"/>
                  <a:gd name="T26" fmla="*/ 6 w 33"/>
                  <a:gd name="T27" fmla="*/ 51 h 85"/>
                  <a:gd name="T28" fmla="*/ 9 w 33"/>
                  <a:gd name="T29" fmla="*/ 60 h 85"/>
                  <a:gd name="T30" fmla="*/ 12 w 33"/>
                  <a:gd name="T31" fmla="*/ 76 h 85"/>
                  <a:gd name="T32" fmla="*/ 4 w 33"/>
                  <a:gd name="T33" fmla="*/ 85 h 85"/>
                  <a:gd name="T34" fmla="*/ 1 w 33"/>
                  <a:gd name="T35" fmla="*/ 85 h 85"/>
                  <a:gd name="T36" fmla="*/ 0 w 33"/>
                  <a:gd name="T37"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85">
                    <a:moveTo>
                      <a:pt x="0" y="84"/>
                    </a:moveTo>
                    <a:cubicBezTo>
                      <a:pt x="0" y="84"/>
                      <a:pt x="2" y="85"/>
                      <a:pt x="4" y="84"/>
                    </a:cubicBezTo>
                    <a:cubicBezTo>
                      <a:pt x="6" y="83"/>
                      <a:pt x="9" y="80"/>
                      <a:pt x="10" y="76"/>
                    </a:cubicBezTo>
                    <a:cubicBezTo>
                      <a:pt x="11" y="72"/>
                      <a:pt x="10" y="66"/>
                      <a:pt x="7" y="61"/>
                    </a:cubicBezTo>
                    <a:cubicBezTo>
                      <a:pt x="6" y="58"/>
                      <a:pt x="5" y="55"/>
                      <a:pt x="4" y="52"/>
                    </a:cubicBezTo>
                    <a:cubicBezTo>
                      <a:pt x="3" y="48"/>
                      <a:pt x="3" y="45"/>
                      <a:pt x="3" y="41"/>
                    </a:cubicBezTo>
                    <a:cubicBezTo>
                      <a:pt x="4" y="34"/>
                      <a:pt x="7" y="27"/>
                      <a:pt x="11" y="22"/>
                    </a:cubicBezTo>
                    <a:cubicBezTo>
                      <a:pt x="14" y="17"/>
                      <a:pt x="18" y="13"/>
                      <a:pt x="21" y="10"/>
                    </a:cubicBezTo>
                    <a:cubicBezTo>
                      <a:pt x="24" y="6"/>
                      <a:pt x="27" y="4"/>
                      <a:pt x="29" y="2"/>
                    </a:cubicBezTo>
                    <a:cubicBezTo>
                      <a:pt x="31" y="1"/>
                      <a:pt x="33" y="0"/>
                      <a:pt x="33" y="0"/>
                    </a:cubicBezTo>
                    <a:cubicBezTo>
                      <a:pt x="33" y="0"/>
                      <a:pt x="29" y="4"/>
                      <a:pt x="22" y="11"/>
                    </a:cubicBezTo>
                    <a:cubicBezTo>
                      <a:pt x="19" y="14"/>
                      <a:pt x="15" y="18"/>
                      <a:pt x="12" y="23"/>
                    </a:cubicBezTo>
                    <a:cubicBezTo>
                      <a:pt x="9" y="28"/>
                      <a:pt x="6" y="35"/>
                      <a:pt x="6" y="41"/>
                    </a:cubicBezTo>
                    <a:cubicBezTo>
                      <a:pt x="5" y="45"/>
                      <a:pt x="5" y="48"/>
                      <a:pt x="6" y="51"/>
                    </a:cubicBezTo>
                    <a:cubicBezTo>
                      <a:pt x="7" y="54"/>
                      <a:pt x="8" y="57"/>
                      <a:pt x="9" y="60"/>
                    </a:cubicBezTo>
                    <a:cubicBezTo>
                      <a:pt x="12" y="66"/>
                      <a:pt x="13" y="72"/>
                      <a:pt x="12" y="76"/>
                    </a:cubicBezTo>
                    <a:cubicBezTo>
                      <a:pt x="11" y="81"/>
                      <a:pt x="7" y="84"/>
                      <a:pt x="4" y="85"/>
                    </a:cubicBezTo>
                    <a:cubicBezTo>
                      <a:pt x="3" y="85"/>
                      <a:pt x="2" y="85"/>
                      <a:pt x="1" y="85"/>
                    </a:cubicBezTo>
                    <a:cubicBezTo>
                      <a:pt x="0" y="85"/>
                      <a:pt x="0" y="84"/>
                      <a:pt x="0" y="8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328">
                <a:extLst>
                  <a:ext uri="{FF2B5EF4-FFF2-40B4-BE49-F238E27FC236}">
                    <a16:creationId xmlns:a16="http://schemas.microsoft.com/office/drawing/2014/main" id="{D526672A-9259-49BC-ACA2-66EBD5C430A8}"/>
                  </a:ext>
                </a:extLst>
              </p:cNvPr>
              <p:cNvSpPr>
                <a:spLocks/>
              </p:cNvSpPr>
              <p:nvPr/>
            </p:nvSpPr>
            <p:spPr bwMode="auto">
              <a:xfrm>
                <a:off x="5151" y="1304"/>
                <a:ext cx="83" cy="114"/>
              </a:xfrm>
              <a:custGeom>
                <a:avLst/>
                <a:gdLst>
                  <a:gd name="T0" fmla="*/ 34 w 35"/>
                  <a:gd name="T1" fmla="*/ 36 h 48"/>
                  <a:gd name="T2" fmla="*/ 35 w 35"/>
                  <a:gd name="T3" fmla="*/ 39 h 48"/>
                  <a:gd name="T4" fmla="*/ 31 w 35"/>
                  <a:gd name="T5" fmla="*/ 45 h 48"/>
                  <a:gd name="T6" fmla="*/ 19 w 35"/>
                  <a:gd name="T7" fmla="*/ 46 h 48"/>
                  <a:gd name="T8" fmla="*/ 9 w 35"/>
                  <a:gd name="T9" fmla="*/ 35 h 48"/>
                  <a:gd name="T10" fmla="*/ 1 w 35"/>
                  <a:gd name="T11" fmla="*/ 11 h 48"/>
                  <a:gd name="T12" fmla="*/ 1 w 35"/>
                  <a:gd name="T13" fmla="*/ 0 h 48"/>
                  <a:gd name="T14" fmla="*/ 2 w 35"/>
                  <a:gd name="T15" fmla="*/ 11 h 48"/>
                  <a:gd name="T16" fmla="*/ 11 w 35"/>
                  <a:gd name="T17" fmla="*/ 34 h 48"/>
                  <a:gd name="T18" fmla="*/ 20 w 35"/>
                  <a:gd name="T19" fmla="*/ 44 h 48"/>
                  <a:gd name="T20" fmla="*/ 30 w 35"/>
                  <a:gd name="T21" fmla="*/ 44 h 48"/>
                  <a:gd name="T22" fmla="*/ 34 w 35"/>
                  <a:gd name="T23" fmla="*/ 38 h 48"/>
                  <a:gd name="T24" fmla="*/ 34 w 35"/>
                  <a:gd name="T25"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8">
                    <a:moveTo>
                      <a:pt x="34" y="36"/>
                    </a:moveTo>
                    <a:cubicBezTo>
                      <a:pt x="34" y="36"/>
                      <a:pt x="35" y="37"/>
                      <a:pt x="35" y="39"/>
                    </a:cubicBezTo>
                    <a:cubicBezTo>
                      <a:pt x="35" y="40"/>
                      <a:pt x="34" y="43"/>
                      <a:pt x="31" y="45"/>
                    </a:cubicBezTo>
                    <a:cubicBezTo>
                      <a:pt x="28" y="47"/>
                      <a:pt x="23" y="48"/>
                      <a:pt x="19" y="46"/>
                    </a:cubicBezTo>
                    <a:cubicBezTo>
                      <a:pt x="15" y="44"/>
                      <a:pt x="12" y="39"/>
                      <a:pt x="9" y="35"/>
                    </a:cubicBezTo>
                    <a:cubicBezTo>
                      <a:pt x="4" y="26"/>
                      <a:pt x="2" y="17"/>
                      <a:pt x="1" y="11"/>
                    </a:cubicBezTo>
                    <a:cubicBezTo>
                      <a:pt x="0" y="4"/>
                      <a:pt x="0" y="0"/>
                      <a:pt x="1" y="0"/>
                    </a:cubicBezTo>
                    <a:cubicBezTo>
                      <a:pt x="1" y="0"/>
                      <a:pt x="1" y="4"/>
                      <a:pt x="2" y="11"/>
                    </a:cubicBezTo>
                    <a:cubicBezTo>
                      <a:pt x="3" y="17"/>
                      <a:pt x="6" y="26"/>
                      <a:pt x="11" y="34"/>
                    </a:cubicBezTo>
                    <a:cubicBezTo>
                      <a:pt x="13" y="38"/>
                      <a:pt x="16" y="42"/>
                      <a:pt x="20" y="44"/>
                    </a:cubicBezTo>
                    <a:cubicBezTo>
                      <a:pt x="23" y="46"/>
                      <a:pt x="27" y="46"/>
                      <a:pt x="30" y="44"/>
                    </a:cubicBezTo>
                    <a:cubicBezTo>
                      <a:pt x="33" y="43"/>
                      <a:pt x="34" y="40"/>
                      <a:pt x="34" y="38"/>
                    </a:cubicBezTo>
                    <a:cubicBezTo>
                      <a:pt x="34" y="37"/>
                      <a:pt x="34" y="36"/>
                      <a:pt x="34" y="3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329">
                <a:extLst>
                  <a:ext uri="{FF2B5EF4-FFF2-40B4-BE49-F238E27FC236}">
                    <a16:creationId xmlns:a16="http://schemas.microsoft.com/office/drawing/2014/main" id="{C9CE1D87-D831-4B9B-8DE0-520D153FEF3F}"/>
                  </a:ext>
                </a:extLst>
              </p:cNvPr>
              <p:cNvSpPr>
                <a:spLocks/>
              </p:cNvSpPr>
              <p:nvPr/>
            </p:nvSpPr>
            <p:spPr bwMode="auto">
              <a:xfrm>
                <a:off x="5147" y="2268"/>
                <a:ext cx="190" cy="1513"/>
              </a:xfrm>
              <a:custGeom>
                <a:avLst/>
                <a:gdLst>
                  <a:gd name="T0" fmla="*/ 0 w 80"/>
                  <a:gd name="T1" fmla="*/ 0 h 637"/>
                  <a:gd name="T2" fmla="*/ 75 w 80"/>
                  <a:gd name="T3" fmla="*/ 344 h 637"/>
                  <a:gd name="T4" fmla="*/ 11 w 80"/>
                  <a:gd name="T5" fmla="*/ 637 h 637"/>
                  <a:gd name="T6" fmla="*/ 0 w 80"/>
                  <a:gd name="T7" fmla="*/ 0 h 637"/>
                </a:gdLst>
                <a:ahLst/>
                <a:cxnLst>
                  <a:cxn ang="0">
                    <a:pos x="T0" y="T1"/>
                  </a:cxn>
                  <a:cxn ang="0">
                    <a:pos x="T2" y="T3"/>
                  </a:cxn>
                  <a:cxn ang="0">
                    <a:pos x="T4" y="T5"/>
                  </a:cxn>
                  <a:cxn ang="0">
                    <a:pos x="T6" y="T7"/>
                  </a:cxn>
                </a:cxnLst>
                <a:rect l="0" t="0" r="r" b="b"/>
                <a:pathLst>
                  <a:path w="80" h="637">
                    <a:moveTo>
                      <a:pt x="0" y="0"/>
                    </a:moveTo>
                    <a:cubicBezTo>
                      <a:pt x="0" y="0"/>
                      <a:pt x="80" y="260"/>
                      <a:pt x="75" y="344"/>
                    </a:cubicBezTo>
                    <a:cubicBezTo>
                      <a:pt x="70" y="428"/>
                      <a:pt x="11" y="637"/>
                      <a:pt x="11" y="637"/>
                    </a:cubicBezTo>
                    <a:lnTo>
                      <a:pt x="0" y="0"/>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330">
                <a:extLst>
                  <a:ext uri="{FF2B5EF4-FFF2-40B4-BE49-F238E27FC236}">
                    <a16:creationId xmlns:a16="http://schemas.microsoft.com/office/drawing/2014/main" id="{B6E61259-CBD2-40B0-99E6-2B8B704CB924}"/>
                  </a:ext>
                </a:extLst>
              </p:cNvPr>
              <p:cNvSpPr>
                <a:spLocks/>
              </p:cNvSpPr>
              <p:nvPr/>
            </p:nvSpPr>
            <p:spPr bwMode="auto">
              <a:xfrm>
                <a:off x="4786" y="2156"/>
                <a:ext cx="411" cy="1642"/>
              </a:xfrm>
              <a:custGeom>
                <a:avLst/>
                <a:gdLst>
                  <a:gd name="T0" fmla="*/ 38 w 173"/>
                  <a:gd name="T1" fmla="*/ 2 h 691"/>
                  <a:gd name="T2" fmla="*/ 0 w 173"/>
                  <a:gd name="T3" fmla="*/ 98 h 691"/>
                  <a:gd name="T4" fmla="*/ 1 w 173"/>
                  <a:gd name="T5" fmla="*/ 111 h 691"/>
                  <a:gd name="T6" fmla="*/ 12 w 173"/>
                  <a:gd name="T7" fmla="*/ 156 h 691"/>
                  <a:gd name="T8" fmla="*/ 73 w 173"/>
                  <a:gd name="T9" fmla="*/ 341 h 691"/>
                  <a:gd name="T10" fmla="*/ 87 w 173"/>
                  <a:gd name="T11" fmla="*/ 691 h 691"/>
                  <a:gd name="T12" fmla="*/ 173 w 173"/>
                  <a:gd name="T13" fmla="*/ 685 h 691"/>
                  <a:gd name="T14" fmla="*/ 170 w 173"/>
                  <a:gd name="T15" fmla="*/ 341 h 691"/>
                  <a:gd name="T16" fmla="*/ 149 w 173"/>
                  <a:gd name="T17" fmla="*/ 0 h 691"/>
                  <a:gd name="T18" fmla="*/ 38 w 173"/>
                  <a:gd name="T19" fmla="*/ 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3" h="691">
                    <a:moveTo>
                      <a:pt x="38" y="2"/>
                    </a:moveTo>
                    <a:cubicBezTo>
                      <a:pt x="37" y="2"/>
                      <a:pt x="1" y="54"/>
                      <a:pt x="0" y="98"/>
                    </a:cubicBezTo>
                    <a:cubicBezTo>
                      <a:pt x="0" y="102"/>
                      <a:pt x="0" y="107"/>
                      <a:pt x="1" y="111"/>
                    </a:cubicBezTo>
                    <a:cubicBezTo>
                      <a:pt x="2" y="127"/>
                      <a:pt x="6" y="142"/>
                      <a:pt x="12" y="156"/>
                    </a:cubicBezTo>
                    <a:cubicBezTo>
                      <a:pt x="42" y="232"/>
                      <a:pt x="72" y="321"/>
                      <a:pt x="73" y="341"/>
                    </a:cubicBezTo>
                    <a:cubicBezTo>
                      <a:pt x="74" y="403"/>
                      <a:pt x="87" y="691"/>
                      <a:pt x="87" y="691"/>
                    </a:cubicBezTo>
                    <a:cubicBezTo>
                      <a:pt x="173" y="685"/>
                      <a:pt x="173" y="685"/>
                      <a:pt x="173" y="685"/>
                    </a:cubicBezTo>
                    <a:cubicBezTo>
                      <a:pt x="170" y="341"/>
                      <a:pt x="170" y="341"/>
                      <a:pt x="170" y="341"/>
                    </a:cubicBezTo>
                    <a:cubicBezTo>
                      <a:pt x="149" y="0"/>
                      <a:pt x="149" y="0"/>
                      <a:pt x="149" y="0"/>
                    </a:cubicBezTo>
                    <a:lnTo>
                      <a:pt x="38" y="2"/>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331">
                <a:extLst>
                  <a:ext uri="{FF2B5EF4-FFF2-40B4-BE49-F238E27FC236}">
                    <a16:creationId xmlns:a16="http://schemas.microsoft.com/office/drawing/2014/main" id="{D965D8A4-AB4A-46D9-A2C9-9A64FECAED1D}"/>
                  </a:ext>
                </a:extLst>
              </p:cNvPr>
              <p:cNvSpPr>
                <a:spLocks/>
              </p:cNvSpPr>
              <p:nvPr/>
            </p:nvSpPr>
            <p:spPr bwMode="auto">
              <a:xfrm>
                <a:off x="4988" y="2159"/>
                <a:ext cx="95" cy="1631"/>
              </a:xfrm>
              <a:custGeom>
                <a:avLst/>
                <a:gdLst>
                  <a:gd name="T0" fmla="*/ 1 w 40"/>
                  <a:gd name="T1" fmla="*/ 0 h 687"/>
                  <a:gd name="T2" fmla="*/ 1 w 40"/>
                  <a:gd name="T3" fmla="*/ 27 h 687"/>
                  <a:gd name="T4" fmla="*/ 2 w 40"/>
                  <a:gd name="T5" fmla="*/ 101 h 687"/>
                  <a:gd name="T6" fmla="*/ 3 w 40"/>
                  <a:gd name="T7" fmla="*/ 125 h 687"/>
                  <a:gd name="T8" fmla="*/ 5 w 40"/>
                  <a:gd name="T9" fmla="*/ 152 h 687"/>
                  <a:gd name="T10" fmla="*/ 13 w 40"/>
                  <a:gd name="T11" fmla="*/ 210 h 687"/>
                  <a:gd name="T12" fmla="*/ 23 w 40"/>
                  <a:gd name="T13" fmla="*/ 274 h 687"/>
                  <a:gd name="T14" fmla="*/ 30 w 40"/>
                  <a:gd name="T15" fmla="*/ 343 h 687"/>
                  <a:gd name="T16" fmla="*/ 31 w 40"/>
                  <a:gd name="T17" fmla="*/ 412 h 687"/>
                  <a:gd name="T18" fmla="*/ 33 w 40"/>
                  <a:gd name="T19" fmla="*/ 477 h 687"/>
                  <a:gd name="T20" fmla="*/ 37 w 40"/>
                  <a:gd name="T21" fmla="*/ 586 h 687"/>
                  <a:gd name="T22" fmla="*/ 39 w 40"/>
                  <a:gd name="T23" fmla="*/ 660 h 687"/>
                  <a:gd name="T24" fmla="*/ 40 w 40"/>
                  <a:gd name="T25" fmla="*/ 680 h 687"/>
                  <a:gd name="T26" fmla="*/ 40 w 40"/>
                  <a:gd name="T27" fmla="*/ 687 h 687"/>
                  <a:gd name="T28" fmla="*/ 36 w 40"/>
                  <a:gd name="T29" fmla="*/ 586 h 687"/>
                  <a:gd name="T30" fmla="*/ 32 w 40"/>
                  <a:gd name="T31" fmla="*/ 477 h 687"/>
                  <a:gd name="T32" fmla="*/ 31 w 40"/>
                  <a:gd name="T33" fmla="*/ 412 h 687"/>
                  <a:gd name="T34" fmla="*/ 29 w 40"/>
                  <a:gd name="T35" fmla="*/ 343 h 687"/>
                  <a:gd name="T36" fmla="*/ 22 w 40"/>
                  <a:gd name="T37" fmla="*/ 274 h 687"/>
                  <a:gd name="T38" fmla="*/ 12 w 40"/>
                  <a:gd name="T39" fmla="*/ 210 h 687"/>
                  <a:gd name="T40" fmla="*/ 5 w 40"/>
                  <a:gd name="T41" fmla="*/ 152 h 687"/>
                  <a:gd name="T42" fmla="*/ 2 w 40"/>
                  <a:gd name="T43" fmla="*/ 125 h 687"/>
                  <a:gd name="T44" fmla="*/ 1 w 40"/>
                  <a:gd name="T45" fmla="*/ 101 h 687"/>
                  <a:gd name="T46" fmla="*/ 1 w 40"/>
                  <a:gd name="T47" fmla="*/ 27 h 687"/>
                  <a:gd name="T48" fmla="*/ 1 w 40"/>
                  <a:gd name="T49" fmla="*/ 7 h 687"/>
                  <a:gd name="T50" fmla="*/ 1 w 40"/>
                  <a:gd name="T51"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687">
                    <a:moveTo>
                      <a:pt x="1" y="0"/>
                    </a:moveTo>
                    <a:cubicBezTo>
                      <a:pt x="1" y="0"/>
                      <a:pt x="1" y="10"/>
                      <a:pt x="1" y="27"/>
                    </a:cubicBezTo>
                    <a:cubicBezTo>
                      <a:pt x="2" y="44"/>
                      <a:pt x="1" y="70"/>
                      <a:pt x="2" y="101"/>
                    </a:cubicBezTo>
                    <a:cubicBezTo>
                      <a:pt x="2" y="109"/>
                      <a:pt x="2" y="117"/>
                      <a:pt x="3" y="125"/>
                    </a:cubicBezTo>
                    <a:cubicBezTo>
                      <a:pt x="4" y="134"/>
                      <a:pt x="4" y="143"/>
                      <a:pt x="5" y="152"/>
                    </a:cubicBezTo>
                    <a:cubicBezTo>
                      <a:pt x="7" y="170"/>
                      <a:pt x="10" y="189"/>
                      <a:pt x="13" y="210"/>
                    </a:cubicBezTo>
                    <a:cubicBezTo>
                      <a:pt x="16" y="230"/>
                      <a:pt x="20" y="251"/>
                      <a:pt x="23" y="274"/>
                    </a:cubicBezTo>
                    <a:cubicBezTo>
                      <a:pt x="26" y="296"/>
                      <a:pt x="29" y="319"/>
                      <a:pt x="30" y="343"/>
                    </a:cubicBezTo>
                    <a:cubicBezTo>
                      <a:pt x="31" y="366"/>
                      <a:pt x="31" y="390"/>
                      <a:pt x="31" y="412"/>
                    </a:cubicBezTo>
                    <a:cubicBezTo>
                      <a:pt x="32" y="435"/>
                      <a:pt x="32" y="456"/>
                      <a:pt x="33" y="477"/>
                    </a:cubicBezTo>
                    <a:cubicBezTo>
                      <a:pt x="34" y="518"/>
                      <a:pt x="36" y="555"/>
                      <a:pt x="37" y="586"/>
                    </a:cubicBezTo>
                    <a:cubicBezTo>
                      <a:pt x="38" y="617"/>
                      <a:pt x="39" y="643"/>
                      <a:pt x="39" y="660"/>
                    </a:cubicBezTo>
                    <a:cubicBezTo>
                      <a:pt x="40" y="669"/>
                      <a:pt x="40" y="675"/>
                      <a:pt x="40" y="680"/>
                    </a:cubicBezTo>
                    <a:cubicBezTo>
                      <a:pt x="40" y="685"/>
                      <a:pt x="40" y="687"/>
                      <a:pt x="40" y="687"/>
                    </a:cubicBezTo>
                    <a:cubicBezTo>
                      <a:pt x="40" y="682"/>
                      <a:pt x="39" y="647"/>
                      <a:pt x="36" y="586"/>
                    </a:cubicBezTo>
                    <a:cubicBezTo>
                      <a:pt x="35" y="555"/>
                      <a:pt x="33" y="518"/>
                      <a:pt x="32" y="477"/>
                    </a:cubicBezTo>
                    <a:cubicBezTo>
                      <a:pt x="32" y="456"/>
                      <a:pt x="31" y="435"/>
                      <a:pt x="31" y="412"/>
                    </a:cubicBezTo>
                    <a:cubicBezTo>
                      <a:pt x="30" y="390"/>
                      <a:pt x="31" y="366"/>
                      <a:pt x="29" y="343"/>
                    </a:cubicBezTo>
                    <a:cubicBezTo>
                      <a:pt x="28" y="319"/>
                      <a:pt x="25" y="296"/>
                      <a:pt x="22" y="274"/>
                    </a:cubicBezTo>
                    <a:cubicBezTo>
                      <a:pt x="19" y="251"/>
                      <a:pt x="15" y="230"/>
                      <a:pt x="12" y="210"/>
                    </a:cubicBezTo>
                    <a:cubicBezTo>
                      <a:pt x="9" y="189"/>
                      <a:pt x="6" y="170"/>
                      <a:pt x="5" y="152"/>
                    </a:cubicBezTo>
                    <a:cubicBezTo>
                      <a:pt x="4" y="143"/>
                      <a:pt x="3" y="134"/>
                      <a:pt x="2" y="125"/>
                    </a:cubicBezTo>
                    <a:cubicBezTo>
                      <a:pt x="2" y="117"/>
                      <a:pt x="1" y="109"/>
                      <a:pt x="1" y="101"/>
                    </a:cubicBezTo>
                    <a:cubicBezTo>
                      <a:pt x="0" y="70"/>
                      <a:pt x="1" y="44"/>
                      <a:pt x="1" y="27"/>
                    </a:cubicBezTo>
                    <a:cubicBezTo>
                      <a:pt x="1" y="18"/>
                      <a:pt x="1" y="12"/>
                      <a:pt x="1" y="7"/>
                    </a:cubicBezTo>
                    <a:cubicBezTo>
                      <a:pt x="1" y="2"/>
                      <a:pt x="1" y="0"/>
                      <a:pt x="1"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Rectangle 332">
                <a:extLst>
                  <a:ext uri="{FF2B5EF4-FFF2-40B4-BE49-F238E27FC236}">
                    <a16:creationId xmlns:a16="http://schemas.microsoft.com/office/drawing/2014/main" id="{52CB4EA8-8413-4878-ADF1-B9F58A56C8E0}"/>
                  </a:ext>
                </a:extLst>
              </p:cNvPr>
              <p:cNvSpPr>
                <a:spLocks noChangeArrowheads="1"/>
              </p:cNvSpPr>
              <p:nvPr/>
            </p:nvSpPr>
            <p:spPr bwMode="auto">
              <a:xfrm>
                <a:off x="4990" y="3767"/>
                <a:ext cx="207" cy="31"/>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333">
                <a:extLst>
                  <a:ext uri="{FF2B5EF4-FFF2-40B4-BE49-F238E27FC236}">
                    <a16:creationId xmlns:a16="http://schemas.microsoft.com/office/drawing/2014/main" id="{E3F3F6E8-2765-4E14-83C5-720A1D74675E}"/>
                  </a:ext>
                </a:extLst>
              </p:cNvPr>
              <p:cNvSpPr>
                <a:spLocks/>
              </p:cNvSpPr>
              <p:nvPr/>
            </p:nvSpPr>
            <p:spPr bwMode="auto">
              <a:xfrm>
                <a:off x="5002" y="2156"/>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334">
                <a:extLst>
                  <a:ext uri="{FF2B5EF4-FFF2-40B4-BE49-F238E27FC236}">
                    <a16:creationId xmlns:a16="http://schemas.microsoft.com/office/drawing/2014/main" id="{92A99CA4-23F9-4511-B41E-F20F19ACF439}"/>
                  </a:ext>
                </a:extLst>
              </p:cNvPr>
              <p:cNvSpPr>
                <a:spLocks/>
              </p:cNvSpPr>
              <p:nvPr/>
            </p:nvSpPr>
            <p:spPr bwMode="auto">
              <a:xfrm>
                <a:off x="5002" y="2175"/>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335">
                <a:extLst>
                  <a:ext uri="{FF2B5EF4-FFF2-40B4-BE49-F238E27FC236}">
                    <a16:creationId xmlns:a16="http://schemas.microsoft.com/office/drawing/2014/main" id="{631E77C9-002F-4166-9C21-1BD055764515}"/>
                  </a:ext>
                </a:extLst>
              </p:cNvPr>
              <p:cNvSpPr>
                <a:spLocks/>
              </p:cNvSpPr>
              <p:nvPr/>
            </p:nvSpPr>
            <p:spPr bwMode="auto">
              <a:xfrm>
                <a:off x="5002" y="2194"/>
                <a:ext cx="2" cy="10"/>
              </a:xfrm>
              <a:custGeom>
                <a:avLst/>
                <a:gdLst>
                  <a:gd name="T0" fmla="*/ 1 w 1"/>
                  <a:gd name="T1" fmla="*/ 4 h 4"/>
                  <a:gd name="T2" fmla="*/ 1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3"/>
                      <a:pt x="1" y="2"/>
                    </a:cubicBezTo>
                    <a:cubicBezTo>
                      <a:pt x="0"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336">
                <a:extLst>
                  <a:ext uri="{FF2B5EF4-FFF2-40B4-BE49-F238E27FC236}">
                    <a16:creationId xmlns:a16="http://schemas.microsoft.com/office/drawing/2014/main" id="{7352E559-8BB3-4F3D-9045-345AE6A0E9E1}"/>
                  </a:ext>
                </a:extLst>
              </p:cNvPr>
              <p:cNvSpPr>
                <a:spLocks noChangeArrowheads="1"/>
              </p:cNvSpPr>
              <p:nvPr/>
            </p:nvSpPr>
            <p:spPr bwMode="auto">
              <a:xfrm>
                <a:off x="5004" y="2213"/>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337">
                <a:extLst>
                  <a:ext uri="{FF2B5EF4-FFF2-40B4-BE49-F238E27FC236}">
                    <a16:creationId xmlns:a16="http://schemas.microsoft.com/office/drawing/2014/main" id="{B020A3BC-452F-413C-9590-1D3CAAC6D866}"/>
                  </a:ext>
                </a:extLst>
              </p:cNvPr>
              <p:cNvSpPr>
                <a:spLocks/>
              </p:cNvSpPr>
              <p:nvPr/>
            </p:nvSpPr>
            <p:spPr bwMode="auto">
              <a:xfrm>
                <a:off x="5004" y="2232"/>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1" y="0"/>
                      <a:pt x="1" y="0"/>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38">
                <a:extLst>
                  <a:ext uri="{FF2B5EF4-FFF2-40B4-BE49-F238E27FC236}">
                    <a16:creationId xmlns:a16="http://schemas.microsoft.com/office/drawing/2014/main" id="{E0F6098E-1F64-498E-B0E2-4C01B4325FFA}"/>
                  </a:ext>
                </a:extLst>
              </p:cNvPr>
              <p:cNvSpPr>
                <a:spLocks/>
              </p:cNvSpPr>
              <p:nvPr/>
            </p:nvSpPr>
            <p:spPr bwMode="auto">
              <a:xfrm>
                <a:off x="5004" y="2251"/>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39">
                <a:extLst>
                  <a:ext uri="{FF2B5EF4-FFF2-40B4-BE49-F238E27FC236}">
                    <a16:creationId xmlns:a16="http://schemas.microsoft.com/office/drawing/2014/main" id="{11616995-0A66-4766-AD41-926F5DFD7F3C}"/>
                  </a:ext>
                </a:extLst>
              </p:cNvPr>
              <p:cNvSpPr>
                <a:spLocks/>
              </p:cNvSpPr>
              <p:nvPr/>
            </p:nvSpPr>
            <p:spPr bwMode="auto">
              <a:xfrm>
                <a:off x="5004" y="2270"/>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1"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340">
                <a:extLst>
                  <a:ext uri="{FF2B5EF4-FFF2-40B4-BE49-F238E27FC236}">
                    <a16:creationId xmlns:a16="http://schemas.microsoft.com/office/drawing/2014/main" id="{6B80B3F9-648F-4663-9DA5-99872C1BAD61}"/>
                  </a:ext>
                </a:extLst>
              </p:cNvPr>
              <p:cNvSpPr>
                <a:spLocks/>
              </p:cNvSpPr>
              <p:nvPr/>
            </p:nvSpPr>
            <p:spPr bwMode="auto">
              <a:xfrm>
                <a:off x="5007" y="2289"/>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0"/>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41">
                <a:extLst>
                  <a:ext uri="{FF2B5EF4-FFF2-40B4-BE49-F238E27FC236}">
                    <a16:creationId xmlns:a16="http://schemas.microsoft.com/office/drawing/2014/main" id="{B48461D2-E2B6-4D64-BB88-B4301EDAF289}"/>
                  </a:ext>
                </a:extLst>
              </p:cNvPr>
              <p:cNvSpPr>
                <a:spLocks/>
              </p:cNvSpPr>
              <p:nvPr/>
            </p:nvSpPr>
            <p:spPr bwMode="auto">
              <a:xfrm>
                <a:off x="5007" y="2308"/>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0"/>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42">
                <a:extLst>
                  <a:ext uri="{FF2B5EF4-FFF2-40B4-BE49-F238E27FC236}">
                    <a16:creationId xmlns:a16="http://schemas.microsoft.com/office/drawing/2014/main" id="{9C48405F-FE55-43EE-B41F-1281D49482A1}"/>
                  </a:ext>
                </a:extLst>
              </p:cNvPr>
              <p:cNvSpPr>
                <a:spLocks/>
              </p:cNvSpPr>
              <p:nvPr/>
            </p:nvSpPr>
            <p:spPr bwMode="auto">
              <a:xfrm>
                <a:off x="5007" y="2327"/>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43">
                <a:extLst>
                  <a:ext uri="{FF2B5EF4-FFF2-40B4-BE49-F238E27FC236}">
                    <a16:creationId xmlns:a16="http://schemas.microsoft.com/office/drawing/2014/main" id="{384C501F-2472-4990-9F53-DCF1FC354C13}"/>
                  </a:ext>
                </a:extLst>
              </p:cNvPr>
              <p:cNvSpPr>
                <a:spLocks/>
              </p:cNvSpPr>
              <p:nvPr/>
            </p:nvSpPr>
            <p:spPr bwMode="auto">
              <a:xfrm>
                <a:off x="5007" y="2346"/>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44">
                <a:extLst>
                  <a:ext uri="{FF2B5EF4-FFF2-40B4-BE49-F238E27FC236}">
                    <a16:creationId xmlns:a16="http://schemas.microsoft.com/office/drawing/2014/main" id="{77AA2686-DBBB-430D-9424-98557985FCBD}"/>
                  </a:ext>
                </a:extLst>
              </p:cNvPr>
              <p:cNvSpPr>
                <a:spLocks/>
              </p:cNvSpPr>
              <p:nvPr/>
            </p:nvSpPr>
            <p:spPr bwMode="auto">
              <a:xfrm>
                <a:off x="5007" y="2365"/>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1"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345">
                <a:extLst>
                  <a:ext uri="{FF2B5EF4-FFF2-40B4-BE49-F238E27FC236}">
                    <a16:creationId xmlns:a16="http://schemas.microsoft.com/office/drawing/2014/main" id="{68ACF83F-6B7C-49DD-901C-7F8E381BF7C3}"/>
                  </a:ext>
                </a:extLst>
              </p:cNvPr>
              <p:cNvSpPr>
                <a:spLocks noChangeArrowheads="1"/>
              </p:cNvSpPr>
              <p:nvPr/>
            </p:nvSpPr>
            <p:spPr bwMode="auto">
              <a:xfrm>
                <a:off x="5009" y="2384"/>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346">
                <a:extLst>
                  <a:ext uri="{FF2B5EF4-FFF2-40B4-BE49-F238E27FC236}">
                    <a16:creationId xmlns:a16="http://schemas.microsoft.com/office/drawing/2014/main" id="{77547D63-19A2-4B54-8907-086E1F49D1D8}"/>
                  </a:ext>
                </a:extLst>
              </p:cNvPr>
              <p:cNvSpPr>
                <a:spLocks noChangeArrowheads="1"/>
              </p:cNvSpPr>
              <p:nvPr/>
            </p:nvSpPr>
            <p:spPr bwMode="auto">
              <a:xfrm>
                <a:off x="5009" y="240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347">
                <a:extLst>
                  <a:ext uri="{FF2B5EF4-FFF2-40B4-BE49-F238E27FC236}">
                    <a16:creationId xmlns:a16="http://schemas.microsoft.com/office/drawing/2014/main" id="{FDE30004-C37C-481D-804D-90F1159896BB}"/>
                  </a:ext>
                </a:extLst>
              </p:cNvPr>
              <p:cNvSpPr>
                <a:spLocks noChangeArrowheads="1"/>
              </p:cNvSpPr>
              <p:nvPr/>
            </p:nvSpPr>
            <p:spPr bwMode="auto">
              <a:xfrm>
                <a:off x="5009" y="2422"/>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48">
                <a:extLst>
                  <a:ext uri="{FF2B5EF4-FFF2-40B4-BE49-F238E27FC236}">
                    <a16:creationId xmlns:a16="http://schemas.microsoft.com/office/drawing/2014/main" id="{D8390402-9BBE-4994-BD5E-27B27D811EBB}"/>
                  </a:ext>
                </a:extLst>
              </p:cNvPr>
              <p:cNvSpPr>
                <a:spLocks/>
              </p:cNvSpPr>
              <p:nvPr/>
            </p:nvSpPr>
            <p:spPr bwMode="auto">
              <a:xfrm>
                <a:off x="5009" y="2441"/>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349">
                <a:extLst>
                  <a:ext uri="{FF2B5EF4-FFF2-40B4-BE49-F238E27FC236}">
                    <a16:creationId xmlns:a16="http://schemas.microsoft.com/office/drawing/2014/main" id="{4F12C29D-5385-4348-9349-B89D992E26A6}"/>
                  </a:ext>
                </a:extLst>
              </p:cNvPr>
              <p:cNvSpPr>
                <a:spLocks/>
              </p:cNvSpPr>
              <p:nvPr/>
            </p:nvSpPr>
            <p:spPr bwMode="auto">
              <a:xfrm>
                <a:off x="5011" y="2460"/>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350">
                <a:extLst>
                  <a:ext uri="{FF2B5EF4-FFF2-40B4-BE49-F238E27FC236}">
                    <a16:creationId xmlns:a16="http://schemas.microsoft.com/office/drawing/2014/main" id="{36E7225E-BA30-45EF-9DF6-976E7888F57B}"/>
                  </a:ext>
                </a:extLst>
              </p:cNvPr>
              <p:cNvSpPr>
                <a:spLocks/>
              </p:cNvSpPr>
              <p:nvPr/>
            </p:nvSpPr>
            <p:spPr bwMode="auto">
              <a:xfrm>
                <a:off x="5011" y="2479"/>
                <a:ext cx="3"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351">
                <a:extLst>
                  <a:ext uri="{FF2B5EF4-FFF2-40B4-BE49-F238E27FC236}">
                    <a16:creationId xmlns:a16="http://schemas.microsoft.com/office/drawing/2014/main" id="{B1968BBE-C771-446C-A505-BB7F31F531CC}"/>
                  </a:ext>
                </a:extLst>
              </p:cNvPr>
              <p:cNvSpPr>
                <a:spLocks/>
              </p:cNvSpPr>
              <p:nvPr/>
            </p:nvSpPr>
            <p:spPr bwMode="auto">
              <a:xfrm>
                <a:off x="5014" y="2498"/>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0"/>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352">
                <a:extLst>
                  <a:ext uri="{FF2B5EF4-FFF2-40B4-BE49-F238E27FC236}">
                    <a16:creationId xmlns:a16="http://schemas.microsoft.com/office/drawing/2014/main" id="{192873D0-3E15-427A-8AF4-91A15FEE344A}"/>
                  </a:ext>
                </a:extLst>
              </p:cNvPr>
              <p:cNvSpPr>
                <a:spLocks/>
              </p:cNvSpPr>
              <p:nvPr/>
            </p:nvSpPr>
            <p:spPr bwMode="auto">
              <a:xfrm>
                <a:off x="5014" y="2517"/>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3"/>
                      <a:pt x="0" y="2"/>
                    </a:cubicBezTo>
                    <a:cubicBezTo>
                      <a:pt x="0" y="1"/>
                      <a:pt x="0"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353">
                <a:extLst>
                  <a:ext uri="{FF2B5EF4-FFF2-40B4-BE49-F238E27FC236}">
                    <a16:creationId xmlns:a16="http://schemas.microsoft.com/office/drawing/2014/main" id="{7B52B0AE-F1AF-4DFD-9A64-BE4E586183D9}"/>
                  </a:ext>
                </a:extLst>
              </p:cNvPr>
              <p:cNvSpPr>
                <a:spLocks/>
              </p:cNvSpPr>
              <p:nvPr/>
            </p:nvSpPr>
            <p:spPr bwMode="auto">
              <a:xfrm>
                <a:off x="5016" y="2536"/>
                <a:ext cx="3"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354">
                <a:extLst>
                  <a:ext uri="{FF2B5EF4-FFF2-40B4-BE49-F238E27FC236}">
                    <a16:creationId xmlns:a16="http://schemas.microsoft.com/office/drawing/2014/main" id="{6949EDD9-56DB-4AAD-A086-8EE75E1A0434}"/>
                  </a:ext>
                </a:extLst>
              </p:cNvPr>
              <p:cNvSpPr>
                <a:spLocks/>
              </p:cNvSpPr>
              <p:nvPr/>
            </p:nvSpPr>
            <p:spPr bwMode="auto">
              <a:xfrm>
                <a:off x="5019" y="2555"/>
                <a:ext cx="2" cy="10"/>
              </a:xfrm>
              <a:custGeom>
                <a:avLst/>
                <a:gdLst>
                  <a:gd name="T0" fmla="*/ 1 w 1"/>
                  <a:gd name="T1" fmla="*/ 4 h 4"/>
                  <a:gd name="T2" fmla="*/ 0 w 1"/>
                  <a:gd name="T3" fmla="*/ 2 h 4"/>
                  <a:gd name="T4" fmla="*/ 0 w 1"/>
                  <a:gd name="T5" fmla="*/ 0 h 4"/>
                  <a:gd name="T6" fmla="*/ 1 w 1"/>
                  <a:gd name="T7" fmla="*/ 1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0"/>
                      <a:pt x="0" y="0"/>
                      <a:pt x="0" y="0"/>
                    </a:cubicBezTo>
                    <a:cubicBezTo>
                      <a:pt x="0" y="0"/>
                      <a:pt x="1" y="0"/>
                      <a:pt x="1" y="1"/>
                    </a:cubicBezTo>
                    <a:cubicBezTo>
                      <a:pt x="1" y="3"/>
                      <a:pt x="1" y="3"/>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355">
                <a:extLst>
                  <a:ext uri="{FF2B5EF4-FFF2-40B4-BE49-F238E27FC236}">
                    <a16:creationId xmlns:a16="http://schemas.microsoft.com/office/drawing/2014/main" id="{1EB5D17F-0494-4E5D-A3A4-2BF35ACB39E6}"/>
                  </a:ext>
                </a:extLst>
              </p:cNvPr>
              <p:cNvSpPr>
                <a:spLocks/>
              </p:cNvSpPr>
              <p:nvPr/>
            </p:nvSpPr>
            <p:spPr bwMode="auto">
              <a:xfrm>
                <a:off x="5021" y="2572"/>
                <a:ext cx="2" cy="10"/>
              </a:xfrm>
              <a:custGeom>
                <a:avLst/>
                <a:gdLst>
                  <a:gd name="T0" fmla="*/ 1 w 1"/>
                  <a:gd name="T1" fmla="*/ 4 h 4"/>
                  <a:gd name="T2" fmla="*/ 0 w 1"/>
                  <a:gd name="T3" fmla="*/ 3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3"/>
                    </a:cubicBezTo>
                    <a:cubicBezTo>
                      <a:pt x="0" y="1"/>
                      <a:pt x="0" y="1"/>
                      <a:pt x="0" y="0"/>
                    </a:cubicBezTo>
                    <a:cubicBezTo>
                      <a:pt x="0"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356">
                <a:extLst>
                  <a:ext uri="{FF2B5EF4-FFF2-40B4-BE49-F238E27FC236}">
                    <a16:creationId xmlns:a16="http://schemas.microsoft.com/office/drawing/2014/main" id="{5CFA0F4F-9685-4264-AF90-C6395C1B1E86}"/>
                  </a:ext>
                </a:extLst>
              </p:cNvPr>
              <p:cNvSpPr>
                <a:spLocks/>
              </p:cNvSpPr>
              <p:nvPr/>
            </p:nvSpPr>
            <p:spPr bwMode="auto">
              <a:xfrm>
                <a:off x="5023" y="2591"/>
                <a:ext cx="3"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357">
                <a:extLst>
                  <a:ext uri="{FF2B5EF4-FFF2-40B4-BE49-F238E27FC236}">
                    <a16:creationId xmlns:a16="http://schemas.microsoft.com/office/drawing/2014/main" id="{A9528F13-15A8-40E8-8E73-0871F571D268}"/>
                  </a:ext>
                </a:extLst>
              </p:cNvPr>
              <p:cNvSpPr>
                <a:spLocks/>
              </p:cNvSpPr>
              <p:nvPr/>
            </p:nvSpPr>
            <p:spPr bwMode="auto">
              <a:xfrm>
                <a:off x="5026" y="2610"/>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358">
                <a:extLst>
                  <a:ext uri="{FF2B5EF4-FFF2-40B4-BE49-F238E27FC236}">
                    <a16:creationId xmlns:a16="http://schemas.microsoft.com/office/drawing/2014/main" id="{59057BDE-E6F0-48CE-915B-303290251484}"/>
                  </a:ext>
                </a:extLst>
              </p:cNvPr>
              <p:cNvSpPr>
                <a:spLocks/>
              </p:cNvSpPr>
              <p:nvPr/>
            </p:nvSpPr>
            <p:spPr bwMode="auto">
              <a:xfrm>
                <a:off x="5028" y="2629"/>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359">
                <a:extLst>
                  <a:ext uri="{FF2B5EF4-FFF2-40B4-BE49-F238E27FC236}">
                    <a16:creationId xmlns:a16="http://schemas.microsoft.com/office/drawing/2014/main" id="{265F636E-403A-4569-8726-4E9DA9D9267E}"/>
                  </a:ext>
                </a:extLst>
              </p:cNvPr>
              <p:cNvSpPr>
                <a:spLocks/>
              </p:cNvSpPr>
              <p:nvPr/>
            </p:nvSpPr>
            <p:spPr bwMode="auto">
              <a:xfrm>
                <a:off x="5030" y="2648"/>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360">
                <a:extLst>
                  <a:ext uri="{FF2B5EF4-FFF2-40B4-BE49-F238E27FC236}">
                    <a16:creationId xmlns:a16="http://schemas.microsoft.com/office/drawing/2014/main" id="{AD11144B-9442-4D91-9CAE-E895132C548D}"/>
                  </a:ext>
                </a:extLst>
              </p:cNvPr>
              <p:cNvSpPr>
                <a:spLocks/>
              </p:cNvSpPr>
              <p:nvPr/>
            </p:nvSpPr>
            <p:spPr bwMode="auto">
              <a:xfrm>
                <a:off x="5035" y="2667"/>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361">
                <a:extLst>
                  <a:ext uri="{FF2B5EF4-FFF2-40B4-BE49-F238E27FC236}">
                    <a16:creationId xmlns:a16="http://schemas.microsoft.com/office/drawing/2014/main" id="{9A2850D7-E43B-4FFD-A723-685218F59A89}"/>
                  </a:ext>
                </a:extLst>
              </p:cNvPr>
              <p:cNvSpPr>
                <a:spLocks/>
              </p:cNvSpPr>
              <p:nvPr/>
            </p:nvSpPr>
            <p:spPr bwMode="auto">
              <a:xfrm>
                <a:off x="5038" y="2686"/>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362">
                <a:extLst>
                  <a:ext uri="{FF2B5EF4-FFF2-40B4-BE49-F238E27FC236}">
                    <a16:creationId xmlns:a16="http://schemas.microsoft.com/office/drawing/2014/main" id="{A698DED5-C9FD-4D99-818B-C7590C13DB3F}"/>
                  </a:ext>
                </a:extLst>
              </p:cNvPr>
              <p:cNvSpPr>
                <a:spLocks/>
              </p:cNvSpPr>
              <p:nvPr/>
            </p:nvSpPr>
            <p:spPr bwMode="auto">
              <a:xfrm>
                <a:off x="5040" y="2705"/>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363">
                <a:extLst>
                  <a:ext uri="{FF2B5EF4-FFF2-40B4-BE49-F238E27FC236}">
                    <a16:creationId xmlns:a16="http://schemas.microsoft.com/office/drawing/2014/main" id="{99ED62BB-6D8C-41B0-AE1D-E962BF32712C}"/>
                  </a:ext>
                </a:extLst>
              </p:cNvPr>
              <p:cNvSpPr>
                <a:spLocks/>
              </p:cNvSpPr>
              <p:nvPr/>
            </p:nvSpPr>
            <p:spPr bwMode="auto">
              <a:xfrm>
                <a:off x="5045" y="2724"/>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0"/>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364">
                <a:extLst>
                  <a:ext uri="{FF2B5EF4-FFF2-40B4-BE49-F238E27FC236}">
                    <a16:creationId xmlns:a16="http://schemas.microsoft.com/office/drawing/2014/main" id="{8A356915-8802-4038-AC21-B8EF6AFA237F}"/>
                  </a:ext>
                </a:extLst>
              </p:cNvPr>
              <p:cNvSpPr>
                <a:spLocks/>
              </p:cNvSpPr>
              <p:nvPr/>
            </p:nvSpPr>
            <p:spPr bwMode="auto">
              <a:xfrm>
                <a:off x="5047" y="2741"/>
                <a:ext cx="2" cy="9"/>
              </a:xfrm>
              <a:custGeom>
                <a:avLst/>
                <a:gdLst>
                  <a:gd name="T0" fmla="*/ 1 w 1"/>
                  <a:gd name="T1" fmla="*/ 4 h 4"/>
                  <a:gd name="T2" fmla="*/ 0 w 1"/>
                  <a:gd name="T3" fmla="*/ 3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4"/>
                      <a:pt x="0" y="3"/>
                    </a:cubicBezTo>
                    <a:cubicBezTo>
                      <a:pt x="0" y="1"/>
                      <a:pt x="0" y="1"/>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365">
                <a:extLst>
                  <a:ext uri="{FF2B5EF4-FFF2-40B4-BE49-F238E27FC236}">
                    <a16:creationId xmlns:a16="http://schemas.microsoft.com/office/drawing/2014/main" id="{D8689C7E-1370-47FE-8E44-571D771F13F8}"/>
                  </a:ext>
                </a:extLst>
              </p:cNvPr>
              <p:cNvSpPr>
                <a:spLocks/>
              </p:cNvSpPr>
              <p:nvPr/>
            </p:nvSpPr>
            <p:spPr bwMode="auto">
              <a:xfrm>
                <a:off x="5049" y="2760"/>
                <a:ext cx="3"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366">
                <a:extLst>
                  <a:ext uri="{FF2B5EF4-FFF2-40B4-BE49-F238E27FC236}">
                    <a16:creationId xmlns:a16="http://schemas.microsoft.com/office/drawing/2014/main" id="{5F9C5751-52F8-4C5A-AB15-87D6CAC5FBC3}"/>
                  </a:ext>
                </a:extLst>
              </p:cNvPr>
              <p:cNvSpPr>
                <a:spLocks/>
              </p:cNvSpPr>
              <p:nvPr/>
            </p:nvSpPr>
            <p:spPr bwMode="auto">
              <a:xfrm>
                <a:off x="5052" y="2779"/>
                <a:ext cx="4" cy="9"/>
              </a:xfrm>
              <a:custGeom>
                <a:avLst/>
                <a:gdLst>
                  <a:gd name="T0" fmla="*/ 1 w 2"/>
                  <a:gd name="T1" fmla="*/ 4 h 4"/>
                  <a:gd name="T2" fmla="*/ 1 w 2"/>
                  <a:gd name="T3" fmla="*/ 2 h 4"/>
                  <a:gd name="T4" fmla="*/ 1 w 2"/>
                  <a:gd name="T5" fmla="*/ 0 h 4"/>
                  <a:gd name="T6" fmla="*/ 1 w 2"/>
                  <a:gd name="T7" fmla="*/ 2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1" y="4"/>
                      <a:pt x="1" y="3"/>
                      <a:pt x="1" y="2"/>
                    </a:cubicBezTo>
                    <a:cubicBezTo>
                      <a:pt x="0" y="1"/>
                      <a:pt x="1" y="0"/>
                      <a:pt x="1" y="0"/>
                    </a:cubicBezTo>
                    <a:cubicBezTo>
                      <a:pt x="1" y="0"/>
                      <a:pt x="1" y="1"/>
                      <a:pt x="1" y="2"/>
                    </a:cubicBezTo>
                    <a:cubicBezTo>
                      <a:pt x="2" y="3"/>
                      <a:pt x="2"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367">
                <a:extLst>
                  <a:ext uri="{FF2B5EF4-FFF2-40B4-BE49-F238E27FC236}">
                    <a16:creationId xmlns:a16="http://schemas.microsoft.com/office/drawing/2014/main" id="{30B3F707-5615-4384-8892-CA482791DF8F}"/>
                  </a:ext>
                </a:extLst>
              </p:cNvPr>
              <p:cNvSpPr>
                <a:spLocks/>
              </p:cNvSpPr>
              <p:nvPr/>
            </p:nvSpPr>
            <p:spPr bwMode="auto">
              <a:xfrm>
                <a:off x="5056" y="2798"/>
                <a:ext cx="3"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368">
                <a:extLst>
                  <a:ext uri="{FF2B5EF4-FFF2-40B4-BE49-F238E27FC236}">
                    <a16:creationId xmlns:a16="http://schemas.microsoft.com/office/drawing/2014/main" id="{A11B1183-0594-4204-8284-5E4DDE5DF08C}"/>
                  </a:ext>
                </a:extLst>
              </p:cNvPr>
              <p:cNvSpPr>
                <a:spLocks/>
              </p:cNvSpPr>
              <p:nvPr/>
            </p:nvSpPr>
            <p:spPr bwMode="auto">
              <a:xfrm>
                <a:off x="5059" y="2817"/>
                <a:ext cx="2"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369">
                <a:extLst>
                  <a:ext uri="{FF2B5EF4-FFF2-40B4-BE49-F238E27FC236}">
                    <a16:creationId xmlns:a16="http://schemas.microsoft.com/office/drawing/2014/main" id="{E34DB03D-761F-48B8-A395-1AA206558987}"/>
                  </a:ext>
                </a:extLst>
              </p:cNvPr>
              <p:cNvSpPr>
                <a:spLocks/>
              </p:cNvSpPr>
              <p:nvPr/>
            </p:nvSpPr>
            <p:spPr bwMode="auto">
              <a:xfrm>
                <a:off x="5061" y="2836"/>
                <a:ext cx="3"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370">
                <a:extLst>
                  <a:ext uri="{FF2B5EF4-FFF2-40B4-BE49-F238E27FC236}">
                    <a16:creationId xmlns:a16="http://schemas.microsoft.com/office/drawing/2014/main" id="{9297EB0D-5D54-4AF6-BDEB-0E4629ABB351}"/>
                  </a:ext>
                </a:extLst>
              </p:cNvPr>
              <p:cNvSpPr>
                <a:spLocks/>
              </p:cNvSpPr>
              <p:nvPr/>
            </p:nvSpPr>
            <p:spPr bwMode="auto">
              <a:xfrm>
                <a:off x="5064" y="2855"/>
                <a:ext cx="2"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371">
                <a:extLst>
                  <a:ext uri="{FF2B5EF4-FFF2-40B4-BE49-F238E27FC236}">
                    <a16:creationId xmlns:a16="http://schemas.microsoft.com/office/drawing/2014/main" id="{816C3D90-E743-49E4-9052-30CBBCCA88CD}"/>
                  </a:ext>
                </a:extLst>
              </p:cNvPr>
              <p:cNvSpPr>
                <a:spLocks/>
              </p:cNvSpPr>
              <p:nvPr/>
            </p:nvSpPr>
            <p:spPr bwMode="auto">
              <a:xfrm>
                <a:off x="5066" y="2874"/>
                <a:ext cx="2" cy="9"/>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0"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372">
                <a:extLst>
                  <a:ext uri="{FF2B5EF4-FFF2-40B4-BE49-F238E27FC236}">
                    <a16:creationId xmlns:a16="http://schemas.microsoft.com/office/drawing/2014/main" id="{5A8D3920-5D48-4CC1-954F-CF7AE4DD328A}"/>
                  </a:ext>
                </a:extLst>
              </p:cNvPr>
              <p:cNvSpPr>
                <a:spLocks/>
              </p:cNvSpPr>
              <p:nvPr/>
            </p:nvSpPr>
            <p:spPr bwMode="auto">
              <a:xfrm>
                <a:off x="5068" y="2893"/>
                <a:ext cx="3"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373">
                <a:extLst>
                  <a:ext uri="{FF2B5EF4-FFF2-40B4-BE49-F238E27FC236}">
                    <a16:creationId xmlns:a16="http://schemas.microsoft.com/office/drawing/2014/main" id="{AE7FFD3F-B2AD-4AD4-B0D3-20CCC622930E}"/>
                  </a:ext>
                </a:extLst>
              </p:cNvPr>
              <p:cNvSpPr>
                <a:spLocks/>
              </p:cNvSpPr>
              <p:nvPr/>
            </p:nvSpPr>
            <p:spPr bwMode="auto">
              <a:xfrm>
                <a:off x="5071" y="2912"/>
                <a:ext cx="2" cy="9"/>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0"/>
                      <a:pt x="0"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374">
                <a:extLst>
                  <a:ext uri="{FF2B5EF4-FFF2-40B4-BE49-F238E27FC236}">
                    <a16:creationId xmlns:a16="http://schemas.microsoft.com/office/drawing/2014/main" id="{72A4B5F2-E612-443E-B824-F2DBC26D6F61}"/>
                  </a:ext>
                </a:extLst>
              </p:cNvPr>
              <p:cNvSpPr>
                <a:spLocks/>
              </p:cNvSpPr>
              <p:nvPr/>
            </p:nvSpPr>
            <p:spPr bwMode="auto">
              <a:xfrm>
                <a:off x="5071" y="2931"/>
                <a:ext cx="2" cy="9"/>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0"/>
                      <a:pt x="0" y="0"/>
                      <a:pt x="1" y="0"/>
                    </a:cubicBezTo>
                    <a:cubicBezTo>
                      <a:pt x="1" y="0"/>
                      <a:pt x="1" y="0"/>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375">
                <a:extLst>
                  <a:ext uri="{FF2B5EF4-FFF2-40B4-BE49-F238E27FC236}">
                    <a16:creationId xmlns:a16="http://schemas.microsoft.com/office/drawing/2014/main" id="{62B0243E-0DAE-45A4-8E82-E077B8A20B4D}"/>
                  </a:ext>
                </a:extLst>
              </p:cNvPr>
              <p:cNvSpPr>
                <a:spLocks/>
              </p:cNvSpPr>
              <p:nvPr/>
            </p:nvSpPr>
            <p:spPr bwMode="auto">
              <a:xfrm>
                <a:off x="5073" y="2950"/>
                <a:ext cx="2" cy="9"/>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0"/>
                      <a:pt x="0" y="0"/>
                      <a:pt x="0" y="0"/>
                    </a:cubicBezTo>
                    <a:cubicBezTo>
                      <a:pt x="0" y="0"/>
                      <a:pt x="1" y="0"/>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376">
                <a:extLst>
                  <a:ext uri="{FF2B5EF4-FFF2-40B4-BE49-F238E27FC236}">
                    <a16:creationId xmlns:a16="http://schemas.microsoft.com/office/drawing/2014/main" id="{9702F88B-E05D-4638-9130-5AFB98551D1C}"/>
                  </a:ext>
                </a:extLst>
              </p:cNvPr>
              <p:cNvSpPr>
                <a:spLocks/>
              </p:cNvSpPr>
              <p:nvPr/>
            </p:nvSpPr>
            <p:spPr bwMode="auto">
              <a:xfrm>
                <a:off x="5073" y="2966"/>
                <a:ext cx="2" cy="12"/>
              </a:xfrm>
              <a:custGeom>
                <a:avLst/>
                <a:gdLst>
                  <a:gd name="T0" fmla="*/ 1 w 1"/>
                  <a:gd name="T1" fmla="*/ 4 h 5"/>
                  <a:gd name="T2" fmla="*/ 0 w 1"/>
                  <a:gd name="T3" fmla="*/ 3 h 5"/>
                  <a:gd name="T4" fmla="*/ 1 w 1"/>
                  <a:gd name="T5" fmla="*/ 1 h 5"/>
                  <a:gd name="T6" fmla="*/ 1 w 1"/>
                  <a:gd name="T7" fmla="*/ 2 h 5"/>
                  <a:gd name="T8" fmla="*/ 1 w 1"/>
                  <a:gd name="T9" fmla="*/ 4 h 5"/>
                </a:gdLst>
                <a:ahLst/>
                <a:cxnLst>
                  <a:cxn ang="0">
                    <a:pos x="T0" y="T1"/>
                  </a:cxn>
                  <a:cxn ang="0">
                    <a:pos x="T2" y="T3"/>
                  </a:cxn>
                  <a:cxn ang="0">
                    <a:pos x="T4" y="T5"/>
                  </a:cxn>
                  <a:cxn ang="0">
                    <a:pos x="T6" y="T7"/>
                  </a:cxn>
                  <a:cxn ang="0">
                    <a:pos x="T8" y="T9"/>
                  </a:cxn>
                </a:cxnLst>
                <a:rect l="0" t="0" r="r" b="b"/>
                <a:pathLst>
                  <a:path w="1" h="5">
                    <a:moveTo>
                      <a:pt x="1" y="4"/>
                    </a:moveTo>
                    <a:cubicBezTo>
                      <a:pt x="1" y="5"/>
                      <a:pt x="0" y="4"/>
                      <a:pt x="0" y="3"/>
                    </a:cubicBezTo>
                    <a:cubicBezTo>
                      <a:pt x="0" y="1"/>
                      <a:pt x="0" y="1"/>
                      <a:pt x="1" y="1"/>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377">
                <a:extLst>
                  <a:ext uri="{FF2B5EF4-FFF2-40B4-BE49-F238E27FC236}">
                    <a16:creationId xmlns:a16="http://schemas.microsoft.com/office/drawing/2014/main" id="{0E64D51F-F8DB-438B-BDE8-CEE7949E674E}"/>
                  </a:ext>
                </a:extLst>
              </p:cNvPr>
              <p:cNvSpPr>
                <a:spLocks/>
              </p:cNvSpPr>
              <p:nvPr/>
            </p:nvSpPr>
            <p:spPr bwMode="auto">
              <a:xfrm>
                <a:off x="5075" y="2985"/>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0" y="0"/>
                      <a:pt x="0" y="1"/>
                      <a:pt x="1" y="2"/>
                    </a:cubicBezTo>
                    <a:cubicBezTo>
                      <a:pt x="1" y="4"/>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378">
                <a:extLst>
                  <a:ext uri="{FF2B5EF4-FFF2-40B4-BE49-F238E27FC236}">
                    <a16:creationId xmlns:a16="http://schemas.microsoft.com/office/drawing/2014/main" id="{2194B356-2CAE-488A-84AD-3A757755B268}"/>
                  </a:ext>
                </a:extLst>
              </p:cNvPr>
              <p:cNvSpPr>
                <a:spLocks noChangeArrowheads="1"/>
              </p:cNvSpPr>
              <p:nvPr/>
            </p:nvSpPr>
            <p:spPr bwMode="auto">
              <a:xfrm>
                <a:off x="5075" y="3004"/>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379">
                <a:extLst>
                  <a:ext uri="{FF2B5EF4-FFF2-40B4-BE49-F238E27FC236}">
                    <a16:creationId xmlns:a16="http://schemas.microsoft.com/office/drawing/2014/main" id="{CBB2C451-F93D-43E5-80E7-B39677BCCAE9}"/>
                  </a:ext>
                </a:extLst>
              </p:cNvPr>
              <p:cNvSpPr>
                <a:spLocks noChangeArrowheads="1"/>
              </p:cNvSpPr>
              <p:nvPr/>
            </p:nvSpPr>
            <p:spPr bwMode="auto">
              <a:xfrm>
                <a:off x="5075" y="3023"/>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380">
                <a:extLst>
                  <a:ext uri="{FF2B5EF4-FFF2-40B4-BE49-F238E27FC236}">
                    <a16:creationId xmlns:a16="http://schemas.microsoft.com/office/drawing/2014/main" id="{020CBB4D-C2B7-43AF-BFCA-2467389C9BB3}"/>
                  </a:ext>
                </a:extLst>
              </p:cNvPr>
              <p:cNvSpPr>
                <a:spLocks/>
              </p:cNvSpPr>
              <p:nvPr/>
            </p:nvSpPr>
            <p:spPr bwMode="auto">
              <a:xfrm>
                <a:off x="5075" y="3042"/>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4"/>
                      <a:pt x="0" y="2"/>
                    </a:cubicBezTo>
                    <a:cubicBezTo>
                      <a:pt x="0" y="1"/>
                      <a:pt x="0" y="0"/>
                      <a:pt x="1"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381">
                <a:extLst>
                  <a:ext uri="{FF2B5EF4-FFF2-40B4-BE49-F238E27FC236}">
                    <a16:creationId xmlns:a16="http://schemas.microsoft.com/office/drawing/2014/main" id="{B95D02B7-5267-4ECA-95C6-0A3736615557}"/>
                  </a:ext>
                </a:extLst>
              </p:cNvPr>
              <p:cNvSpPr>
                <a:spLocks noChangeArrowheads="1"/>
              </p:cNvSpPr>
              <p:nvPr/>
            </p:nvSpPr>
            <p:spPr bwMode="auto">
              <a:xfrm>
                <a:off x="5075" y="3061"/>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382">
                <a:extLst>
                  <a:ext uri="{FF2B5EF4-FFF2-40B4-BE49-F238E27FC236}">
                    <a16:creationId xmlns:a16="http://schemas.microsoft.com/office/drawing/2014/main" id="{3B78BB30-3921-4FCC-8101-4B7C43C7D6CF}"/>
                  </a:ext>
                </a:extLst>
              </p:cNvPr>
              <p:cNvSpPr>
                <a:spLocks noChangeArrowheads="1"/>
              </p:cNvSpPr>
              <p:nvPr/>
            </p:nvSpPr>
            <p:spPr bwMode="auto">
              <a:xfrm>
                <a:off x="5075" y="3080"/>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383">
                <a:extLst>
                  <a:ext uri="{FF2B5EF4-FFF2-40B4-BE49-F238E27FC236}">
                    <a16:creationId xmlns:a16="http://schemas.microsoft.com/office/drawing/2014/main" id="{F445DA33-4873-4429-9B39-28A80EC2FA25}"/>
                  </a:ext>
                </a:extLst>
              </p:cNvPr>
              <p:cNvSpPr>
                <a:spLocks noChangeArrowheads="1"/>
              </p:cNvSpPr>
              <p:nvPr/>
            </p:nvSpPr>
            <p:spPr bwMode="auto">
              <a:xfrm>
                <a:off x="5078" y="3099"/>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384">
                <a:extLst>
                  <a:ext uri="{FF2B5EF4-FFF2-40B4-BE49-F238E27FC236}">
                    <a16:creationId xmlns:a16="http://schemas.microsoft.com/office/drawing/2014/main" id="{7DEBBB55-4889-486D-8AD5-A217B04690AD}"/>
                  </a:ext>
                </a:extLst>
              </p:cNvPr>
              <p:cNvSpPr>
                <a:spLocks/>
              </p:cNvSpPr>
              <p:nvPr/>
            </p:nvSpPr>
            <p:spPr bwMode="auto">
              <a:xfrm>
                <a:off x="5078" y="3118"/>
                <a:ext cx="2" cy="10"/>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0" y="0"/>
                      <a:pt x="0" y="1"/>
                      <a:pt x="0" y="2"/>
                    </a:cubicBezTo>
                    <a:cubicBezTo>
                      <a:pt x="1" y="4"/>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385">
                <a:extLst>
                  <a:ext uri="{FF2B5EF4-FFF2-40B4-BE49-F238E27FC236}">
                    <a16:creationId xmlns:a16="http://schemas.microsoft.com/office/drawing/2014/main" id="{C26FC66F-C829-41B0-AFB7-04E8DF10B969}"/>
                  </a:ext>
                </a:extLst>
              </p:cNvPr>
              <p:cNvSpPr>
                <a:spLocks noChangeArrowheads="1"/>
              </p:cNvSpPr>
              <p:nvPr/>
            </p:nvSpPr>
            <p:spPr bwMode="auto">
              <a:xfrm>
                <a:off x="5078" y="3137"/>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386">
                <a:extLst>
                  <a:ext uri="{FF2B5EF4-FFF2-40B4-BE49-F238E27FC236}">
                    <a16:creationId xmlns:a16="http://schemas.microsoft.com/office/drawing/2014/main" id="{7C0172BF-FD06-417D-977A-DA164AE8B046}"/>
                  </a:ext>
                </a:extLst>
              </p:cNvPr>
              <p:cNvSpPr>
                <a:spLocks noChangeArrowheads="1"/>
              </p:cNvSpPr>
              <p:nvPr/>
            </p:nvSpPr>
            <p:spPr bwMode="auto">
              <a:xfrm>
                <a:off x="5078" y="3156"/>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387">
                <a:extLst>
                  <a:ext uri="{FF2B5EF4-FFF2-40B4-BE49-F238E27FC236}">
                    <a16:creationId xmlns:a16="http://schemas.microsoft.com/office/drawing/2014/main" id="{C3896AA4-8DAE-428C-8896-FECFA5C7A754}"/>
                  </a:ext>
                </a:extLst>
              </p:cNvPr>
              <p:cNvSpPr>
                <a:spLocks/>
              </p:cNvSpPr>
              <p:nvPr/>
            </p:nvSpPr>
            <p:spPr bwMode="auto">
              <a:xfrm>
                <a:off x="5078" y="3175"/>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0" y="0"/>
                      <a:pt x="0"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388">
                <a:extLst>
                  <a:ext uri="{FF2B5EF4-FFF2-40B4-BE49-F238E27FC236}">
                    <a16:creationId xmlns:a16="http://schemas.microsoft.com/office/drawing/2014/main" id="{467A4A1A-4342-4370-9E9D-9A4C9BCDCA13}"/>
                  </a:ext>
                </a:extLst>
              </p:cNvPr>
              <p:cNvSpPr>
                <a:spLocks noChangeArrowheads="1"/>
              </p:cNvSpPr>
              <p:nvPr/>
            </p:nvSpPr>
            <p:spPr bwMode="auto">
              <a:xfrm>
                <a:off x="5078" y="3194"/>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389">
                <a:extLst>
                  <a:ext uri="{FF2B5EF4-FFF2-40B4-BE49-F238E27FC236}">
                    <a16:creationId xmlns:a16="http://schemas.microsoft.com/office/drawing/2014/main" id="{76A75CA0-FB46-4CD4-9F80-03D8F9651BD2}"/>
                  </a:ext>
                </a:extLst>
              </p:cNvPr>
              <p:cNvSpPr>
                <a:spLocks noChangeArrowheads="1"/>
              </p:cNvSpPr>
              <p:nvPr/>
            </p:nvSpPr>
            <p:spPr bwMode="auto">
              <a:xfrm>
                <a:off x="5078" y="3213"/>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390">
                <a:extLst>
                  <a:ext uri="{FF2B5EF4-FFF2-40B4-BE49-F238E27FC236}">
                    <a16:creationId xmlns:a16="http://schemas.microsoft.com/office/drawing/2014/main" id="{AC392E6A-84E2-4B45-B27F-E557F8B9A8CF}"/>
                  </a:ext>
                </a:extLst>
              </p:cNvPr>
              <p:cNvSpPr>
                <a:spLocks noChangeArrowheads="1"/>
              </p:cNvSpPr>
              <p:nvPr/>
            </p:nvSpPr>
            <p:spPr bwMode="auto">
              <a:xfrm>
                <a:off x="5080" y="3232"/>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391">
                <a:extLst>
                  <a:ext uri="{FF2B5EF4-FFF2-40B4-BE49-F238E27FC236}">
                    <a16:creationId xmlns:a16="http://schemas.microsoft.com/office/drawing/2014/main" id="{237DB3CA-CBDA-41EA-A2C1-6F76B802ADBB}"/>
                  </a:ext>
                </a:extLst>
              </p:cNvPr>
              <p:cNvSpPr>
                <a:spLocks/>
              </p:cNvSpPr>
              <p:nvPr/>
            </p:nvSpPr>
            <p:spPr bwMode="auto">
              <a:xfrm>
                <a:off x="5080" y="3251"/>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0" y="0"/>
                      <a:pt x="1" y="1"/>
                      <a:pt x="1" y="2"/>
                    </a:cubicBezTo>
                    <a:cubicBezTo>
                      <a:pt x="1" y="4"/>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392">
                <a:extLst>
                  <a:ext uri="{FF2B5EF4-FFF2-40B4-BE49-F238E27FC236}">
                    <a16:creationId xmlns:a16="http://schemas.microsoft.com/office/drawing/2014/main" id="{A028D558-1F72-4AB4-9FD1-5B6A56D5761C}"/>
                  </a:ext>
                </a:extLst>
              </p:cNvPr>
              <p:cNvSpPr>
                <a:spLocks/>
              </p:cNvSpPr>
              <p:nvPr/>
            </p:nvSpPr>
            <p:spPr bwMode="auto">
              <a:xfrm>
                <a:off x="5080" y="3270"/>
                <a:ext cx="3"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0" y="0"/>
                      <a:pt x="0"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393">
                <a:extLst>
                  <a:ext uri="{FF2B5EF4-FFF2-40B4-BE49-F238E27FC236}">
                    <a16:creationId xmlns:a16="http://schemas.microsoft.com/office/drawing/2014/main" id="{D92E4048-D3DC-4D53-8FE2-A57C4FD70E9D}"/>
                  </a:ext>
                </a:extLst>
              </p:cNvPr>
              <p:cNvSpPr>
                <a:spLocks/>
              </p:cNvSpPr>
              <p:nvPr/>
            </p:nvSpPr>
            <p:spPr bwMode="auto">
              <a:xfrm>
                <a:off x="5080" y="3289"/>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4"/>
                      <a:pt x="0" y="2"/>
                    </a:cubicBezTo>
                    <a:cubicBezTo>
                      <a:pt x="0" y="1"/>
                      <a:pt x="0" y="0"/>
                      <a:pt x="1"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394">
                <a:extLst>
                  <a:ext uri="{FF2B5EF4-FFF2-40B4-BE49-F238E27FC236}">
                    <a16:creationId xmlns:a16="http://schemas.microsoft.com/office/drawing/2014/main" id="{0EE61778-4754-4FBA-A573-92A38840E237}"/>
                  </a:ext>
                </a:extLst>
              </p:cNvPr>
              <p:cNvSpPr>
                <a:spLocks noChangeArrowheads="1"/>
              </p:cNvSpPr>
              <p:nvPr/>
            </p:nvSpPr>
            <p:spPr bwMode="auto">
              <a:xfrm>
                <a:off x="5083" y="3308"/>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395">
                <a:extLst>
                  <a:ext uri="{FF2B5EF4-FFF2-40B4-BE49-F238E27FC236}">
                    <a16:creationId xmlns:a16="http://schemas.microsoft.com/office/drawing/2014/main" id="{900DAD58-DCDC-452D-895D-1F5C509D5609}"/>
                  </a:ext>
                </a:extLst>
              </p:cNvPr>
              <p:cNvSpPr>
                <a:spLocks/>
              </p:cNvSpPr>
              <p:nvPr/>
            </p:nvSpPr>
            <p:spPr bwMode="auto">
              <a:xfrm>
                <a:off x="5083" y="3327"/>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0" y="0"/>
                      <a:pt x="1" y="1"/>
                      <a:pt x="1" y="2"/>
                    </a:cubicBezTo>
                    <a:cubicBezTo>
                      <a:pt x="1" y="4"/>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396">
                <a:extLst>
                  <a:ext uri="{FF2B5EF4-FFF2-40B4-BE49-F238E27FC236}">
                    <a16:creationId xmlns:a16="http://schemas.microsoft.com/office/drawing/2014/main" id="{A44FE03F-4A00-4B7C-8673-4360A51C58F0}"/>
                  </a:ext>
                </a:extLst>
              </p:cNvPr>
              <p:cNvSpPr>
                <a:spLocks/>
              </p:cNvSpPr>
              <p:nvPr/>
            </p:nvSpPr>
            <p:spPr bwMode="auto">
              <a:xfrm>
                <a:off x="5083" y="3346"/>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0" y="0"/>
                      <a:pt x="0" y="0"/>
                    </a:cubicBezTo>
                    <a:cubicBezTo>
                      <a:pt x="1" y="0"/>
                      <a:pt x="1" y="1"/>
                      <a:pt x="1" y="2"/>
                    </a:cubicBezTo>
                    <a:cubicBezTo>
                      <a:pt x="1" y="4"/>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397">
                <a:extLst>
                  <a:ext uri="{FF2B5EF4-FFF2-40B4-BE49-F238E27FC236}">
                    <a16:creationId xmlns:a16="http://schemas.microsoft.com/office/drawing/2014/main" id="{75F6D2EF-2A4A-4550-BAAD-F438E9B0328F}"/>
                  </a:ext>
                </a:extLst>
              </p:cNvPr>
              <p:cNvSpPr>
                <a:spLocks/>
              </p:cNvSpPr>
              <p:nvPr/>
            </p:nvSpPr>
            <p:spPr bwMode="auto">
              <a:xfrm>
                <a:off x="5083" y="3365"/>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4"/>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98">
                <a:extLst>
                  <a:ext uri="{FF2B5EF4-FFF2-40B4-BE49-F238E27FC236}">
                    <a16:creationId xmlns:a16="http://schemas.microsoft.com/office/drawing/2014/main" id="{63095C53-C839-486D-835F-0E233DF88EB4}"/>
                  </a:ext>
                </a:extLst>
              </p:cNvPr>
              <p:cNvSpPr>
                <a:spLocks/>
              </p:cNvSpPr>
              <p:nvPr/>
            </p:nvSpPr>
            <p:spPr bwMode="auto">
              <a:xfrm>
                <a:off x="5085" y="3384"/>
                <a:ext cx="0" cy="10"/>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cubicBezTo>
                      <a:pt x="0" y="4"/>
                      <a:pt x="0" y="4"/>
                      <a:pt x="0" y="2"/>
                    </a:cubicBezTo>
                    <a:cubicBezTo>
                      <a:pt x="0" y="1"/>
                      <a:pt x="0" y="0"/>
                      <a:pt x="0" y="0"/>
                    </a:cubicBezTo>
                    <a:cubicBezTo>
                      <a:pt x="0" y="0"/>
                      <a:pt x="0" y="1"/>
                      <a:pt x="0" y="2"/>
                    </a:cubicBezTo>
                    <a:cubicBezTo>
                      <a:pt x="0"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399">
                <a:extLst>
                  <a:ext uri="{FF2B5EF4-FFF2-40B4-BE49-F238E27FC236}">
                    <a16:creationId xmlns:a16="http://schemas.microsoft.com/office/drawing/2014/main" id="{EA2B3C34-71F7-4371-A0A7-907629E2DAC8}"/>
                  </a:ext>
                </a:extLst>
              </p:cNvPr>
              <p:cNvSpPr>
                <a:spLocks/>
              </p:cNvSpPr>
              <p:nvPr/>
            </p:nvSpPr>
            <p:spPr bwMode="auto">
              <a:xfrm>
                <a:off x="5085" y="3403"/>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4"/>
                      <a:pt x="0" y="2"/>
                    </a:cubicBezTo>
                    <a:cubicBezTo>
                      <a:pt x="0" y="1"/>
                      <a:pt x="0" y="0"/>
                      <a:pt x="0" y="0"/>
                    </a:cubicBezTo>
                    <a:cubicBezTo>
                      <a:pt x="0"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400">
                <a:extLst>
                  <a:ext uri="{FF2B5EF4-FFF2-40B4-BE49-F238E27FC236}">
                    <a16:creationId xmlns:a16="http://schemas.microsoft.com/office/drawing/2014/main" id="{FEE792C3-27EE-4593-B60F-C5696B252778}"/>
                  </a:ext>
                </a:extLst>
              </p:cNvPr>
              <p:cNvSpPr>
                <a:spLocks/>
              </p:cNvSpPr>
              <p:nvPr/>
            </p:nvSpPr>
            <p:spPr bwMode="auto">
              <a:xfrm>
                <a:off x="5085" y="3422"/>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4"/>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401">
                <a:extLst>
                  <a:ext uri="{FF2B5EF4-FFF2-40B4-BE49-F238E27FC236}">
                    <a16:creationId xmlns:a16="http://schemas.microsoft.com/office/drawing/2014/main" id="{3204E245-5C44-45F5-850F-FD580843D1B4}"/>
                  </a:ext>
                </a:extLst>
              </p:cNvPr>
              <p:cNvSpPr>
                <a:spLocks/>
              </p:cNvSpPr>
              <p:nvPr/>
            </p:nvSpPr>
            <p:spPr bwMode="auto">
              <a:xfrm>
                <a:off x="5085" y="3441"/>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1" y="4"/>
                      <a:pt x="0" y="2"/>
                    </a:cubicBezTo>
                    <a:cubicBezTo>
                      <a:pt x="0" y="1"/>
                      <a:pt x="1"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402">
                <a:extLst>
                  <a:ext uri="{FF2B5EF4-FFF2-40B4-BE49-F238E27FC236}">
                    <a16:creationId xmlns:a16="http://schemas.microsoft.com/office/drawing/2014/main" id="{7690E840-64AF-45F0-8B84-F0D9E57BEAAB}"/>
                  </a:ext>
                </a:extLst>
              </p:cNvPr>
              <p:cNvSpPr>
                <a:spLocks/>
              </p:cNvSpPr>
              <p:nvPr/>
            </p:nvSpPr>
            <p:spPr bwMode="auto">
              <a:xfrm>
                <a:off x="5087" y="3460"/>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403">
                <a:extLst>
                  <a:ext uri="{FF2B5EF4-FFF2-40B4-BE49-F238E27FC236}">
                    <a16:creationId xmlns:a16="http://schemas.microsoft.com/office/drawing/2014/main" id="{26247FBA-48E3-4DB2-98C6-F906BBCDFA10}"/>
                  </a:ext>
                </a:extLst>
              </p:cNvPr>
              <p:cNvSpPr>
                <a:spLocks/>
              </p:cNvSpPr>
              <p:nvPr/>
            </p:nvSpPr>
            <p:spPr bwMode="auto">
              <a:xfrm>
                <a:off x="5087" y="3479"/>
                <a:ext cx="3"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404">
                <a:extLst>
                  <a:ext uri="{FF2B5EF4-FFF2-40B4-BE49-F238E27FC236}">
                    <a16:creationId xmlns:a16="http://schemas.microsoft.com/office/drawing/2014/main" id="{9F878304-23E8-43A3-849B-776AB6DA2BB7}"/>
                  </a:ext>
                </a:extLst>
              </p:cNvPr>
              <p:cNvSpPr>
                <a:spLocks noChangeArrowheads="1"/>
              </p:cNvSpPr>
              <p:nvPr/>
            </p:nvSpPr>
            <p:spPr bwMode="auto">
              <a:xfrm>
                <a:off x="5087" y="3498"/>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405">
                <a:extLst>
                  <a:ext uri="{FF2B5EF4-FFF2-40B4-BE49-F238E27FC236}">
                    <a16:creationId xmlns:a16="http://schemas.microsoft.com/office/drawing/2014/main" id="{408D2C03-D64E-4CB1-84BF-3F0CF6D5B717}"/>
                  </a:ext>
                </a:extLst>
              </p:cNvPr>
              <p:cNvSpPr>
                <a:spLocks noChangeArrowheads="1"/>
              </p:cNvSpPr>
              <p:nvPr/>
            </p:nvSpPr>
            <p:spPr bwMode="auto">
              <a:xfrm>
                <a:off x="5090" y="3517"/>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406">
                <a:extLst>
                  <a:ext uri="{FF2B5EF4-FFF2-40B4-BE49-F238E27FC236}">
                    <a16:creationId xmlns:a16="http://schemas.microsoft.com/office/drawing/2014/main" id="{F4E9ED66-FA74-472E-9BDF-956C59236A9A}"/>
                  </a:ext>
                </a:extLst>
              </p:cNvPr>
              <p:cNvSpPr>
                <a:spLocks/>
              </p:cNvSpPr>
              <p:nvPr/>
            </p:nvSpPr>
            <p:spPr bwMode="auto">
              <a:xfrm>
                <a:off x="5090" y="3536"/>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Freeform 408">
              <a:extLst>
                <a:ext uri="{FF2B5EF4-FFF2-40B4-BE49-F238E27FC236}">
                  <a16:creationId xmlns:a16="http://schemas.microsoft.com/office/drawing/2014/main" id="{28D36724-0F1F-41C9-95A6-C54B1D2B3F5F}"/>
                </a:ext>
              </a:extLst>
            </p:cNvPr>
            <p:cNvSpPr>
              <a:spLocks/>
            </p:cNvSpPr>
            <p:nvPr/>
          </p:nvSpPr>
          <p:spPr bwMode="auto">
            <a:xfrm>
              <a:off x="5090" y="3555"/>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409">
              <a:extLst>
                <a:ext uri="{FF2B5EF4-FFF2-40B4-BE49-F238E27FC236}">
                  <a16:creationId xmlns:a16="http://schemas.microsoft.com/office/drawing/2014/main" id="{57453C8F-2C8F-45DD-820F-8D187B36090D}"/>
                </a:ext>
              </a:extLst>
            </p:cNvPr>
            <p:cNvSpPr>
              <a:spLocks/>
            </p:cNvSpPr>
            <p:nvPr/>
          </p:nvSpPr>
          <p:spPr bwMode="auto">
            <a:xfrm>
              <a:off x="5092" y="3574"/>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410">
              <a:extLst>
                <a:ext uri="{FF2B5EF4-FFF2-40B4-BE49-F238E27FC236}">
                  <a16:creationId xmlns:a16="http://schemas.microsoft.com/office/drawing/2014/main" id="{BE6B2FAC-C8FC-4E59-9C6A-8BE2C6049FD8}"/>
                </a:ext>
              </a:extLst>
            </p:cNvPr>
            <p:cNvSpPr>
              <a:spLocks/>
            </p:cNvSpPr>
            <p:nvPr/>
          </p:nvSpPr>
          <p:spPr bwMode="auto">
            <a:xfrm>
              <a:off x="5092" y="3593"/>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411">
              <a:extLst>
                <a:ext uri="{FF2B5EF4-FFF2-40B4-BE49-F238E27FC236}">
                  <a16:creationId xmlns:a16="http://schemas.microsoft.com/office/drawing/2014/main" id="{D6076B3E-713F-4D74-A28E-B2023DA9045F}"/>
                </a:ext>
              </a:extLst>
            </p:cNvPr>
            <p:cNvSpPr>
              <a:spLocks/>
            </p:cNvSpPr>
            <p:nvPr/>
          </p:nvSpPr>
          <p:spPr bwMode="auto">
            <a:xfrm>
              <a:off x="5092" y="3612"/>
              <a:ext cx="2"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412">
              <a:extLst>
                <a:ext uri="{FF2B5EF4-FFF2-40B4-BE49-F238E27FC236}">
                  <a16:creationId xmlns:a16="http://schemas.microsoft.com/office/drawing/2014/main" id="{146860AB-25DF-49B9-8D78-F13615F3C5B7}"/>
                </a:ext>
              </a:extLst>
            </p:cNvPr>
            <p:cNvSpPr>
              <a:spLocks/>
            </p:cNvSpPr>
            <p:nvPr/>
          </p:nvSpPr>
          <p:spPr bwMode="auto">
            <a:xfrm>
              <a:off x="5094" y="3631"/>
              <a:ext cx="3" cy="10"/>
            </a:xfrm>
            <a:custGeom>
              <a:avLst/>
              <a:gdLst>
                <a:gd name="T0" fmla="*/ 0 w 1"/>
                <a:gd name="T1" fmla="*/ 4 h 4"/>
                <a:gd name="T2" fmla="*/ 0 w 1"/>
                <a:gd name="T3" fmla="*/ 2 h 4"/>
                <a:gd name="T4" fmla="*/ 0 w 1"/>
                <a:gd name="T5" fmla="*/ 0 h 4"/>
                <a:gd name="T6" fmla="*/ 0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1"/>
                    <a:pt x="0"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Oval 413">
              <a:extLst>
                <a:ext uri="{FF2B5EF4-FFF2-40B4-BE49-F238E27FC236}">
                  <a16:creationId xmlns:a16="http://schemas.microsoft.com/office/drawing/2014/main" id="{0730C392-BFF5-4636-BB11-22846A3A06A7}"/>
                </a:ext>
              </a:extLst>
            </p:cNvPr>
            <p:cNvSpPr>
              <a:spLocks noChangeArrowheads="1"/>
            </p:cNvSpPr>
            <p:nvPr/>
          </p:nvSpPr>
          <p:spPr bwMode="auto">
            <a:xfrm>
              <a:off x="5094" y="3650"/>
              <a:ext cx="3"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414">
              <a:extLst>
                <a:ext uri="{FF2B5EF4-FFF2-40B4-BE49-F238E27FC236}">
                  <a16:creationId xmlns:a16="http://schemas.microsoft.com/office/drawing/2014/main" id="{4E1E54BD-C0A0-40D3-80DF-FE03D997AF50}"/>
                </a:ext>
              </a:extLst>
            </p:cNvPr>
            <p:cNvSpPr>
              <a:spLocks/>
            </p:cNvSpPr>
            <p:nvPr/>
          </p:nvSpPr>
          <p:spPr bwMode="auto">
            <a:xfrm>
              <a:off x="5094" y="3669"/>
              <a:ext cx="3" cy="10"/>
            </a:xfrm>
            <a:custGeom>
              <a:avLst/>
              <a:gdLst>
                <a:gd name="T0" fmla="*/ 1 w 1"/>
                <a:gd name="T1" fmla="*/ 4 h 4"/>
                <a:gd name="T2" fmla="*/ 0 w 1"/>
                <a:gd name="T3" fmla="*/ 2 h 4"/>
                <a:gd name="T4" fmla="*/ 1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1" y="4"/>
                    <a:pt x="0" y="3"/>
                    <a:pt x="0" y="2"/>
                  </a:cubicBezTo>
                  <a:cubicBezTo>
                    <a:pt x="0" y="1"/>
                    <a:pt x="0" y="0"/>
                    <a:pt x="1"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415">
              <a:extLst>
                <a:ext uri="{FF2B5EF4-FFF2-40B4-BE49-F238E27FC236}">
                  <a16:creationId xmlns:a16="http://schemas.microsoft.com/office/drawing/2014/main" id="{0F72F196-E0DC-4976-B9FE-ED61D4C0034B}"/>
                </a:ext>
              </a:extLst>
            </p:cNvPr>
            <p:cNvSpPr>
              <a:spLocks noChangeArrowheads="1"/>
            </p:cNvSpPr>
            <p:nvPr/>
          </p:nvSpPr>
          <p:spPr bwMode="auto">
            <a:xfrm>
              <a:off x="5097" y="3688"/>
              <a:ext cx="1"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16">
              <a:extLst>
                <a:ext uri="{FF2B5EF4-FFF2-40B4-BE49-F238E27FC236}">
                  <a16:creationId xmlns:a16="http://schemas.microsoft.com/office/drawing/2014/main" id="{FBD07F9D-A2DB-47E2-8999-0EA68C3F01DD}"/>
                </a:ext>
              </a:extLst>
            </p:cNvPr>
            <p:cNvSpPr>
              <a:spLocks/>
            </p:cNvSpPr>
            <p:nvPr/>
          </p:nvSpPr>
          <p:spPr bwMode="auto">
            <a:xfrm>
              <a:off x="5097" y="3707"/>
              <a:ext cx="2"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1" y="1"/>
                    <a:pt x="1" y="2"/>
                  </a:cubicBezTo>
                  <a:cubicBezTo>
                    <a:pt x="1" y="3"/>
                    <a:pt x="1"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17">
              <a:extLst>
                <a:ext uri="{FF2B5EF4-FFF2-40B4-BE49-F238E27FC236}">
                  <a16:creationId xmlns:a16="http://schemas.microsoft.com/office/drawing/2014/main" id="{F40544B7-FE09-44A5-BB9D-70B51D007414}"/>
                </a:ext>
              </a:extLst>
            </p:cNvPr>
            <p:cNvSpPr>
              <a:spLocks/>
            </p:cNvSpPr>
            <p:nvPr/>
          </p:nvSpPr>
          <p:spPr bwMode="auto">
            <a:xfrm>
              <a:off x="5097" y="3726"/>
              <a:ext cx="2" cy="10"/>
            </a:xfrm>
            <a:custGeom>
              <a:avLst/>
              <a:gdLst>
                <a:gd name="T0" fmla="*/ 1 w 1"/>
                <a:gd name="T1" fmla="*/ 4 h 4"/>
                <a:gd name="T2" fmla="*/ 0 w 1"/>
                <a:gd name="T3" fmla="*/ 2 h 4"/>
                <a:gd name="T4" fmla="*/ 0 w 1"/>
                <a:gd name="T5" fmla="*/ 0 h 4"/>
                <a:gd name="T6" fmla="*/ 1 w 1"/>
                <a:gd name="T7" fmla="*/ 2 h 4"/>
                <a:gd name="T8" fmla="*/ 1 w 1"/>
                <a:gd name="T9" fmla="*/ 4 h 4"/>
              </a:gdLst>
              <a:ahLst/>
              <a:cxnLst>
                <a:cxn ang="0">
                  <a:pos x="T0" y="T1"/>
                </a:cxn>
                <a:cxn ang="0">
                  <a:pos x="T2" y="T3"/>
                </a:cxn>
                <a:cxn ang="0">
                  <a:pos x="T4" y="T5"/>
                </a:cxn>
                <a:cxn ang="0">
                  <a:pos x="T6" y="T7"/>
                </a:cxn>
                <a:cxn ang="0">
                  <a:pos x="T8" y="T9"/>
                </a:cxn>
              </a:cxnLst>
              <a:rect l="0" t="0" r="r" b="b"/>
              <a:pathLst>
                <a:path w="1" h="4">
                  <a:moveTo>
                    <a:pt x="1" y="4"/>
                  </a:moveTo>
                  <a:cubicBezTo>
                    <a:pt x="0" y="4"/>
                    <a:pt x="0" y="3"/>
                    <a:pt x="0" y="2"/>
                  </a:cubicBezTo>
                  <a:cubicBezTo>
                    <a:pt x="0" y="1"/>
                    <a:pt x="0" y="0"/>
                    <a:pt x="0" y="0"/>
                  </a:cubicBezTo>
                  <a:cubicBezTo>
                    <a:pt x="1" y="0"/>
                    <a:pt x="1" y="1"/>
                    <a:pt x="1" y="2"/>
                  </a:cubicBezTo>
                  <a:cubicBezTo>
                    <a:pt x="1" y="3"/>
                    <a:pt x="1" y="4"/>
                    <a:pt x="1"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418">
              <a:extLst>
                <a:ext uri="{FF2B5EF4-FFF2-40B4-BE49-F238E27FC236}">
                  <a16:creationId xmlns:a16="http://schemas.microsoft.com/office/drawing/2014/main" id="{4F06B7E1-F808-4147-88DD-DFBCE713E526}"/>
                </a:ext>
              </a:extLst>
            </p:cNvPr>
            <p:cNvSpPr>
              <a:spLocks noChangeArrowheads="1"/>
            </p:cNvSpPr>
            <p:nvPr/>
          </p:nvSpPr>
          <p:spPr bwMode="auto">
            <a:xfrm>
              <a:off x="5097" y="3745"/>
              <a:ext cx="2" cy="10"/>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19">
              <a:extLst>
                <a:ext uri="{FF2B5EF4-FFF2-40B4-BE49-F238E27FC236}">
                  <a16:creationId xmlns:a16="http://schemas.microsoft.com/office/drawing/2014/main" id="{03989D99-8870-4EB8-A6C4-689FEA2695FB}"/>
                </a:ext>
              </a:extLst>
            </p:cNvPr>
            <p:cNvSpPr>
              <a:spLocks/>
            </p:cNvSpPr>
            <p:nvPr/>
          </p:nvSpPr>
          <p:spPr bwMode="auto">
            <a:xfrm>
              <a:off x="5099" y="3764"/>
              <a:ext cx="3" cy="10"/>
            </a:xfrm>
            <a:custGeom>
              <a:avLst/>
              <a:gdLst>
                <a:gd name="T0" fmla="*/ 0 w 1"/>
                <a:gd name="T1" fmla="*/ 4 h 4"/>
                <a:gd name="T2" fmla="*/ 0 w 1"/>
                <a:gd name="T3" fmla="*/ 2 h 4"/>
                <a:gd name="T4" fmla="*/ 0 w 1"/>
                <a:gd name="T5" fmla="*/ 0 h 4"/>
                <a:gd name="T6" fmla="*/ 1 w 1"/>
                <a:gd name="T7" fmla="*/ 2 h 4"/>
                <a:gd name="T8" fmla="*/ 0 w 1"/>
                <a:gd name="T9" fmla="*/ 4 h 4"/>
              </a:gdLst>
              <a:ahLst/>
              <a:cxnLst>
                <a:cxn ang="0">
                  <a:pos x="T0" y="T1"/>
                </a:cxn>
                <a:cxn ang="0">
                  <a:pos x="T2" y="T3"/>
                </a:cxn>
                <a:cxn ang="0">
                  <a:pos x="T4" y="T5"/>
                </a:cxn>
                <a:cxn ang="0">
                  <a:pos x="T6" y="T7"/>
                </a:cxn>
                <a:cxn ang="0">
                  <a:pos x="T8" y="T9"/>
                </a:cxn>
              </a:cxnLst>
              <a:rect l="0" t="0" r="r" b="b"/>
              <a:pathLst>
                <a:path w="1" h="4">
                  <a:moveTo>
                    <a:pt x="0" y="4"/>
                  </a:moveTo>
                  <a:cubicBezTo>
                    <a:pt x="0" y="4"/>
                    <a:pt x="0" y="3"/>
                    <a:pt x="0" y="2"/>
                  </a:cubicBezTo>
                  <a:cubicBezTo>
                    <a:pt x="0" y="1"/>
                    <a:pt x="0" y="0"/>
                    <a:pt x="0" y="0"/>
                  </a:cubicBezTo>
                  <a:cubicBezTo>
                    <a:pt x="0" y="0"/>
                    <a:pt x="0" y="1"/>
                    <a:pt x="1" y="2"/>
                  </a:cubicBezTo>
                  <a:cubicBezTo>
                    <a:pt x="1" y="3"/>
                    <a:pt x="0" y="4"/>
                    <a:pt x="0" y="4"/>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420">
              <a:extLst>
                <a:ext uri="{FF2B5EF4-FFF2-40B4-BE49-F238E27FC236}">
                  <a16:creationId xmlns:a16="http://schemas.microsoft.com/office/drawing/2014/main" id="{391B95A1-7ED6-41BC-9800-F874F2A70EDA}"/>
                </a:ext>
              </a:extLst>
            </p:cNvPr>
            <p:cNvSpPr>
              <a:spLocks noChangeArrowheads="1"/>
            </p:cNvSpPr>
            <p:nvPr/>
          </p:nvSpPr>
          <p:spPr bwMode="auto">
            <a:xfrm>
              <a:off x="5099" y="3783"/>
              <a:ext cx="3" cy="5"/>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21">
              <a:extLst>
                <a:ext uri="{FF2B5EF4-FFF2-40B4-BE49-F238E27FC236}">
                  <a16:creationId xmlns:a16="http://schemas.microsoft.com/office/drawing/2014/main" id="{7AC1FB05-9212-48A5-868C-48EB6764C410}"/>
                </a:ext>
              </a:extLst>
            </p:cNvPr>
            <p:cNvSpPr>
              <a:spLocks/>
            </p:cNvSpPr>
            <p:nvPr/>
          </p:nvSpPr>
          <p:spPr bwMode="auto">
            <a:xfrm>
              <a:off x="5123" y="2161"/>
              <a:ext cx="31" cy="214"/>
            </a:xfrm>
            <a:custGeom>
              <a:avLst/>
              <a:gdLst>
                <a:gd name="T0" fmla="*/ 13 w 13"/>
                <a:gd name="T1" fmla="*/ 89 h 90"/>
                <a:gd name="T2" fmla="*/ 10 w 13"/>
                <a:gd name="T3" fmla="*/ 89 h 90"/>
                <a:gd name="T4" fmla="*/ 6 w 13"/>
                <a:gd name="T5" fmla="*/ 87 h 90"/>
                <a:gd name="T6" fmla="*/ 4 w 13"/>
                <a:gd name="T7" fmla="*/ 81 h 90"/>
                <a:gd name="T8" fmla="*/ 2 w 13"/>
                <a:gd name="T9" fmla="*/ 48 h 90"/>
                <a:gd name="T10" fmla="*/ 0 w 13"/>
                <a:gd name="T11" fmla="*/ 14 h 90"/>
                <a:gd name="T12" fmla="*/ 0 w 13"/>
                <a:gd name="T13" fmla="*/ 4 h 90"/>
                <a:gd name="T14" fmla="*/ 0 w 13"/>
                <a:gd name="T15" fmla="*/ 1 h 90"/>
                <a:gd name="T16" fmla="*/ 0 w 13"/>
                <a:gd name="T17" fmla="*/ 0 h 90"/>
                <a:gd name="T18" fmla="*/ 0 w 13"/>
                <a:gd name="T19" fmla="*/ 1 h 90"/>
                <a:gd name="T20" fmla="*/ 0 w 13"/>
                <a:gd name="T21" fmla="*/ 4 h 90"/>
                <a:gd name="T22" fmla="*/ 1 w 13"/>
                <a:gd name="T23" fmla="*/ 14 h 90"/>
                <a:gd name="T24" fmla="*/ 3 w 13"/>
                <a:gd name="T25" fmla="*/ 48 h 90"/>
                <a:gd name="T26" fmla="*/ 5 w 13"/>
                <a:gd name="T27" fmla="*/ 81 h 90"/>
                <a:gd name="T28" fmla="*/ 6 w 13"/>
                <a:gd name="T29" fmla="*/ 86 h 90"/>
                <a:gd name="T30" fmla="*/ 10 w 13"/>
                <a:gd name="T31" fmla="*/ 89 h 90"/>
                <a:gd name="T32" fmla="*/ 13 w 13"/>
                <a:gd name="T33"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0">
                  <a:moveTo>
                    <a:pt x="13" y="89"/>
                  </a:moveTo>
                  <a:cubicBezTo>
                    <a:pt x="13" y="89"/>
                    <a:pt x="12" y="90"/>
                    <a:pt x="10" y="89"/>
                  </a:cubicBezTo>
                  <a:cubicBezTo>
                    <a:pt x="8" y="89"/>
                    <a:pt x="7" y="88"/>
                    <a:pt x="6" y="87"/>
                  </a:cubicBezTo>
                  <a:cubicBezTo>
                    <a:pt x="5" y="85"/>
                    <a:pt x="4" y="83"/>
                    <a:pt x="4" y="81"/>
                  </a:cubicBezTo>
                  <a:cubicBezTo>
                    <a:pt x="3" y="72"/>
                    <a:pt x="3" y="61"/>
                    <a:pt x="2" y="48"/>
                  </a:cubicBezTo>
                  <a:cubicBezTo>
                    <a:pt x="1" y="35"/>
                    <a:pt x="1" y="23"/>
                    <a:pt x="0" y="14"/>
                  </a:cubicBezTo>
                  <a:cubicBezTo>
                    <a:pt x="0" y="10"/>
                    <a:pt x="0" y="7"/>
                    <a:pt x="0" y="4"/>
                  </a:cubicBezTo>
                  <a:cubicBezTo>
                    <a:pt x="0" y="3"/>
                    <a:pt x="0" y="2"/>
                    <a:pt x="0" y="1"/>
                  </a:cubicBezTo>
                  <a:cubicBezTo>
                    <a:pt x="0" y="1"/>
                    <a:pt x="0" y="0"/>
                    <a:pt x="0" y="0"/>
                  </a:cubicBezTo>
                  <a:cubicBezTo>
                    <a:pt x="0" y="0"/>
                    <a:pt x="0" y="1"/>
                    <a:pt x="0" y="1"/>
                  </a:cubicBezTo>
                  <a:cubicBezTo>
                    <a:pt x="0" y="2"/>
                    <a:pt x="0" y="3"/>
                    <a:pt x="0" y="4"/>
                  </a:cubicBezTo>
                  <a:cubicBezTo>
                    <a:pt x="1" y="7"/>
                    <a:pt x="1" y="10"/>
                    <a:pt x="1" y="14"/>
                  </a:cubicBezTo>
                  <a:cubicBezTo>
                    <a:pt x="2" y="23"/>
                    <a:pt x="2" y="35"/>
                    <a:pt x="3" y="48"/>
                  </a:cubicBezTo>
                  <a:cubicBezTo>
                    <a:pt x="4" y="60"/>
                    <a:pt x="4" y="72"/>
                    <a:pt x="5" y="81"/>
                  </a:cubicBezTo>
                  <a:cubicBezTo>
                    <a:pt x="5" y="83"/>
                    <a:pt x="5" y="85"/>
                    <a:pt x="6" y="86"/>
                  </a:cubicBezTo>
                  <a:cubicBezTo>
                    <a:pt x="7" y="88"/>
                    <a:pt x="9" y="89"/>
                    <a:pt x="10" y="89"/>
                  </a:cubicBezTo>
                  <a:cubicBezTo>
                    <a:pt x="12" y="90"/>
                    <a:pt x="13" y="89"/>
                    <a:pt x="13" y="8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22">
              <a:extLst>
                <a:ext uri="{FF2B5EF4-FFF2-40B4-BE49-F238E27FC236}">
                  <a16:creationId xmlns:a16="http://schemas.microsoft.com/office/drawing/2014/main" id="{89A2ED37-89B7-4A64-B1FB-732D03151CD2}"/>
                </a:ext>
              </a:extLst>
            </p:cNvPr>
            <p:cNvSpPr>
              <a:spLocks/>
            </p:cNvSpPr>
            <p:nvPr/>
          </p:nvSpPr>
          <p:spPr bwMode="auto">
            <a:xfrm>
              <a:off x="4786" y="2363"/>
              <a:ext cx="55" cy="157"/>
            </a:xfrm>
            <a:custGeom>
              <a:avLst/>
              <a:gdLst>
                <a:gd name="T0" fmla="*/ 11 w 23"/>
                <a:gd name="T1" fmla="*/ 66 h 66"/>
                <a:gd name="T2" fmla="*/ 14 w 23"/>
                <a:gd name="T3" fmla="*/ 65 h 66"/>
                <a:gd name="T4" fmla="*/ 20 w 23"/>
                <a:gd name="T5" fmla="*/ 58 h 66"/>
                <a:gd name="T6" fmla="*/ 22 w 23"/>
                <a:gd name="T7" fmla="*/ 45 h 66"/>
                <a:gd name="T8" fmla="*/ 20 w 23"/>
                <a:gd name="T9" fmla="*/ 28 h 66"/>
                <a:gd name="T10" fmla="*/ 12 w 23"/>
                <a:gd name="T11" fmla="*/ 0 h 66"/>
                <a:gd name="T12" fmla="*/ 13 w 23"/>
                <a:gd name="T13" fmla="*/ 0 h 66"/>
                <a:gd name="T14" fmla="*/ 3 w 23"/>
                <a:gd name="T15" fmla="*/ 2 h 66"/>
                <a:gd name="T16" fmla="*/ 1 w 23"/>
                <a:gd name="T17" fmla="*/ 2 h 66"/>
                <a:gd name="T18" fmla="*/ 0 w 23"/>
                <a:gd name="T19" fmla="*/ 2 h 66"/>
                <a:gd name="T20" fmla="*/ 1 w 23"/>
                <a:gd name="T21" fmla="*/ 2 h 66"/>
                <a:gd name="T22" fmla="*/ 3 w 23"/>
                <a:gd name="T23" fmla="*/ 1 h 66"/>
                <a:gd name="T24" fmla="*/ 13 w 23"/>
                <a:gd name="T25" fmla="*/ 0 h 66"/>
                <a:gd name="T26" fmla="*/ 13 w 23"/>
                <a:gd name="T27" fmla="*/ 0 h 66"/>
                <a:gd name="T28" fmla="*/ 13 w 23"/>
                <a:gd name="T29" fmla="*/ 0 h 66"/>
                <a:gd name="T30" fmla="*/ 21 w 23"/>
                <a:gd name="T31" fmla="*/ 28 h 66"/>
                <a:gd name="T32" fmla="*/ 23 w 23"/>
                <a:gd name="T33" fmla="*/ 45 h 66"/>
                <a:gd name="T34" fmla="*/ 21 w 23"/>
                <a:gd name="T35" fmla="*/ 58 h 66"/>
                <a:gd name="T36" fmla="*/ 15 w 23"/>
                <a:gd name="T37" fmla="*/ 65 h 66"/>
                <a:gd name="T38" fmla="*/ 11 w 23"/>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 h="66">
                  <a:moveTo>
                    <a:pt x="11" y="66"/>
                  </a:moveTo>
                  <a:cubicBezTo>
                    <a:pt x="11" y="65"/>
                    <a:pt x="13" y="66"/>
                    <a:pt x="14" y="65"/>
                  </a:cubicBezTo>
                  <a:cubicBezTo>
                    <a:pt x="16" y="64"/>
                    <a:pt x="19" y="62"/>
                    <a:pt x="20" y="58"/>
                  </a:cubicBezTo>
                  <a:cubicBezTo>
                    <a:pt x="22" y="55"/>
                    <a:pt x="22" y="50"/>
                    <a:pt x="22" y="45"/>
                  </a:cubicBezTo>
                  <a:cubicBezTo>
                    <a:pt x="22" y="40"/>
                    <a:pt x="21" y="34"/>
                    <a:pt x="20" y="28"/>
                  </a:cubicBezTo>
                  <a:cubicBezTo>
                    <a:pt x="18" y="17"/>
                    <a:pt x="15" y="7"/>
                    <a:pt x="12" y="0"/>
                  </a:cubicBezTo>
                  <a:cubicBezTo>
                    <a:pt x="13" y="0"/>
                    <a:pt x="13" y="0"/>
                    <a:pt x="13" y="0"/>
                  </a:cubicBezTo>
                  <a:cubicBezTo>
                    <a:pt x="9" y="1"/>
                    <a:pt x="6" y="1"/>
                    <a:pt x="3" y="2"/>
                  </a:cubicBezTo>
                  <a:cubicBezTo>
                    <a:pt x="2" y="2"/>
                    <a:pt x="2" y="2"/>
                    <a:pt x="1" y="2"/>
                  </a:cubicBezTo>
                  <a:cubicBezTo>
                    <a:pt x="0" y="2"/>
                    <a:pt x="0" y="2"/>
                    <a:pt x="0" y="2"/>
                  </a:cubicBezTo>
                  <a:cubicBezTo>
                    <a:pt x="0" y="2"/>
                    <a:pt x="0" y="2"/>
                    <a:pt x="1" y="2"/>
                  </a:cubicBezTo>
                  <a:cubicBezTo>
                    <a:pt x="2" y="2"/>
                    <a:pt x="2" y="2"/>
                    <a:pt x="3" y="1"/>
                  </a:cubicBezTo>
                  <a:cubicBezTo>
                    <a:pt x="6" y="1"/>
                    <a:pt x="9" y="0"/>
                    <a:pt x="13" y="0"/>
                  </a:cubicBezTo>
                  <a:cubicBezTo>
                    <a:pt x="13" y="0"/>
                    <a:pt x="13" y="0"/>
                    <a:pt x="13" y="0"/>
                  </a:cubicBezTo>
                  <a:cubicBezTo>
                    <a:pt x="13" y="0"/>
                    <a:pt x="13" y="0"/>
                    <a:pt x="13" y="0"/>
                  </a:cubicBezTo>
                  <a:cubicBezTo>
                    <a:pt x="16" y="7"/>
                    <a:pt x="19" y="17"/>
                    <a:pt x="21" y="28"/>
                  </a:cubicBezTo>
                  <a:cubicBezTo>
                    <a:pt x="22" y="34"/>
                    <a:pt x="22" y="40"/>
                    <a:pt x="23" y="45"/>
                  </a:cubicBezTo>
                  <a:cubicBezTo>
                    <a:pt x="23" y="50"/>
                    <a:pt x="23" y="55"/>
                    <a:pt x="21" y="58"/>
                  </a:cubicBezTo>
                  <a:cubicBezTo>
                    <a:pt x="19" y="62"/>
                    <a:pt x="17" y="64"/>
                    <a:pt x="15" y="65"/>
                  </a:cubicBezTo>
                  <a:cubicBezTo>
                    <a:pt x="13" y="66"/>
                    <a:pt x="11" y="66"/>
                    <a:pt x="11" y="66"/>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23">
              <a:extLst>
                <a:ext uri="{FF2B5EF4-FFF2-40B4-BE49-F238E27FC236}">
                  <a16:creationId xmlns:a16="http://schemas.microsoft.com/office/drawing/2014/main" id="{6F94A4C4-D13E-4832-837D-85D30E48EE95}"/>
                </a:ext>
              </a:extLst>
            </p:cNvPr>
            <p:cNvSpPr>
              <a:spLocks/>
            </p:cNvSpPr>
            <p:nvPr/>
          </p:nvSpPr>
          <p:spPr bwMode="auto">
            <a:xfrm>
              <a:off x="4786" y="2392"/>
              <a:ext cx="38" cy="9"/>
            </a:xfrm>
            <a:custGeom>
              <a:avLst/>
              <a:gdLst>
                <a:gd name="T0" fmla="*/ 16 w 16"/>
                <a:gd name="T1" fmla="*/ 0 h 4"/>
                <a:gd name="T2" fmla="*/ 8 w 16"/>
                <a:gd name="T3" fmla="*/ 2 h 4"/>
                <a:gd name="T4" fmla="*/ 0 w 16"/>
                <a:gd name="T5" fmla="*/ 3 h 4"/>
                <a:gd name="T6" fmla="*/ 8 w 16"/>
                <a:gd name="T7" fmla="*/ 1 h 4"/>
                <a:gd name="T8" fmla="*/ 16 w 16"/>
                <a:gd name="T9" fmla="*/ 0 h 4"/>
              </a:gdLst>
              <a:ahLst/>
              <a:cxnLst>
                <a:cxn ang="0">
                  <a:pos x="T0" y="T1"/>
                </a:cxn>
                <a:cxn ang="0">
                  <a:pos x="T2" y="T3"/>
                </a:cxn>
                <a:cxn ang="0">
                  <a:pos x="T4" y="T5"/>
                </a:cxn>
                <a:cxn ang="0">
                  <a:pos x="T6" y="T7"/>
                </a:cxn>
                <a:cxn ang="0">
                  <a:pos x="T8" y="T9"/>
                </a:cxn>
              </a:cxnLst>
              <a:rect l="0" t="0" r="r" b="b"/>
              <a:pathLst>
                <a:path w="16" h="4">
                  <a:moveTo>
                    <a:pt x="16" y="0"/>
                  </a:moveTo>
                  <a:cubicBezTo>
                    <a:pt x="16" y="0"/>
                    <a:pt x="12" y="1"/>
                    <a:pt x="8" y="2"/>
                  </a:cubicBezTo>
                  <a:cubicBezTo>
                    <a:pt x="4" y="3"/>
                    <a:pt x="0" y="4"/>
                    <a:pt x="0" y="3"/>
                  </a:cubicBezTo>
                  <a:cubicBezTo>
                    <a:pt x="0" y="3"/>
                    <a:pt x="4" y="2"/>
                    <a:pt x="8" y="1"/>
                  </a:cubicBezTo>
                  <a:cubicBezTo>
                    <a:pt x="12" y="0"/>
                    <a:pt x="16" y="0"/>
                    <a:pt x="16"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24">
              <a:extLst>
                <a:ext uri="{FF2B5EF4-FFF2-40B4-BE49-F238E27FC236}">
                  <a16:creationId xmlns:a16="http://schemas.microsoft.com/office/drawing/2014/main" id="{EDF5C7A5-A90F-4C12-AF0D-F9E4E693BAF6}"/>
                </a:ext>
              </a:extLst>
            </p:cNvPr>
            <p:cNvSpPr>
              <a:spLocks noEditPoints="1"/>
            </p:cNvSpPr>
            <p:nvPr/>
          </p:nvSpPr>
          <p:spPr bwMode="auto">
            <a:xfrm>
              <a:off x="4466" y="1368"/>
              <a:ext cx="1386" cy="969"/>
            </a:xfrm>
            <a:custGeom>
              <a:avLst/>
              <a:gdLst>
                <a:gd name="T0" fmla="*/ 584 w 584"/>
                <a:gd name="T1" fmla="*/ 37 h 408"/>
                <a:gd name="T2" fmla="*/ 539 w 584"/>
                <a:gd name="T3" fmla="*/ 0 h 408"/>
                <a:gd name="T4" fmla="*/ 260 w 584"/>
                <a:gd name="T5" fmla="*/ 98 h 408"/>
                <a:gd name="T6" fmla="*/ 260 w 584"/>
                <a:gd name="T7" fmla="*/ 98 h 408"/>
                <a:gd name="T8" fmla="*/ 204 w 584"/>
                <a:gd name="T9" fmla="*/ 91 h 408"/>
                <a:gd name="T10" fmla="*/ 157 w 584"/>
                <a:gd name="T11" fmla="*/ 103 h 408"/>
                <a:gd name="T12" fmla="*/ 156 w 584"/>
                <a:gd name="T13" fmla="*/ 105 h 408"/>
                <a:gd name="T14" fmla="*/ 15 w 584"/>
                <a:gd name="T15" fmla="*/ 293 h 408"/>
                <a:gd name="T16" fmla="*/ 165 w 584"/>
                <a:gd name="T17" fmla="*/ 408 h 408"/>
                <a:gd name="T18" fmla="*/ 198 w 584"/>
                <a:gd name="T19" fmla="*/ 349 h 408"/>
                <a:gd name="T20" fmla="*/ 174 w 584"/>
                <a:gd name="T21" fmla="*/ 333 h 408"/>
                <a:gd name="T22" fmla="*/ 284 w 584"/>
                <a:gd name="T23" fmla="*/ 330 h 408"/>
                <a:gd name="T24" fmla="*/ 289 w 584"/>
                <a:gd name="T25" fmla="*/ 248 h 408"/>
                <a:gd name="T26" fmla="*/ 308 w 584"/>
                <a:gd name="T27" fmla="*/ 212 h 408"/>
                <a:gd name="T28" fmla="*/ 294 w 584"/>
                <a:gd name="T29" fmla="*/ 166 h 408"/>
                <a:gd name="T30" fmla="*/ 584 w 584"/>
                <a:gd name="T31" fmla="*/ 37 h 408"/>
                <a:gd name="T32" fmla="*/ 96 w 584"/>
                <a:gd name="T33" fmla="*/ 273 h 408"/>
                <a:gd name="T34" fmla="*/ 151 w 584"/>
                <a:gd name="T35" fmla="*/ 211 h 408"/>
                <a:gd name="T36" fmla="*/ 173 w 584"/>
                <a:gd name="T37" fmla="*/ 332 h 408"/>
                <a:gd name="T38" fmla="*/ 96 w 584"/>
                <a:gd name="T39" fmla="*/ 27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4" h="408">
                  <a:moveTo>
                    <a:pt x="584" y="37"/>
                  </a:moveTo>
                  <a:cubicBezTo>
                    <a:pt x="539" y="0"/>
                    <a:pt x="539" y="0"/>
                    <a:pt x="539" y="0"/>
                  </a:cubicBezTo>
                  <a:cubicBezTo>
                    <a:pt x="417" y="110"/>
                    <a:pt x="260" y="98"/>
                    <a:pt x="260" y="98"/>
                  </a:cubicBezTo>
                  <a:cubicBezTo>
                    <a:pt x="260" y="98"/>
                    <a:pt x="260" y="98"/>
                    <a:pt x="260" y="98"/>
                  </a:cubicBezTo>
                  <a:cubicBezTo>
                    <a:pt x="253" y="97"/>
                    <a:pt x="216" y="91"/>
                    <a:pt x="204" y="91"/>
                  </a:cubicBezTo>
                  <a:cubicBezTo>
                    <a:pt x="195" y="90"/>
                    <a:pt x="173" y="89"/>
                    <a:pt x="157" y="103"/>
                  </a:cubicBezTo>
                  <a:cubicBezTo>
                    <a:pt x="157" y="104"/>
                    <a:pt x="156" y="104"/>
                    <a:pt x="156" y="105"/>
                  </a:cubicBezTo>
                  <a:cubicBezTo>
                    <a:pt x="142" y="118"/>
                    <a:pt x="0" y="258"/>
                    <a:pt x="15" y="293"/>
                  </a:cubicBezTo>
                  <a:cubicBezTo>
                    <a:pt x="31" y="329"/>
                    <a:pt x="165" y="408"/>
                    <a:pt x="165" y="408"/>
                  </a:cubicBezTo>
                  <a:cubicBezTo>
                    <a:pt x="198" y="349"/>
                    <a:pt x="198" y="349"/>
                    <a:pt x="198" y="349"/>
                  </a:cubicBezTo>
                  <a:cubicBezTo>
                    <a:pt x="198" y="349"/>
                    <a:pt x="188" y="342"/>
                    <a:pt x="174" y="333"/>
                  </a:cubicBezTo>
                  <a:cubicBezTo>
                    <a:pt x="284" y="330"/>
                    <a:pt x="284" y="330"/>
                    <a:pt x="284" y="330"/>
                  </a:cubicBezTo>
                  <a:cubicBezTo>
                    <a:pt x="289" y="248"/>
                    <a:pt x="289" y="248"/>
                    <a:pt x="289" y="248"/>
                  </a:cubicBezTo>
                  <a:cubicBezTo>
                    <a:pt x="289" y="248"/>
                    <a:pt x="308" y="227"/>
                    <a:pt x="308" y="212"/>
                  </a:cubicBezTo>
                  <a:cubicBezTo>
                    <a:pt x="308" y="201"/>
                    <a:pt x="302" y="184"/>
                    <a:pt x="294" y="166"/>
                  </a:cubicBezTo>
                  <a:cubicBezTo>
                    <a:pt x="468" y="151"/>
                    <a:pt x="584" y="37"/>
                    <a:pt x="584" y="37"/>
                  </a:cubicBezTo>
                  <a:close/>
                  <a:moveTo>
                    <a:pt x="96" y="273"/>
                  </a:moveTo>
                  <a:cubicBezTo>
                    <a:pt x="98" y="269"/>
                    <a:pt x="126" y="238"/>
                    <a:pt x="151" y="211"/>
                  </a:cubicBezTo>
                  <a:cubicBezTo>
                    <a:pt x="160" y="264"/>
                    <a:pt x="172" y="326"/>
                    <a:pt x="173" y="332"/>
                  </a:cubicBezTo>
                  <a:cubicBezTo>
                    <a:pt x="143" y="312"/>
                    <a:pt x="95" y="278"/>
                    <a:pt x="96" y="27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25">
              <a:extLst>
                <a:ext uri="{FF2B5EF4-FFF2-40B4-BE49-F238E27FC236}">
                  <a16:creationId xmlns:a16="http://schemas.microsoft.com/office/drawing/2014/main" id="{9CFAB09F-C3C1-4E4B-AA0A-A508E93D8F52}"/>
                </a:ext>
              </a:extLst>
            </p:cNvPr>
            <p:cNvSpPr>
              <a:spLocks/>
            </p:cNvSpPr>
            <p:nvPr/>
          </p:nvSpPr>
          <p:spPr bwMode="auto">
            <a:xfrm>
              <a:off x="4826" y="1833"/>
              <a:ext cx="354" cy="98"/>
            </a:xfrm>
            <a:custGeom>
              <a:avLst/>
              <a:gdLst>
                <a:gd name="T0" fmla="*/ 149 w 149"/>
                <a:gd name="T1" fmla="*/ 34 h 41"/>
                <a:gd name="T2" fmla="*/ 145 w 149"/>
                <a:gd name="T3" fmla="*/ 34 h 41"/>
                <a:gd name="T4" fmla="*/ 134 w 149"/>
                <a:gd name="T5" fmla="*/ 33 h 41"/>
                <a:gd name="T6" fmla="*/ 119 w 149"/>
                <a:gd name="T7" fmla="*/ 21 h 41"/>
                <a:gd name="T8" fmla="*/ 119 w 149"/>
                <a:gd name="T9" fmla="*/ 10 h 41"/>
                <a:gd name="T10" fmla="*/ 130 w 149"/>
                <a:gd name="T11" fmla="*/ 3 h 41"/>
                <a:gd name="T12" fmla="*/ 140 w 149"/>
                <a:gd name="T13" fmla="*/ 13 h 41"/>
                <a:gd name="T14" fmla="*/ 136 w 149"/>
                <a:gd name="T15" fmla="*/ 27 h 41"/>
                <a:gd name="T16" fmla="*/ 106 w 149"/>
                <a:gd name="T17" fmla="*/ 40 h 41"/>
                <a:gd name="T18" fmla="*/ 88 w 149"/>
                <a:gd name="T19" fmla="*/ 34 h 41"/>
                <a:gd name="T20" fmla="*/ 77 w 149"/>
                <a:gd name="T21" fmla="*/ 19 h 41"/>
                <a:gd name="T22" fmla="*/ 77 w 149"/>
                <a:gd name="T23" fmla="*/ 9 h 41"/>
                <a:gd name="T24" fmla="*/ 85 w 149"/>
                <a:gd name="T25" fmla="*/ 2 h 41"/>
                <a:gd name="T26" fmla="*/ 95 w 149"/>
                <a:gd name="T27" fmla="*/ 3 h 41"/>
                <a:gd name="T28" fmla="*/ 98 w 149"/>
                <a:gd name="T29" fmla="*/ 13 h 41"/>
                <a:gd name="T30" fmla="*/ 95 w 149"/>
                <a:gd name="T31" fmla="*/ 23 h 41"/>
                <a:gd name="T32" fmla="*/ 88 w 149"/>
                <a:gd name="T33" fmla="*/ 30 h 41"/>
                <a:gd name="T34" fmla="*/ 69 w 149"/>
                <a:gd name="T35" fmla="*/ 38 h 41"/>
                <a:gd name="T36" fmla="*/ 35 w 149"/>
                <a:gd name="T37" fmla="*/ 25 h 41"/>
                <a:gd name="T38" fmla="*/ 32 w 149"/>
                <a:gd name="T39" fmla="*/ 17 h 41"/>
                <a:gd name="T40" fmla="*/ 33 w 149"/>
                <a:gd name="T41" fmla="*/ 8 h 41"/>
                <a:gd name="T42" fmla="*/ 39 w 149"/>
                <a:gd name="T43" fmla="*/ 2 h 41"/>
                <a:gd name="T44" fmla="*/ 47 w 149"/>
                <a:gd name="T45" fmla="*/ 3 h 41"/>
                <a:gd name="T46" fmla="*/ 56 w 149"/>
                <a:gd name="T47" fmla="*/ 16 h 41"/>
                <a:gd name="T48" fmla="*/ 50 w 149"/>
                <a:gd name="T49" fmla="*/ 29 h 41"/>
                <a:gd name="T50" fmla="*/ 28 w 149"/>
                <a:gd name="T51" fmla="*/ 37 h 41"/>
                <a:gd name="T52" fmla="*/ 11 w 149"/>
                <a:gd name="T53" fmla="*/ 32 h 41"/>
                <a:gd name="T54" fmla="*/ 2 w 149"/>
                <a:gd name="T55" fmla="*/ 24 h 41"/>
                <a:gd name="T56" fmla="*/ 0 w 149"/>
                <a:gd name="T57" fmla="*/ 20 h 41"/>
                <a:gd name="T58" fmla="*/ 2 w 149"/>
                <a:gd name="T59" fmla="*/ 23 h 41"/>
                <a:gd name="T60" fmla="*/ 11 w 149"/>
                <a:gd name="T61" fmla="*/ 31 h 41"/>
                <a:gd name="T62" fmla="*/ 28 w 149"/>
                <a:gd name="T63" fmla="*/ 36 h 41"/>
                <a:gd name="T64" fmla="*/ 50 w 149"/>
                <a:gd name="T65" fmla="*/ 28 h 41"/>
                <a:gd name="T66" fmla="*/ 55 w 149"/>
                <a:gd name="T67" fmla="*/ 16 h 41"/>
                <a:gd name="T68" fmla="*/ 47 w 149"/>
                <a:gd name="T69" fmla="*/ 4 h 41"/>
                <a:gd name="T70" fmla="*/ 39 w 149"/>
                <a:gd name="T71" fmla="*/ 3 h 41"/>
                <a:gd name="T72" fmla="*/ 34 w 149"/>
                <a:gd name="T73" fmla="*/ 9 h 41"/>
                <a:gd name="T74" fmla="*/ 33 w 149"/>
                <a:gd name="T75" fmla="*/ 17 h 41"/>
                <a:gd name="T76" fmla="*/ 36 w 149"/>
                <a:gd name="T77" fmla="*/ 24 h 41"/>
                <a:gd name="T78" fmla="*/ 69 w 149"/>
                <a:gd name="T79" fmla="*/ 36 h 41"/>
                <a:gd name="T80" fmla="*/ 87 w 149"/>
                <a:gd name="T81" fmla="*/ 29 h 41"/>
                <a:gd name="T82" fmla="*/ 94 w 149"/>
                <a:gd name="T83" fmla="*/ 22 h 41"/>
                <a:gd name="T84" fmla="*/ 97 w 149"/>
                <a:gd name="T85" fmla="*/ 13 h 41"/>
                <a:gd name="T86" fmla="*/ 94 w 149"/>
                <a:gd name="T87" fmla="*/ 4 h 41"/>
                <a:gd name="T88" fmla="*/ 85 w 149"/>
                <a:gd name="T89" fmla="*/ 3 h 41"/>
                <a:gd name="T90" fmla="*/ 78 w 149"/>
                <a:gd name="T91" fmla="*/ 9 h 41"/>
                <a:gd name="T92" fmla="*/ 78 w 149"/>
                <a:gd name="T93" fmla="*/ 18 h 41"/>
                <a:gd name="T94" fmla="*/ 89 w 149"/>
                <a:gd name="T95" fmla="*/ 33 h 41"/>
                <a:gd name="T96" fmla="*/ 106 w 149"/>
                <a:gd name="T97" fmla="*/ 39 h 41"/>
                <a:gd name="T98" fmla="*/ 135 w 149"/>
                <a:gd name="T99" fmla="*/ 27 h 41"/>
                <a:gd name="T100" fmla="*/ 139 w 149"/>
                <a:gd name="T101" fmla="*/ 13 h 41"/>
                <a:gd name="T102" fmla="*/ 130 w 149"/>
                <a:gd name="T103" fmla="*/ 4 h 41"/>
                <a:gd name="T104" fmla="*/ 120 w 149"/>
                <a:gd name="T105" fmla="*/ 10 h 41"/>
                <a:gd name="T106" fmla="*/ 120 w 149"/>
                <a:gd name="T107" fmla="*/ 21 h 41"/>
                <a:gd name="T108" fmla="*/ 134 w 149"/>
                <a:gd name="T109" fmla="*/ 32 h 41"/>
                <a:gd name="T110" fmla="*/ 145 w 149"/>
                <a:gd name="T111" fmla="*/ 34 h 41"/>
                <a:gd name="T112" fmla="*/ 148 w 149"/>
                <a:gd name="T113" fmla="*/ 34 h 41"/>
                <a:gd name="T114" fmla="*/ 149 w 149"/>
                <a:gd name="T115"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 h="41">
                  <a:moveTo>
                    <a:pt x="149" y="34"/>
                  </a:moveTo>
                  <a:cubicBezTo>
                    <a:pt x="149" y="34"/>
                    <a:pt x="148" y="34"/>
                    <a:pt x="145" y="34"/>
                  </a:cubicBezTo>
                  <a:cubicBezTo>
                    <a:pt x="142" y="34"/>
                    <a:pt x="138" y="34"/>
                    <a:pt x="134" y="33"/>
                  </a:cubicBezTo>
                  <a:cubicBezTo>
                    <a:pt x="129" y="31"/>
                    <a:pt x="123" y="28"/>
                    <a:pt x="119" y="21"/>
                  </a:cubicBezTo>
                  <a:cubicBezTo>
                    <a:pt x="118" y="18"/>
                    <a:pt x="118" y="14"/>
                    <a:pt x="119" y="10"/>
                  </a:cubicBezTo>
                  <a:cubicBezTo>
                    <a:pt x="121" y="6"/>
                    <a:pt x="125" y="3"/>
                    <a:pt x="130" y="3"/>
                  </a:cubicBezTo>
                  <a:cubicBezTo>
                    <a:pt x="135" y="3"/>
                    <a:pt x="139" y="8"/>
                    <a:pt x="140" y="13"/>
                  </a:cubicBezTo>
                  <a:cubicBezTo>
                    <a:pt x="141" y="18"/>
                    <a:pt x="140" y="23"/>
                    <a:pt x="136" y="27"/>
                  </a:cubicBezTo>
                  <a:cubicBezTo>
                    <a:pt x="130" y="36"/>
                    <a:pt x="118" y="41"/>
                    <a:pt x="106" y="40"/>
                  </a:cubicBezTo>
                  <a:cubicBezTo>
                    <a:pt x="100" y="39"/>
                    <a:pt x="94" y="37"/>
                    <a:pt x="88" y="34"/>
                  </a:cubicBezTo>
                  <a:cubicBezTo>
                    <a:pt x="83" y="30"/>
                    <a:pt x="78" y="25"/>
                    <a:pt x="77" y="19"/>
                  </a:cubicBezTo>
                  <a:cubicBezTo>
                    <a:pt x="76" y="15"/>
                    <a:pt x="76" y="12"/>
                    <a:pt x="77" y="9"/>
                  </a:cubicBezTo>
                  <a:cubicBezTo>
                    <a:pt x="79" y="5"/>
                    <a:pt x="81" y="3"/>
                    <a:pt x="85" y="2"/>
                  </a:cubicBezTo>
                  <a:cubicBezTo>
                    <a:pt x="88" y="0"/>
                    <a:pt x="92" y="0"/>
                    <a:pt x="95" y="3"/>
                  </a:cubicBezTo>
                  <a:cubicBezTo>
                    <a:pt x="98" y="5"/>
                    <a:pt x="99" y="9"/>
                    <a:pt x="98" y="13"/>
                  </a:cubicBezTo>
                  <a:cubicBezTo>
                    <a:pt x="98" y="16"/>
                    <a:pt x="97" y="20"/>
                    <a:pt x="95" y="23"/>
                  </a:cubicBezTo>
                  <a:cubicBezTo>
                    <a:pt x="93" y="25"/>
                    <a:pt x="91" y="28"/>
                    <a:pt x="88" y="30"/>
                  </a:cubicBezTo>
                  <a:cubicBezTo>
                    <a:pt x="82" y="34"/>
                    <a:pt x="76" y="37"/>
                    <a:pt x="69" y="38"/>
                  </a:cubicBezTo>
                  <a:cubicBezTo>
                    <a:pt x="56" y="40"/>
                    <a:pt x="43" y="35"/>
                    <a:pt x="35" y="25"/>
                  </a:cubicBezTo>
                  <a:cubicBezTo>
                    <a:pt x="34" y="23"/>
                    <a:pt x="32" y="20"/>
                    <a:pt x="32" y="17"/>
                  </a:cubicBezTo>
                  <a:cubicBezTo>
                    <a:pt x="31" y="14"/>
                    <a:pt x="31" y="11"/>
                    <a:pt x="33" y="8"/>
                  </a:cubicBezTo>
                  <a:cubicBezTo>
                    <a:pt x="34" y="5"/>
                    <a:pt x="36" y="3"/>
                    <a:pt x="39" y="2"/>
                  </a:cubicBezTo>
                  <a:cubicBezTo>
                    <a:pt x="42" y="1"/>
                    <a:pt x="45" y="2"/>
                    <a:pt x="47" y="3"/>
                  </a:cubicBezTo>
                  <a:cubicBezTo>
                    <a:pt x="52" y="5"/>
                    <a:pt x="56" y="10"/>
                    <a:pt x="56" y="16"/>
                  </a:cubicBezTo>
                  <a:cubicBezTo>
                    <a:pt x="56" y="21"/>
                    <a:pt x="53" y="25"/>
                    <a:pt x="50" y="29"/>
                  </a:cubicBezTo>
                  <a:cubicBezTo>
                    <a:pt x="44" y="35"/>
                    <a:pt x="35" y="37"/>
                    <a:pt x="28" y="37"/>
                  </a:cubicBezTo>
                  <a:cubicBezTo>
                    <a:pt x="21" y="37"/>
                    <a:pt x="15" y="34"/>
                    <a:pt x="11" y="32"/>
                  </a:cubicBezTo>
                  <a:cubicBezTo>
                    <a:pt x="6" y="29"/>
                    <a:pt x="4" y="26"/>
                    <a:pt x="2" y="24"/>
                  </a:cubicBezTo>
                  <a:cubicBezTo>
                    <a:pt x="1" y="21"/>
                    <a:pt x="0" y="20"/>
                    <a:pt x="0" y="20"/>
                  </a:cubicBezTo>
                  <a:cubicBezTo>
                    <a:pt x="0" y="20"/>
                    <a:pt x="1" y="21"/>
                    <a:pt x="2" y="23"/>
                  </a:cubicBezTo>
                  <a:cubicBezTo>
                    <a:pt x="4" y="25"/>
                    <a:pt x="7" y="28"/>
                    <a:pt x="11" y="31"/>
                  </a:cubicBezTo>
                  <a:cubicBezTo>
                    <a:pt x="15" y="34"/>
                    <a:pt x="21" y="36"/>
                    <a:pt x="28" y="36"/>
                  </a:cubicBezTo>
                  <a:cubicBezTo>
                    <a:pt x="35" y="37"/>
                    <a:pt x="44" y="35"/>
                    <a:pt x="50" y="28"/>
                  </a:cubicBezTo>
                  <a:cubicBezTo>
                    <a:pt x="53" y="25"/>
                    <a:pt x="55" y="20"/>
                    <a:pt x="55" y="16"/>
                  </a:cubicBezTo>
                  <a:cubicBezTo>
                    <a:pt x="55" y="11"/>
                    <a:pt x="51" y="6"/>
                    <a:pt x="47" y="4"/>
                  </a:cubicBezTo>
                  <a:cubicBezTo>
                    <a:pt x="45" y="3"/>
                    <a:pt x="42" y="3"/>
                    <a:pt x="39" y="3"/>
                  </a:cubicBezTo>
                  <a:cubicBezTo>
                    <a:pt x="37" y="4"/>
                    <a:pt x="35" y="6"/>
                    <a:pt x="34" y="9"/>
                  </a:cubicBezTo>
                  <a:cubicBezTo>
                    <a:pt x="33" y="11"/>
                    <a:pt x="32" y="14"/>
                    <a:pt x="33" y="17"/>
                  </a:cubicBezTo>
                  <a:cubicBezTo>
                    <a:pt x="33" y="19"/>
                    <a:pt x="35" y="22"/>
                    <a:pt x="36" y="24"/>
                  </a:cubicBezTo>
                  <a:cubicBezTo>
                    <a:pt x="44" y="34"/>
                    <a:pt x="57" y="38"/>
                    <a:pt x="69" y="36"/>
                  </a:cubicBezTo>
                  <a:cubicBezTo>
                    <a:pt x="76" y="36"/>
                    <a:pt x="82" y="33"/>
                    <a:pt x="87" y="29"/>
                  </a:cubicBezTo>
                  <a:cubicBezTo>
                    <a:pt x="90" y="27"/>
                    <a:pt x="92" y="25"/>
                    <a:pt x="94" y="22"/>
                  </a:cubicBezTo>
                  <a:cubicBezTo>
                    <a:pt x="96" y="19"/>
                    <a:pt x="97" y="16"/>
                    <a:pt x="97" y="13"/>
                  </a:cubicBezTo>
                  <a:cubicBezTo>
                    <a:pt x="98" y="9"/>
                    <a:pt x="97" y="6"/>
                    <a:pt x="94" y="4"/>
                  </a:cubicBezTo>
                  <a:cubicBezTo>
                    <a:pt x="92" y="2"/>
                    <a:pt x="88" y="2"/>
                    <a:pt x="85" y="3"/>
                  </a:cubicBezTo>
                  <a:cubicBezTo>
                    <a:pt x="82" y="4"/>
                    <a:pt x="80" y="6"/>
                    <a:pt x="78" y="9"/>
                  </a:cubicBezTo>
                  <a:cubicBezTo>
                    <a:pt x="77" y="12"/>
                    <a:pt x="77" y="15"/>
                    <a:pt x="78" y="18"/>
                  </a:cubicBezTo>
                  <a:cubicBezTo>
                    <a:pt x="80" y="24"/>
                    <a:pt x="84" y="29"/>
                    <a:pt x="89" y="33"/>
                  </a:cubicBezTo>
                  <a:cubicBezTo>
                    <a:pt x="94" y="36"/>
                    <a:pt x="100" y="38"/>
                    <a:pt x="106" y="39"/>
                  </a:cubicBezTo>
                  <a:cubicBezTo>
                    <a:pt x="117" y="40"/>
                    <a:pt x="129" y="35"/>
                    <a:pt x="135" y="27"/>
                  </a:cubicBezTo>
                  <a:cubicBezTo>
                    <a:pt x="139" y="23"/>
                    <a:pt x="140" y="17"/>
                    <a:pt x="139" y="13"/>
                  </a:cubicBezTo>
                  <a:cubicBezTo>
                    <a:pt x="138" y="8"/>
                    <a:pt x="134" y="4"/>
                    <a:pt x="130" y="4"/>
                  </a:cubicBezTo>
                  <a:cubicBezTo>
                    <a:pt x="126" y="4"/>
                    <a:pt x="122" y="7"/>
                    <a:pt x="120" y="10"/>
                  </a:cubicBezTo>
                  <a:cubicBezTo>
                    <a:pt x="118" y="14"/>
                    <a:pt x="119" y="18"/>
                    <a:pt x="120" y="21"/>
                  </a:cubicBezTo>
                  <a:cubicBezTo>
                    <a:pt x="123" y="28"/>
                    <a:pt x="129" y="31"/>
                    <a:pt x="134" y="32"/>
                  </a:cubicBezTo>
                  <a:cubicBezTo>
                    <a:pt x="139" y="34"/>
                    <a:pt x="142" y="34"/>
                    <a:pt x="145" y="34"/>
                  </a:cubicBezTo>
                  <a:cubicBezTo>
                    <a:pt x="146" y="34"/>
                    <a:pt x="147" y="34"/>
                    <a:pt x="148" y="34"/>
                  </a:cubicBezTo>
                  <a:cubicBezTo>
                    <a:pt x="149" y="34"/>
                    <a:pt x="149" y="34"/>
                    <a:pt x="1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26">
              <a:extLst>
                <a:ext uri="{FF2B5EF4-FFF2-40B4-BE49-F238E27FC236}">
                  <a16:creationId xmlns:a16="http://schemas.microsoft.com/office/drawing/2014/main" id="{9C76FCE0-03D7-4D36-BCB5-21DD156AADB0}"/>
                </a:ext>
              </a:extLst>
            </p:cNvPr>
            <p:cNvSpPr>
              <a:spLocks/>
            </p:cNvSpPr>
            <p:nvPr/>
          </p:nvSpPr>
          <p:spPr bwMode="auto">
            <a:xfrm>
              <a:off x="4874" y="2057"/>
              <a:ext cx="268" cy="76"/>
            </a:xfrm>
            <a:custGeom>
              <a:avLst/>
              <a:gdLst>
                <a:gd name="T0" fmla="*/ 113 w 113"/>
                <a:gd name="T1" fmla="*/ 16 h 32"/>
                <a:gd name="T2" fmla="*/ 111 w 113"/>
                <a:gd name="T3" fmla="*/ 17 h 32"/>
                <a:gd name="T4" fmla="*/ 106 w 113"/>
                <a:gd name="T5" fmla="*/ 21 h 32"/>
                <a:gd name="T6" fmla="*/ 96 w 113"/>
                <a:gd name="T7" fmla="*/ 26 h 32"/>
                <a:gd name="T8" fmla="*/ 81 w 113"/>
                <a:gd name="T9" fmla="*/ 27 h 32"/>
                <a:gd name="T10" fmla="*/ 65 w 113"/>
                <a:gd name="T11" fmla="*/ 20 h 32"/>
                <a:gd name="T12" fmla="*/ 61 w 113"/>
                <a:gd name="T13" fmla="*/ 12 h 32"/>
                <a:gd name="T14" fmla="*/ 65 w 113"/>
                <a:gd name="T15" fmla="*/ 2 h 32"/>
                <a:gd name="T16" fmla="*/ 70 w 113"/>
                <a:gd name="T17" fmla="*/ 0 h 32"/>
                <a:gd name="T18" fmla="*/ 76 w 113"/>
                <a:gd name="T19" fmla="*/ 2 h 32"/>
                <a:gd name="T20" fmla="*/ 79 w 113"/>
                <a:gd name="T21" fmla="*/ 13 h 32"/>
                <a:gd name="T22" fmla="*/ 72 w 113"/>
                <a:gd name="T23" fmla="*/ 23 h 32"/>
                <a:gd name="T24" fmla="*/ 62 w 113"/>
                <a:gd name="T25" fmla="*/ 29 h 32"/>
                <a:gd name="T26" fmla="*/ 38 w 113"/>
                <a:gd name="T27" fmla="*/ 30 h 32"/>
                <a:gd name="T28" fmla="*/ 20 w 113"/>
                <a:gd name="T29" fmla="*/ 18 h 32"/>
                <a:gd name="T30" fmla="*/ 19 w 113"/>
                <a:gd name="T31" fmla="*/ 8 h 32"/>
                <a:gd name="T32" fmla="*/ 26 w 113"/>
                <a:gd name="T33" fmla="*/ 2 h 32"/>
                <a:gd name="T34" fmla="*/ 31 w 113"/>
                <a:gd name="T35" fmla="*/ 3 h 32"/>
                <a:gd name="T36" fmla="*/ 34 w 113"/>
                <a:gd name="T37" fmla="*/ 7 h 32"/>
                <a:gd name="T38" fmla="*/ 32 w 113"/>
                <a:gd name="T39" fmla="*/ 16 h 32"/>
                <a:gd name="T40" fmla="*/ 20 w 113"/>
                <a:gd name="T41" fmla="*/ 24 h 32"/>
                <a:gd name="T42" fmla="*/ 9 w 113"/>
                <a:gd name="T43" fmla="*/ 26 h 32"/>
                <a:gd name="T44" fmla="*/ 2 w 113"/>
                <a:gd name="T45" fmla="*/ 25 h 32"/>
                <a:gd name="T46" fmla="*/ 0 w 113"/>
                <a:gd name="T47" fmla="*/ 24 h 32"/>
                <a:gd name="T48" fmla="*/ 9 w 113"/>
                <a:gd name="T49" fmla="*/ 25 h 32"/>
                <a:gd name="T50" fmla="*/ 20 w 113"/>
                <a:gd name="T51" fmla="*/ 23 h 32"/>
                <a:gd name="T52" fmla="*/ 31 w 113"/>
                <a:gd name="T53" fmla="*/ 15 h 32"/>
                <a:gd name="T54" fmla="*/ 33 w 113"/>
                <a:gd name="T55" fmla="*/ 8 h 32"/>
                <a:gd name="T56" fmla="*/ 27 w 113"/>
                <a:gd name="T57" fmla="*/ 3 h 32"/>
                <a:gd name="T58" fmla="*/ 20 w 113"/>
                <a:gd name="T59" fmla="*/ 8 h 32"/>
                <a:gd name="T60" fmla="*/ 21 w 113"/>
                <a:gd name="T61" fmla="*/ 18 h 32"/>
                <a:gd name="T62" fmla="*/ 38 w 113"/>
                <a:gd name="T63" fmla="*/ 29 h 32"/>
                <a:gd name="T64" fmla="*/ 61 w 113"/>
                <a:gd name="T65" fmla="*/ 28 h 32"/>
                <a:gd name="T66" fmla="*/ 72 w 113"/>
                <a:gd name="T67" fmla="*/ 22 h 32"/>
                <a:gd name="T68" fmla="*/ 78 w 113"/>
                <a:gd name="T69" fmla="*/ 13 h 32"/>
                <a:gd name="T70" fmla="*/ 75 w 113"/>
                <a:gd name="T71" fmla="*/ 3 h 32"/>
                <a:gd name="T72" fmla="*/ 65 w 113"/>
                <a:gd name="T73" fmla="*/ 3 h 32"/>
                <a:gd name="T74" fmla="*/ 62 w 113"/>
                <a:gd name="T75" fmla="*/ 12 h 32"/>
                <a:gd name="T76" fmla="*/ 66 w 113"/>
                <a:gd name="T77" fmla="*/ 20 h 32"/>
                <a:gd name="T78" fmla="*/ 82 w 113"/>
                <a:gd name="T79" fmla="*/ 26 h 32"/>
                <a:gd name="T80" fmla="*/ 96 w 113"/>
                <a:gd name="T81" fmla="*/ 25 h 32"/>
                <a:gd name="T82" fmla="*/ 105 w 113"/>
                <a:gd name="T83" fmla="*/ 20 h 32"/>
                <a:gd name="T84" fmla="*/ 111 w 113"/>
                <a:gd name="T85" fmla="*/ 17 h 32"/>
                <a:gd name="T86" fmla="*/ 113 w 113"/>
                <a:gd name="T8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32">
                  <a:moveTo>
                    <a:pt x="113" y="16"/>
                  </a:moveTo>
                  <a:cubicBezTo>
                    <a:pt x="113" y="16"/>
                    <a:pt x="113" y="16"/>
                    <a:pt x="111" y="17"/>
                  </a:cubicBezTo>
                  <a:cubicBezTo>
                    <a:pt x="110" y="18"/>
                    <a:pt x="108" y="19"/>
                    <a:pt x="106" y="21"/>
                  </a:cubicBezTo>
                  <a:cubicBezTo>
                    <a:pt x="103" y="22"/>
                    <a:pt x="100" y="24"/>
                    <a:pt x="96" y="26"/>
                  </a:cubicBezTo>
                  <a:cubicBezTo>
                    <a:pt x="92" y="27"/>
                    <a:pt x="87" y="28"/>
                    <a:pt x="81" y="27"/>
                  </a:cubicBezTo>
                  <a:cubicBezTo>
                    <a:pt x="76" y="26"/>
                    <a:pt x="70" y="25"/>
                    <a:pt x="65" y="20"/>
                  </a:cubicBezTo>
                  <a:cubicBezTo>
                    <a:pt x="63" y="18"/>
                    <a:pt x="61" y="15"/>
                    <a:pt x="61" y="12"/>
                  </a:cubicBezTo>
                  <a:cubicBezTo>
                    <a:pt x="60" y="8"/>
                    <a:pt x="62" y="4"/>
                    <a:pt x="65" y="2"/>
                  </a:cubicBezTo>
                  <a:cubicBezTo>
                    <a:pt x="66" y="1"/>
                    <a:pt x="68" y="0"/>
                    <a:pt x="70" y="0"/>
                  </a:cubicBezTo>
                  <a:cubicBezTo>
                    <a:pt x="72" y="0"/>
                    <a:pt x="74" y="1"/>
                    <a:pt x="76" y="2"/>
                  </a:cubicBezTo>
                  <a:cubicBezTo>
                    <a:pt x="79" y="5"/>
                    <a:pt x="80" y="9"/>
                    <a:pt x="79" y="13"/>
                  </a:cubicBezTo>
                  <a:cubicBezTo>
                    <a:pt x="78" y="17"/>
                    <a:pt x="75" y="20"/>
                    <a:pt x="72" y="23"/>
                  </a:cubicBezTo>
                  <a:cubicBezTo>
                    <a:pt x="69" y="25"/>
                    <a:pt x="66" y="27"/>
                    <a:pt x="62" y="29"/>
                  </a:cubicBezTo>
                  <a:cubicBezTo>
                    <a:pt x="54" y="32"/>
                    <a:pt x="46" y="32"/>
                    <a:pt x="38" y="30"/>
                  </a:cubicBezTo>
                  <a:cubicBezTo>
                    <a:pt x="31" y="29"/>
                    <a:pt x="23" y="25"/>
                    <a:pt x="20" y="18"/>
                  </a:cubicBezTo>
                  <a:cubicBezTo>
                    <a:pt x="18" y="15"/>
                    <a:pt x="17" y="11"/>
                    <a:pt x="19" y="8"/>
                  </a:cubicBezTo>
                  <a:cubicBezTo>
                    <a:pt x="20" y="5"/>
                    <a:pt x="23" y="3"/>
                    <a:pt x="26" y="2"/>
                  </a:cubicBezTo>
                  <a:cubicBezTo>
                    <a:pt x="28" y="2"/>
                    <a:pt x="30" y="2"/>
                    <a:pt x="31" y="3"/>
                  </a:cubicBezTo>
                  <a:cubicBezTo>
                    <a:pt x="32" y="5"/>
                    <a:pt x="33" y="6"/>
                    <a:pt x="34" y="7"/>
                  </a:cubicBezTo>
                  <a:cubicBezTo>
                    <a:pt x="34" y="10"/>
                    <a:pt x="34" y="14"/>
                    <a:pt x="32" y="16"/>
                  </a:cubicBezTo>
                  <a:cubicBezTo>
                    <a:pt x="29" y="20"/>
                    <a:pt x="24" y="23"/>
                    <a:pt x="20" y="24"/>
                  </a:cubicBezTo>
                  <a:cubicBezTo>
                    <a:pt x="16" y="25"/>
                    <a:pt x="12" y="26"/>
                    <a:pt x="9" y="26"/>
                  </a:cubicBezTo>
                  <a:cubicBezTo>
                    <a:pt x="6" y="26"/>
                    <a:pt x="4" y="25"/>
                    <a:pt x="2" y="25"/>
                  </a:cubicBezTo>
                  <a:cubicBezTo>
                    <a:pt x="1" y="24"/>
                    <a:pt x="0" y="24"/>
                    <a:pt x="0" y="24"/>
                  </a:cubicBezTo>
                  <a:cubicBezTo>
                    <a:pt x="0" y="24"/>
                    <a:pt x="3" y="25"/>
                    <a:pt x="9" y="25"/>
                  </a:cubicBezTo>
                  <a:cubicBezTo>
                    <a:pt x="12" y="25"/>
                    <a:pt x="16" y="25"/>
                    <a:pt x="20" y="23"/>
                  </a:cubicBezTo>
                  <a:cubicBezTo>
                    <a:pt x="24" y="22"/>
                    <a:pt x="28" y="20"/>
                    <a:pt x="31" y="15"/>
                  </a:cubicBezTo>
                  <a:cubicBezTo>
                    <a:pt x="33" y="13"/>
                    <a:pt x="33" y="10"/>
                    <a:pt x="33" y="8"/>
                  </a:cubicBezTo>
                  <a:cubicBezTo>
                    <a:pt x="32" y="5"/>
                    <a:pt x="30" y="3"/>
                    <a:pt x="27" y="3"/>
                  </a:cubicBezTo>
                  <a:cubicBezTo>
                    <a:pt x="24" y="3"/>
                    <a:pt x="21" y="6"/>
                    <a:pt x="20" y="8"/>
                  </a:cubicBezTo>
                  <a:cubicBezTo>
                    <a:pt x="18" y="11"/>
                    <a:pt x="19" y="15"/>
                    <a:pt x="21" y="18"/>
                  </a:cubicBezTo>
                  <a:cubicBezTo>
                    <a:pt x="24" y="24"/>
                    <a:pt x="31" y="27"/>
                    <a:pt x="38" y="29"/>
                  </a:cubicBezTo>
                  <a:cubicBezTo>
                    <a:pt x="46" y="31"/>
                    <a:pt x="54" y="31"/>
                    <a:pt x="61" y="28"/>
                  </a:cubicBezTo>
                  <a:cubicBezTo>
                    <a:pt x="65" y="26"/>
                    <a:pt x="69" y="24"/>
                    <a:pt x="72" y="22"/>
                  </a:cubicBezTo>
                  <a:cubicBezTo>
                    <a:pt x="75" y="19"/>
                    <a:pt x="77" y="16"/>
                    <a:pt x="78" y="13"/>
                  </a:cubicBezTo>
                  <a:cubicBezTo>
                    <a:pt x="79" y="9"/>
                    <a:pt x="77" y="5"/>
                    <a:pt x="75" y="3"/>
                  </a:cubicBezTo>
                  <a:cubicBezTo>
                    <a:pt x="72" y="1"/>
                    <a:pt x="68" y="1"/>
                    <a:pt x="65" y="3"/>
                  </a:cubicBezTo>
                  <a:cubicBezTo>
                    <a:pt x="63" y="5"/>
                    <a:pt x="61" y="8"/>
                    <a:pt x="62" y="12"/>
                  </a:cubicBezTo>
                  <a:cubicBezTo>
                    <a:pt x="62" y="15"/>
                    <a:pt x="64" y="18"/>
                    <a:pt x="66" y="20"/>
                  </a:cubicBezTo>
                  <a:cubicBezTo>
                    <a:pt x="70" y="24"/>
                    <a:pt x="76" y="25"/>
                    <a:pt x="82" y="26"/>
                  </a:cubicBezTo>
                  <a:cubicBezTo>
                    <a:pt x="87" y="27"/>
                    <a:pt x="92" y="26"/>
                    <a:pt x="96" y="25"/>
                  </a:cubicBezTo>
                  <a:cubicBezTo>
                    <a:pt x="100" y="24"/>
                    <a:pt x="103" y="22"/>
                    <a:pt x="105" y="20"/>
                  </a:cubicBezTo>
                  <a:cubicBezTo>
                    <a:pt x="108" y="19"/>
                    <a:pt x="110" y="18"/>
                    <a:pt x="111" y="17"/>
                  </a:cubicBezTo>
                  <a:cubicBezTo>
                    <a:pt x="113" y="16"/>
                    <a:pt x="113" y="16"/>
                    <a:pt x="113"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27">
              <a:extLst>
                <a:ext uri="{FF2B5EF4-FFF2-40B4-BE49-F238E27FC236}">
                  <a16:creationId xmlns:a16="http://schemas.microsoft.com/office/drawing/2014/main" id="{C92FFB3C-18F3-4F28-B0F7-A1836AC1A76A}"/>
                </a:ext>
              </a:extLst>
            </p:cNvPr>
            <p:cNvSpPr>
              <a:spLocks/>
            </p:cNvSpPr>
            <p:nvPr/>
          </p:nvSpPr>
          <p:spPr bwMode="auto">
            <a:xfrm>
              <a:off x="5230" y="1586"/>
              <a:ext cx="83" cy="162"/>
            </a:xfrm>
            <a:custGeom>
              <a:avLst/>
              <a:gdLst>
                <a:gd name="T0" fmla="*/ 24 w 35"/>
                <a:gd name="T1" fmla="*/ 0 h 68"/>
                <a:gd name="T2" fmla="*/ 28 w 35"/>
                <a:gd name="T3" fmla="*/ 3 h 68"/>
                <a:gd name="T4" fmla="*/ 35 w 35"/>
                <a:gd name="T5" fmla="*/ 17 h 68"/>
                <a:gd name="T6" fmla="*/ 34 w 35"/>
                <a:gd name="T7" fmla="*/ 27 h 68"/>
                <a:gd name="T8" fmla="*/ 27 w 35"/>
                <a:gd name="T9" fmla="*/ 36 h 68"/>
                <a:gd name="T10" fmla="*/ 15 w 35"/>
                <a:gd name="T11" fmla="*/ 41 h 68"/>
                <a:gd name="T12" fmla="*/ 8 w 35"/>
                <a:gd name="T13" fmla="*/ 41 h 68"/>
                <a:gd name="T14" fmla="*/ 1 w 35"/>
                <a:gd name="T15" fmla="*/ 38 h 68"/>
                <a:gd name="T16" fmla="*/ 1 w 35"/>
                <a:gd name="T17" fmla="*/ 34 h 68"/>
                <a:gd name="T18" fmla="*/ 3 w 35"/>
                <a:gd name="T19" fmla="*/ 31 h 68"/>
                <a:gd name="T20" fmla="*/ 10 w 35"/>
                <a:gd name="T21" fmla="*/ 29 h 68"/>
                <a:gd name="T22" fmla="*/ 21 w 35"/>
                <a:gd name="T23" fmla="*/ 34 h 68"/>
                <a:gd name="T24" fmla="*/ 26 w 35"/>
                <a:gd name="T25" fmla="*/ 45 h 68"/>
                <a:gd name="T26" fmla="*/ 24 w 35"/>
                <a:gd name="T27" fmla="*/ 55 h 68"/>
                <a:gd name="T28" fmla="*/ 14 w 35"/>
                <a:gd name="T29" fmla="*/ 66 h 68"/>
                <a:gd name="T30" fmla="*/ 11 w 35"/>
                <a:gd name="T31" fmla="*/ 68 h 68"/>
                <a:gd name="T32" fmla="*/ 10 w 35"/>
                <a:gd name="T33" fmla="*/ 68 h 68"/>
                <a:gd name="T34" fmla="*/ 14 w 35"/>
                <a:gd name="T35" fmla="*/ 66 h 68"/>
                <a:gd name="T36" fmla="*/ 24 w 35"/>
                <a:gd name="T37" fmla="*/ 55 h 68"/>
                <a:gd name="T38" fmla="*/ 25 w 35"/>
                <a:gd name="T39" fmla="*/ 45 h 68"/>
                <a:gd name="T40" fmla="*/ 21 w 35"/>
                <a:gd name="T41" fmla="*/ 35 h 68"/>
                <a:gd name="T42" fmla="*/ 10 w 35"/>
                <a:gd name="T43" fmla="*/ 30 h 68"/>
                <a:gd name="T44" fmla="*/ 4 w 35"/>
                <a:gd name="T45" fmla="*/ 32 h 68"/>
                <a:gd name="T46" fmla="*/ 2 w 35"/>
                <a:gd name="T47" fmla="*/ 37 h 68"/>
                <a:gd name="T48" fmla="*/ 8 w 35"/>
                <a:gd name="T49" fmla="*/ 40 h 68"/>
                <a:gd name="T50" fmla="*/ 14 w 35"/>
                <a:gd name="T51" fmla="*/ 40 h 68"/>
                <a:gd name="T52" fmla="*/ 26 w 35"/>
                <a:gd name="T53" fmla="*/ 35 h 68"/>
                <a:gd name="T54" fmla="*/ 34 w 35"/>
                <a:gd name="T55" fmla="*/ 17 h 68"/>
                <a:gd name="T56" fmla="*/ 28 w 35"/>
                <a:gd name="T57" fmla="*/ 4 h 68"/>
                <a:gd name="T58" fmla="*/ 24 w 35"/>
                <a:gd name="T5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68">
                  <a:moveTo>
                    <a:pt x="24" y="0"/>
                  </a:moveTo>
                  <a:cubicBezTo>
                    <a:pt x="24" y="0"/>
                    <a:pt x="26" y="1"/>
                    <a:pt x="28" y="3"/>
                  </a:cubicBezTo>
                  <a:cubicBezTo>
                    <a:pt x="31" y="6"/>
                    <a:pt x="34" y="10"/>
                    <a:pt x="35" y="17"/>
                  </a:cubicBezTo>
                  <a:cubicBezTo>
                    <a:pt x="35" y="20"/>
                    <a:pt x="35" y="23"/>
                    <a:pt x="34" y="27"/>
                  </a:cubicBezTo>
                  <a:cubicBezTo>
                    <a:pt x="32" y="30"/>
                    <a:pt x="30" y="34"/>
                    <a:pt x="27" y="36"/>
                  </a:cubicBezTo>
                  <a:cubicBezTo>
                    <a:pt x="23" y="39"/>
                    <a:pt x="19" y="41"/>
                    <a:pt x="15" y="41"/>
                  </a:cubicBezTo>
                  <a:cubicBezTo>
                    <a:pt x="12" y="42"/>
                    <a:pt x="10" y="42"/>
                    <a:pt x="8" y="41"/>
                  </a:cubicBezTo>
                  <a:cubicBezTo>
                    <a:pt x="5" y="41"/>
                    <a:pt x="3" y="40"/>
                    <a:pt x="1" y="38"/>
                  </a:cubicBezTo>
                  <a:cubicBezTo>
                    <a:pt x="1" y="37"/>
                    <a:pt x="0" y="35"/>
                    <a:pt x="1" y="34"/>
                  </a:cubicBezTo>
                  <a:cubicBezTo>
                    <a:pt x="1" y="33"/>
                    <a:pt x="2" y="32"/>
                    <a:pt x="3" y="31"/>
                  </a:cubicBezTo>
                  <a:cubicBezTo>
                    <a:pt x="5" y="29"/>
                    <a:pt x="7" y="29"/>
                    <a:pt x="10" y="29"/>
                  </a:cubicBezTo>
                  <a:cubicBezTo>
                    <a:pt x="14" y="29"/>
                    <a:pt x="19" y="31"/>
                    <a:pt x="21" y="34"/>
                  </a:cubicBezTo>
                  <a:cubicBezTo>
                    <a:pt x="24" y="37"/>
                    <a:pt x="26" y="41"/>
                    <a:pt x="26" y="45"/>
                  </a:cubicBezTo>
                  <a:cubicBezTo>
                    <a:pt x="26" y="49"/>
                    <a:pt x="26" y="52"/>
                    <a:pt x="24" y="55"/>
                  </a:cubicBezTo>
                  <a:cubicBezTo>
                    <a:pt x="22" y="61"/>
                    <a:pt x="17" y="64"/>
                    <a:pt x="14" y="66"/>
                  </a:cubicBezTo>
                  <a:cubicBezTo>
                    <a:pt x="13" y="67"/>
                    <a:pt x="12" y="67"/>
                    <a:pt x="11" y="68"/>
                  </a:cubicBezTo>
                  <a:cubicBezTo>
                    <a:pt x="10" y="68"/>
                    <a:pt x="10" y="68"/>
                    <a:pt x="10" y="68"/>
                  </a:cubicBezTo>
                  <a:cubicBezTo>
                    <a:pt x="10" y="68"/>
                    <a:pt x="11" y="67"/>
                    <a:pt x="14" y="66"/>
                  </a:cubicBezTo>
                  <a:cubicBezTo>
                    <a:pt x="17" y="64"/>
                    <a:pt x="21" y="60"/>
                    <a:pt x="24" y="55"/>
                  </a:cubicBezTo>
                  <a:cubicBezTo>
                    <a:pt x="25" y="52"/>
                    <a:pt x="25" y="49"/>
                    <a:pt x="25" y="45"/>
                  </a:cubicBezTo>
                  <a:cubicBezTo>
                    <a:pt x="25" y="42"/>
                    <a:pt x="23" y="38"/>
                    <a:pt x="21" y="35"/>
                  </a:cubicBezTo>
                  <a:cubicBezTo>
                    <a:pt x="18" y="32"/>
                    <a:pt x="14" y="30"/>
                    <a:pt x="10" y="30"/>
                  </a:cubicBezTo>
                  <a:cubicBezTo>
                    <a:pt x="8" y="30"/>
                    <a:pt x="5" y="31"/>
                    <a:pt x="4" y="32"/>
                  </a:cubicBezTo>
                  <a:cubicBezTo>
                    <a:pt x="2" y="33"/>
                    <a:pt x="1" y="35"/>
                    <a:pt x="2" y="37"/>
                  </a:cubicBezTo>
                  <a:cubicBezTo>
                    <a:pt x="4" y="39"/>
                    <a:pt x="6" y="40"/>
                    <a:pt x="8" y="40"/>
                  </a:cubicBezTo>
                  <a:cubicBezTo>
                    <a:pt x="10" y="41"/>
                    <a:pt x="12" y="41"/>
                    <a:pt x="14" y="40"/>
                  </a:cubicBezTo>
                  <a:cubicBezTo>
                    <a:pt x="19" y="40"/>
                    <a:pt x="23" y="38"/>
                    <a:pt x="26" y="35"/>
                  </a:cubicBezTo>
                  <a:cubicBezTo>
                    <a:pt x="32" y="30"/>
                    <a:pt x="35" y="23"/>
                    <a:pt x="34" y="17"/>
                  </a:cubicBezTo>
                  <a:cubicBezTo>
                    <a:pt x="33" y="11"/>
                    <a:pt x="30" y="6"/>
                    <a:pt x="28" y="4"/>
                  </a:cubicBezTo>
                  <a:cubicBezTo>
                    <a:pt x="25" y="1"/>
                    <a:pt x="24" y="1"/>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28">
              <a:extLst>
                <a:ext uri="{FF2B5EF4-FFF2-40B4-BE49-F238E27FC236}">
                  <a16:creationId xmlns:a16="http://schemas.microsoft.com/office/drawing/2014/main" id="{A67D464F-50BE-4C88-895F-1706DA04D738}"/>
                </a:ext>
              </a:extLst>
            </p:cNvPr>
            <p:cNvSpPr>
              <a:spLocks/>
            </p:cNvSpPr>
            <p:nvPr/>
          </p:nvSpPr>
          <p:spPr bwMode="auto">
            <a:xfrm>
              <a:off x="5367" y="1553"/>
              <a:ext cx="64" cy="166"/>
            </a:xfrm>
            <a:custGeom>
              <a:avLst/>
              <a:gdLst>
                <a:gd name="T0" fmla="*/ 24 w 27"/>
                <a:gd name="T1" fmla="*/ 0 h 70"/>
                <a:gd name="T2" fmla="*/ 26 w 27"/>
                <a:gd name="T3" fmla="*/ 3 h 70"/>
                <a:gd name="T4" fmla="*/ 27 w 27"/>
                <a:gd name="T5" fmla="*/ 6 h 70"/>
                <a:gd name="T6" fmla="*/ 25 w 27"/>
                <a:gd name="T7" fmla="*/ 11 h 70"/>
                <a:gd name="T8" fmla="*/ 18 w 27"/>
                <a:gd name="T9" fmla="*/ 21 h 70"/>
                <a:gd name="T10" fmla="*/ 8 w 27"/>
                <a:gd name="T11" fmla="*/ 33 h 70"/>
                <a:gd name="T12" fmla="*/ 1 w 27"/>
                <a:gd name="T13" fmla="*/ 59 h 70"/>
                <a:gd name="T14" fmla="*/ 4 w 27"/>
                <a:gd name="T15" fmla="*/ 70 h 70"/>
                <a:gd name="T16" fmla="*/ 2 w 27"/>
                <a:gd name="T17" fmla="*/ 67 h 70"/>
                <a:gd name="T18" fmla="*/ 1 w 27"/>
                <a:gd name="T19" fmla="*/ 59 h 70"/>
                <a:gd name="T20" fmla="*/ 7 w 27"/>
                <a:gd name="T21" fmla="*/ 32 h 70"/>
                <a:gd name="T22" fmla="*/ 17 w 27"/>
                <a:gd name="T23" fmla="*/ 20 h 70"/>
                <a:gd name="T24" fmla="*/ 24 w 27"/>
                <a:gd name="T25" fmla="*/ 10 h 70"/>
                <a:gd name="T26" fmla="*/ 26 w 27"/>
                <a:gd name="T27" fmla="*/ 6 h 70"/>
                <a:gd name="T28" fmla="*/ 26 w 27"/>
                <a:gd name="T29" fmla="*/ 3 h 70"/>
                <a:gd name="T30" fmla="*/ 24 w 27"/>
                <a:gd name="T3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70">
                  <a:moveTo>
                    <a:pt x="24" y="0"/>
                  </a:moveTo>
                  <a:cubicBezTo>
                    <a:pt x="24" y="0"/>
                    <a:pt x="25" y="1"/>
                    <a:pt x="26" y="3"/>
                  </a:cubicBezTo>
                  <a:cubicBezTo>
                    <a:pt x="27" y="4"/>
                    <a:pt x="27" y="5"/>
                    <a:pt x="27" y="6"/>
                  </a:cubicBezTo>
                  <a:cubicBezTo>
                    <a:pt x="27" y="8"/>
                    <a:pt x="26" y="9"/>
                    <a:pt x="25" y="11"/>
                  </a:cubicBezTo>
                  <a:cubicBezTo>
                    <a:pt x="23" y="14"/>
                    <a:pt x="21" y="18"/>
                    <a:pt x="18" y="21"/>
                  </a:cubicBezTo>
                  <a:cubicBezTo>
                    <a:pt x="15" y="25"/>
                    <a:pt x="11" y="28"/>
                    <a:pt x="8" y="33"/>
                  </a:cubicBezTo>
                  <a:cubicBezTo>
                    <a:pt x="2" y="42"/>
                    <a:pt x="1" y="52"/>
                    <a:pt x="1" y="59"/>
                  </a:cubicBezTo>
                  <a:cubicBezTo>
                    <a:pt x="2" y="66"/>
                    <a:pt x="4" y="70"/>
                    <a:pt x="4" y="70"/>
                  </a:cubicBezTo>
                  <a:cubicBezTo>
                    <a:pt x="3" y="70"/>
                    <a:pt x="3" y="69"/>
                    <a:pt x="2" y="67"/>
                  </a:cubicBezTo>
                  <a:cubicBezTo>
                    <a:pt x="2" y="65"/>
                    <a:pt x="1" y="62"/>
                    <a:pt x="1" y="59"/>
                  </a:cubicBezTo>
                  <a:cubicBezTo>
                    <a:pt x="0" y="52"/>
                    <a:pt x="1" y="41"/>
                    <a:pt x="7" y="32"/>
                  </a:cubicBezTo>
                  <a:cubicBezTo>
                    <a:pt x="10" y="27"/>
                    <a:pt x="14" y="24"/>
                    <a:pt x="17" y="20"/>
                  </a:cubicBezTo>
                  <a:cubicBezTo>
                    <a:pt x="20" y="17"/>
                    <a:pt x="23" y="14"/>
                    <a:pt x="24" y="10"/>
                  </a:cubicBezTo>
                  <a:cubicBezTo>
                    <a:pt x="25" y="9"/>
                    <a:pt x="26" y="8"/>
                    <a:pt x="26" y="6"/>
                  </a:cubicBezTo>
                  <a:cubicBezTo>
                    <a:pt x="26" y="5"/>
                    <a:pt x="26" y="4"/>
                    <a:pt x="26" y="3"/>
                  </a:cubicBezTo>
                  <a:cubicBezTo>
                    <a:pt x="25" y="1"/>
                    <a:pt x="24"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29">
              <a:extLst>
                <a:ext uri="{FF2B5EF4-FFF2-40B4-BE49-F238E27FC236}">
                  <a16:creationId xmlns:a16="http://schemas.microsoft.com/office/drawing/2014/main" id="{5A0A1799-4685-447A-8441-7BB4B48761A1}"/>
                </a:ext>
              </a:extLst>
            </p:cNvPr>
            <p:cNvSpPr>
              <a:spLocks/>
            </p:cNvSpPr>
            <p:nvPr/>
          </p:nvSpPr>
          <p:spPr bwMode="auto">
            <a:xfrm>
              <a:off x="5469" y="1525"/>
              <a:ext cx="88" cy="145"/>
            </a:xfrm>
            <a:custGeom>
              <a:avLst/>
              <a:gdLst>
                <a:gd name="T0" fmla="*/ 25 w 37"/>
                <a:gd name="T1" fmla="*/ 59 h 61"/>
                <a:gd name="T2" fmla="*/ 19 w 37"/>
                <a:gd name="T3" fmla="*/ 61 h 61"/>
                <a:gd name="T4" fmla="*/ 5 w 37"/>
                <a:gd name="T5" fmla="*/ 53 h 61"/>
                <a:gd name="T6" fmla="*/ 4 w 37"/>
                <a:gd name="T7" fmla="*/ 29 h 61"/>
                <a:gd name="T8" fmla="*/ 13 w 37"/>
                <a:gd name="T9" fmla="*/ 17 h 61"/>
                <a:gd name="T10" fmla="*/ 28 w 37"/>
                <a:gd name="T11" fmla="*/ 14 h 61"/>
                <a:gd name="T12" fmla="*/ 35 w 37"/>
                <a:gd name="T13" fmla="*/ 19 h 61"/>
                <a:gd name="T14" fmla="*/ 37 w 37"/>
                <a:gd name="T15" fmla="*/ 26 h 61"/>
                <a:gd name="T16" fmla="*/ 34 w 37"/>
                <a:gd name="T17" fmla="*/ 33 h 61"/>
                <a:gd name="T18" fmla="*/ 27 w 37"/>
                <a:gd name="T19" fmla="*/ 36 h 61"/>
                <a:gd name="T20" fmla="*/ 15 w 37"/>
                <a:gd name="T21" fmla="*/ 31 h 61"/>
                <a:gd name="T22" fmla="*/ 9 w 37"/>
                <a:gd name="T23" fmla="*/ 21 h 61"/>
                <a:gd name="T24" fmla="*/ 10 w 37"/>
                <a:gd name="T25" fmla="*/ 5 h 61"/>
                <a:gd name="T26" fmla="*/ 13 w 37"/>
                <a:gd name="T27" fmla="*/ 0 h 61"/>
                <a:gd name="T28" fmla="*/ 10 w 37"/>
                <a:gd name="T29" fmla="*/ 5 h 61"/>
                <a:gd name="T30" fmla="*/ 9 w 37"/>
                <a:gd name="T31" fmla="*/ 21 h 61"/>
                <a:gd name="T32" fmla="*/ 15 w 37"/>
                <a:gd name="T33" fmla="*/ 30 h 61"/>
                <a:gd name="T34" fmla="*/ 27 w 37"/>
                <a:gd name="T35" fmla="*/ 35 h 61"/>
                <a:gd name="T36" fmla="*/ 33 w 37"/>
                <a:gd name="T37" fmla="*/ 32 h 61"/>
                <a:gd name="T38" fmla="*/ 36 w 37"/>
                <a:gd name="T39" fmla="*/ 26 h 61"/>
                <a:gd name="T40" fmla="*/ 28 w 37"/>
                <a:gd name="T41" fmla="*/ 15 h 61"/>
                <a:gd name="T42" fmla="*/ 14 w 37"/>
                <a:gd name="T43" fmla="*/ 18 h 61"/>
                <a:gd name="T44" fmla="*/ 5 w 37"/>
                <a:gd name="T45" fmla="*/ 29 h 61"/>
                <a:gd name="T46" fmla="*/ 6 w 37"/>
                <a:gd name="T47" fmla="*/ 53 h 61"/>
                <a:gd name="T48" fmla="*/ 19 w 37"/>
                <a:gd name="T49" fmla="*/ 60 h 61"/>
                <a:gd name="T50" fmla="*/ 25 w 37"/>
                <a:gd name="T51"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61">
                  <a:moveTo>
                    <a:pt x="25" y="59"/>
                  </a:moveTo>
                  <a:cubicBezTo>
                    <a:pt x="25" y="59"/>
                    <a:pt x="23" y="61"/>
                    <a:pt x="19" y="61"/>
                  </a:cubicBezTo>
                  <a:cubicBezTo>
                    <a:pt x="15" y="61"/>
                    <a:pt x="9" y="59"/>
                    <a:pt x="5" y="53"/>
                  </a:cubicBezTo>
                  <a:cubicBezTo>
                    <a:pt x="1" y="47"/>
                    <a:pt x="0" y="38"/>
                    <a:pt x="4" y="29"/>
                  </a:cubicBezTo>
                  <a:cubicBezTo>
                    <a:pt x="6" y="25"/>
                    <a:pt x="9" y="20"/>
                    <a:pt x="13" y="17"/>
                  </a:cubicBezTo>
                  <a:cubicBezTo>
                    <a:pt x="17" y="14"/>
                    <a:pt x="23" y="12"/>
                    <a:pt x="28" y="14"/>
                  </a:cubicBezTo>
                  <a:cubicBezTo>
                    <a:pt x="31" y="15"/>
                    <a:pt x="33" y="16"/>
                    <a:pt x="35" y="19"/>
                  </a:cubicBezTo>
                  <a:cubicBezTo>
                    <a:pt x="37" y="21"/>
                    <a:pt x="37" y="24"/>
                    <a:pt x="37" y="26"/>
                  </a:cubicBezTo>
                  <a:cubicBezTo>
                    <a:pt x="37" y="29"/>
                    <a:pt x="36" y="32"/>
                    <a:pt x="34" y="33"/>
                  </a:cubicBezTo>
                  <a:cubicBezTo>
                    <a:pt x="32" y="35"/>
                    <a:pt x="29" y="36"/>
                    <a:pt x="27" y="36"/>
                  </a:cubicBezTo>
                  <a:cubicBezTo>
                    <a:pt x="22" y="36"/>
                    <a:pt x="18" y="34"/>
                    <a:pt x="15" y="31"/>
                  </a:cubicBezTo>
                  <a:cubicBezTo>
                    <a:pt x="11" y="28"/>
                    <a:pt x="10" y="25"/>
                    <a:pt x="9" y="21"/>
                  </a:cubicBezTo>
                  <a:cubicBezTo>
                    <a:pt x="7" y="14"/>
                    <a:pt x="8" y="8"/>
                    <a:pt x="10" y="5"/>
                  </a:cubicBezTo>
                  <a:cubicBezTo>
                    <a:pt x="11" y="1"/>
                    <a:pt x="13" y="0"/>
                    <a:pt x="13" y="0"/>
                  </a:cubicBezTo>
                  <a:cubicBezTo>
                    <a:pt x="13" y="0"/>
                    <a:pt x="12" y="1"/>
                    <a:pt x="10" y="5"/>
                  </a:cubicBezTo>
                  <a:cubicBezTo>
                    <a:pt x="9" y="8"/>
                    <a:pt x="7" y="14"/>
                    <a:pt x="9" y="21"/>
                  </a:cubicBezTo>
                  <a:cubicBezTo>
                    <a:pt x="11" y="24"/>
                    <a:pt x="12" y="28"/>
                    <a:pt x="15" y="30"/>
                  </a:cubicBezTo>
                  <a:cubicBezTo>
                    <a:pt x="18" y="33"/>
                    <a:pt x="22" y="35"/>
                    <a:pt x="27" y="35"/>
                  </a:cubicBezTo>
                  <a:cubicBezTo>
                    <a:pt x="29" y="35"/>
                    <a:pt x="31" y="34"/>
                    <a:pt x="33" y="32"/>
                  </a:cubicBezTo>
                  <a:cubicBezTo>
                    <a:pt x="35" y="31"/>
                    <a:pt x="36" y="29"/>
                    <a:pt x="36" y="26"/>
                  </a:cubicBezTo>
                  <a:cubicBezTo>
                    <a:pt x="36" y="21"/>
                    <a:pt x="33" y="17"/>
                    <a:pt x="28" y="15"/>
                  </a:cubicBezTo>
                  <a:cubicBezTo>
                    <a:pt x="23" y="14"/>
                    <a:pt x="18" y="15"/>
                    <a:pt x="14" y="18"/>
                  </a:cubicBezTo>
                  <a:cubicBezTo>
                    <a:pt x="10" y="21"/>
                    <a:pt x="7" y="25"/>
                    <a:pt x="5" y="29"/>
                  </a:cubicBezTo>
                  <a:cubicBezTo>
                    <a:pt x="1" y="38"/>
                    <a:pt x="2" y="47"/>
                    <a:pt x="6" y="53"/>
                  </a:cubicBezTo>
                  <a:cubicBezTo>
                    <a:pt x="10" y="58"/>
                    <a:pt x="16" y="60"/>
                    <a:pt x="19" y="60"/>
                  </a:cubicBezTo>
                  <a:cubicBezTo>
                    <a:pt x="23" y="60"/>
                    <a:pt x="25" y="59"/>
                    <a:pt x="2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30">
              <a:extLst>
                <a:ext uri="{FF2B5EF4-FFF2-40B4-BE49-F238E27FC236}">
                  <a16:creationId xmlns:a16="http://schemas.microsoft.com/office/drawing/2014/main" id="{9DA518ED-8B5C-4B90-8AAE-9BCCEDF29CAE}"/>
                </a:ext>
              </a:extLst>
            </p:cNvPr>
            <p:cNvSpPr>
              <a:spLocks/>
            </p:cNvSpPr>
            <p:nvPr/>
          </p:nvSpPr>
          <p:spPr bwMode="auto">
            <a:xfrm>
              <a:off x="5605" y="1475"/>
              <a:ext cx="52" cy="135"/>
            </a:xfrm>
            <a:custGeom>
              <a:avLst/>
              <a:gdLst>
                <a:gd name="T0" fmla="*/ 0 w 22"/>
                <a:gd name="T1" fmla="*/ 0 h 57"/>
                <a:gd name="T2" fmla="*/ 2 w 22"/>
                <a:gd name="T3" fmla="*/ 1 h 57"/>
                <a:gd name="T4" fmla="*/ 8 w 22"/>
                <a:gd name="T5" fmla="*/ 5 h 57"/>
                <a:gd name="T6" fmla="*/ 15 w 22"/>
                <a:gd name="T7" fmla="*/ 13 h 57"/>
                <a:gd name="T8" fmla="*/ 20 w 22"/>
                <a:gd name="T9" fmla="*/ 25 h 57"/>
                <a:gd name="T10" fmla="*/ 17 w 22"/>
                <a:gd name="T11" fmla="*/ 48 h 57"/>
                <a:gd name="T12" fmla="*/ 14 w 22"/>
                <a:gd name="T13" fmla="*/ 55 h 57"/>
                <a:gd name="T14" fmla="*/ 12 w 22"/>
                <a:gd name="T15" fmla="*/ 57 h 57"/>
                <a:gd name="T16" fmla="*/ 16 w 22"/>
                <a:gd name="T17" fmla="*/ 48 h 57"/>
                <a:gd name="T18" fmla="*/ 19 w 22"/>
                <a:gd name="T19" fmla="*/ 25 h 57"/>
                <a:gd name="T20" fmla="*/ 14 w 22"/>
                <a:gd name="T21" fmla="*/ 13 h 57"/>
                <a:gd name="T22" fmla="*/ 8 w 22"/>
                <a:gd name="T23" fmla="*/ 5 h 57"/>
                <a:gd name="T24" fmla="*/ 0 w 22"/>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57">
                  <a:moveTo>
                    <a:pt x="0" y="0"/>
                  </a:moveTo>
                  <a:cubicBezTo>
                    <a:pt x="0" y="0"/>
                    <a:pt x="1" y="0"/>
                    <a:pt x="2" y="1"/>
                  </a:cubicBezTo>
                  <a:cubicBezTo>
                    <a:pt x="4" y="1"/>
                    <a:pt x="6" y="3"/>
                    <a:pt x="8" y="5"/>
                  </a:cubicBezTo>
                  <a:cubicBezTo>
                    <a:pt x="11" y="7"/>
                    <a:pt x="13" y="9"/>
                    <a:pt x="15" y="13"/>
                  </a:cubicBezTo>
                  <a:cubicBezTo>
                    <a:pt x="17" y="16"/>
                    <a:pt x="19" y="21"/>
                    <a:pt x="20" y="25"/>
                  </a:cubicBezTo>
                  <a:cubicBezTo>
                    <a:pt x="22" y="34"/>
                    <a:pt x="20" y="43"/>
                    <a:pt x="17" y="48"/>
                  </a:cubicBezTo>
                  <a:cubicBezTo>
                    <a:pt x="16" y="51"/>
                    <a:pt x="15" y="53"/>
                    <a:pt x="14" y="55"/>
                  </a:cubicBezTo>
                  <a:cubicBezTo>
                    <a:pt x="12" y="56"/>
                    <a:pt x="12" y="57"/>
                    <a:pt x="12" y="57"/>
                  </a:cubicBezTo>
                  <a:cubicBezTo>
                    <a:pt x="12" y="57"/>
                    <a:pt x="14" y="54"/>
                    <a:pt x="16" y="48"/>
                  </a:cubicBezTo>
                  <a:cubicBezTo>
                    <a:pt x="19" y="43"/>
                    <a:pt x="20" y="34"/>
                    <a:pt x="19" y="25"/>
                  </a:cubicBezTo>
                  <a:cubicBezTo>
                    <a:pt x="18" y="21"/>
                    <a:pt x="16" y="17"/>
                    <a:pt x="14" y="13"/>
                  </a:cubicBezTo>
                  <a:cubicBezTo>
                    <a:pt x="12" y="10"/>
                    <a:pt x="10" y="7"/>
                    <a:pt x="8" y="5"/>
                  </a:cubicBezTo>
                  <a:cubicBezTo>
                    <a:pt x="3" y="1"/>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31">
              <a:extLst>
                <a:ext uri="{FF2B5EF4-FFF2-40B4-BE49-F238E27FC236}">
                  <a16:creationId xmlns:a16="http://schemas.microsoft.com/office/drawing/2014/main" id="{9E96A4CB-CAC9-4ED9-A62C-79DCD5CC1584}"/>
                </a:ext>
              </a:extLst>
            </p:cNvPr>
            <p:cNvSpPr>
              <a:spLocks/>
            </p:cNvSpPr>
            <p:nvPr/>
          </p:nvSpPr>
          <p:spPr bwMode="auto">
            <a:xfrm>
              <a:off x="5676" y="1420"/>
              <a:ext cx="83" cy="114"/>
            </a:xfrm>
            <a:custGeom>
              <a:avLst/>
              <a:gdLst>
                <a:gd name="T0" fmla="*/ 35 w 35"/>
                <a:gd name="T1" fmla="*/ 47 h 48"/>
                <a:gd name="T2" fmla="*/ 30 w 35"/>
                <a:gd name="T3" fmla="*/ 48 h 48"/>
                <a:gd name="T4" fmla="*/ 24 w 35"/>
                <a:gd name="T5" fmla="*/ 47 h 48"/>
                <a:gd name="T6" fmla="*/ 17 w 35"/>
                <a:gd name="T7" fmla="*/ 43 h 48"/>
                <a:gd name="T8" fmla="*/ 11 w 35"/>
                <a:gd name="T9" fmla="*/ 23 h 48"/>
                <a:gd name="T10" fmla="*/ 18 w 35"/>
                <a:gd name="T11" fmla="*/ 12 h 48"/>
                <a:gd name="T12" fmla="*/ 24 w 35"/>
                <a:gd name="T13" fmla="*/ 10 h 48"/>
                <a:gd name="T14" fmla="*/ 31 w 35"/>
                <a:gd name="T15" fmla="*/ 12 h 48"/>
                <a:gd name="T16" fmla="*/ 34 w 35"/>
                <a:gd name="T17" fmla="*/ 19 h 48"/>
                <a:gd name="T18" fmla="*/ 32 w 35"/>
                <a:gd name="T19" fmla="*/ 25 h 48"/>
                <a:gd name="T20" fmla="*/ 21 w 35"/>
                <a:gd name="T21" fmla="*/ 29 h 48"/>
                <a:gd name="T22" fmla="*/ 3 w 35"/>
                <a:gd name="T23" fmla="*/ 18 h 48"/>
                <a:gd name="T24" fmla="*/ 1 w 35"/>
                <a:gd name="T25" fmla="*/ 11 h 48"/>
                <a:gd name="T26" fmla="*/ 2 w 35"/>
                <a:gd name="T27" fmla="*/ 5 h 48"/>
                <a:gd name="T28" fmla="*/ 4 w 35"/>
                <a:gd name="T29" fmla="*/ 1 h 48"/>
                <a:gd name="T30" fmla="*/ 5 w 35"/>
                <a:gd name="T31" fmla="*/ 0 h 48"/>
                <a:gd name="T32" fmla="*/ 4 w 35"/>
                <a:gd name="T33" fmla="*/ 1 h 48"/>
                <a:gd name="T34" fmla="*/ 3 w 35"/>
                <a:gd name="T35" fmla="*/ 5 h 48"/>
                <a:gd name="T36" fmla="*/ 1 w 35"/>
                <a:gd name="T37" fmla="*/ 11 h 48"/>
                <a:gd name="T38" fmla="*/ 4 w 35"/>
                <a:gd name="T39" fmla="*/ 18 h 48"/>
                <a:gd name="T40" fmla="*/ 21 w 35"/>
                <a:gd name="T41" fmla="*/ 28 h 48"/>
                <a:gd name="T42" fmla="*/ 31 w 35"/>
                <a:gd name="T43" fmla="*/ 24 h 48"/>
                <a:gd name="T44" fmla="*/ 33 w 35"/>
                <a:gd name="T45" fmla="*/ 19 h 48"/>
                <a:gd name="T46" fmla="*/ 30 w 35"/>
                <a:gd name="T47" fmla="*/ 13 h 48"/>
                <a:gd name="T48" fmla="*/ 18 w 35"/>
                <a:gd name="T49" fmla="*/ 13 h 48"/>
                <a:gd name="T50" fmla="*/ 12 w 35"/>
                <a:gd name="T51" fmla="*/ 23 h 48"/>
                <a:gd name="T52" fmla="*/ 18 w 35"/>
                <a:gd name="T53" fmla="*/ 42 h 48"/>
                <a:gd name="T54" fmla="*/ 30 w 35"/>
                <a:gd name="T55" fmla="*/ 47 h 48"/>
                <a:gd name="T56" fmla="*/ 35 w 35"/>
                <a:gd name="T57" fmla="*/ 4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8">
                  <a:moveTo>
                    <a:pt x="35" y="47"/>
                  </a:moveTo>
                  <a:cubicBezTo>
                    <a:pt x="35" y="47"/>
                    <a:pt x="34" y="48"/>
                    <a:pt x="30" y="48"/>
                  </a:cubicBezTo>
                  <a:cubicBezTo>
                    <a:pt x="29" y="48"/>
                    <a:pt x="27" y="48"/>
                    <a:pt x="24" y="47"/>
                  </a:cubicBezTo>
                  <a:cubicBezTo>
                    <a:pt x="22" y="47"/>
                    <a:pt x="19" y="45"/>
                    <a:pt x="17" y="43"/>
                  </a:cubicBezTo>
                  <a:cubicBezTo>
                    <a:pt x="13" y="39"/>
                    <a:pt x="10" y="31"/>
                    <a:pt x="11" y="23"/>
                  </a:cubicBezTo>
                  <a:cubicBezTo>
                    <a:pt x="12" y="19"/>
                    <a:pt x="14" y="15"/>
                    <a:pt x="18" y="12"/>
                  </a:cubicBezTo>
                  <a:cubicBezTo>
                    <a:pt x="19" y="11"/>
                    <a:pt x="22" y="10"/>
                    <a:pt x="24" y="10"/>
                  </a:cubicBezTo>
                  <a:cubicBezTo>
                    <a:pt x="26" y="10"/>
                    <a:pt x="29" y="11"/>
                    <a:pt x="31" y="12"/>
                  </a:cubicBezTo>
                  <a:cubicBezTo>
                    <a:pt x="33" y="14"/>
                    <a:pt x="34" y="16"/>
                    <a:pt x="34" y="19"/>
                  </a:cubicBezTo>
                  <a:cubicBezTo>
                    <a:pt x="35" y="21"/>
                    <a:pt x="34" y="23"/>
                    <a:pt x="32" y="25"/>
                  </a:cubicBezTo>
                  <a:cubicBezTo>
                    <a:pt x="29" y="29"/>
                    <a:pt x="25" y="30"/>
                    <a:pt x="21" y="29"/>
                  </a:cubicBezTo>
                  <a:cubicBezTo>
                    <a:pt x="12" y="29"/>
                    <a:pt x="6" y="24"/>
                    <a:pt x="3" y="18"/>
                  </a:cubicBezTo>
                  <a:cubicBezTo>
                    <a:pt x="1" y="16"/>
                    <a:pt x="0" y="13"/>
                    <a:pt x="1" y="11"/>
                  </a:cubicBezTo>
                  <a:cubicBezTo>
                    <a:pt x="1" y="8"/>
                    <a:pt x="2" y="6"/>
                    <a:pt x="2" y="5"/>
                  </a:cubicBezTo>
                  <a:cubicBezTo>
                    <a:pt x="3" y="3"/>
                    <a:pt x="4" y="2"/>
                    <a:pt x="4" y="1"/>
                  </a:cubicBezTo>
                  <a:cubicBezTo>
                    <a:pt x="4" y="0"/>
                    <a:pt x="5" y="0"/>
                    <a:pt x="5" y="0"/>
                  </a:cubicBezTo>
                  <a:cubicBezTo>
                    <a:pt x="5" y="0"/>
                    <a:pt x="4" y="0"/>
                    <a:pt x="4" y="1"/>
                  </a:cubicBezTo>
                  <a:cubicBezTo>
                    <a:pt x="4" y="2"/>
                    <a:pt x="3" y="3"/>
                    <a:pt x="3" y="5"/>
                  </a:cubicBezTo>
                  <a:cubicBezTo>
                    <a:pt x="2" y="6"/>
                    <a:pt x="1" y="8"/>
                    <a:pt x="1" y="11"/>
                  </a:cubicBezTo>
                  <a:cubicBezTo>
                    <a:pt x="1" y="13"/>
                    <a:pt x="2" y="15"/>
                    <a:pt x="4" y="18"/>
                  </a:cubicBezTo>
                  <a:cubicBezTo>
                    <a:pt x="7" y="23"/>
                    <a:pt x="13" y="28"/>
                    <a:pt x="21" y="28"/>
                  </a:cubicBezTo>
                  <a:cubicBezTo>
                    <a:pt x="24" y="29"/>
                    <a:pt x="29" y="28"/>
                    <a:pt x="31" y="24"/>
                  </a:cubicBezTo>
                  <a:cubicBezTo>
                    <a:pt x="33" y="23"/>
                    <a:pt x="33" y="21"/>
                    <a:pt x="33" y="19"/>
                  </a:cubicBezTo>
                  <a:cubicBezTo>
                    <a:pt x="33" y="17"/>
                    <a:pt x="32" y="15"/>
                    <a:pt x="30" y="13"/>
                  </a:cubicBezTo>
                  <a:cubicBezTo>
                    <a:pt x="27" y="10"/>
                    <a:pt x="22" y="11"/>
                    <a:pt x="18" y="13"/>
                  </a:cubicBezTo>
                  <a:cubicBezTo>
                    <a:pt x="15" y="16"/>
                    <a:pt x="13" y="19"/>
                    <a:pt x="12" y="23"/>
                  </a:cubicBezTo>
                  <a:cubicBezTo>
                    <a:pt x="11" y="31"/>
                    <a:pt x="14" y="38"/>
                    <a:pt x="18" y="42"/>
                  </a:cubicBezTo>
                  <a:cubicBezTo>
                    <a:pt x="22" y="47"/>
                    <a:pt x="27" y="48"/>
                    <a:pt x="30" y="47"/>
                  </a:cubicBezTo>
                  <a:cubicBezTo>
                    <a:pt x="34" y="47"/>
                    <a:pt x="35" y="47"/>
                    <a:pt x="35"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32">
              <a:extLst>
                <a:ext uri="{FF2B5EF4-FFF2-40B4-BE49-F238E27FC236}">
                  <a16:creationId xmlns:a16="http://schemas.microsoft.com/office/drawing/2014/main" id="{2ADBCD7D-4698-4972-B600-20186850F33E}"/>
                </a:ext>
              </a:extLst>
            </p:cNvPr>
            <p:cNvSpPr>
              <a:spLocks/>
            </p:cNvSpPr>
            <p:nvPr/>
          </p:nvSpPr>
          <p:spPr bwMode="auto">
            <a:xfrm>
              <a:off x="4862" y="2000"/>
              <a:ext cx="282" cy="35"/>
            </a:xfrm>
            <a:custGeom>
              <a:avLst/>
              <a:gdLst>
                <a:gd name="T0" fmla="*/ 119 w 119"/>
                <a:gd name="T1" fmla="*/ 1 h 15"/>
                <a:gd name="T2" fmla="*/ 115 w 119"/>
                <a:gd name="T3" fmla="*/ 4 h 15"/>
                <a:gd name="T4" fmla="*/ 103 w 119"/>
                <a:gd name="T5" fmla="*/ 10 h 15"/>
                <a:gd name="T6" fmla="*/ 83 w 119"/>
                <a:gd name="T7" fmla="*/ 11 h 15"/>
                <a:gd name="T8" fmla="*/ 58 w 119"/>
                <a:gd name="T9" fmla="*/ 6 h 15"/>
                <a:gd name="T10" fmla="*/ 34 w 119"/>
                <a:gd name="T11" fmla="*/ 2 h 15"/>
                <a:gd name="T12" fmla="*/ 15 w 119"/>
                <a:gd name="T13" fmla="*/ 5 h 15"/>
                <a:gd name="T14" fmla="*/ 3 w 119"/>
                <a:gd name="T15" fmla="*/ 11 h 15"/>
                <a:gd name="T16" fmla="*/ 0 w 119"/>
                <a:gd name="T17" fmla="*/ 15 h 15"/>
                <a:gd name="T18" fmla="*/ 3 w 119"/>
                <a:gd name="T19" fmla="*/ 11 h 15"/>
                <a:gd name="T20" fmla="*/ 14 w 119"/>
                <a:gd name="T21" fmla="*/ 4 h 15"/>
                <a:gd name="T22" fmla="*/ 34 w 119"/>
                <a:gd name="T23" fmla="*/ 1 h 15"/>
                <a:gd name="T24" fmla="*/ 59 w 119"/>
                <a:gd name="T25" fmla="*/ 5 h 15"/>
                <a:gd name="T26" fmla="*/ 83 w 119"/>
                <a:gd name="T27" fmla="*/ 10 h 15"/>
                <a:gd name="T28" fmla="*/ 103 w 119"/>
                <a:gd name="T29" fmla="*/ 9 h 15"/>
                <a:gd name="T30" fmla="*/ 119 w 119"/>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5">
                  <a:moveTo>
                    <a:pt x="119" y="1"/>
                  </a:moveTo>
                  <a:cubicBezTo>
                    <a:pt x="119" y="1"/>
                    <a:pt x="118" y="2"/>
                    <a:pt x="115" y="4"/>
                  </a:cubicBezTo>
                  <a:cubicBezTo>
                    <a:pt x="113" y="6"/>
                    <a:pt x="108" y="8"/>
                    <a:pt x="103" y="10"/>
                  </a:cubicBezTo>
                  <a:cubicBezTo>
                    <a:pt x="97" y="11"/>
                    <a:pt x="90" y="11"/>
                    <a:pt x="83" y="11"/>
                  </a:cubicBezTo>
                  <a:cubicBezTo>
                    <a:pt x="75" y="10"/>
                    <a:pt x="67" y="8"/>
                    <a:pt x="58" y="6"/>
                  </a:cubicBezTo>
                  <a:cubicBezTo>
                    <a:pt x="50" y="4"/>
                    <a:pt x="42" y="2"/>
                    <a:pt x="34" y="2"/>
                  </a:cubicBezTo>
                  <a:cubicBezTo>
                    <a:pt x="27" y="1"/>
                    <a:pt x="20" y="3"/>
                    <a:pt x="15" y="5"/>
                  </a:cubicBezTo>
                  <a:cubicBezTo>
                    <a:pt x="9" y="6"/>
                    <a:pt x="5" y="9"/>
                    <a:pt x="3" y="11"/>
                  </a:cubicBezTo>
                  <a:cubicBezTo>
                    <a:pt x="1" y="13"/>
                    <a:pt x="0" y="15"/>
                    <a:pt x="0" y="15"/>
                  </a:cubicBezTo>
                  <a:cubicBezTo>
                    <a:pt x="0" y="15"/>
                    <a:pt x="0" y="13"/>
                    <a:pt x="3" y="11"/>
                  </a:cubicBezTo>
                  <a:cubicBezTo>
                    <a:pt x="5" y="9"/>
                    <a:pt x="9" y="6"/>
                    <a:pt x="14" y="4"/>
                  </a:cubicBezTo>
                  <a:cubicBezTo>
                    <a:pt x="20" y="2"/>
                    <a:pt x="27" y="0"/>
                    <a:pt x="34" y="1"/>
                  </a:cubicBezTo>
                  <a:cubicBezTo>
                    <a:pt x="42" y="1"/>
                    <a:pt x="50" y="3"/>
                    <a:pt x="59" y="5"/>
                  </a:cubicBezTo>
                  <a:cubicBezTo>
                    <a:pt x="67" y="7"/>
                    <a:pt x="75" y="9"/>
                    <a:pt x="83" y="10"/>
                  </a:cubicBezTo>
                  <a:cubicBezTo>
                    <a:pt x="90" y="10"/>
                    <a:pt x="97" y="10"/>
                    <a:pt x="103" y="9"/>
                  </a:cubicBezTo>
                  <a:cubicBezTo>
                    <a:pt x="114" y="6"/>
                    <a:pt x="119" y="0"/>
                    <a:pt x="119"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33">
              <a:extLst>
                <a:ext uri="{FF2B5EF4-FFF2-40B4-BE49-F238E27FC236}">
                  <a16:creationId xmlns:a16="http://schemas.microsoft.com/office/drawing/2014/main" id="{5DE9E767-FEBE-489D-B1C3-1FC332DBC6F2}"/>
                </a:ext>
              </a:extLst>
            </p:cNvPr>
            <p:cNvSpPr>
              <a:spLocks/>
            </p:cNvSpPr>
            <p:nvPr/>
          </p:nvSpPr>
          <p:spPr bwMode="auto">
            <a:xfrm>
              <a:off x="4743" y="1705"/>
              <a:ext cx="411" cy="76"/>
            </a:xfrm>
            <a:custGeom>
              <a:avLst/>
              <a:gdLst>
                <a:gd name="T0" fmla="*/ 0 w 173"/>
                <a:gd name="T1" fmla="*/ 2 h 32"/>
                <a:gd name="T2" fmla="*/ 7 w 173"/>
                <a:gd name="T3" fmla="*/ 1 h 32"/>
                <a:gd name="T4" fmla="*/ 15 w 173"/>
                <a:gd name="T5" fmla="*/ 5 h 32"/>
                <a:gd name="T6" fmla="*/ 25 w 173"/>
                <a:gd name="T7" fmla="*/ 12 h 32"/>
                <a:gd name="T8" fmla="*/ 35 w 173"/>
                <a:gd name="T9" fmla="*/ 22 h 32"/>
                <a:gd name="T10" fmla="*/ 50 w 173"/>
                <a:gd name="T11" fmla="*/ 28 h 32"/>
                <a:gd name="T12" fmla="*/ 87 w 173"/>
                <a:gd name="T13" fmla="*/ 23 h 32"/>
                <a:gd name="T14" fmla="*/ 122 w 173"/>
                <a:gd name="T15" fmla="*/ 9 h 32"/>
                <a:gd name="T16" fmla="*/ 139 w 173"/>
                <a:gd name="T17" fmla="*/ 7 h 32"/>
                <a:gd name="T18" fmla="*/ 153 w 173"/>
                <a:gd name="T19" fmla="*/ 9 h 32"/>
                <a:gd name="T20" fmla="*/ 170 w 173"/>
                <a:gd name="T21" fmla="*/ 21 h 32"/>
                <a:gd name="T22" fmla="*/ 171 w 173"/>
                <a:gd name="T23" fmla="*/ 24 h 32"/>
                <a:gd name="T24" fmla="*/ 172 w 173"/>
                <a:gd name="T25" fmla="*/ 27 h 32"/>
                <a:gd name="T26" fmla="*/ 173 w 173"/>
                <a:gd name="T27" fmla="*/ 28 h 32"/>
                <a:gd name="T28" fmla="*/ 169 w 173"/>
                <a:gd name="T29" fmla="*/ 22 h 32"/>
                <a:gd name="T30" fmla="*/ 153 w 173"/>
                <a:gd name="T31" fmla="*/ 10 h 32"/>
                <a:gd name="T32" fmla="*/ 139 w 173"/>
                <a:gd name="T33" fmla="*/ 8 h 32"/>
                <a:gd name="T34" fmla="*/ 123 w 173"/>
                <a:gd name="T35" fmla="*/ 10 h 32"/>
                <a:gd name="T36" fmla="*/ 87 w 173"/>
                <a:gd name="T37" fmla="*/ 24 h 32"/>
                <a:gd name="T38" fmla="*/ 50 w 173"/>
                <a:gd name="T39" fmla="*/ 29 h 32"/>
                <a:gd name="T40" fmla="*/ 35 w 173"/>
                <a:gd name="T41" fmla="*/ 23 h 32"/>
                <a:gd name="T42" fmla="*/ 24 w 173"/>
                <a:gd name="T43" fmla="*/ 13 h 32"/>
                <a:gd name="T44" fmla="*/ 15 w 173"/>
                <a:gd name="T45" fmla="*/ 5 h 32"/>
                <a:gd name="T46" fmla="*/ 7 w 173"/>
                <a:gd name="T47" fmla="*/ 1 h 32"/>
                <a:gd name="T48" fmla="*/ 0 w 173"/>
                <a:gd name="T49"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3" h="32">
                  <a:moveTo>
                    <a:pt x="0" y="2"/>
                  </a:moveTo>
                  <a:cubicBezTo>
                    <a:pt x="0" y="3"/>
                    <a:pt x="2" y="0"/>
                    <a:pt x="7" y="1"/>
                  </a:cubicBezTo>
                  <a:cubicBezTo>
                    <a:pt x="10" y="1"/>
                    <a:pt x="12" y="3"/>
                    <a:pt x="15" y="5"/>
                  </a:cubicBezTo>
                  <a:cubicBezTo>
                    <a:pt x="18" y="7"/>
                    <a:pt x="21" y="9"/>
                    <a:pt x="25" y="12"/>
                  </a:cubicBezTo>
                  <a:cubicBezTo>
                    <a:pt x="28" y="15"/>
                    <a:pt x="31" y="19"/>
                    <a:pt x="35" y="22"/>
                  </a:cubicBezTo>
                  <a:cubicBezTo>
                    <a:pt x="39" y="25"/>
                    <a:pt x="44" y="27"/>
                    <a:pt x="50" y="28"/>
                  </a:cubicBezTo>
                  <a:cubicBezTo>
                    <a:pt x="62" y="31"/>
                    <a:pt x="75" y="28"/>
                    <a:pt x="87" y="23"/>
                  </a:cubicBezTo>
                  <a:cubicBezTo>
                    <a:pt x="99" y="18"/>
                    <a:pt x="111" y="12"/>
                    <a:pt x="122" y="9"/>
                  </a:cubicBezTo>
                  <a:cubicBezTo>
                    <a:pt x="128" y="7"/>
                    <a:pt x="134" y="6"/>
                    <a:pt x="139" y="7"/>
                  </a:cubicBezTo>
                  <a:cubicBezTo>
                    <a:pt x="144" y="7"/>
                    <a:pt x="149" y="8"/>
                    <a:pt x="153" y="9"/>
                  </a:cubicBezTo>
                  <a:cubicBezTo>
                    <a:pt x="162" y="12"/>
                    <a:pt x="167" y="17"/>
                    <a:pt x="170" y="21"/>
                  </a:cubicBezTo>
                  <a:cubicBezTo>
                    <a:pt x="171" y="22"/>
                    <a:pt x="171" y="23"/>
                    <a:pt x="171" y="24"/>
                  </a:cubicBezTo>
                  <a:cubicBezTo>
                    <a:pt x="172" y="25"/>
                    <a:pt x="172" y="26"/>
                    <a:pt x="172" y="27"/>
                  </a:cubicBezTo>
                  <a:cubicBezTo>
                    <a:pt x="173" y="28"/>
                    <a:pt x="173" y="28"/>
                    <a:pt x="173" y="28"/>
                  </a:cubicBezTo>
                  <a:cubicBezTo>
                    <a:pt x="173" y="29"/>
                    <a:pt x="172" y="26"/>
                    <a:pt x="169" y="22"/>
                  </a:cubicBezTo>
                  <a:cubicBezTo>
                    <a:pt x="167" y="18"/>
                    <a:pt x="161" y="13"/>
                    <a:pt x="153" y="10"/>
                  </a:cubicBezTo>
                  <a:cubicBezTo>
                    <a:pt x="149" y="9"/>
                    <a:pt x="144" y="8"/>
                    <a:pt x="139" y="8"/>
                  </a:cubicBezTo>
                  <a:cubicBezTo>
                    <a:pt x="134" y="8"/>
                    <a:pt x="128" y="9"/>
                    <a:pt x="123" y="10"/>
                  </a:cubicBezTo>
                  <a:cubicBezTo>
                    <a:pt x="111" y="13"/>
                    <a:pt x="100" y="19"/>
                    <a:pt x="87" y="24"/>
                  </a:cubicBezTo>
                  <a:cubicBezTo>
                    <a:pt x="75" y="29"/>
                    <a:pt x="62" y="32"/>
                    <a:pt x="50" y="29"/>
                  </a:cubicBezTo>
                  <a:cubicBezTo>
                    <a:pt x="44" y="28"/>
                    <a:pt x="39" y="26"/>
                    <a:pt x="35" y="23"/>
                  </a:cubicBezTo>
                  <a:cubicBezTo>
                    <a:pt x="31" y="19"/>
                    <a:pt x="27" y="16"/>
                    <a:pt x="24" y="13"/>
                  </a:cubicBezTo>
                  <a:cubicBezTo>
                    <a:pt x="21" y="10"/>
                    <a:pt x="18" y="7"/>
                    <a:pt x="15" y="5"/>
                  </a:cubicBezTo>
                  <a:cubicBezTo>
                    <a:pt x="12" y="3"/>
                    <a:pt x="9" y="2"/>
                    <a:pt x="7" y="1"/>
                  </a:cubicBezTo>
                  <a:cubicBezTo>
                    <a:pt x="2" y="1"/>
                    <a:pt x="0" y="3"/>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34">
              <a:extLst>
                <a:ext uri="{FF2B5EF4-FFF2-40B4-BE49-F238E27FC236}">
                  <a16:creationId xmlns:a16="http://schemas.microsoft.com/office/drawing/2014/main" id="{D5BEE7F2-D8AC-4180-A38C-42E9FFD2E3AD}"/>
                </a:ext>
              </a:extLst>
            </p:cNvPr>
            <p:cNvSpPr>
              <a:spLocks/>
            </p:cNvSpPr>
            <p:nvPr/>
          </p:nvSpPr>
          <p:spPr bwMode="auto">
            <a:xfrm>
              <a:off x="4831" y="1601"/>
              <a:ext cx="347" cy="99"/>
            </a:xfrm>
            <a:custGeom>
              <a:avLst/>
              <a:gdLst>
                <a:gd name="T0" fmla="*/ 144 w 146"/>
                <a:gd name="T1" fmla="*/ 0 h 42"/>
                <a:gd name="T2" fmla="*/ 145 w 146"/>
                <a:gd name="T3" fmla="*/ 3 h 42"/>
                <a:gd name="T4" fmla="*/ 144 w 146"/>
                <a:gd name="T5" fmla="*/ 12 h 42"/>
                <a:gd name="T6" fmla="*/ 138 w 146"/>
                <a:gd name="T7" fmla="*/ 25 h 42"/>
                <a:gd name="T8" fmla="*/ 121 w 146"/>
                <a:gd name="T9" fmla="*/ 35 h 42"/>
                <a:gd name="T10" fmla="*/ 98 w 146"/>
                <a:gd name="T11" fmla="*/ 30 h 42"/>
                <a:gd name="T12" fmla="*/ 89 w 146"/>
                <a:gd name="T13" fmla="*/ 20 h 42"/>
                <a:gd name="T14" fmla="*/ 90 w 146"/>
                <a:gd name="T15" fmla="*/ 13 h 42"/>
                <a:gd name="T16" fmla="*/ 96 w 146"/>
                <a:gd name="T17" fmla="*/ 10 h 42"/>
                <a:gd name="T18" fmla="*/ 103 w 146"/>
                <a:gd name="T19" fmla="*/ 12 h 42"/>
                <a:gd name="T20" fmla="*/ 107 w 146"/>
                <a:gd name="T21" fmla="*/ 19 h 42"/>
                <a:gd name="T22" fmla="*/ 100 w 146"/>
                <a:gd name="T23" fmla="*/ 33 h 42"/>
                <a:gd name="T24" fmla="*/ 85 w 146"/>
                <a:gd name="T25" fmla="*/ 40 h 42"/>
                <a:gd name="T26" fmla="*/ 69 w 146"/>
                <a:gd name="T27" fmla="*/ 42 h 42"/>
                <a:gd name="T28" fmla="*/ 53 w 146"/>
                <a:gd name="T29" fmla="*/ 36 h 42"/>
                <a:gd name="T30" fmla="*/ 46 w 146"/>
                <a:gd name="T31" fmla="*/ 22 h 42"/>
                <a:gd name="T32" fmla="*/ 53 w 146"/>
                <a:gd name="T33" fmla="*/ 8 h 42"/>
                <a:gd name="T34" fmla="*/ 68 w 146"/>
                <a:gd name="T35" fmla="*/ 10 h 42"/>
                <a:gd name="T36" fmla="*/ 70 w 146"/>
                <a:gd name="T37" fmla="*/ 24 h 42"/>
                <a:gd name="T38" fmla="*/ 61 w 146"/>
                <a:gd name="T39" fmla="*/ 33 h 42"/>
                <a:gd name="T40" fmla="*/ 37 w 146"/>
                <a:gd name="T41" fmla="*/ 36 h 42"/>
                <a:gd name="T42" fmla="*/ 7 w 146"/>
                <a:gd name="T43" fmla="*/ 20 h 42"/>
                <a:gd name="T44" fmla="*/ 1 w 146"/>
                <a:gd name="T45" fmla="*/ 13 h 42"/>
                <a:gd name="T46" fmla="*/ 0 w 146"/>
                <a:gd name="T47" fmla="*/ 10 h 42"/>
                <a:gd name="T48" fmla="*/ 7 w 146"/>
                <a:gd name="T49" fmla="*/ 20 h 42"/>
                <a:gd name="T50" fmla="*/ 37 w 146"/>
                <a:gd name="T51" fmla="*/ 35 h 42"/>
                <a:gd name="T52" fmla="*/ 60 w 146"/>
                <a:gd name="T53" fmla="*/ 32 h 42"/>
                <a:gd name="T54" fmla="*/ 69 w 146"/>
                <a:gd name="T55" fmla="*/ 23 h 42"/>
                <a:gd name="T56" fmla="*/ 67 w 146"/>
                <a:gd name="T57" fmla="*/ 11 h 42"/>
                <a:gd name="T58" fmla="*/ 54 w 146"/>
                <a:gd name="T59" fmla="*/ 9 h 42"/>
                <a:gd name="T60" fmla="*/ 47 w 146"/>
                <a:gd name="T61" fmla="*/ 22 h 42"/>
                <a:gd name="T62" fmla="*/ 54 w 146"/>
                <a:gd name="T63" fmla="*/ 35 h 42"/>
                <a:gd name="T64" fmla="*/ 69 w 146"/>
                <a:gd name="T65" fmla="*/ 41 h 42"/>
                <a:gd name="T66" fmla="*/ 85 w 146"/>
                <a:gd name="T67" fmla="*/ 39 h 42"/>
                <a:gd name="T68" fmla="*/ 99 w 146"/>
                <a:gd name="T69" fmla="*/ 32 h 42"/>
                <a:gd name="T70" fmla="*/ 105 w 146"/>
                <a:gd name="T71" fmla="*/ 19 h 42"/>
                <a:gd name="T72" fmla="*/ 103 w 146"/>
                <a:gd name="T73" fmla="*/ 13 h 42"/>
                <a:gd name="T74" fmla="*/ 96 w 146"/>
                <a:gd name="T75" fmla="*/ 11 h 42"/>
                <a:gd name="T76" fmla="*/ 91 w 146"/>
                <a:gd name="T77" fmla="*/ 14 h 42"/>
                <a:gd name="T78" fmla="*/ 90 w 146"/>
                <a:gd name="T79" fmla="*/ 20 h 42"/>
                <a:gd name="T80" fmla="*/ 98 w 146"/>
                <a:gd name="T81" fmla="*/ 29 h 42"/>
                <a:gd name="T82" fmla="*/ 121 w 146"/>
                <a:gd name="T83" fmla="*/ 34 h 42"/>
                <a:gd name="T84" fmla="*/ 137 w 146"/>
                <a:gd name="T85" fmla="*/ 25 h 42"/>
                <a:gd name="T86" fmla="*/ 144 w 146"/>
                <a:gd name="T87" fmla="*/ 12 h 42"/>
                <a:gd name="T88" fmla="*/ 144 w 146"/>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 h="42">
                  <a:moveTo>
                    <a:pt x="144" y="0"/>
                  </a:moveTo>
                  <a:cubicBezTo>
                    <a:pt x="144" y="0"/>
                    <a:pt x="145" y="1"/>
                    <a:pt x="145" y="3"/>
                  </a:cubicBezTo>
                  <a:cubicBezTo>
                    <a:pt x="145" y="5"/>
                    <a:pt x="145" y="8"/>
                    <a:pt x="144" y="12"/>
                  </a:cubicBezTo>
                  <a:cubicBezTo>
                    <a:pt x="143" y="16"/>
                    <a:pt x="141" y="21"/>
                    <a:pt x="138" y="25"/>
                  </a:cubicBezTo>
                  <a:cubicBezTo>
                    <a:pt x="134" y="30"/>
                    <a:pt x="128" y="34"/>
                    <a:pt x="121" y="35"/>
                  </a:cubicBezTo>
                  <a:cubicBezTo>
                    <a:pt x="114" y="37"/>
                    <a:pt x="105" y="35"/>
                    <a:pt x="98" y="30"/>
                  </a:cubicBezTo>
                  <a:cubicBezTo>
                    <a:pt x="94" y="28"/>
                    <a:pt x="91" y="25"/>
                    <a:pt x="89" y="20"/>
                  </a:cubicBezTo>
                  <a:cubicBezTo>
                    <a:pt x="88" y="18"/>
                    <a:pt x="88" y="15"/>
                    <a:pt x="90" y="13"/>
                  </a:cubicBezTo>
                  <a:cubicBezTo>
                    <a:pt x="91" y="11"/>
                    <a:pt x="94" y="10"/>
                    <a:pt x="96" y="10"/>
                  </a:cubicBezTo>
                  <a:cubicBezTo>
                    <a:pt x="99" y="9"/>
                    <a:pt x="102" y="10"/>
                    <a:pt x="103" y="12"/>
                  </a:cubicBezTo>
                  <a:cubicBezTo>
                    <a:pt x="105" y="14"/>
                    <a:pt x="106" y="16"/>
                    <a:pt x="107" y="19"/>
                  </a:cubicBezTo>
                  <a:cubicBezTo>
                    <a:pt x="107" y="24"/>
                    <a:pt x="104" y="30"/>
                    <a:pt x="100" y="33"/>
                  </a:cubicBezTo>
                  <a:cubicBezTo>
                    <a:pt x="96" y="36"/>
                    <a:pt x="91" y="38"/>
                    <a:pt x="85" y="40"/>
                  </a:cubicBezTo>
                  <a:cubicBezTo>
                    <a:pt x="80" y="41"/>
                    <a:pt x="75" y="42"/>
                    <a:pt x="69" y="42"/>
                  </a:cubicBezTo>
                  <a:cubicBezTo>
                    <a:pt x="63" y="41"/>
                    <a:pt x="58" y="40"/>
                    <a:pt x="53" y="36"/>
                  </a:cubicBezTo>
                  <a:cubicBezTo>
                    <a:pt x="49" y="33"/>
                    <a:pt x="46" y="27"/>
                    <a:pt x="46" y="22"/>
                  </a:cubicBezTo>
                  <a:cubicBezTo>
                    <a:pt x="46" y="16"/>
                    <a:pt x="49" y="11"/>
                    <a:pt x="53" y="8"/>
                  </a:cubicBezTo>
                  <a:cubicBezTo>
                    <a:pt x="58" y="6"/>
                    <a:pt x="64" y="7"/>
                    <a:pt x="68" y="10"/>
                  </a:cubicBezTo>
                  <a:cubicBezTo>
                    <a:pt x="72" y="13"/>
                    <a:pt x="72" y="19"/>
                    <a:pt x="70" y="24"/>
                  </a:cubicBezTo>
                  <a:cubicBezTo>
                    <a:pt x="68" y="28"/>
                    <a:pt x="65" y="31"/>
                    <a:pt x="61" y="33"/>
                  </a:cubicBezTo>
                  <a:cubicBezTo>
                    <a:pt x="53" y="37"/>
                    <a:pt x="44" y="37"/>
                    <a:pt x="37" y="36"/>
                  </a:cubicBezTo>
                  <a:cubicBezTo>
                    <a:pt x="22" y="34"/>
                    <a:pt x="12" y="26"/>
                    <a:pt x="7" y="20"/>
                  </a:cubicBezTo>
                  <a:cubicBezTo>
                    <a:pt x="4" y="17"/>
                    <a:pt x="2" y="14"/>
                    <a:pt x="1" y="13"/>
                  </a:cubicBezTo>
                  <a:cubicBezTo>
                    <a:pt x="0" y="11"/>
                    <a:pt x="0" y="10"/>
                    <a:pt x="0" y="10"/>
                  </a:cubicBezTo>
                  <a:cubicBezTo>
                    <a:pt x="0" y="10"/>
                    <a:pt x="2" y="14"/>
                    <a:pt x="7" y="20"/>
                  </a:cubicBezTo>
                  <a:cubicBezTo>
                    <a:pt x="13" y="26"/>
                    <a:pt x="23" y="33"/>
                    <a:pt x="37" y="35"/>
                  </a:cubicBezTo>
                  <a:cubicBezTo>
                    <a:pt x="44" y="36"/>
                    <a:pt x="53" y="36"/>
                    <a:pt x="60" y="32"/>
                  </a:cubicBezTo>
                  <a:cubicBezTo>
                    <a:pt x="64" y="30"/>
                    <a:pt x="68" y="27"/>
                    <a:pt x="69" y="23"/>
                  </a:cubicBezTo>
                  <a:cubicBezTo>
                    <a:pt x="71" y="19"/>
                    <a:pt x="71" y="14"/>
                    <a:pt x="67" y="11"/>
                  </a:cubicBezTo>
                  <a:cubicBezTo>
                    <a:pt x="64" y="8"/>
                    <a:pt x="58" y="7"/>
                    <a:pt x="54" y="9"/>
                  </a:cubicBezTo>
                  <a:cubicBezTo>
                    <a:pt x="50" y="12"/>
                    <a:pt x="47" y="17"/>
                    <a:pt x="47" y="22"/>
                  </a:cubicBezTo>
                  <a:cubicBezTo>
                    <a:pt x="47" y="27"/>
                    <a:pt x="50" y="32"/>
                    <a:pt x="54" y="35"/>
                  </a:cubicBezTo>
                  <a:cubicBezTo>
                    <a:pt x="58" y="38"/>
                    <a:pt x="64" y="40"/>
                    <a:pt x="69" y="41"/>
                  </a:cubicBezTo>
                  <a:cubicBezTo>
                    <a:pt x="74" y="41"/>
                    <a:pt x="80" y="40"/>
                    <a:pt x="85" y="39"/>
                  </a:cubicBezTo>
                  <a:cubicBezTo>
                    <a:pt x="90" y="37"/>
                    <a:pt x="95" y="35"/>
                    <a:pt x="99" y="32"/>
                  </a:cubicBezTo>
                  <a:cubicBezTo>
                    <a:pt x="103" y="29"/>
                    <a:pt x="106" y="24"/>
                    <a:pt x="105" y="19"/>
                  </a:cubicBezTo>
                  <a:cubicBezTo>
                    <a:pt x="105" y="17"/>
                    <a:pt x="104" y="15"/>
                    <a:pt x="103" y="13"/>
                  </a:cubicBezTo>
                  <a:cubicBezTo>
                    <a:pt x="101" y="11"/>
                    <a:pt x="99" y="11"/>
                    <a:pt x="96" y="11"/>
                  </a:cubicBezTo>
                  <a:cubicBezTo>
                    <a:pt x="94" y="11"/>
                    <a:pt x="92" y="12"/>
                    <a:pt x="91" y="14"/>
                  </a:cubicBezTo>
                  <a:cubicBezTo>
                    <a:pt x="89" y="15"/>
                    <a:pt x="89" y="18"/>
                    <a:pt x="90" y="20"/>
                  </a:cubicBezTo>
                  <a:cubicBezTo>
                    <a:pt x="92" y="24"/>
                    <a:pt x="95" y="27"/>
                    <a:pt x="98" y="29"/>
                  </a:cubicBezTo>
                  <a:cubicBezTo>
                    <a:pt x="105" y="34"/>
                    <a:pt x="114" y="36"/>
                    <a:pt x="121" y="34"/>
                  </a:cubicBezTo>
                  <a:cubicBezTo>
                    <a:pt x="128" y="33"/>
                    <a:pt x="133" y="29"/>
                    <a:pt x="137" y="25"/>
                  </a:cubicBezTo>
                  <a:cubicBezTo>
                    <a:pt x="141" y="21"/>
                    <a:pt x="143" y="16"/>
                    <a:pt x="144" y="12"/>
                  </a:cubicBezTo>
                  <a:cubicBezTo>
                    <a:pt x="146" y="4"/>
                    <a:pt x="144" y="0"/>
                    <a:pt x="1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35">
              <a:extLst>
                <a:ext uri="{FF2B5EF4-FFF2-40B4-BE49-F238E27FC236}">
                  <a16:creationId xmlns:a16="http://schemas.microsoft.com/office/drawing/2014/main" id="{9A19C6E0-22F1-466C-B49C-D607B299DED9}"/>
                </a:ext>
              </a:extLst>
            </p:cNvPr>
            <p:cNvSpPr>
              <a:spLocks/>
            </p:cNvSpPr>
            <p:nvPr/>
          </p:nvSpPr>
          <p:spPr bwMode="auto">
            <a:xfrm>
              <a:off x="4689" y="1755"/>
              <a:ext cx="128" cy="121"/>
            </a:xfrm>
            <a:custGeom>
              <a:avLst/>
              <a:gdLst>
                <a:gd name="T0" fmla="*/ 0 w 54"/>
                <a:gd name="T1" fmla="*/ 4 h 51"/>
                <a:gd name="T2" fmla="*/ 2 w 54"/>
                <a:gd name="T3" fmla="*/ 4 h 51"/>
                <a:gd name="T4" fmla="*/ 7 w 54"/>
                <a:gd name="T5" fmla="*/ 2 h 51"/>
                <a:gd name="T6" fmla="*/ 24 w 54"/>
                <a:gd name="T7" fmla="*/ 3 h 51"/>
                <a:gd name="T8" fmla="*/ 35 w 54"/>
                <a:gd name="T9" fmla="*/ 10 h 51"/>
                <a:gd name="T10" fmla="*/ 40 w 54"/>
                <a:gd name="T11" fmla="*/ 24 h 51"/>
                <a:gd name="T12" fmla="*/ 34 w 54"/>
                <a:gd name="T13" fmla="*/ 38 h 51"/>
                <a:gd name="T14" fmla="*/ 18 w 54"/>
                <a:gd name="T15" fmla="*/ 44 h 51"/>
                <a:gd name="T16" fmla="*/ 10 w 54"/>
                <a:gd name="T17" fmla="*/ 40 h 51"/>
                <a:gd name="T18" fmla="*/ 7 w 54"/>
                <a:gd name="T19" fmla="*/ 32 h 51"/>
                <a:gd name="T20" fmla="*/ 12 w 54"/>
                <a:gd name="T21" fmla="*/ 25 h 51"/>
                <a:gd name="T22" fmla="*/ 19 w 54"/>
                <a:gd name="T23" fmla="*/ 22 h 51"/>
                <a:gd name="T24" fmla="*/ 45 w 54"/>
                <a:gd name="T25" fmla="*/ 28 h 51"/>
                <a:gd name="T26" fmla="*/ 53 w 54"/>
                <a:gd name="T27" fmla="*/ 44 h 51"/>
                <a:gd name="T28" fmla="*/ 53 w 54"/>
                <a:gd name="T29" fmla="*/ 51 h 51"/>
                <a:gd name="T30" fmla="*/ 53 w 54"/>
                <a:gd name="T31" fmla="*/ 44 h 51"/>
                <a:gd name="T32" fmla="*/ 44 w 54"/>
                <a:gd name="T33" fmla="*/ 29 h 51"/>
                <a:gd name="T34" fmla="*/ 20 w 54"/>
                <a:gd name="T35" fmla="*/ 23 h 51"/>
                <a:gd name="T36" fmla="*/ 13 w 54"/>
                <a:gd name="T37" fmla="*/ 26 h 51"/>
                <a:gd name="T38" fmla="*/ 9 w 54"/>
                <a:gd name="T39" fmla="*/ 32 h 51"/>
                <a:gd name="T40" fmla="*/ 11 w 54"/>
                <a:gd name="T41" fmla="*/ 39 h 51"/>
                <a:gd name="T42" fmla="*/ 18 w 54"/>
                <a:gd name="T43" fmla="*/ 42 h 51"/>
                <a:gd name="T44" fmla="*/ 33 w 54"/>
                <a:gd name="T45" fmla="*/ 37 h 51"/>
                <a:gd name="T46" fmla="*/ 39 w 54"/>
                <a:gd name="T47" fmla="*/ 24 h 51"/>
                <a:gd name="T48" fmla="*/ 34 w 54"/>
                <a:gd name="T49" fmla="*/ 11 h 51"/>
                <a:gd name="T50" fmla="*/ 24 w 54"/>
                <a:gd name="T51" fmla="*/ 4 h 51"/>
                <a:gd name="T52" fmla="*/ 7 w 54"/>
                <a:gd name="T53" fmla="*/ 3 h 51"/>
                <a:gd name="T54" fmla="*/ 2 w 54"/>
                <a:gd name="T55" fmla="*/ 4 h 51"/>
                <a:gd name="T56" fmla="*/ 0 w 54"/>
                <a:gd name="T57"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1">
                  <a:moveTo>
                    <a:pt x="0" y="4"/>
                  </a:moveTo>
                  <a:cubicBezTo>
                    <a:pt x="0" y="4"/>
                    <a:pt x="1" y="4"/>
                    <a:pt x="2" y="4"/>
                  </a:cubicBezTo>
                  <a:cubicBezTo>
                    <a:pt x="3" y="3"/>
                    <a:pt x="4" y="3"/>
                    <a:pt x="7" y="2"/>
                  </a:cubicBezTo>
                  <a:cubicBezTo>
                    <a:pt x="11" y="1"/>
                    <a:pt x="17" y="0"/>
                    <a:pt x="24" y="3"/>
                  </a:cubicBezTo>
                  <a:cubicBezTo>
                    <a:pt x="28" y="5"/>
                    <a:pt x="32" y="7"/>
                    <a:pt x="35" y="10"/>
                  </a:cubicBezTo>
                  <a:cubicBezTo>
                    <a:pt x="38" y="14"/>
                    <a:pt x="40" y="18"/>
                    <a:pt x="40" y="24"/>
                  </a:cubicBezTo>
                  <a:cubicBezTo>
                    <a:pt x="40" y="29"/>
                    <a:pt x="38" y="34"/>
                    <a:pt x="34" y="38"/>
                  </a:cubicBezTo>
                  <a:cubicBezTo>
                    <a:pt x="30" y="42"/>
                    <a:pt x="24" y="44"/>
                    <a:pt x="18" y="44"/>
                  </a:cubicBezTo>
                  <a:cubicBezTo>
                    <a:pt x="15" y="43"/>
                    <a:pt x="12" y="42"/>
                    <a:pt x="10" y="40"/>
                  </a:cubicBezTo>
                  <a:cubicBezTo>
                    <a:pt x="8" y="38"/>
                    <a:pt x="7" y="35"/>
                    <a:pt x="7" y="32"/>
                  </a:cubicBezTo>
                  <a:cubicBezTo>
                    <a:pt x="8" y="29"/>
                    <a:pt x="10" y="27"/>
                    <a:pt x="12" y="25"/>
                  </a:cubicBezTo>
                  <a:cubicBezTo>
                    <a:pt x="14" y="23"/>
                    <a:pt x="17" y="22"/>
                    <a:pt x="19" y="22"/>
                  </a:cubicBezTo>
                  <a:cubicBezTo>
                    <a:pt x="30" y="19"/>
                    <a:pt x="39" y="23"/>
                    <a:pt x="45" y="28"/>
                  </a:cubicBezTo>
                  <a:cubicBezTo>
                    <a:pt x="51" y="34"/>
                    <a:pt x="53" y="40"/>
                    <a:pt x="53" y="44"/>
                  </a:cubicBezTo>
                  <a:cubicBezTo>
                    <a:pt x="54" y="48"/>
                    <a:pt x="53" y="51"/>
                    <a:pt x="53" y="51"/>
                  </a:cubicBezTo>
                  <a:cubicBezTo>
                    <a:pt x="53" y="51"/>
                    <a:pt x="54" y="48"/>
                    <a:pt x="53" y="44"/>
                  </a:cubicBezTo>
                  <a:cubicBezTo>
                    <a:pt x="52" y="40"/>
                    <a:pt x="50" y="34"/>
                    <a:pt x="44" y="29"/>
                  </a:cubicBezTo>
                  <a:cubicBezTo>
                    <a:pt x="39" y="24"/>
                    <a:pt x="29" y="20"/>
                    <a:pt x="20" y="23"/>
                  </a:cubicBezTo>
                  <a:cubicBezTo>
                    <a:pt x="17" y="23"/>
                    <a:pt x="15" y="24"/>
                    <a:pt x="13" y="26"/>
                  </a:cubicBezTo>
                  <a:cubicBezTo>
                    <a:pt x="11" y="27"/>
                    <a:pt x="9" y="30"/>
                    <a:pt x="9" y="32"/>
                  </a:cubicBezTo>
                  <a:cubicBezTo>
                    <a:pt x="8" y="35"/>
                    <a:pt x="9" y="37"/>
                    <a:pt x="11" y="39"/>
                  </a:cubicBezTo>
                  <a:cubicBezTo>
                    <a:pt x="13" y="41"/>
                    <a:pt x="15" y="42"/>
                    <a:pt x="18" y="42"/>
                  </a:cubicBezTo>
                  <a:cubicBezTo>
                    <a:pt x="24" y="43"/>
                    <a:pt x="29" y="41"/>
                    <a:pt x="33" y="37"/>
                  </a:cubicBezTo>
                  <a:cubicBezTo>
                    <a:pt x="37" y="34"/>
                    <a:pt x="39" y="28"/>
                    <a:pt x="39" y="24"/>
                  </a:cubicBezTo>
                  <a:cubicBezTo>
                    <a:pt x="39" y="19"/>
                    <a:pt x="37" y="14"/>
                    <a:pt x="34" y="11"/>
                  </a:cubicBezTo>
                  <a:cubicBezTo>
                    <a:pt x="31" y="8"/>
                    <a:pt x="28" y="5"/>
                    <a:pt x="24" y="4"/>
                  </a:cubicBezTo>
                  <a:cubicBezTo>
                    <a:pt x="17" y="1"/>
                    <a:pt x="11" y="2"/>
                    <a:pt x="7" y="3"/>
                  </a:cubicBezTo>
                  <a:cubicBezTo>
                    <a:pt x="5" y="3"/>
                    <a:pt x="3" y="4"/>
                    <a:pt x="2" y="4"/>
                  </a:cubicBezTo>
                  <a:cubicBezTo>
                    <a:pt x="1" y="4"/>
                    <a:pt x="0" y="5"/>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36">
              <a:extLst>
                <a:ext uri="{FF2B5EF4-FFF2-40B4-BE49-F238E27FC236}">
                  <a16:creationId xmlns:a16="http://schemas.microsoft.com/office/drawing/2014/main" id="{33F68926-72DC-4D31-BD3C-B605AC717F44}"/>
                </a:ext>
              </a:extLst>
            </p:cNvPr>
            <p:cNvSpPr>
              <a:spLocks/>
            </p:cNvSpPr>
            <p:nvPr/>
          </p:nvSpPr>
          <p:spPr bwMode="auto">
            <a:xfrm>
              <a:off x="4601" y="1855"/>
              <a:ext cx="130" cy="116"/>
            </a:xfrm>
            <a:custGeom>
              <a:avLst/>
              <a:gdLst>
                <a:gd name="T0" fmla="*/ 54 w 55"/>
                <a:gd name="T1" fmla="*/ 49 h 49"/>
                <a:gd name="T2" fmla="*/ 55 w 55"/>
                <a:gd name="T3" fmla="*/ 46 h 49"/>
                <a:gd name="T4" fmla="*/ 51 w 55"/>
                <a:gd name="T5" fmla="*/ 37 h 49"/>
                <a:gd name="T6" fmla="*/ 39 w 55"/>
                <a:gd name="T7" fmla="*/ 32 h 49"/>
                <a:gd name="T8" fmla="*/ 21 w 55"/>
                <a:gd name="T9" fmla="*/ 34 h 49"/>
                <a:gd name="T10" fmla="*/ 5 w 55"/>
                <a:gd name="T11" fmla="*/ 26 h 49"/>
                <a:gd name="T12" fmla="*/ 0 w 55"/>
                <a:gd name="T13" fmla="*/ 12 h 49"/>
                <a:gd name="T14" fmla="*/ 3 w 55"/>
                <a:gd name="T15" fmla="*/ 3 h 49"/>
                <a:gd name="T16" fmla="*/ 5 w 55"/>
                <a:gd name="T17" fmla="*/ 0 h 49"/>
                <a:gd name="T18" fmla="*/ 3 w 55"/>
                <a:gd name="T19" fmla="*/ 3 h 49"/>
                <a:gd name="T20" fmla="*/ 1 w 55"/>
                <a:gd name="T21" fmla="*/ 12 h 49"/>
                <a:gd name="T22" fmla="*/ 6 w 55"/>
                <a:gd name="T23" fmla="*/ 25 h 49"/>
                <a:gd name="T24" fmla="*/ 21 w 55"/>
                <a:gd name="T25" fmla="*/ 33 h 49"/>
                <a:gd name="T26" fmla="*/ 38 w 55"/>
                <a:gd name="T27" fmla="*/ 31 h 49"/>
                <a:gd name="T28" fmla="*/ 46 w 55"/>
                <a:gd name="T29" fmla="*/ 32 h 49"/>
                <a:gd name="T30" fmla="*/ 52 w 55"/>
                <a:gd name="T31" fmla="*/ 37 h 49"/>
                <a:gd name="T32" fmla="*/ 55 w 55"/>
                <a:gd name="T33" fmla="*/ 46 h 49"/>
                <a:gd name="T34" fmla="*/ 54 w 55"/>
                <a:gd name="T35"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49">
                  <a:moveTo>
                    <a:pt x="54" y="49"/>
                  </a:moveTo>
                  <a:cubicBezTo>
                    <a:pt x="54" y="49"/>
                    <a:pt x="55" y="48"/>
                    <a:pt x="55" y="46"/>
                  </a:cubicBezTo>
                  <a:cubicBezTo>
                    <a:pt x="54" y="44"/>
                    <a:pt x="53" y="40"/>
                    <a:pt x="51" y="37"/>
                  </a:cubicBezTo>
                  <a:cubicBezTo>
                    <a:pt x="49" y="33"/>
                    <a:pt x="44" y="32"/>
                    <a:pt x="39" y="32"/>
                  </a:cubicBezTo>
                  <a:cubicBezTo>
                    <a:pt x="33" y="32"/>
                    <a:pt x="27" y="35"/>
                    <a:pt x="21" y="34"/>
                  </a:cubicBezTo>
                  <a:cubicBezTo>
                    <a:pt x="14" y="34"/>
                    <a:pt x="8" y="30"/>
                    <a:pt x="5" y="26"/>
                  </a:cubicBezTo>
                  <a:cubicBezTo>
                    <a:pt x="1" y="22"/>
                    <a:pt x="0" y="16"/>
                    <a:pt x="0" y="12"/>
                  </a:cubicBezTo>
                  <a:cubicBezTo>
                    <a:pt x="0" y="8"/>
                    <a:pt x="2" y="5"/>
                    <a:pt x="3" y="3"/>
                  </a:cubicBezTo>
                  <a:cubicBezTo>
                    <a:pt x="4" y="1"/>
                    <a:pt x="5" y="0"/>
                    <a:pt x="5" y="0"/>
                  </a:cubicBezTo>
                  <a:cubicBezTo>
                    <a:pt x="6" y="0"/>
                    <a:pt x="4" y="1"/>
                    <a:pt x="3" y="3"/>
                  </a:cubicBezTo>
                  <a:cubicBezTo>
                    <a:pt x="2" y="5"/>
                    <a:pt x="1" y="8"/>
                    <a:pt x="1" y="12"/>
                  </a:cubicBezTo>
                  <a:cubicBezTo>
                    <a:pt x="1" y="16"/>
                    <a:pt x="3" y="21"/>
                    <a:pt x="6" y="25"/>
                  </a:cubicBezTo>
                  <a:cubicBezTo>
                    <a:pt x="9" y="29"/>
                    <a:pt x="15" y="32"/>
                    <a:pt x="21" y="33"/>
                  </a:cubicBezTo>
                  <a:cubicBezTo>
                    <a:pt x="27" y="33"/>
                    <a:pt x="33" y="31"/>
                    <a:pt x="38" y="31"/>
                  </a:cubicBezTo>
                  <a:cubicBezTo>
                    <a:pt x="41" y="31"/>
                    <a:pt x="44" y="31"/>
                    <a:pt x="46" y="32"/>
                  </a:cubicBezTo>
                  <a:cubicBezTo>
                    <a:pt x="49" y="33"/>
                    <a:pt x="51" y="35"/>
                    <a:pt x="52" y="37"/>
                  </a:cubicBezTo>
                  <a:cubicBezTo>
                    <a:pt x="54" y="40"/>
                    <a:pt x="55" y="43"/>
                    <a:pt x="55" y="46"/>
                  </a:cubicBezTo>
                  <a:cubicBezTo>
                    <a:pt x="55" y="48"/>
                    <a:pt x="54" y="49"/>
                    <a:pt x="54"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37">
              <a:extLst>
                <a:ext uri="{FF2B5EF4-FFF2-40B4-BE49-F238E27FC236}">
                  <a16:creationId xmlns:a16="http://schemas.microsoft.com/office/drawing/2014/main" id="{0143867D-6C2E-4B00-98CB-54215D69EC11}"/>
                </a:ext>
              </a:extLst>
            </p:cNvPr>
            <p:cNvSpPr>
              <a:spLocks/>
            </p:cNvSpPr>
            <p:nvPr/>
          </p:nvSpPr>
          <p:spPr bwMode="auto">
            <a:xfrm>
              <a:off x="4587" y="2028"/>
              <a:ext cx="106" cy="157"/>
            </a:xfrm>
            <a:custGeom>
              <a:avLst/>
              <a:gdLst>
                <a:gd name="T0" fmla="*/ 16 w 45"/>
                <a:gd name="T1" fmla="*/ 66 h 66"/>
                <a:gd name="T2" fmla="*/ 22 w 45"/>
                <a:gd name="T3" fmla="*/ 64 h 66"/>
                <a:gd name="T4" fmla="*/ 26 w 45"/>
                <a:gd name="T5" fmla="*/ 60 h 66"/>
                <a:gd name="T6" fmla="*/ 27 w 45"/>
                <a:gd name="T7" fmla="*/ 51 h 66"/>
                <a:gd name="T8" fmla="*/ 24 w 45"/>
                <a:gd name="T9" fmla="*/ 40 h 66"/>
                <a:gd name="T10" fmla="*/ 19 w 45"/>
                <a:gd name="T11" fmla="*/ 30 h 66"/>
                <a:gd name="T12" fmla="*/ 7 w 45"/>
                <a:gd name="T13" fmla="*/ 25 h 66"/>
                <a:gd name="T14" fmla="*/ 3 w 45"/>
                <a:gd name="T15" fmla="*/ 30 h 66"/>
                <a:gd name="T16" fmla="*/ 3 w 45"/>
                <a:gd name="T17" fmla="*/ 37 h 66"/>
                <a:gd name="T18" fmla="*/ 14 w 45"/>
                <a:gd name="T19" fmla="*/ 44 h 66"/>
                <a:gd name="T20" fmla="*/ 26 w 45"/>
                <a:gd name="T21" fmla="*/ 39 h 66"/>
                <a:gd name="T22" fmla="*/ 40 w 45"/>
                <a:gd name="T23" fmla="*/ 21 h 66"/>
                <a:gd name="T24" fmla="*/ 44 w 45"/>
                <a:gd name="T25" fmla="*/ 6 h 66"/>
                <a:gd name="T26" fmla="*/ 45 w 45"/>
                <a:gd name="T27" fmla="*/ 0 h 66"/>
                <a:gd name="T28" fmla="*/ 45 w 45"/>
                <a:gd name="T29" fmla="*/ 6 h 66"/>
                <a:gd name="T30" fmla="*/ 41 w 45"/>
                <a:gd name="T31" fmla="*/ 21 h 66"/>
                <a:gd name="T32" fmla="*/ 27 w 45"/>
                <a:gd name="T33" fmla="*/ 40 h 66"/>
                <a:gd name="T34" fmla="*/ 14 w 45"/>
                <a:gd name="T35" fmla="*/ 45 h 66"/>
                <a:gd name="T36" fmla="*/ 6 w 45"/>
                <a:gd name="T37" fmla="*/ 43 h 66"/>
                <a:gd name="T38" fmla="*/ 1 w 45"/>
                <a:gd name="T39" fmla="*/ 37 h 66"/>
                <a:gd name="T40" fmla="*/ 1 w 45"/>
                <a:gd name="T41" fmla="*/ 29 h 66"/>
                <a:gd name="T42" fmla="*/ 7 w 45"/>
                <a:gd name="T43" fmla="*/ 24 h 66"/>
                <a:gd name="T44" fmla="*/ 20 w 45"/>
                <a:gd name="T45" fmla="*/ 29 h 66"/>
                <a:gd name="T46" fmla="*/ 25 w 45"/>
                <a:gd name="T47" fmla="*/ 40 h 66"/>
                <a:gd name="T48" fmla="*/ 28 w 45"/>
                <a:gd name="T49" fmla="*/ 51 h 66"/>
                <a:gd name="T50" fmla="*/ 27 w 45"/>
                <a:gd name="T51" fmla="*/ 60 h 66"/>
                <a:gd name="T52" fmla="*/ 22 w 45"/>
                <a:gd name="T53" fmla="*/ 65 h 66"/>
                <a:gd name="T54" fmla="*/ 18 w 45"/>
                <a:gd name="T55" fmla="*/ 66 h 66"/>
                <a:gd name="T56" fmla="*/ 16 w 45"/>
                <a:gd name="T5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66">
                  <a:moveTo>
                    <a:pt x="16" y="66"/>
                  </a:moveTo>
                  <a:cubicBezTo>
                    <a:pt x="16" y="65"/>
                    <a:pt x="18" y="66"/>
                    <a:pt x="22" y="64"/>
                  </a:cubicBezTo>
                  <a:cubicBezTo>
                    <a:pt x="23" y="63"/>
                    <a:pt x="25" y="62"/>
                    <a:pt x="26" y="60"/>
                  </a:cubicBezTo>
                  <a:cubicBezTo>
                    <a:pt x="27" y="57"/>
                    <a:pt x="27" y="54"/>
                    <a:pt x="27" y="51"/>
                  </a:cubicBezTo>
                  <a:cubicBezTo>
                    <a:pt x="27" y="48"/>
                    <a:pt x="26" y="44"/>
                    <a:pt x="24" y="40"/>
                  </a:cubicBezTo>
                  <a:cubicBezTo>
                    <a:pt x="23" y="37"/>
                    <a:pt x="22" y="33"/>
                    <a:pt x="19" y="30"/>
                  </a:cubicBezTo>
                  <a:cubicBezTo>
                    <a:pt x="16" y="26"/>
                    <a:pt x="12" y="24"/>
                    <a:pt x="7" y="25"/>
                  </a:cubicBezTo>
                  <a:cubicBezTo>
                    <a:pt x="5" y="26"/>
                    <a:pt x="3" y="27"/>
                    <a:pt x="3" y="30"/>
                  </a:cubicBezTo>
                  <a:cubicBezTo>
                    <a:pt x="2" y="32"/>
                    <a:pt x="2" y="34"/>
                    <a:pt x="3" y="37"/>
                  </a:cubicBezTo>
                  <a:cubicBezTo>
                    <a:pt x="4" y="41"/>
                    <a:pt x="9" y="44"/>
                    <a:pt x="14" y="44"/>
                  </a:cubicBezTo>
                  <a:cubicBezTo>
                    <a:pt x="18" y="44"/>
                    <a:pt x="23" y="42"/>
                    <a:pt x="26" y="39"/>
                  </a:cubicBezTo>
                  <a:cubicBezTo>
                    <a:pt x="33" y="34"/>
                    <a:pt x="37" y="27"/>
                    <a:pt x="40" y="21"/>
                  </a:cubicBezTo>
                  <a:cubicBezTo>
                    <a:pt x="43" y="15"/>
                    <a:pt x="44" y="10"/>
                    <a:pt x="44" y="6"/>
                  </a:cubicBezTo>
                  <a:cubicBezTo>
                    <a:pt x="45" y="2"/>
                    <a:pt x="45" y="0"/>
                    <a:pt x="45" y="0"/>
                  </a:cubicBezTo>
                  <a:cubicBezTo>
                    <a:pt x="45" y="0"/>
                    <a:pt x="45" y="2"/>
                    <a:pt x="45" y="6"/>
                  </a:cubicBezTo>
                  <a:cubicBezTo>
                    <a:pt x="45" y="10"/>
                    <a:pt x="44" y="15"/>
                    <a:pt x="41" y="21"/>
                  </a:cubicBezTo>
                  <a:cubicBezTo>
                    <a:pt x="38" y="27"/>
                    <a:pt x="33" y="34"/>
                    <a:pt x="27" y="40"/>
                  </a:cubicBezTo>
                  <a:cubicBezTo>
                    <a:pt x="23" y="43"/>
                    <a:pt x="19" y="45"/>
                    <a:pt x="14" y="45"/>
                  </a:cubicBezTo>
                  <a:cubicBezTo>
                    <a:pt x="11" y="45"/>
                    <a:pt x="9" y="44"/>
                    <a:pt x="6" y="43"/>
                  </a:cubicBezTo>
                  <a:cubicBezTo>
                    <a:pt x="4" y="42"/>
                    <a:pt x="2" y="39"/>
                    <a:pt x="1" y="37"/>
                  </a:cubicBezTo>
                  <a:cubicBezTo>
                    <a:pt x="0" y="34"/>
                    <a:pt x="0" y="32"/>
                    <a:pt x="1" y="29"/>
                  </a:cubicBezTo>
                  <a:cubicBezTo>
                    <a:pt x="2" y="27"/>
                    <a:pt x="5" y="25"/>
                    <a:pt x="7" y="24"/>
                  </a:cubicBezTo>
                  <a:cubicBezTo>
                    <a:pt x="12" y="23"/>
                    <a:pt x="17" y="25"/>
                    <a:pt x="20" y="29"/>
                  </a:cubicBezTo>
                  <a:cubicBezTo>
                    <a:pt x="23" y="32"/>
                    <a:pt x="24" y="36"/>
                    <a:pt x="25" y="40"/>
                  </a:cubicBezTo>
                  <a:cubicBezTo>
                    <a:pt x="27" y="44"/>
                    <a:pt x="28" y="47"/>
                    <a:pt x="28" y="51"/>
                  </a:cubicBezTo>
                  <a:cubicBezTo>
                    <a:pt x="28" y="54"/>
                    <a:pt x="28" y="57"/>
                    <a:pt x="27" y="60"/>
                  </a:cubicBezTo>
                  <a:cubicBezTo>
                    <a:pt x="26" y="62"/>
                    <a:pt x="24" y="64"/>
                    <a:pt x="22" y="65"/>
                  </a:cubicBezTo>
                  <a:cubicBezTo>
                    <a:pt x="20" y="65"/>
                    <a:pt x="19" y="66"/>
                    <a:pt x="18" y="66"/>
                  </a:cubicBezTo>
                  <a:cubicBezTo>
                    <a:pt x="17" y="66"/>
                    <a:pt x="16" y="66"/>
                    <a:pt x="16"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38">
              <a:extLst>
                <a:ext uri="{FF2B5EF4-FFF2-40B4-BE49-F238E27FC236}">
                  <a16:creationId xmlns:a16="http://schemas.microsoft.com/office/drawing/2014/main" id="{50970D2F-E128-465D-9F9D-AC42AEA2902E}"/>
                </a:ext>
              </a:extLst>
            </p:cNvPr>
            <p:cNvSpPr>
              <a:spLocks/>
            </p:cNvSpPr>
            <p:nvPr/>
          </p:nvSpPr>
          <p:spPr bwMode="auto">
            <a:xfrm>
              <a:off x="4750" y="2118"/>
              <a:ext cx="64" cy="141"/>
            </a:xfrm>
            <a:custGeom>
              <a:avLst/>
              <a:gdLst>
                <a:gd name="T0" fmla="*/ 0 w 27"/>
                <a:gd name="T1" fmla="*/ 58 h 59"/>
                <a:gd name="T2" fmla="*/ 3 w 27"/>
                <a:gd name="T3" fmla="*/ 58 h 59"/>
                <a:gd name="T4" fmla="*/ 9 w 27"/>
                <a:gd name="T5" fmla="*/ 51 h 59"/>
                <a:gd name="T6" fmla="*/ 8 w 27"/>
                <a:gd name="T7" fmla="*/ 39 h 59"/>
                <a:gd name="T8" fmla="*/ 2 w 27"/>
                <a:gd name="T9" fmla="*/ 24 h 59"/>
                <a:gd name="T10" fmla="*/ 0 w 27"/>
                <a:gd name="T11" fmla="*/ 16 h 59"/>
                <a:gd name="T12" fmla="*/ 3 w 27"/>
                <a:gd name="T13" fmla="*/ 8 h 59"/>
                <a:gd name="T14" fmla="*/ 14 w 27"/>
                <a:gd name="T15" fmla="*/ 1 h 59"/>
                <a:gd name="T16" fmla="*/ 23 w 27"/>
                <a:gd name="T17" fmla="*/ 0 h 59"/>
                <a:gd name="T18" fmla="*/ 27 w 27"/>
                <a:gd name="T19" fmla="*/ 1 h 59"/>
                <a:gd name="T20" fmla="*/ 15 w 27"/>
                <a:gd name="T21" fmla="*/ 2 h 59"/>
                <a:gd name="T22" fmla="*/ 4 w 27"/>
                <a:gd name="T23" fmla="*/ 9 h 59"/>
                <a:gd name="T24" fmla="*/ 2 w 27"/>
                <a:gd name="T25" fmla="*/ 16 h 59"/>
                <a:gd name="T26" fmla="*/ 3 w 27"/>
                <a:gd name="T27" fmla="*/ 24 h 59"/>
                <a:gd name="T28" fmla="*/ 9 w 27"/>
                <a:gd name="T29" fmla="*/ 39 h 59"/>
                <a:gd name="T30" fmla="*/ 9 w 27"/>
                <a:gd name="T31" fmla="*/ 52 h 59"/>
                <a:gd name="T32" fmla="*/ 3 w 27"/>
                <a:gd name="T33" fmla="*/ 58 h 59"/>
                <a:gd name="T34" fmla="*/ 0 w 27"/>
                <a:gd name="T35"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59">
                  <a:moveTo>
                    <a:pt x="0" y="58"/>
                  </a:moveTo>
                  <a:cubicBezTo>
                    <a:pt x="0" y="58"/>
                    <a:pt x="1" y="58"/>
                    <a:pt x="3" y="58"/>
                  </a:cubicBezTo>
                  <a:cubicBezTo>
                    <a:pt x="5" y="57"/>
                    <a:pt x="7" y="55"/>
                    <a:pt x="9" y="51"/>
                  </a:cubicBezTo>
                  <a:cubicBezTo>
                    <a:pt x="10" y="48"/>
                    <a:pt x="10" y="44"/>
                    <a:pt x="8" y="39"/>
                  </a:cubicBezTo>
                  <a:cubicBezTo>
                    <a:pt x="6" y="34"/>
                    <a:pt x="3" y="30"/>
                    <a:pt x="2" y="24"/>
                  </a:cubicBezTo>
                  <a:cubicBezTo>
                    <a:pt x="1" y="21"/>
                    <a:pt x="0" y="18"/>
                    <a:pt x="0" y="16"/>
                  </a:cubicBezTo>
                  <a:cubicBezTo>
                    <a:pt x="1" y="13"/>
                    <a:pt x="2" y="10"/>
                    <a:pt x="3" y="8"/>
                  </a:cubicBezTo>
                  <a:cubicBezTo>
                    <a:pt x="6" y="4"/>
                    <a:pt x="11" y="2"/>
                    <a:pt x="14" y="1"/>
                  </a:cubicBezTo>
                  <a:cubicBezTo>
                    <a:pt x="18" y="0"/>
                    <a:pt x="21" y="0"/>
                    <a:pt x="23" y="0"/>
                  </a:cubicBezTo>
                  <a:cubicBezTo>
                    <a:pt x="26" y="1"/>
                    <a:pt x="27" y="1"/>
                    <a:pt x="27" y="1"/>
                  </a:cubicBezTo>
                  <a:cubicBezTo>
                    <a:pt x="27" y="1"/>
                    <a:pt x="22" y="0"/>
                    <a:pt x="15" y="2"/>
                  </a:cubicBezTo>
                  <a:cubicBezTo>
                    <a:pt x="11" y="3"/>
                    <a:pt x="7" y="5"/>
                    <a:pt x="4" y="9"/>
                  </a:cubicBezTo>
                  <a:cubicBezTo>
                    <a:pt x="3" y="11"/>
                    <a:pt x="2" y="13"/>
                    <a:pt x="2" y="16"/>
                  </a:cubicBezTo>
                  <a:cubicBezTo>
                    <a:pt x="1" y="18"/>
                    <a:pt x="2" y="21"/>
                    <a:pt x="3" y="24"/>
                  </a:cubicBezTo>
                  <a:cubicBezTo>
                    <a:pt x="4" y="29"/>
                    <a:pt x="7" y="34"/>
                    <a:pt x="9" y="39"/>
                  </a:cubicBezTo>
                  <a:cubicBezTo>
                    <a:pt x="11" y="43"/>
                    <a:pt x="11" y="48"/>
                    <a:pt x="9" y="52"/>
                  </a:cubicBezTo>
                  <a:cubicBezTo>
                    <a:pt x="8" y="55"/>
                    <a:pt x="5" y="57"/>
                    <a:pt x="3" y="58"/>
                  </a:cubicBezTo>
                  <a:cubicBezTo>
                    <a:pt x="1" y="59"/>
                    <a:pt x="0" y="58"/>
                    <a:pt x="0"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9">
              <a:extLst>
                <a:ext uri="{FF2B5EF4-FFF2-40B4-BE49-F238E27FC236}">
                  <a16:creationId xmlns:a16="http://schemas.microsoft.com/office/drawing/2014/main" id="{B024E871-00FE-4D12-82AA-C65331903805}"/>
                </a:ext>
              </a:extLst>
            </p:cNvPr>
            <p:cNvSpPr>
              <a:spLocks/>
            </p:cNvSpPr>
            <p:nvPr/>
          </p:nvSpPr>
          <p:spPr bwMode="auto">
            <a:xfrm>
              <a:off x="4807" y="1594"/>
              <a:ext cx="143" cy="292"/>
            </a:xfrm>
            <a:custGeom>
              <a:avLst/>
              <a:gdLst>
                <a:gd name="T0" fmla="*/ 0 w 60"/>
                <a:gd name="T1" fmla="*/ 123 h 123"/>
                <a:gd name="T2" fmla="*/ 4 w 60"/>
                <a:gd name="T3" fmla="*/ 118 h 123"/>
                <a:gd name="T4" fmla="*/ 15 w 60"/>
                <a:gd name="T5" fmla="*/ 105 h 123"/>
                <a:gd name="T6" fmla="*/ 32 w 60"/>
                <a:gd name="T7" fmla="*/ 86 h 123"/>
                <a:gd name="T8" fmla="*/ 41 w 60"/>
                <a:gd name="T9" fmla="*/ 74 h 123"/>
                <a:gd name="T10" fmla="*/ 50 w 60"/>
                <a:gd name="T11" fmla="*/ 61 h 123"/>
                <a:gd name="T12" fmla="*/ 58 w 60"/>
                <a:gd name="T13" fmla="*/ 31 h 123"/>
                <a:gd name="T14" fmla="*/ 49 w 60"/>
                <a:gd name="T15" fmla="*/ 9 h 123"/>
                <a:gd name="T16" fmla="*/ 35 w 60"/>
                <a:gd name="T17" fmla="*/ 1 h 123"/>
                <a:gd name="T18" fmla="*/ 29 w 60"/>
                <a:gd name="T19" fmla="*/ 0 h 123"/>
                <a:gd name="T20" fmla="*/ 31 w 60"/>
                <a:gd name="T21" fmla="*/ 0 h 123"/>
                <a:gd name="T22" fmla="*/ 35 w 60"/>
                <a:gd name="T23" fmla="*/ 0 h 123"/>
                <a:gd name="T24" fmla="*/ 51 w 60"/>
                <a:gd name="T25" fmla="*/ 8 h 123"/>
                <a:gd name="T26" fmla="*/ 60 w 60"/>
                <a:gd name="T27" fmla="*/ 31 h 123"/>
                <a:gd name="T28" fmla="*/ 52 w 60"/>
                <a:gd name="T29" fmla="*/ 62 h 123"/>
                <a:gd name="T30" fmla="*/ 43 w 60"/>
                <a:gd name="T31" fmla="*/ 75 h 123"/>
                <a:gd name="T32" fmla="*/ 33 w 60"/>
                <a:gd name="T33" fmla="*/ 87 h 123"/>
                <a:gd name="T34" fmla="*/ 16 w 60"/>
                <a:gd name="T35" fmla="*/ 106 h 123"/>
                <a:gd name="T36" fmla="*/ 5 w 60"/>
                <a:gd name="T37" fmla="*/ 118 h 123"/>
                <a:gd name="T38" fmla="*/ 0 w 60"/>
                <a:gd name="T39"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 h="123">
                  <a:moveTo>
                    <a:pt x="0" y="123"/>
                  </a:moveTo>
                  <a:cubicBezTo>
                    <a:pt x="0" y="123"/>
                    <a:pt x="2" y="121"/>
                    <a:pt x="4" y="118"/>
                  </a:cubicBezTo>
                  <a:cubicBezTo>
                    <a:pt x="7" y="115"/>
                    <a:pt x="11" y="110"/>
                    <a:pt x="15" y="105"/>
                  </a:cubicBezTo>
                  <a:cubicBezTo>
                    <a:pt x="20" y="99"/>
                    <a:pt x="26" y="93"/>
                    <a:pt x="32" y="86"/>
                  </a:cubicBezTo>
                  <a:cubicBezTo>
                    <a:pt x="35" y="82"/>
                    <a:pt x="38" y="78"/>
                    <a:pt x="41" y="74"/>
                  </a:cubicBezTo>
                  <a:cubicBezTo>
                    <a:pt x="44" y="70"/>
                    <a:pt x="47" y="66"/>
                    <a:pt x="50" y="61"/>
                  </a:cubicBezTo>
                  <a:cubicBezTo>
                    <a:pt x="55" y="51"/>
                    <a:pt x="58" y="41"/>
                    <a:pt x="58" y="31"/>
                  </a:cubicBezTo>
                  <a:cubicBezTo>
                    <a:pt x="58" y="22"/>
                    <a:pt x="54" y="14"/>
                    <a:pt x="49" y="9"/>
                  </a:cubicBezTo>
                  <a:cubicBezTo>
                    <a:pt x="45" y="4"/>
                    <a:pt x="39" y="1"/>
                    <a:pt x="35" y="1"/>
                  </a:cubicBezTo>
                  <a:cubicBezTo>
                    <a:pt x="31" y="0"/>
                    <a:pt x="29" y="0"/>
                    <a:pt x="29" y="0"/>
                  </a:cubicBezTo>
                  <a:cubicBezTo>
                    <a:pt x="29" y="0"/>
                    <a:pt x="29" y="0"/>
                    <a:pt x="31" y="0"/>
                  </a:cubicBezTo>
                  <a:cubicBezTo>
                    <a:pt x="32" y="0"/>
                    <a:pt x="33" y="0"/>
                    <a:pt x="35" y="0"/>
                  </a:cubicBezTo>
                  <a:cubicBezTo>
                    <a:pt x="39" y="0"/>
                    <a:pt x="45" y="2"/>
                    <a:pt x="51" y="8"/>
                  </a:cubicBezTo>
                  <a:cubicBezTo>
                    <a:pt x="56" y="13"/>
                    <a:pt x="60" y="22"/>
                    <a:pt x="60" y="31"/>
                  </a:cubicBezTo>
                  <a:cubicBezTo>
                    <a:pt x="60" y="41"/>
                    <a:pt x="57" y="52"/>
                    <a:pt x="52" y="62"/>
                  </a:cubicBezTo>
                  <a:cubicBezTo>
                    <a:pt x="49" y="67"/>
                    <a:pt x="46" y="71"/>
                    <a:pt x="43" y="75"/>
                  </a:cubicBezTo>
                  <a:cubicBezTo>
                    <a:pt x="40" y="79"/>
                    <a:pt x="36" y="83"/>
                    <a:pt x="33" y="87"/>
                  </a:cubicBezTo>
                  <a:cubicBezTo>
                    <a:pt x="27" y="94"/>
                    <a:pt x="21" y="101"/>
                    <a:pt x="16" y="106"/>
                  </a:cubicBezTo>
                  <a:cubicBezTo>
                    <a:pt x="12" y="111"/>
                    <a:pt x="8" y="115"/>
                    <a:pt x="5" y="118"/>
                  </a:cubicBezTo>
                  <a:cubicBezTo>
                    <a:pt x="2" y="121"/>
                    <a:pt x="1" y="123"/>
                    <a:pt x="0" y="12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0">
              <a:extLst>
                <a:ext uri="{FF2B5EF4-FFF2-40B4-BE49-F238E27FC236}">
                  <a16:creationId xmlns:a16="http://schemas.microsoft.com/office/drawing/2014/main" id="{543E8995-CF46-4EB5-9937-C5D571D7F9F9}"/>
                </a:ext>
              </a:extLst>
            </p:cNvPr>
            <p:cNvSpPr>
              <a:spLocks/>
            </p:cNvSpPr>
            <p:nvPr/>
          </p:nvSpPr>
          <p:spPr bwMode="auto">
            <a:xfrm>
              <a:off x="4634" y="2014"/>
              <a:ext cx="69" cy="24"/>
            </a:xfrm>
            <a:custGeom>
              <a:avLst/>
              <a:gdLst>
                <a:gd name="T0" fmla="*/ 29 w 29"/>
                <a:gd name="T1" fmla="*/ 1 h 10"/>
                <a:gd name="T2" fmla="*/ 15 w 29"/>
                <a:gd name="T3" fmla="*/ 6 h 10"/>
                <a:gd name="T4" fmla="*/ 1 w 29"/>
                <a:gd name="T5" fmla="*/ 9 h 10"/>
                <a:gd name="T6" fmla="*/ 14 w 29"/>
                <a:gd name="T7" fmla="*/ 4 h 10"/>
                <a:gd name="T8" fmla="*/ 29 w 29"/>
                <a:gd name="T9" fmla="*/ 1 h 10"/>
              </a:gdLst>
              <a:ahLst/>
              <a:cxnLst>
                <a:cxn ang="0">
                  <a:pos x="T0" y="T1"/>
                </a:cxn>
                <a:cxn ang="0">
                  <a:pos x="T2" y="T3"/>
                </a:cxn>
                <a:cxn ang="0">
                  <a:pos x="T4" y="T5"/>
                </a:cxn>
                <a:cxn ang="0">
                  <a:pos x="T6" y="T7"/>
                </a:cxn>
                <a:cxn ang="0">
                  <a:pos x="T8" y="T9"/>
                </a:cxn>
              </a:cxnLst>
              <a:rect l="0" t="0" r="r" b="b"/>
              <a:pathLst>
                <a:path w="29" h="10">
                  <a:moveTo>
                    <a:pt x="29" y="1"/>
                  </a:moveTo>
                  <a:cubicBezTo>
                    <a:pt x="29" y="2"/>
                    <a:pt x="23" y="4"/>
                    <a:pt x="15" y="6"/>
                  </a:cubicBezTo>
                  <a:cubicBezTo>
                    <a:pt x="7" y="9"/>
                    <a:pt x="1" y="10"/>
                    <a:pt x="1" y="9"/>
                  </a:cubicBezTo>
                  <a:cubicBezTo>
                    <a:pt x="0" y="9"/>
                    <a:pt x="7" y="7"/>
                    <a:pt x="14" y="4"/>
                  </a:cubicBezTo>
                  <a:cubicBezTo>
                    <a:pt x="22" y="2"/>
                    <a:pt x="29" y="0"/>
                    <a:pt x="29"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41">
              <a:extLst>
                <a:ext uri="{FF2B5EF4-FFF2-40B4-BE49-F238E27FC236}">
                  <a16:creationId xmlns:a16="http://schemas.microsoft.com/office/drawing/2014/main" id="{75C53F01-802F-40AC-A956-7EA7FF498008}"/>
                </a:ext>
              </a:extLst>
            </p:cNvPr>
            <p:cNvSpPr>
              <a:spLocks/>
            </p:cNvSpPr>
            <p:nvPr/>
          </p:nvSpPr>
          <p:spPr bwMode="auto">
            <a:xfrm>
              <a:off x="4658" y="2014"/>
              <a:ext cx="40" cy="45"/>
            </a:xfrm>
            <a:custGeom>
              <a:avLst/>
              <a:gdLst>
                <a:gd name="T0" fmla="*/ 17 w 17"/>
                <a:gd name="T1" fmla="*/ 0 h 19"/>
                <a:gd name="T2" fmla="*/ 8 w 17"/>
                <a:gd name="T3" fmla="*/ 9 h 19"/>
                <a:gd name="T4" fmla="*/ 0 w 17"/>
                <a:gd name="T5" fmla="*/ 19 h 19"/>
                <a:gd name="T6" fmla="*/ 6 w 17"/>
                <a:gd name="T7" fmla="*/ 8 h 19"/>
                <a:gd name="T8" fmla="*/ 17 w 17"/>
                <a:gd name="T9" fmla="*/ 0 h 19"/>
              </a:gdLst>
              <a:ahLst/>
              <a:cxnLst>
                <a:cxn ang="0">
                  <a:pos x="T0" y="T1"/>
                </a:cxn>
                <a:cxn ang="0">
                  <a:pos x="T2" y="T3"/>
                </a:cxn>
                <a:cxn ang="0">
                  <a:pos x="T4" y="T5"/>
                </a:cxn>
                <a:cxn ang="0">
                  <a:pos x="T6" y="T7"/>
                </a:cxn>
                <a:cxn ang="0">
                  <a:pos x="T8" y="T9"/>
                </a:cxn>
              </a:cxnLst>
              <a:rect l="0" t="0" r="r" b="b"/>
              <a:pathLst>
                <a:path w="17" h="19">
                  <a:moveTo>
                    <a:pt x="17" y="0"/>
                  </a:moveTo>
                  <a:cubicBezTo>
                    <a:pt x="17" y="1"/>
                    <a:pt x="13" y="4"/>
                    <a:pt x="8" y="9"/>
                  </a:cubicBezTo>
                  <a:cubicBezTo>
                    <a:pt x="3" y="14"/>
                    <a:pt x="1" y="19"/>
                    <a:pt x="0" y="19"/>
                  </a:cubicBezTo>
                  <a:cubicBezTo>
                    <a:pt x="0" y="18"/>
                    <a:pt x="2" y="13"/>
                    <a:pt x="6" y="8"/>
                  </a:cubicBezTo>
                  <a:cubicBezTo>
                    <a:pt x="11" y="2"/>
                    <a:pt x="17" y="0"/>
                    <a:pt x="1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42">
              <a:extLst>
                <a:ext uri="{FF2B5EF4-FFF2-40B4-BE49-F238E27FC236}">
                  <a16:creationId xmlns:a16="http://schemas.microsoft.com/office/drawing/2014/main" id="{2116C7DF-C6FE-4EB9-8F7D-4E31C273BC66}"/>
                </a:ext>
              </a:extLst>
            </p:cNvPr>
            <p:cNvSpPr>
              <a:spLocks/>
            </p:cNvSpPr>
            <p:nvPr/>
          </p:nvSpPr>
          <p:spPr bwMode="auto">
            <a:xfrm>
              <a:off x="5125" y="1646"/>
              <a:ext cx="53" cy="145"/>
            </a:xfrm>
            <a:custGeom>
              <a:avLst/>
              <a:gdLst>
                <a:gd name="T0" fmla="*/ 22 w 22"/>
                <a:gd name="T1" fmla="*/ 61 h 61"/>
                <a:gd name="T2" fmla="*/ 17 w 22"/>
                <a:gd name="T3" fmla="*/ 52 h 61"/>
                <a:gd name="T4" fmla="*/ 8 w 22"/>
                <a:gd name="T5" fmla="*/ 31 h 61"/>
                <a:gd name="T6" fmla="*/ 2 w 22"/>
                <a:gd name="T7" fmla="*/ 9 h 61"/>
                <a:gd name="T8" fmla="*/ 0 w 22"/>
                <a:gd name="T9" fmla="*/ 0 h 61"/>
                <a:gd name="T10" fmla="*/ 3 w 22"/>
                <a:gd name="T11" fmla="*/ 9 h 61"/>
                <a:gd name="T12" fmla="*/ 10 w 22"/>
                <a:gd name="T13" fmla="*/ 31 h 61"/>
                <a:gd name="T14" fmla="*/ 18 w 22"/>
                <a:gd name="T15" fmla="*/ 52 h 61"/>
                <a:gd name="T16" fmla="*/ 22 w 22"/>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1">
                  <a:moveTo>
                    <a:pt x="22" y="61"/>
                  </a:moveTo>
                  <a:cubicBezTo>
                    <a:pt x="21" y="61"/>
                    <a:pt x="19" y="58"/>
                    <a:pt x="17" y="52"/>
                  </a:cubicBezTo>
                  <a:cubicBezTo>
                    <a:pt x="14" y="47"/>
                    <a:pt x="11" y="40"/>
                    <a:pt x="8" y="31"/>
                  </a:cubicBezTo>
                  <a:cubicBezTo>
                    <a:pt x="5" y="23"/>
                    <a:pt x="3" y="15"/>
                    <a:pt x="2" y="9"/>
                  </a:cubicBezTo>
                  <a:cubicBezTo>
                    <a:pt x="0" y="4"/>
                    <a:pt x="0" y="0"/>
                    <a:pt x="0" y="0"/>
                  </a:cubicBezTo>
                  <a:cubicBezTo>
                    <a:pt x="1" y="0"/>
                    <a:pt x="2" y="3"/>
                    <a:pt x="3" y="9"/>
                  </a:cubicBezTo>
                  <a:cubicBezTo>
                    <a:pt x="5" y="14"/>
                    <a:pt x="7" y="22"/>
                    <a:pt x="10" y="31"/>
                  </a:cubicBezTo>
                  <a:cubicBezTo>
                    <a:pt x="13" y="39"/>
                    <a:pt x="16" y="46"/>
                    <a:pt x="18" y="52"/>
                  </a:cubicBezTo>
                  <a:cubicBezTo>
                    <a:pt x="20" y="57"/>
                    <a:pt x="22" y="60"/>
                    <a:pt x="22" y="6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43">
              <a:extLst>
                <a:ext uri="{FF2B5EF4-FFF2-40B4-BE49-F238E27FC236}">
                  <a16:creationId xmlns:a16="http://schemas.microsoft.com/office/drawing/2014/main" id="{74FB0B71-1E2A-4BC6-8CFB-70D66428BBD2}"/>
                </a:ext>
              </a:extLst>
            </p:cNvPr>
            <p:cNvSpPr>
              <a:spLocks/>
            </p:cNvSpPr>
            <p:nvPr/>
          </p:nvSpPr>
          <p:spPr bwMode="auto">
            <a:xfrm>
              <a:off x="4940" y="1881"/>
              <a:ext cx="135" cy="64"/>
            </a:xfrm>
            <a:custGeom>
              <a:avLst/>
              <a:gdLst>
                <a:gd name="T0" fmla="*/ 57 w 57"/>
                <a:gd name="T1" fmla="*/ 0 h 27"/>
                <a:gd name="T2" fmla="*/ 52 w 57"/>
                <a:gd name="T3" fmla="*/ 8 h 27"/>
                <a:gd name="T4" fmla="*/ 33 w 57"/>
                <a:gd name="T5" fmla="*/ 22 h 27"/>
                <a:gd name="T6" fmla="*/ 10 w 57"/>
                <a:gd name="T7" fmla="*/ 26 h 27"/>
                <a:gd name="T8" fmla="*/ 1 w 57"/>
                <a:gd name="T9" fmla="*/ 24 h 27"/>
                <a:gd name="T10" fmla="*/ 10 w 57"/>
                <a:gd name="T11" fmla="*/ 25 h 27"/>
                <a:gd name="T12" fmla="*/ 32 w 57"/>
                <a:gd name="T13" fmla="*/ 20 h 27"/>
                <a:gd name="T14" fmla="*/ 51 w 57"/>
                <a:gd name="T15" fmla="*/ 7 h 27"/>
                <a:gd name="T16" fmla="*/ 57 w 5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7">
                  <a:moveTo>
                    <a:pt x="57" y="0"/>
                  </a:moveTo>
                  <a:cubicBezTo>
                    <a:pt x="57" y="0"/>
                    <a:pt x="56" y="3"/>
                    <a:pt x="52" y="8"/>
                  </a:cubicBezTo>
                  <a:cubicBezTo>
                    <a:pt x="48" y="13"/>
                    <a:pt x="42" y="18"/>
                    <a:pt x="33" y="22"/>
                  </a:cubicBezTo>
                  <a:cubicBezTo>
                    <a:pt x="25" y="26"/>
                    <a:pt x="16" y="27"/>
                    <a:pt x="10" y="26"/>
                  </a:cubicBezTo>
                  <a:cubicBezTo>
                    <a:pt x="4" y="26"/>
                    <a:pt x="0" y="25"/>
                    <a:pt x="1" y="24"/>
                  </a:cubicBezTo>
                  <a:cubicBezTo>
                    <a:pt x="1" y="24"/>
                    <a:pt x="4" y="25"/>
                    <a:pt x="10" y="25"/>
                  </a:cubicBezTo>
                  <a:cubicBezTo>
                    <a:pt x="16" y="25"/>
                    <a:pt x="24" y="23"/>
                    <a:pt x="32" y="20"/>
                  </a:cubicBezTo>
                  <a:cubicBezTo>
                    <a:pt x="40" y="16"/>
                    <a:pt x="47" y="11"/>
                    <a:pt x="51" y="7"/>
                  </a:cubicBezTo>
                  <a:cubicBezTo>
                    <a:pt x="55" y="3"/>
                    <a:pt x="57" y="0"/>
                    <a:pt x="5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44">
              <a:extLst>
                <a:ext uri="{FF2B5EF4-FFF2-40B4-BE49-F238E27FC236}">
                  <a16:creationId xmlns:a16="http://schemas.microsoft.com/office/drawing/2014/main" id="{547743D3-F783-436D-92A9-A32CB3F5E064}"/>
                </a:ext>
              </a:extLst>
            </p:cNvPr>
            <p:cNvSpPr>
              <a:spLocks/>
            </p:cNvSpPr>
            <p:nvPr/>
          </p:nvSpPr>
          <p:spPr bwMode="auto">
            <a:xfrm>
              <a:off x="4926" y="2325"/>
              <a:ext cx="83" cy="40"/>
            </a:xfrm>
            <a:custGeom>
              <a:avLst/>
              <a:gdLst>
                <a:gd name="T0" fmla="*/ 35 w 35"/>
                <a:gd name="T1" fmla="*/ 11 h 17"/>
                <a:gd name="T2" fmla="*/ 4 w 35"/>
                <a:gd name="T3" fmla="*/ 14 h 17"/>
                <a:gd name="T4" fmla="*/ 9 w 35"/>
                <a:gd name="T5" fmla="*/ 7 h 17"/>
                <a:gd name="T6" fmla="*/ 1 w 35"/>
                <a:gd name="T7" fmla="*/ 5 h 17"/>
                <a:gd name="T8" fmla="*/ 4 w 35"/>
                <a:gd name="T9" fmla="*/ 0 h 17"/>
                <a:gd name="T10" fmla="*/ 35 w 35"/>
                <a:gd name="T11" fmla="*/ 11 h 17"/>
              </a:gdLst>
              <a:ahLst/>
              <a:cxnLst>
                <a:cxn ang="0">
                  <a:pos x="T0" y="T1"/>
                </a:cxn>
                <a:cxn ang="0">
                  <a:pos x="T2" y="T3"/>
                </a:cxn>
                <a:cxn ang="0">
                  <a:pos x="T4" y="T5"/>
                </a:cxn>
                <a:cxn ang="0">
                  <a:pos x="T6" y="T7"/>
                </a:cxn>
                <a:cxn ang="0">
                  <a:pos x="T8" y="T9"/>
                </a:cxn>
                <a:cxn ang="0">
                  <a:pos x="T10" y="T11"/>
                </a:cxn>
              </a:cxnLst>
              <a:rect l="0" t="0" r="r" b="b"/>
              <a:pathLst>
                <a:path w="35" h="17">
                  <a:moveTo>
                    <a:pt x="35" y="11"/>
                  </a:moveTo>
                  <a:cubicBezTo>
                    <a:pt x="35" y="11"/>
                    <a:pt x="8" y="17"/>
                    <a:pt x="4" y="14"/>
                  </a:cubicBezTo>
                  <a:cubicBezTo>
                    <a:pt x="0" y="11"/>
                    <a:pt x="9" y="7"/>
                    <a:pt x="9" y="7"/>
                  </a:cubicBezTo>
                  <a:cubicBezTo>
                    <a:pt x="9" y="7"/>
                    <a:pt x="1" y="8"/>
                    <a:pt x="1" y="5"/>
                  </a:cubicBezTo>
                  <a:cubicBezTo>
                    <a:pt x="1" y="2"/>
                    <a:pt x="4" y="0"/>
                    <a:pt x="4" y="0"/>
                  </a:cubicBezTo>
                  <a:lnTo>
                    <a:pt x="35" y="11"/>
                  </a:ln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45">
              <a:extLst>
                <a:ext uri="{FF2B5EF4-FFF2-40B4-BE49-F238E27FC236}">
                  <a16:creationId xmlns:a16="http://schemas.microsoft.com/office/drawing/2014/main" id="{949798DE-C17C-47D8-ABB8-BC64276B6D32}"/>
                </a:ext>
              </a:extLst>
            </p:cNvPr>
            <p:cNvSpPr>
              <a:spLocks/>
            </p:cNvSpPr>
            <p:nvPr/>
          </p:nvSpPr>
          <p:spPr bwMode="auto">
            <a:xfrm>
              <a:off x="4881" y="2223"/>
              <a:ext cx="138" cy="140"/>
            </a:xfrm>
            <a:custGeom>
              <a:avLst/>
              <a:gdLst>
                <a:gd name="T0" fmla="*/ 17 w 58"/>
                <a:gd name="T1" fmla="*/ 0 h 59"/>
                <a:gd name="T2" fmla="*/ 56 w 58"/>
                <a:gd name="T3" fmla="*/ 19 h 59"/>
                <a:gd name="T4" fmla="*/ 54 w 58"/>
                <a:gd name="T5" fmla="*/ 54 h 59"/>
                <a:gd name="T6" fmla="*/ 0 w 58"/>
                <a:gd name="T7" fmla="*/ 31 h 59"/>
                <a:gd name="T8" fmla="*/ 17 w 58"/>
                <a:gd name="T9" fmla="*/ 0 h 59"/>
              </a:gdLst>
              <a:ahLst/>
              <a:cxnLst>
                <a:cxn ang="0">
                  <a:pos x="T0" y="T1"/>
                </a:cxn>
                <a:cxn ang="0">
                  <a:pos x="T2" y="T3"/>
                </a:cxn>
                <a:cxn ang="0">
                  <a:pos x="T4" y="T5"/>
                </a:cxn>
                <a:cxn ang="0">
                  <a:pos x="T6" y="T7"/>
                </a:cxn>
                <a:cxn ang="0">
                  <a:pos x="T8" y="T9"/>
                </a:cxn>
              </a:cxnLst>
              <a:rect l="0" t="0" r="r" b="b"/>
              <a:pathLst>
                <a:path w="58" h="59">
                  <a:moveTo>
                    <a:pt x="17" y="0"/>
                  </a:moveTo>
                  <a:cubicBezTo>
                    <a:pt x="17" y="0"/>
                    <a:pt x="56" y="17"/>
                    <a:pt x="56" y="19"/>
                  </a:cubicBezTo>
                  <a:cubicBezTo>
                    <a:pt x="57" y="20"/>
                    <a:pt x="58" y="48"/>
                    <a:pt x="54" y="54"/>
                  </a:cubicBezTo>
                  <a:cubicBezTo>
                    <a:pt x="51" y="59"/>
                    <a:pt x="0" y="31"/>
                    <a:pt x="0" y="31"/>
                  </a:cubicBezTo>
                  <a:lnTo>
                    <a:pt x="17" y="0"/>
                  </a:lnTo>
                  <a:close/>
                </a:path>
              </a:pathLst>
            </a:custGeom>
            <a:solidFill>
              <a:srgbClr val="E5BA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6">
              <a:extLst>
                <a:ext uri="{FF2B5EF4-FFF2-40B4-BE49-F238E27FC236}">
                  <a16:creationId xmlns:a16="http://schemas.microsoft.com/office/drawing/2014/main" id="{84FB7F06-AA72-446F-9F36-8F18B6FEA030}"/>
                </a:ext>
              </a:extLst>
            </p:cNvPr>
            <p:cNvSpPr>
              <a:spLocks/>
            </p:cNvSpPr>
            <p:nvPr/>
          </p:nvSpPr>
          <p:spPr bwMode="auto">
            <a:xfrm>
              <a:off x="4881" y="2297"/>
              <a:ext cx="109" cy="38"/>
            </a:xfrm>
            <a:custGeom>
              <a:avLst/>
              <a:gdLst>
                <a:gd name="T0" fmla="*/ 46 w 46"/>
                <a:gd name="T1" fmla="*/ 16 h 16"/>
                <a:gd name="T2" fmla="*/ 44 w 46"/>
                <a:gd name="T3" fmla="*/ 16 h 16"/>
                <a:gd name="T4" fmla="*/ 39 w 46"/>
                <a:gd name="T5" fmla="*/ 15 h 16"/>
                <a:gd name="T6" fmla="*/ 21 w 46"/>
                <a:gd name="T7" fmla="*/ 12 h 16"/>
                <a:gd name="T8" fmla="*/ 6 w 46"/>
                <a:gd name="T9" fmla="*/ 4 h 16"/>
                <a:gd name="T10" fmla="*/ 1 w 46"/>
                <a:gd name="T11" fmla="*/ 1 h 16"/>
                <a:gd name="T12" fmla="*/ 0 w 46"/>
                <a:gd name="T13" fmla="*/ 0 h 16"/>
                <a:gd name="T14" fmla="*/ 1 w 46"/>
                <a:gd name="T15" fmla="*/ 1 h 16"/>
                <a:gd name="T16" fmla="*/ 6 w 46"/>
                <a:gd name="T17" fmla="*/ 3 h 16"/>
                <a:gd name="T18" fmla="*/ 22 w 46"/>
                <a:gd name="T19" fmla="*/ 11 h 16"/>
                <a:gd name="T20" fmla="*/ 39 w 46"/>
                <a:gd name="T21" fmla="*/ 15 h 16"/>
                <a:gd name="T22" fmla="*/ 44 w 46"/>
                <a:gd name="T23" fmla="*/ 16 h 16"/>
                <a:gd name="T24" fmla="*/ 46 w 4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6">
                  <a:moveTo>
                    <a:pt x="46" y="16"/>
                  </a:moveTo>
                  <a:cubicBezTo>
                    <a:pt x="46" y="16"/>
                    <a:pt x="45" y="16"/>
                    <a:pt x="44" y="16"/>
                  </a:cubicBezTo>
                  <a:cubicBezTo>
                    <a:pt x="42" y="16"/>
                    <a:pt x="40" y="16"/>
                    <a:pt x="39" y="15"/>
                  </a:cubicBezTo>
                  <a:cubicBezTo>
                    <a:pt x="34" y="15"/>
                    <a:pt x="28" y="14"/>
                    <a:pt x="21" y="12"/>
                  </a:cubicBezTo>
                  <a:cubicBezTo>
                    <a:pt x="15" y="10"/>
                    <a:pt x="9" y="7"/>
                    <a:pt x="6" y="4"/>
                  </a:cubicBezTo>
                  <a:cubicBezTo>
                    <a:pt x="4" y="3"/>
                    <a:pt x="3" y="2"/>
                    <a:pt x="1" y="1"/>
                  </a:cubicBezTo>
                  <a:cubicBezTo>
                    <a:pt x="0" y="0"/>
                    <a:pt x="0" y="0"/>
                    <a:pt x="0" y="0"/>
                  </a:cubicBezTo>
                  <a:cubicBezTo>
                    <a:pt x="0" y="0"/>
                    <a:pt x="0" y="0"/>
                    <a:pt x="1" y="1"/>
                  </a:cubicBezTo>
                  <a:cubicBezTo>
                    <a:pt x="3" y="2"/>
                    <a:pt x="4" y="3"/>
                    <a:pt x="6" y="3"/>
                  </a:cubicBezTo>
                  <a:cubicBezTo>
                    <a:pt x="10" y="6"/>
                    <a:pt x="15" y="9"/>
                    <a:pt x="22" y="11"/>
                  </a:cubicBezTo>
                  <a:cubicBezTo>
                    <a:pt x="28" y="13"/>
                    <a:pt x="34" y="14"/>
                    <a:pt x="39" y="15"/>
                  </a:cubicBezTo>
                  <a:cubicBezTo>
                    <a:pt x="40" y="15"/>
                    <a:pt x="42" y="15"/>
                    <a:pt x="44" y="16"/>
                  </a:cubicBezTo>
                  <a:cubicBezTo>
                    <a:pt x="45" y="16"/>
                    <a:pt x="46" y="16"/>
                    <a:pt x="46" y="16"/>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7">
              <a:extLst>
                <a:ext uri="{FF2B5EF4-FFF2-40B4-BE49-F238E27FC236}">
                  <a16:creationId xmlns:a16="http://schemas.microsoft.com/office/drawing/2014/main" id="{A11E590F-B86C-4853-A8ED-5E03EA86D0B6}"/>
                </a:ext>
              </a:extLst>
            </p:cNvPr>
            <p:cNvSpPr>
              <a:spLocks/>
            </p:cNvSpPr>
            <p:nvPr/>
          </p:nvSpPr>
          <p:spPr bwMode="auto">
            <a:xfrm>
              <a:off x="4947" y="2337"/>
              <a:ext cx="43" cy="7"/>
            </a:xfrm>
            <a:custGeom>
              <a:avLst/>
              <a:gdLst>
                <a:gd name="T0" fmla="*/ 18 w 18"/>
                <a:gd name="T1" fmla="*/ 0 h 3"/>
                <a:gd name="T2" fmla="*/ 9 w 18"/>
                <a:gd name="T3" fmla="*/ 2 h 3"/>
                <a:gd name="T4" fmla="*/ 0 w 18"/>
                <a:gd name="T5" fmla="*/ 3 h 3"/>
                <a:gd name="T6" fmla="*/ 9 w 18"/>
                <a:gd name="T7" fmla="*/ 1 h 3"/>
                <a:gd name="T8" fmla="*/ 18 w 18"/>
                <a:gd name="T9" fmla="*/ 0 h 3"/>
              </a:gdLst>
              <a:ahLst/>
              <a:cxnLst>
                <a:cxn ang="0">
                  <a:pos x="T0" y="T1"/>
                </a:cxn>
                <a:cxn ang="0">
                  <a:pos x="T2" y="T3"/>
                </a:cxn>
                <a:cxn ang="0">
                  <a:pos x="T4" y="T5"/>
                </a:cxn>
                <a:cxn ang="0">
                  <a:pos x="T6" y="T7"/>
                </a:cxn>
                <a:cxn ang="0">
                  <a:pos x="T8" y="T9"/>
                </a:cxn>
              </a:cxnLst>
              <a:rect l="0" t="0" r="r" b="b"/>
              <a:pathLst>
                <a:path w="18" h="3">
                  <a:moveTo>
                    <a:pt x="18" y="0"/>
                  </a:moveTo>
                  <a:cubicBezTo>
                    <a:pt x="18" y="0"/>
                    <a:pt x="14" y="1"/>
                    <a:pt x="9" y="2"/>
                  </a:cubicBezTo>
                  <a:cubicBezTo>
                    <a:pt x="4" y="3"/>
                    <a:pt x="0" y="3"/>
                    <a:pt x="0" y="3"/>
                  </a:cubicBezTo>
                  <a:cubicBezTo>
                    <a:pt x="0" y="2"/>
                    <a:pt x="4" y="2"/>
                    <a:pt x="9" y="1"/>
                  </a:cubicBezTo>
                  <a:cubicBezTo>
                    <a:pt x="14" y="0"/>
                    <a:pt x="18" y="0"/>
                    <a:pt x="18" y="0"/>
                  </a:cubicBezTo>
                  <a:close/>
                </a:path>
              </a:pathLst>
            </a:custGeom>
            <a:solidFill>
              <a:srgbClr val="D787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8" name="Group 457">
            <a:extLst>
              <a:ext uri="{FF2B5EF4-FFF2-40B4-BE49-F238E27FC236}">
                <a16:creationId xmlns:a16="http://schemas.microsoft.com/office/drawing/2014/main" id="{691BB943-5447-4087-9B72-D51954FE5E24}"/>
              </a:ext>
            </a:extLst>
          </p:cNvPr>
          <p:cNvGrpSpPr/>
          <p:nvPr/>
        </p:nvGrpSpPr>
        <p:grpSpPr>
          <a:xfrm>
            <a:off x="6276571" y="3176570"/>
            <a:ext cx="624726" cy="2453968"/>
            <a:chOff x="6397554" y="2500169"/>
            <a:chExt cx="323172" cy="3130369"/>
          </a:xfrm>
        </p:grpSpPr>
        <p:sp>
          <p:nvSpPr>
            <p:cNvPr id="453" name="Rectangle 6">
              <a:extLst>
                <a:ext uri="{FF2B5EF4-FFF2-40B4-BE49-F238E27FC236}">
                  <a16:creationId xmlns:a16="http://schemas.microsoft.com/office/drawing/2014/main" id="{9EB61878-8817-4AC9-88DE-ABB57740639E}"/>
                </a:ext>
              </a:extLst>
            </p:cNvPr>
            <p:cNvSpPr>
              <a:spLocks noChangeArrowheads="1"/>
            </p:cNvSpPr>
            <p:nvPr/>
          </p:nvSpPr>
          <p:spPr bwMode="auto">
            <a:xfrm>
              <a:off x="6397565" y="2500169"/>
              <a:ext cx="323161" cy="3130369"/>
            </a:xfrm>
            <a:prstGeom prst="rect">
              <a:avLst/>
            </a:pr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454" name="Rectangle 9">
              <a:extLst>
                <a:ext uri="{FF2B5EF4-FFF2-40B4-BE49-F238E27FC236}">
                  <a16:creationId xmlns:a16="http://schemas.microsoft.com/office/drawing/2014/main" id="{50082898-E500-4BAB-A709-1779082A6646}"/>
                </a:ext>
              </a:extLst>
            </p:cNvPr>
            <p:cNvSpPr>
              <a:spLocks noChangeArrowheads="1"/>
            </p:cNvSpPr>
            <p:nvPr/>
          </p:nvSpPr>
          <p:spPr bwMode="auto">
            <a:xfrm>
              <a:off x="6555936" y="2500169"/>
              <a:ext cx="164790" cy="2062223"/>
            </a:xfrm>
            <a:prstGeom prst="rect">
              <a:avLst/>
            </a:prstGeom>
            <a:solidFill>
              <a:srgbClr val="FC7878"/>
            </a:solidFill>
            <a:ln>
              <a:noFill/>
            </a:ln>
          </p:spPr>
          <p:txBody>
            <a:bodyPr vert="horz" wrap="square" lIns="91440" tIns="45720" rIns="91440" bIns="45720" numCol="1" anchor="t" anchorCtr="0" compatLnSpc="1">
              <a:prstTxWarp prst="textNoShape">
                <a:avLst/>
              </a:prstTxWarp>
            </a:bodyPr>
            <a:lstStyle/>
            <a:p>
              <a:endParaRPr lang="en-US"/>
            </a:p>
          </p:txBody>
        </p:sp>
        <p:sp>
          <p:nvSpPr>
            <p:cNvPr id="456" name="Freeform 7">
              <a:extLst>
                <a:ext uri="{FF2B5EF4-FFF2-40B4-BE49-F238E27FC236}">
                  <a16:creationId xmlns:a16="http://schemas.microsoft.com/office/drawing/2014/main" id="{BAED1A66-4566-4548-A11F-0533167FCB9F}"/>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F00606"/>
            </a:solidFill>
            <a:ln>
              <a:noFill/>
            </a:ln>
          </p:spPr>
          <p:txBody>
            <a:bodyPr vert="horz" wrap="square" lIns="91440" tIns="45720" rIns="91440" bIns="45720" numCol="1" anchor="t" anchorCtr="0" compatLnSpc="1">
              <a:prstTxWarp prst="textNoShape">
                <a:avLst/>
              </a:prstTxWarp>
            </a:bodyPr>
            <a:lstStyle/>
            <a:p>
              <a:endParaRPr lang="en-US"/>
            </a:p>
          </p:txBody>
        </p:sp>
        <p:sp>
          <p:nvSpPr>
            <p:cNvPr id="457" name="Rectangle 11">
              <a:extLst>
                <a:ext uri="{FF2B5EF4-FFF2-40B4-BE49-F238E27FC236}">
                  <a16:creationId xmlns:a16="http://schemas.microsoft.com/office/drawing/2014/main" id="{67F61746-9E7E-423B-B2DB-56422E328F67}"/>
                </a:ext>
              </a:extLst>
            </p:cNvPr>
            <p:cNvSpPr>
              <a:spLocks noChangeArrowheads="1"/>
            </p:cNvSpPr>
            <p:nvPr/>
          </p:nvSpPr>
          <p:spPr bwMode="auto">
            <a:xfrm>
              <a:off x="6555929" y="4562392"/>
              <a:ext cx="164790" cy="1068146"/>
            </a:xfrm>
            <a:prstGeom prst="rect">
              <a:avLst/>
            </a:prstGeom>
            <a:solidFill>
              <a:srgbClr val="FA323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9" name="Group 458">
            <a:extLst>
              <a:ext uri="{FF2B5EF4-FFF2-40B4-BE49-F238E27FC236}">
                <a16:creationId xmlns:a16="http://schemas.microsoft.com/office/drawing/2014/main" id="{A23DFB45-98A3-4E2F-94BF-BE4B87820CAE}"/>
              </a:ext>
            </a:extLst>
          </p:cNvPr>
          <p:cNvGrpSpPr/>
          <p:nvPr/>
        </p:nvGrpSpPr>
        <p:grpSpPr>
          <a:xfrm>
            <a:off x="5143176" y="4362450"/>
            <a:ext cx="624726" cy="1268088"/>
            <a:chOff x="6397554" y="2500169"/>
            <a:chExt cx="323172" cy="3130369"/>
          </a:xfrm>
        </p:grpSpPr>
        <p:sp>
          <p:nvSpPr>
            <p:cNvPr id="460" name="Rectangle 6">
              <a:extLst>
                <a:ext uri="{FF2B5EF4-FFF2-40B4-BE49-F238E27FC236}">
                  <a16:creationId xmlns:a16="http://schemas.microsoft.com/office/drawing/2014/main" id="{4D370DD2-D971-45D3-8E95-65759946BAFA}"/>
                </a:ext>
              </a:extLst>
            </p:cNvPr>
            <p:cNvSpPr>
              <a:spLocks noChangeArrowheads="1"/>
            </p:cNvSpPr>
            <p:nvPr/>
          </p:nvSpPr>
          <p:spPr bwMode="auto">
            <a:xfrm>
              <a:off x="6397565" y="2500169"/>
              <a:ext cx="323161" cy="3130369"/>
            </a:xfrm>
            <a:prstGeom prst="rect">
              <a:avLst/>
            </a:prstGeom>
            <a:solidFill>
              <a:srgbClr val="21B5FF"/>
            </a:solidFill>
            <a:ln>
              <a:noFill/>
            </a:ln>
          </p:spPr>
          <p:txBody>
            <a:bodyPr vert="horz" wrap="square" lIns="91440" tIns="45720" rIns="91440" bIns="45720" numCol="1" anchor="t" anchorCtr="0" compatLnSpc="1">
              <a:prstTxWarp prst="textNoShape">
                <a:avLst/>
              </a:prstTxWarp>
            </a:bodyPr>
            <a:lstStyle/>
            <a:p>
              <a:endParaRPr lang="en-US"/>
            </a:p>
          </p:txBody>
        </p:sp>
        <p:sp>
          <p:nvSpPr>
            <p:cNvPr id="461" name="Rectangle 9">
              <a:extLst>
                <a:ext uri="{FF2B5EF4-FFF2-40B4-BE49-F238E27FC236}">
                  <a16:creationId xmlns:a16="http://schemas.microsoft.com/office/drawing/2014/main" id="{908247A3-BF8E-4F7C-BF23-6B27E040699B}"/>
                </a:ext>
              </a:extLst>
            </p:cNvPr>
            <p:cNvSpPr>
              <a:spLocks noChangeArrowheads="1"/>
            </p:cNvSpPr>
            <p:nvPr/>
          </p:nvSpPr>
          <p:spPr bwMode="auto">
            <a:xfrm>
              <a:off x="6555936" y="2500169"/>
              <a:ext cx="164790" cy="2062223"/>
            </a:xfrm>
            <a:prstGeom prst="rect">
              <a:avLst/>
            </a:prstGeom>
            <a:solidFill>
              <a:srgbClr val="6DCEFF"/>
            </a:solidFill>
            <a:ln>
              <a:noFill/>
            </a:ln>
          </p:spPr>
          <p:txBody>
            <a:bodyPr vert="horz" wrap="square" lIns="91440" tIns="45720" rIns="91440" bIns="45720" numCol="1" anchor="t" anchorCtr="0" compatLnSpc="1">
              <a:prstTxWarp prst="textNoShape">
                <a:avLst/>
              </a:prstTxWarp>
            </a:bodyPr>
            <a:lstStyle/>
            <a:p>
              <a:endParaRPr lang="en-US"/>
            </a:p>
          </p:txBody>
        </p:sp>
        <p:sp>
          <p:nvSpPr>
            <p:cNvPr id="462" name="Freeform 7">
              <a:extLst>
                <a:ext uri="{FF2B5EF4-FFF2-40B4-BE49-F238E27FC236}">
                  <a16:creationId xmlns:a16="http://schemas.microsoft.com/office/drawing/2014/main" id="{B3213964-27F5-468A-8815-2545049A9147}"/>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008BD0"/>
            </a:solidFill>
            <a:ln>
              <a:noFill/>
            </a:ln>
          </p:spPr>
          <p:txBody>
            <a:bodyPr vert="horz" wrap="square" lIns="91440" tIns="45720" rIns="91440" bIns="45720" numCol="1" anchor="t" anchorCtr="0" compatLnSpc="1">
              <a:prstTxWarp prst="textNoShape">
                <a:avLst/>
              </a:prstTxWarp>
            </a:bodyPr>
            <a:lstStyle/>
            <a:p>
              <a:endParaRPr lang="en-US"/>
            </a:p>
          </p:txBody>
        </p:sp>
        <p:sp>
          <p:nvSpPr>
            <p:cNvPr id="463" name="Rectangle 11">
              <a:extLst>
                <a:ext uri="{FF2B5EF4-FFF2-40B4-BE49-F238E27FC236}">
                  <a16:creationId xmlns:a16="http://schemas.microsoft.com/office/drawing/2014/main" id="{7E8A2D72-49AA-4EC3-A351-04AEF58F2B26}"/>
                </a:ext>
              </a:extLst>
            </p:cNvPr>
            <p:cNvSpPr>
              <a:spLocks noChangeArrowheads="1"/>
            </p:cNvSpPr>
            <p:nvPr/>
          </p:nvSpPr>
          <p:spPr bwMode="auto">
            <a:xfrm>
              <a:off x="6555929" y="4562392"/>
              <a:ext cx="164790" cy="1068146"/>
            </a:xfrm>
            <a:prstGeom prst="rect">
              <a:avLst/>
            </a:prstGeom>
            <a:solidFill>
              <a:srgbClr val="00A7F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79" name="Group 478">
            <a:extLst>
              <a:ext uri="{FF2B5EF4-FFF2-40B4-BE49-F238E27FC236}">
                <a16:creationId xmlns:a16="http://schemas.microsoft.com/office/drawing/2014/main" id="{DF7E36E3-DEC3-4910-A67E-E35B355574F3}"/>
              </a:ext>
            </a:extLst>
          </p:cNvPr>
          <p:cNvGrpSpPr/>
          <p:nvPr/>
        </p:nvGrpSpPr>
        <p:grpSpPr>
          <a:xfrm>
            <a:off x="4009782" y="4526233"/>
            <a:ext cx="624726" cy="1104304"/>
            <a:chOff x="6397554" y="2500169"/>
            <a:chExt cx="323172" cy="3130369"/>
          </a:xfrm>
        </p:grpSpPr>
        <p:sp>
          <p:nvSpPr>
            <p:cNvPr id="480" name="Rectangle 6">
              <a:extLst>
                <a:ext uri="{FF2B5EF4-FFF2-40B4-BE49-F238E27FC236}">
                  <a16:creationId xmlns:a16="http://schemas.microsoft.com/office/drawing/2014/main" id="{A28D0816-0770-4D49-A683-6F00E06ECF79}"/>
                </a:ext>
              </a:extLst>
            </p:cNvPr>
            <p:cNvSpPr>
              <a:spLocks noChangeArrowheads="1"/>
            </p:cNvSpPr>
            <p:nvPr/>
          </p:nvSpPr>
          <p:spPr bwMode="auto">
            <a:xfrm>
              <a:off x="6397565" y="2500169"/>
              <a:ext cx="323161" cy="3130369"/>
            </a:xfrm>
            <a:prstGeom prst="rect">
              <a:avLst/>
            </a:prstGeom>
            <a:solidFill>
              <a:srgbClr val="21B5FF"/>
            </a:solidFill>
            <a:ln>
              <a:noFill/>
            </a:ln>
          </p:spPr>
          <p:txBody>
            <a:bodyPr vert="horz" wrap="square" lIns="91440" tIns="45720" rIns="91440" bIns="45720" numCol="1" anchor="t" anchorCtr="0" compatLnSpc="1">
              <a:prstTxWarp prst="textNoShape">
                <a:avLst/>
              </a:prstTxWarp>
            </a:bodyPr>
            <a:lstStyle/>
            <a:p>
              <a:endParaRPr lang="en-US"/>
            </a:p>
          </p:txBody>
        </p:sp>
        <p:sp>
          <p:nvSpPr>
            <p:cNvPr id="481" name="Rectangle 9">
              <a:extLst>
                <a:ext uri="{FF2B5EF4-FFF2-40B4-BE49-F238E27FC236}">
                  <a16:creationId xmlns:a16="http://schemas.microsoft.com/office/drawing/2014/main" id="{E9406D02-8B6F-4E0C-BE1A-9212EA2522A0}"/>
                </a:ext>
              </a:extLst>
            </p:cNvPr>
            <p:cNvSpPr>
              <a:spLocks noChangeArrowheads="1"/>
            </p:cNvSpPr>
            <p:nvPr/>
          </p:nvSpPr>
          <p:spPr bwMode="auto">
            <a:xfrm>
              <a:off x="6555936" y="2500169"/>
              <a:ext cx="164790" cy="2062223"/>
            </a:xfrm>
            <a:prstGeom prst="rect">
              <a:avLst/>
            </a:prstGeom>
            <a:solidFill>
              <a:srgbClr val="6DCEFF"/>
            </a:solidFill>
            <a:ln>
              <a:noFill/>
            </a:ln>
          </p:spPr>
          <p:txBody>
            <a:bodyPr vert="horz" wrap="square" lIns="91440" tIns="45720" rIns="91440" bIns="45720" numCol="1" anchor="t" anchorCtr="0" compatLnSpc="1">
              <a:prstTxWarp prst="textNoShape">
                <a:avLst/>
              </a:prstTxWarp>
            </a:bodyPr>
            <a:lstStyle/>
            <a:p>
              <a:endParaRPr lang="en-US"/>
            </a:p>
          </p:txBody>
        </p:sp>
        <p:sp>
          <p:nvSpPr>
            <p:cNvPr id="482" name="Freeform 7">
              <a:extLst>
                <a:ext uri="{FF2B5EF4-FFF2-40B4-BE49-F238E27FC236}">
                  <a16:creationId xmlns:a16="http://schemas.microsoft.com/office/drawing/2014/main" id="{0A9882A5-34ED-4A00-86C7-1670E0D8D903}"/>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008BD0"/>
            </a:solidFill>
            <a:ln>
              <a:noFill/>
            </a:ln>
          </p:spPr>
          <p:txBody>
            <a:bodyPr vert="horz" wrap="square" lIns="91440" tIns="45720" rIns="91440" bIns="45720" numCol="1" anchor="t" anchorCtr="0" compatLnSpc="1">
              <a:prstTxWarp prst="textNoShape">
                <a:avLst/>
              </a:prstTxWarp>
            </a:bodyPr>
            <a:lstStyle/>
            <a:p>
              <a:endParaRPr lang="en-US"/>
            </a:p>
          </p:txBody>
        </p:sp>
        <p:sp>
          <p:nvSpPr>
            <p:cNvPr id="483" name="Rectangle 11">
              <a:extLst>
                <a:ext uri="{FF2B5EF4-FFF2-40B4-BE49-F238E27FC236}">
                  <a16:creationId xmlns:a16="http://schemas.microsoft.com/office/drawing/2014/main" id="{168A82AE-E072-46C4-AAB9-E6B015EBAD00}"/>
                </a:ext>
              </a:extLst>
            </p:cNvPr>
            <p:cNvSpPr>
              <a:spLocks noChangeArrowheads="1"/>
            </p:cNvSpPr>
            <p:nvPr/>
          </p:nvSpPr>
          <p:spPr bwMode="auto">
            <a:xfrm>
              <a:off x="6555929" y="4562392"/>
              <a:ext cx="164790" cy="1068146"/>
            </a:xfrm>
            <a:prstGeom prst="rect">
              <a:avLst/>
            </a:prstGeom>
            <a:solidFill>
              <a:srgbClr val="00A7F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4" name="Group 483">
            <a:extLst>
              <a:ext uri="{FF2B5EF4-FFF2-40B4-BE49-F238E27FC236}">
                <a16:creationId xmlns:a16="http://schemas.microsoft.com/office/drawing/2014/main" id="{D622DDB8-5C5C-4D93-879E-7143DA040872}"/>
              </a:ext>
            </a:extLst>
          </p:cNvPr>
          <p:cNvGrpSpPr/>
          <p:nvPr/>
        </p:nvGrpSpPr>
        <p:grpSpPr>
          <a:xfrm>
            <a:off x="2876388" y="4968775"/>
            <a:ext cx="624726" cy="661762"/>
            <a:chOff x="6397554" y="2500169"/>
            <a:chExt cx="323172" cy="3130369"/>
          </a:xfrm>
        </p:grpSpPr>
        <p:sp>
          <p:nvSpPr>
            <p:cNvPr id="485" name="Rectangle 6">
              <a:extLst>
                <a:ext uri="{FF2B5EF4-FFF2-40B4-BE49-F238E27FC236}">
                  <a16:creationId xmlns:a16="http://schemas.microsoft.com/office/drawing/2014/main" id="{828AF8BD-51CF-4DCB-A2C9-67A1AEB54EB4}"/>
                </a:ext>
              </a:extLst>
            </p:cNvPr>
            <p:cNvSpPr>
              <a:spLocks noChangeArrowheads="1"/>
            </p:cNvSpPr>
            <p:nvPr/>
          </p:nvSpPr>
          <p:spPr bwMode="auto">
            <a:xfrm>
              <a:off x="6397565" y="2500169"/>
              <a:ext cx="323161" cy="3130369"/>
            </a:xfrm>
            <a:prstGeom prst="rect">
              <a:avLst/>
            </a:prstGeom>
            <a:solidFill>
              <a:srgbClr val="21B5FF"/>
            </a:solidFill>
            <a:ln>
              <a:noFill/>
            </a:ln>
          </p:spPr>
          <p:txBody>
            <a:bodyPr vert="horz" wrap="square" lIns="91440" tIns="45720" rIns="91440" bIns="45720" numCol="1" anchor="t" anchorCtr="0" compatLnSpc="1">
              <a:prstTxWarp prst="textNoShape">
                <a:avLst/>
              </a:prstTxWarp>
            </a:bodyPr>
            <a:lstStyle/>
            <a:p>
              <a:endParaRPr lang="en-US"/>
            </a:p>
          </p:txBody>
        </p:sp>
        <p:sp>
          <p:nvSpPr>
            <p:cNvPr id="486" name="Rectangle 9">
              <a:extLst>
                <a:ext uri="{FF2B5EF4-FFF2-40B4-BE49-F238E27FC236}">
                  <a16:creationId xmlns:a16="http://schemas.microsoft.com/office/drawing/2014/main" id="{621A6B02-9221-4E9C-AC4B-52149E36AF22}"/>
                </a:ext>
              </a:extLst>
            </p:cNvPr>
            <p:cNvSpPr>
              <a:spLocks noChangeArrowheads="1"/>
            </p:cNvSpPr>
            <p:nvPr/>
          </p:nvSpPr>
          <p:spPr bwMode="auto">
            <a:xfrm>
              <a:off x="6555936" y="2500169"/>
              <a:ext cx="164790" cy="2062223"/>
            </a:xfrm>
            <a:prstGeom prst="rect">
              <a:avLst/>
            </a:prstGeom>
            <a:solidFill>
              <a:srgbClr val="6DCEFF"/>
            </a:solidFill>
            <a:ln>
              <a:noFill/>
            </a:ln>
          </p:spPr>
          <p:txBody>
            <a:bodyPr vert="horz" wrap="square" lIns="91440" tIns="45720" rIns="91440" bIns="45720" numCol="1" anchor="t" anchorCtr="0" compatLnSpc="1">
              <a:prstTxWarp prst="textNoShape">
                <a:avLst/>
              </a:prstTxWarp>
            </a:bodyPr>
            <a:lstStyle/>
            <a:p>
              <a:endParaRPr lang="en-US"/>
            </a:p>
          </p:txBody>
        </p:sp>
        <p:sp>
          <p:nvSpPr>
            <p:cNvPr id="487" name="Freeform 7">
              <a:extLst>
                <a:ext uri="{FF2B5EF4-FFF2-40B4-BE49-F238E27FC236}">
                  <a16:creationId xmlns:a16="http://schemas.microsoft.com/office/drawing/2014/main" id="{14D91E8B-0590-4ADF-88E8-8DA878BA0090}"/>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008BD0"/>
            </a:solidFill>
            <a:ln>
              <a:noFill/>
            </a:ln>
          </p:spPr>
          <p:txBody>
            <a:bodyPr vert="horz" wrap="square" lIns="91440" tIns="45720" rIns="91440" bIns="45720" numCol="1" anchor="t" anchorCtr="0" compatLnSpc="1">
              <a:prstTxWarp prst="textNoShape">
                <a:avLst/>
              </a:prstTxWarp>
            </a:bodyPr>
            <a:lstStyle/>
            <a:p>
              <a:endParaRPr lang="en-US"/>
            </a:p>
          </p:txBody>
        </p:sp>
        <p:sp>
          <p:nvSpPr>
            <p:cNvPr id="488" name="Rectangle 11">
              <a:extLst>
                <a:ext uri="{FF2B5EF4-FFF2-40B4-BE49-F238E27FC236}">
                  <a16:creationId xmlns:a16="http://schemas.microsoft.com/office/drawing/2014/main" id="{4BE3C4E5-711E-40A3-B088-406E6F62CFC2}"/>
                </a:ext>
              </a:extLst>
            </p:cNvPr>
            <p:cNvSpPr>
              <a:spLocks noChangeArrowheads="1"/>
            </p:cNvSpPr>
            <p:nvPr/>
          </p:nvSpPr>
          <p:spPr bwMode="auto">
            <a:xfrm>
              <a:off x="6555929" y="4562392"/>
              <a:ext cx="164790" cy="1068146"/>
            </a:xfrm>
            <a:prstGeom prst="rect">
              <a:avLst/>
            </a:prstGeom>
            <a:solidFill>
              <a:srgbClr val="00A7FA"/>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9" name="Group 488">
            <a:extLst>
              <a:ext uri="{FF2B5EF4-FFF2-40B4-BE49-F238E27FC236}">
                <a16:creationId xmlns:a16="http://schemas.microsoft.com/office/drawing/2014/main" id="{668B7ABC-87EE-4B20-9BF5-D138A34A1027}"/>
              </a:ext>
            </a:extLst>
          </p:cNvPr>
          <p:cNvGrpSpPr/>
          <p:nvPr/>
        </p:nvGrpSpPr>
        <p:grpSpPr>
          <a:xfrm>
            <a:off x="609600" y="5258215"/>
            <a:ext cx="624726" cy="372321"/>
            <a:chOff x="6397554" y="2500169"/>
            <a:chExt cx="323172" cy="3130369"/>
          </a:xfrm>
        </p:grpSpPr>
        <p:sp>
          <p:nvSpPr>
            <p:cNvPr id="490" name="Rectangle 6">
              <a:extLst>
                <a:ext uri="{FF2B5EF4-FFF2-40B4-BE49-F238E27FC236}">
                  <a16:creationId xmlns:a16="http://schemas.microsoft.com/office/drawing/2014/main" id="{35E56B99-8B1B-4FAC-995A-6761384C6FE6}"/>
                </a:ext>
              </a:extLst>
            </p:cNvPr>
            <p:cNvSpPr>
              <a:spLocks noChangeArrowheads="1"/>
            </p:cNvSpPr>
            <p:nvPr/>
          </p:nvSpPr>
          <p:spPr bwMode="auto">
            <a:xfrm>
              <a:off x="6397565" y="2500169"/>
              <a:ext cx="323161" cy="3130369"/>
            </a:xfrm>
            <a:prstGeom prst="rect">
              <a:avLst/>
            </a:prstGeom>
            <a:solidFill>
              <a:srgbClr val="21B5FF"/>
            </a:solidFill>
            <a:ln>
              <a:noFill/>
            </a:ln>
          </p:spPr>
          <p:txBody>
            <a:bodyPr vert="horz" wrap="square" lIns="91440" tIns="45720" rIns="91440" bIns="45720" numCol="1" anchor="t" anchorCtr="0" compatLnSpc="1">
              <a:prstTxWarp prst="textNoShape">
                <a:avLst/>
              </a:prstTxWarp>
            </a:bodyPr>
            <a:lstStyle/>
            <a:p>
              <a:endParaRPr lang="en-US"/>
            </a:p>
          </p:txBody>
        </p:sp>
        <p:sp>
          <p:nvSpPr>
            <p:cNvPr id="491" name="Rectangle 9">
              <a:extLst>
                <a:ext uri="{FF2B5EF4-FFF2-40B4-BE49-F238E27FC236}">
                  <a16:creationId xmlns:a16="http://schemas.microsoft.com/office/drawing/2014/main" id="{1C1B85E0-5485-4BE6-B3B2-A1E38FAB0EB0}"/>
                </a:ext>
              </a:extLst>
            </p:cNvPr>
            <p:cNvSpPr>
              <a:spLocks noChangeArrowheads="1"/>
            </p:cNvSpPr>
            <p:nvPr/>
          </p:nvSpPr>
          <p:spPr bwMode="auto">
            <a:xfrm>
              <a:off x="6555936" y="2500169"/>
              <a:ext cx="164790" cy="2062223"/>
            </a:xfrm>
            <a:prstGeom prst="rect">
              <a:avLst/>
            </a:prstGeom>
            <a:solidFill>
              <a:srgbClr val="6DCEFF"/>
            </a:solidFill>
            <a:ln>
              <a:noFill/>
            </a:ln>
          </p:spPr>
          <p:txBody>
            <a:bodyPr vert="horz" wrap="square" lIns="91440" tIns="45720" rIns="91440" bIns="45720" numCol="1" anchor="t" anchorCtr="0" compatLnSpc="1">
              <a:prstTxWarp prst="textNoShape">
                <a:avLst/>
              </a:prstTxWarp>
            </a:bodyPr>
            <a:lstStyle/>
            <a:p>
              <a:endParaRPr lang="en-US"/>
            </a:p>
          </p:txBody>
        </p:sp>
        <p:sp>
          <p:nvSpPr>
            <p:cNvPr id="492" name="Freeform 7">
              <a:extLst>
                <a:ext uri="{FF2B5EF4-FFF2-40B4-BE49-F238E27FC236}">
                  <a16:creationId xmlns:a16="http://schemas.microsoft.com/office/drawing/2014/main" id="{953CB3AA-E9FB-4719-B002-1413D7BA97D6}"/>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008BD0"/>
            </a:solidFill>
            <a:ln>
              <a:noFill/>
            </a:ln>
          </p:spPr>
          <p:txBody>
            <a:bodyPr vert="horz" wrap="square" lIns="91440" tIns="45720" rIns="91440" bIns="45720" numCol="1" anchor="t" anchorCtr="0" compatLnSpc="1">
              <a:prstTxWarp prst="textNoShape">
                <a:avLst/>
              </a:prstTxWarp>
            </a:bodyPr>
            <a:lstStyle/>
            <a:p>
              <a:endParaRPr lang="en-US"/>
            </a:p>
          </p:txBody>
        </p:sp>
        <p:sp>
          <p:nvSpPr>
            <p:cNvPr id="493" name="Rectangle 11">
              <a:extLst>
                <a:ext uri="{FF2B5EF4-FFF2-40B4-BE49-F238E27FC236}">
                  <a16:creationId xmlns:a16="http://schemas.microsoft.com/office/drawing/2014/main" id="{3255CB3C-1D22-4D6E-B324-E7CD8750219C}"/>
                </a:ext>
              </a:extLst>
            </p:cNvPr>
            <p:cNvSpPr>
              <a:spLocks noChangeArrowheads="1"/>
            </p:cNvSpPr>
            <p:nvPr/>
          </p:nvSpPr>
          <p:spPr bwMode="auto">
            <a:xfrm>
              <a:off x="6555929" y="4562392"/>
              <a:ext cx="164790" cy="1068146"/>
            </a:xfrm>
            <a:prstGeom prst="rect">
              <a:avLst/>
            </a:prstGeom>
            <a:solidFill>
              <a:srgbClr val="00A7FA"/>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94" name="TextBox 493">
            <a:extLst>
              <a:ext uri="{FF2B5EF4-FFF2-40B4-BE49-F238E27FC236}">
                <a16:creationId xmlns:a16="http://schemas.microsoft.com/office/drawing/2014/main" id="{CBDE4756-D6D2-4B43-95E3-50198D51AF7B}"/>
              </a:ext>
            </a:extLst>
          </p:cNvPr>
          <p:cNvSpPr txBox="1"/>
          <p:nvPr/>
        </p:nvSpPr>
        <p:spPr>
          <a:xfrm>
            <a:off x="609587"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495" name="TextBox 494">
            <a:extLst>
              <a:ext uri="{FF2B5EF4-FFF2-40B4-BE49-F238E27FC236}">
                <a16:creationId xmlns:a16="http://schemas.microsoft.com/office/drawing/2014/main" id="{6EB7F95C-BA7D-46D0-B97B-CD0CC6530CFE}"/>
              </a:ext>
            </a:extLst>
          </p:cNvPr>
          <p:cNvSpPr txBox="1"/>
          <p:nvPr/>
        </p:nvSpPr>
        <p:spPr>
          <a:xfrm>
            <a:off x="2876409"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496" name="TextBox 495">
            <a:extLst>
              <a:ext uri="{FF2B5EF4-FFF2-40B4-BE49-F238E27FC236}">
                <a16:creationId xmlns:a16="http://schemas.microsoft.com/office/drawing/2014/main" id="{0DD4EF87-03E0-43C4-8930-3B04F5CE7685}"/>
              </a:ext>
            </a:extLst>
          </p:cNvPr>
          <p:cNvSpPr txBox="1"/>
          <p:nvPr/>
        </p:nvSpPr>
        <p:spPr>
          <a:xfrm>
            <a:off x="4009803"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497" name="TextBox 496">
            <a:extLst>
              <a:ext uri="{FF2B5EF4-FFF2-40B4-BE49-F238E27FC236}">
                <a16:creationId xmlns:a16="http://schemas.microsoft.com/office/drawing/2014/main" id="{F635DC04-3A56-4470-A652-817BBF26F4C5}"/>
              </a:ext>
            </a:extLst>
          </p:cNvPr>
          <p:cNvSpPr txBox="1"/>
          <p:nvPr/>
        </p:nvSpPr>
        <p:spPr>
          <a:xfrm>
            <a:off x="5143197"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498" name="TextBox 497">
            <a:extLst>
              <a:ext uri="{FF2B5EF4-FFF2-40B4-BE49-F238E27FC236}">
                <a16:creationId xmlns:a16="http://schemas.microsoft.com/office/drawing/2014/main" id="{48DEBE2F-7C35-4B11-9C0C-03A14E025814}"/>
              </a:ext>
            </a:extLst>
          </p:cNvPr>
          <p:cNvSpPr txBox="1"/>
          <p:nvPr/>
        </p:nvSpPr>
        <p:spPr>
          <a:xfrm>
            <a:off x="6268938"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499" name="TextBox 498">
            <a:extLst>
              <a:ext uri="{FF2B5EF4-FFF2-40B4-BE49-F238E27FC236}">
                <a16:creationId xmlns:a16="http://schemas.microsoft.com/office/drawing/2014/main" id="{0EF1604A-2F29-4EA2-89D7-D67B922A1EFB}"/>
              </a:ext>
            </a:extLst>
          </p:cNvPr>
          <p:cNvSpPr txBox="1"/>
          <p:nvPr/>
        </p:nvSpPr>
        <p:spPr>
          <a:xfrm>
            <a:off x="609587" y="4876800"/>
            <a:ext cx="624705" cy="308610"/>
          </a:xfrm>
          <a:prstGeom prst="rect">
            <a:avLst/>
          </a:prstGeom>
          <a:noFill/>
        </p:spPr>
        <p:txBody>
          <a:bodyPr wrap="square" lIns="0" tIns="0" rIns="0" bIns="0" rtlCol="0" anchor="ctr" anchorCtr="0">
            <a:noAutofit/>
          </a:bodyPr>
          <a:lstStyle/>
          <a:p>
            <a:pPr algn="ctr"/>
            <a:r>
              <a:rPr lang="en-ID" sz="1600" b="1" dirty="0"/>
              <a:t>5%</a:t>
            </a:r>
          </a:p>
        </p:txBody>
      </p:sp>
      <p:grpSp>
        <p:nvGrpSpPr>
          <p:cNvPr id="500" name="Group 499">
            <a:extLst>
              <a:ext uri="{FF2B5EF4-FFF2-40B4-BE49-F238E27FC236}">
                <a16:creationId xmlns:a16="http://schemas.microsoft.com/office/drawing/2014/main" id="{0F813EFB-63DC-4607-A9D0-A4DA7BD4A423}"/>
              </a:ext>
            </a:extLst>
          </p:cNvPr>
          <p:cNvGrpSpPr/>
          <p:nvPr/>
        </p:nvGrpSpPr>
        <p:grpSpPr>
          <a:xfrm>
            <a:off x="1742994" y="5247463"/>
            <a:ext cx="624726" cy="383074"/>
            <a:chOff x="6397554" y="2500169"/>
            <a:chExt cx="323172" cy="3130369"/>
          </a:xfrm>
        </p:grpSpPr>
        <p:sp>
          <p:nvSpPr>
            <p:cNvPr id="501" name="Rectangle 6">
              <a:extLst>
                <a:ext uri="{FF2B5EF4-FFF2-40B4-BE49-F238E27FC236}">
                  <a16:creationId xmlns:a16="http://schemas.microsoft.com/office/drawing/2014/main" id="{9D1E8827-2700-40B2-9ECC-515627887581}"/>
                </a:ext>
              </a:extLst>
            </p:cNvPr>
            <p:cNvSpPr>
              <a:spLocks noChangeArrowheads="1"/>
            </p:cNvSpPr>
            <p:nvPr/>
          </p:nvSpPr>
          <p:spPr bwMode="auto">
            <a:xfrm>
              <a:off x="6397565" y="2500169"/>
              <a:ext cx="323161" cy="3130369"/>
            </a:xfrm>
            <a:prstGeom prst="rect">
              <a:avLst/>
            </a:prstGeom>
            <a:solidFill>
              <a:srgbClr val="21B5FF"/>
            </a:solidFill>
            <a:ln>
              <a:noFill/>
            </a:ln>
          </p:spPr>
          <p:txBody>
            <a:bodyPr vert="horz" wrap="square" lIns="91440" tIns="45720" rIns="91440" bIns="45720" numCol="1" anchor="t" anchorCtr="0" compatLnSpc="1">
              <a:prstTxWarp prst="textNoShape">
                <a:avLst/>
              </a:prstTxWarp>
            </a:bodyPr>
            <a:lstStyle/>
            <a:p>
              <a:endParaRPr lang="en-US"/>
            </a:p>
          </p:txBody>
        </p:sp>
        <p:sp>
          <p:nvSpPr>
            <p:cNvPr id="502" name="Rectangle 9">
              <a:extLst>
                <a:ext uri="{FF2B5EF4-FFF2-40B4-BE49-F238E27FC236}">
                  <a16:creationId xmlns:a16="http://schemas.microsoft.com/office/drawing/2014/main" id="{B20FD33A-9BB8-412D-93B1-436EDC19A689}"/>
                </a:ext>
              </a:extLst>
            </p:cNvPr>
            <p:cNvSpPr>
              <a:spLocks noChangeArrowheads="1"/>
            </p:cNvSpPr>
            <p:nvPr/>
          </p:nvSpPr>
          <p:spPr bwMode="auto">
            <a:xfrm>
              <a:off x="6555936" y="2500169"/>
              <a:ext cx="164790" cy="2062223"/>
            </a:xfrm>
            <a:prstGeom prst="rect">
              <a:avLst/>
            </a:prstGeom>
            <a:solidFill>
              <a:srgbClr val="6DCEFF"/>
            </a:solidFill>
            <a:ln>
              <a:noFill/>
            </a:ln>
          </p:spPr>
          <p:txBody>
            <a:bodyPr vert="horz" wrap="square" lIns="91440" tIns="45720" rIns="91440" bIns="45720" numCol="1" anchor="t" anchorCtr="0" compatLnSpc="1">
              <a:prstTxWarp prst="textNoShape">
                <a:avLst/>
              </a:prstTxWarp>
            </a:bodyPr>
            <a:lstStyle/>
            <a:p>
              <a:endParaRPr lang="en-US"/>
            </a:p>
          </p:txBody>
        </p:sp>
        <p:sp>
          <p:nvSpPr>
            <p:cNvPr id="503" name="Freeform 7">
              <a:extLst>
                <a:ext uri="{FF2B5EF4-FFF2-40B4-BE49-F238E27FC236}">
                  <a16:creationId xmlns:a16="http://schemas.microsoft.com/office/drawing/2014/main" id="{0F073B95-FCCA-4F5B-8287-AC2F599989C6}"/>
                </a:ext>
              </a:extLst>
            </p:cNvPr>
            <p:cNvSpPr>
              <a:spLocks/>
            </p:cNvSpPr>
            <p:nvPr/>
          </p:nvSpPr>
          <p:spPr bwMode="auto">
            <a:xfrm>
              <a:off x="6397554" y="4562392"/>
              <a:ext cx="323161" cy="1068146"/>
            </a:xfrm>
            <a:custGeom>
              <a:avLst/>
              <a:gdLst>
                <a:gd name="T0" fmla="*/ 74 w 151"/>
                <a:gd name="T1" fmla="*/ 0 h 274"/>
                <a:gd name="T2" fmla="*/ 0 w 151"/>
                <a:gd name="T3" fmla="*/ 0 h 274"/>
                <a:gd name="T4" fmla="*/ 0 w 151"/>
                <a:gd name="T5" fmla="*/ 274 h 274"/>
                <a:gd name="T6" fmla="*/ 151 w 151"/>
                <a:gd name="T7" fmla="*/ 274 h 274"/>
                <a:gd name="T8" fmla="*/ 74 w 151"/>
                <a:gd name="T9" fmla="*/ 274 h 274"/>
                <a:gd name="T10" fmla="*/ 74 w 151"/>
                <a:gd name="T11" fmla="*/ 0 h 274"/>
              </a:gdLst>
              <a:ahLst/>
              <a:cxnLst>
                <a:cxn ang="0">
                  <a:pos x="T0" y="T1"/>
                </a:cxn>
                <a:cxn ang="0">
                  <a:pos x="T2" y="T3"/>
                </a:cxn>
                <a:cxn ang="0">
                  <a:pos x="T4" y="T5"/>
                </a:cxn>
                <a:cxn ang="0">
                  <a:pos x="T6" y="T7"/>
                </a:cxn>
                <a:cxn ang="0">
                  <a:pos x="T8" y="T9"/>
                </a:cxn>
                <a:cxn ang="0">
                  <a:pos x="T10" y="T11"/>
                </a:cxn>
              </a:cxnLst>
              <a:rect l="0" t="0" r="r" b="b"/>
              <a:pathLst>
                <a:path w="151" h="274">
                  <a:moveTo>
                    <a:pt x="74" y="0"/>
                  </a:moveTo>
                  <a:lnTo>
                    <a:pt x="0" y="0"/>
                  </a:lnTo>
                  <a:lnTo>
                    <a:pt x="0" y="274"/>
                  </a:lnTo>
                  <a:lnTo>
                    <a:pt x="151" y="274"/>
                  </a:lnTo>
                  <a:lnTo>
                    <a:pt x="74" y="274"/>
                  </a:lnTo>
                  <a:lnTo>
                    <a:pt x="74" y="0"/>
                  </a:lnTo>
                  <a:close/>
                </a:path>
              </a:pathLst>
            </a:custGeom>
            <a:solidFill>
              <a:srgbClr val="008BD0"/>
            </a:solidFill>
            <a:ln>
              <a:noFill/>
            </a:ln>
          </p:spPr>
          <p:txBody>
            <a:bodyPr vert="horz" wrap="square" lIns="91440" tIns="45720" rIns="91440" bIns="45720" numCol="1" anchor="t" anchorCtr="0" compatLnSpc="1">
              <a:prstTxWarp prst="textNoShape">
                <a:avLst/>
              </a:prstTxWarp>
            </a:bodyPr>
            <a:lstStyle/>
            <a:p>
              <a:endParaRPr lang="en-US"/>
            </a:p>
          </p:txBody>
        </p:sp>
        <p:sp>
          <p:nvSpPr>
            <p:cNvPr id="504" name="Rectangle 11">
              <a:extLst>
                <a:ext uri="{FF2B5EF4-FFF2-40B4-BE49-F238E27FC236}">
                  <a16:creationId xmlns:a16="http://schemas.microsoft.com/office/drawing/2014/main" id="{37075A50-AE49-4B2C-812D-661264AF6748}"/>
                </a:ext>
              </a:extLst>
            </p:cNvPr>
            <p:cNvSpPr>
              <a:spLocks noChangeArrowheads="1"/>
            </p:cNvSpPr>
            <p:nvPr/>
          </p:nvSpPr>
          <p:spPr bwMode="auto">
            <a:xfrm>
              <a:off x="6555929" y="4562392"/>
              <a:ext cx="164790" cy="1068146"/>
            </a:xfrm>
            <a:prstGeom prst="rect">
              <a:avLst/>
            </a:prstGeom>
            <a:solidFill>
              <a:srgbClr val="00A7FA"/>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05" name="TextBox 504">
            <a:extLst>
              <a:ext uri="{FF2B5EF4-FFF2-40B4-BE49-F238E27FC236}">
                <a16:creationId xmlns:a16="http://schemas.microsoft.com/office/drawing/2014/main" id="{B2A562BE-EBAE-4E4C-AAD5-BD9C3D1EA3D3}"/>
              </a:ext>
            </a:extLst>
          </p:cNvPr>
          <p:cNvSpPr txBox="1"/>
          <p:nvPr/>
        </p:nvSpPr>
        <p:spPr>
          <a:xfrm>
            <a:off x="1743015" y="5722620"/>
            <a:ext cx="624705" cy="434340"/>
          </a:xfrm>
          <a:prstGeom prst="rect">
            <a:avLst/>
          </a:prstGeom>
          <a:noFill/>
        </p:spPr>
        <p:txBody>
          <a:bodyPr wrap="square" lIns="0" tIns="0" rIns="0" bIns="0" rtlCol="0" anchor="t" anchorCtr="0">
            <a:noAutofit/>
          </a:bodyPr>
          <a:lstStyle/>
          <a:p>
            <a:pPr algn="ctr"/>
            <a:r>
              <a:rPr lang="en-ID" sz="1400" dirty="0"/>
              <a:t>Lorem ipsum</a:t>
            </a:r>
          </a:p>
        </p:txBody>
      </p:sp>
      <p:sp>
        <p:nvSpPr>
          <p:cNvPr id="506" name="TextBox 505">
            <a:extLst>
              <a:ext uri="{FF2B5EF4-FFF2-40B4-BE49-F238E27FC236}">
                <a16:creationId xmlns:a16="http://schemas.microsoft.com/office/drawing/2014/main" id="{090FFEEC-1FD8-464E-BE1A-AAD2D48774BB}"/>
              </a:ext>
            </a:extLst>
          </p:cNvPr>
          <p:cNvSpPr txBox="1"/>
          <p:nvPr/>
        </p:nvSpPr>
        <p:spPr>
          <a:xfrm>
            <a:off x="1743015" y="4876800"/>
            <a:ext cx="624705" cy="308610"/>
          </a:xfrm>
          <a:prstGeom prst="rect">
            <a:avLst/>
          </a:prstGeom>
          <a:noFill/>
        </p:spPr>
        <p:txBody>
          <a:bodyPr wrap="square" lIns="0" tIns="0" rIns="0" bIns="0" rtlCol="0" anchor="ctr" anchorCtr="0">
            <a:noAutofit/>
          </a:bodyPr>
          <a:lstStyle/>
          <a:p>
            <a:pPr algn="ctr"/>
            <a:r>
              <a:rPr lang="en-ID" sz="1600" b="1" dirty="0"/>
              <a:t>5%</a:t>
            </a:r>
          </a:p>
        </p:txBody>
      </p:sp>
      <p:sp>
        <p:nvSpPr>
          <p:cNvPr id="507" name="TextBox 506">
            <a:extLst>
              <a:ext uri="{FF2B5EF4-FFF2-40B4-BE49-F238E27FC236}">
                <a16:creationId xmlns:a16="http://schemas.microsoft.com/office/drawing/2014/main" id="{0F3A8AE8-B148-4EA3-B416-DBB0C294567C}"/>
              </a:ext>
            </a:extLst>
          </p:cNvPr>
          <p:cNvSpPr txBox="1"/>
          <p:nvPr/>
        </p:nvSpPr>
        <p:spPr>
          <a:xfrm>
            <a:off x="2876409" y="4572000"/>
            <a:ext cx="624705" cy="308610"/>
          </a:xfrm>
          <a:prstGeom prst="rect">
            <a:avLst/>
          </a:prstGeom>
          <a:noFill/>
        </p:spPr>
        <p:txBody>
          <a:bodyPr wrap="square" lIns="0" tIns="0" rIns="0" bIns="0" rtlCol="0" anchor="ctr" anchorCtr="0">
            <a:noAutofit/>
          </a:bodyPr>
          <a:lstStyle/>
          <a:p>
            <a:pPr algn="ctr"/>
            <a:r>
              <a:rPr lang="en-ID" sz="1600" b="1" dirty="0"/>
              <a:t>10%</a:t>
            </a:r>
          </a:p>
        </p:txBody>
      </p:sp>
      <p:sp>
        <p:nvSpPr>
          <p:cNvPr id="508" name="TextBox 507">
            <a:extLst>
              <a:ext uri="{FF2B5EF4-FFF2-40B4-BE49-F238E27FC236}">
                <a16:creationId xmlns:a16="http://schemas.microsoft.com/office/drawing/2014/main" id="{830432E0-1D82-4C75-ACA0-40AD7F4E5680}"/>
              </a:ext>
            </a:extLst>
          </p:cNvPr>
          <p:cNvSpPr txBox="1"/>
          <p:nvPr/>
        </p:nvSpPr>
        <p:spPr>
          <a:xfrm>
            <a:off x="4009803" y="4143375"/>
            <a:ext cx="624705" cy="308610"/>
          </a:xfrm>
          <a:prstGeom prst="rect">
            <a:avLst/>
          </a:prstGeom>
          <a:noFill/>
        </p:spPr>
        <p:txBody>
          <a:bodyPr wrap="square" lIns="0" tIns="0" rIns="0" bIns="0" rtlCol="0" anchor="ctr" anchorCtr="0">
            <a:noAutofit/>
          </a:bodyPr>
          <a:lstStyle/>
          <a:p>
            <a:pPr algn="ctr"/>
            <a:r>
              <a:rPr lang="en-ID" sz="1600" b="1" dirty="0"/>
              <a:t>18%</a:t>
            </a:r>
          </a:p>
        </p:txBody>
      </p:sp>
      <p:sp>
        <p:nvSpPr>
          <p:cNvPr id="509" name="TextBox 508">
            <a:extLst>
              <a:ext uri="{FF2B5EF4-FFF2-40B4-BE49-F238E27FC236}">
                <a16:creationId xmlns:a16="http://schemas.microsoft.com/office/drawing/2014/main" id="{C7E14840-3558-4874-B3B5-82B173B6A935}"/>
              </a:ext>
            </a:extLst>
          </p:cNvPr>
          <p:cNvSpPr txBox="1"/>
          <p:nvPr/>
        </p:nvSpPr>
        <p:spPr>
          <a:xfrm>
            <a:off x="5143197" y="3954013"/>
            <a:ext cx="624705" cy="308610"/>
          </a:xfrm>
          <a:prstGeom prst="rect">
            <a:avLst/>
          </a:prstGeom>
          <a:noFill/>
        </p:spPr>
        <p:txBody>
          <a:bodyPr wrap="square" lIns="0" tIns="0" rIns="0" bIns="0" rtlCol="0" anchor="ctr" anchorCtr="0">
            <a:noAutofit/>
          </a:bodyPr>
          <a:lstStyle/>
          <a:p>
            <a:pPr algn="ctr"/>
            <a:r>
              <a:rPr lang="en-ID" sz="1600" b="1" dirty="0"/>
              <a:t>20%</a:t>
            </a:r>
          </a:p>
        </p:txBody>
      </p:sp>
      <p:sp>
        <p:nvSpPr>
          <p:cNvPr id="510" name="TextBox 509">
            <a:extLst>
              <a:ext uri="{FF2B5EF4-FFF2-40B4-BE49-F238E27FC236}">
                <a16:creationId xmlns:a16="http://schemas.microsoft.com/office/drawing/2014/main" id="{7D96B221-0BD9-4895-B55B-6FC061344EC0}"/>
              </a:ext>
            </a:extLst>
          </p:cNvPr>
          <p:cNvSpPr txBox="1"/>
          <p:nvPr/>
        </p:nvSpPr>
        <p:spPr>
          <a:xfrm>
            <a:off x="6278497" y="2747745"/>
            <a:ext cx="624705" cy="308610"/>
          </a:xfrm>
          <a:prstGeom prst="rect">
            <a:avLst/>
          </a:prstGeom>
          <a:noFill/>
        </p:spPr>
        <p:txBody>
          <a:bodyPr wrap="square" lIns="0" tIns="0" rIns="0" bIns="0" rtlCol="0" anchor="ctr" anchorCtr="0">
            <a:noAutofit/>
          </a:bodyPr>
          <a:lstStyle/>
          <a:p>
            <a:pPr algn="ctr"/>
            <a:r>
              <a:rPr lang="en-ID" sz="1600" b="1" dirty="0"/>
              <a:t>32%</a:t>
            </a:r>
          </a:p>
        </p:txBody>
      </p:sp>
      <p:sp>
        <p:nvSpPr>
          <p:cNvPr id="511" name="TextBox 510">
            <a:extLst>
              <a:ext uri="{FF2B5EF4-FFF2-40B4-BE49-F238E27FC236}">
                <a16:creationId xmlns:a16="http://schemas.microsoft.com/office/drawing/2014/main" id="{96241C45-6963-4F87-AB3E-1639BD7409E6}"/>
              </a:ext>
            </a:extLst>
          </p:cNvPr>
          <p:cNvSpPr txBox="1"/>
          <p:nvPr/>
        </p:nvSpPr>
        <p:spPr>
          <a:xfrm>
            <a:off x="625149" y="2040444"/>
            <a:ext cx="6414280" cy="587085"/>
          </a:xfrm>
          <a:prstGeom prst="rect">
            <a:avLst/>
          </a:prstGeom>
          <a:noFill/>
        </p:spPr>
        <p:txBody>
          <a:bodyPr wrap="square" lIns="0" tIns="0" rIns="0" bIns="0" rtlCol="0" anchor="t" anchorCtr="0">
            <a:noAutofit/>
          </a:bodyPr>
          <a:lstStyle/>
          <a:p>
            <a:r>
              <a:rPr lang="en-ID" dirty="0"/>
              <a:t>Lorem ipsum </a:t>
            </a:r>
            <a:r>
              <a:rPr lang="en-ID" dirty="0" err="1"/>
              <a:t>dolor</a:t>
            </a:r>
            <a:r>
              <a:rPr lang="en-ID" dirty="0"/>
              <a:t> sit </a:t>
            </a:r>
            <a:r>
              <a:rPr lang="en-ID" dirty="0" err="1"/>
              <a:t>amet</a:t>
            </a:r>
            <a:r>
              <a:rPr lang="en-ID" dirty="0"/>
              <a:t>, </a:t>
            </a:r>
            <a:r>
              <a:rPr lang="en-ID" dirty="0" err="1"/>
              <a:t>consectetur</a:t>
            </a:r>
            <a:r>
              <a:rPr lang="en-ID" dirty="0"/>
              <a:t> </a:t>
            </a:r>
            <a:r>
              <a:rPr lang="en-ID" dirty="0" err="1"/>
              <a:t>adipiscing</a:t>
            </a:r>
            <a:r>
              <a:rPr lang="en-ID" dirty="0"/>
              <a:t> </a:t>
            </a:r>
            <a:r>
              <a:rPr lang="en-ID" dirty="0" err="1"/>
              <a:t>elit</a:t>
            </a:r>
            <a:r>
              <a:rPr lang="en-ID" dirty="0"/>
              <a:t>.</a:t>
            </a:r>
          </a:p>
          <a:p>
            <a:r>
              <a:rPr lang="en-ID" dirty="0" err="1"/>
              <a:t>Aliquam</a:t>
            </a:r>
            <a:r>
              <a:rPr lang="en-ID" dirty="0"/>
              <a:t> at </a:t>
            </a:r>
            <a:r>
              <a:rPr lang="en-ID" dirty="0" err="1"/>
              <a:t>volutpat</a:t>
            </a:r>
            <a:endParaRPr lang="en-ID" dirty="0"/>
          </a:p>
        </p:txBody>
      </p:sp>
      <p:sp>
        <p:nvSpPr>
          <p:cNvPr id="512" name="TextBox 511">
            <a:extLst>
              <a:ext uri="{FF2B5EF4-FFF2-40B4-BE49-F238E27FC236}">
                <a16:creationId xmlns:a16="http://schemas.microsoft.com/office/drawing/2014/main" id="{E38CB1CD-7E4E-4868-94FB-833266D779D1}"/>
              </a:ext>
            </a:extLst>
          </p:cNvPr>
          <p:cNvSpPr txBox="1"/>
          <p:nvPr/>
        </p:nvSpPr>
        <p:spPr>
          <a:xfrm>
            <a:off x="7913291" y="725714"/>
            <a:ext cx="3919317" cy="2058429"/>
          </a:xfrm>
          <a:prstGeom prst="rect">
            <a:avLst/>
          </a:prstGeom>
          <a:noFill/>
        </p:spPr>
        <p:txBody>
          <a:bodyPr wrap="square" lIns="0" tIns="0" rIns="0" bIns="0" rtlCol="0" anchor="t" anchorCtr="0">
            <a:noAutofit/>
          </a:bodyPr>
          <a:lstStyle/>
          <a:p>
            <a:pPr>
              <a:spcAft>
                <a:spcPts val="1200"/>
              </a:spcAft>
            </a:pPr>
            <a:r>
              <a:rPr lang="en-ID" i="1" dirty="0">
                <a:solidFill>
                  <a:schemeClr val="bg1"/>
                </a:solidFill>
              </a:rPr>
              <a:t>Lorem ipsum </a:t>
            </a:r>
            <a:r>
              <a:rPr lang="en-ID" i="1" dirty="0" err="1">
                <a:solidFill>
                  <a:schemeClr val="bg1"/>
                </a:solidFill>
              </a:rPr>
              <a:t>dolor</a:t>
            </a:r>
            <a:r>
              <a:rPr lang="en-ID" i="1" dirty="0">
                <a:solidFill>
                  <a:schemeClr val="bg1"/>
                </a:solidFill>
              </a:rPr>
              <a:t> sit </a:t>
            </a:r>
            <a:r>
              <a:rPr lang="en-ID" i="1" dirty="0" err="1">
                <a:solidFill>
                  <a:schemeClr val="bg1"/>
                </a:solidFill>
              </a:rPr>
              <a:t>amet</a:t>
            </a:r>
            <a:r>
              <a:rPr lang="en-ID" i="1" dirty="0">
                <a:solidFill>
                  <a:schemeClr val="bg1"/>
                </a:solidFill>
              </a:rPr>
              <a:t>, </a:t>
            </a:r>
            <a:r>
              <a:rPr lang="en-ID" i="1" dirty="0" err="1">
                <a:solidFill>
                  <a:schemeClr val="bg1"/>
                </a:solidFill>
              </a:rPr>
              <a:t>consectetur</a:t>
            </a:r>
            <a:r>
              <a:rPr lang="en-ID" i="1" dirty="0">
                <a:solidFill>
                  <a:schemeClr val="bg1"/>
                </a:solidFill>
              </a:rPr>
              <a:t> </a:t>
            </a:r>
            <a:r>
              <a:rPr lang="en-ID" i="1" dirty="0" err="1">
                <a:solidFill>
                  <a:schemeClr val="bg1"/>
                </a:solidFill>
              </a:rPr>
              <a:t>adipiscing</a:t>
            </a:r>
            <a:r>
              <a:rPr lang="en-ID" i="1" dirty="0">
                <a:solidFill>
                  <a:schemeClr val="bg1"/>
                </a:solidFill>
              </a:rPr>
              <a:t> </a:t>
            </a:r>
            <a:r>
              <a:rPr lang="en-ID" i="1" dirty="0" err="1">
                <a:solidFill>
                  <a:schemeClr val="bg1"/>
                </a:solidFill>
              </a:rPr>
              <a:t>elit</a:t>
            </a:r>
            <a:r>
              <a:rPr lang="en-ID" i="1" dirty="0">
                <a:solidFill>
                  <a:schemeClr val="bg1"/>
                </a:solidFill>
              </a:rPr>
              <a:t>. </a:t>
            </a:r>
            <a:r>
              <a:rPr lang="en-ID" i="1" dirty="0" err="1">
                <a:solidFill>
                  <a:schemeClr val="bg1"/>
                </a:solidFill>
              </a:rPr>
              <a:t>Aliquam</a:t>
            </a:r>
            <a:r>
              <a:rPr lang="en-ID" i="1" dirty="0">
                <a:solidFill>
                  <a:schemeClr val="bg1"/>
                </a:solidFill>
              </a:rPr>
              <a:t> at </a:t>
            </a:r>
            <a:r>
              <a:rPr lang="en-ID" i="1" dirty="0" err="1">
                <a:solidFill>
                  <a:schemeClr val="bg1"/>
                </a:solidFill>
              </a:rPr>
              <a:t>volutpat</a:t>
            </a:r>
            <a:r>
              <a:rPr lang="en-ID" i="1" dirty="0">
                <a:solidFill>
                  <a:schemeClr val="bg1"/>
                </a:solidFill>
              </a:rPr>
              <a:t> </a:t>
            </a:r>
            <a:r>
              <a:rPr lang="en-ID" i="1" dirty="0" err="1">
                <a:solidFill>
                  <a:schemeClr val="bg1"/>
                </a:solidFill>
              </a:rPr>
              <a:t>massa</a:t>
            </a:r>
            <a:r>
              <a:rPr lang="en-ID" i="1" dirty="0">
                <a:solidFill>
                  <a:schemeClr val="bg1"/>
                </a:solidFill>
              </a:rPr>
              <a:t>, </a:t>
            </a:r>
            <a:r>
              <a:rPr lang="en-ID" i="1" dirty="0" err="1">
                <a:solidFill>
                  <a:schemeClr val="bg1"/>
                </a:solidFill>
              </a:rPr>
              <a:t>sed</a:t>
            </a:r>
            <a:r>
              <a:rPr lang="en-ID" i="1" dirty="0">
                <a:solidFill>
                  <a:schemeClr val="bg1"/>
                </a:solidFill>
              </a:rPr>
              <a:t> </a:t>
            </a:r>
            <a:r>
              <a:rPr lang="en-ID" i="1" dirty="0" err="1">
                <a:solidFill>
                  <a:schemeClr val="bg1"/>
                </a:solidFill>
              </a:rPr>
              <a:t>congue</a:t>
            </a:r>
            <a:r>
              <a:rPr lang="en-ID" i="1" dirty="0">
                <a:solidFill>
                  <a:schemeClr val="bg1"/>
                </a:solidFill>
              </a:rPr>
              <a:t> </a:t>
            </a:r>
            <a:r>
              <a:rPr lang="en-ID" i="1" dirty="0" err="1">
                <a:solidFill>
                  <a:schemeClr val="bg1"/>
                </a:solidFill>
              </a:rPr>
              <a:t>lacus</a:t>
            </a:r>
            <a:r>
              <a:rPr lang="en-ID" i="1" dirty="0">
                <a:solidFill>
                  <a:schemeClr val="bg1"/>
                </a:solidFill>
              </a:rPr>
              <a:t>. Proin </a:t>
            </a:r>
            <a:r>
              <a:rPr lang="en-ID" i="1" dirty="0" err="1">
                <a:solidFill>
                  <a:schemeClr val="bg1"/>
                </a:solidFill>
              </a:rPr>
              <a:t>ornare</a:t>
            </a:r>
            <a:r>
              <a:rPr lang="en-ID" i="1" dirty="0">
                <a:solidFill>
                  <a:schemeClr val="bg1"/>
                </a:solidFill>
              </a:rPr>
              <a:t> </a:t>
            </a:r>
            <a:r>
              <a:rPr lang="en-ID" i="1" dirty="0" err="1">
                <a:solidFill>
                  <a:schemeClr val="bg1"/>
                </a:solidFill>
              </a:rPr>
              <a:t>erat</a:t>
            </a:r>
            <a:r>
              <a:rPr lang="en-ID" i="1" dirty="0">
                <a:solidFill>
                  <a:schemeClr val="bg1"/>
                </a:solidFill>
              </a:rPr>
              <a:t> et semper </a:t>
            </a:r>
            <a:r>
              <a:rPr lang="en-ID" i="1" dirty="0" err="1">
                <a:solidFill>
                  <a:schemeClr val="bg1"/>
                </a:solidFill>
              </a:rPr>
              <a:t>tincidunt</a:t>
            </a:r>
            <a:r>
              <a:rPr lang="en-ID" i="1" dirty="0">
                <a:solidFill>
                  <a:schemeClr val="bg1"/>
                </a:solidFill>
              </a:rPr>
              <a:t>. </a:t>
            </a:r>
            <a:r>
              <a:rPr lang="en-ID" i="1" dirty="0" err="1">
                <a:solidFill>
                  <a:schemeClr val="bg1"/>
                </a:solidFill>
              </a:rPr>
              <a:t>Sed</a:t>
            </a:r>
            <a:r>
              <a:rPr lang="en-ID" i="1" dirty="0">
                <a:solidFill>
                  <a:schemeClr val="bg1"/>
                </a:solidFill>
              </a:rPr>
              <a:t> </a:t>
            </a:r>
            <a:r>
              <a:rPr lang="en-ID" i="1" dirty="0" err="1">
                <a:solidFill>
                  <a:schemeClr val="bg1"/>
                </a:solidFill>
              </a:rPr>
              <a:t>orci</a:t>
            </a:r>
            <a:r>
              <a:rPr lang="en-ID" i="1" dirty="0">
                <a:solidFill>
                  <a:schemeClr val="bg1"/>
                </a:solidFill>
              </a:rPr>
              <a:t> </a:t>
            </a:r>
            <a:r>
              <a:rPr lang="en-ID" i="1" dirty="0" err="1">
                <a:solidFill>
                  <a:schemeClr val="bg1"/>
                </a:solidFill>
              </a:rPr>
              <a:t>enim</a:t>
            </a:r>
            <a:r>
              <a:rPr lang="en-ID" i="1" dirty="0">
                <a:solidFill>
                  <a:schemeClr val="bg1"/>
                </a:solidFill>
              </a:rPr>
              <a:t>, </a:t>
            </a:r>
            <a:r>
              <a:rPr lang="en-ID" i="1" dirty="0" err="1">
                <a:solidFill>
                  <a:schemeClr val="bg1"/>
                </a:solidFill>
              </a:rPr>
              <a:t>egestas</a:t>
            </a:r>
            <a:r>
              <a:rPr lang="en-ID" i="1" dirty="0">
                <a:solidFill>
                  <a:schemeClr val="bg1"/>
                </a:solidFill>
              </a:rPr>
              <a:t> </a:t>
            </a:r>
            <a:r>
              <a:rPr lang="en-ID" i="1" dirty="0" err="1">
                <a:solidFill>
                  <a:schemeClr val="bg1"/>
                </a:solidFill>
              </a:rPr>
              <a:t>quis</a:t>
            </a:r>
            <a:r>
              <a:rPr lang="en-ID" i="1" dirty="0">
                <a:solidFill>
                  <a:schemeClr val="bg1"/>
                </a:solidFill>
              </a:rPr>
              <a:t> </a:t>
            </a:r>
            <a:r>
              <a:rPr lang="en-ID" i="1" dirty="0" err="1">
                <a:solidFill>
                  <a:schemeClr val="bg1"/>
                </a:solidFill>
              </a:rPr>
              <a:t>lectus</a:t>
            </a:r>
            <a:r>
              <a:rPr lang="en-ID" i="1" dirty="0">
                <a:solidFill>
                  <a:schemeClr val="bg1"/>
                </a:solidFill>
              </a:rPr>
              <a:t> </a:t>
            </a:r>
            <a:r>
              <a:rPr lang="en-ID" i="1" dirty="0" err="1">
                <a:solidFill>
                  <a:schemeClr val="bg1"/>
                </a:solidFill>
              </a:rPr>
              <a:t>sollicitudin</a:t>
            </a:r>
            <a:r>
              <a:rPr lang="en-ID" i="1" dirty="0">
                <a:solidFill>
                  <a:schemeClr val="bg1"/>
                </a:solidFill>
              </a:rPr>
              <a:t>, semper </a:t>
            </a:r>
            <a:r>
              <a:rPr lang="en-ID" i="1" dirty="0" err="1">
                <a:solidFill>
                  <a:schemeClr val="bg1"/>
                </a:solidFill>
              </a:rPr>
              <a:t>fringilla</a:t>
            </a:r>
            <a:r>
              <a:rPr lang="en-ID" i="1" dirty="0">
                <a:solidFill>
                  <a:schemeClr val="bg1"/>
                </a:solidFill>
              </a:rPr>
              <a:t> </a:t>
            </a:r>
            <a:r>
              <a:rPr lang="en-ID" i="1" dirty="0" err="1">
                <a:solidFill>
                  <a:schemeClr val="bg1"/>
                </a:solidFill>
              </a:rPr>
              <a:t>justo</a:t>
            </a:r>
            <a:r>
              <a:rPr lang="en-ID" i="1" dirty="0">
                <a:solidFill>
                  <a:schemeClr val="bg1"/>
                </a:solidFill>
              </a:rPr>
              <a:t>. </a:t>
            </a:r>
            <a:r>
              <a:rPr lang="en-ID" i="1" dirty="0" err="1">
                <a:solidFill>
                  <a:schemeClr val="bg1"/>
                </a:solidFill>
              </a:rPr>
              <a:t>Curabitur</a:t>
            </a:r>
            <a:r>
              <a:rPr lang="en-ID" i="1" dirty="0">
                <a:solidFill>
                  <a:schemeClr val="bg1"/>
                </a:solidFill>
              </a:rPr>
              <a:t> </a:t>
            </a:r>
            <a:r>
              <a:rPr lang="en-ID" i="1" dirty="0" err="1">
                <a:solidFill>
                  <a:schemeClr val="bg1"/>
                </a:solidFill>
              </a:rPr>
              <a:t>ullamcorper</a:t>
            </a:r>
            <a:r>
              <a:rPr lang="en-ID" i="1" dirty="0">
                <a:solidFill>
                  <a:schemeClr val="bg1"/>
                </a:solidFill>
              </a:rPr>
              <a:t>, </a:t>
            </a:r>
            <a:r>
              <a:rPr lang="en-ID" i="1" dirty="0" err="1">
                <a:solidFill>
                  <a:schemeClr val="bg1"/>
                </a:solidFill>
              </a:rPr>
              <a:t>sem</a:t>
            </a:r>
            <a:r>
              <a:rPr lang="en-ID" i="1" dirty="0">
                <a:solidFill>
                  <a:schemeClr val="bg1"/>
                </a:solidFill>
              </a:rPr>
              <a:t> </a:t>
            </a:r>
            <a:r>
              <a:rPr lang="en-ID" i="1" dirty="0" err="1">
                <a:solidFill>
                  <a:schemeClr val="bg1"/>
                </a:solidFill>
              </a:rPr>
              <a:t>quis</a:t>
            </a:r>
            <a:r>
              <a:rPr lang="en-ID" i="1" dirty="0">
                <a:solidFill>
                  <a:schemeClr val="bg1"/>
                </a:solidFill>
              </a:rPr>
              <a:t> </a:t>
            </a:r>
            <a:r>
              <a:rPr lang="en-ID" i="1" dirty="0" err="1">
                <a:solidFill>
                  <a:schemeClr val="bg1"/>
                </a:solidFill>
              </a:rPr>
              <a:t>rhoncus</a:t>
            </a:r>
            <a:r>
              <a:rPr lang="en-ID" i="1" dirty="0">
                <a:solidFill>
                  <a:schemeClr val="bg1"/>
                </a:solidFill>
              </a:rPr>
              <a:t> cursus, </a:t>
            </a:r>
          </a:p>
        </p:txBody>
      </p:sp>
      <p:sp>
        <p:nvSpPr>
          <p:cNvPr id="2" name="Slide Number Placeholder 1">
            <a:extLst>
              <a:ext uri="{FF2B5EF4-FFF2-40B4-BE49-F238E27FC236}">
                <a16:creationId xmlns:a16="http://schemas.microsoft.com/office/drawing/2014/main" id="{57627F1F-879A-4ED9-BFA8-E4E295BEF1D4}"/>
              </a:ext>
            </a:extLst>
          </p:cNvPr>
          <p:cNvSpPr>
            <a:spLocks noGrp="1"/>
          </p:cNvSpPr>
          <p:nvPr>
            <p:ph type="sldNum" sz="quarter" idx="12"/>
          </p:nvPr>
        </p:nvSpPr>
        <p:spPr/>
        <p:txBody>
          <a:bodyPr/>
          <a:lstStyle/>
          <a:p>
            <a:fld id="{89CD6E39-4852-418B-BA35-BEEEB494AB9E}" type="slidenum">
              <a:rPr lang="en-US" smtClean="0"/>
              <a:t>6</a:t>
            </a:fld>
            <a:endParaRPr lang="en-US"/>
          </a:p>
        </p:txBody>
      </p:sp>
    </p:spTree>
    <p:extLst>
      <p:ext uri="{BB962C8B-B14F-4D97-AF65-F5344CB8AC3E}">
        <p14:creationId xmlns:p14="http://schemas.microsoft.com/office/powerpoint/2010/main" val="56572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D19917-4B28-4DC0-9005-0C4F84ACF701}"/>
              </a:ext>
            </a:extLst>
          </p:cNvPr>
          <p:cNvGraphicFramePr>
            <a:graphicFrameLocks noChangeAspect="1"/>
          </p:cNvGraphicFramePr>
          <p:nvPr>
            <p:custDataLst>
              <p:tags r:id="rId2"/>
            </p:custDataLst>
            <p:extLst>
              <p:ext uri="{D42A27DB-BD31-4B8C-83A1-F6EECF244321}">
                <p14:modId xmlns:p14="http://schemas.microsoft.com/office/powerpoint/2010/main" val="1709086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52"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ángulo 11314">
            <a:extLst>
              <a:ext uri="{FF2B5EF4-FFF2-40B4-BE49-F238E27FC236}">
                <a16:creationId xmlns:a16="http://schemas.microsoft.com/office/drawing/2014/main" id="{8BF7640A-0D70-46A0-9CAB-922E13C20EDF}"/>
              </a:ext>
            </a:extLst>
          </p:cNvPr>
          <p:cNvSpPr/>
          <p:nvPr/>
        </p:nvSpPr>
        <p:spPr>
          <a:xfrm>
            <a:off x="0" y="-25564"/>
            <a:ext cx="12191999" cy="2650087"/>
          </a:xfrm>
          <a:prstGeom prst="rect">
            <a:avLst/>
          </a:prstGeom>
          <a:gradFill>
            <a:gsLst>
              <a:gs pos="100000">
                <a:srgbClr val="006496"/>
              </a:gs>
              <a:gs pos="49000">
                <a:srgbClr val="0077B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ángulo 3">
            <a:extLst>
              <a:ext uri="{FF2B5EF4-FFF2-40B4-BE49-F238E27FC236}">
                <a16:creationId xmlns:a16="http://schemas.microsoft.com/office/drawing/2014/main" id="{AE82615B-3114-430E-ACC2-BCCE32429B6A}"/>
              </a:ext>
            </a:extLst>
          </p:cNvPr>
          <p:cNvSpPr/>
          <p:nvPr/>
        </p:nvSpPr>
        <p:spPr>
          <a:xfrm>
            <a:off x="6380355" y="390836"/>
            <a:ext cx="5332198" cy="1938992"/>
          </a:xfrm>
          <a:prstGeom prst="rect">
            <a:avLst/>
          </a:prstGeom>
        </p:spPr>
        <p:txBody>
          <a:bodyPr wrap="square" lIns="0">
            <a:spAutoFit/>
          </a:bodyPr>
          <a:lstStyle/>
          <a:p>
            <a:r>
              <a:rPr lang="en-US" sz="4000" dirty="0">
                <a:solidFill>
                  <a:schemeClr val="bg1"/>
                </a:solidFill>
                <a:latin typeface="Arial Black" panose="020B0A04020102020204" pitchFamily="34" charset="0"/>
                <a:ea typeface="Source Sans Pro Semibold" panose="020B0603030403020204" pitchFamily="34" charset="0"/>
                <a:cs typeface="Arial" panose="020B0604020202020204" pitchFamily="34" charset="0"/>
              </a:rPr>
              <a:t>What is The Best Language Learning App?</a:t>
            </a:r>
          </a:p>
        </p:txBody>
      </p:sp>
      <p:grpSp>
        <p:nvGrpSpPr>
          <p:cNvPr id="10" name="Group 7">
            <a:extLst>
              <a:ext uri="{FF2B5EF4-FFF2-40B4-BE49-F238E27FC236}">
                <a16:creationId xmlns:a16="http://schemas.microsoft.com/office/drawing/2014/main" id="{E81E4407-C165-452F-B119-21E70BB468A5}"/>
              </a:ext>
            </a:extLst>
          </p:cNvPr>
          <p:cNvGrpSpPr>
            <a:grpSpLocks noChangeAspect="1"/>
          </p:cNvGrpSpPr>
          <p:nvPr/>
        </p:nvGrpSpPr>
        <p:grpSpPr bwMode="auto">
          <a:xfrm>
            <a:off x="479447" y="441288"/>
            <a:ext cx="5616553" cy="3305901"/>
            <a:chOff x="1092" y="544"/>
            <a:chExt cx="5491" cy="3232"/>
          </a:xfrm>
        </p:grpSpPr>
        <p:sp>
          <p:nvSpPr>
            <p:cNvPr id="12" name="Freeform 8">
              <a:extLst>
                <a:ext uri="{FF2B5EF4-FFF2-40B4-BE49-F238E27FC236}">
                  <a16:creationId xmlns:a16="http://schemas.microsoft.com/office/drawing/2014/main" id="{92DFAE91-D982-4BF8-B2B0-50EAC7835163}"/>
                </a:ext>
              </a:extLst>
            </p:cNvPr>
            <p:cNvSpPr>
              <a:spLocks/>
            </p:cNvSpPr>
            <p:nvPr/>
          </p:nvSpPr>
          <p:spPr bwMode="auto">
            <a:xfrm>
              <a:off x="1918" y="544"/>
              <a:ext cx="3816" cy="2526"/>
            </a:xfrm>
            <a:custGeom>
              <a:avLst/>
              <a:gdLst>
                <a:gd name="T0" fmla="*/ 1550 w 1608"/>
                <a:gd name="T1" fmla="*/ 1063 h 1063"/>
                <a:gd name="T2" fmla="*/ 58 w 1608"/>
                <a:gd name="T3" fmla="*/ 1063 h 1063"/>
                <a:gd name="T4" fmla="*/ 0 w 1608"/>
                <a:gd name="T5" fmla="*/ 1005 h 1063"/>
                <a:gd name="T6" fmla="*/ 0 w 1608"/>
                <a:gd name="T7" fmla="*/ 58 h 1063"/>
                <a:gd name="T8" fmla="*/ 58 w 1608"/>
                <a:gd name="T9" fmla="*/ 0 h 1063"/>
                <a:gd name="T10" fmla="*/ 1550 w 1608"/>
                <a:gd name="T11" fmla="*/ 0 h 1063"/>
                <a:gd name="T12" fmla="*/ 1608 w 1608"/>
                <a:gd name="T13" fmla="*/ 58 h 1063"/>
                <a:gd name="T14" fmla="*/ 1608 w 1608"/>
                <a:gd name="T15" fmla="*/ 1005 h 1063"/>
                <a:gd name="T16" fmla="*/ 1550 w 1608"/>
                <a:gd name="T17" fmla="*/ 1063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8" h="1063">
                  <a:moveTo>
                    <a:pt x="1550" y="1063"/>
                  </a:moveTo>
                  <a:cubicBezTo>
                    <a:pt x="58" y="1063"/>
                    <a:pt x="58" y="1063"/>
                    <a:pt x="58" y="1063"/>
                  </a:cubicBezTo>
                  <a:cubicBezTo>
                    <a:pt x="26" y="1063"/>
                    <a:pt x="0" y="1037"/>
                    <a:pt x="0" y="1005"/>
                  </a:cubicBezTo>
                  <a:cubicBezTo>
                    <a:pt x="0" y="58"/>
                    <a:pt x="0" y="58"/>
                    <a:pt x="0" y="58"/>
                  </a:cubicBezTo>
                  <a:cubicBezTo>
                    <a:pt x="0" y="26"/>
                    <a:pt x="26" y="0"/>
                    <a:pt x="58" y="0"/>
                  </a:cubicBezTo>
                  <a:cubicBezTo>
                    <a:pt x="1550" y="0"/>
                    <a:pt x="1550" y="0"/>
                    <a:pt x="1550" y="0"/>
                  </a:cubicBezTo>
                  <a:cubicBezTo>
                    <a:pt x="1582" y="0"/>
                    <a:pt x="1608" y="26"/>
                    <a:pt x="1608" y="58"/>
                  </a:cubicBezTo>
                  <a:cubicBezTo>
                    <a:pt x="1608" y="1005"/>
                    <a:pt x="1608" y="1005"/>
                    <a:pt x="1608" y="1005"/>
                  </a:cubicBezTo>
                  <a:cubicBezTo>
                    <a:pt x="1608" y="1037"/>
                    <a:pt x="1582" y="1063"/>
                    <a:pt x="1550" y="1063"/>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9F7B0E75-156A-4E0C-835F-68B1B4DFC742}"/>
                </a:ext>
              </a:extLst>
            </p:cNvPr>
            <p:cNvSpPr>
              <a:spLocks/>
            </p:cNvSpPr>
            <p:nvPr/>
          </p:nvSpPr>
          <p:spPr bwMode="auto">
            <a:xfrm>
              <a:off x="1756" y="2882"/>
              <a:ext cx="4137" cy="224"/>
            </a:xfrm>
            <a:custGeom>
              <a:avLst/>
              <a:gdLst>
                <a:gd name="T0" fmla="*/ 1672 w 1743"/>
                <a:gd name="T1" fmla="*/ 94 h 94"/>
                <a:gd name="T2" fmla="*/ 72 w 1743"/>
                <a:gd name="T3" fmla="*/ 94 h 94"/>
                <a:gd name="T4" fmla="*/ 0 w 1743"/>
                <a:gd name="T5" fmla="*/ 22 h 94"/>
                <a:gd name="T6" fmla="*/ 0 w 1743"/>
                <a:gd name="T7" fmla="*/ 0 h 94"/>
                <a:gd name="T8" fmla="*/ 1743 w 1743"/>
                <a:gd name="T9" fmla="*/ 0 h 94"/>
                <a:gd name="T10" fmla="*/ 1743 w 1743"/>
                <a:gd name="T11" fmla="*/ 22 h 94"/>
                <a:gd name="T12" fmla="*/ 1672 w 1743"/>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1743" h="94">
                  <a:moveTo>
                    <a:pt x="1672" y="94"/>
                  </a:moveTo>
                  <a:cubicBezTo>
                    <a:pt x="72" y="94"/>
                    <a:pt x="72" y="94"/>
                    <a:pt x="72" y="94"/>
                  </a:cubicBezTo>
                  <a:cubicBezTo>
                    <a:pt x="32" y="94"/>
                    <a:pt x="0" y="62"/>
                    <a:pt x="0" y="22"/>
                  </a:cubicBezTo>
                  <a:cubicBezTo>
                    <a:pt x="0" y="0"/>
                    <a:pt x="0" y="0"/>
                    <a:pt x="0" y="0"/>
                  </a:cubicBezTo>
                  <a:cubicBezTo>
                    <a:pt x="1743" y="0"/>
                    <a:pt x="1743" y="0"/>
                    <a:pt x="1743" y="0"/>
                  </a:cubicBezTo>
                  <a:cubicBezTo>
                    <a:pt x="1743" y="22"/>
                    <a:pt x="1743" y="22"/>
                    <a:pt x="1743" y="22"/>
                  </a:cubicBezTo>
                  <a:cubicBezTo>
                    <a:pt x="1743" y="62"/>
                    <a:pt x="1711" y="94"/>
                    <a:pt x="1672" y="9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0">
              <a:extLst>
                <a:ext uri="{FF2B5EF4-FFF2-40B4-BE49-F238E27FC236}">
                  <a16:creationId xmlns:a16="http://schemas.microsoft.com/office/drawing/2014/main" id="{724F01F5-7940-4289-9B7F-200555ED487F}"/>
                </a:ext>
              </a:extLst>
            </p:cNvPr>
            <p:cNvSpPr>
              <a:spLocks noChangeArrowheads="1"/>
            </p:cNvSpPr>
            <p:nvPr/>
          </p:nvSpPr>
          <p:spPr bwMode="auto">
            <a:xfrm>
              <a:off x="2020" y="644"/>
              <a:ext cx="3600" cy="2134"/>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1">
              <a:extLst>
                <a:ext uri="{FF2B5EF4-FFF2-40B4-BE49-F238E27FC236}">
                  <a16:creationId xmlns:a16="http://schemas.microsoft.com/office/drawing/2014/main" id="{C83D59C3-9CBE-4012-8523-E26F30FB818C}"/>
                </a:ext>
              </a:extLst>
            </p:cNvPr>
            <p:cNvSpPr>
              <a:spLocks noChangeArrowheads="1"/>
            </p:cNvSpPr>
            <p:nvPr/>
          </p:nvSpPr>
          <p:spPr bwMode="auto">
            <a:xfrm>
              <a:off x="2020" y="644"/>
              <a:ext cx="3600" cy="2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D87A4A61-BFFD-4A0E-96B0-36FACE0C16F6}"/>
                </a:ext>
              </a:extLst>
            </p:cNvPr>
            <p:cNvSpPr>
              <a:spLocks/>
            </p:cNvSpPr>
            <p:nvPr/>
          </p:nvSpPr>
          <p:spPr bwMode="auto">
            <a:xfrm>
              <a:off x="3448" y="2882"/>
              <a:ext cx="822" cy="83"/>
            </a:xfrm>
            <a:custGeom>
              <a:avLst/>
              <a:gdLst>
                <a:gd name="T0" fmla="*/ 0 w 822"/>
                <a:gd name="T1" fmla="*/ 0 h 83"/>
                <a:gd name="T2" fmla="*/ 53 w 822"/>
                <a:gd name="T3" fmla="*/ 83 h 83"/>
                <a:gd name="T4" fmla="*/ 774 w 822"/>
                <a:gd name="T5" fmla="*/ 83 h 83"/>
                <a:gd name="T6" fmla="*/ 822 w 822"/>
                <a:gd name="T7" fmla="*/ 0 h 83"/>
                <a:gd name="T8" fmla="*/ 0 w 822"/>
                <a:gd name="T9" fmla="*/ 0 h 83"/>
              </a:gdLst>
              <a:ahLst/>
              <a:cxnLst>
                <a:cxn ang="0">
                  <a:pos x="T0" y="T1"/>
                </a:cxn>
                <a:cxn ang="0">
                  <a:pos x="T2" y="T3"/>
                </a:cxn>
                <a:cxn ang="0">
                  <a:pos x="T4" y="T5"/>
                </a:cxn>
                <a:cxn ang="0">
                  <a:pos x="T6" y="T7"/>
                </a:cxn>
                <a:cxn ang="0">
                  <a:pos x="T8" y="T9"/>
                </a:cxn>
              </a:cxnLst>
              <a:rect l="0" t="0" r="r" b="b"/>
              <a:pathLst>
                <a:path w="822" h="83">
                  <a:moveTo>
                    <a:pt x="0" y="0"/>
                  </a:moveTo>
                  <a:lnTo>
                    <a:pt x="53" y="83"/>
                  </a:lnTo>
                  <a:lnTo>
                    <a:pt x="774" y="83"/>
                  </a:lnTo>
                  <a:lnTo>
                    <a:pt x="822" y="0"/>
                  </a:lnTo>
                  <a:lnTo>
                    <a:pt x="0"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7D81455C-4935-4A18-ACD3-AC4238291F50}"/>
                </a:ext>
              </a:extLst>
            </p:cNvPr>
            <p:cNvSpPr>
              <a:spLocks/>
            </p:cNvSpPr>
            <p:nvPr/>
          </p:nvSpPr>
          <p:spPr bwMode="auto">
            <a:xfrm>
              <a:off x="2093" y="715"/>
              <a:ext cx="3460" cy="2056"/>
            </a:xfrm>
            <a:custGeom>
              <a:avLst/>
              <a:gdLst>
                <a:gd name="T0" fmla="*/ 1445 w 1458"/>
                <a:gd name="T1" fmla="*/ 865 h 865"/>
                <a:gd name="T2" fmla="*/ 13 w 1458"/>
                <a:gd name="T3" fmla="*/ 865 h 865"/>
                <a:gd name="T4" fmla="*/ 0 w 1458"/>
                <a:gd name="T5" fmla="*/ 852 h 865"/>
                <a:gd name="T6" fmla="*/ 0 w 1458"/>
                <a:gd name="T7" fmla="*/ 13 h 865"/>
                <a:gd name="T8" fmla="*/ 13 w 1458"/>
                <a:gd name="T9" fmla="*/ 0 h 865"/>
                <a:gd name="T10" fmla="*/ 1445 w 1458"/>
                <a:gd name="T11" fmla="*/ 0 h 865"/>
                <a:gd name="T12" fmla="*/ 1458 w 1458"/>
                <a:gd name="T13" fmla="*/ 13 h 865"/>
                <a:gd name="T14" fmla="*/ 1458 w 1458"/>
                <a:gd name="T15" fmla="*/ 852 h 865"/>
                <a:gd name="T16" fmla="*/ 1445 w 1458"/>
                <a:gd name="T17" fmla="*/ 86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8" h="865">
                  <a:moveTo>
                    <a:pt x="1445" y="865"/>
                  </a:moveTo>
                  <a:cubicBezTo>
                    <a:pt x="13" y="865"/>
                    <a:pt x="13" y="865"/>
                    <a:pt x="13" y="865"/>
                  </a:cubicBezTo>
                  <a:cubicBezTo>
                    <a:pt x="6" y="865"/>
                    <a:pt x="0" y="859"/>
                    <a:pt x="0" y="852"/>
                  </a:cubicBezTo>
                  <a:cubicBezTo>
                    <a:pt x="0" y="13"/>
                    <a:pt x="0" y="13"/>
                    <a:pt x="0" y="13"/>
                  </a:cubicBezTo>
                  <a:cubicBezTo>
                    <a:pt x="0" y="6"/>
                    <a:pt x="6" y="0"/>
                    <a:pt x="13" y="0"/>
                  </a:cubicBezTo>
                  <a:cubicBezTo>
                    <a:pt x="1445" y="0"/>
                    <a:pt x="1445" y="0"/>
                    <a:pt x="1445" y="0"/>
                  </a:cubicBezTo>
                  <a:cubicBezTo>
                    <a:pt x="1452" y="0"/>
                    <a:pt x="1458" y="6"/>
                    <a:pt x="1458" y="13"/>
                  </a:cubicBezTo>
                  <a:cubicBezTo>
                    <a:pt x="1458" y="852"/>
                    <a:pt x="1458" y="852"/>
                    <a:pt x="1458" y="852"/>
                  </a:cubicBezTo>
                  <a:cubicBezTo>
                    <a:pt x="1458" y="859"/>
                    <a:pt x="1452" y="865"/>
                    <a:pt x="1445" y="865"/>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4">
              <a:extLst>
                <a:ext uri="{FF2B5EF4-FFF2-40B4-BE49-F238E27FC236}">
                  <a16:creationId xmlns:a16="http://schemas.microsoft.com/office/drawing/2014/main" id="{5D2864A0-8525-4C1B-BBA3-683DC6AC95FA}"/>
                </a:ext>
              </a:extLst>
            </p:cNvPr>
            <p:cNvSpPr>
              <a:spLocks noChangeArrowheads="1"/>
            </p:cNvSpPr>
            <p:nvPr/>
          </p:nvSpPr>
          <p:spPr bwMode="auto">
            <a:xfrm>
              <a:off x="2093" y="868"/>
              <a:ext cx="3460" cy="190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5">
              <a:extLst>
                <a:ext uri="{FF2B5EF4-FFF2-40B4-BE49-F238E27FC236}">
                  <a16:creationId xmlns:a16="http://schemas.microsoft.com/office/drawing/2014/main" id="{D64CFA34-341F-4ED8-93E8-62501B01A556}"/>
                </a:ext>
              </a:extLst>
            </p:cNvPr>
            <p:cNvSpPr>
              <a:spLocks noChangeArrowheads="1"/>
            </p:cNvSpPr>
            <p:nvPr/>
          </p:nvSpPr>
          <p:spPr bwMode="auto">
            <a:xfrm>
              <a:off x="2093" y="868"/>
              <a:ext cx="3460" cy="1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16">
              <a:extLst>
                <a:ext uri="{FF2B5EF4-FFF2-40B4-BE49-F238E27FC236}">
                  <a16:creationId xmlns:a16="http://schemas.microsoft.com/office/drawing/2014/main" id="{3A440CDC-C5E7-4522-AE93-BC8D47F55347}"/>
                </a:ext>
              </a:extLst>
            </p:cNvPr>
            <p:cNvSpPr>
              <a:spLocks noChangeArrowheads="1"/>
            </p:cNvSpPr>
            <p:nvPr/>
          </p:nvSpPr>
          <p:spPr bwMode="auto">
            <a:xfrm>
              <a:off x="2321" y="768"/>
              <a:ext cx="57" cy="54"/>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17">
              <a:extLst>
                <a:ext uri="{FF2B5EF4-FFF2-40B4-BE49-F238E27FC236}">
                  <a16:creationId xmlns:a16="http://schemas.microsoft.com/office/drawing/2014/main" id="{044FD8BF-A560-48BD-869B-0AAF857F30CB}"/>
                </a:ext>
              </a:extLst>
            </p:cNvPr>
            <p:cNvSpPr>
              <a:spLocks noChangeArrowheads="1"/>
            </p:cNvSpPr>
            <p:nvPr/>
          </p:nvSpPr>
          <p:spPr bwMode="auto">
            <a:xfrm>
              <a:off x="2155" y="768"/>
              <a:ext cx="55" cy="54"/>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18">
              <a:extLst>
                <a:ext uri="{FF2B5EF4-FFF2-40B4-BE49-F238E27FC236}">
                  <a16:creationId xmlns:a16="http://schemas.microsoft.com/office/drawing/2014/main" id="{DD8436EE-B092-4908-980E-3112B92DE1A5}"/>
                </a:ext>
              </a:extLst>
            </p:cNvPr>
            <p:cNvSpPr>
              <a:spLocks noChangeArrowheads="1"/>
            </p:cNvSpPr>
            <p:nvPr/>
          </p:nvSpPr>
          <p:spPr bwMode="auto">
            <a:xfrm>
              <a:off x="2236" y="768"/>
              <a:ext cx="54" cy="54"/>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F7C8367F-16B1-41A0-8DF1-F5833C20B537}"/>
                </a:ext>
              </a:extLst>
            </p:cNvPr>
            <p:cNvSpPr>
              <a:spLocks/>
            </p:cNvSpPr>
            <p:nvPr/>
          </p:nvSpPr>
          <p:spPr bwMode="auto">
            <a:xfrm>
              <a:off x="2846" y="1423"/>
              <a:ext cx="1955" cy="240"/>
            </a:xfrm>
            <a:custGeom>
              <a:avLst/>
              <a:gdLst>
                <a:gd name="T0" fmla="*/ 774 w 824"/>
                <a:gd name="T1" fmla="*/ 99 h 101"/>
                <a:gd name="T2" fmla="*/ 778 w 824"/>
                <a:gd name="T3" fmla="*/ 99 h 101"/>
                <a:gd name="T4" fmla="*/ 784 w 824"/>
                <a:gd name="T5" fmla="*/ 98 h 101"/>
                <a:gd name="T6" fmla="*/ 791 w 824"/>
                <a:gd name="T7" fmla="*/ 96 h 101"/>
                <a:gd name="T8" fmla="*/ 809 w 824"/>
                <a:gd name="T9" fmla="*/ 84 h 101"/>
                <a:gd name="T10" fmla="*/ 817 w 824"/>
                <a:gd name="T11" fmla="*/ 73 h 101"/>
                <a:gd name="T12" fmla="*/ 822 w 824"/>
                <a:gd name="T13" fmla="*/ 58 h 101"/>
                <a:gd name="T14" fmla="*/ 814 w 824"/>
                <a:gd name="T15" fmla="*/ 24 h 101"/>
                <a:gd name="T16" fmla="*/ 778 w 824"/>
                <a:gd name="T17" fmla="*/ 2 h 101"/>
                <a:gd name="T18" fmla="*/ 766 w 824"/>
                <a:gd name="T19" fmla="*/ 2 h 101"/>
                <a:gd name="T20" fmla="*/ 754 w 824"/>
                <a:gd name="T21" fmla="*/ 2 h 101"/>
                <a:gd name="T22" fmla="*/ 728 w 824"/>
                <a:gd name="T23" fmla="*/ 2 h 101"/>
                <a:gd name="T24" fmla="*/ 671 w 824"/>
                <a:gd name="T25" fmla="*/ 2 h 101"/>
                <a:gd name="T26" fmla="*/ 51 w 824"/>
                <a:gd name="T27" fmla="*/ 2 h 101"/>
                <a:gd name="T28" fmla="*/ 12 w 824"/>
                <a:gd name="T29" fmla="*/ 21 h 101"/>
                <a:gd name="T30" fmla="*/ 3 w 824"/>
                <a:gd name="T31" fmla="*/ 41 h 101"/>
                <a:gd name="T32" fmla="*/ 4 w 824"/>
                <a:gd name="T33" fmla="*/ 62 h 101"/>
                <a:gd name="T34" fmla="*/ 31 w 824"/>
                <a:gd name="T35" fmla="*/ 94 h 101"/>
                <a:gd name="T36" fmla="*/ 51 w 824"/>
                <a:gd name="T37" fmla="*/ 98 h 101"/>
                <a:gd name="T38" fmla="*/ 73 w 824"/>
                <a:gd name="T39" fmla="*/ 98 h 101"/>
                <a:gd name="T40" fmla="*/ 238 w 824"/>
                <a:gd name="T41" fmla="*/ 99 h 101"/>
                <a:gd name="T42" fmla="*/ 517 w 824"/>
                <a:gd name="T43" fmla="*/ 99 h 101"/>
                <a:gd name="T44" fmla="*/ 705 w 824"/>
                <a:gd name="T45" fmla="*/ 99 h 101"/>
                <a:gd name="T46" fmla="*/ 756 w 824"/>
                <a:gd name="T47" fmla="*/ 99 h 101"/>
                <a:gd name="T48" fmla="*/ 769 w 824"/>
                <a:gd name="T49" fmla="*/ 99 h 101"/>
                <a:gd name="T50" fmla="*/ 774 w 824"/>
                <a:gd name="T51" fmla="*/ 99 h 101"/>
                <a:gd name="T52" fmla="*/ 769 w 824"/>
                <a:gd name="T53" fmla="*/ 100 h 101"/>
                <a:gd name="T54" fmla="*/ 756 w 824"/>
                <a:gd name="T55" fmla="*/ 100 h 101"/>
                <a:gd name="T56" fmla="*/ 705 w 824"/>
                <a:gd name="T57" fmla="*/ 100 h 101"/>
                <a:gd name="T58" fmla="*/ 517 w 824"/>
                <a:gd name="T59" fmla="*/ 100 h 101"/>
                <a:gd name="T60" fmla="*/ 238 w 824"/>
                <a:gd name="T61" fmla="*/ 100 h 101"/>
                <a:gd name="T62" fmla="*/ 73 w 824"/>
                <a:gd name="T63" fmla="*/ 101 h 101"/>
                <a:gd name="T64" fmla="*/ 51 w 824"/>
                <a:gd name="T65" fmla="*/ 101 h 101"/>
                <a:gd name="T66" fmla="*/ 30 w 824"/>
                <a:gd name="T67" fmla="*/ 96 h 101"/>
                <a:gd name="T68" fmla="*/ 2 w 824"/>
                <a:gd name="T69" fmla="*/ 63 h 101"/>
                <a:gd name="T70" fmla="*/ 1 w 824"/>
                <a:gd name="T71" fmla="*/ 40 h 101"/>
                <a:gd name="T72" fmla="*/ 11 w 824"/>
                <a:gd name="T73" fmla="*/ 20 h 101"/>
                <a:gd name="T74" fmla="*/ 51 w 824"/>
                <a:gd name="T75" fmla="*/ 0 h 101"/>
                <a:gd name="T76" fmla="*/ 671 w 824"/>
                <a:gd name="T77" fmla="*/ 0 h 101"/>
                <a:gd name="T78" fmla="*/ 728 w 824"/>
                <a:gd name="T79" fmla="*/ 0 h 101"/>
                <a:gd name="T80" fmla="*/ 754 w 824"/>
                <a:gd name="T81" fmla="*/ 0 h 101"/>
                <a:gd name="T82" fmla="*/ 766 w 824"/>
                <a:gd name="T83" fmla="*/ 0 h 101"/>
                <a:gd name="T84" fmla="*/ 778 w 824"/>
                <a:gd name="T85" fmla="*/ 1 h 101"/>
                <a:gd name="T86" fmla="*/ 815 w 824"/>
                <a:gd name="T87" fmla="*/ 23 h 101"/>
                <a:gd name="T88" fmla="*/ 822 w 824"/>
                <a:gd name="T89" fmla="*/ 59 h 101"/>
                <a:gd name="T90" fmla="*/ 817 w 824"/>
                <a:gd name="T91" fmla="*/ 74 h 101"/>
                <a:gd name="T92" fmla="*/ 809 w 824"/>
                <a:gd name="T93" fmla="*/ 85 h 101"/>
                <a:gd name="T94" fmla="*/ 791 w 824"/>
                <a:gd name="T95" fmla="*/ 96 h 101"/>
                <a:gd name="T96" fmla="*/ 784 w 824"/>
                <a:gd name="T97" fmla="*/ 99 h 101"/>
                <a:gd name="T98" fmla="*/ 778 w 824"/>
                <a:gd name="T99" fmla="*/ 99 h 101"/>
                <a:gd name="T100" fmla="*/ 774 w 824"/>
                <a:gd name="T101" fmla="*/ 9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01">
                  <a:moveTo>
                    <a:pt x="774" y="99"/>
                  </a:moveTo>
                  <a:cubicBezTo>
                    <a:pt x="774" y="99"/>
                    <a:pt x="775" y="99"/>
                    <a:pt x="778" y="99"/>
                  </a:cubicBezTo>
                  <a:cubicBezTo>
                    <a:pt x="780" y="99"/>
                    <a:pt x="781" y="99"/>
                    <a:pt x="784" y="98"/>
                  </a:cubicBezTo>
                  <a:cubicBezTo>
                    <a:pt x="786" y="98"/>
                    <a:pt x="788" y="97"/>
                    <a:pt x="791" y="96"/>
                  </a:cubicBezTo>
                  <a:cubicBezTo>
                    <a:pt x="796" y="94"/>
                    <a:pt x="803" y="90"/>
                    <a:pt x="809" y="84"/>
                  </a:cubicBezTo>
                  <a:cubicBezTo>
                    <a:pt x="812" y="81"/>
                    <a:pt x="814" y="77"/>
                    <a:pt x="817" y="73"/>
                  </a:cubicBezTo>
                  <a:cubicBezTo>
                    <a:pt x="819" y="69"/>
                    <a:pt x="821" y="64"/>
                    <a:pt x="822" y="58"/>
                  </a:cubicBezTo>
                  <a:cubicBezTo>
                    <a:pt x="824" y="48"/>
                    <a:pt x="822" y="35"/>
                    <a:pt x="814" y="24"/>
                  </a:cubicBezTo>
                  <a:cubicBezTo>
                    <a:pt x="807" y="12"/>
                    <a:pt x="794" y="3"/>
                    <a:pt x="778" y="2"/>
                  </a:cubicBezTo>
                  <a:cubicBezTo>
                    <a:pt x="774" y="2"/>
                    <a:pt x="770" y="2"/>
                    <a:pt x="766" y="2"/>
                  </a:cubicBezTo>
                  <a:cubicBezTo>
                    <a:pt x="762" y="2"/>
                    <a:pt x="758" y="2"/>
                    <a:pt x="754" y="2"/>
                  </a:cubicBezTo>
                  <a:cubicBezTo>
                    <a:pt x="745" y="2"/>
                    <a:pt x="737" y="2"/>
                    <a:pt x="728" y="2"/>
                  </a:cubicBezTo>
                  <a:cubicBezTo>
                    <a:pt x="710" y="2"/>
                    <a:pt x="691" y="2"/>
                    <a:pt x="671" y="2"/>
                  </a:cubicBezTo>
                  <a:cubicBezTo>
                    <a:pt x="512" y="2"/>
                    <a:pt x="293" y="2"/>
                    <a:pt x="51" y="2"/>
                  </a:cubicBezTo>
                  <a:cubicBezTo>
                    <a:pt x="36" y="2"/>
                    <a:pt x="21" y="9"/>
                    <a:pt x="12" y="21"/>
                  </a:cubicBezTo>
                  <a:cubicBezTo>
                    <a:pt x="8" y="27"/>
                    <a:pt x="5" y="34"/>
                    <a:pt x="3" y="41"/>
                  </a:cubicBezTo>
                  <a:cubicBezTo>
                    <a:pt x="2" y="48"/>
                    <a:pt x="2" y="55"/>
                    <a:pt x="4" y="62"/>
                  </a:cubicBezTo>
                  <a:cubicBezTo>
                    <a:pt x="7" y="76"/>
                    <a:pt x="18" y="88"/>
                    <a:pt x="31" y="94"/>
                  </a:cubicBezTo>
                  <a:cubicBezTo>
                    <a:pt x="37" y="97"/>
                    <a:pt x="44" y="99"/>
                    <a:pt x="51" y="98"/>
                  </a:cubicBezTo>
                  <a:cubicBezTo>
                    <a:pt x="58" y="98"/>
                    <a:pt x="66" y="98"/>
                    <a:pt x="73" y="98"/>
                  </a:cubicBezTo>
                  <a:cubicBezTo>
                    <a:pt x="130" y="98"/>
                    <a:pt x="185" y="99"/>
                    <a:pt x="238" y="99"/>
                  </a:cubicBezTo>
                  <a:cubicBezTo>
                    <a:pt x="343" y="99"/>
                    <a:pt x="437" y="99"/>
                    <a:pt x="517" y="99"/>
                  </a:cubicBezTo>
                  <a:cubicBezTo>
                    <a:pt x="596" y="99"/>
                    <a:pt x="660" y="99"/>
                    <a:pt x="705" y="99"/>
                  </a:cubicBezTo>
                  <a:cubicBezTo>
                    <a:pt x="727" y="99"/>
                    <a:pt x="744" y="99"/>
                    <a:pt x="756" y="99"/>
                  </a:cubicBezTo>
                  <a:cubicBezTo>
                    <a:pt x="762" y="99"/>
                    <a:pt x="766" y="99"/>
                    <a:pt x="769" y="99"/>
                  </a:cubicBezTo>
                  <a:cubicBezTo>
                    <a:pt x="772" y="99"/>
                    <a:pt x="774" y="99"/>
                    <a:pt x="774" y="99"/>
                  </a:cubicBezTo>
                  <a:cubicBezTo>
                    <a:pt x="774" y="99"/>
                    <a:pt x="772" y="100"/>
                    <a:pt x="769" y="100"/>
                  </a:cubicBezTo>
                  <a:cubicBezTo>
                    <a:pt x="766" y="100"/>
                    <a:pt x="762" y="100"/>
                    <a:pt x="756" y="100"/>
                  </a:cubicBezTo>
                  <a:cubicBezTo>
                    <a:pt x="744" y="100"/>
                    <a:pt x="727" y="100"/>
                    <a:pt x="705" y="100"/>
                  </a:cubicBezTo>
                  <a:cubicBezTo>
                    <a:pt x="660" y="100"/>
                    <a:pt x="596" y="100"/>
                    <a:pt x="517" y="100"/>
                  </a:cubicBezTo>
                  <a:cubicBezTo>
                    <a:pt x="437" y="100"/>
                    <a:pt x="343" y="100"/>
                    <a:pt x="238" y="100"/>
                  </a:cubicBezTo>
                  <a:cubicBezTo>
                    <a:pt x="185" y="100"/>
                    <a:pt x="130" y="100"/>
                    <a:pt x="73" y="101"/>
                  </a:cubicBezTo>
                  <a:cubicBezTo>
                    <a:pt x="66" y="101"/>
                    <a:pt x="58" y="101"/>
                    <a:pt x="51" y="101"/>
                  </a:cubicBezTo>
                  <a:cubicBezTo>
                    <a:pt x="44" y="101"/>
                    <a:pt x="36" y="99"/>
                    <a:pt x="30" y="96"/>
                  </a:cubicBezTo>
                  <a:cubicBezTo>
                    <a:pt x="16" y="90"/>
                    <a:pt x="6" y="77"/>
                    <a:pt x="2" y="63"/>
                  </a:cubicBezTo>
                  <a:cubicBezTo>
                    <a:pt x="0" y="55"/>
                    <a:pt x="0" y="48"/>
                    <a:pt x="1" y="40"/>
                  </a:cubicBezTo>
                  <a:cubicBezTo>
                    <a:pt x="3" y="33"/>
                    <a:pt x="6" y="26"/>
                    <a:pt x="11" y="20"/>
                  </a:cubicBezTo>
                  <a:cubicBezTo>
                    <a:pt x="20" y="7"/>
                    <a:pt x="35" y="0"/>
                    <a:pt x="51" y="0"/>
                  </a:cubicBezTo>
                  <a:cubicBezTo>
                    <a:pt x="293" y="0"/>
                    <a:pt x="512" y="0"/>
                    <a:pt x="671" y="0"/>
                  </a:cubicBezTo>
                  <a:cubicBezTo>
                    <a:pt x="691" y="0"/>
                    <a:pt x="710" y="0"/>
                    <a:pt x="728" y="0"/>
                  </a:cubicBezTo>
                  <a:cubicBezTo>
                    <a:pt x="737" y="0"/>
                    <a:pt x="745" y="0"/>
                    <a:pt x="754" y="0"/>
                  </a:cubicBezTo>
                  <a:cubicBezTo>
                    <a:pt x="758" y="0"/>
                    <a:pt x="762" y="0"/>
                    <a:pt x="766" y="0"/>
                  </a:cubicBezTo>
                  <a:cubicBezTo>
                    <a:pt x="770" y="0"/>
                    <a:pt x="774" y="0"/>
                    <a:pt x="778" y="1"/>
                  </a:cubicBezTo>
                  <a:cubicBezTo>
                    <a:pt x="794" y="2"/>
                    <a:pt x="808" y="12"/>
                    <a:pt x="815" y="23"/>
                  </a:cubicBezTo>
                  <a:cubicBezTo>
                    <a:pt x="823" y="34"/>
                    <a:pt x="824" y="48"/>
                    <a:pt x="822" y="59"/>
                  </a:cubicBezTo>
                  <a:cubicBezTo>
                    <a:pt x="821" y="64"/>
                    <a:pt x="820" y="69"/>
                    <a:pt x="817" y="74"/>
                  </a:cubicBezTo>
                  <a:cubicBezTo>
                    <a:pt x="815" y="78"/>
                    <a:pt x="812" y="82"/>
                    <a:pt x="809" y="85"/>
                  </a:cubicBezTo>
                  <a:cubicBezTo>
                    <a:pt x="803" y="91"/>
                    <a:pt x="797" y="94"/>
                    <a:pt x="791" y="96"/>
                  </a:cubicBezTo>
                  <a:cubicBezTo>
                    <a:pt x="788" y="98"/>
                    <a:pt x="786" y="98"/>
                    <a:pt x="784" y="99"/>
                  </a:cubicBezTo>
                  <a:cubicBezTo>
                    <a:pt x="781" y="99"/>
                    <a:pt x="780" y="99"/>
                    <a:pt x="778" y="99"/>
                  </a:cubicBezTo>
                  <a:cubicBezTo>
                    <a:pt x="775" y="99"/>
                    <a:pt x="774" y="99"/>
                    <a:pt x="774" y="9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a:extLst>
                <a:ext uri="{FF2B5EF4-FFF2-40B4-BE49-F238E27FC236}">
                  <a16:creationId xmlns:a16="http://schemas.microsoft.com/office/drawing/2014/main" id="{9EDA110C-EB26-437E-8259-49BFCE04D5FC}"/>
                </a:ext>
              </a:extLst>
            </p:cNvPr>
            <p:cNvSpPr>
              <a:spLocks/>
            </p:cNvSpPr>
            <p:nvPr/>
          </p:nvSpPr>
          <p:spPr bwMode="auto">
            <a:xfrm>
              <a:off x="4457" y="1426"/>
              <a:ext cx="342" cy="233"/>
            </a:xfrm>
            <a:custGeom>
              <a:avLst/>
              <a:gdLst>
                <a:gd name="T0" fmla="*/ 95 w 144"/>
                <a:gd name="T1" fmla="*/ 98 h 98"/>
                <a:gd name="T2" fmla="*/ 0 w 144"/>
                <a:gd name="T3" fmla="*/ 98 h 98"/>
                <a:gd name="T4" fmla="*/ 0 w 144"/>
                <a:gd name="T5" fmla="*/ 0 h 98"/>
                <a:gd name="T6" fmla="*/ 95 w 144"/>
                <a:gd name="T7" fmla="*/ 0 h 98"/>
                <a:gd name="T8" fmla="*/ 144 w 144"/>
                <a:gd name="T9" fmla="*/ 49 h 98"/>
                <a:gd name="T10" fmla="*/ 95 w 144"/>
                <a:gd name="T11" fmla="*/ 98 h 98"/>
              </a:gdLst>
              <a:ahLst/>
              <a:cxnLst>
                <a:cxn ang="0">
                  <a:pos x="T0" y="T1"/>
                </a:cxn>
                <a:cxn ang="0">
                  <a:pos x="T2" y="T3"/>
                </a:cxn>
                <a:cxn ang="0">
                  <a:pos x="T4" y="T5"/>
                </a:cxn>
                <a:cxn ang="0">
                  <a:pos x="T6" y="T7"/>
                </a:cxn>
                <a:cxn ang="0">
                  <a:pos x="T8" y="T9"/>
                </a:cxn>
                <a:cxn ang="0">
                  <a:pos x="T10" y="T11"/>
                </a:cxn>
              </a:cxnLst>
              <a:rect l="0" t="0" r="r" b="b"/>
              <a:pathLst>
                <a:path w="144" h="98">
                  <a:moveTo>
                    <a:pt x="95" y="98"/>
                  </a:moveTo>
                  <a:cubicBezTo>
                    <a:pt x="0" y="98"/>
                    <a:pt x="0" y="98"/>
                    <a:pt x="0" y="98"/>
                  </a:cubicBezTo>
                  <a:cubicBezTo>
                    <a:pt x="0" y="0"/>
                    <a:pt x="0" y="0"/>
                    <a:pt x="0" y="0"/>
                  </a:cubicBezTo>
                  <a:cubicBezTo>
                    <a:pt x="95" y="0"/>
                    <a:pt x="95" y="0"/>
                    <a:pt x="95" y="0"/>
                  </a:cubicBezTo>
                  <a:cubicBezTo>
                    <a:pt x="122" y="0"/>
                    <a:pt x="144" y="22"/>
                    <a:pt x="144" y="49"/>
                  </a:cubicBezTo>
                  <a:cubicBezTo>
                    <a:pt x="144" y="76"/>
                    <a:pt x="122" y="98"/>
                    <a:pt x="95" y="98"/>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a:extLst>
                <a:ext uri="{FF2B5EF4-FFF2-40B4-BE49-F238E27FC236}">
                  <a16:creationId xmlns:a16="http://schemas.microsoft.com/office/drawing/2014/main" id="{D5121AF5-BF26-484D-9DEF-456F71EFF013}"/>
                </a:ext>
              </a:extLst>
            </p:cNvPr>
            <p:cNvSpPr>
              <a:spLocks/>
            </p:cNvSpPr>
            <p:nvPr/>
          </p:nvSpPr>
          <p:spPr bwMode="auto">
            <a:xfrm>
              <a:off x="4550" y="1471"/>
              <a:ext cx="92" cy="100"/>
            </a:xfrm>
            <a:custGeom>
              <a:avLst/>
              <a:gdLst>
                <a:gd name="T0" fmla="*/ 39 w 39"/>
                <a:gd name="T1" fmla="*/ 21 h 42"/>
                <a:gd name="T2" fmla="*/ 38 w 39"/>
                <a:gd name="T3" fmla="*/ 17 h 42"/>
                <a:gd name="T4" fmla="*/ 31 w 39"/>
                <a:gd name="T5" fmla="*/ 7 h 42"/>
                <a:gd name="T6" fmla="*/ 14 w 39"/>
                <a:gd name="T7" fmla="*/ 4 h 42"/>
                <a:gd name="T8" fmla="*/ 3 w 39"/>
                <a:gd name="T9" fmla="*/ 21 h 42"/>
                <a:gd name="T10" fmla="*/ 14 w 39"/>
                <a:gd name="T11" fmla="*/ 38 h 42"/>
                <a:gd name="T12" fmla="*/ 31 w 39"/>
                <a:gd name="T13" fmla="*/ 35 h 42"/>
                <a:gd name="T14" fmla="*/ 38 w 39"/>
                <a:gd name="T15" fmla="*/ 25 h 42"/>
                <a:gd name="T16" fmla="*/ 39 w 39"/>
                <a:gd name="T17" fmla="*/ 21 h 42"/>
                <a:gd name="T18" fmla="*/ 39 w 39"/>
                <a:gd name="T19" fmla="*/ 22 h 42"/>
                <a:gd name="T20" fmla="*/ 39 w 39"/>
                <a:gd name="T21" fmla="*/ 26 h 42"/>
                <a:gd name="T22" fmla="*/ 32 w 39"/>
                <a:gd name="T23" fmla="*/ 36 h 42"/>
                <a:gd name="T24" fmla="*/ 14 w 39"/>
                <a:gd name="T25" fmla="*/ 39 h 42"/>
                <a:gd name="T26" fmla="*/ 1 w 39"/>
                <a:gd name="T27" fmla="*/ 21 h 42"/>
                <a:gd name="T28" fmla="*/ 14 w 39"/>
                <a:gd name="T29" fmla="*/ 2 h 42"/>
                <a:gd name="T30" fmla="*/ 32 w 39"/>
                <a:gd name="T31" fmla="*/ 6 h 42"/>
                <a:gd name="T32" fmla="*/ 39 w 39"/>
                <a:gd name="T33" fmla="*/ 16 h 42"/>
                <a:gd name="T34" fmla="*/ 39 w 39"/>
                <a:gd name="T35" fmla="*/ 20 h 42"/>
                <a:gd name="T36" fmla="*/ 39 w 39"/>
                <a:gd name="T3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42">
                  <a:moveTo>
                    <a:pt x="39" y="21"/>
                  </a:moveTo>
                  <a:cubicBezTo>
                    <a:pt x="39" y="21"/>
                    <a:pt x="39" y="19"/>
                    <a:pt x="38" y="17"/>
                  </a:cubicBezTo>
                  <a:cubicBezTo>
                    <a:pt x="37" y="14"/>
                    <a:pt x="35" y="10"/>
                    <a:pt x="31" y="7"/>
                  </a:cubicBezTo>
                  <a:cubicBezTo>
                    <a:pt x="27" y="4"/>
                    <a:pt x="21" y="2"/>
                    <a:pt x="14" y="4"/>
                  </a:cubicBezTo>
                  <a:cubicBezTo>
                    <a:pt x="8" y="6"/>
                    <a:pt x="3" y="13"/>
                    <a:pt x="3" y="21"/>
                  </a:cubicBezTo>
                  <a:cubicBezTo>
                    <a:pt x="3" y="29"/>
                    <a:pt x="8" y="36"/>
                    <a:pt x="14" y="38"/>
                  </a:cubicBezTo>
                  <a:cubicBezTo>
                    <a:pt x="21" y="40"/>
                    <a:pt x="27" y="38"/>
                    <a:pt x="31" y="35"/>
                  </a:cubicBezTo>
                  <a:cubicBezTo>
                    <a:pt x="35" y="32"/>
                    <a:pt x="37" y="28"/>
                    <a:pt x="38" y="25"/>
                  </a:cubicBezTo>
                  <a:cubicBezTo>
                    <a:pt x="39" y="23"/>
                    <a:pt x="39" y="21"/>
                    <a:pt x="39" y="21"/>
                  </a:cubicBezTo>
                  <a:cubicBezTo>
                    <a:pt x="39" y="21"/>
                    <a:pt x="39" y="21"/>
                    <a:pt x="39" y="22"/>
                  </a:cubicBezTo>
                  <a:cubicBezTo>
                    <a:pt x="39" y="23"/>
                    <a:pt x="39" y="24"/>
                    <a:pt x="39" y="26"/>
                  </a:cubicBezTo>
                  <a:cubicBezTo>
                    <a:pt x="38" y="29"/>
                    <a:pt x="36" y="33"/>
                    <a:pt x="32" y="36"/>
                  </a:cubicBezTo>
                  <a:cubicBezTo>
                    <a:pt x="28" y="40"/>
                    <a:pt x="21" y="42"/>
                    <a:pt x="14" y="39"/>
                  </a:cubicBezTo>
                  <a:cubicBezTo>
                    <a:pt x="7" y="37"/>
                    <a:pt x="0" y="30"/>
                    <a:pt x="1" y="21"/>
                  </a:cubicBezTo>
                  <a:cubicBezTo>
                    <a:pt x="0" y="12"/>
                    <a:pt x="7" y="5"/>
                    <a:pt x="14" y="2"/>
                  </a:cubicBezTo>
                  <a:cubicBezTo>
                    <a:pt x="21" y="0"/>
                    <a:pt x="28" y="2"/>
                    <a:pt x="32" y="6"/>
                  </a:cubicBezTo>
                  <a:cubicBezTo>
                    <a:pt x="36" y="9"/>
                    <a:pt x="38" y="13"/>
                    <a:pt x="39" y="16"/>
                  </a:cubicBezTo>
                  <a:cubicBezTo>
                    <a:pt x="39" y="18"/>
                    <a:pt x="39" y="19"/>
                    <a:pt x="39" y="20"/>
                  </a:cubicBezTo>
                  <a:cubicBezTo>
                    <a:pt x="39" y="21"/>
                    <a:pt x="39" y="21"/>
                    <a:pt x="39"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
              <a:extLst>
                <a:ext uri="{FF2B5EF4-FFF2-40B4-BE49-F238E27FC236}">
                  <a16:creationId xmlns:a16="http://schemas.microsoft.com/office/drawing/2014/main" id="{A0DCFCA1-26F6-49C4-AA73-709031721CEF}"/>
                </a:ext>
              </a:extLst>
            </p:cNvPr>
            <p:cNvSpPr>
              <a:spLocks/>
            </p:cNvSpPr>
            <p:nvPr/>
          </p:nvSpPr>
          <p:spPr bwMode="auto">
            <a:xfrm>
              <a:off x="4633" y="1547"/>
              <a:ext cx="71" cy="50"/>
            </a:xfrm>
            <a:custGeom>
              <a:avLst/>
              <a:gdLst>
                <a:gd name="T0" fmla="*/ 29 w 30"/>
                <a:gd name="T1" fmla="*/ 20 h 21"/>
                <a:gd name="T2" fmla="*/ 14 w 30"/>
                <a:gd name="T3" fmla="*/ 11 h 21"/>
                <a:gd name="T4" fmla="*/ 0 w 30"/>
                <a:gd name="T5" fmla="*/ 1 h 21"/>
                <a:gd name="T6" fmla="*/ 15 w 30"/>
                <a:gd name="T7" fmla="*/ 10 h 21"/>
                <a:gd name="T8" fmla="*/ 29 w 30"/>
                <a:gd name="T9" fmla="*/ 20 h 21"/>
              </a:gdLst>
              <a:ahLst/>
              <a:cxnLst>
                <a:cxn ang="0">
                  <a:pos x="T0" y="T1"/>
                </a:cxn>
                <a:cxn ang="0">
                  <a:pos x="T2" y="T3"/>
                </a:cxn>
                <a:cxn ang="0">
                  <a:pos x="T4" y="T5"/>
                </a:cxn>
                <a:cxn ang="0">
                  <a:pos x="T6" y="T7"/>
                </a:cxn>
                <a:cxn ang="0">
                  <a:pos x="T8" y="T9"/>
                </a:cxn>
              </a:cxnLst>
              <a:rect l="0" t="0" r="r" b="b"/>
              <a:pathLst>
                <a:path w="30" h="21">
                  <a:moveTo>
                    <a:pt x="29" y="20"/>
                  </a:moveTo>
                  <a:cubicBezTo>
                    <a:pt x="29" y="21"/>
                    <a:pt x="22" y="17"/>
                    <a:pt x="14" y="11"/>
                  </a:cubicBezTo>
                  <a:cubicBezTo>
                    <a:pt x="6" y="6"/>
                    <a:pt x="0" y="1"/>
                    <a:pt x="0" y="1"/>
                  </a:cubicBezTo>
                  <a:cubicBezTo>
                    <a:pt x="0" y="0"/>
                    <a:pt x="7" y="4"/>
                    <a:pt x="15" y="10"/>
                  </a:cubicBezTo>
                  <a:cubicBezTo>
                    <a:pt x="23" y="15"/>
                    <a:pt x="30" y="20"/>
                    <a:pt x="29"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3">
              <a:extLst>
                <a:ext uri="{FF2B5EF4-FFF2-40B4-BE49-F238E27FC236}">
                  <a16:creationId xmlns:a16="http://schemas.microsoft.com/office/drawing/2014/main" id="{A3C65781-A585-4A2E-8E62-1C0C44C13B5D}"/>
                </a:ext>
              </a:extLst>
            </p:cNvPr>
            <p:cNvSpPr>
              <a:spLocks noChangeArrowheads="1"/>
            </p:cNvSpPr>
            <p:nvPr/>
          </p:nvSpPr>
          <p:spPr bwMode="auto">
            <a:xfrm>
              <a:off x="2990" y="1476"/>
              <a:ext cx="5" cy="133"/>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24">
              <a:extLst>
                <a:ext uri="{FF2B5EF4-FFF2-40B4-BE49-F238E27FC236}">
                  <a16:creationId xmlns:a16="http://schemas.microsoft.com/office/drawing/2014/main" id="{3C5411D6-9DDD-4FE8-8529-22710FA77661}"/>
                </a:ext>
              </a:extLst>
            </p:cNvPr>
            <p:cNvSpPr>
              <a:spLocks noChangeArrowheads="1"/>
            </p:cNvSpPr>
            <p:nvPr/>
          </p:nvSpPr>
          <p:spPr bwMode="auto">
            <a:xfrm>
              <a:off x="2710" y="2063"/>
              <a:ext cx="560" cy="544"/>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5">
              <a:extLst>
                <a:ext uri="{FF2B5EF4-FFF2-40B4-BE49-F238E27FC236}">
                  <a16:creationId xmlns:a16="http://schemas.microsoft.com/office/drawing/2014/main" id="{D68D0B9D-A37E-47F1-B8DE-83D7D09934BC}"/>
                </a:ext>
              </a:extLst>
            </p:cNvPr>
            <p:cNvSpPr>
              <a:spLocks/>
            </p:cNvSpPr>
            <p:nvPr/>
          </p:nvSpPr>
          <p:spPr bwMode="auto">
            <a:xfrm>
              <a:off x="2753" y="2281"/>
              <a:ext cx="475" cy="278"/>
            </a:xfrm>
            <a:custGeom>
              <a:avLst/>
              <a:gdLst>
                <a:gd name="T0" fmla="*/ 0 w 475"/>
                <a:gd name="T1" fmla="*/ 278 h 278"/>
                <a:gd name="T2" fmla="*/ 154 w 475"/>
                <a:gd name="T3" fmla="*/ 0 h 278"/>
                <a:gd name="T4" fmla="*/ 282 w 475"/>
                <a:gd name="T5" fmla="*/ 178 h 278"/>
                <a:gd name="T6" fmla="*/ 358 w 475"/>
                <a:gd name="T7" fmla="*/ 83 h 278"/>
                <a:gd name="T8" fmla="*/ 475 w 475"/>
                <a:gd name="T9" fmla="*/ 278 h 278"/>
                <a:gd name="T10" fmla="*/ 0 w 475"/>
                <a:gd name="T11" fmla="*/ 278 h 278"/>
              </a:gdLst>
              <a:ahLst/>
              <a:cxnLst>
                <a:cxn ang="0">
                  <a:pos x="T0" y="T1"/>
                </a:cxn>
                <a:cxn ang="0">
                  <a:pos x="T2" y="T3"/>
                </a:cxn>
                <a:cxn ang="0">
                  <a:pos x="T4" y="T5"/>
                </a:cxn>
                <a:cxn ang="0">
                  <a:pos x="T6" y="T7"/>
                </a:cxn>
                <a:cxn ang="0">
                  <a:pos x="T8" y="T9"/>
                </a:cxn>
                <a:cxn ang="0">
                  <a:pos x="T10" y="T11"/>
                </a:cxn>
              </a:cxnLst>
              <a:rect l="0" t="0" r="r" b="b"/>
              <a:pathLst>
                <a:path w="475" h="278">
                  <a:moveTo>
                    <a:pt x="0" y="278"/>
                  </a:moveTo>
                  <a:lnTo>
                    <a:pt x="154" y="0"/>
                  </a:lnTo>
                  <a:lnTo>
                    <a:pt x="282" y="178"/>
                  </a:lnTo>
                  <a:lnTo>
                    <a:pt x="358" y="83"/>
                  </a:lnTo>
                  <a:lnTo>
                    <a:pt x="475" y="278"/>
                  </a:lnTo>
                  <a:lnTo>
                    <a:pt x="0" y="278"/>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6">
              <a:extLst>
                <a:ext uri="{FF2B5EF4-FFF2-40B4-BE49-F238E27FC236}">
                  <a16:creationId xmlns:a16="http://schemas.microsoft.com/office/drawing/2014/main" id="{C08C4386-04F4-40E4-B94B-E65969D842D4}"/>
                </a:ext>
              </a:extLst>
            </p:cNvPr>
            <p:cNvSpPr>
              <a:spLocks noChangeArrowheads="1"/>
            </p:cNvSpPr>
            <p:nvPr/>
          </p:nvSpPr>
          <p:spPr bwMode="auto">
            <a:xfrm>
              <a:off x="3009" y="2186"/>
              <a:ext cx="81" cy="81"/>
            </a:xfrm>
            <a:prstGeom prst="ellipse">
              <a:avLst/>
            </a:pr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7">
              <a:extLst>
                <a:ext uri="{FF2B5EF4-FFF2-40B4-BE49-F238E27FC236}">
                  <a16:creationId xmlns:a16="http://schemas.microsoft.com/office/drawing/2014/main" id="{2D5E5FE5-8B34-40F9-86D0-F91EE0925299}"/>
                </a:ext>
              </a:extLst>
            </p:cNvPr>
            <p:cNvSpPr>
              <a:spLocks/>
            </p:cNvSpPr>
            <p:nvPr/>
          </p:nvSpPr>
          <p:spPr bwMode="auto">
            <a:xfrm>
              <a:off x="2748" y="2105"/>
              <a:ext cx="482" cy="459"/>
            </a:xfrm>
            <a:custGeom>
              <a:avLst/>
              <a:gdLst>
                <a:gd name="T0" fmla="*/ 202 w 203"/>
                <a:gd name="T1" fmla="*/ 192 h 193"/>
                <a:gd name="T2" fmla="*/ 202 w 203"/>
                <a:gd name="T3" fmla="*/ 191 h 193"/>
                <a:gd name="T4" fmla="*/ 202 w 203"/>
                <a:gd name="T5" fmla="*/ 188 h 193"/>
                <a:gd name="T6" fmla="*/ 202 w 203"/>
                <a:gd name="T7" fmla="*/ 178 h 193"/>
                <a:gd name="T8" fmla="*/ 201 w 203"/>
                <a:gd name="T9" fmla="*/ 139 h 193"/>
                <a:gd name="T10" fmla="*/ 201 w 203"/>
                <a:gd name="T11" fmla="*/ 1 h 193"/>
                <a:gd name="T12" fmla="*/ 202 w 203"/>
                <a:gd name="T13" fmla="*/ 2 h 193"/>
                <a:gd name="T14" fmla="*/ 2 w 203"/>
                <a:gd name="T15" fmla="*/ 2 h 193"/>
                <a:gd name="T16" fmla="*/ 3 w 203"/>
                <a:gd name="T17" fmla="*/ 1 h 193"/>
                <a:gd name="T18" fmla="*/ 3 w 203"/>
                <a:gd name="T19" fmla="*/ 1 h 193"/>
                <a:gd name="T20" fmla="*/ 3 w 203"/>
                <a:gd name="T21" fmla="*/ 1 h 193"/>
                <a:gd name="T22" fmla="*/ 3 w 203"/>
                <a:gd name="T23" fmla="*/ 2 h 193"/>
                <a:gd name="T24" fmla="*/ 3 w 203"/>
                <a:gd name="T25" fmla="*/ 2 h 193"/>
                <a:gd name="T26" fmla="*/ 3 w 203"/>
                <a:gd name="T27" fmla="*/ 3 h 193"/>
                <a:gd name="T28" fmla="*/ 3 w 203"/>
                <a:gd name="T29" fmla="*/ 5 h 193"/>
                <a:gd name="T30" fmla="*/ 3 w 203"/>
                <a:gd name="T31" fmla="*/ 8 h 193"/>
                <a:gd name="T32" fmla="*/ 3 w 203"/>
                <a:gd name="T33" fmla="*/ 14 h 193"/>
                <a:gd name="T34" fmla="*/ 3 w 203"/>
                <a:gd name="T35" fmla="*/ 27 h 193"/>
                <a:gd name="T36" fmla="*/ 3 w 203"/>
                <a:gd name="T37" fmla="*/ 53 h 193"/>
                <a:gd name="T38" fmla="*/ 3 w 203"/>
                <a:gd name="T39" fmla="*/ 102 h 193"/>
                <a:gd name="T40" fmla="*/ 3 w 203"/>
                <a:gd name="T41" fmla="*/ 192 h 193"/>
                <a:gd name="T42" fmla="*/ 2 w 203"/>
                <a:gd name="T43" fmla="*/ 191 h 193"/>
                <a:gd name="T44" fmla="*/ 146 w 203"/>
                <a:gd name="T45" fmla="*/ 192 h 193"/>
                <a:gd name="T46" fmla="*/ 187 w 203"/>
                <a:gd name="T47" fmla="*/ 192 h 193"/>
                <a:gd name="T48" fmla="*/ 198 w 203"/>
                <a:gd name="T49" fmla="*/ 192 h 193"/>
                <a:gd name="T50" fmla="*/ 201 w 203"/>
                <a:gd name="T51" fmla="*/ 192 h 193"/>
                <a:gd name="T52" fmla="*/ 202 w 203"/>
                <a:gd name="T53" fmla="*/ 192 h 193"/>
                <a:gd name="T54" fmla="*/ 201 w 203"/>
                <a:gd name="T55" fmla="*/ 192 h 193"/>
                <a:gd name="T56" fmla="*/ 198 w 203"/>
                <a:gd name="T57" fmla="*/ 192 h 193"/>
                <a:gd name="T58" fmla="*/ 188 w 203"/>
                <a:gd name="T59" fmla="*/ 192 h 193"/>
                <a:gd name="T60" fmla="*/ 147 w 203"/>
                <a:gd name="T61" fmla="*/ 193 h 193"/>
                <a:gd name="T62" fmla="*/ 2 w 203"/>
                <a:gd name="T63" fmla="*/ 193 h 193"/>
                <a:gd name="T64" fmla="*/ 1 w 203"/>
                <a:gd name="T65" fmla="*/ 193 h 193"/>
                <a:gd name="T66" fmla="*/ 1 w 203"/>
                <a:gd name="T67" fmla="*/ 192 h 193"/>
                <a:gd name="T68" fmla="*/ 1 w 203"/>
                <a:gd name="T69" fmla="*/ 102 h 193"/>
                <a:gd name="T70" fmla="*/ 1 w 203"/>
                <a:gd name="T71" fmla="*/ 53 h 193"/>
                <a:gd name="T72" fmla="*/ 1 w 203"/>
                <a:gd name="T73" fmla="*/ 27 h 193"/>
                <a:gd name="T74" fmla="*/ 1 w 203"/>
                <a:gd name="T75" fmla="*/ 14 h 193"/>
                <a:gd name="T76" fmla="*/ 1 w 203"/>
                <a:gd name="T77" fmla="*/ 8 h 193"/>
                <a:gd name="T78" fmla="*/ 1 w 203"/>
                <a:gd name="T79" fmla="*/ 5 h 193"/>
                <a:gd name="T80" fmla="*/ 1 w 203"/>
                <a:gd name="T81" fmla="*/ 3 h 193"/>
                <a:gd name="T82" fmla="*/ 1 w 203"/>
                <a:gd name="T83" fmla="*/ 2 h 193"/>
                <a:gd name="T84" fmla="*/ 1 w 203"/>
                <a:gd name="T85" fmla="*/ 2 h 193"/>
                <a:gd name="T86" fmla="*/ 1 w 203"/>
                <a:gd name="T87" fmla="*/ 1 h 193"/>
                <a:gd name="T88" fmla="*/ 1 w 203"/>
                <a:gd name="T89" fmla="*/ 1 h 193"/>
                <a:gd name="T90" fmla="*/ 1 w 203"/>
                <a:gd name="T91" fmla="*/ 1 h 193"/>
                <a:gd name="T92" fmla="*/ 2 w 203"/>
                <a:gd name="T93" fmla="*/ 0 h 193"/>
                <a:gd name="T94" fmla="*/ 202 w 203"/>
                <a:gd name="T95" fmla="*/ 0 h 193"/>
                <a:gd name="T96" fmla="*/ 203 w 203"/>
                <a:gd name="T97" fmla="*/ 0 h 193"/>
                <a:gd name="T98" fmla="*/ 203 w 203"/>
                <a:gd name="T99" fmla="*/ 1 h 193"/>
                <a:gd name="T100" fmla="*/ 202 w 203"/>
                <a:gd name="T101" fmla="*/ 140 h 193"/>
                <a:gd name="T102" fmla="*/ 202 w 203"/>
                <a:gd name="T103" fmla="*/ 179 h 193"/>
                <a:gd name="T104" fmla="*/ 202 w 203"/>
                <a:gd name="T105" fmla="*/ 189 h 193"/>
                <a:gd name="T106" fmla="*/ 202 w 203"/>
                <a:gd name="T107" fmla="*/ 191 h 193"/>
                <a:gd name="T108" fmla="*/ 202 w 203"/>
                <a:gd name="T109"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3" h="193">
                  <a:moveTo>
                    <a:pt x="202" y="192"/>
                  </a:moveTo>
                  <a:cubicBezTo>
                    <a:pt x="202" y="192"/>
                    <a:pt x="202" y="192"/>
                    <a:pt x="202" y="191"/>
                  </a:cubicBezTo>
                  <a:cubicBezTo>
                    <a:pt x="202" y="190"/>
                    <a:pt x="202" y="190"/>
                    <a:pt x="202" y="188"/>
                  </a:cubicBezTo>
                  <a:cubicBezTo>
                    <a:pt x="202" y="186"/>
                    <a:pt x="202" y="183"/>
                    <a:pt x="202" y="178"/>
                  </a:cubicBezTo>
                  <a:cubicBezTo>
                    <a:pt x="201" y="169"/>
                    <a:pt x="201" y="156"/>
                    <a:pt x="201" y="139"/>
                  </a:cubicBezTo>
                  <a:cubicBezTo>
                    <a:pt x="201" y="106"/>
                    <a:pt x="201" y="58"/>
                    <a:pt x="201" y="1"/>
                  </a:cubicBezTo>
                  <a:cubicBezTo>
                    <a:pt x="202" y="2"/>
                    <a:pt x="202" y="2"/>
                    <a:pt x="202" y="2"/>
                  </a:cubicBezTo>
                  <a:cubicBezTo>
                    <a:pt x="144" y="2"/>
                    <a:pt x="75" y="2"/>
                    <a:pt x="2" y="2"/>
                  </a:cubicBezTo>
                  <a:cubicBezTo>
                    <a:pt x="2" y="3"/>
                    <a:pt x="4" y="0"/>
                    <a:pt x="3" y="1"/>
                  </a:cubicBezTo>
                  <a:cubicBezTo>
                    <a:pt x="3" y="1"/>
                    <a:pt x="3" y="1"/>
                    <a:pt x="3" y="1"/>
                  </a:cubicBezTo>
                  <a:cubicBezTo>
                    <a:pt x="3" y="1"/>
                    <a:pt x="3" y="1"/>
                    <a:pt x="3" y="1"/>
                  </a:cubicBezTo>
                  <a:cubicBezTo>
                    <a:pt x="3" y="2"/>
                    <a:pt x="3" y="2"/>
                    <a:pt x="3" y="2"/>
                  </a:cubicBezTo>
                  <a:cubicBezTo>
                    <a:pt x="3" y="2"/>
                    <a:pt x="3" y="2"/>
                    <a:pt x="3" y="2"/>
                  </a:cubicBezTo>
                  <a:cubicBezTo>
                    <a:pt x="3" y="3"/>
                    <a:pt x="3" y="3"/>
                    <a:pt x="3" y="3"/>
                  </a:cubicBezTo>
                  <a:cubicBezTo>
                    <a:pt x="3" y="5"/>
                    <a:pt x="3" y="5"/>
                    <a:pt x="3" y="5"/>
                  </a:cubicBezTo>
                  <a:cubicBezTo>
                    <a:pt x="3" y="8"/>
                    <a:pt x="3" y="8"/>
                    <a:pt x="3" y="8"/>
                  </a:cubicBezTo>
                  <a:cubicBezTo>
                    <a:pt x="3" y="14"/>
                    <a:pt x="3" y="14"/>
                    <a:pt x="3" y="14"/>
                  </a:cubicBezTo>
                  <a:cubicBezTo>
                    <a:pt x="3" y="19"/>
                    <a:pt x="3" y="23"/>
                    <a:pt x="3" y="27"/>
                  </a:cubicBezTo>
                  <a:cubicBezTo>
                    <a:pt x="3" y="36"/>
                    <a:pt x="3" y="44"/>
                    <a:pt x="3" y="53"/>
                  </a:cubicBezTo>
                  <a:cubicBezTo>
                    <a:pt x="3" y="69"/>
                    <a:pt x="3" y="86"/>
                    <a:pt x="3" y="102"/>
                  </a:cubicBezTo>
                  <a:cubicBezTo>
                    <a:pt x="3" y="134"/>
                    <a:pt x="3" y="164"/>
                    <a:pt x="3" y="192"/>
                  </a:cubicBezTo>
                  <a:cubicBezTo>
                    <a:pt x="2" y="191"/>
                    <a:pt x="2" y="191"/>
                    <a:pt x="2" y="191"/>
                  </a:cubicBezTo>
                  <a:cubicBezTo>
                    <a:pt x="62" y="191"/>
                    <a:pt x="111" y="191"/>
                    <a:pt x="146" y="192"/>
                  </a:cubicBezTo>
                  <a:cubicBezTo>
                    <a:pt x="164" y="192"/>
                    <a:pt x="178" y="192"/>
                    <a:pt x="187" y="192"/>
                  </a:cubicBezTo>
                  <a:cubicBezTo>
                    <a:pt x="192" y="192"/>
                    <a:pt x="195" y="192"/>
                    <a:pt x="198" y="192"/>
                  </a:cubicBezTo>
                  <a:cubicBezTo>
                    <a:pt x="199" y="192"/>
                    <a:pt x="200" y="192"/>
                    <a:pt x="201" y="192"/>
                  </a:cubicBezTo>
                  <a:cubicBezTo>
                    <a:pt x="201" y="192"/>
                    <a:pt x="202" y="192"/>
                    <a:pt x="202" y="192"/>
                  </a:cubicBezTo>
                  <a:cubicBezTo>
                    <a:pt x="202" y="192"/>
                    <a:pt x="201" y="192"/>
                    <a:pt x="201" y="192"/>
                  </a:cubicBezTo>
                  <a:cubicBezTo>
                    <a:pt x="200" y="192"/>
                    <a:pt x="199" y="192"/>
                    <a:pt x="198" y="192"/>
                  </a:cubicBezTo>
                  <a:cubicBezTo>
                    <a:pt x="196" y="192"/>
                    <a:pt x="192" y="192"/>
                    <a:pt x="188" y="192"/>
                  </a:cubicBezTo>
                  <a:cubicBezTo>
                    <a:pt x="178" y="192"/>
                    <a:pt x="164" y="192"/>
                    <a:pt x="147" y="193"/>
                  </a:cubicBezTo>
                  <a:cubicBezTo>
                    <a:pt x="112" y="193"/>
                    <a:pt x="62" y="193"/>
                    <a:pt x="2" y="193"/>
                  </a:cubicBezTo>
                  <a:cubicBezTo>
                    <a:pt x="1" y="193"/>
                    <a:pt x="1" y="193"/>
                    <a:pt x="1" y="193"/>
                  </a:cubicBezTo>
                  <a:cubicBezTo>
                    <a:pt x="1" y="192"/>
                    <a:pt x="1" y="192"/>
                    <a:pt x="1" y="192"/>
                  </a:cubicBezTo>
                  <a:cubicBezTo>
                    <a:pt x="1" y="164"/>
                    <a:pt x="1" y="134"/>
                    <a:pt x="1" y="102"/>
                  </a:cubicBezTo>
                  <a:cubicBezTo>
                    <a:pt x="1" y="86"/>
                    <a:pt x="1" y="69"/>
                    <a:pt x="1" y="53"/>
                  </a:cubicBezTo>
                  <a:cubicBezTo>
                    <a:pt x="1" y="44"/>
                    <a:pt x="1" y="36"/>
                    <a:pt x="1" y="27"/>
                  </a:cubicBezTo>
                  <a:cubicBezTo>
                    <a:pt x="1" y="23"/>
                    <a:pt x="1" y="19"/>
                    <a:pt x="1" y="14"/>
                  </a:cubicBezTo>
                  <a:cubicBezTo>
                    <a:pt x="1" y="8"/>
                    <a:pt x="1" y="8"/>
                    <a:pt x="1" y="8"/>
                  </a:cubicBezTo>
                  <a:cubicBezTo>
                    <a:pt x="1" y="5"/>
                    <a:pt x="1" y="5"/>
                    <a:pt x="1" y="5"/>
                  </a:cubicBezTo>
                  <a:cubicBezTo>
                    <a:pt x="1" y="3"/>
                    <a:pt x="1" y="3"/>
                    <a:pt x="1" y="3"/>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2"/>
                    <a:pt x="2" y="0"/>
                    <a:pt x="2" y="0"/>
                  </a:cubicBezTo>
                  <a:cubicBezTo>
                    <a:pt x="75" y="0"/>
                    <a:pt x="144" y="0"/>
                    <a:pt x="202" y="0"/>
                  </a:cubicBezTo>
                  <a:cubicBezTo>
                    <a:pt x="203" y="0"/>
                    <a:pt x="203" y="0"/>
                    <a:pt x="203" y="0"/>
                  </a:cubicBezTo>
                  <a:cubicBezTo>
                    <a:pt x="203" y="1"/>
                    <a:pt x="203" y="1"/>
                    <a:pt x="203" y="1"/>
                  </a:cubicBezTo>
                  <a:cubicBezTo>
                    <a:pt x="202" y="59"/>
                    <a:pt x="202" y="106"/>
                    <a:pt x="202" y="140"/>
                  </a:cubicBezTo>
                  <a:cubicBezTo>
                    <a:pt x="202" y="157"/>
                    <a:pt x="202" y="170"/>
                    <a:pt x="202" y="179"/>
                  </a:cubicBezTo>
                  <a:cubicBezTo>
                    <a:pt x="202" y="183"/>
                    <a:pt x="202" y="186"/>
                    <a:pt x="202" y="189"/>
                  </a:cubicBezTo>
                  <a:cubicBezTo>
                    <a:pt x="202" y="190"/>
                    <a:pt x="202" y="191"/>
                    <a:pt x="202" y="191"/>
                  </a:cubicBezTo>
                  <a:cubicBezTo>
                    <a:pt x="202" y="192"/>
                    <a:pt x="202" y="192"/>
                    <a:pt x="202" y="19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28">
              <a:extLst>
                <a:ext uri="{FF2B5EF4-FFF2-40B4-BE49-F238E27FC236}">
                  <a16:creationId xmlns:a16="http://schemas.microsoft.com/office/drawing/2014/main" id="{753DD70C-91F2-422C-8637-BE37C149A9BF}"/>
                </a:ext>
              </a:extLst>
            </p:cNvPr>
            <p:cNvSpPr>
              <a:spLocks noChangeArrowheads="1"/>
            </p:cNvSpPr>
            <p:nvPr/>
          </p:nvSpPr>
          <p:spPr bwMode="auto">
            <a:xfrm>
              <a:off x="3603" y="2063"/>
              <a:ext cx="560" cy="544"/>
            </a:xfrm>
            <a:prstGeom prst="rect">
              <a:avLst/>
            </a:prstGeom>
            <a:solidFill>
              <a:srgbClr val="FB52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9">
              <a:extLst>
                <a:ext uri="{FF2B5EF4-FFF2-40B4-BE49-F238E27FC236}">
                  <a16:creationId xmlns:a16="http://schemas.microsoft.com/office/drawing/2014/main" id="{FF09E6DB-C258-4168-A30E-D24B822D77DB}"/>
                </a:ext>
              </a:extLst>
            </p:cNvPr>
            <p:cNvSpPr>
              <a:spLocks/>
            </p:cNvSpPr>
            <p:nvPr/>
          </p:nvSpPr>
          <p:spPr bwMode="auto">
            <a:xfrm>
              <a:off x="3645" y="2281"/>
              <a:ext cx="475" cy="278"/>
            </a:xfrm>
            <a:custGeom>
              <a:avLst/>
              <a:gdLst>
                <a:gd name="T0" fmla="*/ 0 w 475"/>
                <a:gd name="T1" fmla="*/ 278 h 278"/>
                <a:gd name="T2" fmla="*/ 157 w 475"/>
                <a:gd name="T3" fmla="*/ 0 h 278"/>
                <a:gd name="T4" fmla="*/ 283 w 475"/>
                <a:gd name="T5" fmla="*/ 178 h 278"/>
                <a:gd name="T6" fmla="*/ 361 w 475"/>
                <a:gd name="T7" fmla="*/ 83 h 278"/>
                <a:gd name="T8" fmla="*/ 475 w 475"/>
                <a:gd name="T9" fmla="*/ 278 h 278"/>
                <a:gd name="T10" fmla="*/ 0 w 475"/>
                <a:gd name="T11" fmla="*/ 278 h 278"/>
              </a:gdLst>
              <a:ahLst/>
              <a:cxnLst>
                <a:cxn ang="0">
                  <a:pos x="T0" y="T1"/>
                </a:cxn>
                <a:cxn ang="0">
                  <a:pos x="T2" y="T3"/>
                </a:cxn>
                <a:cxn ang="0">
                  <a:pos x="T4" y="T5"/>
                </a:cxn>
                <a:cxn ang="0">
                  <a:pos x="T6" y="T7"/>
                </a:cxn>
                <a:cxn ang="0">
                  <a:pos x="T8" y="T9"/>
                </a:cxn>
                <a:cxn ang="0">
                  <a:pos x="T10" y="T11"/>
                </a:cxn>
              </a:cxnLst>
              <a:rect l="0" t="0" r="r" b="b"/>
              <a:pathLst>
                <a:path w="475" h="278">
                  <a:moveTo>
                    <a:pt x="0" y="278"/>
                  </a:moveTo>
                  <a:lnTo>
                    <a:pt x="157" y="0"/>
                  </a:lnTo>
                  <a:lnTo>
                    <a:pt x="283" y="178"/>
                  </a:lnTo>
                  <a:lnTo>
                    <a:pt x="361" y="83"/>
                  </a:lnTo>
                  <a:lnTo>
                    <a:pt x="475" y="278"/>
                  </a:lnTo>
                  <a:lnTo>
                    <a:pt x="0" y="27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0">
              <a:extLst>
                <a:ext uri="{FF2B5EF4-FFF2-40B4-BE49-F238E27FC236}">
                  <a16:creationId xmlns:a16="http://schemas.microsoft.com/office/drawing/2014/main" id="{9AF4FD3E-CEFA-48B6-A778-5E9F18A043FC}"/>
                </a:ext>
              </a:extLst>
            </p:cNvPr>
            <p:cNvSpPr>
              <a:spLocks noChangeArrowheads="1"/>
            </p:cNvSpPr>
            <p:nvPr/>
          </p:nvSpPr>
          <p:spPr bwMode="auto">
            <a:xfrm>
              <a:off x="3902" y="2186"/>
              <a:ext cx="80" cy="81"/>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1">
              <a:extLst>
                <a:ext uri="{FF2B5EF4-FFF2-40B4-BE49-F238E27FC236}">
                  <a16:creationId xmlns:a16="http://schemas.microsoft.com/office/drawing/2014/main" id="{FFE77A60-B3AE-4C98-A5BF-99E92607BDDF}"/>
                </a:ext>
              </a:extLst>
            </p:cNvPr>
            <p:cNvSpPr>
              <a:spLocks/>
            </p:cNvSpPr>
            <p:nvPr/>
          </p:nvSpPr>
          <p:spPr bwMode="auto">
            <a:xfrm>
              <a:off x="3641" y="2105"/>
              <a:ext cx="481" cy="459"/>
            </a:xfrm>
            <a:custGeom>
              <a:avLst/>
              <a:gdLst>
                <a:gd name="T0" fmla="*/ 202 w 203"/>
                <a:gd name="T1" fmla="*/ 192 h 193"/>
                <a:gd name="T2" fmla="*/ 202 w 203"/>
                <a:gd name="T3" fmla="*/ 191 h 193"/>
                <a:gd name="T4" fmla="*/ 202 w 203"/>
                <a:gd name="T5" fmla="*/ 188 h 193"/>
                <a:gd name="T6" fmla="*/ 202 w 203"/>
                <a:gd name="T7" fmla="*/ 178 h 193"/>
                <a:gd name="T8" fmla="*/ 201 w 203"/>
                <a:gd name="T9" fmla="*/ 139 h 193"/>
                <a:gd name="T10" fmla="*/ 201 w 203"/>
                <a:gd name="T11" fmla="*/ 1 h 193"/>
                <a:gd name="T12" fmla="*/ 202 w 203"/>
                <a:gd name="T13" fmla="*/ 2 h 193"/>
                <a:gd name="T14" fmla="*/ 2 w 203"/>
                <a:gd name="T15" fmla="*/ 2 h 193"/>
                <a:gd name="T16" fmla="*/ 3 w 203"/>
                <a:gd name="T17" fmla="*/ 1 h 193"/>
                <a:gd name="T18" fmla="*/ 3 w 203"/>
                <a:gd name="T19" fmla="*/ 1 h 193"/>
                <a:gd name="T20" fmla="*/ 3 w 203"/>
                <a:gd name="T21" fmla="*/ 1 h 193"/>
                <a:gd name="T22" fmla="*/ 3 w 203"/>
                <a:gd name="T23" fmla="*/ 2 h 193"/>
                <a:gd name="T24" fmla="*/ 3 w 203"/>
                <a:gd name="T25" fmla="*/ 2 h 193"/>
                <a:gd name="T26" fmla="*/ 3 w 203"/>
                <a:gd name="T27" fmla="*/ 3 h 193"/>
                <a:gd name="T28" fmla="*/ 3 w 203"/>
                <a:gd name="T29" fmla="*/ 5 h 193"/>
                <a:gd name="T30" fmla="*/ 3 w 203"/>
                <a:gd name="T31" fmla="*/ 8 h 193"/>
                <a:gd name="T32" fmla="*/ 3 w 203"/>
                <a:gd name="T33" fmla="*/ 14 h 193"/>
                <a:gd name="T34" fmla="*/ 3 w 203"/>
                <a:gd name="T35" fmla="*/ 27 h 193"/>
                <a:gd name="T36" fmla="*/ 3 w 203"/>
                <a:gd name="T37" fmla="*/ 53 h 193"/>
                <a:gd name="T38" fmla="*/ 3 w 203"/>
                <a:gd name="T39" fmla="*/ 102 h 193"/>
                <a:gd name="T40" fmla="*/ 3 w 203"/>
                <a:gd name="T41" fmla="*/ 192 h 193"/>
                <a:gd name="T42" fmla="*/ 2 w 203"/>
                <a:gd name="T43" fmla="*/ 191 h 193"/>
                <a:gd name="T44" fmla="*/ 147 w 203"/>
                <a:gd name="T45" fmla="*/ 192 h 193"/>
                <a:gd name="T46" fmla="*/ 187 w 203"/>
                <a:gd name="T47" fmla="*/ 192 h 193"/>
                <a:gd name="T48" fmla="*/ 198 w 203"/>
                <a:gd name="T49" fmla="*/ 192 h 193"/>
                <a:gd name="T50" fmla="*/ 201 w 203"/>
                <a:gd name="T51" fmla="*/ 192 h 193"/>
                <a:gd name="T52" fmla="*/ 202 w 203"/>
                <a:gd name="T53" fmla="*/ 192 h 193"/>
                <a:gd name="T54" fmla="*/ 201 w 203"/>
                <a:gd name="T55" fmla="*/ 192 h 193"/>
                <a:gd name="T56" fmla="*/ 198 w 203"/>
                <a:gd name="T57" fmla="*/ 192 h 193"/>
                <a:gd name="T58" fmla="*/ 188 w 203"/>
                <a:gd name="T59" fmla="*/ 192 h 193"/>
                <a:gd name="T60" fmla="*/ 147 w 203"/>
                <a:gd name="T61" fmla="*/ 193 h 193"/>
                <a:gd name="T62" fmla="*/ 2 w 203"/>
                <a:gd name="T63" fmla="*/ 193 h 193"/>
                <a:gd name="T64" fmla="*/ 1 w 203"/>
                <a:gd name="T65" fmla="*/ 193 h 193"/>
                <a:gd name="T66" fmla="*/ 1 w 203"/>
                <a:gd name="T67" fmla="*/ 192 h 193"/>
                <a:gd name="T68" fmla="*/ 1 w 203"/>
                <a:gd name="T69" fmla="*/ 102 h 193"/>
                <a:gd name="T70" fmla="*/ 1 w 203"/>
                <a:gd name="T71" fmla="*/ 53 h 193"/>
                <a:gd name="T72" fmla="*/ 1 w 203"/>
                <a:gd name="T73" fmla="*/ 27 h 193"/>
                <a:gd name="T74" fmla="*/ 1 w 203"/>
                <a:gd name="T75" fmla="*/ 14 h 193"/>
                <a:gd name="T76" fmla="*/ 1 w 203"/>
                <a:gd name="T77" fmla="*/ 8 h 193"/>
                <a:gd name="T78" fmla="*/ 1 w 203"/>
                <a:gd name="T79" fmla="*/ 5 h 193"/>
                <a:gd name="T80" fmla="*/ 1 w 203"/>
                <a:gd name="T81" fmla="*/ 3 h 193"/>
                <a:gd name="T82" fmla="*/ 1 w 203"/>
                <a:gd name="T83" fmla="*/ 2 h 193"/>
                <a:gd name="T84" fmla="*/ 1 w 203"/>
                <a:gd name="T85" fmla="*/ 2 h 193"/>
                <a:gd name="T86" fmla="*/ 1 w 203"/>
                <a:gd name="T87" fmla="*/ 1 h 193"/>
                <a:gd name="T88" fmla="*/ 1 w 203"/>
                <a:gd name="T89" fmla="*/ 1 h 193"/>
                <a:gd name="T90" fmla="*/ 1 w 203"/>
                <a:gd name="T91" fmla="*/ 1 h 193"/>
                <a:gd name="T92" fmla="*/ 2 w 203"/>
                <a:gd name="T93" fmla="*/ 0 h 193"/>
                <a:gd name="T94" fmla="*/ 202 w 203"/>
                <a:gd name="T95" fmla="*/ 0 h 193"/>
                <a:gd name="T96" fmla="*/ 203 w 203"/>
                <a:gd name="T97" fmla="*/ 0 h 193"/>
                <a:gd name="T98" fmla="*/ 203 w 203"/>
                <a:gd name="T99" fmla="*/ 1 h 193"/>
                <a:gd name="T100" fmla="*/ 202 w 203"/>
                <a:gd name="T101" fmla="*/ 140 h 193"/>
                <a:gd name="T102" fmla="*/ 202 w 203"/>
                <a:gd name="T103" fmla="*/ 179 h 193"/>
                <a:gd name="T104" fmla="*/ 202 w 203"/>
                <a:gd name="T105" fmla="*/ 189 h 193"/>
                <a:gd name="T106" fmla="*/ 202 w 203"/>
                <a:gd name="T107" fmla="*/ 191 h 193"/>
                <a:gd name="T108" fmla="*/ 202 w 203"/>
                <a:gd name="T109"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3" h="193">
                  <a:moveTo>
                    <a:pt x="202" y="192"/>
                  </a:moveTo>
                  <a:cubicBezTo>
                    <a:pt x="202" y="192"/>
                    <a:pt x="202" y="192"/>
                    <a:pt x="202" y="191"/>
                  </a:cubicBezTo>
                  <a:cubicBezTo>
                    <a:pt x="202" y="190"/>
                    <a:pt x="202" y="190"/>
                    <a:pt x="202" y="188"/>
                  </a:cubicBezTo>
                  <a:cubicBezTo>
                    <a:pt x="202" y="186"/>
                    <a:pt x="202" y="183"/>
                    <a:pt x="202" y="178"/>
                  </a:cubicBezTo>
                  <a:cubicBezTo>
                    <a:pt x="202" y="169"/>
                    <a:pt x="202" y="156"/>
                    <a:pt x="201" y="139"/>
                  </a:cubicBezTo>
                  <a:cubicBezTo>
                    <a:pt x="201" y="106"/>
                    <a:pt x="201" y="58"/>
                    <a:pt x="201" y="1"/>
                  </a:cubicBezTo>
                  <a:cubicBezTo>
                    <a:pt x="202" y="2"/>
                    <a:pt x="202" y="2"/>
                    <a:pt x="202" y="2"/>
                  </a:cubicBezTo>
                  <a:cubicBezTo>
                    <a:pt x="144" y="2"/>
                    <a:pt x="76" y="2"/>
                    <a:pt x="2" y="2"/>
                  </a:cubicBezTo>
                  <a:cubicBezTo>
                    <a:pt x="2" y="3"/>
                    <a:pt x="4" y="0"/>
                    <a:pt x="3" y="1"/>
                  </a:cubicBezTo>
                  <a:cubicBezTo>
                    <a:pt x="3" y="1"/>
                    <a:pt x="3" y="1"/>
                    <a:pt x="3" y="1"/>
                  </a:cubicBezTo>
                  <a:cubicBezTo>
                    <a:pt x="3" y="1"/>
                    <a:pt x="3" y="1"/>
                    <a:pt x="3" y="1"/>
                  </a:cubicBezTo>
                  <a:cubicBezTo>
                    <a:pt x="3" y="2"/>
                    <a:pt x="3" y="2"/>
                    <a:pt x="3" y="2"/>
                  </a:cubicBezTo>
                  <a:cubicBezTo>
                    <a:pt x="3" y="2"/>
                    <a:pt x="3" y="2"/>
                    <a:pt x="3" y="2"/>
                  </a:cubicBezTo>
                  <a:cubicBezTo>
                    <a:pt x="3" y="3"/>
                    <a:pt x="3" y="3"/>
                    <a:pt x="3" y="3"/>
                  </a:cubicBezTo>
                  <a:cubicBezTo>
                    <a:pt x="3" y="5"/>
                    <a:pt x="3" y="5"/>
                    <a:pt x="3" y="5"/>
                  </a:cubicBezTo>
                  <a:cubicBezTo>
                    <a:pt x="3" y="8"/>
                    <a:pt x="3" y="8"/>
                    <a:pt x="3" y="8"/>
                  </a:cubicBezTo>
                  <a:cubicBezTo>
                    <a:pt x="3" y="14"/>
                    <a:pt x="3" y="14"/>
                    <a:pt x="3" y="14"/>
                  </a:cubicBezTo>
                  <a:cubicBezTo>
                    <a:pt x="3" y="19"/>
                    <a:pt x="3" y="23"/>
                    <a:pt x="3" y="27"/>
                  </a:cubicBezTo>
                  <a:cubicBezTo>
                    <a:pt x="3" y="36"/>
                    <a:pt x="3" y="44"/>
                    <a:pt x="3" y="53"/>
                  </a:cubicBezTo>
                  <a:cubicBezTo>
                    <a:pt x="3" y="69"/>
                    <a:pt x="3" y="86"/>
                    <a:pt x="3" y="102"/>
                  </a:cubicBezTo>
                  <a:cubicBezTo>
                    <a:pt x="3" y="134"/>
                    <a:pt x="3" y="164"/>
                    <a:pt x="3" y="192"/>
                  </a:cubicBezTo>
                  <a:cubicBezTo>
                    <a:pt x="2" y="191"/>
                    <a:pt x="2" y="191"/>
                    <a:pt x="2" y="191"/>
                  </a:cubicBezTo>
                  <a:cubicBezTo>
                    <a:pt x="62" y="191"/>
                    <a:pt x="112" y="191"/>
                    <a:pt x="147" y="192"/>
                  </a:cubicBezTo>
                  <a:cubicBezTo>
                    <a:pt x="164" y="192"/>
                    <a:pt x="178" y="192"/>
                    <a:pt x="187" y="192"/>
                  </a:cubicBezTo>
                  <a:cubicBezTo>
                    <a:pt x="192" y="192"/>
                    <a:pt x="196" y="192"/>
                    <a:pt x="198" y="192"/>
                  </a:cubicBezTo>
                  <a:cubicBezTo>
                    <a:pt x="199" y="192"/>
                    <a:pt x="200" y="192"/>
                    <a:pt x="201" y="192"/>
                  </a:cubicBezTo>
                  <a:cubicBezTo>
                    <a:pt x="202" y="192"/>
                    <a:pt x="202" y="192"/>
                    <a:pt x="202" y="192"/>
                  </a:cubicBezTo>
                  <a:cubicBezTo>
                    <a:pt x="202" y="192"/>
                    <a:pt x="202" y="192"/>
                    <a:pt x="201" y="192"/>
                  </a:cubicBezTo>
                  <a:cubicBezTo>
                    <a:pt x="200" y="192"/>
                    <a:pt x="200" y="192"/>
                    <a:pt x="198" y="192"/>
                  </a:cubicBezTo>
                  <a:cubicBezTo>
                    <a:pt x="196" y="192"/>
                    <a:pt x="192" y="192"/>
                    <a:pt x="188" y="192"/>
                  </a:cubicBezTo>
                  <a:cubicBezTo>
                    <a:pt x="178" y="192"/>
                    <a:pt x="165" y="192"/>
                    <a:pt x="147" y="193"/>
                  </a:cubicBezTo>
                  <a:cubicBezTo>
                    <a:pt x="112" y="193"/>
                    <a:pt x="62" y="193"/>
                    <a:pt x="2" y="193"/>
                  </a:cubicBezTo>
                  <a:cubicBezTo>
                    <a:pt x="1" y="193"/>
                    <a:pt x="1" y="193"/>
                    <a:pt x="1" y="193"/>
                  </a:cubicBezTo>
                  <a:cubicBezTo>
                    <a:pt x="1" y="192"/>
                    <a:pt x="1" y="192"/>
                    <a:pt x="1" y="192"/>
                  </a:cubicBezTo>
                  <a:cubicBezTo>
                    <a:pt x="1" y="164"/>
                    <a:pt x="1" y="134"/>
                    <a:pt x="1" y="102"/>
                  </a:cubicBezTo>
                  <a:cubicBezTo>
                    <a:pt x="1" y="86"/>
                    <a:pt x="1" y="69"/>
                    <a:pt x="1" y="53"/>
                  </a:cubicBezTo>
                  <a:cubicBezTo>
                    <a:pt x="1" y="44"/>
                    <a:pt x="1" y="36"/>
                    <a:pt x="1" y="27"/>
                  </a:cubicBezTo>
                  <a:cubicBezTo>
                    <a:pt x="1" y="23"/>
                    <a:pt x="1" y="19"/>
                    <a:pt x="1" y="14"/>
                  </a:cubicBezTo>
                  <a:cubicBezTo>
                    <a:pt x="1" y="8"/>
                    <a:pt x="1" y="8"/>
                    <a:pt x="1" y="8"/>
                  </a:cubicBezTo>
                  <a:cubicBezTo>
                    <a:pt x="1" y="5"/>
                    <a:pt x="1" y="5"/>
                    <a:pt x="1" y="5"/>
                  </a:cubicBezTo>
                  <a:cubicBezTo>
                    <a:pt x="1" y="3"/>
                    <a:pt x="1" y="3"/>
                    <a:pt x="1" y="3"/>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2"/>
                    <a:pt x="2" y="0"/>
                    <a:pt x="2" y="0"/>
                  </a:cubicBezTo>
                  <a:cubicBezTo>
                    <a:pt x="76" y="0"/>
                    <a:pt x="144" y="0"/>
                    <a:pt x="202" y="0"/>
                  </a:cubicBezTo>
                  <a:cubicBezTo>
                    <a:pt x="203" y="0"/>
                    <a:pt x="203" y="0"/>
                    <a:pt x="203" y="0"/>
                  </a:cubicBezTo>
                  <a:cubicBezTo>
                    <a:pt x="203" y="1"/>
                    <a:pt x="203" y="1"/>
                    <a:pt x="203" y="1"/>
                  </a:cubicBezTo>
                  <a:cubicBezTo>
                    <a:pt x="203" y="59"/>
                    <a:pt x="203" y="106"/>
                    <a:pt x="202" y="140"/>
                  </a:cubicBezTo>
                  <a:cubicBezTo>
                    <a:pt x="202" y="157"/>
                    <a:pt x="202" y="170"/>
                    <a:pt x="202" y="179"/>
                  </a:cubicBezTo>
                  <a:cubicBezTo>
                    <a:pt x="202" y="183"/>
                    <a:pt x="202" y="186"/>
                    <a:pt x="202" y="189"/>
                  </a:cubicBezTo>
                  <a:cubicBezTo>
                    <a:pt x="202" y="190"/>
                    <a:pt x="202" y="191"/>
                    <a:pt x="202" y="191"/>
                  </a:cubicBezTo>
                  <a:cubicBezTo>
                    <a:pt x="202" y="192"/>
                    <a:pt x="202" y="192"/>
                    <a:pt x="202" y="19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2">
              <a:extLst>
                <a:ext uri="{FF2B5EF4-FFF2-40B4-BE49-F238E27FC236}">
                  <a16:creationId xmlns:a16="http://schemas.microsoft.com/office/drawing/2014/main" id="{B0EF1F56-B56F-4392-8D5F-49B057101772}"/>
                </a:ext>
              </a:extLst>
            </p:cNvPr>
            <p:cNvSpPr>
              <a:spLocks noChangeArrowheads="1"/>
            </p:cNvSpPr>
            <p:nvPr/>
          </p:nvSpPr>
          <p:spPr bwMode="auto">
            <a:xfrm>
              <a:off x="4495" y="2063"/>
              <a:ext cx="562" cy="544"/>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3">
              <a:extLst>
                <a:ext uri="{FF2B5EF4-FFF2-40B4-BE49-F238E27FC236}">
                  <a16:creationId xmlns:a16="http://schemas.microsoft.com/office/drawing/2014/main" id="{E08A5595-BBF1-4561-8E92-927437C11986}"/>
                </a:ext>
              </a:extLst>
            </p:cNvPr>
            <p:cNvSpPr>
              <a:spLocks/>
            </p:cNvSpPr>
            <p:nvPr/>
          </p:nvSpPr>
          <p:spPr bwMode="auto">
            <a:xfrm>
              <a:off x="4538" y="2281"/>
              <a:ext cx="474" cy="278"/>
            </a:xfrm>
            <a:custGeom>
              <a:avLst/>
              <a:gdLst>
                <a:gd name="T0" fmla="*/ 0 w 474"/>
                <a:gd name="T1" fmla="*/ 278 h 278"/>
                <a:gd name="T2" fmla="*/ 156 w 474"/>
                <a:gd name="T3" fmla="*/ 0 h 278"/>
                <a:gd name="T4" fmla="*/ 282 w 474"/>
                <a:gd name="T5" fmla="*/ 178 h 278"/>
                <a:gd name="T6" fmla="*/ 360 w 474"/>
                <a:gd name="T7" fmla="*/ 83 h 278"/>
                <a:gd name="T8" fmla="*/ 474 w 474"/>
                <a:gd name="T9" fmla="*/ 278 h 278"/>
                <a:gd name="T10" fmla="*/ 0 w 474"/>
                <a:gd name="T11" fmla="*/ 278 h 278"/>
              </a:gdLst>
              <a:ahLst/>
              <a:cxnLst>
                <a:cxn ang="0">
                  <a:pos x="T0" y="T1"/>
                </a:cxn>
                <a:cxn ang="0">
                  <a:pos x="T2" y="T3"/>
                </a:cxn>
                <a:cxn ang="0">
                  <a:pos x="T4" y="T5"/>
                </a:cxn>
                <a:cxn ang="0">
                  <a:pos x="T6" y="T7"/>
                </a:cxn>
                <a:cxn ang="0">
                  <a:pos x="T8" y="T9"/>
                </a:cxn>
                <a:cxn ang="0">
                  <a:pos x="T10" y="T11"/>
                </a:cxn>
              </a:cxnLst>
              <a:rect l="0" t="0" r="r" b="b"/>
              <a:pathLst>
                <a:path w="474" h="278">
                  <a:moveTo>
                    <a:pt x="0" y="278"/>
                  </a:moveTo>
                  <a:lnTo>
                    <a:pt x="156" y="0"/>
                  </a:lnTo>
                  <a:lnTo>
                    <a:pt x="282" y="178"/>
                  </a:lnTo>
                  <a:lnTo>
                    <a:pt x="360" y="83"/>
                  </a:lnTo>
                  <a:lnTo>
                    <a:pt x="474" y="278"/>
                  </a:lnTo>
                  <a:lnTo>
                    <a:pt x="0" y="278"/>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4">
              <a:extLst>
                <a:ext uri="{FF2B5EF4-FFF2-40B4-BE49-F238E27FC236}">
                  <a16:creationId xmlns:a16="http://schemas.microsoft.com/office/drawing/2014/main" id="{AE0E5109-EDC7-4695-B7A3-F0EF37BC2E3B}"/>
                </a:ext>
              </a:extLst>
            </p:cNvPr>
            <p:cNvSpPr>
              <a:spLocks noChangeArrowheads="1"/>
            </p:cNvSpPr>
            <p:nvPr/>
          </p:nvSpPr>
          <p:spPr bwMode="auto">
            <a:xfrm>
              <a:off x="4794" y="2186"/>
              <a:ext cx="81" cy="81"/>
            </a:xfrm>
            <a:prstGeom prst="ellipse">
              <a:avLst/>
            </a:pr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5">
              <a:extLst>
                <a:ext uri="{FF2B5EF4-FFF2-40B4-BE49-F238E27FC236}">
                  <a16:creationId xmlns:a16="http://schemas.microsoft.com/office/drawing/2014/main" id="{3F904605-BD37-4DED-964A-2472653CC7AA}"/>
                </a:ext>
              </a:extLst>
            </p:cNvPr>
            <p:cNvSpPr>
              <a:spLocks/>
            </p:cNvSpPr>
            <p:nvPr/>
          </p:nvSpPr>
          <p:spPr bwMode="auto">
            <a:xfrm>
              <a:off x="4533" y="2105"/>
              <a:ext cx="482" cy="459"/>
            </a:xfrm>
            <a:custGeom>
              <a:avLst/>
              <a:gdLst>
                <a:gd name="T0" fmla="*/ 202 w 203"/>
                <a:gd name="T1" fmla="*/ 192 h 193"/>
                <a:gd name="T2" fmla="*/ 202 w 203"/>
                <a:gd name="T3" fmla="*/ 191 h 193"/>
                <a:gd name="T4" fmla="*/ 202 w 203"/>
                <a:gd name="T5" fmla="*/ 188 h 193"/>
                <a:gd name="T6" fmla="*/ 202 w 203"/>
                <a:gd name="T7" fmla="*/ 178 h 193"/>
                <a:gd name="T8" fmla="*/ 202 w 203"/>
                <a:gd name="T9" fmla="*/ 139 h 193"/>
                <a:gd name="T10" fmla="*/ 201 w 203"/>
                <a:gd name="T11" fmla="*/ 1 h 193"/>
                <a:gd name="T12" fmla="*/ 202 w 203"/>
                <a:gd name="T13" fmla="*/ 2 h 193"/>
                <a:gd name="T14" fmla="*/ 2 w 203"/>
                <a:gd name="T15" fmla="*/ 2 h 193"/>
                <a:gd name="T16" fmla="*/ 4 w 203"/>
                <a:gd name="T17" fmla="*/ 1 h 193"/>
                <a:gd name="T18" fmla="*/ 4 w 203"/>
                <a:gd name="T19" fmla="*/ 1 h 193"/>
                <a:gd name="T20" fmla="*/ 4 w 203"/>
                <a:gd name="T21" fmla="*/ 1 h 193"/>
                <a:gd name="T22" fmla="*/ 4 w 203"/>
                <a:gd name="T23" fmla="*/ 2 h 193"/>
                <a:gd name="T24" fmla="*/ 4 w 203"/>
                <a:gd name="T25" fmla="*/ 2 h 193"/>
                <a:gd name="T26" fmla="*/ 4 w 203"/>
                <a:gd name="T27" fmla="*/ 3 h 193"/>
                <a:gd name="T28" fmla="*/ 4 w 203"/>
                <a:gd name="T29" fmla="*/ 5 h 193"/>
                <a:gd name="T30" fmla="*/ 4 w 203"/>
                <a:gd name="T31" fmla="*/ 8 h 193"/>
                <a:gd name="T32" fmla="*/ 4 w 203"/>
                <a:gd name="T33" fmla="*/ 14 h 193"/>
                <a:gd name="T34" fmla="*/ 4 w 203"/>
                <a:gd name="T35" fmla="*/ 27 h 193"/>
                <a:gd name="T36" fmla="*/ 4 w 203"/>
                <a:gd name="T37" fmla="*/ 53 h 193"/>
                <a:gd name="T38" fmla="*/ 4 w 203"/>
                <a:gd name="T39" fmla="*/ 102 h 193"/>
                <a:gd name="T40" fmla="*/ 3 w 203"/>
                <a:gd name="T41" fmla="*/ 192 h 193"/>
                <a:gd name="T42" fmla="*/ 2 w 203"/>
                <a:gd name="T43" fmla="*/ 191 h 193"/>
                <a:gd name="T44" fmla="*/ 147 w 203"/>
                <a:gd name="T45" fmla="*/ 192 h 193"/>
                <a:gd name="T46" fmla="*/ 188 w 203"/>
                <a:gd name="T47" fmla="*/ 192 h 193"/>
                <a:gd name="T48" fmla="*/ 198 w 203"/>
                <a:gd name="T49" fmla="*/ 192 h 193"/>
                <a:gd name="T50" fmla="*/ 201 w 203"/>
                <a:gd name="T51" fmla="*/ 192 h 193"/>
                <a:gd name="T52" fmla="*/ 202 w 203"/>
                <a:gd name="T53" fmla="*/ 192 h 193"/>
                <a:gd name="T54" fmla="*/ 201 w 203"/>
                <a:gd name="T55" fmla="*/ 192 h 193"/>
                <a:gd name="T56" fmla="*/ 199 w 203"/>
                <a:gd name="T57" fmla="*/ 192 h 193"/>
                <a:gd name="T58" fmla="*/ 188 w 203"/>
                <a:gd name="T59" fmla="*/ 192 h 193"/>
                <a:gd name="T60" fmla="*/ 147 w 203"/>
                <a:gd name="T61" fmla="*/ 193 h 193"/>
                <a:gd name="T62" fmla="*/ 2 w 203"/>
                <a:gd name="T63" fmla="*/ 193 h 193"/>
                <a:gd name="T64" fmla="*/ 1 w 203"/>
                <a:gd name="T65" fmla="*/ 193 h 193"/>
                <a:gd name="T66" fmla="*/ 1 w 203"/>
                <a:gd name="T67" fmla="*/ 192 h 193"/>
                <a:gd name="T68" fmla="*/ 1 w 203"/>
                <a:gd name="T69" fmla="*/ 102 h 193"/>
                <a:gd name="T70" fmla="*/ 1 w 203"/>
                <a:gd name="T71" fmla="*/ 53 h 193"/>
                <a:gd name="T72" fmla="*/ 1 w 203"/>
                <a:gd name="T73" fmla="*/ 27 h 193"/>
                <a:gd name="T74" fmla="*/ 1 w 203"/>
                <a:gd name="T75" fmla="*/ 14 h 193"/>
                <a:gd name="T76" fmla="*/ 1 w 203"/>
                <a:gd name="T77" fmla="*/ 8 h 193"/>
                <a:gd name="T78" fmla="*/ 1 w 203"/>
                <a:gd name="T79" fmla="*/ 5 h 193"/>
                <a:gd name="T80" fmla="*/ 1 w 203"/>
                <a:gd name="T81" fmla="*/ 3 h 193"/>
                <a:gd name="T82" fmla="*/ 1 w 203"/>
                <a:gd name="T83" fmla="*/ 2 h 193"/>
                <a:gd name="T84" fmla="*/ 1 w 203"/>
                <a:gd name="T85" fmla="*/ 2 h 193"/>
                <a:gd name="T86" fmla="*/ 1 w 203"/>
                <a:gd name="T87" fmla="*/ 1 h 193"/>
                <a:gd name="T88" fmla="*/ 1 w 203"/>
                <a:gd name="T89" fmla="*/ 1 h 193"/>
                <a:gd name="T90" fmla="*/ 1 w 203"/>
                <a:gd name="T91" fmla="*/ 1 h 193"/>
                <a:gd name="T92" fmla="*/ 2 w 203"/>
                <a:gd name="T93" fmla="*/ 0 h 193"/>
                <a:gd name="T94" fmla="*/ 202 w 203"/>
                <a:gd name="T95" fmla="*/ 0 h 193"/>
                <a:gd name="T96" fmla="*/ 203 w 203"/>
                <a:gd name="T97" fmla="*/ 0 h 193"/>
                <a:gd name="T98" fmla="*/ 203 w 203"/>
                <a:gd name="T99" fmla="*/ 1 h 193"/>
                <a:gd name="T100" fmla="*/ 203 w 203"/>
                <a:gd name="T101" fmla="*/ 140 h 193"/>
                <a:gd name="T102" fmla="*/ 202 w 203"/>
                <a:gd name="T103" fmla="*/ 179 h 193"/>
                <a:gd name="T104" fmla="*/ 202 w 203"/>
                <a:gd name="T105" fmla="*/ 189 h 193"/>
                <a:gd name="T106" fmla="*/ 202 w 203"/>
                <a:gd name="T107" fmla="*/ 191 h 193"/>
                <a:gd name="T108" fmla="*/ 202 w 203"/>
                <a:gd name="T109"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3" h="193">
                  <a:moveTo>
                    <a:pt x="202" y="192"/>
                  </a:moveTo>
                  <a:cubicBezTo>
                    <a:pt x="202" y="192"/>
                    <a:pt x="202" y="192"/>
                    <a:pt x="202" y="191"/>
                  </a:cubicBezTo>
                  <a:cubicBezTo>
                    <a:pt x="202" y="190"/>
                    <a:pt x="202" y="190"/>
                    <a:pt x="202" y="188"/>
                  </a:cubicBezTo>
                  <a:cubicBezTo>
                    <a:pt x="202" y="186"/>
                    <a:pt x="202" y="183"/>
                    <a:pt x="202" y="178"/>
                  </a:cubicBezTo>
                  <a:cubicBezTo>
                    <a:pt x="202" y="169"/>
                    <a:pt x="202" y="156"/>
                    <a:pt x="202" y="139"/>
                  </a:cubicBezTo>
                  <a:cubicBezTo>
                    <a:pt x="202" y="106"/>
                    <a:pt x="201" y="58"/>
                    <a:pt x="201" y="1"/>
                  </a:cubicBezTo>
                  <a:cubicBezTo>
                    <a:pt x="202" y="2"/>
                    <a:pt x="202" y="2"/>
                    <a:pt x="202" y="2"/>
                  </a:cubicBezTo>
                  <a:cubicBezTo>
                    <a:pt x="144" y="2"/>
                    <a:pt x="76" y="2"/>
                    <a:pt x="2" y="2"/>
                  </a:cubicBezTo>
                  <a:cubicBezTo>
                    <a:pt x="2" y="3"/>
                    <a:pt x="5" y="0"/>
                    <a:pt x="4" y="1"/>
                  </a:cubicBezTo>
                  <a:cubicBezTo>
                    <a:pt x="4" y="1"/>
                    <a:pt x="4" y="1"/>
                    <a:pt x="4" y="1"/>
                  </a:cubicBezTo>
                  <a:cubicBezTo>
                    <a:pt x="4" y="1"/>
                    <a:pt x="4" y="1"/>
                    <a:pt x="4" y="1"/>
                  </a:cubicBezTo>
                  <a:cubicBezTo>
                    <a:pt x="4" y="2"/>
                    <a:pt x="4" y="2"/>
                    <a:pt x="4" y="2"/>
                  </a:cubicBezTo>
                  <a:cubicBezTo>
                    <a:pt x="4" y="2"/>
                    <a:pt x="4" y="2"/>
                    <a:pt x="4" y="2"/>
                  </a:cubicBezTo>
                  <a:cubicBezTo>
                    <a:pt x="4" y="3"/>
                    <a:pt x="4" y="3"/>
                    <a:pt x="4" y="3"/>
                  </a:cubicBezTo>
                  <a:cubicBezTo>
                    <a:pt x="4" y="5"/>
                    <a:pt x="4" y="5"/>
                    <a:pt x="4" y="5"/>
                  </a:cubicBezTo>
                  <a:cubicBezTo>
                    <a:pt x="4" y="8"/>
                    <a:pt x="4" y="8"/>
                    <a:pt x="4" y="8"/>
                  </a:cubicBezTo>
                  <a:cubicBezTo>
                    <a:pt x="4" y="14"/>
                    <a:pt x="4" y="14"/>
                    <a:pt x="4" y="14"/>
                  </a:cubicBezTo>
                  <a:cubicBezTo>
                    <a:pt x="4" y="19"/>
                    <a:pt x="4" y="23"/>
                    <a:pt x="4" y="27"/>
                  </a:cubicBezTo>
                  <a:cubicBezTo>
                    <a:pt x="4" y="36"/>
                    <a:pt x="4" y="44"/>
                    <a:pt x="4" y="53"/>
                  </a:cubicBezTo>
                  <a:cubicBezTo>
                    <a:pt x="4" y="69"/>
                    <a:pt x="4" y="86"/>
                    <a:pt x="4" y="102"/>
                  </a:cubicBezTo>
                  <a:cubicBezTo>
                    <a:pt x="4" y="134"/>
                    <a:pt x="3" y="164"/>
                    <a:pt x="3" y="192"/>
                  </a:cubicBezTo>
                  <a:cubicBezTo>
                    <a:pt x="2" y="191"/>
                    <a:pt x="2" y="191"/>
                    <a:pt x="2" y="191"/>
                  </a:cubicBezTo>
                  <a:cubicBezTo>
                    <a:pt x="62" y="191"/>
                    <a:pt x="112" y="191"/>
                    <a:pt x="147" y="192"/>
                  </a:cubicBezTo>
                  <a:cubicBezTo>
                    <a:pt x="164" y="192"/>
                    <a:pt x="178" y="192"/>
                    <a:pt x="188" y="192"/>
                  </a:cubicBezTo>
                  <a:cubicBezTo>
                    <a:pt x="192" y="192"/>
                    <a:pt x="196" y="192"/>
                    <a:pt x="198" y="192"/>
                  </a:cubicBezTo>
                  <a:cubicBezTo>
                    <a:pt x="200" y="192"/>
                    <a:pt x="200" y="192"/>
                    <a:pt x="201" y="192"/>
                  </a:cubicBezTo>
                  <a:cubicBezTo>
                    <a:pt x="202" y="192"/>
                    <a:pt x="202" y="192"/>
                    <a:pt x="202" y="192"/>
                  </a:cubicBezTo>
                  <a:cubicBezTo>
                    <a:pt x="202" y="192"/>
                    <a:pt x="202" y="192"/>
                    <a:pt x="201" y="192"/>
                  </a:cubicBezTo>
                  <a:cubicBezTo>
                    <a:pt x="201" y="192"/>
                    <a:pt x="200" y="192"/>
                    <a:pt x="199" y="192"/>
                  </a:cubicBezTo>
                  <a:cubicBezTo>
                    <a:pt x="196" y="192"/>
                    <a:pt x="193" y="192"/>
                    <a:pt x="188" y="192"/>
                  </a:cubicBezTo>
                  <a:cubicBezTo>
                    <a:pt x="179" y="192"/>
                    <a:pt x="165" y="192"/>
                    <a:pt x="147" y="193"/>
                  </a:cubicBezTo>
                  <a:cubicBezTo>
                    <a:pt x="112" y="193"/>
                    <a:pt x="62" y="193"/>
                    <a:pt x="2" y="193"/>
                  </a:cubicBezTo>
                  <a:cubicBezTo>
                    <a:pt x="1" y="193"/>
                    <a:pt x="1" y="193"/>
                    <a:pt x="1" y="193"/>
                  </a:cubicBezTo>
                  <a:cubicBezTo>
                    <a:pt x="1" y="192"/>
                    <a:pt x="1" y="192"/>
                    <a:pt x="1" y="192"/>
                  </a:cubicBezTo>
                  <a:cubicBezTo>
                    <a:pt x="1" y="164"/>
                    <a:pt x="1" y="134"/>
                    <a:pt x="1" y="102"/>
                  </a:cubicBezTo>
                  <a:cubicBezTo>
                    <a:pt x="1" y="86"/>
                    <a:pt x="1" y="69"/>
                    <a:pt x="1" y="53"/>
                  </a:cubicBezTo>
                  <a:cubicBezTo>
                    <a:pt x="1" y="44"/>
                    <a:pt x="1" y="36"/>
                    <a:pt x="1" y="27"/>
                  </a:cubicBezTo>
                  <a:cubicBezTo>
                    <a:pt x="1" y="23"/>
                    <a:pt x="1" y="19"/>
                    <a:pt x="1" y="14"/>
                  </a:cubicBezTo>
                  <a:cubicBezTo>
                    <a:pt x="1" y="8"/>
                    <a:pt x="1" y="8"/>
                    <a:pt x="1" y="8"/>
                  </a:cubicBezTo>
                  <a:cubicBezTo>
                    <a:pt x="1" y="5"/>
                    <a:pt x="1" y="5"/>
                    <a:pt x="1" y="5"/>
                  </a:cubicBezTo>
                  <a:cubicBezTo>
                    <a:pt x="1" y="3"/>
                    <a:pt x="1" y="3"/>
                    <a:pt x="1" y="3"/>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2"/>
                    <a:pt x="3" y="0"/>
                    <a:pt x="2" y="0"/>
                  </a:cubicBezTo>
                  <a:cubicBezTo>
                    <a:pt x="76" y="0"/>
                    <a:pt x="144" y="0"/>
                    <a:pt x="202" y="0"/>
                  </a:cubicBezTo>
                  <a:cubicBezTo>
                    <a:pt x="203" y="0"/>
                    <a:pt x="203" y="0"/>
                    <a:pt x="203" y="0"/>
                  </a:cubicBezTo>
                  <a:cubicBezTo>
                    <a:pt x="203" y="1"/>
                    <a:pt x="203" y="1"/>
                    <a:pt x="203" y="1"/>
                  </a:cubicBezTo>
                  <a:cubicBezTo>
                    <a:pt x="203" y="59"/>
                    <a:pt x="203" y="106"/>
                    <a:pt x="203" y="140"/>
                  </a:cubicBezTo>
                  <a:cubicBezTo>
                    <a:pt x="203" y="157"/>
                    <a:pt x="202" y="170"/>
                    <a:pt x="202" y="179"/>
                  </a:cubicBezTo>
                  <a:cubicBezTo>
                    <a:pt x="202" y="183"/>
                    <a:pt x="202" y="186"/>
                    <a:pt x="202" y="189"/>
                  </a:cubicBezTo>
                  <a:cubicBezTo>
                    <a:pt x="202" y="190"/>
                    <a:pt x="202" y="191"/>
                    <a:pt x="202" y="191"/>
                  </a:cubicBezTo>
                  <a:cubicBezTo>
                    <a:pt x="202" y="192"/>
                    <a:pt x="202" y="192"/>
                    <a:pt x="202" y="19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6">
              <a:extLst>
                <a:ext uri="{FF2B5EF4-FFF2-40B4-BE49-F238E27FC236}">
                  <a16:creationId xmlns:a16="http://schemas.microsoft.com/office/drawing/2014/main" id="{34BB82B4-B14F-4079-B37A-DCDC27E3CA17}"/>
                </a:ext>
              </a:extLst>
            </p:cNvPr>
            <p:cNvSpPr>
              <a:spLocks noChangeArrowheads="1"/>
            </p:cNvSpPr>
            <p:nvPr/>
          </p:nvSpPr>
          <p:spPr bwMode="auto">
            <a:xfrm>
              <a:off x="3467" y="1150"/>
              <a:ext cx="712" cy="60"/>
            </a:xfrm>
            <a:prstGeom prst="rect">
              <a:avLst/>
            </a:prstGeom>
            <a:solidFill>
              <a:srgbClr val="45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37">
              <a:extLst>
                <a:ext uri="{FF2B5EF4-FFF2-40B4-BE49-F238E27FC236}">
                  <a16:creationId xmlns:a16="http://schemas.microsoft.com/office/drawing/2014/main" id="{EC5C2DC2-6351-4A32-A5EE-790324C49DB5}"/>
                </a:ext>
              </a:extLst>
            </p:cNvPr>
            <p:cNvSpPr>
              <a:spLocks noChangeArrowheads="1"/>
            </p:cNvSpPr>
            <p:nvPr/>
          </p:nvSpPr>
          <p:spPr bwMode="auto">
            <a:xfrm>
              <a:off x="1918" y="2880"/>
              <a:ext cx="3783" cy="7"/>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8">
              <a:extLst>
                <a:ext uri="{FF2B5EF4-FFF2-40B4-BE49-F238E27FC236}">
                  <a16:creationId xmlns:a16="http://schemas.microsoft.com/office/drawing/2014/main" id="{56959B3A-7B73-4DD4-974B-3884FADB5C93}"/>
                </a:ext>
              </a:extLst>
            </p:cNvPr>
            <p:cNvSpPr>
              <a:spLocks/>
            </p:cNvSpPr>
            <p:nvPr/>
          </p:nvSpPr>
          <p:spPr bwMode="auto">
            <a:xfrm>
              <a:off x="1251" y="1835"/>
              <a:ext cx="379" cy="947"/>
            </a:xfrm>
            <a:custGeom>
              <a:avLst/>
              <a:gdLst>
                <a:gd name="T0" fmla="*/ 53 w 160"/>
                <a:gd name="T1" fmla="*/ 4 h 399"/>
                <a:gd name="T2" fmla="*/ 22 w 160"/>
                <a:gd name="T3" fmla="*/ 58 h 399"/>
                <a:gd name="T4" fmla="*/ 31 w 160"/>
                <a:gd name="T5" fmla="*/ 126 h 399"/>
                <a:gd name="T6" fmla="*/ 3 w 160"/>
                <a:gd name="T7" fmla="*/ 208 h 399"/>
                <a:gd name="T8" fmla="*/ 32 w 160"/>
                <a:gd name="T9" fmla="*/ 307 h 399"/>
                <a:gd name="T10" fmla="*/ 41 w 160"/>
                <a:gd name="T11" fmla="*/ 356 h 399"/>
                <a:gd name="T12" fmla="*/ 109 w 160"/>
                <a:gd name="T13" fmla="*/ 394 h 399"/>
                <a:gd name="T14" fmla="*/ 160 w 160"/>
                <a:gd name="T15" fmla="*/ 335 h 399"/>
                <a:gd name="T16" fmla="*/ 146 w 160"/>
                <a:gd name="T17" fmla="*/ 257 h 399"/>
                <a:gd name="T18" fmla="*/ 156 w 160"/>
                <a:gd name="T19" fmla="*/ 200 h 399"/>
                <a:gd name="T20" fmla="*/ 125 w 160"/>
                <a:gd name="T21" fmla="*/ 139 h 399"/>
                <a:gd name="T22" fmla="*/ 122 w 160"/>
                <a:gd name="T23" fmla="*/ 70 h 399"/>
                <a:gd name="T24" fmla="*/ 53 w 160"/>
                <a:gd name="T25" fmla="*/ 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399">
                  <a:moveTo>
                    <a:pt x="53" y="4"/>
                  </a:moveTo>
                  <a:cubicBezTo>
                    <a:pt x="30" y="7"/>
                    <a:pt x="20" y="35"/>
                    <a:pt x="22" y="58"/>
                  </a:cubicBezTo>
                  <a:cubicBezTo>
                    <a:pt x="24" y="81"/>
                    <a:pt x="34" y="103"/>
                    <a:pt x="31" y="126"/>
                  </a:cubicBezTo>
                  <a:cubicBezTo>
                    <a:pt x="28" y="155"/>
                    <a:pt x="6" y="179"/>
                    <a:pt x="3" y="208"/>
                  </a:cubicBezTo>
                  <a:cubicBezTo>
                    <a:pt x="0" y="243"/>
                    <a:pt x="25" y="273"/>
                    <a:pt x="32" y="307"/>
                  </a:cubicBezTo>
                  <a:cubicBezTo>
                    <a:pt x="35" y="323"/>
                    <a:pt x="35" y="340"/>
                    <a:pt x="41" y="356"/>
                  </a:cubicBezTo>
                  <a:cubicBezTo>
                    <a:pt x="51" y="382"/>
                    <a:pt x="81" y="399"/>
                    <a:pt x="109" y="394"/>
                  </a:cubicBezTo>
                  <a:cubicBezTo>
                    <a:pt x="137" y="389"/>
                    <a:pt x="159" y="363"/>
                    <a:pt x="160" y="335"/>
                  </a:cubicBezTo>
                  <a:cubicBezTo>
                    <a:pt x="160" y="308"/>
                    <a:pt x="144" y="284"/>
                    <a:pt x="146" y="257"/>
                  </a:cubicBezTo>
                  <a:cubicBezTo>
                    <a:pt x="147" y="238"/>
                    <a:pt x="159" y="220"/>
                    <a:pt x="156" y="200"/>
                  </a:cubicBezTo>
                  <a:cubicBezTo>
                    <a:pt x="154" y="177"/>
                    <a:pt x="132" y="161"/>
                    <a:pt x="125" y="139"/>
                  </a:cubicBezTo>
                  <a:cubicBezTo>
                    <a:pt x="117" y="117"/>
                    <a:pt x="124" y="93"/>
                    <a:pt x="122" y="70"/>
                  </a:cubicBezTo>
                  <a:cubicBezTo>
                    <a:pt x="117" y="29"/>
                    <a:pt x="94" y="0"/>
                    <a:pt x="53" y="4"/>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9">
              <a:extLst>
                <a:ext uri="{FF2B5EF4-FFF2-40B4-BE49-F238E27FC236}">
                  <a16:creationId xmlns:a16="http://schemas.microsoft.com/office/drawing/2014/main" id="{EE5577E5-E802-4785-B4F0-4390FBEAAF9A}"/>
                </a:ext>
              </a:extLst>
            </p:cNvPr>
            <p:cNvSpPr>
              <a:spLocks/>
            </p:cNvSpPr>
            <p:nvPr/>
          </p:nvSpPr>
          <p:spPr bwMode="auto">
            <a:xfrm>
              <a:off x="1092" y="2317"/>
              <a:ext cx="327" cy="461"/>
            </a:xfrm>
            <a:custGeom>
              <a:avLst/>
              <a:gdLst>
                <a:gd name="T0" fmla="*/ 4 w 138"/>
                <a:gd name="T1" fmla="*/ 0 h 194"/>
                <a:gd name="T2" fmla="*/ 37 w 138"/>
                <a:gd name="T3" fmla="*/ 116 h 194"/>
                <a:gd name="T4" fmla="*/ 123 w 138"/>
                <a:gd name="T5" fmla="*/ 191 h 194"/>
                <a:gd name="T6" fmla="*/ 135 w 138"/>
                <a:gd name="T7" fmla="*/ 191 h 194"/>
                <a:gd name="T8" fmla="*/ 138 w 138"/>
                <a:gd name="T9" fmla="*/ 181 h 194"/>
                <a:gd name="T10" fmla="*/ 101 w 138"/>
                <a:gd name="T11" fmla="*/ 68 h 194"/>
                <a:gd name="T12" fmla="*/ 4 w 138"/>
                <a:gd name="T13" fmla="*/ 0 h 194"/>
              </a:gdLst>
              <a:ahLst/>
              <a:cxnLst>
                <a:cxn ang="0">
                  <a:pos x="T0" y="T1"/>
                </a:cxn>
                <a:cxn ang="0">
                  <a:pos x="T2" y="T3"/>
                </a:cxn>
                <a:cxn ang="0">
                  <a:pos x="T4" y="T5"/>
                </a:cxn>
                <a:cxn ang="0">
                  <a:pos x="T6" y="T7"/>
                </a:cxn>
                <a:cxn ang="0">
                  <a:pos x="T8" y="T9"/>
                </a:cxn>
                <a:cxn ang="0">
                  <a:pos x="T10" y="T11"/>
                </a:cxn>
                <a:cxn ang="0">
                  <a:pos x="T12" y="T13"/>
                </a:cxn>
              </a:cxnLst>
              <a:rect l="0" t="0" r="r" b="b"/>
              <a:pathLst>
                <a:path w="138" h="194">
                  <a:moveTo>
                    <a:pt x="4" y="0"/>
                  </a:moveTo>
                  <a:cubicBezTo>
                    <a:pt x="0" y="38"/>
                    <a:pt x="17" y="83"/>
                    <a:pt x="37" y="116"/>
                  </a:cubicBezTo>
                  <a:cubicBezTo>
                    <a:pt x="57" y="149"/>
                    <a:pt x="87" y="176"/>
                    <a:pt x="123" y="191"/>
                  </a:cubicBezTo>
                  <a:cubicBezTo>
                    <a:pt x="127" y="192"/>
                    <a:pt x="132" y="194"/>
                    <a:pt x="135" y="191"/>
                  </a:cubicBezTo>
                  <a:cubicBezTo>
                    <a:pt x="138" y="189"/>
                    <a:pt x="138" y="185"/>
                    <a:pt x="138" y="181"/>
                  </a:cubicBezTo>
                  <a:cubicBezTo>
                    <a:pt x="138" y="141"/>
                    <a:pt x="125" y="101"/>
                    <a:pt x="101" y="68"/>
                  </a:cubicBezTo>
                  <a:cubicBezTo>
                    <a:pt x="77" y="36"/>
                    <a:pt x="43" y="12"/>
                    <a:pt x="4" y="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0">
              <a:extLst>
                <a:ext uri="{FF2B5EF4-FFF2-40B4-BE49-F238E27FC236}">
                  <a16:creationId xmlns:a16="http://schemas.microsoft.com/office/drawing/2014/main" id="{3BE8F53B-9C42-40D6-9737-73D89FE8F343}"/>
                </a:ext>
              </a:extLst>
            </p:cNvPr>
            <p:cNvSpPr>
              <a:spLocks/>
            </p:cNvSpPr>
            <p:nvPr/>
          </p:nvSpPr>
          <p:spPr bwMode="auto">
            <a:xfrm>
              <a:off x="1101" y="2317"/>
              <a:ext cx="318" cy="456"/>
            </a:xfrm>
            <a:custGeom>
              <a:avLst/>
              <a:gdLst>
                <a:gd name="T0" fmla="*/ 0 w 134"/>
                <a:gd name="T1" fmla="*/ 0 h 192"/>
                <a:gd name="T2" fmla="*/ 0 w 134"/>
                <a:gd name="T3" fmla="*/ 12 h 192"/>
                <a:gd name="T4" fmla="*/ 33 w 134"/>
                <a:gd name="T5" fmla="*/ 116 h 192"/>
                <a:gd name="T6" fmla="*/ 119 w 134"/>
                <a:gd name="T7" fmla="*/ 191 h 192"/>
                <a:gd name="T8" fmla="*/ 126 w 134"/>
                <a:gd name="T9" fmla="*/ 192 h 192"/>
                <a:gd name="T10" fmla="*/ 131 w 134"/>
                <a:gd name="T11" fmla="*/ 191 h 192"/>
                <a:gd name="T12" fmla="*/ 134 w 134"/>
                <a:gd name="T13" fmla="*/ 181 h 192"/>
                <a:gd name="T14" fmla="*/ 134 w 134"/>
                <a:gd name="T15" fmla="*/ 180 h 192"/>
                <a:gd name="T16" fmla="*/ 97 w 134"/>
                <a:gd name="T17" fmla="*/ 68 h 192"/>
                <a:gd name="T18" fmla="*/ 71 w 134"/>
                <a:gd name="T19" fmla="*/ 40 h 192"/>
                <a:gd name="T20" fmla="*/ 0 w 134"/>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92">
                  <a:moveTo>
                    <a:pt x="0" y="0"/>
                  </a:moveTo>
                  <a:cubicBezTo>
                    <a:pt x="0" y="4"/>
                    <a:pt x="0" y="8"/>
                    <a:pt x="0" y="12"/>
                  </a:cubicBezTo>
                  <a:cubicBezTo>
                    <a:pt x="0" y="47"/>
                    <a:pt x="15" y="87"/>
                    <a:pt x="33" y="116"/>
                  </a:cubicBezTo>
                  <a:cubicBezTo>
                    <a:pt x="53" y="149"/>
                    <a:pt x="83" y="176"/>
                    <a:pt x="119" y="191"/>
                  </a:cubicBezTo>
                  <a:cubicBezTo>
                    <a:pt x="121" y="192"/>
                    <a:pt x="124" y="192"/>
                    <a:pt x="126" y="192"/>
                  </a:cubicBezTo>
                  <a:cubicBezTo>
                    <a:pt x="128" y="192"/>
                    <a:pt x="129" y="192"/>
                    <a:pt x="131" y="191"/>
                  </a:cubicBezTo>
                  <a:cubicBezTo>
                    <a:pt x="134" y="189"/>
                    <a:pt x="134" y="185"/>
                    <a:pt x="134" y="181"/>
                  </a:cubicBezTo>
                  <a:cubicBezTo>
                    <a:pt x="134" y="181"/>
                    <a:pt x="134" y="180"/>
                    <a:pt x="134" y="180"/>
                  </a:cubicBezTo>
                  <a:cubicBezTo>
                    <a:pt x="134" y="140"/>
                    <a:pt x="121" y="100"/>
                    <a:pt x="97" y="68"/>
                  </a:cubicBezTo>
                  <a:cubicBezTo>
                    <a:pt x="90" y="58"/>
                    <a:pt x="81" y="49"/>
                    <a:pt x="71" y="40"/>
                  </a:cubicBezTo>
                  <a:cubicBezTo>
                    <a:pt x="51" y="22"/>
                    <a:pt x="27" y="8"/>
                    <a:pt x="0"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1">
              <a:extLst>
                <a:ext uri="{FF2B5EF4-FFF2-40B4-BE49-F238E27FC236}">
                  <a16:creationId xmlns:a16="http://schemas.microsoft.com/office/drawing/2014/main" id="{5A93BB0E-73A5-4857-A949-6270AD613B3F}"/>
                </a:ext>
              </a:extLst>
            </p:cNvPr>
            <p:cNvSpPr>
              <a:spLocks/>
            </p:cNvSpPr>
            <p:nvPr/>
          </p:nvSpPr>
          <p:spPr bwMode="auto">
            <a:xfrm>
              <a:off x="1218" y="2481"/>
              <a:ext cx="280" cy="480"/>
            </a:xfrm>
            <a:custGeom>
              <a:avLst/>
              <a:gdLst>
                <a:gd name="T0" fmla="*/ 118 w 118"/>
                <a:gd name="T1" fmla="*/ 202 h 202"/>
                <a:gd name="T2" fmla="*/ 117 w 118"/>
                <a:gd name="T3" fmla="*/ 199 h 202"/>
                <a:gd name="T4" fmla="*/ 114 w 118"/>
                <a:gd name="T5" fmla="*/ 193 h 202"/>
                <a:gd name="T6" fmla="*/ 104 w 118"/>
                <a:gd name="T7" fmla="*/ 170 h 202"/>
                <a:gd name="T8" fmla="*/ 66 w 118"/>
                <a:gd name="T9" fmla="*/ 97 h 202"/>
                <a:gd name="T10" fmla="*/ 21 w 118"/>
                <a:gd name="T11" fmla="*/ 28 h 202"/>
                <a:gd name="T12" fmla="*/ 5 w 118"/>
                <a:gd name="T13" fmla="*/ 8 h 202"/>
                <a:gd name="T14" fmla="*/ 1 w 118"/>
                <a:gd name="T15" fmla="*/ 2 h 202"/>
                <a:gd name="T16" fmla="*/ 0 w 118"/>
                <a:gd name="T17" fmla="*/ 0 h 202"/>
                <a:gd name="T18" fmla="*/ 2 w 118"/>
                <a:gd name="T19" fmla="*/ 2 h 202"/>
                <a:gd name="T20" fmla="*/ 6 w 118"/>
                <a:gd name="T21" fmla="*/ 7 h 202"/>
                <a:gd name="T22" fmla="*/ 22 w 118"/>
                <a:gd name="T23" fmla="*/ 27 h 202"/>
                <a:gd name="T24" fmla="*/ 68 w 118"/>
                <a:gd name="T25" fmla="*/ 96 h 202"/>
                <a:gd name="T26" fmla="*/ 105 w 118"/>
                <a:gd name="T27" fmla="*/ 170 h 202"/>
                <a:gd name="T28" fmla="*/ 115 w 118"/>
                <a:gd name="T29" fmla="*/ 193 h 202"/>
                <a:gd name="T30" fmla="*/ 117 w 118"/>
                <a:gd name="T31" fmla="*/ 199 h 202"/>
                <a:gd name="T32" fmla="*/ 118 w 118"/>
                <a:gd name="T3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8" h="202">
                  <a:moveTo>
                    <a:pt x="118" y="202"/>
                  </a:moveTo>
                  <a:cubicBezTo>
                    <a:pt x="118" y="202"/>
                    <a:pt x="117" y="201"/>
                    <a:pt x="117" y="199"/>
                  </a:cubicBezTo>
                  <a:cubicBezTo>
                    <a:pt x="116" y="198"/>
                    <a:pt x="115" y="196"/>
                    <a:pt x="114" y="193"/>
                  </a:cubicBezTo>
                  <a:cubicBezTo>
                    <a:pt x="112" y="188"/>
                    <a:pt x="108" y="180"/>
                    <a:pt x="104" y="170"/>
                  </a:cubicBezTo>
                  <a:cubicBezTo>
                    <a:pt x="95" y="151"/>
                    <a:pt x="82" y="125"/>
                    <a:pt x="66" y="97"/>
                  </a:cubicBezTo>
                  <a:cubicBezTo>
                    <a:pt x="50" y="69"/>
                    <a:pt x="33" y="45"/>
                    <a:pt x="21" y="28"/>
                  </a:cubicBezTo>
                  <a:cubicBezTo>
                    <a:pt x="14" y="19"/>
                    <a:pt x="9" y="12"/>
                    <a:pt x="5" y="8"/>
                  </a:cubicBezTo>
                  <a:cubicBezTo>
                    <a:pt x="4" y="5"/>
                    <a:pt x="2" y="4"/>
                    <a:pt x="1" y="2"/>
                  </a:cubicBezTo>
                  <a:cubicBezTo>
                    <a:pt x="0" y="1"/>
                    <a:pt x="0" y="0"/>
                    <a:pt x="0" y="0"/>
                  </a:cubicBezTo>
                  <a:cubicBezTo>
                    <a:pt x="0" y="0"/>
                    <a:pt x="1" y="1"/>
                    <a:pt x="2" y="2"/>
                  </a:cubicBezTo>
                  <a:cubicBezTo>
                    <a:pt x="3" y="3"/>
                    <a:pt x="4" y="5"/>
                    <a:pt x="6" y="7"/>
                  </a:cubicBezTo>
                  <a:cubicBezTo>
                    <a:pt x="10" y="12"/>
                    <a:pt x="15" y="18"/>
                    <a:pt x="22" y="27"/>
                  </a:cubicBezTo>
                  <a:cubicBezTo>
                    <a:pt x="35" y="44"/>
                    <a:pt x="51" y="68"/>
                    <a:pt x="68" y="96"/>
                  </a:cubicBezTo>
                  <a:cubicBezTo>
                    <a:pt x="84" y="124"/>
                    <a:pt x="97" y="150"/>
                    <a:pt x="105" y="170"/>
                  </a:cubicBezTo>
                  <a:cubicBezTo>
                    <a:pt x="109" y="179"/>
                    <a:pt x="113" y="187"/>
                    <a:pt x="115" y="193"/>
                  </a:cubicBezTo>
                  <a:cubicBezTo>
                    <a:pt x="116" y="195"/>
                    <a:pt x="116" y="198"/>
                    <a:pt x="117" y="199"/>
                  </a:cubicBezTo>
                  <a:cubicBezTo>
                    <a:pt x="118" y="201"/>
                    <a:pt x="118" y="201"/>
                    <a:pt x="118" y="20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2">
              <a:extLst>
                <a:ext uri="{FF2B5EF4-FFF2-40B4-BE49-F238E27FC236}">
                  <a16:creationId xmlns:a16="http://schemas.microsoft.com/office/drawing/2014/main" id="{5F0F4DC6-7785-4AD6-A3F0-5088FDF368A1}"/>
                </a:ext>
              </a:extLst>
            </p:cNvPr>
            <p:cNvSpPr>
              <a:spLocks/>
            </p:cNvSpPr>
            <p:nvPr/>
          </p:nvSpPr>
          <p:spPr bwMode="auto">
            <a:xfrm>
              <a:off x="1438" y="2093"/>
              <a:ext cx="62" cy="858"/>
            </a:xfrm>
            <a:custGeom>
              <a:avLst/>
              <a:gdLst>
                <a:gd name="T0" fmla="*/ 0 w 26"/>
                <a:gd name="T1" fmla="*/ 0 h 361"/>
                <a:gd name="T2" fmla="*/ 1 w 26"/>
                <a:gd name="T3" fmla="*/ 4 h 361"/>
                <a:gd name="T4" fmla="*/ 1 w 26"/>
                <a:gd name="T5" fmla="*/ 14 h 361"/>
                <a:gd name="T6" fmla="*/ 4 w 26"/>
                <a:gd name="T7" fmla="*/ 53 h 361"/>
                <a:gd name="T8" fmla="*/ 12 w 26"/>
                <a:gd name="T9" fmla="*/ 181 h 361"/>
                <a:gd name="T10" fmla="*/ 22 w 26"/>
                <a:gd name="T11" fmla="*/ 309 h 361"/>
                <a:gd name="T12" fmla="*/ 25 w 26"/>
                <a:gd name="T13" fmla="*/ 347 h 361"/>
                <a:gd name="T14" fmla="*/ 25 w 26"/>
                <a:gd name="T15" fmla="*/ 358 h 361"/>
                <a:gd name="T16" fmla="*/ 26 w 26"/>
                <a:gd name="T17" fmla="*/ 361 h 361"/>
                <a:gd name="T18" fmla="*/ 25 w 26"/>
                <a:gd name="T19" fmla="*/ 358 h 361"/>
                <a:gd name="T20" fmla="*/ 24 w 26"/>
                <a:gd name="T21" fmla="*/ 347 h 361"/>
                <a:gd name="T22" fmla="*/ 20 w 26"/>
                <a:gd name="T23" fmla="*/ 309 h 361"/>
                <a:gd name="T24" fmla="*/ 10 w 26"/>
                <a:gd name="T25" fmla="*/ 181 h 361"/>
                <a:gd name="T26" fmla="*/ 2 w 26"/>
                <a:gd name="T27" fmla="*/ 53 h 361"/>
                <a:gd name="T28" fmla="*/ 0 w 26"/>
                <a:gd name="T29" fmla="*/ 14 h 361"/>
                <a:gd name="T30" fmla="*/ 0 w 26"/>
                <a:gd name="T31" fmla="*/ 4 h 361"/>
                <a:gd name="T32" fmla="*/ 0 w 26"/>
                <a:gd name="T33"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361">
                  <a:moveTo>
                    <a:pt x="0" y="0"/>
                  </a:moveTo>
                  <a:cubicBezTo>
                    <a:pt x="0" y="0"/>
                    <a:pt x="0" y="2"/>
                    <a:pt x="1" y="4"/>
                  </a:cubicBezTo>
                  <a:cubicBezTo>
                    <a:pt x="1" y="7"/>
                    <a:pt x="1" y="10"/>
                    <a:pt x="1" y="14"/>
                  </a:cubicBezTo>
                  <a:cubicBezTo>
                    <a:pt x="2" y="24"/>
                    <a:pt x="3" y="37"/>
                    <a:pt x="4" y="53"/>
                  </a:cubicBezTo>
                  <a:cubicBezTo>
                    <a:pt x="6" y="86"/>
                    <a:pt x="9" y="131"/>
                    <a:pt x="12" y="181"/>
                  </a:cubicBezTo>
                  <a:cubicBezTo>
                    <a:pt x="16" y="231"/>
                    <a:pt x="19" y="276"/>
                    <a:pt x="22" y="309"/>
                  </a:cubicBezTo>
                  <a:cubicBezTo>
                    <a:pt x="23" y="325"/>
                    <a:pt x="24" y="338"/>
                    <a:pt x="25" y="347"/>
                  </a:cubicBezTo>
                  <a:cubicBezTo>
                    <a:pt x="25" y="352"/>
                    <a:pt x="25" y="355"/>
                    <a:pt x="25" y="358"/>
                  </a:cubicBezTo>
                  <a:cubicBezTo>
                    <a:pt x="26" y="360"/>
                    <a:pt x="26" y="361"/>
                    <a:pt x="26" y="361"/>
                  </a:cubicBezTo>
                  <a:cubicBezTo>
                    <a:pt x="26" y="361"/>
                    <a:pt x="25" y="360"/>
                    <a:pt x="25" y="358"/>
                  </a:cubicBezTo>
                  <a:cubicBezTo>
                    <a:pt x="25" y="355"/>
                    <a:pt x="24" y="352"/>
                    <a:pt x="24" y="347"/>
                  </a:cubicBezTo>
                  <a:cubicBezTo>
                    <a:pt x="23" y="338"/>
                    <a:pt x="22" y="325"/>
                    <a:pt x="20" y="309"/>
                  </a:cubicBezTo>
                  <a:cubicBezTo>
                    <a:pt x="17" y="276"/>
                    <a:pt x="14" y="231"/>
                    <a:pt x="10" y="181"/>
                  </a:cubicBezTo>
                  <a:cubicBezTo>
                    <a:pt x="7" y="131"/>
                    <a:pt x="4" y="86"/>
                    <a:pt x="2" y="53"/>
                  </a:cubicBezTo>
                  <a:cubicBezTo>
                    <a:pt x="2" y="37"/>
                    <a:pt x="1" y="24"/>
                    <a:pt x="0" y="14"/>
                  </a:cubicBezTo>
                  <a:cubicBezTo>
                    <a:pt x="0" y="10"/>
                    <a:pt x="0" y="7"/>
                    <a:pt x="0" y="4"/>
                  </a:cubicBezTo>
                  <a:cubicBezTo>
                    <a:pt x="0" y="2"/>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3">
              <a:extLst>
                <a:ext uri="{FF2B5EF4-FFF2-40B4-BE49-F238E27FC236}">
                  <a16:creationId xmlns:a16="http://schemas.microsoft.com/office/drawing/2014/main" id="{F202E323-3E43-40B9-BD5B-4760FAC5998C}"/>
                </a:ext>
              </a:extLst>
            </p:cNvPr>
            <p:cNvSpPr>
              <a:spLocks/>
            </p:cNvSpPr>
            <p:nvPr/>
          </p:nvSpPr>
          <p:spPr bwMode="auto">
            <a:xfrm>
              <a:off x="1355" y="2830"/>
              <a:ext cx="228" cy="276"/>
            </a:xfrm>
            <a:custGeom>
              <a:avLst/>
              <a:gdLst>
                <a:gd name="T0" fmla="*/ 0 w 96"/>
                <a:gd name="T1" fmla="*/ 0 h 116"/>
                <a:gd name="T2" fmla="*/ 96 w 96"/>
                <a:gd name="T3" fmla="*/ 0 h 116"/>
                <a:gd name="T4" fmla="*/ 96 w 96"/>
                <a:gd name="T5" fmla="*/ 70 h 116"/>
                <a:gd name="T6" fmla="*/ 50 w 96"/>
                <a:gd name="T7" fmla="*/ 116 h 116"/>
                <a:gd name="T8" fmla="*/ 4 w 96"/>
                <a:gd name="T9" fmla="*/ 73 h 116"/>
                <a:gd name="T10" fmla="*/ 0 w 96"/>
                <a:gd name="T11" fmla="*/ 0 h 116"/>
              </a:gdLst>
              <a:ahLst/>
              <a:cxnLst>
                <a:cxn ang="0">
                  <a:pos x="T0" y="T1"/>
                </a:cxn>
                <a:cxn ang="0">
                  <a:pos x="T2" y="T3"/>
                </a:cxn>
                <a:cxn ang="0">
                  <a:pos x="T4" y="T5"/>
                </a:cxn>
                <a:cxn ang="0">
                  <a:pos x="T6" y="T7"/>
                </a:cxn>
                <a:cxn ang="0">
                  <a:pos x="T8" y="T9"/>
                </a:cxn>
                <a:cxn ang="0">
                  <a:pos x="T10" y="T11"/>
                </a:cxn>
              </a:cxnLst>
              <a:rect l="0" t="0" r="r" b="b"/>
              <a:pathLst>
                <a:path w="96" h="116">
                  <a:moveTo>
                    <a:pt x="0" y="0"/>
                  </a:moveTo>
                  <a:cubicBezTo>
                    <a:pt x="96" y="0"/>
                    <a:pt x="96" y="0"/>
                    <a:pt x="96" y="0"/>
                  </a:cubicBezTo>
                  <a:cubicBezTo>
                    <a:pt x="96" y="70"/>
                    <a:pt x="96" y="70"/>
                    <a:pt x="96" y="70"/>
                  </a:cubicBezTo>
                  <a:cubicBezTo>
                    <a:pt x="96" y="96"/>
                    <a:pt x="75" y="116"/>
                    <a:pt x="50" y="116"/>
                  </a:cubicBezTo>
                  <a:cubicBezTo>
                    <a:pt x="25" y="116"/>
                    <a:pt x="5" y="97"/>
                    <a:pt x="4" y="73"/>
                  </a:cubicBezTo>
                  <a:lnTo>
                    <a:pt x="0"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4">
              <a:extLst>
                <a:ext uri="{FF2B5EF4-FFF2-40B4-BE49-F238E27FC236}">
                  <a16:creationId xmlns:a16="http://schemas.microsoft.com/office/drawing/2014/main" id="{00CEFCB5-7AE9-4340-8993-B2F950D14F7A}"/>
                </a:ext>
              </a:extLst>
            </p:cNvPr>
            <p:cNvSpPr>
              <a:spLocks/>
            </p:cNvSpPr>
            <p:nvPr/>
          </p:nvSpPr>
          <p:spPr bwMode="auto">
            <a:xfrm>
              <a:off x="6351" y="2809"/>
              <a:ext cx="221" cy="142"/>
            </a:xfrm>
            <a:custGeom>
              <a:avLst/>
              <a:gdLst>
                <a:gd name="T0" fmla="*/ 17 w 93"/>
                <a:gd name="T1" fmla="*/ 8 h 60"/>
                <a:gd name="T2" fmla="*/ 64 w 93"/>
                <a:gd name="T3" fmla="*/ 2 h 60"/>
                <a:gd name="T4" fmla="*/ 87 w 93"/>
                <a:gd name="T5" fmla="*/ 13 h 60"/>
                <a:gd name="T6" fmla="*/ 87 w 93"/>
                <a:gd name="T7" fmla="*/ 35 h 60"/>
                <a:gd name="T8" fmla="*/ 72 w 93"/>
                <a:gd name="T9" fmla="*/ 39 h 60"/>
                <a:gd name="T10" fmla="*/ 37 w 93"/>
                <a:gd name="T11" fmla="*/ 44 h 60"/>
                <a:gd name="T12" fmla="*/ 21 w 93"/>
                <a:gd name="T13" fmla="*/ 57 h 60"/>
                <a:gd name="T14" fmla="*/ 3 w 93"/>
                <a:gd name="T15" fmla="*/ 50 h 60"/>
                <a:gd name="T16" fmla="*/ 1 w 93"/>
                <a:gd name="T17" fmla="*/ 30 h 60"/>
                <a:gd name="T18" fmla="*/ 17 w 93"/>
                <a:gd name="T19"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60">
                  <a:moveTo>
                    <a:pt x="17" y="8"/>
                  </a:moveTo>
                  <a:cubicBezTo>
                    <a:pt x="31" y="1"/>
                    <a:pt x="48" y="0"/>
                    <a:pt x="64" y="2"/>
                  </a:cubicBezTo>
                  <a:cubicBezTo>
                    <a:pt x="72" y="4"/>
                    <a:pt x="81" y="6"/>
                    <a:pt x="87" y="13"/>
                  </a:cubicBezTo>
                  <a:cubicBezTo>
                    <a:pt x="92" y="19"/>
                    <a:pt x="93" y="30"/>
                    <a:pt x="87" y="35"/>
                  </a:cubicBezTo>
                  <a:cubicBezTo>
                    <a:pt x="83" y="39"/>
                    <a:pt x="77" y="39"/>
                    <a:pt x="72" y="39"/>
                  </a:cubicBezTo>
                  <a:cubicBezTo>
                    <a:pt x="60" y="39"/>
                    <a:pt x="46" y="37"/>
                    <a:pt x="37" y="44"/>
                  </a:cubicBezTo>
                  <a:cubicBezTo>
                    <a:pt x="31" y="48"/>
                    <a:pt x="27" y="55"/>
                    <a:pt x="21" y="57"/>
                  </a:cubicBezTo>
                  <a:cubicBezTo>
                    <a:pt x="14" y="60"/>
                    <a:pt x="7" y="56"/>
                    <a:pt x="3" y="50"/>
                  </a:cubicBezTo>
                  <a:cubicBezTo>
                    <a:pt x="0" y="44"/>
                    <a:pt x="0" y="36"/>
                    <a:pt x="1" y="30"/>
                  </a:cubicBezTo>
                  <a:cubicBezTo>
                    <a:pt x="1" y="30"/>
                    <a:pt x="3" y="15"/>
                    <a:pt x="17" y="8"/>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5">
              <a:extLst>
                <a:ext uri="{FF2B5EF4-FFF2-40B4-BE49-F238E27FC236}">
                  <a16:creationId xmlns:a16="http://schemas.microsoft.com/office/drawing/2014/main" id="{C5941BAB-0784-4076-ADCD-B679B74BD8DA}"/>
                </a:ext>
              </a:extLst>
            </p:cNvPr>
            <p:cNvSpPr>
              <a:spLocks/>
            </p:cNvSpPr>
            <p:nvPr/>
          </p:nvSpPr>
          <p:spPr bwMode="auto">
            <a:xfrm>
              <a:off x="6296" y="2371"/>
              <a:ext cx="164" cy="338"/>
            </a:xfrm>
            <a:custGeom>
              <a:avLst/>
              <a:gdLst>
                <a:gd name="T0" fmla="*/ 8 w 69"/>
                <a:gd name="T1" fmla="*/ 129 h 142"/>
                <a:gd name="T2" fmla="*/ 41 w 69"/>
                <a:gd name="T3" fmla="*/ 130 h 142"/>
                <a:gd name="T4" fmla="*/ 55 w 69"/>
                <a:gd name="T5" fmla="*/ 101 h 142"/>
                <a:gd name="T6" fmla="*/ 64 w 69"/>
                <a:gd name="T7" fmla="*/ 28 h 142"/>
                <a:gd name="T8" fmla="*/ 54 w 69"/>
                <a:gd name="T9" fmla="*/ 8 h 142"/>
                <a:gd name="T10" fmla="*/ 34 w 69"/>
                <a:gd name="T11" fmla="*/ 2 h 142"/>
                <a:gd name="T12" fmla="*/ 17 w 69"/>
                <a:gd name="T13" fmla="*/ 20 h 142"/>
                <a:gd name="T14" fmla="*/ 0 w 69"/>
                <a:gd name="T15" fmla="*/ 95 h 142"/>
                <a:gd name="T16" fmla="*/ 8 w 69"/>
                <a:gd name="T17" fmla="*/ 12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42">
                  <a:moveTo>
                    <a:pt x="8" y="129"/>
                  </a:moveTo>
                  <a:cubicBezTo>
                    <a:pt x="16" y="142"/>
                    <a:pt x="33" y="138"/>
                    <a:pt x="41" y="130"/>
                  </a:cubicBezTo>
                  <a:cubicBezTo>
                    <a:pt x="49" y="123"/>
                    <a:pt x="52" y="112"/>
                    <a:pt x="55" y="101"/>
                  </a:cubicBezTo>
                  <a:cubicBezTo>
                    <a:pt x="62" y="77"/>
                    <a:pt x="69" y="52"/>
                    <a:pt x="64" y="28"/>
                  </a:cubicBezTo>
                  <a:cubicBezTo>
                    <a:pt x="62" y="21"/>
                    <a:pt x="59" y="14"/>
                    <a:pt x="54" y="8"/>
                  </a:cubicBezTo>
                  <a:cubicBezTo>
                    <a:pt x="49" y="3"/>
                    <a:pt x="41" y="0"/>
                    <a:pt x="34" y="2"/>
                  </a:cubicBezTo>
                  <a:cubicBezTo>
                    <a:pt x="26" y="4"/>
                    <a:pt x="21" y="12"/>
                    <a:pt x="17" y="20"/>
                  </a:cubicBezTo>
                  <a:cubicBezTo>
                    <a:pt x="6" y="43"/>
                    <a:pt x="0" y="69"/>
                    <a:pt x="0" y="95"/>
                  </a:cubicBezTo>
                  <a:cubicBezTo>
                    <a:pt x="0" y="107"/>
                    <a:pt x="1" y="119"/>
                    <a:pt x="8" y="12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6">
              <a:extLst>
                <a:ext uri="{FF2B5EF4-FFF2-40B4-BE49-F238E27FC236}">
                  <a16:creationId xmlns:a16="http://schemas.microsoft.com/office/drawing/2014/main" id="{457F7E20-EA30-4ADA-9AFD-39D95302ECA3}"/>
                </a:ext>
              </a:extLst>
            </p:cNvPr>
            <p:cNvSpPr>
              <a:spLocks/>
            </p:cNvSpPr>
            <p:nvPr/>
          </p:nvSpPr>
          <p:spPr bwMode="auto">
            <a:xfrm>
              <a:off x="6016" y="2466"/>
              <a:ext cx="268" cy="274"/>
            </a:xfrm>
            <a:custGeom>
              <a:avLst/>
              <a:gdLst>
                <a:gd name="T0" fmla="*/ 102 w 113"/>
                <a:gd name="T1" fmla="*/ 107 h 115"/>
                <a:gd name="T2" fmla="*/ 109 w 113"/>
                <a:gd name="T3" fmla="*/ 66 h 115"/>
                <a:gd name="T4" fmla="*/ 84 w 113"/>
                <a:gd name="T5" fmla="*/ 30 h 115"/>
                <a:gd name="T6" fmla="*/ 41 w 113"/>
                <a:gd name="T7" fmla="*/ 4 h 115"/>
                <a:gd name="T8" fmla="*/ 21 w 113"/>
                <a:gd name="T9" fmla="*/ 1 h 115"/>
                <a:gd name="T10" fmla="*/ 4 w 113"/>
                <a:gd name="T11" fmla="*/ 11 h 115"/>
                <a:gd name="T12" fmla="*/ 9 w 113"/>
                <a:gd name="T13" fmla="*/ 39 h 115"/>
                <a:gd name="T14" fmla="*/ 38 w 113"/>
                <a:gd name="T15" fmla="*/ 83 h 115"/>
                <a:gd name="T16" fmla="*/ 69 w 113"/>
                <a:gd name="T17" fmla="*/ 110 h 115"/>
                <a:gd name="T18" fmla="*/ 103 w 113"/>
                <a:gd name="T19" fmla="*/ 10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5">
                  <a:moveTo>
                    <a:pt x="102" y="107"/>
                  </a:moveTo>
                  <a:cubicBezTo>
                    <a:pt x="111" y="96"/>
                    <a:pt x="113" y="80"/>
                    <a:pt x="109" y="66"/>
                  </a:cubicBezTo>
                  <a:cubicBezTo>
                    <a:pt x="105" y="52"/>
                    <a:pt x="95" y="40"/>
                    <a:pt x="84" y="30"/>
                  </a:cubicBezTo>
                  <a:cubicBezTo>
                    <a:pt x="72" y="19"/>
                    <a:pt x="57" y="10"/>
                    <a:pt x="41" y="4"/>
                  </a:cubicBezTo>
                  <a:cubicBezTo>
                    <a:pt x="34" y="2"/>
                    <a:pt x="28" y="0"/>
                    <a:pt x="21" y="1"/>
                  </a:cubicBezTo>
                  <a:cubicBezTo>
                    <a:pt x="14" y="2"/>
                    <a:pt x="7" y="5"/>
                    <a:pt x="4" y="11"/>
                  </a:cubicBezTo>
                  <a:cubicBezTo>
                    <a:pt x="0" y="20"/>
                    <a:pt x="4" y="31"/>
                    <a:pt x="9" y="39"/>
                  </a:cubicBezTo>
                  <a:cubicBezTo>
                    <a:pt x="17" y="55"/>
                    <a:pt x="27" y="69"/>
                    <a:pt x="38" y="83"/>
                  </a:cubicBezTo>
                  <a:cubicBezTo>
                    <a:pt x="46" y="94"/>
                    <a:pt x="56" y="105"/>
                    <a:pt x="69" y="110"/>
                  </a:cubicBezTo>
                  <a:cubicBezTo>
                    <a:pt x="83" y="115"/>
                    <a:pt x="96" y="115"/>
                    <a:pt x="103" y="106"/>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7">
              <a:extLst>
                <a:ext uri="{FF2B5EF4-FFF2-40B4-BE49-F238E27FC236}">
                  <a16:creationId xmlns:a16="http://schemas.microsoft.com/office/drawing/2014/main" id="{7C813CF1-68FF-4ABD-B054-7A9211ADE94E}"/>
                </a:ext>
              </a:extLst>
            </p:cNvPr>
            <p:cNvSpPr>
              <a:spLocks/>
            </p:cNvSpPr>
            <p:nvPr/>
          </p:nvSpPr>
          <p:spPr bwMode="auto">
            <a:xfrm>
              <a:off x="6313" y="2851"/>
              <a:ext cx="154" cy="271"/>
            </a:xfrm>
            <a:custGeom>
              <a:avLst/>
              <a:gdLst>
                <a:gd name="T0" fmla="*/ 0 w 65"/>
                <a:gd name="T1" fmla="*/ 114 h 114"/>
                <a:gd name="T2" fmla="*/ 1 w 65"/>
                <a:gd name="T3" fmla="*/ 108 h 114"/>
                <a:gd name="T4" fmla="*/ 2 w 65"/>
                <a:gd name="T5" fmla="*/ 93 h 114"/>
                <a:gd name="T6" fmla="*/ 6 w 65"/>
                <a:gd name="T7" fmla="*/ 70 h 114"/>
                <a:gd name="T8" fmla="*/ 14 w 65"/>
                <a:gd name="T9" fmla="*/ 44 h 114"/>
                <a:gd name="T10" fmla="*/ 28 w 65"/>
                <a:gd name="T11" fmla="*/ 20 h 114"/>
                <a:gd name="T12" fmla="*/ 45 w 65"/>
                <a:gd name="T13" fmla="*/ 6 h 114"/>
                <a:gd name="T14" fmla="*/ 59 w 65"/>
                <a:gd name="T15" fmla="*/ 1 h 114"/>
                <a:gd name="T16" fmla="*/ 65 w 65"/>
                <a:gd name="T17" fmla="*/ 0 h 114"/>
                <a:gd name="T18" fmla="*/ 59 w 65"/>
                <a:gd name="T19" fmla="*/ 0 h 114"/>
                <a:gd name="T20" fmla="*/ 44 w 65"/>
                <a:gd name="T21" fmla="*/ 4 h 114"/>
                <a:gd name="T22" fmla="*/ 26 w 65"/>
                <a:gd name="T23" fmla="*/ 18 h 114"/>
                <a:gd name="T24" fmla="*/ 12 w 65"/>
                <a:gd name="T25" fmla="*/ 43 h 114"/>
                <a:gd name="T26" fmla="*/ 4 w 65"/>
                <a:gd name="T27" fmla="*/ 70 h 114"/>
                <a:gd name="T28" fmla="*/ 1 w 65"/>
                <a:gd name="T29" fmla="*/ 93 h 114"/>
                <a:gd name="T30" fmla="*/ 0 w 65"/>
                <a:gd name="T31" fmla="*/ 108 h 114"/>
                <a:gd name="T32" fmla="*/ 0 w 6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114">
                  <a:moveTo>
                    <a:pt x="0" y="114"/>
                  </a:moveTo>
                  <a:cubicBezTo>
                    <a:pt x="0" y="114"/>
                    <a:pt x="1" y="112"/>
                    <a:pt x="1" y="108"/>
                  </a:cubicBezTo>
                  <a:cubicBezTo>
                    <a:pt x="1" y="104"/>
                    <a:pt x="2" y="99"/>
                    <a:pt x="2" y="93"/>
                  </a:cubicBezTo>
                  <a:cubicBezTo>
                    <a:pt x="3" y="86"/>
                    <a:pt x="4" y="79"/>
                    <a:pt x="6" y="70"/>
                  </a:cubicBezTo>
                  <a:cubicBezTo>
                    <a:pt x="8" y="62"/>
                    <a:pt x="10" y="53"/>
                    <a:pt x="14" y="44"/>
                  </a:cubicBezTo>
                  <a:cubicBezTo>
                    <a:pt x="18" y="35"/>
                    <a:pt x="22" y="26"/>
                    <a:pt x="28" y="20"/>
                  </a:cubicBezTo>
                  <a:cubicBezTo>
                    <a:pt x="33" y="13"/>
                    <a:pt x="39" y="8"/>
                    <a:pt x="45" y="6"/>
                  </a:cubicBezTo>
                  <a:cubicBezTo>
                    <a:pt x="50" y="3"/>
                    <a:pt x="56" y="2"/>
                    <a:pt x="59" y="1"/>
                  </a:cubicBezTo>
                  <a:cubicBezTo>
                    <a:pt x="63" y="1"/>
                    <a:pt x="65" y="0"/>
                    <a:pt x="65" y="0"/>
                  </a:cubicBezTo>
                  <a:cubicBezTo>
                    <a:pt x="65" y="0"/>
                    <a:pt x="63" y="0"/>
                    <a:pt x="59" y="0"/>
                  </a:cubicBezTo>
                  <a:cubicBezTo>
                    <a:pt x="55" y="0"/>
                    <a:pt x="50" y="1"/>
                    <a:pt x="44" y="4"/>
                  </a:cubicBezTo>
                  <a:cubicBezTo>
                    <a:pt x="38" y="7"/>
                    <a:pt x="31" y="12"/>
                    <a:pt x="26" y="18"/>
                  </a:cubicBezTo>
                  <a:cubicBezTo>
                    <a:pt x="20" y="25"/>
                    <a:pt x="16" y="34"/>
                    <a:pt x="12" y="43"/>
                  </a:cubicBezTo>
                  <a:cubicBezTo>
                    <a:pt x="8" y="52"/>
                    <a:pt x="5" y="61"/>
                    <a:pt x="4" y="70"/>
                  </a:cubicBezTo>
                  <a:cubicBezTo>
                    <a:pt x="2" y="78"/>
                    <a:pt x="1" y="86"/>
                    <a:pt x="1" y="93"/>
                  </a:cubicBezTo>
                  <a:cubicBezTo>
                    <a:pt x="0" y="99"/>
                    <a:pt x="0" y="104"/>
                    <a:pt x="0" y="108"/>
                  </a:cubicBezTo>
                  <a:cubicBezTo>
                    <a:pt x="0" y="112"/>
                    <a:pt x="0" y="114"/>
                    <a:pt x="0" y="11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8">
              <a:extLst>
                <a:ext uri="{FF2B5EF4-FFF2-40B4-BE49-F238E27FC236}">
                  <a16:creationId xmlns:a16="http://schemas.microsoft.com/office/drawing/2014/main" id="{9806D9E1-419D-4BC8-A814-09DAF29F6919}"/>
                </a:ext>
              </a:extLst>
            </p:cNvPr>
            <p:cNvSpPr>
              <a:spLocks/>
            </p:cNvSpPr>
            <p:nvPr/>
          </p:nvSpPr>
          <p:spPr bwMode="auto">
            <a:xfrm>
              <a:off x="6313" y="2493"/>
              <a:ext cx="71" cy="601"/>
            </a:xfrm>
            <a:custGeom>
              <a:avLst/>
              <a:gdLst>
                <a:gd name="T0" fmla="*/ 1 w 30"/>
                <a:gd name="T1" fmla="*/ 253 h 253"/>
                <a:gd name="T2" fmla="*/ 1 w 30"/>
                <a:gd name="T3" fmla="*/ 250 h 253"/>
                <a:gd name="T4" fmla="*/ 1 w 30"/>
                <a:gd name="T5" fmla="*/ 243 h 253"/>
                <a:gd name="T6" fmla="*/ 2 w 30"/>
                <a:gd name="T7" fmla="*/ 215 h 253"/>
                <a:gd name="T8" fmla="*/ 8 w 30"/>
                <a:gd name="T9" fmla="*/ 125 h 253"/>
                <a:gd name="T10" fmla="*/ 22 w 30"/>
                <a:gd name="T11" fmla="*/ 36 h 253"/>
                <a:gd name="T12" fmla="*/ 25 w 30"/>
                <a:gd name="T13" fmla="*/ 21 h 253"/>
                <a:gd name="T14" fmla="*/ 28 w 30"/>
                <a:gd name="T15" fmla="*/ 10 h 253"/>
                <a:gd name="T16" fmla="*/ 29 w 30"/>
                <a:gd name="T17" fmla="*/ 2 h 253"/>
                <a:gd name="T18" fmla="*/ 30 w 30"/>
                <a:gd name="T19" fmla="*/ 0 h 253"/>
                <a:gd name="T20" fmla="*/ 29 w 30"/>
                <a:gd name="T21" fmla="*/ 2 h 253"/>
                <a:gd name="T22" fmla="*/ 27 w 30"/>
                <a:gd name="T23" fmla="*/ 9 h 253"/>
                <a:gd name="T24" fmla="*/ 24 w 30"/>
                <a:gd name="T25" fmla="*/ 21 h 253"/>
                <a:gd name="T26" fmla="*/ 20 w 30"/>
                <a:gd name="T27" fmla="*/ 36 h 253"/>
                <a:gd name="T28" fmla="*/ 6 w 30"/>
                <a:gd name="T29" fmla="*/ 125 h 253"/>
                <a:gd name="T30" fmla="*/ 0 w 30"/>
                <a:gd name="T31" fmla="*/ 215 h 253"/>
                <a:gd name="T32" fmla="*/ 0 w 30"/>
                <a:gd name="T33" fmla="*/ 243 h 253"/>
                <a:gd name="T34" fmla="*/ 1 w 30"/>
                <a:gd name="T35" fmla="*/ 250 h 253"/>
                <a:gd name="T36" fmla="*/ 1 w 30"/>
                <a:gd name="T3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253">
                  <a:moveTo>
                    <a:pt x="1" y="253"/>
                  </a:moveTo>
                  <a:cubicBezTo>
                    <a:pt x="1" y="253"/>
                    <a:pt x="1" y="252"/>
                    <a:pt x="1" y="250"/>
                  </a:cubicBezTo>
                  <a:cubicBezTo>
                    <a:pt x="1" y="248"/>
                    <a:pt x="1" y="246"/>
                    <a:pt x="1" y="243"/>
                  </a:cubicBezTo>
                  <a:cubicBezTo>
                    <a:pt x="1" y="236"/>
                    <a:pt x="1" y="227"/>
                    <a:pt x="2" y="215"/>
                  </a:cubicBezTo>
                  <a:cubicBezTo>
                    <a:pt x="2" y="192"/>
                    <a:pt x="4" y="160"/>
                    <a:pt x="8" y="125"/>
                  </a:cubicBezTo>
                  <a:cubicBezTo>
                    <a:pt x="12" y="90"/>
                    <a:pt x="17" y="59"/>
                    <a:pt x="22" y="36"/>
                  </a:cubicBezTo>
                  <a:cubicBezTo>
                    <a:pt x="23" y="31"/>
                    <a:pt x="24" y="26"/>
                    <a:pt x="25" y="21"/>
                  </a:cubicBezTo>
                  <a:cubicBezTo>
                    <a:pt x="26" y="17"/>
                    <a:pt x="27" y="13"/>
                    <a:pt x="28" y="10"/>
                  </a:cubicBezTo>
                  <a:cubicBezTo>
                    <a:pt x="28" y="7"/>
                    <a:pt x="29" y="4"/>
                    <a:pt x="29" y="2"/>
                  </a:cubicBezTo>
                  <a:cubicBezTo>
                    <a:pt x="30" y="1"/>
                    <a:pt x="30" y="0"/>
                    <a:pt x="30" y="0"/>
                  </a:cubicBezTo>
                  <a:cubicBezTo>
                    <a:pt x="30" y="0"/>
                    <a:pt x="29" y="1"/>
                    <a:pt x="29" y="2"/>
                  </a:cubicBezTo>
                  <a:cubicBezTo>
                    <a:pt x="28" y="4"/>
                    <a:pt x="28" y="6"/>
                    <a:pt x="27" y="9"/>
                  </a:cubicBezTo>
                  <a:cubicBezTo>
                    <a:pt x="26" y="12"/>
                    <a:pt x="25" y="16"/>
                    <a:pt x="24" y="21"/>
                  </a:cubicBezTo>
                  <a:cubicBezTo>
                    <a:pt x="23" y="25"/>
                    <a:pt x="21" y="30"/>
                    <a:pt x="20" y="36"/>
                  </a:cubicBezTo>
                  <a:cubicBezTo>
                    <a:pt x="15" y="59"/>
                    <a:pt x="10" y="90"/>
                    <a:pt x="6" y="125"/>
                  </a:cubicBezTo>
                  <a:cubicBezTo>
                    <a:pt x="2" y="160"/>
                    <a:pt x="0" y="192"/>
                    <a:pt x="0" y="215"/>
                  </a:cubicBezTo>
                  <a:cubicBezTo>
                    <a:pt x="0" y="227"/>
                    <a:pt x="0" y="236"/>
                    <a:pt x="0" y="243"/>
                  </a:cubicBezTo>
                  <a:cubicBezTo>
                    <a:pt x="1" y="246"/>
                    <a:pt x="1" y="248"/>
                    <a:pt x="1" y="250"/>
                  </a:cubicBezTo>
                  <a:cubicBezTo>
                    <a:pt x="1" y="252"/>
                    <a:pt x="1" y="253"/>
                    <a:pt x="1" y="25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9">
              <a:extLst>
                <a:ext uri="{FF2B5EF4-FFF2-40B4-BE49-F238E27FC236}">
                  <a16:creationId xmlns:a16="http://schemas.microsoft.com/office/drawing/2014/main" id="{98F2EEED-2A24-4187-888F-51084620C571}"/>
                </a:ext>
              </a:extLst>
            </p:cNvPr>
            <p:cNvSpPr>
              <a:spLocks/>
            </p:cNvSpPr>
            <p:nvPr/>
          </p:nvSpPr>
          <p:spPr bwMode="auto">
            <a:xfrm>
              <a:off x="6121" y="2538"/>
              <a:ext cx="194" cy="408"/>
            </a:xfrm>
            <a:custGeom>
              <a:avLst/>
              <a:gdLst>
                <a:gd name="T0" fmla="*/ 82 w 82"/>
                <a:gd name="T1" fmla="*/ 172 h 172"/>
                <a:gd name="T2" fmla="*/ 82 w 82"/>
                <a:gd name="T3" fmla="*/ 164 h 172"/>
                <a:gd name="T4" fmla="*/ 80 w 82"/>
                <a:gd name="T5" fmla="*/ 143 h 172"/>
                <a:gd name="T6" fmla="*/ 73 w 82"/>
                <a:gd name="T7" fmla="*/ 113 h 172"/>
                <a:gd name="T8" fmla="*/ 60 w 82"/>
                <a:gd name="T9" fmla="*/ 76 h 172"/>
                <a:gd name="T10" fmla="*/ 23 w 82"/>
                <a:gd name="T11" fmla="*/ 18 h 172"/>
                <a:gd name="T12" fmla="*/ 14 w 82"/>
                <a:gd name="T13" fmla="*/ 9 h 172"/>
                <a:gd name="T14" fmla="*/ 10 w 82"/>
                <a:gd name="T15" fmla="*/ 6 h 172"/>
                <a:gd name="T16" fmla="*/ 6 w 82"/>
                <a:gd name="T17" fmla="*/ 4 h 172"/>
                <a:gd name="T18" fmla="*/ 0 w 82"/>
                <a:gd name="T19" fmla="*/ 0 h 172"/>
                <a:gd name="T20" fmla="*/ 21 w 82"/>
                <a:gd name="T21" fmla="*/ 19 h 172"/>
                <a:gd name="T22" fmla="*/ 58 w 82"/>
                <a:gd name="T23" fmla="*/ 77 h 172"/>
                <a:gd name="T24" fmla="*/ 71 w 82"/>
                <a:gd name="T25" fmla="*/ 113 h 172"/>
                <a:gd name="T26" fmla="*/ 78 w 82"/>
                <a:gd name="T27" fmla="*/ 144 h 172"/>
                <a:gd name="T28" fmla="*/ 81 w 82"/>
                <a:gd name="T29" fmla="*/ 164 h 172"/>
                <a:gd name="T30" fmla="*/ 82 w 82"/>
                <a:gd name="T3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172">
                  <a:moveTo>
                    <a:pt x="82" y="172"/>
                  </a:moveTo>
                  <a:cubicBezTo>
                    <a:pt x="82" y="172"/>
                    <a:pt x="82" y="169"/>
                    <a:pt x="82" y="164"/>
                  </a:cubicBezTo>
                  <a:cubicBezTo>
                    <a:pt x="82" y="159"/>
                    <a:pt x="81" y="152"/>
                    <a:pt x="80" y="143"/>
                  </a:cubicBezTo>
                  <a:cubicBezTo>
                    <a:pt x="78" y="135"/>
                    <a:pt x="76" y="124"/>
                    <a:pt x="73" y="113"/>
                  </a:cubicBezTo>
                  <a:cubicBezTo>
                    <a:pt x="70" y="101"/>
                    <a:pt x="66" y="89"/>
                    <a:pt x="60" y="76"/>
                  </a:cubicBezTo>
                  <a:cubicBezTo>
                    <a:pt x="50" y="51"/>
                    <a:pt x="35" y="30"/>
                    <a:pt x="23" y="18"/>
                  </a:cubicBezTo>
                  <a:cubicBezTo>
                    <a:pt x="20" y="14"/>
                    <a:pt x="16" y="12"/>
                    <a:pt x="14" y="9"/>
                  </a:cubicBezTo>
                  <a:cubicBezTo>
                    <a:pt x="12" y="8"/>
                    <a:pt x="11" y="7"/>
                    <a:pt x="10" y="6"/>
                  </a:cubicBezTo>
                  <a:cubicBezTo>
                    <a:pt x="9" y="5"/>
                    <a:pt x="7" y="5"/>
                    <a:pt x="6" y="4"/>
                  </a:cubicBezTo>
                  <a:cubicBezTo>
                    <a:pt x="2" y="1"/>
                    <a:pt x="0" y="0"/>
                    <a:pt x="0" y="0"/>
                  </a:cubicBezTo>
                  <a:cubicBezTo>
                    <a:pt x="0" y="0"/>
                    <a:pt x="9" y="6"/>
                    <a:pt x="21" y="19"/>
                  </a:cubicBezTo>
                  <a:cubicBezTo>
                    <a:pt x="33" y="32"/>
                    <a:pt x="48" y="52"/>
                    <a:pt x="58" y="77"/>
                  </a:cubicBezTo>
                  <a:cubicBezTo>
                    <a:pt x="63" y="90"/>
                    <a:pt x="68" y="102"/>
                    <a:pt x="71" y="113"/>
                  </a:cubicBezTo>
                  <a:cubicBezTo>
                    <a:pt x="74" y="125"/>
                    <a:pt x="77" y="135"/>
                    <a:pt x="78" y="144"/>
                  </a:cubicBezTo>
                  <a:cubicBezTo>
                    <a:pt x="80" y="152"/>
                    <a:pt x="81" y="160"/>
                    <a:pt x="81" y="164"/>
                  </a:cubicBezTo>
                  <a:cubicBezTo>
                    <a:pt x="82" y="169"/>
                    <a:pt x="82" y="172"/>
                    <a:pt x="82" y="17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50">
              <a:extLst>
                <a:ext uri="{FF2B5EF4-FFF2-40B4-BE49-F238E27FC236}">
                  <a16:creationId xmlns:a16="http://schemas.microsoft.com/office/drawing/2014/main" id="{E42C5304-E733-4E83-9826-907046BE2300}"/>
                </a:ext>
              </a:extLst>
            </p:cNvPr>
            <p:cNvSpPr>
              <a:spLocks noChangeArrowheads="1"/>
            </p:cNvSpPr>
            <p:nvPr/>
          </p:nvSpPr>
          <p:spPr bwMode="auto">
            <a:xfrm>
              <a:off x="1218" y="3101"/>
              <a:ext cx="5365"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1">
              <a:extLst>
                <a:ext uri="{FF2B5EF4-FFF2-40B4-BE49-F238E27FC236}">
                  <a16:creationId xmlns:a16="http://schemas.microsoft.com/office/drawing/2014/main" id="{F3BB95C6-CC1B-438C-BBB9-9DA9CC7E9625}"/>
                </a:ext>
              </a:extLst>
            </p:cNvPr>
            <p:cNvSpPr>
              <a:spLocks/>
            </p:cNvSpPr>
            <p:nvPr/>
          </p:nvSpPr>
          <p:spPr bwMode="auto">
            <a:xfrm>
              <a:off x="5024" y="1832"/>
              <a:ext cx="26" cy="90"/>
            </a:xfrm>
            <a:custGeom>
              <a:avLst/>
              <a:gdLst>
                <a:gd name="T0" fmla="*/ 0 w 11"/>
                <a:gd name="T1" fmla="*/ 38 h 38"/>
                <a:gd name="T2" fmla="*/ 7 w 11"/>
                <a:gd name="T3" fmla="*/ 0 h 38"/>
                <a:gd name="T4" fmla="*/ 11 w 11"/>
                <a:gd name="T5" fmla="*/ 10 h 38"/>
                <a:gd name="T6" fmla="*/ 11 w 11"/>
                <a:gd name="T7" fmla="*/ 26 h 38"/>
                <a:gd name="T8" fmla="*/ 0 w 11"/>
                <a:gd name="T9" fmla="*/ 38 h 38"/>
              </a:gdLst>
              <a:ahLst/>
              <a:cxnLst>
                <a:cxn ang="0">
                  <a:pos x="T0" y="T1"/>
                </a:cxn>
                <a:cxn ang="0">
                  <a:pos x="T2" y="T3"/>
                </a:cxn>
                <a:cxn ang="0">
                  <a:pos x="T4" y="T5"/>
                </a:cxn>
                <a:cxn ang="0">
                  <a:pos x="T6" y="T7"/>
                </a:cxn>
                <a:cxn ang="0">
                  <a:pos x="T8" y="T9"/>
                </a:cxn>
              </a:cxnLst>
              <a:rect l="0" t="0" r="r" b="b"/>
              <a:pathLst>
                <a:path w="11" h="38">
                  <a:moveTo>
                    <a:pt x="0" y="38"/>
                  </a:moveTo>
                  <a:cubicBezTo>
                    <a:pt x="0" y="38"/>
                    <a:pt x="4" y="0"/>
                    <a:pt x="7" y="0"/>
                  </a:cubicBezTo>
                  <a:cubicBezTo>
                    <a:pt x="11" y="0"/>
                    <a:pt x="11" y="7"/>
                    <a:pt x="11" y="10"/>
                  </a:cubicBezTo>
                  <a:cubicBezTo>
                    <a:pt x="10" y="14"/>
                    <a:pt x="11" y="26"/>
                    <a:pt x="11" y="26"/>
                  </a:cubicBezTo>
                  <a:lnTo>
                    <a:pt x="0" y="38"/>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2">
              <a:extLst>
                <a:ext uri="{FF2B5EF4-FFF2-40B4-BE49-F238E27FC236}">
                  <a16:creationId xmlns:a16="http://schemas.microsoft.com/office/drawing/2014/main" id="{9A7A99F9-5C99-48C6-886C-004C3581336F}"/>
                </a:ext>
              </a:extLst>
            </p:cNvPr>
            <p:cNvSpPr>
              <a:spLocks/>
            </p:cNvSpPr>
            <p:nvPr/>
          </p:nvSpPr>
          <p:spPr bwMode="auto">
            <a:xfrm>
              <a:off x="5404" y="1647"/>
              <a:ext cx="550" cy="1421"/>
            </a:xfrm>
            <a:custGeom>
              <a:avLst/>
              <a:gdLst>
                <a:gd name="T0" fmla="*/ 166 w 232"/>
                <a:gd name="T1" fmla="*/ 85 h 598"/>
                <a:gd name="T2" fmla="*/ 147 w 232"/>
                <a:gd name="T3" fmla="*/ 212 h 598"/>
                <a:gd name="T4" fmla="*/ 232 w 232"/>
                <a:gd name="T5" fmla="*/ 579 h 598"/>
                <a:gd name="T6" fmla="*/ 0 w 232"/>
                <a:gd name="T7" fmla="*/ 598 h 598"/>
                <a:gd name="T8" fmla="*/ 99 w 232"/>
                <a:gd name="T9" fmla="*/ 7 h 598"/>
                <a:gd name="T10" fmla="*/ 166 w 232"/>
                <a:gd name="T11" fmla="*/ 85 h 598"/>
              </a:gdLst>
              <a:ahLst/>
              <a:cxnLst>
                <a:cxn ang="0">
                  <a:pos x="T0" y="T1"/>
                </a:cxn>
                <a:cxn ang="0">
                  <a:pos x="T2" y="T3"/>
                </a:cxn>
                <a:cxn ang="0">
                  <a:pos x="T4" y="T5"/>
                </a:cxn>
                <a:cxn ang="0">
                  <a:pos x="T6" y="T7"/>
                </a:cxn>
                <a:cxn ang="0">
                  <a:pos x="T8" y="T9"/>
                </a:cxn>
                <a:cxn ang="0">
                  <a:pos x="T10" y="T11"/>
                </a:cxn>
              </a:cxnLst>
              <a:rect l="0" t="0" r="r" b="b"/>
              <a:pathLst>
                <a:path w="232" h="598">
                  <a:moveTo>
                    <a:pt x="166" y="85"/>
                  </a:moveTo>
                  <a:cubicBezTo>
                    <a:pt x="147" y="212"/>
                    <a:pt x="147" y="212"/>
                    <a:pt x="147" y="212"/>
                  </a:cubicBezTo>
                  <a:cubicBezTo>
                    <a:pt x="232" y="579"/>
                    <a:pt x="232" y="579"/>
                    <a:pt x="232" y="579"/>
                  </a:cubicBezTo>
                  <a:cubicBezTo>
                    <a:pt x="0" y="598"/>
                    <a:pt x="0" y="598"/>
                    <a:pt x="0" y="598"/>
                  </a:cubicBezTo>
                  <a:cubicBezTo>
                    <a:pt x="99" y="7"/>
                    <a:pt x="99" y="7"/>
                    <a:pt x="99" y="7"/>
                  </a:cubicBezTo>
                  <a:cubicBezTo>
                    <a:pt x="99" y="7"/>
                    <a:pt x="165" y="0"/>
                    <a:pt x="166" y="8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3">
              <a:extLst>
                <a:ext uri="{FF2B5EF4-FFF2-40B4-BE49-F238E27FC236}">
                  <a16:creationId xmlns:a16="http://schemas.microsoft.com/office/drawing/2014/main" id="{77E266E4-8226-4A06-9354-E2275049641F}"/>
                </a:ext>
              </a:extLst>
            </p:cNvPr>
            <p:cNvSpPr>
              <a:spLocks/>
            </p:cNvSpPr>
            <p:nvPr/>
          </p:nvSpPr>
          <p:spPr bwMode="auto">
            <a:xfrm>
              <a:off x="5088" y="3384"/>
              <a:ext cx="197" cy="358"/>
            </a:xfrm>
            <a:custGeom>
              <a:avLst/>
              <a:gdLst>
                <a:gd name="T0" fmla="*/ 31 w 197"/>
                <a:gd name="T1" fmla="*/ 0 h 358"/>
                <a:gd name="T2" fmla="*/ 0 w 197"/>
                <a:gd name="T3" fmla="*/ 358 h 358"/>
                <a:gd name="T4" fmla="*/ 136 w 197"/>
                <a:gd name="T5" fmla="*/ 358 h 358"/>
                <a:gd name="T6" fmla="*/ 197 w 197"/>
                <a:gd name="T7" fmla="*/ 0 h 358"/>
                <a:gd name="T8" fmla="*/ 31 w 197"/>
                <a:gd name="T9" fmla="*/ 0 h 358"/>
              </a:gdLst>
              <a:ahLst/>
              <a:cxnLst>
                <a:cxn ang="0">
                  <a:pos x="T0" y="T1"/>
                </a:cxn>
                <a:cxn ang="0">
                  <a:pos x="T2" y="T3"/>
                </a:cxn>
                <a:cxn ang="0">
                  <a:pos x="T4" y="T5"/>
                </a:cxn>
                <a:cxn ang="0">
                  <a:pos x="T6" y="T7"/>
                </a:cxn>
                <a:cxn ang="0">
                  <a:pos x="T8" y="T9"/>
                </a:cxn>
              </a:cxnLst>
              <a:rect l="0" t="0" r="r" b="b"/>
              <a:pathLst>
                <a:path w="197" h="358">
                  <a:moveTo>
                    <a:pt x="31" y="0"/>
                  </a:moveTo>
                  <a:lnTo>
                    <a:pt x="0" y="358"/>
                  </a:lnTo>
                  <a:lnTo>
                    <a:pt x="136" y="358"/>
                  </a:lnTo>
                  <a:lnTo>
                    <a:pt x="197" y="0"/>
                  </a:lnTo>
                  <a:lnTo>
                    <a:pt x="31" y="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4">
              <a:extLst>
                <a:ext uri="{FF2B5EF4-FFF2-40B4-BE49-F238E27FC236}">
                  <a16:creationId xmlns:a16="http://schemas.microsoft.com/office/drawing/2014/main" id="{0137C93A-DA0A-4145-89D3-6FB0D494D35F}"/>
                </a:ext>
              </a:extLst>
            </p:cNvPr>
            <p:cNvSpPr>
              <a:spLocks/>
            </p:cNvSpPr>
            <p:nvPr/>
          </p:nvSpPr>
          <p:spPr bwMode="auto">
            <a:xfrm>
              <a:off x="4981" y="3742"/>
              <a:ext cx="243" cy="24"/>
            </a:xfrm>
            <a:custGeom>
              <a:avLst/>
              <a:gdLst>
                <a:gd name="T0" fmla="*/ 45 w 102"/>
                <a:gd name="T1" fmla="*/ 0 h 10"/>
                <a:gd name="T2" fmla="*/ 0 w 102"/>
                <a:gd name="T3" fmla="*/ 10 h 10"/>
                <a:gd name="T4" fmla="*/ 101 w 102"/>
                <a:gd name="T5" fmla="*/ 9 h 10"/>
                <a:gd name="T6" fmla="*/ 102 w 102"/>
                <a:gd name="T7" fmla="*/ 0 h 10"/>
                <a:gd name="T8" fmla="*/ 45 w 102"/>
                <a:gd name="T9" fmla="*/ 0 h 10"/>
              </a:gdLst>
              <a:ahLst/>
              <a:cxnLst>
                <a:cxn ang="0">
                  <a:pos x="T0" y="T1"/>
                </a:cxn>
                <a:cxn ang="0">
                  <a:pos x="T2" y="T3"/>
                </a:cxn>
                <a:cxn ang="0">
                  <a:pos x="T4" y="T5"/>
                </a:cxn>
                <a:cxn ang="0">
                  <a:pos x="T6" y="T7"/>
                </a:cxn>
                <a:cxn ang="0">
                  <a:pos x="T8" y="T9"/>
                </a:cxn>
              </a:cxnLst>
              <a:rect l="0" t="0" r="r" b="b"/>
              <a:pathLst>
                <a:path w="102" h="10">
                  <a:moveTo>
                    <a:pt x="45" y="0"/>
                  </a:moveTo>
                  <a:cubicBezTo>
                    <a:pt x="45" y="0"/>
                    <a:pt x="6" y="5"/>
                    <a:pt x="0" y="10"/>
                  </a:cubicBezTo>
                  <a:cubicBezTo>
                    <a:pt x="101" y="9"/>
                    <a:pt x="101" y="9"/>
                    <a:pt x="101" y="9"/>
                  </a:cubicBezTo>
                  <a:cubicBezTo>
                    <a:pt x="102" y="0"/>
                    <a:pt x="102" y="0"/>
                    <a:pt x="102" y="0"/>
                  </a:cubicBezTo>
                  <a:lnTo>
                    <a:pt x="45" y="0"/>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5">
              <a:extLst>
                <a:ext uri="{FF2B5EF4-FFF2-40B4-BE49-F238E27FC236}">
                  <a16:creationId xmlns:a16="http://schemas.microsoft.com/office/drawing/2014/main" id="{B3F896EA-14AC-4BF0-9076-999298ACA5CD}"/>
                </a:ext>
              </a:extLst>
            </p:cNvPr>
            <p:cNvSpPr>
              <a:spLocks/>
            </p:cNvSpPr>
            <p:nvPr/>
          </p:nvSpPr>
          <p:spPr bwMode="auto">
            <a:xfrm>
              <a:off x="4981" y="3764"/>
              <a:ext cx="247" cy="12"/>
            </a:xfrm>
            <a:custGeom>
              <a:avLst/>
              <a:gdLst>
                <a:gd name="T0" fmla="*/ 0 w 247"/>
                <a:gd name="T1" fmla="*/ 2 h 12"/>
                <a:gd name="T2" fmla="*/ 0 w 247"/>
                <a:gd name="T3" fmla="*/ 12 h 12"/>
                <a:gd name="T4" fmla="*/ 247 w 247"/>
                <a:gd name="T5" fmla="*/ 9 h 12"/>
                <a:gd name="T6" fmla="*/ 247 w 247"/>
                <a:gd name="T7" fmla="*/ 0 h 12"/>
                <a:gd name="T8" fmla="*/ 0 w 247"/>
                <a:gd name="T9" fmla="*/ 2 h 12"/>
              </a:gdLst>
              <a:ahLst/>
              <a:cxnLst>
                <a:cxn ang="0">
                  <a:pos x="T0" y="T1"/>
                </a:cxn>
                <a:cxn ang="0">
                  <a:pos x="T2" y="T3"/>
                </a:cxn>
                <a:cxn ang="0">
                  <a:pos x="T4" y="T5"/>
                </a:cxn>
                <a:cxn ang="0">
                  <a:pos x="T6" y="T7"/>
                </a:cxn>
                <a:cxn ang="0">
                  <a:pos x="T8" y="T9"/>
                </a:cxn>
              </a:cxnLst>
              <a:rect l="0" t="0" r="r" b="b"/>
              <a:pathLst>
                <a:path w="247" h="12">
                  <a:moveTo>
                    <a:pt x="0" y="2"/>
                  </a:moveTo>
                  <a:lnTo>
                    <a:pt x="0" y="12"/>
                  </a:lnTo>
                  <a:lnTo>
                    <a:pt x="247" y="9"/>
                  </a:lnTo>
                  <a:lnTo>
                    <a:pt x="247" y="0"/>
                  </a:lnTo>
                  <a:lnTo>
                    <a:pt x="0" y="2"/>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6">
              <a:extLst>
                <a:ext uri="{FF2B5EF4-FFF2-40B4-BE49-F238E27FC236}">
                  <a16:creationId xmlns:a16="http://schemas.microsoft.com/office/drawing/2014/main" id="{0BDF2DFB-0882-4702-85D8-1135DDA44FD8}"/>
                </a:ext>
              </a:extLst>
            </p:cNvPr>
            <p:cNvSpPr>
              <a:spLocks/>
            </p:cNvSpPr>
            <p:nvPr/>
          </p:nvSpPr>
          <p:spPr bwMode="auto">
            <a:xfrm>
              <a:off x="5038" y="3749"/>
              <a:ext cx="31" cy="24"/>
            </a:xfrm>
            <a:custGeom>
              <a:avLst/>
              <a:gdLst>
                <a:gd name="T0" fmla="*/ 12 w 13"/>
                <a:gd name="T1" fmla="*/ 9 h 10"/>
                <a:gd name="T2" fmla="*/ 7 w 13"/>
                <a:gd name="T3" fmla="*/ 4 h 10"/>
                <a:gd name="T4" fmla="*/ 0 w 13"/>
                <a:gd name="T5" fmla="*/ 0 h 10"/>
                <a:gd name="T6" fmla="*/ 8 w 13"/>
                <a:gd name="T7" fmla="*/ 2 h 10"/>
                <a:gd name="T8" fmla="*/ 12 w 13"/>
                <a:gd name="T9" fmla="*/ 9 h 10"/>
              </a:gdLst>
              <a:ahLst/>
              <a:cxnLst>
                <a:cxn ang="0">
                  <a:pos x="T0" y="T1"/>
                </a:cxn>
                <a:cxn ang="0">
                  <a:pos x="T2" y="T3"/>
                </a:cxn>
                <a:cxn ang="0">
                  <a:pos x="T4" y="T5"/>
                </a:cxn>
                <a:cxn ang="0">
                  <a:pos x="T6" y="T7"/>
                </a:cxn>
                <a:cxn ang="0">
                  <a:pos x="T8" y="T9"/>
                </a:cxn>
              </a:cxnLst>
              <a:rect l="0" t="0" r="r" b="b"/>
              <a:pathLst>
                <a:path w="13" h="10">
                  <a:moveTo>
                    <a:pt x="12" y="9"/>
                  </a:moveTo>
                  <a:cubicBezTo>
                    <a:pt x="12" y="10"/>
                    <a:pt x="10" y="6"/>
                    <a:pt x="7" y="4"/>
                  </a:cubicBezTo>
                  <a:cubicBezTo>
                    <a:pt x="4" y="1"/>
                    <a:pt x="0" y="1"/>
                    <a:pt x="0" y="0"/>
                  </a:cubicBezTo>
                  <a:cubicBezTo>
                    <a:pt x="0" y="0"/>
                    <a:pt x="4" y="0"/>
                    <a:pt x="8" y="2"/>
                  </a:cubicBezTo>
                  <a:cubicBezTo>
                    <a:pt x="12" y="5"/>
                    <a:pt x="13" y="9"/>
                    <a:pt x="12" y="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7">
              <a:extLst>
                <a:ext uri="{FF2B5EF4-FFF2-40B4-BE49-F238E27FC236}">
                  <a16:creationId xmlns:a16="http://schemas.microsoft.com/office/drawing/2014/main" id="{68A542BE-C7F8-46D5-9D6B-24EF68B48C7D}"/>
                </a:ext>
              </a:extLst>
            </p:cNvPr>
            <p:cNvSpPr>
              <a:spLocks/>
            </p:cNvSpPr>
            <p:nvPr/>
          </p:nvSpPr>
          <p:spPr bwMode="auto">
            <a:xfrm>
              <a:off x="5157" y="3733"/>
              <a:ext cx="71" cy="35"/>
            </a:xfrm>
            <a:custGeom>
              <a:avLst/>
              <a:gdLst>
                <a:gd name="T0" fmla="*/ 30 w 30"/>
                <a:gd name="T1" fmla="*/ 1 h 15"/>
                <a:gd name="T2" fmla="*/ 15 w 30"/>
                <a:gd name="T3" fmla="*/ 7 h 15"/>
                <a:gd name="T4" fmla="*/ 1 w 30"/>
                <a:gd name="T5" fmla="*/ 14 h 15"/>
                <a:gd name="T6" fmla="*/ 14 w 30"/>
                <a:gd name="T7" fmla="*/ 5 h 15"/>
                <a:gd name="T8" fmla="*/ 30 w 30"/>
                <a:gd name="T9" fmla="*/ 1 h 15"/>
              </a:gdLst>
              <a:ahLst/>
              <a:cxnLst>
                <a:cxn ang="0">
                  <a:pos x="T0" y="T1"/>
                </a:cxn>
                <a:cxn ang="0">
                  <a:pos x="T2" y="T3"/>
                </a:cxn>
                <a:cxn ang="0">
                  <a:pos x="T4" y="T5"/>
                </a:cxn>
                <a:cxn ang="0">
                  <a:pos x="T6" y="T7"/>
                </a:cxn>
                <a:cxn ang="0">
                  <a:pos x="T8" y="T9"/>
                </a:cxn>
              </a:cxnLst>
              <a:rect l="0" t="0" r="r" b="b"/>
              <a:pathLst>
                <a:path w="30" h="15">
                  <a:moveTo>
                    <a:pt x="30" y="1"/>
                  </a:moveTo>
                  <a:cubicBezTo>
                    <a:pt x="30" y="2"/>
                    <a:pt x="23" y="3"/>
                    <a:pt x="15" y="7"/>
                  </a:cubicBezTo>
                  <a:cubicBezTo>
                    <a:pt x="7" y="10"/>
                    <a:pt x="1" y="15"/>
                    <a:pt x="1" y="14"/>
                  </a:cubicBezTo>
                  <a:cubicBezTo>
                    <a:pt x="0" y="14"/>
                    <a:pt x="6" y="9"/>
                    <a:pt x="14" y="5"/>
                  </a:cubicBezTo>
                  <a:cubicBezTo>
                    <a:pt x="22" y="1"/>
                    <a:pt x="30" y="0"/>
                    <a:pt x="30" y="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8">
              <a:extLst>
                <a:ext uri="{FF2B5EF4-FFF2-40B4-BE49-F238E27FC236}">
                  <a16:creationId xmlns:a16="http://schemas.microsoft.com/office/drawing/2014/main" id="{97205A56-B9D8-4B85-A05D-C65FBFE5A4EB}"/>
                </a:ext>
              </a:extLst>
            </p:cNvPr>
            <p:cNvSpPr>
              <a:spLocks/>
            </p:cNvSpPr>
            <p:nvPr/>
          </p:nvSpPr>
          <p:spPr bwMode="auto">
            <a:xfrm>
              <a:off x="5088" y="3721"/>
              <a:ext cx="133" cy="9"/>
            </a:xfrm>
            <a:custGeom>
              <a:avLst/>
              <a:gdLst>
                <a:gd name="T0" fmla="*/ 56 w 56"/>
                <a:gd name="T1" fmla="*/ 4 h 4"/>
                <a:gd name="T2" fmla="*/ 28 w 56"/>
                <a:gd name="T3" fmla="*/ 3 h 4"/>
                <a:gd name="T4" fmla="*/ 0 w 56"/>
                <a:gd name="T5" fmla="*/ 1 h 4"/>
                <a:gd name="T6" fmla="*/ 28 w 56"/>
                <a:gd name="T7" fmla="*/ 1 h 4"/>
                <a:gd name="T8" fmla="*/ 56 w 56"/>
                <a:gd name="T9" fmla="*/ 4 h 4"/>
              </a:gdLst>
              <a:ahLst/>
              <a:cxnLst>
                <a:cxn ang="0">
                  <a:pos x="T0" y="T1"/>
                </a:cxn>
                <a:cxn ang="0">
                  <a:pos x="T2" y="T3"/>
                </a:cxn>
                <a:cxn ang="0">
                  <a:pos x="T4" y="T5"/>
                </a:cxn>
                <a:cxn ang="0">
                  <a:pos x="T6" y="T7"/>
                </a:cxn>
                <a:cxn ang="0">
                  <a:pos x="T8" y="T9"/>
                </a:cxn>
              </a:cxnLst>
              <a:rect l="0" t="0" r="r" b="b"/>
              <a:pathLst>
                <a:path w="56" h="4">
                  <a:moveTo>
                    <a:pt x="56" y="4"/>
                  </a:moveTo>
                  <a:cubicBezTo>
                    <a:pt x="56" y="4"/>
                    <a:pt x="44" y="4"/>
                    <a:pt x="28" y="3"/>
                  </a:cubicBezTo>
                  <a:cubicBezTo>
                    <a:pt x="13" y="2"/>
                    <a:pt x="0" y="1"/>
                    <a:pt x="0" y="1"/>
                  </a:cubicBezTo>
                  <a:cubicBezTo>
                    <a:pt x="0" y="0"/>
                    <a:pt x="13" y="0"/>
                    <a:pt x="28" y="1"/>
                  </a:cubicBezTo>
                  <a:cubicBezTo>
                    <a:pt x="44" y="2"/>
                    <a:pt x="56" y="3"/>
                    <a:pt x="56" y="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9">
              <a:extLst>
                <a:ext uri="{FF2B5EF4-FFF2-40B4-BE49-F238E27FC236}">
                  <a16:creationId xmlns:a16="http://schemas.microsoft.com/office/drawing/2014/main" id="{96D64DA3-BB9F-4B38-BC5B-72357F5EECB1}"/>
                </a:ext>
              </a:extLst>
            </p:cNvPr>
            <p:cNvSpPr>
              <a:spLocks/>
            </p:cNvSpPr>
            <p:nvPr/>
          </p:nvSpPr>
          <p:spPr bwMode="auto">
            <a:xfrm>
              <a:off x="5091" y="3681"/>
              <a:ext cx="147" cy="30"/>
            </a:xfrm>
            <a:custGeom>
              <a:avLst/>
              <a:gdLst>
                <a:gd name="T0" fmla="*/ 62 w 62"/>
                <a:gd name="T1" fmla="*/ 1 h 13"/>
                <a:gd name="T2" fmla="*/ 31 w 62"/>
                <a:gd name="T3" fmla="*/ 7 h 13"/>
                <a:gd name="T4" fmla="*/ 0 w 62"/>
                <a:gd name="T5" fmla="*/ 12 h 13"/>
                <a:gd name="T6" fmla="*/ 31 w 62"/>
                <a:gd name="T7" fmla="*/ 5 h 13"/>
                <a:gd name="T8" fmla="*/ 62 w 62"/>
                <a:gd name="T9" fmla="*/ 1 h 13"/>
              </a:gdLst>
              <a:ahLst/>
              <a:cxnLst>
                <a:cxn ang="0">
                  <a:pos x="T0" y="T1"/>
                </a:cxn>
                <a:cxn ang="0">
                  <a:pos x="T2" y="T3"/>
                </a:cxn>
                <a:cxn ang="0">
                  <a:pos x="T4" y="T5"/>
                </a:cxn>
                <a:cxn ang="0">
                  <a:pos x="T6" y="T7"/>
                </a:cxn>
                <a:cxn ang="0">
                  <a:pos x="T8" y="T9"/>
                </a:cxn>
              </a:cxnLst>
              <a:rect l="0" t="0" r="r" b="b"/>
              <a:pathLst>
                <a:path w="62" h="13">
                  <a:moveTo>
                    <a:pt x="62" y="1"/>
                  </a:moveTo>
                  <a:cubicBezTo>
                    <a:pt x="62" y="1"/>
                    <a:pt x="48" y="4"/>
                    <a:pt x="31" y="7"/>
                  </a:cubicBezTo>
                  <a:cubicBezTo>
                    <a:pt x="14" y="10"/>
                    <a:pt x="0" y="13"/>
                    <a:pt x="0" y="12"/>
                  </a:cubicBezTo>
                  <a:cubicBezTo>
                    <a:pt x="0" y="11"/>
                    <a:pt x="13" y="8"/>
                    <a:pt x="31" y="5"/>
                  </a:cubicBezTo>
                  <a:cubicBezTo>
                    <a:pt x="48" y="2"/>
                    <a:pt x="62" y="0"/>
                    <a:pt x="62" y="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0">
              <a:extLst>
                <a:ext uri="{FF2B5EF4-FFF2-40B4-BE49-F238E27FC236}">
                  <a16:creationId xmlns:a16="http://schemas.microsoft.com/office/drawing/2014/main" id="{9599EE3B-BE60-40EB-AC7E-4570D02A1977}"/>
                </a:ext>
              </a:extLst>
            </p:cNvPr>
            <p:cNvSpPr>
              <a:spLocks/>
            </p:cNvSpPr>
            <p:nvPr/>
          </p:nvSpPr>
          <p:spPr bwMode="auto">
            <a:xfrm>
              <a:off x="5186" y="3645"/>
              <a:ext cx="49" cy="40"/>
            </a:xfrm>
            <a:custGeom>
              <a:avLst/>
              <a:gdLst>
                <a:gd name="T0" fmla="*/ 21 w 21"/>
                <a:gd name="T1" fmla="*/ 16 h 17"/>
                <a:gd name="T2" fmla="*/ 13 w 21"/>
                <a:gd name="T3" fmla="*/ 15 h 17"/>
                <a:gd name="T4" fmla="*/ 6 w 21"/>
                <a:gd name="T5" fmla="*/ 11 h 17"/>
                <a:gd name="T6" fmla="*/ 2 w 21"/>
                <a:gd name="T7" fmla="*/ 8 h 17"/>
                <a:gd name="T8" fmla="*/ 0 w 21"/>
                <a:gd name="T9" fmla="*/ 5 h 17"/>
                <a:gd name="T10" fmla="*/ 0 w 21"/>
                <a:gd name="T11" fmla="*/ 2 h 17"/>
                <a:gd name="T12" fmla="*/ 4 w 21"/>
                <a:gd name="T13" fmla="*/ 0 h 17"/>
                <a:gd name="T14" fmla="*/ 7 w 21"/>
                <a:gd name="T15" fmla="*/ 1 h 17"/>
                <a:gd name="T16" fmla="*/ 11 w 21"/>
                <a:gd name="T17" fmla="*/ 4 h 17"/>
                <a:gd name="T18" fmla="*/ 17 w 21"/>
                <a:gd name="T19" fmla="*/ 10 h 17"/>
                <a:gd name="T20" fmla="*/ 20 w 21"/>
                <a:gd name="T21" fmla="*/ 17 h 17"/>
                <a:gd name="T22" fmla="*/ 16 w 21"/>
                <a:gd name="T23" fmla="*/ 11 h 17"/>
                <a:gd name="T24" fmla="*/ 10 w 21"/>
                <a:gd name="T25" fmla="*/ 5 h 17"/>
                <a:gd name="T26" fmla="*/ 6 w 21"/>
                <a:gd name="T27" fmla="*/ 3 h 17"/>
                <a:gd name="T28" fmla="*/ 2 w 21"/>
                <a:gd name="T29" fmla="*/ 3 h 17"/>
                <a:gd name="T30" fmla="*/ 3 w 21"/>
                <a:gd name="T31" fmla="*/ 6 h 17"/>
                <a:gd name="T32" fmla="*/ 7 w 21"/>
                <a:gd name="T33" fmla="*/ 9 h 17"/>
                <a:gd name="T34" fmla="*/ 14 w 21"/>
                <a:gd name="T35" fmla="*/ 13 h 17"/>
                <a:gd name="T36" fmla="*/ 21 w 21"/>
                <a:gd name="T3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7">
                  <a:moveTo>
                    <a:pt x="21" y="16"/>
                  </a:moveTo>
                  <a:cubicBezTo>
                    <a:pt x="21" y="17"/>
                    <a:pt x="18" y="16"/>
                    <a:pt x="13" y="15"/>
                  </a:cubicBezTo>
                  <a:cubicBezTo>
                    <a:pt x="11" y="14"/>
                    <a:pt x="9" y="13"/>
                    <a:pt x="6" y="11"/>
                  </a:cubicBezTo>
                  <a:cubicBezTo>
                    <a:pt x="5" y="10"/>
                    <a:pt x="3" y="9"/>
                    <a:pt x="2" y="8"/>
                  </a:cubicBezTo>
                  <a:cubicBezTo>
                    <a:pt x="1" y="7"/>
                    <a:pt x="1" y="6"/>
                    <a:pt x="0" y="5"/>
                  </a:cubicBezTo>
                  <a:cubicBezTo>
                    <a:pt x="0" y="4"/>
                    <a:pt x="0" y="3"/>
                    <a:pt x="0" y="2"/>
                  </a:cubicBezTo>
                  <a:cubicBezTo>
                    <a:pt x="1" y="1"/>
                    <a:pt x="3" y="0"/>
                    <a:pt x="4" y="0"/>
                  </a:cubicBezTo>
                  <a:cubicBezTo>
                    <a:pt x="5" y="0"/>
                    <a:pt x="6" y="1"/>
                    <a:pt x="7" y="1"/>
                  </a:cubicBezTo>
                  <a:cubicBezTo>
                    <a:pt x="8" y="2"/>
                    <a:pt x="10" y="3"/>
                    <a:pt x="11" y="4"/>
                  </a:cubicBezTo>
                  <a:cubicBezTo>
                    <a:pt x="14" y="5"/>
                    <a:pt x="16" y="8"/>
                    <a:pt x="17" y="10"/>
                  </a:cubicBezTo>
                  <a:cubicBezTo>
                    <a:pt x="20" y="14"/>
                    <a:pt x="20" y="17"/>
                    <a:pt x="20" y="17"/>
                  </a:cubicBezTo>
                  <a:cubicBezTo>
                    <a:pt x="19" y="17"/>
                    <a:pt x="19" y="14"/>
                    <a:pt x="16" y="11"/>
                  </a:cubicBezTo>
                  <a:cubicBezTo>
                    <a:pt x="14" y="9"/>
                    <a:pt x="12" y="7"/>
                    <a:pt x="10" y="5"/>
                  </a:cubicBezTo>
                  <a:cubicBezTo>
                    <a:pt x="9" y="4"/>
                    <a:pt x="7" y="4"/>
                    <a:pt x="6" y="3"/>
                  </a:cubicBezTo>
                  <a:cubicBezTo>
                    <a:pt x="4" y="2"/>
                    <a:pt x="3" y="2"/>
                    <a:pt x="2" y="3"/>
                  </a:cubicBezTo>
                  <a:cubicBezTo>
                    <a:pt x="2" y="4"/>
                    <a:pt x="2" y="5"/>
                    <a:pt x="3" y="6"/>
                  </a:cubicBezTo>
                  <a:cubicBezTo>
                    <a:pt x="4" y="7"/>
                    <a:pt x="6" y="8"/>
                    <a:pt x="7" y="9"/>
                  </a:cubicBezTo>
                  <a:cubicBezTo>
                    <a:pt x="9" y="11"/>
                    <a:pt x="12" y="12"/>
                    <a:pt x="14" y="13"/>
                  </a:cubicBezTo>
                  <a:cubicBezTo>
                    <a:pt x="18" y="15"/>
                    <a:pt x="21" y="16"/>
                    <a:pt x="21" y="1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1">
              <a:extLst>
                <a:ext uri="{FF2B5EF4-FFF2-40B4-BE49-F238E27FC236}">
                  <a16:creationId xmlns:a16="http://schemas.microsoft.com/office/drawing/2014/main" id="{BCC9B509-2B13-41DF-8382-1689605A1D81}"/>
                </a:ext>
              </a:extLst>
            </p:cNvPr>
            <p:cNvSpPr>
              <a:spLocks/>
            </p:cNvSpPr>
            <p:nvPr/>
          </p:nvSpPr>
          <p:spPr bwMode="auto">
            <a:xfrm>
              <a:off x="5231" y="3631"/>
              <a:ext cx="28" cy="57"/>
            </a:xfrm>
            <a:custGeom>
              <a:avLst/>
              <a:gdLst>
                <a:gd name="T0" fmla="*/ 1 w 12"/>
                <a:gd name="T1" fmla="*/ 24 h 24"/>
                <a:gd name="T2" fmla="*/ 0 w 12"/>
                <a:gd name="T3" fmla="*/ 16 h 24"/>
                <a:gd name="T4" fmla="*/ 2 w 12"/>
                <a:gd name="T5" fmla="*/ 8 h 24"/>
                <a:gd name="T6" fmla="*/ 4 w 12"/>
                <a:gd name="T7" fmla="*/ 4 h 24"/>
                <a:gd name="T8" fmla="*/ 6 w 12"/>
                <a:gd name="T9" fmla="*/ 2 h 24"/>
                <a:gd name="T10" fmla="*/ 9 w 12"/>
                <a:gd name="T11" fmla="*/ 0 h 24"/>
                <a:gd name="T12" fmla="*/ 12 w 12"/>
                <a:gd name="T13" fmla="*/ 2 h 24"/>
                <a:gd name="T14" fmla="*/ 12 w 12"/>
                <a:gd name="T15" fmla="*/ 5 h 24"/>
                <a:gd name="T16" fmla="*/ 11 w 12"/>
                <a:gd name="T17" fmla="*/ 10 h 24"/>
                <a:gd name="T18" fmla="*/ 8 w 12"/>
                <a:gd name="T19" fmla="*/ 17 h 24"/>
                <a:gd name="T20" fmla="*/ 2 w 12"/>
                <a:gd name="T21" fmla="*/ 22 h 24"/>
                <a:gd name="T22" fmla="*/ 6 w 12"/>
                <a:gd name="T23" fmla="*/ 17 h 24"/>
                <a:gd name="T24" fmla="*/ 10 w 12"/>
                <a:gd name="T25" fmla="*/ 9 h 24"/>
                <a:gd name="T26" fmla="*/ 10 w 12"/>
                <a:gd name="T27" fmla="*/ 5 h 24"/>
                <a:gd name="T28" fmla="*/ 9 w 12"/>
                <a:gd name="T29" fmla="*/ 2 h 24"/>
                <a:gd name="T30" fmla="*/ 6 w 12"/>
                <a:gd name="T31" fmla="*/ 5 h 24"/>
                <a:gd name="T32" fmla="*/ 3 w 12"/>
                <a:gd name="T33" fmla="*/ 9 h 24"/>
                <a:gd name="T34" fmla="*/ 1 w 12"/>
                <a:gd name="T35" fmla="*/ 16 h 24"/>
                <a:gd name="T36" fmla="*/ 1 w 12"/>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4">
                  <a:moveTo>
                    <a:pt x="1" y="24"/>
                  </a:moveTo>
                  <a:cubicBezTo>
                    <a:pt x="1" y="24"/>
                    <a:pt x="0" y="21"/>
                    <a:pt x="0" y="16"/>
                  </a:cubicBezTo>
                  <a:cubicBezTo>
                    <a:pt x="0" y="14"/>
                    <a:pt x="1" y="11"/>
                    <a:pt x="2" y="8"/>
                  </a:cubicBezTo>
                  <a:cubicBezTo>
                    <a:pt x="2" y="7"/>
                    <a:pt x="3" y="5"/>
                    <a:pt x="4" y="4"/>
                  </a:cubicBezTo>
                  <a:cubicBezTo>
                    <a:pt x="5" y="3"/>
                    <a:pt x="5" y="2"/>
                    <a:pt x="6" y="2"/>
                  </a:cubicBezTo>
                  <a:cubicBezTo>
                    <a:pt x="6" y="1"/>
                    <a:pt x="7" y="0"/>
                    <a:pt x="9" y="0"/>
                  </a:cubicBezTo>
                  <a:cubicBezTo>
                    <a:pt x="10" y="0"/>
                    <a:pt x="11" y="1"/>
                    <a:pt x="12" y="2"/>
                  </a:cubicBezTo>
                  <a:cubicBezTo>
                    <a:pt x="12" y="3"/>
                    <a:pt x="12" y="4"/>
                    <a:pt x="12" y="5"/>
                  </a:cubicBezTo>
                  <a:cubicBezTo>
                    <a:pt x="12" y="7"/>
                    <a:pt x="12" y="8"/>
                    <a:pt x="11" y="10"/>
                  </a:cubicBezTo>
                  <a:cubicBezTo>
                    <a:pt x="11" y="13"/>
                    <a:pt x="9" y="16"/>
                    <a:pt x="8" y="17"/>
                  </a:cubicBezTo>
                  <a:cubicBezTo>
                    <a:pt x="5" y="21"/>
                    <a:pt x="2" y="22"/>
                    <a:pt x="2" y="22"/>
                  </a:cubicBezTo>
                  <a:cubicBezTo>
                    <a:pt x="1" y="22"/>
                    <a:pt x="4" y="20"/>
                    <a:pt x="6" y="17"/>
                  </a:cubicBezTo>
                  <a:cubicBezTo>
                    <a:pt x="8" y="15"/>
                    <a:pt x="9" y="12"/>
                    <a:pt x="10" y="9"/>
                  </a:cubicBezTo>
                  <a:cubicBezTo>
                    <a:pt x="10" y="8"/>
                    <a:pt x="10" y="7"/>
                    <a:pt x="10" y="5"/>
                  </a:cubicBezTo>
                  <a:cubicBezTo>
                    <a:pt x="10" y="3"/>
                    <a:pt x="10" y="2"/>
                    <a:pt x="9" y="2"/>
                  </a:cubicBezTo>
                  <a:cubicBezTo>
                    <a:pt x="8" y="2"/>
                    <a:pt x="7" y="4"/>
                    <a:pt x="6" y="5"/>
                  </a:cubicBezTo>
                  <a:cubicBezTo>
                    <a:pt x="5" y="6"/>
                    <a:pt x="4" y="7"/>
                    <a:pt x="3" y="9"/>
                  </a:cubicBezTo>
                  <a:cubicBezTo>
                    <a:pt x="2" y="11"/>
                    <a:pt x="2" y="14"/>
                    <a:pt x="1" y="16"/>
                  </a:cubicBezTo>
                  <a:cubicBezTo>
                    <a:pt x="1" y="21"/>
                    <a:pt x="2" y="24"/>
                    <a:pt x="1" y="2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2">
              <a:extLst>
                <a:ext uri="{FF2B5EF4-FFF2-40B4-BE49-F238E27FC236}">
                  <a16:creationId xmlns:a16="http://schemas.microsoft.com/office/drawing/2014/main" id="{AA9EC8A3-2A32-4C2D-8238-437DE5C063A3}"/>
                </a:ext>
              </a:extLst>
            </p:cNvPr>
            <p:cNvSpPr>
              <a:spLocks/>
            </p:cNvSpPr>
            <p:nvPr/>
          </p:nvSpPr>
          <p:spPr bwMode="auto">
            <a:xfrm>
              <a:off x="5233" y="3685"/>
              <a:ext cx="21" cy="60"/>
            </a:xfrm>
            <a:custGeom>
              <a:avLst/>
              <a:gdLst>
                <a:gd name="T0" fmla="*/ 8 w 9"/>
                <a:gd name="T1" fmla="*/ 24 h 25"/>
                <a:gd name="T2" fmla="*/ 2 w 9"/>
                <a:gd name="T3" fmla="*/ 13 h 25"/>
                <a:gd name="T4" fmla="*/ 0 w 9"/>
                <a:gd name="T5" fmla="*/ 0 h 25"/>
                <a:gd name="T6" fmla="*/ 4 w 9"/>
                <a:gd name="T7" fmla="*/ 12 h 25"/>
                <a:gd name="T8" fmla="*/ 8 w 9"/>
                <a:gd name="T9" fmla="*/ 24 h 25"/>
              </a:gdLst>
              <a:ahLst/>
              <a:cxnLst>
                <a:cxn ang="0">
                  <a:pos x="T0" y="T1"/>
                </a:cxn>
                <a:cxn ang="0">
                  <a:pos x="T2" y="T3"/>
                </a:cxn>
                <a:cxn ang="0">
                  <a:pos x="T4" y="T5"/>
                </a:cxn>
                <a:cxn ang="0">
                  <a:pos x="T6" y="T7"/>
                </a:cxn>
                <a:cxn ang="0">
                  <a:pos x="T8" y="T9"/>
                </a:cxn>
              </a:cxnLst>
              <a:rect l="0" t="0" r="r" b="b"/>
              <a:pathLst>
                <a:path w="9" h="25">
                  <a:moveTo>
                    <a:pt x="8" y="24"/>
                  </a:moveTo>
                  <a:cubicBezTo>
                    <a:pt x="8" y="25"/>
                    <a:pt x="5" y="19"/>
                    <a:pt x="2" y="13"/>
                  </a:cubicBezTo>
                  <a:cubicBezTo>
                    <a:pt x="0" y="6"/>
                    <a:pt x="0" y="0"/>
                    <a:pt x="0" y="0"/>
                  </a:cubicBezTo>
                  <a:cubicBezTo>
                    <a:pt x="1" y="0"/>
                    <a:pt x="2" y="5"/>
                    <a:pt x="4" y="12"/>
                  </a:cubicBezTo>
                  <a:cubicBezTo>
                    <a:pt x="6" y="19"/>
                    <a:pt x="9" y="24"/>
                    <a:pt x="8" y="2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3">
              <a:extLst>
                <a:ext uri="{FF2B5EF4-FFF2-40B4-BE49-F238E27FC236}">
                  <a16:creationId xmlns:a16="http://schemas.microsoft.com/office/drawing/2014/main" id="{CE2A54B2-2CED-4C79-BA3F-DA90C62815B2}"/>
                </a:ext>
              </a:extLst>
            </p:cNvPr>
            <p:cNvSpPr>
              <a:spLocks/>
            </p:cNvSpPr>
            <p:nvPr/>
          </p:nvSpPr>
          <p:spPr bwMode="auto">
            <a:xfrm>
              <a:off x="5228" y="3681"/>
              <a:ext cx="41" cy="49"/>
            </a:xfrm>
            <a:custGeom>
              <a:avLst/>
              <a:gdLst>
                <a:gd name="T0" fmla="*/ 17 w 17"/>
                <a:gd name="T1" fmla="*/ 21 h 21"/>
                <a:gd name="T2" fmla="*/ 7 w 17"/>
                <a:gd name="T3" fmla="*/ 12 h 21"/>
                <a:gd name="T4" fmla="*/ 1 w 17"/>
                <a:gd name="T5" fmla="*/ 0 h 21"/>
                <a:gd name="T6" fmla="*/ 8 w 17"/>
                <a:gd name="T7" fmla="*/ 11 h 21"/>
                <a:gd name="T8" fmla="*/ 17 w 17"/>
                <a:gd name="T9" fmla="*/ 21 h 21"/>
              </a:gdLst>
              <a:ahLst/>
              <a:cxnLst>
                <a:cxn ang="0">
                  <a:pos x="T0" y="T1"/>
                </a:cxn>
                <a:cxn ang="0">
                  <a:pos x="T2" y="T3"/>
                </a:cxn>
                <a:cxn ang="0">
                  <a:pos x="T4" y="T5"/>
                </a:cxn>
                <a:cxn ang="0">
                  <a:pos x="T6" y="T7"/>
                </a:cxn>
                <a:cxn ang="0">
                  <a:pos x="T8" y="T9"/>
                </a:cxn>
              </a:cxnLst>
              <a:rect l="0" t="0" r="r" b="b"/>
              <a:pathLst>
                <a:path w="17" h="21">
                  <a:moveTo>
                    <a:pt x="17" y="21"/>
                  </a:moveTo>
                  <a:cubicBezTo>
                    <a:pt x="17" y="21"/>
                    <a:pt x="11" y="18"/>
                    <a:pt x="7" y="12"/>
                  </a:cubicBezTo>
                  <a:cubicBezTo>
                    <a:pt x="2" y="6"/>
                    <a:pt x="0" y="0"/>
                    <a:pt x="1" y="0"/>
                  </a:cubicBezTo>
                  <a:cubicBezTo>
                    <a:pt x="1" y="0"/>
                    <a:pt x="4" y="5"/>
                    <a:pt x="8" y="11"/>
                  </a:cubicBezTo>
                  <a:cubicBezTo>
                    <a:pt x="13" y="16"/>
                    <a:pt x="17" y="20"/>
                    <a:pt x="17" y="2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4">
              <a:extLst>
                <a:ext uri="{FF2B5EF4-FFF2-40B4-BE49-F238E27FC236}">
                  <a16:creationId xmlns:a16="http://schemas.microsoft.com/office/drawing/2014/main" id="{C2D15A9E-D49C-4AC9-980B-62AA990C6B0F}"/>
                </a:ext>
              </a:extLst>
            </p:cNvPr>
            <p:cNvSpPr>
              <a:spLocks/>
            </p:cNvSpPr>
            <p:nvPr/>
          </p:nvSpPr>
          <p:spPr bwMode="auto">
            <a:xfrm>
              <a:off x="5627" y="3265"/>
              <a:ext cx="344" cy="368"/>
            </a:xfrm>
            <a:custGeom>
              <a:avLst/>
              <a:gdLst>
                <a:gd name="T0" fmla="*/ 0 w 344"/>
                <a:gd name="T1" fmla="*/ 147 h 368"/>
                <a:gd name="T2" fmla="*/ 278 w 344"/>
                <a:gd name="T3" fmla="*/ 368 h 368"/>
                <a:gd name="T4" fmla="*/ 344 w 344"/>
                <a:gd name="T5" fmla="*/ 271 h 368"/>
                <a:gd name="T6" fmla="*/ 95 w 344"/>
                <a:gd name="T7" fmla="*/ 0 h 368"/>
                <a:gd name="T8" fmla="*/ 0 w 344"/>
                <a:gd name="T9" fmla="*/ 147 h 368"/>
              </a:gdLst>
              <a:ahLst/>
              <a:cxnLst>
                <a:cxn ang="0">
                  <a:pos x="T0" y="T1"/>
                </a:cxn>
                <a:cxn ang="0">
                  <a:pos x="T2" y="T3"/>
                </a:cxn>
                <a:cxn ang="0">
                  <a:pos x="T4" y="T5"/>
                </a:cxn>
                <a:cxn ang="0">
                  <a:pos x="T6" y="T7"/>
                </a:cxn>
                <a:cxn ang="0">
                  <a:pos x="T8" y="T9"/>
                </a:cxn>
              </a:cxnLst>
              <a:rect l="0" t="0" r="r" b="b"/>
              <a:pathLst>
                <a:path w="344" h="368">
                  <a:moveTo>
                    <a:pt x="0" y="147"/>
                  </a:moveTo>
                  <a:lnTo>
                    <a:pt x="278" y="368"/>
                  </a:lnTo>
                  <a:lnTo>
                    <a:pt x="344" y="271"/>
                  </a:lnTo>
                  <a:lnTo>
                    <a:pt x="95" y="0"/>
                  </a:lnTo>
                  <a:lnTo>
                    <a:pt x="0" y="147"/>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5">
              <a:extLst>
                <a:ext uri="{FF2B5EF4-FFF2-40B4-BE49-F238E27FC236}">
                  <a16:creationId xmlns:a16="http://schemas.microsoft.com/office/drawing/2014/main" id="{20F71C73-986B-4DB6-BB58-F8942829C38A}"/>
                </a:ext>
              </a:extLst>
            </p:cNvPr>
            <p:cNvSpPr>
              <a:spLocks/>
            </p:cNvSpPr>
            <p:nvPr/>
          </p:nvSpPr>
          <p:spPr bwMode="auto">
            <a:xfrm>
              <a:off x="5843" y="3526"/>
              <a:ext cx="135" cy="214"/>
            </a:xfrm>
            <a:custGeom>
              <a:avLst/>
              <a:gdLst>
                <a:gd name="T0" fmla="*/ 18 w 57"/>
                <a:gd name="T1" fmla="*/ 47 h 90"/>
                <a:gd name="T2" fmla="*/ 0 w 57"/>
                <a:gd name="T3" fmla="*/ 90 h 90"/>
                <a:gd name="T4" fmla="*/ 57 w 57"/>
                <a:gd name="T5" fmla="*/ 7 h 90"/>
                <a:gd name="T6" fmla="*/ 51 w 57"/>
                <a:gd name="T7" fmla="*/ 0 h 90"/>
                <a:gd name="T8" fmla="*/ 18 w 57"/>
                <a:gd name="T9" fmla="*/ 47 h 90"/>
              </a:gdLst>
              <a:ahLst/>
              <a:cxnLst>
                <a:cxn ang="0">
                  <a:pos x="T0" y="T1"/>
                </a:cxn>
                <a:cxn ang="0">
                  <a:pos x="T2" y="T3"/>
                </a:cxn>
                <a:cxn ang="0">
                  <a:pos x="T4" y="T5"/>
                </a:cxn>
                <a:cxn ang="0">
                  <a:pos x="T6" y="T7"/>
                </a:cxn>
                <a:cxn ang="0">
                  <a:pos x="T8" y="T9"/>
                </a:cxn>
              </a:cxnLst>
              <a:rect l="0" t="0" r="r" b="b"/>
              <a:pathLst>
                <a:path w="57" h="90">
                  <a:moveTo>
                    <a:pt x="18" y="47"/>
                  </a:moveTo>
                  <a:cubicBezTo>
                    <a:pt x="18" y="47"/>
                    <a:pt x="0" y="82"/>
                    <a:pt x="0" y="90"/>
                  </a:cubicBezTo>
                  <a:cubicBezTo>
                    <a:pt x="57" y="7"/>
                    <a:pt x="57" y="7"/>
                    <a:pt x="57" y="7"/>
                  </a:cubicBezTo>
                  <a:cubicBezTo>
                    <a:pt x="51" y="0"/>
                    <a:pt x="51" y="0"/>
                    <a:pt x="51" y="0"/>
                  </a:cubicBezTo>
                  <a:lnTo>
                    <a:pt x="18" y="47"/>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6">
              <a:extLst>
                <a:ext uri="{FF2B5EF4-FFF2-40B4-BE49-F238E27FC236}">
                  <a16:creationId xmlns:a16="http://schemas.microsoft.com/office/drawing/2014/main" id="{FD83A8CD-977A-4E8D-B165-750A753B9128}"/>
                </a:ext>
              </a:extLst>
            </p:cNvPr>
            <p:cNvSpPr>
              <a:spLocks/>
            </p:cNvSpPr>
            <p:nvPr/>
          </p:nvSpPr>
          <p:spPr bwMode="auto">
            <a:xfrm>
              <a:off x="5843" y="3536"/>
              <a:ext cx="147" cy="211"/>
            </a:xfrm>
            <a:custGeom>
              <a:avLst/>
              <a:gdLst>
                <a:gd name="T0" fmla="*/ 0 w 147"/>
                <a:gd name="T1" fmla="*/ 204 h 211"/>
                <a:gd name="T2" fmla="*/ 9 w 147"/>
                <a:gd name="T3" fmla="*/ 211 h 211"/>
                <a:gd name="T4" fmla="*/ 147 w 147"/>
                <a:gd name="T5" fmla="*/ 4 h 211"/>
                <a:gd name="T6" fmla="*/ 140 w 147"/>
                <a:gd name="T7" fmla="*/ 0 h 211"/>
                <a:gd name="T8" fmla="*/ 0 w 147"/>
                <a:gd name="T9" fmla="*/ 204 h 211"/>
              </a:gdLst>
              <a:ahLst/>
              <a:cxnLst>
                <a:cxn ang="0">
                  <a:pos x="T0" y="T1"/>
                </a:cxn>
                <a:cxn ang="0">
                  <a:pos x="T2" y="T3"/>
                </a:cxn>
                <a:cxn ang="0">
                  <a:pos x="T4" y="T5"/>
                </a:cxn>
                <a:cxn ang="0">
                  <a:pos x="T6" y="T7"/>
                </a:cxn>
                <a:cxn ang="0">
                  <a:pos x="T8" y="T9"/>
                </a:cxn>
              </a:cxnLst>
              <a:rect l="0" t="0" r="r" b="b"/>
              <a:pathLst>
                <a:path w="147" h="211">
                  <a:moveTo>
                    <a:pt x="0" y="204"/>
                  </a:moveTo>
                  <a:lnTo>
                    <a:pt x="9" y="211"/>
                  </a:lnTo>
                  <a:lnTo>
                    <a:pt x="147" y="4"/>
                  </a:lnTo>
                  <a:lnTo>
                    <a:pt x="140" y="0"/>
                  </a:lnTo>
                  <a:lnTo>
                    <a:pt x="0" y="204"/>
                  </a:ln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7">
              <a:extLst>
                <a:ext uri="{FF2B5EF4-FFF2-40B4-BE49-F238E27FC236}">
                  <a16:creationId xmlns:a16="http://schemas.microsoft.com/office/drawing/2014/main" id="{003F4315-965D-41EC-A086-96FD728ABE39}"/>
                </a:ext>
              </a:extLst>
            </p:cNvPr>
            <p:cNvSpPr>
              <a:spLocks/>
            </p:cNvSpPr>
            <p:nvPr/>
          </p:nvSpPr>
          <p:spPr bwMode="auto">
            <a:xfrm>
              <a:off x="5862" y="3666"/>
              <a:ext cx="36" cy="19"/>
            </a:xfrm>
            <a:custGeom>
              <a:avLst/>
              <a:gdLst>
                <a:gd name="T0" fmla="*/ 15 w 15"/>
                <a:gd name="T1" fmla="*/ 2 h 8"/>
                <a:gd name="T2" fmla="*/ 8 w 15"/>
                <a:gd name="T3" fmla="*/ 4 h 8"/>
                <a:gd name="T4" fmla="*/ 1 w 15"/>
                <a:gd name="T5" fmla="*/ 7 h 8"/>
                <a:gd name="T6" fmla="*/ 7 w 15"/>
                <a:gd name="T7" fmla="*/ 2 h 8"/>
                <a:gd name="T8" fmla="*/ 15 w 15"/>
                <a:gd name="T9" fmla="*/ 2 h 8"/>
              </a:gdLst>
              <a:ahLst/>
              <a:cxnLst>
                <a:cxn ang="0">
                  <a:pos x="T0" y="T1"/>
                </a:cxn>
                <a:cxn ang="0">
                  <a:pos x="T2" y="T3"/>
                </a:cxn>
                <a:cxn ang="0">
                  <a:pos x="T4" y="T5"/>
                </a:cxn>
                <a:cxn ang="0">
                  <a:pos x="T6" y="T7"/>
                </a:cxn>
                <a:cxn ang="0">
                  <a:pos x="T8" y="T9"/>
                </a:cxn>
              </a:cxnLst>
              <a:rect l="0" t="0" r="r" b="b"/>
              <a:pathLst>
                <a:path w="15" h="8">
                  <a:moveTo>
                    <a:pt x="15" y="2"/>
                  </a:moveTo>
                  <a:cubicBezTo>
                    <a:pt x="15" y="3"/>
                    <a:pt x="12" y="2"/>
                    <a:pt x="8" y="4"/>
                  </a:cubicBezTo>
                  <a:cubicBezTo>
                    <a:pt x="4" y="5"/>
                    <a:pt x="1" y="8"/>
                    <a:pt x="1" y="7"/>
                  </a:cubicBezTo>
                  <a:cubicBezTo>
                    <a:pt x="0" y="7"/>
                    <a:pt x="3" y="3"/>
                    <a:pt x="7" y="2"/>
                  </a:cubicBezTo>
                  <a:cubicBezTo>
                    <a:pt x="12" y="0"/>
                    <a:pt x="15" y="2"/>
                    <a:pt x="15" y="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8">
              <a:extLst>
                <a:ext uri="{FF2B5EF4-FFF2-40B4-BE49-F238E27FC236}">
                  <a16:creationId xmlns:a16="http://schemas.microsoft.com/office/drawing/2014/main" id="{796B5D0B-76C3-4B8B-BC62-DC557AEE1C49}"/>
                </a:ext>
              </a:extLst>
            </p:cNvPr>
            <p:cNvSpPr>
              <a:spLocks/>
            </p:cNvSpPr>
            <p:nvPr/>
          </p:nvSpPr>
          <p:spPr bwMode="auto">
            <a:xfrm>
              <a:off x="5943" y="3519"/>
              <a:ext cx="19" cy="76"/>
            </a:xfrm>
            <a:custGeom>
              <a:avLst/>
              <a:gdLst>
                <a:gd name="T0" fmla="*/ 7 w 8"/>
                <a:gd name="T1" fmla="*/ 0 h 32"/>
                <a:gd name="T2" fmla="*/ 3 w 8"/>
                <a:gd name="T3" fmla="*/ 16 h 32"/>
                <a:gd name="T4" fmla="*/ 2 w 8"/>
                <a:gd name="T5" fmla="*/ 32 h 32"/>
                <a:gd name="T6" fmla="*/ 1 w 8"/>
                <a:gd name="T7" fmla="*/ 16 h 32"/>
                <a:gd name="T8" fmla="*/ 7 w 8"/>
                <a:gd name="T9" fmla="*/ 0 h 32"/>
              </a:gdLst>
              <a:ahLst/>
              <a:cxnLst>
                <a:cxn ang="0">
                  <a:pos x="T0" y="T1"/>
                </a:cxn>
                <a:cxn ang="0">
                  <a:pos x="T2" y="T3"/>
                </a:cxn>
                <a:cxn ang="0">
                  <a:pos x="T4" y="T5"/>
                </a:cxn>
                <a:cxn ang="0">
                  <a:pos x="T6" y="T7"/>
                </a:cxn>
                <a:cxn ang="0">
                  <a:pos x="T8" y="T9"/>
                </a:cxn>
              </a:cxnLst>
              <a:rect l="0" t="0" r="r" b="b"/>
              <a:pathLst>
                <a:path w="8" h="32">
                  <a:moveTo>
                    <a:pt x="7" y="0"/>
                  </a:moveTo>
                  <a:cubicBezTo>
                    <a:pt x="8" y="1"/>
                    <a:pt x="5" y="7"/>
                    <a:pt x="3" y="16"/>
                  </a:cubicBezTo>
                  <a:cubicBezTo>
                    <a:pt x="2" y="25"/>
                    <a:pt x="2" y="32"/>
                    <a:pt x="2" y="32"/>
                  </a:cubicBezTo>
                  <a:cubicBezTo>
                    <a:pt x="1" y="32"/>
                    <a:pt x="0" y="25"/>
                    <a:pt x="1" y="16"/>
                  </a:cubicBezTo>
                  <a:cubicBezTo>
                    <a:pt x="3" y="7"/>
                    <a:pt x="7" y="0"/>
                    <a:pt x="7"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9">
              <a:extLst>
                <a:ext uri="{FF2B5EF4-FFF2-40B4-BE49-F238E27FC236}">
                  <a16:creationId xmlns:a16="http://schemas.microsoft.com/office/drawing/2014/main" id="{FFFE8012-A5D2-4F1B-BCD4-E57875F37D0B}"/>
                </a:ext>
              </a:extLst>
            </p:cNvPr>
            <p:cNvSpPr>
              <a:spLocks/>
            </p:cNvSpPr>
            <p:nvPr/>
          </p:nvSpPr>
          <p:spPr bwMode="auto">
            <a:xfrm>
              <a:off x="5876" y="3514"/>
              <a:ext cx="76" cy="98"/>
            </a:xfrm>
            <a:custGeom>
              <a:avLst/>
              <a:gdLst>
                <a:gd name="T0" fmla="*/ 32 w 32"/>
                <a:gd name="T1" fmla="*/ 0 h 41"/>
                <a:gd name="T2" fmla="*/ 17 w 32"/>
                <a:gd name="T3" fmla="*/ 21 h 41"/>
                <a:gd name="T4" fmla="*/ 1 w 32"/>
                <a:gd name="T5" fmla="*/ 41 h 41"/>
                <a:gd name="T6" fmla="*/ 15 w 32"/>
                <a:gd name="T7" fmla="*/ 20 h 41"/>
                <a:gd name="T8" fmla="*/ 32 w 32"/>
                <a:gd name="T9" fmla="*/ 0 h 41"/>
              </a:gdLst>
              <a:ahLst/>
              <a:cxnLst>
                <a:cxn ang="0">
                  <a:pos x="T0" y="T1"/>
                </a:cxn>
                <a:cxn ang="0">
                  <a:pos x="T2" y="T3"/>
                </a:cxn>
                <a:cxn ang="0">
                  <a:pos x="T4" y="T5"/>
                </a:cxn>
                <a:cxn ang="0">
                  <a:pos x="T6" y="T7"/>
                </a:cxn>
                <a:cxn ang="0">
                  <a:pos x="T8" y="T9"/>
                </a:cxn>
              </a:cxnLst>
              <a:rect l="0" t="0" r="r" b="b"/>
              <a:pathLst>
                <a:path w="32" h="41">
                  <a:moveTo>
                    <a:pt x="32" y="0"/>
                  </a:moveTo>
                  <a:cubicBezTo>
                    <a:pt x="32" y="1"/>
                    <a:pt x="26" y="10"/>
                    <a:pt x="17" y="21"/>
                  </a:cubicBezTo>
                  <a:cubicBezTo>
                    <a:pt x="8" y="32"/>
                    <a:pt x="1" y="41"/>
                    <a:pt x="1" y="41"/>
                  </a:cubicBezTo>
                  <a:cubicBezTo>
                    <a:pt x="0" y="40"/>
                    <a:pt x="7" y="31"/>
                    <a:pt x="15" y="20"/>
                  </a:cubicBezTo>
                  <a:cubicBezTo>
                    <a:pt x="24" y="9"/>
                    <a:pt x="31" y="0"/>
                    <a:pt x="32"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0">
              <a:extLst>
                <a:ext uri="{FF2B5EF4-FFF2-40B4-BE49-F238E27FC236}">
                  <a16:creationId xmlns:a16="http://schemas.microsoft.com/office/drawing/2014/main" id="{26ABE31A-CDC2-48C4-82AD-DD16D6296A88}"/>
                </a:ext>
              </a:extLst>
            </p:cNvPr>
            <p:cNvSpPr>
              <a:spLocks/>
            </p:cNvSpPr>
            <p:nvPr/>
          </p:nvSpPr>
          <p:spPr bwMode="auto">
            <a:xfrm>
              <a:off x="5867" y="3481"/>
              <a:ext cx="57" cy="121"/>
            </a:xfrm>
            <a:custGeom>
              <a:avLst/>
              <a:gdLst>
                <a:gd name="T0" fmla="*/ 23 w 24"/>
                <a:gd name="T1" fmla="*/ 0 h 51"/>
                <a:gd name="T2" fmla="*/ 13 w 24"/>
                <a:gd name="T3" fmla="*/ 26 h 51"/>
                <a:gd name="T4" fmla="*/ 0 w 24"/>
                <a:gd name="T5" fmla="*/ 51 h 51"/>
                <a:gd name="T6" fmla="*/ 11 w 24"/>
                <a:gd name="T7" fmla="*/ 25 h 51"/>
                <a:gd name="T8" fmla="*/ 23 w 24"/>
                <a:gd name="T9" fmla="*/ 0 h 51"/>
              </a:gdLst>
              <a:ahLst/>
              <a:cxnLst>
                <a:cxn ang="0">
                  <a:pos x="T0" y="T1"/>
                </a:cxn>
                <a:cxn ang="0">
                  <a:pos x="T2" y="T3"/>
                </a:cxn>
                <a:cxn ang="0">
                  <a:pos x="T4" y="T5"/>
                </a:cxn>
                <a:cxn ang="0">
                  <a:pos x="T6" y="T7"/>
                </a:cxn>
                <a:cxn ang="0">
                  <a:pos x="T8" y="T9"/>
                </a:cxn>
              </a:cxnLst>
              <a:rect l="0" t="0" r="r" b="b"/>
              <a:pathLst>
                <a:path w="24" h="51">
                  <a:moveTo>
                    <a:pt x="23" y="0"/>
                  </a:moveTo>
                  <a:cubicBezTo>
                    <a:pt x="24" y="0"/>
                    <a:pt x="19" y="12"/>
                    <a:pt x="13" y="26"/>
                  </a:cubicBezTo>
                  <a:cubicBezTo>
                    <a:pt x="6" y="40"/>
                    <a:pt x="1" y="51"/>
                    <a:pt x="0" y="51"/>
                  </a:cubicBezTo>
                  <a:cubicBezTo>
                    <a:pt x="0" y="51"/>
                    <a:pt x="4" y="39"/>
                    <a:pt x="11" y="25"/>
                  </a:cubicBezTo>
                  <a:cubicBezTo>
                    <a:pt x="17" y="11"/>
                    <a:pt x="23" y="0"/>
                    <a:pt x="23"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71">
              <a:extLst>
                <a:ext uri="{FF2B5EF4-FFF2-40B4-BE49-F238E27FC236}">
                  <a16:creationId xmlns:a16="http://schemas.microsoft.com/office/drawing/2014/main" id="{6984586F-065A-41C8-B638-3CBC911097B2}"/>
                </a:ext>
              </a:extLst>
            </p:cNvPr>
            <p:cNvSpPr>
              <a:spLocks/>
            </p:cNvSpPr>
            <p:nvPr/>
          </p:nvSpPr>
          <p:spPr bwMode="auto">
            <a:xfrm>
              <a:off x="5864" y="3483"/>
              <a:ext cx="57" cy="26"/>
            </a:xfrm>
            <a:custGeom>
              <a:avLst/>
              <a:gdLst>
                <a:gd name="T0" fmla="*/ 24 w 24"/>
                <a:gd name="T1" fmla="*/ 0 h 11"/>
                <a:gd name="T2" fmla="*/ 19 w 24"/>
                <a:gd name="T3" fmla="*/ 6 h 11"/>
                <a:gd name="T4" fmla="*/ 11 w 24"/>
                <a:gd name="T5" fmla="*/ 9 h 11"/>
                <a:gd name="T6" fmla="*/ 6 w 24"/>
                <a:gd name="T7" fmla="*/ 11 h 11"/>
                <a:gd name="T8" fmla="*/ 3 w 24"/>
                <a:gd name="T9" fmla="*/ 11 h 11"/>
                <a:gd name="T10" fmla="*/ 1 w 24"/>
                <a:gd name="T11" fmla="*/ 9 h 11"/>
                <a:gd name="T12" fmla="*/ 1 w 24"/>
                <a:gd name="T13" fmla="*/ 5 h 11"/>
                <a:gd name="T14" fmla="*/ 4 w 24"/>
                <a:gd name="T15" fmla="*/ 3 h 11"/>
                <a:gd name="T16" fmla="*/ 8 w 24"/>
                <a:gd name="T17" fmla="*/ 1 h 11"/>
                <a:gd name="T18" fmla="*/ 17 w 24"/>
                <a:gd name="T19" fmla="*/ 0 h 11"/>
                <a:gd name="T20" fmla="*/ 24 w 24"/>
                <a:gd name="T21" fmla="*/ 2 h 11"/>
                <a:gd name="T22" fmla="*/ 17 w 24"/>
                <a:gd name="T23" fmla="*/ 1 h 11"/>
                <a:gd name="T24" fmla="*/ 9 w 24"/>
                <a:gd name="T25" fmla="*/ 3 h 11"/>
                <a:gd name="T26" fmla="*/ 5 w 24"/>
                <a:gd name="T27" fmla="*/ 5 h 11"/>
                <a:gd name="T28" fmla="*/ 2 w 24"/>
                <a:gd name="T29" fmla="*/ 8 h 11"/>
                <a:gd name="T30" fmla="*/ 6 w 24"/>
                <a:gd name="T31" fmla="*/ 9 h 11"/>
                <a:gd name="T32" fmla="*/ 10 w 24"/>
                <a:gd name="T33" fmla="*/ 8 h 11"/>
                <a:gd name="T34" fmla="*/ 18 w 24"/>
                <a:gd name="T35" fmla="*/ 4 h 11"/>
                <a:gd name="T36" fmla="*/ 24 w 24"/>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1">
                  <a:moveTo>
                    <a:pt x="24" y="0"/>
                  </a:moveTo>
                  <a:cubicBezTo>
                    <a:pt x="24" y="0"/>
                    <a:pt x="23" y="3"/>
                    <a:pt x="19" y="6"/>
                  </a:cubicBezTo>
                  <a:cubicBezTo>
                    <a:pt x="17" y="7"/>
                    <a:pt x="14" y="8"/>
                    <a:pt x="11" y="9"/>
                  </a:cubicBezTo>
                  <a:cubicBezTo>
                    <a:pt x="10" y="10"/>
                    <a:pt x="8" y="11"/>
                    <a:pt x="6" y="11"/>
                  </a:cubicBezTo>
                  <a:cubicBezTo>
                    <a:pt x="5" y="11"/>
                    <a:pt x="4" y="11"/>
                    <a:pt x="3" y="11"/>
                  </a:cubicBezTo>
                  <a:cubicBezTo>
                    <a:pt x="2" y="11"/>
                    <a:pt x="1" y="10"/>
                    <a:pt x="1" y="9"/>
                  </a:cubicBezTo>
                  <a:cubicBezTo>
                    <a:pt x="0" y="7"/>
                    <a:pt x="1" y="6"/>
                    <a:pt x="1" y="5"/>
                  </a:cubicBezTo>
                  <a:cubicBezTo>
                    <a:pt x="2" y="4"/>
                    <a:pt x="3" y="4"/>
                    <a:pt x="4" y="3"/>
                  </a:cubicBezTo>
                  <a:cubicBezTo>
                    <a:pt x="5" y="2"/>
                    <a:pt x="7" y="2"/>
                    <a:pt x="8" y="1"/>
                  </a:cubicBezTo>
                  <a:cubicBezTo>
                    <a:pt x="11" y="0"/>
                    <a:pt x="14" y="0"/>
                    <a:pt x="17" y="0"/>
                  </a:cubicBezTo>
                  <a:cubicBezTo>
                    <a:pt x="22" y="0"/>
                    <a:pt x="24" y="2"/>
                    <a:pt x="24" y="2"/>
                  </a:cubicBezTo>
                  <a:cubicBezTo>
                    <a:pt x="24" y="2"/>
                    <a:pt x="21" y="1"/>
                    <a:pt x="17" y="1"/>
                  </a:cubicBezTo>
                  <a:cubicBezTo>
                    <a:pt x="14" y="1"/>
                    <a:pt x="12" y="2"/>
                    <a:pt x="9" y="3"/>
                  </a:cubicBezTo>
                  <a:cubicBezTo>
                    <a:pt x="7" y="3"/>
                    <a:pt x="6" y="4"/>
                    <a:pt x="5" y="5"/>
                  </a:cubicBezTo>
                  <a:cubicBezTo>
                    <a:pt x="3" y="6"/>
                    <a:pt x="2" y="7"/>
                    <a:pt x="2" y="8"/>
                  </a:cubicBezTo>
                  <a:cubicBezTo>
                    <a:pt x="3" y="9"/>
                    <a:pt x="4" y="9"/>
                    <a:pt x="6" y="9"/>
                  </a:cubicBezTo>
                  <a:cubicBezTo>
                    <a:pt x="7" y="9"/>
                    <a:pt x="9" y="8"/>
                    <a:pt x="10" y="8"/>
                  </a:cubicBezTo>
                  <a:cubicBezTo>
                    <a:pt x="13" y="7"/>
                    <a:pt x="16" y="6"/>
                    <a:pt x="18" y="4"/>
                  </a:cubicBezTo>
                  <a:cubicBezTo>
                    <a:pt x="22" y="2"/>
                    <a:pt x="24" y="0"/>
                    <a:pt x="24"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2">
              <a:extLst>
                <a:ext uri="{FF2B5EF4-FFF2-40B4-BE49-F238E27FC236}">
                  <a16:creationId xmlns:a16="http://schemas.microsoft.com/office/drawing/2014/main" id="{FB329F4C-27BC-4B21-B58C-04BDB4272992}"/>
                </a:ext>
              </a:extLst>
            </p:cNvPr>
            <p:cNvSpPr>
              <a:spLocks/>
            </p:cNvSpPr>
            <p:nvPr/>
          </p:nvSpPr>
          <p:spPr bwMode="auto">
            <a:xfrm>
              <a:off x="5886" y="3438"/>
              <a:ext cx="38" cy="50"/>
            </a:xfrm>
            <a:custGeom>
              <a:avLst/>
              <a:gdLst>
                <a:gd name="T0" fmla="*/ 16 w 16"/>
                <a:gd name="T1" fmla="*/ 21 h 21"/>
                <a:gd name="T2" fmla="*/ 9 w 16"/>
                <a:gd name="T3" fmla="*/ 17 h 21"/>
                <a:gd name="T4" fmla="*/ 3 w 16"/>
                <a:gd name="T5" fmla="*/ 11 h 21"/>
                <a:gd name="T6" fmla="*/ 1 w 16"/>
                <a:gd name="T7" fmla="*/ 7 h 21"/>
                <a:gd name="T8" fmla="*/ 1 w 16"/>
                <a:gd name="T9" fmla="*/ 4 h 21"/>
                <a:gd name="T10" fmla="*/ 1 w 16"/>
                <a:gd name="T11" fmla="*/ 1 h 21"/>
                <a:gd name="T12" fmla="*/ 4 w 16"/>
                <a:gd name="T13" fmla="*/ 0 h 21"/>
                <a:gd name="T14" fmla="*/ 7 w 16"/>
                <a:gd name="T15" fmla="*/ 1 h 21"/>
                <a:gd name="T16" fmla="*/ 11 w 16"/>
                <a:gd name="T17" fmla="*/ 4 h 21"/>
                <a:gd name="T18" fmla="*/ 15 w 16"/>
                <a:gd name="T19" fmla="*/ 12 h 21"/>
                <a:gd name="T20" fmla="*/ 15 w 16"/>
                <a:gd name="T21" fmla="*/ 19 h 21"/>
                <a:gd name="T22" fmla="*/ 13 w 16"/>
                <a:gd name="T23" fmla="*/ 12 h 21"/>
                <a:gd name="T24" fmla="*/ 9 w 16"/>
                <a:gd name="T25" fmla="*/ 6 h 21"/>
                <a:gd name="T26" fmla="*/ 6 w 16"/>
                <a:gd name="T27" fmla="*/ 2 h 21"/>
                <a:gd name="T28" fmla="*/ 3 w 16"/>
                <a:gd name="T29" fmla="*/ 2 h 21"/>
                <a:gd name="T30" fmla="*/ 3 w 16"/>
                <a:gd name="T31" fmla="*/ 6 h 21"/>
                <a:gd name="T32" fmla="*/ 5 w 16"/>
                <a:gd name="T33" fmla="*/ 10 h 21"/>
                <a:gd name="T34" fmla="*/ 10 w 16"/>
                <a:gd name="T35" fmla="*/ 16 h 21"/>
                <a:gd name="T36" fmla="*/ 16 w 16"/>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1">
                  <a:moveTo>
                    <a:pt x="16" y="21"/>
                  </a:moveTo>
                  <a:cubicBezTo>
                    <a:pt x="16" y="21"/>
                    <a:pt x="13" y="20"/>
                    <a:pt x="9" y="17"/>
                  </a:cubicBezTo>
                  <a:cubicBezTo>
                    <a:pt x="7" y="16"/>
                    <a:pt x="5" y="14"/>
                    <a:pt x="3" y="11"/>
                  </a:cubicBezTo>
                  <a:cubicBezTo>
                    <a:pt x="3" y="10"/>
                    <a:pt x="2" y="8"/>
                    <a:pt x="1" y="7"/>
                  </a:cubicBezTo>
                  <a:cubicBezTo>
                    <a:pt x="1" y="6"/>
                    <a:pt x="1" y="5"/>
                    <a:pt x="1" y="4"/>
                  </a:cubicBezTo>
                  <a:cubicBezTo>
                    <a:pt x="0" y="3"/>
                    <a:pt x="0" y="2"/>
                    <a:pt x="1" y="1"/>
                  </a:cubicBezTo>
                  <a:cubicBezTo>
                    <a:pt x="2" y="0"/>
                    <a:pt x="3" y="0"/>
                    <a:pt x="4" y="0"/>
                  </a:cubicBezTo>
                  <a:cubicBezTo>
                    <a:pt x="5" y="0"/>
                    <a:pt x="6" y="0"/>
                    <a:pt x="7" y="1"/>
                  </a:cubicBezTo>
                  <a:cubicBezTo>
                    <a:pt x="8" y="2"/>
                    <a:pt x="10" y="3"/>
                    <a:pt x="11" y="4"/>
                  </a:cubicBezTo>
                  <a:cubicBezTo>
                    <a:pt x="13" y="7"/>
                    <a:pt x="14" y="10"/>
                    <a:pt x="15" y="12"/>
                  </a:cubicBezTo>
                  <a:cubicBezTo>
                    <a:pt x="16" y="16"/>
                    <a:pt x="15" y="19"/>
                    <a:pt x="15" y="19"/>
                  </a:cubicBezTo>
                  <a:cubicBezTo>
                    <a:pt x="15" y="19"/>
                    <a:pt x="15" y="17"/>
                    <a:pt x="13" y="12"/>
                  </a:cubicBezTo>
                  <a:cubicBezTo>
                    <a:pt x="12" y="10"/>
                    <a:pt x="11" y="8"/>
                    <a:pt x="9" y="6"/>
                  </a:cubicBezTo>
                  <a:cubicBezTo>
                    <a:pt x="8" y="4"/>
                    <a:pt x="7" y="3"/>
                    <a:pt x="6" y="2"/>
                  </a:cubicBezTo>
                  <a:cubicBezTo>
                    <a:pt x="5" y="2"/>
                    <a:pt x="3" y="1"/>
                    <a:pt x="3" y="2"/>
                  </a:cubicBezTo>
                  <a:cubicBezTo>
                    <a:pt x="2" y="3"/>
                    <a:pt x="3" y="5"/>
                    <a:pt x="3" y="6"/>
                  </a:cubicBezTo>
                  <a:cubicBezTo>
                    <a:pt x="4" y="8"/>
                    <a:pt x="4" y="9"/>
                    <a:pt x="5" y="10"/>
                  </a:cubicBezTo>
                  <a:cubicBezTo>
                    <a:pt x="7" y="13"/>
                    <a:pt x="8" y="15"/>
                    <a:pt x="10" y="16"/>
                  </a:cubicBezTo>
                  <a:cubicBezTo>
                    <a:pt x="13" y="19"/>
                    <a:pt x="16" y="20"/>
                    <a:pt x="16" y="2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3">
              <a:extLst>
                <a:ext uri="{FF2B5EF4-FFF2-40B4-BE49-F238E27FC236}">
                  <a16:creationId xmlns:a16="http://schemas.microsoft.com/office/drawing/2014/main" id="{152C7050-F949-4F40-8CA8-A256FC959E3A}"/>
                </a:ext>
              </a:extLst>
            </p:cNvPr>
            <p:cNvSpPr>
              <a:spLocks/>
            </p:cNvSpPr>
            <p:nvPr/>
          </p:nvSpPr>
          <p:spPr bwMode="auto">
            <a:xfrm>
              <a:off x="5921" y="3486"/>
              <a:ext cx="60" cy="19"/>
            </a:xfrm>
            <a:custGeom>
              <a:avLst/>
              <a:gdLst>
                <a:gd name="T0" fmla="*/ 25 w 25"/>
                <a:gd name="T1" fmla="*/ 8 h 8"/>
                <a:gd name="T2" fmla="*/ 12 w 25"/>
                <a:gd name="T3" fmla="*/ 6 h 8"/>
                <a:gd name="T4" fmla="*/ 0 w 25"/>
                <a:gd name="T5" fmla="*/ 0 h 8"/>
                <a:gd name="T6" fmla="*/ 13 w 25"/>
                <a:gd name="T7" fmla="*/ 4 h 8"/>
                <a:gd name="T8" fmla="*/ 25 w 25"/>
                <a:gd name="T9" fmla="*/ 8 h 8"/>
              </a:gdLst>
              <a:ahLst/>
              <a:cxnLst>
                <a:cxn ang="0">
                  <a:pos x="T0" y="T1"/>
                </a:cxn>
                <a:cxn ang="0">
                  <a:pos x="T2" y="T3"/>
                </a:cxn>
                <a:cxn ang="0">
                  <a:pos x="T4" y="T5"/>
                </a:cxn>
                <a:cxn ang="0">
                  <a:pos x="T6" y="T7"/>
                </a:cxn>
                <a:cxn ang="0">
                  <a:pos x="T8" y="T9"/>
                </a:cxn>
              </a:cxnLst>
              <a:rect l="0" t="0" r="r" b="b"/>
              <a:pathLst>
                <a:path w="25" h="8">
                  <a:moveTo>
                    <a:pt x="25" y="8"/>
                  </a:moveTo>
                  <a:cubicBezTo>
                    <a:pt x="25" y="8"/>
                    <a:pt x="19" y="8"/>
                    <a:pt x="12" y="6"/>
                  </a:cubicBezTo>
                  <a:cubicBezTo>
                    <a:pt x="5" y="4"/>
                    <a:pt x="0" y="1"/>
                    <a:pt x="0" y="0"/>
                  </a:cubicBezTo>
                  <a:cubicBezTo>
                    <a:pt x="0" y="0"/>
                    <a:pt x="6" y="2"/>
                    <a:pt x="13" y="4"/>
                  </a:cubicBezTo>
                  <a:cubicBezTo>
                    <a:pt x="19" y="6"/>
                    <a:pt x="25" y="7"/>
                    <a:pt x="25" y="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4">
              <a:extLst>
                <a:ext uri="{FF2B5EF4-FFF2-40B4-BE49-F238E27FC236}">
                  <a16:creationId xmlns:a16="http://schemas.microsoft.com/office/drawing/2014/main" id="{23CC4C8A-2046-4DF9-87DF-842C5C6CFF0A}"/>
                </a:ext>
              </a:extLst>
            </p:cNvPr>
            <p:cNvSpPr>
              <a:spLocks/>
            </p:cNvSpPr>
            <p:nvPr/>
          </p:nvSpPr>
          <p:spPr bwMode="auto">
            <a:xfrm>
              <a:off x="5917" y="3481"/>
              <a:ext cx="64" cy="12"/>
            </a:xfrm>
            <a:custGeom>
              <a:avLst/>
              <a:gdLst>
                <a:gd name="T0" fmla="*/ 26 w 27"/>
                <a:gd name="T1" fmla="*/ 1 h 5"/>
                <a:gd name="T2" fmla="*/ 13 w 27"/>
                <a:gd name="T3" fmla="*/ 4 h 5"/>
                <a:gd name="T4" fmla="*/ 0 w 27"/>
                <a:gd name="T5" fmla="*/ 2 h 5"/>
                <a:gd name="T6" fmla="*/ 13 w 27"/>
                <a:gd name="T7" fmla="*/ 2 h 5"/>
                <a:gd name="T8" fmla="*/ 26 w 27"/>
                <a:gd name="T9" fmla="*/ 1 h 5"/>
              </a:gdLst>
              <a:ahLst/>
              <a:cxnLst>
                <a:cxn ang="0">
                  <a:pos x="T0" y="T1"/>
                </a:cxn>
                <a:cxn ang="0">
                  <a:pos x="T2" y="T3"/>
                </a:cxn>
                <a:cxn ang="0">
                  <a:pos x="T4" y="T5"/>
                </a:cxn>
                <a:cxn ang="0">
                  <a:pos x="T6" y="T7"/>
                </a:cxn>
                <a:cxn ang="0">
                  <a:pos x="T8" y="T9"/>
                </a:cxn>
              </a:cxnLst>
              <a:rect l="0" t="0" r="r" b="b"/>
              <a:pathLst>
                <a:path w="27" h="5">
                  <a:moveTo>
                    <a:pt x="26" y="1"/>
                  </a:moveTo>
                  <a:cubicBezTo>
                    <a:pt x="27" y="2"/>
                    <a:pt x="21" y="4"/>
                    <a:pt x="13" y="4"/>
                  </a:cubicBezTo>
                  <a:cubicBezTo>
                    <a:pt x="6" y="5"/>
                    <a:pt x="0" y="3"/>
                    <a:pt x="0" y="2"/>
                  </a:cubicBezTo>
                  <a:cubicBezTo>
                    <a:pt x="0" y="2"/>
                    <a:pt x="6" y="3"/>
                    <a:pt x="13" y="2"/>
                  </a:cubicBezTo>
                  <a:cubicBezTo>
                    <a:pt x="20" y="2"/>
                    <a:pt x="26" y="0"/>
                    <a:pt x="26" y="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5">
              <a:extLst>
                <a:ext uri="{FF2B5EF4-FFF2-40B4-BE49-F238E27FC236}">
                  <a16:creationId xmlns:a16="http://schemas.microsoft.com/office/drawing/2014/main" id="{1CDF6D72-E287-4BEB-B3C3-4E98C6F5D968}"/>
                </a:ext>
              </a:extLst>
            </p:cNvPr>
            <p:cNvSpPr>
              <a:spLocks/>
            </p:cNvSpPr>
            <p:nvPr/>
          </p:nvSpPr>
          <p:spPr bwMode="auto">
            <a:xfrm>
              <a:off x="5252" y="2269"/>
              <a:ext cx="506" cy="1186"/>
            </a:xfrm>
            <a:custGeom>
              <a:avLst/>
              <a:gdLst>
                <a:gd name="T0" fmla="*/ 45 w 213"/>
                <a:gd name="T1" fmla="*/ 24 h 499"/>
                <a:gd name="T2" fmla="*/ 7 w 213"/>
                <a:gd name="T3" fmla="*/ 336 h 499"/>
                <a:gd name="T4" fmla="*/ 158 w 213"/>
                <a:gd name="T5" fmla="*/ 499 h 499"/>
                <a:gd name="T6" fmla="*/ 213 w 213"/>
                <a:gd name="T7" fmla="*/ 406 h 499"/>
                <a:gd name="T8" fmla="*/ 118 w 213"/>
                <a:gd name="T9" fmla="*/ 294 h 499"/>
                <a:gd name="T10" fmla="*/ 187 w 213"/>
                <a:gd name="T11" fmla="*/ 0 h 499"/>
                <a:gd name="T12" fmla="*/ 45 w 213"/>
                <a:gd name="T13" fmla="*/ 24 h 499"/>
              </a:gdLst>
              <a:ahLst/>
              <a:cxnLst>
                <a:cxn ang="0">
                  <a:pos x="T0" y="T1"/>
                </a:cxn>
                <a:cxn ang="0">
                  <a:pos x="T2" y="T3"/>
                </a:cxn>
                <a:cxn ang="0">
                  <a:pos x="T4" y="T5"/>
                </a:cxn>
                <a:cxn ang="0">
                  <a:pos x="T6" y="T7"/>
                </a:cxn>
                <a:cxn ang="0">
                  <a:pos x="T8" y="T9"/>
                </a:cxn>
                <a:cxn ang="0">
                  <a:pos x="T10" y="T11"/>
                </a:cxn>
                <a:cxn ang="0">
                  <a:pos x="T12" y="T13"/>
                </a:cxn>
              </a:cxnLst>
              <a:rect l="0" t="0" r="r" b="b"/>
              <a:pathLst>
                <a:path w="213" h="499">
                  <a:moveTo>
                    <a:pt x="45" y="24"/>
                  </a:moveTo>
                  <a:cubicBezTo>
                    <a:pt x="45" y="24"/>
                    <a:pt x="0" y="322"/>
                    <a:pt x="7" y="336"/>
                  </a:cubicBezTo>
                  <a:cubicBezTo>
                    <a:pt x="13" y="350"/>
                    <a:pt x="158" y="499"/>
                    <a:pt x="158" y="499"/>
                  </a:cubicBezTo>
                  <a:cubicBezTo>
                    <a:pt x="213" y="406"/>
                    <a:pt x="213" y="406"/>
                    <a:pt x="213" y="406"/>
                  </a:cubicBezTo>
                  <a:cubicBezTo>
                    <a:pt x="213" y="406"/>
                    <a:pt x="117" y="299"/>
                    <a:pt x="118" y="294"/>
                  </a:cubicBezTo>
                  <a:cubicBezTo>
                    <a:pt x="120" y="288"/>
                    <a:pt x="187" y="0"/>
                    <a:pt x="187" y="0"/>
                  </a:cubicBezTo>
                  <a:cubicBezTo>
                    <a:pt x="45" y="24"/>
                    <a:pt x="45" y="24"/>
                    <a:pt x="45" y="24"/>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6">
              <a:extLst>
                <a:ext uri="{FF2B5EF4-FFF2-40B4-BE49-F238E27FC236}">
                  <a16:creationId xmlns:a16="http://schemas.microsoft.com/office/drawing/2014/main" id="{806D9E3A-9B7D-4ADB-95AA-68BB1C90A17A}"/>
                </a:ext>
              </a:extLst>
            </p:cNvPr>
            <p:cNvSpPr>
              <a:spLocks/>
            </p:cNvSpPr>
            <p:nvPr/>
          </p:nvSpPr>
          <p:spPr bwMode="auto">
            <a:xfrm>
              <a:off x="5383" y="2778"/>
              <a:ext cx="197" cy="423"/>
            </a:xfrm>
            <a:custGeom>
              <a:avLst/>
              <a:gdLst>
                <a:gd name="T0" fmla="*/ 0 w 83"/>
                <a:gd name="T1" fmla="*/ 178 h 178"/>
                <a:gd name="T2" fmla="*/ 39 w 83"/>
                <a:gd name="T3" fmla="*/ 94 h 178"/>
                <a:gd name="T4" fmla="*/ 83 w 83"/>
                <a:gd name="T5" fmla="*/ 0 h 178"/>
                <a:gd name="T6" fmla="*/ 15 w 83"/>
                <a:gd name="T7" fmla="*/ 123 h 178"/>
                <a:gd name="T8" fmla="*/ 0 w 83"/>
                <a:gd name="T9" fmla="*/ 178 h 178"/>
              </a:gdLst>
              <a:ahLst/>
              <a:cxnLst>
                <a:cxn ang="0">
                  <a:pos x="T0" y="T1"/>
                </a:cxn>
                <a:cxn ang="0">
                  <a:pos x="T2" y="T3"/>
                </a:cxn>
                <a:cxn ang="0">
                  <a:pos x="T4" y="T5"/>
                </a:cxn>
                <a:cxn ang="0">
                  <a:pos x="T6" y="T7"/>
                </a:cxn>
                <a:cxn ang="0">
                  <a:pos x="T8" y="T9"/>
                </a:cxn>
              </a:cxnLst>
              <a:rect l="0" t="0" r="r" b="b"/>
              <a:pathLst>
                <a:path w="83" h="178">
                  <a:moveTo>
                    <a:pt x="0" y="178"/>
                  </a:moveTo>
                  <a:cubicBezTo>
                    <a:pt x="39" y="94"/>
                    <a:pt x="39" y="94"/>
                    <a:pt x="39" y="94"/>
                  </a:cubicBezTo>
                  <a:cubicBezTo>
                    <a:pt x="83" y="0"/>
                    <a:pt x="83" y="0"/>
                    <a:pt x="83" y="0"/>
                  </a:cubicBezTo>
                  <a:cubicBezTo>
                    <a:pt x="56" y="39"/>
                    <a:pt x="33" y="79"/>
                    <a:pt x="15" y="123"/>
                  </a:cubicBezTo>
                  <a:cubicBezTo>
                    <a:pt x="7" y="141"/>
                    <a:pt x="3" y="160"/>
                    <a:pt x="0" y="178"/>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7">
              <a:extLst>
                <a:ext uri="{FF2B5EF4-FFF2-40B4-BE49-F238E27FC236}">
                  <a16:creationId xmlns:a16="http://schemas.microsoft.com/office/drawing/2014/main" id="{576F7994-9FB5-4B31-A246-E331EC5A7AC0}"/>
                </a:ext>
              </a:extLst>
            </p:cNvPr>
            <p:cNvSpPr>
              <a:spLocks/>
            </p:cNvSpPr>
            <p:nvPr/>
          </p:nvSpPr>
          <p:spPr bwMode="auto">
            <a:xfrm>
              <a:off x="5383" y="2778"/>
              <a:ext cx="197" cy="423"/>
            </a:xfrm>
            <a:custGeom>
              <a:avLst/>
              <a:gdLst>
                <a:gd name="T0" fmla="*/ 83 w 83"/>
                <a:gd name="T1" fmla="*/ 0 h 178"/>
                <a:gd name="T2" fmla="*/ 82 w 83"/>
                <a:gd name="T3" fmla="*/ 2 h 178"/>
                <a:gd name="T4" fmla="*/ 15 w 83"/>
                <a:gd name="T5" fmla="*/ 123 h 178"/>
                <a:gd name="T6" fmla="*/ 0 w 83"/>
                <a:gd name="T7" fmla="*/ 178 h 178"/>
                <a:gd name="T8" fmla="*/ 0 w 83"/>
                <a:gd name="T9" fmla="*/ 178 h 178"/>
                <a:gd name="T10" fmla="*/ 39 w 83"/>
                <a:gd name="T11" fmla="*/ 94 h 178"/>
                <a:gd name="T12" fmla="*/ 83 w 83"/>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83" h="178">
                  <a:moveTo>
                    <a:pt x="83" y="0"/>
                  </a:moveTo>
                  <a:cubicBezTo>
                    <a:pt x="82" y="1"/>
                    <a:pt x="82" y="1"/>
                    <a:pt x="82" y="2"/>
                  </a:cubicBezTo>
                  <a:cubicBezTo>
                    <a:pt x="56" y="40"/>
                    <a:pt x="33" y="80"/>
                    <a:pt x="15" y="123"/>
                  </a:cubicBezTo>
                  <a:cubicBezTo>
                    <a:pt x="7" y="141"/>
                    <a:pt x="3" y="159"/>
                    <a:pt x="0" y="178"/>
                  </a:cubicBezTo>
                  <a:cubicBezTo>
                    <a:pt x="0" y="178"/>
                    <a:pt x="0" y="178"/>
                    <a:pt x="0" y="178"/>
                  </a:cubicBezTo>
                  <a:cubicBezTo>
                    <a:pt x="39" y="94"/>
                    <a:pt x="39" y="94"/>
                    <a:pt x="39" y="94"/>
                  </a:cubicBezTo>
                  <a:cubicBezTo>
                    <a:pt x="83" y="0"/>
                    <a:pt x="83" y="0"/>
                    <a:pt x="83"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8">
              <a:extLst>
                <a:ext uri="{FF2B5EF4-FFF2-40B4-BE49-F238E27FC236}">
                  <a16:creationId xmlns:a16="http://schemas.microsoft.com/office/drawing/2014/main" id="{91594519-C76D-454D-9071-1175288DE46D}"/>
                </a:ext>
              </a:extLst>
            </p:cNvPr>
            <p:cNvSpPr>
              <a:spLocks/>
            </p:cNvSpPr>
            <p:nvPr/>
          </p:nvSpPr>
          <p:spPr bwMode="auto">
            <a:xfrm>
              <a:off x="5321" y="2326"/>
              <a:ext cx="88" cy="262"/>
            </a:xfrm>
            <a:custGeom>
              <a:avLst/>
              <a:gdLst>
                <a:gd name="T0" fmla="*/ 0 w 37"/>
                <a:gd name="T1" fmla="*/ 110 h 110"/>
                <a:gd name="T2" fmla="*/ 37 w 37"/>
                <a:gd name="T3" fmla="*/ 25 h 110"/>
                <a:gd name="T4" fmla="*/ 19 w 37"/>
                <a:gd name="T5" fmla="*/ 1 h 110"/>
                <a:gd name="T6" fmla="*/ 16 w 37"/>
                <a:gd name="T7" fmla="*/ 0 h 110"/>
                <a:gd name="T8" fmla="*/ 0 w 37"/>
                <a:gd name="T9" fmla="*/ 110 h 110"/>
              </a:gdLst>
              <a:ahLst/>
              <a:cxnLst>
                <a:cxn ang="0">
                  <a:pos x="T0" y="T1"/>
                </a:cxn>
                <a:cxn ang="0">
                  <a:pos x="T2" y="T3"/>
                </a:cxn>
                <a:cxn ang="0">
                  <a:pos x="T4" y="T5"/>
                </a:cxn>
                <a:cxn ang="0">
                  <a:pos x="T6" y="T7"/>
                </a:cxn>
                <a:cxn ang="0">
                  <a:pos x="T8" y="T9"/>
                </a:cxn>
              </a:cxnLst>
              <a:rect l="0" t="0" r="r" b="b"/>
              <a:pathLst>
                <a:path w="37" h="110">
                  <a:moveTo>
                    <a:pt x="0" y="110"/>
                  </a:moveTo>
                  <a:cubicBezTo>
                    <a:pt x="1" y="107"/>
                    <a:pt x="37" y="25"/>
                    <a:pt x="37" y="25"/>
                  </a:cubicBezTo>
                  <a:cubicBezTo>
                    <a:pt x="19" y="1"/>
                    <a:pt x="19" y="1"/>
                    <a:pt x="19" y="1"/>
                  </a:cubicBezTo>
                  <a:cubicBezTo>
                    <a:pt x="16" y="0"/>
                    <a:pt x="16" y="0"/>
                    <a:pt x="16" y="0"/>
                  </a:cubicBezTo>
                  <a:cubicBezTo>
                    <a:pt x="0" y="110"/>
                    <a:pt x="0" y="110"/>
                    <a:pt x="0" y="11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9">
              <a:extLst>
                <a:ext uri="{FF2B5EF4-FFF2-40B4-BE49-F238E27FC236}">
                  <a16:creationId xmlns:a16="http://schemas.microsoft.com/office/drawing/2014/main" id="{4648E673-C7FB-4F68-A47C-04A0D80F5A6B}"/>
                </a:ext>
              </a:extLst>
            </p:cNvPr>
            <p:cNvSpPr>
              <a:spLocks/>
            </p:cNvSpPr>
            <p:nvPr/>
          </p:nvSpPr>
          <p:spPr bwMode="auto">
            <a:xfrm>
              <a:off x="5321" y="2326"/>
              <a:ext cx="88" cy="262"/>
            </a:xfrm>
            <a:custGeom>
              <a:avLst/>
              <a:gdLst>
                <a:gd name="T0" fmla="*/ 16 w 37"/>
                <a:gd name="T1" fmla="*/ 0 h 110"/>
                <a:gd name="T2" fmla="*/ 0 w 37"/>
                <a:gd name="T3" fmla="*/ 110 h 110"/>
                <a:gd name="T4" fmla="*/ 37 w 37"/>
                <a:gd name="T5" fmla="*/ 25 h 110"/>
                <a:gd name="T6" fmla="*/ 19 w 37"/>
                <a:gd name="T7" fmla="*/ 1 h 110"/>
                <a:gd name="T8" fmla="*/ 16 w 37"/>
                <a:gd name="T9" fmla="*/ 0 h 110"/>
              </a:gdLst>
              <a:ahLst/>
              <a:cxnLst>
                <a:cxn ang="0">
                  <a:pos x="T0" y="T1"/>
                </a:cxn>
                <a:cxn ang="0">
                  <a:pos x="T2" y="T3"/>
                </a:cxn>
                <a:cxn ang="0">
                  <a:pos x="T4" y="T5"/>
                </a:cxn>
                <a:cxn ang="0">
                  <a:pos x="T6" y="T7"/>
                </a:cxn>
                <a:cxn ang="0">
                  <a:pos x="T8" y="T9"/>
                </a:cxn>
              </a:cxnLst>
              <a:rect l="0" t="0" r="r" b="b"/>
              <a:pathLst>
                <a:path w="37" h="110">
                  <a:moveTo>
                    <a:pt x="16" y="0"/>
                  </a:moveTo>
                  <a:cubicBezTo>
                    <a:pt x="0" y="110"/>
                    <a:pt x="0" y="110"/>
                    <a:pt x="0" y="110"/>
                  </a:cubicBezTo>
                  <a:cubicBezTo>
                    <a:pt x="1" y="107"/>
                    <a:pt x="37" y="25"/>
                    <a:pt x="37" y="25"/>
                  </a:cubicBezTo>
                  <a:cubicBezTo>
                    <a:pt x="19" y="1"/>
                    <a:pt x="19" y="1"/>
                    <a:pt x="19" y="1"/>
                  </a:cubicBezTo>
                  <a:cubicBezTo>
                    <a:pt x="16" y="0"/>
                    <a:pt x="16" y="0"/>
                    <a:pt x="16" y="0"/>
                  </a:cubicBezTo>
                </a:path>
              </a:pathLst>
            </a:custGeom>
            <a:solidFill>
              <a:srgbClr val="8B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0">
              <a:extLst>
                <a:ext uri="{FF2B5EF4-FFF2-40B4-BE49-F238E27FC236}">
                  <a16:creationId xmlns:a16="http://schemas.microsoft.com/office/drawing/2014/main" id="{D8C7B10C-7001-4B8B-8BF3-0EA71331ABBD}"/>
                </a:ext>
              </a:extLst>
            </p:cNvPr>
            <p:cNvSpPr>
              <a:spLocks/>
            </p:cNvSpPr>
            <p:nvPr/>
          </p:nvSpPr>
          <p:spPr bwMode="auto">
            <a:xfrm>
              <a:off x="5081" y="2260"/>
              <a:ext cx="700" cy="1200"/>
            </a:xfrm>
            <a:custGeom>
              <a:avLst/>
              <a:gdLst>
                <a:gd name="T0" fmla="*/ 285 w 295"/>
                <a:gd name="T1" fmla="*/ 0 h 505"/>
                <a:gd name="T2" fmla="*/ 287 w 295"/>
                <a:gd name="T3" fmla="*/ 11 h 505"/>
                <a:gd name="T4" fmla="*/ 274 w 295"/>
                <a:gd name="T5" fmla="*/ 107 h 505"/>
                <a:gd name="T6" fmla="*/ 152 w 295"/>
                <a:gd name="T7" fmla="*/ 317 h 505"/>
                <a:gd name="T8" fmla="*/ 134 w 295"/>
                <a:gd name="T9" fmla="*/ 365 h 505"/>
                <a:gd name="T10" fmla="*/ 104 w 295"/>
                <a:gd name="T11" fmla="*/ 501 h 505"/>
                <a:gd name="T12" fmla="*/ 4 w 295"/>
                <a:gd name="T13" fmla="*/ 501 h 505"/>
                <a:gd name="T14" fmla="*/ 27 w 295"/>
                <a:gd name="T15" fmla="*/ 340 h 505"/>
                <a:gd name="T16" fmla="*/ 138 w 295"/>
                <a:gd name="T17" fmla="*/ 53 h 505"/>
                <a:gd name="T18" fmla="*/ 117 w 295"/>
                <a:gd name="T19" fmla="*/ 28 h 505"/>
                <a:gd name="T20" fmla="*/ 153 w 295"/>
                <a:gd name="T21" fmla="*/ 22 h 505"/>
                <a:gd name="T22" fmla="*/ 285 w 295"/>
                <a:gd name="T2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5" h="505">
                  <a:moveTo>
                    <a:pt x="285" y="0"/>
                  </a:moveTo>
                  <a:cubicBezTo>
                    <a:pt x="287" y="11"/>
                    <a:pt x="287" y="11"/>
                    <a:pt x="287" y="11"/>
                  </a:cubicBezTo>
                  <a:cubicBezTo>
                    <a:pt x="295" y="44"/>
                    <a:pt x="291" y="78"/>
                    <a:pt x="274" y="107"/>
                  </a:cubicBezTo>
                  <a:cubicBezTo>
                    <a:pt x="152" y="317"/>
                    <a:pt x="152" y="317"/>
                    <a:pt x="152" y="317"/>
                  </a:cubicBezTo>
                  <a:cubicBezTo>
                    <a:pt x="144" y="332"/>
                    <a:pt x="138" y="349"/>
                    <a:pt x="134" y="365"/>
                  </a:cubicBezTo>
                  <a:cubicBezTo>
                    <a:pt x="104" y="501"/>
                    <a:pt x="104" y="501"/>
                    <a:pt x="104" y="501"/>
                  </a:cubicBezTo>
                  <a:cubicBezTo>
                    <a:pt x="104" y="501"/>
                    <a:pt x="8" y="505"/>
                    <a:pt x="4" y="501"/>
                  </a:cubicBezTo>
                  <a:cubicBezTo>
                    <a:pt x="0" y="498"/>
                    <a:pt x="16" y="408"/>
                    <a:pt x="27" y="340"/>
                  </a:cubicBezTo>
                  <a:cubicBezTo>
                    <a:pt x="36" y="289"/>
                    <a:pt x="104" y="129"/>
                    <a:pt x="138" y="53"/>
                  </a:cubicBezTo>
                  <a:cubicBezTo>
                    <a:pt x="117" y="28"/>
                    <a:pt x="117" y="28"/>
                    <a:pt x="117" y="28"/>
                  </a:cubicBezTo>
                  <a:cubicBezTo>
                    <a:pt x="153" y="22"/>
                    <a:pt x="153" y="22"/>
                    <a:pt x="153" y="22"/>
                  </a:cubicBezTo>
                  <a:lnTo>
                    <a:pt x="285" y="0"/>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1">
              <a:extLst>
                <a:ext uri="{FF2B5EF4-FFF2-40B4-BE49-F238E27FC236}">
                  <a16:creationId xmlns:a16="http://schemas.microsoft.com/office/drawing/2014/main" id="{118733FC-E657-44A5-AD69-473C7DE6EEEF}"/>
                </a:ext>
              </a:extLst>
            </p:cNvPr>
            <p:cNvSpPr>
              <a:spLocks/>
            </p:cNvSpPr>
            <p:nvPr/>
          </p:nvSpPr>
          <p:spPr bwMode="auto">
            <a:xfrm>
              <a:off x="5088" y="3450"/>
              <a:ext cx="240" cy="7"/>
            </a:xfrm>
            <a:custGeom>
              <a:avLst/>
              <a:gdLst>
                <a:gd name="T0" fmla="*/ 101 w 101"/>
                <a:gd name="T1" fmla="*/ 0 h 3"/>
                <a:gd name="T2" fmla="*/ 97 w 101"/>
                <a:gd name="T3" fmla="*/ 1 h 3"/>
                <a:gd name="T4" fmla="*/ 86 w 101"/>
                <a:gd name="T5" fmla="*/ 2 h 3"/>
                <a:gd name="T6" fmla="*/ 50 w 101"/>
                <a:gd name="T7" fmla="*/ 3 h 3"/>
                <a:gd name="T8" fmla="*/ 15 w 101"/>
                <a:gd name="T9" fmla="*/ 2 h 3"/>
                <a:gd name="T10" fmla="*/ 4 w 101"/>
                <a:gd name="T11" fmla="*/ 1 h 3"/>
                <a:gd name="T12" fmla="*/ 0 w 101"/>
                <a:gd name="T13" fmla="*/ 1 h 3"/>
                <a:gd name="T14" fmla="*/ 4 w 101"/>
                <a:gd name="T15" fmla="*/ 1 h 3"/>
                <a:gd name="T16" fmla="*/ 15 w 101"/>
                <a:gd name="T17" fmla="*/ 1 h 3"/>
                <a:gd name="T18" fmla="*/ 50 w 101"/>
                <a:gd name="T19" fmla="*/ 1 h 3"/>
                <a:gd name="T20" fmla="*/ 86 w 101"/>
                <a:gd name="T21" fmla="*/ 1 h 3"/>
                <a:gd name="T22" fmla="*/ 97 w 101"/>
                <a:gd name="T23" fmla="*/ 0 h 3"/>
                <a:gd name="T24" fmla="*/ 101 w 101"/>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3">
                  <a:moveTo>
                    <a:pt x="101" y="0"/>
                  </a:moveTo>
                  <a:cubicBezTo>
                    <a:pt x="101" y="1"/>
                    <a:pt x="99" y="1"/>
                    <a:pt x="97" y="1"/>
                  </a:cubicBezTo>
                  <a:cubicBezTo>
                    <a:pt x="94" y="1"/>
                    <a:pt x="90" y="2"/>
                    <a:pt x="86" y="2"/>
                  </a:cubicBezTo>
                  <a:cubicBezTo>
                    <a:pt x="77" y="3"/>
                    <a:pt x="64" y="3"/>
                    <a:pt x="50" y="3"/>
                  </a:cubicBezTo>
                  <a:cubicBezTo>
                    <a:pt x="36" y="3"/>
                    <a:pt x="24" y="3"/>
                    <a:pt x="15" y="2"/>
                  </a:cubicBezTo>
                  <a:cubicBezTo>
                    <a:pt x="10" y="2"/>
                    <a:pt x="7" y="2"/>
                    <a:pt x="4" y="1"/>
                  </a:cubicBezTo>
                  <a:cubicBezTo>
                    <a:pt x="1" y="1"/>
                    <a:pt x="0" y="1"/>
                    <a:pt x="0" y="1"/>
                  </a:cubicBezTo>
                  <a:cubicBezTo>
                    <a:pt x="0" y="1"/>
                    <a:pt x="1" y="1"/>
                    <a:pt x="4" y="1"/>
                  </a:cubicBezTo>
                  <a:cubicBezTo>
                    <a:pt x="7" y="1"/>
                    <a:pt x="11" y="1"/>
                    <a:pt x="15" y="1"/>
                  </a:cubicBezTo>
                  <a:cubicBezTo>
                    <a:pt x="24" y="1"/>
                    <a:pt x="37" y="1"/>
                    <a:pt x="50" y="1"/>
                  </a:cubicBezTo>
                  <a:cubicBezTo>
                    <a:pt x="64" y="1"/>
                    <a:pt x="77" y="1"/>
                    <a:pt x="86" y="1"/>
                  </a:cubicBezTo>
                  <a:cubicBezTo>
                    <a:pt x="90" y="0"/>
                    <a:pt x="94" y="0"/>
                    <a:pt x="97" y="0"/>
                  </a:cubicBezTo>
                  <a:cubicBezTo>
                    <a:pt x="99" y="0"/>
                    <a:pt x="101" y="0"/>
                    <a:pt x="10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82">
              <a:extLst>
                <a:ext uri="{FF2B5EF4-FFF2-40B4-BE49-F238E27FC236}">
                  <a16:creationId xmlns:a16="http://schemas.microsoft.com/office/drawing/2014/main" id="{2E0EB226-69BB-4F0A-A165-1DB402CA25FB}"/>
                </a:ext>
              </a:extLst>
            </p:cNvPr>
            <p:cNvSpPr>
              <a:spLocks noChangeArrowheads="1"/>
            </p:cNvSpPr>
            <p:nvPr/>
          </p:nvSpPr>
          <p:spPr bwMode="auto">
            <a:xfrm>
              <a:off x="5095" y="3388"/>
              <a:ext cx="245"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3">
              <a:extLst>
                <a:ext uri="{FF2B5EF4-FFF2-40B4-BE49-F238E27FC236}">
                  <a16:creationId xmlns:a16="http://schemas.microsoft.com/office/drawing/2014/main" id="{95DBC10A-6E00-4BF2-9792-C820408C0C77}"/>
                </a:ext>
              </a:extLst>
            </p:cNvPr>
            <p:cNvSpPr>
              <a:spLocks/>
            </p:cNvSpPr>
            <p:nvPr/>
          </p:nvSpPr>
          <p:spPr bwMode="auto">
            <a:xfrm>
              <a:off x="5580" y="3186"/>
              <a:ext cx="137" cy="219"/>
            </a:xfrm>
            <a:custGeom>
              <a:avLst/>
              <a:gdLst>
                <a:gd name="T0" fmla="*/ 58 w 58"/>
                <a:gd name="T1" fmla="*/ 0 h 92"/>
                <a:gd name="T2" fmla="*/ 56 w 58"/>
                <a:gd name="T3" fmla="*/ 4 h 92"/>
                <a:gd name="T4" fmla="*/ 50 w 58"/>
                <a:gd name="T5" fmla="*/ 14 h 92"/>
                <a:gd name="T6" fmla="*/ 29 w 58"/>
                <a:gd name="T7" fmla="*/ 46 h 92"/>
                <a:gd name="T8" fmla="*/ 9 w 58"/>
                <a:gd name="T9" fmla="*/ 79 h 92"/>
                <a:gd name="T10" fmla="*/ 3 w 58"/>
                <a:gd name="T11" fmla="*/ 89 h 92"/>
                <a:gd name="T12" fmla="*/ 0 w 58"/>
                <a:gd name="T13" fmla="*/ 92 h 92"/>
                <a:gd name="T14" fmla="*/ 2 w 58"/>
                <a:gd name="T15" fmla="*/ 88 h 92"/>
                <a:gd name="T16" fmla="*/ 8 w 58"/>
                <a:gd name="T17" fmla="*/ 78 h 92"/>
                <a:gd name="T18" fmla="*/ 28 w 58"/>
                <a:gd name="T19" fmla="*/ 45 h 92"/>
                <a:gd name="T20" fmla="*/ 49 w 58"/>
                <a:gd name="T21" fmla="*/ 13 h 92"/>
                <a:gd name="T22" fmla="*/ 55 w 58"/>
                <a:gd name="T23" fmla="*/ 4 h 92"/>
                <a:gd name="T24" fmla="*/ 58 w 58"/>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92">
                  <a:moveTo>
                    <a:pt x="58" y="0"/>
                  </a:moveTo>
                  <a:cubicBezTo>
                    <a:pt x="58" y="1"/>
                    <a:pt x="57" y="2"/>
                    <a:pt x="56" y="4"/>
                  </a:cubicBezTo>
                  <a:cubicBezTo>
                    <a:pt x="54" y="7"/>
                    <a:pt x="52" y="10"/>
                    <a:pt x="50" y="14"/>
                  </a:cubicBezTo>
                  <a:cubicBezTo>
                    <a:pt x="44" y="23"/>
                    <a:pt x="37" y="34"/>
                    <a:pt x="29" y="46"/>
                  </a:cubicBezTo>
                  <a:cubicBezTo>
                    <a:pt x="21" y="59"/>
                    <a:pt x="14" y="70"/>
                    <a:pt x="9" y="79"/>
                  </a:cubicBezTo>
                  <a:cubicBezTo>
                    <a:pt x="6" y="83"/>
                    <a:pt x="4" y="86"/>
                    <a:pt x="3" y="89"/>
                  </a:cubicBezTo>
                  <a:cubicBezTo>
                    <a:pt x="1" y="91"/>
                    <a:pt x="0" y="92"/>
                    <a:pt x="0" y="92"/>
                  </a:cubicBezTo>
                  <a:cubicBezTo>
                    <a:pt x="0" y="92"/>
                    <a:pt x="1" y="91"/>
                    <a:pt x="2" y="88"/>
                  </a:cubicBezTo>
                  <a:cubicBezTo>
                    <a:pt x="3" y="86"/>
                    <a:pt x="5" y="82"/>
                    <a:pt x="8" y="78"/>
                  </a:cubicBezTo>
                  <a:cubicBezTo>
                    <a:pt x="13" y="70"/>
                    <a:pt x="20" y="58"/>
                    <a:pt x="28" y="45"/>
                  </a:cubicBezTo>
                  <a:cubicBezTo>
                    <a:pt x="36" y="33"/>
                    <a:pt x="43" y="21"/>
                    <a:pt x="49" y="13"/>
                  </a:cubicBezTo>
                  <a:cubicBezTo>
                    <a:pt x="51" y="9"/>
                    <a:pt x="54" y="6"/>
                    <a:pt x="55" y="4"/>
                  </a:cubicBezTo>
                  <a:cubicBezTo>
                    <a:pt x="57" y="2"/>
                    <a:pt x="58" y="0"/>
                    <a:pt x="5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4">
              <a:extLst>
                <a:ext uri="{FF2B5EF4-FFF2-40B4-BE49-F238E27FC236}">
                  <a16:creationId xmlns:a16="http://schemas.microsoft.com/office/drawing/2014/main" id="{65343402-CEBA-4306-BE8C-8CBC3664EA12}"/>
                </a:ext>
              </a:extLst>
            </p:cNvPr>
            <p:cNvSpPr>
              <a:spLocks/>
            </p:cNvSpPr>
            <p:nvPr/>
          </p:nvSpPr>
          <p:spPr bwMode="auto">
            <a:xfrm>
              <a:off x="5596" y="3374"/>
              <a:ext cx="19" cy="62"/>
            </a:xfrm>
            <a:custGeom>
              <a:avLst/>
              <a:gdLst>
                <a:gd name="T0" fmla="*/ 8 w 8"/>
                <a:gd name="T1" fmla="*/ 26 h 26"/>
                <a:gd name="T2" fmla="*/ 3 w 8"/>
                <a:gd name="T3" fmla="*/ 13 h 26"/>
                <a:gd name="T4" fmla="*/ 0 w 8"/>
                <a:gd name="T5" fmla="*/ 0 h 26"/>
                <a:gd name="T6" fmla="*/ 5 w 8"/>
                <a:gd name="T7" fmla="*/ 13 h 26"/>
                <a:gd name="T8" fmla="*/ 8 w 8"/>
                <a:gd name="T9" fmla="*/ 26 h 26"/>
              </a:gdLst>
              <a:ahLst/>
              <a:cxnLst>
                <a:cxn ang="0">
                  <a:pos x="T0" y="T1"/>
                </a:cxn>
                <a:cxn ang="0">
                  <a:pos x="T2" y="T3"/>
                </a:cxn>
                <a:cxn ang="0">
                  <a:pos x="T4" y="T5"/>
                </a:cxn>
                <a:cxn ang="0">
                  <a:pos x="T6" y="T7"/>
                </a:cxn>
                <a:cxn ang="0">
                  <a:pos x="T8" y="T9"/>
                </a:cxn>
              </a:cxnLst>
              <a:rect l="0" t="0" r="r" b="b"/>
              <a:pathLst>
                <a:path w="8" h="26">
                  <a:moveTo>
                    <a:pt x="8" y="26"/>
                  </a:moveTo>
                  <a:cubicBezTo>
                    <a:pt x="7" y="26"/>
                    <a:pt x="5" y="21"/>
                    <a:pt x="3" y="13"/>
                  </a:cubicBezTo>
                  <a:cubicBezTo>
                    <a:pt x="1" y="6"/>
                    <a:pt x="0" y="1"/>
                    <a:pt x="0" y="0"/>
                  </a:cubicBezTo>
                  <a:cubicBezTo>
                    <a:pt x="1" y="0"/>
                    <a:pt x="3" y="6"/>
                    <a:pt x="5" y="13"/>
                  </a:cubicBezTo>
                  <a:cubicBezTo>
                    <a:pt x="7" y="20"/>
                    <a:pt x="8" y="26"/>
                    <a:pt x="8" y="2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5">
              <a:extLst>
                <a:ext uri="{FF2B5EF4-FFF2-40B4-BE49-F238E27FC236}">
                  <a16:creationId xmlns:a16="http://schemas.microsoft.com/office/drawing/2014/main" id="{120B5D3F-2A99-4DEF-A40C-43A070BBA97E}"/>
                </a:ext>
              </a:extLst>
            </p:cNvPr>
            <p:cNvSpPr>
              <a:spLocks/>
            </p:cNvSpPr>
            <p:nvPr/>
          </p:nvSpPr>
          <p:spPr bwMode="auto">
            <a:xfrm>
              <a:off x="5617" y="3334"/>
              <a:ext cx="19" cy="102"/>
            </a:xfrm>
            <a:custGeom>
              <a:avLst/>
              <a:gdLst>
                <a:gd name="T0" fmla="*/ 7 w 8"/>
                <a:gd name="T1" fmla="*/ 43 h 43"/>
                <a:gd name="T2" fmla="*/ 3 w 8"/>
                <a:gd name="T3" fmla="*/ 22 h 43"/>
                <a:gd name="T4" fmla="*/ 0 w 8"/>
                <a:gd name="T5" fmla="*/ 0 h 43"/>
                <a:gd name="T6" fmla="*/ 5 w 8"/>
                <a:gd name="T7" fmla="*/ 21 h 43"/>
                <a:gd name="T8" fmla="*/ 7 w 8"/>
                <a:gd name="T9" fmla="*/ 43 h 43"/>
              </a:gdLst>
              <a:ahLst/>
              <a:cxnLst>
                <a:cxn ang="0">
                  <a:pos x="T0" y="T1"/>
                </a:cxn>
                <a:cxn ang="0">
                  <a:pos x="T2" y="T3"/>
                </a:cxn>
                <a:cxn ang="0">
                  <a:pos x="T4" y="T5"/>
                </a:cxn>
                <a:cxn ang="0">
                  <a:pos x="T6" y="T7"/>
                </a:cxn>
                <a:cxn ang="0">
                  <a:pos x="T8" y="T9"/>
                </a:cxn>
              </a:cxnLst>
              <a:rect l="0" t="0" r="r" b="b"/>
              <a:pathLst>
                <a:path w="8" h="43">
                  <a:moveTo>
                    <a:pt x="7" y="43"/>
                  </a:moveTo>
                  <a:cubicBezTo>
                    <a:pt x="7" y="43"/>
                    <a:pt x="5" y="33"/>
                    <a:pt x="3" y="22"/>
                  </a:cubicBezTo>
                  <a:cubicBezTo>
                    <a:pt x="1" y="10"/>
                    <a:pt x="0" y="1"/>
                    <a:pt x="0" y="0"/>
                  </a:cubicBezTo>
                  <a:cubicBezTo>
                    <a:pt x="1" y="0"/>
                    <a:pt x="3" y="10"/>
                    <a:pt x="5" y="21"/>
                  </a:cubicBezTo>
                  <a:cubicBezTo>
                    <a:pt x="6" y="33"/>
                    <a:pt x="8" y="43"/>
                    <a:pt x="7" y="4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6">
              <a:extLst>
                <a:ext uri="{FF2B5EF4-FFF2-40B4-BE49-F238E27FC236}">
                  <a16:creationId xmlns:a16="http://schemas.microsoft.com/office/drawing/2014/main" id="{94E9753D-5450-460D-9A54-C21183C17904}"/>
                </a:ext>
              </a:extLst>
            </p:cNvPr>
            <p:cNvSpPr>
              <a:spLocks/>
            </p:cNvSpPr>
            <p:nvPr/>
          </p:nvSpPr>
          <p:spPr bwMode="auto">
            <a:xfrm>
              <a:off x="5639" y="3310"/>
              <a:ext cx="24" cy="88"/>
            </a:xfrm>
            <a:custGeom>
              <a:avLst/>
              <a:gdLst>
                <a:gd name="T0" fmla="*/ 9 w 10"/>
                <a:gd name="T1" fmla="*/ 37 h 37"/>
                <a:gd name="T2" fmla="*/ 4 w 10"/>
                <a:gd name="T3" fmla="*/ 19 h 37"/>
                <a:gd name="T4" fmla="*/ 0 w 10"/>
                <a:gd name="T5" fmla="*/ 0 h 37"/>
                <a:gd name="T6" fmla="*/ 6 w 10"/>
                <a:gd name="T7" fmla="*/ 18 h 37"/>
                <a:gd name="T8" fmla="*/ 9 w 10"/>
                <a:gd name="T9" fmla="*/ 37 h 37"/>
              </a:gdLst>
              <a:ahLst/>
              <a:cxnLst>
                <a:cxn ang="0">
                  <a:pos x="T0" y="T1"/>
                </a:cxn>
                <a:cxn ang="0">
                  <a:pos x="T2" y="T3"/>
                </a:cxn>
                <a:cxn ang="0">
                  <a:pos x="T4" y="T5"/>
                </a:cxn>
                <a:cxn ang="0">
                  <a:pos x="T6" y="T7"/>
                </a:cxn>
                <a:cxn ang="0">
                  <a:pos x="T8" y="T9"/>
                </a:cxn>
              </a:cxnLst>
              <a:rect l="0" t="0" r="r" b="b"/>
              <a:pathLst>
                <a:path w="10" h="37">
                  <a:moveTo>
                    <a:pt x="9" y="37"/>
                  </a:moveTo>
                  <a:cubicBezTo>
                    <a:pt x="9" y="37"/>
                    <a:pt x="7" y="29"/>
                    <a:pt x="4" y="19"/>
                  </a:cubicBezTo>
                  <a:cubicBezTo>
                    <a:pt x="2" y="8"/>
                    <a:pt x="0" y="0"/>
                    <a:pt x="0" y="0"/>
                  </a:cubicBezTo>
                  <a:cubicBezTo>
                    <a:pt x="1" y="0"/>
                    <a:pt x="4" y="8"/>
                    <a:pt x="6" y="18"/>
                  </a:cubicBezTo>
                  <a:cubicBezTo>
                    <a:pt x="9" y="28"/>
                    <a:pt x="10" y="37"/>
                    <a:pt x="9" y="3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7">
              <a:extLst>
                <a:ext uri="{FF2B5EF4-FFF2-40B4-BE49-F238E27FC236}">
                  <a16:creationId xmlns:a16="http://schemas.microsoft.com/office/drawing/2014/main" id="{3636C962-C154-48B3-A4CB-C1CBE87AB249}"/>
                </a:ext>
              </a:extLst>
            </p:cNvPr>
            <p:cNvSpPr>
              <a:spLocks/>
            </p:cNvSpPr>
            <p:nvPr/>
          </p:nvSpPr>
          <p:spPr bwMode="auto">
            <a:xfrm>
              <a:off x="5665" y="3260"/>
              <a:ext cx="19" cy="86"/>
            </a:xfrm>
            <a:custGeom>
              <a:avLst/>
              <a:gdLst>
                <a:gd name="T0" fmla="*/ 8 w 8"/>
                <a:gd name="T1" fmla="*/ 36 h 36"/>
                <a:gd name="T2" fmla="*/ 3 w 8"/>
                <a:gd name="T3" fmla="*/ 18 h 36"/>
                <a:gd name="T4" fmla="*/ 1 w 8"/>
                <a:gd name="T5" fmla="*/ 0 h 36"/>
                <a:gd name="T6" fmla="*/ 5 w 8"/>
                <a:gd name="T7" fmla="*/ 18 h 36"/>
                <a:gd name="T8" fmla="*/ 8 w 8"/>
                <a:gd name="T9" fmla="*/ 36 h 36"/>
              </a:gdLst>
              <a:ahLst/>
              <a:cxnLst>
                <a:cxn ang="0">
                  <a:pos x="T0" y="T1"/>
                </a:cxn>
                <a:cxn ang="0">
                  <a:pos x="T2" y="T3"/>
                </a:cxn>
                <a:cxn ang="0">
                  <a:pos x="T4" y="T5"/>
                </a:cxn>
                <a:cxn ang="0">
                  <a:pos x="T6" y="T7"/>
                </a:cxn>
                <a:cxn ang="0">
                  <a:pos x="T8" y="T9"/>
                </a:cxn>
              </a:cxnLst>
              <a:rect l="0" t="0" r="r" b="b"/>
              <a:pathLst>
                <a:path w="8" h="36">
                  <a:moveTo>
                    <a:pt x="8" y="36"/>
                  </a:moveTo>
                  <a:cubicBezTo>
                    <a:pt x="7" y="36"/>
                    <a:pt x="5" y="28"/>
                    <a:pt x="3" y="18"/>
                  </a:cubicBezTo>
                  <a:cubicBezTo>
                    <a:pt x="1" y="8"/>
                    <a:pt x="0" y="0"/>
                    <a:pt x="1" y="0"/>
                  </a:cubicBezTo>
                  <a:cubicBezTo>
                    <a:pt x="1" y="0"/>
                    <a:pt x="3" y="8"/>
                    <a:pt x="5" y="18"/>
                  </a:cubicBezTo>
                  <a:cubicBezTo>
                    <a:pt x="7" y="28"/>
                    <a:pt x="8" y="36"/>
                    <a:pt x="8" y="3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8">
              <a:extLst>
                <a:ext uri="{FF2B5EF4-FFF2-40B4-BE49-F238E27FC236}">
                  <a16:creationId xmlns:a16="http://schemas.microsoft.com/office/drawing/2014/main" id="{F0DA8539-3871-489D-8657-4F5A0E1EED3D}"/>
                </a:ext>
              </a:extLst>
            </p:cNvPr>
            <p:cNvSpPr>
              <a:spLocks/>
            </p:cNvSpPr>
            <p:nvPr/>
          </p:nvSpPr>
          <p:spPr bwMode="auto">
            <a:xfrm>
              <a:off x="5691" y="3220"/>
              <a:ext cx="21" cy="83"/>
            </a:xfrm>
            <a:custGeom>
              <a:avLst/>
              <a:gdLst>
                <a:gd name="T0" fmla="*/ 9 w 9"/>
                <a:gd name="T1" fmla="*/ 35 h 35"/>
                <a:gd name="T2" fmla="*/ 5 w 9"/>
                <a:gd name="T3" fmla="*/ 17 h 35"/>
                <a:gd name="T4" fmla="*/ 1 w 9"/>
                <a:gd name="T5" fmla="*/ 0 h 35"/>
                <a:gd name="T6" fmla="*/ 6 w 9"/>
                <a:gd name="T7" fmla="*/ 17 h 35"/>
                <a:gd name="T8" fmla="*/ 9 w 9"/>
                <a:gd name="T9" fmla="*/ 35 h 35"/>
              </a:gdLst>
              <a:ahLst/>
              <a:cxnLst>
                <a:cxn ang="0">
                  <a:pos x="T0" y="T1"/>
                </a:cxn>
                <a:cxn ang="0">
                  <a:pos x="T2" y="T3"/>
                </a:cxn>
                <a:cxn ang="0">
                  <a:pos x="T4" y="T5"/>
                </a:cxn>
                <a:cxn ang="0">
                  <a:pos x="T6" y="T7"/>
                </a:cxn>
                <a:cxn ang="0">
                  <a:pos x="T8" y="T9"/>
                </a:cxn>
              </a:cxnLst>
              <a:rect l="0" t="0" r="r" b="b"/>
              <a:pathLst>
                <a:path w="9" h="35">
                  <a:moveTo>
                    <a:pt x="9" y="35"/>
                  </a:moveTo>
                  <a:cubicBezTo>
                    <a:pt x="8" y="35"/>
                    <a:pt x="7" y="27"/>
                    <a:pt x="5" y="17"/>
                  </a:cubicBezTo>
                  <a:cubicBezTo>
                    <a:pt x="2" y="8"/>
                    <a:pt x="0" y="0"/>
                    <a:pt x="1" y="0"/>
                  </a:cubicBezTo>
                  <a:cubicBezTo>
                    <a:pt x="1" y="0"/>
                    <a:pt x="4" y="7"/>
                    <a:pt x="6" y="17"/>
                  </a:cubicBezTo>
                  <a:cubicBezTo>
                    <a:pt x="9" y="27"/>
                    <a:pt x="9" y="35"/>
                    <a:pt x="9" y="3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9">
              <a:extLst>
                <a:ext uri="{FF2B5EF4-FFF2-40B4-BE49-F238E27FC236}">
                  <a16:creationId xmlns:a16="http://schemas.microsoft.com/office/drawing/2014/main" id="{89AA8729-A030-49D7-935C-0AE78B62429F}"/>
                </a:ext>
              </a:extLst>
            </p:cNvPr>
            <p:cNvSpPr>
              <a:spLocks/>
            </p:cNvSpPr>
            <p:nvPr/>
          </p:nvSpPr>
          <p:spPr bwMode="auto">
            <a:xfrm>
              <a:off x="5720" y="3196"/>
              <a:ext cx="19" cy="71"/>
            </a:xfrm>
            <a:custGeom>
              <a:avLst/>
              <a:gdLst>
                <a:gd name="T0" fmla="*/ 8 w 8"/>
                <a:gd name="T1" fmla="*/ 30 h 30"/>
                <a:gd name="T2" fmla="*/ 3 w 8"/>
                <a:gd name="T3" fmla="*/ 15 h 30"/>
                <a:gd name="T4" fmla="*/ 0 w 8"/>
                <a:gd name="T5" fmla="*/ 1 h 30"/>
                <a:gd name="T6" fmla="*/ 5 w 8"/>
                <a:gd name="T7" fmla="*/ 15 h 30"/>
                <a:gd name="T8" fmla="*/ 8 w 8"/>
                <a:gd name="T9" fmla="*/ 30 h 30"/>
              </a:gdLst>
              <a:ahLst/>
              <a:cxnLst>
                <a:cxn ang="0">
                  <a:pos x="T0" y="T1"/>
                </a:cxn>
                <a:cxn ang="0">
                  <a:pos x="T2" y="T3"/>
                </a:cxn>
                <a:cxn ang="0">
                  <a:pos x="T4" y="T5"/>
                </a:cxn>
                <a:cxn ang="0">
                  <a:pos x="T6" y="T7"/>
                </a:cxn>
                <a:cxn ang="0">
                  <a:pos x="T8" y="T9"/>
                </a:cxn>
              </a:cxnLst>
              <a:rect l="0" t="0" r="r" b="b"/>
              <a:pathLst>
                <a:path w="8" h="30">
                  <a:moveTo>
                    <a:pt x="8" y="30"/>
                  </a:moveTo>
                  <a:cubicBezTo>
                    <a:pt x="7" y="30"/>
                    <a:pt x="5" y="23"/>
                    <a:pt x="3" y="15"/>
                  </a:cubicBezTo>
                  <a:cubicBezTo>
                    <a:pt x="1" y="7"/>
                    <a:pt x="0" y="1"/>
                    <a:pt x="0" y="1"/>
                  </a:cubicBezTo>
                  <a:cubicBezTo>
                    <a:pt x="1" y="0"/>
                    <a:pt x="3" y="7"/>
                    <a:pt x="5" y="15"/>
                  </a:cubicBezTo>
                  <a:cubicBezTo>
                    <a:pt x="7" y="23"/>
                    <a:pt x="8" y="29"/>
                    <a:pt x="8" y="3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90">
              <a:extLst>
                <a:ext uri="{FF2B5EF4-FFF2-40B4-BE49-F238E27FC236}">
                  <a16:creationId xmlns:a16="http://schemas.microsoft.com/office/drawing/2014/main" id="{A81ADEAC-66B0-4B28-9694-3012C5ED4B2C}"/>
                </a:ext>
              </a:extLst>
            </p:cNvPr>
            <p:cNvSpPr>
              <a:spLocks/>
            </p:cNvSpPr>
            <p:nvPr/>
          </p:nvSpPr>
          <p:spPr bwMode="auto">
            <a:xfrm>
              <a:off x="5095" y="3388"/>
              <a:ext cx="114" cy="62"/>
            </a:xfrm>
            <a:custGeom>
              <a:avLst/>
              <a:gdLst>
                <a:gd name="T0" fmla="*/ 48 w 48"/>
                <a:gd name="T1" fmla="*/ 0 h 26"/>
                <a:gd name="T2" fmla="*/ 24 w 48"/>
                <a:gd name="T3" fmla="*/ 13 h 26"/>
                <a:gd name="T4" fmla="*/ 0 w 48"/>
                <a:gd name="T5" fmla="*/ 25 h 26"/>
                <a:gd name="T6" fmla="*/ 6 w 48"/>
                <a:gd name="T7" fmla="*/ 21 h 26"/>
                <a:gd name="T8" fmla="*/ 23 w 48"/>
                <a:gd name="T9" fmla="*/ 11 h 26"/>
                <a:gd name="T10" fmla="*/ 40 w 48"/>
                <a:gd name="T11" fmla="*/ 3 h 26"/>
                <a:gd name="T12" fmla="*/ 48 w 48"/>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8" h="26">
                  <a:moveTo>
                    <a:pt x="48" y="0"/>
                  </a:moveTo>
                  <a:cubicBezTo>
                    <a:pt x="48" y="0"/>
                    <a:pt x="37" y="6"/>
                    <a:pt x="24" y="13"/>
                  </a:cubicBezTo>
                  <a:cubicBezTo>
                    <a:pt x="11" y="20"/>
                    <a:pt x="0" y="26"/>
                    <a:pt x="0" y="25"/>
                  </a:cubicBezTo>
                  <a:cubicBezTo>
                    <a:pt x="0" y="25"/>
                    <a:pt x="2" y="23"/>
                    <a:pt x="6" y="21"/>
                  </a:cubicBezTo>
                  <a:cubicBezTo>
                    <a:pt x="11" y="18"/>
                    <a:pt x="17" y="15"/>
                    <a:pt x="23" y="11"/>
                  </a:cubicBezTo>
                  <a:cubicBezTo>
                    <a:pt x="30" y="8"/>
                    <a:pt x="36" y="5"/>
                    <a:pt x="40" y="3"/>
                  </a:cubicBezTo>
                  <a:cubicBezTo>
                    <a:pt x="45" y="1"/>
                    <a:pt x="48" y="0"/>
                    <a:pt x="4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1">
              <a:extLst>
                <a:ext uri="{FF2B5EF4-FFF2-40B4-BE49-F238E27FC236}">
                  <a16:creationId xmlns:a16="http://schemas.microsoft.com/office/drawing/2014/main" id="{6098E919-156E-4121-9FF1-5201BCB08557}"/>
                </a:ext>
              </a:extLst>
            </p:cNvPr>
            <p:cNvSpPr>
              <a:spLocks/>
            </p:cNvSpPr>
            <p:nvPr/>
          </p:nvSpPr>
          <p:spPr bwMode="auto">
            <a:xfrm>
              <a:off x="5148" y="3388"/>
              <a:ext cx="130" cy="67"/>
            </a:xfrm>
            <a:custGeom>
              <a:avLst/>
              <a:gdLst>
                <a:gd name="T0" fmla="*/ 55 w 55"/>
                <a:gd name="T1" fmla="*/ 0 h 28"/>
                <a:gd name="T2" fmla="*/ 48 w 55"/>
                <a:gd name="T3" fmla="*/ 5 h 28"/>
                <a:gd name="T4" fmla="*/ 29 w 55"/>
                <a:gd name="T5" fmla="*/ 15 h 28"/>
                <a:gd name="T6" fmla="*/ 9 w 55"/>
                <a:gd name="T7" fmla="*/ 24 h 28"/>
                <a:gd name="T8" fmla="*/ 1 w 55"/>
                <a:gd name="T9" fmla="*/ 27 h 28"/>
                <a:gd name="T10" fmla="*/ 8 w 55"/>
                <a:gd name="T11" fmla="*/ 23 h 28"/>
                <a:gd name="T12" fmla="*/ 28 w 55"/>
                <a:gd name="T13" fmla="*/ 14 h 28"/>
                <a:gd name="T14" fmla="*/ 47 w 55"/>
                <a:gd name="T15" fmla="*/ 4 h 28"/>
                <a:gd name="T16" fmla="*/ 55 w 55"/>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28">
                  <a:moveTo>
                    <a:pt x="55" y="0"/>
                  </a:moveTo>
                  <a:cubicBezTo>
                    <a:pt x="55" y="1"/>
                    <a:pt x="53" y="2"/>
                    <a:pt x="48" y="5"/>
                  </a:cubicBezTo>
                  <a:cubicBezTo>
                    <a:pt x="43" y="8"/>
                    <a:pt x="36" y="12"/>
                    <a:pt x="29" y="15"/>
                  </a:cubicBezTo>
                  <a:cubicBezTo>
                    <a:pt x="21" y="19"/>
                    <a:pt x="14" y="22"/>
                    <a:pt x="9" y="24"/>
                  </a:cubicBezTo>
                  <a:cubicBezTo>
                    <a:pt x="4" y="26"/>
                    <a:pt x="1" y="28"/>
                    <a:pt x="1" y="27"/>
                  </a:cubicBezTo>
                  <a:cubicBezTo>
                    <a:pt x="0" y="27"/>
                    <a:pt x="4" y="26"/>
                    <a:pt x="8" y="23"/>
                  </a:cubicBezTo>
                  <a:cubicBezTo>
                    <a:pt x="14" y="20"/>
                    <a:pt x="21" y="17"/>
                    <a:pt x="28" y="14"/>
                  </a:cubicBezTo>
                  <a:cubicBezTo>
                    <a:pt x="35" y="10"/>
                    <a:pt x="41" y="7"/>
                    <a:pt x="47" y="4"/>
                  </a:cubicBezTo>
                  <a:cubicBezTo>
                    <a:pt x="52" y="2"/>
                    <a:pt x="55" y="0"/>
                    <a:pt x="5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2">
              <a:extLst>
                <a:ext uri="{FF2B5EF4-FFF2-40B4-BE49-F238E27FC236}">
                  <a16:creationId xmlns:a16="http://schemas.microsoft.com/office/drawing/2014/main" id="{B62BA755-7990-4949-81BB-2BA2B5F0F54A}"/>
                </a:ext>
              </a:extLst>
            </p:cNvPr>
            <p:cNvSpPr>
              <a:spLocks/>
            </p:cNvSpPr>
            <p:nvPr/>
          </p:nvSpPr>
          <p:spPr bwMode="auto">
            <a:xfrm>
              <a:off x="5238" y="3388"/>
              <a:ext cx="95" cy="69"/>
            </a:xfrm>
            <a:custGeom>
              <a:avLst/>
              <a:gdLst>
                <a:gd name="T0" fmla="*/ 40 w 40"/>
                <a:gd name="T1" fmla="*/ 0 h 29"/>
                <a:gd name="T2" fmla="*/ 21 w 40"/>
                <a:gd name="T3" fmla="*/ 16 h 29"/>
                <a:gd name="T4" fmla="*/ 1 w 40"/>
                <a:gd name="T5" fmla="*/ 29 h 29"/>
                <a:gd name="T6" fmla="*/ 20 w 40"/>
                <a:gd name="T7" fmla="*/ 14 h 29"/>
                <a:gd name="T8" fmla="*/ 40 w 40"/>
                <a:gd name="T9" fmla="*/ 0 h 29"/>
              </a:gdLst>
              <a:ahLst/>
              <a:cxnLst>
                <a:cxn ang="0">
                  <a:pos x="T0" y="T1"/>
                </a:cxn>
                <a:cxn ang="0">
                  <a:pos x="T2" y="T3"/>
                </a:cxn>
                <a:cxn ang="0">
                  <a:pos x="T4" y="T5"/>
                </a:cxn>
                <a:cxn ang="0">
                  <a:pos x="T6" y="T7"/>
                </a:cxn>
                <a:cxn ang="0">
                  <a:pos x="T8" y="T9"/>
                </a:cxn>
              </a:cxnLst>
              <a:rect l="0" t="0" r="r" b="b"/>
              <a:pathLst>
                <a:path w="40" h="29">
                  <a:moveTo>
                    <a:pt x="40" y="0"/>
                  </a:moveTo>
                  <a:cubicBezTo>
                    <a:pt x="40" y="1"/>
                    <a:pt x="32" y="8"/>
                    <a:pt x="21" y="16"/>
                  </a:cubicBezTo>
                  <a:cubicBezTo>
                    <a:pt x="10" y="24"/>
                    <a:pt x="1" y="29"/>
                    <a:pt x="1" y="29"/>
                  </a:cubicBezTo>
                  <a:cubicBezTo>
                    <a:pt x="0" y="28"/>
                    <a:pt x="9" y="22"/>
                    <a:pt x="20" y="14"/>
                  </a:cubicBezTo>
                  <a:cubicBezTo>
                    <a:pt x="31" y="6"/>
                    <a:pt x="39" y="0"/>
                    <a:pt x="4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3">
              <a:extLst>
                <a:ext uri="{FF2B5EF4-FFF2-40B4-BE49-F238E27FC236}">
                  <a16:creationId xmlns:a16="http://schemas.microsoft.com/office/drawing/2014/main" id="{FD58F430-1C39-448E-9A27-6C553102040F}"/>
                </a:ext>
              </a:extLst>
            </p:cNvPr>
            <p:cNvSpPr>
              <a:spLocks/>
            </p:cNvSpPr>
            <p:nvPr/>
          </p:nvSpPr>
          <p:spPr bwMode="auto">
            <a:xfrm>
              <a:off x="5295" y="3422"/>
              <a:ext cx="42" cy="35"/>
            </a:xfrm>
            <a:custGeom>
              <a:avLst/>
              <a:gdLst>
                <a:gd name="T0" fmla="*/ 18 w 18"/>
                <a:gd name="T1" fmla="*/ 0 h 15"/>
                <a:gd name="T2" fmla="*/ 10 w 18"/>
                <a:gd name="T3" fmla="*/ 8 h 15"/>
                <a:gd name="T4" fmla="*/ 0 w 18"/>
                <a:gd name="T5" fmla="*/ 14 h 15"/>
                <a:gd name="T6" fmla="*/ 9 w 18"/>
                <a:gd name="T7" fmla="*/ 6 h 15"/>
                <a:gd name="T8" fmla="*/ 18 w 18"/>
                <a:gd name="T9" fmla="*/ 0 h 15"/>
              </a:gdLst>
              <a:ahLst/>
              <a:cxnLst>
                <a:cxn ang="0">
                  <a:pos x="T0" y="T1"/>
                </a:cxn>
                <a:cxn ang="0">
                  <a:pos x="T2" y="T3"/>
                </a:cxn>
                <a:cxn ang="0">
                  <a:pos x="T4" y="T5"/>
                </a:cxn>
                <a:cxn ang="0">
                  <a:pos x="T6" y="T7"/>
                </a:cxn>
                <a:cxn ang="0">
                  <a:pos x="T8" y="T9"/>
                </a:cxn>
              </a:cxnLst>
              <a:rect l="0" t="0" r="r" b="b"/>
              <a:pathLst>
                <a:path w="18" h="15">
                  <a:moveTo>
                    <a:pt x="18" y="0"/>
                  </a:moveTo>
                  <a:cubicBezTo>
                    <a:pt x="18" y="1"/>
                    <a:pt x="15" y="4"/>
                    <a:pt x="10" y="8"/>
                  </a:cubicBezTo>
                  <a:cubicBezTo>
                    <a:pt x="5" y="12"/>
                    <a:pt x="1" y="15"/>
                    <a:pt x="0" y="14"/>
                  </a:cubicBezTo>
                  <a:cubicBezTo>
                    <a:pt x="0" y="14"/>
                    <a:pt x="4" y="10"/>
                    <a:pt x="9" y="6"/>
                  </a:cubicBezTo>
                  <a:cubicBezTo>
                    <a:pt x="14" y="3"/>
                    <a:pt x="18" y="0"/>
                    <a:pt x="1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4">
              <a:extLst>
                <a:ext uri="{FF2B5EF4-FFF2-40B4-BE49-F238E27FC236}">
                  <a16:creationId xmlns:a16="http://schemas.microsoft.com/office/drawing/2014/main" id="{252E4543-AAE4-46EA-9E19-0FCEF2186D4E}"/>
                </a:ext>
              </a:extLst>
            </p:cNvPr>
            <p:cNvSpPr>
              <a:spLocks/>
            </p:cNvSpPr>
            <p:nvPr/>
          </p:nvSpPr>
          <p:spPr bwMode="auto">
            <a:xfrm>
              <a:off x="5086" y="3386"/>
              <a:ext cx="62" cy="38"/>
            </a:xfrm>
            <a:custGeom>
              <a:avLst/>
              <a:gdLst>
                <a:gd name="T0" fmla="*/ 26 w 26"/>
                <a:gd name="T1" fmla="*/ 0 h 16"/>
                <a:gd name="T2" fmla="*/ 13 w 26"/>
                <a:gd name="T3" fmla="*/ 9 h 16"/>
                <a:gd name="T4" fmla="*/ 0 w 26"/>
                <a:gd name="T5" fmla="*/ 16 h 16"/>
                <a:gd name="T6" fmla="*/ 12 w 26"/>
                <a:gd name="T7" fmla="*/ 7 h 16"/>
                <a:gd name="T8" fmla="*/ 26 w 26"/>
                <a:gd name="T9" fmla="*/ 0 h 16"/>
              </a:gdLst>
              <a:ahLst/>
              <a:cxnLst>
                <a:cxn ang="0">
                  <a:pos x="T0" y="T1"/>
                </a:cxn>
                <a:cxn ang="0">
                  <a:pos x="T2" y="T3"/>
                </a:cxn>
                <a:cxn ang="0">
                  <a:pos x="T4" y="T5"/>
                </a:cxn>
                <a:cxn ang="0">
                  <a:pos x="T6" y="T7"/>
                </a:cxn>
                <a:cxn ang="0">
                  <a:pos x="T8" y="T9"/>
                </a:cxn>
              </a:cxnLst>
              <a:rect l="0" t="0" r="r" b="b"/>
              <a:pathLst>
                <a:path w="26" h="16">
                  <a:moveTo>
                    <a:pt x="26" y="0"/>
                  </a:moveTo>
                  <a:cubicBezTo>
                    <a:pt x="26" y="1"/>
                    <a:pt x="20" y="5"/>
                    <a:pt x="13" y="9"/>
                  </a:cubicBezTo>
                  <a:cubicBezTo>
                    <a:pt x="6" y="13"/>
                    <a:pt x="0" y="16"/>
                    <a:pt x="0" y="16"/>
                  </a:cubicBezTo>
                  <a:cubicBezTo>
                    <a:pt x="0" y="15"/>
                    <a:pt x="5" y="11"/>
                    <a:pt x="12" y="7"/>
                  </a:cubicBezTo>
                  <a:cubicBezTo>
                    <a:pt x="19" y="3"/>
                    <a:pt x="25" y="0"/>
                    <a:pt x="2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5">
              <a:extLst>
                <a:ext uri="{FF2B5EF4-FFF2-40B4-BE49-F238E27FC236}">
                  <a16:creationId xmlns:a16="http://schemas.microsoft.com/office/drawing/2014/main" id="{A6B3F8FB-A397-449B-ADA5-17442BC8EB0A}"/>
                </a:ext>
              </a:extLst>
            </p:cNvPr>
            <p:cNvSpPr>
              <a:spLocks/>
            </p:cNvSpPr>
            <p:nvPr/>
          </p:nvSpPr>
          <p:spPr bwMode="auto">
            <a:xfrm>
              <a:off x="5318" y="2386"/>
              <a:ext cx="84" cy="216"/>
            </a:xfrm>
            <a:custGeom>
              <a:avLst/>
              <a:gdLst>
                <a:gd name="T0" fmla="*/ 35 w 35"/>
                <a:gd name="T1" fmla="*/ 0 h 91"/>
                <a:gd name="T2" fmla="*/ 30 w 35"/>
                <a:gd name="T3" fmla="*/ 13 h 91"/>
                <a:gd name="T4" fmla="*/ 17 w 35"/>
                <a:gd name="T5" fmla="*/ 45 h 91"/>
                <a:gd name="T6" fmla="*/ 5 w 35"/>
                <a:gd name="T7" fmla="*/ 77 h 91"/>
                <a:gd name="T8" fmla="*/ 0 w 35"/>
                <a:gd name="T9" fmla="*/ 90 h 91"/>
                <a:gd name="T10" fmla="*/ 1 w 35"/>
                <a:gd name="T11" fmla="*/ 87 h 91"/>
                <a:gd name="T12" fmla="*/ 4 w 35"/>
                <a:gd name="T13" fmla="*/ 77 h 91"/>
                <a:gd name="T14" fmla="*/ 15 w 35"/>
                <a:gd name="T15" fmla="*/ 44 h 91"/>
                <a:gd name="T16" fmla="*/ 29 w 35"/>
                <a:gd name="T17" fmla="*/ 13 h 91"/>
                <a:gd name="T18" fmla="*/ 33 w 35"/>
                <a:gd name="T19" fmla="*/ 3 h 91"/>
                <a:gd name="T20" fmla="*/ 35 w 35"/>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1">
                  <a:moveTo>
                    <a:pt x="35" y="0"/>
                  </a:moveTo>
                  <a:cubicBezTo>
                    <a:pt x="35" y="0"/>
                    <a:pt x="33" y="5"/>
                    <a:pt x="30" y="13"/>
                  </a:cubicBezTo>
                  <a:cubicBezTo>
                    <a:pt x="27" y="21"/>
                    <a:pt x="22" y="33"/>
                    <a:pt x="17" y="45"/>
                  </a:cubicBezTo>
                  <a:cubicBezTo>
                    <a:pt x="12" y="58"/>
                    <a:pt x="8" y="69"/>
                    <a:pt x="5" y="77"/>
                  </a:cubicBezTo>
                  <a:cubicBezTo>
                    <a:pt x="2" y="85"/>
                    <a:pt x="0" y="91"/>
                    <a:pt x="0" y="90"/>
                  </a:cubicBezTo>
                  <a:cubicBezTo>
                    <a:pt x="0" y="90"/>
                    <a:pt x="0" y="89"/>
                    <a:pt x="1" y="87"/>
                  </a:cubicBezTo>
                  <a:cubicBezTo>
                    <a:pt x="1" y="84"/>
                    <a:pt x="2" y="81"/>
                    <a:pt x="4" y="77"/>
                  </a:cubicBezTo>
                  <a:cubicBezTo>
                    <a:pt x="6" y="68"/>
                    <a:pt x="11" y="57"/>
                    <a:pt x="15" y="44"/>
                  </a:cubicBezTo>
                  <a:cubicBezTo>
                    <a:pt x="20" y="32"/>
                    <a:pt x="25" y="21"/>
                    <a:pt x="29" y="13"/>
                  </a:cubicBezTo>
                  <a:cubicBezTo>
                    <a:pt x="31" y="9"/>
                    <a:pt x="32" y="5"/>
                    <a:pt x="33" y="3"/>
                  </a:cubicBezTo>
                  <a:cubicBezTo>
                    <a:pt x="34" y="1"/>
                    <a:pt x="35" y="0"/>
                    <a:pt x="3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6">
              <a:extLst>
                <a:ext uri="{FF2B5EF4-FFF2-40B4-BE49-F238E27FC236}">
                  <a16:creationId xmlns:a16="http://schemas.microsoft.com/office/drawing/2014/main" id="{70CD6939-6397-4F84-A5FC-2AE2A62B4AA2}"/>
                </a:ext>
              </a:extLst>
            </p:cNvPr>
            <p:cNvSpPr>
              <a:spLocks/>
            </p:cNvSpPr>
            <p:nvPr/>
          </p:nvSpPr>
          <p:spPr bwMode="auto">
            <a:xfrm>
              <a:off x="5378" y="2733"/>
              <a:ext cx="237" cy="491"/>
            </a:xfrm>
            <a:custGeom>
              <a:avLst/>
              <a:gdLst>
                <a:gd name="T0" fmla="*/ 0 w 100"/>
                <a:gd name="T1" fmla="*/ 207 h 207"/>
                <a:gd name="T2" fmla="*/ 0 w 100"/>
                <a:gd name="T3" fmla="*/ 204 h 207"/>
                <a:gd name="T4" fmla="*/ 1 w 100"/>
                <a:gd name="T5" fmla="*/ 198 h 207"/>
                <a:gd name="T6" fmla="*/ 3 w 100"/>
                <a:gd name="T7" fmla="*/ 187 h 207"/>
                <a:gd name="T8" fmla="*/ 6 w 100"/>
                <a:gd name="T9" fmla="*/ 173 h 207"/>
                <a:gd name="T10" fmla="*/ 8 w 100"/>
                <a:gd name="T11" fmla="*/ 165 h 207"/>
                <a:gd name="T12" fmla="*/ 11 w 100"/>
                <a:gd name="T13" fmla="*/ 157 h 207"/>
                <a:gd name="T14" fmla="*/ 17 w 100"/>
                <a:gd name="T15" fmla="*/ 138 h 207"/>
                <a:gd name="T16" fmla="*/ 36 w 100"/>
                <a:gd name="T17" fmla="*/ 97 h 207"/>
                <a:gd name="T18" fmla="*/ 80 w 100"/>
                <a:gd name="T19" fmla="*/ 27 h 207"/>
                <a:gd name="T20" fmla="*/ 94 w 100"/>
                <a:gd name="T21" fmla="*/ 7 h 207"/>
                <a:gd name="T22" fmla="*/ 98 w 100"/>
                <a:gd name="T23" fmla="*/ 1 h 207"/>
                <a:gd name="T24" fmla="*/ 100 w 100"/>
                <a:gd name="T25" fmla="*/ 0 h 207"/>
                <a:gd name="T26" fmla="*/ 99 w 100"/>
                <a:gd name="T27" fmla="*/ 2 h 207"/>
                <a:gd name="T28" fmla="*/ 95 w 100"/>
                <a:gd name="T29" fmla="*/ 7 h 207"/>
                <a:gd name="T30" fmla="*/ 81 w 100"/>
                <a:gd name="T31" fmla="*/ 28 h 207"/>
                <a:gd name="T32" fmla="*/ 38 w 100"/>
                <a:gd name="T33" fmla="*/ 98 h 207"/>
                <a:gd name="T34" fmla="*/ 19 w 100"/>
                <a:gd name="T35" fmla="*/ 139 h 207"/>
                <a:gd name="T36" fmla="*/ 12 w 100"/>
                <a:gd name="T37" fmla="*/ 157 h 207"/>
                <a:gd name="T38" fmla="*/ 10 w 100"/>
                <a:gd name="T39" fmla="*/ 166 h 207"/>
                <a:gd name="T40" fmla="*/ 7 w 100"/>
                <a:gd name="T41" fmla="*/ 174 h 207"/>
                <a:gd name="T42" fmla="*/ 4 w 100"/>
                <a:gd name="T43" fmla="*/ 187 h 207"/>
                <a:gd name="T44" fmla="*/ 2 w 100"/>
                <a:gd name="T45" fmla="*/ 198 h 207"/>
                <a:gd name="T46" fmla="*/ 1 w 100"/>
                <a:gd name="T47" fmla="*/ 205 h 207"/>
                <a:gd name="T48" fmla="*/ 0 w 100"/>
                <a:gd name="T49"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207">
                  <a:moveTo>
                    <a:pt x="0" y="207"/>
                  </a:moveTo>
                  <a:cubicBezTo>
                    <a:pt x="0" y="207"/>
                    <a:pt x="0" y="206"/>
                    <a:pt x="0" y="204"/>
                  </a:cubicBezTo>
                  <a:cubicBezTo>
                    <a:pt x="0" y="203"/>
                    <a:pt x="1" y="200"/>
                    <a:pt x="1" y="198"/>
                  </a:cubicBezTo>
                  <a:cubicBezTo>
                    <a:pt x="1" y="195"/>
                    <a:pt x="2" y="191"/>
                    <a:pt x="3" y="187"/>
                  </a:cubicBezTo>
                  <a:cubicBezTo>
                    <a:pt x="4" y="183"/>
                    <a:pt x="5" y="178"/>
                    <a:pt x="6" y="173"/>
                  </a:cubicBezTo>
                  <a:cubicBezTo>
                    <a:pt x="7" y="171"/>
                    <a:pt x="7" y="168"/>
                    <a:pt x="8" y="165"/>
                  </a:cubicBezTo>
                  <a:cubicBezTo>
                    <a:pt x="9" y="163"/>
                    <a:pt x="10" y="160"/>
                    <a:pt x="11" y="157"/>
                  </a:cubicBezTo>
                  <a:cubicBezTo>
                    <a:pt x="13" y="151"/>
                    <a:pt x="15" y="145"/>
                    <a:pt x="17" y="138"/>
                  </a:cubicBezTo>
                  <a:cubicBezTo>
                    <a:pt x="23" y="125"/>
                    <a:pt x="29" y="111"/>
                    <a:pt x="36" y="97"/>
                  </a:cubicBezTo>
                  <a:cubicBezTo>
                    <a:pt x="52" y="69"/>
                    <a:pt x="68" y="45"/>
                    <a:pt x="80" y="27"/>
                  </a:cubicBezTo>
                  <a:cubicBezTo>
                    <a:pt x="86" y="19"/>
                    <a:pt x="91" y="12"/>
                    <a:pt x="94" y="7"/>
                  </a:cubicBezTo>
                  <a:cubicBezTo>
                    <a:pt x="96" y="5"/>
                    <a:pt x="97" y="3"/>
                    <a:pt x="98" y="1"/>
                  </a:cubicBezTo>
                  <a:cubicBezTo>
                    <a:pt x="99" y="0"/>
                    <a:pt x="100" y="0"/>
                    <a:pt x="100" y="0"/>
                  </a:cubicBezTo>
                  <a:cubicBezTo>
                    <a:pt x="100" y="0"/>
                    <a:pt x="100" y="0"/>
                    <a:pt x="99" y="2"/>
                  </a:cubicBezTo>
                  <a:cubicBezTo>
                    <a:pt x="98" y="3"/>
                    <a:pt x="97" y="5"/>
                    <a:pt x="95" y="7"/>
                  </a:cubicBezTo>
                  <a:cubicBezTo>
                    <a:pt x="92" y="12"/>
                    <a:pt x="87" y="19"/>
                    <a:pt x="81" y="28"/>
                  </a:cubicBezTo>
                  <a:cubicBezTo>
                    <a:pt x="69" y="45"/>
                    <a:pt x="53" y="70"/>
                    <a:pt x="38" y="98"/>
                  </a:cubicBezTo>
                  <a:cubicBezTo>
                    <a:pt x="31" y="112"/>
                    <a:pt x="24" y="126"/>
                    <a:pt x="19" y="139"/>
                  </a:cubicBezTo>
                  <a:cubicBezTo>
                    <a:pt x="17" y="145"/>
                    <a:pt x="14" y="151"/>
                    <a:pt x="12" y="157"/>
                  </a:cubicBezTo>
                  <a:cubicBezTo>
                    <a:pt x="11" y="160"/>
                    <a:pt x="10" y="163"/>
                    <a:pt x="10" y="166"/>
                  </a:cubicBezTo>
                  <a:cubicBezTo>
                    <a:pt x="9" y="168"/>
                    <a:pt x="8" y="171"/>
                    <a:pt x="7" y="174"/>
                  </a:cubicBezTo>
                  <a:cubicBezTo>
                    <a:pt x="6" y="179"/>
                    <a:pt x="5" y="183"/>
                    <a:pt x="4" y="187"/>
                  </a:cubicBezTo>
                  <a:cubicBezTo>
                    <a:pt x="3" y="191"/>
                    <a:pt x="2" y="195"/>
                    <a:pt x="2" y="198"/>
                  </a:cubicBezTo>
                  <a:cubicBezTo>
                    <a:pt x="1" y="201"/>
                    <a:pt x="1" y="203"/>
                    <a:pt x="1" y="205"/>
                  </a:cubicBezTo>
                  <a:cubicBezTo>
                    <a:pt x="0" y="206"/>
                    <a:pt x="0" y="207"/>
                    <a:pt x="0" y="20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7">
              <a:extLst>
                <a:ext uri="{FF2B5EF4-FFF2-40B4-BE49-F238E27FC236}">
                  <a16:creationId xmlns:a16="http://schemas.microsoft.com/office/drawing/2014/main" id="{E23FF8C4-5B41-4430-BC93-ACF98695044B}"/>
                </a:ext>
              </a:extLst>
            </p:cNvPr>
            <p:cNvSpPr>
              <a:spLocks/>
            </p:cNvSpPr>
            <p:nvPr/>
          </p:nvSpPr>
          <p:spPr bwMode="auto">
            <a:xfrm>
              <a:off x="5245" y="1663"/>
              <a:ext cx="562" cy="663"/>
            </a:xfrm>
            <a:custGeom>
              <a:avLst/>
              <a:gdLst>
                <a:gd name="T0" fmla="*/ 175 w 237"/>
                <a:gd name="T1" fmla="*/ 0 h 279"/>
                <a:gd name="T2" fmla="*/ 81 w 237"/>
                <a:gd name="T3" fmla="*/ 8 h 279"/>
                <a:gd name="T4" fmla="*/ 22 w 237"/>
                <a:gd name="T5" fmla="*/ 81 h 279"/>
                <a:gd name="T6" fmla="*/ 0 w 237"/>
                <a:gd name="T7" fmla="*/ 151 h 279"/>
                <a:gd name="T8" fmla="*/ 40 w 237"/>
                <a:gd name="T9" fmla="*/ 160 h 279"/>
                <a:gd name="T10" fmla="*/ 40 w 237"/>
                <a:gd name="T11" fmla="*/ 164 h 279"/>
                <a:gd name="T12" fmla="*/ 48 w 237"/>
                <a:gd name="T13" fmla="*/ 279 h 279"/>
                <a:gd name="T14" fmla="*/ 218 w 237"/>
                <a:gd name="T15" fmla="*/ 252 h 279"/>
                <a:gd name="T16" fmla="*/ 203 w 237"/>
                <a:gd name="T17" fmla="*/ 196 h 279"/>
                <a:gd name="T18" fmla="*/ 237 w 237"/>
                <a:gd name="T19" fmla="*/ 78 h 279"/>
                <a:gd name="T20" fmla="*/ 175 w 237"/>
                <a:gd name="T21" fmla="*/ 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279">
                  <a:moveTo>
                    <a:pt x="175" y="0"/>
                  </a:moveTo>
                  <a:cubicBezTo>
                    <a:pt x="81" y="8"/>
                    <a:pt x="81" y="8"/>
                    <a:pt x="81" y="8"/>
                  </a:cubicBezTo>
                  <a:cubicBezTo>
                    <a:pt x="81" y="8"/>
                    <a:pt x="53" y="9"/>
                    <a:pt x="22" y="81"/>
                  </a:cubicBezTo>
                  <a:cubicBezTo>
                    <a:pt x="0" y="151"/>
                    <a:pt x="0" y="151"/>
                    <a:pt x="0" y="151"/>
                  </a:cubicBezTo>
                  <a:cubicBezTo>
                    <a:pt x="40" y="160"/>
                    <a:pt x="40" y="160"/>
                    <a:pt x="40" y="160"/>
                  </a:cubicBezTo>
                  <a:cubicBezTo>
                    <a:pt x="40" y="164"/>
                    <a:pt x="40" y="164"/>
                    <a:pt x="40" y="164"/>
                  </a:cubicBezTo>
                  <a:cubicBezTo>
                    <a:pt x="48" y="279"/>
                    <a:pt x="48" y="279"/>
                    <a:pt x="48" y="279"/>
                  </a:cubicBezTo>
                  <a:cubicBezTo>
                    <a:pt x="218" y="252"/>
                    <a:pt x="218" y="252"/>
                    <a:pt x="218" y="252"/>
                  </a:cubicBezTo>
                  <a:cubicBezTo>
                    <a:pt x="218" y="237"/>
                    <a:pt x="210" y="216"/>
                    <a:pt x="203" y="196"/>
                  </a:cubicBezTo>
                  <a:cubicBezTo>
                    <a:pt x="210" y="180"/>
                    <a:pt x="237" y="111"/>
                    <a:pt x="237" y="78"/>
                  </a:cubicBezTo>
                  <a:cubicBezTo>
                    <a:pt x="236" y="7"/>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8">
              <a:extLst>
                <a:ext uri="{FF2B5EF4-FFF2-40B4-BE49-F238E27FC236}">
                  <a16:creationId xmlns:a16="http://schemas.microsoft.com/office/drawing/2014/main" id="{B75ABA6B-30BE-417A-8F1A-21B97CF3A78C}"/>
                </a:ext>
              </a:extLst>
            </p:cNvPr>
            <p:cNvSpPr>
              <a:spLocks/>
            </p:cNvSpPr>
            <p:nvPr/>
          </p:nvSpPr>
          <p:spPr bwMode="auto">
            <a:xfrm>
              <a:off x="5627" y="3234"/>
              <a:ext cx="131" cy="221"/>
            </a:xfrm>
            <a:custGeom>
              <a:avLst/>
              <a:gdLst>
                <a:gd name="T0" fmla="*/ 55 w 55"/>
                <a:gd name="T1" fmla="*/ 0 h 93"/>
                <a:gd name="T2" fmla="*/ 53 w 55"/>
                <a:gd name="T3" fmla="*/ 4 h 93"/>
                <a:gd name="T4" fmla="*/ 48 w 55"/>
                <a:gd name="T5" fmla="*/ 14 h 93"/>
                <a:gd name="T6" fmla="*/ 28 w 55"/>
                <a:gd name="T7" fmla="*/ 47 h 93"/>
                <a:gd name="T8" fmla="*/ 9 w 55"/>
                <a:gd name="T9" fmla="*/ 79 h 93"/>
                <a:gd name="T10" fmla="*/ 3 w 55"/>
                <a:gd name="T11" fmla="*/ 89 h 93"/>
                <a:gd name="T12" fmla="*/ 0 w 55"/>
                <a:gd name="T13" fmla="*/ 93 h 93"/>
                <a:gd name="T14" fmla="*/ 2 w 55"/>
                <a:gd name="T15" fmla="*/ 89 h 93"/>
                <a:gd name="T16" fmla="*/ 7 w 55"/>
                <a:gd name="T17" fmla="*/ 79 h 93"/>
                <a:gd name="T18" fmla="*/ 27 w 55"/>
                <a:gd name="T19" fmla="*/ 46 h 93"/>
                <a:gd name="T20" fmla="*/ 46 w 55"/>
                <a:gd name="T21" fmla="*/ 13 h 93"/>
                <a:gd name="T22" fmla="*/ 52 w 55"/>
                <a:gd name="T23" fmla="*/ 3 h 93"/>
                <a:gd name="T24" fmla="*/ 55 w 55"/>
                <a:gd name="T2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93">
                  <a:moveTo>
                    <a:pt x="55" y="0"/>
                  </a:moveTo>
                  <a:cubicBezTo>
                    <a:pt x="55" y="0"/>
                    <a:pt x="54" y="1"/>
                    <a:pt x="53" y="4"/>
                  </a:cubicBezTo>
                  <a:cubicBezTo>
                    <a:pt x="52" y="6"/>
                    <a:pt x="50" y="9"/>
                    <a:pt x="48" y="14"/>
                  </a:cubicBezTo>
                  <a:cubicBezTo>
                    <a:pt x="43" y="22"/>
                    <a:pt x="36" y="34"/>
                    <a:pt x="28" y="47"/>
                  </a:cubicBezTo>
                  <a:cubicBezTo>
                    <a:pt x="21" y="59"/>
                    <a:pt x="14" y="71"/>
                    <a:pt x="9" y="79"/>
                  </a:cubicBezTo>
                  <a:cubicBezTo>
                    <a:pt x="6" y="83"/>
                    <a:pt x="4" y="87"/>
                    <a:pt x="3" y="89"/>
                  </a:cubicBezTo>
                  <a:cubicBezTo>
                    <a:pt x="1" y="92"/>
                    <a:pt x="0" y="93"/>
                    <a:pt x="0" y="93"/>
                  </a:cubicBezTo>
                  <a:cubicBezTo>
                    <a:pt x="0" y="93"/>
                    <a:pt x="1" y="91"/>
                    <a:pt x="2" y="89"/>
                  </a:cubicBezTo>
                  <a:cubicBezTo>
                    <a:pt x="3" y="86"/>
                    <a:pt x="5" y="83"/>
                    <a:pt x="7" y="79"/>
                  </a:cubicBezTo>
                  <a:cubicBezTo>
                    <a:pt x="12" y="70"/>
                    <a:pt x="19" y="58"/>
                    <a:pt x="27" y="46"/>
                  </a:cubicBezTo>
                  <a:cubicBezTo>
                    <a:pt x="34" y="33"/>
                    <a:pt x="41" y="22"/>
                    <a:pt x="46" y="13"/>
                  </a:cubicBezTo>
                  <a:cubicBezTo>
                    <a:pt x="49" y="9"/>
                    <a:pt x="51" y="6"/>
                    <a:pt x="52" y="3"/>
                  </a:cubicBezTo>
                  <a:cubicBezTo>
                    <a:pt x="54" y="1"/>
                    <a:pt x="55" y="0"/>
                    <a:pt x="5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9">
              <a:extLst>
                <a:ext uri="{FF2B5EF4-FFF2-40B4-BE49-F238E27FC236}">
                  <a16:creationId xmlns:a16="http://schemas.microsoft.com/office/drawing/2014/main" id="{B044770A-DBDE-4432-AE94-52748705E665}"/>
                </a:ext>
              </a:extLst>
            </p:cNvPr>
            <p:cNvSpPr>
              <a:spLocks/>
            </p:cNvSpPr>
            <p:nvPr/>
          </p:nvSpPr>
          <p:spPr bwMode="auto">
            <a:xfrm>
              <a:off x="5641" y="2065"/>
              <a:ext cx="64" cy="14"/>
            </a:xfrm>
            <a:custGeom>
              <a:avLst/>
              <a:gdLst>
                <a:gd name="T0" fmla="*/ 26 w 27"/>
                <a:gd name="T1" fmla="*/ 1 h 6"/>
                <a:gd name="T2" fmla="*/ 13 w 27"/>
                <a:gd name="T3" fmla="*/ 4 h 6"/>
                <a:gd name="T4" fmla="*/ 0 w 27"/>
                <a:gd name="T5" fmla="*/ 5 h 6"/>
                <a:gd name="T6" fmla="*/ 13 w 27"/>
                <a:gd name="T7" fmla="*/ 3 h 6"/>
                <a:gd name="T8" fmla="*/ 26 w 27"/>
                <a:gd name="T9" fmla="*/ 1 h 6"/>
              </a:gdLst>
              <a:ahLst/>
              <a:cxnLst>
                <a:cxn ang="0">
                  <a:pos x="T0" y="T1"/>
                </a:cxn>
                <a:cxn ang="0">
                  <a:pos x="T2" y="T3"/>
                </a:cxn>
                <a:cxn ang="0">
                  <a:pos x="T4" y="T5"/>
                </a:cxn>
                <a:cxn ang="0">
                  <a:pos x="T6" y="T7"/>
                </a:cxn>
                <a:cxn ang="0">
                  <a:pos x="T8" y="T9"/>
                </a:cxn>
              </a:cxnLst>
              <a:rect l="0" t="0" r="r" b="b"/>
              <a:pathLst>
                <a:path w="27" h="6">
                  <a:moveTo>
                    <a:pt x="26" y="1"/>
                  </a:moveTo>
                  <a:cubicBezTo>
                    <a:pt x="27" y="2"/>
                    <a:pt x="21" y="4"/>
                    <a:pt x="13" y="4"/>
                  </a:cubicBezTo>
                  <a:cubicBezTo>
                    <a:pt x="6" y="6"/>
                    <a:pt x="0" y="5"/>
                    <a:pt x="0" y="5"/>
                  </a:cubicBezTo>
                  <a:cubicBezTo>
                    <a:pt x="0" y="4"/>
                    <a:pt x="6" y="4"/>
                    <a:pt x="13" y="3"/>
                  </a:cubicBezTo>
                  <a:cubicBezTo>
                    <a:pt x="20" y="2"/>
                    <a:pt x="26" y="0"/>
                    <a:pt x="2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00">
              <a:extLst>
                <a:ext uri="{FF2B5EF4-FFF2-40B4-BE49-F238E27FC236}">
                  <a16:creationId xmlns:a16="http://schemas.microsoft.com/office/drawing/2014/main" id="{1A9F0437-2240-4819-9F63-64AFE0EFF16B}"/>
                </a:ext>
              </a:extLst>
            </p:cNvPr>
            <p:cNvSpPr>
              <a:spLocks/>
            </p:cNvSpPr>
            <p:nvPr/>
          </p:nvSpPr>
          <p:spPr bwMode="auto">
            <a:xfrm>
              <a:off x="4979" y="1666"/>
              <a:ext cx="496" cy="686"/>
            </a:xfrm>
            <a:custGeom>
              <a:avLst/>
              <a:gdLst>
                <a:gd name="T0" fmla="*/ 160 w 209"/>
                <a:gd name="T1" fmla="*/ 163 h 289"/>
                <a:gd name="T2" fmla="*/ 159 w 209"/>
                <a:gd name="T3" fmla="*/ 289 h 289"/>
                <a:gd name="T4" fmla="*/ 209 w 209"/>
                <a:gd name="T5" fmla="*/ 3 h 289"/>
                <a:gd name="T6" fmla="*/ 149 w 209"/>
                <a:gd name="T7" fmla="*/ 31 h 289"/>
                <a:gd name="T8" fmla="*/ 112 w 209"/>
                <a:gd name="T9" fmla="*/ 134 h 289"/>
                <a:gd name="T10" fmla="*/ 98 w 209"/>
                <a:gd name="T11" fmla="*/ 181 h 289"/>
                <a:gd name="T12" fmla="*/ 39 w 209"/>
                <a:gd name="T13" fmla="*/ 117 h 289"/>
                <a:gd name="T14" fmla="*/ 0 w 209"/>
                <a:gd name="T15" fmla="*/ 153 h 289"/>
                <a:gd name="T16" fmla="*/ 96 w 209"/>
                <a:gd name="T17" fmla="*/ 270 h 289"/>
                <a:gd name="T18" fmla="*/ 160 w 209"/>
                <a:gd name="T19" fmla="*/ 16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289">
                  <a:moveTo>
                    <a:pt x="160" y="163"/>
                  </a:moveTo>
                  <a:cubicBezTo>
                    <a:pt x="159" y="289"/>
                    <a:pt x="159" y="289"/>
                    <a:pt x="159" y="289"/>
                  </a:cubicBezTo>
                  <a:cubicBezTo>
                    <a:pt x="209" y="3"/>
                    <a:pt x="209" y="3"/>
                    <a:pt x="209" y="3"/>
                  </a:cubicBezTo>
                  <a:cubicBezTo>
                    <a:pt x="192" y="0"/>
                    <a:pt x="161" y="14"/>
                    <a:pt x="149" y="31"/>
                  </a:cubicBezTo>
                  <a:cubicBezTo>
                    <a:pt x="141" y="41"/>
                    <a:pt x="136" y="64"/>
                    <a:pt x="112" y="134"/>
                  </a:cubicBezTo>
                  <a:cubicBezTo>
                    <a:pt x="98" y="181"/>
                    <a:pt x="98" y="181"/>
                    <a:pt x="98" y="181"/>
                  </a:cubicBezTo>
                  <a:cubicBezTo>
                    <a:pt x="39" y="117"/>
                    <a:pt x="39" y="117"/>
                    <a:pt x="39" y="117"/>
                  </a:cubicBezTo>
                  <a:cubicBezTo>
                    <a:pt x="0" y="153"/>
                    <a:pt x="0" y="153"/>
                    <a:pt x="0" y="153"/>
                  </a:cubicBezTo>
                  <a:cubicBezTo>
                    <a:pt x="0" y="153"/>
                    <a:pt x="68" y="264"/>
                    <a:pt x="96" y="270"/>
                  </a:cubicBezTo>
                  <a:cubicBezTo>
                    <a:pt x="135" y="279"/>
                    <a:pt x="160" y="163"/>
                    <a:pt x="160" y="163"/>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1">
              <a:extLst>
                <a:ext uri="{FF2B5EF4-FFF2-40B4-BE49-F238E27FC236}">
                  <a16:creationId xmlns:a16="http://schemas.microsoft.com/office/drawing/2014/main" id="{9AAD372C-2819-4C13-B91F-810D6E915772}"/>
                </a:ext>
              </a:extLst>
            </p:cNvPr>
            <p:cNvSpPr>
              <a:spLocks/>
            </p:cNvSpPr>
            <p:nvPr/>
          </p:nvSpPr>
          <p:spPr bwMode="auto">
            <a:xfrm>
              <a:off x="5342" y="1780"/>
              <a:ext cx="38" cy="292"/>
            </a:xfrm>
            <a:custGeom>
              <a:avLst/>
              <a:gdLst>
                <a:gd name="T0" fmla="*/ 16 w 16"/>
                <a:gd name="T1" fmla="*/ 0 h 123"/>
                <a:gd name="T2" fmla="*/ 15 w 16"/>
                <a:gd name="T3" fmla="*/ 4 h 123"/>
                <a:gd name="T4" fmla="*/ 13 w 16"/>
                <a:gd name="T5" fmla="*/ 18 h 123"/>
                <a:gd name="T6" fmla="*/ 7 w 16"/>
                <a:gd name="T7" fmla="*/ 61 h 123"/>
                <a:gd name="T8" fmla="*/ 2 w 16"/>
                <a:gd name="T9" fmla="*/ 105 h 123"/>
                <a:gd name="T10" fmla="*/ 1 w 16"/>
                <a:gd name="T11" fmla="*/ 118 h 123"/>
                <a:gd name="T12" fmla="*/ 0 w 16"/>
                <a:gd name="T13" fmla="*/ 123 h 123"/>
                <a:gd name="T14" fmla="*/ 0 w 16"/>
                <a:gd name="T15" fmla="*/ 118 h 123"/>
                <a:gd name="T16" fmla="*/ 1 w 16"/>
                <a:gd name="T17" fmla="*/ 105 h 123"/>
                <a:gd name="T18" fmla="*/ 5 w 16"/>
                <a:gd name="T19" fmla="*/ 61 h 123"/>
                <a:gd name="T20" fmla="*/ 12 w 16"/>
                <a:gd name="T21" fmla="*/ 17 h 123"/>
                <a:gd name="T22" fmla="*/ 14 w 16"/>
                <a:gd name="T23" fmla="*/ 4 h 123"/>
                <a:gd name="T24" fmla="*/ 16 w 16"/>
                <a:gd name="T2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3">
                  <a:moveTo>
                    <a:pt x="16" y="0"/>
                  </a:moveTo>
                  <a:cubicBezTo>
                    <a:pt x="16" y="0"/>
                    <a:pt x="16" y="1"/>
                    <a:pt x="15" y="4"/>
                  </a:cubicBezTo>
                  <a:cubicBezTo>
                    <a:pt x="15" y="8"/>
                    <a:pt x="14" y="12"/>
                    <a:pt x="13" y="18"/>
                  </a:cubicBezTo>
                  <a:cubicBezTo>
                    <a:pt x="11" y="29"/>
                    <a:pt x="9" y="44"/>
                    <a:pt x="7" y="61"/>
                  </a:cubicBezTo>
                  <a:cubicBezTo>
                    <a:pt x="5" y="78"/>
                    <a:pt x="3" y="94"/>
                    <a:pt x="2" y="105"/>
                  </a:cubicBezTo>
                  <a:cubicBezTo>
                    <a:pt x="2" y="110"/>
                    <a:pt x="1" y="115"/>
                    <a:pt x="1" y="118"/>
                  </a:cubicBezTo>
                  <a:cubicBezTo>
                    <a:pt x="1" y="121"/>
                    <a:pt x="0" y="123"/>
                    <a:pt x="0" y="123"/>
                  </a:cubicBezTo>
                  <a:cubicBezTo>
                    <a:pt x="0" y="123"/>
                    <a:pt x="0" y="121"/>
                    <a:pt x="0" y="118"/>
                  </a:cubicBezTo>
                  <a:cubicBezTo>
                    <a:pt x="0" y="115"/>
                    <a:pt x="1" y="110"/>
                    <a:pt x="1" y="105"/>
                  </a:cubicBezTo>
                  <a:cubicBezTo>
                    <a:pt x="1" y="93"/>
                    <a:pt x="3" y="78"/>
                    <a:pt x="5" y="61"/>
                  </a:cubicBezTo>
                  <a:cubicBezTo>
                    <a:pt x="7" y="44"/>
                    <a:pt x="10" y="28"/>
                    <a:pt x="12" y="17"/>
                  </a:cubicBezTo>
                  <a:cubicBezTo>
                    <a:pt x="13" y="12"/>
                    <a:pt x="14" y="7"/>
                    <a:pt x="14" y="4"/>
                  </a:cubicBezTo>
                  <a:cubicBezTo>
                    <a:pt x="15" y="1"/>
                    <a:pt x="15" y="0"/>
                    <a:pt x="1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2">
              <a:extLst>
                <a:ext uri="{FF2B5EF4-FFF2-40B4-BE49-F238E27FC236}">
                  <a16:creationId xmlns:a16="http://schemas.microsoft.com/office/drawing/2014/main" id="{5D73A96B-A2EE-4BA0-AE78-2904F638591E}"/>
                </a:ext>
              </a:extLst>
            </p:cNvPr>
            <p:cNvSpPr>
              <a:spLocks/>
            </p:cNvSpPr>
            <p:nvPr/>
          </p:nvSpPr>
          <p:spPr bwMode="auto">
            <a:xfrm>
              <a:off x="5347" y="1718"/>
              <a:ext cx="78" cy="50"/>
            </a:xfrm>
            <a:custGeom>
              <a:avLst/>
              <a:gdLst>
                <a:gd name="T0" fmla="*/ 0 w 33"/>
                <a:gd name="T1" fmla="*/ 20 h 21"/>
                <a:gd name="T2" fmla="*/ 17 w 33"/>
                <a:gd name="T3" fmla="*/ 11 h 21"/>
                <a:gd name="T4" fmla="*/ 33 w 33"/>
                <a:gd name="T5" fmla="*/ 0 h 21"/>
                <a:gd name="T6" fmla="*/ 18 w 33"/>
                <a:gd name="T7" fmla="*/ 12 h 21"/>
                <a:gd name="T8" fmla="*/ 0 w 33"/>
                <a:gd name="T9" fmla="*/ 20 h 21"/>
              </a:gdLst>
              <a:ahLst/>
              <a:cxnLst>
                <a:cxn ang="0">
                  <a:pos x="T0" y="T1"/>
                </a:cxn>
                <a:cxn ang="0">
                  <a:pos x="T2" y="T3"/>
                </a:cxn>
                <a:cxn ang="0">
                  <a:pos x="T4" y="T5"/>
                </a:cxn>
                <a:cxn ang="0">
                  <a:pos x="T6" y="T7"/>
                </a:cxn>
                <a:cxn ang="0">
                  <a:pos x="T8" y="T9"/>
                </a:cxn>
              </a:cxnLst>
              <a:rect l="0" t="0" r="r" b="b"/>
              <a:pathLst>
                <a:path w="33" h="21">
                  <a:moveTo>
                    <a:pt x="0" y="20"/>
                  </a:moveTo>
                  <a:cubicBezTo>
                    <a:pt x="0" y="20"/>
                    <a:pt x="8" y="16"/>
                    <a:pt x="17" y="11"/>
                  </a:cubicBezTo>
                  <a:cubicBezTo>
                    <a:pt x="26" y="5"/>
                    <a:pt x="33" y="0"/>
                    <a:pt x="33" y="0"/>
                  </a:cubicBezTo>
                  <a:cubicBezTo>
                    <a:pt x="33" y="0"/>
                    <a:pt x="27" y="7"/>
                    <a:pt x="18" y="12"/>
                  </a:cubicBezTo>
                  <a:cubicBezTo>
                    <a:pt x="9" y="18"/>
                    <a:pt x="1" y="21"/>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3">
              <a:extLst>
                <a:ext uri="{FF2B5EF4-FFF2-40B4-BE49-F238E27FC236}">
                  <a16:creationId xmlns:a16="http://schemas.microsoft.com/office/drawing/2014/main" id="{B9129D18-B242-409F-97A7-807FE24ABEF4}"/>
                </a:ext>
              </a:extLst>
            </p:cNvPr>
            <p:cNvSpPr>
              <a:spLocks/>
            </p:cNvSpPr>
            <p:nvPr/>
          </p:nvSpPr>
          <p:spPr bwMode="auto">
            <a:xfrm>
              <a:off x="5285" y="1894"/>
              <a:ext cx="26" cy="69"/>
            </a:xfrm>
            <a:custGeom>
              <a:avLst/>
              <a:gdLst>
                <a:gd name="T0" fmla="*/ 10 w 11"/>
                <a:gd name="T1" fmla="*/ 29 h 29"/>
                <a:gd name="T2" fmla="*/ 5 w 11"/>
                <a:gd name="T3" fmla="*/ 14 h 29"/>
                <a:gd name="T4" fmla="*/ 1 w 11"/>
                <a:gd name="T5" fmla="*/ 0 h 29"/>
                <a:gd name="T6" fmla="*/ 7 w 11"/>
                <a:gd name="T7" fmla="*/ 14 h 29"/>
                <a:gd name="T8" fmla="*/ 10 w 11"/>
                <a:gd name="T9" fmla="*/ 29 h 29"/>
              </a:gdLst>
              <a:ahLst/>
              <a:cxnLst>
                <a:cxn ang="0">
                  <a:pos x="T0" y="T1"/>
                </a:cxn>
                <a:cxn ang="0">
                  <a:pos x="T2" y="T3"/>
                </a:cxn>
                <a:cxn ang="0">
                  <a:pos x="T4" y="T5"/>
                </a:cxn>
                <a:cxn ang="0">
                  <a:pos x="T6" y="T7"/>
                </a:cxn>
                <a:cxn ang="0">
                  <a:pos x="T8" y="T9"/>
                </a:cxn>
              </a:cxnLst>
              <a:rect l="0" t="0" r="r" b="b"/>
              <a:pathLst>
                <a:path w="11" h="29">
                  <a:moveTo>
                    <a:pt x="10" y="29"/>
                  </a:moveTo>
                  <a:cubicBezTo>
                    <a:pt x="10" y="29"/>
                    <a:pt x="8" y="22"/>
                    <a:pt x="5" y="14"/>
                  </a:cubicBezTo>
                  <a:cubicBezTo>
                    <a:pt x="3" y="6"/>
                    <a:pt x="0" y="0"/>
                    <a:pt x="1" y="0"/>
                  </a:cubicBezTo>
                  <a:cubicBezTo>
                    <a:pt x="1" y="0"/>
                    <a:pt x="5" y="6"/>
                    <a:pt x="7" y="14"/>
                  </a:cubicBezTo>
                  <a:cubicBezTo>
                    <a:pt x="10" y="22"/>
                    <a:pt x="11" y="29"/>
                    <a:pt x="1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4">
              <a:extLst>
                <a:ext uri="{FF2B5EF4-FFF2-40B4-BE49-F238E27FC236}">
                  <a16:creationId xmlns:a16="http://schemas.microsoft.com/office/drawing/2014/main" id="{CB36F714-87AB-4A00-BE6E-7E142E10E708}"/>
                </a:ext>
              </a:extLst>
            </p:cNvPr>
            <p:cNvSpPr>
              <a:spLocks/>
            </p:cNvSpPr>
            <p:nvPr/>
          </p:nvSpPr>
          <p:spPr bwMode="auto">
            <a:xfrm>
              <a:off x="5392" y="1856"/>
              <a:ext cx="17" cy="76"/>
            </a:xfrm>
            <a:custGeom>
              <a:avLst/>
              <a:gdLst>
                <a:gd name="T0" fmla="*/ 6 w 7"/>
                <a:gd name="T1" fmla="*/ 0 h 32"/>
                <a:gd name="T2" fmla="*/ 5 w 7"/>
                <a:gd name="T3" fmla="*/ 16 h 32"/>
                <a:gd name="T4" fmla="*/ 0 w 7"/>
                <a:gd name="T5" fmla="*/ 32 h 32"/>
                <a:gd name="T6" fmla="*/ 3 w 7"/>
                <a:gd name="T7" fmla="*/ 16 h 32"/>
                <a:gd name="T8" fmla="*/ 6 w 7"/>
                <a:gd name="T9" fmla="*/ 0 h 32"/>
              </a:gdLst>
              <a:ahLst/>
              <a:cxnLst>
                <a:cxn ang="0">
                  <a:pos x="T0" y="T1"/>
                </a:cxn>
                <a:cxn ang="0">
                  <a:pos x="T2" y="T3"/>
                </a:cxn>
                <a:cxn ang="0">
                  <a:pos x="T4" y="T5"/>
                </a:cxn>
                <a:cxn ang="0">
                  <a:pos x="T6" y="T7"/>
                </a:cxn>
                <a:cxn ang="0">
                  <a:pos x="T8" y="T9"/>
                </a:cxn>
              </a:cxnLst>
              <a:rect l="0" t="0" r="r" b="b"/>
              <a:pathLst>
                <a:path w="7" h="32">
                  <a:moveTo>
                    <a:pt x="6" y="0"/>
                  </a:moveTo>
                  <a:cubicBezTo>
                    <a:pt x="7" y="0"/>
                    <a:pt x="7" y="7"/>
                    <a:pt x="5" y="16"/>
                  </a:cubicBezTo>
                  <a:cubicBezTo>
                    <a:pt x="3" y="25"/>
                    <a:pt x="1" y="32"/>
                    <a:pt x="0" y="32"/>
                  </a:cubicBezTo>
                  <a:cubicBezTo>
                    <a:pt x="0" y="32"/>
                    <a:pt x="2" y="25"/>
                    <a:pt x="3" y="16"/>
                  </a:cubicBezTo>
                  <a:cubicBezTo>
                    <a:pt x="5" y="7"/>
                    <a:pt x="6" y="0"/>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5">
              <a:extLst>
                <a:ext uri="{FF2B5EF4-FFF2-40B4-BE49-F238E27FC236}">
                  <a16:creationId xmlns:a16="http://schemas.microsoft.com/office/drawing/2014/main" id="{A39C9FA9-DE7B-46FF-A8D3-668057EC4F3E}"/>
                </a:ext>
              </a:extLst>
            </p:cNvPr>
            <p:cNvSpPr>
              <a:spLocks/>
            </p:cNvSpPr>
            <p:nvPr/>
          </p:nvSpPr>
          <p:spPr bwMode="auto">
            <a:xfrm>
              <a:off x="5262" y="2115"/>
              <a:ext cx="11" cy="69"/>
            </a:xfrm>
            <a:custGeom>
              <a:avLst/>
              <a:gdLst>
                <a:gd name="T0" fmla="*/ 4 w 5"/>
                <a:gd name="T1" fmla="*/ 0 h 29"/>
                <a:gd name="T2" fmla="*/ 3 w 5"/>
                <a:gd name="T3" fmla="*/ 14 h 29"/>
                <a:gd name="T4" fmla="*/ 1 w 5"/>
                <a:gd name="T5" fmla="*/ 29 h 29"/>
                <a:gd name="T6" fmla="*/ 1 w 5"/>
                <a:gd name="T7" fmla="*/ 14 h 29"/>
                <a:gd name="T8" fmla="*/ 4 w 5"/>
                <a:gd name="T9" fmla="*/ 0 h 29"/>
              </a:gdLst>
              <a:ahLst/>
              <a:cxnLst>
                <a:cxn ang="0">
                  <a:pos x="T0" y="T1"/>
                </a:cxn>
                <a:cxn ang="0">
                  <a:pos x="T2" y="T3"/>
                </a:cxn>
                <a:cxn ang="0">
                  <a:pos x="T4" y="T5"/>
                </a:cxn>
                <a:cxn ang="0">
                  <a:pos x="T6" y="T7"/>
                </a:cxn>
                <a:cxn ang="0">
                  <a:pos x="T8" y="T9"/>
                </a:cxn>
              </a:cxnLst>
              <a:rect l="0" t="0" r="r" b="b"/>
              <a:pathLst>
                <a:path w="5" h="29">
                  <a:moveTo>
                    <a:pt x="4" y="0"/>
                  </a:moveTo>
                  <a:cubicBezTo>
                    <a:pt x="5" y="0"/>
                    <a:pt x="4" y="6"/>
                    <a:pt x="3" y="14"/>
                  </a:cubicBezTo>
                  <a:cubicBezTo>
                    <a:pt x="2" y="22"/>
                    <a:pt x="2" y="29"/>
                    <a:pt x="1" y="29"/>
                  </a:cubicBezTo>
                  <a:cubicBezTo>
                    <a:pt x="1" y="29"/>
                    <a:pt x="0" y="22"/>
                    <a:pt x="1" y="14"/>
                  </a:cubicBezTo>
                  <a:cubicBezTo>
                    <a:pt x="2" y="6"/>
                    <a:pt x="4"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6">
              <a:extLst>
                <a:ext uri="{FF2B5EF4-FFF2-40B4-BE49-F238E27FC236}">
                  <a16:creationId xmlns:a16="http://schemas.microsoft.com/office/drawing/2014/main" id="{99F7259F-9E35-4494-A6BB-9246F96D46EC}"/>
                </a:ext>
              </a:extLst>
            </p:cNvPr>
            <p:cNvSpPr>
              <a:spLocks/>
            </p:cNvSpPr>
            <p:nvPr/>
          </p:nvSpPr>
          <p:spPr bwMode="auto">
            <a:xfrm>
              <a:off x="5050" y="2032"/>
              <a:ext cx="45" cy="80"/>
            </a:xfrm>
            <a:custGeom>
              <a:avLst/>
              <a:gdLst>
                <a:gd name="T0" fmla="*/ 18 w 19"/>
                <a:gd name="T1" fmla="*/ 34 h 34"/>
                <a:gd name="T2" fmla="*/ 7 w 19"/>
                <a:gd name="T3" fmla="*/ 18 h 34"/>
                <a:gd name="T4" fmla="*/ 0 w 19"/>
                <a:gd name="T5" fmla="*/ 0 h 34"/>
                <a:gd name="T6" fmla="*/ 9 w 19"/>
                <a:gd name="T7" fmla="*/ 17 h 34"/>
                <a:gd name="T8" fmla="*/ 18 w 19"/>
                <a:gd name="T9" fmla="*/ 34 h 34"/>
              </a:gdLst>
              <a:ahLst/>
              <a:cxnLst>
                <a:cxn ang="0">
                  <a:pos x="T0" y="T1"/>
                </a:cxn>
                <a:cxn ang="0">
                  <a:pos x="T2" y="T3"/>
                </a:cxn>
                <a:cxn ang="0">
                  <a:pos x="T4" y="T5"/>
                </a:cxn>
                <a:cxn ang="0">
                  <a:pos x="T6" y="T7"/>
                </a:cxn>
                <a:cxn ang="0">
                  <a:pos x="T8" y="T9"/>
                </a:cxn>
              </a:cxnLst>
              <a:rect l="0" t="0" r="r" b="b"/>
              <a:pathLst>
                <a:path w="19" h="34">
                  <a:moveTo>
                    <a:pt x="18" y="34"/>
                  </a:moveTo>
                  <a:cubicBezTo>
                    <a:pt x="18" y="34"/>
                    <a:pt x="12" y="27"/>
                    <a:pt x="7" y="18"/>
                  </a:cubicBezTo>
                  <a:cubicBezTo>
                    <a:pt x="3" y="8"/>
                    <a:pt x="0" y="0"/>
                    <a:pt x="0" y="0"/>
                  </a:cubicBezTo>
                  <a:cubicBezTo>
                    <a:pt x="1" y="0"/>
                    <a:pt x="4" y="7"/>
                    <a:pt x="9" y="17"/>
                  </a:cubicBezTo>
                  <a:cubicBezTo>
                    <a:pt x="14" y="26"/>
                    <a:pt x="19" y="33"/>
                    <a:pt x="18"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7">
              <a:extLst>
                <a:ext uri="{FF2B5EF4-FFF2-40B4-BE49-F238E27FC236}">
                  <a16:creationId xmlns:a16="http://schemas.microsoft.com/office/drawing/2014/main" id="{47A73BE8-75B2-4065-A2BD-B7CC42D77CDC}"/>
                </a:ext>
              </a:extLst>
            </p:cNvPr>
            <p:cNvSpPr>
              <a:spLocks/>
            </p:cNvSpPr>
            <p:nvPr/>
          </p:nvSpPr>
          <p:spPr bwMode="auto">
            <a:xfrm>
              <a:off x="5140" y="2117"/>
              <a:ext cx="55" cy="29"/>
            </a:xfrm>
            <a:custGeom>
              <a:avLst/>
              <a:gdLst>
                <a:gd name="T0" fmla="*/ 23 w 23"/>
                <a:gd name="T1" fmla="*/ 1 h 12"/>
                <a:gd name="T2" fmla="*/ 12 w 23"/>
                <a:gd name="T3" fmla="*/ 8 h 12"/>
                <a:gd name="T4" fmla="*/ 0 w 23"/>
                <a:gd name="T5" fmla="*/ 11 h 12"/>
                <a:gd name="T6" fmla="*/ 11 w 23"/>
                <a:gd name="T7" fmla="*/ 6 h 12"/>
                <a:gd name="T8" fmla="*/ 23 w 23"/>
                <a:gd name="T9" fmla="*/ 1 h 12"/>
              </a:gdLst>
              <a:ahLst/>
              <a:cxnLst>
                <a:cxn ang="0">
                  <a:pos x="T0" y="T1"/>
                </a:cxn>
                <a:cxn ang="0">
                  <a:pos x="T2" y="T3"/>
                </a:cxn>
                <a:cxn ang="0">
                  <a:pos x="T4" y="T5"/>
                </a:cxn>
                <a:cxn ang="0">
                  <a:pos x="T6" y="T7"/>
                </a:cxn>
                <a:cxn ang="0">
                  <a:pos x="T8" y="T9"/>
                </a:cxn>
              </a:cxnLst>
              <a:rect l="0" t="0" r="r" b="b"/>
              <a:pathLst>
                <a:path w="23" h="12">
                  <a:moveTo>
                    <a:pt x="23" y="1"/>
                  </a:moveTo>
                  <a:cubicBezTo>
                    <a:pt x="23" y="1"/>
                    <a:pt x="19" y="5"/>
                    <a:pt x="12" y="8"/>
                  </a:cubicBezTo>
                  <a:cubicBezTo>
                    <a:pt x="6" y="11"/>
                    <a:pt x="0" y="12"/>
                    <a:pt x="0" y="11"/>
                  </a:cubicBezTo>
                  <a:cubicBezTo>
                    <a:pt x="0" y="11"/>
                    <a:pt x="5" y="9"/>
                    <a:pt x="11" y="6"/>
                  </a:cubicBezTo>
                  <a:cubicBezTo>
                    <a:pt x="18" y="3"/>
                    <a:pt x="23" y="0"/>
                    <a:pt x="2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8">
              <a:extLst>
                <a:ext uri="{FF2B5EF4-FFF2-40B4-BE49-F238E27FC236}">
                  <a16:creationId xmlns:a16="http://schemas.microsoft.com/office/drawing/2014/main" id="{B1BA93DE-AF8F-4551-9540-0869A9865F61}"/>
                </a:ext>
              </a:extLst>
            </p:cNvPr>
            <p:cNvSpPr>
              <a:spLocks/>
            </p:cNvSpPr>
            <p:nvPr/>
          </p:nvSpPr>
          <p:spPr bwMode="auto">
            <a:xfrm>
              <a:off x="5679" y="1918"/>
              <a:ext cx="278" cy="1126"/>
            </a:xfrm>
            <a:custGeom>
              <a:avLst/>
              <a:gdLst>
                <a:gd name="T0" fmla="*/ 0 w 278"/>
                <a:gd name="T1" fmla="*/ 294 h 1126"/>
                <a:gd name="T2" fmla="*/ 69 w 278"/>
                <a:gd name="T3" fmla="*/ 1126 h 1126"/>
                <a:gd name="T4" fmla="*/ 278 w 278"/>
                <a:gd name="T5" fmla="*/ 1104 h 1126"/>
                <a:gd name="T6" fmla="*/ 79 w 278"/>
                <a:gd name="T7" fmla="*/ 232 h 1126"/>
                <a:gd name="T8" fmla="*/ 105 w 278"/>
                <a:gd name="T9" fmla="*/ 0 h 1126"/>
                <a:gd name="T10" fmla="*/ 0 w 278"/>
                <a:gd name="T11" fmla="*/ 294 h 1126"/>
              </a:gdLst>
              <a:ahLst/>
              <a:cxnLst>
                <a:cxn ang="0">
                  <a:pos x="T0" y="T1"/>
                </a:cxn>
                <a:cxn ang="0">
                  <a:pos x="T2" y="T3"/>
                </a:cxn>
                <a:cxn ang="0">
                  <a:pos x="T4" y="T5"/>
                </a:cxn>
                <a:cxn ang="0">
                  <a:pos x="T6" y="T7"/>
                </a:cxn>
                <a:cxn ang="0">
                  <a:pos x="T8" y="T9"/>
                </a:cxn>
                <a:cxn ang="0">
                  <a:pos x="T10" y="T11"/>
                </a:cxn>
              </a:cxnLst>
              <a:rect l="0" t="0" r="r" b="b"/>
              <a:pathLst>
                <a:path w="278" h="1126">
                  <a:moveTo>
                    <a:pt x="0" y="294"/>
                  </a:moveTo>
                  <a:lnTo>
                    <a:pt x="69" y="1126"/>
                  </a:lnTo>
                  <a:lnTo>
                    <a:pt x="278" y="1104"/>
                  </a:lnTo>
                  <a:lnTo>
                    <a:pt x="79" y="232"/>
                  </a:lnTo>
                  <a:lnTo>
                    <a:pt x="105" y="0"/>
                  </a:lnTo>
                  <a:lnTo>
                    <a:pt x="0" y="294"/>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9">
              <a:extLst>
                <a:ext uri="{FF2B5EF4-FFF2-40B4-BE49-F238E27FC236}">
                  <a16:creationId xmlns:a16="http://schemas.microsoft.com/office/drawing/2014/main" id="{65BFE217-39A8-4786-A220-2B8FF8A729C5}"/>
                </a:ext>
              </a:extLst>
            </p:cNvPr>
            <p:cNvSpPr>
              <a:spLocks/>
            </p:cNvSpPr>
            <p:nvPr/>
          </p:nvSpPr>
          <p:spPr bwMode="auto">
            <a:xfrm>
              <a:off x="5682" y="2219"/>
              <a:ext cx="66" cy="825"/>
            </a:xfrm>
            <a:custGeom>
              <a:avLst/>
              <a:gdLst>
                <a:gd name="T0" fmla="*/ 28 w 28"/>
                <a:gd name="T1" fmla="*/ 347 h 347"/>
                <a:gd name="T2" fmla="*/ 13 w 28"/>
                <a:gd name="T3" fmla="*/ 174 h 347"/>
                <a:gd name="T4" fmla="*/ 1 w 28"/>
                <a:gd name="T5" fmla="*/ 0 h 347"/>
                <a:gd name="T6" fmla="*/ 15 w 28"/>
                <a:gd name="T7" fmla="*/ 173 h 347"/>
                <a:gd name="T8" fmla="*/ 28 w 28"/>
                <a:gd name="T9" fmla="*/ 347 h 347"/>
              </a:gdLst>
              <a:ahLst/>
              <a:cxnLst>
                <a:cxn ang="0">
                  <a:pos x="T0" y="T1"/>
                </a:cxn>
                <a:cxn ang="0">
                  <a:pos x="T2" y="T3"/>
                </a:cxn>
                <a:cxn ang="0">
                  <a:pos x="T4" y="T5"/>
                </a:cxn>
                <a:cxn ang="0">
                  <a:pos x="T6" y="T7"/>
                </a:cxn>
                <a:cxn ang="0">
                  <a:pos x="T8" y="T9"/>
                </a:cxn>
              </a:cxnLst>
              <a:rect l="0" t="0" r="r" b="b"/>
              <a:pathLst>
                <a:path w="28" h="347">
                  <a:moveTo>
                    <a:pt x="28" y="347"/>
                  </a:moveTo>
                  <a:cubicBezTo>
                    <a:pt x="27" y="347"/>
                    <a:pt x="21" y="269"/>
                    <a:pt x="13" y="174"/>
                  </a:cubicBezTo>
                  <a:cubicBezTo>
                    <a:pt x="6" y="78"/>
                    <a:pt x="0" y="0"/>
                    <a:pt x="1" y="0"/>
                  </a:cubicBezTo>
                  <a:cubicBezTo>
                    <a:pt x="1" y="0"/>
                    <a:pt x="8" y="78"/>
                    <a:pt x="15" y="173"/>
                  </a:cubicBezTo>
                  <a:cubicBezTo>
                    <a:pt x="23" y="269"/>
                    <a:pt x="28" y="347"/>
                    <a:pt x="28" y="34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0">
              <a:extLst>
                <a:ext uri="{FF2B5EF4-FFF2-40B4-BE49-F238E27FC236}">
                  <a16:creationId xmlns:a16="http://schemas.microsoft.com/office/drawing/2014/main" id="{19376664-3EA2-4C30-A3A9-3E0F23BF94C2}"/>
                </a:ext>
              </a:extLst>
            </p:cNvPr>
            <p:cNvSpPr>
              <a:spLocks/>
            </p:cNvSpPr>
            <p:nvPr/>
          </p:nvSpPr>
          <p:spPr bwMode="auto">
            <a:xfrm>
              <a:off x="5727" y="2179"/>
              <a:ext cx="23" cy="55"/>
            </a:xfrm>
            <a:custGeom>
              <a:avLst/>
              <a:gdLst>
                <a:gd name="T0" fmla="*/ 0 w 10"/>
                <a:gd name="T1" fmla="*/ 22 h 23"/>
                <a:gd name="T2" fmla="*/ 4 w 10"/>
                <a:gd name="T3" fmla="*/ 11 h 23"/>
                <a:gd name="T4" fmla="*/ 10 w 10"/>
                <a:gd name="T5" fmla="*/ 0 h 23"/>
                <a:gd name="T6" fmla="*/ 6 w 10"/>
                <a:gd name="T7" fmla="*/ 12 h 23"/>
                <a:gd name="T8" fmla="*/ 0 w 10"/>
                <a:gd name="T9" fmla="*/ 22 h 23"/>
              </a:gdLst>
              <a:ahLst/>
              <a:cxnLst>
                <a:cxn ang="0">
                  <a:pos x="T0" y="T1"/>
                </a:cxn>
                <a:cxn ang="0">
                  <a:pos x="T2" y="T3"/>
                </a:cxn>
                <a:cxn ang="0">
                  <a:pos x="T4" y="T5"/>
                </a:cxn>
                <a:cxn ang="0">
                  <a:pos x="T6" y="T7"/>
                </a:cxn>
                <a:cxn ang="0">
                  <a:pos x="T8" y="T9"/>
                </a:cxn>
              </a:cxnLst>
              <a:rect l="0" t="0" r="r" b="b"/>
              <a:pathLst>
                <a:path w="10" h="23">
                  <a:moveTo>
                    <a:pt x="0" y="22"/>
                  </a:moveTo>
                  <a:cubicBezTo>
                    <a:pt x="0" y="22"/>
                    <a:pt x="2" y="17"/>
                    <a:pt x="4" y="11"/>
                  </a:cubicBezTo>
                  <a:cubicBezTo>
                    <a:pt x="7" y="5"/>
                    <a:pt x="9" y="0"/>
                    <a:pt x="10" y="0"/>
                  </a:cubicBezTo>
                  <a:cubicBezTo>
                    <a:pt x="10" y="0"/>
                    <a:pt x="9" y="5"/>
                    <a:pt x="6" y="12"/>
                  </a:cubicBezTo>
                  <a:cubicBezTo>
                    <a:pt x="3" y="18"/>
                    <a:pt x="1" y="23"/>
                    <a:pt x="0"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1">
              <a:extLst>
                <a:ext uri="{FF2B5EF4-FFF2-40B4-BE49-F238E27FC236}">
                  <a16:creationId xmlns:a16="http://schemas.microsoft.com/office/drawing/2014/main" id="{EB56D2CD-50F8-433D-BF0B-1652326530AA}"/>
                </a:ext>
              </a:extLst>
            </p:cNvPr>
            <p:cNvSpPr>
              <a:spLocks/>
            </p:cNvSpPr>
            <p:nvPr/>
          </p:nvSpPr>
          <p:spPr bwMode="auto">
            <a:xfrm>
              <a:off x="5731" y="2307"/>
              <a:ext cx="55" cy="50"/>
            </a:xfrm>
            <a:custGeom>
              <a:avLst/>
              <a:gdLst>
                <a:gd name="T0" fmla="*/ 23 w 23"/>
                <a:gd name="T1" fmla="*/ 20 h 21"/>
                <a:gd name="T2" fmla="*/ 12 w 23"/>
                <a:gd name="T3" fmla="*/ 10 h 21"/>
                <a:gd name="T4" fmla="*/ 0 w 23"/>
                <a:gd name="T5" fmla="*/ 0 h 21"/>
                <a:gd name="T6" fmla="*/ 13 w 23"/>
                <a:gd name="T7" fmla="*/ 9 h 21"/>
                <a:gd name="T8" fmla="*/ 23 w 23"/>
                <a:gd name="T9" fmla="*/ 20 h 21"/>
              </a:gdLst>
              <a:ahLst/>
              <a:cxnLst>
                <a:cxn ang="0">
                  <a:pos x="T0" y="T1"/>
                </a:cxn>
                <a:cxn ang="0">
                  <a:pos x="T2" y="T3"/>
                </a:cxn>
                <a:cxn ang="0">
                  <a:pos x="T4" y="T5"/>
                </a:cxn>
                <a:cxn ang="0">
                  <a:pos x="T6" y="T7"/>
                </a:cxn>
                <a:cxn ang="0">
                  <a:pos x="T8" y="T9"/>
                </a:cxn>
              </a:cxnLst>
              <a:rect l="0" t="0" r="r" b="b"/>
              <a:pathLst>
                <a:path w="23" h="21">
                  <a:moveTo>
                    <a:pt x="23" y="20"/>
                  </a:moveTo>
                  <a:cubicBezTo>
                    <a:pt x="22" y="21"/>
                    <a:pt x="18" y="16"/>
                    <a:pt x="12" y="10"/>
                  </a:cubicBezTo>
                  <a:cubicBezTo>
                    <a:pt x="6" y="5"/>
                    <a:pt x="0" y="1"/>
                    <a:pt x="0" y="0"/>
                  </a:cubicBezTo>
                  <a:cubicBezTo>
                    <a:pt x="1" y="0"/>
                    <a:pt x="7" y="3"/>
                    <a:pt x="13" y="9"/>
                  </a:cubicBezTo>
                  <a:cubicBezTo>
                    <a:pt x="19" y="14"/>
                    <a:pt x="23" y="20"/>
                    <a:pt x="2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2">
              <a:extLst>
                <a:ext uri="{FF2B5EF4-FFF2-40B4-BE49-F238E27FC236}">
                  <a16:creationId xmlns:a16="http://schemas.microsoft.com/office/drawing/2014/main" id="{69A825C9-39CB-41DA-946F-3E0E9F5EDEC0}"/>
                </a:ext>
              </a:extLst>
            </p:cNvPr>
            <p:cNvSpPr>
              <a:spLocks/>
            </p:cNvSpPr>
            <p:nvPr/>
          </p:nvSpPr>
          <p:spPr bwMode="auto">
            <a:xfrm>
              <a:off x="5772" y="2464"/>
              <a:ext cx="28" cy="59"/>
            </a:xfrm>
            <a:custGeom>
              <a:avLst/>
              <a:gdLst>
                <a:gd name="T0" fmla="*/ 0 w 12"/>
                <a:gd name="T1" fmla="*/ 25 h 25"/>
                <a:gd name="T2" fmla="*/ 6 w 12"/>
                <a:gd name="T3" fmla="*/ 12 h 25"/>
                <a:gd name="T4" fmla="*/ 11 w 12"/>
                <a:gd name="T5" fmla="*/ 0 h 25"/>
                <a:gd name="T6" fmla="*/ 8 w 12"/>
                <a:gd name="T7" fmla="*/ 13 h 25"/>
                <a:gd name="T8" fmla="*/ 0 w 12"/>
                <a:gd name="T9" fmla="*/ 25 h 25"/>
              </a:gdLst>
              <a:ahLst/>
              <a:cxnLst>
                <a:cxn ang="0">
                  <a:pos x="T0" y="T1"/>
                </a:cxn>
                <a:cxn ang="0">
                  <a:pos x="T2" y="T3"/>
                </a:cxn>
                <a:cxn ang="0">
                  <a:pos x="T4" y="T5"/>
                </a:cxn>
                <a:cxn ang="0">
                  <a:pos x="T6" y="T7"/>
                </a:cxn>
                <a:cxn ang="0">
                  <a:pos x="T8" y="T9"/>
                </a:cxn>
              </a:cxnLst>
              <a:rect l="0" t="0" r="r" b="b"/>
              <a:pathLst>
                <a:path w="12" h="25">
                  <a:moveTo>
                    <a:pt x="0" y="25"/>
                  </a:moveTo>
                  <a:cubicBezTo>
                    <a:pt x="0" y="24"/>
                    <a:pt x="3" y="19"/>
                    <a:pt x="6" y="12"/>
                  </a:cubicBezTo>
                  <a:cubicBezTo>
                    <a:pt x="9" y="6"/>
                    <a:pt x="11" y="0"/>
                    <a:pt x="11" y="0"/>
                  </a:cubicBezTo>
                  <a:cubicBezTo>
                    <a:pt x="12" y="0"/>
                    <a:pt x="11" y="6"/>
                    <a:pt x="8" y="13"/>
                  </a:cubicBezTo>
                  <a:cubicBezTo>
                    <a:pt x="5" y="20"/>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3">
              <a:extLst>
                <a:ext uri="{FF2B5EF4-FFF2-40B4-BE49-F238E27FC236}">
                  <a16:creationId xmlns:a16="http://schemas.microsoft.com/office/drawing/2014/main" id="{963E617B-2748-4A1D-9921-E07EB64FFC1A}"/>
                </a:ext>
              </a:extLst>
            </p:cNvPr>
            <p:cNvSpPr>
              <a:spLocks/>
            </p:cNvSpPr>
            <p:nvPr/>
          </p:nvSpPr>
          <p:spPr bwMode="auto">
            <a:xfrm>
              <a:off x="5762" y="2607"/>
              <a:ext cx="57" cy="50"/>
            </a:xfrm>
            <a:custGeom>
              <a:avLst/>
              <a:gdLst>
                <a:gd name="T0" fmla="*/ 24 w 24"/>
                <a:gd name="T1" fmla="*/ 21 h 21"/>
                <a:gd name="T2" fmla="*/ 11 w 24"/>
                <a:gd name="T3" fmla="*/ 12 h 21"/>
                <a:gd name="T4" fmla="*/ 0 w 24"/>
                <a:gd name="T5" fmla="*/ 1 h 21"/>
                <a:gd name="T6" fmla="*/ 13 w 24"/>
                <a:gd name="T7" fmla="*/ 10 h 21"/>
                <a:gd name="T8" fmla="*/ 24 w 24"/>
                <a:gd name="T9" fmla="*/ 21 h 21"/>
              </a:gdLst>
              <a:ahLst/>
              <a:cxnLst>
                <a:cxn ang="0">
                  <a:pos x="T0" y="T1"/>
                </a:cxn>
                <a:cxn ang="0">
                  <a:pos x="T2" y="T3"/>
                </a:cxn>
                <a:cxn ang="0">
                  <a:pos x="T4" y="T5"/>
                </a:cxn>
                <a:cxn ang="0">
                  <a:pos x="T6" y="T7"/>
                </a:cxn>
                <a:cxn ang="0">
                  <a:pos x="T8" y="T9"/>
                </a:cxn>
              </a:cxnLst>
              <a:rect l="0" t="0" r="r" b="b"/>
              <a:pathLst>
                <a:path w="24" h="21">
                  <a:moveTo>
                    <a:pt x="24" y="21"/>
                  </a:moveTo>
                  <a:cubicBezTo>
                    <a:pt x="23" y="21"/>
                    <a:pt x="18" y="17"/>
                    <a:pt x="11" y="12"/>
                  </a:cubicBezTo>
                  <a:cubicBezTo>
                    <a:pt x="5" y="6"/>
                    <a:pt x="0" y="1"/>
                    <a:pt x="0" y="1"/>
                  </a:cubicBezTo>
                  <a:cubicBezTo>
                    <a:pt x="1" y="0"/>
                    <a:pt x="6" y="4"/>
                    <a:pt x="13" y="10"/>
                  </a:cubicBezTo>
                  <a:cubicBezTo>
                    <a:pt x="19" y="16"/>
                    <a:pt x="24" y="20"/>
                    <a:pt x="24"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14">
              <a:extLst>
                <a:ext uri="{FF2B5EF4-FFF2-40B4-BE49-F238E27FC236}">
                  <a16:creationId xmlns:a16="http://schemas.microsoft.com/office/drawing/2014/main" id="{0AC9AFA3-43EE-445D-8AAE-B71205C76541}"/>
                </a:ext>
              </a:extLst>
            </p:cNvPr>
            <p:cNvSpPr>
              <a:spLocks noChangeArrowheads="1"/>
            </p:cNvSpPr>
            <p:nvPr/>
          </p:nvSpPr>
          <p:spPr bwMode="auto">
            <a:xfrm>
              <a:off x="5855" y="2668"/>
              <a:ext cx="5" cy="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5">
              <a:extLst>
                <a:ext uri="{FF2B5EF4-FFF2-40B4-BE49-F238E27FC236}">
                  <a16:creationId xmlns:a16="http://schemas.microsoft.com/office/drawing/2014/main" id="{7DABE5E3-40D5-4678-B89F-4C2F97E5762C}"/>
                </a:ext>
              </a:extLst>
            </p:cNvPr>
            <p:cNvSpPr>
              <a:spLocks/>
            </p:cNvSpPr>
            <p:nvPr/>
          </p:nvSpPr>
          <p:spPr bwMode="auto">
            <a:xfrm>
              <a:off x="5779" y="2747"/>
              <a:ext cx="12" cy="64"/>
            </a:xfrm>
            <a:custGeom>
              <a:avLst/>
              <a:gdLst>
                <a:gd name="T0" fmla="*/ 4 w 5"/>
                <a:gd name="T1" fmla="*/ 27 h 27"/>
                <a:gd name="T2" fmla="*/ 2 w 5"/>
                <a:gd name="T3" fmla="*/ 13 h 27"/>
                <a:gd name="T4" fmla="*/ 0 w 5"/>
                <a:gd name="T5" fmla="*/ 0 h 27"/>
                <a:gd name="T6" fmla="*/ 4 w 5"/>
                <a:gd name="T7" fmla="*/ 13 h 27"/>
                <a:gd name="T8" fmla="*/ 4 w 5"/>
                <a:gd name="T9" fmla="*/ 27 h 27"/>
              </a:gdLst>
              <a:ahLst/>
              <a:cxnLst>
                <a:cxn ang="0">
                  <a:pos x="T0" y="T1"/>
                </a:cxn>
                <a:cxn ang="0">
                  <a:pos x="T2" y="T3"/>
                </a:cxn>
                <a:cxn ang="0">
                  <a:pos x="T4" y="T5"/>
                </a:cxn>
                <a:cxn ang="0">
                  <a:pos x="T6" y="T7"/>
                </a:cxn>
                <a:cxn ang="0">
                  <a:pos x="T8" y="T9"/>
                </a:cxn>
              </a:cxnLst>
              <a:rect l="0" t="0" r="r" b="b"/>
              <a:pathLst>
                <a:path w="5" h="27">
                  <a:moveTo>
                    <a:pt x="4" y="27"/>
                  </a:moveTo>
                  <a:cubicBezTo>
                    <a:pt x="4" y="27"/>
                    <a:pt x="3" y="21"/>
                    <a:pt x="2" y="13"/>
                  </a:cubicBezTo>
                  <a:cubicBezTo>
                    <a:pt x="1" y="6"/>
                    <a:pt x="0" y="0"/>
                    <a:pt x="0" y="0"/>
                  </a:cubicBezTo>
                  <a:cubicBezTo>
                    <a:pt x="1" y="0"/>
                    <a:pt x="3" y="5"/>
                    <a:pt x="4" y="13"/>
                  </a:cubicBezTo>
                  <a:cubicBezTo>
                    <a:pt x="5" y="21"/>
                    <a:pt x="5" y="27"/>
                    <a:pt x="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6">
              <a:extLst>
                <a:ext uri="{FF2B5EF4-FFF2-40B4-BE49-F238E27FC236}">
                  <a16:creationId xmlns:a16="http://schemas.microsoft.com/office/drawing/2014/main" id="{86A5E5B5-842A-4682-BEC2-BEE50E0F875B}"/>
                </a:ext>
              </a:extLst>
            </p:cNvPr>
            <p:cNvSpPr>
              <a:spLocks/>
            </p:cNvSpPr>
            <p:nvPr/>
          </p:nvSpPr>
          <p:spPr bwMode="auto">
            <a:xfrm>
              <a:off x="5798" y="2880"/>
              <a:ext cx="62" cy="12"/>
            </a:xfrm>
            <a:custGeom>
              <a:avLst/>
              <a:gdLst>
                <a:gd name="T0" fmla="*/ 25 w 26"/>
                <a:gd name="T1" fmla="*/ 4 h 5"/>
                <a:gd name="T2" fmla="*/ 13 w 26"/>
                <a:gd name="T3" fmla="*/ 3 h 5"/>
                <a:gd name="T4" fmla="*/ 0 w 26"/>
                <a:gd name="T5" fmla="*/ 0 h 5"/>
                <a:gd name="T6" fmla="*/ 13 w 26"/>
                <a:gd name="T7" fmla="*/ 1 h 5"/>
                <a:gd name="T8" fmla="*/ 25 w 26"/>
                <a:gd name="T9" fmla="*/ 4 h 5"/>
              </a:gdLst>
              <a:ahLst/>
              <a:cxnLst>
                <a:cxn ang="0">
                  <a:pos x="T0" y="T1"/>
                </a:cxn>
                <a:cxn ang="0">
                  <a:pos x="T2" y="T3"/>
                </a:cxn>
                <a:cxn ang="0">
                  <a:pos x="T4" y="T5"/>
                </a:cxn>
                <a:cxn ang="0">
                  <a:pos x="T6" y="T7"/>
                </a:cxn>
                <a:cxn ang="0">
                  <a:pos x="T8" y="T9"/>
                </a:cxn>
              </a:cxnLst>
              <a:rect l="0" t="0" r="r" b="b"/>
              <a:pathLst>
                <a:path w="26" h="5">
                  <a:moveTo>
                    <a:pt x="25" y="4"/>
                  </a:moveTo>
                  <a:cubicBezTo>
                    <a:pt x="25" y="5"/>
                    <a:pt x="20" y="4"/>
                    <a:pt x="13" y="3"/>
                  </a:cubicBezTo>
                  <a:cubicBezTo>
                    <a:pt x="6" y="2"/>
                    <a:pt x="0" y="1"/>
                    <a:pt x="0" y="0"/>
                  </a:cubicBezTo>
                  <a:cubicBezTo>
                    <a:pt x="1" y="0"/>
                    <a:pt x="6" y="0"/>
                    <a:pt x="13" y="1"/>
                  </a:cubicBezTo>
                  <a:cubicBezTo>
                    <a:pt x="20" y="2"/>
                    <a:pt x="26" y="4"/>
                    <a:pt x="25"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7">
              <a:extLst>
                <a:ext uri="{FF2B5EF4-FFF2-40B4-BE49-F238E27FC236}">
                  <a16:creationId xmlns:a16="http://schemas.microsoft.com/office/drawing/2014/main" id="{428B7248-70D1-4250-BA18-9228F03EFA78}"/>
                </a:ext>
              </a:extLst>
            </p:cNvPr>
            <p:cNvSpPr>
              <a:spLocks/>
            </p:cNvSpPr>
            <p:nvPr/>
          </p:nvSpPr>
          <p:spPr bwMode="auto">
            <a:xfrm>
              <a:off x="5845" y="2937"/>
              <a:ext cx="41" cy="59"/>
            </a:xfrm>
            <a:custGeom>
              <a:avLst/>
              <a:gdLst>
                <a:gd name="T0" fmla="*/ 1 w 17"/>
                <a:gd name="T1" fmla="*/ 25 h 25"/>
                <a:gd name="T2" fmla="*/ 8 w 17"/>
                <a:gd name="T3" fmla="*/ 12 h 25"/>
                <a:gd name="T4" fmla="*/ 17 w 17"/>
                <a:gd name="T5" fmla="*/ 0 h 25"/>
                <a:gd name="T6" fmla="*/ 10 w 17"/>
                <a:gd name="T7" fmla="*/ 13 h 25"/>
                <a:gd name="T8" fmla="*/ 1 w 17"/>
                <a:gd name="T9" fmla="*/ 25 h 25"/>
              </a:gdLst>
              <a:ahLst/>
              <a:cxnLst>
                <a:cxn ang="0">
                  <a:pos x="T0" y="T1"/>
                </a:cxn>
                <a:cxn ang="0">
                  <a:pos x="T2" y="T3"/>
                </a:cxn>
                <a:cxn ang="0">
                  <a:pos x="T4" y="T5"/>
                </a:cxn>
                <a:cxn ang="0">
                  <a:pos x="T6" y="T7"/>
                </a:cxn>
                <a:cxn ang="0">
                  <a:pos x="T8" y="T9"/>
                </a:cxn>
              </a:cxnLst>
              <a:rect l="0" t="0" r="r" b="b"/>
              <a:pathLst>
                <a:path w="17" h="25">
                  <a:moveTo>
                    <a:pt x="1" y="25"/>
                  </a:moveTo>
                  <a:cubicBezTo>
                    <a:pt x="0" y="24"/>
                    <a:pt x="3" y="19"/>
                    <a:pt x="8" y="12"/>
                  </a:cubicBezTo>
                  <a:cubicBezTo>
                    <a:pt x="12" y="5"/>
                    <a:pt x="16" y="0"/>
                    <a:pt x="17" y="0"/>
                  </a:cubicBezTo>
                  <a:cubicBezTo>
                    <a:pt x="17" y="1"/>
                    <a:pt x="14" y="6"/>
                    <a:pt x="10" y="13"/>
                  </a:cubicBezTo>
                  <a:cubicBezTo>
                    <a:pt x="5" y="20"/>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8">
              <a:extLst>
                <a:ext uri="{FF2B5EF4-FFF2-40B4-BE49-F238E27FC236}">
                  <a16:creationId xmlns:a16="http://schemas.microsoft.com/office/drawing/2014/main" id="{3F74C198-9436-4A45-BDDB-2DA81CA198CC}"/>
                </a:ext>
              </a:extLst>
            </p:cNvPr>
            <p:cNvSpPr>
              <a:spLocks noEditPoints="1"/>
            </p:cNvSpPr>
            <p:nvPr/>
          </p:nvSpPr>
          <p:spPr bwMode="auto">
            <a:xfrm>
              <a:off x="4229" y="955"/>
              <a:ext cx="1154" cy="1438"/>
            </a:xfrm>
            <a:custGeom>
              <a:avLst/>
              <a:gdLst>
                <a:gd name="T0" fmla="*/ 480 w 486"/>
                <a:gd name="T1" fmla="*/ 572 h 605"/>
                <a:gd name="T2" fmla="*/ 331 w 486"/>
                <a:gd name="T3" fmla="*/ 369 h 605"/>
                <a:gd name="T4" fmla="*/ 356 w 486"/>
                <a:gd name="T5" fmla="*/ 347 h 605"/>
                <a:gd name="T6" fmla="*/ 411 w 486"/>
                <a:gd name="T7" fmla="*/ 200 h 605"/>
                <a:gd name="T8" fmla="*/ 346 w 486"/>
                <a:gd name="T9" fmla="*/ 57 h 605"/>
                <a:gd name="T10" fmla="*/ 199 w 486"/>
                <a:gd name="T11" fmla="*/ 2 h 605"/>
                <a:gd name="T12" fmla="*/ 56 w 486"/>
                <a:gd name="T13" fmla="*/ 67 h 605"/>
                <a:gd name="T14" fmla="*/ 1 w 486"/>
                <a:gd name="T15" fmla="*/ 214 h 605"/>
                <a:gd name="T16" fmla="*/ 191 w 486"/>
                <a:gd name="T17" fmla="*/ 411 h 605"/>
                <a:gd name="T18" fmla="*/ 213 w 486"/>
                <a:gd name="T19" fmla="*/ 412 h 605"/>
                <a:gd name="T20" fmla="*/ 299 w 486"/>
                <a:gd name="T21" fmla="*/ 390 h 605"/>
                <a:gd name="T22" fmla="*/ 449 w 486"/>
                <a:gd name="T23" fmla="*/ 594 h 605"/>
                <a:gd name="T24" fmla="*/ 476 w 486"/>
                <a:gd name="T25" fmla="*/ 599 h 605"/>
                <a:gd name="T26" fmla="*/ 480 w 486"/>
                <a:gd name="T27" fmla="*/ 572 h 605"/>
                <a:gd name="T28" fmla="*/ 212 w 486"/>
                <a:gd name="T29" fmla="*/ 373 h 605"/>
                <a:gd name="T30" fmla="*/ 194 w 486"/>
                <a:gd name="T31" fmla="*/ 373 h 605"/>
                <a:gd name="T32" fmla="*/ 40 w 486"/>
                <a:gd name="T33" fmla="*/ 212 h 605"/>
                <a:gd name="T34" fmla="*/ 201 w 486"/>
                <a:gd name="T35" fmla="*/ 40 h 605"/>
                <a:gd name="T36" fmla="*/ 219 w 486"/>
                <a:gd name="T37" fmla="*/ 41 h 605"/>
                <a:gd name="T38" fmla="*/ 320 w 486"/>
                <a:gd name="T39" fmla="*/ 85 h 605"/>
                <a:gd name="T40" fmla="*/ 373 w 486"/>
                <a:gd name="T41" fmla="*/ 201 h 605"/>
                <a:gd name="T42" fmla="*/ 328 w 486"/>
                <a:gd name="T43" fmla="*/ 320 h 605"/>
                <a:gd name="T44" fmla="*/ 212 w 486"/>
                <a:gd name="T45" fmla="*/ 373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6" h="605">
                  <a:moveTo>
                    <a:pt x="480" y="572"/>
                  </a:moveTo>
                  <a:cubicBezTo>
                    <a:pt x="331" y="369"/>
                    <a:pt x="331" y="369"/>
                    <a:pt x="331" y="369"/>
                  </a:cubicBezTo>
                  <a:cubicBezTo>
                    <a:pt x="340" y="362"/>
                    <a:pt x="348" y="355"/>
                    <a:pt x="356" y="347"/>
                  </a:cubicBezTo>
                  <a:cubicBezTo>
                    <a:pt x="393" y="307"/>
                    <a:pt x="413" y="255"/>
                    <a:pt x="411" y="200"/>
                  </a:cubicBezTo>
                  <a:cubicBezTo>
                    <a:pt x="409" y="145"/>
                    <a:pt x="386" y="94"/>
                    <a:pt x="346" y="57"/>
                  </a:cubicBezTo>
                  <a:cubicBezTo>
                    <a:pt x="306" y="20"/>
                    <a:pt x="254" y="0"/>
                    <a:pt x="199" y="2"/>
                  </a:cubicBezTo>
                  <a:cubicBezTo>
                    <a:pt x="145" y="4"/>
                    <a:pt x="94" y="27"/>
                    <a:pt x="56" y="67"/>
                  </a:cubicBezTo>
                  <a:cubicBezTo>
                    <a:pt x="19" y="107"/>
                    <a:pt x="0" y="159"/>
                    <a:pt x="1" y="214"/>
                  </a:cubicBezTo>
                  <a:cubicBezTo>
                    <a:pt x="5" y="319"/>
                    <a:pt x="88" y="404"/>
                    <a:pt x="191" y="411"/>
                  </a:cubicBezTo>
                  <a:cubicBezTo>
                    <a:pt x="198" y="412"/>
                    <a:pt x="206" y="412"/>
                    <a:pt x="213" y="412"/>
                  </a:cubicBezTo>
                  <a:cubicBezTo>
                    <a:pt x="243" y="411"/>
                    <a:pt x="273" y="403"/>
                    <a:pt x="299" y="390"/>
                  </a:cubicBezTo>
                  <a:cubicBezTo>
                    <a:pt x="449" y="594"/>
                    <a:pt x="449" y="594"/>
                    <a:pt x="449" y="594"/>
                  </a:cubicBezTo>
                  <a:cubicBezTo>
                    <a:pt x="455" y="603"/>
                    <a:pt x="467" y="605"/>
                    <a:pt x="476" y="599"/>
                  </a:cubicBezTo>
                  <a:cubicBezTo>
                    <a:pt x="484" y="592"/>
                    <a:pt x="486" y="580"/>
                    <a:pt x="480" y="572"/>
                  </a:cubicBezTo>
                  <a:close/>
                  <a:moveTo>
                    <a:pt x="212" y="373"/>
                  </a:moveTo>
                  <a:cubicBezTo>
                    <a:pt x="206" y="373"/>
                    <a:pt x="200" y="373"/>
                    <a:pt x="194" y="373"/>
                  </a:cubicBezTo>
                  <a:cubicBezTo>
                    <a:pt x="110" y="367"/>
                    <a:pt x="43" y="298"/>
                    <a:pt x="40" y="212"/>
                  </a:cubicBezTo>
                  <a:cubicBezTo>
                    <a:pt x="37" y="121"/>
                    <a:pt x="109" y="43"/>
                    <a:pt x="201" y="40"/>
                  </a:cubicBezTo>
                  <a:cubicBezTo>
                    <a:pt x="207" y="40"/>
                    <a:pt x="213" y="40"/>
                    <a:pt x="219" y="41"/>
                  </a:cubicBezTo>
                  <a:cubicBezTo>
                    <a:pt x="256" y="43"/>
                    <a:pt x="292" y="59"/>
                    <a:pt x="320" y="85"/>
                  </a:cubicBezTo>
                  <a:cubicBezTo>
                    <a:pt x="352" y="115"/>
                    <a:pt x="371" y="157"/>
                    <a:pt x="373" y="201"/>
                  </a:cubicBezTo>
                  <a:cubicBezTo>
                    <a:pt x="374" y="246"/>
                    <a:pt x="358" y="288"/>
                    <a:pt x="328" y="320"/>
                  </a:cubicBezTo>
                  <a:cubicBezTo>
                    <a:pt x="298" y="353"/>
                    <a:pt x="256" y="372"/>
                    <a:pt x="212" y="37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9">
              <a:extLst>
                <a:ext uri="{FF2B5EF4-FFF2-40B4-BE49-F238E27FC236}">
                  <a16:creationId xmlns:a16="http://schemas.microsoft.com/office/drawing/2014/main" id="{4698B085-5672-42C4-BDF9-3F87212D9E0C}"/>
                </a:ext>
              </a:extLst>
            </p:cNvPr>
            <p:cNvSpPr>
              <a:spLocks/>
            </p:cNvSpPr>
            <p:nvPr/>
          </p:nvSpPr>
          <p:spPr bwMode="auto">
            <a:xfrm>
              <a:off x="5186" y="1642"/>
              <a:ext cx="676" cy="632"/>
            </a:xfrm>
            <a:custGeom>
              <a:avLst/>
              <a:gdLst>
                <a:gd name="T0" fmla="*/ 18 w 285"/>
                <a:gd name="T1" fmla="*/ 173 h 266"/>
                <a:gd name="T2" fmla="*/ 0 w 285"/>
                <a:gd name="T3" fmla="*/ 233 h 266"/>
                <a:gd name="T4" fmla="*/ 143 w 285"/>
                <a:gd name="T5" fmla="*/ 266 h 266"/>
                <a:gd name="T6" fmla="*/ 219 w 285"/>
                <a:gd name="T7" fmla="*/ 222 h 266"/>
                <a:gd name="T8" fmla="*/ 258 w 285"/>
                <a:gd name="T9" fmla="*/ 116 h 266"/>
                <a:gd name="T10" fmla="*/ 184 w 285"/>
                <a:gd name="T11" fmla="*/ 11 h 266"/>
                <a:gd name="T12" fmla="*/ 181 w 285"/>
                <a:gd name="T13" fmla="*/ 101 h 266"/>
                <a:gd name="T14" fmla="*/ 169 w 285"/>
                <a:gd name="T15" fmla="*/ 140 h 266"/>
                <a:gd name="T16" fmla="*/ 143 w 285"/>
                <a:gd name="T17" fmla="*/ 193 h 266"/>
                <a:gd name="T18" fmla="*/ 18 w 285"/>
                <a:gd name="T19" fmla="*/ 17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66">
                  <a:moveTo>
                    <a:pt x="18" y="173"/>
                  </a:moveTo>
                  <a:cubicBezTo>
                    <a:pt x="0" y="233"/>
                    <a:pt x="0" y="233"/>
                    <a:pt x="0" y="233"/>
                  </a:cubicBezTo>
                  <a:cubicBezTo>
                    <a:pt x="0" y="233"/>
                    <a:pt x="93" y="266"/>
                    <a:pt x="143" y="266"/>
                  </a:cubicBezTo>
                  <a:cubicBezTo>
                    <a:pt x="189" y="265"/>
                    <a:pt x="203" y="260"/>
                    <a:pt x="219" y="222"/>
                  </a:cubicBezTo>
                  <a:cubicBezTo>
                    <a:pt x="236" y="184"/>
                    <a:pt x="255" y="141"/>
                    <a:pt x="258" y="116"/>
                  </a:cubicBezTo>
                  <a:cubicBezTo>
                    <a:pt x="258" y="116"/>
                    <a:pt x="285" y="0"/>
                    <a:pt x="184" y="11"/>
                  </a:cubicBezTo>
                  <a:cubicBezTo>
                    <a:pt x="181" y="101"/>
                    <a:pt x="181" y="101"/>
                    <a:pt x="181" y="101"/>
                  </a:cubicBezTo>
                  <a:cubicBezTo>
                    <a:pt x="181" y="101"/>
                    <a:pt x="170" y="138"/>
                    <a:pt x="169" y="140"/>
                  </a:cubicBezTo>
                  <a:cubicBezTo>
                    <a:pt x="162" y="160"/>
                    <a:pt x="152" y="189"/>
                    <a:pt x="143" y="193"/>
                  </a:cubicBezTo>
                  <a:cubicBezTo>
                    <a:pt x="133" y="196"/>
                    <a:pt x="18" y="173"/>
                    <a:pt x="18" y="17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20">
              <a:extLst>
                <a:ext uri="{FF2B5EF4-FFF2-40B4-BE49-F238E27FC236}">
                  <a16:creationId xmlns:a16="http://schemas.microsoft.com/office/drawing/2014/main" id="{A67E716F-6D47-4E44-9EF4-16C5B8D9DBF6}"/>
                </a:ext>
              </a:extLst>
            </p:cNvPr>
            <p:cNvSpPr>
              <a:spLocks/>
            </p:cNvSpPr>
            <p:nvPr/>
          </p:nvSpPr>
          <p:spPr bwMode="auto">
            <a:xfrm>
              <a:off x="5530" y="2096"/>
              <a:ext cx="42" cy="71"/>
            </a:xfrm>
            <a:custGeom>
              <a:avLst/>
              <a:gdLst>
                <a:gd name="T0" fmla="*/ 18 w 18"/>
                <a:gd name="T1" fmla="*/ 30 h 30"/>
                <a:gd name="T2" fmla="*/ 8 w 18"/>
                <a:gd name="T3" fmla="*/ 16 h 30"/>
                <a:gd name="T4" fmla="*/ 1 w 18"/>
                <a:gd name="T5" fmla="*/ 0 h 30"/>
                <a:gd name="T6" fmla="*/ 10 w 18"/>
                <a:gd name="T7" fmla="*/ 15 h 30"/>
                <a:gd name="T8" fmla="*/ 18 w 18"/>
                <a:gd name="T9" fmla="*/ 30 h 30"/>
              </a:gdLst>
              <a:ahLst/>
              <a:cxnLst>
                <a:cxn ang="0">
                  <a:pos x="T0" y="T1"/>
                </a:cxn>
                <a:cxn ang="0">
                  <a:pos x="T2" y="T3"/>
                </a:cxn>
                <a:cxn ang="0">
                  <a:pos x="T4" y="T5"/>
                </a:cxn>
                <a:cxn ang="0">
                  <a:pos x="T6" y="T7"/>
                </a:cxn>
                <a:cxn ang="0">
                  <a:pos x="T8" y="T9"/>
                </a:cxn>
              </a:cxnLst>
              <a:rect l="0" t="0" r="r" b="b"/>
              <a:pathLst>
                <a:path w="18" h="30">
                  <a:moveTo>
                    <a:pt x="18" y="30"/>
                  </a:moveTo>
                  <a:cubicBezTo>
                    <a:pt x="17" y="30"/>
                    <a:pt x="13" y="24"/>
                    <a:pt x="8" y="16"/>
                  </a:cubicBezTo>
                  <a:cubicBezTo>
                    <a:pt x="3" y="8"/>
                    <a:pt x="0" y="1"/>
                    <a:pt x="1" y="0"/>
                  </a:cubicBezTo>
                  <a:cubicBezTo>
                    <a:pt x="1" y="0"/>
                    <a:pt x="5" y="7"/>
                    <a:pt x="10" y="15"/>
                  </a:cubicBezTo>
                  <a:cubicBezTo>
                    <a:pt x="14" y="23"/>
                    <a:pt x="18" y="29"/>
                    <a:pt x="18" y="3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21">
              <a:extLst>
                <a:ext uri="{FF2B5EF4-FFF2-40B4-BE49-F238E27FC236}">
                  <a16:creationId xmlns:a16="http://schemas.microsoft.com/office/drawing/2014/main" id="{7774D573-F0EA-4422-BE35-FDF4D88C970A}"/>
                </a:ext>
              </a:extLst>
            </p:cNvPr>
            <p:cNvSpPr>
              <a:spLocks/>
            </p:cNvSpPr>
            <p:nvPr/>
          </p:nvSpPr>
          <p:spPr bwMode="auto">
            <a:xfrm>
              <a:off x="5532" y="2096"/>
              <a:ext cx="64" cy="50"/>
            </a:xfrm>
            <a:custGeom>
              <a:avLst/>
              <a:gdLst>
                <a:gd name="T0" fmla="*/ 26 w 27"/>
                <a:gd name="T1" fmla="*/ 20 h 21"/>
                <a:gd name="T2" fmla="*/ 13 w 27"/>
                <a:gd name="T3" fmla="*/ 11 h 21"/>
                <a:gd name="T4" fmla="*/ 1 w 27"/>
                <a:gd name="T5" fmla="*/ 0 h 21"/>
                <a:gd name="T6" fmla="*/ 14 w 27"/>
                <a:gd name="T7" fmla="*/ 10 h 21"/>
                <a:gd name="T8" fmla="*/ 26 w 27"/>
                <a:gd name="T9" fmla="*/ 20 h 21"/>
              </a:gdLst>
              <a:ahLst/>
              <a:cxnLst>
                <a:cxn ang="0">
                  <a:pos x="T0" y="T1"/>
                </a:cxn>
                <a:cxn ang="0">
                  <a:pos x="T2" y="T3"/>
                </a:cxn>
                <a:cxn ang="0">
                  <a:pos x="T4" y="T5"/>
                </a:cxn>
                <a:cxn ang="0">
                  <a:pos x="T6" y="T7"/>
                </a:cxn>
                <a:cxn ang="0">
                  <a:pos x="T8" y="T9"/>
                </a:cxn>
              </a:cxnLst>
              <a:rect l="0" t="0" r="r" b="b"/>
              <a:pathLst>
                <a:path w="27" h="21">
                  <a:moveTo>
                    <a:pt x="26" y="20"/>
                  </a:moveTo>
                  <a:cubicBezTo>
                    <a:pt x="26" y="21"/>
                    <a:pt x="20" y="17"/>
                    <a:pt x="13" y="11"/>
                  </a:cubicBezTo>
                  <a:cubicBezTo>
                    <a:pt x="6" y="6"/>
                    <a:pt x="0" y="1"/>
                    <a:pt x="1" y="0"/>
                  </a:cubicBezTo>
                  <a:cubicBezTo>
                    <a:pt x="1" y="0"/>
                    <a:pt x="7" y="4"/>
                    <a:pt x="14" y="10"/>
                  </a:cubicBezTo>
                  <a:cubicBezTo>
                    <a:pt x="21" y="15"/>
                    <a:pt x="27" y="20"/>
                    <a:pt x="26"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2">
              <a:extLst>
                <a:ext uri="{FF2B5EF4-FFF2-40B4-BE49-F238E27FC236}">
                  <a16:creationId xmlns:a16="http://schemas.microsoft.com/office/drawing/2014/main" id="{623567DA-76B2-4774-9DC9-0EC5A1C62FF7}"/>
                </a:ext>
              </a:extLst>
            </p:cNvPr>
            <p:cNvSpPr>
              <a:spLocks/>
            </p:cNvSpPr>
            <p:nvPr/>
          </p:nvSpPr>
          <p:spPr bwMode="auto">
            <a:xfrm>
              <a:off x="5613" y="1754"/>
              <a:ext cx="57" cy="133"/>
            </a:xfrm>
            <a:custGeom>
              <a:avLst/>
              <a:gdLst>
                <a:gd name="T0" fmla="*/ 24 w 24"/>
                <a:gd name="T1" fmla="*/ 0 h 56"/>
                <a:gd name="T2" fmla="*/ 13 w 24"/>
                <a:gd name="T3" fmla="*/ 28 h 56"/>
                <a:gd name="T4" fmla="*/ 1 w 24"/>
                <a:gd name="T5" fmla="*/ 56 h 56"/>
                <a:gd name="T6" fmla="*/ 11 w 24"/>
                <a:gd name="T7" fmla="*/ 27 h 56"/>
                <a:gd name="T8" fmla="*/ 24 w 24"/>
                <a:gd name="T9" fmla="*/ 0 h 56"/>
              </a:gdLst>
              <a:ahLst/>
              <a:cxnLst>
                <a:cxn ang="0">
                  <a:pos x="T0" y="T1"/>
                </a:cxn>
                <a:cxn ang="0">
                  <a:pos x="T2" y="T3"/>
                </a:cxn>
                <a:cxn ang="0">
                  <a:pos x="T4" y="T5"/>
                </a:cxn>
                <a:cxn ang="0">
                  <a:pos x="T6" y="T7"/>
                </a:cxn>
                <a:cxn ang="0">
                  <a:pos x="T8" y="T9"/>
                </a:cxn>
              </a:cxnLst>
              <a:rect l="0" t="0" r="r" b="b"/>
              <a:pathLst>
                <a:path w="24" h="56">
                  <a:moveTo>
                    <a:pt x="24" y="0"/>
                  </a:moveTo>
                  <a:cubicBezTo>
                    <a:pt x="24" y="0"/>
                    <a:pt x="19" y="13"/>
                    <a:pt x="13" y="28"/>
                  </a:cubicBezTo>
                  <a:cubicBezTo>
                    <a:pt x="7" y="44"/>
                    <a:pt x="1" y="56"/>
                    <a:pt x="1" y="56"/>
                  </a:cubicBezTo>
                  <a:cubicBezTo>
                    <a:pt x="0" y="55"/>
                    <a:pt x="5" y="43"/>
                    <a:pt x="11" y="27"/>
                  </a:cubicBezTo>
                  <a:cubicBezTo>
                    <a:pt x="18" y="12"/>
                    <a:pt x="23" y="0"/>
                    <a:pt x="2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3">
              <a:extLst>
                <a:ext uri="{FF2B5EF4-FFF2-40B4-BE49-F238E27FC236}">
                  <a16:creationId xmlns:a16="http://schemas.microsoft.com/office/drawing/2014/main" id="{FCF25FA1-B97A-48AC-ABC8-62E57FFB4589}"/>
                </a:ext>
              </a:extLst>
            </p:cNvPr>
            <p:cNvSpPr>
              <a:spLocks/>
            </p:cNvSpPr>
            <p:nvPr/>
          </p:nvSpPr>
          <p:spPr bwMode="auto">
            <a:xfrm>
              <a:off x="5682" y="1958"/>
              <a:ext cx="109" cy="266"/>
            </a:xfrm>
            <a:custGeom>
              <a:avLst/>
              <a:gdLst>
                <a:gd name="T0" fmla="*/ 45 w 46"/>
                <a:gd name="T1" fmla="*/ 0 h 112"/>
                <a:gd name="T2" fmla="*/ 44 w 46"/>
                <a:gd name="T3" fmla="*/ 4 h 112"/>
                <a:gd name="T4" fmla="*/ 40 w 46"/>
                <a:gd name="T5" fmla="*/ 17 h 112"/>
                <a:gd name="T6" fmla="*/ 25 w 46"/>
                <a:gd name="T7" fmla="*/ 57 h 112"/>
                <a:gd name="T8" fmla="*/ 8 w 46"/>
                <a:gd name="T9" fmla="*/ 96 h 112"/>
                <a:gd name="T10" fmla="*/ 2 w 46"/>
                <a:gd name="T11" fmla="*/ 108 h 112"/>
                <a:gd name="T12" fmla="*/ 0 w 46"/>
                <a:gd name="T13" fmla="*/ 112 h 112"/>
                <a:gd name="T14" fmla="*/ 2 w 46"/>
                <a:gd name="T15" fmla="*/ 107 h 112"/>
                <a:gd name="T16" fmla="*/ 7 w 46"/>
                <a:gd name="T17" fmla="*/ 96 h 112"/>
                <a:gd name="T18" fmla="*/ 23 w 46"/>
                <a:gd name="T19" fmla="*/ 56 h 112"/>
                <a:gd name="T20" fmla="*/ 39 w 46"/>
                <a:gd name="T21" fmla="*/ 16 h 112"/>
                <a:gd name="T22" fmla="*/ 43 w 46"/>
                <a:gd name="T23" fmla="*/ 4 h 112"/>
                <a:gd name="T24" fmla="*/ 45 w 46"/>
                <a:gd name="T2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12">
                  <a:moveTo>
                    <a:pt x="45" y="0"/>
                  </a:moveTo>
                  <a:cubicBezTo>
                    <a:pt x="46" y="0"/>
                    <a:pt x="45" y="1"/>
                    <a:pt x="44" y="4"/>
                  </a:cubicBezTo>
                  <a:cubicBezTo>
                    <a:pt x="43" y="8"/>
                    <a:pt x="42" y="12"/>
                    <a:pt x="40" y="17"/>
                  </a:cubicBezTo>
                  <a:cubicBezTo>
                    <a:pt x="36" y="27"/>
                    <a:pt x="31" y="41"/>
                    <a:pt x="25" y="57"/>
                  </a:cubicBezTo>
                  <a:cubicBezTo>
                    <a:pt x="19" y="72"/>
                    <a:pt x="13" y="86"/>
                    <a:pt x="8" y="96"/>
                  </a:cubicBezTo>
                  <a:cubicBezTo>
                    <a:pt x="6" y="101"/>
                    <a:pt x="4" y="105"/>
                    <a:pt x="2" y="108"/>
                  </a:cubicBezTo>
                  <a:cubicBezTo>
                    <a:pt x="1" y="110"/>
                    <a:pt x="0" y="112"/>
                    <a:pt x="0" y="112"/>
                  </a:cubicBezTo>
                  <a:cubicBezTo>
                    <a:pt x="0" y="112"/>
                    <a:pt x="0" y="110"/>
                    <a:pt x="2" y="107"/>
                  </a:cubicBezTo>
                  <a:cubicBezTo>
                    <a:pt x="3" y="104"/>
                    <a:pt x="5" y="100"/>
                    <a:pt x="7" y="96"/>
                  </a:cubicBezTo>
                  <a:cubicBezTo>
                    <a:pt x="11" y="86"/>
                    <a:pt x="17" y="72"/>
                    <a:pt x="23" y="56"/>
                  </a:cubicBezTo>
                  <a:cubicBezTo>
                    <a:pt x="29" y="41"/>
                    <a:pt x="34" y="27"/>
                    <a:pt x="39" y="16"/>
                  </a:cubicBezTo>
                  <a:cubicBezTo>
                    <a:pt x="41" y="11"/>
                    <a:pt x="42" y="7"/>
                    <a:pt x="43" y="4"/>
                  </a:cubicBezTo>
                  <a:cubicBezTo>
                    <a:pt x="45" y="1"/>
                    <a:pt x="45" y="0"/>
                    <a:pt x="4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4">
              <a:extLst>
                <a:ext uri="{FF2B5EF4-FFF2-40B4-BE49-F238E27FC236}">
                  <a16:creationId xmlns:a16="http://schemas.microsoft.com/office/drawing/2014/main" id="{749E71AB-862B-47AA-924B-5739C00EED57}"/>
                </a:ext>
              </a:extLst>
            </p:cNvPr>
            <p:cNvSpPr>
              <a:spLocks/>
            </p:cNvSpPr>
            <p:nvPr/>
          </p:nvSpPr>
          <p:spPr bwMode="auto">
            <a:xfrm>
              <a:off x="5226" y="2053"/>
              <a:ext cx="211" cy="40"/>
            </a:xfrm>
            <a:custGeom>
              <a:avLst/>
              <a:gdLst>
                <a:gd name="T0" fmla="*/ 89 w 89"/>
                <a:gd name="T1" fmla="*/ 17 h 17"/>
                <a:gd name="T2" fmla="*/ 44 w 89"/>
                <a:gd name="T3" fmla="*/ 10 h 17"/>
                <a:gd name="T4" fmla="*/ 0 w 89"/>
                <a:gd name="T5" fmla="*/ 1 h 17"/>
                <a:gd name="T6" fmla="*/ 45 w 89"/>
                <a:gd name="T7" fmla="*/ 8 h 17"/>
                <a:gd name="T8" fmla="*/ 89 w 89"/>
                <a:gd name="T9" fmla="*/ 17 h 17"/>
              </a:gdLst>
              <a:ahLst/>
              <a:cxnLst>
                <a:cxn ang="0">
                  <a:pos x="T0" y="T1"/>
                </a:cxn>
                <a:cxn ang="0">
                  <a:pos x="T2" y="T3"/>
                </a:cxn>
                <a:cxn ang="0">
                  <a:pos x="T4" y="T5"/>
                </a:cxn>
                <a:cxn ang="0">
                  <a:pos x="T6" y="T7"/>
                </a:cxn>
                <a:cxn ang="0">
                  <a:pos x="T8" y="T9"/>
                </a:cxn>
              </a:cxnLst>
              <a:rect l="0" t="0" r="r" b="b"/>
              <a:pathLst>
                <a:path w="89" h="17">
                  <a:moveTo>
                    <a:pt x="89" y="17"/>
                  </a:moveTo>
                  <a:cubicBezTo>
                    <a:pt x="89" y="17"/>
                    <a:pt x="69" y="14"/>
                    <a:pt x="44" y="10"/>
                  </a:cubicBezTo>
                  <a:cubicBezTo>
                    <a:pt x="20" y="5"/>
                    <a:pt x="0" y="1"/>
                    <a:pt x="0" y="1"/>
                  </a:cubicBezTo>
                  <a:cubicBezTo>
                    <a:pt x="0" y="0"/>
                    <a:pt x="20" y="3"/>
                    <a:pt x="45" y="8"/>
                  </a:cubicBezTo>
                  <a:cubicBezTo>
                    <a:pt x="69" y="12"/>
                    <a:pt x="89" y="16"/>
                    <a:pt x="89" y="1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5">
              <a:extLst>
                <a:ext uri="{FF2B5EF4-FFF2-40B4-BE49-F238E27FC236}">
                  <a16:creationId xmlns:a16="http://schemas.microsoft.com/office/drawing/2014/main" id="{8D7B9370-2EF2-4F8C-8B93-D812CE461E10}"/>
                </a:ext>
              </a:extLst>
            </p:cNvPr>
            <p:cNvSpPr>
              <a:spLocks/>
            </p:cNvSpPr>
            <p:nvPr/>
          </p:nvSpPr>
          <p:spPr bwMode="auto">
            <a:xfrm>
              <a:off x="5684" y="1884"/>
              <a:ext cx="5" cy="79"/>
            </a:xfrm>
            <a:custGeom>
              <a:avLst/>
              <a:gdLst>
                <a:gd name="T0" fmla="*/ 1 w 2"/>
                <a:gd name="T1" fmla="*/ 33 h 33"/>
                <a:gd name="T2" fmla="*/ 0 w 2"/>
                <a:gd name="T3" fmla="*/ 17 h 33"/>
                <a:gd name="T4" fmla="*/ 1 w 2"/>
                <a:gd name="T5" fmla="*/ 0 h 33"/>
                <a:gd name="T6" fmla="*/ 2 w 2"/>
                <a:gd name="T7" fmla="*/ 17 h 33"/>
                <a:gd name="T8" fmla="*/ 1 w 2"/>
                <a:gd name="T9" fmla="*/ 33 h 33"/>
              </a:gdLst>
              <a:ahLst/>
              <a:cxnLst>
                <a:cxn ang="0">
                  <a:pos x="T0" y="T1"/>
                </a:cxn>
                <a:cxn ang="0">
                  <a:pos x="T2" y="T3"/>
                </a:cxn>
                <a:cxn ang="0">
                  <a:pos x="T4" y="T5"/>
                </a:cxn>
                <a:cxn ang="0">
                  <a:pos x="T6" y="T7"/>
                </a:cxn>
                <a:cxn ang="0">
                  <a:pos x="T8" y="T9"/>
                </a:cxn>
              </a:cxnLst>
              <a:rect l="0" t="0" r="r" b="b"/>
              <a:pathLst>
                <a:path w="2" h="33">
                  <a:moveTo>
                    <a:pt x="1" y="33"/>
                  </a:moveTo>
                  <a:cubicBezTo>
                    <a:pt x="0" y="33"/>
                    <a:pt x="0" y="26"/>
                    <a:pt x="0" y="17"/>
                  </a:cubicBezTo>
                  <a:cubicBezTo>
                    <a:pt x="0" y="8"/>
                    <a:pt x="1" y="0"/>
                    <a:pt x="1" y="0"/>
                  </a:cubicBezTo>
                  <a:cubicBezTo>
                    <a:pt x="2" y="0"/>
                    <a:pt x="2" y="8"/>
                    <a:pt x="2" y="17"/>
                  </a:cubicBezTo>
                  <a:cubicBezTo>
                    <a:pt x="2" y="26"/>
                    <a:pt x="1" y="33"/>
                    <a:pt x="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6">
              <a:extLst>
                <a:ext uri="{FF2B5EF4-FFF2-40B4-BE49-F238E27FC236}">
                  <a16:creationId xmlns:a16="http://schemas.microsoft.com/office/drawing/2014/main" id="{4A843A8F-C933-4BB0-B812-ED5B767F4603}"/>
                </a:ext>
              </a:extLst>
            </p:cNvPr>
            <p:cNvSpPr>
              <a:spLocks/>
            </p:cNvSpPr>
            <p:nvPr/>
          </p:nvSpPr>
          <p:spPr bwMode="auto">
            <a:xfrm>
              <a:off x="5598" y="2167"/>
              <a:ext cx="29" cy="60"/>
            </a:xfrm>
            <a:custGeom>
              <a:avLst/>
              <a:gdLst>
                <a:gd name="T0" fmla="*/ 1 w 12"/>
                <a:gd name="T1" fmla="*/ 25 h 25"/>
                <a:gd name="T2" fmla="*/ 6 w 12"/>
                <a:gd name="T3" fmla="*/ 12 h 25"/>
                <a:gd name="T4" fmla="*/ 12 w 12"/>
                <a:gd name="T5" fmla="*/ 0 h 25"/>
                <a:gd name="T6" fmla="*/ 8 w 12"/>
                <a:gd name="T7" fmla="*/ 13 h 25"/>
                <a:gd name="T8" fmla="*/ 1 w 12"/>
                <a:gd name="T9" fmla="*/ 25 h 25"/>
              </a:gdLst>
              <a:ahLst/>
              <a:cxnLst>
                <a:cxn ang="0">
                  <a:pos x="T0" y="T1"/>
                </a:cxn>
                <a:cxn ang="0">
                  <a:pos x="T2" y="T3"/>
                </a:cxn>
                <a:cxn ang="0">
                  <a:pos x="T4" y="T5"/>
                </a:cxn>
                <a:cxn ang="0">
                  <a:pos x="T6" y="T7"/>
                </a:cxn>
                <a:cxn ang="0">
                  <a:pos x="T8" y="T9"/>
                </a:cxn>
              </a:cxnLst>
              <a:rect l="0" t="0" r="r" b="b"/>
              <a:pathLst>
                <a:path w="12" h="25">
                  <a:moveTo>
                    <a:pt x="1" y="25"/>
                  </a:moveTo>
                  <a:cubicBezTo>
                    <a:pt x="0" y="24"/>
                    <a:pt x="3" y="19"/>
                    <a:pt x="6" y="12"/>
                  </a:cubicBezTo>
                  <a:cubicBezTo>
                    <a:pt x="9" y="6"/>
                    <a:pt x="11" y="0"/>
                    <a:pt x="12" y="0"/>
                  </a:cubicBezTo>
                  <a:cubicBezTo>
                    <a:pt x="12" y="0"/>
                    <a:pt x="11" y="6"/>
                    <a:pt x="8" y="13"/>
                  </a:cubicBezTo>
                  <a:cubicBezTo>
                    <a:pt x="5" y="20"/>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7">
              <a:extLst>
                <a:ext uri="{FF2B5EF4-FFF2-40B4-BE49-F238E27FC236}">
                  <a16:creationId xmlns:a16="http://schemas.microsoft.com/office/drawing/2014/main" id="{AA7C0017-65B1-4DA2-AD70-21C39826AFEB}"/>
                </a:ext>
              </a:extLst>
            </p:cNvPr>
            <p:cNvSpPr>
              <a:spLocks/>
            </p:cNvSpPr>
            <p:nvPr/>
          </p:nvSpPr>
          <p:spPr bwMode="auto">
            <a:xfrm>
              <a:off x="5447" y="2150"/>
              <a:ext cx="40" cy="69"/>
            </a:xfrm>
            <a:custGeom>
              <a:avLst/>
              <a:gdLst>
                <a:gd name="T0" fmla="*/ 16 w 17"/>
                <a:gd name="T1" fmla="*/ 28 h 29"/>
                <a:gd name="T2" fmla="*/ 8 w 17"/>
                <a:gd name="T3" fmla="*/ 14 h 29"/>
                <a:gd name="T4" fmla="*/ 1 w 17"/>
                <a:gd name="T5" fmla="*/ 0 h 29"/>
                <a:gd name="T6" fmla="*/ 10 w 17"/>
                <a:gd name="T7" fmla="*/ 14 h 29"/>
                <a:gd name="T8" fmla="*/ 16 w 17"/>
                <a:gd name="T9" fmla="*/ 28 h 29"/>
              </a:gdLst>
              <a:ahLst/>
              <a:cxnLst>
                <a:cxn ang="0">
                  <a:pos x="T0" y="T1"/>
                </a:cxn>
                <a:cxn ang="0">
                  <a:pos x="T2" y="T3"/>
                </a:cxn>
                <a:cxn ang="0">
                  <a:pos x="T4" y="T5"/>
                </a:cxn>
                <a:cxn ang="0">
                  <a:pos x="T6" y="T7"/>
                </a:cxn>
                <a:cxn ang="0">
                  <a:pos x="T8" y="T9"/>
                </a:cxn>
              </a:cxnLst>
              <a:rect l="0" t="0" r="r" b="b"/>
              <a:pathLst>
                <a:path w="17" h="29">
                  <a:moveTo>
                    <a:pt x="16" y="28"/>
                  </a:moveTo>
                  <a:cubicBezTo>
                    <a:pt x="16" y="29"/>
                    <a:pt x="12" y="22"/>
                    <a:pt x="8" y="14"/>
                  </a:cubicBezTo>
                  <a:cubicBezTo>
                    <a:pt x="4" y="7"/>
                    <a:pt x="0" y="1"/>
                    <a:pt x="1" y="0"/>
                  </a:cubicBezTo>
                  <a:cubicBezTo>
                    <a:pt x="1" y="0"/>
                    <a:pt x="6" y="6"/>
                    <a:pt x="10" y="14"/>
                  </a:cubicBezTo>
                  <a:cubicBezTo>
                    <a:pt x="14" y="21"/>
                    <a:pt x="17" y="28"/>
                    <a:pt x="16"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28">
              <a:extLst>
                <a:ext uri="{FF2B5EF4-FFF2-40B4-BE49-F238E27FC236}">
                  <a16:creationId xmlns:a16="http://schemas.microsoft.com/office/drawing/2014/main" id="{CAF5F701-940F-4436-AE64-D4534B7C07EA}"/>
                </a:ext>
              </a:extLst>
            </p:cNvPr>
            <p:cNvSpPr>
              <a:spLocks/>
            </p:cNvSpPr>
            <p:nvPr/>
          </p:nvSpPr>
          <p:spPr bwMode="auto">
            <a:xfrm>
              <a:off x="5262" y="2143"/>
              <a:ext cx="64" cy="26"/>
            </a:xfrm>
            <a:custGeom>
              <a:avLst/>
              <a:gdLst>
                <a:gd name="T0" fmla="*/ 27 w 27"/>
                <a:gd name="T1" fmla="*/ 0 h 11"/>
                <a:gd name="T2" fmla="*/ 14 w 27"/>
                <a:gd name="T3" fmla="*/ 7 h 11"/>
                <a:gd name="T4" fmla="*/ 0 w 27"/>
                <a:gd name="T5" fmla="*/ 11 h 11"/>
                <a:gd name="T6" fmla="*/ 13 w 27"/>
                <a:gd name="T7" fmla="*/ 5 h 11"/>
                <a:gd name="T8" fmla="*/ 27 w 27"/>
                <a:gd name="T9" fmla="*/ 0 h 11"/>
              </a:gdLst>
              <a:ahLst/>
              <a:cxnLst>
                <a:cxn ang="0">
                  <a:pos x="T0" y="T1"/>
                </a:cxn>
                <a:cxn ang="0">
                  <a:pos x="T2" y="T3"/>
                </a:cxn>
                <a:cxn ang="0">
                  <a:pos x="T4" y="T5"/>
                </a:cxn>
                <a:cxn ang="0">
                  <a:pos x="T6" y="T7"/>
                </a:cxn>
                <a:cxn ang="0">
                  <a:pos x="T8" y="T9"/>
                </a:cxn>
              </a:cxnLst>
              <a:rect l="0" t="0" r="r" b="b"/>
              <a:pathLst>
                <a:path w="27" h="11">
                  <a:moveTo>
                    <a:pt x="27" y="0"/>
                  </a:moveTo>
                  <a:cubicBezTo>
                    <a:pt x="27" y="1"/>
                    <a:pt x="21" y="4"/>
                    <a:pt x="14" y="7"/>
                  </a:cubicBezTo>
                  <a:cubicBezTo>
                    <a:pt x="6" y="10"/>
                    <a:pt x="0" y="11"/>
                    <a:pt x="0" y="11"/>
                  </a:cubicBezTo>
                  <a:cubicBezTo>
                    <a:pt x="0" y="10"/>
                    <a:pt x="5" y="8"/>
                    <a:pt x="13" y="5"/>
                  </a:cubicBezTo>
                  <a:cubicBezTo>
                    <a:pt x="20" y="2"/>
                    <a:pt x="26" y="0"/>
                    <a:pt x="2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9">
              <a:extLst>
                <a:ext uri="{FF2B5EF4-FFF2-40B4-BE49-F238E27FC236}">
                  <a16:creationId xmlns:a16="http://schemas.microsoft.com/office/drawing/2014/main" id="{222BF002-9B7A-4569-88F9-EDCB662A7ED1}"/>
                </a:ext>
              </a:extLst>
            </p:cNvPr>
            <p:cNvSpPr>
              <a:spLocks/>
            </p:cNvSpPr>
            <p:nvPr/>
          </p:nvSpPr>
          <p:spPr bwMode="auto">
            <a:xfrm>
              <a:off x="5717" y="1768"/>
              <a:ext cx="57" cy="40"/>
            </a:xfrm>
            <a:custGeom>
              <a:avLst/>
              <a:gdLst>
                <a:gd name="T0" fmla="*/ 24 w 24"/>
                <a:gd name="T1" fmla="*/ 17 h 17"/>
                <a:gd name="T2" fmla="*/ 13 w 24"/>
                <a:gd name="T3" fmla="*/ 8 h 17"/>
                <a:gd name="T4" fmla="*/ 1 w 24"/>
                <a:gd name="T5" fmla="*/ 1 h 17"/>
                <a:gd name="T6" fmla="*/ 14 w 24"/>
                <a:gd name="T7" fmla="*/ 7 h 17"/>
                <a:gd name="T8" fmla="*/ 24 w 24"/>
                <a:gd name="T9" fmla="*/ 17 h 17"/>
              </a:gdLst>
              <a:ahLst/>
              <a:cxnLst>
                <a:cxn ang="0">
                  <a:pos x="T0" y="T1"/>
                </a:cxn>
                <a:cxn ang="0">
                  <a:pos x="T2" y="T3"/>
                </a:cxn>
                <a:cxn ang="0">
                  <a:pos x="T4" y="T5"/>
                </a:cxn>
                <a:cxn ang="0">
                  <a:pos x="T6" y="T7"/>
                </a:cxn>
                <a:cxn ang="0">
                  <a:pos x="T8" y="T9"/>
                </a:cxn>
              </a:cxnLst>
              <a:rect l="0" t="0" r="r" b="b"/>
              <a:pathLst>
                <a:path w="24" h="17">
                  <a:moveTo>
                    <a:pt x="24" y="17"/>
                  </a:moveTo>
                  <a:cubicBezTo>
                    <a:pt x="24" y="17"/>
                    <a:pt x="19" y="13"/>
                    <a:pt x="13" y="8"/>
                  </a:cubicBezTo>
                  <a:cubicBezTo>
                    <a:pt x="6" y="4"/>
                    <a:pt x="0" y="1"/>
                    <a:pt x="1" y="1"/>
                  </a:cubicBezTo>
                  <a:cubicBezTo>
                    <a:pt x="1" y="0"/>
                    <a:pt x="7" y="2"/>
                    <a:pt x="14" y="7"/>
                  </a:cubicBezTo>
                  <a:cubicBezTo>
                    <a:pt x="20" y="11"/>
                    <a:pt x="24" y="17"/>
                    <a:pt x="2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30">
              <a:extLst>
                <a:ext uri="{FF2B5EF4-FFF2-40B4-BE49-F238E27FC236}">
                  <a16:creationId xmlns:a16="http://schemas.microsoft.com/office/drawing/2014/main" id="{BB637860-8989-4BC3-8D85-64A635203AF4}"/>
                </a:ext>
              </a:extLst>
            </p:cNvPr>
            <p:cNvSpPr>
              <a:spLocks/>
            </p:cNvSpPr>
            <p:nvPr/>
          </p:nvSpPr>
          <p:spPr bwMode="auto">
            <a:xfrm>
              <a:off x="5629" y="2044"/>
              <a:ext cx="76" cy="11"/>
            </a:xfrm>
            <a:custGeom>
              <a:avLst/>
              <a:gdLst>
                <a:gd name="T0" fmla="*/ 32 w 32"/>
                <a:gd name="T1" fmla="*/ 0 h 5"/>
                <a:gd name="T2" fmla="*/ 16 w 32"/>
                <a:gd name="T3" fmla="*/ 4 h 5"/>
                <a:gd name="T4" fmla="*/ 0 w 32"/>
                <a:gd name="T5" fmla="*/ 4 h 5"/>
                <a:gd name="T6" fmla="*/ 16 w 32"/>
                <a:gd name="T7" fmla="*/ 2 h 5"/>
                <a:gd name="T8" fmla="*/ 32 w 32"/>
                <a:gd name="T9" fmla="*/ 0 h 5"/>
              </a:gdLst>
              <a:ahLst/>
              <a:cxnLst>
                <a:cxn ang="0">
                  <a:pos x="T0" y="T1"/>
                </a:cxn>
                <a:cxn ang="0">
                  <a:pos x="T2" y="T3"/>
                </a:cxn>
                <a:cxn ang="0">
                  <a:pos x="T4" y="T5"/>
                </a:cxn>
                <a:cxn ang="0">
                  <a:pos x="T6" y="T7"/>
                </a:cxn>
                <a:cxn ang="0">
                  <a:pos x="T8" y="T9"/>
                </a:cxn>
              </a:cxnLst>
              <a:rect l="0" t="0" r="r" b="b"/>
              <a:pathLst>
                <a:path w="32" h="5">
                  <a:moveTo>
                    <a:pt x="32" y="0"/>
                  </a:moveTo>
                  <a:cubicBezTo>
                    <a:pt x="32" y="1"/>
                    <a:pt x="25" y="3"/>
                    <a:pt x="16" y="4"/>
                  </a:cubicBezTo>
                  <a:cubicBezTo>
                    <a:pt x="7" y="5"/>
                    <a:pt x="0" y="5"/>
                    <a:pt x="0" y="4"/>
                  </a:cubicBezTo>
                  <a:cubicBezTo>
                    <a:pt x="0" y="4"/>
                    <a:pt x="7" y="3"/>
                    <a:pt x="16" y="2"/>
                  </a:cubicBezTo>
                  <a:cubicBezTo>
                    <a:pt x="25" y="1"/>
                    <a:pt x="32" y="0"/>
                    <a:pt x="3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31">
              <a:extLst>
                <a:ext uri="{FF2B5EF4-FFF2-40B4-BE49-F238E27FC236}">
                  <a16:creationId xmlns:a16="http://schemas.microsoft.com/office/drawing/2014/main" id="{39EFD858-8C7F-44C1-AF2B-50C9AE244DEA}"/>
                </a:ext>
              </a:extLst>
            </p:cNvPr>
            <p:cNvSpPr>
              <a:spLocks/>
            </p:cNvSpPr>
            <p:nvPr/>
          </p:nvSpPr>
          <p:spPr bwMode="auto">
            <a:xfrm>
              <a:off x="5679" y="1276"/>
              <a:ext cx="190" cy="399"/>
            </a:xfrm>
            <a:custGeom>
              <a:avLst/>
              <a:gdLst>
                <a:gd name="T0" fmla="*/ 2 w 80"/>
                <a:gd name="T1" fmla="*/ 15 h 168"/>
                <a:gd name="T2" fmla="*/ 30 w 80"/>
                <a:gd name="T3" fmla="*/ 3 h 168"/>
                <a:gd name="T4" fmla="*/ 53 w 80"/>
                <a:gd name="T5" fmla="*/ 26 h 168"/>
                <a:gd name="T6" fmla="*/ 53 w 80"/>
                <a:gd name="T7" fmla="*/ 59 h 168"/>
                <a:gd name="T8" fmla="*/ 54 w 80"/>
                <a:gd name="T9" fmla="*/ 83 h 168"/>
                <a:gd name="T10" fmla="*/ 74 w 80"/>
                <a:gd name="T11" fmla="*/ 93 h 168"/>
                <a:gd name="T12" fmla="*/ 75 w 80"/>
                <a:gd name="T13" fmla="*/ 113 h 168"/>
                <a:gd name="T14" fmla="*/ 55 w 80"/>
                <a:gd name="T15" fmla="*/ 113 h 168"/>
                <a:gd name="T16" fmla="*/ 60 w 80"/>
                <a:gd name="T17" fmla="*/ 129 h 168"/>
                <a:gd name="T18" fmla="*/ 57 w 80"/>
                <a:gd name="T19" fmla="*/ 144 h 168"/>
                <a:gd name="T20" fmla="*/ 46 w 80"/>
                <a:gd name="T21" fmla="*/ 145 h 168"/>
                <a:gd name="T22" fmla="*/ 36 w 80"/>
                <a:gd name="T23" fmla="*/ 138 h 168"/>
                <a:gd name="T24" fmla="*/ 35 w 80"/>
                <a:gd name="T25" fmla="*/ 156 h 168"/>
                <a:gd name="T26" fmla="*/ 22 w 80"/>
                <a:gd name="T27" fmla="*/ 167 h 168"/>
                <a:gd name="T28" fmla="*/ 4 w 80"/>
                <a:gd name="T29" fmla="*/ 156 h 168"/>
                <a:gd name="T30" fmla="*/ 0 w 80"/>
                <a:gd name="T31" fmla="*/ 134 h 168"/>
                <a:gd name="T32" fmla="*/ 6 w 80"/>
                <a:gd name="T33" fmla="*/ 100 h 168"/>
                <a:gd name="T34" fmla="*/ 1 w 80"/>
                <a:gd name="T35" fmla="*/ 6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168">
                  <a:moveTo>
                    <a:pt x="2" y="15"/>
                  </a:moveTo>
                  <a:cubicBezTo>
                    <a:pt x="6" y="5"/>
                    <a:pt x="19" y="0"/>
                    <a:pt x="30" y="3"/>
                  </a:cubicBezTo>
                  <a:cubicBezTo>
                    <a:pt x="41" y="6"/>
                    <a:pt x="49" y="16"/>
                    <a:pt x="53" y="26"/>
                  </a:cubicBezTo>
                  <a:cubicBezTo>
                    <a:pt x="56" y="37"/>
                    <a:pt x="56" y="48"/>
                    <a:pt x="53" y="59"/>
                  </a:cubicBezTo>
                  <a:cubicBezTo>
                    <a:pt x="52" y="67"/>
                    <a:pt x="49" y="77"/>
                    <a:pt x="54" y="83"/>
                  </a:cubicBezTo>
                  <a:cubicBezTo>
                    <a:pt x="59" y="89"/>
                    <a:pt x="69" y="88"/>
                    <a:pt x="74" y="93"/>
                  </a:cubicBezTo>
                  <a:cubicBezTo>
                    <a:pt x="80" y="98"/>
                    <a:pt x="80" y="108"/>
                    <a:pt x="75" y="113"/>
                  </a:cubicBezTo>
                  <a:cubicBezTo>
                    <a:pt x="70" y="119"/>
                    <a:pt x="60" y="118"/>
                    <a:pt x="55" y="113"/>
                  </a:cubicBezTo>
                  <a:cubicBezTo>
                    <a:pt x="55" y="118"/>
                    <a:pt x="58" y="123"/>
                    <a:pt x="60" y="129"/>
                  </a:cubicBezTo>
                  <a:cubicBezTo>
                    <a:pt x="61" y="134"/>
                    <a:pt x="62" y="141"/>
                    <a:pt x="57" y="144"/>
                  </a:cubicBezTo>
                  <a:cubicBezTo>
                    <a:pt x="54" y="147"/>
                    <a:pt x="49" y="147"/>
                    <a:pt x="46" y="145"/>
                  </a:cubicBezTo>
                  <a:cubicBezTo>
                    <a:pt x="42" y="144"/>
                    <a:pt x="39" y="141"/>
                    <a:pt x="36" y="138"/>
                  </a:cubicBezTo>
                  <a:cubicBezTo>
                    <a:pt x="37" y="144"/>
                    <a:pt x="38" y="150"/>
                    <a:pt x="35" y="156"/>
                  </a:cubicBezTo>
                  <a:cubicBezTo>
                    <a:pt x="33" y="161"/>
                    <a:pt x="28" y="166"/>
                    <a:pt x="22" y="167"/>
                  </a:cubicBezTo>
                  <a:cubicBezTo>
                    <a:pt x="15" y="168"/>
                    <a:pt x="7" y="163"/>
                    <a:pt x="4" y="156"/>
                  </a:cubicBezTo>
                  <a:cubicBezTo>
                    <a:pt x="0" y="150"/>
                    <a:pt x="0" y="142"/>
                    <a:pt x="0" y="134"/>
                  </a:cubicBezTo>
                  <a:cubicBezTo>
                    <a:pt x="1" y="123"/>
                    <a:pt x="4" y="111"/>
                    <a:pt x="6" y="100"/>
                  </a:cubicBezTo>
                  <a:cubicBezTo>
                    <a:pt x="7" y="88"/>
                    <a:pt x="7" y="76"/>
                    <a:pt x="1" y="6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32">
              <a:extLst>
                <a:ext uri="{FF2B5EF4-FFF2-40B4-BE49-F238E27FC236}">
                  <a16:creationId xmlns:a16="http://schemas.microsoft.com/office/drawing/2014/main" id="{B791D7DB-8BBB-43D4-880B-D101E184FB05}"/>
                </a:ext>
              </a:extLst>
            </p:cNvPr>
            <p:cNvSpPr>
              <a:spLocks/>
            </p:cNvSpPr>
            <p:nvPr/>
          </p:nvSpPr>
          <p:spPr bwMode="auto">
            <a:xfrm>
              <a:off x="5769" y="1295"/>
              <a:ext cx="98" cy="205"/>
            </a:xfrm>
            <a:custGeom>
              <a:avLst/>
              <a:gdLst>
                <a:gd name="T0" fmla="*/ 31 w 41"/>
                <a:gd name="T1" fmla="*/ 75 h 86"/>
                <a:gd name="T2" fmla="*/ 30 w 41"/>
                <a:gd name="T3" fmla="*/ 75 h 86"/>
                <a:gd name="T4" fmla="*/ 26 w 41"/>
                <a:gd name="T5" fmla="*/ 73 h 86"/>
                <a:gd name="T6" fmla="*/ 28 w 41"/>
                <a:gd name="T7" fmla="*/ 66 h 86"/>
                <a:gd name="T8" fmla="*/ 37 w 41"/>
                <a:gd name="T9" fmla="*/ 67 h 86"/>
                <a:gd name="T10" fmla="*/ 40 w 41"/>
                <a:gd name="T11" fmla="*/ 77 h 86"/>
                <a:gd name="T12" fmla="*/ 37 w 41"/>
                <a:gd name="T13" fmla="*/ 83 h 86"/>
                <a:gd name="T14" fmla="*/ 30 w 41"/>
                <a:gd name="T15" fmla="*/ 86 h 86"/>
                <a:gd name="T16" fmla="*/ 23 w 41"/>
                <a:gd name="T17" fmla="*/ 84 h 86"/>
                <a:gd name="T18" fmla="*/ 18 w 41"/>
                <a:gd name="T19" fmla="*/ 79 h 86"/>
                <a:gd name="T20" fmla="*/ 15 w 41"/>
                <a:gd name="T21" fmla="*/ 64 h 86"/>
                <a:gd name="T22" fmla="*/ 22 w 41"/>
                <a:gd name="T23" fmla="*/ 37 h 86"/>
                <a:gd name="T24" fmla="*/ 16 w 41"/>
                <a:gd name="T25" fmla="*/ 15 h 86"/>
                <a:gd name="T26" fmla="*/ 5 w 41"/>
                <a:gd name="T27" fmla="*/ 4 h 86"/>
                <a:gd name="T28" fmla="*/ 1 w 41"/>
                <a:gd name="T29" fmla="*/ 0 h 86"/>
                <a:gd name="T30" fmla="*/ 2 w 41"/>
                <a:gd name="T31" fmla="*/ 1 h 86"/>
                <a:gd name="T32" fmla="*/ 6 w 41"/>
                <a:gd name="T33" fmla="*/ 3 h 86"/>
                <a:gd name="T34" fmla="*/ 17 w 41"/>
                <a:gd name="T35" fmla="*/ 14 h 86"/>
                <a:gd name="T36" fmla="*/ 23 w 41"/>
                <a:gd name="T37" fmla="*/ 37 h 86"/>
                <a:gd name="T38" fmla="*/ 17 w 41"/>
                <a:gd name="T39" fmla="*/ 64 h 86"/>
                <a:gd name="T40" fmla="*/ 20 w 41"/>
                <a:gd name="T41" fmla="*/ 78 h 86"/>
                <a:gd name="T42" fmla="*/ 30 w 41"/>
                <a:gd name="T43" fmla="*/ 84 h 86"/>
                <a:gd name="T44" fmla="*/ 38 w 41"/>
                <a:gd name="T45" fmla="*/ 77 h 86"/>
                <a:gd name="T46" fmla="*/ 36 w 41"/>
                <a:gd name="T47" fmla="*/ 68 h 86"/>
                <a:gd name="T48" fmla="*/ 29 w 41"/>
                <a:gd name="T49" fmla="*/ 67 h 86"/>
                <a:gd name="T50" fmla="*/ 27 w 41"/>
                <a:gd name="T51" fmla="*/ 72 h 86"/>
                <a:gd name="T52" fmla="*/ 30 w 41"/>
                <a:gd name="T53" fmla="*/ 75 h 86"/>
                <a:gd name="T54" fmla="*/ 31 w 41"/>
                <a:gd name="T55" fmla="*/ 7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86">
                  <a:moveTo>
                    <a:pt x="31" y="75"/>
                  </a:moveTo>
                  <a:cubicBezTo>
                    <a:pt x="31" y="75"/>
                    <a:pt x="31" y="76"/>
                    <a:pt x="30" y="75"/>
                  </a:cubicBezTo>
                  <a:cubicBezTo>
                    <a:pt x="29" y="75"/>
                    <a:pt x="27" y="75"/>
                    <a:pt x="26" y="73"/>
                  </a:cubicBezTo>
                  <a:cubicBezTo>
                    <a:pt x="25" y="71"/>
                    <a:pt x="26" y="68"/>
                    <a:pt x="28" y="66"/>
                  </a:cubicBezTo>
                  <a:cubicBezTo>
                    <a:pt x="30" y="64"/>
                    <a:pt x="34" y="64"/>
                    <a:pt x="37" y="67"/>
                  </a:cubicBezTo>
                  <a:cubicBezTo>
                    <a:pt x="40" y="69"/>
                    <a:pt x="41" y="74"/>
                    <a:pt x="40" y="77"/>
                  </a:cubicBezTo>
                  <a:cubicBezTo>
                    <a:pt x="39" y="79"/>
                    <a:pt x="38" y="81"/>
                    <a:pt x="37" y="83"/>
                  </a:cubicBezTo>
                  <a:cubicBezTo>
                    <a:pt x="35" y="85"/>
                    <a:pt x="33" y="85"/>
                    <a:pt x="30" y="86"/>
                  </a:cubicBezTo>
                  <a:cubicBezTo>
                    <a:pt x="28" y="86"/>
                    <a:pt x="25" y="85"/>
                    <a:pt x="23" y="84"/>
                  </a:cubicBezTo>
                  <a:cubicBezTo>
                    <a:pt x="21" y="83"/>
                    <a:pt x="19" y="81"/>
                    <a:pt x="18" y="79"/>
                  </a:cubicBezTo>
                  <a:cubicBezTo>
                    <a:pt x="15" y="75"/>
                    <a:pt x="15" y="69"/>
                    <a:pt x="15" y="64"/>
                  </a:cubicBezTo>
                  <a:cubicBezTo>
                    <a:pt x="17" y="54"/>
                    <a:pt x="22" y="45"/>
                    <a:pt x="22" y="37"/>
                  </a:cubicBezTo>
                  <a:cubicBezTo>
                    <a:pt x="22" y="28"/>
                    <a:pt x="19" y="20"/>
                    <a:pt x="16" y="15"/>
                  </a:cubicBezTo>
                  <a:cubicBezTo>
                    <a:pt x="12" y="9"/>
                    <a:pt x="8" y="6"/>
                    <a:pt x="5" y="4"/>
                  </a:cubicBezTo>
                  <a:cubicBezTo>
                    <a:pt x="2" y="1"/>
                    <a:pt x="0" y="1"/>
                    <a:pt x="1" y="0"/>
                  </a:cubicBezTo>
                  <a:cubicBezTo>
                    <a:pt x="1" y="0"/>
                    <a:pt x="1" y="1"/>
                    <a:pt x="2" y="1"/>
                  </a:cubicBezTo>
                  <a:cubicBezTo>
                    <a:pt x="3" y="1"/>
                    <a:pt x="4" y="2"/>
                    <a:pt x="6" y="3"/>
                  </a:cubicBezTo>
                  <a:cubicBezTo>
                    <a:pt x="9" y="5"/>
                    <a:pt x="13" y="9"/>
                    <a:pt x="17" y="14"/>
                  </a:cubicBezTo>
                  <a:cubicBezTo>
                    <a:pt x="20" y="20"/>
                    <a:pt x="24" y="28"/>
                    <a:pt x="23" y="37"/>
                  </a:cubicBezTo>
                  <a:cubicBezTo>
                    <a:pt x="24" y="46"/>
                    <a:pt x="19" y="55"/>
                    <a:pt x="17" y="64"/>
                  </a:cubicBezTo>
                  <a:cubicBezTo>
                    <a:pt x="17" y="69"/>
                    <a:pt x="17" y="74"/>
                    <a:pt x="20" y="78"/>
                  </a:cubicBezTo>
                  <a:cubicBezTo>
                    <a:pt x="22" y="82"/>
                    <a:pt x="26" y="84"/>
                    <a:pt x="30" y="84"/>
                  </a:cubicBezTo>
                  <a:cubicBezTo>
                    <a:pt x="34" y="84"/>
                    <a:pt x="37" y="81"/>
                    <a:pt x="38" y="77"/>
                  </a:cubicBezTo>
                  <a:cubicBezTo>
                    <a:pt x="39" y="74"/>
                    <a:pt x="38" y="70"/>
                    <a:pt x="36" y="68"/>
                  </a:cubicBezTo>
                  <a:cubicBezTo>
                    <a:pt x="34" y="66"/>
                    <a:pt x="31" y="66"/>
                    <a:pt x="29" y="67"/>
                  </a:cubicBezTo>
                  <a:cubicBezTo>
                    <a:pt x="27" y="69"/>
                    <a:pt x="26" y="71"/>
                    <a:pt x="27" y="72"/>
                  </a:cubicBezTo>
                  <a:cubicBezTo>
                    <a:pt x="28" y="74"/>
                    <a:pt x="29" y="75"/>
                    <a:pt x="30" y="75"/>
                  </a:cubicBezTo>
                  <a:cubicBezTo>
                    <a:pt x="31" y="75"/>
                    <a:pt x="31" y="75"/>
                    <a:pt x="31" y="7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3">
              <a:extLst>
                <a:ext uri="{FF2B5EF4-FFF2-40B4-BE49-F238E27FC236}">
                  <a16:creationId xmlns:a16="http://schemas.microsoft.com/office/drawing/2014/main" id="{1F70A934-5072-4350-A9B9-CD62F943EEE1}"/>
                </a:ext>
              </a:extLst>
            </p:cNvPr>
            <p:cNvSpPr>
              <a:spLocks/>
            </p:cNvSpPr>
            <p:nvPr/>
          </p:nvSpPr>
          <p:spPr bwMode="auto">
            <a:xfrm>
              <a:off x="5413" y="1295"/>
              <a:ext cx="223" cy="449"/>
            </a:xfrm>
            <a:custGeom>
              <a:avLst/>
              <a:gdLst>
                <a:gd name="T0" fmla="*/ 89 w 94"/>
                <a:gd name="T1" fmla="*/ 159 h 189"/>
                <a:gd name="T2" fmla="*/ 94 w 94"/>
                <a:gd name="T3" fmla="*/ 37 h 189"/>
                <a:gd name="T4" fmla="*/ 46 w 94"/>
                <a:gd name="T5" fmla="*/ 0 h 189"/>
                <a:gd name="T6" fmla="*/ 2 w 94"/>
                <a:gd name="T7" fmla="*/ 22 h 189"/>
                <a:gd name="T8" fmla="*/ 2 w 94"/>
                <a:gd name="T9" fmla="*/ 101 h 189"/>
                <a:gd name="T10" fmla="*/ 27 w 94"/>
                <a:gd name="T11" fmla="*/ 128 h 189"/>
                <a:gd name="T12" fmla="*/ 26 w 94"/>
                <a:gd name="T13" fmla="*/ 156 h 189"/>
                <a:gd name="T14" fmla="*/ 58 w 94"/>
                <a:gd name="T15" fmla="*/ 189 h 189"/>
                <a:gd name="T16" fmla="*/ 89 w 94"/>
                <a:gd name="T17" fmla="*/ 15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189">
                  <a:moveTo>
                    <a:pt x="89" y="159"/>
                  </a:moveTo>
                  <a:cubicBezTo>
                    <a:pt x="94" y="37"/>
                    <a:pt x="94" y="37"/>
                    <a:pt x="94" y="37"/>
                  </a:cubicBezTo>
                  <a:cubicBezTo>
                    <a:pt x="46" y="0"/>
                    <a:pt x="46" y="0"/>
                    <a:pt x="46" y="0"/>
                  </a:cubicBezTo>
                  <a:cubicBezTo>
                    <a:pt x="2" y="22"/>
                    <a:pt x="2" y="22"/>
                    <a:pt x="2" y="22"/>
                  </a:cubicBezTo>
                  <a:cubicBezTo>
                    <a:pt x="2" y="22"/>
                    <a:pt x="0" y="77"/>
                    <a:pt x="2" y="101"/>
                  </a:cubicBezTo>
                  <a:cubicBezTo>
                    <a:pt x="3" y="125"/>
                    <a:pt x="27" y="128"/>
                    <a:pt x="27" y="128"/>
                  </a:cubicBezTo>
                  <a:cubicBezTo>
                    <a:pt x="27" y="128"/>
                    <a:pt x="27" y="142"/>
                    <a:pt x="26" y="156"/>
                  </a:cubicBezTo>
                  <a:cubicBezTo>
                    <a:pt x="26" y="174"/>
                    <a:pt x="40" y="189"/>
                    <a:pt x="58" y="189"/>
                  </a:cubicBezTo>
                  <a:cubicBezTo>
                    <a:pt x="75" y="189"/>
                    <a:pt x="88" y="176"/>
                    <a:pt x="89" y="159"/>
                  </a:cubicBez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134">
              <a:extLst>
                <a:ext uri="{FF2B5EF4-FFF2-40B4-BE49-F238E27FC236}">
                  <a16:creationId xmlns:a16="http://schemas.microsoft.com/office/drawing/2014/main" id="{14DC6D65-DE70-4F6F-B0C0-38B6EE72D4CC}"/>
                </a:ext>
              </a:extLst>
            </p:cNvPr>
            <p:cNvSpPr>
              <a:spLocks noChangeArrowheads="1"/>
            </p:cNvSpPr>
            <p:nvPr/>
          </p:nvSpPr>
          <p:spPr bwMode="auto">
            <a:xfrm>
              <a:off x="5430" y="1435"/>
              <a:ext cx="14" cy="1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5">
              <a:extLst>
                <a:ext uri="{FF2B5EF4-FFF2-40B4-BE49-F238E27FC236}">
                  <a16:creationId xmlns:a16="http://schemas.microsoft.com/office/drawing/2014/main" id="{A808AA23-7ACE-4C82-AC31-2854740BFB06}"/>
                </a:ext>
              </a:extLst>
            </p:cNvPr>
            <p:cNvSpPr>
              <a:spLocks/>
            </p:cNvSpPr>
            <p:nvPr/>
          </p:nvSpPr>
          <p:spPr bwMode="auto">
            <a:xfrm>
              <a:off x="5421" y="1426"/>
              <a:ext cx="30" cy="9"/>
            </a:xfrm>
            <a:custGeom>
              <a:avLst/>
              <a:gdLst>
                <a:gd name="T0" fmla="*/ 1 w 13"/>
                <a:gd name="T1" fmla="*/ 4 h 4"/>
                <a:gd name="T2" fmla="*/ 7 w 13"/>
                <a:gd name="T3" fmla="*/ 2 h 4"/>
                <a:gd name="T4" fmla="*/ 13 w 13"/>
                <a:gd name="T5" fmla="*/ 3 h 4"/>
                <a:gd name="T6" fmla="*/ 11 w 13"/>
                <a:gd name="T7" fmla="*/ 1 h 4"/>
                <a:gd name="T8" fmla="*/ 6 w 13"/>
                <a:gd name="T9" fmla="*/ 0 h 4"/>
                <a:gd name="T10" fmla="*/ 2 w 13"/>
                <a:gd name="T11" fmla="*/ 2 h 4"/>
                <a:gd name="T12" fmla="*/ 1 w 1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3" h="4">
                  <a:moveTo>
                    <a:pt x="1" y="4"/>
                  </a:moveTo>
                  <a:cubicBezTo>
                    <a:pt x="1" y="4"/>
                    <a:pt x="3" y="2"/>
                    <a:pt x="7" y="2"/>
                  </a:cubicBezTo>
                  <a:cubicBezTo>
                    <a:pt x="10" y="2"/>
                    <a:pt x="12" y="3"/>
                    <a:pt x="13" y="3"/>
                  </a:cubicBezTo>
                  <a:cubicBezTo>
                    <a:pt x="13" y="3"/>
                    <a:pt x="12" y="2"/>
                    <a:pt x="11" y="1"/>
                  </a:cubicBezTo>
                  <a:cubicBezTo>
                    <a:pt x="10" y="1"/>
                    <a:pt x="8" y="0"/>
                    <a:pt x="6" y="0"/>
                  </a:cubicBezTo>
                  <a:cubicBezTo>
                    <a:pt x="4" y="0"/>
                    <a:pt x="3" y="1"/>
                    <a:pt x="2" y="2"/>
                  </a:cubicBezTo>
                  <a:cubicBezTo>
                    <a:pt x="1" y="3"/>
                    <a:pt x="0" y="4"/>
                    <a:pt x="1"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36">
              <a:extLst>
                <a:ext uri="{FF2B5EF4-FFF2-40B4-BE49-F238E27FC236}">
                  <a16:creationId xmlns:a16="http://schemas.microsoft.com/office/drawing/2014/main" id="{3A561388-C67B-4378-8195-CE0078F11224}"/>
                </a:ext>
              </a:extLst>
            </p:cNvPr>
            <p:cNvSpPr>
              <a:spLocks noChangeArrowheads="1"/>
            </p:cNvSpPr>
            <p:nvPr/>
          </p:nvSpPr>
          <p:spPr bwMode="auto">
            <a:xfrm>
              <a:off x="5513" y="1435"/>
              <a:ext cx="14" cy="1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7">
              <a:extLst>
                <a:ext uri="{FF2B5EF4-FFF2-40B4-BE49-F238E27FC236}">
                  <a16:creationId xmlns:a16="http://schemas.microsoft.com/office/drawing/2014/main" id="{625EF455-EA8D-4BC0-94A4-A60D006B8F8E}"/>
                </a:ext>
              </a:extLst>
            </p:cNvPr>
            <p:cNvSpPr>
              <a:spLocks/>
            </p:cNvSpPr>
            <p:nvPr/>
          </p:nvSpPr>
          <p:spPr bwMode="auto">
            <a:xfrm>
              <a:off x="5508" y="1426"/>
              <a:ext cx="29" cy="9"/>
            </a:xfrm>
            <a:custGeom>
              <a:avLst/>
              <a:gdLst>
                <a:gd name="T0" fmla="*/ 0 w 12"/>
                <a:gd name="T1" fmla="*/ 4 h 4"/>
                <a:gd name="T2" fmla="*/ 6 w 12"/>
                <a:gd name="T3" fmla="*/ 2 h 4"/>
                <a:gd name="T4" fmla="*/ 12 w 12"/>
                <a:gd name="T5" fmla="*/ 3 h 4"/>
                <a:gd name="T6" fmla="*/ 11 w 12"/>
                <a:gd name="T7" fmla="*/ 1 h 4"/>
                <a:gd name="T8" fmla="*/ 6 w 12"/>
                <a:gd name="T9" fmla="*/ 0 h 4"/>
                <a:gd name="T10" fmla="*/ 1 w 12"/>
                <a:gd name="T11" fmla="*/ 2 h 4"/>
                <a:gd name="T12" fmla="*/ 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0" y="4"/>
                  </a:moveTo>
                  <a:cubicBezTo>
                    <a:pt x="1" y="4"/>
                    <a:pt x="3" y="2"/>
                    <a:pt x="6" y="2"/>
                  </a:cubicBezTo>
                  <a:cubicBezTo>
                    <a:pt x="9" y="2"/>
                    <a:pt x="12" y="3"/>
                    <a:pt x="12" y="3"/>
                  </a:cubicBezTo>
                  <a:cubicBezTo>
                    <a:pt x="12" y="3"/>
                    <a:pt x="12" y="2"/>
                    <a:pt x="11" y="1"/>
                  </a:cubicBezTo>
                  <a:cubicBezTo>
                    <a:pt x="10" y="1"/>
                    <a:pt x="8" y="0"/>
                    <a:pt x="6" y="0"/>
                  </a:cubicBezTo>
                  <a:cubicBezTo>
                    <a:pt x="4" y="0"/>
                    <a:pt x="2" y="1"/>
                    <a:pt x="1" y="2"/>
                  </a:cubicBezTo>
                  <a:cubicBezTo>
                    <a:pt x="0" y="3"/>
                    <a:pt x="0" y="4"/>
                    <a:pt x="0" y="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8">
              <a:extLst>
                <a:ext uri="{FF2B5EF4-FFF2-40B4-BE49-F238E27FC236}">
                  <a16:creationId xmlns:a16="http://schemas.microsoft.com/office/drawing/2014/main" id="{8F64DDF3-CC65-4F92-BFAB-E920F2C50A84}"/>
                </a:ext>
              </a:extLst>
            </p:cNvPr>
            <p:cNvSpPr>
              <a:spLocks/>
            </p:cNvSpPr>
            <p:nvPr/>
          </p:nvSpPr>
          <p:spPr bwMode="auto">
            <a:xfrm>
              <a:off x="5468" y="1509"/>
              <a:ext cx="43" cy="26"/>
            </a:xfrm>
            <a:custGeom>
              <a:avLst/>
              <a:gdLst>
                <a:gd name="T0" fmla="*/ 16 w 18"/>
                <a:gd name="T1" fmla="*/ 0 h 11"/>
                <a:gd name="T2" fmla="*/ 0 w 18"/>
                <a:gd name="T3" fmla="*/ 5 h 11"/>
                <a:gd name="T4" fmla="*/ 11 w 18"/>
                <a:gd name="T5" fmla="*/ 8 h 11"/>
                <a:gd name="T6" fmla="*/ 16 w 18"/>
                <a:gd name="T7" fmla="*/ 0 h 11"/>
              </a:gdLst>
              <a:ahLst/>
              <a:cxnLst>
                <a:cxn ang="0">
                  <a:pos x="T0" y="T1"/>
                </a:cxn>
                <a:cxn ang="0">
                  <a:pos x="T2" y="T3"/>
                </a:cxn>
                <a:cxn ang="0">
                  <a:pos x="T4" y="T5"/>
                </a:cxn>
                <a:cxn ang="0">
                  <a:pos x="T6" y="T7"/>
                </a:cxn>
              </a:cxnLst>
              <a:rect l="0" t="0" r="r" b="b"/>
              <a:pathLst>
                <a:path w="18" h="11">
                  <a:moveTo>
                    <a:pt x="16" y="0"/>
                  </a:moveTo>
                  <a:cubicBezTo>
                    <a:pt x="12" y="2"/>
                    <a:pt x="5" y="5"/>
                    <a:pt x="0" y="5"/>
                  </a:cubicBezTo>
                  <a:cubicBezTo>
                    <a:pt x="0" y="5"/>
                    <a:pt x="4" y="11"/>
                    <a:pt x="11" y="8"/>
                  </a:cubicBezTo>
                  <a:cubicBezTo>
                    <a:pt x="18" y="6"/>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9">
              <a:extLst>
                <a:ext uri="{FF2B5EF4-FFF2-40B4-BE49-F238E27FC236}">
                  <a16:creationId xmlns:a16="http://schemas.microsoft.com/office/drawing/2014/main" id="{7A7FC467-23EC-4996-BCFB-D3A1D65C453A}"/>
                </a:ext>
              </a:extLst>
            </p:cNvPr>
            <p:cNvSpPr>
              <a:spLocks/>
            </p:cNvSpPr>
            <p:nvPr/>
          </p:nvSpPr>
          <p:spPr bwMode="auto">
            <a:xfrm>
              <a:off x="5477" y="1573"/>
              <a:ext cx="76" cy="41"/>
            </a:xfrm>
            <a:custGeom>
              <a:avLst/>
              <a:gdLst>
                <a:gd name="T0" fmla="*/ 0 w 32"/>
                <a:gd name="T1" fmla="*/ 11 h 17"/>
                <a:gd name="T2" fmla="*/ 32 w 32"/>
                <a:gd name="T3" fmla="*/ 0 h 17"/>
                <a:gd name="T4" fmla="*/ 1 w 32"/>
                <a:gd name="T5" fmla="*/ 16 h 17"/>
                <a:gd name="T6" fmla="*/ 0 w 32"/>
                <a:gd name="T7" fmla="*/ 11 h 17"/>
              </a:gdLst>
              <a:ahLst/>
              <a:cxnLst>
                <a:cxn ang="0">
                  <a:pos x="T0" y="T1"/>
                </a:cxn>
                <a:cxn ang="0">
                  <a:pos x="T2" y="T3"/>
                </a:cxn>
                <a:cxn ang="0">
                  <a:pos x="T4" y="T5"/>
                </a:cxn>
                <a:cxn ang="0">
                  <a:pos x="T6" y="T7"/>
                </a:cxn>
              </a:cxnLst>
              <a:rect l="0" t="0" r="r" b="b"/>
              <a:pathLst>
                <a:path w="32" h="17">
                  <a:moveTo>
                    <a:pt x="0" y="11"/>
                  </a:moveTo>
                  <a:cubicBezTo>
                    <a:pt x="0" y="11"/>
                    <a:pt x="17" y="11"/>
                    <a:pt x="32" y="0"/>
                  </a:cubicBezTo>
                  <a:cubicBezTo>
                    <a:pt x="32" y="0"/>
                    <a:pt x="25" y="17"/>
                    <a:pt x="1" y="16"/>
                  </a:cubicBezTo>
                  <a:lnTo>
                    <a:pt x="0" y="11"/>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40">
              <a:extLst>
                <a:ext uri="{FF2B5EF4-FFF2-40B4-BE49-F238E27FC236}">
                  <a16:creationId xmlns:a16="http://schemas.microsoft.com/office/drawing/2014/main" id="{3168CE2E-E5D4-4E87-AB23-701621EC9C15}"/>
                </a:ext>
              </a:extLst>
            </p:cNvPr>
            <p:cNvSpPr>
              <a:spLocks/>
            </p:cNvSpPr>
            <p:nvPr/>
          </p:nvSpPr>
          <p:spPr bwMode="auto">
            <a:xfrm>
              <a:off x="5392" y="1245"/>
              <a:ext cx="418" cy="369"/>
            </a:xfrm>
            <a:custGeom>
              <a:avLst/>
              <a:gdLst>
                <a:gd name="T0" fmla="*/ 173 w 176"/>
                <a:gd name="T1" fmla="*/ 127 h 155"/>
                <a:gd name="T2" fmla="*/ 164 w 176"/>
                <a:gd name="T3" fmla="*/ 125 h 155"/>
                <a:gd name="T4" fmla="*/ 155 w 176"/>
                <a:gd name="T5" fmla="*/ 116 h 155"/>
                <a:gd name="T6" fmla="*/ 148 w 176"/>
                <a:gd name="T7" fmla="*/ 101 h 155"/>
                <a:gd name="T8" fmla="*/ 138 w 176"/>
                <a:gd name="T9" fmla="*/ 71 h 155"/>
                <a:gd name="T10" fmla="*/ 137 w 176"/>
                <a:gd name="T11" fmla="*/ 68 h 155"/>
                <a:gd name="T12" fmla="*/ 136 w 176"/>
                <a:gd name="T13" fmla="*/ 65 h 155"/>
                <a:gd name="T14" fmla="*/ 70 w 176"/>
                <a:gd name="T15" fmla="*/ 6 h 155"/>
                <a:gd name="T16" fmla="*/ 21 w 176"/>
                <a:gd name="T17" fmla="*/ 25 h 155"/>
                <a:gd name="T18" fmla="*/ 12 w 176"/>
                <a:gd name="T19" fmla="*/ 38 h 155"/>
                <a:gd name="T20" fmla="*/ 1 w 176"/>
                <a:gd name="T21" fmla="*/ 60 h 155"/>
                <a:gd name="T22" fmla="*/ 1 w 176"/>
                <a:gd name="T23" fmla="*/ 72 h 155"/>
                <a:gd name="T24" fmla="*/ 3 w 176"/>
                <a:gd name="T25" fmla="*/ 61 h 155"/>
                <a:gd name="T26" fmla="*/ 8 w 176"/>
                <a:gd name="T27" fmla="*/ 49 h 155"/>
                <a:gd name="T28" fmla="*/ 10 w 176"/>
                <a:gd name="T29" fmla="*/ 76 h 155"/>
                <a:gd name="T30" fmla="*/ 19 w 176"/>
                <a:gd name="T31" fmla="*/ 74 h 155"/>
                <a:gd name="T32" fmla="*/ 49 w 176"/>
                <a:gd name="T33" fmla="*/ 64 h 155"/>
                <a:gd name="T34" fmla="*/ 53 w 176"/>
                <a:gd name="T35" fmla="*/ 37 h 155"/>
                <a:gd name="T36" fmla="*/ 53 w 176"/>
                <a:gd name="T37" fmla="*/ 37 h 155"/>
                <a:gd name="T38" fmla="*/ 93 w 176"/>
                <a:gd name="T39" fmla="*/ 76 h 155"/>
                <a:gd name="T40" fmla="*/ 99 w 176"/>
                <a:gd name="T41" fmla="*/ 155 h 155"/>
                <a:gd name="T42" fmla="*/ 138 w 176"/>
                <a:gd name="T43" fmla="*/ 80 h 155"/>
                <a:gd name="T44" fmla="*/ 146 w 176"/>
                <a:gd name="T45" fmla="*/ 101 h 155"/>
                <a:gd name="T46" fmla="*/ 153 w 176"/>
                <a:gd name="T47" fmla="*/ 117 h 155"/>
                <a:gd name="T48" fmla="*/ 164 w 176"/>
                <a:gd name="T49" fmla="*/ 126 h 155"/>
                <a:gd name="T50" fmla="*/ 173 w 176"/>
                <a:gd name="T51" fmla="*/ 128 h 155"/>
                <a:gd name="T52" fmla="*/ 176 w 176"/>
                <a:gd name="T53" fmla="*/ 126 h 155"/>
                <a:gd name="T54" fmla="*/ 173 w 176"/>
                <a:gd name="T55" fmla="*/ 12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155">
                  <a:moveTo>
                    <a:pt x="173" y="127"/>
                  </a:moveTo>
                  <a:cubicBezTo>
                    <a:pt x="171" y="127"/>
                    <a:pt x="168" y="127"/>
                    <a:pt x="164" y="125"/>
                  </a:cubicBezTo>
                  <a:cubicBezTo>
                    <a:pt x="161" y="123"/>
                    <a:pt x="158" y="120"/>
                    <a:pt x="155" y="116"/>
                  </a:cubicBezTo>
                  <a:cubicBezTo>
                    <a:pt x="152" y="111"/>
                    <a:pt x="150" y="106"/>
                    <a:pt x="148" y="101"/>
                  </a:cubicBezTo>
                  <a:cubicBezTo>
                    <a:pt x="143" y="89"/>
                    <a:pt x="140" y="79"/>
                    <a:pt x="138" y="71"/>
                  </a:cubicBezTo>
                  <a:cubicBezTo>
                    <a:pt x="137" y="70"/>
                    <a:pt x="137" y="69"/>
                    <a:pt x="137" y="68"/>
                  </a:cubicBezTo>
                  <a:cubicBezTo>
                    <a:pt x="136" y="67"/>
                    <a:pt x="136" y="66"/>
                    <a:pt x="136" y="65"/>
                  </a:cubicBezTo>
                  <a:cubicBezTo>
                    <a:pt x="123" y="15"/>
                    <a:pt x="79" y="6"/>
                    <a:pt x="70" y="6"/>
                  </a:cubicBezTo>
                  <a:cubicBezTo>
                    <a:pt x="61" y="6"/>
                    <a:pt x="45" y="0"/>
                    <a:pt x="21" y="25"/>
                  </a:cubicBezTo>
                  <a:cubicBezTo>
                    <a:pt x="17" y="29"/>
                    <a:pt x="14" y="33"/>
                    <a:pt x="12" y="38"/>
                  </a:cubicBezTo>
                  <a:cubicBezTo>
                    <a:pt x="6" y="45"/>
                    <a:pt x="2" y="54"/>
                    <a:pt x="1" y="60"/>
                  </a:cubicBezTo>
                  <a:cubicBezTo>
                    <a:pt x="0" y="67"/>
                    <a:pt x="0" y="72"/>
                    <a:pt x="1" y="72"/>
                  </a:cubicBezTo>
                  <a:cubicBezTo>
                    <a:pt x="1" y="72"/>
                    <a:pt x="1" y="68"/>
                    <a:pt x="3" y="61"/>
                  </a:cubicBezTo>
                  <a:cubicBezTo>
                    <a:pt x="4" y="57"/>
                    <a:pt x="5" y="53"/>
                    <a:pt x="8" y="49"/>
                  </a:cubicBezTo>
                  <a:cubicBezTo>
                    <a:pt x="4" y="64"/>
                    <a:pt x="10" y="76"/>
                    <a:pt x="10" y="76"/>
                  </a:cubicBezTo>
                  <a:cubicBezTo>
                    <a:pt x="19" y="74"/>
                    <a:pt x="19" y="74"/>
                    <a:pt x="19" y="74"/>
                  </a:cubicBezTo>
                  <a:cubicBezTo>
                    <a:pt x="49" y="64"/>
                    <a:pt x="49" y="64"/>
                    <a:pt x="49" y="64"/>
                  </a:cubicBezTo>
                  <a:cubicBezTo>
                    <a:pt x="46" y="54"/>
                    <a:pt x="50" y="42"/>
                    <a:pt x="53" y="37"/>
                  </a:cubicBezTo>
                  <a:cubicBezTo>
                    <a:pt x="53" y="37"/>
                    <a:pt x="53" y="37"/>
                    <a:pt x="53" y="37"/>
                  </a:cubicBezTo>
                  <a:cubicBezTo>
                    <a:pt x="60" y="73"/>
                    <a:pt x="93" y="76"/>
                    <a:pt x="93" y="76"/>
                  </a:cubicBezTo>
                  <a:cubicBezTo>
                    <a:pt x="99" y="155"/>
                    <a:pt x="99" y="155"/>
                    <a:pt x="99" y="155"/>
                  </a:cubicBezTo>
                  <a:cubicBezTo>
                    <a:pt x="140" y="146"/>
                    <a:pt x="139" y="92"/>
                    <a:pt x="138" y="80"/>
                  </a:cubicBezTo>
                  <a:cubicBezTo>
                    <a:pt x="140" y="87"/>
                    <a:pt x="143" y="94"/>
                    <a:pt x="146" y="101"/>
                  </a:cubicBezTo>
                  <a:cubicBezTo>
                    <a:pt x="148" y="107"/>
                    <a:pt x="150" y="112"/>
                    <a:pt x="153" y="117"/>
                  </a:cubicBezTo>
                  <a:cubicBezTo>
                    <a:pt x="156" y="121"/>
                    <a:pt x="160" y="125"/>
                    <a:pt x="164" y="126"/>
                  </a:cubicBezTo>
                  <a:cubicBezTo>
                    <a:pt x="167" y="128"/>
                    <a:pt x="171" y="128"/>
                    <a:pt x="173" y="128"/>
                  </a:cubicBezTo>
                  <a:cubicBezTo>
                    <a:pt x="175" y="127"/>
                    <a:pt x="176" y="127"/>
                    <a:pt x="176" y="126"/>
                  </a:cubicBezTo>
                  <a:cubicBezTo>
                    <a:pt x="176" y="126"/>
                    <a:pt x="175" y="127"/>
                    <a:pt x="173" y="127"/>
                  </a:cubicBez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41">
              <a:extLst>
                <a:ext uri="{FF2B5EF4-FFF2-40B4-BE49-F238E27FC236}">
                  <a16:creationId xmlns:a16="http://schemas.microsoft.com/office/drawing/2014/main" id="{93620AC4-AA22-45E1-9C50-6785EB88C942}"/>
                </a:ext>
              </a:extLst>
            </p:cNvPr>
            <p:cNvSpPr>
              <a:spLocks/>
            </p:cNvSpPr>
            <p:nvPr/>
          </p:nvSpPr>
          <p:spPr bwMode="auto">
            <a:xfrm>
              <a:off x="5461" y="1433"/>
              <a:ext cx="21" cy="69"/>
            </a:xfrm>
            <a:custGeom>
              <a:avLst/>
              <a:gdLst>
                <a:gd name="T0" fmla="*/ 8 w 9"/>
                <a:gd name="T1" fmla="*/ 29 h 29"/>
                <a:gd name="T2" fmla="*/ 3 w 9"/>
                <a:gd name="T3" fmla="*/ 28 h 29"/>
                <a:gd name="T4" fmla="*/ 1 w 9"/>
                <a:gd name="T5" fmla="*/ 27 h 29"/>
                <a:gd name="T6" fmla="*/ 1 w 9"/>
                <a:gd name="T7" fmla="*/ 25 h 29"/>
                <a:gd name="T8" fmla="*/ 4 w 9"/>
                <a:gd name="T9" fmla="*/ 18 h 29"/>
                <a:gd name="T10" fmla="*/ 8 w 9"/>
                <a:gd name="T11" fmla="*/ 5 h 29"/>
                <a:gd name="T12" fmla="*/ 9 w 9"/>
                <a:gd name="T13" fmla="*/ 0 h 29"/>
                <a:gd name="T14" fmla="*/ 7 w 9"/>
                <a:gd name="T15" fmla="*/ 5 h 29"/>
                <a:gd name="T16" fmla="*/ 2 w 9"/>
                <a:gd name="T17" fmla="*/ 17 h 29"/>
                <a:gd name="T18" fmla="*/ 0 w 9"/>
                <a:gd name="T19" fmla="*/ 24 h 29"/>
                <a:gd name="T20" fmla="*/ 0 w 9"/>
                <a:gd name="T21" fmla="*/ 28 h 29"/>
                <a:gd name="T22" fmla="*/ 1 w 9"/>
                <a:gd name="T23" fmla="*/ 29 h 29"/>
                <a:gd name="T24" fmla="*/ 3 w 9"/>
                <a:gd name="T25" fmla="*/ 29 h 29"/>
                <a:gd name="T26" fmla="*/ 8 w 9"/>
                <a:gd name="T2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9">
                  <a:moveTo>
                    <a:pt x="8" y="29"/>
                  </a:moveTo>
                  <a:cubicBezTo>
                    <a:pt x="8" y="28"/>
                    <a:pt x="6" y="28"/>
                    <a:pt x="3" y="28"/>
                  </a:cubicBezTo>
                  <a:cubicBezTo>
                    <a:pt x="2" y="28"/>
                    <a:pt x="1" y="28"/>
                    <a:pt x="1" y="27"/>
                  </a:cubicBezTo>
                  <a:cubicBezTo>
                    <a:pt x="1" y="27"/>
                    <a:pt x="1" y="26"/>
                    <a:pt x="1" y="25"/>
                  </a:cubicBezTo>
                  <a:cubicBezTo>
                    <a:pt x="2" y="22"/>
                    <a:pt x="3" y="20"/>
                    <a:pt x="4" y="18"/>
                  </a:cubicBezTo>
                  <a:cubicBezTo>
                    <a:pt x="5" y="13"/>
                    <a:pt x="7" y="8"/>
                    <a:pt x="8" y="5"/>
                  </a:cubicBezTo>
                  <a:cubicBezTo>
                    <a:pt x="9" y="2"/>
                    <a:pt x="9" y="0"/>
                    <a:pt x="9" y="0"/>
                  </a:cubicBezTo>
                  <a:cubicBezTo>
                    <a:pt x="9" y="0"/>
                    <a:pt x="8" y="2"/>
                    <a:pt x="7" y="5"/>
                  </a:cubicBezTo>
                  <a:cubicBezTo>
                    <a:pt x="6" y="8"/>
                    <a:pt x="4" y="12"/>
                    <a:pt x="2" y="17"/>
                  </a:cubicBezTo>
                  <a:cubicBezTo>
                    <a:pt x="2" y="20"/>
                    <a:pt x="1" y="22"/>
                    <a:pt x="0" y="24"/>
                  </a:cubicBezTo>
                  <a:cubicBezTo>
                    <a:pt x="0" y="25"/>
                    <a:pt x="0" y="26"/>
                    <a:pt x="0" y="28"/>
                  </a:cubicBezTo>
                  <a:cubicBezTo>
                    <a:pt x="0" y="28"/>
                    <a:pt x="1" y="29"/>
                    <a:pt x="1" y="29"/>
                  </a:cubicBezTo>
                  <a:cubicBezTo>
                    <a:pt x="2" y="29"/>
                    <a:pt x="2" y="29"/>
                    <a:pt x="3" y="29"/>
                  </a:cubicBezTo>
                  <a:cubicBezTo>
                    <a:pt x="6" y="29"/>
                    <a:pt x="8" y="29"/>
                    <a:pt x="8" y="2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42">
              <a:extLst>
                <a:ext uri="{FF2B5EF4-FFF2-40B4-BE49-F238E27FC236}">
                  <a16:creationId xmlns:a16="http://schemas.microsoft.com/office/drawing/2014/main" id="{ADF09B4D-19E6-4583-BA96-9E24CCE90122}"/>
                </a:ext>
              </a:extLst>
            </p:cNvPr>
            <p:cNvSpPr>
              <a:spLocks/>
            </p:cNvSpPr>
            <p:nvPr/>
          </p:nvSpPr>
          <p:spPr bwMode="auto">
            <a:xfrm>
              <a:off x="5644" y="1452"/>
              <a:ext cx="47" cy="52"/>
            </a:xfrm>
            <a:custGeom>
              <a:avLst/>
              <a:gdLst>
                <a:gd name="T0" fmla="*/ 0 w 20"/>
                <a:gd name="T1" fmla="*/ 20 h 22"/>
                <a:gd name="T2" fmla="*/ 1 w 20"/>
                <a:gd name="T3" fmla="*/ 8 h 22"/>
                <a:gd name="T4" fmla="*/ 10 w 20"/>
                <a:gd name="T5" fmla="*/ 0 h 22"/>
                <a:gd name="T6" fmla="*/ 19 w 20"/>
                <a:gd name="T7" fmla="*/ 8 h 22"/>
                <a:gd name="T8" fmla="*/ 14 w 20"/>
                <a:gd name="T9" fmla="*/ 20 h 22"/>
                <a:gd name="T10" fmla="*/ 0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0" y="20"/>
                  </a:moveTo>
                  <a:cubicBezTo>
                    <a:pt x="0" y="16"/>
                    <a:pt x="0" y="12"/>
                    <a:pt x="1" y="8"/>
                  </a:cubicBezTo>
                  <a:cubicBezTo>
                    <a:pt x="3" y="4"/>
                    <a:pt x="6" y="1"/>
                    <a:pt x="10" y="0"/>
                  </a:cubicBezTo>
                  <a:cubicBezTo>
                    <a:pt x="14" y="0"/>
                    <a:pt x="19" y="4"/>
                    <a:pt x="19" y="8"/>
                  </a:cubicBezTo>
                  <a:cubicBezTo>
                    <a:pt x="20" y="13"/>
                    <a:pt x="18" y="17"/>
                    <a:pt x="14" y="20"/>
                  </a:cubicBezTo>
                  <a:cubicBezTo>
                    <a:pt x="10" y="22"/>
                    <a:pt x="4" y="22"/>
                    <a:pt x="0" y="20"/>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3">
              <a:extLst>
                <a:ext uri="{FF2B5EF4-FFF2-40B4-BE49-F238E27FC236}">
                  <a16:creationId xmlns:a16="http://schemas.microsoft.com/office/drawing/2014/main" id="{10E2D45D-9AB9-4578-9790-0C0D2E11DE9C}"/>
                </a:ext>
              </a:extLst>
            </p:cNvPr>
            <p:cNvSpPr>
              <a:spLocks/>
            </p:cNvSpPr>
            <p:nvPr/>
          </p:nvSpPr>
          <p:spPr bwMode="auto">
            <a:xfrm>
              <a:off x="5660" y="1464"/>
              <a:ext cx="22" cy="31"/>
            </a:xfrm>
            <a:custGeom>
              <a:avLst/>
              <a:gdLst>
                <a:gd name="T0" fmla="*/ 0 w 9"/>
                <a:gd name="T1" fmla="*/ 11 h 13"/>
                <a:gd name="T2" fmla="*/ 3 w 9"/>
                <a:gd name="T3" fmla="*/ 11 h 13"/>
                <a:gd name="T4" fmla="*/ 6 w 9"/>
                <a:gd name="T5" fmla="*/ 6 h 13"/>
                <a:gd name="T6" fmla="*/ 6 w 9"/>
                <a:gd name="T7" fmla="*/ 3 h 13"/>
                <a:gd name="T8" fmla="*/ 3 w 9"/>
                <a:gd name="T9" fmla="*/ 2 h 13"/>
                <a:gd name="T10" fmla="*/ 0 w 9"/>
                <a:gd name="T11" fmla="*/ 2 h 13"/>
                <a:gd name="T12" fmla="*/ 3 w 9"/>
                <a:gd name="T13" fmla="*/ 0 h 13"/>
                <a:gd name="T14" fmla="*/ 7 w 9"/>
                <a:gd name="T15" fmla="*/ 1 h 13"/>
                <a:gd name="T16" fmla="*/ 8 w 9"/>
                <a:gd name="T17" fmla="*/ 6 h 13"/>
                <a:gd name="T18" fmla="*/ 7 w 9"/>
                <a:gd name="T19" fmla="*/ 10 h 13"/>
                <a:gd name="T20" fmla="*/ 3 w 9"/>
                <a:gd name="T21" fmla="*/ 12 h 13"/>
                <a:gd name="T22" fmla="*/ 0 w 9"/>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3">
                  <a:moveTo>
                    <a:pt x="0" y="11"/>
                  </a:moveTo>
                  <a:cubicBezTo>
                    <a:pt x="0" y="11"/>
                    <a:pt x="1" y="11"/>
                    <a:pt x="3" y="11"/>
                  </a:cubicBezTo>
                  <a:cubicBezTo>
                    <a:pt x="5" y="11"/>
                    <a:pt x="6" y="9"/>
                    <a:pt x="6" y="6"/>
                  </a:cubicBezTo>
                  <a:cubicBezTo>
                    <a:pt x="7" y="5"/>
                    <a:pt x="6" y="3"/>
                    <a:pt x="6" y="3"/>
                  </a:cubicBezTo>
                  <a:cubicBezTo>
                    <a:pt x="5" y="2"/>
                    <a:pt x="4" y="2"/>
                    <a:pt x="3" y="2"/>
                  </a:cubicBezTo>
                  <a:cubicBezTo>
                    <a:pt x="1" y="2"/>
                    <a:pt x="0" y="3"/>
                    <a:pt x="0" y="2"/>
                  </a:cubicBezTo>
                  <a:cubicBezTo>
                    <a:pt x="0" y="2"/>
                    <a:pt x="1" y="1"/>
                    <a:pt x="3" y="0"/>
                  </a:cubicBezTo>
                  <a:cubicBezTo>
                    <a:pt x="4" y="0"/>
                    <a:pt x="5" y="0"/>
                    <a:pt x="7" y="1"/>
                  </a:cubicBezTo>
                  <a:cubicBezTo>
                    <a:pt x="8" y="2"/>
                    <a:pt x="9" y="4"/>
                    <a:pt x="8" y="6"/>
                  </a:cubicBezTo>
                  <a:cubicBezTo>
                    <a:pt x="8" y="8"/>
                    <a:pt x="8" y="9"/>
                    <a:pt x="7" y="10"/>
                  </a:cubicBezTo>
                  <a:cubicBezTo>
                    <a:pt x="6" y="12"/>
                    <a:pt x="4" y="12"/>
                    <a:pt x="3" y="12"/>
                  </a:cubicBezTo>
                  <a:cubicBezTo>
                    <a:pt x="1" y="13"/>
                    <a:pt x="0" y="11"/>
                    <a:pt x="0" y="1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4">
              <a:extLst>
                <a:ext uri="{FF2B5EF4-FFF2-40B4-BE49-F238E27FC236}">
                  <a16:creationId xmlns:a16="http://schemas.microsoft.com/office/drawing/2014/main" id="{F765D728-80C6-4901-B82B-EC85439A82F8}"/>
                </a:ext>
              </a:extLst>
            </p:cNvPr>
            <p:cNvSpPr>
              <a:spLocks/>
            </p:cNvSpPr>
            <p:nvPr/>
          </p:nvSpPr>
          <p:spPr bwMode="auto">
            <a:xfrm>
              <a:off x="5646" y="1495"/>
              <a:ext cx="36" cy="31"/>
            </a:xfrm>
            <a:custGeom>
              <a:avLst/>
              <a:gdLst>
                <a:gd name="T0" fmla="*/ 13 w 15"/>
                <a:gd name="T1" fmla="*/ 1 h 13"/>
                <a:gd name="T2" fmla="*/ 15 w 15"/>
                <a:gd name="T3" fmla="*/ 6 h 13"/>
                <a:gd name="T4" fmla="*/ 13 w 15"/>
                <a:gd name="T5" fmla="*/ 11 h 13"/>
                <a:gd name="T6" fmla="*/ 6 w 15"/>
                <a:gd name="T7" fmla="*/ 13 h 13"/>
                <a:gd name="T8" fmla="*/ 1 w 15"/>
                <a:gd name="T9" fmla="*/ 9 h 13"/>
                <a:gd name="T10" fmla="*/ 0 w 15"/>
                <a:gd name="T11" fmla="*/ 3 h 13"/>
                <a:gd name="T12" fmla="*/ 3 w 15"/>
                <a:gd name="T13" fmla="*/ 0 h 13"/>
                <a:gd name="T14" fmla="*/ 1 w 15"/>
                <a:gd name="T15" fmla="*/ 4 h 13"/>
                <a:gd name="T16" fmla="*/ 2 w 15"/>
                <a:gd name="T17" fmla="*/ 8 h 13"/>
                <a:gd name="T18" fmla="*/ 6 w 15"/>
                <a:gd name="T19" fmla="*/ 11 h 13"/>
                <a:gd name="T20" fmla="*/ 11 w 15"/>
                <a:gd name="T21" fmla="*/ 10 h 13"/>
                <a:gd name="T22" fmla="*/ 13 w 15"/>
                <a:gd name="T23" fmla="*/ 6 h 13"/>
                <a:gd name="T24" fmla="*/ 13 w 15"/>
                <a:gd name="T2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3">
                  <a:moveTo>
                    <a:pt x="13" y="1"/>
                  </a:moveTo>
                  <a:cubicBezTo>
                    <a:pt x="13" y="1"/>
                    <a:pt x="15" y="3"/>
                    <a:pt x="15" y="6"/>
                  </a:cubicBezTo>
                  <a:cubicBezTo>
                    <a:pt x="15" y="7"/>
                    <a:pt x="14" y="9"/>
                    <a:pt x="13" y="11"/>
                  </a:cubicBezTo>
                  <a:cubicBezTo>
                    <a:pt x="11" y="12"/>
                    <a:pt x="9" y="13"/>
                    <a:pt x="6" y="13"/>
                  </a:cubicBezTo>
                  <a:cubicBezTo>
                    <a:pt x="4" y="12"/>
                    <a:pt x="2" y="11"/>
                    <a:pt x="1" y="9"/>
                  </a:cubicBezTo>
                  <a:cubicBezTo>
                    <a:pt x="0" y="7"/>
                    <a:pt x="0" y="5"/>
                    <a:pt x="0" y="3"/>
                  </a:cubicBezTo>
                  <a:cubicBezTo>
                    <a:pt x="1" y="0"/>
                    <a:pt x="3" y="0"/>
                    <a:pt x="3" y="0"/>
                  </a:cubicBezTo>
                  <a:cubicBezTo>
                    <a:pt x="3" y="0"/>
                    <a:pt x="2" y="1"/>
                    <a:pt x="1" y="4"/>
                  </a:cubicBezTo>
                  <a:cubicBezTo>
                    <a:pt x="1" y="5"/>
                    <a:pt x="1" y="7"/>
                    <a:pt x="2" y="8"/>
                  </a:cubicBezTo>
                  <a:cubicBezTo>
                    <a:pt x="3" y="9"/>
                    <a:pt x="5" y="11"/>
                    <a:pt x="6" y="11"/>
                  </a:cubicBezTo>
                  <a:cubicBezTo>
                    <a:pt x="8" y="11"/>
                    <a:pt x="10" y="11"/>
                    <a:pt x="11" y="10"/>
                  </a:cubicBezTo>
                  <a:cubicBezTo>
                    <a:pt x="13" y="8"/>
                    <a:pt x="13" y="7"/>
                    <a:pt x="13" y="6"/>
                  </a:cubicBezTo>
                  <a:cubicBezTo>
                    <a:pt x="14" y="3"/>
                    <a:pt x="13" y="2"/>
                    <a:pt x="13"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5">
              <a:extLst>
                <a:ext uri="{FF2B5EF4-FFF2-40B4-BE49-F238E27FC236}">
                  <a16:creationId xmlns:a16="http://schemas.microsoft.com/office/drawing/2014/main" id="{814D941F-641A-4AB3-9260-8593C18AED2B}"/>
                </a:ext>
              </a:extLst>
            </p:cNvPr>
            <p:cNvSpPr>
              <a:spLocks/>
            </p:cNvSpPr>
            <p:nvPr/>
          </p:nvSpPr>
          <p:spPr bwMode="auto">
            <a:xfrm>
              <a:off x="5520" y="1326"/>
              <a:ext cx="124" cy="143"/>
            </a:xfrm>
            <a:custGeom>
              <a:avLst/>
              <a:gdLst>
                <a:gd name="T0" fmla="*/ 52 w 52"/>
                <a:gd name="T1" fmla="*/ 56 h 60"/>
                <a:gd name="T2" fmla="*/ 49 w 52"/>
                <a:gd name="T3" fmla="*/ 58 h 60"/>
                <a:gd name="T4" fmla="*/ 39 w 52"/>
                <a:gd name="T5" fmla="*/ 60 h 60"/>
                <a:gd name="T6" fmla="*/ 25 w 52"/>
                <a:gd name="T7" fmla="*/ 56 h 60"/>
                <a:gd name="T8" fmla="*/ 11 w 52"/>
                <a:gd name="T9" fmla="*/ 44 h 60"/>
                <a:gd name="T10" fmla="*/ 1 w 52"/>
                <a:gd name="T11" fmla="*/ 13 h 60"/>
                <a:gd name="T12" fmla="*/ 0 w 52"/>
                <a:gd name="T13" fmla="*/ 4 h 60"/>
                <a:gd name="T14" fmla="*/ 0 w 52"/>
                <a:gd name="T15" fmla="*/ 0 h 60"/>
                <a:gd name="T16" fmla="*/ 2 w 52"/>
                <a:gd name="T17" fmla="*/ 13 h 60"/>
                <a:gd name="T18" fmla="*/ 13 w 52"/>
                <a:gd name="T19" fmla="*/ 43 h 60"/>
                <a:gd name="T20" fmla="*/ 26 w 52"/>
                <a:gd name="T21" fmla="*/ 55 h 60"/>
                <a:gd name="T22" fmla="*/ 39 w 52"/>
                <a:gd name="T23" fmla="*/ 58 h 60"/>
                <a:gd name="T24" fmla="*/ 52 w 52"/>
                <a:gd name="T2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60">
                  <a:moveTo>
                    <a:pt x="52" y="56"/>
                  </a:moveTo>
                  <a:cubicBezTo>
                    <a:pt x="52" y="56"/>
                    <a:pt x="51" y="57"/>
                    <a:pt x="49" y="58"/>
                  </a:cubicBezTo>
                  <a:cubicBezTo>
                    <a:pt x="47" y="59"/>
                    <a:pt x="43" y="60"/>
                    <a:pt x="39" y="60"/>
                  </a:cubicBezTo>
                  <a:cubicBezTo>
                    <a:pt x="35" y="60"/>
                    <a:pt x="30" y="59"/>
                    <a:pt x="25" y="56"/>
                  </a:cubicBezTo>
                  <a:cubicBezTo>
                    <a:pt x="20" y="54"/>
                    <a:pt x="15" y="49"/>
                    <a:pt x="11" y="44"/>
                  </a:cubicBezTo>
                  <a:cubicBezTo>
                    <a:pt x="4" y="33"/>
                    <a:pt x="2" y="22"/>
                    <a:pt x="1" y="13"/>
                  </a:cubicBezTo>
                  <a:cubicBezTo>
                    <a:pt x="0" y="9"/>
                    <a:pt x="0" y="6"/>
                    <a:pt x="0" y="4"/>
                  </a:cubicBezTo>
                  <a:cubicBezTo>
                    <a:pt x="0" y="1"/>
                    <a:pt x="0" y="0"/>
                    <a:pt x="0" y="0"/>
                  </a:cubicBezTo>
                  <a:cubicBezTo>
                    <a:pt x="0" y="0"/>
                    <a:pt x="1" y="5"/>
                    <a:pt x="2" y="13"/>
                  </a:cubicBezTo>
                  <a:cubicBezTo>
                    <a:pt x="4" y="21"/>
                    <a:pt x="6" y="33"/>
                    <a:pt x="13" y="43"/>
                  </a:cubicBezTo>
                  <a:cubicBezTo>
                    <a:pt x="17" y="48"/>
                    <a:pt x="21" y="52"/>
                    <a:pt x="26" y="55"/>
                  </a:cubicBezTo>
                  <a:cubicBezTo>
                    <a:pt x="30" y="57"/>
                    <a:pt x="35" y="58"/>
                    <a:pt x="39" y="58"/>
                  </a:cubicBezTo>
                  <a:cubicBezTo>
                    <a:pt x="47" y="59"/>
                    <a:pt x="52" y="55"/>
                    <a:pt x="52" y="56"/>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6">
              <a:extLst>
                <a:ext uri="{FF2B5EF4-FFF2-40B4-BE49-F238E27FC236}">
                  <a16:creationId xmlns:a16="http://schemas.microsoft.com/office/drawing/2014/main" id="{9C7EE988-D6AD-4B11-BEC2-7F03F43B58DE}"/>
                </a:ext>
              </a:extLst>
            </p:cNvPr>
            <p:cNvSpPr>
              <a:spLocks/>
            </p:cNvSpPr>
            <p:nvPr/>
          </p:nvSpPr>
          <p:spPr bwMode="auto">
            <a:xfrm>
              <a:off x="5667" y="1312"/>
              <a:ext cx="41" cy="66"/>
            </a:xfrm>
            <a:custGeom>
              <a:avLst/>
              <a:gdLst>
                <a:gd name="T0" fmla="*/ 17 w 17"/>
                <a:gd name="T1" fmla="*/ 28 h 28"/>
                <a:gd name="T2" fmla="*/ 10 w 17"/>
                <a:gd name="T3" fmla="*/ 13 h 28"/>
                <a:gd name="T4" fmla="*/ 0 w 17"/>
                <a:gd name="T5" fmla="*/ 0 h 28"/>
                <a:gd name="T6" fmla="*/ 11 w 17"/>
                <a:gd name="T7" fmla="*/ 12 h 28"/>
                <a:gd name="T8" fmla="*/ 17 w 17"/>
                <a:gd name="T9" fmla="*/ 28 h 28"/>
              </a:gdLst>
              <a:ahLst/>
              <a:cxnLst>
                <a:cxn ang="0">
                  <a:pos x="T0" y="T1"/>
                </a:cxn>
                <a:cxn ang="0">
                  <a:pos x="T2" y="T3"/>
                </a:cxn>
                <a:cxn ang="0">
                  <a:pos x="T4" y="T5"/>
                </a:cxn>
                <a:cxn ang="0">
                  <a:pos x="T6" y="T7"/>
                </a:cxn>
                <a:cxn ang="0">
                  <a:pos x="T8" y="T9"/>
                </a:cxn>
              </a:cxnLst>
              <a:rect l="0" t="0" r="r" b="b"/>
              <a:pathLst>
                <a:path w="17" h="28">
                  <a:moveTo>
                    <a:pt x="17" y="28"/>
                  </a:moveTo>
                  <a:cubicBezTo>
                    <a:pt x="16" y="28"/>
                    <a:pt x="14" y="21"/>
                    <a:pt x="10" y="13"/>
                  </a:cubicBezTo>
                  <a:cubicBezTo>
                    <a:pt x="5" y="6"/>
                    <a:pt x="0" y="1"/>
                    <a:pt x="0" y="0"/>
                  </a:cubicBezTo>
                  <a:cubicBezTo>
                    <a:pt x="0" y="0"/>
                    <a:pt x="7" y="4"/>
                    <a:pt x="11" y="12"/>
                  </a:cubicBezTo>
                  <a:cubicBezTo>
                    <a:pt x="16" y="20"/>
                    <a:pt x="17" y="27"/>
                    <a:pt x="17" y="2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7">
              <a:extLst>
                <a:ext uri="{FF2B5EF4-FFF2-40B4-BE49-F238E27FC236}">
                  <a16:creationId xmlns:a16="http://schemas.microsoft.com/office/drawing/2014/main" id="{5ACB3F43-6A50-41D1-A248-7C51A1F2E304}"/>
                </a:ext>
              </a:extLst>
            </p:cNvPr>
            <p:cNvSpPr>
              <a:spLocks/>
            </p:cNvSpPr>
            <p:nvPr/>
          </p:nvSpPr>
          <p:spPr bwMode="auto">
            <a:xfrm>
              <a:off x="5055" y="1982"/>
              <a:ext cx="161" cy="199"/>
            </a:xfrm>
            <a:custGeom>
              <a:avLst/>
              <a:gdLst>
                <a:gd name="T0" fmla="*/ 57 w 68"/>
                <a:gd name="T1" fmla="*/ 84 h 84"/>
                <a:gd name="T2" fmla="*/ 43 w 68"/>
                <a:gd name="T3" fmla="*/ 83 h 84"/>
                <a:gd name="T4" fmla="*/ 19 w 68"/>
                <a:gd name="T5" fmla="*/ 79 h 84"/>
                <a:gd name="T6" fmla="*/ 21 w 68"/>
                <a:gd name="T7" fmla="*/ 70 h 84"/>
                <a:gd name="T8" fmla="*/ 13 w 68"/>
                <a:gd name="T9" fmla="*/ 61 h 84"/>
                <a:gd name="T10" fmla="*/ 18 w 68"/>
                <a:gd name="T11" fmla="*/ 56 h 84"/>
                <a:gd name="T12" fmla="*/ 8 w 68"/>
                <a:gd name="T13" fmla="*/ 50 h 84"/>
                <a:gd name="T14" fmla="*/ 12 w 68"/>
                <a:gd name="T15" fmla="*/ 43 h 84"/>
                <a:gd name="T16" fmla="*/ 4 w 68"/>
                <a:gd name="T17" fmla="*/ 28 h 84"/>
                <a:gd name="T18" fmla="*/ 15 w 68"/>
                <a:gd name="T19" fmla="*/ 32 h 84"/>
                <a:gd name="T20" fmla="*/ 35 w 68"/>
                <a:gd name="T21" fmla="*/ 29 h 84"/>
                <a:gd name="T22" fmla="*/ 28 w 68"/>
                <a:gd name="T23" fmla="*/ 3 h 84"/>
                <a:gd name="T24" fmla="*/ 36 w 68"/>
                <a:gd name="T25" fmla="*/ 5 h 84"/>
                <a:gd name="T26" fmla="*/ 41 w 68"/>
                <a:gd name="T27" fmla="*/ 17 h 84"/>
                <a:gd name="T28" fmla="*/ 48 w 68"/>
                <a:gd name="T29" fmla="*/ 26 h 84"/>
                <a:gd name="T30" fmla="*/ 56 w 68"/>
                <a:gd name="T31" fmla="*/ 33 h 84"/>
                <a:gd name="T32" fmla="*/ 68 w 68"/>
                <a:gd name="T33" fmla="*/ 45 h 84"/>
                <a:gd name="T34" fmla="*/ 57 w 68"/>
                <a:gd name="T3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84">
                  <a:moveTo>
                    <a:pt x="57" y="84"/>
                  </a:moveTo>
                  <a:cubicBezTo>
                    <a:pt x="43" y="83"/>
                    <a:pt x="43" y="83"/>
                    <a:pt x="43" y="83"/>
                  </a:cubicBezTo>
                  <a:cubicBezTo>
                    <a:pt x="30" y="82"/>
                    <a:pt x="23" y="82"/>
                    <a:pt x="19" y="79"/>
                  </a:cubicBezTo>
                  <a:cubicBezTo>
                    <a:pt x="15" y="74"/>
                    <a:pt x="21" y="70"/>
                    <a:pt x="21" y="70"/>
                  </a:cubicBezTo>
                  <a:cubicBezTo>
                    <a:pt x="21" y="70"/>
                    <a:pt x="12" y="66"/>
                    <a:pt x="13" y="61"/>
                  </a:cubicBezTo>
                  <a:cubicBezTo>
                    <a:pt x="13" y="57"/>
                    <a:pt x="18" y="56"/>
                    <a:pt x="18" y="56"/>
                  </a:cubicBezTo>
                  <a:cubicBezTo>
                    <a:pt x="18" y="56"/>
                    <a:pt x="10" y="53"/>
                    <a:pt x="8" y="50"/>
                  </a:cubicBezTo>
                  <a:cubicBezTo>
                    <a:pt x="6" y="45"/>
                    <a:pt x="12" y="43"/>
                    <a:pt x="12" y="43"/>
                  </a:cubicBezTo>
                  <a:cubicBezTo>
                    <a:pt x="0" y="36"/>
                    <a:pt x="1" y="29"/>
                    <a:pt x="4" y="28"/>
                  </a:cubicBezTo>
                  <a:cubicBezTo>
                    <a:pt x="7" y="28"/>
                    <a:pt x="15" y="32"/>
                    <a:pt x="15" y="32"/>
                  </a:cubicBezTo>
                  <a:cubicBezTo>
                    <a:pt x="23" y="34"/>
                    <a:pt x="43" y="40"/>
                    <a:pt x="35" y="29"/>
                  </a:cubicBezTo>
                  <a:cubicBezTo>
                    <a:pt x="28" y="18"/>
                    <a:pt x="26" y="6"/>
                    <a:pt x="28" y="3"/>
                  </a:cubicBezTo>
                  <a:cubicBezTo>
                    <a:pt x="30" y="0"/>
                    <a:pt x="35" y="1"/>
                    <a:pt x="36" y="5"/>
                  </a:cubicBezTo>
                  <a:cubicBezTo>
                    <a:pt x="36" y="8"/>
                    <a:pt x="39" y="13"/>
                    <a:pt x="41" y="17"/>
                  </a:cubicBezTo>
                  <a:cubicBezTo>
                    <a:pt x="43" y="20"/>
                    <a:pt x="45" y="23"/>
                    <a:pt x="48" y="26"/>
                  </a:cubicBezTo>
                  <a:cubicBezTo>
                    <a:pt x="51" y="29"/>
                    <a:pt x="54" y="31"/>
                    <a:pt x="56" y="33"/>
                  </a:cubicBezTo>
                  <a:cubicBezTo>
                    <a:pt x="68" y="45"/>
                    <a:pt x="68" y="45"/>
                    <a:pt x="68" y="45"/>
                  </a:cubicBezTo>
                  <a:lnTo>
                    <a:pt x="57" y="8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8">
              <a:extLst>
                <a:ext uri="{FF2B5EF4-FFF2-40B4-BE49-F238E27FC236}">
                  <a16:creationId xmlns:a16="http://schemas.microsoft.com/office/drawing/2014/main" id="{84AC7978-7A1D-445A-974A-165FEC45D0DD}"/>
                </a:ext>
              </a:extLst>
            </p:cNvPr>
            <p:cNvSpPr>
              <a:spLocks/>
            </p:cNvSpPr>
            <p:nvPr/>
          </p:nvSpPr>
          <p:spPr bwMode="auto">
            <a:xfrm>
              <a:off x="4958" y="1832"/>
              <a:ext cx="66" cy="183"/>
            </a:xfrm>
            <a:custGeom>
              <a:avLst/>
              <a:gdLst>
                <a:gd name="T0" fmla="*/ 10 w 28"/>
                <a:gd name="T1" fmla="*/ 6 h 77"/>
                <a:gd name="T2" fmla="*/ 17 w 28"/>
                <a:gd name="T3" fmla="*/ 2 h 77"/>
                <a:gd name="T4" fmla="*/ 17 w 28"/>
                <a:gd name="T5" fmla="*/ 7 h 77"/>
                <a:gd name="T6" fmla="*/ 9 w 28"/>
                <a:gd name="T7" fmla="*/ 35 h 77"/>
                <a:gd name="T8" fmla="*/ 9 w 28"/>
                <a:gd name="T9" fmla="*/ 35 h 77"/>
                <a:gd name="T10" fmla="*/ 17 w 28"/>
                <a:gd name="T11" fmla="*/ 15 h 77"/>
                <a:gd name="T12" fmla="*/ 23 w 28"/>
                <a:gd name="T13" fmla="*/ 12 h 77"/>
                <a:gd name="T14" fmla="*/ 23 w 28"/>
                <a:gd name="T15" fmla="*/ 16 h 77"/>
                <a:gd name="T16" fmla="*/ 16 w 28"/>
                <a:gd name="T17" fmla="*/ 40 h 77"/>
                <a:gd name="T18" fmla="*/ 22 w 28"/>
                <a:gd name="T19" fmla="*/ 25 h 77"/>
                <a:gd name="T20" fmla="*/ 26 w 28"/>
                <a:gd name="T21" fmla="*/ 22 h 77"/>
                <a:gd name="T22" fmla="*/ 28 w 28"/>
                <a:gd name="T23" fmla="*/ 26 h 77"/>
                <a:gd name="T24" fmla="*/ 23 w 28"/>
                <a:gd name="T25" fmla="*/ 44 h 77"/>
                <a:gd name="T26" fmla="*/ 24 w 28"/>
                <a:gd name="T27" fmla="*/ 63 h 77"/>
                <a:gd name="T28" fmla="*/ 24 w 28"/>
                <a:gd name="T29" fmla="*/ 65 h 77"/>
                <a:gd name="T30" fmla="*/ 26 w 28"/>
                <a:gd name="T31" fmla="*/ 67 h 77"/>
                <a:gd name="T32" fmla="*/ 14 w 28"/>
                <a:gd name="T33" fmla="*/ 77 h 77"/>
                <a:gd name="T34" fmla="*/ 2 w 28"/>
                <a:gd name="T35" fmla="*/ 42 h 77"/>
                <a:gd name="T36" fmla="*/ 2 w 28"/>
                <a:gd name="T37" fmla="*/ 28 h 77"/>
                <a:gd name="T38" fmla="*/ 10 w 28"/>
                <a:gd name="T39"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77">
                  <a:moveTo>
                    <a:pt x="10" y="6"/>
                  </a:moveTo>
                  <a:cubicBezTo>
                    <a:pt x="11" y="3"/>
                    <a:pt x="14" y="0"/>
                    <a:pt x="17" y="2"/>
                  </a:cubicBezTo>
                  <a:cubicBezTo>
                    <a:pt x="18" y="3"/>
                    <a:pt x="18" y="5"/>
                    <a:pt x="17" y="7"/>
                  </a:cubicBezTo>
                  <a:cubicBezTo>
                    <a:pt x="9" y="35"/>
                    <a:pt x="9" y="35"/>
                    <a:pt x="9" y="35"/>
                  </a:cubicBezTo>
                  <a:cubicBezTo>
                    <a:pt x="9" y="35"/>
                    <a:pt x="9" y="35"/>
                    <a:pt x="9" y="35"/>
                  </a:cubicBezTo>
                  <a:cubicBezTo>
                    <a:pt x="17" y="15"/>
                    <a:pt x="17" y="15"/>
                    <a:pt x="17" y="15"/>
                  </a:cubicBezTo>
                  <a:cubicBezTo>
                    <a:pt x="18" y="12"/>
                    <a:pt x="21" y="10"/>
                    <a:pt x="23" y="12"/>
                  </a:cubicBezTo>
                  <a:cubicBezTo>
                    <a:pt x="24" y="13"/>
                    <a:pt x="24" y="15"/>
                    <a:pt x="23" y="16"/>
                  </a:cubicBezTo>
                  <a:cubicBezTo>
                    <a:pt x="16" y="40"/>
                    <a:pt x="16" y="40"/>
                    <a:pt x="16" y="40"/>
                  </a:cubicBezTo>
                  <a:cubicBezTo>
                    <a:pt x="22" y="25"/>
                    <a:pt x="22" y="25"/>
                    <a:pt x="22" y="25"/>
                  </a:cubicBezTo>
                  <a:cubicBezTo>
                    <a:pt x="23" y="22"/>
                    <a:pt x="25" y="21"/>
                    <a:pt x="26" y="22"/>
                  </a:cubicBezTo>
                  <a:cubicBezTo>
                    <a:pt x="28" y="22"/>
                    <a:pt x="28" y="25"/>
                    <a:pt x="28" y="26"/>
                  </a:cubicBezTo>
                  <a:cubicBezTo>
                    <a:pt x="23" y="44"/>
                    <a:pt x="23" y="44"/>
                    <a:pt x="23" y="44"/>
                  </a:cubicBezTo>
                  <a:cubicBezTo>
                    <a:pt x="24" y="47"/>
                    <a:pt x="28" y="57"/>
                    <a:pt x="24" y="63"/>
                  </a:cubicBezTo>
                  <a:cubicBezTo>
                    <a:pt x="24" y="65"/>
                    <a:pt x="24" y="65"/>
                    <a:pt x="24" y="65"/>
                  </a:cubicBezTo>
                  <a:cubicBezTo>
                    <a:pt x="26" y="67"/>
                    <a:pt x="26" y="67"/>
                    <a:pt x="26" y="67"/>
                  </a:cubicBezTo>
                  <a:cubicBezTo>
                    <a:pt x="14" y="77"/>
                    <a:pt x="14" y="77"/>
                    <a:pt x="14" y="77"/>
                  </a:cubicBezTo>
                  <a:cubicBezTo>
                    <a:pt x="14" y="77"/>
                    <a:pt x="4" y="50"/>
                    <a:pt x="2" y="42"/>
                  </a:cubicBezTo>
                  <a:cubicBezTo>
                    <a:pt x="0" y="35"/>
                    <a:pt x="1" y="31"/>
                    <a:pt x="2" y="28"/>
                  </a:cubicBezTo>
                  <a:lnTo>
                    <a:pt x="10" y="6"/>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9" name="Rectangle: Rounded Corners 348">
            <a:extLst>
              <a:ext uri="{FF2B5EF4-FFF2-40B4-BE49-F238E27FC236}">
                <a16:creationId xmlns:a16="http://schemas.microsoft.com/office/drawing/2014/main" id="{21C59428-9B7E-499C-B08D-1ED8E708E327}"/>
              </a:ext>
            </a:extLst>
          </p:cNvPr>
          <p:cNvSpPr/>
          <p:nvPr/>
        </p:nvSpPr>
        <p:spPr>
          <a:xfrm>
            <a:off x="882835" y="4432339"/>
            <a:ext cx="10829717" cy="153005"/>
          </a:xfrm>
          <a:prstGeom prst="roundRect">
            <a:avLst>
              <a:gd name="adj" fmla="val 50000"/>
            </a:avLst>
          </a:prstGeom>
          <a:solidFill>
            <a:srgbClr val="DDF4FF"/>
          </a:solidFill>
          <a:effectLst>
            <a:outerShdw dist="114300" dir="8400000" algn="tr" rotWithShape="0">
              <a:prstClr val="black">
                <a:alpha val="4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350" name="Group 349">
            <a:extLst>
              <a:ext uri="{FF2B5EF4-FFF2-40B4-BE49-F238E27FC236}">
                <a16:creationId xmlns:a16="http://schemas.microsoft.com/office/drawing/2014/main" id="{4515875A-EA0E-4287-ADB1-9818D13AE76B}"/>
              </a:ext>
            </a:extLst>
          </p:cNvPr>
          <p:cNvGrpSpPr/>
          <p:nvPr/>
        </p:nvGrpSpPr>
        <p:grpSpPr>
          <a:xfrm>
            <a:off x="663885" y="4219215"/>
            <a:ext cx="2043363" cy="1401080"/>
            <a:chOff x="4468700" y="2100924"/>
            <a:chExt cx="2043363" cy="1401080"/>
          </a:xfrm>
        </p:grpSpPr>
        <p:sp>
          <p:nvSpPr>
            <p:cNvPr id="351" name="Text Placeholder 2">
              <a:extLst>
                <a:ext uri="{FF2B5EF4-FFF2-40B4-BE49-F238E27FC236}">
                  <a16:creationId xmlns:a16="http://schemas.microsoft.com/office/drawing/2014/main" id="{2D3785BF-B9F7-405C-A7F2-144498B3FF96}"/>
                </a:ext>
              </a:extLst>
            </p:cNvPr>
            <p:cNvSpPr txBox="1">
              <a:spLocks/>
            </p:cNvSpPr>
            <p:nvPr/>
          </p:nvSpPr>
          <p:spPr>
            <a:xfrm>
              <a:off x="4468700" y="2855673"/>
              <a:ext cx="2043363"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85000"/>
                      <a:lumOff val="15000"/>
                    </a:schemeClr>
                  </a:solidFill>
                </a:rPr>
                <a:t>Lorem Ipsum is simply dummy text of the printing and typesetting industry.</a:t>
              </a:r>
            </a:p>
          </p:txBody>
        </p:sp>
        <p:grpSp>
          <p:nvGrpSpPr>
            <p:cNvPr id="352" name="Group 351">
              <a:extLst>
                <a:ext uri="{FF2B5EF4-FFF2-40B4-BE49-F238E27FC236}">
                  <a16:creationId xmlns:a16="http://schemas.microsoft.com/office/drawing/2014/main" id="{654B359D-ABCC-43BA-AFD4-EEED25013EE0}"/>
                </a:ext>
              </a:extLst>
            </p:cNvPr>
            <p:cNvGrpSpPr/>
            <p:nvPr/>
          </p:nvGrpSpPr>
          <p:grpSpPr>
            <a:xfrm>
              <a:off x="4468701" y="2100924"/>
              <a:ext cx="643132" cy="579252"/>
              <a:chOff x="4468701" y="2100924"/>
              <a:chExt cx="643132" cy="579252"/>
            </a:xfrm>
          </p:grpSpPr>
          <p:grpSp>
            <p:nvGrpSpPr>
              <p:cNvPr id="353" name="Group 352">
                <a:extLst>
                  <a:ext uri="{FF2B5EF4-FFF2-40B4-BE49-F238E27FC236}">
                    <a16:creationId xmlns:a16="http://schemas.microsoft.com/office/drawing/2014/main" id="{F25FAE16-CD2A-4E27-A53A-7D1041CE6E11}"/>
                  </a:ext>
                </a:extLst>
              </p:cNvPr>
              <p:cNvGrpSpPr/>
              <p:nvPr/>
            </p:nvGrpSpPr>
            <p:grpSpPr>
              <a:xfrm>
                <a:off x="4468701" y="2100924"/>
                <a:ext cx="643132" cy="579252"/>
                <a:chOff x="5035809" y="4247797"/>
                <a:chExt cx="394930" cy="355704"/>
              </a:xfrm>
            </p:grpSpPr>
            <p:sp>
              <p:nvSpPr>
                <p:cNvPr id="355" name="Oval 354">
                  <a:extLst>
                    <a:ext uri="{FF2B5EF4-FFF2-40B4-BE49-F238E27FC236}">
                      <a16:creationId xmlns:a16="http://schemas.microsoft.com/office/drawing/2014/main" id="{D6493BAB-6CC5-46BF-9BAA-CDA247185221}"/>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56" name="Oval 355">
                  <a:extLst>
                    <a:ext uri="{FF2B5EF4-FFF2-40B4-BE49-F238E27FC236}">
                      <a16:creationId xmlns:a16="http://schemas.microsoft.com/office/drawing/2014/main" id="{D875049D-B2A1-416C-ABF4-BD7E4D092E79}"/>
                    </a:ext>
                  </a:extLst>
                </p:cNvPr>
                <p:cNvSpPr/>
                <p:nvPr/>
              </p:nvSpPr>
              <p:spPr>
                <a:xfrm>
                  <a:off x="5035809" y="4247797"/>
                  <a:ext cx="355703" cy="355704"/>
                </a:xfrm>
                <a:prstGeom prst="ellipse">
                  <a:avLst/>
                </a:prstGeom>
                <a:noFill/>
                <a:ln>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54" name="TextBox 353">
                <a:extLst>
                  <a:ext uri="{FF2B5EF4-FFF2-40B4-BE49-F238E27FC236}">
                    <a16:creationId xmlns:a16="http://schemas.microsoft.com/office/drawing/2014/main" id="{B5091BD2-4C77-4486-B59C-ED5325FD9C29}"/>
                  </a:ext>
                </a:extLst>
              </p:cNvPr>
              <p:cNvSpPr txBox="1"/>
              <p:nvPr/>
            </p:nvSpPr>
            <p:spPr>
              <a:xfrm>
                <a:off x="4681547" y="2236662"/>
                <a:ext cx="129844" cy="307777"/>
              </a:xfrm>
              <a:prstGeom prst="rect">
                <a:avLst/>
              </a:prstGeom>
              <a:noFill/>
            </p:spPr>
            <p:txBody>
              <a:bodyPr wrap="none" lIns="0" tIns="0" rIns="0" bIns="0" rtlCol="0">
                <a:spAutoFit/>
              </a:bodyPr>
              <a:lstStyle/>
              <a:p>
                <a:pPr algn="ctr"/>
                <a:r>
                  <a:rPr lang="en-ID" sz="2000" b="1" i="1" dirty="0">
                    <a:solidFill>
                      <a:srgbClr val="008BD0"/>
                    </a:solidFill>
                  </a:rPr>
                  <a:t>1</a:t>
                </a:r>
              </a:p>
            </p:txBody>
          </p:sp>
        </p:grpSp>
      </p:grpSp>
      <p:grpSp>
        <p:nvGrpSpPr>
          <p:cNvPr id="357" name="Group 356">
            <a:extLst>
              <a:ext uri="{FF2B5EF4-FFF2-40B4-BE49-F238E27FC236}">
                <a16:creationId xmlns:a16="http://schemas.microsoft.com/office/drawing/2014/main" id="{0636DF34-BF7B-40C0-B48E-60E200610C42}"/>
              </a:ext>
            </a:extLst>
          </p:cNvPr>
          <p:cNvGrpSpPr/>
          <p:nvPr/>
        </p:nvGrpSpPr>
        <p:grpSpPr>
          <a:xfrm>
            <a:off x="2869101" y="4219215"/>
            <a:ext cx="2043363" cy="1401080"/>
            <a:chOff x="4468700" y="2100924"/>
            <a:chExt cx="2043363" cy="1401080"/>
          </a:xfrm>
        </p:grpSpPr>
        <p:sp>
          <p:nvSpPr>
            <p:cNvPr id="358" name="Text Placeholder 2">
              <a:extLst>
                <a:ext uri="{FF2B5EF4-FFF2-40B4-BE49-F238E27FC236}">
                  <a16:creationId xmlns:a16="http://schemas.microsoft.com/office/drawing/2014/main" id="{3957E824-17F3-4DCC-802C-6CD832A64DA9}"/>
                </a:ext>
              </a:extLst>
            </p:cNvPr>
            <p:cNvSpPr txBox="1">
              <a:spLocks/>
            </p:cNvSpPr>
            <p:nvPr/>
          </p:nvSpPr>
          <p:spPr>
            <a:xfrm>
              <a:off x="4468700" y="2855673"/>
              <a:ext cx="2043363"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85000"/>
                      <a:lumOff val="15000"/>
                    </a:schemeClr>
                  </a:solidFill>
                </a:rPr>
                <a:t>Lorem Ipsum is simply dummy text of the printing and typesetting industry.</a:t>
              </a:r>
            </a:p>
          </p:txBody>
        </p:sp>
        <p:grpSp>
          <p:nvGrpSpPr>
            <p:cNvPr id="359" name="Group 358">
              <a:extLst>
                <a:ext uri="{FF2B5EF4-FFF2-40B4-BE49-F238E27FC236}">
                  <a16:creationId xmlns:a16="http://schemas.microsoft.com/office/drawing/2014/main" id="{937DF75E-5F35-49D4-BBFC-848D1F228808}"/>
                </a:ext>
              </a:extLst>
            </p:cNvPr>
            <p:cNvGrpSpPr/>
            <p:nvPr/>
          </p:nvGrpSpPr>
          <p:grpSpPr>
            <a:xfrm>
              <a:off x="4468701" y="2100924"/>
              <a:ext cx="643132" cy="579252"/>
              <a:chOff x="4468701" y="2100924"/>
              <a:chExt cx="643132" cy="579252"/>
            </a:xfrm>
          </p:grpSpPr>
          <p:grpSp>
            <p:nvGrpSpPr>
              <p:cNvPr id="360" name="Group 359">
                <a:extLst>
                  <a:ext uri="{FF2B5EF4-FFF2-40B4-BE49-F238E27FC236}">
                    <a16:creationId xmlns:a16="http://schemas.microsoft.com/office/drawing/2014/main" id="{230EB677-7E27-4BE8-8BB9-B1C6E9C88C59}"/>
                  </a:ext>
                </a:extLst>
              </p:cNvPr>
              <p:cNvGrpSpPr/>
              <p:nvPr/>
            </p:nvGrpSpPr>
            <p:grpSpPr>
              <a:xfrm>
                <a:off x="4468701" y="2100924"/>
                <a:ext cx="643132" cy="579252"/>
                <a:chOff x="5035809" y="4247797"/>
                <a:chExt cx="394930" cy="355704"/>
              </a:xfrm>
            </p:grpSpPr>
            <p:sp>
              <p:nvSpPr>
                <p:cNvPr id="362" name="Oval 361">
                  <a:extLst>
                    <a:ext uri="{FF2B5EF4-FFF2-40B4-BE49-F238E27FC236}">
                      <a16:creationId xmlns:a16="http://schemas.microsoft.com/office/drawing/2014/main" id="{481D399F-1A15-4FB8-B0C2-BC9D078FA943}"/>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63" name="Oval 362">
                  <a:extLst>
                    <a:ext uri="{FF2B5EF4-FFF2-40B4-BE49-F238E27FC236}">
                      <a16:creationId xmlns:a16="http://schemas.microsoft.com/office/drawing/2014/main" id="{6F66C1C1-65E9-45AE-A215-E556DFD86CDD}"/>
                    </a:ext>
                  </a:extLst>
                </p:cNvPr>
                <p:cNvSpPr/>
                <p:nvPr/>
              </p:nvSpPr>
              <p:spPr>
                <a:xfrm>
                  <a:off x="5035809" y="4247797"/>
                  <a:ext cx="355703" cy="355704"/>
                </a:xfrm>
                <a:prstGeom prst="ellipse">
                  <a:avLst/>
                </a:prstGeom>
                <a:noFill/>
                <a:ln>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61" name="TextBox 360">
                <a:extLst>
                  <a:ext uri="{FF2B5EF4-FFF2-40B4-BE49-F238E27FC236}">
                    <a16:creationId xmlns:a16="http://schemas.microsoft.com/office/drawing/2014/main" id="{BD15109A-8DB8-4491-BD33-EFEF23B6AA2A}"/>
                  </a:ext>
                </a:extLst>
              </p:cNvPr>
              <p:cNvSpPr txBox="1"/>
              <p:nvPr/>
            </p:nvSpPr>
            <p:spPr>
              <a:xfrm>
                <a:off x="4706249" y="2236662"/>
                <a:ext cx="129844" cy="307777"/>
              </a:xfrm>
              <a:prstGeom prst="rect">
                <a:avLst/>
              </a:prstGeom>
              <a:noFill/>
            </p:spPr>
            <p:txBody>
              <a:bodyPr wrap="none" lIns="0" tIns="0" rIns="0" bIns="0" rtlCol="0">
                <a:spAutoFit/>
              </a:bodyPr>
              <a:lstStyle/>
              <a:p>
                <a:pPr algn="ctr"/>
                <a:r>
                  <a:rPr lang="en-ID" sz="2000" b="1" i="1" dirty="0">
                    <a:solidFill>
                      <a:srgbClr val="008BD0"/>
                    </a:solidFill>
                  </a:rPr>
                  <a:t>2</a:t>
                </a:r>
              </a:p>
            </p:txBody>
          </p:sp>
        </p:grpSp>
      </p:grpSp>
      <p:grpSp>
        <p:nvGrpSpPr>
          <p:cNvPr id="364" name="Group 363">
            <a:extLst>
              <a:ext uri="{FF2B5EF4-FFF2-40B4-BE49-F238E27FC236}">
                <a16:creationId xmlns:a16="http://schemas.microsoft.com/office/drawing/2014/main" id="{7B5D590C-12C4-427E-8038-AF76FD7F4814}"/>
              </a:ext>
            </a:extLst>
          </p:cNvPr>
          <p:cNvGrpSpPr/>
          <p:nvPr/>
        </p:nvGrpSpPr>
        <p:grpSpPr>
          <a:xfrm>
            <a:off x="5074317" y="4219215"/>
            <a:ext cx="2043363" cy="1401080"/>
            <a:chOff x="4468700" y="2100924"/>
            <a:chExt cx="2043363" cy="1401080"/>
          </a:xfrm>
        </p:grpSpPr>
        <p:sp>
          <p:nvSpPr>
            <p:cNvPr id="365" name="Text Placeholder 2">
              <a:extLst>
                <a:ext uri="{FF2B5EF4-FFF2-40B4-BE49-F238E27FC236}">
                  <a16:creationId xmlns:a16="http://schemas.microsoft.com/office/drawing/2014/main" id="{B674ABBF-D901-4841-878F-7F837FD2C334}"/>
                </a:ext>
              </a:extLst>
            </p:cNvPr>
            <p:cNvSpPr txBox="1">
              <a:spLocks/>
            </p:cNvSpPr>
            <p:nvPr/>
          </p:nvSpPr>
          <p:spPr>
            <a:xfrm>
              <a:off x="4468700" y="2855673"/>
              <a:ext cx="2043363"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85000"/>
                      <a:lumOff val="15000"/>
                    </a:schemeClr>
                  </a:solidFill>
                </a:rPr>
                <a:t>Lorem Ipsum is simply dummy text of the printing and typesetting industry.</a:t>
              </a:r>
            </a:p>
          </p:txBody>
        </p:sp>
        <p:grpSp>
          <p:nvGrpSpPr>
            <p:cNvPr id="366" name="Group 365">
              <a:extLst>
                <a:ext uri="{FF2B5EF4-FFF2-40B4-BE49-F238E27FC236}">
                  <a16:creationId xmlns:a16="http://schemas.microsoft.com/office/drawing/2014/main" id="{8AB275FF-7B62-4BF1-8200-10F8A5F782A7}"/>
                </a:ext>
              </a:extLst>
            </p:cNvPr>
            <p:cNvGrpSpPr/>
            <p:nvPr/>
          </p:nvGrpSpPr>
          <p:grpSpPr>
            <a:xfrm>
              <a:off x="4468701" y="2100924"/>
              <a:ext cx="643132" cy="579252"/>
              <a:chOff x="4468701" y="2100924"/>
              <a:chExt cx="643132" cy="579252"/>
            </a:xfrm>
          </p:grpSpPr>
          <p:grpSp>
            <p:nvGrpSpPr>
              <p:cNvPr id="367" name="Group 366">
                <a:extLst>
                  <a:ext uri="{FF2B5EF4-FFF2-40B4-BE49-F238E27FC236}">
                    <a16:creationId xmlns:a16="http://schemas.microsoft.com/office/drawing/2014/main" id="{25A30FA2-E3B1-4E22-98A7-8D26E0F85909}"/>
                  </a:ext>
                </a:extLst>
              </p:cNvPr>
              <p:cNvGrpSpPr/>
              <p:nvPr/>
            </p:nvGrpSpPr>
            <p:grpSpPr>
              <a:xfrm>
                <a:off x="4468701" y="2100924"/>
                <a:ext cx="643132" cy="579252"/>
                <a:chOff x="5035809" y="4247797"/>
                <a:chExt cx="394930" cy="355704"/>
              </a:xfrm>
            </p:grpSpPr>
            <p:sp>
              <p:nvSpPr>
                <p:cNvPr id="369" name="Oval 368">
                  <a:extLst>
                    <a:ext uri="{FF2B5EF4-FFF2-40B4-BE49-F238E27FC236}">
                      <a16:creationId xmlns:a16="http://schemas.microsoft.com/office/drawing/2014/main" id="{7BC9B428-0DEF-4099-AF27-BB2DB7AD841D}"/>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70" name="Oval 369">
                  <a:extLst>
                    <a:ext uri="{FF2B5EF4-FFF2-40B4-BE49-F238E27FC236}">
                      <a16:creationId xmlns:a16="http://schemas.microsoft.com/office/drawing/2014/main" id="{0C44B2D9-80D9-4951-ACDA-019FC2B25035}"/>
                    </a:ext>
                  </a:extLst>
                </p:cNvPr>
                <p:cNvSpPr/>
                <p:nvPr/>
              </p:nvSpPr>
              <p:spPr>
                <a:xfrm>
                  <a:off x="5035809" y="4247797"/>
                  <a:ext cx="355703" cy="355704"/>
                </a:xfrm>
                <a:prstGeom prst="ellipse">
                  <a:avLst/>
                </a:prstGeom>
                <a:noFill/>
                <a:ln>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68" name="TextBox 367">
                <a:extLst>
                  <a:ext uri="{FF2B5EF4-FFF2-40B4-BE49-F238E27FC236}">
                    <a16:creationId xmlns:a16="http://schemas.microsoft.com/office/drawing/2014/main" id="{3034887E-731D-4AE1-A3AB-302E7B371872}"/>
                  </a:ext>
                </a:extLst>
              </p:cNvPr>
              <p:cNvSpPr txBox="1"/>
              <p:nvPr/>
            </p:nvSpPr>
            <p:spPr>
              <a:xfrm>
                <a:off x="4666997" y="2236662"/>
                <a:ext cx="129844" cy="307777"/>
              </a:xfrm>
              <a:prstGeom prst="rect">
                <a:avLst/>
              </a:prstGeom>
              <a:noFill/>
            </p:spPr>
            <p:txBody>
              <a:bodyPr wrap="none" lIns="0" tIns="0" rIns="0" bIns="0" rtlCol="0">
                <a:spAutoFit/>
              </a:bodyPr>
              <a:lstStyle/>
              <a:p>
                <a:pPr algn="ctr"/>
                <a:r>
                  <a:rPr lang="en-ID" sz="2000" b="1" i="1" dirty="0">
                    <a:solidFill>
                      <a:srgbClr val="008BD0"/>
                    </a:solidFill>
                  </a:rPr>
                  <a:t>3</a:t>
                </a:r>
              </a:p>
            </p:txBody>
          </p:sp>
        </p:grpSp>
      </p:grpSp>
      <p:grpSp>
        <p:nvGrpSpPr>
          <p:cNvPr id="371" name="Group 370">
            <a:extLst>
              <a:ext uri="{FF2B5EF4-FFF2-40B4-BE49-F238E27FC236}">
                <a16:creationId xmlns:a16="http://schemas.microsoft.com/office/drawing/2014/main" id="{10340F96-5F7D-4779-9F0D-1FB6FF034667}"/>
              </a:ext>
            </a:extLst>
          </p:cNvPr>
          <p:cNvGrpSpPr/>
          <p:nvPr/>
        </p:nvGrpSpPr>
        <p:grpSpPr>
          <a:xfrm>
            <a:off x="7279533" y="4219215"/>
            <a:ext cx="2043363" cy="1401080"/>
            <a:chOff x="4468700" y="2100924"/>
            <a:chExt cx="2043363" cy="1401080"/>
          </a:xfrm>
        </p:grpSpPr>
        <p:sp>
          <p:nvSpPr>
            <p:cNvPr id="372" name="Text Placeholder 2">
              <a:extLst>
                <a:ext uri="{FF2B5EF4-FFF2-40B4-BE49-F238E27FC236}">
                  <a16:creationId xmlns:a16="http://schemas.microsoft.com/office/drawing/2014/main" id="{3D4CA65D-E1B8-45F9-985B-AB6ED4A6A299}"/>
                </a:ext>
              </a:extLst>
            </p:cNvPr>
            <p:cNvSpPr txBox="1">
              <a:spLocks/>
            </p:cNvSpPr>
            <p:nvPr/>
          </p:nvSpPr>
          <p:spPr>
            <a:xfrm>
              <a:off x="4468700" y="2855673"/>
              <a:ext cx="2043363"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85000"/>
                      <a:lumOff val="15000"/>
                    </a:schemeClr>
                  </a:solidFill>
                </a:rPr>
                <a:t>Lorem Ipsum is simply dummy text of the printing and typesetting industry.</a:t>
              </a:r>
            </a:p>
          </p:txBody>
        </p:sp>
        <p:grpSp>
          <p:nvGrpSpPr>
            <p:cNvPr id="373" name="Group 372">
              <a:extLst>
                <a:ext uri="{FF2B5EF4-FFF2-40B4-BE49-F238E27FC236}">
                  <a16:creationId xmlns:a16="http://schemas.microsoft.com/office/drawing/2014/main" id="{042C4D30-E993-4C34-9307-F6322740E6EB}"/>
                </a:ext>
              </a:extLst>
            </p:cNvPr>
            <p:cNvGrpSpPr/>
            <p:nvPr/>
          </p:nvGrpSpPr>
          <p:grpSpPr>
            <a:xfrm>
              <a:off x="4468701" y="2100924"/>
              <a:ext cx="643132" cy="579252"/>
              <a:chOff x="4468701" y="2100924"/>
              <a:chExt cx="643132" cy="579252"/>
            </a:xfrm>
          </p:grpSpPr>
          <p:grpSp>
            <p:nvGrpSpPr>
              <p:cNvPr id="374" name="Group 373">
                <a:extLst>
                  <a:ext uri="{FF2B5EF4-FFF2-40B4-BE49-F238E27FC236}">
                    <a16:creationId xmlns:a16="http://schemas.microsoft.com/office/drawing/2014/main" id="{AA36C457-76C3-4D63-8227-8CB657BBDC20}"/>
                  </a:ext>
                </a:extLst>
              </p:cNvPr>
              <p:cNvGrpSpPr/>
              <p:nvPr/>
            </p:nvGrpSpPr>
            <p:grpSpPr>
              <a:xfrm>
                <a:off x="4468701" y="2100924"/>
                <a:ext cx="643132" cy="579252"/>
                <a:chOff x="5035809" y="4247797"/>
                <a:chExt cx="394930" cy="355704"/>
              </a:xfrm>
            </p:grpSpPr>
            <p:sp>
              <p:nvSpPr>
                <p:cNvPr id="376" name="Oval 375">
                  <a:extLst>
                    <a:ext uri="{FF2B5EF4-FFF2-40B4-BE49-F238E27FC236}">
                      <a16:creationId xmlns:a16="http://schemas.microsoft.com/office/drawing/2014/main" id="{668EF6ED-950E-4CFF-AC2C-3C6BB5902FEE}"/>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77" name="Oval 376">
                  <a:extLst>
                    <a:ext uri="{FF2B5EF4-FFF2-40B4-BE49-F238E27FC236}">
                      <a16:creationId xmlns:a16="http://schemas.microsoft.com/office/drawing/2014/main" id="{FD269698-FFC7-4418-97CF-EEF978EE0CAB}"/>
                    </a:ext>
                  </a:extLst>
                </p:cNvPr>
                <p:cNvSpPr/>
                <p:nvPr/>
              </p:nvSpPr>
              <p:spPr>
                <a:xfrm>
                  <a:off x="5035809" y="4247797"/>
                  <a:ext cx="355703" cy="355704"/>
                </a:xfrm>
                <a:prstGeom prst="ellipse">
                  <a:avLst/>
                </a:prstGeom>
                <a:noFill/>
                <a:ln>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75" name="TextBox 374">
                <a:extLst>
                  <a:ext uri="{FF2B5EF4-FFF2-40B4-BE49-F238E27FC236}">
                    <a16:creationId xmlns:a16="http://schemas.microsoft.com/office/drawing/2014/main" id="{D51A42CA-F054-4150-9635-439BF3FB1F3A}"/>
                  </a:ext>
                </a:extLst>
              </p:cNvPr>
              <p:cNvSpPr txBox="1"/>
              <p:nvPr/>
            </p:nvSpPr>
            <p:spPr>
              <a:xfrm>
                <a:off x="4693165" y="2236662"/>
                <a:ext cx="129844" cy="307777"/>
              </a:xfrm>
              <a:prstGeom prst="rect">
                <a:avLst/>
              </a:prstGeom>
              <a:noFill/>
            </p:spPr>
            <p:txBody>
              <a:bodyPr wrap="none" lIns="0" tIns="0" rIns="0" bIns="0" rtlCol="0">
                <a:spAutoFit/>
              </a:bodyPr>
              <a:lstStyle/>
              <a:p>
                <a:pPr algn="ctr"/>
                <a:r>
                  <a:rPr lang="en-ID" sz="2000" b="1" i="1" dirty="0">
                    <a:solidFill>
                      <a:srgbClr val="008BD0"/>
                    </a:solidFill>
                  </a:rPr>
                  <a:t>4</a:t>
                </a:r>
              </a:p>
            </p:txBody>
          </p:sp>
        </p:grpSp>
      </p:grpSp>
      <p:grpSp>
        <p:nvGrpSpPr>
          <p:cNvPr id="378" name="Group 377">
            <a:extLst>
              <a:ext uri="{FF2B5EF4-FFF2-40B4-BE49-F238E27FC236}">
                <a16:creationId xmlns:a16="http://schemas.microsoft.com/office/drawing/2014/main" id="{9F9504F7-EC89-475F-A923-33F2017EE7E9}"/>
              </a:ext>
            </a:extLst>
          </p:cNvPr>
          <p:cNvGrpSpPr/>
          <p:nvPr/>
        </p:nvGrpSpPr>
        <p:grpSpPr>
          <a:xfrm>
            <a:off x="9484751" y="4219215"/>
            <a:ext cx="2043363" cy="1401080"/>
            <a:chOff x="4468700" y="2100924"/>
            <a:chExt cx="2043363" cy="1401080"/>
          </a:xfrm>
        </p:grpSpPr>
        <p:sp>
          <p:nvSpPr>
            <p:cNvPr id="379" name="Text Placeholder 2">
              <a:extLst>
                <a:ext uri="{FF2B5EF4-FFF2-40B4-BE49-F238E27FC236}">
                  <a16:creationId xmlns:a16="http://schemas.microsoft.com/office/drawing/2014/main" id="{CB9D813B-6F32-4948-A8BC-33FC0F2B3A5A}"/>
                </a:ext>
              </a:extLst>
            </p:cNvPr>
            <p:cNvSpPr txBox="1">
              <a:spLocks/>
            </p:cNvSpPr>
            <p:nvPr/>
          </p:nvSpPr>
          <p:spPr>
            <a:xfrm>
              <a:off x="4468700" y="2855673"/>
              <a:ext cx="2043363"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400" dirty="0">
                  <a:solidFill>
                    <a:schemeClr val="tx1">
                      <a:lumMod val="85000"/>
                      <a:lumOff val="15000"/>
                    </a:schemeClr>
                  </a:solidFill>
                </a:rPr>
                <a:t>Lorem Ipsum is simply dummy text of the printing and typesetting industry.</a:t>
              </a:r>
            </a:p>
          </p:txBody>
        </p:sp>
        <p:grpSp>
          <p:nvGrpSpPr>
            <p:cNvPr id="380" name="Group 379">
              <a:extLst>
                <a:ext uri="{FF2B5EF4-FFF2-40B4-BE49-F238E27FC236}">
                  <a16:creationId xmlns:a16="http://schemas.microsoft.com/office/drawing/2014/main" id="{FF3C4E58-1E56-4DC6-8BD5-F9FD53FA6293}"/>
                </a:ext>
              </a:extLst>
            </p:cNvPr>
            <p:cNvGrpSpPr/>
            <p:nvPr/>
          </p:nvGrpSpPr>
          <p:grpSpPr>
            <a:xfrm>
              <a:off x="4468701" y="2100924"/>
              <a:ext cx="643132" cy="579252"/>
              <a:chOff x="4468701" y="2100924"/>
              <a:chExt cx="643132" cy="579252"/>
            </a:xfrm>
          </p:grpSpPr>
          <p:grpSp>
            <p:nvGrpSpPr>
              <p:cNvPr id="381" name="Group 380">
                <a:extLst>
                  <a:ext uri="{FF2B5EF4-FFF2-40B4-BE49-F238E27FC236}">
                    <a16:creationId xmlns:a16="http://schemas.microsoft.com/office/drawing/2014/main" id="{1C292CF8-7EBC-42F8-95BA-0897D314A632}"/>
                  </a:ext>
                </a:extLst>
              </p:cNvPr>
              <p:cNvGrpSpPr/>
              <p:nvPr/>
            </p:nvGrpSpPr>
            <p:grpSpPr>
              <a:xfrm>
                <a:off x="4468701" y="2100924"/>
                <a:ext cx="643132" cy="579252"/>
                <a:chOff x="5035809" y="4247797"/>
                <a:chExt cx="394930" cy="355704"/>
              </a:xfrm>
            </p:grpSpPr>
            <p:sp>
              <p:nvSpPr>
                <p:cNvPr id="383" name="Oval 382">
                  <a:extLst>
                    <a:ext uri="{FF2B5EF4-FFF2-40B4-BE49-F238E27FC236}">
                      <a16:creationId xmlns:a16="http://schemas.microsoft.com/office/drawing/2014/main" id="{DE5D3117-36FF-402E-82D1-DA569DA9FC5C}"/>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84" name="Oval 383">
                  <a:extLst>
                    <a:ext uri="{FF2B5EF4-FFF2-40B4-BE49-F238E27FC236}">
                      <a16:creationId xmlns:a16="http://schemas.microsoft.com/office/drawing/2014/main" id="{BE43A317-746D-4439-BC4E-8ECC1A9B128D}"/>
                    </a:ext>
                  </a:extLst>
                </p:cNvPr>
                <p:cNvSpPr/>
                <p:nvPr/>
              </p:nvSpPr>
              <p:spPr>
                <a:xfrm>
                  <a:off x="5035809" y="4247797"/>
                  <a:ext cx="355703" cy="355704"/>
                </a:xfrm>
                <a:prstGeom prst="ellipse">
                  <a:avLst/>
                </a:prstGeom>
                <a:noFill/>
                <a:ln>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382" name="TextBox 381">
                <a:extLst>
                  <a:ext uri="{FF2B5EF4-FFF2-40B4-BE49-F238E27FC236}">
                    <a16:creationId xmlns:a16="http://schemas.microsoft.com/office/drawing/2014/main" id="{AAE6D467-B7AE-466C-A7F4-4186A2518F1F}"/>
                  </a:ext>
                </a:extLst>
              </p:cNvPr>
              <p:cNvSpPr txBox="1"/>
              <p:nvPr/>
            </p:nvSpPr>
            <p:spPr>
              <a:xfrm>
                <a:off x="4672911" y="2236662"/>
                <a:ext cx="129844" cy="307777"/>
              </a:xfrm>
              <a:prstGeom prst="rect">
                <a:avLst/>
              </a:prstGeom>
              <a:noFill/>
            </p:spPr>
            <p:txBody>
              <a:bodyPr wrap="none" lIns="0" tIns="0" rIns="0" bIns="0" rtlCol="0">
                <a:spAutoFit/>
              </a:bodyPr>
              <a:lstStyle/>
              <a:p>
                <a:pPr algn="ctr"/>
                <a:r>
                  <a:rPr lang="en-ID" sz="2000" b="1" i="1" dirty="0">
                    <a:solidFill>
                      <a:srgbClr val="008BD0"/>
                    </a:solidFill>
                  </a:rPr>
                  <a:t>5</a:t>
                </a:r>
              </a:p>
            </p:txBody>
          </p:sp>
        </p:grpSp>
      </p:grpSp>
      <p:sp>
        <p:nvSpPr>
          <p:cNvPr id="2" name="Slide Number Placeholder 1">
            <a:extLst>
              <a:ext uri="{FF2B5EF4-FFF2-40B4-BE49-F238E27FC236}">
                <a16:creationId xmlns:a16="http://schemas.microsoft.com/office/drawing/2014/main" id="{603F4D6F-CB75-4301-B3FC-E835A8BE2D2A}"/>
              </a:ext>
            </a:extLst>
          </p:cNvPr>
          <p:cNvSpPr>
            <a:spLocks noGrp="1"/>
          </p:cNvSpPr>
          <p:nvPr>
            <p:ph type="sldNum" sz="quarter" idx="12"/>
          </p:nvPr>
        </p:nvSpPr>
        <p:spPr/>
        <p:txBody>
          <a:bodyPr/>
          <a:lstStyle/>
          <a:p>
            <a:fld id="{89CD6E39-4852-418B-BA35-BEEEB494AB9E}" type="slidenum">
              <a:rPr lang="en-US" smtClean="0"/>
              <a:t>7</a:t>
            </a:fld>
            <a:endParaRPr lang="en-US"/>
          </a:p>
        </p:txBody>
      </p:sp>
    </p:spTree>
    <p:extLst>
      <p:ext uri="{BB962C8B-B14F-4D97-AF65-F5344CB8AC3E}">
        <p14:creationId xmlns:p14="http://schemas.microsoft.com/office/powerpoint/2010/main" val="2877706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91A217-E5D6-43D3-8356-83FB68E18D5E}"/>
              </a:ext>
            </a:extLst>
          </p:cNvPr>
          <p:cNvGraphicFramePr>
            <a:graphicFrameLocks noChangeAspect="1"/>
          </p:cNvGraphicFramePr>
          <p:nvPr>
            <p:custDataLst>
              <p:tags r:id="rId2"/>
            </p:custDataLst>
            <p:extLst>
              <p:ext uri="{D42A27DB-BD31-4B8C-83A1-F6EECF244321}">
                <p14:modId xmlns:p14="http://schemas.microsoft.com/office/powerpoint/2010/main" val="378526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3"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06DA48-2C32-4B01-B8F3-02A5334782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1839F4FF-FCDC-4064-BD2E-8D612A7BA56A}"/>
              </a:ext>
            </a:extLst>
          </p:cNvPr>
          <p:cNvSpPr>
            <a:spLocks noGrp="1"/>
          </p:cNvSpPr>
          <p:nvPr>
            <p:ph type="title"/>
          </p:nvPr>
        </p:nvSpPr>
        <p:spPr/>
        <p:txBody>
          <a:bodyPr>
            <a:noAutofit/>
          </a:bodyPr>
          <a:lstStyle/>
          <a:p>
            <a:pPr algn="ctr"/>
            <a:r>
              <a:rPr lang="en-US" sz="3600" dirty="0">
                <a:solidFill>
                  <a:srgbClr val="FB5252"/>
                </a:solidFill>
              </a:rPr>
              <a:t>Tips for Learning Languages Effectively</a:t>
            </a:r>
          </a:p>
        </p:txBody>
      </p:sp>
      <p:sp>
        <p:nvSpPr>
          <p:cNvPr id="6" name="Oval 5">
            <a:extLst>
              <a:ext uri="{FF2B5EF4-FFF2-40B4-BE49-F238E27FC236}">
                <a16:creationId xmlns:a16="http://schemas.microsoft.com/office/drawing/2014/main" id="{24DD0B5A-3957-4E48-BB6D-8F571D710A6E}"/>
              </a:ext>
            </a:extLst>
          </p:cNvPr>
          <p:cNvSpPr/>
          <p:nvPr/>
        </p:nvSpPr>
        <p:spPr>
          <a:xfrm>
            <a:off x="4280058" y="2100262"/>
            <a:ext cx="3631884" cy="3631884"/>
          </a:xfrm>
          <a:prstGeom prst="ellipse">
            <a:avLst/>
          </a:prstGeom>
          <a:gradFill>
            <a:gsLst>
              <a:gs pos="100000">
                <a:srgbClr val="006496"/>
              </a:gs>
              <a:gs pos="49000">
                <a:srgbClr val="0077B5"/>
              </a:gs>
            </a:gsLst>
            <a:lin ang="5400000" scaled="1"/>
          </a:gradFill>
          <a:ln>
            <a:noFill/>
          </a:ln>
          <a:effectLst>
            <a:innerShdw blurRad="114300">
              <a:prstClr val="black">
                <a:alpha val="2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1" name="Group 210">
            <a:extLst>
              <a:ext uri="{FF2B5EF4-FFF2-40B4-BE49-F238E27FC236}">
                <a16:creationId xmlns:a16="http://schemas.microsoft.com/office/drawing/2014/main" id="{255538A4-A9E7-40C9-A00D-CD05ED6C9652}"/>
              </a:ext>
            </a:extLst>
          </p:cNvPr>
          <p:cNvGrpSpPr/>
          <p:nvPr/>
        </p:nvGrpSpPr>
        <p:grpSpPr>
          <a:xfrm>
            <a:off x="3602892" y="1424548"/>
            <a:ext cx="5015242" cy="4983312"/>
            <a:chOff x="3830858" y="1491405"/>
            <a:chExt cx="4559311" cy="4530284"/>
          </a:xfrm>
        </p:grpSpPr>
        <p:sp>
          <p:nvSpPr>
            <p:cNvPr id="7" name="Arc 6">
              <a:extLst>
                <a:ext uri="{FF2B5EF4-FFF2-40B4-BE49-F238E27FC236}">
                  <a16:creationId xmlns:a16="http://schemas.microsoft.com/office/drawing/2014/main" id="{5F066A57-B54D-417B-9C8D-A622A6814F8A}"/>
                </a:ext>
              </a:extLst>
            </p:cNvPr>
            <p:cNvSpPr/>
            <p:nvPr/>
          </p:nvSpPr>
          <p:spPr>
            <a:xfrm>
              <a:off x="3859885" y="1491405"/>
              <a:ext cx="4530284" cy="4530284"/>
            </a:xfrm>
            <a:prstGeom prst="arc">
              <a:avLst>
                <a:gd name="adj1" fmla="val 17211710"/>
                <a:gd name="adj2" fmla="val 4178510"/>
              </a:avLst>
            </a:prstGeom>
            <a:ln w="12700">
              <a:solidFill>
                <a:srgbClr val="0075B0"/>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Arc 7">
              <a:extLst>
                <a:ext uri="{FF2B5EF4-FFF2-40B4-BE49-F238E27FC236}">
                  <a16:creationId xmlns:a16="http://schemas.microsoft.com/office/drawing/2014/main" id="{22BAB337-3EC8-46D4-AB0E-5384FFBFE501}"/>
                </a:ext>
              </a:extLst>
            </p:cNvPr>
            <p:cNvSpPr/>
            <p:nvPr/>
          </p:nvSpPr>
          <p:spPr>
            <a:xfrm flipH="1">
              <a:off x="3830858" y="1491405"/>
              <a:ext cx="4530284" cy="4530284"/>
            </a:xfrm>
            <a:prstGeom prst="arc">
              <a:avLst>
                <a:gd name="adj1" fmla="val 17211710"/>
                <a:gd name="adj2" fmla="val 4178510"/>
              </a:avLst>
            </a:prstGeom>
            <a:ln w="12700">
              <a:solidFill>
                <a:srgbClr val="0075B0"/>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0" name="Group 5">
            <a:extLst>
              <a:ext uri="{FF2B5EF4-FFF2-40B4-BE49-F238E27FC236}">
                <a16:creationId xmlns:a16="http://schemas.microsoft.com/office/drawing/2014/main" id="{6E586B97-1A8F-449F-84E2-DB5B54BB7FE8}"/>
              </a:ext>
            </a:extLst>
          </p:cNvPr>
          <p:cNvGrpSpPr>
            <a:grpSpLocks noChangeAspect="1"/>
          </p:cNvGrpSpPr>
          <p:nvPr/>
        </p:nvGrpSpPr>
        <p:grpSpPr bwMode="auto">
          <a:xfrm>
            <a:off x="4340123" y="2109694"/>
            <a:ext cx="3511754" cy="3424397"/>
            <a:chOff x="1830" y="201"/>
            <a:chExt cx="4020" cy="3920"/>
          </a:xfrm>
        </p:grpSpPr>
        <p:sp>
          <p:nvSpPr>
            <p:cNvPr id="12" name="Freeform 6">
              <a:extLst>
                <a:ext uri="{FF2B5EF4-FFF2-40B4-BE49-F238E27FC236}">
                  <a16:creationId xmlns:a16="http://schemas.microsoft.com/office/drawing/2014/main" id="{3A77A11A-BA78-4A94-8427-5F07716FA285}"/>
                </a:ext>
              </a:extLst>
            </p:cNvPr>
            <p:cNvSpPr>
              <a:spLocks/>
            </p:cNvSpPr>
            <p:nvPr/>
          </p:nvSpPr>
          <p:spPr bwMode="auto">
            <a:xfrm>
              <a:off x="1859" y="899"/>
              <a:ext cx="862" cy="905"/>
            </a:xfrm>
            <a:custGeom>
              <a:avLst/>
              <a:gdLst>
                <a:gd name="T0" fmla="*/ 59 w 363"/>
                <a:gd name="T1" fmla="*/ 0 h 381"/>
                <a:gd name="T2" fmla="*/ 0 w 363"/>
                <a:gd name="T3" fmla="*/ 283 h 381"/>
                <a:gd name="T4" fmla="*/ 98 w 363"/>
                <a:gd name="T5" fmla="*/ 343 h 381"/>
                <a:gd name="T6" fmla="*/ 312 w 363"/>
                <a:gd name="T7" fmla="*/ 381 h 381"/>
                <a:gd name="T8" fmla="*/ 363 w 363"/>
                <a:gd name="T9" fmla="*/ 49 h 381"/>
                <a:gd name="T10" fmla="*/ 59 w 363"/>
                <a:gd name="T11" fmla="*/ 0 h 381"/>
              </a:gdLst>
              <a:ahLst/>
              <a:cxnLst>
                <a:cxn ang="0">
                  <a:pos x="T0" y="T1"/>
                </a:cxn>
                <a:cxn ang="0">
                  <a:pos x="T2" y="T3"/>
                </a:cxn>
                <a:cxn ang="0">
                  <a:pos x="T4" y="T5"/>
                </a:cxn>
                <a:cxn ang="0">
                  <a:pos x="T6" y="T7"/>
                </a:cxn>
                <a:cxn ang="0">
                  <a:pos x="T8" y="T9"/>
                </a:cxn>
                <a:cxn ang="0">
                  <a:pos x="T10" y="T11"/>
                </a:cxn>
              </a:cxnLst>
              <a:rect l="0" t="0" r="r" b="b"/>
              <a:pathLst>
                <a:path w="363" h="381">
                  <a:moveTo>
                    <a:pt x="59" y="0"/>
                  </a:moveTo>
                  <a:cubicBezTo>
                    <a:pt x="0" y="283"/>
                    <a:pt x="0" y="283"/>
                    <a:pt x="0" y="283"/>
                  </a:cubicBezTo>
                  <a:cubicBezTo>
                    <a:pt x="26" y="309"/>
                    <a:pt x="54" y="334"/>
                    <a:pt x="98" y="343"/>
                  </a:cubicBezTo>
                  <a:cubicBezTo>
                    <a:pt x="312" y="381"/>
                    <a:pt x="312" y="381"/>
                    <a:pt x="312" y="381"/>
                  </a:cubicBezTo>
                  <a:cubicBezTo>
                    <a:pt x="363" y="49"/>
                    <a:pt x="363" y="49"/>
                    <a:pt x="363" y="49"/>
                  </a:cubicBezTo>
                  <a:lnTo>
                    <a:pt x="59"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1EA8382-C776-49FA-B2A6-9E39F82897CD}"/>
                </a:ext>
              </a:extLst>
            </p:cNvPr>
            <p:cNvSpPr>
              <a:spLocks/>
            </p:cNvSpPr>
            <p:nvPr/>
          </p:nvSpPr>
          <p:spPr bwMode="auto">
            <a:xfrm>
              <a:off x="1830" y="859"/>
              <a:ext cx="891" cy="902"/>
            </a:xfrm>
            <a:custGeom>
              <a:avLst/>
              <a:gdLst>
                <a:gd name="T0" fmla="*/ 140 w 891"/>
                <a:gd name="T1" fmla="*/ 0 h 902"/>
                <a:gd name="T2" fmla="*/ 0 w 891"/>
                <a:gd name="T3" fmla="*/ 669 h 902"/>
                <a:gd name="T4" fmla="*/ 233 w 891"/>
                <a:gd name="T5" fmla="*/ 814 h 902"/>
                <a:gd name="T6" fmla="*/ 741 w 891"/>
                <a:gd name="T7" fmla="*/ 902 h 902"/>
                <a:gd name="T8" fmla="*/ 891 w 891"/>
                <a:gd name="T9" fmla="*/ 147 h 902"/>
                <a:gd name="T10" fmla="*/ 140 w 891"/>
                <a:gd name="T11" fmla="*/ 0 h 902"/>
              </a:gdLst>
              <a:ahLst/>
              <a:cxnLst>
                <a:cxn ang="0">
                  <a:pos x="T0" y="T1"/>
                </a:cxn>
                <a:cxn ang="0">
                  <a:pos x="T2" y="T3"/>
                </a:cxn>
                <a:cxn ang="0">
                  <a:pos x="T4" y="T5"/>
                </a:cxn>
                <a:cxn ang="0">
                  <a:pos x="T6" y="T7"/>
                </a:cxn>
                <a:cxn ang="0">
                  <a:pos x="T8" y="T9"/>
                </a:cxn>
                <a:cxn ang="0">
                  <a:pos x="T10" y="T11"/>
                </a:cxn>
              </a:cxnLst>
              <a:rect l="0" t="0" r="r" b="b"/>
              <a:pathLst>
                <a:path w="891" h="902">
                  <a:moveTo>
                    <a:pt x="140" y="0"/>
                  </a:moveTo>
                  <a:lnTo>
                    <a:pt x="0" y="669"/>
                  </a:lnTo>
                  <a:lnTo>
                    <a:pt x="233" y="814"/>
                  </a:lnTo>
                  <a:lnTo>
                    <a:pt x="741" y="902"/>
                  </a:lnTo>
                  <a:lnTo>
                    <a:pt x="891" y="147"/>
                  </a:lnTo>
                  <a:lnTo>
                    <a:pt x="14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F46C634F-DF5B-4A06-9CCE-FC48D58C42E8}"/>
                </a:ext>
              </a:extLst>
            </p:cNvPr>
            <p:cNvSpPr>
              <a:spLocks/>
            </p:cNvSpPr>
            <p:nvPr/>
          </p:nvSpPr>
          <p:spPr bwMode="auto">
            <a:xfrm>
              <a:off x="1830" y="1493"/>
              <a:ext cx="233" cy="180"/>
            </a:xfrm>
            <a:custGeom>
              <a:avLst/>
              <a:gdLst>
                <a:gd name="T0" fmla="*/ 40 w 98"/>
                <a:gd name="T1" fmla="*/ 0 h 76"/>
                <a:gd name="T2" fmla="*/ 0 w 98"/>
                <a:gd name="T3" fmla="*/ 15 h 76"/>
                <a:gd name="T4" fmla="*/ 35 w 98"/>
                <a:gd name="T5" fmla="*/ 51 h 76"/>
                <a:gd name="T6" fmla="*/ 98 w 98"/>
                <a:gd name="T7" fmla="*/ 76 h 76"/>
                <a:gd name="T8" fmla="*/ 40 w 98"/>
                <a:gd name="T9" fmla="*/ 0 h 76"/>
              </a:gdLst>
              <a:ahLst/>
              <a:cxnLst>
                <a:cxn ang="0">
                  <a:pos x="T0" y="T1"/>
                </a:cxn>
                <a:cxn ang="0">
                  <a:pos x="T2" y="T3"/>
                </a:cxn>
                <a:cxn ang="0">
                  <a:pos x="T4" y="T5"/>
                </a:cxn>
                <a:cxn ang="0">
                  <a:pos x="T6" y="T7"/>
                </a:cxn>
                <a:cxn ang="0">
                  <a:pos x="T8" y="T9"/>
                </a:cxn>
              </a:cxnLst>
              <a:rect l="0" t="0" r="r" b="b"/>
              <a:pathLst>
                <a:path w="98" h="76">
                  <a:moveTo>
                    <a:pt x="40" y="0"/>
                  </a:moveTo>
                  <a:cubicBezTo>
                    <a:pt x="0" y="15"/>
                    <a:pt x="0" y="15"/>
                    <a:pt x="0" y="15"/>
                  </a:cubicBezTo>
                  <a:cubicBezTo>
                    <a:pt x="0" y="15"/>
                    <a:pt x="14" y="39"/>
                    <a:pt x="35" y="51"/>
                  </a:cubicBezTo>
                  <a:cubicBezTo>
                    <a:pt x="56" y="64"/>
                    <a:pt x="77" y="72"/>
                    <a:pt x="98" y="76"/>
                  </a:cubicBezTo>
                  <a:cubicBezTo>
                    <a:pt x="98" y="76"/>
                    <a:pt x="51" y="53"/>
                    <a:pt x="4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350571A4-D4EA-48D9-BC5E-4FFC72242705}"/>
                </a:ext>
              </a:extLst>
            </p:cNvPr>
            <p:cNvSpPr>
              <a:spLocks/>
            </p:cNvSpPr>
            <p:nvPr/>
          </p:nvSpPr>
          <p:spPr bwMode="auto">
            <a:xfrm>
              <a:off x="1864" y="821"/>
              <a:ext cx="375" cy="183"/>
            </a:xfrm>
            <a:custGeom>
              <a:avLst/>
              <a:gdLst>
                <a:gd name="T0" fmla="*/ 28 w 375"/>
                <a:gd name="T1" fmla="*/ 183 h 183"/>
                <a:gd name="T2" fmla="*/ 375 w 375"/>
                <a:gd name="T3" fmla="*/ 73 h 183"/>
                <a:gd name="T4" fmla="*/ 353 w 375"/>
                <a:gd name="T5" fmla="*/ 0 h 183"/>
                <a:gd name="T6" fmla="*/ 0 w 375"/>
                <a:gd name="T7" fmla="*/ 104 h 183"/>
                <a:gd name="T8" fmla="*/ 28 w 375"/>
                <a:gd name="T9" fmla="*/ 183 h 183"/>
              </a:gdLst>
              <a:ahLst/>
              <a:cxnLst>
                <a:cxn ang="0">
                  <a:pos x="T0" y="T1"/>
                </a:cxn>
                <a:cxn ang="0">
                  <a:pos x="T2" y="T3"/>
                </a:cxn>
                <a:cxn ang="0">
                  <a:pos x="T4" y="T5"/>
                </a:cxn>
                <a:cxn ang="0">
                  <a:pos x="T6" y="T7"/>
                </a:cxn>
                <a:cxn ang="0">
                  <a:pos x="T8" y="T9"/>
                </a:cxn>
              </a:cxnLst>
              <a:rect l="0" t="0" r="r" b="b"/>
              <a:pathLst>
                <a:path w="375" h="183">
                  <a:moveTo>
                    <a:pt x="28" y="183"/>
                  </a:moveTo>
                  <a:lnTo>
                    <a:pt x="375" y="73"/>
                  </a:lnTo>
                  <a:lnTo>
                    <a:pt x="353" y="0"/>
                  </a:lnTo>
                  <a:lnTo>
                    <a:pt x="0" y="104"/>
                  </a:lnTo>
                  <a:lnTo>
                    <a:pt x="28" y="183"/>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7B37756E-BDF7-40FA-B439-182457D4F62E}"/>
                </a:ext>
              </a:extLst>
            </p:cNvPr>
            <p:cNvSpPr>
              <a:spLocks/>
            </p:cNvSpPr>
            <p:nvPr/>
          </p:nvSpPr>
          <p:spPr bwMode="auto">
            <a:xfrm>
              <a:off x="2495" y="901"/>
              <a:ext cx="287" cy="340"/>
            </a:xfrm>
            <a:custGeom>
              <a:avLst/>
              <a:gdLst>
                <a:gd name="T0" fmla="*/ 287 w 287"/>
                <a:gd name="T1" fmla="*/ 285 h 340"/>
                <a:gd name="T2" fmla="*/ 62 w 287"/>
                <a:gd name="T3" fmla="*/ 0 h 340"/>
                <a:gd name="T4" fmla="*/ 0 w 287"/>
                <a:gd name="T5" fmla="*/ 48 h 340"/>
                <a:gd name="T6" fmla="*/ 223 w 287"/>
                <a:gd name="T7" fmla="*/ 340 h 340"/>
                <a:gd name="T8" fmla="*/ 287 w 287"/>
                <a:gd name="T9" fmla="*/ 285 h 340"/>
              </a:gdLst>
              <a:ahLst/>
              <a:cxnLst>
                <a:cxn ang="0">
                  <a:pos x="T0" y="T1"/>
                </a:cxn>
                <a:cxn ang="0">
                  <a:pos x="T2" y="T3"/>
                </a:cxn>
                <a:cxn ang="0">
                  <a:pos x="T4" y="T5"/>
                </a:cxn>
                <a:cxn ang="0">
                  <a:pos x="T6" y="T7"/>
                </a:cxn>
                <a:cxn ang="0">
                  <a:pos x="T8" y="T9"/>
                </a:cxn>
              </a:cxnLst>
              <a:rect l="0" t="0" r="r" b="b"/>
              <a:pathLst>
                <a:path w="287" h="340">
                  <a:moveTo>
                    <a:pt x="287" y="285"/>
                  </a:moveTo>
                  <a:lnTo>
                    <a:pt x="62" y="0"/>
                  </a:lnTo>
                  <a:lnTo>
                    <a:pt x="0" y="48"/>
                  </a:lnTo>
                  <a:lnTo>
                    <a:pt x="223" y="340"/>
                  </a:lnTo>
                  <a:lnTo>
                    <a:pt x="287" y="285"/>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A4EC03C8-8754-4BBE-87CD-B5257DA8A688}"/>
                </a:ext>
              </a:extLst>
            </p:cNvPr>
            <p:cNvSpPr>
              <a:spLocks/>
            </p:cNvSpPr>
            <p:nvPr/>
          </p:nvSpPr>
          <p:spPr bwMode="auto">
            <a:xfrm>
              <a:off x="2018" y="1115"/>
              <a:ext cx="572" cy="114"/>
            </a:xfrm>
            <a:custGeom>
              <a:avLst/>
              <a:gdLst>
                <a:gd name="T0" fmla="*/ 241 w 241"/>
                <a:gd name="T1" fmla="*/ 48 h 48"/>
                <a:gd name="T2" fmla="*/ 121 w 241"/>
                <a:gd name="T3" fmla="*/ 25 h 48"/>
                <a:gd name="T4" fmla="*/ 0 w 241"/>
                <a:gd name="T5" fmla="*/ 1 h 48"/>
                <a:gd name="T6" fmla="*/ 121 w 241"/>
                <a:gd name="T7" fmla="*/ 23 h 48"/>
                <a:gd name="T8" fmla="*/ 241 w 241"/>
                <a:gd name="T9" fmla="*/ 48 h 48"/>
              </a:gdLst>
              <a:ahLst/>
              <a:cxnLst>
                <a:cxn ang="0">
                  <a:pos x="T0" y="T1"/>
                </a:cxn>
                <a:cxn ang="0">
                  <a:pos x="T2" y="T3"/>
                </a:cxn>
                <a:cxn ang="0">
                  <a:pos x="T4" y="T5"/>
                </a:cxn>
                <a:cxn ang="0">
                  <a:pos x="T6" y="T7"/>
                </a:cxn>
                <a:cxn ang="0">
                  <a:pos x="T8" y="T9"/>
                </a:cxn>
              </a:cxnLst>
              <a:rect l="0" t="0" r="r" b="b"/>
              <a:pathLst>
                <a:path w="241" h="48">
                  <a:moveTo>
                    <a:pt x="241" y="48"/>
                  </a:moveTo>
                  <a:cubicBezTo>
                    <a:pt x="241" y="48"/>
                    <a:pt x="187" y="38"/>
                    <a:pt x="121" y="25"/>
                  </a:cubicBezTo>
                  <a:cubicBezTo>
                    <a:pt x="54" y="12"/>
                    <a:pt x="0" y="1"/>
                    <a:pt x="0" y="1"/>
                  </a:cubicBezTo>
                  <a:cubicBezTo>
                    <a:pt x="1" y="0"/>
                    <a:pt x="55" y="10"/>
                    <a:pt x="121" y="23"/>
                  </a:cubicBezTo>
                  <a:cubicBezTo>
                    <a:pt x="188" y="36"/>
                    <a:pt x="241" y="47"/>
                    <a:pt x="24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
              <a:extLst>
                <a:ext uri="{FF2B5EF4-FFF2-40B4-BE49-F238E27FC236}">
                  <a16:creationId xmlns:a16="http://schemas.microsoft.com/office/drawing/2014/main" id="{1835EF10-B732-4DD6-981F-D38C6E77F5EE}"/>
                </a:ext>
              </a:extLst>
            </p:cNvPr>
            <p:cNvSpPr>
              <a:spLocks/>
            </p:cNvSpPr>
            <p:nvPr/>
          </p:nvSpPr>
          <p:spPr bwMode="auto">
            <a:xfrm>
              <a:off x="1997" y="1217"/>
              <a:ext cx="572" cy="117"/>
            </a:xfrm>
            <a:custGeom>
              <a:avLst/>
              <a:gdLst>
                <a:gd name="T0" fmla="*/ 241 w 241"/>
                <a:gd name="T1" fmla="*/ 48 h 49"/>
                <a:gd name="T2" fmla="*/ 120 w 241"/>
                <a:gd name="T3" fmla="*/ 26 h 49"/>
                <a:gd name="T4" fmla="*/ 0 w 241"/>
                <a:gd name="T5" fmla="*/ 1 h 49"/>
                <a:gd name="T6" fmla="*/ 120 w 241"/>
                <a:gd name="T7" fmla="*/ 24 h 49"/>
                <a:gd name="T8" fmla="*/ 241 w 241"/>
                <a:gd name="T9" fmla="*/ 48 h 49"/>
              </a:gdLst>
              <a:ahLst/>
              <a:cxnLst>
                <a:cxn ang="0">
                  <a:pos x="T0" y="T1"/>
                </a:cxn>
                <a:cxn ang="0">
                  <a:pos x="T2" y="T3"/>
                </a:cxn>
                <a:cxn ang="0">
                  <a:pos x="T4" y="T5"/>
                </a:cxn>
                <a:cxn ang="0">
                  <a:pos x="T6" y="T7"/>
                </a:cxn>
                <a:cxn ang="0">
                  <a:pos x="T8" y="T9"/>
                </a:cxn>
              </a:cxnLst>
              <a:rect l="0" t="0" r="r" b="b"/>
              <a:pathLst>
                <a:path w="241" h="49">
                  <a:moveTo>
                    <a:pt x="241" y="48"/>
                  </a:moveTo>
                  <a:cubicBezTo>
                    <a:pt x="241" y="49"/>
                    <a:pt x="187" y="39"/>
                    <a:pt x="120" y="26"/>
                  </a:cubicBezTo>
                  <a:cubicBezTo>
                    <a:pt x="54" y="13"/>
                    <a:pt x="0" y="2"/>
                    <a:pt x="0" y="1"/>
                  </a:cubicBezTo>
                  <a:cubicBezTo>
                    <a:pt x="0" y="0"/>
                    <a:pt x="54" y="11"/>
                    <a:pt x="120" y="24"/>
                  </a:cubicBezTo>
                  <a:cubicBezTo>
                    <a:pt x="187" y="37"/>
                    <a:pt x="241" y="48"/>
                    <a:pt x="24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
              <a:extLst>
                <a:ext uri="{FF2B5EF4-FFF2-40B4-BE49-F238E27FC236}">
                  <a16:creationId xmlns:a16="http://schemas.microsoft.com/office/drawing/2014/main" id="{2447D988-5637-428C-BBF1-2B181BE59099}"/>
                </a:ext>
              </a:extLst>
            </p:cNvPr>
            <p:cNvSpPr>
              <a:spLocks/>
            </p:cNvSpPr>
            <p:nvPr/>
          </p:nvSpPr>
          <p:spPr bwMode="auto">
            <a:xfrm>
              <a:off x="1982" y="1310"/>
              <a:ext cx="572" cy="114"/>
            </a:xfrm>
            <a:custGeom>
              <a:avLst/>
              <a:gdLst>
                <a:gd name="T0" fmla="*/ 241 w 241"/>
                <a:gd name="T1" fmla="*/ 48 h 48"/>
                <a:gd name="T2" fmla="*/ 120 w 241"/>
                <a:gd name="T3" fmla="*/ 25 h 48"/>
                <a:gd name="T4" fmla="*/ 0 w 241"/>
                <a:gd name="T5" fmla="*/ 1 h 48"/>
                <a:gd name="T6" fmla="*/ 120 w 241"/>
                <a:gd name="T7" fmla="*/ 23 h 48"/>
                <a:gd name="T8" fmla="*/ 241 w 241"/>
                <a:gd name="T9" fmla="*/ 48 h 48"/>
              </a:gdLst>
              <a:ahLst/>
              <a:cxnLst>
                <a:cxn ang="0">
                  <a:pos x="T0" y="T1"/>
                </a:cxn>
                <a:cxn ang="0">
                  <a:pos x="T2" y="T3"/>
                </a:cxn>
                <a:cxn ang="0">
                  <a:pos x="T4" y="T5"/>
                </a:cxn>
                <a:cxn ang="0">
                  <a:pos x="T6" y="T7"/>
                </a:cxn>
                <a:cxn ang="0">
                  <a:pos x="T8" y="T9"/>
                </a:cxn>
              </a:cxnLst>
              <a:rect l="0" t="0" r="r" b="b"/>
              <a:pathLst>
                <a:path w="241" h="48">
                  <a:moveTo>
                    <a:pt x="241" y="48"/>
                  </a:moveTo>
                  <a:cubicBezTo>
                    <a:pt x="240" y="48"/>
                    <a:pt x="186" y="38"/>
                    <a:pt x="120" y="25"/>
                  </a:cubicBezTo>
                  <a:cubicBezTo>
                    <a:pt x="53" y="12"/>
                    <a:pt x="0" y="1"/>
                    <a:pt x="0" y="1"/>
                  </a:cubicBezTo>
                  <a:cubicBezTo>
                    <a:pt x="0" y="0"/>
                    <a:pt x="54" y="10"/>
                    <a:pt x="120" y="23"/>
                  </a:cubicBezTo>
                  <a:cubicBezTo>
                    <a:pt x="187" y="36"/>
                    <a:pt x="241" y="47"/>
                    <a:pt x="24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E2F5B32A-E9ED-490B-A800-E551E0A081F9}"/>
                </a:ext>
              </a:extLst>
            </p:cNvPr>
            <p:cNvSpPr>
              <a:spLocks/>
            </p:cNvSpPr>
            <p:nvPr/>
          </p:nvSpPr>
          <p:spPr bwMode="auto">
            <a:xfrm>
              <a:off x="1963" y="1398"/>
              <a:ext cx="572" cy="114"/>
            </a:xfrm>
            <a:custGeom>
              <a:avLst/>
              <a:gdLst>
                <a:gd name="T0" fmla="*/ 241 w 241"/>
                <a:gd name="T1" fmla="*/ 48 h 48"/>
                <a:gd name="T2" fmla="*/ 120 w 241"/>
                <a:gd name="T3" fmla="*/ 25 h 48"/>
                <a:gd name="T4" fmla="*/ 0 w 241"/>
                <a:gd name="T5" fmla="*/ 1 h 48"/>
                <a:gd name="T6" fmla="*/ 121 w 241"/>
                <a:gd name="T7" fmla="*/ 23 h 48"/>
                <a:gd name="T8" fmla="*/ 241 w 241"/>
                <a:gd name="T9" fmla="*/ 48 h 48"/>
              </a:gdLst>
              <a:ahLst/>
              <a:cxnLst>
                <a:cxn ang="0">
                  <a:pos x="T0" y="T1"/>
                </a:cxn>
                <a:cxn ang="0">
                  <a:pos x="T2" y="T3"/>
                </a:cxn>
                <a:cxn ang="0">
                  <a:pos x="T4" y="T5"/>
                </a:cxn>
                <a:cxn ang="0">
                  <a:pos x="T6" y="T7"/>
                </a:cxn>
                <a:cxn ang="0">
                  <a:pos x="T8" y="T9"/>
                </a:cxn>
              </a:cxnLst>
              <a:rect l="0" t="0" r="r" b="b"/>
              <a:pathLst>
                <a:path w="241" h="48">
                  <a:moveTo>
                    <a:pt x="241" y="48"/>
                  </a:moveTo>
                  <a:cubicBezTo>
                    <a:pt x="241" y="48"/>
                    <a:pt x="187" y="38"/>
                    <a:pt x="120" y="25"/>
                  </a:cubicBezTo>
                  <a:cubicBezTo>
                    <a:pt x="54" y="12"/>
                    <a:pt x="0" y="1"/>
                    <a:pt x="0" y="1"/>
                  </a:cubicBezTo>
                  <a:cubicBezTo>
                    <a:pt x="0" y="0"/>
                    <a:pt x="54" y="10"/>
                    <a:pt x="121" y="23"/>
                  </a:cubicBezTo>
                  <a:cubicBezTo>
                    <a:pt x="187" y="36"/>
                    <a:pt x="241" y="47"/>
                    <a:pt x="24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5">
              <a:extLst>
                <a:ext uri="{FF2B5EF4-FFF2-40B4-BE49-F238E27FC236}">
                  <a16:creationId xmlns:a16="http://schemas.microsoft.com/office/drawing/2014/main" id="{4FF6589D-D87D-4A18-8F86-BBD3DC19DD91}"/>
                </a:ext>
              </a:extLst>
            </p:cNvPr>
            <p:cNvSpPr>
              <a:spLocks/>
            </p:cNvSpPr>
            <p:nvPr/>
          </p:nvSpPr>
          <p:spPr bwMode="auto">
            <a:xfrm>
              <a:off x="4553" y="379"/>
              <a:ext cx="696" cy="672"/>
            </a:xfrm>
            <a:custGeom>
              <a:avLst/>
              <a:gdLst>
                <a:gd name="T0" fmla="*/ 293 w 293"/>
                <a:gd name="T1" fmla="*/ 90 h 283"/>
                <a:gd name="T2" fmla="*/ 217 w 293"/>
                <a:gd name="T3" fmla="*/ 274 h 283"/>
                <a:gd name="T4" fmla="*/ 138 w 293"/>
                <a:gd name="T5" fmla="*/ 271 h 283"/>
                <a:gd name="T6" fmla="*/ 0 w 293"/>
                <a:gd name="T7" fmla="*/ 210 h 283"/>
                <a:gd name="T8" fmla="*/ 100 w 293"/>
                <a:gd name="T9" fmla="*/ 0 h 283"/>
                <a:gd name="T10" fmla="*/ 293 w 293"/>
                <a:gd name="T11" fmla="*/ 90 h 283"/>
              </a:gdLst>
              <a:ahLst/>
              <a:cxnLst>
                <a:cxn ang="0">
                  <a:pos x="T0" y="T1"/>
                </a:cxn>
                <a:cxn ang="0">
                  <a:pos x="T2" y="T3"/>
                </a:cxn>
                <a:cxn ang="0">
                  <a:pos x="T4" y="T5"/>
                </a:cxn>
                <a:cxn ang="0">
                  <a:pos x="T6" y="T7"/>
                </a:cxn>
                <a:cxn ang="0">
                  <a:pos x="T8" y="T9"/>
                </a:cxn>
                <a:cxn ang="0">
                  <a:pos x="T10" y="T11"/>
                </a:cxn>
              </a:cxnLst>
              <a:rect l="0" t="0" r="r" b="b"/>
              <a:pathLst>
                <a:path w="293" h="283">
                  <a:moveTo>
                    <a:pt x="293" y="90"/>
                  </a:moveTo>
                  <a:cubicBezTo>
                    <a:pt x="217" y="274"/>
                    <a:pt x="217" y="274"/>
                    <a:pt x="217" y="274"/>
                  </a:cubicBezTo>
                  <a:cubicBezTo>
                    <a:pt x="192" y="279"/>
                    <a:pt x="167" y="283"/>
                    <a:pt x="138" y="271"/>
                  </a:cubicBezTo>
                  <a:cubicBezTo>
                    <a:pt x="0" y="210"/>
                    <a:pt x="0" y="210"/>
                    <a:pt x="0" y="210"/>
                  </a:cubicBezTo>
                  <a:cubicBezTo>
                    <a:pt x="100" y="0"/>
                    <a:pt x="100" y="0"/>
                    <a:pt x="100" y="0"/>
                  </a:cubicBezTo>
                  <a:lnTo>
                    <a:pt x="293" y="9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6">
              <a:extLst>
                <a:ext uri="{FF2B5EF4-FFF2-40B4-BE49-F238E27FC236}">
                  <a16:creationId xmlns:a16="http://schemas.microsoft.com/office/drawing/2014/main" id="{82DA4B3A-F5C6-4CDD-AFAF-C5A28AE7BA4B}"/>
                </a:ext>
              </a:extLst>
            </p:cNvPr>
            <p:cNvSpPr>
              <a:spLocks/>
            </p:cNvSpPr>
            <p:nvPr/>
          </p:nvSpPr>
          <p:spPr bwMode="auto">
            <a:xfrm>
              <a:off x="4587" y="374"/>
              <a:ext cx="695" cy="644"/>
            </a:xfrm>
            <a:custGeom>
              <a:avLst/>
              <a:gdLst>
                <a:gd name="T0" fmla="*/ 695 w 695"/>
                <a:gd name="T1" fmla="*/ 207 h 644"/>
                <a:gd name="T2" fmla="*/ 515 w 695"/>
                <a:gd name="T3" fmla="*/ 644 h 644"/>
                <a:gd name="T4" fmla="*/ 325 w 695"/>
                <a:gd name="T5" fmla="*/ 637 h 644"/>
                <a:gd name="T6" fmla="*/ 0 w 695"/>
                <a:gd name="T7" fmla="*/ 492 h 644"/>
                <a:gd name="T8" fmla="*/ 206 w 695"/>
                <a:gd name="T9" fmla="*/ 0 h 644"/>
                <a:gd name="T10" fmla="*/ 695 w 695"/>
                <a:gd name="T11" fmla="*/ 207 h 644"/>
              </a:gdLst>
              <a:ahLst/>
              <a:cxnLst>
                <a:cxn ang="0">
                  <a:pos x="T0" y="T1"/>
                </a:cxn>
                <a:cxn ang="0">
                  <a:pos x="T2" y="T3"/>
                </a:cxn>
                <a:cxn ang="0">
                  <a:pos x="T4" y="T5"/>
                </a:cxn>
                <a:cxn ang="0">
                  <a:pos x="T6" y="T7"/>
                </a:cxn>
                <a:cxn ang="0">
                  <a:pos x="T8" y="T9"/>
                </a:cxn>
                <a:cxn ang="0">
                  <a:pos x="T10" y="T11"/>
                </a:cxn>
              </a:cxnLst>
              <a:rect l="0" t="0" r="r" b="b"/>
              <a:pathLst>
                <a:path w="695" h="644">
                  <a:moveTo>
                    <a:pt x="695" y="207"/>
                  </a:moveTo>
                  <a:lnTo>
                    <a:pt x="515" y="644"/>
                  </a:lnTo>
                  <a:lnTo>
                    <a:pt x="325" y="637"/>
                  </a:lnTo>
                  <a:lnTo>
                    <a:pt x="0" y="492"/>
                  </a:lnTo>
                  <a:lnTo>
                    <a:pt x="206" y="0"/>
                  </a:lnTo>
                  <a:lnTo>
                    <a:pt x="695" y="207"/>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7">
              <a:extLst>
                <a:ext uri="{FF2B5EF4-FFF2-40B4-BE49-F238E27FC236}">
                  <a16:creationId xmlns:a16="http://schemas.microsoft.com/office/drawing/2014/main" id="{71C452AE-BA0A-44EA-8AB0-BB5A260CC245}"/>
                </a:ext>
              </a:extLst>
            </p:cNvPr>
            <p:cNvSpPr>
              <a:spLocks/>
            </p:cNvSpPr>
            <p:nvPr/>
          </p:nvSpPr>
          <p:spPr bwMode="auto">
            <a:xfrm>
              <a:off x="4912" y="961"/>
              <a:ext cx="190" cy="76"/>
            </a:xfrm>
            <a:custGeom>
              <a:avLst/>
              <a:gdLst>
                <a:gd name="T0" fmla="*/ 63 w 80"/>
                <a:gd name="T1" fmla="*/ 0 h 32"/>
                <a:gd name="T2" fmla="*/ 80 w 80"/>
                <a:gd name="T3" fmla="*/ 24 h 32"/>
                <a:gd name="T4" fmla="*/ 46 w 80"/>
                <a:gd name="T5" fmla="*/ 31 h 32"/>
                <a:gd name="T6" fmla="*/ 0 w 80"/>
                <a:gd name="T7" fmla="*/ 21 h 32"/>
                <a:gd name="T8" fmla="*/ 63 w 80"/>
                <a:gd name="T9" fmla="*/ 0 h 32"/>
              </a:gdLst>
              <a:ahLst/>
              <a:cxnLst>
                <a:cxn ang="0">
                  <a:pos x="T0" y="T1"/>
                </a:cxn>
                <a:cxn ang="0">
                  <a:pos x="T2" y="T3"/>
                </a:cxn>
                <a:cxn ang="0">
                  <a:pos x="T4" y="T5"/>
                </a:cxn>
                <a:cxn ang="0">
                  <a:pos x="T6" y="T7"/>
                </a:cxn>
                <a:cxn ang="0">
                  <a:pos x="T8" y="T9"/>
                </a:cxn>
              </a:cxnLst>
              <a:rect l="0" t="0" r="r" b="b"/>
              <a:pathLst>
                <a:path w="80" h="32">
                  <a:moveTo>
                    <a:pt x="63" y="0"/>
                  </a:moveTo>
                  <a:cubicBezTo>
                    <a:pt x="80" y="24"/>
                    <a:pt x="80" y="24"/>
                    <a:pt x="80" y="24"/>
                  </a:cubicBezTo>
                  <a:cubicBezTo>
                    <a:pt x="80" y="24"/>
                    <a:pt x="63" y="32"/>
                    <a:pt x="46" y="31"/>
                  </a:cubicBezTo>
                  <a:cubicBezTo>
                    <a:pt x="29" y="30"/>
                    <a:pt x="14" y="27"/>
                    <a:pt x="0" y="21"/>
                  </a:cubicBezTo>
                  <a:cubicBezTo>
                    <a:pt x="0" y="21"/>
                    <a:pt x="36" y="26"/>
                    <a:pt x="63"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8">
              <a:extLst>
                <a:ext uri="{FF2B5EF4-FFF2-40B4-BE49-F238E27FC236}">
                  <a16:creationId xmlns:a16="http://schemas.microsoft.com/office/drawing/2014/main" id="{589938D8-3AF4-45C8-A5B7-42149B3C0195}"/>
                </a:ext>
              </a:extLst>
            </p:cNvPr>
            <p:cNvSpPr>
              <a:spLocks/>
            </p:cNvSpPr>
            <p:nvPr/>
          </p:nvSpPr>
          <p:spPr bwMode="auto">
            <a:xfrm>
              <a:off x="5114" y="462"/>
              <a:ext cx="204" cy="230"/>
            </a:xfrm>
            <a:custGeom>
              <a:avLst/>
              <a:gdLst>
                <a:gd name="T0" fmla="*/ 156 w 204"/>
                <a:gd name="T1" fmla="*/ 230 h 230"/>
                <a:gd name="T2" fmla="*/ 0 w 204"/>
                <a:gd name="T3" fmla="*/ 33 h 230"/>
                <a:gd name="T4" fmla="*/ 40 w 204"/>
                <a:gd name="T5" fmla="*/ 0 h 230"/>
                <a:gd name="T6" fmla="*/ 204 w 204"/>
                <a:gd name="T7" fmla="*/ 197 h 230"/>
                <a:gd name="T8" fmla="*/ 156 w 204"/>
                <a:gd name="T9" fmla="*/ 230 h 230"/>
              </a:gdLst>
              <a:ahLst/>
              <a:cxnLst>
                <a:cxn ang="0">
                  <a:pos x="T0" y="T1"/>
                </a:cxn>
                <a:cxn ang="0">
                  <a:pos x="T2" y="T3"/>
                </a:cxn>
                <a:cxn ang="0">
                  <a:pos x="T4" y="T5"/>
                </a:cxn>
                <a:cxn ang="0">
                  <a:pos x="T6" y="T7"/>
                </a:cxn>
                <a:cxn ang="0">
                  <a:pos x="T8" y="T9"/>
                </a:cxn>
              </a:cxnLst>
              <a:rect l="0" t="0" r="r" b="b"/>
              <a:pathLst>
                <a:path w="204" h="230">
                  <a:moveTo>
                    <a:pt x="156" y="230"/>
                  </a:moveTo>
                  <a:lnTo>
                    <a:pt x="0" y="33"/>
                  </a:lnTo>
                  <a:lnTo>
                    <a:pt x="40" y="0"/>
                  </a:lnTo>
                  <a:lnTo>
                    <a:pt x="204" y="197"/>
                  </a:lnTo>
                  <a:lnTo>
                    <a:pt x="156" y="23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9">
              <a:extLst>
                <a:ext uri="{FF2B5EF4-FFF2-40B4-BE49-F238E27FC236}">
                  <a16:creationId xmlns:a16="http://schemas.microsoft.com/office/drawing/2014/main" id="{B79D83D5-01FA-444B-A5C4-BDAEAFB7D859}"/>
                </a:ext>
              </a:extLst>
            </p:cNvPr>
            <p:cNvSpPr>
              <a:spLocks/>
            </p:cNvSpPr>
            <p:nvPr/>
          </p:nvSpPr>
          <p:spPr bwMode="auto">
            <a:xfrm>
              <a:off x="4689" y="377"/>
              <a:ext cx="256" cy="133"/>
            </a:xfrm>
            <a:custGeom>
              <a:avLst/>
              <a:gdLst>
                <a:gd name="T0" fmla="*/ 0 w 256"/>
                <a:gd name="T1" fmla="*/ 76 h 133"/>
                <a:gd name="T2" fmla="*/ 240 w 256"/>
                <a:gd name="T3" fmla="*/ 0 h 133"/>
                <a:gd name="T4" fmla="*/ 256 w 256"/>
                <a:gd name="T5" fmla="*/ 50 h 133"/>
                <a:gd name="T6" fmla="*/ 14 w 256"/>
                <a:gd name="T7" fmla="*/ 133 h 133"/>
                <a:gd name="T8" fmla="*/ 0 w 256"/>
                <a:gd name="T9" fmla="*/ 76 h 133"/>
              </a:gdLst>
              <a:ahLst/>
              <a:cxnLst>
                <a:cxn ang="0">
                  <a:pos x="T0" y="T1"/>
                </a:cxn>
                <a:cxn ang="0">
                  <a:pos x="T2" y="T3"/>
                </a:cxn>
                <a:cxn ang="0">
                  <a:pos x="T4" y="T5"/>
                </a:cxn>
                <a:cxn ang="0">
                  <a:pos x="T6" y="T7"/>
                </a:cxn>
                <a:cxn ang="0">
                  <a:pos x="T8" y="T9"/>
                </a:cxn>
              </a:cxnLst>
              <a:rect l="0" t="0" r="r" b="b"/>
              <a:pathLst>
                <a:path w="256" h="133">
                  <a:moveTo>
                    <a:pt x="0" y="76"/>
                  </a:moveTo>
                  <a:lnTo>
                    <a:pt x="240" y="0"/>
                  </a:lnTo>
                  <a:lnTo>
                    <a:pt x="256" y="50"/>
                  </a:lnTo>
                  <a:lnTo>
                    <a:pt x="14" y="133"/>
                  </a:lnTo>
                  <a:lnTo>
                    <a:pt x="0" y="76"/>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0">
              <a:extLst>
                <a:ext uri="{FF2B5EF4-FFF2-40B4-BE49-F238E27FC236}">
                  <a16:creationId xmlns:a16="http://schemas.microsoft.com/office/drawing/2014/main" id="{72031D21-59AA-4E0B-B314-11852B5CBF31}"/>
                </a:ext>
              </a:extLst>
            </p:cNvPr>
            <p:cNvSpPr>
              <a:spLocks/>
            </p:cNvSpPr>
            <p:nvPr/>
          </p:nvSpPr>
          <p:spPr bwMode="auto">
            <a:xfrm>
              <a:off x="4781" y="550"/>
              <a:ext cx="373" cy="159"/>
            </a:xfrm>
            <a:custGeom>
              <a:avLst/>
              <a:gdLst>
                <a:gd name="T0" fmla="*/ 0 w 157"/>
                <a:gd name="T1" fmla="*/ 1 h 67"/>
                <a:gd name="T2" fmla="*/ 79 w 157"/>
                <a:gd name="T3" fmla="*/ 33 h 67"/>
                <a:gd name="T4" fmla="*/ 157 w 157"/>
                <a:gd name="T5" fmla="*/ 67 h 67"/>
                <a:gd name="T6" fmla="*/ 78 w 157"/>
                <a:gd name="T7" fmla="*/ 35 h 67"/>
                <a:gd name="T8" fmla="*/ 0 w 157"/>
                <a:gd name="T9" fmla="*/ 1 h 67"/>
              </a:gdLst>
              <a:ahLst/>
              <a:cxnLst>
                <a:cxn ang="0">
                  <a:pos x="T0" y="T1"/>
                </a:cxn>
                <a:cxn ang="0">
                  <a:pos x="T2" y="T3"/>
                </a:cxn>
                <a:cxn ang="0">
                  <a:pos x="T4" y="T5"/>
                </a:cxn>
                <a:cxn ang="0">
                  <a:pos x="T6" y="T7"/>
                </a:cxn>
                <a:cxn ang="0">
                  <a:pos x="T8" y="T9"/>
                </a:cxn>
              </a:cxnLst>
              <a:rect l="0" t="0" r="r" b="b"/>
              <a:pathLst>
                <a:path w="157" h="67">
                  <a:moveTo>
                    <a:pt x="0" y="1"/>
                  </a:moveTo>
                  <a:cubicBezTo>
                    <a:pt x="1" y="0"/>
                    <a:pt x="36" y="14"/>
                    <a:pt x="79" y="33"/>
                  </a:cubicBezTo>
                  <a:cubicBezTo>
                    <a:pt x="122" y="51"/>
                    <a:pt x="157" y="66"/>
                    <a:pt x="157" y="67"/>
                  </a:cubicBezTo>
                  <a:cubicBezTo>
                    <a:pt x="157" y="67"/>
                    <a:pt x="121" y="53"/>
                    <a:pt x="78" y="35"/>
                  </a:cubicBezTo>
                  <a:cubicBezTo>
                    <a:pt x="35" y="16"/>
                    <a:pt x="0" y="1"/>
                    <a:pt x="0"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
              <a:extLst>
                <a:ext uri="{FF2B5EF4-FFF2-40B4-BE49-F238E27FC236}">
                  <a16:creationId xmlns:a16="http://schemas.microsoft.com/office/drawing/2014/main" id="{90A5446A-A8D8-4311-9F45-FE6A3561CD49}"/>
                </a:ext>
              </a:extLst>
            </p:cNvPr>
            <p:cNvSpPr>
              <a:spLocks/>
            </p:cNvSpPr>
            <p:nvPr/>
          </p:nvSpPr>
          <p:spPr bwMode="auto">
            <a:xfrm>
              <a:off x="4755" y="619"/>
              <a:ext cx="373" cy="159"/>
            </a:xfrm>
            <a:custGeom>
              <a:avLst/>
              <a:gdLst>
                <a:gd name="T0" fmla="*/ 0 w 157"/>
                <a:gd name="T1" fmla="*/ 0 h 67"/>
                <a:gd name="T2" fmla="*/ 79 w 157"/>
                <a:gd name="T3" fmla="*/ 32 h 67"/>
                <a:gd name="T4" fmla="*/ 157 w 157"/>
                <a:gd name="T5" fmla="*/ 66 h 67"/>
                <a:gd name="T6" fmla="*/ 78 w 157"/>
                <a:gd name="T7" fmla="*/ 34 h 67"/>
                <a:gd name="T8" fmla="*/ 0 w 157"/>
                <a:gd name="T9" fmla="*/ 0 h 67"/>
              </a:gdLst>
              <a:ahLst/>
              <a:cxnLst>
                <a:cxn ang="0">
                  <a:pos x="T0" y="T1"/>
                </a:cxn>
                <a:cxn ang="0">
                  <a:pos x="T2" y="T3"/>
                </a:cxn>
                <a:cxn ang="0">
                  <a:pos x="T4" y="T5"/>
                </a:cxn>
                <a:cxn ang="0">
                  <a:pos x="T6" y="T7"/>
                </a:cxn>
                <a:cxn ang="0">
                  <a:pos x="T8" y="T9"/>
                </a:cxn>
              </a:cxnLst>
              <a:rect l="0" t="0" r="r" b="b"/>
              <a:pathLst>
                <a:path w="157" h="67">
                  <a:moveTo>
                    <a:pt x="0" y="0"/>
                  </a:moveTo>
                  <a:cubicBezTo>
                    <a:pt x="0" y="0"/>
                    <a:pt x="36" y="14"/>
                    <a:pt x="79" y="32"/>
                  </a:cubicBezTo>
                  <a:cubicBezTo>
                    <a:pt x="122" y="51"/>
                    <a:pt x="157" y="66"/>
                    <a:pt x="157" y="66"/>
                  </a:cubicBezTo>
                  <a:cubicBezTo>
                    <a:pt x="156" y="67"/>
                    <a:pt x="121" y="52"/>
                    <a:pt x="78" y="34"/>
                  </a:cubicBezTo>
                  <a:cubicBezTo>
                    <a:pt x="35" y="16"/>
                    <a:pt x="0" y="1"/>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
              <a:extLst>
                <a:ext uri="{FF2B5EF4-FFF2-40B4-BE49-F238E27FC236}">
                  <a16:creationId xmlns:a16="http://schemas.microsoft.com/office/drawing/2014/main" id="{F31A985B-FC72-45AE-B387-934E9524B1EE}"/>
                </a:ext>
              </a:extLst>
            </p:cNvPr>
            <p:cNvSpPr>
              <a:spLocks/>
            </p:cNvSpPr>
            <p:nvPr/>
          </p:nvSpPr>
          <p:spPr bwMode="auto">
            <a:xfrm>
              <a:off x="4727" y="676"/>
              <a:ext cx="372" cy="159"/>
            </a:xfrm>
            <a:custGeom>
              <a:avLst/>
              <a:gdLst>
                <a:gd name="T0" fmla="*/ 1 w 157"/>
                <a:gd name="T1" fmla="*/ 1 h 67"/>
                <a:gd name="T2" fmla="*/ 79 w 157"/>
                <a:gd name="T3" fmla="*/ 33 h 67"/>
                <a:gd name="T4" fmla="*/ 157 w 157"/>
                <a:gd name="T5" fmla="*/ 67 h 67"/>
                <a:gd name="T6" fmla="*/ 78 w 157"/>
                <a:gd name="T7" fmla="*/ 35 h 67"/>
                <a:gd name="T8" fmla="*/ 1 w 157"/>
                <a:gd name="T9" fmla="*/ 1 h 67"/>
              </a:gdLst>
              <a:ahLst/>
              <a:cxnLst>
                <a:cxn ang="0">
                  <a:pos x="T0" y="T1"/>
                </a:cxn>
                <a:cxn ang="0">
                  <a:pos x="T2" y="T3"/>
                </a:cxn>
                <a:cxn ang="0">
                  <a:pos x="T4" y="T5"/>
                </a:cxn>
                <a:cxn ang="0">
                  <a:pos x="T6" y="T7"/>
                </a:cxn>
                <a:cxn ang="0">
                  <a:pos x="T8" y="T9"/>
                </a:cxn>
              </a:cxnLst>
              <a:rect l="0" t="0" r="r" b="b"/>
              <a:pathLst>
                <a:path w="157" h="67">
                  <a:moveTo>
                    <a:pt x="1" y="1"/>
                  </a:moveTo>
                  <a:cubicBezTo>
                    <a:pt x="1" y="0"/>
                    <a:pt x="36" y="15"/>
                    <a:pt x="79" y="33"/>
                  </a:cubicBezTo>
                  <a:cubicBezTo>
                    <a:pt x="122" y="51"/>
                    <a:pt x="157" y="66"/>
                    <a:pt x="157" y="67"/>
                  </a:cubicBezTo>
                  <a:cubicBezTo>
                    <a:pt x="157" y="67"/>
                    <a:pt x="122" y="53"/>
                    <a:pt x="78" y="35"/>
                  </a:cubicBezTo>
                  <a:cubicBezTo>
                    <a:pt x="35" y="17"/>
                    <a:pt x="0" y="1"/>
                    <a:pt x="1"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3">
              <a:extLst>
                <a:ext uri="{FF2B5EF4-FFF2-40B4-BE49-F238E27FC236}">
                  <a16:creationId xmlns:a16="http://schemas.microsoft.com/office/drawing/2014/main" id="{5301573F-0B30-418D-AE15-076F299EE182}"/>
                </a:ext>
              </a:extLst>
            </p:cNvPr>
            <p:cNvSpPr>
              <a:spLocks/>
            </p:cNvSpPr>
            <p:nvPr/>
          </p:nvSpPr>
          <p:spPr bwMode="auto">
            <a:xfrm>
              <a:off x="4703" y="733"/>
              <a:ext cx="373" cy="161"/>
            </a:xfrm>
            <a:custGeom>
              <a:avLst/>
              <a:gdLst>
                <a:gd name="T0" fmla="*/ 1 w 157"/>
                <a:gd name="T1" fmla="*/ 1 h 68"/>
                <a:gd name="T2" fmla="*/ 79 w 157"/>
                <a:gd name="T3" fmla="*/ 33 h 68"/>
                <a:gd name="T4" fmla="*/ 157 w 157"/>
                <a:gd name="T5" fmla="*/ 67 h 68"/>
                <a:gd name="T6" fmla="*/ 78 w 157"/>
                <a:gd name="T7" fmla="*/ 35 h 68"/>
                <a:gd name="T8" fmla="*/ 1 w 157"/>
                <a:gd name="T9" fmla="*/ 1 h 68"/>
              </a:gdLst>
              <a:ahLst/>
              <a:cxnLst>
                <a:cxn ang="0">
                  <a:pos x="T0" y="T1"/>
                </a:cxn>
                <a:cxn ang="0">
                  <a:pos x="T2" y="T3"/>
                </a:cxn>
                <a:cxn ang="0">
                  <a:pos x="T4" y="T5"/>
                </a:cxn>
                <a:cxn ang="0">
                  <a:pos x="T6" y="T7"/>
                </a:cxn>
                <a:cxn ang="0">
                  <a:pos x="T8" y="T9"/>
                </a:cxn>
              </a:cxnLst>
              <a:rect l="0" t="0" r="r" b="b"/>
              <a:pathLst>
                <a:path w="157" h="68">
                  <a:moveTo>
                    <a:pt x="1" y="1"/>
                  </a:moveTo>
                  <a:cubicBezTo>
                    <a:pt x="1" y="0"/>
                    <a:pt x="36" y="15"/>
                    <a:pt x="79" y="33"/>
                  </a:cubicBezTo>
                  <a:cubicBezTo>
                    <a:pt x="122" y="51"/>
                    <a:pt x="157" y="67"/>
                    <a:pt x="157" y="67"/>
                  </a:cubicBezTo>
                  <a:cubicBezTo>
                    <a:pt x="157" y="68"/>
                    <a:pt x="122" y="53"/>
                    <a:pt x="78" y="35"/>
                  </a:cubicBezTo>
                  <a:cubicBezTo>
                    <a:pt x="35" y="17"/>
                    <a:pt x="0" y="1"/>
                    <a:pt x="1"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4">
              <a:extLst>
                <a:ext uri="{FF2B5EF4-FFF2-40B4-BE49-F238E27FC236}">
                  <a16:creationId xmlns:a16="http://schemas.microsoft.com/office/drawing/2014/main" id="{4FF1D276-E4D8-4717-B3D8-B6EFE3996231}"/>
                </a:ext>
              </a:extLst>
            </p:cNvPr>
            <p:cNvSpPr>
              <a:spLocks/>
            </p:cNvSpPr>
            <p:nvPr/>
          </p:nvSpPr>
          <p:spPr bwMode="auto">
            <a:xfrm>
              <a:off x="4888" y="1438"/>
              <a:ext cx="886" cy="1062"/>
            </a:xfrm>
            <a:custGeom>
              <a:avLst/>
              <a:gdLst>
                <a:gd name="T0" fmla="*/ 70 w 373"/>
                <a:gd name="T1" fmla="*/ 430 h 447"/>
                <a:gd name="T2" fmla="*/ 8 w 373"/>
                <a:gd name="T3" fmla="*/ 220 h 447"/>
                <a:gd name="T4" fmla="*/ 16 w 373"/>
                <a:gd name="T5" fmla="*/ 183 h 447"/>
                <a:gd name="T6" fmla="*/ 48 w 373"/>
                <a:gd name="T7" fmla="*/ 172 h 447"/>
                <a:gd name="T8" fmla="*/ 65 w 373"/>
                <a:gd name="T9" fmla="*/ 198 h 447"/>
                <a:gd name="T10" fmla="*/ 92 w 373"/>
                <a:gd name="T11" fmla="*/ 228 h 447"/>
                <a:gd name="T12" fmla="*/ 118 w 373"/>
                <a:gd name="T13" fmla="*/ 232 h 447"/>
                <a:gd name="T14" fmla="*/ 133 w 373"/>
                <a:gd name="T15" fmla="*/ 200 h 447"/>
                <a:gd name="T16" fmla="*/ 137 w 373"/>
                <a:gd name="T17" fmla="*/ 130 h 447"/>
                <a:gd name="T18" fmla="*/ 144 w 373"/>
                <a:gd name="T19" fmla="*/ 93 h 447"/>
                <a:gd name="T20" fmla="*/ 170 w 373"/>
                <a:gd name="T21" fmla="*/ 69 h 447"/>
                <a:gd name="T22" fmla="*/ 198 w 373"/>
                <a:gd name="T23" fmla="*/ 87 h 447"/>
                <a:gd name="T24" fmla="*/ 197 w 373"/>
                <a:gd name="T25" fmla="*/ 102 h 447"/>
                <a:gd name="T26" fmla="*/ 204 w 373"/>
                <a:gd name="T27" fmla="*/ 115 h 447"/>
                <a:gd name="T28" fmla="*/ 218 w 373"/>
                <a:gd name="T29" fmla="*/ 110 h 447"/>
                <a:gd name="T30" fmla="*/ 251 w 373"/>
                <a:gd name="T31" fmla="*/ 67 h 447"/>
                <a:gd name="T32" fmla="*/ 283 w 373"/>
                <a:gd name="T33" fmla="*/ 23 h 447"/>
                <a:gd name="T34" fmla="*/ 330 w 373"/>
                <a:gd name="T35" fmla="*/ 1 h 447"/>
                <a:gd name="T36" fmla="*/ 370 w 373"/>
                <a:gd name="T37" fmla="*/ 31 h 447"/>
                <a:gd name="T38" fmla="*/ 349 w 373"/>
                <a:gd name="T39" fmla="*/ 80 h 447"/>
                <a:gd name="T40" fmla="*/ 287 w 373"/>
                <a:gd name="T41" fmla="*/ 131 h 447"/>
                <a:gd name="T42" fmla="*/ 277 w 373"/>
                <a:gd name="T43" fmla="*/ 141 h 447"/>
                <a:gd name="T44" fmla="*/ 289 w 373"/>
                <a:gd name="T45" fmla="*/ 161 h 447"/>
                <a:gd name="T46" fmla="*/ 318 w 373"/>
                <a:gd name="T47" fmla="*/ 167 h 447"/>
                <a:gd name="T48" fmla="*/ 340 w 373"/>
                <a:gd name="T49" fmla="*/ 183 h 447"/>
                <a:gd name="T50" fmla="*/ 322 w 373"/>
                <a:gd name="T51" fmla="*/ 217 h 447"/>
                <a:gd name="T52" fmla="*/ 248 w 373"/>
                <a:gd name="T53" fmla="*/ 252 h 447"/>
                <a:gd name="T54" fmla="*/ 221 w 373"/>
                <a:gd name="T55" fmla="*/ 263 h 447"/>
                <a:gd name="T56" fmla="*/ 211 w 373"/>
                <a:gd name="T57" fmla="*/ 289 h 447"/>
                <a:gd name="T58" fmla="*/ 236 w 373"/>
                <a:gd name="T59" fmla="*/ 301 h 447"/>
                <a:gd name="T60" fmla="*/ 264 w 373"/>
                <a:gd name="T61" fmla="*/ 292 h 447"/>
                <a:gd name="T62" fmla="*/ 314 w 373"/>
                <a:gd name="T63" fmla="*/ 306 h 447"/>
                <a:gd name="T64" fmla="*/ 316 w 373"/>
                <a:gd name="T65" fmla="*/ 341 h 447"/>
                <a:gd name="T66" fmla="*/ 294 w 373"/>
                <a:gd name="T67" fmla="*/ 371 h 447"/>
                <a:gd name="T68" fmla="*/ 186 w 373"/>
                <a:gd name="T69" fmla="*/ 435 h 447"/>
                <a:gd name="T70" fmla="*/ 70 w 373"/>
                <a:gd name="T71" fmla="*/ 43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 h="447">
                  <a:moveTo>
                    <a:pt x="70" y="430"/>
                  </a:moveTo>
                  <a:cubicBezTo>
                    <a:pt x="9" y="380"/>
                    <a:pt x="0" y="295"/>
                    <a:pt x="8" y="220"/>
                  </a:cubicBezTo>
                  <a:cubicBezTo>
                    <a:pt x="10" y="207"/>
                    <a:pt x="9" y="194"/>
                    <a:pt x="16" y="183"/>
                  </a:cubicBezTo>
                  <a:cubicBezTo>
                    <a:pt x="23" y="173"/>
                    <a:pt x="37" y="166"/>
                    <a:pt x="48" y="172"/>
                  </a:cubicBezTo>
                  <a:cubicBezTo>
                    <a:pt x="57" y="177"/>
                    <a:pt x="60" y="188"/>
                    <a:pt x="65" y="198"/>
                  </a:cubicBezTo>
                  <a:cubicBezTo>
                    <a:pt x="71" y="210"/>
                    <a:pt x="81" y="221"/>
                    <a:pt x="92" y="228"/>
                  </a:cubicBezTo>
                  <a:cubicBezTo>
                    <a:pt x="100" y="233"/>
                    <a:pt x="110" y="236"/>
                    <a:pt x="118" y="232"/>
                  </a:cubicBezTo>
                  <a:cubicBezTo>
                    <a:pt x="129" y="227"/>
                    <a:pt x="132" y="212"/>
                    <a:pt x="133" y="200"/>
                  </a:cubicBezTo>
                  <a:cubicBezTo>
                    <a:pt x="134" y="176"/>
                    <a:pt x="136" y="153"/>
                    <a:pt x="137" y="130"/>
                  </a:cubicBezTo>
                  <a:cubicBezTo>
                    <a:pt x="138" y="117"/>
                    <a:pt x="139" y="105"/>
                    <a:pt x="144" y="93"/>
                  </a:cubicBezTo>
                  <a:cubicBezTo>
                    <a:pt x="149" y="81"/>
                    <a:pt x="158" y="71"/>
                    <a:pt x="170" y="69"/>
                  </a:cubicBezTo>
                  <a:cubicBezTo>
                    <a:pt x="182" y="66"/>
                    <a:pt x="197" y="74"/>
                    <a:pt x="198" y="87"/>
                  </a:cubicBezTo>
                  <a:cubicBezTo>
                    <a:pt x="199" y="92"/>
                    <a:pt x="197" y="97"/>
                    <a:pt x="197" y="102"/>
                  </a:cubicBezTo>
                  <a:cubicBezTo>
                    <a:pt x="197" y="107"/>
                    <a:pt x="199" y="113"/>
                    <a:pt x="204" y="115"/>
                  </a:cubicBezTo>
                  <a:cubicBezTo>
                    <a:pt x="209" y="117"/>
                    <a:pt x="214" y="114"/>
                    <a:pt x="218" y="110"/>
                  </a:cubicBezTo>
                  <a:cubicBezTo>
                    <a:pt x="232" y="99"/>
                    <a:pt x="242" y="83"/>
                    <a:pt x="251" y="67"/>
                  </a:cubicBezTo>
                  <a:cubicBezTo>
                    <a:pt x="261" y="52"/>
                    <a:pt x="270" y="36"/>
                    <a:pt x="283" y="23"/>
                  </a:cubicBezTo>
                  <a:cubicBezTo>
                    <a:pt x="295" y="10"/>
                    <a:pt x="312" y="0"/>
                    <a:pt x="330" y="1"/>
                  </a:cubicBezTo>
                  <a:cubicBezTo>
                    <a:pt x="348" y="1"/>
                    <a:pt x="367" y="14"/>
                    <a:pt x="370" y="31"/>
                  </a:cubicBezTo>
                  <a:cubicBezTo>
                    <a:pt x="373" y="49"/>
                    <a:pt x="362" y="67"/>
                    <a:pt x="349" y="80"/>
                  </a:cubicBezTo>
                  <a:cubicBezTo>
                    <a:pt x="331" y="100"/>
                    <a:pt x="310" y="117"/>
                    <a:pt x="287" y="131"/>
                  </a:cubicBezTo>
                  <a:cubicBezTo>
                    <a:pt x="283" y="134"/>
                    <a:pt x="278" y="136"/>
                    <a:pt x="277" y="141"/>
                  </a:cubicBezTo>
                  <a:cubicBezTo>
                    <a:pt x="273" y="149"/>
                    <a:pt x="281" y="158"/>
                    <a:pt x="289" y="161"/>
                  </a:cubicBezTo>
                  <a:cubicBezTo>
                    <a:pt x="298" y="165"/>
                    <a:pt x="308" y="165"/>
                    <a:pt x="318" y="167"/>
                  </a:cubicBezTo>
                  <a:cubicBezTo>
                    <a:pt x="327" y="168"/>
                    <a:pt x="337" y="174"/>
                    <a:pt x="340" y="183"/>
                  </a:cubicBezTo>
                  <a:cubicBezTo>
                    <a:pt x="345" y="196"/>
                    <a:pt x="333" y="209"/>
                    <a:pt x="322" y="217"/>
                  </a:cubicBezTo>
                  <a:cubicBezTo>
                    <a:pt x="299" y="233"/>
                    <a:pt x="274" y="245"/>
                    <a:pt x="248" y="252"/>
                  </a:cubicBezTo>
                  <a:cubicBezTo>
                    <a:pt x="239" y="255"/>
                    <a:pt x="229" y="257"/>
                    <a:pt x="221" y="263"/>
                  </a:cubicBezTo>
                  <a:cubicBezTo>
                    <a:pt x="213" y="269"/>
                    <a:pt x="208" y="280"/>
                    <a:pt x="211" y="289"/>
                  </a:cubicBezTo>
                  <a:cubicBezTo>
                    <a:pt x="215" y="298"/>
                    <a:pt x="226" y="302"/>
                    <a:pt x="236" y="301"/>
                  </a:cubicBezTo>
                  <a:cubicBezTo>
                    <a:pt x="246" y="300"/>
                    <a:pt x="255" y="295"/>
                    <a:pt x="264" y="292"/>
                  </a:cubicBezTo>
                  <a:cubicBezTo>
                    <a:pt x="282" y="287"/>
                    <a:pt x="304" y="290"/>
                    <a:pt x="314" y="306"/>
                  </a:cubicBezTo>
                  <a:cubicBezTo>
                    <a:pt x="321" y="316"/>
                    <a:pt x="320" y="330"/>
                    <a:pt x="316" y="341"/>
                  </a:cubicBezTo>
                  <a:cubicBezTo>
                    <a:pt x="311" y="352"/>
                    <a:pt x="303" y="362"/>
                    <a:pt x="294" y="371"/>
                  </a:cubicBezTo>
                  <a:cubicBezTo>
                    <a:pt x="265" y="401"/>
                    <a:pt x="227" y="424"/>
                    <a:pt x="186" y="435"/>
                  </a:cubicBezTo>
                  <a:cubicBezTo>
                    <a:pt x="146" y="446"/>
                    <a:pt x="108" y="447"/>
                    <a:pt x="70" y="43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5">
              <a:extLst>
                <a:ext uri="{FF2B5EF4-FFF2-40B4-BE49-F238E27FC236}">
                  <a16:creationId xmlns:a16="http://schemas.microsoft.com/office/drawing/2014/main" id="{86BDFFA5-0B03-4725-87F5-EB398A69D5FD}"/>
                </a:ext>
              </a:extLst>
            </p:cNvPr>
            <p:cNvSpPr>
              <a:spLocks/>
            </p:cNvSpPr>
            <p:nvPr/>
          </p:nvSpPr>
          <p:spPr bwMode="auto">
            <a:xfrm>
              <a:off x="5043" y="1469"/>
              <a:ext cx="683" cy="1123"/>
            </a:xfrm>
            <a:custGeom>
              <a:avLst/>
              <a:gdLst>
                <a:gd name="T0" fmla="*/ 0 w 288"/>
                <a:gd name="T1" fmla="*/ 472 h 473"/>
                <a:gd name="T2" fmla="*/ 28 w 288"/>
                <a:gd name="T3" fmla="*/ 371 h 473"/>
                <a:gd name="T4" fmla="*/ 81 w 288"/>
                <a:gd name="T5" fmla="*/ 253 h 473"/>
                <a:gd name="T6" fmla="*/ 97 w 288"/>
                <a:gd name="T7" fmla="*/ 223 h 473"/>
                <a:gd name="T8" fmla="*/ 113 w 288"/>
                <a:gd name="T9" fmla="*/ 195 h 473"/>
                <a:gd name="T10" fmla="*/ 148 w 288"/>
                <a:gd name="T11" fmla="*/ 143 h 473"/>
                <a:gd name="T12" fmla="*/ 183 w 288"/>
                <a:gd name="T13" fmla="*/ 99 h 473"/>
                <a:gd name="T14" fmla="*/ 215 w 288"/>
                <a:gd name="T15" fmla="*/ 63 h 473"/>
                <a:gd name="T16" fmla="*/ 267 w 288"/>
                <a:gd name="T17" fmla="*/ 15 h 473"/>
                <a:gd name="T18" fmla="*/ 283 w 288"/>
                <a:gd name="T19" fmla="*/ 4 h 473"/>
                <a:gd name="T20" fmla="*/ 287 w 288"/>
                <a:gd name="T21" fmla="*/ 1 h 473"/>
                <a:gd name="T22" fmla="*/ 288 w 288"/>
                <a:gd name="T23" fmla="*/ 0 h 473"/>
                <a:gd name="T24" fmla="*/ 287 w 288"/>
                <a:gd name="T25" fmla="*/ 1 h 473"/>
                <a:gd name="T26" fmla="*/ 283 w 288"/>
                <a:gd name="T27" fmla="*/ 4 h 473"/>
                <a:gd name="T28" fmla="*/ 268 w 288"/>
                <a:gd name="T29" fmla="*/ 16 h 473"/>
                <a:gd name="T30" fmla="*/ 216 w 288"/>
                <a:gd name="T31" fmla="*/ 64 h 473"/>
                <a:gd name="T32" fmla="*/ 184 w 288"/>
                <a:gd name="T33" fmla="*/ 101 h 473"/>
                <a:gd name="T34" fmla="*/ 149 w 288"/>
                <a:gd name="T35" fmla="*/ 145 h 473"/>
                <a:gd name="T36" fmla="*/ 115 w 288"/>
                <a:gd name="T37" fmla="*/ 196 h 473"/>
                <a:gd name="T38" fmla="*/ 99 w 288"/>
                <a:gd name="T39" fmla="*/ 224 h 473"/>
                <a:gd name="T40" fmla="*/ 83 w 288"/>
                <a:gd name="T41" fmla="*/ 255 h 473"/>
                <a:gd name="T42" fmla="*/ 30 w 288"/>
                <a:gd name="T43" fmla="*/ 372 h 473"/>
                <a:gd name="T44" fmla="*/ 1 w 288"/>
                <a:gd name="T45"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473">
                  <a:moveTo>
                    <a:pt x="0" y="472"/>
                  </a:moveTo>
                  <a:cubicBezTo>
                    <a:pt x="5" y="443"/>
                    <a:pt x="14" y="408"/>
                    <a:pt x="28" y="371"/>
                  </a:cubicBezTo>
                  <a:cubicBezTo>
                    <a:pt x="42" y="334"/>
                    <a:pt x="60" y="294"/>
                    <a:pt x="81" y="253"/>
                  </a:cubicBezTo>
                  <a:cubicBezTo>
                    <a:pt x="86" y="243"/>
                    <a:pt x="92" y="233"/>
                    <a:pt x="97" y="223"/>
                  </a:cubicBezTo>
                  <a:cubicBezTo>
                    <a:pt x="102" y="214"/>
                    <a:pt x="107" y="204"/>
                    <a:pt x="113" y="195"/>
                  </a:cubicBezTo>
                  <a:cubicBezTo>
                    <a:pt x="124" y="176"/>
                    <a:pt x="136" y="159"/>
                    <a:pt x="148" y="143"/>
                  </a:cubicBezTo>
                  <a:cubicBezTo>
                    <a:pt x="160" y="128"/>
                    <a:pt x="171" y="113"/>
                    <a:pt x="183" y="99"/>
                  </a:cubicBezTo>
                  <a:cubicBezTo>
                    <a:pt x="194" y="86"/>
                    <a:pt x="205" y="74"/>
                    <a:pt x="215" y="63"/>
                  </a:cubicBezTo>
                  <a:cubicBezTo>
                    <a:pt x="235" y="41"/>
                    <a:pt x="254" y="25"/>
                    <a:pt x="267" y="15"/>
                  </a:cubicBezTo>
                  <a:cubicBezTo>
                    <a:pt x="274" y="10"/>
                    <a:pt x="279" y="6"/>
                    <a:pt x="283" y="4"/>
                  </a:cubicBezTo>
                  <a:cubicBezTo>
                    <a:pt x="284" y="3"/>
                    <a:pt x="286" y="2"/>
                    <a:pt x="287" y="1"/>
                  </a:cubicBezTo>
                  <a:cubicBezTo>
                    <a:pt x="288" y="0"/>
                    <a:pt x="288" y="0"/>
                    <a:pt x="288" y="0"/>
                  </a:cubicBezTo>
                  <a:cubicBezTo>
                    <a:pt x="288" y="0"/>
                    <a:pt x="288" y="0"/>
                    <a:pt x="287" y="1"/>
                  </a:cubicBezTo>
                  <a:cubicBezTo>
                    <a:pt x="286" y="2"/>
                    <a:pt x="285" y="3"/>
                    <a:pt x="283" y="4"/>
                  </a:cubicBezTo>
                  <a:cubicBezTo>
                    <a:pt x="279" y="7"/>
                    <a:pt x="274" y="11"/>
                    <a:pt x="268" y="16"/>
                  </a:cubicBezTo>
                  <a:cubicBezTo>
                    <a:pt x="255" y="26"/>
                    <a:pt x="236" y="42"/>
                    <a:pt x="216" y="64"/>
                  </a:cubicBezTo>
                  <a:cubicBezTo>
                    <a:pt x="206" y="75"/>
                    <a:pt x="195" y="87"/>
                    <a:pt x="184" y="101"/>
                  </a:cubicBezTo>
                  <a:cubicBezTo>
                    <a:pt x="173" y="114"/>
                    <a:pt x="161" y="129"/>
                    <a:pt x="149" y="145"/>
                  </a:cubicBezTo>
                  <a:cubicBezTo>
                    <a:pt x="137" y="160"/>
                    <a:pt x="125" y="177"/>
                    <a:pt x="115" y="196"/>
                  </a:cubicBezTo>
                  <a:cubicBezTo>
                    <a:pt x="109" y="205"/>
                    <a:pt x="104" y="215"/>
                    <a:pt x="99" y="224"/>
                  </a:cubicBezTo>
                  <a:cubicBezTo>
                    <a:pt x="94" y="234"/>
                    <a:pt x="89" y="244"/>
                    <a:pt x="83" y="255"/>
                  </a:cubicBezTo>
                  <a:cubicBezTo>
                    <a:pt x="62" y="295"/>
                    <a:pt x="44" y="335"/>
                    <a:pt x="30" y="372"/>
                  </a:cubicBezTo>
                  <a:cubicBezTo>
                    <a:pt x="16" y="409"/>
                    <a:pt x="6" y="443"/>
                    <a:pt x="1" y="473"/>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6">
              <a:extLst>
                <a:ext uri="{FF2B5EF4-FFF2-40B4-BE49-F238E27FC236}">
                  <a16:creationId xmlns:a16="http://schemas.microsoft.com/office/drawing/2014/main" id="{C136F7FD-A22D-430C-A837-1F68975F366F}"/>
                </a:ext>
              </a:extLst>
            </p:cNvPr>
            <p:cNvSpPr>
              <a:spLocks/>
            </p:cNvSpPr>
            <p:nvPr/>
          </p:nvSpPr>
          <p:spPr bwMode="auto">
            <a:xfrm>
              <a:off x="5292" y="1602"/>
              <a:ext cx="19" cy="330"/>
            </a:xfrm>
            <a:custGeom>
              <a:avLst/>
              <a:gdLst>
                <a:gd name="T0" fmla="*/ 8 w 8"/>
                <a:gd name="T1" fmla="*/ 139 h 139"/>
                <a:gd name="T2" fmla="*/ 7 w 8"/>
                <a:gd name="T3" fmla="*/ 133 h 139"/>
                <a:gd name="T4" fmla="*/ 6 w 8"/>
                <a:gd name="T5" fmla="*/ 118 h 139"/>
                <a:gd name="T6" fmla="*/ 4 w 8"/>
                <a:gd name="T7" fmla="*/ 69 h 139"/>
                <a:gd name="T8" fmla="*/ 2 w 8"/>
                <a:gd name="T9" fmla="*/ 20 h 139"/>
                <a:gd name="T10" fmla="*/ 0 w 8"/>
                <a:gd name="T11" fmla="*/ 5 h 139"/>
                <a:gd name="T12" fmla="*/ 0 w 8"/>
                <a:gd name="T13" fmla="*/ 0 h 139"/>
                <a:gd name="T14" fmla="*/ 1 w 8"/>
                <a:gd name="T15" fmla="*/ 5 h 139"/>
                <a:gd name="T16" fmla="*/ 3 w 8"/>
                <a:gd name="T17" fmla="*/ 20 h 139"/>
                <a:gd name="T18" fmla="*/ 7 w 8"/>
                <a:gd name="T19" fmla="*/ 69 h 139"/>
                <a:gd name="T20" fmla="*/ 8 w 8"/>
                <a:gd name="T21" fmla="*/ 118 h 139"/>
                <a:gd name="T22" fmla="*/ 8 w 8"/>
                <a:gd name="T23" fmla="*/ 133 h 139"/>
                <a:gd name="T24" fmla="*/ 8 w 8"/>
                <a:gd name="T25"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9">
                  <a:moveTo>
                    <a:pt x="8" y="139"/>
                  </a:moveTo>
                  <a:cubicBezTo>
                    <a:pt x="8" y="139"/>
                    <a:pt x="8" y="137"/>
                    <a:pt x="7" y="133"/>
                  </a:cubicBezTo>
                  <a:cubicBezTo>
                    <a:pt x="7" y="130"/>
                    <a:pt x="7" y="125"/>
                    <a:pt x="6" y="118"/>
                  </a:cubicBezTo>
                  <a:cubicBezTo>
                    <a:pt x="5" y="106"/>
                    <a:pt x="5" y="88"/>
                    <a:pt x="4" y="69"/>
                  </a:cubicBezTo>
                  <a:cubicBezTo>
                    <a:pt x="4" y="50"/>
                    <a:pt x="3" y="32"/>
                    <a:pt x="2" y="20"/>
                  </a:cubicBezTo>
                  <a:cubicBezTo>
                    <a:pt x="1" y="14"/>
                    <a:pt x="1" y="9"/>
                    <a:pt x="0" y="5"/>
                  </a:cubicBezTo>
                  <a:cubicBezTo>
                    <a:pt x="0" y="2"/>
                    <a:pt x="0" y="0"/>
                    <a:pt x="0" y="0"/>
                  </a:cubicBezTo>
                  <a:cubicBezTo>
                    <a:pt x="0" y="0"/>
                    <a:pt x="1" y="1"/>
                    <a:pt x="1" y="5"/>
                  </a:cubicBezTo>
                  <a:cubicBezTo>
                    <a:pt x="2" y="8"/>
                    <a:pt x="3" y="13"/>
                    <a:pt x="3" y="20"/>
                  </a:cubicBezTo>
                  <a:cubicBezTo>
                    <a:pt x="5" y="32"/>
                    <a:pt x="6" y="50"/>
                    <a:pt x="7" y="69"/>
                  </a:cubicBezTo>
                  <a:cubicBezTo>
                    <a:pt x="7" y="88"/>
                    <a:pt x="7" y="105"/>
                    <a:pt x="8" y="118"/>
                  </a:cubicBezTo>
                  <a:cubicBezTo>
                    <a:pt x="8" y="124"/>
                    <a:pt x="8" y="129"/>
                    <a:pt x="8" y="133"/>
                  </a:cubicBezTo>
                  <a:cubicBezTo>
                    <a:pt x="8" y="137"/>
                    <a:pt x="8" y="139"/>
                    <a:pt x="8" y="13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7">
              <a:extLst>
                <a:ext uri="{FF2B5EF4-FFF2-40B4-BE49-F238E27FC236}">
                  <a16:creationId xmlns:a16="http://schemas.microsoft.com/office/drawing/2014/main" id="{847E391F-FDE2-44B2-850D-A8FF8E2031D6}"/>
                </a:ext>
              </a:extLst>
            </p:cNvPr>
            <p:cNvSpPr>
              <a:spLocks/>
            </p:cNvSpPr>
            <p:nvPr/>
          </p:nvSpPr>
          <p:spPr bwMode="auto">
            <a:xfrm>
              <a:off x="5311" y="1885"/>
              <a:ext cx="387" cy="47"/>
            </a:xfrm>
            <a:custGeom>
              <a:avLst/>
              <a:gdLst>
                <a:gd name="T0" fmla="*/ 163 w 163"/>
                <a:gd name="T1" fmla="*/ 1 h 20"/>
                <a:gd name="T2" fmla="*/ 157 w 163"/>
                <a:gd name="T3" fmla="*/ 2 h 20"/>
                <a:gd name="T4" fmla="*/ 139 w 163"/>
                <a:gd name="T5" fmla="*/ 2 h 20"/>
                <a:gd name="T6" fmla="*/ 81 w 163"/>
                <a:gd name="T7" fmla="*/ 7 h 20"/>
                <a:gd name="T8" fmla="*/ 24 w 163"/>
                <a:gd name="T9" fmla="*/ 15 h 20"/>
                <a:gd name="T10" fmla="*/ 7 w 163"/>
                <a:gd name="T11" fmla="*/ 18 h 20"/>
                <a:gd name="T12" fmla="*/ 0 w 163"/>
                <a:gd name="T13" fmla="*/ 20 h 20"/>
                <a:gd name="T14" fmla="*/ 6 w 163"/>
                <a:gd name="T15" fmla="*/ 18 h 20"/>
                <a:gd name="T16" fmla="*/ 24 w 163"/>
                <a:gd name="T17" fmla="*/ 13 h 20"/>
                <a:gd name="T18" fmla="*/ 81 w 163"/>
                <a:gd name="T19" fmla="*/ 4 h 20"/>
                <a:gd name="T20" fmla="*/ 139 w 163"/>
                <a:gd name="T21" fmla="*/ 0 h 20"/>
                <a:gd name="T22" fmla="*/ 157 w 163"/>
                <a:gd name="T23" fmla="*/ 1 h 20"/>
                <a:gd name="T24" fmla="*/ 163 w 163"/>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20">
                  <a:moveTo>
                    <a:pt x="163" y="1"/>
                  </a:moveTo>
                  <a:cubicBezTo>
                    <a:pt x="163" y="2"/>
                    <a:pt x="161" y="2"/>
                    <a:pt x="157" y="2"/>
                  </a:cubicBezTo>
                  <a:cubicBezTo>
                    <a:pt x="153" y="2"/>
                    <a:pt x="147" y="2"/>
                    <a:pt x="139" y="2"/>
                  </a:cubicBezTo>
                  <a:cubicBezTo>
                    <a:pt x="124" y="3"/>
                    <a:pt x="104" y="4"/>
                    <a:pt x="81" y="7"/>
                  </a:cubicBezTo>
                  <a:cubicBezTo>
                    <a:pt x="59" y="9"/>
                    <a:pt x="39" y="12"/>
                    <a:pt x="24" y="15"/>
                  </a:cubicBezTo>
                  <a:cubicBezTo>
                    <a:pt x="17" y="16"/>
                    <a:pt x="11" y="18"/>
                    <a:pt x="7" y="18"/>
                  </a:cubicBezTo>
                  <a:cubicBezTo>
                    <a:pt x="3" y="19"/>
                    <a:pt x="0" y="20"/>
                    <a:pt x="0" y="20"/>
                  </a:cubicBezTo>
                  <a:cubicBezTo>
                    <a:pt x="0" y="19"/>
                    <a:pt x="2" y="19"/>
                    <a:pt x="6" y="18"/>
                  </a:cubicBezTo>
                  <a:cubicBezTo>
                    <a:pt x="10" y="16"/>
                    <a:pt x="16" y="15"/>
                    <a:pt x="24" y="13"/>
                  </a:cubicBezTo>
                  <a:cubicBezTo>
                    <a:pt x="38" y="10"/>
                    <a:pt x="58" y="7"/>
                    <a:pt x="81" y="4"/>
                  </a:cubicBezTo>
                  <a:cubicBezTo>
                    <a:pt x="104" y="2"/>
                    <a:pt x="124" y="1"/>
                    <a:pt x="139" y="0"/>
                  </a:cubicBezTo>
                  <a:cubicBezTo>
                    <a:pt x="147" y="0"/>
                    <a:pt x="153" y="1"/>
                    <a:pt x="157" y="1"/>
                  </a:cubicBezTo>
                  <a:cubicBezTo>
                    <a:pt x="161" y="1"/>
                    <a:pt x="163" y="1"/>
                    <a:pt x="163" y="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8">
              <a:extLst>
                <a:ext uri="{FF2B5EF4-FFF2-40B4-BE49-F238E27FC236}">
                  <a16:creationId xmlns:a16="http://schemas.microsoft.com/office/drawing/2014/main" id="{3EFE613C-0482-4346-95FC-8A469B1B530A}"/>
                </a:ext>
              </a:extLst>
            </p:cNvPr>
            <p:cNvSpPr>
              <a:spLocks/>
            </p:cNvSpPr>
            <p:nvPr/>
          </p:nvSpPr>
          <p:spPr bwMode="auto">
            <a:xfrm>
              <a:off x="4957" y="1842"/>
              <a:ext cx="157" cy="501"/>
            </a:xfrm>
            <a:custGeom>
              <a:avLst/>
              <a:gdLst>
                <a:gd name="T0" fmla="*/ 66 w 66"/>
                <a:gd name="T1" fmla="*/ 211 h 211"/>
                <a:gd name="T2" fmla="*/ 65 w 66"/>
                <a:gd name="T3" fmla="*/ 209 h 211"/>
                <a:gd name="T4" fmla="*/ 63 w 66"/>
                <a:gd name="T5" fmla="*/ 203 h 211"/>
                <a:gd name="T6" fmla="*/ 55 w 66"/>
                <a:gd name="T7" fmla="*/ 181 h 211"/>
                <a:gd name="T8" fmla="*/ 32 w 66"/>
                <a:gd name="T9" fmla="*/ 106 h 211"/>
                <a:gd name="T10" fmla="*/ 10 w 66"/>
                <a:gd name="T11" fmla="*/ 31 h 211"/>
                <a:gd name="T12" fmla="*/ 3 w 66"/>
                <a:gd name="T13" fmla="*/ 8 h 211"/>
                <a:gd name="T14" fmla="*/ 1 w 66"/>
                <a:gd name="T15" fmla="*/ 2 h 211"/>
                <a:gd name="T16" fmla="*/ 0 w 66"/>
                <a:gd name="T17" fmla="*/ 0 h 211"/>
                <a:gd name="T18" fmla="*/ 1 w 66"/>
                <a:gd name="T19" fmla="*/ 2 h 211"/>
                <a:gd name="T20" fmla="*/ 4 w 66"/>
                <a:gd name="T21" fmla="*/ 8 h 211"/>
                <a:gd name="T22" fmla="*/ 11 w 66"/>
                <a:gd name="T23" fmla="*/ 30 h 211"/>
                <a:gd name="T24" fmla="*/ 34 w 66"/>
                <a:gd name="T25" fmla="*/ 105 h 211"/>
                <a:gd name="T26" fmla="*/ 56 w 66"/>
                <a:gd name="T27" fmla="*/ 180 h 211"/>
                <a:gd name="T28" fmla="*/ 64 w 66"/>
                <a:gd name="T29" fmla="*/ 203 h 211"/>
                <a:gd name="T30" fmla="*/ 65 w 66"/>
                <a:gd name="T31" fmla="*/ 209 h 211"/>
                <a:gd name="T32" fmla="*/ 66 w 66"/>
                <a:gd name="T33"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1">
                  <a:moveTo>
                    <a:pt x="66" y="211"/>
                  </a:moveTo>
                  <a:cubicBezTo>
                    <a:pt x="66" y="211"/>
                    <a:pt x="66" y="210"/>
                    <a:pt x="65" y="209"/>
                  </a:cubicBezTo>
                  <a:cubicBezTo>
                    <a:pt x="64" y="207"/>
                    <a:pt x="64" y="205"/>
                    <a:pt x="63" y="203"/>
                  </a:cubicBezTo>
                  <a:cubicBezTo>
                    <a:pt x="61" y="198"/>
                    <a:pt x="58" y="190"/>
                    <a:pt x="55" y="181"/>
                  </a:cubicBezTo>
                  <a:cubicBezTo>
                    <a:pt x="48" y="162"/>
                    <a:pt x="40" y="135"/>
                    <a:pt x="32" y="106"/>
                  </a:cubicBezTo>
                  <a:cubicBezTo>
                    <a:pt x="24" y="76"/>
                    <a:pt x="16" y="50"/>
                    <a:pt x="10" y="31"/>
                  </a:cubicBezTo>
                  <a:cubicBezTo>
                    <a:pt x="7" y="21"/>
                    <a:pt x="4" y="14"/>
                    <a:pt x="3" y="8"/>
                  </a:cubicBezTo>
                  <a:cubicBezTo>
                    <a:pt x="2" y="6"/>
                    <a:pt x="1" y="4"/>
                    <a:pt x="1" y="2"/>
                  </a:cubicBezTo>
                  <a:cubicBezTo>
                    <a:pt x="0" y="0"/>
                    <a:pt x="0" y="0"/>
                    <a:pt x="0" y="0"/>
                  </a:cubicBezTo>
                  <a:cubicBezTo>
                    <a:pt x="0" y="0"/>
                    <a:pt x="1" y="0"/>
                    <a:pt x="1" y="2"/>
                  </a:cubicBezTo>
                  <a:cubicBezTo>
                    <a:pt x="2" y="3"/>
                    <a:pt x="3" y="5"/>
                    <a:pt x="4" y="8"/>
                  </a:cubicBezTo>
                  <a:cubicBezTo>
                    <a:pt x="6" y="13"/>
                    <a:pt x="8" y="21"/>
                    <a:pt x="11" y="30"/>
                  </a:cubicBezTo>
                  <a:cubicBezTo>
                    <a:pt x="18" y="49"/>
                    <a:pt x="26" y="76"/>
                    <a:pt x="34" y="105"/>
                  </a:cubicBezTo>
                  <a:cubicBezTo>
                    <a:pt x="43" y="134"/>
                    <a:pt x="50" y="161"/>
                    <a:pt x="56" y="180"/>
                  </a:cubicBezTo>
                  <a:cubicBezTo>
                    <a:pt x="59" y="189"/>
                    <a:pt x="62" y="197"/>
                    <a:pt x="64" y="203"/>
                  </a:cubicBezTo>
                  <a:cubicBezTo>
                    <a:pt x="64" y="205"/>
                    <a:pt x="65" y="207"/>
                    <a:pt x="65" y="209"/>
                  </a:cubicBezTo>
                  <a:cubicBezTo>
                    <a:pt x="66" y="210"/>
                    <a:pt x="66" y="211"/>
                    <a:pt x="66" y="21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9">
              <a:extLst>
                <a:ext uri="{FF2B5EF4-FFF2-40B4-BE49-F238E27FC236}">
                  <a16:creationId xmlns:a16="http://schemas.microsoft.com/office/drawing/2014/main" id="{DBE02CD4-B99E-4992-AADB-DD921B8CA55A}"/>
                </a:ext>
              </a:extLst>
            </p:cNvPr>
            <p:cNvSpPr>
              <a:spLocks/>
            </p:cNvSpPr>
            <p:nvPr/>
          </p:nvSpPr>
          <p:spPr bwMode="auto">
            <a:xfrm>
              <a:off x="5114" y="2217"/>
              <a:ext cx="520" cy="126"/>
            </a:xfrm>
            <a:custGeom>
              <a:avLst/>
              <a:gdLst>
                <a:gd name="T0" fmla="*/ 219 w 219"/>
                <a:gd name="T1" fmla="*/ 0 h 53"/>
                <a:gd name="T2" fmla="*/ 217 w 219"/>
                <a:gd name="T3" fmla="*/ 1 h 53"/>
                <a:gd name="T4" fmla="*/ 210 w 219"/>
                <a:gd name="T5" fmla="*/ 2 h 53"/>
                <a:gd name="T6" fmla="*/ 187 w 219"/>
                <a:gd name="T7" fmla="*/ 8 h 53"/>
                <a:gd name="T8" fmla="*/ 110 w 219"/>
                <a:gd name="T9" fmla="*/ 28 h 53"/>
                <a:gd name="T10" fmla="*/ 32 w 219"/>
                <a:gd name="T11" fmla="*/ 47 h 53"/>
                <a:gd name="T12" fmla="*/ 9 w 219"/>
                <a:gd name="T13" fmla="*/ 52 h 53"/>
                <a:gd name="T14" fmla="*/ 2 w 219"/>
                <a:gd name="T15" fmla="*/ 53 h 53"/>
                <a:gd name="T16" fmla="*/ 0 w 219"/>
                <a:gd name="T17" fmla="*/ 53 h 53"/>
                <a:gd name="T18" fmla="*/ 2 w 219"/>
                <a:gd name="T19" fmla="*/ 52 h 53"/>
                <a:gd name="T20" fmla="*/ 9 w 219"/>
                <a:gd name="T21" fmla="*/ 51 h 53"/>
                <a:gd name="T22" fmla="*/ 32 w 219"/>
                <a:gd name="T23" fmla="*/ 45 h 53"/>
                <a:gd name="T24" fmla="*/ 109 w 219"/>
                <a:gd name="T25" fmla="*/ 25 h 53"/>
                <a:gd name="T26" fmla="*/ 186 w 219"/>
                <a:gd name="T27" fmla="*/ 6 h 53"/>
                <a:gd name="T28" fmla="*/ 210 w 219"/>
                <a:gd name="T29" fmla="*/ 1 h 53"/>
                <a:gd name="T30" fmla="*/ 216 w 219"/>
                <a:gd name="T31" fmla="*/ 0 h 53"/>
                <a:gd name="T32" fmla="*/ 219 w 219"/>
                <a:gd name="T3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53">
                  <a:moveTo>
                    <a:pt x="219" y="0"/>
                  </a:moveTo>
                  <a:cubicBezTo>
                    <a:pt x="219" y="0"/>
                    <a:pt x="218" y="0"/>
                    <a:pt x="217" y="1"/>
                  </a:cubicBezTo>
                  <a:cubicBezTo>
                    <a:pt x="215" y="1"/>
                    <a:pt x="213" y="2"/>
                    <a:pt x="210" y="2"/>
                  </a:cubicBezTo>
                  <a:cubicBezTo>
                    <a:pt x="204" y="4"/>
                    <a:pt x="196" y="6"/>
                    <a:pt x="187" y="8"/>
                  </a:cubicBezTo>
                  <a:cubicBezTo>
                    <a:pt x="167" y="13"/>
                    <a:pt x="140" y="20"/>
                    <a:pt x="110" y="28"/>
                  </a:cubicBezTo>
                  <a:cubicBezTo>
                    <a:pt x="80" y="35"/>
                    <a:pt x="52" y="42"/>
                    <a:pt x="32" y="47"/>
                  </a:cubicBezTo>
                  <a:cubicBezTo>
                    <a:pt x="22" y="49"/>
                    <a:pt x="14" y="50"/>
                    <a:pt x="9" y="52"/>
                  </a:cubicBezTo>
                  <a:cubicBezTo>
                    <a:pt x="6" y="52"/>
                    <a:pt x="4" y="52"/>
                    <a:pt x="2" y="53"/>
                  </a:cubicBezTo>
                  <a:cubicBezTo>
                    <a:pt x="1" y="53"/>
                    <a:pt x="0" y="53"/>
                    <a:pt x="0" y="53"/>
                  </a:cubicBezTo>
                  <a:cubicBezTo>
                    <a:pt x="0" y="53"/>
                    <a:pt x="1" y="53"/>
                    <a:pt x="2" y="52"/>
                  </a:cubicBezTo>
                  <a:cubicBezTo>
                    <a:pt x="4" y="52"/>
                    <a:pt x="6" y="51"/>
                    <a:pt x="9" y="51"/>
                  </a:cubicBezTo>
                  <a:cubicBezTo>
                    <a:pt x="14" y="49"/>
                    <a:pt x="22" y="47"/>
                    <a:pt x="32" y="45"/>
                  </a:cubicBezTo>
                  <a:cubicBezTo>
                    <a:pt x="52" y="40"/>
                    <a:pt x="79" y="33"/>
                    <a:pt x="109" y="25"/>
                  </a:cubicBezTo>
                  <a:cubicBezTo>
                    <a:pt x="139" y="18"/>
                    <a:pt x="166" y="11"/>
                    <a:pt x="186" y="6"/>
                  </a:cubicBezTo>
                  <a:cubicBezTo>
                    <a:pt x="196" y="4"/>
                    <a:pt x="204" y="2"/>
                    <a:pt x="210" y="1"/>
                  </a:cubicBezTo>
                  <a:cubicBezTo>
                    <a:pt x="213" y="1"/>
                    <a:pt x="215" y="1"/>
                    <a:pt x="216" y="0"/>
                  </a:cubicBezTo>
                  <a:cubicBezTo>
                    <a:pt x="218" y="0"/>
                    <a:pt x="219" y="0"/>
                    <a:pt x="219"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0">
              <a:extLst>
                <a:ext uri="{FF2B5EF4-FFF2-40B4-BE49-F238E27FC236}">
                  <a16:creationId xmlns:a16="http://schemas.microsoft.com/office/drawing/2014/main" id="{D947E78B-90B7-4B17-B66C-7662033051B0}"/>
                </a:ext>
              </a:extLst>
            </p:cNvPr>
            <p:cNvSpPr>
              <a:spLocks noChangeArrowheads="1"/>
            </p:cNvSpPr>
            <p:nvPr/>
          </p:nvSpPr>
          <p:spPr bwMode="auto">
            <a:xfrm>
              <a:off x="1835" y="4114"/>
              <a:ext cx="4015" cy="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1">
              <a:extLst>
                <a:ext uri="{FF2B5EF4-FFF2-40B4-BE49-F238E27FC236}">
                  <a16:creationId xmlns:a16="http://schemas.microsoft.com/office/drawing/2014/main" id="{173142B7-D1EE-4787-9E88-51D9307F62E0}"/>
                </a:ext>
              </a:extLst>
            </p:cNvPr>
            <p:cNvSpPr>
              <a:spLocks/>
            </p:cNvSpPr>
            <p:nvPr/>
          </p:nvSpPr>
          <p:spPr bwMode="auto">
            <a:xfrm>
              <a:off x="3048" y="220"/>
              <a:ext cx="1045" cy="1021"/>
            </a:xfrm>
            <a:custGeom>
              <a:avLst/>
              <a:gdLst>
                <a:gd name="T0" fmla="*/ 0 w 440"/>
                <a:gd name="T1" fmla="*/ 117 h 430"/>
                <a:gd name="T2" fmla="*/ 96 w 440"/>
                <a:gd name="T3" fmla="*/ 411 h 430"/>
                <a:gd name="T4" fmla="*/ 220 w 440"/>
                <a:gd name="T5" fmla="*/ 415 h 430"/>
                <a:gd name="T6" fmla="*/ 440 w 440"/>
                <a:gd name="T7" fmla="*/ 336 h 430"/>
                <a:gd name="T8" fmla="*/ 309 w 440"/>
                <a:gd name="T9" fmla="*/ 0 h 430"/>
                <a:gd name="T10" fmla="*/ 0 w 440"/>
                <a:gd name="T11" fmla="*/ 117 h 430"/>
              </a:gdLst>
              <a:ahLst/>
              <a:cxnLst>
                <a:cxn ang="0">
                  <a:pos x="T0" y="T1"/>
                </a:cxn>
                <a:cxn ang="0">
                  <a:pos x="T2" y="T3"/>
                </a:cxn>
                <a:cxn ang="0">
                  <a:pos x="T4" y="T5"/>
                </a:cxn>
                <a:cxn ang="0">
                  <a:pos x="T6" y="T7"/>
                </a:cxn>
                <a:cxn ang="0">
                  <a:pos x="T8" y="T9"/>
                </a:cxn>
                <a:cxn ang="0">
                  <a:pos x="T10" y="T11"/>
                </a:cxn>
              </a:cxnLst>
              <a:rect l="0" t="0" r="r" b="b"/>
              <a:pathLst>
                <a:path w="440" h="430">
                  <a:moveTo>
                    <a:pt x="0" y="117"/>
                  </a:moveTo>
                  <a:cubicBezTo>
                    <a:pt x="96" y="411"/>
                    <a:pt x="96" y="411"/>
                    <a:pt x="96" y="411"/>
                  </a:cubicBezTo>
                  <a:cubicBezTo>
                    <a:pt x="134" y="422"/>
                    <a:pt x="174" y="430"/>
                    <a:pt x="220" y="415"/>
                  </a:cubicBezTo>
                  <a:cubicBezTo>
                    <a:pt x="440" y="336"/>
                    <a:pt x="440" y="336"/>
                    <a:pt x="440" y="336"/>
                  </a:cubicBezTo>
                  <a:cubicBezTo>
                    <a:pt x="309" y="0"/>
                    <a:pt x="309" y="0"/>
                    <a:pt x="309" y="0"/>
                  </a:cubicBezTo>
                  <a:cubicBezTo>
                    <a:pt x="0" y="117"/>
                    <a:pt x="0" y="117"/>
                    <a:pt x="0" y="117"/>
                  </a:cubicBezTo>
                </a:path>
              </a:pathLst>
            </a:custGeom>
            <a:solidFill>
              <a:schemeClr val="tx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2">
              <a:extLst>
                <a:ext uri="{FF2B5EF4-FFF2-40B4-BE49-F238E27FC236}">
                  <a16:creationId xmlns:a16="http://schemas.microsoft.com/office/drawing/2014/main" id="{4EF51210-4584-47A1-A7A7-22E2EC509776}"/>
                </a:ext>
              </a:extLst>
            </p:cNvPr>
            <p:cNvSpPr>
              <a:spLocks/>
            </p:cNvSpPr>
            <p:nvPr/>
          </p:nvSpPr>
          <p:spPr bwMode="auto">
            <a:xfrm>
              <a:off x="2998" y="210"/>
              <a:ext cx="1045" cy="974"/>
            </a:xfrm>
            <a:custGeom>
              <a:avLst/>
              <a:gdLst>
                <a:gd name="T0" fmla="*/ 0 w 1045"/>
                <a:gd name="T1" fmla="*/ 264 h 974"/>
                <a:gd name="T2" fmla="*/ 228 w 1045"/>
                <a:gd name="T3" fmla="*/ 962 h 974"/>
                <a:gd name="T4" fmla="*/ 523 w 1045"/>
                <a:gd name="T5" fmla="*/ 974 h 974"/>
                <a:gd name="T6" fmla="*/ 1045 w 1045"/>
                <a:gd name="T7" fmla="*/ 784 h 974"/>
                <a:gd name="T8" fmla="*/ 782 w 1045"/>
                <a:gd name="T9" fmla="*/ 0 h 974"/>
                <a:gd name="T10" fmla="*/ 0 w 1045"/>
                <a:gd name="T11" fmla="*/ 264 h 974"/>
              </a:gdLst>
              <a:ahLst/>
              <a:cxnLst>
                <a:cxn ang="0">
                  <a:pos x="T0" y="T1"/>
                </a:cxn>
                <a:cxn ang="0">
                  <a:pos x="T2" y="T3"/>
                </a:cxn>
                <a:cxn ang="0">
                  <a:pos x="T4" y="T5"/>
                </a:cxn>
                <a:cxn ang="0">
                  <a:pos x="T6" y="T7"/>
                </a:cxn>
                <a:cxn ang="0">
                  <a:pos x="T8" y="T9"/>
                </a:cxn>
                <a:cxn ang="0">
                  <a:pos x="T10" y="T11"/>
                </a:cxn>
              </a:cxnLst>
              <a:rect l="0" t="0" r="r" b="b"/>
              <a:pathLst>
                <a:path w="1045" h="974">
                  <a:moveTo>
                    <a:pt x="0" y="264"/>
                  </a:moveTo>
                  <a:lnTo>
                    <a:pt x="228" y="962"/>
                  </a:lnTo>
                  <a:lnTo>
                    <a:pt x="523" y="974"/>
                  </a:lnTo>
                  <a:lnTo>
                    <a:pt x="1045" y="784"/>
                  </a:lnTo>
                  <a:lnTo>
                    <a:pt x="782" y="0"/>
                  </a:lnTo>
                  <a:lnTo>
                    <a:pt x="0" y="264"/>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3">
              <a:extLst>
                <a:ext uri="{FF2B5EF4-FFF2-40B4-BE49-F238E27FC236}">
                  <a16:creationId xmlns:a16="http://schemas.microsoft.com/office/drawing/2014/main" id="{AB2E150A-9737-4EF6-A5D5-F0E22612BFCE}"/>
                </a:ext>
              </a:extLst>
            </p:cNvPr>
            <p:cNvSpPr>
              <a:spLocks/>
            </p:cNvSpPr>
            <p:nvPr/>
          </p:nvSpPr>
          <p:spPr bwMode="auto">
            <a:xfrm>
              <a:off x="2998" y="210"/>
              <a:ext cx="1045" cy="974"/>
            </a:xfrm>
            <a:custGeom>
              <a:avLst/>
              <a:gdLst>
                <a:gd name="T0" fmla="*/ 0 w 1045"/>
                <a:gd name="T1" fmla="*/ 264 h 974"/>
                <a:gd name="T2" fmla="*/ 228 w 1045"/>
                <a:gd name="T3" fmla="*/ 962 h 974"/>
                <a:gd name="T4" fmla="*/ 523 w 1045"/>
                <a:gd name="T5" fmla="*/ 974 h 974"/>
                <a:gd name="T6" fmla="*/ 1045 w 1045"/>
                <a:gd name="T7" fmla="*/ 784 h 974"/>
                <a:gd name="T8" fmla="*/ 782 w 1045"/>
                <a:gd name="T9" fmla="*/ 0 h 974"/>
                <a:gd name="T10" fmla="*/ 0 w 1045"/>
                <a:gd name="T11" fmla="*/ 264 h 974"/>
              </a:gdLst>
              <a:ahLst/>
              <a:cxnLst>
                <a:cxn ang="0">
                  <a:pos x="T0" y="T1"/>
                </a:cxn>
                <a:cxn ang="0">
                  <a:pos x="T2" y="T3"/>
                </a:cxn>
                <a:cxn ang="0">
                  <a:pos x="T4" y="T5"/>
                </a:cxn>
                <a:cxn ang="0">
                  <a:pos x="T6" y="T7"/>
                </a:cxn>
                <a:cxn ang="0">
                  <a:pos x="T8" y="T9"/>
                </a:cxn>
                <a:cxn ang="0">
                  <a:pos x="T10" y="T11"/>
                </a:cxn>
              </a:cxnLst>
              <a:rect l="0" t="0" r="r" b="b"/>
              <a:pathLst>
                <a:path w="1045" h="974">
                  <a:moveTo>
                    <a:pt x="0" y="264"/>
                  </a:moveTo>
                  <a:lnTo>
                    <a:pt x="228" y="962"/>
                  </a:lnTo>
                  <a:lnTo>
                    <a:pt x="523" y="974"/>
                  </a:lnTo>
                  <a:lnTo>
                    <a:pt x="1045" y="784"/>
                  </a:lnTo>
                  <a:lnTo>
                    <a:pt x="782" y="0"/>
                  </a:lnTo>
                  <a:lnTo>
                    <a:pt x="0" y="2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4">
              <a:extLst>
                <a:ext uri="{FF2B5EF4-FFF2-40B4-BE49-F238E27FC236}">
                  <a16:creationId xmlns:a16="http://schemas.microsoft.com/office/drawing/2014/main" id="{889A6650-6158-4932-B02B-EBF682B49245}"/>
                </a:ext>
              </a:extLst>
            </p:cNvPr>
            <p:cNvSpPr>
              <a:spLocks/>
            </p:cNvSpPr>
            <p:nvPr/>
          </p:nvSpPr>
          <p:spPr bwMode="auto">
            <a:xfrm>
              <a:off x="3226" y="1089"/>
              <a:ext cx="295" cy="121"/>
            </a:xfrm>
            <a:custGeom>
              <a:avLst/>
              <a:gdLst>
                <a:gd name="T0" fmla="*/ 30 w 124"/>
                <a:gd name="T1" fmla="*/ 0 h 51"/>
                <a:gd name="T2" fmla="*/ 0 w 124"/>
                <a:gd name="T3" fmla="*/ 35 h 51"/>
                <a:gd name="T4" fmla="*/ 53 w 124"/>
                <a:gd name="T5" fmla="*/ 50 h 51"/>
                <a:gd name="T6" fmla="*/ 124 w 124"/>
                <a:gd name="T7" fmla="*/ 40 h 51"/>
                <a:gd name="T8" fmla="*/ 30 w 124"/>
                <a:gd name="T9" fmla="*/ 0 h 51"/>
              </a:gdLst>
              <a:ahLst/>
              <a:cxnLst>
                <a:cxn ang="0">
                  <a:pos x="T0" y="T1"/>
                </a:cxn>
                <a:cxn ang="0">
                  <a:pos x="T2" y="T3"/>
                </a:cxn>
                <a:cxn ang="0">
                  <a:pos x="T4" y="T5"/>
                </a:cxn>
                <a:cxn ang="0">
                  <a:pos x="T6" y="T7"/>
                </a:cxn>
                <a:cxn ang="0">
                  <a:pos x="T8" y="T9"/>
                </a:cxn>
              </a:cxnLst>
              <a:rect l="0" t="0" r="r" b="b"/>
              <a:pathLst>
                <a:path w="124" h="51">
                  <a:moveTo>
                    <a:pt x="30" y="0"/>
                  </a:moveTo>
                  <a:cubicBezTo>
                    <a:pt x="0" y="35"/>
                    <a:pt x="0" y="35"/>
                    <a:pt x="0" y="35"/>
                  </a:cubicBezTo>
                  <a:cubicBezTo>
                    <a:pt x="0" y="35"/>
                    <a:pt x="26" y="50"/>
                    <a:pt x="53" y="50"/>
                  </a:cubicBezTo>
                  <a:cubicBezTo>
                    <a:pt x="79" y="51"/>
                    <a:pt x="102" y="48"/>
                    <a:pt x="124" y="40"/>
                  </a:cubicBezTo>
                  <a:cubicBezTo>
                    <a:pt x="124" y="40"/>
                    <a:pt x="68" y="43"/>
                    <a:pt x="30" y="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5">
              <a:extLst>
                <a:ext uri="{FF2B5EF4-FFF2-40B4-BE49-F238E27FC236}">
                  <a16:creationId xmlns:a16="http://schemas.microsoft.com/office/drawing/2014/main" id="{00192D53-6D69-4FC0-9169-D42BF4CF7D09}"/>
                </a:ext>
              </a:extLst>
            </p:cNvPr>
            <p:cNvSpPr>
              <a:spLocks/>
            </p:cNvSpPr>
            <p:nvPr/>
          </p:nvSpPr>
          <p:spPr bwMode="auto">
            <a:xfrm>
              <a:off x="3226" y="1089"/>
              <a:ext cx="295" cy="119"/>
            </a:xfrm>
            <a:custGeom>
              <a:avLst/>
              <a:gdLst>
                <a:gd name="T0" fmla="*/ 30 w 124"/>
                <a:gd name="T1" fmla="*/ 0 h 50"/>
                <a:gd name="T2" fmla="*/ 30 w 124"/>
                <a:gd name="T3" fmla="*/ 0 h 50"/>
                <a:gd name="T4" fmla="*/ 3 w 124"/>
                <a:gd name="T5" fmla="*/ 36 h 50"/>
                <a:gd name="T6" fmla="*/ 0 w 124"/>
                <a:gd name="T7" fmla="*/ 35 h 50"/>
                <a:gd name="T8" fmla="*/ 53 w 124"/>
                <a:gd name="T9" fmla="*/ 50 h 50"/>
                <a:gd name="T10" fmla="*/ 59 w 124"/>
                <a:gd name="T11" fmla="*/ 50 h 50"/>
                <a:gd name="T12" fmla="*/ 124 w 124"/>
                <a:gd name="T13" fmla="*/ 40 h 50"/>
                <a:gd name="T14" fmla="*/ 121 w 124"/>
                <a:gd name="T15" fmla="*/ 40 h 50"/>
                <a:gd name="T16" fmla="*/ 30 w 124"/>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50">
                  <a:moveTo>
                    <a:pt x="30" y="0"/>
                  </a:moveTo>
                  <a:cubicBezTo>
                    <a:pt x="30" y="0"/>
                    <a:pt x="30" y="0"/>
                    <a:pt x="30" y="0"/>
                  </a:cubicBezTo>
                  <a:cubicBezTo>
                    <a:pt x="21" y="17"/>
                    <a:pt x="13" y="36"/>
                    <a:pt x="3" y="36"/>
                  </a:cubicBezTo>
                  <a:cubicBezTo>
                    <a:pt x="2" y="36"/>
                    <a:pt x="1" y="36"/>
                    <a:pt x="0" y="35"/>
                  </a:cubicBezTo>
                  <a:cubicBezTo>
                    <a:pt x="0" y="35"/>
                    <a:pt x="26" y="50"/>
                    <a:pt x="53" y="50"/>
                  </a:cubicBezTo>
                  <a:cubicBezTo>
                    <a:pt x="55" y="50"/>
                    <a:pt x="57" y="50"/>
                    <a:pt x="59" y="50"/>
                  </a:cubicBezTo>
                  <a:cubicBezTo>
                    <a:pt x="83" y="50"/>
                    <a:pt x="104" y="47"/>
                    <a:pt x="124" y="40"/>
                  </a:cubicBezTo>
                  <a:cubicBezTo>
                    <a:pt x="124" y="40"/>
                    <a:pt x="123" y="40"/>
                    <a:pt x="121" y="40"/>
                  </a:cubicBezTo>
                  <a:cubicBezTo>
                    <a:pt x="110" y="40"/>
                    <a:pt x="63" y="37"/>
                    <a:pt x="30"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6">
              <a:extLst>
                <a:ext uri="{FF2B5EF4-FFF2-40B4-BE49-F238E27FC236}">
                  <a16:creationId xmlns:a16="http://schemas.microsoft.com/office/drawing/2014/main" id="{ACF2ABFA-E779-44F0-AD33-E16BC2451DC9}"/>
                </a:ext>
              </a:extLst>
            </p:cNvPr>
            <p:cNvSpPr>
              <a:spLocks/>
            </p:cNvSpPr>
            <p:nvPr/>
          </p:nvSpPr>
          <p:spPr bwMode="auto">
            <a:xfrm>
              <a:off x="2934" y="308"/>
              <a:ext cx="335" cy="342"/>
            </a:xfrm>
            <a:custGeom>
              <a:avLst/>
              <a:gdLst>
                <a:gd name="T0" fmla="*/ 69 w 335"/>
                <a:gd name="T1" fmla="*/ 342 h 342"/>
                <a:gd name="T2" fmla="*/ 335 w 335"/>
                <a:gd name="T3" fmla="*/ 57 h 342"/>
                <a:gd name="T4" fmla="*/ 276 w 335"/>
                <a:gd name="T5" fmla="*/ 0 h 342"/>
                <a:gd name="T6" fmla="*/ 0 w 335"/>
                <a:gd name="T7" fmla="*/ 285 h 342"/>
                <a:gd name="T8" fmla="*/ 69 w 335"/>
                <a:gd name="T9" fmla="*/ 342 h 342"/>
              </a:gdLst>
              <a:ahLst/>
              <a:cxnLst>
                <a:cxn ang="0">
                  <a:pos x="T0" y="T1"/>
                </a:cxn>
                <a:cxn ang="0">
                  <a:pos x="T2" y="T3"/>
                </a:cxn>
                <a:cxn ang="0">
                  <a:pos x="T4" y="T5"/>
                </a:cxn>
                <a:cxn ang="0">
                  <a:pos x="T6" y="T7"/>
                </a:cxn>
                <a:cxn ang="0">
                  <a:pos x="T8" y="T9"/>
                </a:cxn>
              </a:cxnLst>
              <a:rect l="0" t="0" r="r" b="b"/>
              <a:pathLst>
                <a:path w="335" h="342">
                  <a:moveTo>
                    <a:pt x="69" y="342"/>
                  </a:moveTo>
                  <a:lnTo>
                    <a:pt x="335" y="57"/>
                  </a:lnTo>
                  <a:lnTo>
                    <a:pt x="276" y="0"/>
                  </a:lnTo>
                  <a:lnTo>
                    <a:pt x="0" y="285"/>
                  </a:lnTo>
                  <a:lnTo>
                    <a:pt x="69" y="342"/>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7">
              <a:extLst>
                <a:ext uri="{FF2B5EF4-FFF2-40B4-BE49-F238E27FC236}">
                  <a16:creationId xmlns:a16="http://schemas.microsoft.com/office/drawing/2014/main" id="{7308B462-C8F8-4305-B060-EB8784994A8F}"/>
                </a:ext>
              </a:extLst>
            </p:cNvPr>
            <p:cNvSpPr>
              <a:spLocks/>
            </p:cNvSpPr>
            <p:nvPr/>
          </p:nvSpPr>
          <p:spPr bwMode="auto">
            <a:xfrm>
              <a:off x="3537" y="201"/>
              <a:ext cx="394" cy="228"/>
            </a:xfrm>
            <a:custGeom>
              <a:avLst/>
              <a:gdLst>
                <a:gd name="T0" fmla="*/ 394 w 394"/>
                <a:gd name="T1" fmla="*/ 145 h 228"/>
                <a:gd name="T2" fmla="*/ 31 w 394"/>
                <a:gd name="T3" fmla="*/ 0 h 228"/>
                <a:gd name="T4" fmla="*/ 0 w 394"/>
                <a:gd name="T5" fmla="*/ 76 h 228"/>
                <a:gd name="T6" fmla="*/ 364 w 394"/>
                <a:gd name="T7" fmla="*/ 228 h 228"/>
                <a:gd name="T8" fmla="*/ 394 w 394"/>
                <a:gd name="T9" fmla="*/ 145 h 228"/>
              </a:gdLst>
              <a:ahLst/>
              <a:cxnLst>
                <a:cxn ang="0">
                  <a:pos x="T0" y="T1"/>
                </a:cxn>
                <a:cxn ang="0">
                  <a:pos x="T2" y="T3"/>
                </a:cxn>
                <a:cxn ang="0">
                  <a:pos x="T4" y="T5"/>
                </a:cxn>
                <a:cxn ang="0">
                  <a:pos x="T6" y="T7"/>
                </a:cxn>
                <a:cxn ang="0">
                  <a:pos x="T8" y="T9"/>
                </a:cxn>
              </a:cxnLst>
              <a:rect l="0" t="0" r="r" b="b"/>
              <a:pathLst>
                <a:path w="394" h="228">
                  <a:moveTo>
                    <a:pt x="394" y="145"/>
                  </a:moveTo>
                  <a:lnTo>
                    <a:pt x="31" y="0"/>
                  </a:lnTo>
                  <a:lnTo>
                    <a:pt x="0" y="76"/>
                  </a:lnTo>
                  <a:lnTo>
                    <a:pt x="364" y="228"/>
                  </a:lnTo>
                  <a:lnTo>
                    <a:pt x="394" y="14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8">
              <a:extLst>
                <a:ext uri="{FF2B5EF4-FFF2-40B4-BE49-F238E27FC236}">
                  <a16:creationId xmlns:a16="http://schemas.microsoft.com/office/drawing/2014/main" id="{B26CE545-0382-4EEF-9967-00C5D1E01399}"/>
                </a:ext>
              </a:extLst>
            </p:cNvPr>
            <p:cNvSpPr>
              <a:spLocks/>
            </p:cNvSpPr>
            <p:nvPr/>
          </p:nvSpPr>
          <p:spPr bwMode="auto">
            <a:xfrm>
              <a:off x="3181" y="486"/>
              <a:ext cx="596" cy="204"/>
            </a:xfrm>
            <a:custGeom>
              <a:avLst/>
              <a:gdLst>
                <a:gd name="T0" fmla="*/ 250 w 251"/>
                <a:gd name="T1" fmla="*/ 0 h 86"/>
                <a:gd name="T2" fmla="*/ 126 w 251"/>
                <a:gd name="T3" fmla="*/ 44 h 86"/>
                <a:gd name="T4" fmla="*/ 1 w 251"/>
                <a:gd name="T5" fmla="*/ 85 h 86"/>
                <a:gd name="T6" fmla="*/ 125 w 251"/>
                <a:gd name="T7" fmla="*/ 42 h 86"/>
                <a:gd name="T8" fmla="*/ 250 w 251"/>
                <a:gd name="T9" fmla="*/ 0 h 86"/>
              </a:gdLst>
              <a:ahLst/>
              <a:cxnLst>
                <a:cxn ang="0">
                  <a:pos x="T0" y="T1"/>
                </a:cxn>
                <a:cxn ang="0">
                  <a:pos x="T2" y="T3"/>
                </a:cxn>
                <a:cxn ang="0">
                  <a:pos x="T4" y="T5"/>
                </a:cxn>
                <a:cxn ang="0">
                  <a:pos x="T6" y="T7"/>
                </a:cxn>
                <a:cxn ang="0">
                  <a:pos x="T8" y="T9"/>
                </a:cxn>
              </a:cxnLst>
              <a:rect l="0" t="0" r="r" b="b"/>
              <a:pathLst>
                <a:path w="251" h="86">
                  <a:moveTo>
                    <a:pt x="250" y="0"/>
                  </a:moveTo>
                  <a:cubicBezTo>
                    <a:pt x="251" y="1"/>
                    <a:pt x="195" y="20"/>
                    <a:pt x="126" y="44"/>
                  </a:cubicBezTo>
                  <a:cubicBezTo>
                    <a:pt x="57" y="67"/>
                    <a:pt x="1" y="86"/>
                    <a:pt x="1" y="85"/>
                  </a:cubicBezTo>
                  <a:cubicBezTo>
                    <a:pt x="0" y="85"/>
                    <a:pt x="56" y="65"/>
                    <a:pt x="125" y="42"/>
                  </a:cubicBezTo>
                  <a:cubicBezTo>
                    <a:pt x="194" y="18"/>
                    <a:pt x="250" y="0"/>
                    <a:pt x="25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9">
              <a:extLst>
                <a:ext uri="{FF2B5EF4-FFF2-40B4-BE49-F238E27FC236}">
                  <a16:creationId xmlns:a16="http://schemas.microsoft.com/office/drawing/2014/main" id="{73B1347A-1375-40B9-83E8-27E4E52149E7}"/>
                </a:ext>
              </a:extLst>
            </p:cNvPr>
            <p:cNvSpPr>
              <a:spLocks/>
            </p:cNvSpPr>
            <p:nvPr/>
          </p:nvSpPr>
          <p:spPr bwMode="auto">
            <a:xfrm>
              <a:off x="3217" y="593"/>
              <a:ext cx="593" cy="204"/>
            </a:xfrm>
            <a:custGeom>
              <a:avLst/>
              <a:gdLst>
                <a:gd name="T0" fmla="*/ 250 w 250"/>
                <a:gd name="T1" fmla="*/ 1 h 86"/>
                <a:gd name="T2" fmla="*/ 125 w 250"/>
                <a:gd name="T3" fmla="*/ 44 h 86"/>
                <a:gd name="T4" fmla="*/ 0 w 250"/>
                <a:gd name="T5" fmla="*/ 86 h 86"/>
                <a:gd name="T6" fmla="*/ 124 w 250"/>
                <a:gd name="T7" fmla="*/ 42 h 86"/>
                <a:gd name="T8" fmla="*/ 250 w 250"/>
                <a:gd name="T9" fmla="*/ 1 h 86"/>
              </a:gdLst>
              <a:ahLst/>
              <a:cxnLst>
                <a:cxn ang="0">
                  <a:pos x="T0" y="T1"/>
                </a:cxn>
                <a:cxn ang="0">
                  <a:pos x="T2" y="T3"/>
                </a:cxn>
                <a:cxn ang="0">
                  <a:pos x="T4" y="T5"/>
                </a:cxn>
                <a:cxn ang="0">
                  <a:pos x="T6" y="T7"/>
                </a:cxn>
                <a:cxn ang="0">
                  <a:pos x="T8" y="T9"/>
                </a:cxn>
              </a:cxnLst>
              <a:rect l="0" t="0" r="r" b="b"/>
              <a:pathLst>
                <a:path w="250" h="86">
                  <a:moveTo>
                    <a:pt x="250" y="1"/>
                  </a:moveTo>
                  <a:cubicBezTo>
                    <a:pt x="250" y="1"/>
                    <a:pt x="194" y="21"/>
                    <a:pt x="125" y="44"/>
                  </a:cubicBezTo>
                  <a:cubicBezTo>
                    <a:pt x="56" y="68"/>
                    <a:pt x="0" y="86"/>
                    <a:pt x="0" y="86"/>
                  </a:cubicBezTo>
                  <a:cubicBezTo>
                    <a:pt x="0" y="85"/>
                    <a:pt x="55" y="66"/>
                    <a:pt x="124" y="42"/>
                  </a:cubicBezTo>
                  <a:cubicBezTo>
                    <a:pt x="193" y="19"/>
                    <a:pt x="249" y="0"/>
                    <a:pt x="25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0">
              <a:extLst>
                <a:ext uri="{FF2B5EF4-FFF2-40B4-BE49-F238E27FC236}">
                  <a16:creationId xmlns:a16="http://schemas.microsoft.com/office/drawing/2014/main" id="{8413023A-EFA1-4D28-9B5F-A32DEA5F6A5A}"/>
                </a:ext>
              </a:extLst>
            </p:cNvPr>
            <p:cNvSpPr>
              <a:spLocks/>
            </p:cNvSpPr>
            <p:nvPr/>
          </p:nvSpPr>
          <p:spPr bwMode="auto">
            <a:xfrm>
              <a:off x="3252" y="688"/>
              <a:ext cx="594" cy="204"/>
            </a:xfrm>
            <a:custGeom>
              <a:avLst/>
              <a:gdLst>
                <a:gd name="T0" fmla="*/ 250 w 250"/>
                <a:gd name="T1" fmla="*/ 0 h 86"/>
                <a:gd name="T2" fmla="*/ 125 w 250"/>
                <a:gd name="T3" fmla="*/ 44 h 86"/>
                <a:gd name="T4" fmla="*/ 0 w 250"/>
                <a:gd name="T5" fmla="*/ 85 h 86"/>
                <a:gd name="T6" fmla="*/ 124 w 250"/>
                <a:gd name="T7" fmla="*/ 42 h 86"/>
                <a:gd name="T8" fmla="*/ 250 w 250"/>
                <a:gd name="T9" fmla="*/ 0 h 86"/>
              </a:gdLst>
              <a:ahLst/>
              <a:cxnLst>
                <a:cxn ang="0">
                  <a:pos x="T0" y="T1"/>
                </a:cxn>
                <a:cxn ang="0">
                  <a:pos x="T2" y="T3"/>
                </a:cxn>
                <a:cxn ang="0">
                  <a:pos x="T4" y="T5"/>
                </a:cxn>
                <a:cxn ang="0">
                  <a:pos x="T6" y="T7"/>
                </a:cxn>
                <a:cxn ang="0">
                  <a:pos x="T8" y="T9"/>
                </a:cxn>
              </a:cxnLst>
              <a:rect l="0" t="0" r="r" b="b"/>
              <a:pathLst>
                <a:path w="250" h="86">
                  <a:moveTo>
                    <a:pt x="250" y="0"/>
                  </a:moveTo>
                  <a:cubicBezTo>
                    <a:pt x="250" y="1"/>
                    <a:pt x="194" y="20"/>
                    <a:pt x="125" y="44"/>
                  </a:cubicBezTo>
                  <a:cubicBezTo>
                    <a:pt x="56" y="67"/>
                    <a:pt x="0" y="86"/>
                    <a:pt x="0" y="85"/>
                  </a:cubicBezTo>
                  <a:cubicBezTo>
                    <a:pt x="0" y="85"/>
                    <a:pt x="55" y="65"/>
                    <a:pt x="124" y="42"/>
                  </a:cubicBezTo>
                  <a:cubicBezTo>
                    <a:pt x="193" y="18"/>
                    <a:pt x="249" y="0"/>
                    <a:pt x="25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1">
              <a:extLst>
                <a:ext uri="{FF2B5EF4-FFF2-40B4-BE49-F238E27FC236}">
                  <a16:creationId xmlns:a16="http://schemas.microsoft.com/office/drawing/2014/main" id="{FD92716E-66CC-4DC4-8965-68372D5D6DE0}"/>
                </a:ext>
              </a:extLst>
            </p:cNvPr>
            <p:cNvSpPr>
              <a:spLocks/>
            </p:cNvSpPr>
            <p:nvPr/>
          </p:nvSpPr>
          <p:spPr bwMode="auto">
            <a:xfrm>
              <a:off x="3281" y="778"/>
              <a:ext cx="596" cy="204"/>
            </a:xfrm>
            <a:custGeom>
              <a:avLst/>
              <a:gdLst>
                <a:gd name="T0" fmla="*/ 250 w 251"/>
                <a:gd name="T1" fmla="*/ 1 h 86"/>
                <a:gd name="T2" fmla="*/ 126 w 251"/>
                <a:gd name="T3" fmla="*/ 44 h 86"/>
                <a:gd name="T4" fmla="*/ 1 w 251"/>
                <a:gd name="T5" fmla="*/ 86 h 86"/>
                <a:gd name="T6" fmla="*/ 125 w 251"/>
                <a:gd name="T7" fmla="*/ 42 h 86"/>
                <a:gd name="T8" fmla="*/ 250 w 251"/>
                <a:gd name="T9" fmla="*/ 1 h 86"/>
              </a:gdLst>
              <a:ahLst/>
              <a:cxnLst>
                <a:cxn ang="0">
                  <a:pos x="T0" y="T1"/>
                </a:cxn>
                <a:cxn ang="0">
                  <a:pos x="T2" y="T3"/>
                </a:cxn>
                <a:cxn ang="0">
                  <a:pos x="T4" y="T5"/>
                </a:cxn>
                <a:cxn ang="0">
                  <a:pos x="T6" y="T7"/>
                </a:cxn>
                <a:cxn ang="0">
                  <a:pos x="T8" y="T9"/>
                </a:cxn>
              </a:cxnLst>
              <a:rect l="0" t="0" r="r" b="b"/>
              <a:pathLst>
                <a:path w="251" h="86">
                  <a:moveTo>
                    <a:pt x="250" y="1"/>
                  </a:moveTo>
                  <a:cubicBezTo>
                    <a:pt x="251" y="1"/>
                    <a:pt x="195" y="21"/>
                    <a:pt x="126" y="44"/>
                  </a:cubicBezTo>
                  <a:cubicBezTo>
                    <a:pt x="57" y="68"/>
                    <a:pt x="1" y="86"/>
                    <a:pt x="1" y="86"/>
                  </a:cubicBezTo>
                  <a:cubicBezTo>
                    <a:pt x="0" y="85"/>
                    <a:pt x="56" y="66"/>
                    <a:pt x="125" y="42"/>
                  </a:cubicBezTo>
                  <a:cubicBezTo>
                    <a:pt x="194" y="19"/>
                    <a:pt x="250" y="0"/>
                    <a:pt x="250"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2">
              <a:extLst>
                <a:ext uri="{FF2B5EF4-FFF2-40B4-BE49-F238E27FC236}">
                  <a16:creationId xmlns:a16="http://schemas.microsoft.com/office/drawing/2014/main" id="{546A5540-93C2-4090-8C0D-1F588E737C76}"/>
                </a:ext>
              </a:extLst>
            </p:cNvPr>
            <p:cNvSpPr>
              <a:spLocks/>
            </p:cNvSpPr>
            <p:nvPr/>
          </p:nvSpPr>
          <p:spPr bwMode="auto">
            <a:xfrm>
              <a:off x="3870" y="2459"/>
              <a:ext cx="565" cy="1442"/>
            </a:xfrm>
            <a:custGeom>
              <a:avLst/>
              <a:gdLst>
                <a:gd name="T0" fmla="*/ 151 w 238"/>
                <a:gd name="T1" fmla="*/ 136 h 607"/>
                <a:gd name="T2" fmla="*/ 131 w 238"/>
                <a:gd name="T3" fmla="*/ 316 h 607"/>
                <a:gd name="T4" fmla="*/ 68 w 238"/>
                <a:gd name="T5" fmla="*/ 284 h 607"/>
                <a:gd name="T6" fmla="*/ 1 w 238"/>
                <a:gd name="T7" fmla="*/ 485 h 607"/>
                <a:gd name="T8" fmla="*/ 31 w 238"/>
                <a:gd name="T9" fmla="*/ 558 h 607"/>
                <a:gd name="T10" fmla="*/ 238 w 238"/>
                <a:gd name="T11" fmla="*/ 515 h 607"/>
                <a:gd name="T12" fmla="*/ 223 w 238"/>
                <a:gd name="T13" fmla="*/ 0 h 607"/>
                <a:gd name="T14" fmla="*/ 151 w 238"/>
                <a:gd name="T15" fmla="*/ 136 h 6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607">
                  <a:moveTo>
                    <a:pt x="151" y="136"/>
                  </a:moveTo>
                  <a:cubicBezTo>
                    <a:pt x="131" y="316"/>
                    <a:pt x="131" y="316"/>
                    <a:pt x="131" y="316"/>
                  </a:cubicBezTo>
                  <a:cubicBezTo>
                    <a:pt x="131" y="316"/>
                    <a:pt x="94" y="259"/>
                    <a:pt x="68" y="284"/>
                  </a:cubicBezTo>
                  <a:cubicBezTo>
                    <a:pt x="44" y="308"/>
                    <a:pt x="1" y="485"/>
                    <a:pt x="1" y="485"/>
                  </a:cubicBezTo>
                  <a:cubicBezTo>
                    <a:pt x="1" y="485"/>
                    <a:pt x="0" y="543"/>
                    <a:pt x="31" y="558"/>
                  </a:cubicBezTo>
                  <a:cubicBezTo>
                    <a:pt x="129" y="607"/>
                    <a:pt x="238" y="515"/>
                    <a:pt x="238" y="515"/>
                  </a:cubicBezTo>
                  <a:cubicBezTo>
                    <a:pt x="223" y="0"/>
                    <a:pt x="223" y="0"/>
                    <a:pt x="223" y="0"/>
                  </a:cubicBezTo>
                  <a:cubicBezTo>
                    <a:pt x="182" y="34"/>
                    <a:pt x="156" y="83"/>
                    <a:pt x="151" y="13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3">
              <a:extLst>
                <a:ext uri="{FF2B5EF4-FFF2-40B4-BE49-F238E27FC236}">
                  <a16:creationId xmlns:a16="http://schemas.microsoft.com/office/drawing/2014/main" id="{235CD6A3-A487-431D-BF5F-DBF9E5231004}"/>
                </a:ext>
              </a:extLst>
            </p:cNvPr>
            <p:cNvSpPr>
              <a:spLocks/>
            </p:cNvSpPr>
            <p:nvPr/>
          </p:nvSpPr>
          <p:spPr bwMode="auto">
            <a:xfrm>
              <a:off x="4439" y="1391"/>
              <a:ext cx="641" cy="1092"/>
            </a:xfrm>
            <a:custGeom>
              <a:avLst/>
              <a:gdLst>
                <a:gd name="T0" fmla="*/ 242 w 270"/>
                <a:gd name="T1" fmla="*/ 460 h 460"/>
                <a:gd name="T2" fmla="*/ 72 w 270"/>
                <a:gd name="T3" fmla="*/ 447 h 460"/>
                <a:gd name="T4" fmla="*/ 72 w 270"/>
                <a:gd name="T5" fmla="*/ 350 h 460"/>
                <a:gd name="T6" fmla="*/ 1 w 270"/>
                <a:gd name="T7" fmla="*/ 268 h 460"/>
                <a:gd name="T8" fmla="*/ 12 w 270"/>
                <a:gd name="T9" fmla="*/ 35 h 460"/>
                <a:gd name="T10" fmla="*/ 259 w 270"/>
                <a:gd name="T11" fmla="*/ 66 h 460"/>
                <a:gd name="T12" fmla="*/ 270 w 270"/>
                <a:gd name="T13" fmla="*/ 74 h 460"/>
                <a:gd name="T14" fmla="*/ 242 w 270"/>
                <a:gd name="T15" fmla="*/ 460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0" h="460">
                  <a:moveTo>
                    <a:pt x="242" y="460"/>
                  </a:moveTo>
                  <a:cubicBezTo>
                    <a:pt x="72" y="447"/>
                    <a:pt x="72" y="447"/>
                    <a:pt x="72" y="447"/>
                  </a:cubicBezTo>
                  <a:cubicBezTo>
                    <a:pt x="71" y="427"/>
                    <a:pt x="72" y="350"/>
                    <a:pt x="72" y="350"/>
                  </a:cubicBezTo>
                  <a:cubicBezTo>
                    <a:pt x="72" y="350"/>
                    <a:pt x="2" y="339"/>
                    <a:pt x="1" y="268"/>
                  </a:cubicBezTo>
                  <a:cubicBezTo>
                    <a:pt x="0" y="198"/>
                    <a:pt x="12" y="35"/>
                    <a:pt x="12" y="35"/>
                  </a:cubicBezTo>
                  <a:cubicBezTo>
                    <a:pt x="94" y="0"/>
                    <a:pt x="189" y="12"/>
                    <a:pt x="259" y="66"/>
                  </a:cubicBezTo>
                  <a:cubicBezTo>
                    <a:pt x="270" y="74"/>
                    <a:pt x="270" y="74"/>
                    <a:pt x="270" y="74"/>
                  </a:cubicBezTo>
                  <a:lnTo>
                    <a:pt x="242" y="460"/>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4">
              <a:extLst>
                <a:ext uri="{FF2B5EF4-FFF2-40B4-BE49-F238E27FC236}">
                  <a16:creationId xmlns:a16="http://schemas.microsoft.com/office/drawing/2014/main" id="{0252D881-64F0-45B9-A2A9-108826383B96}"/>
                </a:ext>
              </a:extLst>
            </p:cNvPr>
            <p:cNvSpPr>
              <a:spLocks/>
            </p:cNvSpPr>
            <p:nvPr/>
          </p:nvSpPr>
          <p:spPr bwMode="auto">
            <a:xfrm>
              <a:off x="4610" y="2158"/>
              <a:ext cx="221" cy="121"/>
            </a:xfrm>
            <a:custGeom>
              <a:avLst/>
              <a:gdLst>
                <a:gd name="T0" fmla="*/ 0 w 93"/>
                <a:gd name="T1" fmla="*/ 26 h 51"/>
                <a:gd name="T2" fmla="*/ 93 w 93"/>
                <a:gd name="T3" fmla="*/ 0 h 51"/>
                <a:gd name="T4" fmla="*/ 0 w 93"/>
                <a:gd name="T5" fmla="*/ 45 h 51"/>
                <a:gd name="T6" fmla="*/ 0 w 93"/>
                <a:gd name="T7" fmla="*/ 26 h 51"/>
              </a:gdLst>
              <a:ahLst/>
              <a:cxnLst>
                <a:cxn ang="0">
                  <a:pos x="T0" y="T1"/>
                </a:cxn>
                <a:cxn ang="0">
                  <a:pos x="T2" y="T3"/>
                </a:cxn>
                <a:cxn ang="0">
                  <a:pos x="T4" y="T5"/>
                </a:cxn>
                <a:cxn ang="0">
                  <a:pos x="T6" y="T7"/>
                </a:cxn>
              </a:cxnLst>
              <a:rect l="0" t="0" r="r" b="b"/>
              <a:pathLst>
                <a:path w="93" h="51">
                  <a:moveTo>
                    <a:pt x="0" y="26"/>
                  </a:moveTo>
                  <a:cubicBezTo>
                    <a:pt x="0" y="26"/>
                    <a:pt x="45" y="30"/>
                    <a:pt x="93" y="0"/>
                  </a:cubicBezTo>
                  <a:cubicBezTo>
                    <a:pt x="93" y="0"/>
                    <a:pt x="71" y="51"/>
                    <a:pt x="0" y="45"/>
                  </a:cubicBezTo>
                  <a:lnTo>
                    <a:pt x="0" y="26"/>
                  </a:ln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5">
              <a:extLst>
                <a:ext uri="{FF2B5EF4-FFF2-40B4-BE49-F238E27FC236}">
                  <a16:creationId xmlns:a16="http://schemas.microsoft.com/office/drawing/2014/main" id="{287A4D84-B2AF-472D-BEC7-DFC4FA669359}"/>
                </a:ext>
              </a:extLst>
            </p:cNvPr>
            <p:cNvSpPr>
              <a:spLocks/>
            </p:cNvSpPr>
            <p:nvPr/>
          </p:nvSpPr>
          <p:spPr bwMode="auto">
            <a:xfrm>
              <a:off x="5052" y="1706"/>
              <a:ext cx="123" cy="231"/>
            </a:xfrm>
            <a:custGeom>
              <a:avLst/>
              <a:gdLst>
                <a:gd name="T0" fmla="*/ 3 w 52"/>
                <a:gd name="T1" fmla="*/ 15 h 97"/>
                <a:gd name="T2" fmla="*/ 50 w 52"/>
                <a:gd name="T3" fmla="*/ 49 h 97"/>
                <a:gd name="T4" fmla="*/ 0 w 52"/>
                <a:gd name="T5" fmla="*/ 84 h 97"/>
                <a:gd name="T6" fmla="*/ 3 w 52"/>
                <a:gd name="T7" fmla="*/ 15 h 97"/>
              </a:gdLst>
              <a:ahLst/>
              <a:cxnLst>
                <a:cxn ang="0">
                  <a:pos x="T0" y="T1"/>
                </a:cxn>
                <a:cxn ang="0">
                  <a:pos x="T2" y="T3"/>
                </a:cxn>
                <a:cxn ang="0">
                  <a:pos x="T4" y="T5"/>
                </a:cxn>
                <a:cxn ang="0">
                  <a:pos x="T6" y="T7"/>
                </a:cxn>
              </a:cxnLst>
              <a:rect l="0" t="0" r="r" b="b"/>
              <a:pathLst>
                <a:path w="52" h="97">
                  <a:moveTo>
                    <a:pt x="3" y="15"/>
                  </a:moveTo>
                  <a:cubicBezTo>
                    <a:pt x="4" y="14"/>
                    <a:pt x="52" y="0"/>
                    <a:pt x="50" y="49"/>
                  </a:cubicBezTo>
                  <a:cubicBezTo>
                    <a:pt x="49" y="97"/>
                    <a:pt x="0" y="85"/>
                    <a:pt x="0" y="84"/>
                  </a:cubicBezTo>
                  <a:cubicBezTo>
                    <a:pt x="0" y="83"/>
                    <a:pt x="3" y="15"/>
                    <a:pt x="3" y="15"/>
                  </a:cubicBez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6">
              <a:extLst>
                <a:ext uri="{FF2B5EF4-FFF2-40B4-BE49-F238E27FC236}">
                  <a16:creationId xmlns:a16="http://schemas.microsoft.com/office/drawing/2014/main" id="{5B2F74EF-1344-4E60-86EE-EBC4020160F9}"/>
                </a:ext>
              </a:extLst>
            </p:cNvPr>
            <p:cNvSpPr>
              <a:spLocks/>
            </p:cNvSpPr>
            <p:nvPr/>
          </p:nvSpPr>
          <p:spPr bwMode="auto">
            <a:xfrm>
              <a:off x="5088" y="1773"/>
              <a:ext cx="54" cy="102"/>
            </a:xfrm>
            <a:custGeom>
              <a:avLst/>
              <a:gdLst>
                <a:gd name="T0" fmla="*/ 1 w 23"/>
                <a:gd name="T1" fmla="*/ 38 h 43"/>
                <a:gd name="T2" fmla="*/ 3 w 23"/>
                <a:gd name="T3" fmla="*/ 40 h 43"/>
                <a:gd name="T4" fmla="*/ 9 w 23"/>
                <a:gd name="T5" fmla="*/ 40 h 43"/>
                <a:gd name="T6" fmla="*/ 19 w 23"/>
                <a:gd name="T7" fmla="*/ 22 h 43"/>
                <a:gd name="T8" fmla="*/ 17 w 23"/>
                <a:gd name="T9" fmla="*/ 9 h 43"/>
                <a:gd name="T10" fmla="*/ 11 w 23"/>
                <a:gd name="T11" fmla="*/ 3 h 43"/>
                <a:gd name="T12" fmla="*/ 6 w 23"/>
                <a:gd name="T13" fmla="*/ 5 h 43"/>
                <a:gd name="T14" fmla="*/ 6 w 23"/>
                <a:gd name="T15" fmla="*/ 7 h 43"/>
                <a:gd name="T16" fmla="*/ 5 w 23"/>
                <a:gd name="T17" fmla="*/ 4 h 43"/>
                <a:gd name="T18" fmla="*/ 7 w 23"/>
                <a:gd name="T19" fmla="*/ 1 h 43"/>
                <a:gd name="T20" fmla="*/ 12 w 23"/>
                <a:gd name="T21" fmla="*/ 0 h 43"/>
                <a:gd name="T22" fmla="*/ 20 w 23"/>
                <a:gd name="T23" fmla="*/ 8 h 43"/>
                <a:gd name="T24" fmla="*/ 23 w 23"/>
                <a:gd name="T25" fmla="*/ 22 h 43"/>
                <a:gd name="T26" fmla="*/ 10 w 23"/>
                <a:gd name="T27" fmla="*/ 42 h 43"/>
                <a:gd name="T28" fmla="*/ 2 w 23"/>
                <a:gd name="T29" fmla="*/ 41 h 43"/>
                <a:gd name="T30" fmla="*/ 1 w 23"/>
                <a:gd name="T31"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43">
                  <a:moveTo>
                    <a:pt x="1" y="38"/>
                  </a:moveTo>
                  <a:cubicBezTo>
                    <a:pt x="1" y="38"/>
                    <a:pt x="1" y="39"/>
                    <a:pt x="3" y="40"/>
                  </a:cubicBezTo>
                  <a:cubicBezTo>
                    <a:pt x="4" y="40"/>
                    <a:pt x="7" y="41"/>
                    <a:pt x="9" y="40"/>
                  </a:cubicBezTo>
                  <a:cubicBezTo>
                    <a:pt x="14" y="38"/>
                    <a:pt x="19" y="30"/>
                    <a:pt x="19" y="22"/>
                  </a:cubicBezTo>
                  <a:cubicBezTo>
                    <a:pt x="20" y="17"/>
                    <a:pt x="19" y="13"/>
                    <a:pt x="17" y="9"/>
                  </a:cubicBezTo>
                  <a:cubicBezTo>
                    <a:pt x="16" y="6"/>
                    <a:pt x="14" y="3"/>
                    <a:pt x="11" y="3"/>
                  </a:cubicBezTo>
                  <a:cubicBezTo>
                    <a:pt x="9" y="2"/>
                    <a:pt x="7" y="4"/>
                    <a:pt x="6" y="5"/>
                  </a:cubicBezTo>
                  <a:cubicBezTo>
                    <a:pt x="6" y="6"/>
                    <a:pt x="6" y="7"/>
                    <a:pt x="6" y="7"/>
                  </a:cubicBezTo>
                  <a:cubicBezTo>
                    <a:pt x="5" y="7"/>
                    <a:pt x="5" y="6"/>
                    <a:pt x="5" y="4"/>
                  </a:cubicBezTo>
                  <a:cubicBezTo>
                    <a:pt x="5" y="3"/>
                    <a:pt x="6" y="2"/>
                    <a:pt x="7" y="1"/>
                  </a:cubicBezTo>
                  <a:cubicBezTo>
                    <a:pt x="8" y="1"/>
                    <a:pt x="10" y="0"/>
                    <a:pt x="12" y="0"/>
                  </a:cubicBezTo>
                  <a:cubicBezTo>
                    <a:pt x="15" y="1"/>
                    <a:pt x="19" y="4"/>
                    <a:pt x="20" y="8"/>
                  </a:cubicBezTo>
                  <a:cubicBezTo>
                    <a:pt x="22" y="12"/>
                    <a:pt x="23" y="17"/>
                    <a:pt x="23" y="22"/>
                  </a:cubicBezTo>
                  <a:cubicBezTo>
                    <a:pt x="22" y="31"/>
                    <a:pt x="17" y="40"/>
                    <a:pt x="10" y="42"/>
                  </a:cubicBezTo>
                  <a:cubicBezTo>
                    <a:pt x="6" y="43"/>
                    <a:pt x="4" y="42"/>
                    <a:pt x="2" y="41"/>
                  </a:cubicBezTo>
                  <a:cubicBezTo>
                    <a:pt x="1" y="39"/>
                    <a:pt x="0" y="38"/>
                    <a:pt x="1" y="38"/>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7">
              <a:extLst>
                <a:ext uri="{FF2B5EF4-FFF2-40B4-BE49-F238E27FC236}">
                  <a16:creationId xmlns:a16="http://schemas.microsoft.com/office/drawing/2014/main" id="{82297704-A666-4D3F-94D7-F13A703D03DA}"/>
                </a:ext>
              </a:extLst>
            </p:cNvPr>
            <p:cNvSpPr>
              <a:spLocks/>
            </p:cNvSpPr>
            <p:nvPr/>
          </p:nvSpPr>
          <p:spPr bwMode="auto">
            <a:xfrm>
              <a:off x="4506" y="1711"/>
              <a:ext cx="47" cy="48"/>
            </a:xfrm>
            <a:custGeom>
              <a:avLst/>
              <a:gdLst>
                <a:gd name="T0" fmla="*/ 0 w 20"/>
                <a:gd name="T1" fmla="*/ 10 h 20"/>
                <a:gd name="T2" fmla="*/ 10 w 20"/>
                <a:gd name="T3" fmla="*/ 20 h 20"/>
                <a:gd name="T4" fmla="*/ 20 w 20"/>
                <a:gd name="T5" fmla="*/ 11 h 20"/>
                <a:gd name="T6" fmla="*/ 10 w 20"/>
                <a:gd name="T7" fmla="*/ 1 h 20"/>
                <a:gd name="T8" fmla="*/ 0 w 20"/>
                <a:gd name="T9" fmla="*/ 10 h 20"/>
              </a:gdLst>
              <a:ahLst/>
              <a:cxnLst>
                <a:cxn ang="0">
                  <a:pos x="T0" y="T1"/>
                </a:cxn>
                <a:cxn ang="0">
                  <a:pos x="T2" y="T3"/>
                </a:cxn>
                <a:cxn ang="0">
                  <a:pos x="T4" y="T5"/>
                </a:cxn>
                <a:cxn ang="0">
                  <a:pos x="T6" y="T7"/>
                </a:cxn>
                <a:cxn ang="0">
                  <a:pos x="T8" y="T9"/>
                </a:cxn>
              </a:cxnLst>
              <a:rect l="0" t="0" r="r" b="b"/>
              <a:pathLst>
                <a:path w="20" h="20">
                  <a:moveTo>
                    <a:pt x="0" y="10"/>
                  </a:moveTo>
                  <a:cubicBezTo>
                    <a:pt x="0" y="15"/>
                    <a:pt x="4" y="20"/>
                    <a:pt x="10" y="20"/>
                  </a:cubicBezTo>
                  <a:cubicBezTo>
                    <a:pt x="15" y="20"/>
                    <a:pt x="20" y="16"/>
                    <a:pt x="20" y="11"/>
                  </a:cubicBezTo>
                  <a:cubicBezTo>
                    <a:pt x="20" y="6"/>
                    <a:pt x="16" y="1"/>
                    <a:pt x="10" y="1"/>
                  </a:cubicBezTo>
                  <a:cubicBezTo>
                    <a:pt x="5" y="0"/>
                    <a:pt x="0" y="5"/>
                    <a:pt x="0"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8">
              <a:extLst>
                <a:ext uri="{FF2B5EF4-FFF2-40B4-BE49-F238E27FC236}">
                  <a16:creationId xmlns:a16="http://schemas.microsoft.com/office/drawing/2014/main" id="{D2E363E1-7949-4875-9DC3-18C56A45DA01}"/>
                </a:ext>
              </a:extLst>
            </p:cNvPr>
            <p:cNvSpPr>
              <a:spLocks/>
            </p:cNvSpPr>
            <p:nvPr/>
          </p:nvSpPr>
          <p:spPr bwMode="auto">
            <a:xfrm>
              <a:off x="4499" y="1685"/>
              <a:ext cx="97" cy="29"/>
            </a:xfrm>
            <a:custGeom>
              <a:avLst/>
              <a:gdLst>
                <a:gd name="T0" fmla="*/ 1 w 41"/>
                <a:gd name="T1" fmla="*/ 11 h 12"/>
                <a:gd name="T2" fmla="*/ 20 w 41"/>
                <a:gd name="T3" fmla="*/ 6 h 12"/>
                <a:gd name="T4" fmla="*/ 40 w 41"/>
                <a:gd name="T5" fmla="*/ 11 h 12"/>
                <a:gd name="T6" fmla="*/ 36 w 41"/>
                <a:gd name="T7" fmla="*/ 5 h 12"/>
                <a:gd name="T8" fmla="*/ 20 w 41"/>
                <a:gd name="T9" fmla="*/ 0 h 12"/>
                <a:gd name="T10" fmla="*/ 4 w 41"/>
                <a:gd name="T11" fmla="*/ 5 h 12"/>
                <a:gd name="T12" fmla="*/ 1 w 41"/>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41" h="12">
                  <a:moveTo>
                    <a:pt x="1" y="11"/>
                  </a:moveTo>
                  <a:cubicBezTo>
                    <a:pt x="2" y="12"/>
                    <a:pt x="10" y="6"/>
                    <a:pt x="20" y="6"/>
                  </a:cubicBezTo>
                  <a:cubicBezTo>
                    <a:pt x="31" y="6"/>
                    <a:pt x="39" y="12"/>
                    <a:pt x="40" y="11"/>
                  </a:cubicBezTo>
                  <a:cubicBezTo>
                    <a:pt x="41" y="10"/>
                    <a:pt x="40" y="8"/>
                    <a:pt x="36" y="5"/>
                  </a:cubicBezTo>
                  <a:cubicBezTo>
                    <a:pt x="33" y="3"/>
                    <a:pt x="27" y="0"/>
                    <a:pt x="20" y="0"/>
                  </a:cubicBezTo>
                  <a:cubicBezTo>
                    <a:pt x="13" y="0"/>
                    <a:pt x="8" y="3"/>
                    <a:pt x="4" y="5"/>
                  </a:cubicBezTo>
                  <a:cubicBezTo>
                    <a:pt x="1" y="8"/>
                    <a:pt x="0" y="10"/>
                    <a:pt x="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9">
              <a:extLst>
                <a:ext uri="{FF2B5EF4-FFF2-40B4-BE49-F238E27FC236}">
                  <a16:creationId xmlns:a16="http://schemas.microsoft.com/office/drawing/2014/main" id="{86B4D549-C132-482F-B433-DBE2B8015714}"/>
                </a:ext>
              </a:extLst>
            </p:cNvPr>
            <p:cNvSpPr>
              <a:spLocks/>
            </p:cNvSpPr>
            <p:nvPr/>
          </p:nvSpPr>
          <p:spPr bwMode="auto">
            <a:xfrm>
              <a:off x="4758" y="1721"/>
              <a:ext cx="49" cy="47"/>
            </a:xfrm>
            <a:custGeom>
              <a:avLst/>
              <a:gdLst>
                <a:gd name="T0" fmla="*/ 0 w 21"/>
                <a:gd name="T1" fmla="*/ 10 h 20"/>
                <a:gd name="T2" fmla="*/ 10 w 21"/>
                <a:gd name="T3" fmla="*/ 20 h 20"/>
                <a:gd name="T4" fmla="*/ 20 w 21"/>
                <a:gd name="T5" fmla="*/ 11 h 20"/>
                <a:gd name="T6" fmla="*/ 11 w 21"/>
                <a:gd name="T7" fmla="*/ 1 h 20"/>
                <a:gd name="T8" fmla="*/ 0 w 21"/>
                <a:gd name="T9" fmla="*/ 10 h 20"/>
              </a:gdLst>
              <a:ahLst/>
              <a:cxnLst>
                <a:cxn ang="0">
                  <a:pos x="T0" y="T1"/>
                </a:cxn>
                <a:cxn ang="0">
                  <a:pos x="T2" y="T3"/>
                </a:cxn>
                <a:cxn ang="0">
                  <a:pos x="T4" y="T5"/>
                </a:cxn>
                <a:cxn ang="0">
                  <a:pos x="T6" y="T7"/>
                </a:cxn>
                <a:cxn ang="0">
                  <a:pos x="T8" y="T9"/>
                </a:cxn>
              </a:cxnLst>
              <a:rect l="0" t="0" r="r" b="b"/>
              <a:pathLst>
                <a:path w="21" h="20">
                  <a:moveTo>
                    <a:pt x="0" y="10"/>
                  </a:moveTo>
                  <a:cubicBezTo>
                    <a:pt x="0" y="15"/>
                    <a:pt x="4" y="20"/>
                    <a:pt x="10" y="20"/>
                  </a:cubicBezTo>
                  <a:cubicBezTo>
                    <a:pt x="16" y="20"/>
                    <a:pt x="20" y="16"/>
                    <a:pt x="20" y="11"/>
                  </a:cubicBezTo>
                  <a:cubicBezTo>
                    <a:pt x="21" y="5"/>
                    <a:pt x="16" y="1"/>
                    <a:pt x="11" y="1"/>
                  </a:cubicBezTo>
                  <a:cubicBezTo>
                    <a:pt x="5" y="0"/>
                    <a:pt x="0" y="4"/>
                    <a:pt x="0"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0">
              <a:extLst>
                <a:ext uri="{FF2B5EF4-FFF2-40B4-BE49-F238E27FC236}">
                  <a16:creationId xmlns:a16="http://schemas.microsoft.com/office/drawing/2014/main" id="{B1551D11-A669-4B3B-BAD9-2554D356BFA2}"/>
                </a:ext>
              </a:extLst>
            </p:cNvPr>
            <p:cNvSpPr>
              <a:spLocks/>
            </p:cNvSpPr>
            <p:nvPr/>
          </p:nvSpPr>
          <p:spPr bwMode="auto">
            <a:xfrm>
              <a:off x="4753" y="1690"/>
              <a:ext cx="97" cy="28"/>
            </a:xfrm>
            <a:custGeom>
              <a:avLst/>
              <a:gdLst>
                <a:gd name="T0" fmla="*/ 0 w 41"/>
                <a:gd name="T1" fmla="*/ 11 h 12"/>
                <a:gd name="T2" fmla="*/ 20 w 41"/>
                <a:gd name="T3" fmla="*/ 6 h 12"/>
                <a:gd name="T4" fmla="*/ 40 w 41"/>
                <a:gd name="T5" fmla="*/ 11 h 12"/>
                <a:gd name="T6" fmla="*/ 36 w 41"/>
                <a:gd name="T7" fmla="*/ 5 h 12"/>
                <a:gd name="T8" fmla="*/ 20 w 41"/>
                <a:gd name="T9" fmla="*/ 0 h 12"/>
                <a:gd name="T10" fmla="*/ 4 w 41"/>
                <a:gd name="T11" fmla="*/ 5 h 12"/>
                <a:gd name="T12" fmla="*/ 0 w 41"/>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41" h="12">
                  <a:moveTo>
                    <a:pt x="0" y="11"/>
                  </a:moveTo>
                  <a:cubicBezTo>
                    <a:pt x="2" y="12"/>
                    <a:pt x="9" y="6"/>
                    <a:pt x="20" y="6"/>
                  </a:cubicBezTo>
                  <a:cubicBezTo>
                    <a:pt x="31" y="6"/>
                    <a:pt x="39" y="12"/>
                    <a:pt x="40" y="11"/>
                  </a:cubicBezTo>
                  <a:cubicBezTo>
                    <a:pt x="41" y="10"/>
                    <a:pt x="40" y="8"/>
                    <a:pt x="36" y="5"/>
                  </a:cubicBezTo>
                  <a:cubicBezTo>
                    <a:pt x="33" y="3"/>
                    <a:pt x="27" y="0"/>
                    <a:pt x="20" y="0"/>
                  </a:cubicBezTo>
                  <a:cubicBezTo>
                    <a:pt x="13" y="0"/>
                    <a:pt x="8" y="3"/>
                    <a:pt x="4" y="5"/>
                  </a:cubicBezTo>
                  <a:cubicBezTo>
                    <a:pt x="1" y="8"/>
                    <a:pt x="0" y="10"/>
                    <a:pt x="0"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1">
              <a:extLst>
                <a:ext uri="{FF2B5EF4-FFF2-40B4-BE49-F238E27FC236}">
                  <a16:creationId xmlns:a16="http://schemas.microsoft.com/office/drawing/2014/main" id="{C3C0B31A-92ED-4B57-98E3-3FFE4242B46F}"/>
                </a:ext>
              </a:extLst>
            </p:cNvPr>
            <p:cNvSpPr>
              <a:spLocks/>
            </p:cNvSpPr>
            <p:nvPr/>
          </p:nvSpPr>
          <p:spPr bwMode="auto">
            <a:xfrm>
              <a:off x="4591" y="1690"/>
              <a:ext cx="84" cy="218"/>
            </a:xfrm>
            <a:custGeom>
              <a:avLst/>
              <a:gdLst>
                <a:gd name="T0" fmla="*/ 29 w 35"/>
                <a:gd name="T1" fmla="*/ 91 h 92"/>
                <a:gd name="T2" fmla="*/ 11 w 35"/>
                <a:gd name="T3" fmla="*/ 88 h 92"/>
                <a:gd name="T4" fmla="*/ 5 w 35"/>
                <a:gd name="T5" fmla="*/ 86 h 92"/>
                <a:gd name="T6" fmla="*/ 7 w 35"/>
                <a:gd name="T7" fmla="*/ 77 h 92"/>
                <a:gd name="T8" fmla="*/ 16 w 35"/>
                <a:gd name="T9" fmla="*/ 56 h 92"/>
                <a:gd name="T10" fmla="*/ 34 w 35"/>
                <a:gd name="T11" fmla="*/ 1 h 92"/>
                <a:gd name="T12" fmla="*/ 11 w 35"/>
                <a:gd name="T13" fmla="*/ 55 h 92"/>
                <a:gd name="T14" fmla="*/ 3 w 35"/>
                <a:gd name="T15" fmla="*/ 76 h 92"/>
                <a:gd name="T16" fmla="*/ 2 w 35"/>
                <a:gd name="T17" fmla="*/ 87 h 92"/>
                <a:gd name="T18" fmla="*/ 6 w 35"/>
                <a:gd name="T19" fmla="*/ 91 h 92"/>
                <a:gd name="T20" fmla="*/ 11 w 35"/>
                <a:gd name="T21" fmla="*/ 91 h 92"/>
                <a:gd name="T22" fmla="*/ 29 w 35"/>
                <a:gd name="T23" fmla="*/ 9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92">
                  <a:moveTo>
                    <a:pt x="29" y="91"/>
                  </a:moveTo>
                  <a:cubicBezTo>
                    <a:pt x="29" y="91"/>
                    <a:pt x="22" y="90"/>
                    <a:pt x="11" y="88"/>
                  </a:cubicBezTo>
                  <a:cubicBezTo>
                    <a:pt x="9" y="88"/>
                    <a:pt x="6" y="87"/>
                    <a:pt x="5" y="86"/>
                  </a:cubicBezTo>
                  <a:cubicBezTo>
                    <a:pt x="5" y="84"/>
                    <a:pt x="6" y="81"/>
                    <a:pt x="7" y="77"/>
                  </a:cubicBezTo>
                  <a:cubicBezTo>
                    <a:pt x="10" y="71"/>
                    <a:pt x="13" y="64"/>
                    <a:pt x="16" y="56"/>
                  </a:cubicBezTo>
                  <a:cubicBezTo>
                    <a:pt x="27" y="26"/>
                    <a:pt x="35" y="1"/>
                    <a:pt x="34" y="1"/>
                  </a:cubicBezTo>
                  <a:cubicBezTo>
                    <a:pt x="33" y="0"/>
                    <a:pt x="23" y="24"/>
                    <a:pt x="11" y="55"/>
                  </a:cubicBezTo>
                  <a:cubicBezTo>
                    <a:pt x="8" y="62"/>
                    <a:pt x="6" y="69"/>
                    <a:pt x="3" y="76"/>
                  </a:cubicBezTo>
                  <a:cubicBezTo>
                    <a:pt x="2" y="79"/>
                    <a:pt x="0" y="83"/>
                    <a:pt x="2" y="87"/>
                  </a:cubicBezTo>
                  <a:cubicBezTo>
                    <a:pt x="3" y="89"/>
                    <a:pt x="5" y="90"/>
                    <a:pt x="6" y="91"/>
                  </a:cubicBezTo>
                  <a:cubicBezTo>
                    <a:pt x="8" y="91"/>
                    <a:pt x="10" y="91"/>
                    <a:pt x="11" y="91"/>
                  </a:cubicBezTo>
                  <a:cubicBezTo>
                    <a:pt x="22" y="92"/>
                    <a:pt x="29" y="92"/>
                    <a:pt x="29" y="9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2">
              <a:extLst>
                <a:ext uri="{FF2B5EF4-FFF2-40B4-BE49-F238E27FC236}">
                  <a16:creationId xmlns:a16="http://schemas.microsoft.com/office/drawing/2014/main" id="{415776FB-E053-433F-91E9-6D35A1385EAF}"/>
                </a:ext>
              </a:extLst>
            </p:cNvPr>
            <p:cNvSpPr>
              <a:spLocks/>
            </p:cNvSpPr>
            <p:nvPr/>
          </p:nvSpPr>
          <p:spPr bwMode="auto">
            <a:xfrm>
              <a:off x="4746" y="1592"/>
              <a:ext cx="121" cy="41"/>
            </a:xfrm>
            <a:custGeom>
              <a:avLst/>
              <a:gdLst>
                <a:gd name="T0" fmla="*/ 1 w 51"/>
                <a:gd name="T1" fmla="*/ 9 h 17"/>
                <a:gd name="T2" fmla="*/ 25 w 51"/>
                <a:gd name="T3" fmla="*/ 12 h 17"/>
                <a:gd name="T4" fmla="*/ 50 w 51"/>
                <a:gd name="T5" fmla="*/ 15 h 17"/>
                <a:gd name="T6" fmla="*/ 45 w 51"/>
                <a:gd name="T7" fmla="*/ 8 h 17"/>
                <a:gd name="T8" fmla="*/ 27 w 51"/>
                <a:gd name="T9" fmla="*/ 1 h 17"/>
                <a:gd name="T10" fmla="*/ 7 w 51"/>
                <a:gd name="T11" fmla="*/ 4 h 17"/>
                <a:gd name="T12" fmla="*/ 1 w 51"/>
                <a:gd name="T13" fmla="*/ 9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1" y="9"/>
                  </a:moveTo>
                  <a:cubicBezTo>
                    <a:pt x="2" y="12"/>
                    <a:pt x="13" y="11"/>
                    <a:pt x="25" y="12"/>
                  </a:cubicBezTo>
                  <a:cubicBezTo>
                    <a:pt x="38" y="14"/>
                    <a:pt x="48" y="17"/>
                    <a:pt x="50" y="15"/>
                  </a:cubicBezTo>
                  <a:cubicBezTo>
                    <a:pt x="51" y="13"/>
                    <a:pt x="49" y="11"/>
                    <a:pt x="45" y="8"/>
                  </a:cubicBezTo>
                  <a:cubicBezTo>
                    <a:pt x="41" y="5"/>
                    <a:pt x="34" y="2"/>
                    <a:pt x="27" y="1"/>
                  </a:cubicBezTo>
                  <a:cubicBezTo>
                    <a:pt x="19" y="0"/>
                    <a:pt x="12" y="2"/>
                    <a:pt x="7" y="4"/>
                  </a:cubicBezTo>
                  <a:cubicBezTo>
                    <a:pt x="3" y="5"/>
                    <a:pt x="0" y="8"/>
                    <a:pt x="1" y="9"/>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3">
              <a:extLst>
                <a:ext uri="{FF2B5EF4-FFF2-40B4-BE49-F238E27FC236}">
                  <a16:creationId xmlns:a16="http://schemas.microsoft.com/office/drawing/2014/main" id="{6E2B4F22-E255-46CE-9FAF-07FF51922D11}"/>
                </a:ext>
              </a:extLst>
            </p:cNvPr>
            <p:cNvSpPr>
              <a:spLocks/>
            </p:cNvSpPr>
            <p:nvPr/>
          </p:nvSpPr>
          <p:spPr bwMode="auto">
            <a:xfrm>
              <a:off x="4508" y="1609"/>
              <a:ext cx="91" cy="33"/>
            </a:xfrm>
            <a:custGeom>
              <a:avLst/>
              <a:gdLst>
                <a:gd name="T0" fmla="*/ 1 w 38"/>
                <a:gd name="T1" fmla="*/ 11 h 14"/>
                <a:gd name="T2" fmla="*/ 19 w 38"/>
                <a:gd name="T3" fmla="*/ 11 h 14"/>
                <a:gd name="T4" fmla="*/ 37 w 38"/>
                <a:gd name="T5" fmla="*/ 10 h 14"/>
                <a:gd name="T6" fmla="*/ 34 w 38"/>
                <a:gd name="T7" fmla="*/ 4 h 14"/>
                <a:gd name="T8" fmla="*/ 19 w 38"/>
                <a:gd name="T9" fmla="*/ 0 h 14"/>
                <a:gd name="T10" fmla="*/ 4 w 38"/>
                <a:gd name="T11" fmla="*/ 5 h 14"/>
                <a:gd name="T12" fmla="*/ 1 w 38"/>
                <a:gd name="T13" fmla="*/ 11 h 14"/>
              </a:gdLst>
              <a:ahLst/>
              <a:cxnLst>
                <a:cxn ang="0">
                  <a:pos x="T0" y="T1"/>
                </a:cxn>
                <a:cxn ang="0">
                  <a:pos x="T2" y="T3"/>
                </a:cxn>
                <a:cxn ang="0">
                  <a:pos x="T4" y="T5"/>
                </a:cxn>
                <a:cxn ang="0">
                  <a:pos x="T6" y="T7"/>
                </a:cxn>
                <a:cxn ang="0">
                  <a:pos x="T8" y="T9"/>
                </a:cxn>
                <a:cxn ang="0">
                  <a:pos x="T10" y="T11"/>
                </a:cxn>
                <a:cxn ang="0">
                  <a:pos x="T12" y="T13"/>
                </a:cxn>
              </a:cxnLst>
              <a:rect l="0" t="0" r="r" b="b"/>
              <a:pathLst>
                <a:path w="38" h="14">
                  <a:moveTo>
                    <a:pt x="1" y="11"/>
                  </a:moveTo>
                  <a:cubicBezTo>
                    <a:pt x="3" y="14"/>
                    <a:pt x="10" y="11"/>
                    <a:pt x="19" y="11"/>
                  </a:cubicBezTo>
                  <a:cubicBezTo>
                    <a:pt x="28" y="11"/>
                    <a:pt x="36" y="13"/>
                    <a:pt x="37" y="10"/>
                  </a:cubicBezTo>
                  <a:cubicBezTo>
                    <a:pt x="38" y="9"/>
                    <a:pt x="37" y="6"/>
                    <a:pt x="34" y="4"/>
                  </a:cubicBezTo>
                  <a:cubicBezTo>
                    <a:pt x="30" y="2"/>
                    <a:pt x="25" y="0"/>
                    <a:pt x="19" y="0"/>
                  </a:cubicBezTo>
                  <a:cubicBezTo>
                    <a:pt x="12" y="0"/>
                    <a:pt x="7" y="3"/>
                    <a:pt x="4" y="5"/>
                  </a:cubicBezTo>
                  <a:cubicBezTo>
                    <a:pt x="1" y="8"/>
                    <a:pt x="0" y="10"/>
                    <a:pt x="1" y="1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4">
              <a:extLst>
                <a:ext uri="{FF2B5EF4-FFF2-40B4-BE49-F238E27FC236}">
                  <a16:creationId xmlns:a16="http://schemas.microsoft.com/office/drawing/2014/main" id="{099C32F7-0EED-4CEB-924E-0E201DCD5A22}"/>
                </a:ext>
              </a:extLst>
            </p:cNvPr>
            <p:cNvSpPr>
              <a:spLocks/>
            </p:cNvSpPr>
            <p:nvPr/>
          </p:nvSpPr>
          <p:spPr bwMode="auto">
            <a:xfrm>
              <a:off x="4385" y="1220"/>
              <a:ext cx="760" cy="579"/>
            </a:xfrm>
            <a:custGeom>
              <a:avLst/>
              <a:gdLst>
                <a:gd name="T0" fmla="*/ 1 w 320"/>
                <a:gd name="T1" fmla="*/ 63 h 244"/>
                <a:gd name="T2" fmla="*/ 10 w 320"/>
                <a:gd name="T3" fmla="*/ 39 h 244"/>
                <a:gd name="T4" fmla="*/ 34 w 320"/>
                <a:gd name="T5" fmla="*/ 41 h 244"/>
                <a:gd name="T6" fmla="*/ 53 w 320"/>
                <a:gd name="T7" fmla="*/ 15 h 244"/>
                <a:gd name="T8" fmla="*/ 85 w 320"/>
                <a:gd name="T9" fmla="*/ 26 h 244"/>
                <a:gd name="T10" fmla="*/ 119 w 320"/>
                <a:gd name="T11" fmla="*/ 22 h 244"/>
                <a:gd name="T12" fmla="*/ 149 w 320"/>
                <a:gd name="T13" fmla="*/ 8 h 244"/>
                <a:gd name="T14" fmla="*/ 218 w 320"/>
                <a:gd name="T15" fmla="*/ 11 h 244"/>
                <a:gd name="T16" fmla="*/ 265 w 320"/>
                <a:gd name="T17" fmla="*/ 61 h 244"/>
                <a:gd name="T18" fmla="*/ 308 w 320"/>
                <a:gd name="T19" fmla="*/ 77 h 244"/>
                <a:gd name="T20" fmla="*/ 318 w 320"/>
                <a:gd name="T21" fmla="*/ 124 h 244"/>
                <a:gd name="T22" fmla="*/ 310 w 320"/>
                <a:gd name="T23" fmla="*/ 156 h 244"/>
                <a:gd name="T24" fmla="*/ 310 w 320"/>
                <a:gd name="T25" fmla="*/ 158 h 244"/>
                <a:gd name="T26" fmla="*/ 288 w 320"/>
                <a:gd name="T27" fmla="*/ 243 h 244"/>
                <a:gd name="T28" fmla="*/ 266 w 320"/>
                <a:gd name="T29" fmla="*/ 189 h 244"/>
                <a:gd name="T30" fmla="*/ 235 w 320"/>
                <a:gd name="T31" fmla="*/ 114 h 244"/>
                <a:gd name="T32" fmla="*/ 133 w 320"/>
                <a:gd name="T33" fmla="*/ 125 h 244"/>
                <a:gd name="T34" fmla="*/ 45 w 320"/>
                <a:gd name="T35" fmla="*/ 135 h 244"/>
                <a:gd name="T36" fmla="*/ 43 w 320"/>
                <a:gd name="T37" fmla="*/ 134 h 244"/>
                <a:gd name="T38" fmla="*/ 43 w 320"/>
                <a:gd name="T39" fmla="*/ 134 h 244"/>
                <a:gd name="T40" fmla="*/ 42 w 320"/>
                <a:gd name="T41" fmla="*/ 134 h 244"/>
                <a:gd name="T42" fmla="*/ 23 w 320"/>
                <a:gd name="T43" fmla="*/ 126 h 244"/>
                <a:gd name="T44" fmla="*/ 7 w 320"/>
                <a:gd name="T45" fmla="*/ 109 h 244"/>
                <a:gd name="T46" fmla="*/ 11 w 320"/>
                <a:gd name="T47" fmla="*/ 86 h 244"/>
                <a:gd name="T48" fmla="*/ 1 w 320"/>
                <a:gd name="T49" fmla="*/ 6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44">
                  <a:moveTo>
                    <a:pt x="1" y="63"/>
                  </a:moveTo>
                  <a:cubicBezTo>
                    <a:pt x="0" y="54"/>
                    <a:pt x="3" y="44"/>
                    <a:pt x="10" y="39"/>
                  </a:cubicBezTo>
                  <a:cubicBezTo>
                    <a:pt x="18" y="34"/>
                    <a:pt x="29" y="34"/>
                    <a:pt x="34" y="41"/>
                  </a:cubicBezTo>
                  <a:cubicBezTo>
                    <a:pt x="31" y="29"/>
                    <a:pt x="41" y="16"/>
                    <a:pt x="53" y="15"/>
                  </a:cubicBezTo>
                  <a:cubicBezTo>
                    <a:pt x="65" y="14"/>
                    <a:pt x="74" y="23"/>
                    <a:pt x="85" y="26"/>
                  </a:cubicBezTo>
                  <a:cubicBezTo>
                    <a:pt x="96" y="29"/>
                    <a:pt x="108" y="26"/>
                    <a:pt x="119" y="22"/>
                  </a:cubicBezTo>
                  <a:cubicBezTo>
                    <a:pt x="129" y="18"/>
                    <a:pt x="139" y="12"/>
                    <a:pt x="149" y="8"/>
                  </a:cubicBezTo>
                  <a:cubicBezTo>
                    <a:pt x="171" y="0"/>
                    <a:pt x="197" y="1"/>
                    <a:pt x="218" y="11"/>
                  </a:cubicBezTo>
                  <a:cubicBezTo>
                    <a:pt x="240" y="21"/>
                    <a:pt x="257" y="39"/>
                    <a:pt x="265" y="61"/>
                  </a:cubicBezTo>
                  <a:cubicBezTo>
                    <a:pt x="281" y="56"/>
                    <a:pt x="298" y="64"/>
                    <a:pt x="308" y="77"/>
                  </a:cubicBezTo>
                  <a:cubicBezTo>
                    <a:pt x="317" y="91"/>
                    <a:pt x="320" y="108"/>
                    <a:pt x="318" y="124"/>
                  </a:cubicBezTo>
                  <a:cubicBezTo>
                    <a:pt x="316" y="135"/>
                    <a:pt x="313" y="145"/>
                    <a:pt x="310" y="156"/>
                  </a:cubicBezTo>
                  <a:cubicBezTo>
                    <a:pt x="310" y="156"/>
                    <a:pt x="310" y="157"/>
                    <a:pt x="310" y="158"/>
                  </a:cubicBezTo>
                  <a:cubicBezTo>
                    <a:pt x="309" y="197"/>
                    <a:pt x="305" y="243"/>
                    <a:pt x="288" y="243"/>
                  </a:cubicBezTo>
                  <a:cubicBezTo>
                    <a:pt x="259" y="244"/>
                    <a:pt x="266" y="189"/>
                    <a:pt x="266" y="189"/>
                  </a:cubicBezTo>
                  <a:cubicBezTo>
                    <a:pt x="230" y="175"/>
                    <a:pt x="244" y="122"/>
                    <a:pt x="235" y="114"/>
                  </a:cubicBezTo>
                  <a:cubicBezTo>
                    <a:pt x="226" y="106"/>
                    <a:pt x="207" y="87"/>
                    <a:pt x="133" y="125"/>
                  </a:cubicBezTo>
                  <a:cubicBezTo>
                    <a:pt x="104" y="140"/>
                    <a:pt x="66" y="140"/>
                    <a:pt x="45" y="135"/>
                  </a:cubicBezTo>
                  <a:cubicBezTo>
                    <a:pt x="44" y="135"/>
                    <a:pt x="44" y="135"/>
                    <a:pt x="43" y="134"/>
                  </a:cubicBezTo>
                  <a:cubicBezTo>
                    <a:pt x="43" y="134"/>
                    <a:pt x="43" y="134"/>
                    <a:pt x="43" y="134"/>
                  </a:cubicBezTo>
                  <a:cubicBezTo>
                    <a:pt x="42" y="134"/>
                    <a:pt x="42" y="134"/>
                    <a:pt x="42" y="134"/>
                  </a:cubicBezTo>
                  <a:cubicBezTo>
                    <a:pt x="35" y="132"/>
                    <a:pt x="29" y="130"/>
                    <a:pt x="23" y="126"/>
                  </a:cubicBezTo>
                  <a:cubicBezTo>
                    <a:pt x="16" y="122"/>
                    <a:pt x="10" y="116"/>
                    <a:pt x="7" y="109"/>
                  </a:cubicBezTo>
                  <a:cubicBezTo>
                    <a:pt x="4" y="101"/>
                    <a:pt x="5" y="92"/>
                    <a:pt x="11" y="86"/>
                  </a:cubicBezTo>
                  <a:cubicBezTo>
                    <a:pt x="6" y="80"/>
                    <a:pt x="2" y="71"/>
                    <a:pt x="1" y="6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5">
              <a:extLst>
                <a:ext uri="{FF2B5EF4-FFF2-40B4-BE49-F238E27FC236}">
                  <a16:creationId xmlns:a16="http://schemas.microsoft.com/office/drawing/2014/main" id="{9DC952AA-C2D4-415A-A9A5-D92BC5B580CC}"/>
                </a:ext>
              </a:extLst>
            </p:cNvPr>
            <p:cNvSpPr>
              <a:spLocks/>
            </p:cNvSpPr>
            <p:nvPr/>
          </p:nvSpPr>
          <p:spPr bwMode="auto">
            <a:xfrm>
              <a:off x="4261" y="2386"/>
              <a:ext cx="1551" cy="1733"/>
            </a:xfrm>
            <a:custGeom>
              <a:avLst/>
              <a:gdLst>
                <a:gd name="T0" fmla="*/ 456 w 653"/>
                <a:gd name="T1" fmla="*/ 485 h 730"/>
                <a:gd name="T2" fmla="*/ 462 w 653"/>
                <a:gd name="T3" fmla="*/ 586 h 730"/>
                <a:gd name="T4" fmla="*/ 474 w 653"/>
                <a:gd name="T5" fmla="*/ 730 h 730"/>
                <a:gd name="T6" fmla="*/ 19 w 653"/>
                <a:gd name="T7" fmla="*/ 730 h 730"/>
                <a:gd name="T8" fmla="*/ 39 w 653"/>
                <a:gd name="T9" fmla="*/ 517 h 730"/>
                <a:gd name="T10" fmla="*/ 0 w 653"/>
                <a:gd name="T11" fmla="*/ 180 h 730"/>
                <a:gd name="T12" fmla="*/ 143 w 653"/>
                <a:gd name="T13" fmla="*/ 1 h 730"/>
                <a:gd name="T14" fmla="*/ 139 w 653"/>
                <a:gd name="T15" fmla="*/ 1 h 730"/>
                <a:gd name="T16" fmla="*/ 135 w 653"/>
                <a:gd name="T17" fmla="*/ 1 h 730"/>
                <a:gd name="T18" fmla="*/ 141 w 653"/>
                <a:gd name="T19" fmla="*/ 1 h 730"/>
                <a:gd name="T20" fmla="*/ 143 w 653"/>
                <a:gd name="T21" fmla="*/ 1 h 730"/>
                <a:gd name="T22" fmla="*/ 324 w 653"/>
                <a:gd name="T23" fmla="*/ 0 h 730"/>
                <a:gd name="T24" fmla="*/ 399 w 653"/>
                <a:gd name="T25" fmla="*/ 15 h 730"/>
                <a:gd name="T26" fmla="*/ 551 w 653"/>
                <a:gd name="T27" fmla="*/ 138 h 730"/>
                <a:gd name="T28" fmla="*/ 653 w 653"/>
                <a:gd name="T29" fmla="*/ 540 h 730"/>
                <a:gd name="T30" fmla="*/ 475 w 653"/>
                <a:gd name="T31" fmla="*/ 540 h 730"/>
                <a:gd name="T32" fmla="*/ 456 w 653"/>
                <a:gd name="T33" fmla="*/ 485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3" h="730">
                  <a:moveTo>
                    <a:pt x="456" y="485"/>
                  </a:moveTo>
                  <a:cubicBezTo>
                    <a:pt x="462" y="586"/>
                    <a:pt x="462" y="586"/>
                    <a:pt x="462" y="586"/>
                  </a:cubicBezTo>
                  <a:cubicBezTo>
                    <a:pt x="474" y="730"/>
                    <a:pt x="474" y="730"/>
                    <a:pt x="474" y="730"/>
                  </a:cubicBezTo>
                  <a:cubicBezTo>
                    <a:pt x="19" y="730"/>
                    <a:pt x="19" y="730"/>
                    <a:pt x="19" y="730"/>
                  </a:cubicBezTo>
                  <a:cubicBezTo>
                    <a:pt x="39" y="517"/>
                    <a:pt x="39" y="517"/>
                    <a:pt x="39" y="517"/>
                  </a:cubicBezTo>
                  <a:cubicBezTo>
                    <a:pt x="0" y="180"/>
                    <a:pt x="0" y="180"/>
                    <a:pt x="0" y="180"/>
                  </a:cubicBezTo>
                  <a:cubicBezTo>
                    <a:pt x="3" y="61"/>
                    <a:pt x="49" y="12"/>
                    <a:pt x="143" y="1"/>
                  </a:cubicBezTo>
                  <a:cubicBezTo>
                    <a:pt x="143" y="0"/>
                    <a:pt x="141" y="1"/>
                    <a:pt x="139" y="1"/>
                  </a:cubicBezTo>
                  <a:cubicBezTo>
                    <a:pt x="137" y="1"/>
                    <a:pt x="135" y="1"/>
                    <a:pt x="135" y="1"/>
                  </a:cubicBezTo>
                  <a:cubicBezTo>
                    <a:pt x="142" y="1"/>
                    <a:pt x="142" y="1"/>
                    <a:pt x="141" y="1"/>
                  </a:cubicBezTo>
                  <a:cubicBezTo>
                    <a:pt x="140" y="1"/>
                    <a:pt x="139" y="1"/>
                    <a:pt x="143" y="1"/>
                  </a:cubicBezTo>
                  <a:cubicBezTo>
                    <a:pt x="203" y="19"/>
                    <a:pt x="263" y="19"/>
                    <a:pt x="324" y="0"/>
                  </a:cubicBezTo>
                  <a:cubicBezTo>
                    <a:pt x="352" y="2"/>
                    <a:pt x="375" y="10"/>
                    <a:pt x="399" y="15"/>
                  </a:cubicBezTo>
                  <a:cubicBezTo>
                    <a:pt x="474" y="29"/>
                    <a:pt x="536" y="87"/>
                    <a:pt x="551" y="138"/>
                  </a:cubicBezTo>
                  <a:cubicBezTo>
                    <a:pt x="563" y="179"/>
                    <a:pt x="653" y="540"/>
                    <a:pt x="653" y="540"/>
                  </a:cubicBezTo>
                  <a:cubicBezTo>
                    <a:pt x="475" y="540"/>
                    <a:pt x="475" y="540"/>
                    <a:pt x="475" y="540"/>
                  </a:cubicBezTo>
                  <a:cubicBezTo>
                    <a:pt x="456" y="485"/>
                    <a:pt x="456" y="485"/>
                    <a:pt x="456" y="48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6">
              <a:extLst>
                <a:ext uri="{FF2B5EF4-FFF2-40B4-BE49-F238E27FC236}">
                  <a16:creationId xmlns:a16="http://schemas.microsoft.com/office/drawing/2014/main" id="{A1FFE643-9083-42F2-9BC4-19EA93C96C40}"/>
                </a:ext>
              </a:extLst>
            </p:cNvPr>
            <p:cNvSpPr>
              <a:spLocks/>
            </p:cNvSpPr>
            <p:nvPr/>
          </p:nvSpPr>
          <p:spPr bwMode="auto">
            <a:xfrm>
              <a:off x="4634" y="1958"/>
              <a:ext cx="86" cy="74"/>
            </a:xfrm>
            <a:custGeom>
              <a:avLst/>
              <a:gdLst>
                <a:gd name="T0" fmla="*/ 2 w 36"/>
                <a:gd name="T1" fmla="*/ 12 h 31"/>
                <a:gd name="T2" fmla="*/ 8 w 36"/>
                <a:gd name="T3" fmla="*/ 24 h 31"/>
                <a:gd name="T4" fmla="*/ 20 w 36"/>
                <a:gd name="T5" fmla="*/ 31 h 31"/>
                <a:gd name="T6" fmla="*/ 32 w 36"/>
                <a:gd name="T7" fmla="*/ 24 h 31"/>
                <a:gd name="T8" fmla="*/ 36 w 36"/>
                <a:gd name="T9" fmla="*/ 10 h 31"/>
                <a:gd name="T10" fmla="*/ 29 w 36"/>
                <a:gd name="T11" fmla="*/ 0 h 31"/>
                <a:gd name="T12" fmla="*/ 24 w 36"/>
                <a:gd name="T13" fmla="*/ 1 h 31"/>
                <a:gd name="T14" fmla="*/ 0 w 36"/>
                <a:gd name="T15" fmla="*/ 1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1">
                  <a:moveTo>
                    <a:pt x="2" y="12"/>
                  </a:moveTo>
                  <a:cubicBezTo>
                    <a:pt x="3" y="16"/>
                    <a:pt x="5" y="21"/>
                    <a:pt x="8" y="24"/>
                  </a:cubicBezTo>
                  <a:cubicBezTo>
                    <a:pt x="11" y="28"/>
                    <a:pt x="15" y="31"/>
                    <a:pt x="20" y="31"/>
                  </a:cubicBezTo>
                  <a:cubicBezTo>
                    <a:pt x="25" y="31"/>
                    <a:pt x="29" y="28"/>
                    <a:pt x="32" y="24"/>
                  </a:cubicBezTo>
                  <a:cubicBezTo>
                    <a:pt x="35" y="20"/>
                    <a:pt x="36" y="15"/>
                    <a:pt x="36" y="10"/>
                  </a:cubicBezTo>
                  <a:cubicBezTo>
                    <a:pt x="35" y="6"/>
                    <a:pt x="33" y="0"/>
                    <a:pt x="29" y="0"/>
                  </a:cubicBezTo>
                  <a:cubicBezTo>
                    <a:pt x="27" y="0"/>
                    <a:pt x="25" y="0"/>
                    <a:pt x="24" y="1"/>
                  </a:cubicBezTo>
                  <a:cubicBezTo>
                    <a:pt x="16" y="4"/>
                    <a:pt x="8" y="7"/>
                    <a:pt x="0" y="10"/>
                  </a:cubicBezTo>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7">
              <a:extLst>
                <a:ext uri="{FF2B5EF4-FFF2-40B4-BE49-F238E27FC236}">
                  <a16:creationId xmlns:a16="http://schemas.microsoft.com/office/drawing/2014/main" id="{17328A28-1D73-41DF-87B4-1B1C52C6323C}"/>
                </a:ext>
              </a:extLst>
            </p:cNvPr>
            <p:cNvSpPr>
              <a:spLocks/>
            </p:cNvSpPr>
            <p:nvPr/>
          </p:nvSpPr>
          <p:spPr bwMode="auto">
            <a:xfrm>
              <a:off x="4625" y="1951"/>
              <a:ext cx="104" cy="88"/>
            </a:xfrm>
            <a:custGeom>
              <a:avLst/>
              <a:gdLst>
                <a:gd name="T0" fmla="*/ 15 w 44"/>
                <a:gd name="T1" fmla="*/ 34 h 37"/>
                <a:gd name="T2" fmla="*/ 28 w 44"/>
                <a:gd name="T3" fmla="*/ 33 h 37"/>
                <a:gd name="T4" fmla="*/ 37 w 44"/>
                <a:gd name="T5" fmla="*/ 24 h 37"/>
                <a:gd name="T6" fmla="*/ 37 w 44"/>
                <a:gd name="T7" fmla="*/ 9 h 37"/>
                <a:gd name="T8" fmla="*/ 35 w 44"/>
                <a:gd name="T9" fmla="*/ 5 h 37"/>
                <a:gd name="T10" fmla="*/ 33 w 44"/>
                <a:gd name="T11" fmla="*/ 4 h 37"/>
                <a:gd name="T12" fmla="*/ 30 w 44"/>
                <a:gd name="T13" fmla="*/ 6 h 37"/>
                <a:gd name="T14" fmla="*/ 26 w 44"/>
                <a:gd name="T15" fmla="*/ 7 h 37"/>
                <a:gd name="T16" fmla="*/ 13 w 44"/>
                <a:gd name="T17" fmla="*/ 13 h 37"/>
                <a:gd name="T18" fmla="*/ 0 w 44"/>
                <a:gd name="T19" fmla="*/ 17 h 37"/>
                <a:gd name="T20" fmla="*/ 11 w 44"/>
                <a:gd name="T21" fmla="*/ 10 h 37"/>
                <a:gd name="T22" fmla="*/ 24 w 44"/>
                <a:gd name="T23" fmla="*/ 4 h 37"/>
                <a:gd name="T24" fmla="*/ 28 w 44"/>
                <a:gd name="T25" fmla="*/ 2 h 37"/>
                <a:gd name="T26" fmla="*/ 32 w 44"/>
                <a:gd name="T27" fmla="*/ 1 h 37"/>
                <a:gd name="T28" fmla="*/ 36 w 44"/>
                <a:gd name="T29" fmla="*/ 1 h 37"/>
                <a:gd name="T30" fmla="*/ 38 w 44"/>
                <a:gd name="T31" fmla="*/ 3 h 37"/>
                <a:gd name="T32" fmla="*/ 41 w 44"/>
                <a:gd name="T33" fmla="*/ 7 h 37"/>
                <a:gd name="T34" fmla="*/ 40 w 44"/>
                <a:gd name="T35" fmla="*/ 26 h 37"/>
                <a:gd name="T36" fmla="*/ 29 w 44"/>
                <a:gd name="T37" fmla="*/ 35 h 37"/>
                <a:gd name="T38" fmla="*/ 18 w 44"/>
                <a:gd name="T39" fmla="*/ 36 h 37"/>
                <a:gd name="T40" fmla="*/ 15 w 44"/>
                <a:gd name="T41"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7">
                  <a:moveTo>
                    <a:pt x="15" y="34"/>
                  </a:moveTo>
                  <a:cubicBezTo>
                    <a:pt x="15" y="33"/>
                    <a:pt x="20" y="35"/>
                    <a:pt x="28" y="33"/>
                  </a:cubicBezTo>
                  <a:cubicBezTo>
                    <a:pt x="31" y="31"/>
                    <a:pt x="35" y="28"/>
                    <a:pt x="37" y="24"/>
                  </a:cubicBezTo>
                  <a:cubicBezTo>
                    <a:pt x="39" y="20"/>
                    <a:pt x="39" y="14"/>
                    <a:pt x="37" y="9"/>
                  </a:cubicBezTo>
                  <a:cubicBezTo>
                    <a:pt x="37" y="7"/>
                    <a:pt x="36" y="6"/>
                    <a:pt x="35" y="5"/>
                  </a:cubicBezTo>
                  <a:cubicBezTo>
                    <a:pt x="34" y="4"/>
                    <a:pt x="34" y="4"/>
                    <a:pt x="33" y="4"/>
                  </a:cubicBezTo>
                  <a:cubicBezTo>
                    <a:pt x="33" y="5"/>
                    <a:pt x="31" y="5"/>
                    <a:pt x="30" y="6"/>
                  </a:cubicBezTo>
                  <a:cubicBezTo>
                    <a:pt x="28" y="6"/>
                    <a:pt x="27" y="7"/>
                    <a:pt x="26" y="7"/>
                  </a:cubicBezTo>
                  <a:cubicBezTo>
                    <a:pt x="21" y="10"/>
                    <a:pt x="16" y="11"/>
                    <a:pt x="13" y="13"/>
                  </a:cubicBezTo>
                  <a:cubicBezTo>
                    <a:pt x="5" y="16"/>
                    <a:pt x="0" y="17"/>
                    <a:pt x="0" y="17"/>
                  </a:cubicBezTo>
                  <a:cubicBezTo>
                    <a:pt x="0" y="16"/>
                    <a:pt x="4" y="14"/>
                    <a:pt x="11" y="10"/>
                  </a:cubicBezTo>
                  <a:cubicBezTo>
                    <a:pt x="15" y="8"/>
                    <a:pt x="19" y="6"/>
                    <a:pt x="24" y="4"/>
                  </a:cubicBezTo>
                  <a:cubicBezTo>
                    <a:pt x="26" y="3"/>
                    <a:pt x="27" y="3"/>
                    <a:pt x="28" y="2"/>
                  </a:cubicBezTo>
                  <a:cubicBezTo>
                    <a:pt x="30" y="2"/>
                    <a:pt x="31" y="1"/>
                    <a:pt x="32" y="1"/>
                  </a:cubicBezTo>
                  <a:cubicBezTo>
                    <a:pt x="33" y="0"/>
                    <a:pt x="35" y="0"/>
                    <a:pt x="36" y="1"/>
                  </a:cubicBezTo>
                  <a:cubicBezTo>
                    <a:pt x="37" y="1"/>
                    <a:pt x="38" y="2"/>
                    <a:pt x="38" y="3"/>
                  </a:cubicBezTo>
                  <a:cubicBezTo>
                    <a:pt x="40" y="4"/>
                    <a:pt x="40" y="5"/>
                    <a:pt x="41" y="7"/>
                  </a:cubicBezTo>
                  <a:cubicBezTo>
                    <a:pt x="44" y="13"/>
                    <a:pt x="43" y="21"/>
                    <a:pt x="40" y="26"/>
                  </a:cubicBezTo>
                  <a:cubicBezTo>
                    <a:pt x="38" y="31"/>
                    <a:pt x="33" y="34"/>
                    <a:pt x="29" y="35"/>
                  </a:cubicBezTo>
                  <a:cubicBezTo>
                    <a:pt x="24" y="37"/>
                    <a:pt x="21" y="36"/>
                    <a:pt x="18" y="36"/>
                  </a:cubicBezTo>
                  <a:cubicBezTo>
                    <a:pt x="16" y="35"/>
                    <a:pt x="15" y="34"/>
                    <a:pt x="15" y="34"/>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8">
              <a:extLst>
                <a:ext uri="{FF2B5EF4-FFF2-40B4-BE49-F238E27FC236}">
                  <a16:creationId xmlns:a16="http://schemas.microsoft.com/office/drawing/2014/main" id="{38457E15-1AD6-43BD-A568-D5DC008B12DD}"/>
                </a:ext>
              </a:extLst>
            </p:cNvPr>
            <p:cNvSpPr>
              <a:spLocks/>
            </p:cNvSpPr>
            <p:nvPr/>
          </p:nvSpPr>
          <p:spPr bwMode="auto">
            <a:xfrm>
              <a:off x="3618" y="2219"/>
              <a:ext cx="679" cy="1546"/>
            </a:xfrm>
            <a:custGeom>
              <a:avLst/>
              <a:gdLst>
                <a:gd name="T0" fmla="*/ 270 w 286"/>
                <a:gd name="T1" fmla="*/ 535 h 651"/>
                <a:gd name="T2" fmla="*/ 163 w 286"/>
                <a:gd name="T3" fmla="*/ 207 h 651"/>
                <a:gd name="T4" fmla="*/ 154 w 286"/>
                <a:gd name="T5" fmla="*/ 151 h 651"/>
                <a:gd name="T6" fmla="*/ 123 w 286"/>
                <a:gd name="T7" fmla="*/ 16 h 651"/>
                <a:gd name="T8" fmla="*/ 109 w 286"/>
                <a:gd name="T9" fmla="*/ 0 h 651"/>
                <a:gd name="T10" fmla="*/ 98 w 286"/>
                <a:gd name="T11" fmla="*/ 25 h 651"/>
                <a:gd name="T12" fmla="*/ 106 w 286"/>
                <a:gd name="T13" fmla="*/ 95 h 651"/>
                <a:gd name="T14" fmla="*/ 91 w 286"/>
                <a:gd name="T15" fmla="*/ 78 h 651"/>
                <a:gd name="T16" fmla="*/ 33 w 286"/>
                <a:gd name="T17" fmla="*/ 66 h 651"/>
                <a:gd name="T18" fmla="*/ 4 w 286"/>
                <a:gd name="T19" fmla="*/ 81 h 651"/>
                <a:gd name="T20" fmla="*/ 10 w 286"/>
                <a:gd name="T21" fmla="*/ 89 h 651"/>
                <a:gd name="T22" fmla="*/ 26 w 286"/>
                <a:gd name="T23" fmla="*/ 93 h 651"/>
                <a:gd name="T24" fmla="*/ 75 w 286"/>
                <a:gd name="T25" fmla="*/ 107 h 651"/>
                <a:gd name="T26" fmla="*/ 77 w 286"/>
                <a:gd name="T27" fmla="*/ 115 h 651"/>
                <a:gd name="T28" fmla="*/ 35 w 286"/>
                <a:gd name="T29" fmla="*/ 109 h 651"/>
                <a:gd name="T30" fmla="*/ 28 w 286"/>
                <a:gd name="T31" fmla="*/ 115 h 651"/>
                <a:gd name="T32" fmla="*/ 4 w 286"/>
                <a:gd name="T33" fmla="*/ 132 h 651"/>
                <a:gd name="T34" fmla="*/ 7 w 286"/>
                <a:gd name="T35" fmla="*/ 161 h 651"/>
                <a:gd name="T36" fmla="*/ 20 w 286"/>
                <a:gd name="T37" fmla="*/ 168 h 651"/>
                <a:gd name="T38" fmla="*/ 26 w 286"/>
                <a:gd name="T39" fmla="*/ 163 h 651"/>
                <a:gd name="T40" fmla="*/ 29 w 286"/>
                <a:gd name="T41" fmla="*/ 160 h 651"/>
                <a:gd name="T42" fmla="*/ 35 w 286"/>
                <a:gd name="T43" fmla="*/ 180 h 651"/>
                <a:gd name="T44" fmla="*/ 57 w 286"/>
                <a:gd name="T45" fmla="*/ 243 h 651"/>
                <a:gd name="T46" fmla="*/ 109 w 286"/>
                <a:gd name="T47" fmla="*/ 574 h 651"/>
                <a:gd name="T48" fmla="*/ 206 w 286"/>
                <a:gd name="T49" fmla="*/ 643 h 651"/>
                <a:gd name="T50" fmla="*/ 270 w 286"/>
                <a:gd name="T51" fmla="*/ 53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6" h="651">
                  <a:moveTo>
                    <a:pt x="270" y="535"/>
                  </a:moveTo>
                  <a:cubicBezTo>
                    <a:pt x="163" y="207"/>
                    <a:pt x="163" y="207"/>
                    <a:pt x="163" y="207"/>
                  </a:cubicBezTo>
                  <a:cubicBezTo>
                    <a:pt x="154" y="151"/>
                    <a:pt x="154" y="151"/>
                    <a:pt x="154" y="151"/>
                  </a:cubicBezTo>
                  <a:cubicBezTo>
                    <a:pt x="154" y="151"/>
                    <a:pt x="124" y="28"/>
                    <a:pt x="123" y="16"/>
                  </a:cubicBezTo>
                  <a:cubicBezTo>
                    <a:pt x="122" y="2"/>
                    <a:pt x="115" y="0"/>
                    <a:pt x="109" y="0"/>
                  </a:cubicBezTo>
                  <a:cubicBezTo>
                    <a:pt x="101" y="2"/>
                    <a:pt x="97" y="12"/>
                    <a:pt x="98" y="25"/>
                  </a:cubicBezTo>
                  <a:cubicBezTo>
                    <a:pt x="98" y="29"/>
                    <a:pt x="106" y="95"/>
                    <a:pt x="106" y="95"/>
                  </a:cubicBezTo>
                  <a:cubicBezTo>
                    <a:pt x="106" y="95"/>
                    <a:pt x="102" y="89"/>
                    <a:pt x="91" y="78"/>
                  </a:cubicBezTo>
                  <a:cubicBezTo>
                    <a:pt x="80" y="67"/>
                    <a:pt x="56" y="62"/>
                    <a:pt x="33" y="66"/>
                  </a:cubicBezTo>
                  <a:cubicBezTo>
                    <a:pt x="9" y="69"/>
                    <a:pt x="3" y="72"/>
                    <a:pt x="4" y="81"/>
                  </a:cubicBezTo>
                  <a:cubicBezTo>
                    <a:pt x="4" y="85"/>
                    <a:pt x="7" y="87"/>
                    <a:pt x="10" y="89"/>
                  </a:cubicBezTo>
                  <a:cubicBezTo>
                    <a:pt x="14" y="93"/>
                    <a:pt x="20" y="94"/>
                    <a:pt x="26" y="93"/>
                  </a:cubicBezTo>
                  <a:cubicBezTo>
                    <a:pt x="63" y="88"/>
                    <a:pt x="75" y="107"/>
                    <a:pt x="75" y="107"/>
                  </a:cubicBezTo>
                  <a:cubicBezTo>
                    <a:pt x="77" y="115"/>
                    <a:pt x="77" y="115"/>
                    <a:pt x="77" y="115"/>
                  </a:cubicBezTo>
                  <a:cubicBezTo>
                    <a:pt x="77" y="115"/>
                    <a:pt x="52" y="101"/>
                    <a:pt x="35" y="109"/>
                  </a:cubicBezTo>
                  <a:cubicBezTo>
                    <a:pt x="32" y="111"/>
                    <a:pt x="30" y="113"/>
                    <a:pt x="28" y="115"/>
                  </a:cubicBezTo>
                  <a:cubicBezTo>
                    <a:pt x="18" y="116"/>
                    <a:pt x="9" y="122"/>
                    <a:pt x="4" y="132"/>
                  </a:cubicBezTo>
                  <a:cubicBezTo>
                    <a:pt x="0" y="141"/>
                    <a:pt x="1" y="153"/>
                    <a:pt x="7" y="161"/>
                  </a:cubicBezTo>
                  <a:cubicBezTo>
                    <a:pt x="10" y="165"/>
                    <a:pt x="15" y="169"/>
                    <a:pt x="20" y="168"/>
                  </a:cubicBezTo>
                  <a:cubicBezTo>
                    <a:pt x="22" y="167"/>
                    <a:pt x="24" y="165"/>
                    <a:pt x="26" y="163"/>
                  </a:cubicBezTo>
                  <a:cubicBezTo>
                    <a:pt x="27" y="162"/>
                    <a:pt x="28" y="161"/>
                    <a:pt x="29" y="160"/>
                  </a:cubicBezTo>
                  <a:cubicBezTo>
                    <a:pt x="35" y="180"/>
                    <a:pt x="35" y="180"/>
                    <a:pt x="35" y="180"/>
                  </a:cubicBezTo>
                  <a:cubicBezTo>
                    <a:pt x="35" y="180"/>
                    <a:pt x="52" y="223"/>
                    <a:pt x="57" y="243"/>
                  </a:cubicBezTo>
                  <a:cubicBezTo>
                    <a:pt x="109" y="574"/>
                    <a:pt x="109" y="574"/>
                    <a:pt x="109" y="574"/>
                  </a:cubicBezTo>
                  <a:cubicBezTo>
                    <a:pt x="117" y="620"/>
                    <a:pt x="160" y="651"/>
                    <a:pt x="206" y="643"/>
                  </a:cubicBezTo>
                  <a:cubicBezTo>
                    <a:pt x="255" y="634"/>
                    <a:pt x="286" y="583"/>
                    <a:pt x="270" y="535"/>
                  </a:cubicBezTo>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9">
              <a:extLst>
                <a:ext uri="{FF2B5EF4-FFF2-40B4-BE49-F238E27FC236}">
                  <a16:creationId xmlns:a16="http://schemas.microsoft.com/office/drawing/2014/main" id="{32EA3DA7-CF34-4B05-A036-FFDC377543D1}"/>
                </a:ext>
              </a:extLst>
            </p:cNvPr>
            <p:cNvSpPr>
              <a:spLocks/>
            </p:cNvSpPr>
            <p:nvPr/>
          </p:nvSpPr>
          <p:spPr bwMode="auto">
            <a:xfrm>
              <a:off x="3789" y="2514"/>
              <a:ext cx="190" cy="195"/>
            </a:xfrm>
            <a:custGeom>
              <a:avLst/>
              <a:gdLst>
                <a:gd name="T0" fmla="*/ 80 w 80"/>
                <a:gd name="T1" fmla="*/ 79 h 82"/>
                <a:gd name="T2" fmla="*/ 61 w 80"/>
                <a:gd name="T3" fmla="*/ 72 h 82"/>
                <a:gd name="T4" fmla="*/ 51 w 80"/>
                <a:gd name="T5" fmla="*/ 53 h 82"/>
                <a:gd name="T6" fmla="*/ 3 w 80"/>
                <a:gd name="T7" fmla="*/ 10 h 82"/>
                <a:gd name="T8" fmla="*/ 3 w 80"/>
                <a:gd name="T9" fmla="*/ 2 h 82"/>
                <a:gd name="T10" fmla="*/ 11 w 80"/>
                <a:gd name="T11" fmla="*/ 2 h 82"/>
                <a:gd name="T12" fmla="*/ 76 w 80"/>
                <a:gd name="T13" fmla="*/ 30 h 82"/>
              </a:gdLst>
              <a:ahLst/>
              <a:cxnLst>
                <a:cxn ang="0">
                  <a:pos x="T0" y="T1"/>
                </a:cxn>
                <a:cxn ang="0">
                  <a:pos x="T2" y="T3"/>
                </a:cxn>
                <a:cxn ang="0">
                  <a:pos x="T4" y="T5"/>
                </a:cxn>
                <a:cxn ang="0">
                  <a:pos x="T6" y="T7"/>
                </a:cxn>
                <a:cxn ang="0">
                  <a:pos x="T8" y="T9"/>
                </a:cxn>
                <a:cxn ang="0">
                  <a:pos x="T10" y="T11"/>
                </a:cxn>
                <a:cxn ang="0">
                  <a:pos x="T12" y="T13"/>
                </a:cxn>
              </a:cxnLst>
              <a:rect l="0" t="0" r="r" b="b"/>
              <a:pathLst>
                <a:path w="80" h="82">
                  <a:moveTo>
                    <a:pt x="80" y="79"/>
                  </a:moveTo>
                  <a:cubicBezTo>
                    <a:pt x="73" y="82"/>
                    <a:pt x="66" y="78"/>
                    <a:pt x="61" y="72"/>
                  </a:cubicBezTo>
                  <a:cubicBezTo>
                    <a:pt x="57" y="66"/>
                    <a:pt x="55" y="59"/>
                    <a:pt x="51" y="53"/>
                  </a:cubicBezTo>
                  <a:cubicBezTo>
                    <a:pt x="39" y="35"/>
                    <a:pt x="14" y="29"/>
                    <a:pt x="3" y="10"/>
                  </a:cubicBezTo>
                  <a:cubicBezTo>
                    <a:pt x="2" y="8"/>
                    <a:pt x="0" y="4"/>
                    <a:pt x="3" y="2"/>
                  </a:cubicBezTo>
                  <a:cubicBezTo>
                    <a:pt x="5" y="0"/>
                    <a:pt x="8" y="1"/>
                    <a:pt x="11" y="2"/>
                  </a:cubicBezTo>
                  <a:cubicBezTo>
                    <a:pt x="32" y="11"/>
                    <a:pt x="54" y="20"/>
                    <a:pt x="76" y="30"/>
                  </a:cubicBezTo>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0">
              <a:extLst>
                <a:ext uri="{FF2B5EF4-FFF2-40B4-BE49-F238E27FC236}">
                  <a16:creationId xmlns:a16="http://schemas.microsoft.com/office/drawing/2014/main" id="{5DA62235-665E-4FE5-B6A8-8C6E6D49BBA6}"/>
                </a:ext>
              </a:extLst>
            </p:cNvPr>
            <p:cNvSpPr>
              <a:spLocks/>
            </p:cNvSpPr>
            <p:nvPr/>
          </p:nvSpPr>
          <p:spPr bwMode="auto">
            <a:xfrm>
              <a:off x="3787" y="2509"/>
              <a:ext cx="192" cy="197"/>
            </a:xfrm>
            <a:custGeom>
              <a:avLst/>
              <a:gdLst>
                <a:gd name="T0" fmla="*/ 77 w 81"/>
                <a:gd name="T1" fmla="*/ 32 h 83"/>
                <a:gd name="T2" fmla="*/ 70 w 81"/>
                <a:gd name="T3" fmla="*/ 28 h 83"/>
                <a:gd name="T4" fmla="*/ 51 w 81"/>
                <a:gd name="T5" fmla="*/ 19 h 83"/>
                <a:gd name="T6" fmla="*/ 23 w 81"/>
                <a:gd name="T7" fmla="*/ 7 h 83"/>
                <a:gd name="T8" fmla="*/ 14 w 81"/>
                <a:gd name="T9" fmla="*/ 3 h 83"/>
                <a:gd name="T10" fmla="*/ 4 w 81"/>
                <a:gd name="T11" fmla="*/ 1 h 83"/>
                <a:gd name="T12" fmla="*/ 0 w 81"/>
                <a:gd name="T13" fmla="*/ 7 h 83"/>
                <a:gd name="T14" fmla="*/ 2 w 81"/>
                <a:gd name="T15" fmla="*/ 13 h 83"/>
                <a:gd name="T16" fmla="*/ 8 w 81"/>
                <a:gd name="T17" fmla="*/ 21 h 83"/>
                <a:gd name="T18" fmla="*/ 39 w 81"/>
                <a:gd name="T19" fmla="*/ 44 h 83"/>
                <a:gd name="T20" fmla="*/ 50 w 81"/>
                <a:gd name="T21" fmla="*/ 56 h 83"/>
                <a:gd name="T22" fmla="*/ 57 w 81"/>
                <a:gd name="T23" fmla="*/ 68 h 83"/>
                <a:gd name="T24" fmla="*/ 73 w 81"/>
                <a:gd name="T25" fmla="*/ 82 h 83"/>
                <a:gd name="T26" fmla="*/ 81 w 81"/>
                <a:gd name="T27" fmla="*/ 81 h 83"/>
                <a:gd name="T28" fmla="*/ 74 w 81"/>
                <a:gd name="T29" fmla="*/ 81 h 83"/>
                <a:gd name="T30" fmla="*/ 60 w 81"/>
                <a:gd name="T31" fmla="*/ 67 h 83"/>
                <a:gd name="T32" fmla="*/ 53 w 81"/>
                <a:gd name="T33" fmla="*/ 54 h 83"/>
                <a:gd name="T34" fmla="*/ 41 w 81"/>
                <a:gd name="T35" fmla="*/ 41 h 83"/>
                <a:gd name="T36" fmla="*/ 11 w 81"/>
                <a:gd name="T37" fmla="*/ 18 h 83"/>
                <a:gd name="T38" fmla="*/ 6 w 81"/>
                <a:gd name="T39" fmla="*/ 11 h 83"/>
                <a:gd name="T40" fmla="*/ 6 w 81"/>
                <a:gd name="T41" fmla="*/ 5 h 83"/>
                <a:gd name="T42" fmla="*/ 13 w 81"/>
                <a:gd name="T43" fmla="*/ 7 h 83"/>
                <a:gd name="T44" fmla="*/ 21 w 81"/>
                <a:gd name="T45" fmla="*/ 10 h 83"/>
                <a:gd name="T46" fmla="*/ 50 w 81"/>
                <a:gd name="T47" fmla="*/ 22 h 83"/>
                <a:gd name="T48" fmla="*/ 70 w 81"/>
                <a:gd name="T49" fmla="*/ 29 h 83"/>
                <a:gd name="T50" fmla="*/ 77 w 81"/>
                <a:gd name="T51" fmla="*/ 3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83">
                  <a:moveTo>
                    <a:pt x="77" y="32"/>
                  </a:moveTo>
                  <a:cubicBezTo>
                    <a:pt x="77" y="31"/>
                    <a:pt x="75" y="30"/>
                    <a:pt x="70" y="28"/>
                  </a:cubicBezTo>
                  <a:cubicBezTo>
                    <a:pt x="66" y="26"/>
                    <a:pt x="59" y="23"/>
                    <a:pt x="51" y="19"/>
                  </a:cubicBezTo>
                  <a:cubicBezTo>
                    <a:pt x="43" y="15"/>
                    <a:pt x="33" y="11"/>
                    <a:pt x="23" y="7"/>
                  </a:cubicBezTo>
                  <a:cubicBezTo>
                    <a:pt x="20" y="5"/>
                    <a:pt x="17" y="4"/>
                    <a:pt x="14" y="3"/>
                  </a:cubicBezTo>
                  <a:cubicBezTo>
                    <a:pt x="12" y="2"/>
                    <a:pt x="9" y="0"/>
                    <a:pt x="4" y="1"/>
                  </a:cubicBezTo>
                  <a:cubicBezTo>
                    <a:pt x="2" y="2"/>
                    <a:pt x="0" y="5"/>
                    <a:pt x="0" y="7"/>
                  </a:cubicBezTo>
                  <a:cubicBezTo>
                    <a:pt x="0" y="9"/>
                    <a:pt x="1" y="11"/>
                    <a:pt x="2" y="13"/>
                  </a:cubicBezTo>
                  <a:cubicBezTo>
                    <a:pt x="4" y="16"/>
                    <a:pt x="6" y="19"/>
                    <a:pt x="8" y="21"/>
                  </a:cubicBezTo>
                  <a:cubicBezTo>
                    <a:pt x="18" y="31"/>
                    <a:pt x="30" y="37"/>
                    <a:pt x="39" y="44"/>
                  </a:cubicBezTo>
                  <a:cubicBezTo>
                    <a:pt x="43" y="48"/>
                    <a:pt x="47" y="52"/>
                    <a:pt x="50" y="56"/>
                  </a:cubicBezTo>
                  <a:cubicBezTo>
                    <a:pt x="53" y="60"/>
                    <a:pt x="55" y="65"/>
                    <a:pt x="57" y="68"/>
                  </a:cubicBezTo>
                  <a:cubicBezTo>
                    <a:pt x="61" y="77"/>
                    <a:pt x="68" y="82"/>
                    <a:pt x="73" y="82"/>
                  </a:cubicBezTo>
                  <a:cubicBezTo>
                    <a:pt x="78" y="83"/>
                    <a:pt x="81" y="81"/>
                    <a:pt x="81" y="81"/>
                  </a:cubicBezTo>
                  <a:cubicBezTo>
                    <a:pt x="81" y="81"/>
                    <a:pt x="78" y="82"/>
                    <a:pt x="74" y="81"/>
                  </a:cubicBezTo>
                  <a:cubicBezTo>
                    <a:pt x="69" y="80"/>
                    <a:pt x="63" y="75"/>
                    <a:pt x="60" y="67"/>
                  </a:cubicBezTo>
                  <a:cubicBezTo>
                    <a:pt x="58" y="63"/>
                    <a:pt x="56" y="59"/>
                    <a:pt x="53" y="54"/>
                  </a:cubicBezTo>
                  <a:cubicBezTo>
                    <a:pt x="50" y="49"/>
                    <a:pt x="46" y="45"/>
                    <a:pt x="41" y="41"/>
                  </a:cubicBezTo>
                  <a:cubicBezTo>
                    <a:pt x="32" y="34"/>
                    <a:pt x="20" y="28"/>
                    <a:pt x="11" y="18"/>
                  </a:cubicBezTo>
                  <a:cubicBezTo>
                    <a:pt x="9" y="16"/>
                    <a:pt x="7" y="13"/>
                    <a:pt x="6" y="11"/>
                  </a:cubicBezTo>
                  <a:cubicBezTo>
                    <a:pt x="4" y="8"/>
                    <a:pt x="4" y="5"/>
                    <a:pt x="6" y="5"/>
                  </a:cubicBezTo>
                  <a:cubicBezTo>
                    <a:pt x="7" y="4"/>
                    <a:pt x="10" y="5"/>
                    <a:pt x="13" y="7"/>
                  </a:cubicBezTo>
                  <a:cubicBezTo>
                    <a:pt x="16" y="8"/>
                    <a:pt x="19" y="9"/>
                    <a:pt x="21" y="10"/>
                  </a:cubicBezTo>
                  <a:cubicBezTo>
                    <a:pt x="32" y="14"/>
                    <a:pt x="42" y="18"/>
                    <a:pt x="50" y="22"/>
                  </a:cubicBezTo>
                  <a:cubicBezTo>
                    <a:pt x="58" y="25"/>
                    <a:pt x="65" y="28"/>
                    <a:pt x="70" y="29"/>
                  </a:cubicBezTo>
                  <a:cubicBezTo>
                    <a:pt x="75" y="31"/>
                    <a:pt x="77" y="32"/>
                    <a:pt x="77" y="32"/>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1">
              <a:extLst>
                <a:ext uri="{FF2B5EF4-FFF2-40B4-BE49-F238E27FC236}">
                  <a16:creationId xmlns:a16="http://schemas.microsoft.com/office/drawing/2014/main" id="{F888D688-0F1B-4063-98D6-3C00CD0F5916}"/>
                </a:ext>
              </a:extLst>
            </p:cNvPr>
            <p:cNvSpPr>
              <a:spLocks/>
            </p:cNvSpPr>
            <p:nvPr/>
          </p:nvSpPr>
          <p:spPr bwMode="auto">
            <a:xfrm>
              <a:off x="3625" y="2402"/>
              <a:ext cx="178" cy="90"/>
            </a:xfrm>
            <a:custGeom>
              <a:avLst/>
              <a:gdLst>
                <a:gd name="T0" fmla="*/ 75 w 75"/>
                <a:gd name="T1" fmla="*/ 38 h 38"/>
                <a:gd name="T2" fmla="*/ 69 w 75"/>
                <a:gd name="T3" fmla="*/ 26 h 38"/>
                <a:gd name="T4" fmla="*/ 57 w 75"/>
                <a:gd name="T5" fmla="*/ 18 h 38"/>
                <a:gd name="T6" fmla="*/ 38 w 75"/>
                <a:gd name="T7" fmla="*/ 18 h 38"/>
                <a:gd name="T8" fmla="*/ 20 w 75"/>
                <a:gd name="T9" fmla="*/ 18 h 38"/>
                <a:gd name="T10" fmla="*/ 5 w 75"/>
                <a:gd name="T11" fmla="*/ 13 h 38"/>
                <a:gd name="T12" fmla="*/ 0 w 75"/>
                <a:gd name="T13" fmla="*/ 3 h 38"/>
                <a:gd name="T14" fmla="*/ 1 w 75"/>
                <a:gd name="T15" fmla="*/ 0 h 38"/>
                <a:gd name="T16" fmla="*/ 1 w 75"/>
                <a:gd name="T17" fmla="*/ 3 h 38"/>
                <a:gd name="T18" fmla="*/ 6 w 75"/>
                <a:gd name="T19" fmla="*/ 11 h 38"/>
                <a:gd name="T20" fmla="*/ 20 w 75"/>
                <a:gd name="T21" fmla="*/ 16 h 38"/>
                <a:gd name="T22" fmla="*/ 38 w 75"/>
                <a:gd name="T23" fmla="*/ 15 h 38"/>
                <a:gd name="T24" fmla="*/ 57 w 75"/>
                <a:gd name="T25" fmla="*/ 16 h 38"/>
                <a:gd name="T26" fmla="*/ 70 w 75"/>
                <a:gd name="T27" fmla="*/ 24 h 38"/>
                <a:gd name="T28" fmla="*/ 75 w 75"/>
                <a:gd name="T29" fmla="*/ 34 h 38"/>
                <a:gd name="T30" fmla="*/ 75 w 75"/>
                <a:gd name="T3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38">
                  <a:moveTo>
                    <a:pt x="75" y="38"/>
                  </a:moveTo>
                  <a:cubicBezTo>
                    <a:pt x="74" y="38"/>
                    <a:pt x="74" y="32"/>
                    <a:pt x="69" y="26"/>
                  </a:cubicBezTo>
                  <a:cubicBezTo>
                    <a:pt x="66" y="22"/>
                    <a:pt x="62" y="20"/>
                    <a:pt x="57" y="18"/>
                  </a:cubicBezTo>
                  <a:cubicBezTo>
                    <a:pt x="51" y="17"/>
                    <a:pt x="45" y="17"/>
                    <a:pt x="38" y="18"/>
                  </a:cubicBezTo>
                  <a:cubicBezTo>
                    <a:pt x="32" y="18"/>
                    <a:pt x="26" y="19"/>
                    <a:pt x="20" y="18"/>
                  </a:cubicBezTo>
                  <a:cubicBezTo>
                    <a:pt x="14" y="17"/>
                    <a:pt x="9" y="16"/>
                    <a:pt x="5" y="13"/>
                  </a:cubicBezTo>
                  <a:cubicBezTo>
                    <a:pt x="1" y="10"/>
                    <a:pt x="0" y="6"/>
                    <a:pt x="0" y="3"/>
                  </a:cubicBezTo>
                  <a:cubicBezTo>
                    <a:pt x="0" y="1"/>
                    <a:pt x="1" y="0"/>
                    <a:pt x="1" y="0"/>
                  </a:cubicBezTo>
                  <a:cubicBezTo>
                    <a:pt x="1" y="0"/>
                    <a:pt x="1" y="1"/>
                    <a:pt x="1" y="3"/>
                  </a:cubicBezTo>
                  <a:cubicBezTo>
                    <a:pt x="2" y="6"/>
                    <a:pt x="3" y="9"/>
                    <a:pt x="6" y="11"/>
                  </a:cubicBezTo>
                  <a:cubicBezTo>
                    <a:pt x="10" y="14"/>
                    <a:pt x="14" y="15"/>
                    <a:pt x="20" y="16"/>
                  </a:cubicBezTo>
                  <a:cubicBezTo>
                    <a:pt x="26" y="16"/>
                    <a:pt x="32" y="16"/>
                    <a:pt x="38" y="15"/>
                  </a:cubicBezTo>
                  <a:cubicBezTo>
                    <a:pt x="45" y="15"/>
                    <a:pt x="51" y="15"/>
                    <a:pt x="57" y="16"/>
                  </a:cubicBezTo>
                  <a:cubicBezTo>
                    <a:pt x="63" y="18"/>
                    <a:pt x="68" y="21"/>
                    <a:pt x="70" y="24"/>
                  </a:cubicBezTo>
                  <a:cubicBezTo>
                    <a:pt x="73" y="28"/>
                    <a:pt x="74" y="32"/>
                    <a:pt x="75" y="34"/>
                  </a:cubicBezTo>
                  <a:cubicBezTo>
                    <a:pt x="75" y="36"/>
                    <a:pt x="75" y="38"/>
                    <a:pt x="75" y="38"/>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2">
              <a:extLst>
                <a:ext uri="{FF2B5EF4-FFF2-40B4-BE49-F238E27FC236}">
                  <a16:creationId xmlns:a16="http://schemas.microsoft.com/office/drawing/2014/main" id="{EB056C45-A704-4DDA-BC9F-14C8415D9FAC}"/>
                </a:ext>
              </a:extLst>
            </p:cNvPr>
            <p:cNvSpPr>
              <a:spLocks/>
            </p:cNvSpPr>
            <p:nvPr/>
          </p:nvSpPr>
          <p:spPr bwMode="auto">
            <a:xfrm>
              <a:off x="3848" y="2267"/>
              <a:ext cx="24" cy="211"/>
            </a:xfrm>
            <a:custGeom>
              <a:avLst/>
              <a:gdLst>
                <a:gd name="T0" fmla="*/ 0 w 10"/>
                <a:gd name="T1" fmla="*/ 0 h 89"/>
                <a:gd name="T2" fmla="*/ 2 w 10"/>
                <a:gd name="T3" fmla="*/ 13 h 89"/>
                <a:gd name="T4" fmla="*/ 5 w 10"/>
                <a:gd name="T5" fmla="*/ 45 h 89"/>
                <a:gd name="T6" fmla="*/ 9 w 10"/>
                <a:gd name="T7" fmla="*/ 76 h 89"/>
                <a:gd name="T8" fmla="*/ 10 w 10"/>
                <a:gd name="T9" fmla="*/ 89 h 89"/>
                <a:gd name="T10" fmla="*/ 7 w 10"/>
                <a:gd name="T11" fmla="*/ 76 h 89"/>
                <a:gd name="T12" fmla="*/ 2 w 10"/>
                <a:gd name="T13" fmla="*/ 45 h 89"/>
                <a:gd name="T14" fmla="*/ 0 w 10"/>
                <a:gd name="T15" fmla="*/ 13 h 89"/>
                <a:gd name="T16" fmla="*/ 0 w 10"/>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9">
                  <a:moveTo>
                    <a:pt x="0" y="0"/>
                  </a:moveTo>
                  <a:cubicBezTo>
                    <a:pt x="1" y="0"/>
                    <a:pt x="1" y="5"/>
                    <a:pt x="2" y="13"/>
                  </a:cubicBezTo>
                  <a:cubicBezTo>
                    <a:pt x="3" y="22"/>
                    <a:pt x="4" y="33"/>
                    <a:pt x="5" y="45"/>
                  </a:cubicBezTo>
                  <a:cubicBezTo>
                    <a:pt x="6" y="56"/>
                    <a:pt x="8" y="67"/>
                    <a:pt x="9" y="76"/>
                  </a:cubicBezTo>
                  <a:cubicBezTo>
                    <a:pt x="9" y="84"/>
                    <a:pt x="10" y="89"/>
                    <a:pt x="10" y="89"/>
                  </a:cubicBezTo>
                  <a:cubicBezTo>
                    <a:pt x="9" y="89"/>
                    <a:pt x="8" y="84"/>
                    <a:pt x="7" y="76"/>
                  </a:cubicBezTo>
                  <a:cubicBezTo>
                    <a:pt x="5" y="68"/>
                    <a:pt x="4" y="57"/>
                    <a:pt x="2" y="45"/>
                  </a:cubicBezTo>
                  <a:cubicBezTo>
                    <a:pt x="1" y="32"/>
                    <a:pt x="0" y="21"/>
                    <a:pt x="0" y="13"/>
                  </a:cubicBezTo>
                  <a:cubicBezTo>
                    <a:pt x="0" y="5"/>
                    <a:pt x="0" y="0"/>
                    <a:pt x="0" y="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3">
              <a:extLst>
                <a:ext uri="{FF2B5EF4-FFF2-40B4-BE49-F238E27FC236}">
                  <a16:creationId xmlns:a16="http://schemas.microsoft.com/office/drawing/2014/main" id="{88CC3B62-6B3B-4E8A-9CA1-8EE61C381423}"/>
                </a:ext>
              </a:extLst>
            </p:cNvPr>
            <p:cNvSpPr>
              <a:spLocks/>
            </p:cNvSpPr>
            <p:nvPr/>
          </p:nvSpPr>
          <p:spPr bwMode="auto">
            <a:xfrm>
              <a:off x="3668" y="2500"/>
              <a:ext cx="102" cy="104"/>
            </a:xfrm>
            <a:custGeom>
              <a:avLst/>
              <a:gdLst>
                <a:gd name="T0" fmla="*/ 43 w 43"/>
                <a:gd name="T1" fmla="*/ 13 h 44"/>
                <a:gd name="T2" fmla="*/ 39 w 43"/>
                <a:gd name="T3" fmla="*/ 12 h 44"/>
                <a:gd name="T4" fmla="*/ 29 w 43"/>
                <a:gd name="T5" fmla="*/ 13 h 44"/>
                <a:gd name="T6" fmla="*/ 26 w 43"/>
                <a:gd name="T7" fmla="*/ 19 h 44"/>
                <a:gd name="T8" fmla="*/ 28 w 43"/>
                <a:gd name="T9" fmla="*/ 27 h 44"/>
                <a:gd name="T10" fmla="*/ 27 w 43"/>
                <a:gd name="T11" fmla="*/ 38 h 44"/>
                <a:gd name="T12" fmla="*/ 18 w 43"/>
                <a:gd name="T13" fmla="*/ 44 h 44"/>
                <a:gd name="T14" fmla="*/ 7 w 43"/>
                <a:gd name="T15" fmla="*/ 40 h 44"/>
                <a:gd name="T16" fmla="*/ 1 w 43"/>
                <a:gd name="T17" fmla="*/ 32 h 44"/>
                <a:gd name="T18" fmla="*/ 0 w 43"/>
                <a:gd name="T19" fmla="*/ 15 h 44"/>
                <a:gd name="T20" fmla="*/ 2 w 43"/>
                <a:gd name="T21" fmla="*/ 4 h 44"/>
                <a:gd name="T22" fmla="*/ 4 w 43"/>
                <a:gd name="T23" fmla="*/ 0 h 44"/>
                <a:gd name="T24" fmla="*/ 3 w 43"/>
                <a:gd name="T25" fmla="*/ 4 h 44"/>
                <a:gd name="T26" fmla="*/ 2 w 43"/>
                <a:gd name="T27" fmla="*/ 15 h 44"/>
                <a:gd name="T28" fmla="*/ 4 w 43"/>
                <a:gd name="T29" fmla="*/ 31 h 44"/>
                <a:gd name="T30" fmla="*/ 18 w 43"/>
                <a:gd name="T31" fmla="*/ 41 h 44"/>
                <a:gd name="T32" fmla="*/ 25 w 43"/>
                <a:gd name="T33" fmla="*/ 36 h 44"/>
                <a:gd name="T34" fmla="*/ 26 w 43"/>
                <a:gd name="T35" fmla="*/ 28 h 44"/>
                <a:gd name="T36" fmla="*/ 24 w 43"/>
                <a:gd name="T37" fmla="*/ 19 h 44"/>
                <a:gd name="T38" fmla="*/ 28 w 43"/>
                <a:gd name="T39" fmla="*/ 11 h 44"/>
                <a:gd name="T40" fmla="*/ 40 w 43"/>
                <a:gd name="T41" fmla="*/ 11 h 44"/>
                <a:gd name="T42" fmla="*/ 43 w 43"/>
                <a:gd name="T43"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4">
                  <a:moveTo>
                    <a:pt x="43" y="13"/>
                  </a:moveTo>
                  <a:cubicBezTo>
                    <a:pt x="43" y="13"/>
                    <a:pt x="42" y="13"/>
                    <a:pt x="39" y="12"/>
                  </a:cubicBezTo>
                  <a:cubicBezTo>
                    <a:pt x="37" y="11"/>
                    <a:pt x="33" y="10"/>
                    <a:pt x="29" y="13"/>
                  </a:cubicBezTo>
                  <a:cubicBezTo>
                    <a:pt x="27" y="14"/>
                    <a:pt x="26" y="16"/>
                    <a:pt x="26" y="19"/>
                  </a:cubicBezTo>
                  <a:cubicBezTo>
                    <a:pt x="26" y="21"/>
                    <a:pt x="27" y="24"/>
                    <a:pt x="28" y="27"/>
                  </a:cubicBezTo>
                  <a:cubicBezTo>
                    <a:pt x="29" y="30"/>
                    <a:pt x="29" y="34"/>
                    <a:pt x="27" y="38"/>
                  </a:cubicBezTo>
                  <a:cubicBezTo>
                    <a:pt x="26" y="41"/>
                    <a:pt x="22" y="43"/>
                    <a:pt x="18" y="44"/>
                  </a:cubicBezTo>
                  <a:cubicBezTo>
                    <a:pt x="14" y="44"/>
                    <a:pt x="10" y="43"/>
                    <a:pt x="7" y="40"/>
                  </a:cubicBezTo>
                  <a:cubicBezTo>
                    <a:pt x="4" y="38"/>
                    <a:pt x="2" y="35"/>
                    <a:pt x="1" y="32"/>
                  </a:cubicBezTo>
                  <a:cubicBezTo>
                    <a:pt x="0" y="25"/>
                    <a:pt x="0" y="20"/>
                    <a:pt x="0" y="15"/>
                  </a:cubicBezTo>
                  <a:cubicBezTo>
                    <a:pt x="0" y="10"/>
                    <a:pt x="1" y="6"/>
                    <a:pt x="2" y="4"/>
                  </a:cubicBezTo>
                  <a:cubicBezTo>
                    <a:pt x="3" y="1"/>
                    <a:pt x="4" y="0"/>
                    <a:pt x="4" y="0"/>
                  </a:cubicBezTo>
                  <a:cubicBezTo>
                    <a:pt x="4" y="0"/>
                    <a:pt x="4" y="2"/>
                    <a:pt x="3" y="4"/>
                  </a:cubicBezTo>
                  <a:cubicBezTo>
                    <a:pt x="2" y="7"/>
                    <a:pt x="2" y="10"/>
                    <a:pt x="2" y="15"/>
                  </a:cubicBezTo>
                  <a:cubicBezTo>
                    <a:pt x="2" y="20"/>
                    <a:pt x="2" y="25"/>
                    <a:pt x="4" y="31"/>
                  </a:cubicBezTo>
                  <a:cubicBezTo>
                    <a:pt x="5" y="36"/>
                    <a:pt x="11" y="42"/>
                    <a:pt x="18" y="41"/>
                  </a:cubicBezTo>
                  <a:cubicBezTo>
                    <a:pt x="21" y="41"/>
                    <a:pt x="24" y="39"/>
                    <a:pt x="25" y="36"/>
                  </a:cubicBezTo>
                  <a:cubicBezTo>
                    <a:pt x="27" y="34"/>
                    <a:pt x="26" y="31"/>
                    <a:pt x="26" y="28"/>
                  </a:cubicBezTo>
                  <a:cubicBezTo>
                    <a:pt x="25" y="25"/>
                    <a:pt x="24" y="22"/>
                    <a:pt x="24" y="19"/>
                  </a:cubicBezTo>
                  <a:cubicBezTo>
                    <a:pt x="24" y="16"/>
                    <a:pt x="26" y="12"/>
                    <a:pt x="28" y="11"/>
                  </a:cubicBezTo>
                  <a:cubicBezTo>
                    <a:pt x="33" y="9"/>
                    <a:pt x="37" y="10"/>
                    <a:pt x="40" y="11"/>
                  </a:cubicBezTo>
                  <a:cubicBezTo>
                    <a:pt x="42" y="12"/>
                    <a:pt x="43" y="13"/>
                    <a:pt x="43" y="13"/>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4">
              <a:extLst>
                <a:ext uri="{FF2B5EF4-FFF2-40B4-BE49-F238E27FC236}">
                  <a16:creationId xmlns:a16="http://schemas.microsoft.com/office/drawing/2014/main" id="{7FC5F8BD-09BB-4703-88AF-CDF0F9FB8590}"/>
                </a:ext>
              </a:extLst>
            </p:cNvPr>
            <p:cNvSpPr>
              <a:spLocks/>
            </p:cNvSpPr>
            <p:nvPr/>
          </p:nvSpPr>
          <p:spPr bwMode="auto">
            <a:xfrm>
              <a:off x="3613" y="2495"/>
              <a:ext cx="76" cy="126"/>
            </a:xfrm>
            <a:custGeom>
              <a:avLst/>
              <a:gdLst>
                <a:gd name="T0" fmla="*/ 31 w 32"/>
                <a:gd name="T1" fmla="*/ 40 h 53"/>
                <a:gd name="T2" fmla="*/ 31 w 32"/>
                <a:gd name="T3" fmla="*/ 44 h 53"/>
                <a:gd name="T4" fmla="*/ 24 w 32"/>
                <a:gd name="T5" fmla="*/ 52 h 53"/>
                <a:gd name="T6" fmla="*/ 9 w 32"/>
                <a:gd name="T7" fmla="*/ 49 h 53"/>
                <a:gd name="T8" fmla="*/ 1 w 32"/>
                <a:gd name="T9" fmla="*/ 32 h 53"/>
                <a:gd name="T10" fmla="*/ 5 w 32"/>
                <a:gd name="T11" fmla="*/ 14 h 53"/>
                <a:gd name="T12" fmla="*/ 15 w 32"/>
                <a:gd name="T13" fmla="*/ 3 h 53"/>
                <a:gd name="T14" fmla="*/ 25 w 32"/>
                <a:gd name="T15" fmla="*/ 0 h 53"/>
                <a:gd name="T16" fmla="*/ 29 w 32"/>
                <a:gd name="T17" fmla="*/ 0 h 53"/>
                <a:gd name="T18" fmla="*/ 16 w 32"/>
                <a:gd name="T19" fmla="*/ 5 h 53"/>
                <a:gd name="T20" fmla="*/ 7 w 32"/>
                <a:gd name="T21" fmla="*/ 15 h 53"/>
                <a:gd name="T22" fmla="*/ 4 w 32"/>
                <a:gd name="T23" fmla="*/ 32 h 53"/>
                <a:gd name="T24" fmla="*/ 11 w 32"/>
                <a:gd name="T25" fmla="*/ 47 h 53"/>
                <a:gd name="T26" fmla="*/ 24 w 32"/>
                <a:gd name="T27" fmla="*/ 50 h 53"/>
                <a:gd name="T28" fmla="*/ 30 w 32"/>
                <a:gd name="T29" fmla="*/ 44 h 53"/>
                <a:gd name="T30" fmla="*/ 31 w 32"/>
                <a:gd name="T31"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53">
                  <a:moveTo>
                    <a:pt x="31" y="40"/>
                  </a:moveTo>
                  <a:cubicBezTo>
                    <a:pt x="31" y="40"/>
                    <a:pt x="32" y="42"/>
                    <a:pt x="31" y="44"/>
                  </a:cubicBezTo>
                  <a:cubicBezTo>
                    <a:pt x="30" y="46"/>
                    <a:pt x="28" y="50"/>
                    <a:pt x="24" y="52"/>
                  </a:cubicBezTo>
                  <a:cubicBezTo>
                    <a:pt x="20" y="53"/>
                    <a:pt x="14" y="53"/>
                    <a:pt x="9" y="49"/>
                  </a:cubicBezTo>
                  <a:cubicBezTo>
                    <a:pt x="5" y="45"/>
                    <a:pt x="2" y="39"/>
                    <a:pt x="1" y="32"/>
                  </a:cubicBezTo>
                  <a:cubicBezTo>
                    <a:pt x="0" y="25"/>
                    <a:pt x="2" y="19"/>
                    <a:pt x="5" y="14"/>
                  </a:cubicBezTo>
                  <a:cubicBezTo>
                    <a:pt x="8" y="9"/>
                    <a:pt x="12" y="5"/>
                    <a:pt x="15" y="3"/>
                  </a:cubicBezTo>
                  <a:cubicBezTo>
                    <a:pt x="19" y="1"/>
                    <a:pt x="23" y="0"/>
                    <a:pt x="25" y="0"/>
                  </a:cubicBezTo>
                  <a:cubicBezTo>
                    <a:pt x="27" y="0"/>
                    <a:pt x="29" y="0"/>
                    <a:pt x="29" y="0"/>
                  </a:cubicBezTo>
                  <a:cubicBezTo>
                    <a:pt x="29" y="0"/>
                    <a:pt x="23" y="0"/>
                    <a:pt x="16" y="5"/>
                  </a:cubicBezTo>
                  <a:cubicBezTo>
                    <a:pt x="13" y="7"/>
                    <a:pt x="9" y="10"/>
                    <a:pt x="7" y="15"/>
                  </a:cubicBezTo>
                  <a:cubicBezTo>
                    <a:pt x="4" y="20"/>
                    <a:pt x="3" y="26"/>
                    <a:pt x="4" y="32"/>
                  </a:cubicBezTo>
                  <a:cubicBezTo>
                    <a:pt x="4" y="38"/>
                    <a:pt x="7" y="44"/>
                    <a:pt x="11" y="47"/>
                  </a:cubicBezTo>
                  <a:cubicBezTo>
                    <a:pt x="15" y="50"/>
                    <a:pt x="20" y="51"/>
                    <a:pt x="24" y="50"/>
                  </a:cubicBezTo>
                  <a:cubicBezTo>
                    <a:pt x="27" y="49"/>
                    <a:pt x="29" y="46"/>
                    <a:pt x="30" y="44"/>
                  </a:cubicBezTo>
                  <a:cubicBezTo>
                    <a:pt x="31" y="42"/>
                    <a:pt x="31" y="40"/>
                    <a:pt x="31" y="4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5">
              <a:extLst>
                <a:ext uri="{FF2B5EF4-FFF2-40B4-BE49-F238E27FC236}">
                  <a16:creationId xmlns:a16="http://schemas.microsoft.com/office/drawing/2014/main" id="{3B4FB382-16C1-4EDB-B19D-BEDECA30BEEC}"/>
                </a:ext>
              </a:extLst>
            </p:cNvPr>
            <p:cNvSpPr>
              <a:spLocks/>
            </p:cNvSpPr>
            <p:nvPr/>
          </p:nvSpPr>
          <p:spPr bwMode="auto">
            <a:xfrm>
              <a:off x="3806" y="2609"/>
              <a:ext cx="73" cy="100"/>
            </a:xfrm>
            <a:custGeom>
              <a:avLst/>
              <a:gdLst>
                <a:gd name="T0" fmla="*/ 0 w 31"/>
                <a:gd name="T1" fmla="*/ 31 h 42"/>
                <a:gd name="T2" fmla="*/ 6 w 31"/>
                <a:gd name="T3" fmla="*/ 31 h 42"/>
                <a:gd name="T4" fmla="*/ 21 w 31"/>
                <a:gd name="T5" fmla="*/ 38 h 42"/>
                <a:gd name="T6" fmla="*/ 19 w 31"/>
                <a:gd name="T7" fmla="*/ 39 h 42"/>
                <a:gd name="T8" fmla="*/ 19 w 31"/>
                <a:gd name="T9" fmla="*/ 30 h 42"/>
                <a:gd name="T10" fmla="*/ 30 w 31"/>
                <a:gd name="T11" fmla="*/ 1 h 42"/>
                <a:gd name="T12" fmla="*/ 22 w 31"/>
                <a:gd name="T13" fmla="*/ 30 h 42"/>
                <a:gd name="T14" fmla="*/ 21 w 31"/>
                <a:gd name="T15" fmla="*/ 39 h 42"/>
                <a:gd name="T16" fmla="*/ 21 w 31"/>
                <a:gd name="T17" fmla="*/ 42 h 42"/>
                <a:gd name="T18" fmla="*/ 19 w 31"/>
                <a:gd name="T19" fmla="*/ 40 h 42"/>
                <a:gd name="T20" fmla="*/ 6 w 31"/>
                <a:gd name="T21" fmla="*/ 32 h 42"/>
                <a:gd name="T22" fmla="*/ 0 w 31"/>
                <a:gd name="T23" fmla="*/ 3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2">
                  <a:moveTo>
                    <a:pt x="0" y="31"/>
                  </a:moveTo>
                  <a:cubicBezTo>
                    <a:pt x="0" y="31"/>
                    <a:pt x="2" y="31"/>
                    <a:pt x="6" y="31"/>
                  </a:cubicBezTo>
                  <a:cubicBezTo>
                    <a:pt x="10" y="31"/>
                    <a:pt x="16" y="33"/>
                    <a:pt x="21" y="38"/>
                  </a:cubicBezTo>
                  <a:cubicBezTo>
                    <a:pt x="19" y="39"/>
                    <a:pt x="19" y="39"/>
                    <a:pt x="19" y="39"/>
                  </a:cubicBezTo>
                  <a:cubicBezTo>
                    <a:pt x="19" y="36"/>
                    <a:pt x="19" y="33"/>
                    <a:pt x="19" y="30"/>
                  </a:cubicBezTo>
                  <a:cubicBezTo>
                    <a:pt x="21" y="12"/>
                    <a:pt x="30" y="0"/>
                    <a:pt x="30" y="1"/>
                  </a:cubicBezTo>
                  <a:cubicBezTo>
                    <a:pt x="31" y="1"/>
                    <a:pt x="24" y="13"/>
                    <a:pt x="22" y="30"/>
                  </a:cubicBezTo>
                  <a:cubicBezTo>
                    <a:pt x="22" y="33"/>
                    <a:pt x="21" y="36"/>
                    <a:pt x="21" y="39"/>
                  </a:cubicBezTo>
                  <a:cubicBezTo>
                    <a:pt x="21" y="42"/>
                    <a:pt x="21" y="42"/>
                    <a:pt x="21" y="42"/>
                  </a:cubicBezTo>
                  <a:cubicBezTo>
                    <a:pt x="19" y="40"/>
                    <a:pt x="19" y="40"/>
                    <a:pt x="19" y="40"/>
                  </a:cubicBezTo>
                  <a:cubicBezTo>
                    <a:pt x="15" y="35"/>
                    <a:pt x="10" y="33"/>
                    <a:pt x="6" y="32"/>
                  </a:cubicBezTo>
                  <a:cubicBezTo>
                    <a:pt x="2" y="32"/>
                    <a:pt x="0" y="32"/>
                    <a:pt x="0" y="31"/>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6">
              <a:extLst>
                <a:ext uri="{FF2B5EF4-FFF2-40B4-BE49-F238E27FC236}">
                  <a16:creationId xmlns:a16="http://schemas.microsoft.com/office/drawing/2014/main" id="{51697B72-61B5-404F-91C1-4DBC98343F98}"/>
                </a:ext>
              </a:extLst>
            </p:cNvPr>
            <p:cNvSpPr>
              <a:spLocks/>
            </p:cNvSpPr>
            <p:nvPr/>
          </p:nvSpPr>
          <p:spPr bwMode="auto">
            <a:xfrm>
              <a:off x="3732" y="2416"/>
              <a:ext cx="43" cy="29"/>
            </a:xfrm>
            <a:custGeom>
              <a:avLst/>
              <a:gdLst>
                <a:gd name="T0" fmla="*/ 18 w 18"/>
                <a:gd name="T1" fmla="*/ 0 h 12"/>
                <a:gd name="T2" fmla="*/ 11 w 18"/>
                <a:gd name="T3" fmla="*/ 9 h 12"/>
                <a:gd name="T4" fmla="*/ 0 w 18"/>
                <a:gd name="T5" fmla="*/ 10 h 12"/>
                <a:gd name="T6" fmla="*/ 10 w 18"/>
                <a:gd name="T7" fmla="*/ 7 h 12"/>
                <a:gd name="T8" fmla="*/ 18 w 18"/>
                <a:gd name="T9" fmla="*/ 0 h 12"/>
              </a:gdLst>
              <a:ahLst/>
              <a:cxnLst>
                <a:cxn ang="0">
                  <a:pos x="T0" y="T1"/>
                </a:cxn>
                <a:cxn ang="0">
                  <a:pos x="T2" y="T3"/>
                </a:cxn>
                <a:cxn ang="0">
                  <a:pos x="T4" y="T5"/>
                </a:cxn>
                <a:cxn ang="0">
                  <a:pos x="T6" y="T7"/>
                </a:cxn>
                <a:cxn ang="0">
                  <a:pos x="T8" y="T9"/>
                </a:cxn>
              </a:cxnLst>
              <a:rect l="0" t="0" r="r" b="b"/>
              <a:pathLst>
                <a:path w="18" h="12">
                  <a:moveTo>
                    <a:pt x="18" y="0"/>
                  </a:moveTo>
                  <a:cubicBezTo>
                    <a:pt x="18" y="1"/>
                    <a:pt x="16" y="6"/>
                    <a:pt x="11" y="9"/>
                  </a:cubicBezTo>
                  <a:cubicBezTo>
                    <a:pt x="5" y="12"/>
                    <a:pt x="0" y="11"/>
                    <a:pt x="0" y="10"/>
                  </a:cubicBezTo>
                  <a:cubicBezTo>
                    <a:pt x="0" y="10"/>
                    <a:pt x="5" y="9"/>
                    <a:pt x="10" y="7"/>
                  </a:cubicBezTo>
                  <a:cubicBezTo>
                    <a:pt x="14" y="4"/>
                    <a:pt x="17" y="0"/>
                    <a:pt x="18" y="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7">
              <a:extLst>
                <a:ext uri="{FF2B5EF4-FFF2-40B4-BE49-F238E27FC236}">
                  <a16:creationId xmlns:a16="http://schemas.microsoft.com/office/drawing/2014/main" id="{E127B2F9-DDB8-484C-8EFC-9C57054CC8E7}"/>
                </a:ext>
              </a:extLst>
            </p:cNvPr>
            <p:cNvSpPr>
              <a:spLocks/>
            </p:cNvSpPr>
            <p:nvPr/>
          </p:nvSpPr>
          <p:spPr bwMode="auto">
            <a:xfrm>
              <a:off x="4207" y="2416"/>
              <a:ext cx="643" cy="680"/>
            </a:xfrm>
            <a:custGeom>
              <a:avLst/>
              <a:gdLst>
                <a:gd name="T0" fmla="*/ 107 w 271"/>
                <a:gd name="T1" fmla="*/ 0 h 286"/>
                <a:gd name="T2" fmla="*/ 103 w 271"/>
                <a:gd name="T3" fmla="*/ 5 h 286"/>
                <a:gd name="T4" fmla="*/ 94 w 271"/>
                <a:gd name="T5" fmla="*/ 20 h 286"/>
                <a:gd name="T6" fmla="*/ 93 w 271"/>
                <a:gd name="T7" fmla="*/ 26 h 286"/>
                <a:gd name="T8" fmla="*/ 94 w 271"/>
                <a:gd name="T9" fmla="*/ 32 h 286"/>
                <a:gd name="T10" fmla="*/ 106 w 271"/>
                <a:gd name="T11" fmla="*/ 40 h 286"/>
                <a:gd name="T12" fmla="*/ 142 w 271"/>
                <a:gd name="T13" fmla="*/ 46 h 286"/>
                <a:gd name="T14" fmla="*/ 164 w 271"/>
                <a:gd name="T15" fmla="*/ 46 h 286"/>
                <a:gd name="T16" fmla="*/ 176 w 271"/>
                <a:gd name="T17" fmla="*/ 48 h 286"/>
                <a:gd name="T18" fmla="*/ 188 w 271"/>
                <a:gd name="T19" fmla="*/ 50 h 286"/>
                <a:gd name="T20" fmla="*/ 236 w 271"/>
                <a:gd name="T21" fmla="*/ 71 h 286"/>
                <a:gd name="T22" fmla="*/ 256 w 271"/>
                <a:gd name="T23" fmla="*/ 92 h 286"/>
                <a:gd name="T24" fmla="*/ 260 w 271"/>
                <a:gd name="T25" fmla="*/ 99 h 286"/>
                <a:gd name="T26" fmla="*/ 262 w 271"/>
                <a:gd name="T27" fmla="*/ 106 h 286"/>
                <a:gd name="T28" fmla="*/ 267 w 271"/>
                <a:gd name="T29" fmla="*/ 120 h 286"/>
                <a:gd name="T30" fmla="*/ 257 w 271"/>
                <a:gd name="T31" fmla="*/ 182 h 286"/>
                <a:gd name="T32" fmla="*/ 210 w 271"/>
                <a:gd name="T33" fmla="*/ 222 h 286"/>
                <a:gd name="T34" fmla="*/ 181 w 271"/>
                <a:gd name="T35" fmla="*/ 228 h 286"/>
                <a:gd name="T36" fmla="*/ 152 w 271"/>
                <a:gd name="T37" fmla="*/ 224 h 286"/>
                <a:gd name="T38" fmla="*/ 126 w 271"/>
                <a:gd name="T39" fmla="*/ 220 h 286"/>
                <a:gd name="T40" fmla="*/ 102 w 271"/>
                <a:gd name="T41" fmla="*/ 224 h 286"/>
                <a:gd name="T42" fmla="*/ 84 w 271"/>
                <a:gd name="T43" fmla="*/ 238 h 286"/>
                <a:gd name="T44" fmla="*/ 71 w 271"/>
                <a:gd name="T45" fmla="*/ 256 h 286"/>
                <a:gd name="T46" fmla="*/ 44 w 271"/>
                <a:gd name="T47" fmla="*/ 282 h 286"/>
                <a:gd name="T48" fmla="*/ 28 w 271"/>
                <a:gd name="T49" fmla="*/ 286 h 286"/>
                <a:gd name="T50" fmla="*/ 15 w 271"/>
                <a:gd name="T51" fmla="*/ 283 h 286"/>
                <a:gd name="T52" fmla="*/ 6 w 271"/>
                <a:gd name="T53" fmla="*/ 278 h 286"/>
                <a:gd name="T54" fmla="*/ 2 w 271"/>
                <a:gd name="T55" fmla="*/ 271 h 286"/>
                <a:gd name="T56" fmla="*/ 1 w 271"/>
                <a:gd name="T57" fmla="*/ 265 h 286"/>
                <a:gd name="T58" fmla="*/ 3 w 271"/>
                <a:gd name="T59" fmla="*/ 271 h 286"/>
                <a:gd name="T60" fmla="*/ 7 w 271"/>
                <a:gd name="T61" fmla="*/ 277 h 286"/>
                <a:gd name="T62" fmla="*/ 16 w 271"/>
                <a:gd name="T63" fmla="*/ 282 h 286"/>
                <a:gd name="T64" fmla="*/ 42 w 271"/>
                <a:gd name="T65" fmla="*/ 280 h 286"/>
                <a:gd name="T66" fmla="*/ 69 w 271"/>
                <a:gd name="T67" fmla="*/ 254 h 286"/>
                <a:gd name="T68" fmla="*/ 82 w 271"/>
                <a:gd name="T69" fmla="*/ 236 h 286"/>
                <a:gd name="T70" fmla="*/ 101 w 271"/>
                <a:gd name="T71" fmla="*/ 221 h 286"/>
                <a:gd name="T72" fmla="*/ 126 w 271"/>
                <a:gd name="T73" fmla="*/ 216 h 286"/>
                <a:gd name="T74" fmla="*/ 153 w 271"/>
                <a:gd name="T75" fmla="*/ 221 h 286"/>
                <a:gd name="T76" fmla="*/ 180 w 271"/>
                <a:gd name="T77" fmla="*/ 224 h 286"/>
                <a:gd name="T78" fmla="*/ 209 w 271"/>
                <a:gd name="T79" fmla="*/ 218 h 286"/>
                <a:gd name="T80" fmla="*/ 254 w 271"/>
                <a:gd name="T81" fmla="*/ 180 h 286"/>
                <a:gd name="T82" fmla="*/ 263 w 271"/>
                <a:gd name="T83" fmla="*/ 121 h 286"/>
                <a:gd name="T84" fmla="*/ 259 w 271"/>
                <a:gd name="T85" fmla="*/ 107 h 286"/>
                <a:gd name="T86" fmla="*/ 256 w 271"/>
                <a:gd name="T87" fmla="*/ 100 h 286"/>
                <a:gd name="T88" fmla="*/ 252 w 271"/>
                <a:gd name="T89" fmla="*/ 94 h 286"/>
                <a:gd name="T90" fmla="*/ 234 w 271"/>
                <a:gd name="T91" fmla="*/ 74 h 286"/>
                <a:gd name="T92" fmla="*/ 187 w 271"/>
                <a:gd name="T93" fmla="*/ 53 h 286"/>
                <a:gd name="T94" fmla="*/ 175 w 271"/>
                <a:gd name="T95" fmla="*/ 51 h 286"/>
                <a:gd name="T96" fmla="*/ 164 w 271"/>
                <a:gd name="T97" fmla="*/ 50 h 286"/>
                <a:gd name="T98" fmla="*/ 142 w 271"/>
                <a:gd name="T99" fmla="*/ 49 h 286"/>
                <a:gd name="T100" fmla="*/ 105 w 271"/>
                <a:gd name="T101" fmla="*/ 43 h 286"/>
                <a:gd name="T102" fmla="*/ 92 w 271"/>
                <a:gd name="T103" fmla="*/ 33 h 286"/>
                <a:gd name="T104" fmla="*/ 91 w 271"/>
                <a:gd name="T105" fmla="*/ 26 h 286"/>
                <a:gd name="T106" fmla="*/ 92 w 271"/>
                <a:gd name="T107" fmla="*/ 19 h 286"/>
                <a:gd name="T108" fmla="*/ 102 w 271"/>
                <a:gd name="T109" fmla="*/ 5 h 286"/>
                <a:gd name="T110" fmla="*/ 107 w 271"/>
                <a:gd name="T11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286">
                  <a:moveTo>
                    <a:pt x="107" y="0"/>
                  </a:moveTo>
                  <a:cubicBezTo>
                    <a:pt x="107" y="1"/>
                    <a:pt x="106" y="2"/>
                    <a:pt x="103" y="5"/>
                  </a:cubicBezTo>
                  <a:cubicBezTo>
                    <a:pt x="100" y="8"/>
                    <a:pt x="96" y="13"/>
                    <a:pt x="94" y="20"/>
                  </a:cubicBezTo>
                  <a:cubicBezTo>
                    <a:pt x="93" y="22"/>
                    <a:pt x="93" y="24"/>
                    <a:pt x="93" y="26"/>
                  </a:cubicBezTo>
                  <a:cubicBezTo>
                    <a:pt x="93" y="28"/>
                    <a:pt x="93" y="30"/>
                    <a:pt x="94" y="32"/>
                  </a:cubicBezTo>
                  <a:cubicBezTo>
                    <a:pt x="96" y="36"/>
                    <a:pt x="101" y="39"/>
                    <a:pt x="106" y="40"/>
                  </a:cubicBezTo>
                  <a:cubicBezTo>
                    <a:pt x="116" y="44"/>
                    <a:pt x="128" y="45"/>
                    <a:pt x="142" y="46"/>
                  </a:cubicBezTo>
                  <a:cubicBezTo>
                    <a:pt x="149" y="46"/>
                    <a:pt x="157" y="46"/>
                    <a:pt x="164" y="46"/>
                  </a:cubicBezTo>
                  <a:cubicBezTo>
                    <a:pt x="168" y="47"/>
                    <a:pt x="172" y="47"/>
                    <a:pt x="176" y="48"/>
                  </a:cubicBezTo>
                  <a:cubicBezTo>
                    <a:pt x="180" y="48"/>
                    <a:pt x="184" y="49"/>
                    <a:pt x="188" y="50"/>
                  </a:cubicBezTo>
                  <a:cubicBezTo>
                    <a:pt x="204" y="54"/>
                    <a:pt x="221" y="60"/>
                    <a:pt x="236" y="71"/>
                  </a:cubicBezTo>
                  <a:cubicBezTo>
                    <a:pt x="243" y="77"/>
                    <a:pt x="250" y="84"/>
                    <a:pt x="256" y="92"/>
                  </a:cubicBezTo>
                  <a:cubicBezTo>
                    <a:pt x="257" y="94"/>
                    <a:pt x="258" y="96"/>
                    <a:pt x="260" y="99"/>
                  </a:cubicBezTo>
                  <a:cubicBezTo>
                    <a:pt x="261" y="101"/>
                    <a:pt x="262" y="103"/>
                    <a:pt x="262" y="106"/>
                  </a:cubicBezTo>
                  <a:cubicBezTo>
                    <a:pt x="264" y="110"/>
                    <a:pt x="266" y="115"/>
                    <a:pt x="267" y="120"/>
                  </a:cubicBezTo>
                  <a:cubicBezTo>
                    <a:pt x="271" y="140"/>
                    <a:pt x="268" y="163"/>
                    <a:pt x="257" y="182"/>
                  </a:cubicBezTo>
                  <a:cubicBezTo>
                    <a:pt x="247" y="201"/>
                    <a:pt x="229" y="215"/>
                    <a:pt x="210" y="222"/>
                  </a:cubicBezTo>
                  <a:cubicBezTo>
                    <a:pt x="200" y="226"/>
                    <a:pt x="190" y="228"/>
                    <a:pt x="181" y="228"/>
                  </a:cubicBezTo>
                  <a:cubicBezTo>
                    <a:pt x="171" y="228"/>
                    <a:pt x="161" y="227"/>
                    <a:pt x="152" y="224"/>
                  </a:cubicBezTo>
                  <a:cubicBezTo>
                    <a:pt x="143" y="222"/>
                    <a:pt x="134" y="220"/>
                    <a:pt x="126" y="220"/>
                  </a:cubicBezTo>
                  <a:cubicBezTo>
                    <a:pt x="117" y="219"/>
                    <a:pt x="109" y="220"/>
                    <a:pt x="102" y="224"/>
                  </a:cubicBezTo>
                  <a:cubicBezTo>
                    <a:pt x="95" y="228"/>
                    <a:pt x="89" y="233"/>
                    <a:pt x="84" y="238"/>
                  </a:cubicBezTo>
                  <a:cubicBezTo>
                    <a:pt x="79" y="244"/>
                    <a:pt x="75" y="250"/>
                    <a:pt x="71" y="256"/>
                  </a:cubicBezTo>
                  <a:cubicBezTo>
                    <a:pt x="63" y="267"/>
                    <a:pt x="54" y="276"/>
                    <a:pt x="44" y="282"/>
                  </a:cubicBezTo>
                  <a:cubicBezTo>
                    <a:pt x="39" y="284"/>
                    <a:pt x="33" y="286"/>
                    <a:pt x="28" y="286"/>
                  </a:cubicBezTo>
                  <a:cubicBezTo>
                    <a:pt x="23" y="286"/>
                    <a:pt x="19" y="285"/>
                    <a:pt x="15" y="283"/>
                  </a:cubicBezTo>
                  <a:cubicBezTo>
                    <a:pt x="12" y="282"/>
                    <a:pt x="9" y="280"/>
                    <a:pt x="6" y="278"/>
                  </a:cubicBezTo>
                  <a:cubicBezTo>
                    <a:pt x="4" y="275"/>
                    <a:pt x="3" y="273"/>
                    <a:pt x="2" y="271"/>
                  </a:cubicBezTo>
                  <a:cubicBezTo>
                    <a:pt x="0" y="267"/>
                    <a:pt x="1" y="265"/>
                    <a:pt x="1" y="265"/>
                  </a:cubicBezTo>
                  <a:cubicBezTo>
                    <a:pt x="1" y="265"/>
                    <a:pt x="1" y="267"/>
                    <a:pt x="3" y="271"/>
                  </a:cubicBezTo>
                  <a:cubicBezTo>
                    <a:pt x="4" y="273"/>
                    <a:pt x="5" y="275"/>
                    <a:pt x="7" y="277"/>
                  </a:cubicBezTo>
                  <a:cubicBezTo>
                    <a:pt x="9" y="279"/>
                    <a:pt x="12" y="280"/>
                    <a:pt x="16" y="282"/>
                  </a:cubicBezTo>
                  <a:cubicBezTo>
                    <a:pt x="23" y="284"/>
                    <a:pt x="33" y="285"/>
                    <a:pt x="42" y="280"/>
                  </a:cubicBezTo>
                  <a:cubicBezTo>
                    <a:pt x="52" y="275"/>
                    <a:pt x="60" y="265"/>
                    <a:pt x="69" y="254"/>
                  </a:cubicBezTo>
                  <a:cubicBezTo>
                    <a:pt x="73" y="248"/>
                    <a:pt x="77" y="242"/>
                    <a:pt x="82" y="236"/>
                  </a:cubicBezTo>
                  <a:cubicBezTo>
                    <a:pt x="87" y="231"/>
                    <a:pt x="93" y="225"/>
                    <a:pt x="101" y="221"/>
                  </a:cubicBezTo>
                  <a:cubicBezTo>
                    <a:pt x="108" y="217"/>
                    <a:pt x="117" y="216"/>
                    <a:pt x="126" y="216"/>
                  </a:cubicBezTo>
                  <a:cubicBezTo>
                    <a:pt x="135" y="217"/>
                    <a:pt x="144" y="219"/>
                    <a:pt x="153" y="221"/>
                  </a:cubicBezTo>
                  <a:cubicBezTo>
                    <a:pt x="162" y="223"/>
                    <a:pt x="171" y="224"/>
                    <a:pt x="180" y="224"/>
                  </a:cubicBezTo>
                  <a:cubicBezTo>
                    <a:pt x="190" y="224"/>
                    <a:pt x="199" y="222"/>
                    <a:pt x="209" y="218"/>
                  </a:cubicBezTo>
                  <a:cubicBezTo>
                    <a:pt x="227" y="211"/>
                    <a:pt x="244" y="198"/>
                    <a:pt x="254" y="180"/>
                  </a:cubicBezTo>
                  <a:cubicBezTo>
                    <a:pt x="263" y="161"/>
                    <a:pt x="266" y="140"/>
                    <a:pt x="263" y="121"/>
                  </a:cubicBezTo>
                  <a:cubicBezTo>
                    <a:pt x="262" y="116"/>
                    <a:pt x="260" y="112"/>
                    <a:pt x="259" y="107"/>
                  </a:cubicBezTo>
                  <a:cubicBezTo>
                    <a:pt x="258" y="105"/>
                    <a:pt x="257" y="103"/>
                    <a:pt x="256" y="100"/>
                  </a:cubicBezTo>
                  <a:cubicBezTo>
                    <a:pt x="255" y="98"/>
                    <a:pt x="254" y="96"/>
                    <a:pt x="252" y="94"/>
                  </a:cubicBezTo>
                  <a:cubicBezTo>
                    <a:pt x="247" y="87"/>
                    <a:pt x="241" y="80"/>
                    <a:pt x="234" y="74"/>
                  </a:cubicBezTo>
                  <a:cubicBezTo>
                    <a:pt x="219" y="63"/>
                    <a:pt x="203" y="57"/>
                    <a:pt x="187" y="53"/>
                  </a:cubicBezTo>
                  <a:cubicBezTo>
                    <a:pt x="183" y="53"/>
                    <a:pt x="179" y="52"/>
                    <a:pt x="175" y="51"/>
                  </a:cubicBezTo>
                  <a:cubicBezTo>
                    <a:pt x="171" y="51"/>
                    <a:pt x="168" y="50"/>
                    <a:pt x="164" y="50"/>
                  </a:cubicBezTo>
                  <a:cubicBezTo>
                    <a:pt x="156" y="49"/>
                    <a:pt x="149" y="49"/>
                    <a:pt x="142" y="49"/>
                  </a:cubicBezTo>
                  <a:cubicBezTo>
                    <a:pt x="128" y="48"/>
                    <a:pt x="115" y="47"/>
                    <a:pt x="105" y="43"/>
                  </a:cubicBezTo>
                  <a:cubicBezTo>
                    <a:pt x="100" y="41"/>
                    <a:pt x="95" y="37"/>
                    <a:pt x="92" y="33"/>
                  </a:cubicBezTo>
                  <a:cubicBezTo>
                    <a:pt x="91" y="31"/>
                    <a:pt x="91" y="28"/>
                    <a:pt x="91" y="26"/>
                  </a:cubicBezTo>
                  <a:cubicBezTo>
                    <a:pt x="91" y="23"/>
                    <a:pt x="91" y="21"/>
                    <a:pt x="92" y="19"/>
                  </a:cubicBezTo>
                  <a:cubicBezTo>
                    <a:pt x="95" y="12"/>
                    <a:pt x="100" y="8"/>
                    <a:pt x="102" y="5"/>
                  </a:cubicBezTo>
                  <a:cubicBezTo>
                    <a:pt x="105" y="2"/>
                    <a:pt x="107" y="0"/>
                    <a:pt x="107"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8">
              <a:extLst>
                <a:ext uri="{FF2B5EF4-FFF2-40B4-BE49-F238E27FC236}">
                  <a16:creationId xmlns:a16="http://schemas.microsoft.com/office/drawing/2014/main" id="{0DEAC8FC-4AA2-4303-8551-181A6AF5B668}"/>
                </a:ext>
              </a:extLst>
            </p:cNvPr>
            <p:cNvSpPr>
              <a:spLocks/>
            </p:cNvSpPr>
            <p:nvPr/>
          </p:nvSpPr>
          <p:spPr bwMode="auto">
            <a:xfrm>
              <a:off x="5178" y="2768"/>
              <a:ext cx="392" cy="282"/>
            </a:xfrm>
            <a:custGeom>
              <a:avLst/>
              <a:gdLst>
                <a:gd name="T0" fmla="*/ 2 w 165"/>
                <a:gd name="T1" fmla="*/ 119 h 119"/>
                <a:gd name="T2" fmla="*/ 0 w 165"/>
                <a:gd name="T3" fmla="*/ 110 h 119"/>
                <a:gd name="T4" fmla="*/ 2 w 165"/>
                <a:gd name="T5" fmla="*/ 85 h 119"/>
                <a:gd name="T6" fmla="*/ 18 w 165"/>
                <a:gd name="T7" fmla="*/ 51 h 119"/>
                <a:gd name="T8" fmla="*/ 51 w 165"/>
                <a:gd name="T9" fmla="*/ 20 h 119"/>
                <a:gd name="T10" fmla="*/ 94 w 165"/>
                <a:gd name="T11" fmla="*/ 4 h 119"/>
                <a:gd name="T12" fmla="*/ 131 w 165"/>
                <a:gd name="T13" fmla="*/ 0 h 119"/>
                <a:gd name="T14" fmla="*/ 156 w 165"/>
                <a:gd name="T15" fmla="*/ 2 h 119"/>
                <a:gd name="T16" fmla="*/ 165 w 165"/>
                <a:gd name="T17" fmla="*/ 3 h 119"/>
                <a:gd name="T18" fmla="*/ 156 w 165"/>
                <a:gd name="T19" fmla="*/ 3 h 119"/>
                <a:gd name="T20" fmla="*/ 131 w 165"/>
                <a:gd name="T21" fmla="*/ 3 h 119"/>
                <a:gd name="T22" fmla="*/ 95 w 165"/>
                <a:gd name="T23" fmla="*/ 8 h 119"/>
                <a:gd name="T24" fmla="*/ 53 w 165"/>
                <a:gd name="T25" fmla="*/ 24 h 119"/>
                <a:gd name="T26" fmla="*/ 21 w 165"/>
                <a:gd name="T27" fmla="*/ 53 h 119"/>
                <a:gd name="T28" fmla="*/ 5 w 165"/>
                <a:gd name="T29" fmla="*/ 86 h 119"/>
                <a:gd name="T30" fmla="*/ 2 w 165"/>
                <a:gd name="T31" fmla="*/ 110 h 119"/>
                <a:gd name="T32" fmla="*/ 2 w 165"/>
                <a:gd name="T3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19">
                  <a:moveTo>
                    <a:pt x="2" y="119"/>
                  </a:moveTo>
                  <a:cubicBezTo>
                    <a:pt x="2" y="119"/>
                    <a:pt x="1" y="116"/>
                    <a:pt x="0" y="110"/>
                  </a:cubicBezTo>
                  <a:cubicBezTo>
                    <a:pt x="0" y="104"/>
                    <a:pt x="0" y="96"/>
                    <a:pt x="2" y="85"/>
                  </a:cubicBezTo>
                  <a:cubicBezTo>
                    <a:pt x="4" y="75"/>
                    <a:pt x="10" y="63"/>
                    <a:pt x="18" y="51"/>
                  </a:cubicBezTo>
                  <a:cubicBezTo>
                    <a:pt x="26" y="40"/>
                    <a:pt x="37" y="29"/>
                    <a:pt x="51" y="20"/>
                  </a:cubicBezTo>
                  <a:cubicBezTo>
                    <a:pt x="65" y="12"/>
                    <a:pt x="80" y="7"/>
                    <a:pt x="94" y="4"/>
                  </a:cubicBezTo>
                  <a:cubicBezTo>
                    <a:pt x="108" y="1"/>
                    <a:pt x="120" y="0"/>
                    <a:pt x="131" y="0"/>
                  </a:cubicBezTo>
                  <a:cubicBezTo>
                    <a:pt x="142" y="0"/>
                    <a:pt x="150" y="1"/>
                    <a:pt x="156" y="2"/>
                  </a:cubicBezTo>
                  <a:cubicBezTo>
                    <a:pt x="162" y="2"/>
                    <a:pt x="165" y="3"/>
                    <a:pt x="165" y="3"/>
                  </a:cubicBezTo>
                  <a:cubicBezTo>
                    <a:pt x="165" y="3"/>
                    <a:pt x="162" y="3"/>
                    <a:pt x="156" y="3"/>
                  </a:cubicBezTo>
                  <a:cubicBezTo>
                    <a:pt x="150" y="3"/>
                    <a:pt x="142" y="3"/>
                    <a:pt x="131" y="3"/>
                  </a:cubicBezTo>
                  <a:cubicBezTo>
                    <a:pt x="121" y="4"/>
                    <a:pt x="108" y="5"/>
                    <a:pt x="95" y="8"/>
                  </a:cubicBezTo>
                  <a:cubicBezTo>
                    <a:pt x="81" y="11"/>
                    <a:pt x="67" y="16"/>
                    <a:pt x="53" y="24"/>
                  </a:cubicBezTo>
                  <a:cubicBezTo>
                    <a:pt x="40" y="32"/>
                    <a:pt x="29" y="42"/>
                    <a:pt x="21" y="53"/>
                  </a:cubicBezTo>
                  <a:cubicBezTo>
                    <a:pt x="13" y="64"/>
                    <a:pt x="8" y="76"/>
                    <a:pt x="5" y="86"/>
                  </a:cubicBezTo>
                  <a:cubicBezTo>
                    <a:pt x="2" y="96"/>
                    <a:pt x="2" y="104"/>
                    <a:pt x="2" y="110"/>
                  </a:cubicBezTo>
                  <a:cubicBezTo>
                    <a:pt x="2" y="116"/>
                    <a:pt x="3" y="119"/>
                    <a:pt x="2" y="119"/>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9">
              <a:extLst>
                <a:ext uri="{FF2B5EF4-FFF2-40B4-BE49-F238E27FC236}">
                  <a16:creationId xmlns:a16="http://schemas.microsoft.com/office/drawing/2014/main" id="{08063C15-EFF4-468D-BF45-DA41300BE836}"/>
                </a:ext>
              </a:extLst>
            </p:cNvPr>
            <p:cNvSpPr>
              <a:spLocks/>
            </p:cNvSpPr>
            <p:nvPr/>
          </p:nvSpPr>
          <p:spPr bwMode="auto">
            <a:xfrm>
              <a:off x="5251" y="3214"/>
              <a:ext cx="452" cy="133"/>
            </a:xfrm>
            <a:custGeom>
              <a:avLst/>
              <a:gdLst>
                <a:gd name="T0" fmla="*/ 190 w 190"/>
                <a:gd name="T1" fmla="*/ 1 h 56"/>
                <a:gd name="T2" fmla="*/ 185 w 190"/>
                <a:gd name="T3" fmla="*/ 8 h 56"/>
                <a:gd name="T4" fmla="*/ 169 w 190"/>
                <a:gd name="T5" fmla="*/ 24 h 56"/>
                <a:gd name="T6" fmla="*/ 140 w 190"/>
                <a:gd name="T7" fmla="*/ 43 h 56"/>
                <a:gd name="T8" fmla="*/ 100 w 190"/>
                <a:gd name="T9" fmla="*/ 55 h 56"/>
                <a:gd name="T10" fmla="*/ 58 w 190"/>
                <a:gd name="T11" fmla="*/ 53 h 56"/>
                <a:gd name="T12" fmla="*/ 25 w 190"/>
                <a:gd name="T13" fmla="*/ 42 h 56"/>
                <a:gd name="T14" fmla="*/ 6 w 190"/>
                <a:gd name="T15" fmla="*/ 29 h 56"/>
                <a:gd name="T16" fmla="*/ 0 w 190"/>
                <a:gd name="T17" fmla="*/ 24 h 56"/>
                <a:gd name="T18" fmla="*/ 27 w 190"/>
                <a:gd name="T19" fmla="*/ 39 h 56"/>
                <a:gd name="T20" fmla="*/ 99 w 190"/>
                <a:gd name="T21" fmla="*/ 50 h 56"/>
                <a:gd name="T22" fmla="*/ 167 w 190"/>
                <a:gd name="T23" fmla="*/ 22 h 56"/>
                <a:gd name="T24" fmla="*/ 190 w 190"/>
                <a:gd name="T25"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56">
                  <a:moveTo>
                    <a:pt x="190" y="1"/>
                  </a:moveTo>
                  <a:cubicBezTo>
                    <a:pt x="190" y="1"/>
                    <a:pt x="189" y="3"/>
                    <a:pt x="185" y="8"/>
                  </a:cubicBezTo>
                  <a:cubicBezTo>
                    <a:pt x="182" y="12"/>
                    <a:pt x="177" y="18"/>
                    <a:pt x="169" y="24"/>
                  </a:cubicBezTo>
                  <a:cubicBezTo>
                    <a:pt x="162" y="31"/>
                    <a:pt x="152" y="37"/>
                    <a:pt x="140" y="43"/>
                  </a:cubicBezTo>
                  <a:cubicBezTo>
                    <a:pt x="129" y="48"/>
                    <a:pt x="115" y="53"/>
                    <a:pt x="100" y="55"/>
                  </a:cubicBezTo>
                  <a:cubicBezTo>
                    <a:pt x="85" y="56"/>
                    <a:pt x="71" y="55"/>
                    <a:pt x="58" y="53"/>
                  </a:cubicBezTo>
                  <a:cubicBezTo>
                    <a:pt x="45" y="50"/>
                    <a:pt x="34" y="46"/>
                    <a:pt x="25" y="42"/>
                  </a:cubicBezTo>
                  <a:cubicBezTo>
                    <a:pt x="17" y="37"/>
                    <a:pt x="10" y="33"/>
                    <a:pt x="6" y="29"/>
                  </a:cubicBezTo>
                  <a:cubicBezTo>
                    <a:pt x="2" y="26"/>
                    <a:pt x="0" y="24"/>
                    <a:pt x="0" y="24"/>
                  </a:cubicBezTo>
                  <a:cubicBezTo>
                    <a:pt x="0" y="23"/>
                    <a:pt x="9" y="31"/>
                    <a:pt x="27" y="39"/>
                  </a:cubicBezTo>
                  <a:cubicBezTo>
                    <a:pt x="44" y="47"/>
                    <a:pt x="70" y="54"/>
                    <a:pt x="99" y="50"/>
                  </a:cubicBezTo>
                  <a:cubicBezTo>
                    <a:pt x="128" y="47"/>
                    <a:pt x="152" y="34"/>
                    <a:pt x="167" y="22"/>
                  </a:cubicBezTo>
                  <a:cubicBezTo>
                    <a:pt x="182" y="10"/>
                    <a:pt x="189" y="0"/>
                    <a:pt x="19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0">
              <a:extLst>
                <a:ext uri="{FF2B5EF4-FFF2-40B4-BE49-F238E27FC236}">
                  <a16:creationId xmlns:a16="http://schemas.microsoft.com/office/drawing/2014/main" id="{E1425332-1C68-4574-B98A-9B0A7541CC51}"/>
                </a:ext>
              </a:extLst>
            </p:cNvPr>
            <p:cNvSpPr>
              <a:spLocks/>
            </p:cNvSpPr>
            <p:nvPr/>
          </p:nvSpPr>
          <p:spPr bwMode="auto">
            <a:xfrm>
              <a:off x="4663" y="3186"/>
              <a:ext cx="562" cy="612"/>
            </a:xfrm>
            <a:custGeom>
              <a:avLst/>
              <a:gdLst>
                <a:gd name="T0" fmla="*/ 237 w 237"/>
                <a:gd name="T1" fmla="*/ 0 h 258"/>
                <a:gd name="T2" fmla="*/ 233 w 237"/>
                <a:gd name="T3" fmla="*/ 1 h 258"/>
                <a:gd name="T4" fmla="*/ 224 w 237"/>
                <a:gd name="T5" fmla="*/ 8 h 258"/>
                <a:gd name="T6" fmla="*/ 215 w 237"/>
                <a:gd name="T7" fmla="*/ 22 h 258"/>
                <a:gd name="T8" fmla="*/ 209 w 237"/>
                <a:gd name="T9" fmla="*/ 45 h 258"/>
                <a:gd name="T10" fmla="*/ 202 w 237"/>
                <a:gd name="T11" fmla="*/ 73 h 258"/>
                <a:gd name="T12" fmla="*/ 195 w 237"/>
                <a:gd name="T13" fmla="*/ 88 h 258"/>
                <a:gd name="T14" fmla="*/ 184 w 237"/>
                <a:gd name="T15" fmla="*/ 101 h 258"/>
                <a:gd name="T16" fmla="*/ 150 w 237"/>
                <a:gd name="T17" fmla="*/ 118 h 258"/>
                <a:gd name="T18" fmla="*/ 112 w 237"/>
                <a:gd name="T19" fmla="*/ 126 h 258"/>
                <a:gd name="T20" fmla="*/ 44 w 237"/>
                <a:gd name="T21" fmla="*/ 154 h 258"/>
                <a:gd name="T22" fmla="*/ 21 w 237"/>
                <a:gd name="T23" fmla="*/ 177 h 258"/>
                <a:gd name="T24" fmla="*/ 8 w 237"/>
                <a:gd name="T25" fmla="*/ 202 h 258"/>
                <a:gd name="T26" fmla="*/ 4 w 237"/>
                <a:gd name="T27" fmla="*/ 243 h 258"/>
                <a:gd name="T28" fmla="*/ 7 w 237"/>
                <a:gd name="T29" fmla="*/ 258 h 258"/>
                <a:gd name="T30" fmla="*/ 5 w 237"/>
                <a:gd name="T31" fmla="*/ 254 h 258"/>
                <a:gd name="T32" fmla="*/ 4 w 237"/>
                <a:gd name="T33" fmla="*/ 250 h 258"/>
                <a:gd name="T34" fmla="*/ 2 w 237"/>
                <a:gd name="T35" fmla="*/ 243 h 258"/>
                <a:gd name="T36" fmla="*/ 5 w 237"/>
                <a:gd name="T37" fmla="*/ 201 h 258"/>
                <a:gd name="T38" fmla="*/ 18 w 237"/>
                <a:gd name="T39" fmla="*/ 175 h 258"/>
                <a:gd name="T40" fmla="*/ 41 w 237"/>
                <a:gd name="T41" fmla="*/ 151 h 258"/>
                <a:gd name="T42" fmla="*/ 111 w 237"/>
                <a:gd name="T43" fmla="*/ 122 h 258"/>
                <a:gd name="T44" fmla="*/ 149 w 237"/>
                <a:gd name="T45" fmla="*/ 114 h 258"/>
                <a:gd name="T46" fmla="*/ 181 w 237"/>
                <a:gd name="T47" fmla="*/ 98 h 258"/>
                <a:gd name="T48" fmla="*/ 192 w 237"/>
                <a:gd name="T49" fmla="*/ 86 h 258"/>
                <a:gd name="T50" fmla="*/ 199 w 237"/>
                <a:gd name="T51" fmla="*/ 72 h 258"/>
                <a:gd name="T52" fmla="*/ 206 w 237"/>
                <a:gd name="T53" fmla="*/ 44 h 258"/>
                <a:gd name="T54" fmla="*/ 213 w 237"/>
                <a:gd name="T55" fmla="*/ 21 h 258"/>
                <a:gd name="T56" fmla="*/ 223 w 237"/>
                <a:gd name="T57" fmla="*/ 6 h 258"/>
                <a:gd name="T58" fmla="*/ 233 w 237"/>
                <a:gd name="T59" fmla="*/ 1 h 258"/>
                <a:gd name="T60" fmla="*/ 237 w 237"/>
                <a:gd name="T61"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7" h="258">
                  <a:moveTo>
                    <a:pt x="237" y="0"/>
                  </a:moveTo>
                  <a:cubicBezTo>
                    <a:pt x="237" y="0"/>
                    <a:pt x="236" y="0"/>
                    <a:pt x="233" y="1"/>
                  </a:cubicBezTo>
                  <a:cubicBezTo>
                    <a:pt x="231" y="2"/>
                    <a:pt x="228" y="4"/>
                    <a:pt x="224" y="8"/>
                  </a:cubicBezTo>
                  <a:cubicBezTo>
                    <a:pt x="221" y="11"/>
                    <a:pt x="218" y="16"/>
                    <a:pt x="215" y="22"/>
                  </a:cubicBezTo>
                  <a:cubicBezTo>
                    <a:pt x="212" y="29"/>
                    <a:pt x="210" y="36"/>
                    <a:pt x="209" y="45"/>
                  </a:cubicBezTo>
                  <a:cubicBezTo>
                    <a:pt x="207" y="53"/>
                    <a:pt x="205" y="63"/>
                    <a:pt x="202" y="73"/>
                  </a:cubicBezTo>
                  <a:cubicBezTo>
                    <a:pt x="200" y="78"/>
                    <a:pt x="198" y="83"/>
                    <a:pt x="195" y="88"/>
                  </a:cubicBezTo>
                  <a:cubicBezTo>
                    <a:pt x="192" y="93"/>
                    <a:pt x="188" y="97"/>
                    <a:pt x="184" y="101"/>
                  </a:cubicBezTo>
                  <a:cubicBezTo>
                    <a:pt x="174" y="109"/>
                    <a:pt x="163" y="114"/>
                    <a:pt x="150" y="118"/>
                  </a:cubicBezTo>
                  <a:cubicBezTo>
                    <a:pt x="138" y="121"/>
                    <a:pt x="125" y="123"/>
                    <a:pt x="112" y="126"/>
                  </a:cubicBezTo>
                  <a:cubicBezTo>
                    <a:pt x="86" y="131"/>
                    <a:pt x="62" y="140"/>
                    <a:pt x="44" y="154"/>
                  </a:cubicBezTo>
                  <a:cubicBezTo>
                    <a:pt x="34" y="161"/>
                    <a:pt x="27" y="169"/>
                    <a:pt x="21" y="177"/>
                  </a:cubicBezTo>
                  <a:cubicBezTo>
                    <a:pt x="15" y="186"/>
                    <a:pt x="11" y="194"/>
                    <a:pt x="8" y="202"/>
                  </a:cubicBezTo>
                  <a:cubicBezTo>
                    <a:pt x="2" y="219"/>
                    <a:pt x="2" y="233"/>
                    <a:pt x="4" y="243"/>
                  </a:cubicBezTo>
                  <a:cubicBezTo>
                    <a:pt x="5" y="252"/>
                    <a:pt x="7" y="258"/>
                    <a:pt x="7" y="258"/>
                  </a:cubicBezTo>
                  <a:cubicBezTo>
                    <a:pt x="7" y="258"/>
                    <a:pt x="6" y="257"/>
                    <a:pt x="5" y="254"/>
                  </a:cubicBezTo>
                  <a:cubicBezTo>
                    <a:pt x="5" y="253"/>
                    <a:pt x="4" y="251"/>
                    <a:pt x="4" y="250"/>
                  </a:cubicBezTo>
                  <a:cubicBezTo>
                    <a:pt x="3" y="248"/>
                    <a:pt x="2" y="246"/>
                    <a:pt x="2" y="243"/>
                  </a:cubicBezTo>
                  <a:cubicBezTo>
                    <a:pt x="0" y="233"/>
                    <a:pt x="0" y="219"/>
                    <a:pt x="5" y="201"/>
                  </a:cubicBezTo>
                  <a:cubicBezTo>
                    <a:pt x="8" y="193"/>
                    <a:pt x="12" y="184"/>
                    <a:pt x="18" y="175"/>
                  </a:cubicBezTo>
                  <a:cubicBezTo>
                    <a:pt x="24" y="167"/>
                    <a:pt x="32" y="159"/>
                    <a:pt x="41" y="151"/>
                  </a:cubicBezTo>
                  <a:cubicBezTo>
                    <a:pt x="60" y="137"/>
                    <a:pt x="85" y="127"/>
                    <a:pt x="111" y="122"/>
                  </a:cubicBezTo>
                  <a:cubicBezTo>
                    <a:pt x="124" y="119"/>
                    <a:pt x="137" y="117"/>
                    <a:pt x="149" y="114"/>
                  </a:cubicBezTo>
                  <a:cubicBezTo>
                    <a:pt x="161" y="110"/>
                    <a:pt x="172" y="105"/>
                    <a:pt x="181" y="98"/>
                  </a:cubicBezTo>
                  <a:cubicBezTo>
                    <a:pt x="185" y="94"/>
                    <a:pt x="189" y="90"/>
                    <a:pt x="192" y="86"/>
                  </a:cubicBezTo>
                  <a:cubicBezTo>
                    <a:pt x="195" y="81"/>
                    <a:pt x="197" y="77"/>
                    <a:pt x="199" y="72"/>
                  </a:cubicBezTo>
                  <a:cubicBezTo>
                    <a:pt x="202" y="62"/>
                    <a:pt x="204" y="53"/>
                    <a:pt x="206" y="44"/>
                  </a:cubicBezTo>
                  <a:cubicBezTo>
                    <a:pt x="208" y="36"/>
                    <a:pt x="210" y="28"/>
                    <a:pt x="213" y="21"/>
                  </a:cubicBezTo>
                  <a:cubicBezTo>
                    <a:pt x="216" y="15"/>
                    <a:pt x="219" y="10"/>
                    <a:pt x="223" y="6"/>
                  </a:cubicBezTo>
                  <a:cubicBezTo>
                    <a:pt x="227" y="3"/>
                    <a:pt x="231" y="1"/>
                    <a:pt x="233" y="1"/>
                  </a:cubicBezTo>
                  <a:cubicBezTo>
                    <a:pt x="236" y="0"/>
                    <a:pt x="237" y="0"/>
                    <a:pt x="237"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1">
              <a:extLst>
                <a:ext uri="{FF2B5EF4-FFF2-40B4-BE49-F238E27FC236}">
                  <a16:creationId xmlns:a16="http://schemas.microsoft.com/office/drawing/2014/main" id="{169510D8-1BFF-4FA9-B321-591A2D93C41F}"/>
                </a:ext>
              </a:extLst>
            </p:cNvPr>
            <p:cNvSpPr>
              <a:spLocks/>
            </p:cNvSpPr>
            <p:nvPr/>
          </p:nvSpPr>
          <p:spPr bwMode="auto">
            <a:xfrm>
              <a:off x="4810" y="3084"/>
              <a:ext cx="166" cy="168"/>
            </a:xfrm>
            <a:custGeom>
              <a:avLst/>
              <a:gdLst>
                <a:gd name="T0" fmla="*/ 68 w 70"/>
                <a:gd name="T1" fmla="*/ 26 h 71"/>
                <a:gd name="T2" fmla="*/ 70 w 70"/>
                <a:gd name="T3" fmla="*/ 34 h 71"/>
                <a:gd name="T4" fmla="*/ 64 w 70"/>
                <a:gd name="T5" fmla="*/ 57 h 71"/>
                <a:gd name="T6" fmla="*/ 52 w 70"/>
                <a:gd name="T7" fmla="*/ 67 h 71"/>
                <a:gd name="T8" fmla="*/ 43 w 70"/>
                <a:gd name="T9" fmla="*/ 71 h 71"/>
                <a:gd name="T10" fmla="*/ 33 w 70"/>
                <a:gd name="T11" fmla="*/ 71 h 71"/>
                <a:gd name="T12" fmla="*/ 14 w 70"/>
                <a:gd name="T13" fmla="*/ 63 h 71"/>
                <a:gd name="T14" fmla="*/ 1 w 70"/>
                <a:gd name="T15" fmla="*/ 45 h 71"/>
                <a:gd name="T16" fmla="*/ 1 w 70"/>
                <a:gd name="T17" fmla="*/ 30 h 71"/>
                <a:gd name="T18" fmla="*/ 8 w 70"/>
                <a:gd name="T19" fmla="*/ 17 h 71"/>
                <a:gd name="T20" fmla="*/ 16 w 70"/>
                <a:gd name="T21" fmla="*/ 8 h 71"/>
                <a:gd name="T22" fmla="*/ 22 w 70"/>
                <a:gd name="T23" fmla="*/ 4 h 71"/>
                <a:gd name="T24" fmla="*/ 28 w 70"/>
                <a:gd name="T25" fmla="*/ 2 h 71"/>
                <a:gd name="T26" fmla="*/ 28 w 70"/>
                <a:gd name="T27" fmla="*/ 5 h 71"/>
                <a:gd name="T28" fmla="*/ 26 w 70"/>
                <a:gd name="T29" fmla="*/ 6 h 71"/>
                <a:gd name="T30" fmla="*/ 25 w 70"/>
                <a:gd name="T31" fmla="*/ 2 h 71"/>
                <a:gd name="T32" fmla="*/ 47 w 70"/>
                <a:gd name="T33" fmla="*/ 4 h 71"/>
                <a:gd name="T34" fmla="*/ 61 w 70"/>
                <a:gd name="T35" fmla="*/ 13 h 71"/>
                <a:gd name="T36" fmla="*/ 67 w 70"/>
                <a:gd name="T37" fmla="*/ 23 h 71"/>
                <a:gd name="T38" fmla="*/ 68 w 70"/>
                <a:gd name="T39" fmla="*/ 26 h 71"/>
                <a:gd name="T40" fmla="*/ 60 w 70"/>
                <a:gd name="T41" fmla="*/ 15 h 71"/>
                <a:gd name="T42" fmla="*/ 46 w 70"/>
                <a:gd name="T43" fmla="*/ 6 h 71"/>
                <a:gd name="T44" fmla="*/ 26 w 70"/>
                <a:gd name="T45" fmla="*/ 6 h 71"/>
                <a:gd name="T46" fmla="*/ 25 w 70"/>
                <a:gd name="T47" fmla="*/ 2 h 71"/>
                <a:gd name="T48" fmla="*/ 27 w 70"/>
                <a:gd name="T49" fmla="*/ 2 h 71"/>
                <a:gd name="T50" fmla="*/ 28 w 70"/>
                <a:gd name="T51" fmla="*/ 5 h 71"/>
                <a:gd name="T52" fmla="*/ 19 w 70"/>
                <a:gd name="T53" fmla="*/ 11 h 71"/>
                <a:gd name="T54" fmla="*/ 11 w 70"/>
                <a:gd name="T55" fmla="*/ 20 h 71"/>
                <a:gd name="T56" fmla="*/ 5 w 70"/>
                <a:gd name="T57" fmla="*/ 31 h 71"/>
                <a:gd name="T58" fmla="*/ 6 w 70"/>
                <a:gd name="T59" fmla="*/ 44 h 71"/>
                <a:gd name="T60" fmla="*/ 16 w 70"/>
                <a:gd name="T61" fmla="*/ 60 h 71"/>
                <a:gd name="T62" fmla="*/ 33 w 70"/>
                <a:gd name="T63" fmla="*/ 67 h 71"/>
                <a:gd name="T64" fmla="*/ 42 w 70"/>
                <a:gd name="T65" fmla="*/ 67 h 71"/>
                <a:gd name="T66" fmla="*/ 50 w 70"/>
                <a:gd name="T67" fmla="*/ 64 h 71"/>
                <a:gd name="T68" fmla="*/ 61 w 70"/>
                <a:gd name="T69" fmla="*/ 55 h 71"/>
                <a:gd name="T70" fmla="*/ 68 w 70"/>
                <a:gd name="T71" fmla="*/ 34 h 71"/>
                <a:gd name="T72" fmla="*/ 68 w 70"/>
                <a:gd name="T73" fmla="*/ 2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71">
                  <a:moveTo>
                    <a:pt x="68" y="26"/>
                  </a:moveTo>
                  <a:cubicBezTo>
                    <a:pt x="68" y="26"/>
                    <a:pt x="70" y="29"/>
                    <a:pt x="70" y="34"/>
                  </a:cubicBezTo>
                  <a:cubicBezTo>
                    <a:pt x="70" y="40"/>
                    <a:pt x="69" y="48"/>
                    <a:pt x="64" y="57"/>
                  </a:cubicBezTo>
                  <a:cubicBezTo>
                    <a:pt x="61" y="61"/>
                    <a:pt x="57" y="65"/>
                    <a:pt x="52" y="67"/>
                  </a:cubicBezTo>
                  <a:cubicBezTo>
                    <a:pt x="49" y="69"/>
                    <a:pt x="46" y="70"/>
                    <a:pt x="43" y="71"/>
                  </a:cubicBezTo>
                  <a:cubicBezTo>
                    <a:pt x="40" y="71"/>
                    <a:pt x="36" y="71"/>
                    <a:pt x="33" y="71"/>
                  </a:cubicBezTo>
                  <a:cubicBezTo>
                    <a:pt x="26" y="70"/>
                    <a:pt x="20" y="68"/>
                    <a:pt x="14" y="63"/>
                  </a:cubicBezTo>
                  <a:cubicBezTo>
                    <a:pt x="8" y="59"/>
                    <a:pt x="3" y="52"/>
                    <a:pt x="1" y="45"/>
                  </a:cubicBezTo>
                  <a:cubicBezTo>
                    <a:pt x="0" y="40"/>
                    <a:pt x="0" y="35"/>
                    <a:pt x="1" y="30"/>
                  </a:cubicBezTo>
                  <a:cubicBezTo>
                    <a:pt x="2" y="25"/>
                    <a:pt x="5" y="21"/>
                    <a:pt x="8" y="17"/>
                  </a:cubicBezTo>
                  <a:cubicBezTo>
                    <a:pt x="10" y="14"/>
                    <a:pt x="13" y="11"/>
                    <a:pt x="16" y="8"/>
                  </a:cubicBezTo>
                  <a:cubicBezTo>
                    <a:pt x="18" y="6"/>
                    <a:pt x="20" y="5"/>
                    <a:pt x="22" y="4"/>
                  </a:cubicBezTo>
                  <a:cubicBezTo>
                    <a:pt x="23" y="3"/>
                    <a:pt x="25" y="2"/>
                    <a:pt x="28" y="2"/>
                  </a:cubicBezTo>
                  <a:cubicBezTo>
                    <a:pt x="28" y="5"/>
                    <a:pt x="28" y="5"/>
                    <a:pt x="28" y="5"/>
                  </a:cubicBezTo>
                  <a:cubicBezTo>
                    <a:pt x="28" y="6"/>
                    <a:pt x="27" y="6"/>
                    <a:pt x="26" y="6"/>
                  </a:cubicBezTo>
                  <a:cubicBezTo>
                    <a:pt x="25" y="2"/>
                    <a:pt x="25" y="2"/>
                    <a:pt x="25" y="2"/>
                  </a:cubicBezTo>
                  <a:cubicBezTo>
                    <a:pt x="33" y="0"/>
                    <a:pt x="41" y="1"/>
                    <a:pt x="47" y="4"/>
                  </a:cubicBezTo>
                  <a:cubicBezTo>
                    <a:pt x="54" y="6"/>
                    <a:pt x="58" y="10"/>
                    <a:pt x="61" y="13"/>
                  </a:cubicBezTo>
                  <a:cubicBezTo>
                    <a:pt x="64" y="17"/>
                    <a:pt x="66" y="20"/>
                    <a:pt x="67" y="23"/>
                  </a:cubicBezTo>
                  <a:cubicBezTo>
                    <a:pt x="68" y="25"/>
                    <a:pt x="68" y="26"/>
                    <a:pt x="68" y="26"/>
                  </a:cubicBezTo>
                  <a:cubicBezTo>
                    <a:pt x="67" y="26"/>
                    <a:pt x="66" y="21"/>
                    <a:pt x="60" y="15"/>
                  </a:cubicBezTo>
                  <a:cubicBezTo>
                    <a:pt x="57" y="12"/>
                    <a:pt x="52" y="8"/>
                    <a:pt x="46" y="6"/>
                  </a:cubicBezTo>
                  <a:cubicBezTo>
                    <a:pt x="41" y="4"/>
                    <a:pt x="33" y="4"/>
                    <a:pt x="26" y="6"/>
                  </a:cubicBezTo>
                  <a:cubicBezTo>
                    <a:pt x="25" y="2"/>
                    <a:pt x="25" y="2"/>
                    <a:pt x="25" y="2"/>
                  </a:cubicBezTo>
                  <a:cubicBezTo>
                    <a:pt x="26" y="2"/>
                    <a:pt x="27" y="2"/>
                    <a:pt x="27" y="2"/>
                  </a:cubicBezTo>
                  <a:cubicBezTo>
                    <a:pt x="28" y="5"/>
                    <a:pt x="28" y="5"/>
                    <a:pt x="28" y="5"/>
                  </a:cubicBezTo>
                  <a:cubicBezTo>
                    <a:pt x="25" y="6"/>
                    <a:pt x="22" y="8"/>
                    <a:pt x="19" y="11"/>
                  </a:cubicBezTo>
                  <a:cubicBezTo>
                    <a:pt x="16" y="13"/>
                    <a:pt x="13" y="16"/>
                    <a:pt x="11" y="20"/>
                  </a:cubicBezTo>
                  <a:cubicBezTo>
                    <a:pt x="8" y="23"/>
                    <a:pt x="6" y="27"/>
                    <a:pt x="5" y="31"/>
                  </a:cubicBezTo>
                  <a:cubicBezTo>
                    <a:pt x="4" y="35"/>
                    <a:pt x="4" y="39"/>
                    <a:pt x="6" y="44"/>
                  </a:cubicBezTo>
                  <a:cubicBezTo>
                    <a:pt x="7" y="50"/>
                    <a:pt x="11" y="56"/>
                    <a:pt x="16" y="60"/>
                  </a:cubicBezTo>
                  <a:cubicBezTo>
                    <a:pt x="22" y="64"/>
                    <a:pt x="28" y="67"/>
                    <a:pt x="33" y="67"/>
                  </a:cubicBezTo>
                  <a:cubicBezTo>
                    <a:pt x="36" y="68"/>
                    <a:pt x="39" y="67"/>
                    <a:pt x="42" y="67"/>
                  </a:cubicBezTo>
                  <a:cubicBezTo>
                    <a:pt x="45" y="66"/>
                    <a:pt x="48" y="66"/>
                    <a:pt x="50" y="64"/>
                  </a:cubicBezTo>
                  <a:cubicBezTo>
                    <a:pt x="55" y="62"/>
                    <a:pt x="58" y="58"/>
                    <a:pt x="61" y="55"/>
                  </a:cubicBezTo>
                  <a:cubicBezTo>
                    <a:pt x="67" y="47"/>
                    <a:pt x="68" y="40"/>
                    <a:pt x="68" y="34"/>
                  </a:cubicBezTo>
                  <a:cubicBezTo>
                    <a:pt x="68" y="29"/>
                    <a:pt x="67" y="26"/>
                    <a:pt x="68" y="2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72">
              <a:extLst>
                <a:ext uri="{FF2B5EF4-FFF2-40B4-BE49-F238E27FC236}">
                  <a16:creationId xmlns:a16="http://schemas.microsoft.com/office/drawing/2014/main" id="{9C752C28-4C1B-435E-83B2-DE553EF70062}"/>
                </a:ext>
              </a:extLst>
            </p:cNvPr>
            <p:cNvSpPr>
              <a:spLocks/>
            </p:cNvSpPr>
            <p:nvPr/>
          </p:nvSpPr>
          <p:spPr bwMode="auto">
            <a:xfrm>
              <a:off x="4333" y="2837"/>
              <a:ext cx="26" cy="983"/>
            </a:xfrm>
            <a:custGeom>
              <a:avLst/>
              <a:gdLst>
                <a:gd name="T0" fmla="*/ 11 w 11"/>
                <a:gd name="T1" fmla="*/ 0 h 414"/>
                <a:gd name="T2" fmla="*/ 11 w 11"/>
                <a:gd name="T3" fmla="*/ 1 h 414"/>
                <a:gd name="T4" fmla="*/ 11 w 11"/>
                <a:gd name="T5" fmla="*/ 4 h 414"/>
                <a:gd name="T6" fmla="*/ 10 w 11"/>
                <a:gd name="T7" fmla="*/ 16 h 414"/>
                <a:gd name="T8" fmla="*/ 8 w 11"/>
                <a:gd name="T9" fmla="*/ 60 h 414"/>
                <a:gd name="T10" fmla="*/ 4 w 11"/>
                <a:gd name="T11" fmla="*/ 207 h 414"/>
                <a:gd name="T12" fmla="*/ 1 w 11"/>
                <a:gd name="T13" fmla="*/ 353 h 414"/>
                <a:gd name="T14" fmla="*/ 1 w 11"/>
                <a:gd name="T15" fmla="*/ 398 h 414"/>
                <a:gd name="T16" fmla="*/ 0 w 11"/>
                <a:gd name="T17" fmla="*/ 410 h 414"/>
                <a:gd name="T18" fmla="*/ 0 w 11"/>
                <a:gd name="T19" fmla="*/ 413 h 414"/>
                <a:gd name="T20" fmla="*/ 0 w 11"/>
                <a:gd name="T21" fmla="*/ 414 h 414"/>
                <a:gd name="T22" fmla="*/ 0 w 11"/>
                <a:gd name="T23" fmla="*/ 413 h 414"/>
                <a:gd name="T24" fmla="*/ 0 w 11"/>
                <a:gd name="T25" fmla="*/ 410 h 414"/>
                <a:gd name="T26" fmla="*/ 0 w 11"/>
                <a:gd name="T27" fmla="*/ 398 h 414"/>
                <a:gd name="T28" fmla="*/ 0 w 11"/>
                <a:gd name="T29" fmla="*/ 353 h 414"/>
                <a:gd name="T30" fmla="*/ 2 w 11"/>
                <a:gd name="T31" fmla="*/ 207 h 414"/>
                <a:gd name="T32" fmla="*/ 7 w 11"/>
                <a:gd name="T33" fmla="*/ 60 h 414"/>
                <a:gd name="T34" fmla="*/ 9 w 11"/>
                <a:gd name="T35" fmla="*/ 16 h 414"/>
                <a:gd name="T36" fmla="*/ 10 w 11"/>
                <a:gd name="T37" fmla="*/ 4 h 414"/>
                <a:gd name="T38" fmla="*/ 11 w 11"/>
                <a:gd name="T39" fmla="*/ 1 h 414"/>
                <a:gd name="T40" fmla="*/ 11 w 11"/>
                <a:gd name="T41"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414">
                  <a:moveTo>
                    <a:pt x="11" y="0"/>
                  </a:moveTo>
                  <a:cubicBezTo>
                    <a:pt x="11" y="0"/>
                    <a:pt x="11" y="0"/>
                    <a:pt x="11" y="1"/>
                  </a:cubicBezTo>
                  <a:cubicBezTo>
                    <a:pt x="11" y="1"/>
                    <a:pt x="11" y="3"/>
                    <a:pt x="11" y="4"/>
                  </a:cubicBezTo>
                  <a:cubicBezTo>
                    <a:pt x="11" y="7"/>
                    <a:pt x="10" y="11"/>
                    <a:pt x="10" y="16"/>
                  </a:cubicBezTo>
                  <a:cubicBezTo>
                    <a:pt x="9" y="26"/>
                    <a:pt x="9" y="41"/>
                    <a:pt x="8" y="60"/>
                  </a:cubicBezTo>
                  <a:cubicBezTo>
                    <a:pt x="6" y="98"/>
                    <a:pt x="5" y="149"/>
                    <a:pt x="4" y="207"/>
                  </a:cubicBezTo>
                  <a:cubicBezTo>
                    <a:pt x="2" y="264"/>
                    <a:pt x="2" y="316"/>
                    <a:pt x="1" y="353"/>
                  </a:cubicBezTo>
                  <a:cubicBezTo>
                    <a:pt x="1" y="372"/>
                    <a:pt x="1" y="387"/>
                    <a:pt x="1" y="398"/>
                  </a:cubicBezTo>
                  <a:cubicBezTo>
                    <a:pt x="0" y="403"/>
                    <a:pt x="0" y="407"/>
                    <a:pt x="0" y="410"/>
                  </a:cubicBezTo>
                  <a:cubicBezTo>
                    <a:pt x="0" y="411"/>
                    <a:pt x="0" y="412"/>
                    <a:pt x="0" y="413"/>
                  </a:cubicBezTo>
                  <a:cubicBezTo>
                    <a:pt x="0" y="414"/>
                    <a:pt x="0" y="414"/>
                    <a:pt x="0" y="414"/>
                  </a:cubicBezTo>
                  <a:cubicBezTo>
                    <a:pt x="0" y="414"/>
                    <a:pt x="0" y="414"/>
                    <a:pt x="0" y="413"/>
                  </a:cubicBezTo>
                  <a:cubicBezTo>
                    <a:pt x="0" y="412"/>
                    <a:pt x="0" y="411"/>
                    <a:pt x="0" y="410"/>
                  </a:cubicBezTo>
                  <a:cubicBezTo>
                    <a:pt x="0" y="407"/>
                    <a:pt x="0" y="403"/>
                    <a:pt x="0" y="398"/>
                  </a:cubicBezTo>
                  <a:cubicBezTo>
                    <a:pt x="0" y="387"/>
                    <a:pt x="0" y="372"/>
                    <a:pt x="0" y="353"/>
                  </a:cubicBezTo>
                  <a:cubicBezTo>
                    <a:pt x="0" y="316"/>
                    <a:pt x="0" y="264"/>
                    <a:pt x="2" y="207"/>
                  </a:cubicBezTo>
                  <a:cubicBezTo>
                    <a:pt x="3" y="149"/>
                    <a:pt x="5" y="98"/>
                    <a:pt x="7" y="60"/>
                  </a:cubicBezTo>
                  <a:cubicBezTo>
                    <a:pt x="8" y="41"/>
                    <a:pt x="8" y="26"/>
                    <a:pt x="9" y="16"/>
                  </a:cubicBezTo>
                  <a:cubicBezTo>
                    <a:pt x="10" y="11"/>
                    <a:pt x="10" y="7"/>
                    <a:pt x="10" y="4"/>
                  </a:cubicBezTo>
                  <a:cubicBezTo>
                    <a:pt x="10" y="2"/>
                    <a:pt x="11" y="1"/>
                    <a:pt x="11" y="1"/>
                  </a:cubicBezTo>
                  <a:cubicBezTo>
                    <a:pt x="11" y="0"/>
                    <a:pt x="11" y="0"/>
                    <a:pt x="1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73">
              <a:extLst>
                <a:ext uri="{FF2B5EF4-FFF2-40B4-BE49-F238E27FC236}">
                  <a16:creationId xmlns:a16="http://schemas.microsoft.com/office/drawing/2014/main" id="{4CD843D4-AC39-4DD5-90C9-2932C76DBE9B}"/>
                </a:ext>
              </a:extLst>
            </p:cNvPr>
            <p:cNvSpPr>
              <a:spLocks/>
            </p:cNvSpPr>
            <p:nvPr/>
          </p:nvSpPr>
          <p:spPr bwMode="auto">
            <a:xfrm>
              <a:off x="4176" y="3243"/>
              <a:ext cx="159" cy="482"/>
            </a:xfrm>
            <a:custGeom>
              <a:avLst/>
              <a:gdLst>
                <a:gd name="T0" fmla="*/ 57 w 67"/>
                <a:gd name="T1" fmla="*/ 0 h 203"/>
                <a:gd name="T2" fmla="*/ 36 w 67"/>
                <a:gd name="T3" fmla="*/ 33 h 203"/>
                <a:gd name="T4" fmla="*/ 24 w 67"/>
                <a:gd name="T5" fmla="*/ 52 h 203"/>
                <a:gd name="T6" fmla="*/ 37 w 67"/>
                <a:gd name="T7" fmla="*/ 101 h 203"/>
                <a:gd name="T8" fmla="*/ 37 w 67"/>
                <a:gd name="T9" fmla="*/ 151 h 203"/>
                <a:gd name="T10" fmla="*/ 20 w 67"/>
                <a:gd name="T11" fmla="*/ 184 h 203"/>
                <a:gd name="T12" fmla="*/ 2 w 67"/>
                <a:gd name="T13" fmla="*/ 200 h 203"/>
                <a:gd name="T14" fmla="*/ 2 w 67"/>
                <a:gd name="T15" fmla="*/ 200 h 203"/>
                <a:gd name="T16" fmla="*/ 0 w 67"/>
                <a:gd name="T17" fmla="*/ 200 h 203"/>
                <a:gd name="T18" fmla="*/ 0 w 67"/>
                <a:gd name="T19" fmla="*/ 201 h 203"/>
                <a:gd name="T20" fmla="*/ 13 w 67"/>
                <a:gd name="T21" fmla="*/ 203 h 203"/>
                <a:gd name="T22" fmla="*/ 63 w 67"/>
                <a:gd name="T23" fmla="*/ 169 h 203"/>
                <a:gd name="T24" fmla="*/ 66 w 67"/>
                <a:gd name="T25" fmla="*/ 142 h 203"/>
                <a:gd name="T26" fmla="*/ 67 w 67"/>
                <a:gd name="T27" fmla="*/ 86 h 203"/>
                <a:gd name="T28" fmla="*/ 57 w 67"/>
                <a:gd name="T2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203">
                  <a:moveTo>
                    <a:pt x="57" y="0"/>
                  </a:moveTo>
                  <a:cubicBezTo>
                    <a:pt x="51" y="12"/>
                    <a:pt x="44" y="23"/>
                    <a:pt x="36" y="33"/>
                  </a:cubicBezTo>
                  <a:cubicBezTo>
                    <a:pt x="31" y="39"/>
                    <a:pt x="26" y="45"/>
                    <a:pt x="24" y="52"/>
                  </a:cubicBezTo>
                  <a:cubicBezTo>
                    <a:pt x="20" y="65"/>
                    <a:pt x="30" y="89"/>
                    <a:pt x="37" y="101"/>
                  </a:cubicBezTo>
                  <a:cubicBezTo>
                    <a:pt x="45" y="115"/>
                    <a:pt x="43" y="134"/>
                    <a:pt x="37" y="151"/>
                  </a:cubicBezTo>
                  <a:cubicBezTo>
                    <a:pt x="33" y="163"/>
                    <a:pt x="28" y="174"/>
                    <a:pt x="20" y="184"/>
                  </a:cubicBezTo>
                  <a:cubicBezTo>
                    <a:pt x="13" y="193"/>
                    <a:pt x="6" y="200"/>
                    <a:pt x="2" y="200"/>
                  </a:cubicBezTo>
                  <a:cubicBezTo>
                    <a:pt x="2" y="200"/>
                    <a:pt x="2" y="200"/>
                    <a:pt x="2" y="200"/>
                  </a:cubicBezTo>
                  <a:cubicBezTo>
                    <a:pt x="1" y="200"/>
                    <a:pt x="1" y="200"/>
                    <a:pt x="0" y="200"/>
                  </a:cubicBezTo>
                  <a:cubicBezTo>
                    <a:pt x="0" y="201"/>
                    <a:pt x="0" y="201"/>
                    <a:pt x="0" y="201"/>
                  </a:cubicBezTo>
                  <a:cubicBezTo>
                    <a:pt x="5" y="203"/>
                    <a:pt x="9" y="203"/>
                    <a:pt x="13" y="203"/>
                  </a:cubicBezTo>
                  <a:cubicBezTo>
                    <a:pt x="33" y="203"/>
                    <a:pt x="54" y="187"/>
                    <a:pt x="63" y="169"/>
                  </a:cubicBezTo>
                  <a:cubicBezTo>
                    <a:pt x="63" y="169"/>
                    <a:pt x="65" y="157"/>
                    <a:pt x="66" y="142"/>
                  </a:cubicBezTo>
                  <a:cubicBezTo>
                    <a:pt x="66" y="125"/>
                    <a:pt x="66" y="106"/>
                    <a:pt x="67" y="86"/>
                  </a:cubicBezTo>
                  <a:cubicBezTo>
                    <a:pt x="57" y="0"/>
                    <a:pt x="57" y="0"/>
                    <a:pt x="5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74">
              <a:extLst>
                <a:ext uri="{FF2B5EF4-FFF2-40B4-BE49-F238E27FC236}">
                  <a16:creationId xmlns:a16="http://schemas.microsoft.com/office/drawing/2014/main" id="{57DE34D8-B903-4169-BC79-758B2C321AB4}"/>
                </a:ext>
              </a:extLst>
            </p:cNvPr>
            <p:cNvSpPr>
              <a:spLocks/>
            </p:cNvSpPr>
            <p:nvPr/>
          </p:nvSpPr>
          <p:spPr bwMode="auto">
            <a:xfrm>
              <a:off x="4311" y="3145"/>
              <a:ext cx="29" cy="302"/>
            </a:xfrm>
            <a:custGeom>
              <a:avLst/>
              <a:gdLst>
                <a:gd name="T0" fmla="*/ 12 w 12"/>
                <a:gd name="T1" fmla="*/ 0 h 127"/>
                <a:gd name="T2" fmla="*/ 0 w 12"/>
                <a:gd name="T3" fmla="*/ 41 h 127"/>
                <a:gd name="T4" fmla="*/ 10 w 12"/>
                <a:gd name="T5" fmla="*/ 127 h 127"/>
                <a:gd name="T6" fmla="*/ 11 w 12"/>
                <a:gd name="T7" fmla="*/ 77 h 127"/>
                <a:gd name="T8" fmla="*/ 12 w 12"/>
                <a:gd name="T9" fmla="*/ 22 h 127"/>
                <a:gd name="T10" fmla="*/ 12 w 12"/>
                <a:gd name="T11" fmla="*/ 0 h 127"/>
              </a:gdLst>
              <a:ahLst/>
              <a:cxnLst>
                <a:cxn ang="0">
                  <a:pos x="T0" y="T1"/>
                </a:cxn>
                <a:cxn ang="0">
                  <a:pos x="T2" y="T3"/>
                </a:cxn>
                <a:cxn ang="0">
                  <a:pos x="T4" y="T5"/>
                </a:cxn>
                <a:cxn ang="0">
                  <a:pos x="T6" y="T7"/>
                </a:cxn>
                <a:cxn ang="0">
                  <a:pos x="T8" y="T9"/>
                </a:cxn>
                <a:cxn ang="0">
                  <a:pos x="T10" y="T11"/>
                </a:cxn>
              </a:cxnLst>
              <a:rect l="0" t="0" r="r" b="b"/>
              <a:pathLst>
                <a:path w="12" h="127">
                  <a:moveTo>
                    <a:pt x="12" y="0"/>
                  </a:moveTo>
                  <a:cubicBezTo>
                    <a:pt x="10" y="14"/>
                    <a:pt x="6" y="28"/>
                    <a:pt x="0" y="41"/>
                  </a:cubicBezTo>
                  <a:cubicBezTo>
                    <a:pt x="10" y="127"/>
                    <a:pt x="10" y="127"/>
                    <a:pt x="10" y="127"/>
                  </a:cubicBezTo>
                  <a:cubicBezTo>
                    <a:pt x="10" y="111"/>
                    <a:pt x="10" y="94"/>
                    <a:pt x="11" y="77"/>
                  </a:cubicBezTo>
                  <a:cubicBezTo>
                    <a:pt x="11" y="58"/>
                    <a:pt x="12" y="39"/>
                    <a:pt x="12" y="22"/>
                  </a:cubicBezTo>
                  <a:cubicBezTo>
                    <a:pt x="12" y="14"/>
                    <a:pt x="12" y="7"/>
                    <a:pt x="12"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5">
              <a:extLst>
                <a:ext uri="{FF2B5EF4-FFF2-40B4-BE49-F238E27FC236}">
                  <a16:creationId xmlns:a16="http://schemas.microsoft.com/office/drawing/2014/main" id="{339EAB9F-C5A3-4910-8AA1-9CBBB5EE73D7}"/>
                </a:ext>
              </a:extLst>
            </p:cNvPr>
            <p:cNvSpPr>
              <a:spLocks noEditPoints="1"/>
            </p:cNvSpPr>
            <p:nvPr/>
          </p:nvSpPr>
          <p:spPr bwMode="auto">
            <a:xfrm>
              <a:off x="4176" y="3601"/>
              <a:ext cx="88" cy="117"/>
            </a:xfrm>
            <a:custGeom>
              <a:avLst/>
              <a:gdLst>
                <a:gd name="T0" fmla="*/ 2 w 37"/>
                <a:gd name="T1" fmla="*/ 49 h 49"/>
                <a:gd name="T2" fmla="*/ 0 w 37"/>
                <a:gd name="T3" fmla="*/ 49 h 49"/>
                <a:gd name="T4" fmla="*/ 2 w 37"/>
                <a:gd name="T5" fmla="*/ 49 h 49"/>
                <a:gd name="T6" fmla="*/ 2 w 37"/>
                <a:gd name="T7" fmla="*/ 49 h 49"/>
                <a:gd name="T8" fmla="*/ 37 w 37"/>
                <a:gd name="T9" fmla="*/ 0 h 49"/>
                <a:gd name="T10" fmla="*/ 20 w 37"/>
                <a:gd name="T11" fmla="*/ 33 h 49"/>
                <a:gd name="T12" fmla="*/ 37 w 37"/>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37" h="49">
                  <a:moveTo>
                    <a:pt x="2" y="49"/>
                  </a:moveTo>
                  <a:cubicBezTo>
                    <a:pt x="0" y="49"/>
                    <a:pt x="0" y="49"/>
                    <a:pt x="0" y="49"/>
                  </a:cubicBezTo>
                  <a:cubicBezTo>
                    <a:pt x="1" y="49"/>
                    <a:pt x="1" y="49"/>
                    <a:pt x="2" y="49"/>
                  </a:cubicBezTo>
                  <a:cubicBezTo>
                    <a:pt x="2" y="49"/>
                    <a:pt x="2" y="49"/>
                    <a:pt x="2" y="49"/>
                  </a:cubicBezTo>
                  <a:moveTo>
                    <a:pt x="37" y="0"/>
                  </a:moveTo>
                  <a:cubicBezTo>
                    <a:pt x="32" y="13"/>
                    <a:pt x="26" y="24"/>
                    <a:pt x="20" y="33"/>
                  </a:cubicBezTo>
                  <a:cubicBezTo>
                    <a:pt x="28" y="23"/>
                    <a:pt x="33" y="12"/>
                    <a:pt x="37" y="0"/>
                  </a:cubicBezTo>
                </a:path>
              </a:pathLst>
            </a:custGeom>
            <a:solidFill>
              <a:srgbClr val="926D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6">
              <a:extLst>
                <a:ext uri="{FF2B5EF4-FFF2-40B4-BE49-F238E27FC236}">
                  <a16:creationId xmlns:a16="http://schemas.microsoft.com/office/drawing/2014/main" id="{DC202831-4D48-4DEB-9B0F-ED23CCD616A2}"/>
                </a:ext>
              </a:extLst>
            </p:cNvPr>
            <p:cNvSpPr>
              <a:spLocks/>
            </p:cNvSpPr>
            <p:nvPr/>
          </p:nvSpPr>
          <p:spPr bwMode="auto">
            <a:xfrm>
              <a:off x="4333" y="3198"/>
              <a:ext cx="7" cy="382"/>
            </a:xfrm>
            <a:custGeom>
              <a:avLst/>
              <a:gdLst>
                <a:gd name="T0" fmla="*/ 3 w 3"/>
                <a:gd name="T1" fmla="*/ 0 h 161"/>
                <a:gd name="T2" fmla="*/ 2 w 3"/>
                <a:gd name="T3" fmla="*/ 55 h 161"/>
                <a:gd name="T4" fmla="*/ 1 w 3"/>
                <a:gd name="T5" fmla="*/ 105 h 161"/>
                <a:gd name="T6" fmla="*/ 0 w 3"/>
                <a:gd name="T7" fmla="*/ 161 h 161"/>
                <a:gd name="T8" fmla="*/ 2 w 3"/>
                <a:gd name="T9" fmla="*/ 115 h 161"/>
                <a:gd name="T10" fmla="*/ 3 w 3"/>
                <a:gd name="T11" fmla="*/ 0 h 161"/>
              </a:gdLst>
              <a:ahLst/>
              <a:cxnLst>
                <a:cxn ang="0">
                  <a:pos x="T0" y="T1"/>
                </a:cxn>
                <a:cxn ang="0">
                  <a:pos x="T2" y="T3"/>
                </a:cxn>
                <a:cxn ang="0">
                  <a:pos x="T4" y="T5"/>
                </a:cxn>
                <a:cxn ang="0">
                  <a:pos x="T6" y="T7"/>
                </a:cxn>
                <a:cxn ang="0">
                  <a:pos x="T8" y="T9"/>
                </a:cxn>
                <a:cxn ang="0">
                  <a:pos x="T10" y="T11"/>
                </a:cxn>
              </a:cxnLst>
              <a:rect l="0" t="0" r="r" b="b"/>
              <a:pathLst>
                <a:path w="3" h="161">
                  <a:moveTo>
                    <a:pt x="3" y="0"/>
                  </a:moveTo>
                  <a:cubicBezTo>
                    <a:pt x="3" y="17"/>
                    <a:pt x="2" y="36"/>
                    <a:pt x="2" y="55"/>
                  </a:cubicBezTo>
                  <a:cubicBezTo>
                    <a:pt x="1" y="72"/>
                    <a:pt x="1" y="89"/>
                    <a:pt x="1" y="105"/>
                  </a:cubicBezTo>
                  <a:cubicBezTo>
                    <a:pt x="0" y="125"/>
                    <a:pt x="0" y="144"/>
                    <a:pt x="0" y="161"/>
                  </a:cubicBezTo>
                  <a:cubicBezTo>
                    <a:pt x="1" y="146"/>
                    <a:pt x="3" y="127"/>
                    <a:pt x="2" y="115"/>
                  </a:cubicBezTo>
                  <a:cubicBezTo>
                    <a:pt x="1" y="76"/>
                    <a:pt x="3" y="38"/>
                    <a:pt x="3"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7">
              <a:extLst>
                <a:ext uri="{FF2B5EF4-FFF2-40B4-BE49-F238E27FC236}">
                  <a16:creationId xmlns:a16="http://schemas.microsoft.com/office/drawing/2014/main" id="{5A2D4754-BC78-4420-AC1A-24A50DF55DB6}"/>
                </a:ext>
              </a:extLst>
            </p:cNvPr>
            <p:cNvSpPr>
              <a:spLocks noEditPoints="1"/>
            </p:cNvSpPr>
            <p:nvPr/>
          </p:nvSpPr>
          <p:spPr bwMode="auto">
            <a:xfrm>
              <a:off x="5168" y="3010"/>
              <a:ext cx="186" cy="750"/>
            </a:xfrm>
            <a:custGeom>
              <a:avLst/>
              <a:gdLst>
                <a:gd name="T0" fmla="*/ 22 w 78"/>
                <a:gd name="T1" fmla="*/ 75 h 316"/>
                <a:gd name="T2" fmla="*/ 20 w 78"/>
                <a:gd name="T3" fmla="*/ 75 h 316"/>
                <a:gd name="T4" fmla="*/ 11 w 78"/>
                <a:gd name="T5" fmla="*/ 82 h 316"/>
                <a:gd name="T6" fmla="*/ 7 w 78"/>
                <a:gd name="T7" fmla="*/ 87 h 316"/>
                <a:gd name="T8" fmla="*/ 22 w 78"/>
                <a:gd name="T9" fmla="*/ 274 h 316"/>
                <a:gd name="T10" fmla="*/ 27 w 78"/>
                <a:gd name="T11" fmla="*/ 299 h 316"/>
                <a:gd name="T12" fmla="*/ 45 w 78"/>
                <a:gd name="T13" fmla="*/ 316 h 316"/>
                <a:gd name="T14" fmla="*/ 49 w 78"/>
                <a:gd name="T15" fmla="*/ 316 h 316"/>
                <a:gd name="T16" fmla="*/ 74 w 78"/>
                <a:gd name="T17" fmla="*/ 294 h 316"/>
                <a:gd name="T18" fmla="*/ 72 w 78"/>
                <a:gd name="T19" fmla="*/ 255 h 316"/>
                <a:gd name="T20" fmla="*/ 54 w 78"/>
                <a:gd name="T21" fmla="*/ 190 h 316"/>
                <a:gd name="T22" fmla="*/ 22 w 78"/>
                <a:gd name="T23" fmla="*/ 75 h 316"/>
                <a:gd name="T24" fmla="*/ 0 w 78"/>
                <a:gd name="T25" fmla="*/ 0 h 316"/>
                <a:gd name="T26" fmla="*/ 7 w 78"/>
                <a:gd name="T27" fmla="*/ 84 h 316"/>
                <a:gd name="T28" fmla="*/ 10 w 78"/>
                <a:gd name="T29" fmla="*/ 80 h 316"/>
                <a:gd name="T30" fmla="*/ 20 w 78"/>
                <a:gd name="T31" fmla="*/ 75 h 316"/>
                <a:gd name="T32" fmla="*/ 21 w 78"/>
                <a:gd name="T33" fmla="*/ 74 h 316"/>
                <a:gd name="T34" fmla="*/ 1 w 78"/>
                <a:gd name="T35" fmla="*/ 1 h 316"/>
                <a:gd name="T36" fmla="*/ 0 w 78"/>
                <a:gd name="T37"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 h="316">
                  <a:moveTo>
                    <a:pt x="22" y="75"/>
                  </a:moveTo>
                  <a:cubicBezTo>
                    <a:pt x="21" y="75"/>
                    <a:pt x="21" y="75"/>
                    <a:pt x="20" y="75"/>
                  </a:cubicBezTo>
                  <a:cubicBezTo>
                    <a:pt x="18" y="76"/>
                    <a:pt x="15" y="78"/>
                    <a:pt x="11" y="82"/>
                  </a:cubicBezTo>
                  <a:cubicBezTo>
                    <a:pt x="10" y="83"/>
                    <a:pt x="8" y="85"/>
                    <a:pt x="7" y="87"/>
                  </a:cubicBezTo>
                  <a:cubicBezTo>
                    <a:pt x="12" y="149"/>
                    <a:pt x="17" y="211"/>
                    <a:pt x="22" y="274"/>
                  </a:cubicBezTo>
                  <a:cubicBezTo>
                    <a:pt x="23" y="282"/>
                    <a:pt x="23" y="291"/>
                    <a:pt x="27" y="299"/>
                  </a:cubicBezTo>
                  <a:cubicBezTo>
                    <a:pt x="30" y="307"/>
                    <a:pt x="37" y="314"/>
                    <a:pt x="45" y="316"/>
                  </a:cubicBezTo>
                  <a:cubicBezTo>
                    <a:pt x="46" y="316"/>
                    <a:pt x="48" y="316"/>
                    <a:pt x="49" y="316"/>
                  </a:cubicBezTo>
                  <a:cubicBezTo>
                    <a:pt x="61" y="316"/>
                    <a:pt x="71" y="306"/>
                    <a:pt x="74" y="294"/>
                  </a:cubicBezTo>
                  <a:cubicBezTo>
                    <a:pt x="78" y="282"/>
                    <a:pt x="75" y="268"/>
                    <a:pt x="72" y="255"/>
                  </a:cubicBezTo>
                  <a:cubicBezTo>
                    <a:pt x="66" y="233"/>
                    <a:pt x="60" y="212"/>
                    <a:pt x="54" y="190"/>
                  </a:cubicBezTo>
                  <a:cubicBezTo>
                    <a:pt x="43" y="152"/>
                    <a:pt x="32" y="113"/>
                    <a:pt x="22" y="75"/>
                  </a:cubicBezTo>
                  <a:moveTo>
                    <a:pt x="0" y="0"/>
                  </a:moveTo>
                  <a:cubicBezTo>
                    <a:pt x="2" y="28"/>
                    <a:pt x="5" y="56"/>
                    <a:pt x="7" y="84"/>
                  </a:cubicBezTo>
                  <a:cubicBezTo>
                    <a:pt x="8" y="83"/>
                    <a:pt x="9" y="81"/>
                    <a:pt x="10" y="80"/>
                  </a:cubicBezTo>
                  <a:cubicBezTo>
                    <a:pt x="14" y="77"/>
                    <a:pt x="18" y="75"/>
                    <a:pt x="20" y="75"/>
                  </a:cubicBezTo>
                  <a:cubicBezTo>
                    <a:pt x="21" y="74"/>
                    <a:pt x="21" y="74"/>
                    <a:pt x="21" y="74"/>
                  </a:cubicBezTo>
                  <a:cubicBezTo>
                    <a:pt x="14" y="50"/>
                    <a:pt x="8" y="26"/>
                    <a:pt x="1" y="1"/>
                  </a:cubicBezTo>
                  <a:cubicBezTo>
                    <a:pt x="0" y="0"/>
                    <a:pt x="0" y="0"/>
                    <a:pt x="0"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8">
              <a:extLst>
                <a:ext uri="{FF2B5EF4-FFF2-40B4-BE49-F238E27FC236}">
                  <a16:creationId xmlns:a16="http://schemas.microsoft.com/office/drawing/2014/main" id="{2FDDA2D4-4E1D-45B2-8066-FACBC21A40D2}"/>
                </a:ext>
              </a:extLst>
            </p:cNvPr>
            <p:cNvSpPr>
              <a:spLocks/>
            </p:cNvSpPr>
            <p:nvPr/>
          </p:nvSpPr>
          <p:spPr bwMode="auto">
            <a:xfrm>
              <a:off x="5185" y="3186"/>
              <a:ext cx="36" cy="31"/>
            </a:xfrm>
            <a:custGeom>
              <a:avLst/>
              <a:gdLst>
                <a:gd name="T0" fmla="*/ 14 w 15"/>
                <a:gd name="T1" fmla="*/ 0 h 13"/>
                <a:gd name="T2" fmla="*/ 13 w 15"/>
                <a:gd name="T3" fmla="*/ 1 h 13"/>
                <a:gd name="T4" fmla="*/ 3 w 15"/>
                <a:gd name="T5" fmla="*/ 6 h 13"/>
                <a:gd name="T6" fmla="*/ 0 w 15"/>
                <a:gd name="T7" fmla="*/ 10 h 13"/>
                <a:gd name="T8" fmla="*/ 0 w 15"/>
                <a:gd name="T9" fmla="*/ 13 h 13"/>
                <a:gd name="T10" fmla="*/ 4 w 15"/>
                <a:gd name="T11" fmla="*/ 8 h 13"/>
                <a:gd name="T12" fmla="*/ 13 w 15"/>
                <a:gd name="T13" fmla="*/ 1 h 13"/>
                <a:gd name="T14" fmla="*/ 15 w 15"/>
                <a:gd name="T15" fmla="*/ 1 h 13"/>
                <a:gd name="T16" fmla="*/ 14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14" y="0"/>
                  </a:moveTo>
                  <a:cubicBezTo>
                    <a:pt x="14" y="0"/>
                    <a:pt x="14" y="0"/>
                    <a:pt x="13" y="1"/>
                  </a:cubicBezTo>
                  <a:cubicBezTo>
                    <a:pt x="11" y="1"/>
                    <a:pt x="7" y="3"/>
                    <a:pt x="3" y="6"/>
                  </a:cubicBezTo>
                  <a:cubicBezTo>
                    <a:pt x="2" y="7"/>
                    <a:pt x="1" y="9"/>
                    <a:pt x="0" y="10"/>
                  </a:cubicBezTo>
                  <a:cubicBezTo>
                    <a:pt x="0" y="11"/>
                    <a:pt x="0" y="12"/>
                    <a:pt x="0" y="13"/>
                  </a:cubicBezTo>
                  <a:cubicBezTo>
                    <a:pt x="1" y="11"/>
                    <a:pt x="3" y="9"/>
                    <a:pt x="4" y="8"/>
                  </a:cubicBezTo>
                  <a:cubicBezTo>
                    <a:pt x="8" y="4"/>
                    <a:pt x="11" y="2"/>
                    <a:pt x="13" y="1"/>
                  </a:cubicBezTo>
                  <a:cubicBezTo>
                    <a:pt x="14" y="1"/>
                    <a:pt x="14" y="1"/>
                    <a:pt x="15" y="1"/>
                  </a:cubicBezTo>
                  <a:cubicBezTo>
                    <a:pt x="14" y="1"/>
                    <a:pt x="14" y="1"/>
                    <a:pt x="14" y="0"/>
                  </a:cubicBezTo>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79">
              <a:extLst>
                <a:ext uri="{FF2B5EF4-FFF2-40B4-BE49-F238E27FC236}">
                  <a16:creationId xmlns:a16="http://schemas.microsoft.com/office/drawing/2014/main" id="{F7A51854-2B7F-43A8-B1D8-486C2379AF0C}"/>
                </a:ext>
              </a:extLst>
            </p:cNvPr>
            <p:cNvSpPr>
              <a:spLocks/>
            </p:cNvSpPr>
            <p:nvPr/>
          </p:nvSpPr>
          <p:spPr bwMode="auto">
            <a:xfrm>
              <a:off x="4342" y="3297"/>
              <a:ext cx="257" cy="822"/>
            </a:xfrm>
            <a:custGeom>
              <a:avLst/>
              <a:gdLst>
                <a:gd name="T0" fmla="*/ 97 w 108"/>
                <a:gd name="T1" fmla="*/ 346 h 346"/>
                <a:gd name="T2" fmla="*/ 103 w 108"/>
                <a:gd name="T3" fmla="*/ 332 h 346"/>
                <a:gd name="T4" fmla="*/ 97 w 108"/>
                <a:gd name="T5" fmla="*/ 290 h 346"/>
                <a:gd name="T6" fmla="*/ 82 w 108"/>
                <a:gd name="T7" fmla="*/ 264 h 346"/>
                <a:gd name="T8" fmla="*/ 69 w 108"/>
                <a:gd name="T9" fmla="*/ 231 h 346"/>
                <a:gd name="T10" fmla="*/ 71 w 108"/>
                <a:gd name="T11" fmla="*/ 193 h 346"/>
                <a:gd name="T12" fmla="*/ 86 w 108"/>
                <a:gd name="T13" fmla="*/ 154 h 346"/>
                <a:gd name="T14" fmla="*/ 88 w 108"/>
                <a:gd name="T15" fmla="*/ 77 h 346"/>
                <a:gd name="T16" fmla="*/ 73 w 108"/>
                <a:gd name="T17" fmla="*/ 47 h 346"/>
                <a:gd name="T18" fmla="*/ 53 w 108"/>
                <a:gd name="T19" fmla="*/ 25 h 346"/>
                <a:gd name="T20" fmla="*/ 15 w 108"/>
                <a:gd name="T21" fmla="*/ 4 h 346"/>
                <a:gd name="T22" fmla="*/ 0 w 108"/>
                <a:gd name="T23" fmla="*/ 0 h 346"/>
                <a:gd name="T24" fmla="*/ 4 w 108"/>
                <a:gd name="T25" fmla="*/ 0 h 346"/>
                <a:gd name="T26" fmla="*/ 15 w 108"/>
                <a:gd name="T27" fmla="*/ 3 h 346"/>
                <a:gd name="T28" fmla="*/ 54 w 108"/>
                <a:gd name="T29" fmla="*/ 23 h 346"/>
                <a:gd name="T30" fmla="*/ 76 w 108"/>
                <a:gd name="T31" fmla="*/ 45 h 346"/>
                <a:gd name="T32" fmla="*/ 92 w 108"/>
                <a:gd name="T33" fmla="*/ 76 h 346"/>
                <a:gd name="T34" fmla="*/ 98 w 108"/>
                <a:gd name="T35" fmla="*/ 115 h 346"/>
                <a:gd name="T36" fmla="*/ 90 w 108"/>
                <a:gd name="T37" fmla="*/ 155 h 346"/>
                <a:gd name="T38" fmla="*/ 75 w 108"/>
                <a:gd name="T39" fmla="*/ 194 h 346"/>
                <a:gd name="T40" fmla="*/ 72 w 108"/>
                <a:gd name="T41" fmla="*/ 230 h 346"/>
                <a:gd name="T42" fmla="*/ 85 w 108"/>
                <a:gd name="T43" fmla="*/ 262 h 346"/>
                <a:gd name="T44" fmla="*/ 99 w 108"/>
                <a:gd name="T45" fmla="*/ 289 h 346"/>
                <a:gd name="T46" fmla="*/ 105 w 108"/>
                <a:gd name="T47" fmla="*/ 332 h 346"/>
                <a:gd name="T48" fmla="*/ 100 w 108"/>
                <a:gd name="T49" fmla="*/ 343 h 346"/>
                <a:gd name="T50" fmla="*/ 97 w 108"/>
                <a:gd name="T5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 h="346">
                  <a:moveTo>
                    <a:pt x="97" y="346"/>
                  </a:moveTo>
                  <a:cubicBezTo>
                    <a:pt x="97" y="346"/>
                    <a:pt x="101" y="341"/>
                    <a:pt x="103" y="332"/>
                  </a:cubicBezTo>
                  <a:cubicBezTo>
                    <a:pt x="106" y="322"/>
                    <a:pt x="104" y="306"/>
                    <a:pt x="97" y="290"/>
                  </a:cubicBezTo>
                  <a:cubicBezTo>
                    <a:pt x="93" y="282"/>
                    <a:pt x="88" y="273"/>
                    <a:pt x="82" y="264"/>
                  </a:cubicBezTo>
                  <a:cubicBezTo>
                    <a:pt x="77" y="254"/>
                    <a:pt x="71" y="244"/>
                    <a:pt x="69" y="231"/>
                  </a:cubicBezTo>
                  <a:cubicBezTo>
                    <a:pt x="66" y="219"/>
                    <a:pt x="67" y="205"/>
                    <a:pt x="71" y="193"/>
                  </a:cubicBezTo>
                  <a:cubicBezTo>
                    <a:pt x="75" y="180"/>
                    <a:pt x="81" y="167"/>
                    <a:pt x="86" y="154"/>
                  </a:cubicBezTo>
                  <a:cubicBezTo>
                    <a:pt x="96" y="128"/>
                    <a:pt x="95" y="100"/>
                    <a:pt x="88" y="77"/>
                  </a:cubicBezTo>
                  <a:cubicBezTo>
                    <a:pt x="84" y="66"/>
                    <a:pt x="79" y="56"/>
                    <a:pt x="73" y="47"/>
                  </a:cubicBezTo>
                  <a:cubicBezTo>
                    <a:pt x="67" y="38"/>
                    <a:pt x="60" y="31"/>
                    <a:pt x="53" y="25"/>
                  </a:cubicBezTo>
                  <a:cubicBezTo>
                    <a:pt x="38" y="14"/>
                    <a:pt x="25" y="8"/>
                    <a:pt x="15" y="4"/>
                  </a:cubicBezTo>
                  <a:cubicBezTo>
                    <a:pt x="5" y="1"/>
                    <a:pt x="0" y="0"/>
                    <a:pt x="0" y="0"/>
                  </a:cubicBezTo>
                  <a:cubicBezTo>
                    <a:pt x="0" y="0"/>
                    <a:pt x="1" y="0"/>
                    <a:pt x="4" y="0"/>
                  </a:cubicBezTo>
                  <a:cubicBezTo>
                    <a:pt x="7" y="1"/>
                    <a:pt x="10" y="1"/>
                    <a:pt x="15" y="3"/>
                  </a:cubicBezTo>
                  <a:cubicBezTo>
                    <a:pt x="25" y="6"/>
                    <a:pt x="40" y="12"/>
                    <a:pt x="54" y="23"/>
                  </a:cubicBezTo>
                  <a:cubicBezTo>
                    <a:pt x="62" y="29"/>
                    <a:pt x="69" y="36"/>
                    <a:pt x="76" y="45"/>
                  </a:cubicBezTo>
                  <a:cubicBezTo>
                    <a:pt x="82" y="54"/>
                    <a:pt x="88" y="65"/>
                    <a:pt x="92" y="76"/>
                  </a:cubicBezTo>
                  <a:cubicBezTo>
                    <a:pt x="95" y="88"/>
                    <a:pt x="98" y="101"/>
                    <a:pt x="98" y="115"/>
                  </a:cubicBezTo>
                  <a:cubicBezTo>
                    <a:pt x="98" y="128"/>
                    <a:pt x="95" y="142"/>
                    <a:pt x="90" y="155"/>
                  </a:cubicBezTo>
                  <a:cubicBezTo>
                    <a:pt x="85" y="169"/>
                    <a:pt x="79" y="181"/>
                    <a:pt x="75" y="194"/>
                  </a:cubicBezTo>
                  <a:cubicBezTo>
                    <a:pt x="71" y="206"/>
                    <a:pt x="70" y="219"/>
                    <a:pt x="72" y="230"/>
                  </a:cubicBezTo>
                  <a:cubicBezTo>
                    <a:pt x="75" y="242"/>
                    <a:pt x="80" y="252"/>
                    <a:pt x="85" y="262"/>
                  </a:cubicBezTo>
                  <a:cubicBezTo>
                    <a:pt x="90" y="271"/>
                    <a:pt x="96" y="280"/>
                    <a:pt x="99" y="289"/>
                  </a:cubicBezTo>
                  <a:cubicBezTo>
                    <a:pt x="107" y="306"/>
                    <a:pt x="108" y="322"/>
                    <a:pt x="105" y="332"/>
                  </a:cubicBezTo>
                  <a:cubicBezTo>
                    <a:pt x="104" y="337"/>
                    <a:pt x="102" y="341"/>
                    <a:pt x="100" y="343"/>
                  </a:cubicBezTo>
                  <a:cubicBezTo>
                    <a:pt x="98" y="345"/>
                    <a:pt x="97" y="346"/>
                    <a:pt x="97" y="34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0">
              <a:extLst>
                <a:ext uri="{FF2B5EF4-FFF2-40B4-BE49-F238E27FC236}">
                  <a16:creationId xmlns:a16="http://schemas.microsoft.com/office/drawing/2014/main" id="{BBAC89AD-C4E2-43E2-9FBA-D7A82B96F686}"/>
                </a:ext>
              </a:extLst>
            </p:cNvPr>
            <p:cNvSpPr>
              <a:spLocks/>
            </p:cNvSpPr>
            <p:nvPr/>
          </p:nvSpPr>
          <p:spPr bwMode="auto">
            <a:xfrm>
              <a:off x="5102" y="2426"/>
              <a:ext cx="363" cy="218"/>
            </a:xfrm>
            <a:custGeom>
              <a:avLst/>
              <a:gdLst>
                <a:gd name="T0" fmla="*/ 153 w 153"/>
                <a:gd name="T1" fmla="*/ 55 h 92"/>
                <a:gd name="T2" fmla="*/ 149 w 153"/>
                <a:gd name="T3" fmla="*/ 63 h 92"/>
                <a:gd name="T4" fmla="*/ 132 w 153"/>
                <a:gd name="T5" fmla="*/ 80 h 92"/>
                <a:gd name="T6" fmla="*/ 97 w 153"/>
                <a:gd name="T7" fmla="*/ 91 h 92"/>
                <a:gd name="T8" fmla="*/ 54 w 153"/>
                <a:gd name="T9" fmla="*/ 86 h 92"/>
                <a:gd name="T10" fmla="*/ 16 w 153"/>
                <a:gd name="T11" fmla="*/ 63 h 92"/>
                <a:gd name="T12" fmla="*/ 5 w 153"/>
                <a:gd name="T13" fmla="*/ 47 h 92"/>
                <a:gd name="T14" fmla="*/ 0 w 153"/>
                <a:gd name="T15" fmla="*/ 31 h 92"/>
                <a:gd name="T16" fmla="*/ 5 w 153"/>
                <a:gd name="T17" fmla="*/ 7 h 92"/>
                <a:gd name="T18" fmla="*/ 7 w 153"/>
                <a:gd name="T19" fmla="*/ 4 h 92"/>
                <a:gd name="T20" fmla="*/ 9 w 153"/>
                <a:gd name="T21" fmla="*/ 2 h 92"/>
                <a:gd name="T22" fmla="*/ 10 w 153"/>
                <a:gd name="T23" fmla="*/ 0 h 92"/>
                <a:gd name="T24" fmla="*/ 6 w 153"/>
                <a:gd name="T25" fmla="*/ 8 h 92"/>
                <a:gd name="T26" fmla="*/ 3 w 153"/>
                <a:gd name="T27" fmla="*/ 31 h 92"/>
                <a:gd name="T28" fmla="*/ 8 w 153"/>
                <a:gd name="T29" fmla="*/ 46 h 92"/>
                <a:gd name="T30" fmla="*/ 19 w 153"/>
                <a:gd name="T31" fmla="*/ 61 h 92"/>
                <a:gd name="T32" fmla="*/ 55 w 153"/>
                <a:gd name="T33" fmla="*/ 82 h 92"/>
                <a:gd name="T34" fmla="*/ 97 w 153"/>
                <a:gd name="T35" fmla="*/ 87 h 92"/>
                <a:gd name="T36" fmla="*/ 130 w 153"/>
                <a:gd name="T37" fmla="*/ 77 h 92"/>
                <a:gd name="T38" fmla="*/ 148 w 153"/>
                <a:gd name="T39" fmla="*/ 62 h 92"/>
                <a:gd name="T40" fmla="*/ 153 w 153"/>
                <a:gd name="T4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92">
                  <a:moveTo>
                    <a:pt x="153" y="55"/>
                  </a:moveTo>
                  <a:cubicBezTo>
                    <a:pt x="153" y="55"/>
                    <a:pt x="152" y="58"/>
                    <a:pt x="149" y="63"/>
                  </a:cubicBezTo>
                  <a:cubicBezTo>
                    <a:pt x="146" y="68"/>
                    <a:pt x="140" y="74"/>
                    <a:pt x="132" y="80"/>
                  </a:cubicBezTo>
                  <a:cubicBezTo>
                    <a:pt x="123" y="85"/>
                    <a:pt x="111" y="90"/>
                    <a:pt x="97" y="91"/>
                  </a:cubicBezTo>
                  <a:cubicBezTo>
                    <a:pt x="84" y="92"/>
                    <a:pt x="69" y="90"/>
                    <a:pt x="54" y="86"/>
                  </a:cubicBezTo>
                  <a:cubicBezTo>
                    <a:pt x="39" y="81"/>
                    <a:pt x="25" y="73"/>
                    <a:pt x="16" y="63"/>
                  </a:cubicBezTo>
                  <a:cubicBezTo>
                    <a:pt x="11" y="59"/>
                    <a:pt x="7" y="53"/>
                    <a:pt x="5" y="47"/>
                  </a:cubicBezTo>
                  <a:cubicBezTo>
                    <a:pt x="2" y="42"/>
                    <a:pt x="1" y="36"/>
                    <a:pt x="0" y="31"/>
                  </a:cubicBezTo>
                  <a:cubicBezTo>
                    <a:pt x="0" y="21"/>
                    <a:pt x="2" y="12"/>
                    <a:pt x="5" y="7"/>
                  </a:cubicBezTo>
                  <a:cubicBezTo>
                    <a:pt x="6" y="6"/>
                    <a:pt x="6" y="5"/>
                    <a:pt x="7" y="4"/>
                  </a:cubicBezTo>
                  <a:cubicBezTo>
                    <a:pt x="8" y="3"/>
                    <a:pt x="8" y="2"/>
                    <a:pt x="9" y="2"/>
                  </a:cubicBezTo>
                  <a:cubicBezTo>
                    <a:pt x="10" y="1"/>
                    <a:pt x="10" y="0"/>
                    <a:pt x="10" y="0"/>
                  </a:cubicBezTo>
                  <a:cubicBezTo>
                    <a:pt x="11" y="1"/>
                    <a:pt x="9" y="3"/>
                    <a:pt x="6" y="8"/>
                  </a:cubicBezTo>
                  <a:cubicBezTo>
                    <a:pt x="4" y="13"/>
                    <a:pt x="2" y="21"/>
                    <a:pt x="3" y="31"/>
                  </a:cubicBezTo>
                  <a:cubicBezTo>
                    <a:pt x="4" y="36"/>
                    <a:pt x="5" y="41"/>
                    <a:pt x="8" y="46"/>
                  </a:cubicBezTo>
                  <a:cubicBezTo>
                    <a:pt x="10" y="51"/>
                    <a:pt x="14" y="56"/>
                    <a:pt x="19" y="61"/>
                  </a:cubicBezTo>
                  <a:cubicBezTo>
                    <a:pt x="28" y="70"/>
                    <a:pt x="41" y="77"/>
                    <a:pt x="55" y="82"/>
                  </a:cubicBezTo>
                  <a:cubicBezTo>
                    <a:pt x="70" y="86"/>
                    <a:pt x="84" y="88"/>
                    <a:pt x="97" y="87"/>
                  </a:cubicBezTo>
                  <a:cubicBezTo>
                    <a:pt x="110" y="86"/>
                    <a:pt x="122" y="82"/>
                    <a:pt x="130" y="77"/>
                  </a:cubicBezTo>
                  <a:cubicBezTo>
                    <a:pt x="139" y="72"/>
                    <a:pt x="144" y="66"/>
                    <a:pt x="148" y="62"/>
                  </a:cubicBezTo>
                  <a:cubicBezTo>
                    <a:pt x="151" y="58"/>
                    <a:pt x="153" y="55"/>
                    <a:pt x="153" y="5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1">
              <a:extLst>
                <a:ext uri="{FF2B5EF4-FFF2-40B4-BE49-F238E27FC236}">
                  <a16:creationId xmlns:a16="http://schemas.microsoft.com/office/drawing/2014/main" id="{5EF7E6A0-90AC-4EBF-9467-FEEA73C277C0}"/>
                </a:ext>
              </a:extLst>
            </p:cNvPr>
            <p:cNvSpPr>
              <a:spLocks/>
            </p:cNvSpPr>
            <p:nvPr/>
          </p:nvSpPr>
          <p:spPr bwMode="auto">
            <a:xfrm>
              <a:off x="5104" y="2545"/>
              <a:ext cx="231" cy="1033"/>
            </a:xfrm>
            <a:custGeom>
              <a:avLst/>
              <a:gdLst>
                <a:gd name="T0" fmla="*/ 97 w 97"/>
                <a:gd name="T1" fmla="*/ 435 h 435"/>
                <a:gd name="T2" fmla="*/ 97 w 97"/>
                <a:gd name="T3" fmla="*/ 434 h 435"/>
                <a:gd name="T4" fmla="*/ 96 w 97"/>
                <a:gd name="T5" fmla="*/ 431 h 435"/>
                <a:gd name="T6" fmla="*/ 92 w 97"/>
                <a:gd name="T7" fmla="*/ 418 h 435"/>
                <a:gd name="T8" fmla="*/ 78 w 97"/>
                <a:gd name="T9" fmla="*/ 370 h 435"/>
                <a:gd name="T10" fmla="*/ 34 w 97"/>
                <a:gd name="T11" fmla="*/ 213 h 435"/>
                <a:gd name="T12" fmla="*/ 10 w 97"/>
                <a:gd name="T13" fmla="*/ 126 h 435"/>
                <a:gd name="T14" fmla="*/ 1 w 97"/>
                <a:gd name="T15" fmla="*/ 87 h 435"/>
                <a:gd name="T16" fmla="*/ 1 w 97"/>
                <a:gd name="T17" fmla="*/ 53 h 435"/>
                <a:gd name="T18" fmla="*/ 24 w 97"/>
                <a:gd name="T19" fmla="*/ 9 h 435"/>
                <a:gd name="T20" fmla="*/ 35 w 97"/>
                <a:gd name="T21" fmla="*/ 2 h 435"/>
                <a:gd name="T22" fmla="*/ 38 w 97"/>
                <a:gd name="T23" fmla="*/ 0 h 435"/>
                <a:gd name="T24" fmla="*/ 40 w 97"/>
                <a:gd name="T25" fmla="*/ 0 h 435"/>
                <a:gd name="T26" fmla="*/ 24 w 97"/>
                <a:gd name="T27" fmla="*/ 10 h 435"/>
                <a:gd name="T28" fmla="*/ 3 w 97"/>
                <a:gd name="T29" fmla="*/ 53 h 435"/>
                <a:gd name="T30" fmla="*/ 3 w 97"/>
                <a:gd name="T31" fmla="*/ 87 h 435"/>
                <a:gd name="T32" fmla="*/ 12 w 97"/>
                <a:gd name="T33" fmla="*/ 125 h 435"/>
                <a:gd name="T34" fmla="*/ 36 w 97"/>
                <a:gd name="T35" fmla="*/ 212 h 435"/>
                <a:gd name="T36" fmla="*/ 80 w 97"/>
                <a:gd name="T37" fmla="*/ 370 h 435"/>
                <a:gd name="T38" fmla="*/ 93 w 97"/>
                <a:gd name="T39" fmla="*/ 418 h 435"/>
                <a:gd name="T40" fmla="*/ 96 w 97"/>
                <a:gd name="T41" fmla="*/ 431 h 435"/>
                <a:gd name="T42" fmla="*/ 97 w 97"/>
                <a:gd name="T43" fmla="*/ 434 h 435"/>
                <a:gd name="T44" fmla="*/ 97 w 97"/>
                <a:gd name="T45" fmla="*/ 43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435">
                  <a:moveTo>
                    <a:pt x="97" y="435"/>
                  </a:moveTo>
                  <a:cubicBezTo>
                    <a:pt x="97" y="435"/>
                    <a:pt x="97" y="435"/>
                    <a:pt x="97" y="434"/>
                  </a:cubicBezTo>
                  <a:cubicBezTo>
                    <a:pt x="96" y="433"/>
                    <a:pt x="96" y="432"/>
                    <a:pt x="96" y="431"/>
                  </a:cubicBezTo>
                  <a:cubicBezTo>
                    <a:pt x="95" y="428"/>
                    <a:pt x="93" y="423"/>
                    <a:pt x="92" y="418"/>
                  </a:cubicBezTo>
                  <a:cubicBezTo>
                    <a:pt x="89" y="406"/>
                    <a:pt x="84" y="390"/>
                    <a:pt x="78" y="370"/>
                  </a:cubicBezTo>
                  <a:cubicBezTo>
                    <a:pt x="67" y="330"/>
                    <a:pt x="51" y="274"/>
                    <a:pt x="34" y="213"/>
                  </a:cubicBezTo>
                  <a:cubicBezTo>
                    <a:pt x="25" y="182"/>
                    <a:pt x="17" y="152"/>
                    <a:pt x="10" y="126"/>
                  </a:cubicBezTo>
                  <a:cubicBezTo>
                    <a:pt x="6" y="112"/>
                    <a:pt x="3" y="100"/>
                    <a:pt x="1" y="87"/>
                  </a:cubicBezTo>
                  <a:cubicBezTo>
                    <a:pt x="0" y="75"/>
                    <a:pt x="0" y="63"/>
                    <a:pt x="1" y="53"/>
                  </a:cubicBezTo>
                  <a:cubicBezTo>
                    <a:pt x="5" y="32"/>
                    <a:pt x="15" y="17"/>
                    <a:pt x="24" y="9"/>
                  </a:cubicBezTo>
                  <a:cubicBezTo>
                    <a:pt x="28" y="5"/>
                    <a:pt x="32" y="3"/>
                    <a:pt x="35" y="2"/>
                  </a:cubicBezTo>
                  <a:cubicBezTo>
                    <a:pt x="37" y="1"/>
                    <a:pt x="38" y="1"/>
                    <a:pt x="38" y="0"/>
                  </a:cubicBezTo>
                  <a:cubicBezTo>
                    <a:pt x="39" y="0"/>
                    <a:pt x="40" y="0"/>
                    <a:pt x="40" y="0"/>
                  </a:cubicBezTo>
                  <a:cubicBezTo>
                    <a:pt x="40" y="0"/>
                    <a:pt x="33" y="2"/>
                    <a:pt x="24" y="10"/>
                  </a:cubicBezTo>
                  <a:cubicBezTo>
                    <a:pt x="16" y="18"/>
                    <a:pt x="6" y="32"/>
                    <a:pt x="3" y="53"/>
                  </a:cubicBezTo>
                  <a:cubicBezTo>
                    <a:pt x="1" y="63"/>
                    <a:pt x="1" y="75"/>
                    <a:pt x="3" y="87"/>
                  </a:cubicBezTo>
                  <a:cubicBezTo>
                    <a:pt x="5" y="99"/>
                    <a:pt x="8" y="112"/>
                    <a:pt x="12" y="125"/>
                  </a:cubicBezTo>
                  <a:cubicBezTo>
                    <a:pt x="19" y="152"/>
                    <a:pt x="27" y="181"/>
                    <a:pt x="36" y="212"/>
                  </a:cubicBezTo>
                  <a:cubicBezTo>
                    <a:pt x="53" y="274"/>
                    <a:pt x="68" y="329"/>
                    <a:pt x="80" y="370"/>
                  </a:cubicBezTo>
                  <a:cubicBezTo>
                    <a:pt x="85" y="390"/>
                    <a:pt x="89" y="406"/>
                    <a:pt x="93" y="418"/>
                  </a:cubicBezTo>
                  <a:cubicBezTo>
                    <a:pt x="94" y="423"/>
                    <a:pt x="95" y="428"/>
                    <a:pt x="96" y="431"/>
                  </a:cubicBezTo>
                  <a:cubicBezTo>
                    <a:pt x="96" y="432"/>
                    <a:pt x="97" y="433"/>
                    <a:pt x="97" y="434"/>
                  </a:cubicBezTo>
                  <a:cubicBezTo>
                    <a:pt x="97" y="435"/>
                    <a:pt x="97" y="435"/>
                    <a:pt x="97" y="43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82">
              <a:extLst>
                <a:ext uri="{FF2B5EF4-FFF2-40B4-BE49-F238E27FC236}">
                  <a16:creationId xmlns:a16="http://schemas.microsoft.com/office/drawing/2014/main" id="{A188FFD7-A40C-4070-BF4B-16B1F9A45AAD}"/>
                </a:ext>
              </a:extLst>
            </p:cNvPr>
            <p:cNvSpPr>
              <a:spLocks/>
            </p:cNvSpPr>
            <p:nvPr/>
          </p:nvSpPr>
          <p:spPr bwMode="auto">
            <a:xfrm>
              <a:off x="4496" y="1376"/>
              <a:ext cx="454" cy="100"/>
            </a:xfrm>
            <a:custGeom>
              <a:avLst/>
              <a:gdLst>
                <a:gd name="T0" fmla="*/ 190 w 191"/>
                <a:gd name="T1" fmla="*/ 42 h 42"/>
                <a:gd name="T2" fmla="*/ 190 w 191"/>
                <a:gd name="T3" fmla="*/ 33 h 42"/>
                <a:gd name="T4" fmla="*/ 179 w 191"/>
                <a:gd name="T5" fmla="*/ 13 h 42"/>
                <a:gd name="T6" fmla="*/ 147 w 191"/>
                <a:gd name="T7" fmla="*/ 3 h 42"/>
                <a:gd name="T8" fmla="*/ 106 w 191"/>
                <a:gd name="T9" fmla="*/ 12 h 42"/>
                <a:gd name="T10" fmla="*/ 85 w 191"/>
                <a:gd name="T11" fmla="*/ 18 h 42"/>
                <a:gd name="T12" fmla="*/ 64 w 191"/>
                <a:gd name="T13" fmla="*/ 21 h 42"/>
                <a:gd name="T14" fmla="*/ 29 w 191"/>
                <a:gd name="T15" fmla="*/ 16 h 42"/>
                <a:gd name="T16" fmla="*/ 7 w 191"/>
                <a:gd name="T17" fmla="*/ 7 h 42"/>
                <a:gd name="T18" fmla="*/ 2 w 191"/>
                <a:gd name="T19" fmla="*/ 3 h 42"/>
                <a:gd name="T20" fmla="*/ 0 w 191"/>
                <a:gd name="T21" fmla="*/ 2 h 42"/>
                <a:gd name="T22" fmla="*/ 8 w 191"/>
                <a:gd name="T23" fmla="*/ 6 h 42"/>
                <a:gd name="T24" fmla="*/ 29 w 191"/>
                <a:gd name="T25" fmla="*/ 15 h 42"/>
                <a:gd name="T26" fmla="*/ 64 w 191"/>
                <a:gd name="T27" fmla="*/ 19 h 42"/>
                <a:gd name="T28" fmla="*/ 84 w 191"/>
                <a:gd name="T29" fmla="*/ 16 h 42"/>
                <a:gd name="T30" fmla="*/ 105 w 191"/>
                <a:gd name="T31" fmla="*/ 10 h 42"/>
                <a:gd name="T32" fmla="*/ 147 w 191"/>
                <a:gd name="T33" fmla="*/ 1 h 42"/>
                <a:gd name="T34" fmla="*/ 180 w 191"/>
                <a:gd name="T35" fmla="*/ 12 h 42"/>
                <a:gd name="T36" fmla="*/ 191 w 191"/>
                <a:gd name="T37" fmla="*/ 33 h 42"/>
                <a:gd name="T38" fmla="*/ 190 w 191"/>
                <a:gd name="T3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42">
                  <a:moveTo>
                    <a:pt x="190" y="42"/>
                  </a:moveTo>
                  <a:cubicBezTo>
                    <a:pt x="190" y="41"/>
                    <a:pt x="191" y="38"/>
                    <a:pt x="190" y="33"/>
                  </a:cubicBezTo>
                  <a:cubicBezTo>
                    <a:pt x="190" y="28"/>
                    <a:pt x="186" y="20"/>
                    <a:pt x="179" y="13"/>
                  </a:cubicBezTo>
                  <a:cubicBezTo>
                    <a:pt x="172" y="6"/>
                    <a:pt x="160" y="2"/>
                    <a:pt x="147" y="3"/>
                  </a:cubicBezTo>
                  <a:cubicBezTo>
                    <a:pt x="134" y="3"/>
                    <a:pt x="120" y="7"/>
                    <a:pt x="106" y="12"/>
                  </a:cubicBezTo>
                  <a:cubicBezTo>
                    <a:pt x="99" y="14"/>
                    <a:pt x="92" y="16"/>
                    <a:pt x="85" y="18"/>
                  </a:cubicBezTo>
                  <a:cubicBezTo>
                    <a:pt x="77" y="20"/>
                    <a:pt x="70" y="20"/>
                    <a:pt x="64" y="21"/>
                  </a:cubicBezTo>
                  <a:cubicBezTo>
                    <a:pt x="51" y="21"/>
                    <a:pt x="39" y="19"/>
                    <a:pt x="29" y="16"/>
                  </a:cubicBezTo>
                  <a:cubicBezTo>
                    <a:pt x="19" y="13"/>
                    <a:pt x="12" y="9"/>
                    <a:pt x="7" y="7"/>
                  </a:cubicBezTo>
                  <a:cubicBezTo>
                    <a:pt x="5" y="5"/>
                    <a:pt x="3" y="4"/>
                    <a:pt x="2" y="3"/>
                  </a:cubicBezTo>
                  <a:cubicBezTo>
                    <a:pt x="0" y="3"/>
                    <a:pt x="0" y="2"/>
                    <a:pt x="0" y="2"/>
                  </a:cubicBezTo>
                  <a:cubicBezTo>
                    <a:pt x="0" y="2"/>
                    <a:pt x="3" y="4"/>
                    <a:pt x="8" y="6"/>
                  </a:cubicBezTo>
                  <a:cubicBezTo>
                    <a:pt x="12" y="9"/>
                    <a:pt x="20" y="12"/>
                    <a:pt x="29" y="15"/>
                  </a:cubicBezTo>
                  <a:cubicBezTo>
                    <a:pt x="39" y="17"/>
                    <a:pt x="51" y="19"/>
                    <a:pt x="64" y="19"/>
                  </a:cubicBezTo>
                  <a:cubicBezTo>
                    <a:pt x="70" y="18"/>
                    <a:pt x="77" y="18"/>
                    <a:pt x="84" y="16"/>
                  </a:cubicBezTo>
                  <a:cubicBezTo>
                    <a:pt x="91" y="14"/>
                    <a:pt x="98" y="12"/>
                    <a:pt x="105" y="10"/>
                  </a:cubicBezTo>
                  <a:cubicBezTo>
                    <a:pt x="120" y="5"/>
                    <a:pt x="134" y="1"/>
                    <a:pt x="147" y="1"/>
                  </a:cubicBezTo>
                  <a:cubicBezTo>
                    <a:pt x="161" y="0"/>
                    <a:pt x="173" y="5"/>
                    <a:pt x="180" y="12"/>
                  </a:cubicBezTo>
                  <a:cubicBezTo>
                    <a:pt x="188" y="19"/>
                    <a:pt x="191" y="27"/>
                    <a:pt x="191" y="33"/>
                  </a:cubicBezTo>
                  <a:cubicBezTo>
                    <a:pt x="191" y="39"/>
                    <a:pt x="190" y="42"/>
                    <a:pt x="190" y="4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83">
              <a:extLst>
                <a:ext uri="{FF2B5EF4-FFF2-40B4-BE49-F238E27FC236}">
                  <a16:creationId xmlns:a16="http://schemas.microsoft.com/office/drawing/2014/main" id="{9358870D-1E25-49D4-B0C8-EE066911BC31}"/>
                </a:ext>
              </a:extLst>
            </p:cNvPr>
            <p:cNvSpPr>
              <a:spLocks/>
            </p:cNvSpPr>
            <p:nvPr/>
          </p:nvSpPr>
          <p:spPr bwMode="auto">
            <a:xfrm>
              <a:off x="4974" y="1429"/>
              <a:ext cx="106" cy="330"/>
            </a:xfrm>
            <a:custGeom>
              <a:avLst/>
              <a:gdLst>
                <a:gd name="T0" fmla="*/ 44 w 45"/>
                <a:gd name="T1" fmla="*/ 139 h 139"/>
                <a:gd name="T2" fmla="*/ 43 w 45"/>
                <a:gd name="T3" fmla="*/ 138 h 139"/>
                <a:gd name="T4" fmla="*/ 41 w 45"/>
                <a:gd name="T5" fmla="*/ 133 h 139"/>
                <a:gd name="T6" fmla="*/ 35 w 45"/>
                <a:gd name="T7" fmla="*/ 115 h 139"/>
                <a:gd name="T8" fmla="*/ 34 w 45"/>
                <a:gd name="T9" fmla="*/ 88 h 139"/>
                <a:gd name="T10" fmla="*/ 40 w 45"/>
                <a:gd name="T11" fmla="*/ 55 h 139"/>
                <a:gd name="T12" fmla="*/ 40 w 45"/>
                <a:gd name="T13" fmla="*/ 23 h 139"/>
                <a:gd name="T14" fmla="*/ 33 w 45"/>
                <a:gd name="T15" fmla="*/ 10 h 139"/>
                <a:gd name="T16" fmla="*/ 23 w 45"/>
                <a:gd name="T17" fmla="*/ 4 h 139"/>
                <a:gd name="T18" fmla="*/ 6 w 45"/>
                <a:gd name="T19" fmla="*/ 4 h 139"/>
                <a:gd name="T20" fmla="*/ 0 w 45"/>
                <a:gd name="T21" fmla="*/ 8 h 139"/>
                <a:gd name="T22" fmla="*/ 5 w 45"/>
                <a:gd name="T23" fmla="*/ 3 h 139"/>
                <a:gd name="T24" fmla="*/ 24 w 45"/>
                <a:gd name="T25" fmla="*/ 2 h 139"/>
                <a:gd name="T26" fmla="*/ 34 w 45"/>
                <a:gd name="T27" fmla="*/ 9 h 139"/>
                <a:gd name="T28" fmla="*/ 42 w 45"/>
                <a:gd name="T29" fmla="*/ 22 h 139"/>
                <a:gd name="T30" fmla="*/ 42 w 45"/>
                <a:gd name="T31" fmla="*/ 56 h 139"/>
                <a:gd name="T32" fmla="*/ 36 w 45"/>
                <a:gd name="T33" fmla="*/ 88 h 139"/>
                <a:gd name="T34" fmla="*/ 37 w 45"/>
                <a:gd name="T35" fmla="*/ 115 h 139"/>
                <a:gd name="T36" fmla="*/ 42 w 45"/>
                <a:gd name="T37" fmla="*/ 133 h 139"/>
                <a:gd name="T38" fmla="*/ 44 w 45"/>
                <a:gd name="T3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139">
                  <a:moveTo>
                    <a:pt x="44" y="139"/>
                  </a:moveTo>
                  <a:cubicBezTo>
                    <a:pt x="44" y="139"/>
                    <a:pt x="44" y="139"/>
                    <a:pt x="43" y="138"/>
                  </a:cubicBezTo>
                  <a:cubicBezTo>
                    <a:pt x="43" y="137"/>
                    <a:pt x="42" y="135"/>
                    <a:pt x="41" y="133"/>
                  </a:cubicBezTo>
                  <a:cubicBezTo>
                    <a:pt x="39" y="129"/>
                    <a:pt x="37" y="123"/>
                    <a:pt x="35" y="115"/>
                  </a:cubicBezTo>
                  <a:cubicBezTo>
                    <a:pt x="34" y="108"/>
                    <a:pt x="33" y="98"/>
                    <a:pt x="34" y="88"/>
                  </a:cubicBezTo>
                  <a:cubicBezTo>
                    <a:pt x="34" y="78"/>
                    <a:pt x="37" y="67"/>
                    <a:pt x="40" y="55"/>
                  </a:cubicBezTo>
                  <a:cubicBezTo>
                    <a:pt x="42" y="44"/>
                    <a:pt x="43" y="32"/>
                    <a:pt x="40" y="23"/>
                  </a:cubicBezTo>
                  <a:cubicBezTo>
                    <a:pt x="39" y="18"/>
                    <a:pt x="36" y="14"/>
                    <a:pt x="33" y="10"/>
                  </a:cubicBezTo>
                  <a:cubicBezTo>
                    <a:pt x="30" y="7"/>
                    <a:pt x="27" y="5"/>
                    <a:pt x="23" y="4"/>
                  </a:cubicBezTo>
                  <a:cubicBezTo>
                    <a:pt x="16" y="1"/>
                    <a:pt x="9" y="2"/>
                    <a:pt x="6" y="4"/>
                  </a:cubicBezTo>
                  <a:cubicBezTo>
                    <a:pt x="2" y="6"/>
                    <a:pt x="0" y="8"/>
                    <a:pt x="0" y="8"/>
                  </a:cubicBezTo>
                  <a:cubicBezTo>
                    <a:pt x="0" y="8"/>
                    <a:pt x="1" y="6"/>
                    <a:pt x="5" y="3"/>
                  </a:cubicBezTo>
                  <a:cubicBezTo>
                    <a:pt x="9" y="1"/>
                    <a:pt x="16" y="0"/>
                    <a:pt x="24" y="2"/>
                  </a:cubicBezTo>
                  <a:cubicBezTo>
                    <a:pt x="27" y="4"/>
                    <a:pt x="31" y="6"/>
                    <a:pt x="34" y="9"/>
                  </a:cubicBezTo>
                  <a:cubicBezTo>
                    <a:pt x="38" y="13"/>
                    <a:pt x="40" y="17"/>
                    <a:pt x="42" y="22"/>
                  </a:cubicBezTo>
                  <a:cubicBezTo>
                    <a:pt x="45" y="32"/>
                    <a:pt x="44" y="44"/>
                    <a:pt x="42" y="56"/>
                  </a:cubicBezTo>
                  <a:cubicBezTo>
                    <a:pt x="39" y="67"/>
                    <a:pt x="36" y="78"/>
                    <a:pt x="36" y="88"/>
                  </a:cubicBezTo>
                  <a:cubicBezTo>
                    <a:pt x="35" y="98"/>
                    <a:pt x="35" y="108"/>
                    <a:pt x="37" y="115"/>
                  </a:cubicBezTo>
                  <a:cubicBezTo>
                    <a:pt x="38" y="123"/>
                    <a:pt x="40" y="129"/>
                    <a:pt x="42" y="133"/>
                  </a:cubicBezTo>
                  <a:cubicBezTo>
                    <a:pt x="43" y="137"/>
                    <a:pt x="44" y="139"/>
                    <a:pt x="44" y="13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84">
              <a:extLst>
                <a:ext uri="{FF2B5EF4-FFF2-40B4-BE49-F238E27FC236}">
                  <a16:creationId xmlns:a16="http://schemas.microsoft.com/office/drawing/2014/main" id="{7B7B2763-6C2D-4A4D-AEA8-48ED1B6D6595}"/>
                </a:ext>
              </a:extLst>
            </p:cNvPr>
            <p:cNvSpPr>
              <a:spLocks/>
            </p:cNvSpPr>
            <p:nvPr/>
          </p:nvSpPr>
          <p:spPr bwMode="auto">
            <a:xfrm>
              <a:off x="4477" y="1272"/>
              <a:ext cx="492" cy="190"/>
            </a:xfrm>
            <a:custGeom>
              <a:avLst/>
              <a:gdLst>
                <a:gd name="T0" fmla="*/ 205 w 207"/>
                <a:gd name="T1" fmla="*/ 80 h 80"/>
                <a:gd name="T2" fmla="*/ 205 w 207"/>
                <a:gd name="T3" fmla="*/ 77 h 80"/>
                <a:gd name="T4" fmla="*/ 205 w 207"/>
                <a:gd name="T5" fmla="*/ 69 h 80"/>
                <a:gd name="T6" fmla="*/ 202 w 207"/>
                <a:gd name="T7" fmla="*/ 39 h 80"/>
                <a:gd name="T8" fmla="*/ 193 w 207"/>
                <a:gd name="T9" fmla="*/ 22 h 80"/>
                <a:gd name="T10" fmla="*/ 174 w 207"/>
                <a:gd name="T11" fmla="*/ 9 h 80"/>
                <a:gd name="T12" fmla="*/ 148 w 207"/>
                <a:gd name="T13" fmla="*/ 10 h 80"/>
                <a:gd name="T14" fmla="*/ 123 w 207"/>
                <a:gd name="T15" fmla="*/ 22 h 80"/>
                <a:gd name="T16" fmla="*/ 98 w 207"/>
                <a:gd name="T17" fmla="*/ 35 h 80"/>
                <a:gd name="T18" fmla="*/ 72 w 207"/>
                <a:gd name="T19" fmla="*/ 40 h 80"/>
                <a:gd name="T20" fmla="*/ 48 w 207"/>
                <a:gd name="T21" fmla="*/ 37 h 80"/>
                <a:gd name="T22" fmla="*/ 29 w 207"/>
                <a:gd name="T23" fmla="*/ 29 h 80"/>
                <a:gd name="T24" fmla="*/ 6 w 207"/>
                <a:gd name="T25" fmla="*/ 9 h 80"/>
                <a:gd name="T26" fmla="*/ 2 w 207"/>
                <a:gd name="T27" fmla="*/ 3 h 80"/>
                <a:gd name="T28" fmla="*/ 0 w 207"/>
                <a:gd name="T29" fmla="*/ 0 h 80"/>
                <a:gd name="T30" fmla="*/ 2 w 207"/>
                <a:gd name="T31" fmla="*/ 3 h 80"/>
                <a:gd name="T32" fmla="*/ 7 w 207"/>
                <a:gd name="T33" fmla="*/ 9 h 80"/>
                <a:gd name="T34" fmla="*/ 30 w 207"/>
                <a:gd name="T35" fmla="*/ 28 h 80"/>
                <a:gd name="T36" fmla="*/ 49 w 207"/>
                <a:gd name="T37" fmla="*/ 35 h 80"/>
                <a:gd name="T38" fmla="*/ 72 w 207"/>
                <a:gd name="T39" fmla="*/ 38 h 80"/>
                <a:gd name="T40" fmla="*/ 97 w 207"/>
                <a:gd name="T41" fmla="*/ 33 h 80"/>
                <a:gd name="T42" fmla="*/ 122 w 207"/>
                <a:gd name="T43" fmla="*/ 20 h 80"/>
                <a:gd name="T44" fmla="*/ 148 w 207"/>
                <a:gd name="T45" fmla="*/ 8 h 80"/>
                <a:gd name="T46" fmla="*/ 174 w 207"/>
                <a:gd name="T47" fmla="*/ 7 h 80"/>
                <a:gd name="T48" fmla="*/ 194 w 207"/>
                <a:gd name="T49" fmla="*/ 21 h 80"/>
                <a:gd name="T50" fmla="*/ 203 w 207"/>
                <a:gd name="T51" fmla="*/ 39 h 80"/>
                <a:gd name="T52" fmla="*/ 206 w 207"/>
                <a:gd name="T53" fmla="*/ 69 h 80"/>
                <a:gd name="T54" fmla="*/ 205 w 207"/>
                <a:gd name="T55" fmla="*/ 77 h 80"/>
                <a:gd name="T56" fmla="*/ 205 w 207"/>
                <a:gd name="T5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80">
                  <a:moveTo>
                    <a:pt x="205" y="80"/>
                  </a:moveTo>
                  <a:cubicBezTo>
                    <a:pt x="205" y="80"/>
                    <a:pt x="205" y="79"/>
                    <a:pt x="205" y="77"/>
                  </a:cubicBezTo>
                  <a:cubicBezTo>
                    <a:pt x="205" y="75"/>
                    <a:pt x="205" y="72"/>
                    <a:pt x="205" y="69"/>
                  </a:cubicBezTo>
                  <a:cubicBezTo>
                    <a:pt x="205" y="62"/>
                    <a:pt x="206" y="51"/>
                    <a:pt x="202" y="39"/>
                  </a:cubicBezTo>
                  <a:cubicBezTo>
                    <a:pt x="200" y="34"/>
                    <a:pt x="197" y="27"/>
                    <a:pt x="193" y="22"/>
                  </a:cubicBezTo>
                  <a:cubicBezTo>
                    <a:pt x="188" y="16"/>
                    <a:pt x="182" y="11"/>
                    <a:pt x="174" y="9"/>
                  </a:cubicBezTo>
                  <a:cubicBezTo>
                    <a:pt x="166" y="7"/>
                    <a:pt x="157" y="8"/>
                    <a:pt x="148" y="10"/>
                  </a:cubicBezTo>
                  <a:cubicBezTo>
                    <a:pt x="140" y="13"/>
                    <a:pt x="131" y="17"/>
                    <a:pt x="123" y="22"/>
                  </a:cubicBezTo>
                  <a:cubicBezTo>
                    <a:pt x="115" y="26"/>
                    <a:pt x="106" y="31"/>
                    <a:pt x="98" y="35"/>
                  </a:cubicBezTo>
                  <a:cubicBezTo>
                    <a:pt x="89" y="38"/>
                    <a:pt x="80" y="40"/>
                    <a:pt x="72" y="40"/>
                  </a:cubicBezTo>
                  <a:cubicBezTo>
                    <a:pt x="64" y="40"/>
                    <a:pt x="56" y="39"/>
                    <a:pt x="48" y="37"/>
                  </a:cubicBezTo>
                  <a:cubicBezTo>
                    <a:pt x="41" y="35"/>
                    <a:pt x="35" y="32"/>
                    <a:pt x="29" y="29"/>
                  </a:cubicBezTo>
                  <a:cubicBezTo>
                    <a:pt x="18" y="23"/>
                    <a:pt x="11" y="15"/>
                    <a:pt x="6" y="9"/>
                  </a:cubicBezTo>
                  <a:cubicBezTo>
                    <a:pt x="4" y="7"/>
                    <a:pt x="3" y="4"/>
                    <a:pt x="2" y="3"/>
                  </a:cubicBezTo>
                  <a:cubicBezTo>
                    <a:pt x="1" y="1"/>
                    <a:pt x="0" y="0"/>
                    <a:pt x="0" y="0"/>
                  </a:cubicBezTo>
                  <a:cubicBezTo>
                    <a:pt x="0" y="0"/>
                    <a:pt x="1" y="1"/>
                    <a:pt x="2" y="3"/>
                  </a:cubicBezTo>
                  <a:cubicBezTo>
                    <a:pt x="3" y="4"/>
                    <a:pt x="5" y="6"/>
                    <a:pt x="7" y="9"/>
                  </a:cubicBezTo>
                  <a:cubicBezTo>
                    <a:pt x="11" y="14"/>
                    <a:pt x="19" y="22"/>
                    <a:pt x="30" y="28"/>
                  </a:cubicBezTo>
                  <a:cubicBezTo>
                    <a:pt x="35" y="31"/>
                    <a:pt x="42" y="33"/>
                    <a:pt x="49" y="35"/>
                  </a:cubicBezTo>
                  <a:cubicBezTo>
                    <a:pt x="56" y="37"/>
                    <a:pt x="64" y="38"/>
                    <a:pt x="72" y="38"/>
                  </a:cubicBezTo>
                  <a:cubicBezTo>
                    <a:pt x="80" y="38"/>
                    <a:pt x="89" y="36"/>
                    <a:pt x="97" y="33"/>
                  </a:cubicBezTo>
                  <a:cubicBezTo>
                    <a:pt x="105" y="29"/>
                    <a:pt x="114" y="25"/>
                    <a:pt x="122" y="20"/>
                  </a:cubicBezTo>
                  <a:cubicBezTo>
                    <a:pt x="130" y="15"/>
                    <a:pt x="139" y="11"/>
                    <a:pt x="148" y="8"/>
                  </a:cubicBezTo>
                  <a:cubicBezTo>
                    <a:pt x="157" y="6"/>
                    <a:pt x="166" y="5"/>
                    <a:pt x="174" y="7"/>
                  </a:cubicBezTo>
                  <a:cubicBezTo>
                    <a:pt x="182" y="9"/>
                    <a:pt x="189" y="15"/>
                    <a:pt x="194" y="21"/>
                  </a:cubicBezTo>
                  <a:cubicBezTo>
                    <a:pt x="199" y="26"/>
                    <a:pt x="202" y="33"/>
                    <a:pt x="203" y="39"/>
                  </a:cubicBezTo>
                  <a:cubicBezTo>
                    <a:pt x="207" y="51"/>
                    <a:pt x="206" y="62"/>
                    <a:pt x="206" y="69"/>
                  </a:cubicBezTo>
                  <a:cubicBezTo>
                    <a:pt x="206" y="72"/>
                    <a:pt x="206" y="75"/>
                    <a:pt x="205" y="77"/>
                  </a:cubicBezTo>
                  <a:cubicBezTo>
                    <a:pt x="205" y="79"/>
                    <a:pt x="205" y="80"/>
                    <a:pt x="205" y="8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5">
              <a:extLst>
                <a:ext uri="{FF2B5EF4-FFF2-40B4-BE49-F238E27FC236}">
                  <a16:creationId xmlns:a16="http://schemas.microsoft.com/office/drawing/2014/main" id="{873F4CE0-D113-4649-9DAA-BAC09C55A06F}"/>
                </a:ext>
              </a:extLst>
            </p:cNvPr>
            <p:cNvSpPr>
              <a:spLocks/>
            </p:cNvSpPr>
            <p:nvPr/>
          </p:nvSpPr>
          <p:spPr bwMode="auto">
            <a:xfrm>
              <a:off x="4691" y="3668"/>
              <a:ext cx="1149" cy="446"/>
            </a:xfrm>
            <a:custGeom>
              <a:avLst/>
              <a:gdLst>
                <a:gd name="T0" fmla="*/ 9 w 484"/>
                <a:gd name="T1" fmla="*/ 71 h 188"/>
                <a:gd name="T2" fmla="*/ 308 w 484"/>
                <a:gd name="T3" fmla="*/ 26 h 188"/>
                <a:gd name="T4" fmla="*/ 304 w 484"/>
                <a:gd name="T5" fmla="*/ 0 h 188"/>
                <a:gd name="T6" fmla="*/ 465 w 484"/>
                <a:gd name="T7" fmla="*/ 0 h 188"/>
                <a:gd name="T8" fmla="*/ 469 w 484"/>
                <a:gd name="T9" fmla="*/ 41 h 188"/>
                <a:gd name="T10" fmla="*/ 349 w 484"/>
                <a:gd name="T11" fmla="*/ 188 h 188"/>
                <a:gd name="T12" fmla="*/ 0 w 484"/>
                <a:gd name="T13" fmla="*/ 184 h 188"/>
                <a:gd name="T14" fmla="*/ 9 w 484"/>
                <a:gd name="T15" fmla="*/ 71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188">
                  <a:moveTo>
                    <a:pt x="9" y="71"/>
                  </a:moveTo>
                  <a:cubicBezTo>
                    <a:pt x="308" y="26"/>
                    <a:pt x="308" y="26"/>
                    <a:pt x="308" y="26"/>
                  </a:cubicBezTo>
                  <a:cubicBezTo>
                    <a:pt x="304" y="0"/>
                    <a:pt x="304" y="0"/>
                    <a:pt x="304" y="0"/>
                  </a:cubicBezTo>
                  <a:cubicBezTo>
                    <a:pt x="465" y="0"/>
                    <a:pt x="465" y="0"/>
                    <a:pt x="465" y="0"/>
                  </a:cubicBezTo>
                  <a:cubicBezTo>
                    <a:pt x="469" y="41"/>
                    <a:pt x="469" y="41"/>
                    <a:pt x="469" y="41"/>
                  </a:cubicBezTo>
                  <a:cubicBezTo>
                    <a:pt x="484" y="117"/>
                    <a:pt x="426" y="187"/>
                    <a:pt x="349" y="188"/>
                  </a:cubicBezTo>
                  <a:cubicBezTo>
                    <a:pt x="0" y="184"/>
                    <a:pt x="0" y="184"/>
                    <a:pt x="0" y="184"/>
                  </a:cubicBezTo>
                  <a:lnTo>
                    <a:pt x="9" y="71"/>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6">
              <a:extLst>
                <a:ext uri="{FF2B5EF4-FFF2-40B4-BE49-F238E27FC236}">
                  <a16:creationId xmlns:a16="http://schemas.microsoft.com/office/drawing/2014/main" id="{6A3150C2-DAE5-4072-8BF2-4FD26A069475}"/>
                </a:ext>
              </a:extLst>
            </p:cNvPr>
            <p:cNvSpPr>
              <a:spLocks/>
            </p:cNvSpPr>
            <p:nvPr/>
          </p:nvSpPr>
          <p:spPr bwMode="auto">
            <a:xfrm>
              <a:off x="4247" y="3777"/>
              <a:ext cx="518" cy="344"/>
            </a:xfrm>
            <a:custGeom>
              <a:avLst/>
              <a:gdLst>
                <a:gd name="T0" fmla="*/ 218 w 218"/>
                <a:gd name="T1" fmla="*/ 30 h 145"/>
                <a:gd name="T2" fmla="*/ 178 w 218"/>
                <a:gd name="T3" fmla="*/ 13 h 145"/>
                <a:gd name="T4" fmla="*/ 117 w 218"/>
                <a:gd name="T5" fmla="*/ 1 h 145"/>
                <a:gd name="T6" fmla="*/ 34 w 218"/>
                <a:gd name="T7" fmla="*/ 6 h 145"/>
                <a:gd name="T8" fmla="*/ 48 w 218"/>
                <a:gd name="T9" fmla="*/ 24 h 145"/>
                <a:gd name="T10" fmla="*/ 108 w 218"/>
                <a:gd name="T11" fmla="*/ 30 h 145"/>
                <a:gd name="T12" fmla="*/ 105 w 218"/>
                <a:gd name="T13" fmla="*/ 33 h 145"/>
                <a:gd name="T14" fmla="*/ 64 w 218"/>
                <a:gd name="T15" fmla="*/ 51 h 145"/>
                <a:gd name="T16" fmla="*/ 56 w 218"/>
                <a:gd name="T17" fmla="*/ 51 h 145"/>
                <a:gd name="T18" fmla="*/ 39 w 218"/>
                <a:gd name="T19" fmla="*/ 48 h 145"/>
                <a:gd name="T20" fmla="*/ 18 w 218"/>
                <a:gd name="T21" fmla="*/ 40 h 145"/>
                <a:gd name="T22" fmla="*/ 3 w 218"/>
                <a:gd name="T23" fmla="*/ 43 h 145"/>
                <a:gd name="T24" fmla="*/ 19 w 218"/>
                <a:gd name="T25" fmla="*/ 65 h 145"/>
                <a:gd name="T26" fmla="*/ 64 w 218"/>
                <a:gd name="T27" fmla="*/ 82 h 145"/>
                <a:gd name="T28" fmla="*/ 66 w 218"/>
                <a:gd name="T29" fmla="*/ 97 h 145"/>
                <a:gd name="T30" fmla="*/ 81 w 218"/>
                <a:gd name="T31" fmla="*/ 107 h 145"/>
                <a:gd name="T32" fmla="*/ 93 w 218"/>
                <a:gd name="T33" fmla="*/ 129 h 145"/>
                <a:gd name="T34" fmla="*/ 121 w 218"/>
                <a:gd name="T35" fmla="*/ 139 h 145"/>
                <a:gd name="T36" fmla="*/ 186 w 218"/>
                <a:gd name="T37" fmla="*/ 138 h 145"/>
                <a:gd name="T38" fmla="*/ 218 w 218"/>
                <a:gd name="T39" fmla="*/ 129 h 145"/>
                <a:gd name="T40" fmla="*/ 218 w 218"/>
                <a:gd name="T41"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145">
                  <a:moveTo>
                    <a:pt x="218" y="30"/>
                  </a:moveTo>
                  <a:cubicBezTo>
                    <a:pt x="216" y="31"/>
                    <a:pt x="196" y="22"/>
                    <a:pt x="178" y="13"/>
                  </a:cubicBezTo>
                  <a:cubicBezTo>
                    <a:pt x="159" y="4"/>
                    <a:pt x="138" y="0"/>
                    <a:pt x="117" y="1"/>
                  </a:cubicBezTo>
                  <a:cubicBezTo>
                    <a:pt x="34" y="6"/>
                    <a:pt x="34" y="6"/>
                    <a:pt x="34" y="6"/>
                  </a:cubicBezTo>
                  <a:cubicBezTo>
                    <a:pt x="34" y="6"/>
                    <a:pt x="39" y="19"/>
                    <a:pt x="48" y="24"/>
                  </a:cubicBezTo>
                  <a:cubicBezTo>
                    <a:pt x="56" y="29"/>
                    <a:pt x="108" y="30"/>
                    <a:pt x="108" y="30"/>
                  </a:cubicBezTo>
                  <a:cubicBezTo>
                    <a:pt x="105" y="33"/>
                    <a:pt x="105" y="33"/>
                    <a:pt x="105" y="33"/>
                  </a:cubicBezTo>
                  <a:cubicBezTo>
                    <a:pt x="95" y="44"/>
                    <a:pt x="80" y="51"/>
                    <a:pt x="64" y="51"/>
                  </a:cubicBezTo>
                  <a:cubicBezTo>
                    <a:pt x="56" y="51"/>
                    <a:pt x="56" y="51"/>
                    <a:pt x="56" y="51"/>
                  </a:cubicBezTo>
                  <a:cubicBezTo>
                    <a:pt x="50" y="51"/>
                    <a:pt x="44" y="50"/>
                    <a:pt x="39" y="48"/>
                  </a:cubicBezTo>
                  <a:cubicBezTo>
                    <a:pt x="18" y="40"/>
                    <a:pt x="18" y="40"/>
                    <a:pt x="18" y="40"/>
                  </a:cubicBezTo>
                  <a:cubicBezTo>
                    <a:pt x="12" y="37"/>
                    <a:pt x="6" y="37"/>
                    <a:pt x="3" y="43"/>
                  </a:cubicBezTo>
                  <a:cubicBezTo>
                    <a:pt x="0" y="49"/>
                    <a:pt x="2" y="57"/>
                    <a:pt x="19" y="65"/>
                  </a:cubicBezTo>
                  <a:cubicBezTo>
                    <a:pt x="29" y="70"/>
                    <a:pt x="64" y="82"/>
                    <a:pt x="64" y="82"/>
                  </a:cubicBezTo>
                  <a:cubicBezTo>
                    <a:pt x="64" y="82"/>
                    <a:pt x="64" y="92"/>
                    <a:pt x="66" y="97"/>
                  </a:cubicBezTo>
                  <a:cubicBezTo>
                    <a:pt x="67" y="102"/>
                    <a:pt x="81" y="107"/>
                    <a:pt x="81" y="107"/>
                  </a:cubicBezTo>
                  <a:cubicBezTo>
                    <a:pt x="81" y="107"/>
                    <a:pt x="90" y="125"/>
                    <a:pt x="93" y="129"/>
                  </a:cubicBezTo>
                  <a:cubicBezTo>
                    <a:pt x="95" y="131"/>
                    <a:pt x="107" y="135"/>
                    <a:pt x="121" y="139"/>
                  </a:cubicBezTo>
                  <a:cubicBezTo>
                    <a:pt x="142" y="145"/>
                    <a:pt x="165" y="145"/>
                    <a:pt x="186" y="138"/>
                  </a:cubicBezTo>
                  <a:cubicBezTo>
                    <a:pt x="218" y="129"/>
                    <a:pt x="218" y="129"/>
                    <a:pt x="218" y="129"/>
                  </a:cubicBezTo>
                  <a:cubicBezTo>
                    <a:pt x="218" y="32"/>
                    <a:pt x="218" y="32"/>
                    <a:pt x="218" y="32"/>
                  </a:cubicBezTo>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7">
              <a:extLst>
                <a:ext uri="{FF2B5EF4-FFF2-40B4-BE49-F238E27FC236}">
                  <a16:creationId xmlns:a16="http://schemas.microsoft.com/office/drawing/2014/main" id="{7BADD502-9176-41F5-9569-9D42D31C1100}"/>
                </a:ext>
              </a:extLst>
            </p:cNvPr>
            <p:cNvSpPr>
              <a:spLocks/>
            </p:cNvSpPr>
            <p:nvPr/>
          </p:nvSpPr>
          <p:spPr bwMode="auto">
            <a:xfrm>
              <a:off x="4394" y="3972"/>
              <a:ext cx="100" cy="28"/>
            </a:xfrm>
            <a:custGeom>
              <a:avLst/>
              <a:gdLst>
                <a:gd name="T0" fmla="*/ 42 w 42"/>
                <a:gd name="T1" fmla="*/ 11 h 12"/>
                <a:gd name="T2" fmla="*/ 21 w 42"/>
                <a:gd name="T3" fmla="*/ 8 h 12"/>
                <a:gd name="T4" fmla="*/ 0 w 42"/>
                <a:gd name="T5" fmla="*/ 0 h 12"/>
                <a:gd name="T6" fmla="*/ 21 w 42"/>
                <a:gd name="T7" fmla="*/ 6 h 12"/>
                <a:gd name="T8" fmla="*/ 42 w 42"/>
                <a:gd name="T9" fmla="*/ 11 h 12"/>
              </a:gdLst>
              <a:ahLst/>
              <a:cxnLst>
                <a:cxn ang="0">
                  <a:pos x="T0" y="T1"/>
                </a:cxn>
                <a:cxn ang="0">
                  <a:pos x="T2" y="T3"/>
                </a:cxn>
                <a:cxn ang="0">
                  <a:pos x="T4" y="T5"/>
                </a:cxn>
                <a:cxn ang="0">
                  <a:pos x="T6" y="T7"/>
                </a:cxn>
                <a:cxn ang="0">
                  <a:pos x="T8" y="T9"/>
                </a:cxn>
              </a:cxnLst>
              <a:rect l="0" t="0" r="r" b="b"/>
              <a:pathLst>
                <a:path w="42" h="12">
                  <a:moveTo>
                    <a:pt x="42" y="11"/>
                  </a:moveTo>
                  <a:cubicBezTo>
                    <a:pt x="42" y="12"/>
                    <a:pt x="32" y="11"/>
                    <a:pt x="21" y="8"/>
                  </a:cubicBezTo>
                  <a:cubicBezTo>
                    <a:pt x="9" y="5"/>
                    <a:pt x="0" y="1"/>
                    <a:pt x="0" y="0"/>
                  </a:cubicBezTo>
                  <a:cubicBezTo>
                    <a:pt x="0" y="0"/>
                    <a:pt x="9" y="3"/>
                    <a:pt x="21" y="6"/>
                  </a:cubicBezTo>
                  <a:cubicBezTo>
                    <a:pt x="33" y="9"/>
                    <a:pt x="42" y="11"/>
                    <a:pt x="42" y="11"/>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8">
              <a:extLst>
                <a:ext uri="{FF2B5EF4-FFF2-40B4-BE49-F238E27FC236}">
                  <a16:creationId xmlns:a16="http://schemas.microsoft.com/office/drawing/2014/main" id="{7684BAC4-7161-4B80-A9EA-0E3D1424ADE4}"/>
                </a:ext>
              </a:extLst>
            </p:cNvPr>
            <p:cNvSpPr>
              <a:spLocks/>
            </p:cNvSpPr>
            <p:nvPr/>
          </p:nvSpPr>
          <p:spPr bwMode="auto">
            <a:xfrm>
              <a:off x="4435" y="4029"/>
              <a:ext cx="52" cy="19"/>
            </a:xfrm>
            <a:custGeom>
              <a:avLst/>
              <a:gdLst>
                <a:gd name="T0" fmla="*/ 22 w 22"/>
                <a:gd name="T1" fmla="*/ 7 h 8"/>
                <a:gd name="T2" fmla="*/ 11 w 22"/>
                <a:gd name="T3" fmla="*/ 6 h 8"/>
                <a:gd name="T4" fmla="*/ 0 w 22"/>
                <a:gd name="T5" fmla="*/ 1 h 8"/>
                <a:gd name="T6" fmla="*/ 11 w 22"/>
                <a:gd name="T7" fmla="*/ 4 h 8"/>
                <a:gd name="T8" fmla="*/ 22 w 22"/>
                <a:gd name="T9" fmla="*/ 7 h 8"/>
              </a:gdLst>
              <a:ahLst/>
              <a:cxnLst>
                <a:cxn ang="0">
                  <a:pos x="T0" y="T1"/>
                </a:cxn>
                <a:cxn ang="0">
                  <a:pos x="T2" y="T3"/>
                </a:cxn>
                <a:cxn ang="0">
                  <a:pos x="T4" y="T5"/>
                </a:cxn>
                <a:cxn ang="0">
                  <a:pos x="T6" y="T7"/>
                </a:cxn>
                <a:cxn ang="0">
                  <a:pos x="T8" y="T9"/>
                </a:cxn>
              </a:cxnLst>
              <a:rect l="0" t="0" r="r" b="b"/>
              <a:pathLst>
                <a:path w="22" h="8">
                  <a:moveTo>
                    <a:pt x="22" y="7"/>
                  </a:moveTo>
                  <a:cubicBezTo>
                    <a:pt x="22" y="7"/>
                    <a:pt x="17" y="8"/>
                    <a:pt x="11" y="6"/>
                  </a:cubicBezTo>
                  <a:cubicBezTo>
                    <a:pt x="4" y="4"/>
                    <a:pt x="0" y="1"/>
                    <a:pt x="0" y="1"/>
                  </a:cubicBezTo>
                  <a:cubicBezTo>
                    <a:pt x="0" y="0"/>
                    <a:pt x="5" y="2"/>
                    <a:pt x="11" y="4"/>
                  </a:cubicBezTo>
                  <a:cubicBezTo>
                    <a:pt x="17" y="5"/>
                    <a:pt x="22" y="6"/>
                    <a:pt x="22" y="7"/>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9">
              <a:extLst>
                <a:ext uri="{FF2B5EF4-FFF2-40B4-BE49-F238E27FC236}">
                  <a16:creationId xmlns:a16="http://schemas.microsoft.com/office/drawing/2014/main" id="{D24D8BB5-C580-44BC-AF02-AE9A657377C5}"/>
                </a:ext>
              </a:extLst>
            </p:cNvPr>
            <p:cNvSpPr>
              <a:spLocks/>
            </p:cNvSpPr>
            <p:nvPr/>
          </p:nvSpPr>
          <p:spPr bwMode="auto">
            <a:xfrm>
              <a:off x="5422" y="3727"/>
              <a:ext cx="190" cy="169"/>
            </a:xfrm>
            <a:custGeom>
              <a:avLst/>
              <a:gdLst>
                <a:gd name="T0" fmla="*/ 79 w 80"/>
                <a:gd name="T1" fmla="*/ 71 h 71"/>
                <a:gd name="T2" fmla="*/ 72 w 80"/>
                <a:gd name="T3" fmla="*/ 57 h 71"/>
                <a:gd name="T4" fmla="*/ 63 w 80"/>
                <a:gd name="T5" fmla="*/ 42 h 71"/>
                <a:gd name="T6" fmla="*/ 48 w 80"/>
                <a:gd name="T7" fmla="*/ 26 h 71"/>
                <a:gd name="T8" fmla="*/ 31 w 80"/>
                <a:gd name="T9" fmla="*/ 13 h 71"/>
                <a:gd name="T10" fmla="*/ 15 w 80"/>
                <a:gd name="T11" fmla="*/ 6 h 71"/>
                <a:gd name="T12" fmla="*/ 0 w 80"/>
                <a:gd name="T13" fmla="*/ 0 h 71"/>
                <a:gd name="T14" fmla="*/ 5 w 80"/>
                <a:gd name="T15" fmla="*/ 1 h 71"/>
                <a:gd name="T16" fmla="*/ 10 w 80"/>
                <a:gd name="T17" fmla="*/ 2 h 71"/>
                <a:gd name="T18" fmla="*/ 16 w 80"/>
                <a:gd name="T19" fmla="*/ 4 h 71"/>
                <a:gd name="T20" fmla="*/ 32 w 80"/>
                <a:gd name="T21" fmla="*/ 12 h 71"/>
                <a:gd name="T22" fmla="*/ 50 w 80"/>
                <a:gd name="T23" fmla="*/ 25 h 71"/>
                <a:gd name="T24" fmla="*/ 64 w 80"/>
                <a:gd name="T25" fmla="*/ 41 h 71"/>
                <a:gd name="T26" fmla="*/ 74 w 80"/>
                <a:gd name="T27" fmla="*/ 56 h 71"/>
                <a:gd name="T28" fmla="*/ 76 w 80"/>
                <a:gd name="T29" fmla="*/ 62 h 71"/>
                <a:gd name="T30" fmla="*/ 78 w 80"/>
                <a:gd name="T31" fmla="*/ 67 h 71"/>
                <a:gd name="T32" fmla="*/ 79 w 80"/>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1">
                  <a:moveTo>
                    <a:pt x="79" y="71"/>
                  </a:moveTo>
                  <a:cubicBezTo>
                    <a:pt x="79" y="71"/>
                    <a:pt x="77" y="65"/>
                    <a:pt x="72" y="57"/>
                  </a:cubicBezTo>
                  <a:cubicBezTo>
                    <a:pt x="70" y="52"/>
                    <a:pt x="67" y="47"/>
                    <a:pt x="63" y="42"/>
                  </a:cubicBezTo>
                  <a:cubicBezTo>
                    <a:pt x="59" y="37"/>
                    <a:pt x="54" y="31"/>
                    <a:pt x="48" y="26"/>
                  </a:cubicBezTo>
                  <a:cubicBezTo>
                    <a:pt x="43" y="21"/>
                    <a:pt x="37" y="17"/>
                    <a:pt x="31" y="13"/>
                  </a:cubicBezTo>
                  <a:cubicBezTo>
                    <a:pt x="25" y="10"/>
                    <a:pt x="20" y="7"/>
                    <a:pt x="15" y="6"/>
                  </a:cubicBezTo>
                  <a:cubicBezTo>
                    <a:pt x="6" y="2"/>
                    <a:pt x="0" y="0"/>
                    <a:pt x="0" y="0"/>
                  </a:cubicBezTo>
                  <a:cubicBezTo>
                    <a:pt x="0" y="0"/>
                    <a:pt x="2" y="0"/>
                    <a:pt x="5" y="1"/>
                  </a:cubicBezTo>
                  <a:cubicBezTo>
                    <a:pt x="6" y="1"/>
                    <a:pt x="8" y="1"/>
                    <a:pt x="10" y="2"/>
                  </a:cubicBezTo>
                  <a:cubicBezTo>
                    <a:pt x="11" y="3"/>
                    <a:pt x="14" y="3"/>
                    <a:pt x="16" y="4"/>
                  </a:cubicBezTo>
                  <a:cubicBezTo>
                    <a:pt x="21" y="6"/>
                    <a:pt x="26" y="8"/>
                    <a:pt x="32" y="12"/>
                  </a:cubicBezTo>
                  <a:cubicBezTo>
                    <a:pt x="38" y="15"/>
                    <a:pt x="44" y="20"/>
                    <a:pt x="50" y="25"/>
                  </a:cubicBezTo>
                  <a:cubicBezTo>
                    <a:pt x="55" y="30"/>
                    <a:pt x="60" y="35"/>
                    <a:pt x="64" y="41"/>
                  </a:cubicBezTo>
                  <a:cubicBezTo>
                    <a:pt x="68" y="46"/>
                    <a:pt x="71" y="51"/>
                    <a:pt x="74" y="56"/>
                  </a:cubicBezTo>
                  <a:cubicBezTo>
                    <a:pt x="75" y="58"/>
                    <a:pt x="76" y="60"/>
                    <a:pt x="76" y="62"/>
                  </a:cubicBezTo>
                  <a:cubicBezTo>
                    <a:pt x="77" y="64"/>
                    <a:pt x="78" y="66"/>
                    <a:pt x="78" y="67"/>
                  </a:cubicBezTo>
                  <a:cubicBezTo>
                    <a:pt x="79" y="70"/>
                    <a:pt x="80" y="71"/>
                    <a:pt x="79" y="71"/>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90">
              <a:extLst>
                <a:ext uri="{FF2B5EF4-FFF2-40B4-BE49-F238E27FC236}">
                  <a16:creationId xmlns:a16="http://schemas.microsoft.com/office/drawing/2014/main" id="{D8406FD2-E673-40B5-BA0C-FD0B0FCCD239}"/>
                </a:ext>
              </a:extLst>
            </p:cNvPr>
            <p:cNvSpPr>
              <a:spLocks/>
            </p:cNvSpPr>
            <p:nvPr/>
          </p:nvSpPr>
          <p:spPr bwMode="auto">
            <a:xfrm>
              <a:off x="4392" y="3829"/>
              <a:ext cx="133" cy="74"/>
            </a:xfrm>
            <a:custGeom>
              <a:avLst/>
              <a:gdLst>
                <a:gd name="T0" fmla="*/ 55 w 56"/>
                <a:gd name="T1" fmla="*/ 1 h 31"/>
                <a:gd name="T2" fmla="*/ 49 w 56"/>
                <a:gd name="T3" fmla="*/ 8 h 31"/>
                <a:gd name="T4" fmla="*/ 31 w 56"/>
                <a:gd name="T5" fmla="*/ 21 h 31"/>
                <a:gd name="T6" fmla="*/ 10 w 56"/>
                <a:gd name="T7" fmla="*/ 29 h 31"/>
                <a:gd name="T8" fmla="*/ 0 w 56"/>
                <a:gd name="T9" fmla="*/ 30 h 31"/>
                <a:gd name="T10" fmla="*/ 30 w 56"/>
                <a:gd name="T11" fmla="*/ 19 h 31"/>
                <a:gd name="T12" fmla="*/ 48 w 56"/>
                <a:gd name="T13" fmla="*/ 6 h 31"/>
                <a:gd name="T14" fmla="*/ 55 w 56"/>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1">
                  <a:moveTo>
                    <a:pt x="55" y="1"/>
                  </a:moveTo>
                  <a:cubicBezTo>
                    <a:pt x="56" y="1"/>
                    <a:pt x="53" y="4"/>
                    <a:pt x="49" y="8"/>
                  </a:cubicBezTo>
                  <a:cubicBezTo>
                    <a:pt x="45" y="11"/>
                    <a:pt x="39" y="17"/>
                    <a:pt x="31" y="21"/>
                  </a:cubicBezTo>
                  <a:cubicBezTo>
                    <a:pt x="23" y="26"/>
                    <a:pt x="15" y="28"/>
                    <a:pt x="10" y="29"/>
                  </a:cubicBezTo>
                  <a:cubicBezTo>
                    <a:pt x="4" y="31"/>
                    <a:pt x="0" y="31"/>
                    <a:pt x="0" y="30"/>
                  </a:cubicBezTo>
                  <a:cubicBezTo>
                    <a:pt x="0" y="30"/>
                    <a:pt x="15" y="28"/>
                    <a:pt x="30" y="19"/>
                  </a:cubicBezTo>
                  <a:cubicBezTo>
                    <a:pt x="37" y="15"/>
                    <a:pt x="44" y="10"/>
                    <a:pt x="48" y="6"/>
                  </a:cubicBezTo>
                  <a:cubicBezTo>
                    <a:pt x="52" y="3"/>
                    <a:pt x="55" y="0"/>
                    <a:pt x="55" y="1"/>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91">
              <a:extLst>
                <a:ext uri="{FF2B5EF4-FFF2-40B4-BE49-F238E27FC236}">
                  <a16:creationId xmlns:a16="http://schemas.microsoft.com/office/drawing/2014/main" id="{869DC386-0514-49A5-B027-750EC2677582}"/>
                </a:ext>
              </a:extLst>
            </p:cNvPr>
            <p:cNvSpPr>
              <a:spLocks/>
            </p:cNvSpPr>
            <p:nvPr/>
          </p:nvSpPr>
          <p:spPr bwMode="auto">
            <a:xfrm>
              <a:off x="2308" y="2414"/>
              <a:ext cx="1023" cy="1707"/>
            </a:xfrm>
            <a:custGeom>
              <a:avLst/>
              <a:gdLst>
                <a:gd name="T0" fmla="*/ 73 w 431"/>
                <a:gd name="T1" fmla="*/ 502 h 719"/>
                <a:gd name="T2" fmla="*/ 3 w 431"/>
                <a:gd name="T3" fmla="*/ 709 h 719"/>
                <a:gd name="T4" fmla="*/ 0 w 431"/>
                <a:gd name="T5" fmla="*/ 718 h 719"/>
                <a:gd name="T6" fmla="*/ 431 w 431"/>
                <a:gd name="T7" fmla="*/ 719 h 719"/>
                <a:gd name="T8" fmla="*/ 426 w 431"/>
                <a:gd name="T9" fmla="*/ 318 h 719"/>
                <a:gd name="T10" fmla="*/ 426 w 431"/>
                <a:gd name="T11" fmla="*/ 317 h 719"/>
                <a:gd name="T12" fmla="*/ 390 w 431"/>
                <a:gd name="T13" fmla="*/ 30 h 719"/>
                <a:gd name="T14" fmla="*/ 384 w 431"/>
                <a:gd name="T15" fmla="*/ 24 h 719"/>
                <a:gd name="T16" fmla="*/ 259 w 431"/>
                <a:gd name="T17" fmla="*/ 2 h 719"/>
                <a:gd name="T18" fmla="*/ 124 w 431"/>
                <a:gd name="T19" fmla="*/ 11 h 719"/>
                <a:gd name="T20" fmla="*/ 13 w 431"/>
                <a:gd name="T21" fmla="*/ 32 h 719"/>
                <a:gd name="T22" fmla="*/ 8 w 431"/>
                <a:gd name="T23" fmla="*/ 40 h 719"/>
                <a:gd name="T24" fmla="*/ 73 w 431"/>
                <a:gd name="T25" fmla="*/ 50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1" h="719">
                  <a:moveTo>
                    <a:pt x="73" y="502"/>
                  </a:moveTo>
                  <a:cubicBezTo>
                    <a:pt x="80" y="502"/>
                    <a:pt x="18" y="667"/>
                    <a:pt x="3" y="709"/>
                  </a:cubicBezTo>
                  <a:cubicBezTo>
                    <a:pt x="1" y="714"/>
                    <a:pt x="0" y="718"/>
                    <a:pt x="0" y="718"/>
                  </a:cubicBezTo>
                  <a:cubicBezTo>
                    <a:pt x="431" y="719"/>
                    <a:pt x="431" y="719"/>
                    <a:pt x="431" y="719"/>
                  </a:cubicBezTo>
                  <a:cubicBezTo>
                    <a:pt x="426" y="318"/>
                    <a:pt x="426" y="318"/>
                    <a:pt x="426" y="318"/>
                  </a:cubicBezTo>
                  <a:cubicBezTo>
                    <a:pt x="426" y="317"/>
                    <a:pt x="426" y="317"/>
                    <a:pt x="426" y="317"/>
                  </a:cubicBezTo>
                  <a:cubicBezTo>
                    <a:pt x="390" y="30"/>
                    <a:pt x="390" y="30"/>
                    <a:pt x="390" y="30"/>
                  </a:cubicBezTo>
                  <a:cubicBezTo>
                    <a:pt x="389" y="27"/>
                    <a:pt x="387" y="25"/>
                    <a:pt x="384" y="24"/>
                  </a:cubicBezTo>
                  <a:cubicBezTo>
                    <a:pt x="367" y="19"/>
                    <a:pt x="306" y="3"/>
                    <a:pt x="259" y="2"/>
                  </a:cubicBezTo>
                  <a:cubicBezTo>
                    <a:pt x="204" y="0"/>
                    <a:pt x="124" y="11"/>
                    <a:pt x="124" y="11"/>
                  </a:cubicBezTo>
                  <a:cubicBezTo>
                    <a:pt x="124" y="11"/>
                    <a:pt x="52" y="18"/>
                    <a:pt x="13" y="32"/>
                  </a:cubicBezTo>
                  <a:cubicBezTo>
                    <a:pt x="10" y="33"/>
                    <a:pt x="8" y="36"/>
                    <a:pt x="8" y="40"/>
                  </a:cubicBezTo>
                  <a:cubicBezTo>
                    <a:pt x="73" y="502"/>
                    <a:pt x="73" y="502"/>
                    <a:pt x="73" y="502"/>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2">
              <a:extLst>
                <a:ext uri="{FF2B5EF4-FFF2-40B4-BE49-F238E27FC236}">
                  <a16:creationId xmlns:a16="http://schemas.microsoft.com/office/drawing/2014/main" id="{7880E3B7-57EA-43D1-AA62-121D03D6E05F}"/>
                </a:ext>
              </a:extLst>
            </p:cNvPr>
            <p:cNvSpPr>
              <a:spLocks/>
            </p:cNvSpPr>
            <p:nvPr/>
          </p:nvSpPr>
          <p:spPr bwMode="auto">
            <a:xfrm>
              <a:off x="2683" y="3183"/>
              <a:ext cx="270" cy="176"/>
            </a:xfrm>
            <a:custGeom>
              <a:avLst/>
              <a:gdLst>
                <a:gd name="T0" fmla="*/ 114 w 114"/>
                <a:gd name="T1" fmla="*/ 0 h 74"/>
                <a:gd name="T2" fmla="*/ 112 w 114"/>
                <a:gd name="T3" fmla="*/ 5 h 74"/>
                <a:gd name="T4" fmla="*/ 109 w 114"/>
                <a:gd name="T5" fmla="*/ 11 h 74"/>
                <a:gd name="T6" fmla="*/ 104 w 114"/>
                <a:gd name="T7" fmla="*/ 18 h 74"/>
                <a:gd name="T8" fmla="*/ 98 w 114"/>
                <a:gd name="T9" fmla="*/ 27 h 74"/>
                <a:gd name="T10" fmla="*/ 90 w 114"/>
                <a:gd name="T11" fmla="*/ 36 h 74"/>
                <a:gd name="T12" fmla="*/ 68 w 114"/>
                <a:gd name="T13" fmla="*/ 54 h 74"/>
                <a:gd name="T14" fmla="*/ 43 w 114"/>
                <a:gd name="T15" fmla="*/ 67 h 74"/>
                <a:gd name="T16" fmla="*/ 32 w 114"/>
                <a:gd name="T17" fmla="*/ 70 h 74"/>
                <a:gd name="T18" fmla="*/ 21 w 114"/>
                <a:gd name="T19" fmla="*/ 73 h 74"/>
                <a:gd name="T20" fmla="*/ 13 w 114"/>
                <a:gd name="T21" fmla="*/ 74 h 74"/>
                <a:gd name="T22" fmla="*/ 6 w 114"/>
                <a:gd name="T23" fmla="*/ 74 h 74"/>
                <a:gd name="T24" fmla="*/ 0 w 114"/>
                <a:gd name="T25" fmla="*/ 74 h 74"/>
                <a:gd name="T26" fmla="*/ 21 w 114"/>
                <a:gd name="T27" fmla="*/ 71 h 74"/>
                <a:gd name="T28" fmla="*/ 31 w 114"/>
                <a:gd name="T29" fmla="*/ 69 h 74"/>
                <a:gd name="T30" fmla="*/ 43 w 114"/>
                <a:gd name="T31" fmla="*/ 65 h 74"/>
                <a:gd name="T32" fmla="*/ 67 w 114"/>
                <a:gd name="T33" fmla="*/ 52 h 74"/>
                <a:gd name="T34" fmla="*/ 89 w 114"/>
                <a:gd name="T35" fmla="*/ 35 h 74"/>
                <a:gd name="T36" fmla="*/ 97 w 114"/>
                <a:gd name="T37" fmla="*/ 26 h 74"/>
                <a:gd name="T38" fmla="*/ 103 w 114"/>
                <a:gd name="T39" fmla="*/ 18 h 74"/>
                <a:gd name="T40" fmla="*/ 114 w 114"/>
                <a:gd name="T4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74">
                  <a:moveTo>
                    <a:pt x="114" y="0"/>
                  </a:moveTo>
                  <a:cubicBezTo>
                    <a:pt x="114" y="0"/>
                    <a:pt x="113" y="2"/>
                    <a:pt x="112" y="5"/>
                  </a:cubicBezTo>
                  <a:cubicBezTo>
                    <a:pt x="111" y="7"/>
                    <a:pt x="110" y="9"/>
                    <a:pt x="109" y="11"/>
                  </a:cubicBezTo>
                  <a:cubicBezTo>
                    <a:pt x="108" y="13"/>
                    <a:pt x="106" y="16"/>
                    <a:pt x="104" y="18"/>
                  </a:cubicBezTo>
                  <a:cubicBezTo>
                    <a:pt x="102" y="21"/>
                    <a:pt x="100" y="24"/>
                    <a:pt x="98" y="27"/>
                  </a:cubicBezTo>
                  <a:cubicBezTo>
                    <a:pt x="96" y="30"/>
                    <a:pt x="93" y="33"/>
                    <a:pt x="90" y="36"/>
                  </a:cubicBezTo>
                  <a:cubicBezTo>
                    <a:pt x="84" y="42"/>
                    <a:pt x="77" y="48"/>
                    <a:pt x="68" y="54"/>
                  </a:cubicBezTo>
                  <a:cubicBezTo>
                    <a:pt x="60" y="59"/>
                    <a:pt x="51" y="64"/>
                    <a:pt x="43" y="67"/>
                  </a:cubicBezTo>
                  <a:cubicBezTo>
                    <a:pt x="39" y="68"/>
                    <a:pt x="35" y="70"/>
                    <a:pt x="32" y="70"/>
                  </a:cubicBezTo>
                  <a:cubicBezTo>
                    <a:pt x="28" y="71"/>
                    <a:pt x="24" y="72"/>
                    <a:pt x="21" y="73"/>
                  </a:cubicBezTo>
                  <a:cubicBezTo>
                    <a:pt x="18" y="73"/>
                    <a:pt x="15" y="74"/>
                    <a:pt x="13" y="74"/>
                  </a:cubicBezTo>
                  <a:cubicBezTo>
                    <a:pt x="10" y="74"/>
                    <a:pt x="8" y="74"/>
                    <a:pt x="6" y="74"/>
                  </a:cubicBezTo>
                  <a:cubicBezTo>
                    <a:pt x="2" y="74"/>
                    <a:pt x="0" y="74"/>
                    <a:pt x="0" y="74"/>
                  </a:cubicBezTo>
                  <a:cubicBezTo>
                    <a:pt x="0" y="74"/>
                    <a:pt x="8" y="74"/>
                    <a:pt x="21" y="71"/>
                  </a:cubicBezTo>
                  <a:cubicBezTo>
                    <a:pt x="24" y="71"/>
                    <a:pt x="28" y="70"/>
                    <a:pt x="31" y="69"/>
                  </a:cubicBezTo>
                  <a:cubicBezTo>
                    <a:pt x="35" y="68"/>
                    <a:pt x="39" y="66"/>
                    <a:pt x="43" y="65"/>
                  </a:cubicBezTo>
                  <a:cubicBezTo>
                    <a:pt x="50" y="62"/>
                    <a:pt x="59" y="58"/>
                    <a:pt x="67" y="52"/>
                  </a:cubicBezTo>
                  <a:cubicBezTo>
                    <a:pt x="75" y="47"/>
                    <a:pt x="82" y="41"/>
                    <a:pt x="89" y="35"/>
                  </a:cubicBezTo>
                  <a:cubicBezTo>
                    <a:pt x="91" y="32"/>
                    <a:pt x="94" y="29"/>
                    <a:pt x="97" y="26"/>
                  </a:cubicBezTo>
                  <a:cubicBezTo>
                    <a:pt x="99" y="23"/>
                    <a:pt x="101" y="20"/>
                    <a:pt x="103" y="18"/>
                  </a:cubicBezTo>
                  <a:cubicBezTo>
                    <a:pt x="110" y="7"/>
                    <a:pt x="114" y="0"/>
                    <a:pt x="11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93">
              <a:extLst>
                <a:ext uri="{FF2B5EF4-FFF2-40B4-BE49-F238E27FC236}">
                  <a16:creationId xmlns:a16="http://schemas.microsoft.com/office/drawing/2014/main" id="{4D2CCCB5-C0A8-458E-AA00-27A6472DE962}"/>
                </a:ext>
              </a:extLst>
            </p:cNvPr>
            <p:cNvSpPr>
              <a:spLocks/>
            </p:cNvSpPr>
            <p:nvPr/>
          </p:nvSpPr>
          <p:spPr bwMode="auto">
            <a:xfrm>
              <a:off x="2341" y="3922"/>
              <a:ext cx="38" cy="102"/>
            </a:xfrm>
            <a:custGeom>
              <a:avLst/>
              <a:gdLst>
                <a:gd name="T0" fmla="*/ 15 w 16"/>
                <a:gd name="T1" fmla="*/ 0 h 43"/>
                <a:gd name="T2" fmla="*/ 0 w 16"/>
                <a:gd name="T3" fmla="*/ 43 h 43"/>
                <a:gd name="T4" fmla="*/ 16 w 16"/>
                <a:gd name="T5" fmla="*/ 0 h 43"/>
                <a:gd name="T6" fmla="*/ 15 w 16"/>
                <a:gd name="T7" fmla="*/ 0 h 43"/>
              </a:gdLst>
              <a:ahLst/>
              <a:cxnLst>
                <a:cxn ang="0">
                  <a:pos x="T0" y="T1"/>
                </a:cxn>
                <a:cxn ang="0">
                  <a:pos x="T2" y="T3"/>
                </a:cxn>
                <a:cxn ang="0">
                  <a:pos x="T4" y="T5"/>
                </a:cxn>
                <a:cxn ang="0">
                  <a:pos x="T6" y="T7"/>
                </a:cxn>
              </a:cxnLst>
              <a:rect l="0" t="0" r="r" b="b"/>
              <a:pathLst>
                <a:path w="16" h="43">
                  <a:moveTo>
                    <a:pt x="15" y="0"/>
                  </a:moveTo>
                  <a:cubicBezTo>
                    <a:pt x="0" y="43"/>
                    <a:pt x="0" y="43"/>
                    <a:pt x="0" y="43"/>
                  </a:cubicBezTo>
                  <a:cubicBezTo>
                    <a:pt x="5" y="30"/>
                    <a:pt x="10" y="16"/>
                    <a:pt x="16" y="0"/>
                  </a:cubicBezTo>
                  <a:cubicBezTo>
                    <a:pt x="16" y="0"/>
                    <a:pt x="15" y="0"/>
                    <a:pt x="15"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4">
              <a:extLst>
                <a:ext uri="{FF2B5EF4-FFF2-40B4-BE49-F238E27FC236}">
                  <a16:creationId xmlns:a16="http://schemas.microsoft.com/office/drawing/2014/main" id="{967AF12E-974B-44BC-826B-74B5CE8826FC}"/>
                </a:ext>
              </a:extLst>
            </p:cNvPr>
            <p:cNvSpPr>
              <a:spLocks/>
            </p:cNvSpPr>
            <p:nvPr/>
          </p:nvSpPr>
          <p:spPr bwMode="auto">
            <a:xfrm>
              <a:off x="2341" y="3732"/>
              <a:ext cx="892" cy="316"/>
            </a:xfrm>
            <a:custGeom>
              <a:avLst/>
              <a:gdLst>
                <a:gd name="T0" fmla="*/ 354 w 376"/>
                <a:gd name="T1" fmla="*/ 0 h 133"/>
                <a:gd name="T2" fmla="*/ 351 w 376"/>
                <a:gd name="T3" fmla="*/ 0 h 133"/>
                <a:gd name="T4" fmla="*/ 133 w 376"/>
                <a:gd name="T5" fmla="*/ 18 h 133"/>
                <a:gd name="T6" fmla="*/ 133 w 376"/>
                <a:gd name="T7" fmla="*/ 20 h 133"/>
                <a:gd name="T8" fmla="*/ 136 w 376"/>
                <a:gd name="T9" fmla="*/ 46 h 133"/>
                <a:gd name="T10" fmla="*/ 136 w 376"/>
                <a:gd name="T11" fmla="*/ 53 h 133"/>
                <a:gd name="T12" fmla="*/ 136 w 376"/>
                <a:gd name="T13" fmla="*/ 56 h 133"/>
                <a:gd name="T14" fmla="*/ 136 w 376"/>
                <a:gd name="T15" fmla="*/ 56 h 133"/>
                <a:gd name="T16" fmla="*/ 23 w 376"/>
                <a:gd name="T17" fmla="*/ 80 h 133"/>
                <a:gd name="T18" fmla="*/ 16 w 376"/>
                <a:gd name="T19" fmla="*/ 80 h 133"/>
                <a:gd name="T20" fmla="*/ 0 w 376"/>
                <a:gd name="T21" fmla="*/ 123 h 133"/>
                <a:gd name="T22" fmla="*/ 0 w 376"/>
                <a:gd name="T23" fmla="*/ 123 h 133"/>
                <a:gd name="T24" fmla="*/ 48 w 376"/>
                <a:gd name="T25" fmla="*/ 133 h 133"/>
                <a:gd name="T26" fmla="*/ 124 w 376"/>
                <a:gd name="T27" fmla="*/ 108 h 133"/>
                <a:gd name="T28" fmla="*/ 135 w 376"/>
                <a:gd name="T29" fmla="*/ 99 h 133"/>
                <a:gd name="T30" fmla="*/ 138 w 376"/>
                <a:gd name="T31" fmla="*/ 82 h 133"/>
                <a:gd name="T32" fmla="*/ 138 w 376"/>
                <a:gd name="T33" fmla="*/ 82 h 133"/>
                <a:gd name="T34" fmla="*/ 139 w 376"/>
                <a:gd name="T35" fmla="*/ 95 h 133"/>
                <a:gd name="T36" fmla="*/ 169 w 376"/>
                <a:gd name="T37" fmla="*/ 72 h 133"/>
                <a:gd name="T38" fmla="*/ 211 w 376"/>
                <a:gd name="T39" fmla="*/ 59 h 133"/>
                <a:gd name="T40" fmla="*/ 201 w 376"/>
                <a:gd name="T41" fmla="*/ 38 h 133"/>
                <a:gd name="T42" fmla="*/ 201 w 376"/>
                <a:gd name="T43" fmla="*/ 38 h 133"/>
                <a:gd name="T44" fmla="*/ 216 w 376"/>
                <a:gd name="T45" fmla="*/ 59 h 133"/>
                <a:gd name="T46" fmla="*/ 247 w 376"/>
                <a:gd name="T47" fmla="*/ 56 h 133"/>
                <a:gd name="T48" fmla="*/ 352 w 376"/>
                <a:gd name="T49" fmla="*/ 37 h 133"/>
                <a:gd name="T50" fmla="*/ 370 w 376"/>
                <a:gd name="T51" fmla="*/ 26 h 133"/>
                <a:gd name="T52" fmla="*/ 372 w 376"/>
                <a:gd name="T53" fmla="*/ 6 h 133"/>
                <a:gd name="T54" fmla="*/ 354 w 376"/>
                <a:gd name="T5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6" h="133">
                  <a:moveTo>
                    <a:pt x="354" y="0"/>
                  </a:moveTo>
                  <a:cubicBezTo>
                    <a:pt x="353" y="0"/>
                    <a:pt x="352" y="0"/>
                    <a:pt x="351" y="0"/>
                  </a:cubicBezTo>
                  <a:cubicBezTo>
                    <a:pt x="276" y="2"/>
                    <a:pt x="205" y="7"/>
                    <a:pt x="133" y="18"/>
                  </a:cubicBezTo>
                  <a:cubicBezTo>
                    <a:pt x="133" y="19"/>
                    <a:pt x="133" y="19"/>
                    <a:pt x="133" y="20"/>
                  </a:cubicBezTo>
                  <a:cubicBezTo>
                    <a:pt x="134" y="31"/>
                    <a:pt x="135" y="40"/>
                    <a:pt x="136" y="46"/>
                  </a:cubicBezTo>
                  <a:cubicBezTo>
                    <a:pt x="136" y="49"/>
                    <a:pt x="136" y="51"/>
                    <a:pt x="136" y="53"/>
                  </a:cubicBezTo>
                  <a:cubicBezTo>
                    <a:pt x="136" y="55"/>
                    <a:pt x="136" y="56"/>
                    <a:pt x="136" y="56"/>
                  </a:cubicBezTo>
                  <a:cubicBezTo>
                    <a:pt x="136" y="56"/>
                    <a:pt x="136" y="56"/>
                    <a:pt x="136" y="56"/>
                  </a:cubicBezTo>
                  <a:cubicBezTo>
                    <a:pt x="136" y="56"/>
                    <a:pt x="85" y="80"/>
                    <a:pt x="23" y="80"/>
                  </a:cubicBezTo>
                  <a:cubicBezTo>
                    <a:pt x="20" y="80"/>
                    <a:pt x="18" y="80"/>
                    <a:pt x="16" y="80"/>
                  </a:cubicBezTo>
                  <a:cubicBezTo>
                    <a:pt x="10" y="96"/>
                    <a:pt x="5" y="110"/>
                    <a:pt x="0" y="123"/>
                  </a:cubicBezTo>
                  <a:cubicBezTo>
                    <a:pt x="0" y="123"/>
                    <a:pt x="0" y="123"/>
                    <a:pt x="0" y="123"/>
                  </a:cubicBezTo>
                  <a:cubicBezTo>
                    <a:pt x="15" y="130"/>
                    <a:pt x="32" y="133"/>
                    <a:pt x="48" y="133"/>
                  </a:cubicBezTo>
                  <a:cubicBezTo>
                    <a:pt x="75" y="133"/>
                    <a:pt x="101" y="124"/>
                    <a:pt x="124" y="108"/>
                  </a:cubicBezTo>
                  <a:cubicBezTo>
                    <a:pt x="128" y="105"/>
                    <a:pt x="131" y="102"/>
                    <a:pt x="135" y="99"/>
                  </a:cubicBezTo>
                  <a:cubicBezTo>
                    <a:pt x="136" y="90"/>
                    <a:pt x="137" y="82"/>
                    <a:pt x="138" y="82"/>
                  </a:cubicBezTo>
                  <a:cubicBezTo>
                    <a:pt x="138" y="82"/>
                    <a:pt x="138" y="82"/>
                    <a:pt x="138" y="82"/>
                  </a:cubicBezTo>
                  <a:cubicBezTo>
                    <a:pt x="139" y="82"/>
                    <a:pt x="140" y="88"/>
                    <a:pt x="139" y="95"/>
                  </a:cubicBezTo>
                  <a:cubicBezTo>
                    <a:pt x="149" y="87"/>
                    <a:pt x="158" y="78"/>
                    <a:pt x="169" y="72"/>
                  </a:cubicBezTo>
                  <a:cubicBezTo>
                    <a:pt x="182" y="65"/>
                    <a:pt x="197" y="61"/>
                    <a:pt x="211" y="59"/>
                  </a:cubicBezTo>
                  <a:cubicBezTo>
                    <a:pt x="205" y="47"/>
                    <a:pt x="200" y="38"/>
                    <a:pt x="201" y="38"/>
                  </a:cubicBezTo>
                  <a:cubicBezTo>
                    <a:pt x="201" y="38"/>
                    <a:pt x="201" y="38"/>
                    <a:pt x="201" y="38"/>
                  </a:cubicBezTo>
                  <a:cubicBezTo>
                    <a:pt x="203" y="38"/>
                    <a:pt x="209" y="47"/>
                    <a:pt x="216" y="59"/>
                  </a:cubicBezTo>
                  <a:cubicBezTo>
                    <a:pt x="226" y="58"/>
                    <a:pt x="237" y="57"/>
                    <a:pt x="247" y="56"/>
                  </a:cubicBezTo>
                  <a:cubicBezTo>
                    <a:pt x="282" y="54"/>
                    <a:pt x="318" y="49"/>
                    <a:pt x="352" y="37"/>
                  </a:cubicBezTo>
                  <a:cubicBezTo>
                    <a:pt x="359" y="34"/>
                    <a:pt x="366" y="31"/>
                    <a:pt x="370" y="26"/>
                  </a:cubicBezTo>
                  <a:cubicBezTo>
                    <a:pt x="375" y="20"/>
                    <a:pt x="376" y="11"/>
                    <a:pt x="372" y="6"/>
                  </a:cubicBezTo>
                  <a:cubicBezTo>
                    <a:pt x="368" y="1"/>
                    <a:pt x="361" y="0"/>
                    <a:pt x="354"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5">
              <a:extLst>
                <a:ext uri="{FF2B5EF4-FFF2-40B4-BE49-F238E27FC236}">
                  <a16:creationId xmlns:a16="http://schemas.microsoft.com/office/drawing/2014/main" id="{891D4869-B55F-44D9-A6A1-DD237CC9EB40}"/>
                </a:ext>
              </a:extLst>
            </p:cNvPr>
            <p:cNvSpPr>
              <a:spLocks/>
            </p:cNvSpPr>
            <p:nvPr/>
          </p:nvSpPr>
          <p:spPr bwMode="auto">
            <a:xfrm>
              <a:off x="2626" y="1305"/>
              <a:ext cx="835" cy="1024"/>
            </a:xfrm>
            <a:custGeom>
              <a:avLst/>
              <a:gdLst>
                <a:gd name="T0" fmla="*/ 0 w 352"/>
                <a:gd name="T1" fmla="*/ 56 h 431"/>
                <a:gd name="T2" fmla="*/ 134 w 352"/>
                <a:gd name="T3" fmla="*/ 20 h 431"/>
                <a:gd name="T4" fmla="*/ 212 w 352"/>
                <a:gd name="T5" fmla="*/ 81 h 431"/>
                <a:gd name="T6" fmla="*/ 265 w 352"/>
                <a:gd name="T7" fmla="*/ 128 h 431"/>
                <a:gd name="T8" fmla="*/ 268 w 352"/>
                <a:gd name="T9" fmla="*/ 191 h 431"/>
                <a:gd name="T10" fmla="*/ 283 w 352"/>
                <a:gd name="T11" fmla="*/ 250 h 431"/>
                <a:gd name="T12" fmla="*/ 313 w 352"/>
                <a:gd name="T13" fmla="*/ 266 h 431"/>
                <a:gd name="T14" fmla="*/ 348 w 352"/>
                <a:gd name="T15" fmla="*/ 321 h 431"/>
                <a:gd name="T16" fmla="*/ 348 w 352"/>
                <a:gd name="T17" fmla="*/ 388 h 431"/>
                <a:gd name="T18" fmla="*/ 255 w 352"/>
                <a:gd name="T19" fmla="*/ 405 h 431"/>
                <a:gd name="T20" fmla="*/ 240 w 352"/>
                <a:gd name="T21" fmla="*/ 380 h 431"/>
                <a:gd name="T22" fmla="*/ 234 w 352"/>
                <a:gd name="T23" fmla="*/ 420 h 431"/>
                <a:gd name="T24" fmla="*/ 116 w 352"/>
                <a:gd name="T25" fmla="*/ 431 h 431"/>
                <a:gd name="T26" fmla="*/ 0 w 352"/>
                <a:gd name="T27" fmla="*/ 5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2" h="431">
                  <a:moveTo>
                    <a:pt x="0" y="56"/>
                  </a:moveTo>
                  <a:cubicBezTo>
                    <a:pt x="35" y="21"/>
                    <a:pt x="89" y="0"/>
                    <a:pt x="134" y="20"/>
                  </a:cubicBezTo>
                  <a:cubicBezTo>
                    <a:pt x="165" y="33"/>
                    <a:pt x="185" y="61"/>
                    <a:pt x="212" y="81"/>
                  </a:cubicBezTo>
                  <a:cubicBezTo>
                    <a:pt x="231" y="95"/>
                    <a:pt x="255" y="106"/>
                    <a:pt x="265" y="128"/>
                  </a:cubicBezTo>
                  <a:cubicBezTo>
                    <a:pt x="274" y="148"/>
                    <a:pt x="270" y="170"/>
                    <a:pt x="268" y="191"/>
                  </a:cubicBezTo>
                  <a:cubicBezTo>
                    <a:pt x="266" y="212"/>
                    <a:pt x="267" y="237"/>
                    <a:pt x="283" y="250"/>
                  </a:cubicBezTo>
                  <a:cubicBezTo>
                    <a:pt x="292" y="257"/>
                    <a:pt x="303" y="260"/>
                    <a:pt x="313" y="266"/>
                  </a:cubicBezTo>
                  <a:cubicBezTo>
                    <a:pt x="332" y="277"/>
                    <a:pt x="344" y="298"/>
                    <a:pt x="348" y="321"/>
                  </a:cubicBezTo>
                  <a:cubicBezTo>
                    <a:pt x="352" y="343"/>
                    <a:pt x="350" y="365"/>
                    <a:pt x="348" y="388"/>
                  </a:cubicBezTo>
                  <a:cubicBezTo>
                    <a:pt x="255" y="405"/>
                    <a:pt x="255" y="405"/>
                    <a:pt x="255" y="405"/>
                  </a:cubicBezTo>
                  <a:cubicBezTo>
                    <a:pt x="240" y="380"/>
                    <a:pt x="240" y="380"/>
                    <a:pt x="240" y="380"/>
                  </a:cubicBezTo>
                  <a:cubicBezTo>
                    <a:pt x="234" y="420"/>
                    <a:pt x="234" y="420"/>
                    <a:pt x="234" y="420"/>
                  </a:cubicBezTo>
                  <a:cubicBezTo>
                    <a:pt x="116" y="431"/>
                    <a:pt x="116" y="431"/>
                    <a:pt x="116" y="431"/>
                  </a:cubicBezTo>
                  <a:lnTo>
                    <a:pt x="0" y="56"/>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6">
              <a:extLst>
                <a:ext uri="{FF2B5EF4-FFF2-40B4-BE49-F238E27FC236}">
                  <a16:creationId xmlns:a16="http://schemas.microsoft.com/office/drawing/2014/main" id="{383F2DCF-0BD2-4217-A3E5-03A97128D893}"/>
                </a:ext>
              </a:extLst>
            </p:cNvPr>
            <p:cNvSpPr>
              <a:spLocks/>
            </p:cNvSpPr>
            <p:nvPr/>
          </p:nvSpPr>
          <p:spPr bwMode="auto">
            <a:xfrm>
              <a:off x="2571" y="1495"/>
              <a:ext cx="589" cy="1214"/>
            </a:xfrm>
            <a:custGeom>
              <a:avLst/>
              <a:gdLst>
                <a:gd name="T0" fmla="*/ 8 w 248"/>
                <a:gd name="T1" fmla="*/ 14 h 511"/>
                <a:gd name="T2" fmla="*/ 8 w 248"/>
                <a:gd name="T3" fmla="*/ 40 h 511"/>
                <a:gd name="T4" fmla="*/ 1 w 248"/>
                <a:gd name="T5" fmla="*/ 427 h 511"/>
                <a:gd name="T6" fmla="*/ 91 w 248"/>
                <a:gd name="T7" fmla="*/ 511 h 511"/>
                <a:gd name="T8" fmla="*/ 161 w 248"/>
                <a:gd name="T9" fmla="*/ 429 h 511"/>
                <a:gd name="T10" fmla="*/ 165 w 248"/>
                <a:gd name="T11" fmla="*/ 331 h 511"/>
                <a:gd name="T12" fmla="*/ 241 w 248"/>
                <a:gd name="T13" fmla="*/ 243 h 511"/>
                <a:gd name="T14" fmla="*/ 246 w 248"/>
                <a:gd name="T15" fmla="*/ 85 h 511"/>
                <a:gd name="T16" fmla="*/ 155 w 248"/>
                <a:gd name="T17" fmla="*/ 4 h 511"/>
                <a:gd name="T18" fmla="*/ 8 w 248"/>
                <a:gd name="T19" fmla="*/ 1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511">
                  <a:moveTo>
                    <a:pt x="8" y="14"/>
                  </a:moveTo>
                  <a:cubicBezTo>
                    <a:pt x="8" y="40"/>
                    <a:pt x="8" y="40"/>
                    <a:pt x="8" y="40"/>
                  </a:cubicBezTo>
                  <a:cubicBezTo>
                    <a:pt x="1" y="427"/>
                    <a:pt x="1" y="427"/>
                    <a:pt x="1" y="427"/>
                  </a:cubicBezTo>
                  <a:cubicBezTo>
                    <a:pt x="0" y="472"/>
                    <a:pt x="43" y="510"/>
                    <a:pt x="91" y="511"/>
                  </a:cubicBezTo>
                  <a:cubicBezTo>
                    <a:pt x="139" y="511"/>
                    <a:pt x="159" y="474"/>
                    <a:pt x="161" y="429"/>
                  </a:cubicBezTo>
                  <a:cubicBezTo>
                    <a:pt x="162" y="382"/>
                    <a:pt x="165" y="331"/>
                    <a:pt x="165" y="331"/>
                  </a:cubicBezTo>
                  <a:cubicBezTo>
                    <a:pt x="165" y="331"/>
                    <a:pt x="226" y="323"/>
                    <a:pt x="241" y="243"/>
                  </a:cubicBezTo>
                  <a:cubicBezTo>
                    <a:pt x="248" y="204"/>
                    <a:pt x="248" y="138"/>
                    <a:pt x="246" y="85"/>
                  </a:cubicBezTo>
                  <a:cubicBezTo>
                    <a:pt x="245" y="37"/>
                    <a:pt x="203" y="0"/>
                    <a:pt x="155" y="4"/>
                  </a:cubicBezTo>
                  <a:lnTo>
                    <a:pt x="8" y="14"/>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7">
              <a:extLst>
                <a:ext uri="{FF2B5EF4-FFF2-40B4-BE49-F238E27FC236}">
                  <a16:creationId xmlns:a16="http://schemas.microsoft.com/office/drawing/2014/main" id="{93B105D2-7AB6-4C4C-B99B-21A2F3D076C4}"/>
                </a:ext>
              </a:extLst>
            </p:cNvPr>
            <p:cNvSpPr>
              <a:spLocks/>
            </p:cNvSpPr>
            <p:nvPr/>
          </p:nvSpPr>
          <p:spPr bwMode="auto">
            <a:xfrm>
              <a:off x="3058" y="1797"/>
              <a:ext cx="47" cy="47"/>
            </a:xfrm>
            <a:custGeom>
              <a:avLst/>
              <a:gdLst>
                <a:gd name="T0" fmla="*/ 20 w 20"/>
                <a:gd name="T1" fmla="*/ 10 h 20"/>
                <a:gd name="T2" fmla="*/ 10 w 20"/>
                <a:gd name="T3" fmla="*/ 20 h 20"/>
                <a:gd name="T4" fmla="*/ 0 w 20"/>
                <a:gd name="T5" fmla="*/ 10 h 20"/>
                <a:gd name="T6" fmla="*/ 10 w 20"/>
                <a:gd name="T7" fmla="*/ 0 h 20"/>
                <a:gd name="T8" fmla="*/ 20 w 20"/>
                <a:gd name="T9" fmla="*/ 10 h 20"/>
              </a:gdLst>
              <a:ahLst/>
              <a:cxnLst>
                <a:cxn ang="0">
                  <a:pos x="T0" y="T1"/>
                </a:cxn>
                <a:cxn ang="0">
                  <a:pos x="T2" y="T3"/>
                </a:cxn>
                <a:cxn ang="0">
                  <a:pos x="T4" y="T5"/>
                </a:cxn>
                <a:cxn ang="0">
                  <a:pos x="T6" y="T7"/>
                </a:cxn>
                <a:cxn ang="0">
                  <a:pos x="T8" y="T9"/>
                </a:cxn>
              </a:cxnLst>
              <a:rect l="0" t="0" r="r" b="b"/>
              <a:pathLst>
                <a:path w="20" h="20">
                  <a:moveTo>
                    <a:pt x="20" y="10"/>
                  </a:moveTo>
                  <a:cubicBezTo>
                    <a:pt x="20" y="15"/>
                    <a:pt x="16" y="19"/>
                    <a:pt x="10" y="20"/>
                  </a:cubicBezTo>
                  <a:cubicBezTo>
                    <a:pt x="4" y="20"/>
                    <a:pt x="0" y="15"/>
                    <a:pt x="0" y="10"/>
                  </a:cubicBezTo>
                  <a:cubicBezTo>
                    <a:pt x="0" y="5"/>
                    <a:pt x="4" y="0"/>
                    <a:pt x="10" y="0"/>
                  </a:cubicBezTo>
                  <a:cubicBezTo>
                    <a:pt x="16" y="0"/>
                    <a:pt x="20" y="4"/>
                    <a:pt x="20"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8">
              <a:extLst>
                <a:ext uri="{FF2B5EF4-FFF2-40B4-BE49-F238E27FC236}">
                  <a16:creationId xmlns:a16="http://schemas.microsoft.com/office/drawing/2014/main" id="{33DFC941-087D-4E7D-BFE7-FEACE4EEAF0D}"/>
                </a:ext>
              </a:extLst>
            </p:cNvPr>
            <p:cNvSpPr>
              <a:spLocks/>
            </p:cNvSpPr>
            <p:nvPr/>
          </p:nvSpPr>
          <p:spPr bwMode="auto">
            <a:xfrm>
              <a:off x="3022" y="1749"/>
              <a:ext cx="100" cy="31"/>
            </a:xfrm>
            <a:custGeom>
              <a:avLst/>
              <a:gdLst>
                <a:gd name="T0" fmla="*/ 41 w 42"/>
                <a:gd name="T1" fmla="*/ 12 h 13"/>
                <a:gd name="T2" fmla="*/ 21 w 42"/>
                <a:gd name="T3" fmla="*/ 7 h 13"/>
                <a:gd name="T4" fmla="*/ 1 w 42"/>
                <a:gd name="T5" fmla="*/ 10 h 13"/>
                <a:gd name="T6" fmla="*/ 5 w 42"/>
                <a:gd name="T7" fmla="*/ 5 h 13"/>
                <a:gd name="T8" fmla="*/ 22 w 42"/>
                <a:gd name="T9" fmla="*/ 0 h 13"/>
                <a:gd name="T10" fmla="*/ 38 w 42"/>
                <a:gd name="T11" fmla="*/ 6 h 13"/>
                <a:gd name="T12" fmla="*/ 41 w 42"/>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42" h="13">
                  <a:moveTo>
                    <a:pt x="41" y="12"/>
                  </a:moveTo>
                  <a:cubicBezTo>
                    <a:pt x="40" y="13"/>
                    <a:pt x="32" y="7"/>
                    <a:pt x="21" y="7"/>
                  </a:cubicBezTo>
                  <a:cubicBezTo>
                    <a:pt x="10" y="6"/>
                    <a:pt x="2" y="12"/>
                    <a:pt x="1" y="10"/>
                  </a:cubicBezTo>
                  <a:cubicBezTo>
                    <a:pt x="0" y="10"/>
                    <a:pt x="2" y="7"/>
                    <a:pt x="5" y="5"/>
                  </a:cubicBezTo>
                  <a:cubicBezTo>
                    <a:pt x="9" y="2"/>
                    <a:pt x="15" y="0"/>
                    <a:pt x="22" y="0"/>
                  </a:cubicBezTo>
                  <a:cubicBezTo>
                    <a:pt x="29" y="1"/>
                    <a:pt x="34" y="3"/>
                    <a:pt x="38" y="6"/>
                  </a:cubicBezTo>
                  <a:cubicBezTo>
                    <a:pt x="41" y="9"/>
                    <a:pt x="42" y="11"/>
                    <a:pt x="41"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9">
              <a:extLst>
                <a:ext uri="{FF2B5EF4-FFF2-40B4-BE49-F238E27FC236}">
                  <a16:creationId xmlns:a16="http://schemas.microsoft.com/office/drawing/2014/main" id="{7B8EF194-177A-4F68-8238-CBD189FCEEA8}"/>
                </a:ext>
              </a:extLst>
            </p:cNvPr>
            <p:cNvSpPr>
              <a:spLocks/>
            </p:cNvSpPr>
            <p:nvPr/>
          </p:nvSpPr>
          <p:spPr bwMode="auto">
            <a:xfrm>
              <a:off x="2799" y="1797"/>
              <a:ext cx="50" cy="47"/>
            </a:xfrm>
            <a:custGeom>
              <a:avLst/>
              <a:gdLst>
                <a:gd name="T0" fmla="*/ 21 w 21"/>
                <a:gd name="T1" fmla="*/ 10 h 20"/>
                <a:gd name="T2" fmla="*/ 10 w 21"/>
                <a:gd name="T3" fmla="*/ 20 h 20"/>
                <a:gd name="T4" fmla="*/ 0 w 21"/>
                <a:gd name="T5" fmla="*/ 10 h 20"/>
                <a:gd name="T6" fmla="*/ 10 w 21"/>
                <a:gd name="T7" fmla="*/ 0 h 20"/>
                <a:gd name="T8" fmla="*/ 21 w 21"/>
                <a:gd name="T9" fmla="*/ 10 h 20"/>
              </a:gdLst>
              <a:ahLst/>
              <a:cxnLst>
                <a:cxn ang="0">
                  <a:pos x="T0" y="T1"/>
                </a:cxn>
                <a:cxn ang="0">
                  <a:pos x="T2" y="T3"/>
                </a:cxn>
                <a:cxn ang="0">
                  <a:pos x="T4" y="T5"/>
                </a:cxn>
                <a:cxn ang="0">
                  <a:pos x="T6" y="T7"/>
                </a:cxn>
                <a:cxn ang="0">
                  <a:pos x="T8" y="T9"/>
                </a:cxn>
              </a:cxnLst>
              <a:rect l="0" t="0" r="r" b="b"/>
              <a:pathLst>
                <a:path w="21" h="20">
                  <a:moveTo>
                    <a:pt x="21" y="10"/>
                  </a:moveTo>
                  <a:cubicBezTo>
                    <a:pt x="21" y="15"/>
                    <a:pt x="16" y="19"/>
                    <a:pt x="10" y="20"/>
                  </a:cubicBezTo>
                  <a:cubicBezTo>
                    <a:pt x="5" y="20"/>
                    <a:pt x="0" y="15"/>
                    <a:pt x="0" y="10"/>
                  </a:cubicBezTo>
                  <a:cubicBezTo>
                    <a:pt x="0" y="5"/>
                    <a:pt x="5" y="0"/>
                    <a:pt x="10" y="0"/>
                  </a:cubicBezTo>
                  <a:cubicBezTo>
                    <a:pt x="16" y="0"/>
                    <a:pt x="20" y="4"/>
                    <a:pt x="21"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0">
              <a:extLst>
                <a:ext uri="{FF2B5EF4-FFF2-40B4-BE49-F238E27FC236}">
                  <a16:creationId xmlns:a16="http://schemas.microsoft.com/office/drawing/2014/main" id="{9C13B42B-E6FC-4581-B065-DDF4D59F361C}"/>
                </a:ext>
              </a:extLst>
            </p:cNvPr>
            <p:cNvSpPr>
              <a:spLocks/>
            </p:cNvSpPr>
            <p:nvPr/>
          </p:nvSpPr>
          <p:spPr bwMode="auto">
            <a:xfrm>
              <a:off x="2766" y="1747"/>
              <a:ext cx="97" cy="31"/>
            </a:xfrm>
            <a:custGeom>
              <a:avLst/>
              <a:gdLst>
                <a:gd name="T0" fmla="*/ 41 w 41"/>
                <a:gd name="T1" fmla="*/ 12 h 13"/>
                <a:gd name="T2" fmla="*/ 21 w 41"/>
                <a:gd name="T3" fmla="*/ 7 h 13"/>
                <a:gd name="T4" fmla="*/ 0 w 41"/>
                <a:gd name="T5" fmla="*/ 10 h 13"/>
                <a:gd name="T6" fmla="*/ 5 w 41"/>
                <a:gd name="T7" fmla="*/ 5 h 13"/>
                <a:gd name="T8" fmla="*/ 21 w 41"/>
                <a:gd name="T9" fmla="*/ 0 h 13"/>
                <a:gd name="T10" fmla="*/ 37 w 41"/>
                <a:gd name="T11" fmla="*/ 6 h 13"/>
                <a:gd name="T12" fmla="*/ 41 w 41"/>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41" h="13">
                  <a:moveTo>
                    <a:pt x="41" y="12"/>
                  </a:moveTo>
                  <a:cubicBezTo>
                    <a:pt x="39" y="13"/>
                    <a:pt x="32" y="7"/>
                    <a:pt x="21" y="7"/>
                  </a:cubicBezTo>
                  <a:cubicBezTo>
                    <a:pt x="10" y="6"/>
                    <a:pt x="1" y="12"/>
                    <a:pt x="0" y="10"/>
                  </a:cubicBezTo>
                  <a:cubicBezTo>
                    <a:pt x="0" y="10"/>
                    <a:pt x="1" y="7"/>
                    <a:pt x="5" y="5"/>
                  </a:cubicBezTo>
                  <a:cubicBezTo>
                    <a:pt x="8" y="2"/>
                    <a:pt x="14" y="0"/>
                    <a:pt x="21" y="0"/>
                  </a:cubicBezTo>
                  <a:cubicBezTo>
                    <a:pt x="28" y="1"/>
                    <a:pt x="34" y="3"/>
                    <a:pt x="37" y="6"/>
                  </a:cubicBezTo>
                  <a:cubicBezTo>
                    <a:pt x="40" y="9"/>
                    <a:pt x="41" y="11"/>
                    <a:pt x="41"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1">
              <a:extLst>
                <a:ext uri="{FF2B5EF4-FFF2-40B4-BE49-F238E27FC236}">
                  <a16:creationId xmlns:a16="http://schemas.microsoft.com/office/drawing/2014/main" id="{3F5DB169-810E-4B5C-9903-384D32CADC50}"/>
                </a:ext>
              </a:extLst>
            </p:cNvPr>
            <p:cNvSpPr>
              <a:spLocks/>
            </p:cNvSpPr>
            <p:nvPr/>
          </p:nvSpPr>
          <p:spPr bwMode="auto">
            <a:xfrm>
              <a:off x="2944" y="1752"/>
              <a:ext cx="78" cy="220"/>
            </a:xfrm>
            <a:custGeom>
              <a:avLst/>
              <a:gdLst>
                <a:gd name="T0" fmla="*/ 4 w 33"/>
                <a:gd name="T1" fmla="*/ 93 h 93"/>
                <a:gd name="T2" fmla="*/ 22 w 33"/>
                <a:gd name="T3" fmla="*/ 90 h 93"/>
                <a:gd name="T4" fmla="*/ 28 w 33"/>
                <a:gd name="T5" fmla="*/ 87 h 93"/>
                <a:gd name="T6" fmla="*/ 26 w 33"/>
                <a:gd name="T7" fmla="*/ 79 h 93"/>
                <a:gd name="T8" fmla="*/ 18 w 33"/>
                <a:gd name="T9" fmla="*/ 57 h 93"/>
                <a:gd name="T10" fmla="*/ 1 w 33"/>
                <a:gd name="T11" fmla="*/ 1 h 93"/>
                <a:gd name="T12" fmla="*/ 23 w 33"/>
                <a:gd name="T13" fmla="*/ 56 h 93"/>
                <a:gd name="T14" fmla="*/ 30 w 33"/>
                <a:gd name="T15" fmla="*/ 77 h 93"/>
                <a:gd name="T16" fmla="*/ 31 w 33"/>
                <a:gd name="T17" fmla="*/ 89 h 93"/>
                <a:gd name="T18" fmla="*/ 26 w 33"/>
                <a:gd name="T19" fmla="*/ 93 h 93"/>
                <a:gd name="T20" fmla="*/ 22 w 33"/>
                <a:gd name="T21" fmla="*/ 93 h 93"/>
                <a:gd name="T22" fmla="*/ 4 w 33"/>
                <a:gd name="T2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93">
                  <a:moveTo>
                    <a:pt x="4" y="93"/>
                  </a:moveTo>
                  <a:cubicBezTo>
                    <a:pt x="3" y="92"/>
                    <a:pt x="10" y="91"/>
                    <a:pt x="22" y="90"/>
                  </a:cubicBezTo>
                  <a:cubicBezTo>
                    <a:pt x="24" y="90"/>
                    <a:pt x="27" y="89"/>
                    <a:pt x="28" y="87"/>
                  </a:cubicBezTo>
                  <a:cubicBezTo>
                    <a:pt x="28" y="85"/>
                    <a:pt x="27" y="82"/>
                    <a:pt x="26" y="79"/>
                  </a:cubicBezTo>
                  <a:cubicBezTo>
                    <a:pt x="23" y="72"/>
                    <a:pt x="21" y="65"/>
                    <a:pt x="18" y="57"/>
                  </a:cubicBezTo>
                  <a:cubicBezTo>
                    <a:pt x="7" y="26"/>
                    <a:pt x="0" y="1"/>
                    <a:pt x="1" y="1"/>
                  </a:cubicBezTo>
                  <a:cubicBezTo>
                    <a:pt x="2" y="0"/>
                    <a:pt x="12" y="25"/>
                    <a:pt x="23" y="56"/>
                  </a:cubicBezTo>
                  <a:cubicBezTo>
                    <a:pt x="25" y="63"/>
                    <a:pt x="28" y="71"/>
                    <a:pt x="30" y="77"/>
                  </a:cubicBezTo>
                  <a:cubicBezTo>
                    <a:pt x="31" y="81"/>
                    <a:pt x="33" y="84"/>
                    <a:pt x="31" y="89"/>
                  </a:cubicBezTo>
                  <a:cubicBezTo>
                    <a:pt x="30" y="91"/>
                    <a:pt x="28" y="92"/>
                    <a:pt x="26" y="93"/>
                  </a:cubicBezTo>
                  <a:cubicBezTo>
                    <a:pt x="25" y="93"/>
                    <a:pt x="23" y="93"/>
                    <a:pt x="22" y="93"/>
                  </a:cubicBezTo>
                  <a:cubicBezTo>
                    <a:pt x="10" y="93"/>
                    <a:pt x="4" y="93"/>
                    <a:pt x="4" y="9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2">
              <a:extLst>
                <a:ext uri="{FF2B5EF4-FFF2-40B4-BE49-F238E27FC236}">
                  <a16:creationId xmlns:a16="http://schemas.microsoft.com/office/drawing/2014/main" id="{5347D349-C3AC-44AC-AE43-07A7F75474F5}"/>
                </a:ext>
              </a:extLst>
            </p:cNvPr>
            <p:cNvSpPr>
              <a:spLocks/>
            </p:cNvSpPr>
            <p:nvPr/>
          </p:nvSpPr>
          <p:spPr bwMode="auto">
            <a:xfrm>
              <a:off x="2709" y="2207"/>
              <a:ext cx="254" cy="133"/>
            </a:xfrm>
            <a:custGeom>
              <a:avLst/>
              <a:gdLst>
                <a:gd name="T0" fmla="*/ 107 w 107"/>
                <a:gd name="T1" fmla="*/ 31 h 56"/>
                <a:gd name="T2" fmla="*/ 0 w 107"/>
                <a:gd name="T3" fmla="*/ 0 h 56"/>
                <a:gd name="T4" fmla="*/ 105 w 107"/>
                <a:gd name="T5" fmla="*/ 50 h 56"/>
                <a:gd name="T6" fmla="*/ 107 w 107"/>
                <a:gd name="T7" fmla="*/ 31 h 56"/>
              </a:gdLst>
              <a:ahLst/>
              <a:cxnLst>
                <a:cxn ang="0">
                  <a:pos x="T0" y="T1"/>
                </a:cxn>
                <a:cxn ang="0">
                  <a:pos x="T2" y="T3"/>
                </a:cxn>
                <a:cxn ang="0">
                  <a:pos x="T4" y="T5"/>
                </a:cxn>
                <a:cxn ang="0">
                  <a:pos x="T6" y="T7"/>
                </a:cxn>
              </a:cxnLst>
              <a:rect l="0" t="0" r="r" b="b"/>
              <a:pathLst>
                <a:path w="107" h="56">
                  <a:moveTo>
                    <a:pt x="107" y="31"/>
                  </a:moveTo>
                  <a:cubicBezTo>
                    <a:pt x="107" y="31"/>
                    <a:pt x="53" y="33"/>
                    <a:pt x="0" y="0"/>
                  </a:cubicBezTo>
                  <a:cubicBezTo>
                    <a:pt x="0" y="0"/>
                    <a:pt x="25" y="56"/>
                    <a:pt x="105" y="50"/>
                  </a:cubicBezTo>
                  <a:lnTo>
                    <a:pt x="107" y="31"/>
                  </a:ln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3">
              <a:extLst>
                <a:ext uri="{FF2B5EF4-FFF2-40B4-BE49-F238E27FC236}">
                  <a16:creationId xmlns:a16="http://schemas.microsoft.com/office/drawing/2014/main" id="{28A689BA-5E7A-4766-83DE-6F98D6AC0A07}"/>
                </a:ext>
              </a:extLst>
            </p:cNvPr>
            <p:cNvSpPr>
              <a:spLocks/>
            </p:cNvSpPr>
            <p:nvPr/>
          </p:nvSpPr>
          <p:spPr bwMode="auto">
            <a:xfrm>
              <a:off x="2858" y="2015"/>
              <a:ext cx="83" cy="60"/>
            </a:xfrm>
            <a:custGeom>
              <a:avLst/>
              <a:gdLst>
                <a:gd name="T0" fmla="*/ 34 w 35"/>
                <a:gd name="T1" fmla="*/ 8 h 25"/>
                <a:gd name="T2" fmla="*/ 16 w 35"/>
                <a:gd name="T3" fmla="*/ 0 h 25"/>
                <a:gd name="T4" fmla="*/ 4 w 35"/>
                <a:gd name="T5" fmla="*/ 7 h 25"/>
                <a:gd name="T6" fmla="*/ 3 w 35"/>
                <a:gd name="T7" fmla="*/ 20 h 25"/>
                <a:gd name="T8" fmla="*/ 17 w 35"/>
                <a:gd name="T9" fmla="*/ 24 h 25"/>
                <a:gd name="T10" fmla="*/ 31 w 35"/>
                <a:gd name="T11" fmla="*/ 16 h 25"/>
                <a:gd name="T12" fmla="*/ 34 w 35"/>
                <a:gd name="T13" fmla="*/ 13 h 25"/>
                <a:gd name="T14" fmla="*/ 35 w 35"/>
                <a:gd name="T15" fmla="*/ 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5">
                  <a:moveTo>
                    <a:pt x="34" y="8"/>
                  </a:moveTo>
                  <a:cubicBezTo>
                    <a:pt x="30" y="3"/>
                    <a:pt x="23" y="0"/>
                    <a:pt x="16" y="0"/>
                  </a:cubicBezTo>
                  <a:cubicBezTo>
                    <a:pt x="12" y="1"/>
                    <a:pt x="7" y="3"/>
                    <a:pt x="4" y="7"/>
                  </a:cubicBezTo>
                  <a:cubicBezTo>
                    <a:pt x="1" y="10"/>
                    <a:pt x="0" y="16"/>
                    <a:pt x="3" y="20"/>
                  </a:cubicBezTo>
                  <a:cubicBezTo>
                    <a:pt x="5" y="24"/>
                    <a:pt x="12" y="25"/>
                    <a:pt x="17" y="24"/>
                  </a:cubicBezTo>
                  <a:cubicBezTo>
                    <a:pt x="22" y="22"/>
                    <a:pt x="27" y="19"/>
                    <a:pt x="31" y="16"/>
                  </a:cubicBezTo>
                  <a:cubicBezTo>
                    <a:pt x="32" y="15"/>
                    <a:pt x="34" y="14"/>
                    <a:pt x="34" y="13"/>
                  </a:cubicBezTo>
                  <a:cubicBezTo>
                    <a:pt x="35" y="11"/>
                    <a:pt x="35" y="10"/>
                    <a:pt x="35" y="8"/>
                  </a:cubicBezTo>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04">
              <a:extLst>
                <a:ext uri="{FF2B5EF4-FFF2-40B4-BE49-F238E27FC236}">
                  <a16:creationId xmlns:a16="http://schemas.microsoft.com/office/drawing/2014/main" id="{149C0A21-9555-4113-A72E-624AF12B6E83}"/>
                </a:ext>
              </a:extLst>
            </p:cNvPr>
            <p:cNvSpPr>
              <a:spLocks/>
            </p:cNvSpPr>
            <p:nvPr/>
          </p:nvSpPr>
          <p:spPr bwMode="auto">
            <a:xfrm>
              <a:off x="2870" y="1987"/>
              <a:ext cx="86" cy="78"/>
            </a:xfrm>
            <a:custGeom>
              <a:avLst/>
              <a:gdLst>
                <a:gd name="T0" fmla="*/ 2 w 36"/>
                <a:gd name="T1" fmla="*/ 0 h 33"/>
                <a:gd name="T2" fmla="*/ 13 w 36"/>
                <a:gd name="T3" fmla="*/ 21 h 33"/>
                <a:gd name="T4" fmla="*/ 36 w 36"/>
                <a:gd name="T5" fmla="*/ 31 h 33"/>
                <a:gd name="T6" fmla="*/ 28 w 36"/>
                <a:gd name="T7" fmla="*/ 33 h 33"/>
                <a:gd name="T8" fmla="*/ 9 w 36"/>
                <a:gd name="T9" fmla="*/ 26 h 33"/>
                <a:gd name="T10" fmla="*/ 0 w 36"/>
                <a:gd name="T11" fmla="*/ 8 h 33"/>
                <a:gd name="T12" fmla="*/ 2 w 36"/>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6" h="33">
                  <a:moveTo>
                    <a:pt x="2" y="0"/>
                  </a:moveTo>
                  <a:cubicBezTo>
                    <a:pt x="4" y="0"/>
                    <a:pt x="3" y="12"/>
                    <a:pt x="13" y="21"/>
                  </a:cubicBezTo>
                  <a:cubicBezTo>
                    <a:pt x="23" y="30"/>
                    <a:pt x="36" y="29"/>
                    <a:pt x="36" y="31"/>
                  </a:cubicBezTo>
                  <a:cubicBezTo>
                    <a:pt x="36" y="31"/>
                    <a:pt x="33" y="33"/>
                    <a:pt x="28" y="33"/>
                  </a:cubicBezTo>
                  <a:cubicBezTo>
                    <a:pt x="23" y="33"/>
                    <a:pt x="15" y="31"/>
                    <a:pt x="9" y="26"/>
                  </a:cubicBezTo>
                  <a:cubicBezTo>
                    <a:pt x="3" y="20"/>
                    <a:pt x="0" y="13"/>
                    <a:pt x="0" y="8"/>
                  </a:cubicBezTo>
                  <a:cubicBezTo>
                    <a:pt x="0" y="3"/>
                    <a:pt x="1" y="0"/>
                    <a:pt x="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5">
              <a:extLst>
                <a:ext uri="{FF2B5EF4-FFF2-40B4-BE49-F238E27FC236}">
                  <a16:creationId xmlns:a16="http://schemas.microsoft.com/office/drawing/2014/main" id="{109C3118-D8AC-4B68-B53E-90C0DF088D38}"/>
                </a:ext>
              </a:extLst>
            </p:cNvPr>
            <p:cNvSpPr>
              <a:spLocks/>
            </p:cNvSpPr>
            <p:nvPr/>
          </p:nvSpPr>
          <p:spPr bwMode="auto">
            <a:xfrm>
              <a:off x="2749" y="1676"/>
              <a:ext cx="124" cy="38"/>
            </a:xfrm>
            <a:custGeom>
              <a:avLst/>
              <a:gdLst>
                <a:gd name="T0" fmla="*/ 51 w 52"/>
                <a:gd name="T1" fmla="*/ 10 h 16"/>
                <a:gd name="T2" fmla="*/ 26 w 52"/>
                <a:gd name="T3" fmla="*/ 12 h 16"/>
                <a:gd name="T4" fmla="*/ 1 w 52"/>
                <a:gd name="T5" fmla="*/ 14 h 16"/>
                <a:gd name="T6" fmla="*/ 6 w 52"/>
                <a:gd name="T7" fmla="*/ 7 h 16"/>
                <a:gd name="T8" fmla="*/ 25 w 52"/>
                <a:gd name="T9" fmla="*/ 1 h 16"/>
                <a:gd name="T10" fmla="*/ 45 w 52"/>
                <a:gd name="T11" fmla="*/ 4 h 16"/>
                <a:gd name="T12" fmla="*/ 51 w 52"/>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52" h="16">
                  <a:moveTo>
                    <a:pt x="51" y="10"/>
                  </a:moveTo>
                  <a:cubicBezTo>
                    <a:pt x="50" y="13"/>
                    <a:pt x="39" y="11"/>
                    <a:pt x="26" y="12"/>
                  </a:cubicBezTo>
                  <a:cubicBezTo>
                    <a:pt x="13" y="13"/>
                    <a:pt x="3" y="16"/>
                    <a:pt x="1" y="14"/>
                  </a:cubicBezTo>
                  <a:cubicBezTo>
                    <a:pt x="0" y="12"/>
                    <a:pt x="2" y="10"/>
                    <a:pt x="6" y="7"/>
                  </a:cubicBezTo>
                  <a:cubicBezTo>
                    <a:pt x="11" y="4"/>
                    <a:pt x="17" y="2"/>
                    <a:pt x="25" y="1"/>
                  </a:cubicBezTo>
                  <a:cubicBezTo>
                    <a:pt x="33" y="0"/>
                    <a:pt x="40" y="2"/>
                    <a:pt x="45" y="4"/>
                  </a:cubicBezTo>
                  <a:cubicBezTo>
                    <a:pt x="49" y="6"/>
                    <a:pt x="52" y="8"/>
                    <a:pt x="51" y="1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6">
              <a:extLst>
                <a:ext uri="{FF2B5EF4-FFF2-40B4-BE49-F238E27FC236}">
                  <a16:creationId xmlns:a16="http://schemas.microsoft.com/office/drawing/2014/main" id="{2158E733-920A-45D0-A206-D09D89183072}"/>
                </a:ext>
              </a:extLst>
            </p:cNvPr>
            <p:cNvSpPr>
              <a:spLocks/>
            </p:cNvSpPr>
            <p:nvPr/>
          </p:nvSpPr>
          <p:spPr bwMode="auto">
            <a:xfrm>
              <a:off x="3010" y="1695"/>
              <a:ext cx="114" cy="35"/>
            </a:xfrm>
            <a:custGeom>
              <a:avLst/>
              <a:gdLst>
                <a:gd name="T0" fmla="*/ 47 w 48"/>
                <a:gd name="T1" fmla="*/ 12 h 15"/>
                <a:gd name="T2" fmla="*/ 24 w 48"/>
                <a:gd name="T3" fmla="*/ 11 h 15"/>
                <a:gd name="T4" fmla="*/ 1 w 48"/>
                <a:gd name="T5" fmla="*/ 10 h 15"/>
                <a:gd name="T6" fmla="*/ 6 w 48"/>
                <a:gd name="T7" fmla="*/ 4 h 15"/>
                <a:gd name="T8" fmla="*/ 25 w 48"/>
                <a:gd name="T9" fmla="*/ 0 h 15"/>
                <a:gd name="T10" fmla="*/ 43 w 48"/>
                <a:gd name="T11" fmla="*/ 6 h 15"/>
                <a:gd name="T12" fmla="*/ 47 w 48"/>
                <a:gd name="T13" fmla="*/ 12 h 15"/>
              </a:gdLst>
              <a:ahLst/>
              <a:cxnLst>
                <a:cxn ang="0">
                  <a:pos x="T0" y="T1"/>
                </a:cxn>
                <a:cxn ang="0">
                  <a:pos x="T2" y="T3"/>
                </a:cxn>
                <a:cxn ang="0">
                  <a:pos x="T4" y="T5"/>
                </a:cxn>
                <a:cxn ang="0">
                  <a:pos x="T6" y="T7"/>
                </a:cxn>
                <a:cxn ang="0">
                  <a:pos x="T8" y="T9"/>
                </a:cxn>
                <a:cxn ang="0">
                  <a:pos x="T10" y="T11"/>
                </a:cxn>
                <a:cxn ang="0">
                  <a:pos x="T12" y="T13"/>
                </a:cxn>
              </a:cxnLst>
              <a:rect l="0" t="0" r="r" b="b"/>
              <a:pathLst>
                <a:path w="48" h="15">
                  <a:moveTo>
                    <a:pt x="47" y="12"/>
                  </a:moveTo>
                  <a:cubicBezTo>
                    <a:pt x="44" y="15"/>
                    <a:pt x="35" y="12"/>
                    <a:pt x="24" y="11"/>
                  </a:cubicBezTo>
                  <a:cubicBezTo>
                    <a:pt x="13" y="11"/>
                    <a:pt x="3" y="13"/>
                    <a:pt x="1" y="10"/>
                  </a:cubicBezTo>
                  <a:cubicBezTo>
                    <a:pt x="0" y="9"/>
                    <a:pt x="2" y="6"/>
                    <a:pt x="6" y="4"/>
                  </a:cubicBezTo>
                  <a:cubicBezTo>
                    <a:pt x="10" y="2"/>
                    <a:pt x="17" y="0"/>
                    <a:pt x="25" y="0"/>
                  </a:cubicBezTo>
                  <a:cubicBezTo>
                    <a:pt x="32" y="1"/>
                    <a:pt x="39" y="3"/>
                    <a:pt x="43" y="6"/>
                  </a:cubicBezTo>
                  <a:cubicBezTo>
                    <a:pt x="47" y="9"/>
                    <a:pt x="48" y="11"/>
                    <a:pt x="47" y="1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7">
              <a:extLst>
                <a:ext uri="{FF2B5EF4-FFF2-40B4-BE49-F238E27FC236}">
                  <a16:creationId xmlns:a16="http://schemas.microsoft.com/office/drawing/2014/main" id="{C8DA91E4-446A-404D-A141-4A739BF20203}"/>
                </a:ext>
              </a:extLst>
            </p:cNvPr>
            <p:cNvSpPr>
              <a:spLocks/>
            </p:cNvSpPr>
            <p:nvPr/>
          </p:nvSpPr>
          <p:spPr bwMode="auto">
            <a:xfrm>
              <a:off x="1963" y="2473"/>
              <a:ext cx="701" cy="1530"/>
            </a:xfrm>
            <a:custGeom>
              <a:avLst/>
              <a:gdLst>
                <a:gd name="T0" fmla="*/ 182 w 295"/>
                <a:gd name="T1" fmla="*/ 0 h 644"/>
                <a:gd name="T2" fmla="*/ 28 w 295"/>
                <a:gd name="T3" fmla="*/ 152 h 644"/>
                <a:gd name="T4" fmla="*/ 75 w 295"/>
                <a:gd name="T5" fmla="*/ 580 h 644"/>
                <a:gd name="T6" fmla="*/ 295 w 295"/>
                <a:gd name="T7" fmla="*/ 586 h 644"/>
                <a:gd name="T8" fmla="*/ 279 w 295"/>
                <a:gd name="T9" fmla="*/ 430 h 644"/>
                <a:gd name="T10" fmla="*/ 200 w 295"/>
                <a:gd name="T11" fmla="*/ 430 h 644"/>
                <a:gd name="T12" fmla="*/ 189 w 295"/>
                <a:gd name="T13" fmla="*/ 260 h 644"/>
                <a:gd name="T14" fmla="*/ 182 w 295"/>
                <a:gd name="T15" fmla="*/ 0 h 6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 h="644">
                  <a:moveTo>
                    <a:pt x="182" y="0"/>
                  </a:moveTo>
                  <a:cubicBezTo>
                    <a:pt x="182" y="0"/>
                    <a:pt x="53" y="30"/>
                    <a:pt x="28" y="152"/>
                  </a:cubicBezTo>
                  <a:cubicBezTo>
                    <a:pt x="16" y="208"/>
                    <a:pt x="0" y="530"/>
                    <a:pt x="75" y="580"/>
                  </a:cubicBezTo>
                  <a:cubicBezTo>
                    <a:pt x="172" y="644"/>
                    <a:pt x="295" y="586"/>
                    <a:pt x="295" y="586"/>
                  </a:cubicBezTo>
                  <a:cubicBezTo>
                    <a:pt x="279" y="430"/>
                    <a:pt x="279" y="430"/>
                    <a:pt x="279" y="430"/>
                  </a:cubicBezTo>
                  <a:cubicBezTo>
                    <a:pt x="200" y="430"/>
                    <a:pt x="200" y="430"/>
                    <a:pt x="200" y="430"/>
                  </a:cubicBezTo>
                  <a:cubicBezTo>
                    <a:pt x="189" y="260"/>
                    <a:pt x="189" y="260"/>
                    <a:pt x="189" y="260"/>
                  </a:cubicBezTo>
                  <a:cubicBezTo>
                    <a:pt x="192" y="273"/>
                    <a:pt x="182" y="0"/>
                    <a:pt x="182"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8">
              <a:extLst>
                <a:ext uri="{FF2B5EF4-FFF2-40B4-BE49-F238E27FC236}">
                  <a16:creationId xmlns:a16="http://schemas.microsoft.com/office/drawing/2014/main" id="{7509A873-73C2-4177-946D-098FDFF98581}"/>
                </a:ext>
              </a:extLst>
            </p:cNvPr>
            <p:cNvSpPr>
              <a:spLocks/>
            </p:cNvSpPr>
            <p:nvPr/>
          </p:nvSpPr>
          <p:spPr bwMode="auto">
            <a:xfrm>
              <a:off x="3231" y="2473"/>
              <a:ext cx="463" cy="1273"/>
            </a:xfrm>
            <a:custGeom>
              <a:avLst/>
              <a:gdLst>
                <a:gd name="T0" fmla="*/ 105 w 195"/>
                <a:gd name="T1" fmla="*/ 536 h 536"/>
                <a:gd name="T2" fmla="*/ 170 w 195"/>
                <a:gd name="T3" fmla="*/ 502 h 536"/>
                <a:gd name="T4" fmla="*/ 194 w 195"/>
                <a:gd name="T5" fmla="*/ 432 h 536"/>
                <a:gd name="T6" fmla="*/ 142 w 195"/>
                <a:gd name="T7" fmla="*/ 209 h 536"/>
                <a:gd name="T8" fmla="*/ 0 w 195"/>
                <a:gd name="T9" fmla="*/ 0 h 536"/>
                <a:gd name="T10" fmla="*/ 37 w 195"/>
                <a:gd name="T11" fmla="*/ 292 h 536"/>
                <a:gd name="T12" fmla="*/ 33 w 195"/>
                <a:gd name="T13" fmla="*/ 354 h 536"/>
                <a:gd name="T14" fmla="*/ 39 w 195"/>
                <a:gd name="T15" fmla="*/ 471 h 536"/>
                <a:gd name="T16" fmla="*/ 105 w 195"/>
                <a:gd name="T17" fmla="*/ 53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536">
                  <a:moveTo>
                    <a:pt x="105" y="536"/>
                  </a:moveTo>
                  <a:cubicBezTo>
                    <a:pt x="130" y="533"/>
                    <a:pt x="154" y="521"/>
                    <a:pt x="170" y="502"/>
                  </a:cubicBezTo>
                  <a:cubicBezTo>
                    <a:pt x="187" y="483"/>
                    <a:pt x="195" y="457"/>
                    <a:pt x="194" y="432"/>
                  </a:cubicBezTo>
                  <a:cubicBezTo>
                    <a:pt x="142" y="209"/>
                    <a:pt x="142" y="209"/>
                    <a:pt x="142" y="209"/>
                  </a:cubicBezTo>
                  <a:cubicBezTo>
                    <a:pt x="142" y="209"/>
                    <a:pt x="108" y="17"/>
                    <a:pt x="0" y="0"/>
                  </a:cubicBezTo>
                  <a:cubicBezTo>
                    <a:pt x="37" y="292"/>
                    <a:pt x="37" y="292"/>
                    <a:pt x="37" y="292"/>
                  </a:cubicBezTo>
                  <a:cubicBezTo>
                    <a:pt x="33" y="354"/>
                    <a:pt x="33" y="354"/>
                    <a:pt x="33" y="354"/>
                  </a:cubicBezTo>
                  <a:cubicBezTo>
                    <a:pt x="33" y="354"/>
                    <a:pt x="35" y="395"/>
                    <a:pt x="39" y="471"/>
                  </a:cubicBezTo>
                  <a:cubicBezTo>
                    <a:pt x="105" y="536"/>
                    <a:pt x="105" y="536"/>
                    <a:pt x="105" y="536"/>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9">
              <a:extLst>
                <a:ext uri="{FF2B5EF4-FFF2-40B4-BE49-F238E27FC236}">
                  <a16:creationId xmlns:a16="http://schemas.microsoft.com/office/drawing/2014/main" id="{0566EEE5-B344-416B-9E18-41324699F696}"/>
                </a:ext>
              </a:extLst>
            </p:cNvPr>
            <p:cNvSpPr>
              <a:spLocks/>
            </p:cNvSpPr>
            <p:nvPr/>
          </p:nvSpPr>
          <p:spPr bwMode="auto">
            <a:xfrm>
              <a:off x="3314" y="3411"/>
              <a:ext cx="200" cy="205"/>
            </a:xfrm>
            <a:custGeom>
              <a:avLst/>
              <a:gdLst>
                <a:gd name="T0" fmla="*/ 84 w 84"/>
                <a:gd name="T1" fmla="*/ 1 h 86"/>
                <a:gd name="T2" fmla="*/ 65 w 84"/>
                <a:gd name="T3" fmla="*/ 3 h 86"/>
                <a:gd name="T4" fmla="*/ 24 w 84"/>
                <a:gd name="T5" fmla="*/ 25 h 86"/>
                <a:gd name="T6" fmla="*/ 3 w 84"/>
                <a:gd name="T7" fmla="*/ 66 h 86"/>
                <a:gd name="T8" fmla="*/ 1 w 84"/>
                <a:gd name="T9" fmla="*/ 86 h 86"/>
                <a:gd name="T10" fmla="*/ 1 w 84"/>
                <a:gd name="T11" fmla="*/ 80 h 86"/>
                <a:gd name="T12" fmla="*/ 1 w 84"/>
                <a:gd name="T13" fmla="*/ 66 h 86"/>
                <a:gd name="T14" fmla="*/ 23 w 84"/>
                <a:gd name="T15" fmla="*/ 24 h 86"/>
                <a:gd name="T16" fmla="*/ 64 w 84"/>
                <a:gd name="T17" fmla="*/ 2 h 86"/>
                <a:gd name="T18" fmla="*/ 79 w 84"/>
                <a:gd name="T19" fmla="*/ 0 h 86"/>
                <a:gd name="T20" fmla="*/ 84 w 84"/>
                <a:gd name="T21" fmla="*/ 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86">
                  <a:moveTo>
                    <a:pt x="84" y="1"/>
                  </a:moveTo>
                  <a:cubicBezTo>
                    <a:pt x="84" y="1"/>
                    <a:pt x="77" y="1"/>
                    <a:pt x="65" y="3"/>
                  </a:cubicBezTo>
                  <a:cubicBezTo>
                    <a:pt x="53" y="5"/>
                    <a:pt x="37" y="12"/>
                    <a:pt x="24" y="25"/>
                  </a:cubicBezTo>
                  <a:cubicBezTo>
                    <a:pt x="11" y="38"/>
                    <a:pt x="5" y="54"/>
                    <a:pt x="3" y="66"/>
                  </a:cubicBezTo>
                  <a:cubicBezTo>
                    <a:pt x="1" y="78"/>
                    <a:pt x="2" y="86"/>
                    <a:pt x="1" y="86"/>
                  </a:cubicBezTo>
                  <a:cubicBezTo>
                    <a:pt x="1" y="86"/>
                    <a:pt x="1" y="84"/>
                    <a:pt x="1" y="80"/>
                  </a:cubicBezTo>
                  <a:cubicBezTo>
                    <a:pt x="0" y="77"/>
                    <a:pt x="0" y="72"/>
                    <a:pt x="1" y="66"/>
                  </a:cubicBezTo>
                  <a:cubicBezTo>
                    <a:pt x="3" y="54"/>
                    <a:pt x="9" y="37"/>
                    <a:pt x="23" y="24"/>
                  </a:cubicBezTo>
                  <a:cubicBezTo>
                    <a:pt x="36" y="10"/>
                    <a:pt x="52" y="4"/>
                    <a:pt x="64" y="2"/>
                  </a:cubicBezTo>
                  <a:cubicBezTo>
                    <a:pt x="70" y="1"/>
                    <a:pt x="75" y="0"/>
                    <a:pt x="79" y="0"/>
                  </a:cubicBezTo>
                  <a:cubicBezTo>
                    <a:pt x="82" y="1"/>
                    <a:pt x="84" y="1"/>
                    <a:pt x="84"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0">
              <a:extLst>
                <a:ext uri="{FF2B5EF4-FFF2-40B4-BE49-F238E27FC236}">
                  <a16:creationId xmlns:a16="http://schemas.microsoft.com/office/drawing/2014/main" id="{E2FA287D-C116-4C10-9550-CA9615EBBB56}"/>
                </a:ext>
              </a:extLst>
            </p:cNvPr>
            <p:cNvSpPr>
              <a:spLocks/>
            </p:cNvSpPr>
            <p:nvPr/>
          </p:nvSpPr>
          <p:spPr bwMode="auto">
            <a:xfrm>
              <a:off x="2156" y="1381"/>
              <a:ext cx="653" cy="981"/>
            </a:xfrm>
            <a:custGeom>
              <a:avLst/>
              <a:gdLst>
                <a:gd name="T0" fmla="*/ 240 w 275"/>
                <a:gd name="T1" fmla="*/ 15 h 413"/>
                <a:gd name="T2" fmla="*/ 270 w 275"/>
                <a:gd name="T3" fmla="*/ 84 h 413"/>
                <a:gd name="T4" fmla="*/ 247 w 275"/>
                <a:gd name="T5" fmla="*/ 123 h 413"/>
                <a:gd name="T6" fmla="*/ 230 w 275"/>
                <a:gd name="T7" fmla="*/ 117 h 413"/>
                <a:gd name="T8" fmla="*/ 215 w 275"/>
                <a:gd name="T9" fmla="*/ 193 h 413"/>
                <a:gd name="T10" fmla="*/ 208 w 275"/>
                <a:gd name="T11" fmla="*/ 231 h 413"/>
                <a:gd name="T12" fmla="*/ 225 w 275"/>
                <a:gd name="T13" fmla="*/ 263 h 413"/>
                <a:gd name="T14" fmla="*/ 238 w 275"/>
                <a:gd name="T15" fmla="*/ 353 h 413"/>
                <a:gd name="T16" fmla="*/ 226 w 275"/>
                <a:gd name="T17" fmla="*/ 375 h 413"/>
                <a:gd name="T18" fmla="*/ 223 w 275"/>
                <a:gd name="T19" fmla="*/ 389 h 413"/>
                <a:gd name="T20" fmla="*/ 214 w 275"/>
                <a:gd name="T21" fmla="*/ 401 h 413"/>
                <a:gd name="T22" fmla="*/ 15 w 275"/>
                <a:gd name="T23" fmla="*/ 407 h 413"/>
                <a:gd name="T24" fmla="*/ 5 w 275"/>
                <a:gd name="T25" fmla="*/ 399 h 413"/>
                <a:gd name="T26" fmla="*/ 20 w 275"/>
                <a:gd name="T27" fmla="*/ 333 h 413"/>
                <a:gd name="T28" fmla="*/ 52 w 275"/>
                <a:gd name="T29" fmla="*/ 263 h 413"/>
                <a:gd name="T30" fmla="*/ 60 w 275"/>
                <a:gd name="T31" fmla="*/ 191 h 413"/>
                <a:gd name="T32" fmla="*/ 119 w 275"/>
                <a:gd name="T33" fmla="*/ 126 h 413"/>
                <a:gd name="T34" fmla="*/ 147 w 275"/>
                <a:gd name="T35" fmla="*/ 47 h 413"/>
                <a:gd name="T36" fmla="*/ 240 w 275"/>
                <a:gd name="T37" fmla="*/ 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 h="413">
                  <a:moveTo>
                    <a:pt x="240" y="15"/>
                  </a:moveTo>
                  <a:cubicBezTo>
                    <a:pt x="255" y="34"/>
                    <a:pt x="262" y="49"/>
                    <a:pt x="270" y="84"/>
                  </a:cubicBezTo>
                  <a:cubicBezTo>
                    <a:pt x="275" y="101"/>
                    <a:pt x="261" y="113"/>
                    <a:pt x="247" y="123"/>
                  </a:cubicBezTo>
                  <a:cubicBezTo>
                    <a:pt x="241" y="128"/>
                    <a:pt x="231" y="125"/>
                    <a:pt x="230" y="117"/>
                  </a:cubicBezTo>
                  <a:cubicBezTo>
                    <a:pt x="230" y="117"/>
                    <a:pt x="234" y="170"/>
                    <a:pt x="215" y="193"/>
                  </a:cubicBezTo>
                  <a:cubicBezTo>
                    <a:pt x="206" y="205"/>
                    <a:pt x="206" y="219"/>
                    <a:pt x="208" y="231"/>
                  </a:cubicBezTo>
                  <a:cubicBezTo>
                    <a:pt x="210" y="243"/>
                    <a:pt x="216" y="254"/>
                    <a:pt x="225" y="263"/>
                  </a:cubicBezTo>
                  <a:cubicBezTo>
                    <a:pt x="247" y="287"/>
                    <a:pt x="253" y="325"/>
                    <a:pt x="238" y="353"/>
                  </a:cubicBezTo>
                  <a:cubicBezTo>
                    <a:pt x="234" y="361"/>
                    <a:pt x="229" y="368"/>
                    <a:pt x="226" y="375"/>
                  </a:cubicBezTo>
                  <a:cubicBezTo>
                    <a:pt x="224" y="380"/>
                    <a:pt x="223" y="385"/>
                    <a:pt x="223" y="389"/>
                  </a:cubicBezTo>
                  <a:cubicBezTo>
                    <a:pt x="224" y="395"/>
                    <a:pt x="220" y="400"/>
                    <a:pt x="214" y="401"/>
                  </a:cubicBezTo>
                  <a:cubicBezTo>
                    <a:pt x="148" y="411"/>
                    <a:pt x="81" y="413"/>
                    <a:pt x="15" y="407"/>
                  </a:cubicBezTo>
                  <a:cubicBezTo>
                    <a:pt x="11" y="407"/>
                    <a:pt x="7" y="403"/>
                    <a:pt x="5" y="399"/>
                  </a:cubicBezTo>
                  <a:cubicBezTo>
                    <a:pt x="0" y="377"/>
                    <a:pt x="9" y="353"/>
                    <a:pt x="20" y="333"/>
                  </a:cubicBezTo>
                  <a:cubicBezTo>
                    <a:pt x="32" y="310"/>
                    <a:pt x="48" y="288"/>
                    <a:pt x="52" y="263"/>
                  </a:cubicBezTo>
                  <a:cubicBezTo>
                    <a:pt x="56" y="239"/>
                    <a:pt x="50" y="213"/>
                    <a:pt x="60" y="191"/>
                  </a:cubicBezTo>
                  <a:cubicBezTo>
                    <a:pt x="71" y="164"/>
                    <a:pt x="103" y="151"/>
                    <a:pt x="119" y="126"/>
                  </a:cubicBezTo>
                  <a:cubicBezTo>
                    <a:pt x="135" y="102"/>
                    <a:pt x="133" y="71"/>
                    <a:pt x="147" y="47"/>
                  </a:cubicBezTo>
                  <a:cubicBezTo>
                    <a:pt x="164" y="15"/>
                    <a:pt x="207" y="0"/>
                    <a:pt x="240" y="15"/>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11">
              <a:extLst>
                <a:ext uri="{FF2B5EF4-FFF2-40B4-BE49-F238E27FC236}">
                  <a16:creationId xmlns:a16="http://schemas.microsoft.com/office/drawing/2014/main" id="{F8111155-9C4D-4649-802D-0BB46FE19D76}"/>
                </a:ext>
              </a:extLst>
            </p:cNvPr>
            <p:cNvSpPr>
              <a:spLocks/>
            </p:cNvSpPr>
            <p:nvPr/>
          </p:nvSpPr>
          <p:spPr bwMode="auto">
            <a:xfrm>
              <a:off x="2728" y="1407"/>
              <a:ext cx="406" cy="247"/>
            </a:xfrm>
            <a:custGeom>
              <a:avLst/>
              <a:gdLst>
                <a:gd name="T0" fmla="*/ 3 w 171"/>
                <a:gd name="T1" fmla="*/ 33 h 104"/>
                <a:gd name="T2" fmla="*/ 64 w 171"/>
                <a:gd name="T3" fmla="*/ 91 h 104"/>
                <a:gd name="T4" fmla="*/ 140 w 171"/>
                <a:gd name="T5" fmla="*/ 97 h 104"/>
                <a:gd name="T6" fmla="*/ 137 w 171"/>
                <a:gd name="T7" fmla="*/ 80 h 104"/>
                <a:gd name="T8" fmla="*/ 146 w 171"/>
                <a:gd name="T9" fmla="*/ 94 h 104"/>
                <a:gd name="T10" fmla="*/ 162 w 171"/>
                <a:gd name="T11" fmla="*/ 97 h 104"/>
                <a:gd name="T12" fmla="*/ 169 w 171"/>
                <a:gd name="T13" fmla="*/ 73 h 104"/>
                <a:gd name="T14" fmla="*/ 147 w 171"/>
                <a:gd name="T15" fmla="*/ 36 h 104"/>
                <a:gd name="T16" fmla="*/ 76 w 171"/>
                <a:gd name="T17" fmla="*/ 2 h 104"/>
                <a:gd name="T18" fmla="*/ 0 w 171"/>
                <a:gd name="T19"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04">
                  <a:moveTo>
                    <a:pt x="3" y="33"/>
                  </a:moveTo>
                  <a:cubicBezTo>
                    <a:pt x="28" y="46"/>
                    <a:pt x="40" y="77"/>
                    <a:pt x="64" y="91"/>
                  </a:cubicBezTo>
                  <a:cubicBezTo>
                    <a:pt x="86" y="104"/>
                    <a:pt x="114" y="101"/>
                    <a:pt x="140" y="97"/>
                  </a:cubicBezTo>
                  <a:cubicBezTo>
                    <a:pt x="139" y="91"/>
                    <a:pt x="138" y="86"/>
                    <a:pt x="137" y="80"/>
                  </a:cubicBezTo>
                  <a:cubicBezTo>
                    <a:pt x="139" y="85"/>
                    <a:pt x="142" y="90"/>
                    <a:pt x="146" y="94"/>
                  </a:cubicBezTo>
                  <a:cubicBezTo>
                    <a:pt x="150" y="97"/>
                    <a:pt x="157" y="99"/>
                    <a:pt x="162" y="97"/>
                  </a:cubicBezTo>
                  <a:cubicBezTo>
                    <a:pt x="170" y="94"/>
                    <a:pt x="171" y="82"/>
                    <a:pt x="169" y="73"/>
                  </a:cubicBezTo>
                  <a:cubicBezTo>
                    <a:pt x="166" y="59"/>
                    <a:pt x="157" y="46"/>
                    <a:pt x="147" y="36"/>
                  </a:cubicBezTo>
                  <a:cubicBezTo>
                    <a:pt x="128" y="16"/>
                    <a:pt x="102" y="4"/>
                    <a:pt x="76" y="2"/>
                  </a:cubicBezTo>
                  <a:cubicBezTo>
                    <a:pt x="49" y="0"/>
                    <a:pt x="21" y="8"/>
                    <a:pt x="0" y="2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12">
              <a:extLst>
                <a:ext uri="{FF2B5EF4-FFF2-40B4-BE49-F238E27FC236}">
                  <a16:creationId xmlns:a16="http://schemas.microsoft.com/office/drawing/2014/main" id="{55C5AED6-FF22-4887-8DD2-D4D67E8EE9E9}"/>
                </a:ext>
              </a:extLst>
            </p:cNvPr>
            <p:cNvSpPr>
              <a:spLocks/>
            </p:cNvSpPr>
            <p:nvPr/>
          </p:nvSpPr>
          <p:spPr bwMode="auto">
            <a:xfrm>
              <a:off x="3293" y="2839"/>
              <a:ext cx="38" cy="734"/>
            </a:xfrm>
            <a:custGeom>
              <a:avLst/>
              <a:gdLst>
                <a:gd name="T0" fmla="*/ 1 w 16"/>
                <a:gd name="T1" fmla="*/ 0 h 309"/>
                <a:gd name="T2" fmla="*/ 1 w 16"/>
                <a:gd name="T3" fmla="*/ 3 h 309"/>
                <a:gd name="T4" fmla="*/ 1 w 16"/>
                <a:gd name="T5" fmla="*/ 12 h 309"/>
                <a:gd name="T6" fmla="*/ 2 w 16"/>
                <a:gd name="T7" fmla="*/ 45 h 309"/>
                <a:gd name="T8" fmla="*/ 9 w 16"/>
                <a:gd name="T9" fmla="*/ 154 h 309"/>
                <a:gd name="T10" fmla="*/ 16 w 16"/>
                <a:gd name="T11" fmla="*/ 263 h 309"/>
                <a:gd name="T12" fmla="*/ 16 w 16"/>
                <a:gd name="T13" fmla="*/ 296 h 309"/>
                <a:gd name="T14" fmla="*/ 16 w 16"/>
                <a:gd name="T15" fmla="*/ 305 h 309"/>
                <a:gd name="T16" fmla="*/ 16 w 16"/>
                <a:gd name="T17" fmla="*/ 309 h 309"/>
                <a:gd name="T18" fmla="*/ 16 w 16"/>
                <a:gd name="T19" fmla="*/ 305 h 309"/>
                <a:gd name="T20" fmla="*/ 15 w 16"/>
                <a:gd name="T21" fmla="*/ 296 h 309"/>
                <a:gd name="T22" fmla="*/ 14 w 16"/>
                <a:gd name="T23" fmla="*/ 263 h 309"/>
                <a:gd name="T24" fmla="*/ 7 w 16"/>
                <a:gd name="T25" fmla="*/ 154 h 309"/>
                <a:gd name="T26" fmla="*/ 1 w 16"/>
                <a:gd name="T27" fmla="*/ 45 h 309"/>
                <a:gd name="T28" fmla="*/ 0 w 16"/>
                <a:gd name="T29" fmla="*/ 12 h 309"/>
                <a:gd name="T30" fmla="*/ 1 w 16"/>
                <a:gd name="T31" fmla="*/ 3 h 309"/>
                <a:gd name="T32" fmla="*/ 1 w 16"/>
                <a:gd name="T33"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309">
                  <a:moveTo>
                    <a:pt x="1" y="0"/>
                  </a:moveTo>
                  <a:cubicBezTo>
                    <a:pt x="1" y="0"/>
                    <a:pt x="1" y="1"/>
                    <a:pt x="1" y="3"/>
                  </a:cubicBezTo>
                  <a:cubicBezTo>
                    <a:pt x="1" y="5"/>
                    <a:pt x="1" y="8"/>
                    <a:pt x="1" y="12"/>
                  </a:cubicBezTo>
                  <a:cubicBezTo>
                    <a:pt x="1" y="20"/>
                    <a:pt x="2" y="31"/>
                    <a:pt x="2" y="45"/>
                  </a:cubicBezTo>
                  <a:cubicBezTo>
                    <a:pt x="4" y="73"/>
                    <a:pt x="6" y="111"/>
                    <a:pt x="9" y="154"/>
                  </a:cubicBezTo>
                  <a:cubicBezTo>
                    <a:pt x="12" y="197"/>
                    <a:pt x="15" y="235"/>
                    <a:pt x="16" y="263"/>
                  </a:cubicBezTo>
                  <a:cubicBezTo>
                    <a:pt x="16" y="277"/>
                    <a:pt x="16" y="289"/>
                    <a:pt x="16" y="296"/>
                  </a:cubicBezTo>
                  <a:cubicBezTo>
                    <a:pt x="16" y="300"/>
                    <a:pt x="16" y="303"/>
                    <a:pt x="16" y="305"/>
                  </a:cubicBezTo>
                  <a:cubicBezTo>
                    <a:pt x="16" y="308"/>
                    <a:pt x="16" y="309"/>
                    <a:pt x="16" y="309"/>
                  </a:cubicBezTo>
                  <a:cubicBezTo>
                    <a:pt x="16" y="309"/>
                    <a:pt x="16" y="308"/>
                    <a:pt x="16" y="305"/>
                  </a:cubicBezTo>
                  <a:cubicBezTo>
                    <a:pt x="16" y="303"/>
                    <a:pt x="15" y="300"/>
                    <a:pt x="15" y="296"/>
                  </a:cubicBezTo>
                  <a:cubicBezTo>
                    <a:pt x="15" y="289"/>
                    <a:pt x="15" y="277"/>
                    <a:pt x="14" y="263"/>
                  </a:cubicBezTo>
                  <a:cubicBezTo>
                    <a:pt x="13" y="235"/>
                    <a:pt x="10" y="197"/>
                    <a:pt x="7" y="154"/>
                  </a:cubicBezTo>
                  <a:cubicBezTo>
                    <a:pt x="4" y="112"/>
                    <a:pt x="2" y="73"/>
                    <a:pt x="1" y="45"/>
                  </a:cubicBezTo>
                  <a:cubicBezTo>
                    <a:pt x="1" y="31"/>
                    <a:pt x="0" y="20"/>
                    <a:pt x="0" y="12"/>
                  </a:cubicBezTo>
                  <a:cubicBezTo>
                    <a:pt x="1" y="8"/>
                    <a:pt x="1" y="5"/>
                    <a:pt x="1" y="3"/>
                  </a:cubicBezTo>
                  <a:cubicBezTo>
                    <a:pt x="1" y="1"/>
                    <a:pt x="1" y="0"/>
                    <a:pt x="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3">
              <a:extLst>
                <a:ext uri="{FF2B5EF4-FFF2-40B4-BE49-F238E27FC236}">
                  <a16:creationId xmlns:a16="http://schemas.microsoft.com/office/drawing/2014/main" id="{FF1DD5E9-533E-4C2F-B810-B3C882F3F4C1}"/>
                </a:ext>
              </a:extLst>
            </p:cNvPr>
            <p:cNvSpPr>
              <a:spLocks/>
            </p:cNvSpPr>
            <p:nvPr/>
          </p:nvSpPr>
          <p:spPr bwMode="auto">
            <a:xfrm>
              <a:off x="2403" y="2972"/>
              <a:ext cx="35" cy="523"/>
            </a:xfrm>
            <a:custGeom>
              <a:avLst/>
              <a:gdLst>
                <a:gd name="T0" fmla="*/ 15 w 15"/>
                <a:gd name="T1" fmla="*/ 220 h 220"/>
                <a:gd name="T2" fmla="*/ 14 w 15"/>
                <a:gd name="T3" fmla="*/ 218 h 220"/>
                <a:gd name="T4" fmla="*/ 14 w 15"/>
                <a:gd name="T5" fmla="*/ 211 h 220"/>
                <a:gd name="T6" fmla="*/ 13 w 15"/>
                <a:gd name="T7" fmla="*/ 188 h 220"/>
                <a:gd name="T8" fmla="*/ 8 w 15"/>
                <a:gd name="T9" fmla="*/ 110 h 220"/>
                <a:gd name="T10" fmla="*/ 2 w 15"/>
                <a:gd name="T11" fmla="*/ 32 h 220"/>
                <a:gd name="T12" fmla="*/ 1 w 15"/>
                <a:gd name="T13" fmla="*/ 8 h 220"/>
                <a:gd name="T14" fmla="*/ 0 w 15"/>
                <a:gd name="T15" fmla="*/ 2 h 220"/>
                <a:gd name="T16" fmla="*/ 0 w 15"/>
                <a:gd name="T17" fmla="*/ 0 h 220"/>
                <a:gd name="T18" fmla="*/ 1 w 15"/>
                <a:gd name="T19" fmla="*/ 2 h 220"/>
                <a:gd name="T20" fmla="*/ 1 w 15"/>
                <a:gd name="T21" fmla="*/ 8 h 220"/>
                <a:gd name="T22" fmla="*/ 4 w 15"/>
                <a:gd name="T23" fmla="*/ 32 h 220"/>
                <a:gd name="T24" fmla="*/ 10 w 15"/>
                <a:gd name="T25" fmla="*/ 110 h 220"/>
                <a:gd name="T26" fmla="*/ 14 w 15"/>
                <a:gd name="T27" fmla="*/ 188 h 220"/>
                <a:gd name="T28" fmla="*/ 15 w 15"/>
                <a:gd name="T29" fmla="*/ 211 h 220"/>
                <a:gd name="T30" fmla="*/ 15 w 15"/>
                <a:gd name="T31" fmla="*/ 218 h 220"/>
                <a:gd name="T32" fmla="*/ 15 w 15"/>
                <a:gd name="T33"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220">
                  <a:moveTo>
                    <a:pt x="15" y="220"/>
                  </a:moveTo>
                  <a:cubicBezTo>
                    <a:pt x="14" y="220"/>
                    <a:pt x="14" y="219"/>
                    <a:pt x="14" y="218"/>
                  </a:cubicBezTo>
                  <a:cubicBezTo>
                    <a:pt x="14" y="216"/>
                    <a:pt x="14" y="214"/>
                    <a:pt x="14" y="211"/>
                  </a:cubicBezTo>
                  <a:cubicBezTo>
                    <a:pt x="13" y="206"/>
                    <a:pt x="13" y="198"/>
                    <a:pt x="13" y="188"/>
                  </a:cubicBezTo>
                  <a:cubicBezTo>
                    <a:pt x="11" y="168"/>
                    <a:pt x="10" y="140"/>
                    <a:pt x="8" y="110"/>
                  </a:cubicBezTo>
                  <a:cubicBezTo>
                    <a:pt x="5" y="80"/>
                    <a:pt x="4" y="52"/>
                    <a:pt x="2" y="32"/>
                  </a:cubicBezTo>
                  <a:cubicBezTo>
                    <a:pt x="1" y="22"/>
                    <a:pt x="1" y="14"/>
                    <a:pt x="1" y="8"/>
                  </a:cubicBezTo>
                  <a:cubicBezTo>
                    <a:pt x="0" y="6"/>
                    <a:pt x="0" y="4"/>
                    <a:pt x="0" y="2"/>
                  </a:cubicBezTo>
                  <a:cubicBezTo>
                    <a:pt x="0" y="0"/>
                    <a:pt x="0" y="0"/>
                    <a:pt x="0" y="0"/>
                  </a:cubicBezTo>
                  <a:cubicBezTo>
                    <a:pt x="0" y="0"/>
                    <a:pt x="0" y="0"/>
                    <a:pt x="1" y="2"/>
                  </a:cubicBezTo>
                  <a:cubicBezTo>
                    <a:pt x="1" y="4"/>
                    <a:pt x="1" y="6"/>
                    <a:pt x="1" y="8"/>
                  </a:cubicBezTo>
                  <a:cubicBezTo>
                    <a:pt x="2" y="14"/>
                    <a:pt x="3" y="22"/>
                    <a:pt x="4" y="32"/>
                  </a:cubicBezTo>
                  <a:cubicBezTo>
                    <a:pt x="5" y="52"/>
                    <a:pt x="8" y="79"/>
                    <a:pt x="10" y="110"/>
                  </a:cubicBezTo>
                  <a:cubicBezTo>
                    <a:pt x="12" y="140"/>
                    <a:pt x="13" y="168"/>
                    <a:pt x="14" y="188"/>
                  </a:cubicBezTo>
                  <a:cubicBezTo>
                    <a:pt x="14" y="198"/>
                    <a:pt x="15" y="206"/>
                    <a:pt x="15" y="211"/>
                  </a:cubicBezTo>
                  <a:cubicBezTo>
                    <a:pt x="15" y="214"/>
                    <a:pt x="15" y="216"/>
                    <a:pt x="15" y="218"/>
                  </a:cubicBezTo>
                  <a:cubicBezTo>
                    <a:pt x="15" y="219"/>
                    <a:pt x="15" y="220"/>
                    <a:pt x="15" y="22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4">
              <a:extLst>
                <a:ext uri="{FF2B5EF4-FFF2-40B4-BE49-F238E27FC236}">
                  <a16:creationId xmlns:a16="http://schemas.microsoft.com/office/drawing/2014/main" id="{64975637-85C1-4C59-9AA5-F7D9F8E995D0}"/>
                </a:ext>
              </a:extLst>
            </p:cNvPr>
            <p:cNvSpPr>
              <a:spLocks/>
            </p:cNvSpPr>
            <p:nvPr/>
          </p:nvSpPr>
          <p:spPr bwMode="auto">
            <a:xfrm>
              <a:off x="2334" y="3495"/>
              <a:ext cx="104" cy="121"/>
            </a:xfrm>
            <a:custGeom>
              <a:avLst/>
              <a:gdLst>
                <a:gd name="T0" fmla="*/ 44 w 44"/>
                <a:gd name="T1" fmla="*/ 0 h 51"/>
                <a:gd name="T2" fmla="*/ 33 w 44"/>
                <a:gd name="T3" fmla="*/ 3 h 51"/>
                <a:gd name="T4" fmla="*/ 12 w 44"/>
                <a:gd name="T5" fmla="*/ 17 h 51"/>
                <a:gd name="T6" fmla="*/ 1 w 44"/>
                <a:gd name="T7" fmla="*/ 40 h 51"/>
                <a:gd name="T8" fmla="*/ 1 w 44"/>
                <a:gd name="T9" fmla="*/ 51 h 51"/>
                <a:gd name="T10" fmla="*/ 0 w 44"/>
                <a:gd name="T11" fmla="*/ 48 h 51"/>
                <a:gd name="T12" fmla="*/ 0 w 44"/>
                <a:gd name="T13" fmla="*/ 40 h 51"/>
                <a:gd name="T14" fmla="*/ 10 w 44"/>
                <a:gd name="T15" fmla="*/ 16 h 51"/>
                <a:gd name="T16" fmla="*/ 33 w 44"/>
                <a:gd name="T17" fmla="*/ 1 h 51"/>
                <a:gd name="T18" fmla="*/ 41 w 44"/>
                <a:gd name="T19" fmla="*/ 0 h 51"/>
                <a:gd name="T20" fmla="*/ 44 w 44"/>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1">
                  <a:moveTo>
                    <a:pt x="44" y="0"/>
                  </a:moveTo>
                  <a:cubicBezTo>
                    <a:pt x="44" y="0"/>
                    <a:pt x="39" y="1"/>
                    <a:pt x="33" y="3"/>
                  </a:cubicBezTo>
                  <a:cubicBezTo>
                    <a:pt x="27" y="5"/>
                    <a:pt x="18" y="9"/>
                    <a:pt x="12" y="17"/>
                  </a:cubicBezTo>
                  <a:cubicBezTo>
                    <a:pt x="5" y="25"/>
                    <a:pt x="2" y="34"/>
                    <a:pt x="1" y="40"/>
                  </a:cubicBezTo>
                  <a:cubicBezTo>
                    <a:pt x="0" y="47"/>
                    <a:pt x="1" y="51"/>
                    <a:pt x="1" y="51"/>
                  </a:cubicBezTo>
                  <a:cubicBezTo>
                    <a:pt x="0" y="51"/>
                    <a:pt x="0" y="50"/>
                    <a:pt x="0" y="48"/>
                  </a:cubicBezTo>
                  <a:cubicBezTo>
                    <a:pt x="0" y="46"/>
                    <a:pt x="0" y="43"/>
                    <a:pt x="0" y="40"/>
                  </a:cubicBezTo>
                  <a:cubicBezTo>
                    <a:pt x="1" y="33"/>
                    <a:pt x="4" y="24"/>
                    <a:pt x="10" y="16"/>
                  </a:cubicBezTo>
                  <a:cubicBezTo>
                    <a:pt x="17" y="8"/>
                    <a:pt x="26" y="3"/>
                    <a:pt x="33" y="1"/>
                  </a:cubicBezTo>
                  <a:cubicBezTo>
                    <a:pt x="36" y="0"/>
                    <a:pt x="39" y="0"/>
                    <a:pt x="41" y="0"/>
                  </a:cubicBezTo>
                  <a:cubicBezTo>
                    <a:pt x="42" y="0"/>
                    <a:pt x="44" y="0"/>
                    <a:pt x="4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5">
              <a:extLst>
                <a:ext uri="{FF2B5EF4-FFF2-40B4-BE49-F238E27FC236}">
                  <a16:creationId xmlns:a16="http://schemas.microsoft.com/office/drawing/2014/main" id="{D892E4A9-C30B-4656-BE72-30922A1BEA9F}"/>
                </a:ext>
              </a:extLst>
            </p:cNvPr>
            <p:cNvSpPr>
              <a:spLocks/>
            </p:cNvSpPr>
            <p:nvPr/>
          </p:nvSpPr>
          <p:spPr bwMode="auto">
            <a:xfrm>
              <a:off x="2414" y="3492"/>
              <a:ext cx="250" cy="373"/>
            </a:xfrm>
            <a:custGeom>
              <a:avLst/>
              <a:gdLst>
                <a:gd name="T0" fmla="*/ 105 w 105"/>
                <a:gd name="T1" fmla="*/ 157 h 157"/>
                <a:gd name="T2" fmla="*/ 105 w 105"/>
                <a:gd name="T3" fmla="*/ 154 h 157"/>
                <a:gd name="T4" fmla="*/ 104 w 105"/>
                <a:gd name="T5" fmla="*/ 147 h 157"/>
                <a:gd name="T6" fmla="*/ 101 w 105"/>
                <a:gd name="T7" fmla="*/ 121 h 157"/>
                <a:gd name="T8" fmla="*/ 92 w 105"/>
                <a:gd name="T9" fmla="*/ 35 h 157"/>
                <a:gd name="T10" fmla="*/ 88 w 105"/>
                <a:gd name="T11" fmla="*/ 1 h 157"/>
                <a:gd name="T12" fmla="*/ 89 w 105"/>
                <a:gd name="T13" fmla="*/ 2 h 157"/>
                <a:gd name="T14" fmla="*/ 25 w 105"/>
                <a:gd name="T15" fmla="*/ 2 h 157"/>
                <a:gd name="T16" fmla="*/ 7 w 105"/>
                <a:gd name="T17" fmla="*/ 1 h 157"/>
                <a:gd name="T18" fmla="*/ 2 w 105"/>
                <a:gd name="T19" fmla="*/ 1 h 157"/>
                <a:gd name="T20" fmla="*/ 0 w 105"/>
                <a:gd name="T21" fmla="*/ 1 h 157"/>
                <a:gd name="T22" fmla="*/ 2 w 105"/>
                <a:gd name="T23" fmla="*/ 1 h 157"/>
                <a:gd name="T24" fmla="*/ 7 w 105"/>
                <a:gd name="T25" fmla="*/ 1 h 157"/>
                <a:gd name="T26" fmla="*/ 25 w 105"/>
                <a:gd name="T27" fmla="*/ 0 h 157"/>
                <a:gd name="T28" fmla="*/ 89 w 105"/>
                <a:gd name="T29" fmla="*/ 0 h 157"/>
                <a:gd name="T30" fmla="*/ 90 w 105"/>
                <a:gd name="T31" fmla="*/ 0 h 157"/>
                <a:gd name="T32" fmla="*/ 90 w 105"/>
                <a:gd name="T33" fmla="*/ 1 h 157"/>
                <a:gd name="T34" fmla="*/ 94 w 105"/>
                <a:gd name="T35" fmla="*/ 34 h 157"/>
                <a:gd name="T36" fmla="*/ 102 w 105"/>
                <a:gd name="T37" fmla="*/ 121 h 157"/>
                <a:gd name="T38" fmla="*/ 105 w 105"/>
                <a:gd name="T39" fmla="*/ 147 h 157"/>
                <a:gd name="T40" fmla="*/ 105 w 105"/>
                <a:gd name="T41" fmla="*/ 154 h 157"/>
                <a:gd name="T42" fmla="*/ 105 w 105"/>
                <a:gd name="T43"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57">
                  <a:moveTo>
                    <a:pt x="105" y="157"/>
                  </a:moveTo>
                  <a:cubicBezTo>
                    <a:pt x="105" y="157"/>
                    <a:pt x="105" y="156"/>
                    <a:pt x="105" y="154"/>
                  </a:cubicBezTo>
                  <a:cubicBezTo>
                    <a:pt x="104" y="152"/>
                    <a:pt x="104" y="150"/>
                    <a:pt x="104" y="147"/>
                  </a:cubicBezTo>
                  <a:cubicBezTo>
                    <a:pt x="103" y="141"/>
                    <a:pt x="102" y="132"/>
                    <a:pt x="101" y="121"/>
                  </a:cubicBezTo>
                  <a:cubicBezTo>
                    <a:pt x="98" y="99"/>
                    <a:pt x="95" y="68"/>
                    <a:pt x="92" y="35"/>
                  </a:cubicBezTo>
                  <a:cubicBezTo>
                    <a:pt x="91" y="23"/>
                    <a:pt x="89" y="12"/>
                    <a:pt x="88" y="1"/>
                  </a:cubicBezTo>
                  <a:cubicBezTo>
                    <a:pt x="89" y="2"/>
                    <a:pt x="89" y="2"/>
                    <a:pt x="89" y="2"/>
                  </a:cubicBezTo>
                  <a:cubicBezTo>
                    <a:pt x="64" y="2"/>
                    <a:pt x="42" y="2"/>
                    <a:pt x="25" y="2"/>
                  </a:cubicBezTo>
                  <a:cubicBezTo>
                    <a:pt x="18" y="2"/>
                    <a:pt x="11" y="1"/>
                    <a:pt x="7" y="1"/>
                  </a:cubicBezTo>
                  <a:cubicBezTo>
                    <a:pt x="5" y="1"/>
                    <a:pt x="3" y="1"/>
                    <a:pt x="2" y="1"/>
                  </a:cubicBezTo>
                  <a:cubicBezTo>
                    <a:pt x="1" y="1"/>
                    <a:pt x="0" y="1"/>
                    <a:pt x="0" y="1"/>
                  </a:cubicBezTo>
                  <a:cubicBezTo>
                    <a:pt x="0" y="1"/>
                    <a:pt x="1" y="1"/>
                    <a:pt x="2" y="1"/>
                  </a:cubicBezTo>
                  <a:cubicBezTo>
                    <a:pt x="3" y="1"/>
                    <a:pt x="5" y="1"/>
                    <a:pt x="7" y="1"/>
                  </a:cubicBezTo>
                  <a:cubicBezTo>
                    <a:pt x="11" y="1"/>
                    <a:pt x="18" y="1"/>
                    <a:pt x="25" y="0"/>
                  </a:cubicBezTo>
                  <a:cubicBezTo>
                    <a:pt x="42" y="0"/>
                    <a:pt x="64" y="0"/>
                    <a:pt x="89" y="0"/>
                  </a:cubicBezTo>
                  <a:cubicBezTo>
                    <a:pt x="90" y="0"/>
                    <a:pt x="90" y="0"/>
                    <a:pt x="90" y="0"/>
                  </a:cubicBezTo>
                  <a:cubicBezTo>
                    <a:pt x="90" y="1"/>
                    <a:pt x="90" y="1"/>
                    <a:pt x="90" y="1"/>
                  </a:cubicBezTo>
                  <a:cubicBezTo>
                    <a:pt x="91" y="11"/>
                    <a:pt x="93" y="23"/>
                    <a:pt x="94" y="34"/>
                  </a:cubicBezTo>
                  <a:cubicBezTo>
                    <a:pt x="97" y="68"/>
                    <a:pt x="100" y="98"/>
                    <a:pt x="102" y="121"/>
                  </a:cubicBezTo>
                  <a:cubicBezTo>
                    <a:pt x="103" y="132"/>
                    <a:pt x="104" y="141"/>
                    <a:pt x="105" y="147"/>
                  </a:cubicBezTo>
                  <a:cubicBezTo>
                    <a:pt x="105" y="150"/>
                    <a:pt x="105" y="152"/>
                    <a:pt x="105" y="154"/>
                  </a:cubicBezTo>
                  <a:cubicBezTo>
                    <a:pt x="105" y="156"/>
                    <a:pt x="105" y="157"/>
                    <a:pt x="105" y="15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6">
              <a:extLst>
                <a:ext uri="{FF2B5EF4-FFF2-40B4-BE49-F238E27FC236}">
                  <a16:creationId xmlns:a16="http://schemas.microsoft.com/office/drawing/2014/main" id="{2B6E9D73-1976-4199-BCAA-F85461AB4A83}"/>
                </a:ext>
              </a:extLst>
            </p:cNvPr>
            <p:cNvSpPr>
              <a:spLocks/>
            </p:cNvSpPr>
            <p:nvPr/>
          </p:nvSpPr>
          <p:spPr bwMode="auto">
            <a:xfrm>
              <a:off x="2046" y="3668"/>
              <a:ext cx="618" cy="259"/>
            </a:xfrm>
            <a:custGeom>
              <a:avLst/>
              <a:gdLst>
                <a:gd name="T0" fmla="*/ 260 w 260"/>
                <a:gd name="T1" fmla="*/ 83 h 109"/>
                <a:gd name="T2" fmla="*/ 257 w 260"/>
                <a:gd name="T3" fmla="*/ 84 h 109"/>
                <a:gd name="T4" fmla="*/ 248 w 260"/>
                <a:gd name="T5" fmla="*/ 87 h 109"/>
                <a:gd name="T6" fmla="*/ 216 w 260"/>
                <a:gd name="T7" fmla="*/ 96 h 109"/>
                <a:gd name="T8" fmla="*/ 167 w 260"/>
                <a:gd name="T9" fmla="*/ 106 h 109"/>
                <a:gd name="T10" fmla="*/ 105 w 260"/>
                <a:gd name="T11" fmla="*/ 103 h 109"/>
                <a:gd name="T12" fmla="*/ 74 w 260"/>
                <a:gd name="T13" fmla="*/ 95 h 109"/>
                <a:gd name="T14" fmla="*/ 60 w 260"/>
                <a:gd name="T15" fmla="*/ 89 h 109"/>
                <a:gd name="T16" fmla="*/ 53 w 260"/>
                <a:gd name="T17" fmla="*/ 86 h 109"/>
                <a:gd name="T18" fmla="*/ 50 w 260"/>
                <a:gd name="T19" fmla="*/ 85 h 109"/>
                <a:gd name="T20" fmla="*/ 47 w 260"/>
                <a:gd name="T21" fmla="*/ 83 h 109"/>
                <a:gd name="T22" fmla="*/ 28 w 260"/>
                <a:gd name="T23" fmla="*/ 64 h 109"/>
                <a:gd name="T24" fmla="*/ 16 w 260"/>
                <a:gd name="T25" fmla="*/ 43 h 109"/>
                <a:gd name="T26" fmla="*/ 4 w 260"/>
                <a:gd name="T27" fmla="*/ 12 h 109"/>
                <a:gd name="T28" fmla="*/ 1 w 260"/>
                <a:gd name="T29" fmla="*/ 3 h 109"/>
                <a:gd name="T30" fmla="*/ 0 w 260"/>
                <a:gd name="T31" fmla="*/ 0 h 109"/>
                <a:gd name="T32" fmla="*/ 2 w 260"/>
                <a:gd name="T33" fmla="*/ 3 h 109"/>
                <a:gd name="T34" fmla="*/ 5 w 260"/>
                <a:gd name="T35" fmla="*/ 11 h 109"/>
                <a:gd name="T36" fmla="*/ 17 w 260"/>
                <a:gd name="T37" fmla="*/ 43 h 109"/>
                <a:gd name="T38" fmla="*/ 29 w 260"/>
                <a:gd name="T39" fmla="*/ 63 h 109"/>
                <a:gd name="T40" fmla="*/ 48 w 260"/>
                <a:gd name="T41" fmla="*/ 81 h 109"/>
                <a:gd name="T42" fmla="*/ 51 w 260"/>
                <a:gd name="T43" fmla="*/ 83 h 109"/>
                <a:gd name="T44" fmla="*/ 54 w 260"/>
                <a:gd name="T45" fmla="*/ 85 h 109"/>
                <a:gd name="T46" fmla="*/ 61 w 260"/>
                <a:gd name="T47" fmla="*/ 87 h 109"/>
                <a:gd name="T48" fmla="*/ 75 w 260"/>
                <a:gd name="T49" fmla="*/ 93 h 109"/>
                <a:gd name="T50" fmla="*/ 106 w 260"/>
                <a:gd name="T51" fmla="*/ 101 h 109"/>
                <a:gd name="T52" fmla="*/ 166 w 260"/>
                <a:gd name="T53" fmla="*/ 104 h 109"/>
                <a:gd name="T54" fmla="*/ 215 w 260"/>
                <a:gd name="T55" fmla="*/ 95 h 109"/>
                <a:gd name="T56" fmla="*/ 248 w 260"/>
                <a:gd name="T57" fmla="*/ 86 h 109"/>
                <a:gd name="T58" fmla="*/ 257 w 260"/>
                <a:gd name="T59" fmla="*/ 83 h 109"/>
                <a:gd name="T60" fmla="*/ 260 w 260"/>
                <a:gd name="T61"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0" h="109">
                  <a:moveTo>
                    <a:pt x="260" y="83"/>
                  </a:moveTo>
                  <a:cubicBezTo>
                    <a:pt x="260" y="83"/>
                    <a:pt x="259" y="83"/>
                    <a:pt x="257" y="84"/>
                  </a:cubicBezTo>
                  <a:cubicBezTo>
                    <a:pt x="255" y="85"/>
                    <a:pt x="252" y="85"/>
                    <a:pt x="248" y="87"/>
                  </a:cubicBezTo>
                  <a:cubicBezTo>
                    <a:pt x="241" y="89"/>
                    <a:pt x="230" y="92"/>
                    <a:pt x="216" y="96"/>
                  </a:cubicBezTo>
                  <a:cubicBezTo>
                    <a:pt x="202" y="100"/>
                    <a:pt x="185" y="104"/>
                    <a:pt x="167" y="106"/>
                  </a:cubicBezTo>
                  <a:cubicBezTo>
                    <a:pt x="148" y="109"/>
                    <a:pt x="126" y="108"/>
                    <a:pt x="105" y="103"/>
                  </a:cubicBezTo>
                  <a:cubicBezTo>
                    <a:pt x="94" y="101"/>
                    <a:pt x="84" y="98"/>
                    <a:pt x="74" y="95"/>
                  </a:cubicBezTo>
                  <a:cubicBezTo>
                    <a:pt x="69" y="93"/>
                    <a:pt x="65" y="91"/>
                    <a:pt x="60" y="89"/>
                  </a:cubicBezTo>
                  <a:cubicBezTo>
                    <a:pt x="58" y="88"/>
                    <a:pt x="56" y="87"/>
                    <a:pt x="53" y="86"/>
                  </a:cubicBezTo>
                  <a:cubicBezTo>
                    <a:pt x="50" y="85"/>
                    <a:pt x="50" y="85"/>
                    <a:pt x="50" y="85"/>
                  </a:cubicBezTo>
                  <a:cubicBezTo>
                    <a:pt x="47" y="83"/>
                    <a:pt x="47" y="83"/>
                    <a:pt x="47" y="83"/>
                  </a:cubicBezTo>
                  <a:cubicBezTo>
                    <a:pt x="39" y="77"/>
                    <a:pt x="33" y="71"/>
                    <a:pt x="28" y="64"/>
                  </a:cubicBezTo>
                  <a:cubicBezTo>
                    <a:pt x="23" y="57"/>
                    <a:pt x="19" y="50"/>
                    <a:pt x="16" y="43"/>
                  </a:cubicBezTo>
                  <a:cubicBezTo>
                    <a:pt x="10" y="30"/>
                    <a:pt x="6" y="19"/>
                    <a:pt x="4" y="12"/>
                  </a:cubicBezTo>
                  <a:cubicBezTo>
                    <a:pt x="3" y="8"/>
                    <a:pt x="2" y="5"/>
                    <a:pt x="1" y="3"/>
                  </a:cubicBezTo>
                  <a:cubicBezTo>
                    <a:pt x="1" y="1"/>
                    <a:pt x="0" y="0"/>
                    <a:pt x="0" y="0"/>
                  </a:cubicBezTo>
                  <a:cubicBezTo>
                    <a:pt x="1" y="0"/>
                    <a:pt x="1" y="1"/>
                    <a:pt x="2" y="3"/>
                  </a:cubicBezTo>
                  <a:cubicBezTo>
                    <a:pt x="2" y="5"/>
                    <a:pt x="3" y="8"/>
                    <a:pt x="5" y="11"/>
                  </a:cubicBezTo>
                  <a:cubicBezTo>
                    <a:pt x="7" y="19"/>
                    <a:pt x="11" y="30"/>
                    <a:pt x="17" y="43"/>
                  </a:cubicBezTo>
                  <a:cubicBezTo>
                    <a:pt x="20" y="49"/>
                    <a:pt x="24" y="56"/>
                    <a:pt x="29" y="63"/>
                  </a:cubicBezTo>
                  <a:cubicBezTo>
                    <a:pt x="34" y="69"/>
                    <a:pt x="40" y="76"/>
                    <a:pt x="48" y="81"/>
                  </a:cubicBezTo>
                  <a:cubicBezTo>
                    <a:pt x="51" y="83"/>
                    <a:pt x="51" y="83"/>
                    <a:pt x="51" y="83"/>
                  </a:cubicBezTo>
                  <a:cubicBezTo>
                    <a:pt x="54" y="85"/>
                    <a:pt x="54" y="85"/>
                    <a:pt x="54" y="85"/>
                  </a:cubicBezTo>
                  <a:cubicBezTo>
                    <a:pt x="56" y="86"/>
                    <a:pt x="59" y="87"/>
                    <a:pt x="61" y="87"/>
                  </a:cubicBezTo>
                  <a:cubicBezTo>
                    <a:pt x="65" y="89"/>
                    <a:pt x="70" y="91"/>
                    <a:pt x="75" y="93"/>
                  </a:cubicBezTo>
                  <a:cubicBezTo>
                    <a:pt x="85" y="96"/>
                    <a:pt x="95" y="99"/>
                    <a:pt x="106" y="101"/>
                  </a:cubicBezTo>
                  <a:cubicBezTo>
                    <a:pt x="127" y="106"/>
                    <a:pt x="148" y="107"/>
                    <a:pt x="166" y="104"/>
                  </a:cubicBezTo>
                  <a:cubicBezTo>
                    <a:pt x="185" y="102"/>
                    <a:pt x="202" y="98"/>
                    <a:pt x="215" y="95"/>
                  </a:cubicBezTo>
                  <a:cubicBezTo>
                    <a:pt x="229" y="91"/>
                    <a:pt x="240" y="88"/>
                    <a:pt x="248" y="86"/>
                  </a:cubicBezTo>
                  <a:cubicBezTo>
                    <a:pt x="252" y="85"/>
                    <a:pt x="255" y="84"/>
                    <a:pt x="257" y="83"/>
                  </a:cubicBezTo>
                  <a:cubicBezTo>
                    <a:pt x="259" y="83"/>
                    <a:pt x="260" y="83"/>
                    <a:pt x="260" y="83"/>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17">
              <a:extLst>
                <a:ext uri="{FF2B5EF4-FFF2-40B4-BE49-F238E27FC236}">
                  <a16:creationId xmlns:a16="http://schemas.microsoft.com/office/drawing/2014/main" id="{5700E1D4-8BD1-4D4F-8396-47460A8F768E}"/>
                </a:ext>
              </a:extLst>
            </p:cNvPr>
            <p:cNvSpPr>
              <a:spLocks/>
            </p:cNvSpPr>
            <p:nvPr/>
          </p:nvSpPr>
          <p:spPr bwMode="auto">
            <a:xfrm>
              <a:off x="2265" y="1464"/>
              <a:ext cx="259" cy="216"/>
            </a:xfrm>
            <a:custGeom>
              <a:avLst/>
              <a:gdLst>
                <a:gd name="T0" fmla="*/ 100 w 109"/>
                <a:gd name="T1" fmla="*/ 75 h 91"/>
                <a:gd name="T2" fmla="*/ 89 w 109"/>
                <a:gd name="T3" fmla="*/ 19 h 91"/>
                <a:gd name="T4" fmla="*/ 32 w 109"/>
                <a:gd name="T5" fmla="*/ 6 h 91"/>
                <a:gd name="T6" fmla="*/ 10 w 109"/>
                <a:gd name="T7" fmla="*/ 22 h 91"/>
                <a:gd name="T8" fmla="*/ 12 w 109"/>
                <a:gd name="T9" fmla="*/ 68 h 91"/>
                <a:gd name="T10" fmla="*/ 56 w 109"/>
                <a:gd name="T11" fmla="*/ 90 h 91"/>
                <a:gd name="T12" fmla="*/ 105 w 109"/>
                <a:gd name="T13" fmla="*/ 80 h 91"/>
              </a:gdLst>
              <a:ahLst/>
              <a:cxnLst>
                <a:cxn ang="0">
                  <a:pos x="T0" y="T1"/>
                </a:cxn>
                <a:cxn ang="0">
                  <a:pos x="T2" y="T3"/>
                </a:cxn>
                <a:cxn ang="0">
                  <a:pos x="T4" y="T5"/>
                </a:cxn>
                <a:cxn ang="0">
                  <a:pos x="T6" y="T7"/>
                </a:cxn>
                <a:cxn ang="0">
                  <a:pos x="T8" y="T9"/>
                </a:cxn>
                <a:cxn ang="0">
                  <a:pos x="T10" y="T11"/>
                </a:cxn>
                <a:cxn ang="0">
                  <a:pos x="T12" y="T13"/>
                </a:cxn>
              </a:cxnLst>
              <a:rect l="0" t="0" r="r" b="b"/>
              <a:pathLst>
                <a:path w="109" h="91">
                  <a:moveTo>
                    <a:pt x="100" y="75"/>
                  </a:moveTo>
                  <a:cubicBezTo>
                    <a:pt x="109" y="56"/>
                    <a:pt x="103" y="33"/>
                    <a:pt x="89" y="19"/>
                  </a:cubicBezTo>
                  <a:cubicBezTo>
                    <a:pt x="74" y="5"/>
                    <a:pt x="51" y="0"/>
                    <a:pt x="32" y="6"/>
                  </a:cubicBezTo>
                  <a:cubicBezTo>
                    <a:pt x="23" y="9"/>
                    <a:pt x="15" y="14"/>
                    <a:pt x="10" y="22"/>
                  </a:cubicBezTo>
                  <a:cubicBezTo>
                    <a:pt x="0" y="35"/>
                    <a:pt x="2" y="55"/>
                    <a:pt x="12" y="68"/>
                  </a:cubicBezTo>
                  <a:cubicBezTo>
                    <a:pt x="22" y="82"/>
                    <a:pt x="39" y="89"/>
                    <a:pt x="56" y="90"/>
                  </a:cubicBezTo>
                  <a:cubicBezTo>
                    <a:pt x="73" y="91"/>
                    <a:pt x="89" y="86"/>
                    <a:pt x="105" y="8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8">
              <a:extLst>
                <a:ext uri="{FF2B5EF4-FFF2-40B4-BE49-F238E27FC236}">
                  <a16:creationId xmlns:a16="http://schemas.microsoft.com/office/drawing/2014/main" id="{60EC25EE-8F84-4726-9FDD-07DF557C3DC5}"/>
                </a:ext>
              </a:extLst>
            </p:cNvPr>
            <p:cNvSpPr>
              <a:spLocks/>
            </p:cNvSpPr>
            <p:nvPr/>
          </p:nvSpPr>
          <p:spPr bwMode="auto">
            <a:xfrm>
              <a:off x="2801" y="3081"/>
              <a:ext cx="328" cy="252"/>
            </a:xfrm>
            <a:custGeom>
              <a:avLst/>
              <a:gdLst>
                <a:gd name="T0" fmla="*/ 7 w 138"/>
                <a:gd name="T1" fmla="*/ 28 h 106"/>
                <a:gd name="T2" fmla="*/ 101 w 138"/>
                <a:gd name="T3" fmla="*/ 106 h 106"/>
                <a:gd name="T4" fmla="*/ 138 w 138"/>
                <a:gd name="T5" fmla="*/ 99 h 106"/>
                <a:gd name="T6" fmla="*/ 26 w 138"/>
                <a:gd name="T7" fmla="*/ 5 h 106"/>
                <a:gd name="T8" fmla="*/ 6 w 138"/>
                <a:gd name="T9" fmla="*/ 6 h 106"/>
                <a:gd name="T10" fmla="*/ 7 w 138"/>
                <a:gd name="T11" fmla="*/ 28 h 106"/>
              </a:gdLst>
              <a:ahLst/>
              <a:cxnLst>
                <a:cxn ang="0">
                  <a:pos x="T0" y="T1"/>
                </a:cxn>
                <a:cxn ang="0">
                  <a:pos x="T2" y="T3"/>
                </a:cxn>
                <a:cxn ang="0">
                  <a:pos x="T4" y="T5"/>
                </a:cxn>
                <a:cxn ang="0">
                  <a:pos x="T6" y="T7"/>
                </a:cxn>
                <a:cxn ang="0">
                  <a:pos x="T8" y="T9"/>
                </a:cxn>
                <a:cxn ang="0">
                  <a:pos x="T10" y="T11"/>
                </a:cxn>
              </a:cxnLst>
              <a:rect l="0" t="0" r="r" b="b"/>
              <a:pathLst>
                <a:path w="138" h="106">
                  <a:moveTo>
                    <a:pt x="7" y="28"/>
                  </a:moveTo>
                  <a:cubicBezTo>
                    <a:pt x="35" y="51"/>
                    <a:pt x="101" y="106"/>
                    <a:pt x="101" y="106"/>
                  </a:cubicBezTo>
                  <a:cubicBezTo>
                    <a:pt x="138" y="99"/>
                    <a:pt x="138" y="99"/>
                    <a:pt x="138" y="99"/>
                  </a:cubicBezTo>
                  <a:cubicBezTo>
                    <a:pt x="26" y="5"/>
                    <a:pt x="26" y="5"/>
                    <a:pt x="26" y="5"/>
                  </a:cubicBezTo>
                  <a:cubicBezTo>
                    <a:pt x="20" y="0"/>
                    <a:pt x="11" y="1"/>
                    <a:pt x="6" y="6"/>
                  </a:cubicBezTo>
                  <a:cubicBezTo>
                    <a:pt x="0" y="13"/>
                    <a:pt x="1" y="23"/>
                    <a:pt x="7" y="2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9">
              <a:extLst>
                <a:ext uri="{FF2B5EF4-FFF2-40B4-BE49-F238E27FC236}">
                  <a16:creationId xmlns:a16="http://schemas.microsoft.com/office/drawing/2014/main" id="{F9EF3BBA-3C70-4108-8F29-17A2D6610D66}"/>
                </a:ext>
              </a:extLst>
            </p:cNvPr>
            <p:cNvSpPr>
              <a:spLocks/>
            </p:cNvSpPr>
            <p:nvPr/>
          </p:nvSpPr>
          <p:spPr bwMode="auto">
            <a:xfrm>
              <a:off x="2771" y="3058"/>
              <a:ext cx="61" cy="61"/>
            </a:xfrm>
            <a:custGeom>
              <a:avLst/>
              <a:gdLst>
                <a:gd name="T0" fmla="*/ 17 w 26"/>
                <a:gd name="T1" fmla="*/ 26 h 26"/>
                <a:gd name="T2" fmla="*/ 3 w 26"/>
                <a:gd name="T3" fmla="*/ 13 h 26"/>
                <a:gd name="T4" fmla="*/ 2 w 26"/>
                <a:gd name="T5" fmla="*/ 3 h 26"/>
                <a:gd name="T6" fmla="*/ 12 w 26"/>
                <a:gd name="T7" fmla="*/ 3 h 26"/>
                <a:gd name="T8" fmla="*/ 26 w 26"/>
                <a:gd name="T9" fmla="*/ 15 h 26"/>
                <a:gd name="T10" fmla="*/ 17 w 26"/>
                <a:gd name="T11" fmla="*/ 26 h 26"/>
              </a:gdLst>
              <a:ahLst/>
              <a:cxnLst>
                <a:cxn ang="0">
                  <a:pos x="T0" y="T1"/>
                </a:cxn>
                <a:cxn ang="0">
                  <a:pos x="T2" y="T3"/>
                </a:cxn>
                <a:cxn ang="0">
                  <a:pos x="T4" y="T5"/>
                </a:cxn>
                <a:cxn ang="0">
                  <a:pos x="T6" y="T7"/>
                </a:cxn>
                <a:cxn ang="0">
                  <a:pos x="T8" y="T9"/>
                </a:cxn>
                <a:cxn ang="0">
                  <a:pos x="T10" y="T11"/>
                </a:cxn>
              </a:cxnLst>
              <a:rect l="0" t="0" r="r" b="b"/>
              <a:pathLst>
                <a:path w="26" h="26">
                  <a:moveTo>
                    <a:pt x="17" y="26"/>
                  </a:moveTo>
                  <a:cubicBezTo>
                    <a:pt x="3" y="13"/>
                    <a:pt x="3" y="13"/>
                    <a:pt x="3" y="13"/>
                  </a:cubicBezTo>
                  <a:cubicBezTo>
                    <a:pt x="0" y="10"/>
                    <a:pt x="0" y="6"/>
                    <a:pt x="2" y="3"/>
                  </a:cubicBezTo>
                  <a:cubicBezTo>
                    <a:pt x="5" y="0"/>
                    <a:pt x="9" y="0"/>
                    <a:pt x="12" y="3"/>
                  </a:cubicBezTo>
                  <a:cubicBezTo>
                    <a:pt x="26" y="15"/>
                    <a:pt x="26" y="15"/>
                    <a:pt x="26" y="15"/>
                  </a:cubicBezTo>
                  <a:lnTo>
                    <a:pt x="17" y="26"/>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0">
              <a:extLst>
                <a:ext uri="{FF2B5EF4-FFF2-40B4-BE49-F238E27FC236}">
                  <a16:creationId xmlns:a16="http://schemas.microsoft.com/office/drawing/2014/main" id="{3D52C19E-6018-4A58-B22A-93BD30C75994}"/>
                </a:ext>
              </a:extLst>
            </p:cNvPr>
            <p:cNvSpPr>
              <a:spLocks/>
            </p:cNvSpPr>
            <p:nvPr/>
          </p:nvSpPr>
          <p:spPr bwMode="auto">
            <a:xfrm>
              <a:off x="2868" y="3136"/>
              <a:ext cx="47" cy="50"/>
            </a:xfrm>
            <a:custGeom>
              <a:avLst/>
              <a:gdLst>
                <a:gd name="T0" fmla="*/ 20 w 20"/>
                <a:gd name="T1" fmla="*/ 0 h 21"/>
                <a:gd name="T2" fmla="*/ 11 w 20"/>
                <a:gd name="T3" fmla="*/ 11 h 21"/>
                <a:gd name="T4" fmla="*/ 0 w 20"/>
                <a:gd name="T5" fmla="*/ 21 h 21"/>
                <a:gd name="T6" fmla="*/ 9 w 20"/>
                <a:gd name="T7" fmla="*/ 10 h 21"/>
                <a:gd name="T8" fmla="*/ 20 w 20"/>
                <a:gd name="T9" fmla="*/ 0 h 21"/>
              </a:gdLst>
              <a:ahLst/>
              <a:cxnLst>
                <a:cxn ang="0">
                  <a:pos x="T0" y="T1"/>
                </a:cxn>
                <a:cxn ang="0">
                  <a:pos x="T2" y="T3"/>
                </a:cxn>
                <a:cxn ang="0">
                  <a:pos x="T4" y="T5"/>
                </a:cxn>
                <a:cxn ang="0">
                  <a:pos x="T6" y="T7"/>
                </a:cxn>
                <a:cxn ang="0">
                  <a:pos x="T8" y="T9"/>
                </a:cxn>
              </a:cxnLst>
              <a:rect l="0" t="0" r="r" b="b"/>
              <a:pathLst>
                <a:path w="20" h="21">
                  <a:moveTo>
                    <a:pt x="20" y="0"/>
                  </a:moveTo>
                  <a:cubicBezTo>
                    <a:pt x="20" y="1"/>
                    <a:pt x="16" y="5"/>
                    <a:pt x="11" y="11"/>
                  </a:cubicBezTo>
                  <a:cubicBezTo>
                    <a:pt x="5" y="17"/>
                    <a:pt x="0" y="21"/>
                    <a:pt x="0" y="21"/>
                  </a:cubicBezTo>
                  <a:cubicBezTo>
                    <a:pt x="0" y="20"/>
                    <a:pt x="4" y="15"/>
                    <a:pt x="9" y="10"/>
                  </a:cubicBezTo>
                  <a:cubicBezTo>
                    <a:pt x="14" y="4"/>
                    <a:pt x="19" y="0"/>
                    <a:pt x="2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1">
              <a:extLst>
                <a:ext uri="{FF2B5EF4-FFF2-40B4-BE49-F238E27FC236}">
                  <a16:creationId xmlns:a16="http://schemas.microsoft.com/office/drawing/2014/main" id="{E245DFF5-C071-4E6C-9BF6-88F3D40A9C54}"/>
                </a:ext>
              </a:extLst>
            </p:cNvPr>
            <p:cNvSpPr>
              <a:spLocks/>
            </p:cNvSpPr>
            <p:nvPr/>
          </p:nvSpPr>
          <p:spPr bwMode="auto">
            <a:xfrm>
              <a:off x="2797" y="3091"/>
              <a:ext cx="121" cy="154"/>
            </a:xfrm>
            <a:custGeom>
              <a:avLst/>
              <a:gdLst>
                <a:gd name="T0" fmla="*/ 51 w 51"/>
                <a:gd name="T1" fmla="*/ 65 h 65"/>
                <a:gd name="T2" fmla="*/ 39 w 51"/>
                <a:gd name="T3" fmla="*/ 58 h 65"/>
                <a:gd name="T4" fmla="*/ 14 w 51"/>
                <a:gd name="T5" fmla="*/ 38 h 65"/>
                <a:gd name="T6" fmla="*/ 3 w 51"/>
                <a:gd name="T7" fmla="*/ 24 h 65"/>
                <a:gd name="T8" fmla="*/ 2 w 51"/>
                <a:gd name="T9" fmla="*/ 10 h 65"/>
                <a:gd name="T10" fmla="*/ 8 w 51"/>
                <a:gd name="T11" fmla="*/ 2 h 65"/>
                <a:gd name="T12" fmla="*/ 11 w 51"/>
                <a:gd name="T13" fmla="*/ 0 h 65"/>
                <a:gd name="T14" fmla="*/ 9 w 51"/>
                <a:gd name="T15" fmla="*/ 2 h 65"/>
                <a:gd name="T16" fmla="*/ 4 w 51"/>
                <a:gd name="T17" fmla="*/ 10 h 65"/>
                <a:gd name="T18" fmla="*/ 4 w 51"/>
                <a:gd name="T19" fmla="*/ 23 h 65"/>
                <a:gd name="T20" fmla="*/ 16 w 51"/>
                <a:gd name="T21" fmla="*/ 36 h 65"/>
                <a:gd name="T22" fmla="*/ 40 w 51"/>
                <a:gd name="T23" fmla="*/ 57 h 65"/>
                <a:gd name="T24" fmla="*/ 51 w 51"/>
                <a:gd name="T2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65">
                  <a:moveTo>
                    <a:pt x="51" y="65"/>
                  </a:moveTo>
                  <a:cubicBezTo>
                    <a:pt x="50" y="65"/>
                    <a:pt x="46" y="63"/>
                    <a:pt x="39" y="58"/>
                  </a:cubicBezTo>
                  <a:cubicBezTo>
                    <a:pt x="33" y="53"/>
                    <a:pt x="24" y="46"/>
                    <a:pt x="14" y="38"/>
                  </a:cubicBezTo>
                  <a:cubicBezTo>
                    <a:pt x="10" y="34"/>
                    <a:pt x="5" y="30"/>
                    <a:pt x="3" y="24"/>
                  </a:cubicBezTo>
                  <a:cubicBezTo>
                    <a:pt x="0" y="19"/>
                    <a:pt x="1" y="14"/>
                    <a:pt x="2" y="10"/>
                  </a:cubicBezTo>
                  <a:cubicBezTo>
                    <a:pt x="4" y="6"/>
                    <a:pt x="6" y="3"/>
                    <a:pt x="8" y="2"/>
                  </a:cubicBezTo>
                  <a:cubicBezTo>
                    <a:pt x="10" y="0"/>
                    <a:pt x="11" y="0"/>
                    <a:pt x="11" y="0"/>
                  </a:cubicBezTo>
                  <a:cubicBezTo>
                    <a:pt x="11" y="0"/>
                    <a:pt x="10" y="1"/>
                    <a:pt x="9" y="2"/>
                  </a:cubicBezTo>
                  <a:cubicBezTo>
                    <a:pt x="7" y="4"/>
                    <a:pt x="5" y="6"/>
                    <a:pt x="4" y="10"/>
                  </a:cubicBezTo>
                  <a:cubicBezTo>
                    <a:pt x="2" y="14"/>
                    <a:pt x="2" y="19"/>
                    <a:pt x="4" y="23"/>
                  </a:cubicBezTo>
                  <a:cubicBezTo>
                    <a:pt x="7" y="28"/>
                    <a:pt x="11" y="32"/>
                    <a:pt x="16" y="36"/>
                  </a:cubicBezTo>
                  <a:cubicBezTo>
                    <a:pt x="25" y="44"/>
                    <a:pt x="34" y="52"/>
                    <a:pt x="40" y="57"/>
                  </a:cubicBezTo>
                  <a:cubicBezTo>
                    <a:pt x="47" y="62"/>
                    <a:pt x="51" y="65"/>
                    <a:pt x="51" y="6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2">
              <a:extLst>
                <a:ext uri="{FF2B5EF4-FFF2-40B4-BE49-F238E27FC236}">
                  <a16:creationId xmlns:a16="http://schemas.microsoft.com/office/drawing/2014/main" id="{70A7DDFA-DD13-4997-98AD-624F90DAC514}"/>
                </a:ext>
              </a:extLst>
            </p:cNvPr>
            <p:cNvSpPr>
              <a:spLocks/>
            </p:cNvSpPr>
            <p:nvPr/>
          </p:nvSpPr>
          <p:spPr bwMode="auto">
            <a:xfrm>
              <a:off x="2630" y="3312"/>
              <a:ext cx="637" cy="520"/>
            </a:xfrm>
            <a:custGeom>
              <a:avLst/>
              <a:gdLst>
                <a:gd name="T0" fmla="*/ 0 w 268"/>
                <a:gd name="T1" fmla="*/ 90 h 219"/>
                <a:gd name="T2" fmla="*/ 81 w 268"/>
                <a:gd name="T3" fmla="*/ 78 h 219"/>
                <a:gd name="T4" fmla="*/ 106 w 268"/>
                <a:gd name="T5" fmla="*/ 65 h 219"/>
                <a:gd name="T6" fmla="*/ 125 w 268"/>
                <a:gd name="T7" fmla="*/ 38 h 219"/>
                <a:gd name="T8" fmla="*/ 216 w 268"/>
                <a:gd name="T9" fmla="*/ 2 h 219"/>
                <a:gd name="T10" fmla="*/ 240 w 268"/>
                <a:gd name="T11" fmla="*/ 2 h 219"/>
                <a:gd name="T12" fmla="*/ 257 w 268"/>
                <a:gd name="T13" fmla="*/ 17 h 219"/>
                <a:gd name="T14" fmla="*/ 246 w 268"/>
                <a:gd name="T15" fmla="*/ 35 h 219"/>
                <a:gd name="T16" fmla="*/ 260 w 268"/>
                <a:gd name="T17" fmla="*/ 50 h 219"/>
                <a:gd name="T18" fmla="*/ 261 w 268"/>
                <a:gd name="T19" fmla="*/ 72 h 219"/>
                <a:gd name="T20" fmla="*/ 268 w 268"/>
                <a:gd name="T21" fmla="*/ 102 h 219"/>
                <a:gd name="T22" fmla="*/ 243 w 268"/>
                <a:gd name="T23" fmla="*/ 133 h 219"/>
                <a:gd name="T24" fmla="*/ 201 w 268"/>
                <a:gd name="T25" fmla="*/ 141 h 219"/>
                <a:gd name="T26" fmla="*/ 14 w 268"/>
                <a:gd name="T27"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8" h="219">
                  <a:moveTo>
                    <a:pt x="0" y="90"/>
                  </a:moveTo>
                  <a:cubicBezTo>
                    <a:pt x="26" y="81"/>
                    <a:pt x="54" y="87"/>
                    <a:pt x="81" y="78"/>
                  </a:cubicBezTo>
                  <a:cubicBezTo>
                    <a:pt x="90" y="75"/>
                    <a:pt x="99" y="72"/>
                    <a:pt x="106" y="65"/>
                  </a:cubicBezTo>
                  <a:cubicBezTo>
                    <a:pt x="114" y="58"/>
                    <a:pt x="119" y="47"/>
                    <a:pt x="125" y="38"/>
                  </a:cubicBezTo>
                  <a:cubicBezTo>
                    <a:pt x="145" y="11"/>
                    <a:pt x="183" y="5"/>
                    <a:pt x="216" y="2"/>
                  </a:cubicBezTo>
                  <a:cubicBezTo>
                    <a:pt x="224" y="1"/>
                    <a:pt x="232" y="0"/>
                    <a:pt x="240" y="2"/>
                  </a:cubicBezTo>
                  <a:cubicBezTo>
                    <a:pt x="248" y="4"/>
                    <a:pt x="255" y="9"/>
                    <a:pt x="257" y="17"/>
                  </a:cubicBezTo>
                  <a:cubicBezTo>
                    <a:pt x="259" y="24"/>
                    <a:pt x="254" y="34"/>
                    <a:pt x="246" y="35"/>
                  </a:cubicBezTo>
                  <a:cubicBezTo>
                    <a:pt x="254" y="35"/>
                    <a:pt x="259" y="42"/>
                    <a:pt x="260" y="50"/>
                  </a:cubicBezTo>
                  <a:cubicBezTo>
                    <a:pt x="262" y="57"/>
                    <a:pt x="260" y="64"/>
                    <a:pt x="261" y="72"/>
                  </a:cubicBezTo>
                  <a:cubicBezTo>
                    <a:pt x="263" y="82"/>
                    <a:pt x="268" y="91"/>
                    <a:pt x="268" y="102"/>
                  </a:cubicBezTo>
                  <a:cubicBezTo>
                    <a:pt x="268" y="116"/>
                    <a:pt x="256" y="127"/>
                    <a:pt x="243" y="133"/>
                  </a:cubicBezTo>
                  <a:cubicBezTo>
                    <a:pt x="230" y="138"/>
                    <a:pt x="215" y="139"/>
                    <a:pt x="201" y="141"/>
                  </a:cubicBezTo>
                  <a:cubicBezTo>
                    <a:pt x="133" y="151"/>
                    <a:pt x="80" y="190"/>
                    <a:pt x="14" y="219"/>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3">
              <a:extLst>
                <a:ext uri="{FF2B5EF4-FFF2-40B4-BE49-F238E27FC236}">
                  <a16:creationId xmlns:a16="http://schemas.microsoft.com/office/drawing/2014/main" id="{0B9C4021-FD46-40F9-804E-A2EAE2E9E583}"/>
                </a:ext>
              </a:extLst>
            </p:cNvPr>
            <p:cNvSpPr>
              <a:spLocks/>
            </p:cNvSpPr>
            <p:nvPr/>
          </p:nvSpPr>
          <p:spPr bwMode="auto">
            <a:xfrm>
              <a:off x="3181" y="3343"/>
              <a:ext cx="114" cy="123"/>
            </a:xfrm>
            <a:custGeom>
              <a:avLst/>
              <a:gdLst>
                <a:gd name="T0" fmla="*/ 29 w 48"/>
                <a:gd name="T1" fmla="*/ 46 h 52"/>
                <a:gd name="T2" fmla="*/ 42 w 48"/>
                <a:gd name="T3" fmla="*/ 49 h 52"/>
                <a:gd name="T4" fmla="*/ 48 w 48"/>
                <a:gd name="T5" fmla="*/ 35 h 52"/>
                <a:gd name="T6" fmla="*/ 41 w 48"/>
                <a:gd name="T7" fmla="*/ 21 h 52"/>
                <a:gd name="T8" fmla="*/ 22 w 48"/>
                <a:gd name="T9" fmla="*/ 0 h 52"/>
                <a:gd name="T10" fmla="*/ 0 w 48"/>
                <a:gd name="T11" fmla="*/ 17 h 52"/>
                <a:gd name="T12" fmla="*/ 29 w 48"/>
                <a:gd name="T13" fmla="*/ 46 h 52"/>
              </a:gdLst>
              <a:ahLst/>
              <a:cxnLst>
                <a:cxn ang="0">
                  <a:pos x="T0" y="T1"/>
                </a:cxn>
                <a:cxn ang="0">
                  <a:pos x="T2" y="T3"/>
                </a:cxn>
                <a:cxn ang="0">
                  <a:pos x="T4" y="T5"/>
                </a:cxn>
                <a:cxn ang="0">
                  <a:pos x="T6" y="T7"/>
                </a:cxn>
                <a:cxn ang="0">
                  <a:pos x="T8" y="T9"/>
                </a:cxn>
                <a:cxn ang="0">
                  <a:pos x="T10" y="T11"/>
                </a:cxn>
                <a:cxn ang="0">
                  <a:pos x="T12" y="T13"/>
                </a:cxn>
              </a:cxnLst>
              <a:rect l="0" t="0" r="r" b="b"/>
              <a:pathLst>
                <a:path w="48" h="52">
                  <a:moveTo>
                    <a:pt x="29" y="46"/>
                  </a:moveTo>
                  <a:cubicBezTo>
                    <a:pt x="31" y="51"/>
                    <a:pt x="38" y="52"/>
                    <a:pt x="42" y="49"/>
                  </a:cubicBezTo>
                  <a:cubicBezTo>
                    <a:pt x="47" y="46"/>
                    <a:pt x="48" y="40"/>
                    <a:pt x="48" y="35"/>
                  </a:cubicBezTo>
                  <a:cubicBezTo>
                    <a:pt x="47" y="30"/>
                    <a:pt x="44" y="25"/>
                    <a:pt x="41" y="21"/>
                  </a:cubicBezTo>
                  <a:cubicBezTo>
                    <a:pt x="35" y="13"/>
                    <a:pt x="29" y="6"/>
                    <a:pt x="22" y="0"/>
                  </a:cubicBezTo>
                  <a:cubicBezTo>
                    <a:pt x="0" y="17"/>
                    <a:pt x="0" y="17"/>
                    <a:pt x="0" y="17"/>
                  </a:cubicBezTo>
                  <a:lnTo>
                    <a:pt x="29" y="46"/>
                  </a:lnTo>
                  <a:close/>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4">
              <a:extLst>
                <a:ext uri="{FF2B5EF4-FFF2-40B4-BE49-F238E27FC236}">
                  <a16:creationId xmlns:a16="http://schemas.microsoft.com/office/drawing/2014/main" id="{24B26800-CB44-4F3D-96E1-B5EACBA5EBC1}"/>
                </a:ext>
              </a:extLst>
            </p:cNvPr>
            <p:cNvSpPr>
              <a:spLocks/>
            </p:cNvSpPr>
            <p:nvPr/>
          </p:nvSpPr>
          <p:spPr bwMode="auto">
            <a:xfrm>
              <a:off x="3096" y="3392"/>
              <a:ext cx="135" cy="27"/>
            </a:xfrm>
            <a:custGeom>
              <a:avLst/>
              <a:gdLst>
                <a:gd name="T0" fmla="*/ 57 w 57"/>
                <a:gd name="T1" fmla="*/ 2 h 11"/>
                <a:gd name="T2" fmla="*/ 28 w 57"/>
                <a:gd name="T3" fmla="*/ 4 h 11"/>
                <a:gd name="T4" fmla="*/ 0 w 57"/>
                <a:gd name="T5" fmla="*/ 10 h 11"/>
                <a:gd name="T6" fmla="*/ 8 w 57"/>
                <a:gd name="T7" fmla="*/ 7 h 11"/>
                <a:gd name="T8" fmla="*/ 28 w 57"/>
                <a:gd name="T9" fmla="*/ 2 h 11"/>
                <a:gd name="T10" fmla="*/ 49 w 57"/>
                <a:gd name="T11" fmla="*/ 1 h 11"/>
                <a:gd name="T12" fmla="*/ 57 w 57"/>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57" h="11">
                  <a:moveTo>
                    <a:pt x="57" y="2"/>
                  </a:moveTo>
                  <a:cubicBezTo>
                    <a:pt x="57" y="2"/>
                    <a:pt x="44" y="1"/>
                    <a:pt x="28" y="4"/>
                  </a:cubicBezTo>
                  <a:cubicBezTo>
                    <a:pt x="13" y="6"/>
                    <a:pt x="0" y="11"/>
                    <a:pt x="0" y="10"/>
                  </a:cubicBezTo>
                  <a:cubicBezTo>
                    <a:pt x="0" y="10"/>
                    <a:pt x="3" y="9"/>
                    <a:pt x="8" y="7"/>
                  </a:cubicBezTo>
                  <a:cubicBezTo>
                    <a:pt x="13" y="5"/>
                    <a:pt x="20" y="3"/>
                    <a:pt x="28" y="2"/>
                  </a:cubicBezTo>
                  <a:cubicBezTo>
                    <a:pt x="36" y="1"/>
                    <a:pt x="43" y="0"/>
                    <a:pt x="49" y="1"/>
                  </a:cubicBezTo>
                  <a:cubicBezTo>
                    <a:pt x="54" y="1"/>
                    <a:pt x="57" y="2"/>
                    <a:pt x="57" y="2"/>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25">
              <a:extLst>
                <a:ext uri="{FF2B5EF4-FFF2-40B4-BE49-F238E27FC236}">
                  <a16:creationId xmlns:a16="http://schemas.microsoft.com/office/drawing/2014/main" id="{CF79EBE7-EDCC-45D5-AB9B-F0A0B334D16D}"/>
                </a:ext>
              </a:extLst>
            </p:cNvPr>
            <p:cNvSpPr>
              <a:spLocks/>
            </p:cNvSpPr>
            <p:nvPr/>
          </p:nvSpPr>
          <p:spPr bwMode="auto">
            <a:xfrm>
              <a:off x="3136" y="3487"/>
              <a:ext cx="119" cy="12"/>
            </a:xfrm>
            <a:custGeom>
              <a:avLst/>
              <a:gdLst>
                <a:gd name="T0" fmla="*/ 49 w 50"/>
                <a:gd name="T1" fmla="*/ 3 h 5"/>
                <a:gd name="T2" fmla="*/ 25 w 50"/>
                <a:gd name="T3" fmla="*/ 2 h 5"/>
                <a:gd name="T4" fmla="*/ 1 w 50"/>
                <a:gd name="T5" fmla="*/ 5 h 5"/>
                <a:gd name="T6" fmla="*/ 25 w 50"/>
                <a:gd name="T7" fmla="*/ 0 h 5"/>
                <a:gd name="T8" fmla="*/ 49 w 50"/>
                <a:gd name="T9" fmla="*/ 3 h 5"/>
              </a:gdLst>
              <a:ahLst/>
              <a:cxnLst>
                <a:cxn ang="0">
                  <a:pos x="T0" y="T1"/>
                </a:cxn>
                <a:cxn ang="0">
                  <a:pos x="T2" y="T3"/>
                </a:cxn>
                <a:cxn ang="0">
                  <a:pos x="T4" y="T5"/>
                </a:cxn>
                <a:cxn ang="0">
                  <a:pos x="T6" y="T7"/>
                </a:cxn>
                <a:cxn ang="0">
                  <a:pos x="T8" y="T9"/>
                </a:cxn>
              </a:cxnLst>
              <a:rect l="0" t="0" r="r" b="b"/>
              <a:pathLst>
                <a:path w="50" h="5">
                  <a:moveTo>
                    <a:pt x="49" y="3"/>
                  </a:moveTo>
                  <a:cubicBezTo>
                    <a:pt x="49" y="4"/>
                    <a:pt x="38" y="2"/>
                    <a:pt x="25" y="2"/>
                  </a:cubicBezTo>
                  <a:cubicBezTo>
                    <a:pt x="12" y="3"/>
                    <a:pt x="1" y="5"/>
                    <a:pt x="1" y="5"/>
                  </a:cubicBezTo>
                  <a:cubicBezTo>
                    <a:pt x="0" y="4"/>
                    <a:pt x="11" y="0"/>
                    <a:pt x="25" y="0"/>
                  </a:cubicBezTo>
                  <a:cubicBezTo>
                    <a:pt x="39" y="0"/>
                    <a:pt x="50" y="3"/>
                    <a:pt x="49" y="3"/>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26">
              <a:extLst>
                <a:ext uri="{FF2B5EF4-FFF2-40B4-BE49-F238E27FC236}">
                  <a16:creationId xmlns:a16="http://schemas.microsoft.com/office/drawing/2014/main" id="{5173DE90-1086-4828-B57E-86F25AC01571}"/>
                </a:ext>
              </a:extLst>
            </p:cNvPr>
            <p:cNvSpPr>
              <a:spLocks/>
            </p:cNvSpPr>
            <p:nvPr/>
          </p:nvSpPr>
          <p:spPr bwMode="auto">
            <a:xfrm>
              <a:off x="3224" y="3345"/>
              <a:ext cx="26" cy="121"/>
            </a:xfrm>
            <a:custGeom>
              <a:avLst/>
              <a:gdLst>
                <a:gd name="T0" fmla="*/ 10 w 11"/>
                <a:gd name="T1" fmla="*/ 51 h 51"/>
                <a:gd name="T2" fmla="*/ 10 w 11"/>
                <a:gd name="T3" fmla="*/ 43 h 51"/>
                <a:gd name="T4" fmla="*/ 3 w 11"/>
                <a:gd name="T5" fmla="*/ 25 h 51"/>
                <a:gd name="T6" fmla="*/ 0 w 11"/>
                <a:gd name="T7" fmla="*/ 22 h 51"/>
                <a:gd name="T8" fmla="*/ 0 w 11"/>
                <a:gd name="T9" fmla="*/ 21 h 51"/>
                <a:gd name="T10" fmla="*/ 0 w 11"/>
                <a:gd name="T11" fmla="*/ 20 h 51"/>
                <a:gd name="T12" fmla="*/ 6 w 11"/>
                <a:gd name="T13" fmla="*/ 6 h 51"/>
                <a:gd name="T14" fmla="*/ 5 w 11"/>
                <a:gd name="T15" fmla="*/ 0 h 51"/>
                <a:gd name="T16" fmla="*/ 7 w 11"/>
                <a:gd name="T17" fmla="*/ 6 h 51"/>
                <a:gd name="T18" fmla="*/ 2 w 11"/>
                <a:gd name="T19" fmla="*/ 22 h 51"/>
                <a:gd name="T20" fmla="*/ 2 w 11"/>
                <a:gd name="T21" fmla="*/ 20 h 51"/>
                <a:gd name="T22" fmla="*/ 5 w 11"/>
                <a:gd name="T23" fmla="*/ 24 h 51"/>
                <a:gd name="T24" fmla="*/ 11 w 11"/>
                <a:gd name="T25" fmla="*/ 43 h 51"/>
                <a:gd name="T26" fmla="*/ 10 w 11"/>
                <a:gd name="T2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51">
                  <a:moveTo>
                    <a:pt x="10" y="51"/>
                  </a:moveTo>
                  <a:cubicBezTo>
                    <a:pt x="10" y="51"/>
                    <a:pt x="10" y="48"/>
                    <a:pt x="10" y="43"/>
                  </a:cubicBezTo>
                  <a:cubicBezTo>
                    <a:pt x="9" y="38"/>
                    <a:pt x="7" y="32"/>
                    <a:pt x="3" y="25"/>
                  </a:cubicBezTo>
                  <a:cubicBezTo>
                    <a:pt x="2" y="24"/>
                    <a:pt x="1" y="23"/>
                    <a:pt x="0" y="22"/>
                  </a:cubicBezTo>
                  <a:cubicBezTo>
                    <a:pt x="0" y="21"/>
                    <a:pt x="0" y="21"/>
                    <a:pt x="0" y="21"/>
                  </a:cubicBezTo>
                  <a:cubicBezTo>
                    <a:pt x="0" y="20"/>
                    <a:pt x="0" y="20"/>
                    <a:pt x="0" y="20"/>
                  </a:cubicBezTo>
                  <a:cubicBezTo>
                    <a:pt x="5" y="16"/>
                    <a:pt x="6" y="10"/>
                    <a:pt x="6" y="6"/>
                  </a:cubicBezTo>
                  <a:cubicBezTo>
                    <a:pt x="6" y="2"/>
                    <a:pt x="5" y="0"/>
                    <a:pt x="5" y="0"/>
                  </a:cubicBezTo>
                  <a:cubicBezTo>
                    <a:pt x="5" y="0"/>
                    <a:pt x="7" y="2"/>
                    <a:pt x="7" y="6"/>
                  </a:cubicBezTo>
                  <a:cubicBezTo>
                    <a:pt x="8" y="10"/>
                    <a:pt x="7" y="17"/>
                    <a:pt x="2" y="22"/>
                  </a:cubicBezTo>
                  <a:cubicBezTo>
                    <a:pt x="2" y="20"/>
                    <a:pt x="2" y="20"/>
                    <a:pt x="2" y="20"/>
                  </a:cubicBezTo>
                  <a:cubicBezTo>
                    <a:pt x="3" y="22"/>
                    <a:pt x="4" y="23"/>
                    <a:pt x="5" y="24"/>
                  </a:cubicBezTo>
                  <a:cubicBezTo>
                    <a:pt x="9" y="31"/>
                    <a:pt x="11" y="38"/>
                    <a:pt x="11" y="43"/>
                  </a:cubicBezTo>
                  <a:cubicBezTo>
                    <a:pt x="11" y="48"/>
                    <a:pt x="10" y="51"/>
                    <a:pt x="10" y="51"/>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27">
              <a:extLst>
                <a:ext uri="{FF2B5EF4-FFF2-40B4-BE49-F238E27FC236}">
                  <a16:creationId xmlns:a16="http://schemas.microsoft.com/office/drawing/2014/main" id="{B4A632D2-5429-4088-8ADF-C6A5BC13912D}"/>
                </a:ext>
              </a:extLst>
            </p:cNvPr>
            <p:cNvSpPr>
              <a:spLocks/>
            </p:cNvSpPr>
            <p:nvPr/>
          </p:nvSpPr>
          <p:spPr bwMode="auto">
            <a:xfrm>
              <a:off x="3248" y="3447"/>
              <a:ext cx="95" cy="124"/>
            </a:xfrm>
            <a:custGeom>
              <a:avLst/>
              <a:gdLst>
                <a:gd name="T0" fmla="*/ 1 w 40"/>
                <a:gd name="T1" fmla="*/ 0 h 52"/>
                <a:gd name="T2" fmla="*/ 36 w 40"/>
                <a:gd name="T3" fmla="*/ 33 h 52"/>
                <a:gd name="T4" fmla="*/ 40 w 40"/>
                <a:gd name="T5" fmla="*/ 52 h 52"/>
                <a:gd name="T6" fmla="*/ 8 w 40"/>
                <a:gd name="T7" fmla="*/ 45 h 52"/>
                <a:gd name="T8" fmla="*/ 1 w 40"/>
                <a:gd name="T9" fmla="*/ 0 h 52"/>
              </a:gdLst>
              <a:ahLst/>
              <a:cxnLst>
                <a:cxn ang="0">
                  <a:pos x="T0" y="T1"/>
                </a:cxn>
                <a:cxn ang="0">
                  <a:pos x="T2" y="T3"/>
                </a:cxn>
                <a:cxn ang="0">
                  <a:pos x="T4" y="T5"/>
                </a:cxn>
                <a:cxn ang="0">
                  <a:pos x="T6" y="T7"/>
                </a:cxn>
                <a:cxn ang="0">
                  <a:pos x="T8" y="T9"/>
                </a:cxn>
              </a:cxnLst>
              <a:rect l="0" t="0" r="r" b="b"/>
              <a:pathLst>
                <a:path w="40" h="52">
                  <a:moveTo>
                    <a:pt x="1" y="0"/>
                  </a:moveTo>
                  <a:cubicBezTo>
                    <a:pt x="36" y="33"/>
                    <a:pt x="36" y="33"/>
                    <a:pt x="36" y="33"/>
                  </a:cubicBezTo>
                  <a:cubicBezTo>
                    <a:pt x="40" y="52"/>
                    <a:pt x="40" y="52"/>
                    <a:pt x="40" y="52"/>
                  </a:cubicBezTo>
                  <a:cubicBezTo>
                    <a:pt x="8" y="45"/>
                    <a:pt x="8" y="45"/>
                    <a:pt x="8" y="45"/>
                  </a:cubicBezTo>
                  <a:cubicBezTo>
                    <a:pt x="3" y="28"/>
                    <a:pt x="0" y="13"/>
                    <a:pt x="1" y="0"/>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28">
              <a:extLst>
                <a:ext uri="{FF2B5EF4-FFF2-40B4-BE49-F238E27FC236}">
                  <a16:creationId xmlns:a16="http://schemas.microsoft.com/office/drawing/2014/main" id="{D857144F-3982-4898-8030-D1A8536A8E3E}"/>
                </a:ext>
              </a:extLst>
            </p:cNvPr>
            <p:cNvSpPr>
              <a:spLocks/>
            </p:cNvSpPr>
            <p:nvPr/>
          </p:nvSpPr>
          <p:spPr bwMode="auto">
            <a:xfrm>
              <a:off x="2690" y="3525"/>
              <a:ext cx="1018" cy="290"/>
            </a:xfrm>
            <a:custGeom>
              <a:avLst/>
              <a:gdLst>
                <a:gd name="T0" fmla="*/ 189 w 429"/>
                <a:gd name="T1" fmla="*/ 8 h 122"/>
                <a:gd name="T2" fmla="*/ 0 w 429"/>
                <a:gd name="T3" fmla="*/ 102 h 122"/>
                <a:gd name="T4" fmla="*/ 0 w 429"/>
                <a:gd name="T5" fmla="*/ 122 h 122"/>
                <a:gd name="T6" fmla="*/ 192 w 429"/>
                <a:gd name="T7" fmla="*/ 23 h 122"/>
                <a:gd name="T8" fmla="*/ 429 w 429"/>
                <a:gd name="T9" fmla="*/ 14 h 122"/>
                <a:gd name="T10" fmla="*/ 429 w 429"/>
                <a:gd name="T11" fmla="*/ 0 h 122"/>
                <a:gd name="T12" fmla="*/ 189 w 429"/>
                <a:gd name="T13" fmla="*/ 8 h 122"/>
              </a:gdLst>
              <a:ahLst/>
              <a:cxnLst>
                <a:cxn ang="0">
                  <a:pos x="T0" y="T1"/>
                </a:cxn>
                <a:cxn ang="0">
                  <a:pos x="T2" y="T3"/>
                </a:cxn>
                <a:cxn ang="0">
                  <a:pos x="T4" y="T5"/>
                </a:cxn>
                <a:cxn ang="0">
                  <a:pos x="T6" y="T7"/>
                </a:cxn>
                <a:cxn ang="0">
                  <a:pos x="T8" y="T9"/>
                </a:cxn>
                <a:cxn ang="0">
                  <a:pos x="T10" y="T11"/>
                </a:cxn>
                <a:cxn ang="0">
                  <a:pos x="T12" y="T13"/>
                </a:cxn>
              </a:cxnLst>
              <a:rect l="0" t="0" r="r" b="b"/>
              <a:pathLst>
                <a:path w="429" h="122">
                  <a:moveTo>
                    <a:pt x="189" y="8"/>
                  </a:moveTo>
                  <a:cubicBezTo>
                    <a:pt x="188" y="10"/>
                    <a:pt x="0" y="102"/>
                    <a:pt x="0" y="102"/>
                  </a:cubicBezTo>
                  <a:cubicBezTo>
                    <a:pt x="0" y="122"/>
                    <a:pt x="0" y="122"/>
                    <a:pt x="0" y="122"/>
                  </a:cubicBezTo>
                  <a:cubicBezTo>
                    <a:pt x="192" y="23"/>
                    <a:pt x="192" y="23"/>
                    <a:pt x="192" y="23"/>
                  </a:cubicBezTo>
                  <a:cubicBezTo>
                    <a:pt x="429" y="14"/>
                    <a:pt x="429" y="14"/>
                    <a:pt x="429" y="14"/>
                  </a:cubicBezTo>
                  <a:cubicBezTo>
                    <a:pt x="429" y="0"/>
                    <a:pt x="429" y="0"/>
                    <a:pt x="429" y="0"/>
                  </a:cubicBezTo>
                  <a:lnTo>
                    <a:pt x="189" y="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29">
              <a:extLst>
                <a:ext uri="{FF2B5EF4-FFF2-40B4-BE49-F238E27FC236}">
                  <a16:creationId xmlns:a16="http://schemas.microsoft.com/office/drawing/2014/main" id="{A80E45CA-5A8C-439A-AEC7-4579C28BCF07}"/>
                </a:ext>
              </a:extLst>
            </p:cNvPr>
            <p:cNvSpPr>
              <a:spLocks/>
            </p:cNvSpPr>
            <p:nvPr/>
          </p:nvSpPr>
          <p:spPr bwMode="auto">
            <a:xfrm>
              <a:off x="2690" y="3559"/>
              <a:ext cx="1018" cy="263"/>
            </a:xfrm>
            <a:custGeom>
              <a:avLst/>
              <a:gdLst>
                <a:gd name="T0" fmla="*/ 0 w 429"/>
                <a:gd name="T1" fmla="*/ 111 h 111"/>
                <a:gd name="T2" fmla="*/ 207 w 429"/>
                <a:gd name="T3" fmla="*/ 92 h 111"/>
                <a:gd name="T4" fmla="*/ 429 w 429"/>
                <a:gd name="T5" fmla="*/ 0 h 111"/>
                <a:gd name="T6" fmla="*/ 192 w 429"/>
                <a:gd name="T7" fmla="*/ 9 h 111"/>
                <a:gd name="T8" fmla="*/ 0 w 429"/>
                <a:gd name="T9" fmla="*/ 108 h 111"/>
                <a:gd name="T10" fmla="*/ 0 w 429"/>
                <a:gd name="T11" fmla="*/ 111 h 111"/>
              </a:gdLst>
              <a:ahLst/>
              <a:cxnLst>
                <a:cxn ang="0">
                  <a:pos x="T0" y="T1"/>
                </a:cxn>
                <a:cxn ang="0">
                  <a:pos x="T2" y="T3"/>
                </a:cxn>
                <a:cxn ang="0">
                  <a:pos x="T4" y="T5"/>
                </a:cxn>
                <a:cxn ang="0">
                  <a:pos x="T6" y="T7"/>
                </a:cxn>
                <a:cxn ang="0">
                  <a:pos x="T8" y="T9"/>
                </a:cxn>
                <a:cxn ang="0">
                  <a:pos x="T10" y="T11"/>
                </a:cxn>
              </a:cxnLst>
              <a:rect l="0" t="0" r="r" b="b"/>
              <a:pathLst>
                <a:path w="429" h="111">
                  <a:moveTo>
                    <a:pt x="0" y="111"/>
                  </a:moveTo>
                  <a:cubicBezTo>
                    <a:pt x="2" y="110"/>
                    <a:pt x="207" y="92"/>
                    <a:pt x="207" y="92"/>
                  </a:cubicBezTo>
                  <a:cubicBezTo>
                    <a:pt x="429" y="0"/>
                    <a:pt x="429" y="0"/>
                    <a:pt x="429" y="0"/>
                  </a:cubicBezTo>
                  <a:cubicBezTo>
                    <a:pt x="192" y="9"/>
                    <a:pt x="192" y="9"/>
                    <a:pt x="192" y="9"/>
                  </a:cubicBezTo>
                  <a:cubicBezTo>
                    <a:pt x="0" y="108"/>
                    <a:pt x="0" y="108"/>
                    <a:pt x="0" y="108"/>
                  </a:cubicBezTo>
                  <a:lnTo>
                    <a:pt x="0" y="11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30">
              <a:extLst>
                <a:ext uri="{FF2B5EF4-FFF2-40B4-BE49-F238E27FC236}">
                  <a16:creationId xmlns:a16="http://schemas.microsoft.com/office/drawing/2014/main" id="{2179D372-17AC-4DAE-B193-997CBB3DEF03}"/>
                </a:ext>
              </a:extLst>
            </p:cNvPr>
            <p:cNvSpPr>
              <a:spLocks/>
            </p:cNvSpPr>
            <p:nvPr/>
          </p:nvSpPr>
          <p:spPr bwMode="auto">
            <a:xfrm>
              <a:off x="3155" y="3592"/>
              <a:ext cx="430" cy="223"/>
            </a:xfrm>
            <a:custGeom>
              <a:avLst/>
              <a:gdLst>
                <a:gd name="T0" fmla="*/ 1 w 181"/>
                <a:gd name="T1" fmla="*/ 48 h 94"/>
                <a:gd name="T2" fmla="*/ 21 w 181"/>
                <a:gd name="T3" fmla="*/ 25 h 94"/>
                <a:gd name="T4" fmla="*/ 53 w 181"/>
                <a:gd name="T5" fmla="*/ 21 h 94"/>
                <a:gd name="T6" fmla="*/ 73 w 181"/>
                <a:gd name="T7" fmla="*/ 14 h 94"/>
                <a:gd name="T8" fmla="*/ 177 w 181"/>
                <a:gd name="T9" fmla="*/ 0 h 94"/>
                <a:gd name="T10" fmla="*/ 169 w 181"/>
                <a:gd name="T11" fmla="*/ 27 h 94"/>
                <a:gd name="T12" fmla="*/ 168 w 181"/>
                <a:gd name="T13" fmla="*/ 54 h 94"/>
                <a:gd name="T14" fmla="*/ 153 w 181"/>
                <a:gd name="T15" fmla="*/ 76 h 94"/>
                <a:gd name="T16" fmla="*/ 136 w 181"/>
                <a:gd name="T17" fmla="*/ 91 h 94"/>
                <a:gd name="T18" fmla="*/ 113 w 181"/>
                <a:gd name="T19" fmla="*/ 94 h 94"/>
                <a:gd name="T20" fmla="*/ 45 w 181"/>
                <a:gd name="T21" fmla="*/ 81 h 94"/>
                <a:gd name="T22" fmla="*/ 2 w 181"/>
                <a:gd name="T23" fmla="*/ 48 h 94"/>
                <a:gd name="T24" fmla="*/ 6 w 181"/>
                <a:gd name="T25" fmla="*/ 4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 h="94">
                  <a:moveTo>
                    <a:pt x="1" y="48"/>
                  </a:moveTo>
                  <a:cubicBezTo>
                    <a:pt x="0" y="37"/>
                    <a:pt x="10" y="28"/>
                    <a:pt x="21" y="25"/>
                  </a:cubicBezTo>
                  <a:cubicBezTo>
                    <a:pt x="31" y="22"/>
                    <a:pt x="42" y="23"/>
                    <a:pt x="53" y="21"/>
                  </a:cubicBezTo>
                  <a:cubicBezTo>
                    <a:pt x="60" y="19"/>
                    <a:pt x="66" y="16"/>
                    <a:pt x="73" y="14"/>
                  </a:cubicBezTo>
                  <a:cubicBezTo>
                    <a:pt x="106" y="1"/>
                    <a:pt x="142" y="0"/>
                    <a:pt x="177" y="0"/>
                  </a:cubicBezTo>
                  <a:cubicBezTo>
                    <a:pt x="181" y="9"/>
                    <a:pt x="177" y="22"/>
                    <a:pt x="169" y="27"/>
                  </a:cubicBezTo>
                  <a:cubicBezTo>
                    <a:pt x="172" y="36"/>
                    <a:pt x="171" y="45"/>
                    <a:pt x="168" y="54"/>
                  </a:cubicBezTo>
                  <a:cubicBezTo>
                    <a:pt x="164" y="62"/>
                    <a:pt x="159" y="69"/>
                    <a:pt x="153" y="76"/>
                  </a:cubicBezTo>
                  <a:cubicBezTo>
                    <a:pt x="148" y="82"/>
                    <a:pt x="143" y="87"/>
                    <a:pt x="136" y="91"/>
                  </a:cubicBezTo>
                  <a:cubicBezTo>
                    <a:pt x="129" y="94"/>
                    <a:pt x="121" y="94"/>
                    <a:pt x="113" y="94"/>
                  </a:cubicBezTo>
                  <a:cubicBezTo>
                    <a:pt x="90" y="94"/>
                    <a:pt x="65" y="94"/>
                    <a:pt x="45" y="81"/>
                  </a:cubicBezTo>
                  <a:cubicBezTo>
                    <a:pt x="30" y="71"/>
                    <a:pt x="19" y="53"/>
                    <a:pt x="2" y="48"/>
                  </a:cubicBezTo>
                  <a:cubicBezTo>
                    <a:pt x="3" y="48"/>
                    <a:pt x="5" y="48"/>
                    <a:pt x="6" y="48"/>
                  </a:cubicBezTo>
                </a:path>
              </a:pathLst>
            </a:custGeom>
            <a:solidFill>
              <a:srgbClr val="FFB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1">
              <a:extLst>
                <a:ext uri="{FF2B5EF4-FFF2-40B4-BE49-F238E27FC236}">
                  <a16:creationId xmlns:a16="http://schemas.microsoft.com/office/drawing/2014/main" id="{10FA6B96-A898-4477-AEC7-1733B047B0B8}"/>
                </a:ext>
              </a:extLst>
            </p:cNvPr>
            <p:cNvSpPr>
              <a:spLocks/>
            </p:cNvSpPr>
            <p:nvPr/>
          </p:nvSpPr>
          <p:spPr bwMode="auto">
            <a:xfrm>
              <a:off x="3298" y="3628"/>
              <a:ext cx="235" cy="49"/>
            </a:xfrm>
            <a:custGeom>
              <a:avLst/>
              <a:gdLst>
                <a:gd name="T0" fmla="*/ 99 w 99"/>
                <a:gd name="T1" fmla="*/ 20 h 21"/>
                <a:gd name="T2" fmla="*/ 94 w 99"/>
                <a:gd name="T3" fmla="*/ 20 h 21"/>
                <a:gd name="T4" fmla="*/ 82 w 99"/>
                <a:gd name="T5" fmla="*/ 20 h 21"/>
                <a:gd name="T6" fmla="*/ 41 w 99"/>
                <a:gd name="T7" fmla="*/ 21 h 21"/>
                <a:gd name="T8" fmla="*/ 19 w 99"/>
                <a:gd name="T9" fmla="*/ 21 h 21"/>
                <a:gd name="T10" fmla="*/ 9 w 99"/>
                <a:gd name="T11" fmla="*/ 19 h 21"/>
                <a:gd name="T12" fmla="*/ 2 w 99"/>
                <a:gd name="T13" fmla="*/ 14 h 21"/>
                <a:gd name="T14" fmla="*/ 0 w 99"/>
                <a:gd name="T15" fmla="*/ 7 h 21"/>
                <a:gd name="T16" fmla="*/ 2 w 99"/>
                <a:gd name="T17" fmla="*/ 2 h 21"/>
                <a:gd name="T18" fmla="*/ 7 w 99"/>
                <a:gd name="T19" fmla="*/ 1 h 21"/>
                <a:gd name="T20" fmla="*/ 3 w 99"/>
                <a:gd name="T21" fmla="*/ 3 h 21"/>
                <a:gd name="T22" fmla="*/ 3 w 99"/>
                <a:gd name="T23" fmla="*/ 13 h 21"/>
                <a:gd name="T24" fmla="*/ 9 w 99"/>
                <a:gd name="T25" fmla="*/ 18 h 21"/>
                <a:gd name="T26" fmla="*/ 19 w 99"/>
                <a:gd name="T27" fmla="*/ 19 h 21"/>
                <a:gd name="T28" fmla="*/ 41 w 99"/>
                <a:gd name="T29" fmla="*/ 19 h 21"/>
                <a:gd name="T30" fmla="*/ 82 w 99"/>
                <a:gd name="T31" fmla="*/ 19 h 21"/>
                <a:gd name="T32" fmla="*/ 94 w 99"/>
                <a:gd name="T33" fmla="*/ 19 h 21"/>
                <a:gd name="T34" fmla="*/ 99 w 99"/>
                <a:gd name="T35"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21">
                  <a:moveTo>
                    <a:pt x="99" y="20"/>
                  </a:moveTo>
                  <a:cubicBezTo>
                    <a:pt x="99" y="20"/>
                    <a:pt x="97" y="20"/>
                    <a:pt x="94" y="20"/>
                  </a:cubicBezTo>
                  <a:cubicBezTo>
                    <a:pt x="91" y="20"/>
                    <a:pt x="87" y="20"/>
                    <a:pt x="82" y="20"/>
                  </a:cubicBezTo>
                  <a:cubicBezTo>
                    <a:pt x="71" y="21"/>
                    <a:pt x="57" y="21"/>
                    <a:pt x="41" y="21"/>
                  </a:cubicBezTo>
                  <a:cubicBezTo>
                    <a:pt x="33" y="21"/>
                    <a:pt x="26" y="21"/>
                    <a:pt x="19" y="21"/>
                  </a:cubicBezTo>
                  <a:cubicBezTo>
                    <a:pt x="15" y="21"/>
                    <a:pt x="12" y="21"/>
                    <a:pt x="9" y="19"/>
                  </a:cubicBezTo>
                  <a:cubicBezTo>
                    <a:pt x="6" y="18"/>
                    <a:pt x="3" y="17"/>
                    <a:pt x="2" y="14"/>
                  </a:cubicBezTo>
                  <a:cubicBezTo>
                    <a:pt x="0" y="12"/>
                    <a:pt x="0" y="9"/>
                    <a:pt x="0" y="7"/>
                  </a:cubicBezTo>
                  <a:cubicBezTo>
                    <a:pt x="0" y="5"/>
                    <a:pt x="1" y="3"/>
                    <a:pt x="2" y="2"/>
                  </a:cubicBezTo>
                  <a:cubicBezTo>
                    <a:pt x="5" y="0"/>
                    <a:pt x="7" y="0"/>
                    <a:pt x="7" y="1"/>
                  </a:cubicBezTo>
                  <a:cubicBezTo>
                    <a:pt x="7" y="1"/>
                    <a:pt x="5" y="1"/>
                    <a:pt x="3" y="3"/>
                  </a:cubicBezTo>
                  <a:cubicBezTo>
                    <a:pt x="1" y="5"/>
                    <a:pt x="0" y="9"/>
                    <a:pt x="3" y="13"/>
                  </a:cubicBezTo>
                  <a:cubicBezTo>
                    <a:pt x="4" y="15"/>
                    <a:pt x="7" y="17"/>
                    <a:pt x="9" y="18"/>
                  </a:cubicBezTo>
                  <a:cubicBezTo>
                    <a:pt x="12" y="19"/>
                    <a:pt x="15" y="19"/>
                    <a:pt x="19" y="19"/>
                  </a:cubicBezTo>
                  <a:cubicBezTo>
                    <a:pt x="26" y="19"/>
                    <a:pt x="33" y="19"/>
                    <a:pt x="41" y="19"/>
                  </a:cubicBezTo>
                  <a:cubicBezTo>
                    <a:pt x="57" y="19"/>
                    <a:pt x="71" y="19"/>
                    <a:pt x="82" y="19"/>
                  </a:cubicBezTo>
                  <a:cubicBezTo>
                    <a:pt x="87" y="19"/>
                    <a:pt x="91" y="19"/>
                    <a:pt x="94" y="19"/>
                  </a:cubicBezTo>
                  <a:cubicBezTo>
                    <a:pt x="97" y="19"/>
                    <a:pt x="99" y="20"/>
                    <a:pt x="99" y="20"/>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32">
              <a:extLst>
                <a:ext uri="{FF2B5EF4-FFF2-40B4-BE49-F238E27FC236}">
                  <a16:creationId xmlns:a16="http://schemas.microsoft.com/office/drawing/2014/main" id="{75D1BFC6-3B0C-4BFF-BA52-BAAADDF94762}"/>
                </a:ext>
              </a:extLst>
            </p:cNvPr>
            <p:cNvSpPr>
              <a:spLocks/>
            </p:cNvSpPr>
            <p:nvPr/>
          </p:nvSpPr>
          <p:spPr bwMode="auto">
            <a:xfrm>
              <a:off x="3157" y="3699"/>
              <a:ext cx="347" cy="33"/>
            </a:xfrm>
            <a:custGeom>
              <a:avLst/>
              <a:gdLst>
                <a:gd name="T0" fmla="*/ 146 w 146"/>
                <a:gd name="T1" fmla="*/ 9 h 14"/>
                <a:gd name="T2" fmla="*/ 140 w 146"/>
                <a:gd name="T3" fmla="*/ 11 h 14"/>
                <a:gd name="T4" fmla="*/ 124 w 146"/>
                <a:gd name="T5" fmla="*/ 12 h 14"/>
                <a:gd name="T6" fmla="*/ 101 w 146"/>
                <a:gd name="T7" fmla="*/ 13 h 14"/>
                <a:gd name="T8" fmla="*/ 73 w 146"/>
                <a:gd name="T9" fmla="*/ 8 h 14"/>
                <a:gd name="T10" fmla="*/ 22 w 146"/>
                <a:gd name="T11" fmla="*/ 2 h 14"/>
                <a:gd name="T12" fmla="*/ 6 w 146"/>
                <a:gd name="T13" fmla="*/ 2 h 14"/>
                <a:gd name="T14" fmla="*/ 0 w 146"/>
                <a:gd name="T15" fmla="*/ 3 h 14"/>
                <a:gd name="T16" fmla="*/ 6 w 146"/>
                <a:gd name="T17" fmla="*/ 2 h 14"/>
                <a:gd name="T18" fmla="*/ 22 w 146"/>
                <a:gd name="T19" fmla="*/ 1 h 14"/>
                <a:gd name="T20" fmla="*/ 73 w 146"/>
                <a:gd name="T21" fmla="*/ 6 h 14"/>
                <a:gd name="T22" fmla="*/ 101 w 146"/>
                <a:gd name="T23" fmla="*/ 11 h 14"/>
                <a:gd name="T24" fmla="*/ 124 w 146"/>
                <a:gd name="T25" fmla="*/ 11 h 14"/>
                <a:gd name="T26" fmla="*/ 140 w 146"/>
                <a:gd name="T27" fmla="*/ 10 h 14"/>
                <a:gd name="T28" fmla="*/ 146 w 146"/>
                <a:gd name="T2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4">
                  <a:moveTo>
                    <a:pt x="146" y="9"/>
                  </a:moveTo>
                  <a:cubicBezTo>
                    <a:pt x="146" y="10"/>
                    <a:pt x="144" y="10"/>
                    <a:pt x="140" y="11"/>
                  </a:cubicBezTo>
                  <a:cubicBezTo>
                    <a:pt x="136" y="11"/>
                    <a:pt x="131" y="12"/>
                    <a:pt x="124" y="12"/>
                  </a:cubicBezTo>
                  <a:cubicBezTo>
                    <a:pt x="118" y="13"/>
                    <a:pt x="110" y="14"/>
                    <a:pt x="101" y="13"/>
                  </a:cubicBezTo>
                  <a:cubicBezTo>
                    <a:pt x="92" y="13"/>
                    <a:pt x="82" y="11"/>
                    <a:pt x="73" y="8"/>
                  </a:cubicBezTo>
                  <a:cubicBezTo>
                    <a:pt x="53" y="3"/>
                    <a:pt x="35" y="2"/>
                    <a:pt x="22" y="2"/>
                  </a:cubicBezTo>
                  <a:cubicBezTo>
                    <a:pt x="15" y="2"/>
                    <a:pt x="10" y="2"/>
                    <a:pt x="6" y="2"/>
                  </a:cubicBezTo>
                  <a:cubicBezTo>
                    <a:pt x="2" y="3"/>
                    <a:pt x="0" y="3"/>
                    <a:pt x="0" y="3"/>
                  </a:cubicBezTo>
                  <a:cubicBezTo>
                    <a:pt x="0" y="3"/>
                    <a:pt x="2" y="2"/>
                    <a:pt x="6" y="2"/>
                  </a:cubicBezTo>
                  <a:cubicBezTo>
                    <a:pt x="10" y="1"/>
                    <a:pt x="15" y="1"/>
                    <a:pt x="22" y="1"/>
                  </a:cubicBezTo>
                  <a:cubicBezTo>
                    <a:pt x="35" y="0"/>
                    <a:pt x="53" y="1"/>
                    <a:pt x="73" y="6"/>
                  </a:cubicBezTo>
                  <a:cubicBezTo>
                    <a:pt x="83" y="9"/>
                    <a:pt x="92" y="11"/>
                    <a:pt x="101" y="11"/>
                  </a:cubicBezTo>
                  <a:cubicBezTo>
                    <a:pt x="110" y="12"/>
                    <a:pt x="118" y="11"/>
                    <a:pt x="124" y="11"/>
                  </a:cubicBezTo>
                  <a:cubicBezTo>
                    <a:pt x="131" y="11"/>
                    <a:pt x="136" y="10"/>
                    <a:pt x="140" y="10"/>
                  </a:cubicBezTo>
                  <a:cubicBezTo>
                    <a:pt x="143" y="9"/>
                    <a:pt x="146" y="9"/>
                    <a:pt x="146" y="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3">
              <a:extLst>
                <a:ext uri="{FF2B5EF4-FFF2-40B4-BE49-F238E27FC236}">
                  <a16:creationId xmlns:a16="http://schemas.microsoft.com/office/drawing/2014/main" id="{3E0DF116-B31E-48C8-956E-3CDC671838A0}"/>
                </a:ext>
              </a:extLst>
            </p:cNvPr>
            <p:cNvSpPr>
              <a:spLocks/>
            </p:cNvSpPr>
            <p:nvPr/>
          </p:nvSpPr>
          <p:spPr bwMode="auto">
            <a:xfrm>
              <a:off x="3195" y="3727"/>
              <a:ext cx="262" cy="52"/>
            </a:xfrm>
            <a:custGeom>
              <a:avLst/>
              <a:gdLst>
                <a:gd name="T0" fmla="*/ 110 w 110"/>
                <a:gd name="T1" fmla="*/ 19 h 22"/>
                <a:gd name="T2" fmla="*/ 106 w 110"/>
                <a:gd name="T3" fmla="*/ 19 h 22"/>
                <a:gd name="T4" fmla="*/ 93 w 110"/>
                <a:gd name="T5" fmla="*/ 21 h 22"/>
                <a:gd name="T6" fmla="*/ 53 w 110"/>
                <a:gd name="T7" fmla="*/ 19 h 22"/>
                <a:gd name="T8" fmla="*/ 16 w 110"/>
                <a:gd name="T9" fmla="*/ 5 h 22"/>
                <a:gd name="T10" fmla="*/ 0 w 110"/>
                <a:gd name="T11" fmla="*/ 0 h 22"/>
                <a:gd name="T12" fmla="*/ 4 w 110"/>
                <a:gd name="T13" fmla="*/ 0 h 22"/>
                <a:gd name="T14" fmla="*/ 16 w 110"/>
                <a:gd name="T15" fmla="*/ 3 h 22"/>
                <a:gd name="T16" fmla="*/ 53 w 110"/>
                <a:gd name="T17" fmla="*/ 17 h 22"/>
                <a:gd name="T18" fmla="*/ 93 w 110"/>
                <a:gd name="T19" fmla="*/ 19 h 22"/>
                <a:gd name="T20" fmla="*/ 105 w 110"/>
                <a:gd name="T21" fmla="*/ 19 h 22"/>
                <a:gd name="T22" fmla="*/ 110 w 110"/>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22">
                  <a:moveTo>
                    <a:pt x="110" y="19"/>
                  </a:moveTo>
                  <a:cubicBezTo>
                    <a:pt x="110" y="19"/>
                    <a:pt x="108" y="19"/>
                    <a:pt x="106" y="19"/>
                  </a:cubicBezTo>
                  <a:cubicBezTo>
                    <a:pt x="103" y="20"/>
                    <a:pt x="99" y="20"/>
                    <a:pt x="93" y="21"/>
                  </a:cubicBezTo>
                  <a:cubicBezTo>
                    <a:pt x="83" y="22"/>
                    <a:pt x="69" y="22"/>
                    <a:pt x="53" y="19"/>
                  </a:cubicBezTo>
                  <a:cubicBezTo>
                    <a:pt x="37" y="16"/>
                    <a:pt x="25" y="8"/>
                    <a:pt x="16" y="5"/>
                  </a:cubicBezTo>
                  <a:cubicBezTo>
                    <a:pt x="6" y="1"/>
                    <a:pt x="0" y="0"/>
                    <a:pt x="0" y="0"/>
                  </a:cubicBezTo>
                  <a:cubicBezTo>
                    <a:pt x="0" y="0"/>
                    <a:pt x="1" y="0"/>
                    <a:pt x="4" y="0"/>
                  </a:cubicBezTo>
                  <a:cubicBezTo>
                    <a:pt x="7" y="0"/>
                    <a:pt x="11" y="1"/>
                    <a:pt x="16" y="3"/>
                  </a:cubicBezTo>
                  <a:cubicBezTo>
                    <a:pt x="26" y="7"/>
                    <a:pt x="38" y="14"/>
                    <a:pt x="53" y="17"/>
                  </a:cubicBezTo>
                  <a:cubicBezTo>
                    <a:pt x="69" y="20"/>
                    <a:pt x="83" y="20"/>
                    <a:pt x="93" y="19"/>
                  </a:cubicBezTo>
                  <a:cubicBezTo>
                    <a:pt x="98" y="19"/>
                    <a:pt x="102" y="19"/>
                    <a:pt x="105" y="19"/>
                  </a:cubicBezTo>
                  <a:cubicBezTo>
                    <a:pt x="108" y="18"/>
                    <a:pt x="110" y="18"/>
                    <a:pt x="110" y="19"/>
                  </a:cubicBezTo>
                  <a:close/>
                </a:path>
              </a:pathLst>
            </a:custGeom>
            <a:solidFill>
              <a:srgbClr val="EB99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34">
              <a:extLst>
                <a:ext uri="{FF2B5EF4-FFF2-40B4-BE49-F238E27FC236}">
                  <a16:creationId xmlns:a16="http://schemas.microsoft.com/office/drawing/2014/main" id="{71896371-B1CF-4EF2-A1A2-C79560D8EFEA}"/>
                </a:ext>
              </a:extLst>
            </p:cNvPr>
            <p:cNvSpPr>
              <a:spLocks/>
            </p:cNvSpPr>
            <p:nvPr/>
          </p:nvSpPr>
          <p:spPr bwMode="auto">
            <a:xfrm>
              <a:off x="3331" y="3333"/>
              <a:ext cx="223" cy="181"/>
            </a:xfrm>
            <a:custGeom>
              <a:avLst/>
              <a:gdLst>
                <a:gd name="T0" fmla="*/ 61 w 94"/>
                <a:gd name="T1" fmla="*/ 0 h 76"/>
                <a:gd name="T2" fmla="*/ 42 w 94"/>
                <a:gd name="T3" fmla="*/ 4 h 76"/>
                <a:gd name="T4" fmla="*/ 11 w 94"/>
                <a:gd name="T5" fmla="*/ 35 h 76"/>
                <a:gd name="T6" fmla="*/ 0 w 94"/>
                <a:gd name="T7" fmla="*/ 75 h 76"/>
                <a:gd name="T8" fmla="*/ 0 w 94"/>
                <a:gd name="T9" fmla="*/ 76 h 76"/>
                <a:gd name="T10" fmla="*/ 0 w 94"/>
                <a:gd name="T11" fmla="*/ 76 h 76"/>
                <a:gd name="T12" fmla="*/ 69 w 94"/>
                <a:gd name="T13" fmla="*/ 33 h 76"/>
                <a:gd name="T14" fmla="*/ 72 w 94"/>
                <a:gd name="T15" fmla="*/ 33 h 76"/>
                <a:gd name="T16" fmla="*/ 78 w 94"/>
                <a:gd name="T17" fmla="*/ 33 h 76"/>
                <a:gd name="T18" fmla="*/ 90 w 94"/>
                <a:gd name="T19" fmla="*/ 29 h 76"/>
                <a:gd name="T20" fmla="*/ 92 w 94"/>
                <a:gd name="T21" fmla="*/ 17 h 76"/>
                <a:gd name="T22" fmla="*/ 84 w 94"/>
                <a:gd name="T23" fmla="*/ 7 h 76"/>
                <a:gd name="T24" fmla="*/ 61 w 9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76">
                  <a:moveTo>
                    <a:pt x="61" y="0"/>
                  </a:moveTo>
                  <a:cubicBezTo>
                    <a:pt x="54" y="0"/>
                    <a:pt x="48" y="1"/>
                    <a:pt x="42" y="4"/>
                  </a:cubicBezTo>
                  <a:cubicBezTo>
                    <a:pt x="28" y="10"/>
                    <a:pt x="18" y="22"/>
                    <a:pt x="11" y="35"/>
                  </a:cubicBezTo>
                  <a:cubicBezTo>
                    <a:pt x="5" y="47"/>
                    <a:pt x="2" y="61"/>
                    <a:pt x="0" y="75"/>
                  </a:cubicBezTo>
                  <a:cubicBezTo>
                    <a:pt x="0" y="75"/>
                    <a:pt x="0" y="76"/>
                    <a:pt x="0" y="76"/>
                  </a:cubicBezTo>
                  <a:cubicBezTo>
                    <a:pt x="0" y="76"/>
                    <a:pt x="0" y="76"/>
                    <a:pt x="0" y="76"/>
                  </a:cubicBezTo>
                  <a:cubicBezTo>
                    <a:pt x="13" y="50"/>
                    <a:pt x="40" y="33"/>
                    <a:pt x="69" y="33"/>
                  </a:cubicBezTo>
                  <a:cubicBezTo>
                    <a:pt x="70" y="33"/>
                    <a:pt x="71" y="33"/>
                    <a:pt x="72" y="33"/>
                  </a:cubicBezTo>
                  <a:cubicBezTo>
                    <a:pt x="74" y="33"/>
                    <a:pt x="76" y="33"/>
                    <a:pt x="78" y="33"/>
                  </a:cubicBezTo>
                  <a:cubicBezTo>
                    <a:pt x="83" y="33"/>
                    <a:pt x="87" y="32"/>
                    <a:pt x="90" y="29"/>
                  </a:cubicBezTo>
                  <a:cubicBezTo>
                    <a:pt x="93" y="26"/>
                    <a:pt x="94" y="21"/>
                    <a:pt x="92" y="17"/>
                  </a:cubicBezTo>
                  <a:cubicBezTo>
                    <a:pt x="91" y="12"/>
                    <a:pt x="87" y="9"/>
                    <a:pt x="84" y="7"/>
                  </a:cubicBezTo>
                  <a:cubicBezTo>
                    <a:pt x="77" y="2"/>
                    <a:pt x="69" y="0"/>
                    <a:pt x="61"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35">
              <a:extLst>
                <a:ext uri="{FF2B5EF4-FFF2-40B4-BE49-F238E27FC236}">
                  <a16:creationId xmlns:a16="http://schemas.microsoft.com/office/drawing/2014/main" id="{FA02935F-A1F1-464D-BCC3-621D4465C2FE}"/>
                </a:ext>
              </a:extLst>
            </p:cNvPr>
            <p:cNvSpPr>
              <a:spLocks/>
            </p:cNvSpPr>
            <p:nvPr/>
          </p:nvSpPr>
          <p:spPr bwMode="auto">
            <a:xfrm>
              <a:off x="3331" y="3511"/>
              <a:ext cx="0" cy="5"/>
            </a:xfrm>
            <a:custGeom>
              <a:avLst/>
              <a:gdLst>
                <a:gd name="T0" fmla="*/ 0 h 2"/>
                <a:gd name="T1" fmla="*/ 2 h 2"/>
                <a:gd name="T2" fmla="*/ 1 h 2"/>
                <a:gd name="T3" fmla="*/ 0 h 2"/>
              </a:gdLst>
              <a:ahLst/>
              <a:cxnLst>
                <a:cxn ang="0">
                  <a:pos x="0" y="T0"/>
                </a:cxn>
                <a:cxn ang="0">
                  <a:pos x="0" y="T1"/>
                </a:cxn>
                <a:cxn ang="0">
                  <a:pos x="0" y="T2"/>
                </a:cxn>
                <a:cxn ang="0">
                  <a:pos x="0" y="T3"/>
                </a:cxn>
              </a:cxnLst>
              <a:rect l="0" t="0" r="r" b="b"/>
              <a:pathLst>
                <a:path h="2">
                  <a:moveTo>
                    <a:pt x="0" y="0"/>
                  </a:moveTo>
                  <a:cubicBezTo>
                    <a:pt x="0" y="1"/>
                    <a:pt x="0" y="1"/>
                    <a:pt x="0" y="2"/>
                  </a:cubicBezTo>
                  <a:cubicBezTo>
                    <a:pt x="0" y="1"/>
                    <a:pt x="0" y="1"/>
                    <a:pt x="0" y="1"/>
                  </a:cubicBezTo>
                  <a:cubicBezTo>
                    <a:pt x="0" y="1"/>
                    <a:pt x="0" y="0"/>
                    <a:pt x="0"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36">
              <a:extLst>
                <a:ext uri="{FF2B5EF4-FFF2-40B4-BE49-F238E27FC236}">
                  <a16:creationId xmlns:a16="http://schemas.microsoft.com/office/drawing/2014/main" id="{7D434F7C-E508-4377-86F2-F7040E26262E}"/>
                </a:ext>
              </a:extLst>
            </p:cNvPr>
            <p:cNvSpPr>
              <a:spLocks/>
            </p:cNvSpPr>
            <p:nvPr/>
          </p:nvSpPr>
          <p:spPr bwMode="auto">
            <a:xfrm>
              <a:off x="2422" y="3245"/>
              <a:ext cx="4" cy="64"/>
            </a:xfrm>
            <a:custGeom>
              <a:avLst/>
              <a:gdLst>
                <a:gd name="T0" fmla="*/ 0 w 2"/>
                <a:gd name="T1" fmla="*/ 0 h 27"/>
                <a:gd name="T2" fmla="*/ 2 w 2"/>
                <a:gd name="T3" fmla="*/ 26 h 27"/>
                <a:gd name="T4" fmla="*/ 2 w 2"/>
                <a:gd name="T5" fmla="*/ 27 h 27"/>
                <a:gd name="T6" fmla="*/ 0 w 2"/>
                <a:gd name="T7" fmla="*/ 0 h 27"/>
              </a:gdLst>
              <a:ahLst/>
              <a:cxnLst>
                <a:cxn ang="0">
                  <a:pos x="T0" y="T1"/>
                </a:cxn>
                <a:cxn ang="0">
                  <a:pos x="T2" y="T3"/>
                </a:cxn>
                <a:cxn ang="0">
                  <a:pos x="T4" y="T5"/>
                </a:cxn>
                <a:cxn ang="0">
                  <a:pos x="T6" y="T7"/>
                </a:cxn>
              </a:cxnLst>
              <a:rect l="0" t="0" r="r" b="b"/>
              <a:pathLst>
                <a:path w="2" h="27">
                  <a:moveTo>
                    <a:pt x="0" y="0"/>
                  </a:moveTo>
                  <a:cubicBezTo>
                    <a:pt x="2" y="26"/>
                    <a:pt x="2" y="26"/>
                    <a:pt x="2" y="26"/>
                  </a:cubicBezTo>
                  <a:cubicBezTo>
                    <a:pt x="2" y="26"/>
                    <a:pt x="2" y="27"/>
                    <a:pt x="2" y="27"/>
                  </a:cubicBezTo>
                  <a:cubicBezTo>
                    <a:pt x="1" y="18"/>
                    <a:pt x="0" y="9"/>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37">
              <a:extLst>
                <a:ext uri="{FF2B5EF4-FFF2-40B4-BE49-F238E27FC236}">
                  <a16:creationId xmlns:a16="http://schemas.microsoft.com/office/drawing/2014/main" id="{0F129106-2B79-41B6-A769-0F2D54F11C3E}"/>
                </a:ext>
              </a:extLst>
            </p:cNvPr>
            <p:cNvSpPr>
              <a:spLocks/>
            </p:cNvSpPr>
            <p:nvPr/>
          </p:nvSpPr>
          <p:spPr bwMode="auto">
            <a:xfrm>
              <a:off x="2405" y="3048"/>
              <a:ext cx="21" cy="259"/>
            </a:xfrm>
            <a:custGeom>
              <a:avLst/>
              <a:gdLst>
                <a:gd name="T0" fmla="*/ 1 w 9"/>
                <a:gd name="T1" fmla="*/ 0 h 109"/>
                <a:gd name="T2" fmla="*/ 9 w 9"/>
                <a:gd name="T3" fmla="*/ 109 h 109"/>
                <a:gd name="T4" fmla="*/ 7 w 9"/>
                <a:gd name="T5" fmla="*/ 83 h 109"/>
                <a:gd name="T6" fmla="*/ 7 w 9"/>
                <a:gd name="T7" fmla="*/ 78 h 109"/>
                <a:gd name="T8" fmla="*/ 1 w 9"/>
                <a:gd name="T9" fmla="*/ 2 h 109"/>
                <a:gd name="T10" fmla="*/ 1 w 9"/>
                <a:gd name="T11" fmla="*/ 0 h 109"/>
              </a:gdLst>
              <a:ahLst/>
              <a:cxnLst>
                <a:cxn ang="0">
                  <a:pos x="T0" y="T1"/>
                </a:cxn>
                <a:cxn ang="0">
                  <a:pos x="T2" y="T3"/>
                </a:cxn>
                <a:cxn ang="0">
                  <a:pos x="T4" y="T5"/>
                </a:cxn>
                <a:cxn ang="0">
                  <a:pos x="T6" y="T7"/>
                </a:cxn>
                <a:cxn ang="0">
                  <a:pos x="T8" y="T9"/>
                </a:cxn>
                <a:cxn ang="0">
                  <a:pos x="T10" y="T11"/>
                </a:cxn>
              </a:cxnLst>
              <a:rect l="0" t="0" r="r" b="b"/>
              <a:pathLst>
                <a:path w="9" h="109">
                  <a:moveTo>
                    <a:pt x="1" y="0"/>
                  </a:moveTo>
                  <a:cubicBezTo>
                    <a:pt x="0" y="37"/>
                    <a:pt x="2" y="73"/>
                    <a:pt x="9" y="109"/>
                  </a:cubicBezTo>
                  <a:cubicBezTo>
                    <a:pt x="7" y="83"/>
                    <a:pt x="7" y="83"/>
                    <a:pt x="7" y="83"/>
                  </a:cubicBezTo>
                  <a:cubicBezTo>
                    <a:pt x="7" y="81"/>
                    <a:pt x="7" y="79"/>
                    <a:pt x="7" y="78"/>
                  </a:cubicBezTo>
                  <a:cubicBezTo>
                    <a:pt x="4" y="49"/>
                    <a:pt x="3" y="22"/>
                    <a:pt x="1" y="2"/>
                  </a:cubicBezTo>
                  <a:cubicBezTo>
                    <a:pt x="1" y="1"/>
                    <a:pt x="1" y="1"/>
                    <a:pt x="1"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38">
              <a:extLst>
                <a:ext uri="{FF2B5EF4-FFF2-40B4-BE49-F238E27FC236}">
                  <a16:creationId xmlns:a16="http://schemas.microsoft.com/office/drawing/2014/main" id="{88E36F48-4D19-4F7D-B191-563B94975E30}"/>
                </a:ext>
              </a:extLst>
            </p:cNvPr>
            <p:cNvSpPr>
              <a:spLocks/>
            </p:cNvSpPr>
            <p:nvPr/>
          </p:nvSpPr>
          <p:spPr bwMode="auto">
            <a:xfrm>
              <a:off x="2422" y="3191"/>
              <a:ext cx="38" cy="266"/>
            </a:xfrm>
            <a:custGeom>
              <a:avLst/>
              <a:gdLst>
                <a:gd name="T0" fmla="*/ 0 w 16"/>
                <a:gd name="T1" fmla="*/ 0 h 112"/>
                <a:gd name="T2" fmla="*/ 2 w 16"/>
                <a:gd name="T3" fmla="*/ 18 h 112"/>
                <a:gd name="T4" fmla="*/ 5 w 16"/>
                <a:gd name="T5" fmla="*/ 65 h 112"/>
                <a:gd name="T6" fmla="*/ 16 w 16"/>
                <a:gd name="T7" fmla="*/ 112 h 112"/>
                <a:gd name="T8" fmla="*/ 0 w 16"/>
                <a:gd name="T9" fmla="*/ 0 h 112"/>
              </a:gdLst>
              <a:ahLst/>
              <a:cxnLst>
                <a:cxn ang="0">
                  <a:pos x="T0" y="T1"/>
                </a:cxn>
                <a:cxn ang="0">
                  <a:pos x="T2" y="T3"/>
                </a:cxn>
                <a:cxn ang="0">
                  <a:pos x="T4" y="T5"/>
                </a:cxn>
                <a:cxn ang="0">
                  <a:pos x="T6" y="T7"/>
                </a:cxn>
                <a:cxn ang="0">
                  <a:pos x="T8" y="T9"/>
                </a:cxn>
              </a:cxnLst>
              <a:rect l="0" t="0" r="r" b="b"/>
              <a:pathLst>
                <a:path w="16" h="112">
                  <a:moveTo>
                    <a:pt x="0" y="0"/>
                  </a:moveTo>
                  <a:cubicBezTo>
                    <a:pt x="1" y="6"/>
                    <a:pt x="1" y="12"/>
                    <a:pt x="2" y="18"/>
                  </a:cubicBezTo>
                  <a:cubicBezTo>
                    <a:pt x="3" y="35"/>
                    <a:pt x="4" y="51"/>
                    <a:pt x="5" y="65"/>
                  </a:cubicBezTo>
                  <a:cubicBezTo>
                    <a:pt x="8" y="81"/>
                    <a:pt x="12" y="96"/>
                    <a:pt x="16" y="112"/>
                  </a:cubicBezTo>
                  <a:cubicBezTo>
                    <a:pt x="0" y="0"/>
                    <a:pt x="0" y="0"/>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39">
              <a:extLst>
                <a:ext uri="{FF2B5EF4-FFF2-40B4-BE49-F238E27FC236}">
                  <a16:creationId xmlns:a16="http://schemas.microsoft.com/office/drawing/2014/main" id="{0A1EFDF2-74BD-4B2A-86E1-D17DFBC35598}"/>
                </a:ext>
              </a:extLst>
            </p:cNvPr>
            <p:cNvSpPr>
              <a:spLocks/>
            </p:cNvSpPr>
            <p:nvPr/>
          </p:nvSpPr>
          <p:spPr bwMode="auto">
            <a:xfrm>
              <a:off x="2412" y="3067"/>
              <a:ext cx="131" cy="425"/>
            </a:xfrm>
            <a:custGeom>
              <a:avLst/>
              <a:gdLst>
                <a:gd name="T0" fmla="*/ 0 w 55"/>
                <a:gd name="T1" fmla="*/ 0 h 179"/>
                <a:gd name="T2" fmla="*/ 4 w 55"/>
                <a:gd name="T3" fmla="*/ 52 h 179"/>
                <a:gd name="T4" fmla="*/ 20 w 55"/>
                <a:gd name="T5" fmla="*/ 164 h 179"/>
                <a:gd name="T6" fmla="*/ 25 w 55"/>
                <a:gd name="T7" fmla="*/ 179 h 179"/>
                <a:gd name="T8" fmla="*/ 26 w 55"/>
                <a:gd name="T9" fmla="*/ 179 h 179"/>
                <a:gd name="T10" fmla="*/ 28 w 55"/>
                <a:gd name="T11" fmla="*/ 179 h 179"/>
                <a:gd name="T12" fmla="*/ 39 w 55"/>
                <a:gd name="T13" fmla="*/ 177 h 179"/>
                <a:gd name="T14" fmla="*/ 37 w 55"/>
                <a:gd name="T15" fmla="*/ 82 h 179"/>
                <a:gd name="T16" fmla="*/ 0 w 55"/>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179">
                  <a:moveTo>
                    <a:pt x="0" y="0"/>
                  </a:moveTo>
                  <a:cubicBezTo>
                    <a:pt x="2" y="15"/>
                    <a:pt x="3" y="32"/>
                    <a:pt x="4" y="52"/>
                  </a:cubicBezTo>
                  <a:cubicBezTo>
                    <a:pt x="20" y="164"/>
                    <a:pt x="20" y="164"/>
                    <a:pt x="20" y="164"/>
                  </a:cubicBezTo>
                  <a:cubicBezTo>
                    <a:pt x="22" y="169"/>
                    <a:pt x="23" y="174"/>
                    <a:pt x="25" y="179"/>
                  </a:cubicBezTo>
                  <a:cubicBezTo>
                    <a:pt x="25" y="179"/>
                    <a:pt x="26" y="179"/>
                    <a:pt x="26" y="179"/>
                  </a:cubicBezTo>
                  <a:cubicBezTo>
                    <a:pt x="27" y="179"/>
                    <a:pt x="27" y="179"/>
                    <a:pt x="28" y="179"/>
                  </a:cubicBezTo>
                  <a:cubicBezTo>
                    <a:pt x="39" y="177"/>
                    <a:pt x="39" y="177"/>
                    <a:pt x="39" y="177"/>
                  </a:cubicBezTo>
                  <a:cubicBezTo>
                    <a:pt x="55" y="148"/>
                    <a:pt x="50" y="112"/>
                    <a:pt x="37" y="82"/>
                  </a:cubicBezTo>
                  <a:cubicBezTo>
                    <a:pt x="26" y="54"/>
                    <a:pt x="10" y="28"/>
                    <a:pt x="0"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40">
              <a:extLst>
                <a:ext uri="{FF2B5EF4-FFF2-40B4-BE49-F238E27FC236}">
                  <a16:creationId xmlns:a16="http://schemas.microsoft.com/office/drawing/2014/main" id="{32798691-1745-4B24-8D7C-5EFB9AE1A11F}"/>
                </a:ext>
              </a:extLst>
            </p:cNvPr>
            <p:cNvSpPr>
              <a:spLocks/>
            </p:cNvSpPr>
            <p:nvPr/>
          </p:nvSpPr>
          <p:spPr bwMode="auto">
            <a:xfrm>
              <a:off x="2407" y="3053"/>
              <a:ext cx="26" cy="292"/>
            </a:xfrm>
            <a:custGeom>
              <a:avLst/>
              <a:gdLst>
                <a:gd name="T0" fmla="*/ 0 w 11"/>
                <a:gd name="T1" fmla="*/ 0 h 123"/>
                <a:gd name="T2" fmla="*/ 6 w 11"/>
                <a:gd name="T3" fmla="*/ 76 h 123"/>
                <a:gd name="T4" fmla="*/ 6 w 11"/>
                <a:gd name="T5" fmla="*/ 81 h 123"/>
                <a:gd name="T6" fmla="*/ 8 w 11"/>
                <a:gd name="T7" fmla="*/ 108 h 123"/>
                <a:gd name="T8" fmla="*/ 11 w 11"/>
                <a:gd name="T9" fmla="*/ 123 h 123"/>
                <a:gd name="T10" fmla="*/ 8 w 11"/>
                <a:gd name="T11" fmla="*/ 76 h 123"/>
                <a:gd name="T12" fmla="*/ 6 w 11"/>
                <a:gd name="T13" fmla="*/ 58 h 123"/>
                <a:gd name="T14" fmla="*/ 2 w 11"/>
                <a:gd name="T15" fmla="*/ 6 h 123"/>
                <a:gd name="T16" fmla="*/ 0 w 11"/>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3">
                  <a:moveTo>
                    <a:pt x="0" y="0"/>
                  </a:moveTo>
                  <a:cubicBezTo>
                    <a:pt x="2" y="20"/>
                    <a:pt x="3" y="47"/>
                    <a:pt x="6" y="76"/>
                  </a:cubicBezTo>
                  <a:cubicBezTo>
                    <a:pt x="6" y="77"/>
                    <a:pt x="6" y="79"/>
                    <a:pt x="6" y="81"/>
                  </a:cubicBezTo>
                  <a:cubicBezTo>
                    <a:pt x="6" y="90"/>
                    <a:pt x="7" y="99"/>
                    <a:pt x="8" y="108"/>
                  </a:cubicBezTo>
                  <a:cubicBezTo>
                    <a:pt x="9" y="113"/>
                    <a:pt x="10" y="118"/>
                    <a:pt x="11" y="123"/>
                  </a:cubicBezTo>
                  <a:cubicBezTo>
                    <a:pt x="10" y="109"/>
                    <a:pt x="9" y="93"/>
                    <a:pt x="8" y="76"/>
                  </a:cubicBezTo>
                  <a:cubicBezTo>
                    <a:pt x="7" y="70"/>
                    <a:pt x="7" y="64"/>
                    <a:pt x="6" y="58"/>
                  </a:cubicBezTo>
                  <a:cubicBezTo>
                    <a:pt x="5" y="38"/>
                    <a:pt x="4" y="21"/>
                    <a:pt x="2" y="6"/>
                  </a:cubicBezTo>
                  <a:cubicBezTo>
                    <a:pt x="2" y="4"/>
                    <a:pt x="1" y="2"/>
                    <a:pt x="0"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41">
              <a:extLst>
                <a:ext uri="{FF2B5EF4-FFF2-40B4-BE49-F238E27FC236}">
                  <a16:creationId xmlns:a16="http://schemas.microsoft.com/office/drawing/2014/main" id="{C4C04C08-E843-4E42-97ED-127D21B28F42}"/>
                </a:ext>
              </a:extLst>
            </p:cNvPr>
            <p:cNvSpPr>
              <a:spLocks/>
            </p:cNvSpPr>
            <p:nvPr/>
          </p:nvSpPr>
          <p:spPr bwMode="auto">
            <a:xfrm>
              <a:off x="2471" y="3492"/>
              <a:ext cx="8" cy="3"/>
            </a:xfrm>
            <a:custGeom>
              <a:avLst/>
              <a:gdLst>
                <a:gd name="T0" fmla="*/ 3 w 3"/>
                <a:gd name="T1" fmla="*/ 0 h 1"/>
                <a:gd name="T2" fmla="*/ 1 w 3"/>
                <a:gd name="T3" fmla="*/ 0 h 1"/>
                <a:gd name="T4" fmla="*/ 0 w 3"/>
                <a:gd name="T5" fmla="*/ 0 h 1"/>
                <a:gd name="T6" fmla="*/ 0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cubicBezTo>
                    <a:pt x="2" y="0"/>
                    <a:pt x="2" y="0"/>
                    <a:pt x="1" y="0"/>
                  </a:cubicBezTo>
                  <a:cubicBezTo>
                    <a:pt x="1" y="0"/>
                    <a:pt x="0" y="0"/>
                    <a:pt x="0" y="0"/>
                  </a:cubicBezTo>
                  <a:cubicBezTo>
                    <a:pt x="0" y="1"/>
                    <a:pt x="0" y="1"/>
                    <a:pt x="0" y="1"/>
                  </a:cubicBezTo>
                  <a:cubicBezTo>
                    <a:pt x="3" y="0"/>
                    <a:pt x="3" y="0"/>
                    <a:pt x="3"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42">
              <a:extLst>
                <a:ext uri="{FF2B5EF4-FFF2-40B4-BE49-F238E27FC236}">
                  <a16:creationId xmlns:a16="http://schemas.microsoft.com/office/drawing/2014/main" id="{4CAEE594-6385-40CA-B689-E0D00BE7E8FF}"/>
                </a:ext>
              </a:extLst>
            </p:cNvPr>
            <p:cNvSpPr>
              <a:spLocks/>
            </p:cNvSpPr>
            <p:nvPr/>
          </p:nvSpPr>
          <p:spPr bwMode="auto">
            <a:xfrm>
              <a:off x="2467" y="2412"/>
              <a:ext cx="600" cy="441"/>
            </a:xfrm>
            <a:custGeom>
              <a:avLst/>
              <a:gdLst>
                <a:gd name="T0" fmla="*/ 45 w 253"/>
                <a:gd name="T1" fmla="*/ 14 h 186"/>
                <a:gd name="T2" fmla="*/ 134 w 253"/>
                <a:gd name="T3" fmla="*/ 57 h 186"/>
                <a:gd name="T4" fmla="*/ 206 w 253"/>
                <a:gd name="T5" fmla="*/ 0 h 186"/>
                <a:gd name="T6" fmla="*/ 253 w 253"/>
                <a:gd name="T7" fmla="*/ 50 h 186"/>
                <a:gd name="T8" fmla="*/ 209 w 253"/>
                <a:gd name="T9" fmla="*/ 141 h 186"/>
                <a:gd name="T10" fmla="*/ 149 w 253"/>
                <a:gd name="T11" fmla="*/ 186 h 186"/>
                <a:gd name="T12" fmla="*/ 67 w 253"/>
                <a:gd name="T13" fmla="*/ 153 h 186"/>
                <a:gd name="T14" fmla="*/ 0 w 253"/>
                <a:gd name="T15" fmla="*/ 100 h 186"/>
                <a:gd name="T16" fmla="*/ 45 w 253"/>
                <a:gd name="T17" fmla="*/ 1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186">
                  <a:moveTo>
                    <a:pt x="45" y="14"/>
                  </a:moveTo>
                  <a:cubicBezTo>
                    <a:pt x="45" y="14"/>
                    <a:pt x="64" y="60"/>
                    <a:pt x="134" y="57"/>
                  </a:cubicBezTo>
                  <a:cubicBezTo>
                    <a:pt x="204" y="54"/>
                    <a:pt x="206" y="0"/>
                    <a:pt x="206" y="0"/>
                  </a:cubicBezTo>
                  <a:cubicBezTo>
                    <a:pt x="253" y="50"/>
                    <a:pt x="253" y="50"/>
                    <a:pt x="253" y="50"/>
                  </a:cubicBezTo>
                  <a:cubicBezTo>
                    <a:pt x="209" y="141"/>
                    <a:pt x="209" y="141"/>
                    <a:pt x="209" y="141"/>
                  </a:cubicBezTo>
                  <a:cubicBezTo>
                    <a:pt x="149" y="186"/>
                    <a:pt x="149" y="186"/>
                    <a:pt x="149" y="186"/>
                  </a:cubicBezTo>
                  <a:cubicBezTo>
                    <a:pt x="67" y="153"/>
                    <a:pt x="67" y="153"/>
                    <a:pt x="67" y="153"/>
                  </a:cubicBezTo>
                  <a:cubicBezTo>
                    <a:pt x="0" y="100"/>
                    <a:pt x="0" y="100"/>
                    <a:pt x="0" y="100"/>
                  </a:cubicBezTo>
                  <a:cubicBezTo>
                    <a:pt x="45" y="14"/>
                    <a:pt x="45" y="14"/>
                    <a:pt x="45" y="14"/>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43">
              <a:extLst>
                <a:ext uri="{FF2B5EF4-FFF2-40B4-BE49-F238E27FC236}">
                  <a16:creationId xmlns:a16="http://schemas.microsoft.com/office/drawing/2014/main" id="{91491247-5491-40D9-9538-68CC3CF62D3E}"/>
                </a:ext>
              </a:extLst>
            </p:cNvPr>
            <p:cNvSpPr>
              <a:spLocks/>
            </p:cNvSpPr>
            <p:nvPr/>
          </p:nvSpPr>
          <p:spPr bwMode="auto">
            <a:xfrm>
              <a:off x="2077" y="2910"/>
              <a:ext cx="107" cy="83"/>
            </a:xfrm>
            <a:custGeom>
              <a:avLst/>
              <a:gdLst>
                <a:gd name="T0" fmla="*/ 44 w 45"/>
                <a:gd name="T1" fmla="*/ 0 h 35"/>
                <a:gd name="T2" fmla="*/ 22 w 45"/>
                <a:gd name="T3" fmla="*/ 16 h 35"/>
                <a:gd name="T4" fmla="*/ 1 w 45"/>
                <a:gd name="T5" fmla="*/ 35 h 35"/>
                <a:gd name="T6" fmla="*/ 1 w 45"/>
                <a:gd name="T7" fmla="*/ 35 h 35"/>
                <a:gd name="T8" fmla="*/ 24 w 45"/>
                <a:gd name="T9" fmla="*/ 19 h 35"/>
                <a:gd name="T10" fmla="*/ 45 w 45"/>
                <a:gd name="T11" fmla="*/ 0 h 35"/>
                <a:gd name="T12" fmla="*/ 44 w 45"/>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45" h="35">
                  <a:moveTo>
                    <a:pt x="44" y="0"/>
                  </a:moveTo>
                  <a:cubicBezTo>
                    <a:pt x="43" y="0"/>
                    <a:pt x="33" y="6"/>
                    <a:pt x="22" y="16"/>
                  </a:cubicBezTo>
                  <a:cubicBezTo>
                    <a:pt x="10" y="25"/>
                    <a:pt x="0" y="34"/>
                    <a:pt x="1" y="35"/>
                  </a:cubicBezTo>
                  <a:cubicBezTo>
                    <a:pt x="1" y="35"/>
                    <a:pt x="1" y="35"/>
                    <a:pt x="1" y="35"/>
                  </a:cubicBezTo>
                  <a:cubicBezTo>
                    <a:pt x="3" y="35"/>
                    <a:pt x="13" y="28"/>
                    <a:pt x="24" y="19"/>
                  </a:cubicBezTo>
                  <a:cubicBezTo>
                    <a:pt x="36" y="9"/>
                    <a:pt x="45" y="1"/>
                    <a:pt x="45" y="0"/>
                  </a:cubicBezTo>
                  <a:cubicBezTo>
                    <a:pt x="45" y="0"/>
                    <a:pt x="45" y="0"/>
                    <a:pt x="44"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44">
              <a:extLst>
                <a:ext uri="{FF2B5EF4-FFF2-40B4-BE49-F238E27FC236}">
                  <a16:creationId xmlns:a16="http://schemas.microsoft.com/office/drawing/2014/main" id="{24D1A8A9-C7C3-47EB-9D8F-1F60F2062DD4}"/>
                </a:ext>
              </a:extLst>
            </p:cNvPr>
            <p:cNvSpPr>
              <a:spLocks/>
            </p:cNvSpPr>
            <p:nvPr/>
          </p:nvSpPr>
          <p:spPr bwMode="auto">
            <a:xfrm>
              <a:off x="2158" y="2730"/>
              <a:ext cx="104" cy="64"/>
            </a:xfrm>
            <a:custGeom>
              <a:avLst/>
              <a:gdLst>
                <a:gd name="T0" fmla="*/ 43 w 44"/>
                <a:gd name="T1" fmla="*/ 26 h 27"/>
                <a:gd name="T2" fmla="*/ 20 w 44"/>
                <a:gd name="T3" fmla="*/ 17 h 27"/>
                <a:gd name="T4" fmla="*/ 1 w 44"/>
                <a:gd name="T5" fmla="*/ 0 h 27"/>
                <a:gd name="T6" fmla="*/ 22 w 44"/>
                <a:gd name="T7" fmla="*/ 13 h 27"/>
                <a:gd name="T8" fmla="*/ 43 w 44"/>
                <a:gd name="T9" fmla="*/ 26 h 27"/>
              </a:gdLst>
              <a:ahLst/>
              <a:cxnLst>
                <a:cxn ang="0">
                  <a:pos x="T0" y="T1"/>
                </a:cxn>
                <a:cxn ang="0">
                  <a:pos x="T2" y="T3"/>
                </a:cxn>
                <a:cxn ang="0">
                  <a:pos x="T4" y="T5"/>
                </a:cxn>
                <a:cxn ang="0">
                  <a:pos x="T6" y="T7"/>
                </a:cxn>
                <a:cxn ang="0">
                  <a:pos x="T8" y="T9"/>
                </a:cxn>
              </a:cxnLst>
              <a:rect l="0" t="0" r="r" b="b"/>
              <a:pathLst>
                <a:path w="44" h="27">
                  <a:moveTo>
                    <a:pt x="43" y="26"/>
                  </a:moveTo>
                  <a:cubicBezTo>
                    <a:pt x="43" y="27"/>
                    <a:pt x="32" y="24"/>
                    <a:pt x="20" y="17"/>
                  </a:cubicBezTo>
                  <a:cubicBezTo>
                    <a:pt x="8" y="10"/>
                    <a:pt x="0" y="1"/>
                    <a:pt x="1" y="0"/>
                  </a:cubicBezTo>
                  <a:cubicBezTo>
                    <a:pt x="2" y="0"/>
                    <a:pt x="11" y="6"/>
                    <a:pt x="22" y="13"/>
                  </a:cubicBezTo>
                  <a:cubicBezTo>
                    <a:pt x="34" y="21"/>
                    <a:pt x="44" y="25"/>
                    <a:pt x="43" y="2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45">
              <a:extLst>
                <a:ext uri="{FF2B5EF4-FFF2-40B4-BE49-F238E27FC236}">
                  <a16:creationId xmlns:a16="http://schemas.microsoft.com/office/drawing/2014/main" id="{6A453531-0748-45CF-8696-48358580CF1F}"/>
                </a:ext>
              </a:extLst>
            </p:cNvPr>
            <p:cNvSpPr>
              <a:spLocks/>
            </p:cNvSpPr>
            <p:nvPr/>
          </p:nvSpPr>
          <p:spPr bwMode="auto">
            <a:xfrm>
              <a:off x="2315" y="2804"/>
              <a:ext cx="92" cy="144"/>
            </a:xfrm>
            <a:custGeom>
              <a:avLst/>
              <a:gdLst>
                <a:gd name="T0" fmla="*/ 38 w 39"/>
                <a:gd name="T1" fmla="*/ 1 h 61"/>
                <a:gd name="T2" fmla="*/ 20 w 39"/>
                <a:gd name="T3" fmla="*/ 31 h 61"/>
                <a:gd name="T4" fmla="*/ 1 w 39"/>
                <a:gd name="T5" fmla="*/ 60 h 61"/>
                <a:gd name="T6" fmla="*/ 16 w 39"/>
                <a:gd name="T7" fmla="*/ 28 h 61"/>
                <a:gd name="T8" fmla="*/ 38 w 39"/>
                <a:gd name="T9" fmla="*/ 1 h 61"/>
              </a:gdLst>
              <a:ahLst/>
              <a:cxnLst>
                <a:cxn ang="0">
                  <a:pos x="T0" y="T1"/>
                </a:cxn>
                <a:cxn ang="0">
                  <a:pos x="T2" y="T3"/>
                </a:cxn>
                <a:cxn ang="0">
                  <a:pos x="T4" y="T5"/>
                </a:cxn>
                <a:cxn ang="0">
                  <a:pos x="T6" y="T7"/>
                </a:cxn>
                <a:cxn ang="0">
                  <a:pos x="T8" y="T9"/>
                </a:cxn>
              </a:cxnLst>
              <a:rect l="0" t="0" r="r" b="b"/>
              <a:pathLst>
                <a:path w="39" h="61">
                  <a:moveTo>
                    <a:pt x="38" y="1"/>
                  </a:moveTo>
                  <a:cubicBezTo>
                    <a:pt x="39" y="1"/>
                    <a:pt x="30" y="14"/>
                    <a:pt x="20" y="31"/>
                  </a:cubicBezTo>
                  <a:cubicBezTo>
                    <a:pt x="9" y="47"/>
                    <a:pt x="2" y="61"/>
                    <a:pt x="1" y="60"/>
                  </a:cubicBezTo>
                  <a:cubicBezTo>
                    <a:pt x="0" y="60"/>
                    <a:pt x="6" y="45"/>
                    <a:pt x="16" y="28"/>
                  </a:cubicBezTo>
                  <a:cubicBezTo>
                    <a:pt x="26" y="12"/>
                    <a:pt x="37" y="0"/>
                    <a:pt x="38"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46">
              <a:extLst>
                <a:ext uri="{FF2B5EF4-FFF2-40B4-BE49-F238E27FC236}">
                  <a16:creationId xmlns:a16="http://schemas.microsoft.com/office/drawing/2014/main" id="{2A72CE0E-2CA3-4065-895B-983075DADF33}"/>
                </a:ext>
              </a:extLst>
            </p:cNvPr>
            <p:cNvSpPr>
              <a:spLocks/>
            </p:cNvSpPr>
            <p:nvPr/>
          </p:nvSpPr>
          <p:spPr bwMode="auto">
            <a:xfrm>
              <a:off x="2210" y="3017"/>
              <a:ext cx="74" cy="119"/>
            </a:xfrm>
            <a:custGeom>
              <a:avLst/>
              <a:gdLst>
                <a:gd name="T0" fmla="*/ 30 w 31"/>
                <a:gd name="T1" fmla="*/ 50 h 50"/>
                <a:gd name="T2" fmla="*/ 12 w 31"/>
                <a:gd name="T3" fmla="*/ 27 h 50"/>
                <a:gd name="T4" fmla="*/ 1 w 31"/>
                <a:gd name="T5" fmla="*/ 0 h 50"/>
                <a:gd name="T6" fmla="*/ 16 w 31"/>
                <a:gd name="T7" fmla="*/ 25 h 50"/>
                <a:gd name="T8" fmla="*/ 30 w 31"/>
                <a:gd name="T9" fmla="*/ 50 h 50"/>
              </a:gdLst>
              <a:ahLst/>
              <a:cxnLst>
                <a:cxn ang="0">
                  <a:pos x="T0" y="T1"/>
                </a:cxn>
                <a:cxn ang="0">
                  <a:pos x="T2" y="T3"/>
                </a:cxn>
                <a:cxn ang="0">
                  <a:pos x="T4" y="T5"/>
                </a:cxn>
                <a:cxn ang="0">
                  <a:pos x="T6" y="T7"/>
                </a:cxn>
                <a:cxn ang="0">
                  <a:pos x="T8" y="T9"/>
                </a:cxn>
              </a:cxnLst>
              <a:rect l="0" t="0" r="r" b="b"/>
              <a:pathLst>
                <a:path w="31" h="50">
                  <a:moveTo>
                    <a:pt x="30" y="50"/>
                  </a:moveTo>
                  <a:cubicBezTo>
                    <a:pt x="29" y="50"/>
                    <a:pt x="20" y="41"/>
                    <a:pt x="12" y="27"/>
                  </a:cubicBezTo>
                  <a:cubicBezTo>
                    <a:pt x="4" y="13"/>
                    <a:pt x="0" y="0"/>
                    <a:pt x="1" y="0"/>
                  </a:cubicBezTo>
                  <a:cubicBezTo>
                    <a:pt x="2" y="0"/>
                    <a:pt x="8" y="11"/>
                    <a:pt x="16" y="25"/>
                  </a:cubicBezTo>
                  <a:cubicBezTo>
                    <a:pt x="24" y="39"/>
                    <a:pt x="31" y="49"/>
                    <a:pt x="30" y="5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47">
              <a:extLst>
                <a:ext uri="{FF2B5EF4-FFF2-40B4-BE49-F238E27FC236}">
                  <a16:creationId xmlns:a16="http://schemas.microsoft.com/office/drawing/2014/main" id="{8EA308D0-7EAF-4E72-856D-9F9E17037C0B}"/>
                </a:ext>
              </a:extLst>
            </p:cNvPr>
            <p:cNvSpPr>
              <a:spLocks/>
            </p:cNvSpPr>
            <p:nvPr/>
          </p:nvSpPr>
          <p:spPr bwMode="auto">
            <a:xfrm>
              <a:off x="2137" y="3186"/>
              <a:ext cx="21" cy="109"/>
            </a:xfrm>
            <a:custGeom>
              <a:avLst/>
              <a:gdLst>
                <a:gd name="T0" fmla="*/ 8 w 9"/>
                <a:gd name="T1" fmla="*/ 46 h 46"/>
                <a:gd name="T2" fmla="*/ 2 w 9"/>
                <a:gd name="T3" fmla="*/ 23 h 46"/>
                <a:gd name="T4" fmla="*/ 1 w 9"/>
                <a:gd name="T5" fmla="*/ 0 h 46"/>
                <a:gd name="T6" fmla="*/ 6 w 9"/>
                <a:gd name="T7" fmla="*/ 23 h 46"/>
                <a:gd name="T8" fmla="*/ 8 w 9"/>
                <a:gd name="T9" fmla="*/ 46 h 46"/>
              </a:gdLst>
              <a:ahLst/>
              <a:cxnLst>
                <a:cxn ang="0">
                  <a:pos x="T0" y="T1"/>
                </a:cxn>
                <a:cxn ang="0">
                  <a:pos x="T2" y="T3"/>
                </a:cxn>
                <a:cxn ang="0">
                  <a:pos x="T4" y="T5"/>
                </a:cxn>
                <a:cxn ang="0">
                  <a:pos x="T6" y="T7"/>
                </a:cxn>
                <a:cxn ang="0">
                  <a:pos x="T8" y="T9"/>
                </a:cxn>
              </a:cxnLst>
              <a:rect l="0" t="0" r="r" b="b"/>
              <a:pathLst>
                <a:path w="9" h="46">
                  <a:moveTo>
                    <a:pt x="8" y="46"/>
                  </a:moveTo>
                  <a:cubicBezTo>
                    <a:pt x="6" y="46"/>
                    <a:pt x="4" y="36"/>
                    <a:pt x="2" y="23"/>
                  </a:cubicBezTo>
                  <a:cubicBezTo>
                    <a:pt x="1" y="11"/>
                    <a:pt x="0" y="0"/>
                    <a:pt x="1" y="0"/>
                  </a:cubicBezTo>
                  <a:cubicBezTo>
                    <a:pt x="2" y="0"/>
                    <a:pt x="5" y="10"/>
                    <a:pt x="6" y="23"/>
                  </a:cubicBezTo>
                  <a:cubicBezTo>
                    <a:pt x="8" y="35"/>
                    <a:pt x="9" y="46"/>
                    <a:pt x="8" y="4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48">
              <a:extLst>
                <a:ext uri="{FF2B5EF4-FFF2-40B4-BE49-F238E27FC236}">
                  <a16:creationId xmlns:a16="http://schemas.microsoft.com/office/drawing/2014/main" id="{940049F6-9CF0-4D29-BA98-3D42B3766655}"/>
                </a:ext>
              </a:extLst>
            </p:cNvPr>
            <p:cNvSpPr>
              <a:spLocks/>
            </p:cNvSpPr>
            <p:nvPr/>
          </p:nvSpPr>
          <p:spPr bwMode="auto">
            <a:xfrm>
              <a:off x="2272" y="3231"/>
              <a:ext cx="69" cy="107"/>
            </a:xfrm>
            <a:custGeom>
              <a:avLst/>
              <a:gdLst>
                <a:gd name="T0" fmla="*/ 28 w 29"/>
                <a:gd name="T1" fmla="*/ 0 h 45"/>
                <a:gd name="T2" fmla="*/ 13 w 29"/>
                <a:gd name="T3" fmla="*/ 21 h 45"/>
                <a:gd name="T4" fmla="*/ 1 w 29"/>
                <a:gd name="T5" fmla="*/ 45 h 45"/>
                <a:gd name="T6" fmla="*/ 1 w 29"/>
                <a:gd name="T7" fmla="*/ 45 h 45"/>
                <a:gd name="T8" fmla="*/ 16 w 29"/>
                <a:gd name="T9" fmla="*/ 24 h 45"/>
                <a:gd name="T10" fmla="*/ 28 w 29"/>
                <a:gd name="T11" fmla="*/ 0 h 45"/>
                <a:gd name="T12" fmla="*/ 28 w 29"/>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9" h="45">
                  <a:moveTo>
                    <a:pt x="28" y="0"/>
                  </a:moveTo>
                  <a:cubicBezTo>
                    <a:pt x="26" y="0"/>
                    <a:pt x="20" y="9"/>
                    <a:pt x="13" y="21"/>
                  </a:cubicBezTo>
                  <a:cubicBezTo>
                    <a:pt x="5" y="34"/>
                    <a:pt x="0" y="45"/>
                    <a:pt x="1" y="45"/>
                  </a:cubicBezTo>
                  <a:cubicBezTo>
                    <a:pt x="1" y="45"/>
                    <a:pt x="1" y="45"/>
                    <a:pt x="1" y="45"/>
                  </a:cubicBezTo>
                  <a:cubicBezTo>
                    <a:pt x="2" y="45"/>
                    <a:pt x="9" y="36"/>
                    <a:pt x="16" y="24"/>
                  </a:cubicBezTo>
                  <a:cubicBezTo>
                    <a:pt x="23" y="11"/>
                    <a:pt x="29" y="0"/>
                    <a:pt x="28" y="0"/>
                  </a:cubicBezTo>
                  <a:cubicBezTo>
                    <a:pt x="28" y="0"/>
                    <a:pt x="28" y="0"/>
                    <a:pt x="28"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49">
              <a:extLst>
                <a:ext uri="{FF2B5EF4-FFF2-40B4-BE49-F238E27FC236}">
                  <a16:creationId xmlns:a16="http://schemas.microsoft.com/office/drawing/2014/main" id="{26CBB3B7-2508-4E58-BD37-0DEDA4DB7F46}"/>
                </a:ext>
              </a:extLst>
            </p:cNvPr>
            <p:cNvSpPr>
              <a:spLocks/>
            </p:cNvSpPr>
            <p:nvPr/>
          </p:nvSpPr>
          <p:spPr bwMode="auto">
            <a:xfrm>
              <a:off x="2058" y="3395"/>
              <a:ext cx="79" cy="111"/>
            </a:xfrm>
            <a:custGeom>
              <a:avLst/>
              <a:gdLst>
                <a:gd name="T0" fmla="*/ 32 w 33"/>
                <a:gd name="T1" fmla="*/ 46 h 47"/>
                <a:gd name="T2" fmla="*/ 14 w 33"/>
                <a:gd name="T3" fmla="*/ 25 h 47"/>
                <a:gd name="T4" fmla="*/ 1 w 33"/>
                <a:gd name="T5" fmla="*/ 1 h 47"/>
                <a:gd name="T6" fmla="*/ 17 w 33"/>
                <a:gd name="T7" fmla="*/ 23 h 47"/>
                <a:gd name="T8" fmla="*/ 32 w 33"/>
                <a:gd name="T9" fmla="*/ 46 h 47"/>
              </a:gdLst>
              <a:ahLst/>
              <a:cxnLst>
                <a:cxn ang="0">
                  <a:pos x="T0" y="T1"/>
                </a:cxn>
                <a:cxn ang="0">
                  <a:pos x="T2" y="T3"/>
                </a:cxn>
                <a:cxn ang="0">
                  <a:pos x="T4" y="T5"/>
                </a:cxn>
                <a:cxn ang="0">
                  <a:pos x="T6" y="T7"/>
                </a:cxn>
                <a:cxn ang="0">
                  <a:pos x="T8" y="T9"/>
                </a:cxn>
              </a:cxnLst>
              <a:rect l="0" t="0" r="r" b="b"/>
              <a:pathLst>
                <a:path w="33" h="47">
                  <a:moveTo>
                    <a:pt x="32" y="46"/>
                  </a:moveTo>
                  <a:cubicBezTo>
                    <a:pt x="32" y="47"/>
                    <a:pt x="23" y="38"/>
                    <a:pt x="14" y="25"/>
                  </a:cubicBezTo>
                  <a:cubicBezTo>
                    <a:pt x="5" y="13"/>
                    <a:pt x="0" y="1"/>
                    <a:pt x="1" y="1"/>
                  </a:cubicBezTo>
                  <a:cubicBezTo>
                    <a:pt x="2" y="0"/>
                    <a:pt x="9" y="11"/>
                    <a:pt x="17" y="23"/>
                  </a:cubicBezTo>
                  <a:cubicBezTo>
                    <a:pt x="26" y="35"/>
                    <a:pt x="33" y="45"/>
                    <a:pt x="32" y="46"/>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50">
              <a:extLst>
                <a:ext uri="{FF2B5EF4-FFF2-40B4-BE49-F238E27FC236}">
                  <a16:creationId xmlns:a16="http://schemas.microsoft.com/office/drawing/2014/main" id="{EF35DA42-6142-4775-A1DB-8618ED1D1597}"/>
                </a:ext>
              </a:extLst>
            </p:cNvPr>
            <p:cNvSpPr>
              <a:spLocks/>
            </p:cNvSpPr>
            <p:nvPr/>
          </p:nvSpPr>
          <p:spPr bwMode="auto">
            <a:xfrm>
              <a:off x="2217" y="3476"/>
              <a:ext cx="110" cy="109"/>
            </a:xfrm>
            <a:custGeom>
              <a:avLst/>
              <a:gdLst>
                <a:gd name="T0" fmla="*/ 45 w 46"/>
                <a:gd name="T1" fmla="*/ 1 h 46"/>
                <a:gd name="T2" fmla="*/ 25 w 46"/>
                <a:gd name="T3" fmla="*/ 24 h 46"/>
                <a:gd name="T4" fmla="*/ 1 w 46"/>
                <a:gd name="T5" fmla="*/ 45 h 46"/>
                <a:gd name="T6" fmla="*/ 22 w 46"/>
                <a:gd name="T7" fmla="*/ 21 h 46"/>
                <a:gd name="T8" fmla="*/ 45 w 46"/>
                <a:gd name="T9" fmla="*/ 1 h 46"/>
              </a:gdLst>
              <a:ahLst/>
              <a:cxnLst>
                <a:cxn ang="0">
                  <a:pos x="T0" y="T1"/>
                </a:cxn>
                <a:cxn ang="0">
                  <a:pos x="T2" y="T3"/>
                </a:cxn>
                <a:cxn ang="0">
                  <a:pos x="T4" y="T5"/>
                </a:cxn>
                <a:cxn ang="0">
                  <a:pos x="T6" y="T7"/>
                </a:cxn>
                <a:cxn ang="0">
                  <a:pos x="T8" y="T9"/>
                </a:cxn>
              </a:cxnLst>
              <a:rect l="0" t="0" r="r" b="b"/>
              <a:pathLst>
                <a:path w="46" h="46">
                  <a:moveTo>
                    <a:pt x="45" y="1"/>
                  </a:moveTo>
                  <a:cubicBezTo>
                    <a:pt x="46" y="1"/>
                    <a:pt x="37" y="12"/>
                    <a:pt x="25" y="24"/>
                  </a:cubicBezTo>
                  <a:cubicBezTo>
                    <a:pt x="12" y="36"/>
                    <a:pt x="2" y="46"/>
                    <a:pt x="1" y="45"/>
                  </a:cubicBezTo>
                  <a:cubicBezTo>
                    <a:pt x="0" y="44"/>
                    <a:pt x="10" y="33"/>
                    <a:pt x="22" y="21"/>
                  </a:cubicBezTo>
                  <a:cubicBezTo>
                    <a:pt x="34" y="9"/>
                    <a:pt x="44" y="0"/>
                    <a:pt x="45"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51">
              <a:extLst>
                <a:ext uri="{FF2B5EF4-FFF2-40B4-BE49-F238E27FC236}">
                  <a16:creationId xmlns:a16="http://schemas.microsoft.com/office/drawing/2014/main" id="{6D59DB76-BD73-4D5B-A1AA-530AFE9E2541}"/>
                </a:ext>
              </a:extLst>
            </p:cNvPr>
            <p:cNvSpPr>
              <a:spLocks/>
            </p:cNvSpPr>
            <p:nvPr/>
          </p:nvSpPr>
          <p:spPr bwMode="auto">
            <a:xfrm>
              <a:off x="2146" y="3720"/>
              <a:ext cx="74" cy="97"/>
            </a:xfrm>
            <a:custGeom>
              <a:avLst/>
              <a:gdLst>
                <a:gd name="T0" fmla="*/ 1 w 31"/>
                <a:gd name="T1" fmla="*/ 0 h 41"/>
                <a:gd name="T2" fmla="*/ 1 w 31"/>
                <a:gd name="T3" fmla="*/ 0 h 41"/>
                <a:gd name="T4" fmla="*/ 12 w 31"/>
                <a:gd name="T5" fmla="*/ 23 h 41"/>
                <a:gd name="T6" fmla="*/ 30 w 31"/>
                <a:gd name="T7" fmla="*/ 41 h 41"/>
                <a:gd name="T8" fmla="*/ 30 w 31"/>
                <a:gd name="T9" fmla="*/ 41 h 41"/>
                <a:gd name="T10" fmla="*/ 16 w 31"/>
                <a:gd name="T11" fmla="*/ 21 h 41"/>
                <a:gd name="T12" fmla="*/ 1 w 3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1" h="41">
                  <a:moveTo>
                    <a:pt x="1" y="0"/>
                  </a:moveTo>
                  <a:cubicBezTo>
                    <a:pt x="1" y="0"/>
                    <a:pt x="1" y="0"/>
                    <a:pt x="1" y="0"/>
                  </a:cubicBezTo>
                  <a:cubicBezTo>
                    <a:pt x="0" y="1"/>
                    <a:pt x="4" y="12"/>
                    <a:pt x="12" y="23"/>
                  </a:cubicBezTo>
                  <a:cubicBezTo>
                    <a:pt x="20" y="34"/>
                    <a:pt x="28" y="41"/>
                    <a:pt x="30" y="41"/>
                  </a:cubicBezTo>
                  <a:cubicBezTo>
                    <a:pt x="30" y="41"/>
                    <a:pt x="30" y="41"/>
                    <a:pt x="30" y="41"/>
                  </a:cubicBezTo>
                  <a:cubicBezTo>
                    <a:pt x="31" y="40"/>
                    <a:pt x="23" y="32"/>
                    <a:pt x="16" y="21"/>
                  </a:cubicBezTo>
                  <a:cubicBezTo>
                    <a:pt x="8" y="10"/>
                    <a:pt x="2" y="0"/>
                    <a:pt x="1"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52">
              <a:extLst>
                <a:ext uri="{FF2B5EF4-FFF2-40B4-BE49-F238E27FC236}">
                  <a16:creationId xmlns:a16="http://schemas.microsoft.com/office/drawing/2014/main" id="{80152E75-4F49-4FC2-A290-E17591DE6342}"/>
                </a:ext>
              </a:extLst>
            </p:cNvPr>
            <p:cNvSpPr>
              <a:spLocks/>
            </p:cNvSpPr>
            <p:nvPr/>
          </p:nvSpPr>
          <p:spPr bwMode="auto">
            <a:xfrm>
              <a:off x="2350" y="3746"/>
              <a:ext cx="112" cy="67"/>
            </a:xfrm>
            <a:custGeom>
              <a:avLst/>
              <a:gdLst>
                <a:gd name="T0" fmla="*/ 47 w 47"/>
                <a:gd name="T1" fmla="*/ 1 h 28"/>
                <a:gd name="T2" fmla="*/ 25 w 47"/>
                <a:gd name="T3" fmla="*/ 16 h 28"/>
                <a:gd name="T4" fmla="*/ 1 w 47"/>
                <a:gd name="T5" fmla="*/ 27 h 28"/>
                <a:gd name="T6" fmla="*/ 23 w 47"/>
                <a:gd name="T7" fmla="*/ 12 h 28"/>
                <a:gd name="T8" fmla="*/ 47 w 47"/>
                <a:gd name="T9" fmla="*/ 1 h 28"/>
              </a:gdLst>
              <a:ahLst/>
              <a:cxnLst>
                <a:cxn ang="0">
                  <a:pos x="T0" y="T1"/>
                </a:cxn>
                <a:cxn ang="0">
                  <a:pos x="T2" y="T3"/>
                </a:cxn>
                <a:cxn ang="0">
                  <a:pos x="T4" y="T5"/>
                </a:cxn>
                <a:cxn ang="0">
                  <a:pos x="T6" y="T7"/>
                </a:cxn>
                <a:cxn ang="0">
                  <a:pos x="T8" y="T9"/>
                </a:cxn>
              </a:cxnLst>
              <a:rect l="0" t="0" r="r" b="b"/>
              <a:pathLst>
                <a:path w="47" h="28">
                  <a:moveTo>
                    <a:pt x="47" y="1"/>
                  </a:moveTo>
                  <a:cubicBezTo>
                    <a:pt x="47" y="2"/>
                    <a:pt x="37" y="9"/>
                    <a:pt x="25" y="16"/>
                  </a:cubicBezTo>
                  <a:cubicBezTo>
                    <a:pt x="12" y="23"/>
                    <a:pt x="1" y="28"/>
                    <a:pt x="1" y="27"/>
                  </a:cubicBezTo>
                  <a:cubicBezTo>
                    <a:pt x="0" y="26"/>
                    <a:pt x="10" y="20"/>
                    <a:pt x="23" y="12"/>
                  </a:cubicBezTo>
                  <a:cubicBezTo>
                    <a:pt x="35" y="5"/>
                    <a:pt x="46" y="0"/>
                    <a:pt x="47"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53">
              <a:extLst>
                <a:ext uri="{FF2B5EF4-FFF2-40B4-BE49-F238E27FC236}">
                  <a16:creationId xmlns:a16="http://schemas.microsoft.com/office/drawing/2014/main" id="{7DEC40F6-3A85-4B98-9291-2B97B3D80A95}"/>
                </a:ext>
              </a:extLst>
            </p:cNvPr>
            <p:cNvSpPr>
              <a:spLocks/>
            </p:cNvSpPr>
            <p:nvPr/>
          </p:nvSpPr>
          <p:spPr bwMode="auto">
            <a:xfrm>
              <a:off x="2483" y="3571"/>
              <a:ext cx="76" cy="102"/>
            </a:xfrm>
            <a:custGeom>
              <a:avLst/>
              <a:gdLst>
                <a:gd name="T0" fmla="*/ 31 w 32"/>
                <a:gd name="T1" fmla="*/ 42 h 43"/>
                <a:gd name="T2" fmla="*/ 12 w 32"/>
                <a:gd name="T3" fmla="*/ 24 h 43"/>
                <a:gd name="T4" fmla="*/ 1 w 32"/>
                <a:gd name="T5" fmla="*/ 1 h 43"/>
                <a:gd name="T6" fmla="*/ 16 w 32"/>
                <a:gd name="T7" fmla="*/ 22 h 43"/>
                <a:gd name="T8" fmla="*/ 31 w 32"/>
                <a:gd name="T9" fmla="*/ 42 h 43"/>
              </a:gdLst>
              <a:ahLst/>
              <a:cxnLst>
                <a:cxn ang="0">
                  <a:pos x="T0" y="T1"/>
                </a:cxn>
                <a:cxn ang="0">
                  <a:pos x="T2" y="T3"/>
                </a:cxn>
                <a:cxn ang="0">
                  <a:pos x="T4" y="T5"/>
                </a:cxn>
                <a:cxn ang="0">
                  <a:pos x="T6" y="T7"/>
                </a:cxn>
                <a:cxn ang="0">
                  <a:pos x="T8" y="T9"/>
                </a:cxn>
              </a:cxnLst>
              <a:rect l="0" t="0" r="r" b="b"/>
              <a:pathLst>
                <a:path w="32" h="43">
                  <a:moveTo>
                    <a:pt x="31" y="42"/>
                  </a:moveTo>
                  <a:cubicBezTo>
                    <a:pt x="30" y="43"/>
                    <a:pt x="21" y="36"/>
                    <a:pt x="12" y="24"/>
                  </a:cubicBezTo>
                  <a:cubicBezTo>
                    <a:pt x="4" y="13"/>
                    <a:pt x="0" y="1"/>
                    <a:pt x="1" y="1"/>
                  </a:cubicBezTo>
                  <a:cubicBezTo>
                    <a:pt x="2" y="0"/>
                    <a:pt x="8" y="10"/>
                    <a:pt x="16" y="22"/>
                  </a:cubicBezTo>
                  <a:cubicBezTo>
                    <a:pt x="24" y="33"/>
                    <a:pt x="32" y="41"/>
                    <a:pt x="31" y="4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54">
              <a:extLst>
                <a:ext uri="{FF2B5EF4-FFF2-40B4-BE49-F238E27FC236}">
                  <a16:creationId xmlns:a16="http://schemas.microsoft.com/office/drawing/2014/main" id="{80982839-E210-4EC6-9B94-671B5731C009}"/>
                </a:ext>
              </a:extLst>
            </p:cNvPr>
            <p:cNvSpPr>
              <a:spLocks/>
            </p:cNvSpPr>
            <p:nvPr/>
          </p:nvSpPr>
          <p:spPr bwMode="auto">
            <a:xfrm>
              <a:off x="2604" y="3122"/>
              <a:ext cx="121" cy="92"/>
            </a:xfrm>
            <a:custGeom>
              <a:avLst/>
              <a:gdLst>
                <a:gd name="T0" fmla="*/ 51 w 51"/>
                <a:gd name="T1" fmla="*/ 1 h 39"/>
                <a:gd name="T2" fmla="*/ 27 w 51"/>
                <a:gd name="T3" fmla="*/ 21 h 39"/>
                <a:gd name="T4" fmla="*/ 1 w 51"/>
                <a:gd name="T5" fmla="*/ 38 h 39"/>
                <a:gd name="T6" fmla="*/ 25 w 51"/>
                <a:gd name="T7" fmla="*/ 18 h 39"/>
                <a:gd name="T8" fmla="*/ 51 w 51"/>
                <a:gd name="T9" fmla="*/ 1 h 39"/>
              </a:gdLst>
              <a:ahLst/>
              <a:cxnLst>
                <a:cxn ang="0">
                  <a:pos x="T0" y="T1"/>
                </a:cxn>
                <a:cxn ang="0">
                  <a:pos x="T2" y="T3"/>
                </a:cxn>
                <a:cxn ang="0">
                  <a:pos x="T4" y="T5"/>
                </a:cxn>
                <a:cxn ang="0">
                  <a:pos x="T6" y="T7"/>
                </a:cxn>
                <a:cxn ang="0">
                  <a:pos x="T8" y="T9"/>
                </a:cxn>
              </a:cxnLst>
              <a:rect l="0" t="0" r="r" b="b"/>
              <a:pathLst>
                <a:path w="51" h="39">
                  <a:moveTo>
                    <a:pt x="51" y="1"/>
                  </a:moveTo>
                  <a:cubicBezTo>
                    <a:pt x="51" y="2"/>
                    <a:pt x="41" y="11"/>
                    <a:pt x="27" y="21"/>
                  </a:cubicBezTo>
                  <a:cubicBezTo>
                    <a:pt x="13" y="31"/>
                    <a:pt x="2" y="39"/>
                    <a:pt x="1" y="38"/>
                  </a:cubicBezTo>
                  <a:cubicBezTo>
                    <a:pt x="0" y="37"/>
                    <a:pt x="11" y="28"/>
                    <a:pt x="25" y="18"/>
                  </a:cubicBezTo>
                  <a:cubicBezTo>
                    <a:pt x="38" y="7"/>
                    <a:pt x="50" y="0"/>
                    <a:pt x="51"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55">
              <a:extLst>
                <a:ext uri="{FF2B5EF4-FFF2-40B4-BE49-F238E27FC236}">
                  <a16:creationId xmlns:a16="http://schemas.microsoft.com/office/drawing/2014/main" id="{BABE2C8F-BB12-4574-A96F-51ED613F2668}"/>
                </a:ext>
              </a:extLst>
            </p:cNvPr>
            <p:cNvSpPr>
              <a:spLocks/>
            </p:cNvSpPr>
            <p:nvPr/>
          </p:nvSpPr>
          <p:spPr bwMode="auto">
            <a:xfrm>
              <a:off x="2545" y="2996"/>
              <a:ext cx="17" cy="116"/>
            </a:xfrm>
            <a:custGeom>
              <a:avLst/>
              <a:gdLst>
                <a:gd name="T0" fmla="*/ 1 w 7"/>
                <a:gd name="T1" fmla="*/ 49 h 49"/>
                <a:gd name="T2" fmla="*/ 1 w 7"/>
                <a:gd name="T3" fmla="*/ 24 h 49"/>
                <a:gd name="T4" fmla="*/ 6 w 7"/>
                <a:gd name="T5" fmla="*/ 0 h 49"/>
                <a:gd name="T6" fmla="*/ 6 w 7"/>
                <a:gd name="T7" fmla="*/ 25 h 49"/>
                <a:gd name="T8" fmla="*/ 1 w 7"/>
                <a:gd name="T9" fmla="*/ 49 h 49"/>
              </a:gdLst>
              <a:ahLst/>
              <a:cxnLst>
                <a:cxn ang="0">
                  <a:pos x="T0" y="T1"/>
                </a:cxn>
                <a:cxn ang="0">
                  <a:pos x="T2" y="T3"/>
                </a:cxn>
                <a:cxn ang="0">
                  <a:pos x="T4" y="T5"/>
                </a:cxn>
                <a:cxn ang="0">
                  <a:pos x="T6" y="T7"/>
                </a:cxn>
                <a:cxn ang="0">
                  <a:pos x="T8" y="T9"/>
                </a:cxn>
              </a:cxnLst>
              <a:rect l="0" t="0" r="r" b="b"/>
              <a:pathLst>
                <a:path w="7" h="49">
                  <a:moveTo>
                    <a:pt x="1" y="49"/>
                  </a:moveTo>
                  <a:cubicBezTo>
                    <a:pt x="0" y="49"/>
                    <a:pt x="0" y="38"/>
                    <a:pt x="1" y="24"/>
                  </a:cubicBezTo>
                  <a:cubicBezTo>
                    <a:pt x="3" y="11"/>
                    <a:pt x="5" y="0"/>
                    <a:pt x="6" y="0"/>
                  </a:cubicBezTo>
                  <a:cubicBezTo>
                    <a:pt x="7" y="0"/>
                    <a:pt x="7" y="11"/>
                    <a:pt x="6" y="25"/>
                  </a:cubicBezTo>
                  <a:cubicBezTo>
                    <a:pt x="4" y="38"/>
                    <a:pt x="2" y="49"/>
                    <a:pt x="1" y="4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56">
              <a:extLst>
                <a:ext uri="{FF2B5EF4-FFF2-40B4-BE49-F238E27FC236}">
                  <a16:creationId xmlns:a16="http://schemas.microsoft.com/office/drawing/2014/main" id="{E2E039C5-7C49-47C9-808B-46D48469B1B6}"/>
                </a:ext>
              </a:extLst>
            </p:cNvPr>
            <p:cNvSpPr>
              <a:spLocks/>
            </p:cNvSpPr>
            <p:nvPr/>
          </p:nvSpPr>
          <p:spPr bwMode="auto">
            <a:xfrm>
              <a:off x="2592" y="2789"/>
              <a:ext cx="122" cy="100"/>
            </a:xfrm>
            <a:custGeom>
              <a:avLst/>
              <a:gdLst>
                <a:gd name="T0" fmla="*/ 1 w 51"/>
                <a:gd name="T1" fmla="*/ 0 h 42"/>
                <a:gd name="T2" fmla="*/ 1 w 51"/>
                <a:gd name="T3" fmla="*/ 0 h 42"/>
                <a:gd name="T4" fmla="*/ 23 w 51"/>
                <a:gd name="T5" fmla="*/ 24 h 42"/>
                <a:gd name="T6" fmla="*/ 50 w 51"/>
                <a:gd name="T7" fmla="*/ 42 h 42"/>
                <a:gd name="T8" fmla="*/ 50 w 51"/>
                <a:gd name="T9" fmla="*/ 42 h 42"/>
                <a:gd name="T10" fmla="*/ 26 w 51"/>
                <a:gd name="T11" fmla="*/ 21 h 42"/>
                <a:gd name="T12" fmla="*/ 1 w 5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51" h="42">
                  <a:moveTo>
                    <a:pt x="1" y="0"/>
                  </a:moveTo>
                  <a:cubicBezTo>
                    <a:pt x="1" y="0"/>
                    <a:pt x="1" y="0"/>
                    <a:pt x="1" y="0"/>
                  </a:cubicBezTo>
                  <a:cubicBezTo>
                    <a:pt x="0" y="1"/>
                    <a:pt x="10" y="12"/>
                    <a:pt x="23" y="24"/>
                  </a:cubicBezTo>
                  <a:cubicBezTo>
                    <a:pt x="36" y="35"/>
                    <a:pt x="48" y="42"/>
                    <a:pt x="50" y="42"/>
                  </a:cubicBezTo>
                  <a:cubicBezTo>
                    <a:pt x="50" y="42"/>
                    <a:pt x="50" y="42"/>
                    <a:pt x="50" y="42"/>
                  </a:cubicBezTo>
                  <a:cubicBezTo>
                    <a:pt x="51" y="41"/>
                    <a:pt x="39" y="32"/>
                    <a:pt x="26" y="21"/>
                  </a:cubicBezTo>
                  <a:cubicBezTo>
                    <a:pt x="13" y="10"/>
                    <a:pt x="3" y="0"/>
                    <a:pt x="1"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57">
              <a:extLst>
                <a:ext uri="{FF2B5EF4-FFF2-40B4-BE49-F238E27FC236}">
                  <a16:creationId xmlns:a16="http://schemas.microsoft.com/office/drawing/2014/main" id="{027474DA-2C3E-4E03-8231-32D9AD7A9EA4}"/>
                </a:ext>
              </a:extLst>
            </p:cNvPr>
            <p:cNvSpPr>
              <a:spLocks/>
            </p:cNvSpPr>
            <p:nvPr/>
          </p:nvSpPr>
          <p:spPr bwMode="auto">
            <a:xfrm>
              <a:off x="2486" y="2611"/>
              <a:ext cx="104" cy="121"/>
            </a:xfrm>
            <a:custGeom>
              <a:avLst/>
              <a:gdLst>
                <a:gd name="T0" fmla="*/ 43 w 44"/>
                <a:gd name="T1" fmla="*/ 0 h 51"/>
                <a:gd name="T2" fmla="*/ 24 w 44"/>
                <a:gd name="T3" fmla="*/ 27 h 51"/>
                <a:gd name="T4" fmla="*/ 1 w 44"/>
                <a:gd name="T5" fmla="*/ 50 h 51"/>
                <a:gd name="T6" fmla="*/ 20 w 44"/>
                <a:gd name="T7" fmla="*/ 24 h 51"/>
                <a:gd name="T8" fmla="*/ 43 w 44"/>
                <a:gd name="T9" fmla="*/ 0 h 51"/>
              </a:gdLst>
              <a:ahLst/>
              <a:cxnLst>
                <a:cxn ang="0">
                  <a:pos x="T0" y="T1"/>
                </a:cxn>
                <a:cxn ang="0">
                  <a:pos x="T2" y="T3"/>
                </a:cxn>
                <a:cxn ang="0">
                  <a:pos x="T4" y="T5"/>
                </a:cxn>
                <a:cxn ang="0">
                  <a:pos x="T6" y="T7"/>
                </a:cxn>
                <a:cxn ang="0">
                  <a:pos x="T8" y="T9"/>
                </a:cxn>
              </a:cxnLst>
              <a:rect l="0" t="0" r="r" b="b"/>
              <a:pathLst>
                <a:path w="44" h="51">
                  <a:moveTo>
                    <a:pt x="43" y="0"/>
                  </a:moveTo>
                  <a:cubicBezTo>
                    <a:pt x="44" y="1"/>
                    <a:pt x="35" y="13"/>
                    <a:pt x="24" y="27"/>
                  </a:cubicBezTo>
                  <a:cubicBezTo>
                    <a:pt x="12" y="40"/>
                    <a:pt x="2" y="51"/>
                    <a:pt x="1" y="50"/>
                  </a:cubicBezTo>
                  <a:cubicBezTo>
                    <a:pt x="0" y="49"/>
                    <a:pt x="9" y="38"/>
                    <a:pt x="20" y="24"/>
                  </a:cubicBezTo>
                  <a:cubicBezTo>
                    <a:pt x="32" y="10"/>
                    <a:pt x="42" y="0"/>
                    <a:pt x="43"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58">
              <a:extLst>
                <a:ext uri="{FF2B5EF4-FFF2-40B4-BE49-F238E27FC236}">
                  <a16:creationId xmlns:a16="http://schemas.microsoft.com/office/drawing/2014/main" id="{79CB5062-21ED-4C75-AAE3-93C835EC5997}"/>
                </a:ext>
              </a:extLst>
            </p:cNvPr>
            <p:cNvSpPr>
              <a:spLocks/>
            </p:cNvSpPr>
            <p:nvPr/>
          </p:nvSpPr>
          <p:spPr bwMode="auto">
            <a:xfrm>
              <a:off x="2398" y="2554"/>
              <a:ext cx="52" cy="29"/>
            </a:xfrm>
            <a:custGeom>
              <a:avLst/>
              <a:gdLst>
                <a:gd name="T0" fmla="*/ 0 w 22"/>
                <a:gd name="T1" fmla="*/ 0 h 12"/>
                <a:gd name="T2" fmla="*/ 0 w 22"/>
                <a:gd name="T3" fmla="*/ 4 h 12"/>
                <a:gd name="T4" fmla="*/ 21 w 22"/>
                <a:gd name="T5" fmla="*/ 12 h 12"/>
                <a:gd name="T6" fmla="*/ 21 w 22"/>
                <a:gd name="T7" fmla="*/ 12 h 12"/>
                <a:gd name="T8" fmla="*/ 1 w 22"/>
                <a:gd name="T9" fmla="*/ 0 h 12"/>
                <a:gd name="T10" fmla="*/ 0 w 22"/>
                <a:gd name="T11" fmla="*/ 0 h 12"/>
              </a:gdLst>
              <a:ahLst/>
              <a:cxnLst>
                <a:cxn ang="0">
                  <a:pos x="T0" y="T1"/>
                </a:cxn>
                <a:cxn ang="0">
                  <a:pos x="T2" y="T3"/>
                </a:cxn>
                <a:cxn ang="0">
                  <a:pos x="T4" y="T5"/>
                </a:cxn>
                <a:cxn ang="0">
                  <a:pos x="T6" y="T7"/>
                </a:cxn>
                <a:cxn ang="0">
                  <a:pos x="T8" y="T9"/>
                </a:cxn>
                <a:cxn ang="0">
                  <a:pos x="T10" y="T11"/>
                </a:cxn>
              </a:cxnLst>
              <a:rect l="0" t="0" r="r" b="b"/>
              <a:pathLst>
                <a:path w="22" h="12">
                  <a:moveTo>
                    <a:pt x="0" y="0"/>
                  </a:moveTo>
                  <a:cubicBezTo>
                    <a:pt x="0" y="1"/>
                    <a:pt x="0" y="3"/>
                    <a:pt x="0" y="4"/>
                  </a:cubicBezTo>
                  <a:cubicBezTo>
                    <a:pt x="10" y="8"/>
                    <a:pt x="19" y="12"/>
                    <a:pt x="21" y="12"/>
                  </a:cubicBezTo>
                  <a:cubicBezTo>
                    <a:pt x="21" y="12"/>
                    <a:pt x="21" y="12"/>
                    <a:pt x="21" y="12"/>
                  </a:cubicBezTo>
                  <a:cubicBezTo>
                    <a:pt x="22" y="11"/>
                    <a:pt x="13" y="4"/>
                    <a:pt x="1" y="0"/>
                  </a:cubicBezTo>
                  <a:cubicBezTo>
                    <a:pt x="1" y="0"/>
                    <a:pt x="0" y="0"/>
                    <a:pt x="0"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59">
              <a:extLst>
                <a:ext uri="{FF2B5EF4-FFF2-40B4-BE49-F238E27FC236}">
                  <a16:creationId xmlns:a16="http://schemas.microsoft.com/office/drawing/2014/main" id="{6E48ADB1-26FD-471D-ACAE-66A7607BB5F8}"/>
                </a:ext>
              </a:extLst>
            </p:cNvPr>
            <p:cNvSpPr>
              <a:spLocks/>
            </p:cNvSpPr>
            <p:nvPr/>
          </p:nvSpPr>
          <p:spPr bwMode="auto">
            <a:xfrm>
              <a:off x="2346" y="2547"/>
              <a:ext cx="52" cy="17"/>
            </a:xfrm>
            <a:custGeom>
              <a:avLst/>
              <a:gdLst>
                <a:gd name="T0" fmla="*/ 4 w 22"/>
                <a:gd name="T1" fmla="*/ 0 h 7"/>
                <a:gd name="T2" fmla="*/ 0 w 22"/>
                <a:gd name="T3" fmla="*/ 0 h 7"/>
                <a:gd name="T4" fmla="*/ 22 w 22"/>
                <a:gd name="T5" fmla="*/ 7 h 7"/>
                <a:gd name="T6" fmla="*/ 22 w 22"/>
                <a:gd name="T7" fmla="*/ 7 h 7"/>
                <a:gd name="T8" fmla="*/ 22 w 22"/>
                <a:gd name="T9" fmla="*/ 3 h 7"/>
                <a:gd name="T10" fmla="*/ 4 w 22"/>
                <a:gd name="T11" fmla="*/ 0 h 7"/>
              </a:gdLst>
              <a:ahLst/>
              <a:cxnLst>
                <a:cxn ang="0">
                  <a:pos x="T0" y="T1"/>
                </a:cxn>
                <a:cxn ang="0">
                  <a:pos x="T2" y="T3"/>
                </a:cxn>
                <a:cxn ang="0">
                  <a:pos x="T4" y="T5"/>
                </a:cxn>
                <a:cxn ang="0">
                  <a:pos x="T6" y="T7"/>
                </a:cxn>
                <a:cxn ang="0">
                  <a:pos x="T8" y="T9"/>
                </a:cxn>
                <a:cxn ang="0">
                  <a:pos x="T10" y="T11"/>
                </a:cxn>
              </a:cxnLst>
              <a:rect l="0" t="0" r="r" b="b"/>
              <a:pathLst>
                <a:path w="22" h="7">
                  <a:moveTo>
                    <a:pt x="4" y="0"/>
                  </a:moveTo>
                  <a:cubicBezTo>
                    <a:pt x="2" y="0"/>
                    <a:pt x="1" y="0"/>
                    <a:pt x="0" y="0"/>
                  </a:cubicBezTo>
                  <a:cubicBezTo>
                    <a:pt x="0" y="2"/>
                    <a:pt x="10" y="3"/>
                    <a:pt x="22" y="7"/>
                  </a:cubicBezTo>
                  <a:cubicBezTo>
                    <a:pt x="22" y="7"/>
                    <a:pt x="22" y="7"/>
                    <a:pt x="22" y="7"/>
                  </a:cubicBezTo>
                  <a:cubicBezTo>
                    <a:pt x="22" y="6"/>
                    <a:pt x="22" y="4"/>
                    <a:pt x="22" y="3"/>
                  </a:cubicBezTo>
                  <a:cubicBezTo>
                    <a:pt x="14" y="1"/>
                    <a:pt x="8" y="0"/>
                    <a:pt x="4"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60">
              <a:extLst>
                <a:ext uri="{FF2B5EF4-FFF2-40B4-BE49-F238E27FC236}">
                  <a16:creationId xmlns:a16="http://schemas.microsoft.com/office/drawing/2014/main" id="{13910D29-4516-48FF-998E-CE4921686400}"/>
                </a:ext>
              </a:extLst>
            </p:cNvPr>
            <p:cNvSpPr>
              <a:spLocks/>
            </p:cNvSpPr>
            <p:nvPr/>
          </p:nvSpPr>
          <p:spPr bwMode="auto">
            <a:xfrm>
              <a:off x="2801" y="2609"/>
              <a:ext cx="36" cy="102"/>
            </a:xfrm>
            <a:custGeom>
              <a:avLst/>
              <a:gdLst>
                <a:gd name="T0" fmla="*/ 1 w 15"/>
                <a:gd name="T1" fmla="*/ 43 h 43"/>
                <a:gd name="T2" fmla="*/ 6 w 15"/>
                <a:gd name="T3" fmla="*/ 21 h 43"/>
                <a:gd name="T4" fmla="*/ 14 w 15"/>
                <a:gd name="T5" fmla="*/ 0 h 43"/>
                <a:gd name="T6" fmla="*/ 10 w 15"/>
                <a:gd name="T7" fmla="*/ 22 h 43"/>
                <a:gd name="T8" fmla="*/ 1 w 15"/>
                <a:gd name="T9" fmla="*/ 43 h 43"/>
              </a:gdLst>
              <a:ahLst/>
              <a:cxnLst>
                <a:cxn ang="0">
                  <a:pos x="T0" y="T1"/>
                </a:cxn>
                <a:cxn ang="0">
                  <a:pos x="T2" y="T3"/>
                </a:cxn>
                <a:cxn ang="0">
                  <a:pos x="T4" y="T5"/>
                </a:cxn>
                <a:cxn ang="0">
                  <a:pos x="T6" y="T7"/>
                </a:cxn>
                <a:cxn ang="0">
                  <a:pos x="T8" y="T9"/>
                </a:cxn>
              </a:cxnLst>
              <a:rect l="0" t="0" r="r" b="b"/>
              <a:pathLst>
                <a:path w="15" h="43">
                  <a:moveTo>
                    <a:pt x="1" y="43"/>
                  </a:moveTo>
                  <a:cubicBezTo>
                    <a:pt x="0" y="42"/>
                    <a:pt x="2" y="33"/>
                    <a:pt x="6" y="21"/>
                  </a:cubicBezTo>
                  <a:cubicBezTo>
                    <a:pt x="9" y="9"/>
                    <a:pt x="13" y="0"/>
                    <a:pt x="14" y="0"/>
                  </a:cubicBezTo>
                  <a:cubicBezTo>
                    <a:pt x="15" y="1"/>
                    <a:pt x="13" y="10"/>
                    <a:pt x="10" y="22"/>
                  </a:cubicBezTo>
                  <a:cubicBezTo>
                    <a:pt x="6" y="34"/>
                    <a:pt x="3" y="43"/>
                    <a:pt x="1" y="4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61">
              <a:extLst>
                <a:ext uri="{FF2B5EF4-FFF2-40B4-BE49-F238E27FC236}">
                  <a16:creationId xmlns:a16="http://schemas.microsoft.com/office/drawing/2014/main" id="{1EEB21FC-F517-414F-883A-1BB1EC8FC93E}"/>
                </a:ext>
              </a:extLst>
            </p:cNvPr>
            <p:cNvSpPr>
              <a:spLocks/>
            </p:cNvSpPr>
            <p:nvPr/>
          </p:nvSpPr>
          <p:spPr bwMode="auto">
            <a:xfrm>
              <a:off x="2887" y="2827"/>
              <a:ext cx="12" cy="102"/>
            </a:xfrm>
            <a:custGeom>
              <a:avLst/>
              <a:gdLst>
                <a:gd name="T0" fmla="*/ 1 w 5"/>
                <a:gd name="T1" fmla="*/ 43 h 43"/>
                <a:gd name="T2" fmla="*/ 0 w 5"/>
                <a:gd name="T3" fmla="*/ 21 h 43"/>
                <a:gd name="T4" fmla="*/ 4 w 5"/>
                <a:gd name="T5" fmla="*/ 0 h 43"/>
                <a:gd name="T6" fmla="*/ 5 w 5"/>
                <a:gd name="T7" fmla="*/ 22 h 43"/>
                <a:gd name="T8" fmla="*/ 1 w 5"/>
                <a:gd name="T9" fmla="*/ 43 h 43"/>
              </a:gdLst>
              <a:ahLst/>
              <a:cxnLst>
                <a:cxn ang="0">
                  <a:pos x="T0" y="T1"/>
                </a:cxn>
                <a:cxn ang="0">
                  <a:pos x="T2" y="T3"/>
                </a:cxn>
                <a:cxn ang="0">
                  <a:pos x="T4" y="T5"/>
                </a:cxn>
                <a:cxn ang="0">
                  <a:pos x="T6" y="T7"/>
                </a:cxn>
                <a:cxn ang="0">
                  <a:pos x="T8" y="T9"/>
                </a:cxn>
              </a:cxnLst>
              <a:rect l="0" t="0" r="r" b="b"/>
              <a:pathLst>
                <a:path w="5" h="43">
                  <a:moveTo>
                    <a:pt x="1" y="43"/>
                  </a:moveTo>
                  <a:cubicBezTo>
                    <a:pt x="0" y="43"/>
                    <a:pt x="0" y="33"/>
                    <a:pt x="0" y="21"/>
                  </a:cubicBezTo>
                  <a:cubicBezTo>
                    <a:pt x="1" y="10"/>
                    <a:pt x="3" y="0"/>
                    <a:pt x="4" y="0"/>
                  </a:cubicBezTo>
                  <a:cubicBezTo>
                    <a:pt x="5" y="0"/>
                    <a:pt x="5" y="10"/>
                    <a:pt x="5" y="22"/>
                  </a:cubicBezTo>
                  <a:cubicBezTo>
                    <a:pt x="4" y="33"/>
                    <a:pt x="2" y="43"/>
                    <a:pt x="1" y="4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62">
              <a:extLst>
                <a:ext uri="{FF2B5EF4-FFF2-40B4-BE49-F238E27FC236}">
                  <a16:creationId xmlns:a16="http://schemas.microsoft.com/office/drawing/2014/main" id="{EF42C2B7-FF00-49CF-97FF-BFA3D1944648}"/>
                </a:ext>
              </a:extLst>
            </p:cNvPr>
            <p:cNvSpPr>
              <a:spLocks/>
            </p:cNvSpPr>
            <p:nvPr/>
          </p:nvSpPr>
          <p:spPr bwMode="auto">
            <a:xfrm>
              <a:off x="2941" y="3022"/>
              <a:ext cx="91" cy="74"/>
            </a:xfrm>
            <a:custGeom>
              <a:avLst/>
              <a:gdLst>
                <a:gd name="T0" fmla="*/ 37 w 38"/>
                <a:gd name="T1" fmla="*/ 30 h 31"/>
                <a:gd name="T2" fmla="*/ 18 w 38"/>
                <a:gd name="T3" fmla="*/ 17 h 31"/>
                <a:gd name="T4" fmla="*/ 1 w 38"/>
                <a:gd name="T5" fmla="*/ 0 h 31"/>
                <a:gd name="T6" fmla="*/ 20 w 38"/>
                <a:gd name="T7" fmla="*/ 13 h 31"/>
                <a:gd name="T8" fmla="*/ 37 w 38"/>
                <a:gd name="T9" fmla="*/ 30 h 31"/>
              </a:gdLst>
              <a:ahLst/>
              <a:cxnLst>
                <a:cxn ang="0">
                  <a:pos x="T0" y="T1"/>
                </a:cxn>
                <a:cxn ang="0">
                  <a:pos x="T2" y="T3"/>
                </a:cxn>
                <a:cxn ang="0">
                  <a:pos x="T4" y="T5"/>
                </a:cxn>
                <a:cxn ang="0">
                  <a:pos x="T6" y="T7"/>
                </a:cxn>
                <a:cxn ang="0">
                  <a:pos x="T8" y="T9"/>
                </a:cxn>
              </a:cxnLst>
              <a:rect l="0" t="0" r="r" b="b"/>
              <a:pathLst>
                <a:path w="38" h="31">
                  <a:moveTo>
                    <a:pt x="37" y="30"/>
                  </a:moveTo>
                  <a:cubicBezTo>
                    <a:pt x="37" y="31"/>
                    <a:pt x="28" y="25"/>
                    <a:pt x="18" y="17"/>
                  </a:cubicBezTo>
                  <a:cubicBezTo>
                    <a:pt x="8" y="9"/>
                    <a:pt x="0" y="1"/>
                    <a:pt x="1" y="0"/>
                  </a:cubicBezTo>
                  <a:cubicBezTo>
                    <a:pt x="2" y="0"/>
                    <a:pt x="10" y="5"/>
                    <a:pt x="20" y="13"/>
                  </a:cubicBezTo>
                  <a:cubicBezTo>
                    <a:pt x="31" y="22"/>
                    <a:pt x="38" y="29"/>
                    <a:pt x="37" y="3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3">
              <a:extLst>
                <a:ext uri="{FF2B5EF4-FFF2-40B4-BE49-F238E27FC236}">
                  <a16:creationId xmlns:a16="http://schemas.microsoft.com/office/drawing/2014/main" id="{0F0B91AB-1847-40FC-8F92-71F9008595C6}"/>
                </a:ext>
              </a:extLst>
            </p:cNvPr>
            <p:cNvSpPr>
              <a:spLocks/>
            </p:cNvSpPr>
            <p:nvPr/>
          </p:nvSpPr>
          <p:spPr bwMode="auto">
            <a:xfrm>
              <a:off x="3089" y="2861"/>
              <a:ext cx="92" cy="83"/>
            </a:xfrm>
            <a:custGeom>
              <a:avLst/>
              <a:gdLst>
                <a:gd name="T0" fmla="*/ 38 w 39"/>
                <a:gd name="T1" fmla="*/ 1 h 35"/>
                <a:gd name="T2" fmla="*/ 21 w 39"/>
                <a:gd name="T3" fmla="*/ 19 h 35"/>
                <a:gd name="T4" fmla="*/ 1 w 39"/>
                <a:gd name="T5" fmla="*/ 35 h 35"/>
                <a:gd name="T6" fmla="*/ 18 w 39"/>
                <a:gd name="T7" fmla="*/ 16 h 35"/>
                <a:gd name="T8" fmla="*/ 38 w 39"/>
                <a:gd name="T9" fmla="*/ 1 h 35"/>
              </a:gdLst>
              <a:ahLst/>
              <a:cxnLst>
                <a:cxn ang="0">
                  <a:pos x="T0" y="T1"/>
                </a:cxn>
                <a:cxn ang="0">
                  <a:pos x="T2" y="T3"/>
                </a:cxn>
                <a:cxn ang="0">
                  <a:pos x="T4" y="T5"/>
                </a:cxn>
                <a:cxn ang="0">
                  <a:pos x="T6" y="T7"/>
                </a:cxn>
                <a:cxn ang="0">
                  <a:pos x="T8" y="T9"/>
                </a:cxn>
              </a:cxnLst>
              <a:rect l="0" t="0" r="r" b="b"/>
              <a:pathLst>
                <a:path w="39" h="35">
                  <a:moveTo>
                    <a:pt x="38" y="1"/>
                  </a:moveTo>
                  <a:cubicBezTo>
                    <a:pt x="39" y="2"/>
                    <a:pt x="31" y="10"/>
                    <a:pt x="21" y="19"/>
                  </a:cubicBezTo>
                  <a:cubicBezTo>
                    <a:pt x="11" y="29"/>
                    <a:pt x="2" y="35"/>
                    <a:pt x="1" y="35"/>
                  </a:cubicBezTo>
                  <a:cubicBezTo>
                    <a:pt x="0" y="34"/>
                    <a:pt x="8" y="26"/>
                    <a:pt x="18" y="16"/>
                  </a:cubicBezTo>
                  <a:cubicBezTo>
                    <a:pt x="29" y="7"/>
                    <a:pt x="38" y="0"/>
                    <a:pt x="38"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64">
              <a:extLst>
                <a:ext uri="{FF2B5EF4-FFF2-40B4-BE49-F238E27FC236}">
                  <a16:creationId xmlns:a16="http://schemas.microsoft.com/office/drawing/2014/main" id="{A432A893-BD9C-450A-A237-E655F33F7D60}"/>
                </a:ext>
              </a:extLst>
            </p:cNvPr>
            <p:cNvSpPr>
              <a:spLocks/>
            </p:cNvSpPr>
            <p:nvPr/>
          </p:nvSpPr>
          <p:spPr bwMode="auto">
            <a:xfrm>
              <a:off x="3017" y="2680"/>
              <a:ext cx="95" cy="76"/>
            </a:xfrm>
            <a:custGeom>
              <a:avLst/>
              <a:gdLst>
                <a:gd name="T0" fmla="*/ 1 w 40"/>
                <a:gd name="T1" fmla="*/ 0 h 32"/>
                <a:gd name="T2" fmla="*/ 1 w 40"/>
                <a:gd name="T3" fmla="*/ 0 h 32"/>
                <a:gd name="T4" fmla="*/ 18 w 40"/>
                <a:gd name="T5" fmla="*/ 18 h 32"/>
                <a:gd name="T6" fmla="*/ 39 w 40"/>
                <a:gd name="T7" fmla="*/ 32 h 32"/>
                <a:gd name="T8" fmla="*/ 39 w 40"/>
                <a:gd name="T9" fmla="*/ 32 h 32"/>
                <a:gd name="T10" fmla="*/ 21 w 40"/>
                <a:gd name="T11" fmla="*/ 15 h 32"/>
                <a:gd name="T12" fmla="*/ 1 w 40"/>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40" h="32">
                  <a:moveTo>
                    <a:pt x="1" y="0"/>
                  </a:moveTo>
                  <a:cubicBezTo>
                    <a:pt x="1" y="0"/>
                    <a:pt x="1" y="0"/>
                    <a:pt x="1" y="0"/>
                  </a:cubicBezTo>
                  <a:cubicBezTo>
                    <a:pt x="0" y="1"/>
                    <a:pt x="8" y="10"/>
                    <a:pt x="18" y="18"/>
                  </a:cubicBezTo>
                  <a:cubicBezTo>
                    <a:pt x="28" y="27"/>
                    <a:pt x="37" y="32"/>
                    <a:pt x="39" y="32"/>
                  </a:cubicBezTo>
                  <a:cubicBezTo>
                    <a:pt x="39" y="32"/>
                    <a:pt x="39" y="32"/>
                    <a:pt x="39" y="32"/>
                  </a:cubicBezTo>
                  <a:cubicBezTo>
                    <a:pt x="40" y="31"/>
                    <a:pt x="31" y="24"/>
                    <a:pt x="21" y="15"/>
                  </a:cubicBezTo>
                  <a:cubicBezTo>
                    <a:pt x="11" y="7"/>
                    <a:pt x="3" y="0"/>
                    <a:pt x="1"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65">
              <a:extLst>
                <a:ext uri="{FF2B5EF4-FFF2-40B4-BE49-F238E27FC236}">
                  <a16:creationId xmlns:a16="http://schemas.microsoft.com/office/drawing/2014/main" id="{F2FCB968-E708-4EF5-AD2D-B13A29C3D360}"/>
                </a:ext>
              </a:extLst>
            </p:cNvPr>
            <p:cNvSpPr>
              <a:spLocks/>
            </p:cNvSpPr>
            <p:nvPr/>
          </p:nvSpPr>
          <p:spPr bwMode="auto">
            <a:xfrm>
              <a:off x="3210" y="2561"/>
              <a:ext cx="76" cy="72"/>
            </a:xfrm>
            <a:custGeom>
              <a:avLst/>
              <a:gdLst>
                <a:gd name="T0" fmla="*/ 31 w 32"/>
                <a:gd name="T1" fmla="*/ 1 h 30"/>
                <a:gd name="T2" fmla="*/ 19 w 32"/>
                <a:gd name="T3" fmla="*/ 18 h 30"/>
                <a:gd name="T4" fmla="*/ 1 w 32"/>
                <a:gd name="T5" fmla="*/ 29 h 30"/>
                <a:gd name="T6" fmla="*/ 16 w 32"/>
                <a:gd name="T7" fmla="*/ 14 h 30"/>
                <a:gd name="T8" fmla="*/ 31 w 32"/>
                <a:gd name="T9" fmla="*/ 1 h 30"/>
              </a:gdLst>
              <a:ahLst/>
              <a:cxnLst>
                <a:cxn ang="0">
                  <a:pos x="T0" y="T1"/>
                </a:cxn>
                <a:cxn ang="0">
                  <a:pos x="T2" y="T3"/>
                </a:cxn>
                <a:cxn ang="0">
                  <a:pos x="T4" y="T5"/>
                </a:cxn>
                <a:cxn ang="0">
                  <a:pos x="T6" y="T7"/>
                </a:cxn>
                <a:cxn ang="0">
                  <a:pos x="T8" y="T9"/>
                </a:cxn>
              </a:cxnLst>
              <a:rect l="0" t="0" r="r" b="b"/>
              <a:pathLst>
                <a:path w="32" h="30">
                  <a:moveTo>
                    <a:pt x="31" y="1"/>
                  </a:moveTo>
                  <a:cubicBezTo>
                    <a:pt x="32" y="1"/>
                    <a:pt x="27" y="10"/>
                    <a:pt x="19" y="18"/>
                  </a:cubicBezTo>
                  <a:cubicBezTo>
                    <a:pt x="10" y="26"/>
                    <a:pt x="2" y="30"/>
                    <a:pt x="1" y="29"/>
                  </a:cubicBezTo>
                  <a:cubicBezTo>
                    <a:pt x="0" y="28"/>
                    <a:pt x="8" y="22"/>
                    <a:pt x="16" y="14"/>
                  </a:cubicBezTo>
                  <a:cubicBezTo>
                    <a:pt x="24" y="7"/>
                    <a:pt x="30" y="0"/>
                    <a:pt x="31"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66">
              <a:extLst>
                <a:ext uri="{FF2B5EF4-FFF2-40B4-BE49-F238E27FC236}">
                  <a16:creationId xmlns:a16="http://schemas.microsoft.com/office/drawing/2014/main" id="{C797236C-A8BF-4F1B-BC17-FD4CC2DDA97F}"/>
                </a:ext>
              </a:extLst>
            </p:cNvPr>
            <p:cNvSpPr>
              <a:spLocks/>
            </p:cNvSpPr>
            <p:nvPr/>
          </p:nvSpPr>
          <p:spPr bwMode="auto">
            <a:xfrm>
              <a:off x="3053" y="2514"/>
              <a:ext cx="112" cy="31"/>
            </a:xfrm>
            <a:custGeom>
              <a:avLst/>
              <a:gdLst>
                <a:gd name="T0" fmla="*/ 0 w 47"/>
                <a:gd name="T1" fmla="*/ 0 h 13"/>
                <a:gd name="T2" fmla="*/ 4 w 47"/>
                <a:gd name="T3" fmla="*/ 5 h 13"/>
                <a:gd name="T4" fmla="*/ 19 w 47"/>
                <a:gd name="T5" fmla="*/ 9 h 13"/>
                <a:gd name="T6" fmla="*/ 45 w 47"/>
                <a:gd name="T7" fmla="*/ 13 h 13"/>
                <a:gd name="T8" fmla="*/ 47 w 47"/>
                <a:gd name="T9" fmla="*/ 13 h 13"/>
                <a:gd name="T10" fmla="*/ 20 w 47"/>
                <a:gd name="T11" fmla="*/ 5 h 13"/>
                <a:gd name="T12" fmla="*/ 0 w 47"/>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7" h="13">
                  <a:moveTo>
                    <a:pt x="0" y="0"/>
                  </a:moveTo>
                  <a:cubicBezTo>
                    <a:pt x="4" y="5"/>
                    <a:pt x="4" y="5"/>
                    <a:pt x="4" y="5"/>
                  </a:cubicBezTo>
                  <a:cubicBezTo>
                    <a:pt x="8" y="6"/>
                    <a:pt x="14" y="8"/>
                    <a:pt x="19" y="9"/>
                  </a:cubicBezTo>
                  <a:cubicBezTo>
                    <a:pt x="30" y="12"/>
                    <a:pt x="40" y="13"/>
                    <a:pt x="45" y="13"/>
                  </a:cubicBezTo>
                  <a:cubicBezTo>
                    <a:pt x="46" y="13"/>
                    <a:pt x="47" y="13"/>
                    <a:pt x="47" y="13"/>
                  </a:cubicBezTo>
                  <a:cubicBezTo>
                    <a:pt x="47" y="12"/>
                    <a:pt x="35" y="9"/>
                    <a:pt x="20" y="5"/>
                  </a:cubicBezTo>
                  <a:cubicBezTo>
                    <a:pt x="12" y="3"/>
                    <a:pt x="5" y="1"/>
                    <a:pt x="0"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7">
              <a:extLst>
                <a:ext uri="{FF2B5EF4-FFF2-40B4-BE49-F238E27FC236}">
                  <a16:creationId xmlns:a16="http://schemas.microsoft.com/office/drawing/2014/main" id="{DA292CE4-A2BE-42A1-94B6-60A82B4B3CEB}"/>
                </a:ext>
              </a:extLst>
            </p:cNvPr>
            <p:cNvSpPr>
              <a:spLocks/>
            </p:cNvSpPr>
            <p:nvPr/>
          </p:nvSpPr>
          <p:spPr bwMode="auto">
            <a:xfrm>
              <a:off x="3034" y="2511"/>
              <a:ext cx="29" cy="15"/>
            </a:xfrm>
            <a:custGeom>
              <a:avLst/>
              <a:gdLst>
                <a:gd name="T0" fmla="*/ 1 w 12"/>
                <a:gd name="T1" fmla="*/ 0 h 6"/>
                <a:gd name="T2" fmla="*/ 0 w 12"/>
                <a:gd name="T3" fmla="*/ 0 h 6"/>
                <a:gd name="T4" fmla="*/ 12 w 12"/>
                <a:gd name="T5" fmla="*/ 6 h 6"/>
                <a:gd name="T6" fmla="*/ 8 w 12"/>
                <a:gd name="T7" fmla="*/ 1 h 6"/>
                <a:gd name="T8" fmla="*/ 1 w 12"/>
                <a:gd name="T9" fmla="*/ 0 h 6"/>
              </a:gdLst>
              <a:ahLst/>
              <a:cxnLst>
                <a:cxn ang="0">
                  <a:pos x="T0" y="T1"/>
                </a:cxn>
                <a:cxn ang="0">
                  <a:pos x="T2" y="T3"/>
                </a:cxn>
                <a:cxn ang="0">
                  <a:pos x="T4" y="T5"/>
                </a:cxn>
                <a:cxn ang="0">
                  <a:pos x="T6" y="T7"/>
                </a:cxn>
                <a:cxn ang="0">
                  <a:pos x="T8" y="T9"/>
                </a:cxn>
              </a:cxnLst>
              <a:rect l="0" t="0" r="r" b="b"/>
              <a:pathLst>
                <a:path w="12" h="6">
                  <a:moveTo>
                    <a:pt x="1" y="0"/>
                  </a:moveTo>
                  <a:cubicBezTo>
                    <a:pt x="1" y="0"/>
                    <a:pt x="1" y="0"/>
                    <a:pt x="0" y="0"/>
                  </a:cubicBezTo>
                  <a:cubicBezTo>
                    <a:pt x="0" y="1"/>
                    <a:pt x="5" y="3"/>
                    <a:pt x="12" y="6"/>
                  </a:cubicBezTo>
                  <a:cubicBezTo>
                    <a:pt x="8" y="1"/>
                    <a:pt x="8" y="1"/>
                    <a:pt x="8" y="1"/>
                  </a:cubicBezTo>
                  <a:cubicBezTo>
                    <a:pt x="5" y="0"/>
                    <a:pt x="2" y="0"/>
                    <a:pt x="1"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68">
              <a:extLst>
                <a:ext uri="{FF2B5EF4-FFF2-40B4-BE49-F238E27FC236}">
                  <a16:creationId xmlns:a16="http://schemas.microsoft.com/office/drawing/2014/main" id="{D92E0AFB-F1CC-44E6-9A87-50363255A250}"/>
                </a:ext>
              </a:extLst>
            </p:cNvPr>
            <p:cNvSpPr>
              <a:spLocks/>
            </p:cNvSpPr>
            <p:nvPr/>
          </p:nvSpPr>
          <p:spPr bwMode="auto">
            <a:xfrm>
              <a:off x="3383" y="2692"/>
              <a:ext cx="55" cy="159"/>
            </a:xfrm>
            <a:custGeom>
              <a:avLst/>
              <a:gdLst>
                <a:gd name="T0" fmla="*/ 22 w 23"/>
                <a:gd name="T1" fmla="*/ 0 h 67"/>
                <a:gd name="T2" fmla="*/ 8 w 23"/>
                <a:gd name="T3" fmla="*/ 33 h 67"/>
                <a:gd name="T4" fmla="*/ 1 w 23"/>
                <a:gd name="T5" fmla="*/ 67 h 67"/>
                <a:gd name="T6" fmla="*/ 1 w 23"/>
                <a:gd name="T7" fmla="*/ 67 h 67"/>
                <a:gd name="T8" fmla="*/ 12 w 23"/>
                <a:gd name="T9" fmla="*/ 34 h 67"/>
                <a:gd name="T10" fmla="*/ 22 w 23"/>
                <a:gd name="T11" fmla="*/ 0 h 67"/>
                <a:gd name="T12" fmla="*/ 22 w 23"/>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23" h="67">
                  <a:moveTo>
                    <a:pt x="22" y="0"/>
                  </a:moveTo>
                  <a:cubicBezTo>
                    <a:pt x="20" y="0"/>
                    <a:pt x="14" y="14"/>
                    <a:pt x="8" y="33"/>
                  </a:cubicBezTo>
                  <a:cubicBezTo>
                    <a:pt x="2" y="51"/>
                    <a:pt x="0" y="67"/>
                    <a:pt x="1" y="67"/>
                  </a:cubicBezTo>
                  <a:cubicBezTo>
                    <a:pt x="1" y="67"/>
                    <a:pt x="1" y="67"/>
                    <a:pt x="1" y="67"/>
                  </a:cubicBezTo>
                  <a:cubicBezTo>
                    <a:pt x="2" y="67"/>
                    <a:pt x="7" y="52"/>
                    <a:pt x="12" y="34"/>
                  </a:cubicBezTo>
                  <a:cubicBezTo>
                    <a:pt x="18" y="16"/>
                    <a:pt x="23" y="1"/>
                    <a:pt x="22" y="0"/>
                  </a:cubicBezTo>
                  <a:cubicBezTo>
                    <a:pt x="22" y="0"/>
                    <a:pt x="22" y="0"/>
                    <a:pt x="22"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69">
              <a:extLst>
                <a:ext uri="{FF2B5EF4-FFF2-40B4-BE49-F238E27FC236}">
                  <a16:creationId xmlns:a16="http://schemas.microsoft.com/office/drawing/2014/main" id="{97AF24AD-8D8E-477A-970C-0DF1FEFFFAFD}"/>
                </a:ext>
              </a:extLst>
            </p:cNvPr>
            <p:cNvSpPr>
              <a:spLocks/>
            </p:cNvSpPr>
            <p:nvPr/>
          </p:nvSpPr>
          <p:spPr bwMode="auto">
            <a:xfrm>
              <a:off x="3336" y="2955"/>
              <a:ext cx="102" cy="107"/>
            </a:xfrm>
            <a:custGeom>
              <a:avLst/>
              <a:gdLst>
                <a:gd name="T0" fmla="*/ 42 w 43"/>
                <a:gd name="T1" fmla="*/ 44 h 45"/>
                <a:gd name="T2" fmla="*/ 20 w 43"/>
                <a:gd name="T3" fmla="*/ 24 h 45"/>
                <a:gd name="T4" fmla="*/ 1 w 43"/>
                <a:gd name="T5" fmla="*/ 1 h 45"/>
                <a:gd name="T6" fmla="*/ 23 w 43"/>
                <a:gd name="T7" fmla="*/ 21 h 45"/>
                <a:gd name="T8" fmla="*/ 42 w 43"/>
                <a:gd name="T9" fmla="*/ 44 h 45"/>
              </a:gdLst>
              <a:ahLst/>
              <a:cxnLst>
                <a:cxn ang="0">
                  <a:pos x="T0" y="T1"/>
                </a:cxn>
                <a:cxn ang="0">
                  <a:pos x="T2" y="T3"/>
                </a:cxn>
                <a:cxn ang="0">
                  <a:pos x="T4" y="T5"/>
                </a:cxn>
                <a:cxn ang="0">
                  <a:pos x="T6" y="T7"/>
                </a:cxn>
                <a:cxn ang="0">
                  <a:pos x="T8" y="T9"/>
                </a:cxn>
              </a:cxnLst>
              <a:rect l="0" t="0" r="r" b="b"/>
              <a:pathLst>
                <a:path w="43" h="45">
                  <a:moveTo>
                    <a:pt x="42" y="44"/>
                  </a:moveTo>
                  <a:cubicBezTo>
                    <a:pt x="41" y="45"/>
                    <a:pt x="31" y="36"/>
                    <a:pt x="20" y="24"/>
                  </a:cubicBezTo>
                  <a:cubicBezTo>
                    <a:pt x="8" y="12"/>
                    <a:pt x="0" y="2"/>
                    <a:pt x="1" y="1"/>
                  </a:cubicBezTo>
                  <a:cubicBezTo>
                    <a:pt x="1" y="0"/>
                    <a:pt x="11" y="9"/>
                    <a:pt x="23" y="21"/>
                  </a:cubicBezTo>
                  <a:cubicBezTo>
                    <a:pt x="34" y="33"/>
                    <a:pt x="43" y="44"/>
                    <a:pt x="42" y="44"/>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70">
              <a:extLst>
                <a:ext uri="{FF2B5EF4-FFF2-40B4-BE49-F238E27FC236}">
                  <a16:creationId xmlns:a16="http://schemas.microsoft.com/office/drawing/2014/main" id="{2FD26DA0-BED8-4431-B74F-545065A4F56E}"/>
                </a:ext>
              </a:extLst>
            </p:cNvPr>
            <p:cNvSpPr>
              <a:spLocks/>
            </p:cNvSpPr>
            <p:nvPr/>
          </p:nvSpPr>
          <p:spPr bwMode="auto">
            <a:xfrm>
              <a:off x="3506" y="3041"/>
              <a:ext cx="10" cy="138"/>
            </a:xfrm>
            <a:custGeom>
              <a:avLst/>
              <a:gdLst>
                <a:gd name="T0" fmla="*/ 3 w 4"/>
                <a:gd name="T1" fmla="*/ 0 h 58"/>
                <a:gd name="T2" fmla="*/ 0 w 4"/>
                <a:gd name="T3" fmla="*/ 29 h 58"/>
                <a:gd name="T4" fmla="*/ 2 w 4"/>
                <a:gd name="T5" fmla="*/ 58 h 58"/>
                <a:gd name="T6" fmla="*/ 2 w 4"/>
                <a:gd name="T7" fmla="*/ 58 h 58"/>
                <a:gd name="T8" fmla="*/ 4 w 4"/>
                <a:gd name="T9" fmla="*/ 29 h 58"/>
                <a:gd name="T10" fmla="*/ 3 w 4"/>
                <a:gd name="T11" fmla="*/ 0 h 58"/>
                <a:gd name="T12" fmla="*/ 3 w 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4" h="58">
                  <a:moveTo>
                    <a:pt x="3" y="0"/>
                  </a:moveTo>
                  <a:cubicBezTo>
                    <a:pt x="1" y="0"/>
                    <a:pt x="0" y="13"/>
                    <a:pt x="0" y="29"/>
                  </a:cubicBezTo>
                  <a:cubicBezTo>
                    <a:pt x="0" y="45"/>
                    <a:pt x="0" y="58"/>
                    <a:pt x="2" y="58"/>
                  </a:cubicBezTo>
                  <a:cubicBezTo>
                    <a:pt x="2" y="58"/>
                    <a:pt x="2" y="58"/>
                    <a:pt x="2" y="58"/>
                  </a:cubicBezTo>
                  <a:cubicBezTo>
                    <a:pt x="3" y="58"/>
                    <a:pt x="4" y="45"/>
                    <a:pt x="4" y="29"/>
                  </a:cubicBezTo>
                  <a:cubicBezTo>
                    <a:pt x="4" y="13"/>
                    <a:pt x="4" y="0"/>
                    <a:pt x="3" y="0"/>
                  </a:cubicBezTo>
                  <a:cubicBezTo>
                    <a:pt x="3" y="0"/>
                    <a:pt x="3" y="0"/>
                    <a:pt x="3"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71">
              <a:extLst>
                <a:ext uri="{FF2B5EF4-FFF2-40B4-BE49-F238E27FC236}">
                  <a16:creationId xmlns:a16="http://schemas.microsoft.com/office/drawing/2014/main" id="{F6C52931-8DC6-4287-9666-39D9BB95CDF4}"/>
                </a:ext>
              </a:extLst>
            </p:cNvPr>
            <p:cNvSpPr>
              <a:spLocks/>
            </p:cNvSpPr>
            <p:nvPr/>
          </p:nvSpPr>
          <p:spPr bwMode="auto">
            <a:xfrm>
              <a:off x="3364" y="3250"/>
              <a:ext cx="71" cy="126"/>
            </a:xfrm>
            <a:custGeom>
              <a:avLst/>
              <a:gdLst>
                <a:gd name="T0" fmla="*/ 29 w 30"/>
                <a:gd name="T1" fmla="*/ 53 h 53"/>
                <a:gd name="T2" fmla="*/ 12 w 30"/>
                <a:gd name="T3" fmla="*/ 28 h 53"/>
                <a:gd name="T4" fmla="*/ 1 w 30"/>
                <a:gd name="T5" fmla="*/ 0 h 53"/>
                <a:gd name="T6" fmla="*/ 15 w 30"/>
                <a:gd name="T7" fmla="*/ 26 h 53"/>
                <a:gd name="T8" fmla="*/ 29 w 30"/>
                <a:gd name="T9" fmla="*/ 53 h 53"/>
              </a:gdLst>
              <a:ahLst/>
              <a:cxnLst>
                <a:cxn ang="0">
                  <a:pos x="T0" y="T1"/>
                </a:cxn>
                <a:cxn ang="0">
                  <a:pos x="T2" y="T3"/>
                </a:cxn>
                <a:cxn ang="0">
                  <a:pos x="T4" y="T5"/>
                </a:cxn>
                <a:cxn ang="0">
                  <a:pos x="T6" y="T7"/>
                </a:cxn>
                <a:cxn ang="0">
                  <a:pos x="T8" y="T9"/>
                </a:cxn>
              </a:cxnLst>
              <a:rect l="0" t="0" r="r" b="b"/>
              <a:pathLst>
                <a:path w="30" h="53">
                  <a:moveTo>
                    <a:pt x="29" y="53"/>
                  </a:moveTo>
                  <a:cubicBezTo>
                    <a:pt x="28" y="53"/>
                    <a:pt x="20" y="43"/>
                    <a:pt x="12" y="28"/>
                  </a:cubicBezTo>
                  <a:cubicBezTo>
                    <a:pt x="4" y="14"/>
                    <a:pt x="0" y="1"/>
                    <a:pt x="1" y="0"/>
                  </a:cubicBezTo>
                  <a:cubicBezTo>
                    <a:pt x="2" y="0"/>
                    <a:pt x="8" y="12"/>
                    <a:pt x="15" y="26"/>
                  </a:cubicBezTo>
                  <a:cubicBezTo>
                    <a:pt x="23" y="41"/>
                    <a:pt x="30" y="52"/>
                    <a:pt x="29" y="5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72">
              <a:extLst>
                <a:ext uri="{FF2B5EF4-FFF2-40B4-BE49-F238E27FC236}">
                  <a16:creationId xmlns:a16="http://schemas.microsoft.com/office/drawing/2014/main" id="{B9E3D457-2738-46A5-B980-EE6DB299EA37}"/>
                </a:ext>
              </a:extLst>
            </p:cNvPr>
            <p:cNvSpPr>
              <a:spLocks/>
            </p:cNvSpPr>
            <p:nvPr/>
          </p:nvSpPr>
          <p:spPr bwMode="auto">
            <a:xfrm>
              <a:off x="3561" y="3409"/>
              <a:ext cx="71" cy="69"/>
            </a:xfrm>
            <a:custGeom>
              <a:avLst/>
              <a:gdLst>
                <a:gd name="T0" fmla="*/ 29 w 30"/>
                <a:gd name="T1" fmla="*/ 1 h 29"/>
                <a:gd name="T2" fmla="*/ 16 w 30"/>
                <a:gd name="T3" fmla="*/ 16 h 29"/>
                <a:gd name="T4" fmla="*/ 1 w 30"/>
                <a:gd name="T5" fmla="*/ 28 h 29"/>
                <a:gd name="T6" fmla="*/ 14 w 30"/>
                <a:gd name="T7" fmla="*/ 13 h 29"/>
                <a:gd name="T8" fmla="*/ 29 w 30"/>
                <a:gd name="T9" fmla="*/ 1 h 29"/>
              </a:gdLst>
              <a:ahLst/>
              <a:cxnLst>
                <a:cxn ang="0">
                  <a:pos x="T0" y="T1"/>
                </a:cxn>
                <a:cxn ang="0">
                  <a:pos x="T2" y="T3"/>
                </a:cxn>
                <a:cxn ang="0">
                  <a:pos x="T4" y="T5"/>
                </a:cxn>
                <a:cxn ang="0">
                  <a:pos x="T6" y="T7"/>
                </a:cxn>
                <a:cxn ang="0">
                  <a:pos x="T8" y="T9"/>
                </a:cxn>
              </a:cxnLst>
              <a:rect l="0" t="0" r="r" b="b"/>
              <a:pathLst>
                <a:path w="30" h="29">
                  <a:moveTo>
                    <a:pt x="29" y="1"/>
                  </a:moveTo>
                  <a:cubicBezTo>
                    <a:pt x="30" y="2"/>
                    <a:pt x="24" y="8"/>
                    <a:pt x="16" y="16"/>
                  </a:cubicBezTo>
                  <a:cubicBezTo>
                    <a:pt x="9" y="23"/>
                    <a:pt x="2" y="29"/>
                    <a:pt x="1" y="28"/>
                  </a:cubicBezTo>
                  <a:cubicBezTo>
                    <a:pt x="0" y="27"/>
                    <a:pt x="6" y="20"/>
                    <a:pt x="14" y="13"/>
                  </a:cubicBezTo>
                  <a:cubicBezTo>
                    <a:pt x="21" y="5"/>
                    <a:pt x="28" y="0"/>
                    <a:pt x="29"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73">
              <a:extLst>
                <a:ext uri="{FF2B5EF4-FFF2-40B4-BE49-F238E27FC236}">
                  <a16:creationId xmlns:a16="http://schemas.microsoft.com/office/drawing/2014/main" id="{F7DA1D2D-3606-40F9-A9F2-D9EDB1FAB701}"/>
                </a:ext>
              </a:extLst>
            </p:cNvPr>
            <p:cNvSpPr>
              <a:spLocks/>
            </p:cNvSpPr>
            <p:nvPr/>
          </p:nvSpPr>
          <p:spPr bwMode="auto">
            <a:xfrm>
              <a:off x="3150" y="3074"/>
              <a:ext cx="83" cy="114"/>
            </a:xfrm>
            <a:custGeom>
              <a:avLst/>
              <a:gdLst>
                <a:gd name="T0" fmla="*/ 34 w 35"/>
                <a:gd name="T1" fmla="*/ 0 h 48"/>
                <a:gd name="T2" fmla="*/ 13 w 35"/>
                <a:gd name="T3" fmla="*/ 21 h 48"/>
                <a:gd name="T4" fmla="*/ 1 w 35"/>
                <a:gd name="T5" fmla="*/ 48 h 48"/>
                <a:gd name="T6" fmla="*/ 1 w 35"/>
                <a:gd name="T7" fmla="*/ 48 h 48"/>
                <a:gd name="T8" fmla="*/ 16 w 35"/>
                <a:gd name="T9" fmla="*/ 23 h 48"/>
                <a:gd name="T10" fmla="*/ 34 w 35"/>
                <a:gd name="T11" fmla="*/ 0 h 48"/>
                <a:gd name="T12" fmla="*/ 34 w 3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35" h="48">
                  <a:moveTo>
                    <a:pt x="34" y="0"/>
                  </a:moveTo>
                  <a:cubicBezTo>
                    <a:pt x="32" y="0"/>
                    <a:pt x="22" y="8"/>
                    <a:pt x="13" y="21"/>
                  </a:cubicBezTo>
                  <a:cubicBezTo>
                    <a:pt x="3" y="35"/>
                    <a:pt x="0" y="48"/>
                    <a:pt x="1" y="48"/>
                  </a:cubicBezTo>
                  <a:cubicBezTo>
                    <a:pt x="1" y="48"/>
                    <a:pt x="1" y="48"/>
                    <a:pt x="1" y="48"/>
                  </a:cubicBezTo>
                  <a:cubicBezTo>
                    <a:pt x="2" y="48"/>
                    <a:pt x="7" y="36"/>
                    <a:pt x="16" y="23"/>
                  </a:cubicBezTo>
                  <a:cubicBezTo>
                    <a:pt x="25" y="10"/>
                    <a:pt x="35" y="1"/>
                    <a:pt x="34" y="0"/>
                  </a:cubicBezTo>
                  <a:cubicBezTo>
                    <a:pt x="34" y="0"/>
                    <a:pt x="34" y="0"/>
                    <a:pt x="34"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74">
              <a:extLst>
                <a:ext uri="{FF2B5EF4-FFF2-40B4-BE49-F238E27FC236}">
                  <a16:creationId xmlns:a16="http://schemas.microsoft.com/office/drawing/2014/main" id="{3A6CC06E-33E6-40CA-BEDA-35E207F6F170}"/>
                </a:ext>
              </a:extLst>
            </p:cNvPr>
            <p:cNvSpPr>
              <a:spLocks/>
            </p:cNvSpPr>
            <p:nvPr/>
          </p:nvSpPr>
          <p:spPr bwMode="auto">
            <a:xfrm>
              <a:off x="2595" y="3324"/>
              <a:ext cx="35" cy="125"/>
            </a:xfrm>
            <a:custGeom>
              <a:avLst/>
              <a:gdLst>
                <a:gd name="T0" fmla="*/ 1 w 15"/>
                <a:gd name="T1" fmla="*/ 53 h 53"/>
                <a:gd name="T2" fmla="*/ 6 w 15"/>
                <a:gd name="T3" fmla="*/ 26 h 53"/>
                <a:gd name="T4" fmla="*/ 14 w 15"/>
                <a:gd name="T5" fmla="*/ 1 h 53"/>
                <a:gd name="T6" fmla="*/ 10 w 15"/>
                <a:gd name="T7" fmla="*/ 27 h 53"/>
                <a:gd name="T8" fmla="*/ 1 w 15"/>
                <a:gd name="T9" fmla="*/ 53 h 53"/>
              </a:gdLst>
              <a:ahLst/>
              <a:cxnLst>
                <a:cxn ang="0">
                  <a:pos x="T0" y="T1"/>
                </a:cxn>
                <a:cxn ang="0">
                  <a:pos x="T2" y="T3"/>
                </a:cxn>
                <a:cxn ang="0">
                  <a:pos x="T4" y="T5"/>
                </a:cxn>
                <a:cxn ang="0">
                  <a:pos x="T6" y="T7"/>
                </a:cxn>
                <a:cxn ang="0">
                  <a:pos x="T8" y="T9"/>
                </a:cxn>
              </a:cxnLst>
              <a:rect l="0" t="0" r="r" b="b"/>
              <a:pathLst>
                <a:path w="15" h="53">
                  <a:moveTo>
                    <a:pt x="1" y="53"/>
                  </a:moveTo>
                  <a:cubicBezTo>
                    <a:pt x="0" y="52"/>
                    <a:pt x="2" y="41"/>
                    <a:pt x="6" y="26"/>
                  </a:cubicBezTo>
                  <a:cubicBezTo>
                    <a:pt x="9" y="12"/>
                    <a:pt x="13" y="0"/>
                    <a:pt x="14" y="1"/>
                  </a:cubicBezTo>
                  <a:cubicBezTo>
                    <a:pt x="15" y="1"/>
                    <a:pt x="13" y="13"/>
                    <a:pt x="10" y="27"/>
                  </a:cubicBezTo>
                  <a:cubicBezTo>
                    <a:pt x="6" y="42"/>
                    <a:pt x="3" y="53"/>
                    <a:pt x="1" y="5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75">
              <a:extLst>
                <a:ext uri="{FF2B5EF4-FFF2-40B4-BE49-F238E27FC236}">
                  <a16:creationId xmlns:a16="http://schemas.microsoft.com/office/drawing/2014/main" id="{E94D78BE-E544-4F11-A67B-CBEA22855F76}"/>
                </a:ext>
              </a:extLst>
            </p:cNvPr>
            <p:cNvSpPr>
              <a:spLocks/>
            </p:cNvSpPr>
            <p:nvPr/>
          </p:nvSpPr>
          <p:spPr bwMode="auto">
            <a:xfrm>
              <a:off x="2730" y="3404"/>
              <a:ext cx="102" cy="69"/>
            </a:xfrm>
            <a:custGeom>
              <a:avLst/>
              <a:gdLst>
                <a:gd name="T0" fmla="*/ 43 w 43"/>
                <a:gd name="T1" fmla="*/ 29 h 29"/>
                <a:gd name="T2" fmla="*/ 20 w 43"/>
                <a:gd name="T3" fmla="*/ 17 h 29"/>
                <a:gd name="T4" fmla="*/ 0 w 43"/>
                <a:gd name="T5" fmla="*/ 1 h 29"/>
                <a:gd name="T6" fmla="*/ 23 w 43"/>
                <a:gd name="T7" fmla="*/ 13 h 29"/>
                <a:gd name="T8" fmla="*/ 43 w 43"/>
                <a:gd name="T9" fmla="*/ 29 h 29"/>
              </a:gdLst>
              <a:ahLst/>
              <a:cxnLst>
                <a:cxn ang="0">
                  <a:pos x="T0" y="T1"/>
                </a:cxn>
                <a:cxn ang="0">
                  <a:pos x="T2" y="T3"/>
                </a:cxn>
                <a:cxn ang="0">
                  <a:pos x="T4" y="T5"/>
                </a:cxn>
                <a:cxn ang="0">
                  <a:pos x="T6" y="T7"/>
                </a:cxn>
                <a:cxn ang="0">
                  <a:pos x="T8" y="T9"/>
                </a:cxn>
              </a:cxnLst>
              <a:rect l="0" t="0" r="r" b="b"/>
              <a:pathLst>
                <a:path w="43" h="29">
                  <a:moveTo>
                    <a:pt x="43" y="29"/>
                  </a:moveTo>
                  <a:cubicBezTo>
                    <a:pt x="42" y="29"/>
                    <a:pt x="32" y="24"/>
                    <a:pt x="20" y="17"/>
                  </a:cubicBezTo>
                  <a:cubicBezTo>
                    <a:pt x="9" y="9"/>
                    <a:pt x="0" y="2"/>
                    <a:pt x="0" y="1"/>
                  </a:cubicBezTo>
                  <a:cubicBezTo>
                    <a:pt x="1" y="0"/>
                    <a:pt x="11" y="5"/>
                    <a:pt x="23" y="13"/>
                  </a:cubicBezTo>
                  <a:cubicBezTo>
                    <a:pt x="34" y="21"/>
                    <a:pt x="43" y="28"/>
                    <a:pt x="43" y="2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76">
              <a:extLst>
                <a:ext uri="{FF2B5EF4-FFF2-40B4-BE49-F238E27FC236}">
                  <a16:creationId xmlns:a16="http://schemas.microsoft.com/office/drawing/2014/main" id="{88BDCB40-BD4D-4315-8B86-04D7C94C9718}"/>
                </a:ext>
              </a:extLst>
            </p:cNvPr>
            <p:cNvSpPr>
              <a:spLocks/>
            </p:cNvSpPr>
            <p:nvPr/>
          </p:nvSpPr>
          <p:spPr bwMode="auto">
            <a:xfrm>
              <a:off x="2775" y="3240"/>
              <a:ext cx="48" cy="65"/>
            </a:xfrm>
            <a:custGeom>
              <a:avLst/>
              <a:gdLst>
                <a:gd name="T0" fmla="*/ 19 w 20"/>
                <a:gd name="T1" fmla="*/ 27 h 27"/>
                <a:gd name="T2" fmla="*/ 8 w 20"/>
                <a:gd name="T3" fmla="*/ 15 h 27"/>
                <a:gd name="T4" fmla="*/ 1 w 20"/>
                <a:gd name="T5" fmla="*/ 1 h 27"/>
                <a:gd name="T6" fmla="*/ 12 w 20"/>
                <a:gd name="T7" fmla="*/ 12 h 27"/>
                <a:gd name="T8" fmla="*/ 19 w 20"/>
                <a:gd name="T9" fmla="*/ 27 h 27"/>
              </a:gdLst>
              <a:ahLst/>
              <a:cxnLst>
                <a:cxn ang="0">
                  <a:pos x="T0" y="T1"/>
                </a:cxn>
                <a:cxn ang="0">
                  <a:pos x="T2" y="T3"/>
                </a:cxn>
                <a:cxn ang="0">
                  <a:pos x="T4" y="T5"/>
                </a:cxn>
                <a:cxn ang="0">
                  <a:pos x="T6" y="T7"/>
                </a:cxn>
                <a:cxn ang="0">
                  <a:pos x="T8" y="T9"/>
                </a:cxn>
              </a:cxnLst>
              <a:rect l="0" t="0" r="r" b="b"/>
              <a:pathLst>
                <a:path w="20" h="27">
                  <a:moveTo>
                    <a:pt x="19" y="27"/>
                  </a:moveTo>
                  <a:cubicBezTo>
                    <a:pt x="18" y="27"/>
                    <a:pt x="13" y="22"/>
                    <a:pt x="8" y="15"/>
                  </a:cubicBezTo>
                  <a:cubicBezTo>
                    <a:pt x="3" y="8"/>
                    <a:pt x="0" y="1"/>
                    <a:pt x="1" y="1"/>
                  </a:cubicBezTo>
                  <a:cubicBezTo>
                    <a:pt x="2" y="0"/>
                    <a:pt x="7" y="5"/>
                    <a:pt x="12" y="12"/>
                  </a:cubicBezTo>
                  <a:cubicBezTo>
                    <a:pt x="17" y="20"/>
                    <a:pt x="20" y="26"/>
                    <a:pt x="19" y="2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77">
              <a:extLst>
                <a:ext uri="{FF2B5EF4-FFF2-40B4-BE49-F238E27FC236}">
                  <a16:creationId xmlns:a16="http://schemas.microsoft.com/office/drawing/2014/main" id="{A057143B-85FE-4D96-8479-F9842179499C}"/>
                </a:ext>
              </a:extLst>
            </p:cNvPr>
            <p:cNvSpPr>
              <a:spLocks/>
            </p:cNvSpPr>
            <p:nvPr/>
          </p:nvSpPr>
          <p:spPr bwMode="auto">
            <a:xfrm>
              <a:off x="2870" y="3340"/>
              <a:ext cx="55" cy="41"/>
            </a:xfrm>
            <a:custGeom>
              <a:avLst/>
              <a:gdLst>
                <a:gd name="T0" fmla="*/ 22 w 23"/>
                <a:gd name="T1" fmla="*/ 1 h 17"/>
                <a:gd name="T2" fmla="*/ 13 w 23"/>
                <a:gd name="T3" fmla="*/ 10 h 17"/>
                <a:gd name="T4" fmla="*/ 1 w 23"/>
                <a:gd name="T5" fmla="*/ 16 h 17"/>
                <a:gd name="T6" fmla="*/ 10 w 23"/>
                <a:gd name="T7" fmla="*/ 7 h 17"/>
                <a:gd name="T8" fmla="*/ 22 w 23"/>
                <a:gd name="T9" fmla="*/ 1 h 17"/>
              </a:gdLst>
              <a:ahLst/>
              <a:cxnLst>
                <a:cxn ang="0">
                  <a:pos x="T0" y="T1"/>
                </a:cxn>
                <a:cxn ang="0">
                  <a:pos x="T2" y="T3"/>
                </a:cxn>
                <a:cxn ang="0">
                  <a:pos x="T4" y="T5"/>
                </a:cxn>
                <a:cxn ang="0">
                  <a:pos x="T6" y="T7"/>
                </a:cxn>
                <a:cxn ang="0">
                  <a:pos x="T8" y="T9"/>
                </a:cxn>
              </a:cxnLst>
              <a:rect l="0" t="0" r="r" b="b"/>
              <a:pathLst>
                <a:path w="23" h="17">
                  <a:moveTo>
                    <a:pt x="22" y="1"/>
                  </a:moveTo>
                  <a:cubicBezTo>
                    <a:pt x="23" y="2"/>
                    <a:pt x="19" y="6"/>
                    <a:pt x="13" y="10"/>
                  </a:cubicBezTo>
                  <a:cubicBezTo>
                    <a:pt x="7" y="14"/>
                    <a:pt x="2" y="17"/>
                    <a:pt x="1" y="16"/>
                  </a:cubicBezTo>
                  <a:cubicBezTo>
                    <a:pt x="0" y="15"/>
                    <a:pt x="4" y="11"/>
                    <a:pt x="10" y="7"/>
                  </a:cubicBezTo>
                  <a:cubicBezTo>
                    <a:pt x="16" y="2"/>
                    <a:pt x="21" y="0"/>
                    <a:pt x="22"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78">
              <a:extLst>
                <a:ext uri="{FF2B5EF4-FFF2-40B4-BE49-F238E27FC236}">
                  <a16:creationId xmlns:a16="http://schemas.microsoft.com/office/drawing/2014/main" id="{B9D9F11C-4DFB-43DA-8D86-91104FABB830}"/>
                </a:ext>
              </a:extLst>
            </p:cNvPr>
            <p:cNvSpPr>
              <a:spLocks/>
            </p:cNvSpPr>
            <p:nvPr/>
          </p:nvSpPr>
          <p:spPr bwMode="auto">
            <a:xfrm>
              <a:off x="2652" y="3958"/>
              <a:ext cx="19" cy="66"/>
            </a:xfrm>
            <a:custGeom>
              <a:avLst/>
              <a:gdLst>
                <a:gd name="T0" fmla="*/ 8 w 8"/>
                <a:gd name="T1" fmla="*/ 0 h 28"/>
                <a:gd name="T2" fmla="*/ 4 w 8"/>
                <a:gd name="T3" fmla="*/ 4 h 28"/>
                <a:gd name="T4" fmla="*/ 3 w 8"/>
                <a:gd name="T5" fmla="*/ 8 h 28"/>
                <a:gd name="T6" fmla="*/ 1 w 8"/>
                <a:gd name="T7" fmla="*/ 28 h 28"/>
                <a:gd name="T8" fmla="*/ 1 w 8"/>
                <a:gd name="T9" fmla="*/ 28 h 28"/>
                <a:gd name="T10" fmla="*/ 7 w 8"/>
                <a:gd name="T11" fmla="*/ 8 h 28"/>
                <a:gd name="T12" fmla="*/ 8 w 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8" h="28">
                  <a:moveTo>
                    <a:pt x="8" y="0"/>
                  </a:moveTo>
                  <a:cubicBezTo>
                    <a:pt x="7" y="2"/>
                    <a:pt x="5" y="3"/>
                    <a:pt x="4" y="4"/>
                  </a:cubicBezTo>
                  <a:cubicBezTo>
                    <a:pt x="4" y="5"/>
                    <a:pt x="3" y="6"/>
                    <a:pt x="3" y="8"/>
                  </a:cubicBezTo>
                  <a:cubicBezTo>
                    <a:pt x="2" y="19"/>
                    <a:pt x="0" y="28"/>
                    <a:pt x="1" y="28"/>
                  </a:cubicBezTo>
                  <a:cubicBezTo>
                    <a:pt x="1" y="28"/>
                    <a:pt x="1" y="28"/>
                    <a:pt x="1" y="28"/>
                  </a:cubicBezTo>
                  <a:cubicBezTo>
                    <a:pt x="2" y="28"/>
                    <a:pt x="6" y="20"/>
                    <a:pt x="7" y="8"/>
                  </a:cubicBezTo>
                  <a:cubicBezTo>
                    <a:pt x="8" y="5"/>
                    <a:pt x="8" y="3"/>
                    <a:pt x="8"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79">
              <a:extLst>
                <a:ext uri="{FF2B5EF4-FFF2-40B4-BE49-F238E27FC236}">
                  <a16:creationId xmlns:a16="http://schemas.microsoft.com/office/drawing/2014/main" id="{4A62E3E0-FB5F-4DCE-B4A2-BF8907E5B556}"/>
                </a:ext>
              </a:extLst>
            </p:cNvPr>
            <p:cNvSpPr>
              <a:spLocks/>
            </p:cNvSpPr>
            <p:nvPr/>
          </p:nvSpPr>
          <p:spPr bwMode="auto">
            <a:xfrm>
              <a:off x="2661" y="3927"/>
              <a:ext cx="12" cy="40"/>
            </a:xfrm>
            <a:custGeom>
              <a:avLst/>
              <a:gdLst>
                <a:gd name="T0" fmla="*/ 3 w 5"/>
                <a:gd name="T1" fmla="*/ 0 h 17"/>
                <a:gd name="T2" fmla="*/ 3 w 5"/>
                <a:gd name="T3" fmla="*/ 0 h 17"/>
                <a:gd name="T4" fmla="*/ 0 w 5"/>
                <a:gd name="T5" fmla="*/ 17 h 17"/>
                <a:gd name="T6" fmla="*/ 4 w 5"/>
                <a:gd name="T7" fmla="*/ 13 h 17"/>
                <a:gd name="T8" fmla="*/ 3 w 5"/>
                <a:gd name="T9" fmla="*/ 0 h 17"/>
              </a:gdLst>
              <a:ahLst/>
              <a:cxnLst>
                <a:cxn ang="0">
                  <a:pos x="T0" y="T1"/>
                </a:cxn>
                <a:cxn ang="0">
                  <a:pos x="T2" y="T3"/>
                </a:cxn>
                <a:cxn ang="0">
                  <a:pos x="T4" y="T5"/>
                </a:cxn>
                <a:cxn ang="0">
                  <a:pos x="T6" y="T7"/>
                </a:cxn>
                <a:cxn ang="0">
                  <a:pos x="T8" y="T9"/>
                </a:cxn>
              </a:cxnLst>
              <a:rect l="0" t="0" r="r" b="b"/>
              <a:pathLst>
                <a:path w="5" h="17">
                  <a:moveTo>
                    <a:pt x="3" y="0"/>
                  </a:moveTo>
                  <a:cubicBezTo>
                    <a:pt x="3" y="0"/>
                    <a:pt x="3" y="0"/>
                    <a:pt x="3" y="0"/>
                  </a:cubicBezTo>
                  <a:cubicBezTo>
                    <a:pt x="2" y="0"/>
                    <a:pt x="1" y="8"/>
                    <a:pt x="0" y="17"/>
                  </a:cubicBezTo>
                  <a:cubicBezTo>
                    <a:pt x="1" y="16"/>
                    <a:pt x="3" y="15"/>
                    <a:pt x="4" y="13"/>
                  </a:cubicBezTo>
                  <a:cubicBezTo>
                    <a:pt x="5" y="6"/>
                    <a:pt x="4" y="0"/>
                    <a:pt x="3" y="0"/>
                  </a:cubicBezTo>
                </a:path>
              </a:pathLst>
            </a:custGeom>
            <a:solidFill>
              <a:srgbClr val="DA9D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80">
              <a:extLst>
                <a:ext uri="{FF2B5EF4-FFF2-40B4-BE49-F238E27FC236}">
                  <a16:creationId xmlns:a16="http://schemas.microsoft.com/office/drawing/2014/main" id="{D021D223-B97A-475D-915D-8E846FD93CC1}"/>
                </a:ext>
              </a:extLst>
            </p:cNvPr>
            <p:cNvSpPr>
              <a:spLocks/>
            </p:cNvSpPr>
            <p:nvPr/>
          </p:nvSpPr>
          <p:spPr bwMode="auto">
            <a:xfrm>
              <a:off x="2842" y="3872"/>
              <a:ext cx="52" cy="76"/>
            </a:xfrm>
            <a:custGeom>
              <a:avLst/>
              <a:gdLst>
                <a:gd name="T0" fmla="*/ 5 w 22"/>
                <a:gd name="T1" fmla="*/ 0 h 32"/>
                <a:gd name="T2" fmla="*/ 0 w 22"/>
                <a:gd name="T3" fmla="*/ 0 h 32"/>
                <a:gd name="T4" fmla="*/ 4 w 22"/>
                <a:gd name="T5" fmla="*/ 6 h 32"/>
                <a:gd name="T6" fmla="*/ 21 w 22"/>
                <a:gd name="T7" fmla="*/ 32 h 32"/>
                <a:gd name="T8" fmla="*/ 21 w 22"/>
                <a:gd name="T9" fmla="*/ 32 h 32"/>
                <a:gd name="T10" fmla="*/ 7 w 22"/>
                <a:gd name="T11" fmla="*/ 4 h 32"/>
                <a:gd name="T12" fmla="*/ 5 w 2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22" h="32">
                  <a:moveTo>
                    <a:pt x="5" y="0"/>
                  </a:moveTo>
                  <a:cubicBezTo>
                    <a:pt x="3" y="0"/>
                    <a:pt x="2" y="0"/>
                    <a:pt x="0" y="0"/>
                  </a:cubicBezTo>
                  <a:cubicBezTo>
                    <a:pt x="1" y="2"/>
                    <a:pt x="3" y="4"/>
                    <a:pt x="4" y="6"/>
                  </a:cubicBezTo>
                  <a:cubicBezTo>
                    <a:pt x="12" y="21"/>
                    <a:pt x="19" y="32"/>
                    <a:pt x="21" y="32"/>
                  </a:cubicBezTo>
                  <a:cubicBezTo>
                    <a:pt x="21" y="32"/>
                    <a:pt x="21" y="32"/>
                    <a:pt x="21" y="32"/>
                  </a:cubicBezTo>
                  <a:cubicBezTo>
                    <a:pt x="22" y="31"/>
                    <a:pt x="16" y="19"/>
                    <a:pt x="7" y="4"/>
                  </a:cubicBezTo>
                  <a:cubicBezTo>
                    <a:pt x="6" y="3"/>
                    <a:pt x="6" y="1"/>
                    <a:pt x="5"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81">
              <a:extLst>
                <a:ext uri="{FF2B5EF4-FFF2-40B4-BE49-F238E27FC236}">
                  <a16:creationId xmlns:a16="http://schemas.microsoft.com/office/drawing/2014/main" id="{51D58FF2-94EE-4D44-9E62-B2D685C225D1}"/>
                </a:ext>
              </a:extLst>
            </p:cNvPr>
            <p:cNvSpPr>
              <a:spLocks/>
            </p:cNvSpPr>
            <p:nvPr/>
          </p:nvSpPr>
          <p:spPr bwMode="auto">
            <a:xfrm>
              <a:off x="2816" y="3822"/>
              <a:ext cx="38" cy="50"/>
            </a:xfrm>
            <a:custGeom>
              <a:avLst/>
              <a:gdLst>
                <a:gd name="T0" fmla="*/ 1 w 16"/>
                <a:gd name="T1" fmla="*/ 0 h 21"/>
                <a:gd name="T2" fmla="*/ 1 w 16"/>
                <a:gd name="T3" fmla="*/ 0 h 21"/>
                <a:gd name="T4" fmla="*/ 11 w 16"/>
                <a:gd name="T5" fmla="*/ 21 h 21"/>
                <a:gd name="T6" fmla="*/ 16 w 16"/>
                <a:gd name="T7" fmla="*/ 21 h 21"/>
                <a:gd name="T8" fmla="*/ 1 w 16"/>
                <a:gd name="T9" fmla="*/ 0 h 21"/>
              </a:gdLst>
              <a:ahLst/>
              <a:cxnLst>
                <a:cxn ang="0">
                  <a:pos x="T0" y="T1"/>
                </a:cxn>
                <a:cxn ang="0">
                  <a:pos x="T2" y="T3"/>
                </a:cxn>
                <a:cxn ang="0">
                  <a:pos x="T4" y="T5"/>
                </a:cxn>
                <a:cxn ang="0">
                  <a:pos x="T6" y="T7"/>
                </a:cxn>
                <a:cxn ang="0">
                  <a:pos x="T8" y="T9"/>
                </a:cxn>
              </a:cxnLst>
              <a:rect l="0" t="0" r="r" b="b"/>
              <a:pathLst>
                <a:path w="16" h="21">
                  <a:moveTo>
                    <a:pt x="1" y="0"/>
                  </a:moveTo>
                  <a:cubicBezTo>
                    <a:pt x="1" y="0"/>
                    <a:pt x="1" y="0"/>
                    <a:pt x="1" y="0"/>
                  </a:cubicBezTo>
                  <a:cubicBezTo>
                    <a:pt x="0" y="0"/>
                    <a:pt x="5" y="9"/>
                    <a:pt x="11" y="21"/>
                  </a:cubicBezTo>
                  <a:cubicBezTo>
                    <a:pt x="13" y="21"/>
                    <a:pt x="14" y="21"/>
                    <a:pt x="16" y="21"/>
                  </a:cubicBezTo>
                  <a:cubicBezTo>
                    <a:pt x="9" y="9"/>
                    <a:pt x="3" y="0"/>
                    <a:pt x="1" y="0"/>
                  </a:cubicBezTo>
                </a:path>
              </a:pathLst>
            </a:custGeom>
            <a:solidFill>
              <a:srgbClr val="DA9D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82">
              <a:extLst>
                <a:ext uri="{FF2B5EF4-FFF2-40B4-BE49-F238E27FC236}">
                  <a16:creationId xmlns:a16="http://schemas.microsoft.com/office/drawing/2014/main" id="{9D1B1F76-F809-4AFD-8D3A-90A5C993693E}"/>
                </a:ext>
              </a:extLst>
            </p:cNvPr>
            <p:cNvSpPr>
              <a:spLocks/>
            </p:cNvSpPr>
            <p:nvPr/>
          </p:nvSpPr>
          <p:spPr bwMode="auto">
            <a:xfrm>
              <a:off x="3025" y="3841"/>
              <a:ext cx="118" cy="150"/>
            </a:xfrm>
            <a:custGeom>
              <a:avLst/>
              <a:gdLst>
                <a:gd name="T0" fmla="*/ 49 w 50"/>
                <a:gd name="T1" fmla="*/ 0 h 63"/>
                <a:gd name="T2" fmla="*/ 24 w 50"/>
                <a:gd name="T3" fmla="*/ 30 h 63"/>
                <a:gd name="T4" fmla="*/ 1 w 50"/>
                <a:gd name="T5" fmla="*/ 63 h 63"/>
                <a:gd name="T6" fmla="*/ 1 w 50"/>
                <a:gd name="T7" fmla="*/ 63 h 63"/>
                <a:gd name="T8" fmla="*/ 27 w 50"/>
                <a:gd name="T9" fmla="*/ 33 h 63"/>
                <a:gd name="T10" fmla="*/ 49 w 50"/>
                <a:gd name="T11" fmla="*/ 0 h 63"/>
                <a:gd name="T12" fmla="*/ 49 w 50"/>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50" h="63">
                  <a:moveTo>
                    <a:pt x="49" y="0"/>
                  </a:moveTo>
                  <a:cubicBezTo>
                    <a:pt x="48" y="0"/>
                    <a:pt x="37" y="14"/>
                    <a:pt x="24" y="30"/>
                  </a:cubicBezTo>
                  <a:cubicBezTo>
                    <a:pt x="10" y="48"/>
                    <a:pt x="0" y="62"/>
                    <a:pt x="1" y="63"/>
                  </a:cubicBezTo>
                  <a:cubicBezTo>
                    <a:pt x="1" y="63"/>
                    <a:pt x="1" y="63"/>
                    <a:pt x="1" y="63"/>
                  </a:cubicBezTo>
                  <a:cubicBezTo>
                    <a:pt x="3" y="63"/>
                    <a:pt x="14" y="50"/>
                    <a:pt x="27" y="33"/>
                  </a:cubicBezTo>
                  <a:cubicBezTo>
                    <a:pt x="40" y="16"/>
                    <a:pt x="50" y="1"/>
                    <a:pt x="49" y="0"/>
                  </a:cubicBezTo>
                  <a:cubicBezTo>
                    <a:pt x="49" y="0"/>
                    <a:pt x="49" y="0"/>
                    <a:pt x="49"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83">
              <a:extLst>
                <a:ext uri="{FF2B5EF4-FFF2-40B4-BE49-F238E27FC236}">
                  <a16:creationId xmlns:a16="http://schemas.microsoft.com/office/drawing/2014/main" id="{6EE68D1F-47DA-47BC-9B07-EA47900833A7}"/>
                </a:ext>
              </a:extLst>
            </p:cNvPr>
            <p:cNvSpPr>
              <a:spLocks/>
            </p:cNvSpPr>
            <p:nvPr/>
          </p:nvSpPr>
          <p:spPr bwMode="auto">
            <a:xfrm>
              <a:off x="3070" y="4043"/>
              <a:ext cx="142" cy="21"/>
            </a:xfrm>
            <a:custGeom>
              <a:avLst/>
              <a:gdLst>
                <a:gd name="T0" fmla="*/ 57 w 60"/>
                <a:gd name="T1" fmla="*/ 0 h 9"/>
                <a:gd name="T2" fmla="*/ 30 w 60"/>
                <a:gd name="T3" fmla="*/ 3 h 9"/>
                <a:gd name="T4" fmla="*/ 0 w 60"/>
                <a:gd name="T5" fmla="*/ 9 h 9"/>
                <a:gd name="T6" fmla="*/ 3 w 60"/>
                <a:gd name="T7" fmla="*/ 9 h 9"/>
                <a:gd name="T8" fmla="*/ 31 w 60"/>
                <a:gd name="T9" fmla="*/ 7 h 9"/>
                <a:gd name="T10" fmla="*/ 60 w 60"/>
                <a:gd name="T11" fmla="*/ 0 h 9"/>
                <a:gd name="T12" fmla="*/ 57 w 6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0" h="9">
                  <a:moveTo>
                    <a:pt x="57" y="0"/>
                  </a:moveTo>
                  <a:cubicBezTo>
                    <a:pt x="52" y="0"/>
                    <a:pt x="42" y="1"/>
                    <a:pt x="30" y="3"/>
                  </a:cubicBezTo>
                  <a:cubicBezTo>
                    <a:pt x="13" y="5"/>
                    <a:pt x="0" y="8"/>
                    <a:pt x="0" y="9"/>
                  </a:cubicBezTo>
                  <a:cubicBezTo>
                    <a:pt x="0" y="9"/>
                    <a:pt x="2" y="9"/>
                    <a:pt x="3" y="9"/>
                  </a:cubicBezTo>
                  <a:cubicBezTo>
                    <a:pt x="8" y="9"/>
                    <a:pt x="19" y="8"/>
                    <a:pt x="31" y="7"/>
                  </a:cubicBezTo>
                  <a:cubicBezTo>
                    <a:pt x="47" y="4"/>
                    <a:pt x="60" y="1"/>
                    <a:pt x="60" y="0"/>
                  </a:cubicBezTo>
                  <a:cubicBezTo>
                    <a:pt x="60" y="0"/>
                    <a:pt x="59" y="0"/>
                    <a:pt x="57" y="0"/>
                  </a:cubicBezTo>
                </a:path>
              </a:pathLst>
            </a:custGeom>
            <a:solidFill>
              <a:srgbClr val="F1A5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84">
              <a:extLst>
                <a:ext uri="{FF2B5EF4-FFF2-40B4-BE49-F238E27FC236}">
                  <a16:creationId xmlns:a16="http://schemas.microsoft.com/office/drawing/2014/main" id="{857063BB-C365-446F-9053-EDB897ED48D6}"/>
                </a:ext>
              </a:extLst>
            </p:cNvPr>
            <p:cNvSpPr>
              <a:spLocks/>
            </p:cNvSpPr>
            <p:nvPr/>
          </p:nvSpPr>
          <p:spPr bwMode="auto">
            <a:xfrm>
              <a:off x="3222" y="3851"/>
              <a:ext cx="14" cy="92"/>
            </a:xfrm>
            <a:custGeom>
              <a:avLst/>
              <a:gdLst>
                <a:gd name="T0" fmla="*/ 1 w 6"/>
                <a:gd name="T1" fmla="*/ 38 h 39"/>
                <a:gd name="T2" fmla="*/ 1 w 6"/>
                <a:gd name="T3" fmla="*/ 19 h 39"/>
                <a:gd name="T4" fmla="*/ 2 w 6"/>
                <a:gd name="T5" fmla="*/ 0 h 39"/>
                <a:gd name="T6" fmla="*/ 5 w 6"/>
                <a:gd name="T7" fmla="*/ 19 h 39"/>
                <a:gd name="T8" fmla="*/ 1 w 6"/>
                <a:gd name="T9" fmla="*/ 38 h 39"/>
              </a:gdLst>
              <a:ahLst/>
              <a:cxnLst>
                <a:cxn ang="0">
                  <a:pos x="T0" y="T1"/>
                </a:cxn>
                <a:cxn ang="0">
                  <a:pos x="T2" y="T3"/>
                </a:cxn>
                <a:cxn ang="0">
                  <a:pos x="T4" y="T5"/>
                </a:cxn>
                <a:cxn ang="0">
                  <a:pos x="T6" y="T7"/>
                </a:cxn>
                <a:cxn ang="0">
                  <a:pos x="T8" y="T9"/>
                </a:cxn>
              </a:cxnLst>
              <a:rect l="0" t="0" r="r" b="b"/>
              <a:pathLst>
                <a:path w="6" h="39">
                  <a:moveTo>
                    <a:pt x="1" y="38"/>
                  </a:moveTo>
                  <a:cubicBezTo>
                    <a:pt x="0" y="38"/>
                    <a:pt x="1" y="30"/>
                    <a:pt x="1" y="19"/>
                  </a:cubicBezTo>
                  <a:cubicBezTo>
                    <a:pt x="2" y="9"/>
                    <a:pt x="1" y="0"/>
                    <a:pt x="2" y="0"/>
                  </a:cubicBezTo>
                  <a:cubicBezTo>
                    <a:pt x="4" y="0"/>
                    <a:pt x="6" y="8"/>
                    <a:pt x="5" y="19"/>
                  </a:cubicBezTo>
                  <a:cubicBezTo>
                    <a:pt x="5" y="30"/>
                    <a:pt x="2" y="39"/>
                    <a:pt x="1" y="3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85">
              <a:extLst>
                <a:ext uri="{FF2B5EF4-FFF2-40B4-BE49-F238E27FC236}">
                  <a16:creationId xmlns:a16="http://schemas.microsoft.com/office/drawing/2014/main" id="{B6E1926A-29D9-4A18-8624-FCCC4922B62C}"/>
                </a:ext>
              </a:extLst>
            </p:cNvPr>
            <p:cNvSpPr>
              <a:spLocks/>
            </p:cNvSpPr>
            <p:nvPr/>
          </p:nvSpPr>
          <p:spPr bwMode="auto">
            <a:xfrm>
              <a:off x="2787" y="3991"/>
              <a:ext cx="97" cy="71"/>
            </a:xfrm>
            <a:custGeom>
              <a:avLst/>
              <a:gdLst>
                <a:gd name="T0" fmla="*/ 41 w 41"/>
                <a:gd name="T1" fmla="*/ 29 h 30"/>
                <a:gd name="T2" fmla="*/ 18 w 41"/>
                <a:gd name="T3" fmla="*/ 19 h 30"/>
                <a:gd name="T4" fmla="*/ 1 w 41"/>
                <a:gd name="T5" fmla="*/ 1 h 30"/>
                <a:gd name="T6" fmla="*/ 21 w 41"/>
                <a:gd name="T7" fmla="*/ 15 h 30"/>
                <a:gd name="T8" fmla="*/ 41 w 41"/>
                <a:gd name="T9" fmla="*/ 29 h 30"/>
              </a:gdLst>
              <a:ahLst/>
              <a:cxnLst>
                <a:cxn ang="0">
                  <a:pos x="T0" y="T1"/>
                </a:cxn>
                <a:cxn ang="0">
                  <a:pos x="T2" y="T3"/>
                </a:cxn>
                <a:cxn ang="0">
                  <a:pos x="T4" y="T5"/>
                </a:cxn>
                <a:cxn ang="0">
                  <a:pos x="T6" y="T7"/>
                </a:cxn>
                <a:cxn ang="0">
                  <a:pos x="T8" y="T9"/>
                </a:cxn>
              </a:cxnLst>
              <a:rect l="0" t="0" r="r" b="b"/>
              <a:pathLst>
                <a:path w="41" h="30">
                  <a:moveTo>
                    <a:pt x="41" y="29"/>
                  </a:moveTo>
                  <a:cubicBezTo>
                    <a:pt x="41" y="30"/>
                    <a:pt x="30" y="27"/>
                    <a:pt x="18" y="19"/>
                  </a:cubicBezTo>
                  <a:cubicBezTo>
                    <a:pt x="7" y="10"/>
                    <a:pt x="0" y="1"/>
                    <a:pt x="1" y="1"/>
                  </a:cubicBezTo>
                  <a:cubicBezTo>
                    <a:pt x="2" y="0"/>
                    <a:pt x="10" y="7"/>
                    <a:pt x="21" y="15"/>
                  </a:cubicBezTo>
                  <a:cubicBezTo>
                    <a:pt x="32" y="23"/>
                    <a:pt x="41" y="28"/>
                    <a:pt x="41" y="2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86">
              <a:extLst>
                <a:ext uri="{FF2B5EF4-FFF2-40B4-BE49-F238E27FC236}">
                  <a16:creationId xmlns:a16="http://schemas.microsoft.com/office/drawing/2014/main" id="{219554F0-2DB3-4E80-8CD4-BF3C6F076CEA}"/>
                </a:ext>
              </a:extLst>
            </p:cNvPr>
            <p:cNvSpPr>
              <a:spLocks/>
            </p:cNvSpPr>
            <p:nvPr/>
          </p:nvSpPr>
          <p:spPr bwMode="auto">
            <a:xfrm>
              <a:off x="2479" y="3950"/>
              <a:ext cx="28" cy="95"/>
            </a:xfrm>
            <a:custGeom>
              <a:avLst/>
              <a:gdLst>
                <a:gd name="T0" fmla="*/ 1 w 12"/>
                <a:gd name="T1" fmla="*/ 40 h 40"/>
                <a:gd name="T2" fmla="*/ 4 w 12"/>
                <a:gd name="T3" fmla="*/ 20 h 40"/>
                <a:gd name="T4" fmla="*/ 11 w 12"/>
                <a:gd name="T5" fmla="*/ 0 h 40"/>
                <a:gd name="T6" fmla="*/ 8 w 12"/>
                <a:gd name="T7" fmla="*/ 21 h 40"/>
                <a:gd name="T8" fmla="*/ 1 w 12"/>
                <a:gd name="T9" fmla="*/ 40 h 40"/>
              </a:gdLst>
              <a:ahLst/>
              <a:cxnLst>
                <a:cxn ang="0">
                  <a:pos x="T0" y="T1"/>
                </a:cxn>
                <a:cxn ang="0">
                  <a:pos x="T2" y="T3"/>
                </a:cxn>
                <a:cxn ang="0">
                  <a:pos x="T4" y="T5"/>
                </a:cxn>
                <a:cxn ang="0">
                  <a:pos x="T6" y="T7"/>
                </a:cxn>
                <a:cxn ang="0">
                  <a:pos x="T8" y="T9"/>
                </a:cxn>
              </a:cxnLst>
              <a:rect l="0" t="0" r="r" b="b"/>
              <a:pathLst>
                <a:path w="12" h="40">
                  <a:moveTo>
                    <a:pt x="1" y="40"/>
                  </a:moveTo>
                  <a:cubicBezTo>
                    <a:pt x="0" y="40"/>
                    <a:pt x="2" y="31"/>
                    <a:pt x="4" y="20"/>
                  </a:cubicBezTo>
                  <a:cubicBezTo>
                    <a:pt x="7" y="9"/>
                    <a:pt x="10" y="0"/>
                    <a:pt x="11" y="0"/>
                  </a:cubicBezTo>
                  <a:cubicBezTo>
                    <a:pt x="12" y="0"/>
                    <a:pt x="11" y="10"/>
                    <a:pt x="8" y="21"/>
                  </a:cubicBezTo>
                  <a:cubicBezTo>
                    <a:pt x="6" y="32"/>
                    <a:pt x="2" y="40"/>
                    <a:pt x="1" y="4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87">
              <a:extLst>
                <a:ext uri="{FF2B5EF4-FFF2-40B4-BE49-F238E27FC236}">
                  <a16:creationId xmlns:a16="http://schemas.microsoft.com/office/drawing/2014/main" id="{5F552CF5-3EB3-4D30-B338-1E9C26E92F3A}"/>
                </a:ext>
              </a:extLst>
            </p:cNvPr>
            <p:cNvSpPr>
              <a:spLocks/>
            </p:cNvSpPr>
            <p:nvPr/>
          </p:nvSpPr>
          <p:spPr bwMode="auto">
            <a:xfrm>
              <a:off x="2438" y="1642"/>
              <a:ext cx="238" cy="53"/>
            </a:xfrm>
            <a:custGeom>
              <a:avLst/>
              <a:gdLst>
                <a:gd name="T0" fmla="*/ 0 w 100"/>
                <a:gd name="T1" fmla="*/ 0 h 22"/>
                <a:gd name="T2" fmla="*/ 13 w 100"/>
                <a:gd name="T3" fmla="*/ 8 h 22"/>
                <a:gd name="T4" fmla="*/ 28 w 100"/>
                <a:gd name="T5" fmla="*/ 15 h 22"/>
                <a:gd name="T6" fmla="*/ 48 w 100"/>
                <a:gd name="T7" fmla="*/ 20 h 22"/>
                <a:gd name="T8" fmla="*/ 69 w 100"/>
                <a:gd name="T9" fmla="*/ 20 h 22"/>
                <a:gd name="T10" fmla="*/ 85 w 100"/>
                <a:gd name="T11" fmla="*/ 17 h 22"/>
                <a:gd name="T12" fmla="*/ 100 w 100"/>
                <a:gd name="T13" fmla="*/ 12 h 22"/>
                <a:gd name="T14" fmla="*/ 96 w 100"/>
                <a:gd name="T15" fmla="*/ 14 h 22"/>
                <a:gd name="T16" fmla="*/ 92 w 100"/>
                <a:gd name="T17" fmla="*/ 16 h 22"/>
                <a:gd name="T18" fmla="*/ 86 w 100"/>
                <a:gd name="T19" fmla="*/ 18 h 22"/>
                <a:gd name="T20" fmla="*/ 69 w 100"/>
                <a:gd name="T21" fmla="*/ 22 h 22"/>
                <a:gd name="T22" fmla="*/ 48 w 100"/>
                <a:gd name="T23" fmla="*/ 22 h 22"/>
                <a:gd name="T24" fmla="*/ 28 w 100"/>
                <a:gd name="T25" fmla="*/ 17 h 22"/>
                <a:gd name="T26" fmla="*/ 12 w 100"/>
                <a:gd name="T27" fmla="*/ 10 h 22"/>
                <a:gd name="T28" fmla="*/ 7 w 100"/>
                <a:gd name="T29" fmla="*/ 6 h 22"/>
                <a:gd name="T30" fmla="*/ 3 w 100"/>
                <a:gd name="T31" fmla="*/ 3 h 22"/>
                <a:gd name="T32" fmla="*/ 0 w 100"/>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22">
                  <a:moveTo>
                    <a:pt x="0" y="0"/>
                  </a:moveTo>
                  <a:cubicBezTo>
                    <a:pt x="0" y="0"/>
                    <a:pt x="5" y="4"/>
                    <a:pt x="13" y="8"/>
                  </a:cubicBezTo>
                  <a:cubicBezTo>
                    <a:pt x="17" y="11"/>
                    <a:pt x="22" y="13"/>
                    <a:pt x="28" y="15"/>
                  </a:cubicBezTo>
                  <a:cubicBezTo>
                    <a:pt x="34" y="17"/>
                    <a:pt x="41" y="19"/>
                    <a:pt x="48" y="20"/>
                  </a:cubicBezTo>
                  <a:cubicBezTo>
                    <a:pt x="56" y="20"/>
                    <a:pt x="63" y="20"/>
                    <a:pt x="69" y="20"/>
                  </a:cubicBezTo>
                  <a:cubicBezTo>
                    <a:pt x="75" y="19"/>
                    <a:pt x="81" y="18"/>
                    <a:pt x="85" y="17"/>
                  </a:cubicBezTo>
                  <a:cubicBezTo>
                    <a:pt x="94" y="14"/>
                    <a:pt x="100" y="11"/>
                    <a:pt x="100" y="12"/>
                  </a:cubicBezTo>
                  <a:cubicBezTo>
                    <a:pt x="100" y="12"/>
                    <a:pt x="99" y="13"/>
                    <a:pt x="96" y="14"/>
                  </a:cubicBezTo>
                  <a:cubicBezTo>
                    <a:pt x="95" y="15"/>
                    <a:pt x="94" y="15"/>
                    <a:pt x="92" y="16"/>
                  </a:cubicBezTo>
                  <a:cubicBezTo>
                    <a:pt x="90" y="17"/>
                    <a:pt x="88" y="17"/>
                    <a:pt x="86" y="18"/>
                  </a:cubicBezTo>
                  <a:cubicBezTo>
                    <a:pt x="81" y="20"/>
                    <a:pt x="75" y="21"/>
                    <a:pt x="69" y="22"/>
                  </a:cubicBezTo>
                  <a:cubicBezTo>
                    <a:pt x="63" y="22"/>
                    <a:pt x="56" y="22"/>
                    <a:pt x="48" y="22"/>
                  </a:cubicBezTo>
                  <a:cubicBezTo>
                    <a:pt x="41" y="21"/>
                    <a:pt x="34" y="19"/>
                    <a:pt x="28" y="17"/>
                  </a:cubicBezTo>
                  <a:cubicBezTo>
                    <a:pt x="22" y="15"/>
                    <a:pt x="17" y="12"/>
                    <a:pt x="12" y="10"/>
                  </a:cubicBezTo>
                  <a:cubicBezTo>
                    <a:pt x="10" y="9"/>
                    <a:pt x="8" y="7"/>
                    <a:pt x="7" y="6"/>
                  </a:cubicBezTo>
                  <a:cubicBezTo>
                    <a:pt x="5" y="5"/>
                    <a:pt x="4" y="4"/>
                    <a:pt x="3" y="3"/>
                  </a:cubicBezTo>
                  <a:cubicBezTo>
                    <a:pt x="1" y="1"/>
                    <a:pt x="0" y="0"/>
                    <a:pt x="0" y="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88">
              <a:extLst>
                <a:ext uri="{FF2B5EF4-FFF2-40B4-BE49-F238E27FC236}">
                  <a16:creationId xmlns:a16="http://schemas.microsoft.com/office/drawing/2014/main" id="{66FD6DC7-A4E7-4F19-A8E7-D539788E34C9}"/>
                </a:ext>
              </a:extLst>
            </p:cNvPr>
            <p:cNvSpPr>
              <a:spLocks/>
            </p:cNvSpPr>
            <p:nvPr/>
          </p:nvSpPr>
          <p:spPr bwMode="auto">
            <a:xfrm>
              <a:off x="2443" y="1678"/>
              <a:ext cx="240" cy="93"/>
            </a:xfrm>
            <a:custGeom>
              <a:avLst/>
              <a:gdLst>
                <a:gd name="T0" fmla="*/ 101 w 101"/>
                <a:gd name="T1" fmla="*/ 31 h 39"/>
                <a:gd name="T2" fmla="*/ 97 w 101"/>
                <a:gd name="T3" fmla="*/ 33 h 39"/>
                <a:gd name="T4" fmla="*/ 85 w 101"/>
                <a:gd name="T5" fmla="*/ 35 h 39"/>
                <a:gd name="T6" fmla="*/ 44 w 101"/>
                <a:gd name="T7" fmla="*/ 35 h 39"/>
                <a:gd name="T8" fmla="*/ 8 w 101"/>
                <a:gd name="T9" fmla="*/ 15 h 39"/>
                <a:gd name="T10" fmla="*/ 2 w 101"/>
                <a:gd name="T11" fmla="*/ 5 h 39"/>
                <a:gd name="T12" fmla="*/ 0 w 101"/>
                <a:gd name="T13" fmla="*/ 0 h 39"/>
                <a:gd name="T14" fmla="*/ 9 w 101"/>
                <a:gd name="T15" fmla="*/ 14 h 39"/>
                <a:gd name="T16" fmla="*/ 44 w 101"/>
                <a:gd name="T17" fmla="*/ 33 h 39"/>
                <a:gd name="T18" fmla="*/ 85 w 101"/>
                <a:gd name="T19" fmla="*/ 34 h 39"/>
                <a:gd name="T20" fmla="*/ 97 w 101"/>
                <a:gd name="T21" fmla="*/ 32 h 39"/>
                <a:gd name="T22" fmla="*/ 101 w 101"/>
                <a:gd name="T23"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39">
                  <a:moveTo>
                    <a:pt x="101" y="31"/>
                  </a:moveTo>
                  <a:cubicBezTo>
                    <a:pt x="101" y="31"/>
                    <a:pt x="100" y="32"/>
                    <a:pt x="97" y="33"/>
                  </a:cubicBezTo>
                  <a:cubicBezTo>
                    <a:pt x="94" y="33"/>
                    <a:pt x="90" y="34"/>
                    <a:pt x="85" y="35"/>
                  </a:cubicBezTo>
                  <a:cubicBezTo>
                    <a:pt x="74" y="37"/>
                    <a:pt x="60" y="39"/>
                    <a:pt x="44" y="35"/>
                  </a:cubicBezTo>
                  <a:cubicBezTo>
                    <a:pt x="28" y="32"/>
                    <a:pt x="15" y="23"/>
                    <a:pt x="8" y="15"/>
                  </a:cubicBezTo>
                  <a:cubicBezTo>
                    <a:pt x="5" y="11"/>
                    <a:pt x="3" y="7"/>
                    <a:pt x="2" y="5"/>
                  </a:cubicBezTo>
                  <a:cubicBezTo>
                    <a:pt x="0" y="2"/>
                    <a:pt x="0" y="0"/>
                    <a:pt x="0" y="0"/>
                  </a:cubicBezTo>
                  <a:cubicBezTo>
                    <a:pt x="1" y="0"/>
                    <a:pt x="3" y="7"/>
                    <a:pt x="9" y="14"/>
                  </a:cubicBezTo>
                  <a:cubicBezTo>
                    <a:pt x="16" y="22"/>
                    <a:pt x="29" y="30"/>
                    <a:pt x="44" y="33"/>
                  </a:cubicBezTo>
                  <a:cubicBezTo>
                    <a:pt x="60" y="37"/>
                    <a:pt x="74" y="35"/>
                    <a:pt x="85" y="34"/>
                  </a:cubicBezTo>
                  <a:cubicBezTo>
                    <a:pt x="90" y="33"/>
                    <a:pt x="94" y="32"/>
                    <a:pt x="97" y="32"/>
                  </a:cubicBezTo>
                  <a:cubicBezTo>
                    <a:pt x="100" y="31"/>
                    <a:pt x="101" y="31"/>
                    <a:pt x="101" y="31"/>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89">
              <a:extLst>
                <a:ext uri="{FF2B5EF4-FFF2-40B4-BE49-F238E27FC236}">
                  <a16:creationId xmlns:a16="http://schemas.microsoft.com/office/drawing/2014/main" id="{0B6560AD-ED96-4B99-A68D-77955E73FF05}"/>
                </a:ext>
              </a:extLst>
            </p:cNvPr>
            <p:cNvSpPr>
              <a:spLocks/>
            </p:cNvSpPr>
            <p:nvPr/>
          </p:nvSpPr>
          <p:spPr bwMode="auto">
            <a:xfrm>
              <a:off x="2329" y="1768"/>
              <a:ext cx="244" cy="565"/>
            </a:xfrm>
            <a:custGeom>
              <a:avLst/>
              <a:gdLst>
                <a:gd name="T0" fmla="*/ 7 w 103"/>
                <a:gd name="T1" fmla="*/ 238 h 238"/>
                <a:gd name="T2" fmla="*/ 6 w 103"/>
                <a:gd name="T3" fmla="*/ 237 h 238"/>
                <a:gd name="T4" fmla="*/ 5 w 103"/>
                <a:gd name="T5" fmla="*/ 236 h 238"/>
                <a:gd name="T6" fmla="*/ 2 w 103"/>
                <a:gd name="T7" fmla="*/ 228 h 238"/>
                <a:gd name="T8" fmla="*/ 11 w 103"/>
                <a:gd name="T9" fmla="*/ 198 h 238"/>
                <a:gd name="T10" fmla="*/ 27 w 103"/>
                <a:gd name="T11" fmla="*/ 184 h 238"/>
                <a:gd name="T12" fmla="*/ 48 w 103"/>
                <a:gd name="T13" fmla="*/ 171 h 238"/>
                <a:gd name="T14" fmla="*/ 68 w 103"/>
                <a:gd name="T15" fmla="*/ 152 h 238"/>
                <a:gd name="T16" fmla="*/ 72 w 103"/>
                <a:gd name="T17" fmla="*/ 139 h 238"/>
                <a:gd name="T18" fmla="*/ 72 w 103"/>
                <a:gd name="T19" fmla="*/ 124 h 238"/>
                <a:gd name="T20" fmla="*/ 62 w 103"/>
                <a:gd name="T21" fmla="*/ 97 h 238"/>
                <a:gd name="T22" fmla="*/ 55 w 103"/>
                <a:gd name="T23" fmla="*/ 70 h 238"/>
                <a:gd name="T24" fmla="*/ 69 w 103"/>
                <a:gd name="T25" fmla="*/ 25 h 238"/>
                <a:gd name="T26" fmla="*/ 92 w 103"/>
                <a:gd name="T27" fmla="*/ 4 h 238"/>
                <a:gd name="T28" fmla="*/ 97 w 103"/>
                <a:gd name="T29" fmla="*/ 2 h 238"/>
                <a:gd name="T30" fmla="*/ 100 w 103"/>
                <a:gd name="T31" fmla="*/ 1 h 238"/>
                <a:gd name="T32" fmla="*/ 103 w 103"/>
                <a:gd name="T33" fmla="*/ 0 h 238"/>
                <a:gd name="T34" fmla="*/ 100 w 103"/>
                <a:gd name="T35" fmla="*/ 2 h 238"/>
                <a:gd name="T36" fmla="*/ 97 w 103"/>
                <a:gd name="T37" fmla="*/ 3 h 238"/>
                <a:gd name="T38" fmla="*/ 93 w 103"/>
                <a:gd name="T39" fmla="*/ 5 h 238"/>
                <a:gd name="T40" fmla="*/ 70 w 103"/>
                <a:gd name="T41" fmla="*/ 26 h 238"/>
                <a:gd name="T42" fmla="*/ 57 w 103"/>
                <a:gd name="T43" fmla="*/ 70 h 238"/>
                <a:gd name="T44" fmla="*/ 63 w 103"/>
                <a:gd name="T45" fmla="*/ 96 h 238"/>
                <a:gd name="T46" fmla="*/ 74 w 103"/>
                <a:gd name="T47" fmla="*/ 124 h 238"/>
                <a:gd name="T48" fmla="*/ 75 w 103"/>
                <a:gd name="T49" fmla="*/ 139 h 238"/>
                <a:gd name="T50" fmla="*/ 69 w 103"/>
                <a:gd name="T51" fmla="*/ 153 h 238"/>
                <a:gd name="T52" fmla="*/ 49 w 103"/>
                <a:gd name="T53" fmla="*/ 172 h 238"/>
                <a:gd name="T54" fmla="*/ 28 w 103"/>
                <a:gd name="T55" fmla="*/ 185 h 238"/>
                <a:gd name="T56" fmla="*/ 12 w 103"/>
                <a:gd name="T57" fmla="*/ 199 h 238"/>
                <a:gd name="T58" fmla="*/ 3 w 103"/>
                <a:gd name="T59" fmla="*/ 228 h 238"/>
                <a:gd name="T60" fmla="*/ 7 w 103"/>
                <a:gd name="T6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238">
                  <a:moveTo>
                    <a:pt x="7" y="238"/>
                  </a:moveTo>
                  <a:cubicBezTo>
                    <a:pt x="7" y="238"/>
                    <a:pt x="7" y="238"/>
                    <a:pt x="6" y="237"/>
                  </a:cubicBezTo>
                  <a:cubicBezTo>
                    <a:pt x="6" y="237"/>
                    <a:pt x="5" y="237"/>
                    <a:pt x="5" y="236"/>
                  </a:cubicBezTo>
                  <a:cubicBezTo>
                    <a:pt x="4" y="234"/>
                    <a:pt x="2" y="231"/>
                    <a:pt x="2" y="228"/>
                  </a:cubicBezTo>
                  <a:cubicBezTo>
                    <a:pt x="0" y="220"/>
                    <a:pt x="2" y="209"/>
                    <a:pt x="11" y="198"/>
                  </a:cubicBezTo>
                  <a:cubicBezTo>
                    <a:pt x="15" y="193"/>
                    <a:pt x="21" y="188"/>
                    <a:pt x="27" y="184"/>
                  </a:cubicBezTo>
                  <a:cubicBezTo>
                    <a:pt x="34" y="180"/>
                    <a:pt x="41" y="176"/>
                    <a:pt x="48" y="171"/>
                  </a:cubicBezTo>
                  <a:cubicBezTo>
                    <a:pt x="56" y="166"/>
                    <a:pt x="63" y="160"/>
                    <a:pt x="68" y="152"/>
                  </a:cubicBezTo>
                  <a:cubicBezTo>
                    <a:pt x="70" y="148"/>
                    <a:pt x="72" y="143"/>
                    <a:pt x="72" y="139"/>
                  </a:cubicBezTo>
                  <a:cubicBezTo>
                    <a:pt x="73" y="134"/>
                    <a:pt x="73" y="129"/>
                    <a:pt x="72" y="124"/>
                  </a:cubicBezTo>
                  <a:cubicBezTo>
                    <a:pt x="70" y="114"/>
                    <a:pt x="65" y="105"/>
                    <a:pt x="62" y="97"/>
                  </a:cubicBezTo>
                  <a:cubicBezTo>
                    <a:pt x="58" y="88"/>
                    <a:pt x="55" y="79"/>
                    <a:pt x="55" y="70"/>
                  </a:cubicBezTo>
                  <a:cubicBezTo>
                    <a:pt x="54" y="52"/>
                    <a:pt x="61" y="36"/>
                    <a:pt x="69" y="25"/>
                  </a:cubicBezTo>
                  <a:cubicBezTo>
                    <a:pt x="76" y="14"/>
                    <a:pt x="86" y="8"/>
                    <a:pt x="92" y="4"/>
                  </a:cubicBezTo>
                  <a:cubicBezTo>
                    <a:pt x="94" y="4"/>
                    <a:pt x="95" y="3"/>
                    <a:pt x="97" y="2"/>
                  </a:cubicBezTo>
                  <a:cubicBezTo>
                    <a:pt x="98" y="2"/>
                    <a:pt x="99" y="1"/>
                    <a:pt x="100" y="1"/>
                  </a:cubicBezTo>
                  <a:cubicBezTo>
                    <a:pt x="102" y="0"/>
                    <a:pt x="103" y="0"/>
                    <a:pt x="103" y="0"/>
                  </a:cubicBezTo>
                  <a:cubicBezTo>
                    <a:pt x="103" y="0"/>
                    <a:pt x="102" y="1"/>
                    <a:pt x="100" y="2"/>
                  </a:cubicBezTo>
                  <a:cubicBezTo>
                    <a:pt x="99" y="2"/>
                    <a:pt x="98" y="2"/>
                    <a:pt x="97" y="3"/>
                  </a:cubicBezTo>
                  <a:cubicBezTo>
                    <a:pt x="96" y="4"/>
                    <a:pt x="94" y="4"/>
                    <a:pt x="93" y="5"/>
                  </a:cubicBezTo>
                  <a:cubicBezTo>
                    <a:pt x="86" y="9"/>
                    <a:pt x="77" y="15"/>
                    <a:pt x="70" y="26"/>
                  </a:cubicBezTo>
                  <a:cubicBezTo>
                    <a:pt x="62" y="37"/>
                    <a:pt x="56" y="52"/>
                    <a:pt x="57" y="70"/>
                  </a:cubicBezTo>
                  <a:cubicBezTo>
                    <a:pt x="57" y="78"/>
                    <a:pt x="60" y="87"/>
                    <a:pt x="63" y="96"/>
                  </a:cubicBezTo>
                  <a:cubicBezTo>
                    <a:pt x="67" y="105"/>
                    <a:pt x="71" y="114"/>
                    <a:pt x="74" y="124"/>
                  </a:cubicBezTo>
                  <a:cubicBezTo>
                    <a:pt x="75" y="129"/>
                    <a:pt x="75" y="134"/>
                    <a:pt x="75" y="139"/>
                  </a:cubicBezTo>
                  <a:cubicBezTo>
                    <a:pt x="74" y="144"/>
                    <a:pt x="72" y="149"/>
                    <a:pt x="69" y="153"/>
                  </a:cubicBezTo>
                  <a:cubicBezTo>
                    <a:pt x="64" y="161"/>
                    <a:pt x="57" y="167"/>
                    <a:pt x="49" y="172"/>
                  </a:cubicBezTo>
                  <a:cubicBezTo>
                    <a:pt x="42" y="177"/>
                    <a:pt x="35" y="181"/>
                    <a:pt x="28" y="185"/>
                  </a:cubicBezTo>
                  <a:cubicBezTo>
                    <a:pt x="22" y="189"/>
                    <a:pt x="16" y="194"/>
                    <a:pt x="12" y="199"/>
                  </a:cubicBezTo>
                  <a:cubicBezTo>
                    <a:pt x="3" y="209"/>
                    <a:pt x="1" y="220"/>
                    <a:pt x="3" y="228"/>
                  </a:cubicBezTo>
                  <a:cubicBezTo>
                    <a:pt x="4" y="235"/>
                    <a:pt x="7" y="238"/>
                    <a:pt x="7" y="238"/>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90">
              <a:extLst>
                <a:ext uri="{FF2B5EF4-FFF2-40B4-BE49-F238E27FC236}">
                  <a16:creationId xmlns:a16="http://schemas.microsoft.com/office/drawing/2014/main" id="{336363EE-5955-476A-9670-3D0B7B06613E}"/>
                </a:ext>
              </a:extLst>
            </p:cNvPr>
            <p:cNvSpPr>
              <a:spLocks/>
            </p:cNvSpPr>
            <p:nvPr/>
          </p:nvSpPr>
          <p:spPr bwMode="auto">
            <a:xfrm>
              <a:off x="2531" y="1792"/>
              <a:ext cx="114" cy="546"/>
            </a:xfrm>
            <a:custGeom>
              <a:avLst/>
              <a:gdLst>
                <a:gd name="T0" fmla="*/ 28 w 48"/>
                <a:gd name="T1" fmla="*/ 230 h 230"/>
                <a:gd name="T2" fmla="*/ 26 w 48"/>
                <a:gd name="T3" fmla="*/ 228 h 230"/>
                <a:gd name="T4" fmla="*/ 21 w 48"/>
                <a:gd name="T5" fmla="*/ 223 h 230"/>
                <a:gd name="T6" fmla="*/ 17 w 48"/>
                <a:gd name="T7" fmla="*/ 211 h 230"/>
                <a:gd name="T8" fmla="*/ 19 w 48"/>
                <a:gd name="T9" fmla="*/ 195 h 230"/>
                <a:gd name="T10" fmla="*/ 39 w 48"/>
                <a:gd name="T11" fmla="*/ 159 h 230"/>
                <a:gd name="T12" fmla="*/ 45 w 48"/>
                <a:gd name="T13" fmla="*/ 137 h 230"/>
                <a:gd name="T14" fmla="*/ 39 w 48"/>
                <a:gd name="T15" fmla="*/ 112 h 230"/>
                <a:gd name="T16" fmla="*/ 12 w 48"/>
                <a:gd name="T17" fmla="*/ 70 h 230"/>
                <a:gd name="T18" fmla="*/ 2 w 48"/>
                <a:gd name="T19" fmla="*/ 49 h 230"/>
                <a:gd name="T20" fmla="*/ 0 w 48"/>
                <a:gd name="T21" fmla="*/ 30 h 230"/>
                <a:gd name="T22" fmla="*/ 12 w 48"/>
                <a:gd name="T23" fmla="*/ 5 h 230"/>
                <a:gd name="T24" fmla="*/ 18 w 48"/>
                <a:gd name="T25" fmla="*/ 1 h 230"/>
                <a:gd name="T26" fmla="*/ 21 w 48"/>
                <a:gd name="T27" fmla="*/ 0 h 230"/>
                <a:gd name="T28" fmla="*/ 12 w 48"/>
                <a:gd name="T29" fmla="*/ 6 h 230"/>
                <a:gd name="T30" fmla="*/ 2 w 48"/>
                <a:gd name="T31" fmla="*/ 30 h 230"/>
                <a:gd name="T32" fmla="*/ 4 w 48"/>
                <a:gd name="T33" fmla="*/ 49 h 230"/>
                <a:gd name="T34" fmla="*/ 13 w 48"/>
                <a:gd name="T35" fmla="*/ 69 h 230"/>
                <a:gd name="T36" fmla="*/ 27 w 48"/>
                <a:gd name="T37" fmla="*/ 89 h 230"/>
                <a:gd name="T38" fmla="*/ 41 w 48"/>
                <a:gd name="T39" fmla="*/ 111 h 230"/>
                <a:gd name="T40" fmla="*/ 48 w 48"/>
                <a:gd name="T41" fmla="*/ 136 h 230"/>
                <a:gd name="T42" fmla="*/ 41 w 48"/>
                <a:gd name="T43" fmla="*/ 160 h 230"/>
                <a:gd name="T44" fmla="*/ 20 w 48"/>
                <a:gd name="T45" fmla="*/ 196 h 230"/>
                <a:gd name="T46" fmla="*/ 18 w 48"/>
                <a:gd name="T47" fmla="*/ 211 h 230"/>
                <a:gd name="T48" fmla="*/ 22 w 48"/>
                <a:gd name="T49" fmla="*/ 222 h 230"/>
                <a:gd name="T50" fmla="*/ 28 w 48"/>
                <a:gd name="T5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30">
                  <a:moveTo>
                    <a:pt x="28" y="230"/>
                  </a:moveTo>
                  <a:cubicBezTo>
                    <a:pt x="28" y="230"/>
                    <a:pt x="28" y="229"/>
                    <a:pt x="26" y="228"/>
                  </a:cubicBezTo>
                  <a:cubicBezTo>
                    <a:pt x="25" y="227"/>
                    <a:pt x="23" y="225"/>
                    <a:pt x="21" y="223"/>
                  </a:cubicBezTo>
                  <a:cubicBezTo>
                    <a:pt x="19" y="220"/>
                    <a:pt x="18" y="216"/>
                    <a:pt x="17" y="211"/>
                  </a:cubicBezTo>
                  <a:cubicBezTo>
                    <a:pt x="17" y="206"/>
                    <a:pt x="17" y="201"/>
                    <a:pt x="19" y="195"/>
                  </a:cubicBezTo>
                  <a:cubicBezTo>
                    <a:pt x="22" y="183"/>
                    <a:pt x="32" y="173"/>
                    <a:pt x="39" y="159"/>
                  </a:cubicBezTo>
                  <a:cubicBezTo>
                    <a:pt x="43" y="153"/>
                    <a:pt x="46" y="145"/>
                    <a:pt x="45" y="137"/>
                  </a:cubicBezTo>
                  <a:cubicBezTo>
                    <a:pt x="45" y="128"/>
                    <a:pt x="43" y="120"/>
                    <a:pt x="39" y="112"/>
                  </a:cubicBezTo>
                  <a:cubicBezTo>
                    <a:pt x="31" y="96"/>
                    <a:pt x="20" y="83"/>
                    <a:pt x="12" y="70"/>
                  </a:cubicBezTo>
                  <a:cubicBezTo>
                    <a:pt x="8" y="63"/>
                    <a:pt x="4" y="56"/>
                    <a:pt x="2" y="49"/>
                  </a:cubicBezTo>
                  <a:cubicBezTo>
                    <a:pt x="0" y="43"/>
                    <a:pt x="0" y="36"/>
                    <a:pt x="0" y="30"/>
                  </a:cubicBezTo>
                  <a:cubicBezTo>
                    <a:pt x="1" y="18"/>
                    <a:pt x="7" y="9"/>
                    <a:pt x="12" y="5"/>
                  </a:cubicBezTo>
                  <a:cubicBezTo>
                    <a:pt x="15" y="3"/>
                    <a:pt x="17" y="2"/>
                    <a:pt x="18" y="1"/>
                  </a:cubicBezTo>
                  <a:cubicBezTo>
                    <a:pt x="20" y="0"/>
                    <a:pt x="21" y="0"/>
                    <a:pt x="21" y="0"/>
                  </a:cubicBezTo>
                  <a:cubicBezTo>
                    <a:pt x="21" y="0"/>
                    <a:pt x="17" y="1"/>
                    <a:pt x="12" y="6"/>
                  </a:cubicBezTo>
                  <a:cubicBezTo>
                    <a:pt x="8" y="10"/>
                    <a:pt x="3" y="19"/>
                    <a:pt x="2" y="30"/>
                  </a:cubicBezTo>
                  <a:cubicBezTo>
                    <a:pt x="1" y="36"/>
                    <a:pt x="2" y="42"/>
                    <a:pt x="4" y="49"/>
                  </a:cubicBezTo>
                  <a:cubicBezTo>
                    <a:pt x="6" y="55"/>
                    <a:pt x="9" y="62"/>
                    <a:pt x="13" y="69"/>
                  </a:cubicBezTo>
                  <a:cubicBezTo>
                    <a:pt x="17" y="75"/>
                    <a:pt x="22" y="82"/>
                    <a:pt x="27" y="89"/>
                  </a:cubicBezTo>
                  <a:cubicBezTo>
                    <a:pt x="32" y="95"/>
                    <a:pt x="37" y="103"/>
                    <a:pt x="41" y="111"/>
                  </a:cubicBezTo>
                  <a:cubicBezTo>
                    <a:pt x="45" y="119"/>
                    <a:pt x="47" y="128"/>
                    <a:pt x="48" y="136"/>
                  </a:cubicBezTo>
                  <a:cubicBezTo>
                    <a:pt x="48" y="145"/>
                    <a:pt x="45" y="153"/>
                    <a:pt x="41" y="160"/>
                  </a:cubicBezTo>
                  <a:cubicBezTo>
                    <a:pt x="33" y="174"/>
                    <a:pt x="24" y="184"/>
                    <a:pt x="20" y="196"/>
                  </a:cubicBezTo>
                  <a:cubicBezTo>
                    <a:pt x="19" y="201"/>
                    <a:pt x="18" y="206"/>
                    <a:pt x="18" y="211"/>
                  </a:cubicBezTo>
                  <a:cubicBezTo>
                    <a:pt x="19" y="216"/>
                    <a:pt x="20" y="219"/>
                    <a:pt x="22" y="222"/>
                  </a:cubicBezTo>
                  <a:cubicBezTo>
                    <a:pt x="25" y="228"/>
                    <a:pt x="29" y="229"/>
                    <a:pt x="28" y="230"/>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91">
              <a:extLst>
                <a:ext uri="{FF2B5EF4-FFF2-40B4-BE49-F238E27FC236}">
                  <a16:creationId xmlns:a16="http://schemas.microsoft.com/office/drawing/2014/main" id="{00855895-FD64-456A-990C-8E84FF2D5E71}"/>
                </a:ext>
              </a:extLst>
            </p:cNvPr>
            <p:cNvSpPr>
              <a:spLocks/>
            </p:cNvSpPr>
            <p:nvPr/>
          </p:nvSpPr>
          <p:spPr bwMode="auto">
            <a:xfrm>
              <a:off x="2706" y="1388"/>
              <a:ext cx="266" cy="235"/>
            </a:xfrm>
            <a:custGeom>
              <a:avLst/>
              <a:gdLst>
                <a:gd name="T0" fmla="*/ 112 w 112"/>
                <a:gd name="T1" fmla="*/ 99 h 99"/>
                <a:gd name="T2" fmla="*/ 111 w 112"/>
                <a:gd name="T3" fmla="*/ 99 h 99"/>
                <a:gd name="T4" fmla="*/ 107 w 112"/>
                <a:gd name="T5" fmla="*/ 96 h 99"/>
                <a:gd name="T6" fmla="*/ 95 w 112"/>
                <a:gd name="T7" fmla="*/ 83 h 99"/>
                <a:gd name="T8" fmla="*/ 84 w 112"/>
                <a:gd name="T9" fmla="*/ 60 h 99"/>
                <a:gd name="T10" fmla="*/ 78 w 112"/>
                <a:gd name="T11" fmla="*/ 47 h 99"/>
                <a:gd name="T12" fmla="*/ 69 w 112"/>
                <a:gd name="T13" fmla="*/ 34 h 99"/>
                <a:gd name="T14" fmla="*/ 23 w 112"/>
                <a:gd name="T15" fmla="*/ 4 h 99"/>
                <a:gd name="T16" fmla="*/ 0 w 112"/>
                <a:gd name="T17" fmla="*/ 0 h 99"/>
                <a:gd name="T18" fmla="*/ 6 w 112"/>
                <a:gd name="T19" fmla="*/ 0 h 99"/>
                <a:gd name="T20" fmla="*/ 23 w 112"/>
                <a:gd name="T21" fmla="*/ 2 h 99"/>
                <a:gd name="T22" fmla="*/ 47 w 112"/>
                <a:gd name="T23" fmla="*/ 12 h 99"/>
                <a:gd name="T24" fmla="*/ 71 w 112"/>
                <a:gd name="T25" fmla="*/ 32 h 99"/>
                <a:gd name="T26" fmla="*/ 80 w 112"/>
                <a:gd name="T27" fmla="*/ 46 h 99"/>
                <a:gd name="T28" fmla="*/ 86 w 112"/>
                <a:gd name="T29" fmla="*/ 60 h 99"/>
                <a:gd name="T30" fmla="*/ 96 w 112"/>
                <a:gd name="T31" fmla="*/ 82 h 99"/>
                <a:gd name="T32" fmla="*/ 107 w 112"/>
                <a:gd name="T33" fmla="*/ 95 h 99"/>
                <a:gd name="T34" fmla="*/ 112 w 112"/>
                <a:gd name="T3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99">
                  <a:moveTo>
                    <a:pt x="112" y="99"/>
                  </a:moveTo>
                  <a:cubicBezTo>
                    <a:pt x="112" y="99"/>
                    <a:pt x="112" y="99"/>
                    <a:pt x="111" y="99"/>
                  </a:cubicBezTo>
                  <a:cubicBezTo>
                    <a:pt x="110" y="98"/>
                    <a:pt x="108" y="97"/>
                    <a:pt x="107" y="96"/>
                  </a:cubicBezTo>
                  <a:cubicBezTo>
                    <a:pt x="103" y="94"/>
                    <a:pt x="99" y="89"/>
                    <a:pt x="95" y="83"/>
                  </a:cubicBezTo>
                  <a:cubicBezTo>
                    <a:pt x="91" y="77"/>
                    <a:pt x="88" y="69"/>
                    <a:pt x="84" y="60"/>
                  </a:cubicBezTo>
                  <a:cubicBezTo>
                    <a:pt x="82" y="56"/>
                    <a:pt x="80" y="51"/>
                    <a:pt x="78" y="47"/>
                  </a:cubicBezTo>
                  <a:cubicBezTo>
                    <a:pt x="75" y="42"/>
                    <a:pt x="73" y="38"/>
                    <a:pt x="69" y="34"/>
                  </a:cubicBezTo>
                  <a:cubicBezTo>
                    <a:pt x="55" y="16"/>
                    <a:pt x="37" y="7"/>
                    <a:pt x="23" y="4"/>
                  </a:cubicBezTo>
                  <a:cubicBezTo>
                    <a:pt x="9" y="0"/>
                    <a:pt x="0" y="1"/>
                    <a:pt x="0" y="0"/>
                  </a:cubicBezTo>
                  <a:cubicBezTo>
                    <a:pt x="0" y="0"/>
                    <a:pt x="2" y="0"/>
                    <a:pt x="6" y="0"/>
                  </a:cubicBezTo>
                  <a:cubicBezTo>
                    <a:pt x="10" y="0"/>
                    <a:pt x="16" y="1"/>
                    <a:pt x="23" y="2"/>
                  </a:cubicBezTo>
                  <a:cubicBezTo>
                    <a:pt x="30" y="4"/>
                    <a:pt x="39" y="7"/>
                    <a:pt x="47" y="12"/>
                  </a:cubicBezTo>
                  <a:cubicBezTo>
                    <a:pt x="55" y="17"/>
                    <a:pt x="64" y="23"/>
                    <a:pt x="71" y="32"/>
                  </a:cubicBezTo>
                  <a:cubicBezTo>
                    <a:pt x="74" y="36"/>
                    <a:pt x="77" y="41"/>
                    <a:pt x="80" y="46"/>
                  </a:cubicBezTo>
                  <a:cubicBezTo>
                    <a:pt x="82" y="50"/>
                    <a:pt x="84" y="55"/>
                    <a:pt x="86" y="60"/>
                  </a:cubicBezTo>
                  <a:cubicBezTo>
                    <a:pt x="89" y="68"/>
                    <a:pt x="93" y="76"/>
                    <a:pt x="96" y="82"/>
                  </a:cubicBezTo>
                  <a:cubicBezTo>
                    <a:pt x="100" y="89"/>
                    <a:pt x="104" y="93"/>
                    <a:pt x="107" y="95"/>
                  </a:cubicBezTo>
                  <a:cubicBezTo>
                    <a:pt x="110" y="98"/>
                    <a:pt x="112" y="99"/>
                    <a:pt x="112" y="9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92">
              <a:extLst>
                <a:ext uri="{FF2B5EF4-FFF2-40B4-BE49-F238E27FC236}">
                  <a16:creationId xmlns:a16="http://schemas.microsoft.com/office/drawing/2014/main" id="{9297A681-C8FE-41D7-819F-85B38E937A57}"/>
                </a:ext>
              </a:extLst>
            </p:cNvPr>
            <p:cNvSpPr>
              <a:spLocks/>
            </p:cNvSpPr>
            <p:nvPr/>
          </p:nvSpPr>
          <p:spPr bwMode="auto">
            <a:xfrm>
              <a:off x="2709" y="1379"/>
              <a:ext cx="396" cy="244"/>
            </a:xfrm>
            <a:custGeom>
              <a:avLst/>
              <a:gdLst>
                <a:gd name="T0" fmla="*/ 167 w 167"/>
                <a:gd name="T1" fmla="*/ 103 h 103"/>
                <a:gd name="T2" fmla="*/ 165 w 167"/>
                <a:gd name="T3" fmla="*/ 103 h 103"/>
                <a:gd name="T4" fmla="*/ 159 w 167"/>
                <a:gd name="T5" fmla="*/ 101 h 103"/>
                <a:gd name="T6" fmla="*/ 140 w 167"/>
                <a:gd name="T7" fmla="*/ 89 h 103"/>
                <a:gd name="T8" fmla="*/ 120 w 167"/>
                <a:gd name="T9" fmla="*/ 61 h 103"/>
                <a:gd name="T10" fmla="*/ 98 w 167"/>
                <a:gd name="T11" fmla="*/ 27 h 103"/>
                <a:gd name="T12" fmla="*/ 64 w 167"/>
                <a:gd name="T13" fmla="*/ 6 h 103"/>
                <a:gd name="T14" fmla="*/ 31 w 167"/>
                <a:gd name="T15" fmla="*/ 1 h 103"/>
                <a:gd name="T16" fmla="*/ 9 w 167"/>
                <a:gd name="T17" fmla="*/ 2 h 103"/>
                <a:gd name="T18" fmla="*/ 2 w 167"/>
                <a:gd name="T19" fmla="*/ 2 h 103"/>
                <a:gd name="T20" fmla="*/ 0 w 167"/>
                <a:gd name="T21" fmla="*/ 2 h 103"/>
                <a:gd name="T22" fmla="*/ 2 w 167"/>
                <a:gd name="T23" fmla="*/ 1 h 103"/>
                <a:gd name="T24" fmla="*/ 9 w 167"/>
                <a:gd name="T25" fmla="*/ 1 h 103"/>
                <a:gd name="T26" fmla="*/ 31 w 167"/>
                <a:gd name="T27" fmla="*/ 0 h 103"/>
                <a:gd name="T28" fmla="*/ 65 w 167"/>
                <a:gd name="T29" fmla="*/ 4 h 103"/>
                <a:gd name="T30" fmla="*/ 100 w 167"/>
                <a:gd name="T31" fmla="*/ 25 h 103"/>
                <a:gd name="T32" fmla="*/ 122 w 167"/>
                <a:gd name="T33" fmla="*/ 60 h 103"/>
                <a:gd name="T34" fmla="*/ 141 w 167"/>
                <a:gd name="T35" fmla="*/ 88 h 103"/>
                <a:gd name="T36" fmla="*/ 159 w 167"/>
                <a:gd name="T37" fmla="*/ 100 h 103"/>
                <a:gd name="T38" fmla="*/ 167 w 167"/>
                <a:gd name="T3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7" h="103">
                  <a:moveTo>
                    <a:pt x="167" y="103"/>
                  </a:moveTo>
                  <a:cubicBezTo>
                    <a:pt x="167" y="103"/>
                    <a:pt x="166" y="103"/>
                    <a:pt x="165" y="103"/>
                  </a:cubicBezTo>
                  <a:cubicBezTo>
                    <a:pt x="163" y="102"/>
                    <a:pt x="161" y="102"/>
                    <a:pt x="159" y="101"/>
                  </a:cubicBezTo>
                  <a:cubicBezTo>
                    <a:pt x="154" y="99"/>
                    <a:pt x="147" y="96"/>
                    <a:pt x="140" y="89"/>
                  </a:cubicBezTo>
                  <a:cubicBezTo>
                    <a:pt x="133" y="82"/>
                    <a:pt x="126" y="73"/>
                    <a:pt x="120" y="61"/>
                  </a:cubicBezTo>
                  <a:cubicBezTo>
                    <a:pt x="114" y="50"/>
                    <a:pt x="108" y="38"/>
                    <a:pt x="98" y="27"/>
                  </a:cubicBezTo>
                  <a:cubicBezTo>
                    <a:pt x="89" y="16"/>
                    <a:pt x="76" y="9"/>
                    <a:pt x="64" y="6"/>
                  </a:cubicBezTo>
                  <a:cubicBezTo>
                    <a:pt x="52" y="2"/>
                    <a:pt x="41" y="1"/>
                    <a:pt x="31" y="1"/>
                  </a:cubicBezTo>
                  <a:cubicBezTo>
                    <a:pt x="22" y="1"/>
                    <a:pt x="14" y="1"/>
                    <a:pt x="9" y="2"/>
                  </a:cubicBezTo>
                  <a:cubicBezTo>
                    <a:pt x="6" y="2"/>
                    <a:pt x="4" y="2"/>
                    <a:pt x="2" y="2"/>
                  </a:cubicBezTo>
                  <a:cubicBezTo>
                    <a:pt x="1" y="2"/>
                    <a:pt x="0" y="2"/>
                    <a:pt x="0" y="2"/>
                  </a:cubicBezTo>
                  <a:cubicBezTo>
                    <a:pt x="0" y="2"/>
                    <a:pt x="1" y="2"/>
                    <a:pt x="2" y="1"/>
                  </a:cubicBezTo>
                  <a:cubicBezTo>
                    <a:pt x="4" y="1"/>
                    <a:pt x="6" y="1"/>
                    <a:pt x="9" y="1"/>
                  </a:cubicBezTo>
                  <a:cubicBezTo>
                    <a:pt x="14" y="0"/>
                    <a:pt x="22" y="0"/>
                    <a:pt x="31" y="0"/>
                  </a:cubicBezTo>
                  <a:cubicBezTo>
                    <a:pt x="41" y="0"/>
                    <a:pt x="52" y="0"/>
                    <a:pt x="65" y="4"/>
                  </a:cubicBezTo>
                  <a:cubicBezTo>
                    <a:pt x="77" y="7"/>
                    <a:pt x="90" y="14"/>
                    <a:pt x="100" y="25"/>
                  </a:cubicBezTo>
                  <a:cubicBezTo>
                    <a:pt x="109" y="37"/>
                    <a:pt x="116" y="49"/>
                    <a:pt x="122" y="60"/>
                  </a:cubicBezTo>
                  <a:cubicBezTo>
                    <a:pt x="128" y="72"/>
                    <a:pt x="134" y="81"/>
                    <a:pt x="141" y="88"/>
                  </a:cubicBezTo>
                  <a:cubicBezTo>
                    <a:pt x="147" y="94"/>
                    <a:pt x="154" y="98"/>
                    <a:pt x="159" y="100"/>
                  </a:cubicBezTo>
                  <a:cubicBezTo>
                    <a:pt x="164" y="102"/>
                    <a:pt x="167" y="103"/>
                    <a:pt x="167" y="10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93">
              <a:extLst>
                <a:ext uri="{FF2B5EF4-FFF2-40B4-BE49-F238E27FC236}">
                  <a16:creationId xmlns:a16="http://schemas.microsoft.com/office/drawing/2014/main" id="{209E67C3-29C9-4CB0-9CAC-034265E408D5}"/>
                </a:ext>
              </a:extLst>
            </p:cNvPr>
            <p:cNvSpPr>
              <a:spLocks/>
            </p:cNvSpPr>
            <p:nvPr/>
          </p:nvSpPr>
          <p:spPr bwMode="auto">
            <a:xfrm>
              <a:off x="3172" y="1785"/>
              <a:ext cx="173" cy="456"/>
            </a:xfrm>
            <a:custGeom>
              <a:avLst/>
              <a:gdLst>
                <a:gd name="T0" fmla="*/ 66 w 73"/>
                <a:gd name="T1" fmla="*/ 192 h 192"/>
                <a:gd name="T2" fmla="*/ 69 w 73"/>
                <a:gd name="T3" fmla="*/ 183 h 192"/>
                <a:gd name="T4" fmla="*/ 71 w 73"/>
                <a:gd name="T5" fmla="*/ 161 h 192"/>
                <a:gd name="T6" fmla="*/ 63 w 73"/>
                <a:gd name="T7" fmla="*/ 129 h 192"/>
                <a:gd name="T8" fmla="*/ 51 w 73"/>
                <a:gd name="T9" fmla="*/ 112 h 192"/>
                <a:gd name="T10" fmla="*/ 36 w 73"/>
                <a:gd name="T11" fmla="*/ 97 h 192"/>
                <a:gd name="T12" fmla="*/ 21 w 73"/>
                <a:gd name="T13" fmla="*/ 81 h 192"/>
                <a:gd name="T14" fmla="*/ 10 w 73"/>
                <a:gd name="T15" fmla="*/ 64 h 192"/>
                <a:gd name="T16" fmla="*/ 4 w 73"/>
                <a:gd name="T17" fmla="*/ 47 h 192"/>
                <a:gd name="T18" fmla="*/ 1 w 73"/>
                <a:gd name="T19" fmla="*/ 31 h 192"/>
                <a:gd name="T20" fmla="*/ 1 w 73"/>
                <a:gd name="T21" fmla="*/ 8 h 192"/>
                <a:gd name="T22" fmla="*/ 2 w 73"/>
                <a:gd name="T23" fmla="*/ 2 h 192"/>
                <a:gd name="T24" fmla="*/ 3 w 73"/>
                <a:gd name="T25" fmla="*/ 0 h 192"/>
                <a:gd name="T26" fmla="*/ 2 w 73"/>
                <a:gd name="T27" fmla="*/ 8 h 192"/>
                <a:gd name="T28" fmla="*/ 2 w 73"/>
                <a:gd name="T29" fmla="*/ 31 h 192"/>
                <a:gd name="T30" fmla="*/ 6 w 73"/>
                <a:gd name="T31" fmla="*/ 46 h 192"/>
                <a:gd name="T32" fmla="*/ 12 w 73"/>
                <a:gd name="T33" fmla="*/ 63 h 192"/>
                <a:gd name="T34" fmla="*/ 23 w 73"/>
                <a:gd name="T35" fmla="*/ 80 h 192"/>
                <a:gd name="T36" fmla="*/ 37 w 73"/>
                <a:gd name="T37" fmla="*/ 96 h 192"/>
                <a:gd name="T38" fmla="*/ 53 w 73"/>
                <a:gd name="T39" fmla="*/ 111 h 192"/>
                <a:gd name="T40" fmla="*/ 64 w 73"/>
                <a:gd name="T41" fmla="*/ 128 h 192"/>
                <a:gd name="T42" fmla="*/ 73 w 73"/>
                <a:gd name="T43" fmla="*/ 161 h 192"/>
                <a:gd name="T44" fmla="*/ 70 w 73"/>
                <a:gd name="T45" fmla="*/ 184 h 192"/>
                <a:gd name="T46" fmla="*/ 67 w 73"/>
                <a:gd name="T47" fmla="*/ 190 h 192"/>
                <a:gd name="T48" fmla="*/ 66 w 73"/>
                <a:gd name="T4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192">
                  <a:moveTo>
                    <a:pt x="66" y="192"/>
                  </a:moveTo>
                  <a:cubicBezTo>
                    <a:pt x="66" y="191"/>
                    <a:pt x="67" y="189"/>
                    <a:pt x="69" y="183"/>
                  </a:cubicBezTo>
                  <a:cubicBezTo>
                    <a:pt x="70" y="178"/>
                    <a:pt x="72" y="170"/>
                    <a:pt x="71" y="161"/>
                  </a:cubicBezTo>
                  <a:cubicBezTo>
                    <a:pt x="71" y="151"/>
                    <a:pt x="69" y="140"/>
                    <a:pt x="63" y="129"/>
                  </a:cubicBezTo>
                  <a:cubicBezTo>
                    <a:pt x="60" y="123"/>
                    <a:pt x="56" y="117"/>
                    <a:pt x="51" y="112"/>
                  </a:cubicBezTo>
                  <a:cubicBezTo>
                    <a:pt x="47" y="107"/>
                    <a:pt x="41" y="102"/>
                    <a:pt x="36" y="97"/>
                  </a:cubicBezTo>
                  <a:cubicBezTo>
                    <a:pt x="31" y="92"/>
                    <a:pt x="25" y="87"/>
                    <a:pt x="21" y="81"/>
                  </a:cubicBezTo>
                  <a:cubicBezTo>
                    <a:pt x="17" y="76"/>
                    <a:pt x="13" y="70"/>
                    <a:pt x="10" y="64"/>
                  </a:cubicBezTo>
                  <a:cubicBezTo>
                    <a:pt x="8" y="58"/>
                    <a:pt x="6" y="52"/>
                    <a:pt x="4" y="47"/>
                  </a:cubicBezTo>
                  <a:cubicBezTo>
                    <a:pt x="3" y="41"/>
                    <a:pt x="2" y="36"/>
                    <a:pt x="1" y="31"/>
                  </a:cubicBezTo>
                  <a:cubicBezTo>
                    <a:pt x="0" y="21"/>
                    <a:pt x="1" y="13"/>
                    <a:pt x="1" y="8"/>
                  </a:cubicBezTo>
                  <a:cubicBezTo>
                    <a:pt x="2" y="5"/>
                    <a:pt x="2" y="3"/>
                    <a:pt x="2" y="2"/>
                  </a:cubicBezTo>
                  <a:cubicBezTo>
                    <a:pt x="3" y="1"/>
                    <a:pt x="3" y="0"/>
                    <a:pt x="3" y="0"/>
                  </a:cubicBezTo>
                  <a:cubicBezTo>
                    <a:pt x="3" y="0"/>
                    <a:pt x="3" y="3"/>
                    <a:pt x="2" y="8"/>
                  </a:cubicBezTo>
                  <a:cubicBezTo>
                    <a:pt x="2" y="14"/>
                    <a:pt x="1" y="21"/>
                    <a:pt x="2" y="31"/>
                  </a:cubicBezTo>
                  <a:cubicBezTo>
                    <a:pt x="3" y="36"/>
                    <a:pt x="4" y="41"/>
                    <a:pt x="6" y="46"/>
                  </a:cubicBezTo>
                  <a:cubicBezTo>
                    <a:pt x="7" y="52"/>
                    <a:pt x="9" y="57"/>
                    <a:pt x="12" y="63"/>
                  </a:cubicBezTo>
                  <a:cubicBezTo>
                    <a:pt x="15" y="69"/>
                    <a:pt x="19" y="75"/>
                    <a:pt x="23" y="80"/>
                  </a:cubicBezTo>
                  <a:cubicBezTo>
                    <a:pt x="27" y="86"/>
                    <a:pt x="32" y="91"/>
                    <a:pt x="37" y="96"/>
                  </a:cubicBezTo>
                  <a:cubicBezTo>
                    <a:pt x="43" y="101"/>
                    <a:pt x="48" y="106"/>
                    <a:pt x="53" y="111"/>
                  </a:cubicBezTo>
                  <a:cubicBezTo>
                    <a:pt x="58" y="116"/>
                    <a:pt x="61" y="122"/>
                    <a:pt x="64" y="128"/>
                  </a:cubicBezTo>
                  <a:cubicBezTo>
                    <a:pt x="70" y="139"/>
                    <a:pt x="73" y="151"/>
                    <a:pt x="73" y="161"/>
                  </a:cubicBezTo>
                  <a:cubicBezTo>
                    <a:pt x="73" y="171"/>
                    <a:pt x="71" y="178"/>
                    <a:pt x="70" y="184"/>
                  </a:cubicBezTo>
                  <a:cubicBezTo>
                    <a:pt x="69" y="186"/>
                    <a:pt x="68" y="188"/>
                    <a:pt x="67" y="190"/>
                  </a:cubicBezTo>
                  <a:cubicBezTo>
                    <a:pt x="67" y="191"/>
                    <a:pt x="67" y="192"/>
                    <a:pt x="66" y="19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94">
              <a:extLst>
                <a:ext uri="{FF2B5EF4-FFF2-40B4-BE49-F238E27FC236}">
                  <a16:creationId xmlns:a16="http://schemas.microsoft.com/office/drawing/2014/main" id="{2D067716-92DE-448F-A329-6222145AE9DD}"/>
                </a:ext>
              </a:extLst>
            </p:cNvPr>
            <p:cNvSpPr>
              <a:spLocks/>
            </p:cNvSpPr>
            <p:nvPr/>
          </p:nvSpPr>
          <p:spPr bwMode="auto">
            <a:xfrm>
              <a:off x="2289" y="1524"/>
              <a:ext cx="182" cy="92"/>
            </a:xfrm>
            <a:custGeom>
              <a:avLst/>
              <a:gdLst>
                <a:gd name="T0" fmla="*/ 0 w 77"/>
                <a:gd name="T1" fmla="*/ 39 h 39"/>
                <a:gd name="T2" fmla="*/ 1 w 77"/>
                <a:gd name="T3" fmla="*/ 35 h 39"/>
                <a:gd name="T4" fmla="*/ 5 w 77"/>
                <a:gd name="T5" fmla="*/ 25 h 39"/>
                <a:gd name="T6" fmla="*/ 32 w 77"/>
                <a:gd name="T7" fmla="*/ 3 h 39"/>
                <a:gd name="T8" fmla="*/ 67 w 77"/>
                <a:gd name="T9" fmla="*/ 10 h 39"/>
                <a:gd name="T10" fmla="*/ 75 w 77"/>
                <a:gd name="T11" fmla="*/ 17 h 39"/>
                <a:gd name="T12" fmla="*/ 77 w 77"/>
                <a:gd name="T13" fmla="*/ 20 h 39"/>
                <a:gd name="T14" fmla="*/ 66 w 77"/>
                <a:gd name="T15" fmla="*/ 11 h 39"/>
                <a:gd name="T16" fmla="*/ 33 w 77"/>
                <a:gd name="T17" fmla="*/ 5 h 39"/>
                <a:gd name="T18" fmla="*/ 6 w 77"/>
                <a:gd name="T19" fmla="*/ 25 h 39"/>
                <a:gd name="T20" fmla="*/ 0 w 77"/>
                <a:gd name="T2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39">
                  <a:moveTo>
                    <a:pt x="0" y="39"/>
                  </a:moveTo>
                  <a:cubicBezTo>
                    <a:pt x="0" y="39"/>
                    <a:pt x="0" y="37"/>
                    <a:pt x="1" y="35"/>
                  </a:cubicBezTo>
                  <a:cubicBezTo>
                    <a:pt x="1" y="32"/>
                    <a:pt x="2" y="29"/>
                    <a:pt x="5" y="25"/>
                  </a:cubicBezTo>
                  <a:cubicBezTo>
                    <a:pt x="9" y="17"/>
                    <a:pt x="18" y="7"/>
                    <a:pt x="32" y="3"/>
                  </a:cubicBezTo>
                  <a:cubicBezTo>
                    <a:pt x="46" y="0"/>
                    <a:pt x="59" y="5"/>
                    <a:pt x="67" y="10"/>
                  </a:cubicBezTo>
                  <a:cubicBezTo>
                    <a:pt x="71" y="12"/>
                    <a:pt x="73" y="15"/>
                    <a:pt x="75" y="17"/>
                  </a:cubicBezTo>
                  <a:cubicBezTo>
                    <a:pt x="77" y="19"/>
                    <a:pt x="77" y="20"/>
                    <a:pt x="77" y="20"/>
                  </a:cubicBezTo>
                  <a:cubicBezTo>
                    <a:pt x="77" y="21"/>
                    <a:pt x="74" y="16"/>
                    <a:pt x="66" y="11"/>
                  </a:cubicBezTo>
                  <a:cubicBezTo>
                    <a:pt x="59" y="6"/>
                    <a:pt x="46" y="2"/>
                    <a:pt x="33" y="5"/>
                  </a:cubicBezTo>
                  <a:cubicBezTo>
                    <a:pt x="20" y="9"/>
                    <a:pt x="10" y="18"/>
                    <a:pt x="6" y="25"/>
                  </a:cubicBezTo>
                  <a:cubicBezTo>
                    <a:pt x="1" y="33"/>
                    <a:pt x="1" y="39"/>
                    <a:pt x="0" y="3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95">
              <a:extLst>
                <a:ext uri="{FF2B5EF4-FFF2-40B4-BE49-F238E27FC236}">
                  <a16:creationId xmlns:a16="http://schemas.microsoft.com/office/drawing/2014/main" id="{51E8924D-FE7E-40CF-AB63-B7CE15EFA245}"/>
                </a:ext>
              </a:extLst>
            </p:cNvPr>
            <p:cNvSpPr>
              <a:spLocks/>
            </p:cNvSpPr>
            <p:nvPr/>
          </p:nvSpPr>
          <p:spPr bwMode="auto">
            <a:xfrm>
              <a:off x="2381" y="1569"/>
              <a:ext cx="93" cy="88"/>
            </a:xfrm>
            <a:custGeom>
              <a:avLst/>
              <a:gdLst>
                <a:gd name="T0" fmla="*/ 0 w 39"/>
                <a:gd name="T1" fmla="*/ 37 h 37"/>
                <a:gd name="T2" fmla="*/ 1 w 39"/>
                <a:gd name="T3" fmla="*/ 27 h 37"/>
                <a:gd name="T4" fmla="*/ 11 w 39"/>
                <a:gd name="T5" fmla="*/ 7 h 37"/>
                <a:gd name="T6" fmla="*/ 32 w 39"/>
                <a:gd name="T7" fmla="*/ 2 h 37"/>
                <a:gd name="T8" fmla="*/ 37 w 39"/>
                <a:gd name="T9" fmla="*/ 6 h 37"/>
                <a:gd name="T10" fmla="*/ 39 w 39"/>
                <a:gd name="T11" fmla="*/ 8 h 37"/>
                <a:gd name="T12" fmla="*/ 31 w 39"/>
                <a:gd name="T13" fmla="*/ 3 h 37"/>
                <a:gd name="T14" fmla="*/ 12 w 39"/>
                <a:gd name="T15" fmla="*/ 9 h 37"/>
                <a:gd name="T16" fmla="*/ 3 w 39"/>
                <a:gd name="T17" fmla="*/ 28 h 37"/>
                <a:gd name="T18" fmla="*/ 0 w 39"/>
                <a:gd name="T19"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7">
                  <a:moveTo>
                    <a:pt x="0" y="37"/>
                  </a:moveTo>
                  <a:cubicBezTo>
                    <a:pt x="0" y="37"/>
                    <a:pt x="0" y="33"/>
                    <a:pt x="1" y="27"/>
                  </a:cubicBezTo>
                  <a:cubicBezTo>
                    <a:pt x="2" y="22"/>
                    <a:pt x="4" y="14"/>
                    <a:pt x="11" y="7"/>
                  </a:cubicBezTo>
                  <a:cubicBezTo>
                    <a:pt x="17" y="1"/>
                    <a:pt x="26" y="0"/>
                    <a:pt x="32" y="2"/>
                  </a:cubicBezTo>
                  <a:cubicBezTo>
                    <a:pt x="35" y="3"/>
                    <a:pt x="36" y="5"/>
                    <a:pt x="37" y="6"/>
                  </a:cubicBezTo>
                  <a:cubicBezTo>
                    <a:pt x="38" y="7"/>
                    <a:pt x="39" y="8"/>
                    <a:pt x="39" y="8"/>
                  </a:cubicBezTo>
                  <a:cubicBezTo>
                    <a:pt x="38" y="8"/>
                    <a:pt x="37" y="5"/>
                    <a:pt x="31" y="3"/>
                  </a:cubicBezTo>
                  <a:cubicBezTo>
                    <a:pt x="26" y="2"/>
                    <a:pt x="18" y="3"/>
                    <a:pt x="12" y="9"/>
                  </a:cubicBezTo>
                  <a:cubicBezTo>
                    <a:pt x="6" y="15"/>
                    <a:pt x="4" y="23"/>
                    <a:pt x="3" y="28"/>
                  </a:cubicBezTo>
                  <a:cubicBezTo>
                    <a:pt x="1" y="33"/>
                    <a:pt x="0" y="37"/>
                    <a:pt x="0" y="3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96">
              <a:extLst>
                <a:ext uri="{FF2B5EF4-FFF2-40B4-BE49-F238E27FC236}">
                  <a16:creationId xmlns:a16="http://schemas.microsoft.com/office/drawing/2014/main" id="{7B791F83-201A-4AF1-AD10-11783036B673}"/>
                </a:ext>
              </a:extLst>
            </p:cNvPr>
            <p:cNvSpPr>
              <a:spLocks/>
            </p:cNvSpPr>
            <p:nvPr/>
          </p:nvSpPr>
          <p:spPr bwMode="auto">
            <a:xfrm>
              <a:off x="2462" y="1516"/>
              <a:ext cx="40" cy="107"/>
            </a:xfrm>
            <a:custGeom>
              <a:avLst/>
              <a:gdLst>
                <a:gd name="T0" fmla="*/ 17 w 17"/>
                <a:gd name="T1" fmla="*/ 0 h 45"/>
                <a:gd name="T2" fmla="*/ 6 w 17"/>
                <a:gd name="T3" fmla="*/ 22 h 45"/>
                <a:gd name="T4" fmla="*/ 1 w 17"/>
                <a:gd name="T5" fmla="*/ 45 h 45"/>
                <a:gd name="T6" fmla="*/ 4 w 17"/>
                <a:gd name="T7" fmla="*/ 21 h 45"/>
                <a:gd name="T8" fmla="*/ 17 w 17"/>
                <a:gd name="T9" fmla="*/ 0 h 45"/>
              </a:gdLst>
              <a:ahLst/>
              <a:cxnLst>
                <a:cxn ang="0">
                  <a:pos x="T0" y="T1"/>
                </a:cxn>
                <a:cxn ang="0">
                  <a:pos x="T2" y="T3"/>
                </a:cxn>
                <a:cxn ang="0">
                  <a:pos x="T4" y="T5"/>
                </a:cxn>
                <a:cxn ang="0">
                  <a:pos x="T6" y="T7"/>
                </a:cxn>
                <a:cxn ang="0">
                  <a:pos x="T8" y="T9"/>
                </a:cxn>
              </a:cxnLst>
              <a:rect l="0" t="0" r="r" b="b"/>
              <a:pathLst>
                <a:path w="17" h="45">
                  <a:moveTo>
                    <a:pt x="17" y="0"/>
                  </a:moveTo>
                  <a:cubicBezTo>
                    <a:pt x="17" y="0"/>
                    <a:pt x="11" y="9"/>
                    <a:pt x="6" y="22"/>
                  </a:cubicBezTo>
                  <a:cubicBezTo>
                    <a:pt x="2" y="34"/>
                    <a:pt x="2" y="45"/>
                    <a:pt x="1" y="45"/>
                  </a:cubicBezTo>
                  <a:cubicBezTo>
                    <a:pt x="0" y="45"/>
                    <a:pt x="0" y="34"/>
                    <a:pt x="4" y="21"/>
                  </a:cubicBezTo>
                  <a:cubicBezTo>
                    <a:pt x="9" y="8"/>
                    <a:pt x="16" y="0"/>
                    <a:pt x="17" y="0"/>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97">
              <a:extLst>
                <a:ext uri="{FF2B5EF4-FFF2-40B4-BE49-F238E27FC236}">
                  <a16:creationId xmlns:a16="http://schemas.microsoft.com/office/drawing/2014/main" id="{1DB18588-F646-4B51-80CA-94EA3D5D2395}"/>
                </a:ext>
              </a:extLst>
            </p:cNvPr>
            <p:cNvSpPr>
              <a:spLocks noChangeArrowheads="1"/>
            </p:cNvSpPr>
            <p:nvPr/>
          </p:nvSpPr>
          <p:spPr bwMode="auto">
            <a:xfrm>
              <a:off x="4022" y="1718"/>
              <a:ext cx="59" cy="6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98">
              <a:extLst>
                <a:ext uri="{FF2B5EF4-FFF2-40B4-BE49-F238E27FC236}">
                  <a16:creationId xmlns:a16="http://schemas.microsoft.com/office/drawing/2014/main" id="{77C1BBDD-4EEB-486F-8A0C-E439CA55F196}"/>
                </a:ext>
              </a:extLst>
            </p:cNvPr>
            <p:cNvSpPr>
              <a:spLocks noChangeArrowheads="1"/>
            </p:cNvSpPr>
            <p:nvPr/>
          </p:nvSpPr>
          <p:spPr bwMode="auto">
            <a:xfrm>
              <a:off x="3903" y="1718"/>
              <a:ext cx="59" cy="6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99">
              <a:extLst>
                <a:ext uri="{FF2B5EF4-FFF2-40B4-BE49-F238E27FC236}">
                  <a16:creationId xmlns:a16="http://schemas.microsoft.com/office/drawing/2014/main" id="{A78C3C15-B015-428E-92F7-6E0C8763AE43}"/>
                </a:ext>
              </a:extLst>
            </p:cNvPr>
            <p:cNvSpPr>
              <a:spLocks/>
            </p:cNvSpPr>
            <p:nvPr/>
          </p:nvSpPr>
          <p:spPr bwMode="auto">
            <a:xfrm>
              <a:off x="3777" y="1714"/>
              <a:ext cx="67" cy="68"/>
            </a:xfrm>
            <a:custGeom>
              <a:avLst/>
              <a:gdLst>
                <a:gd name="T0" fmla="*/ 3 w 28"/>
                <a:gd name="T1" fmla="*/ 8 h 29"/>
                <a:gd name="T2" fmla="*/ 8 w 28"/>
                <a:gd name="T3" fmla="*/ 25 h 29"/>
                <a:gd name="T4" fmla="*/ 25 w 28"/>
                <a:gd name="T5" fmla="*/ 21 h 29"/>
                <a:gd name="T6" fmla="*/ 20 w 28"/>
                <a:gd name="T7" fmla="*/ 4 h 29"/>
                <a:gd name="T8" fmla="*/ 3 w 28"/>
                <a:gd name="T9" fmla="*/ 8 h 29"/>
              </a:gdLst>
              <a:ahLst/>
              <a:cxnLst>
                <a:cxn ang="0">
                  <a:pos x="T0" y="T1"/>
                </a:cxn>
                <a:cxn ang="0">
                  <a:pos x="T2" y="T3"/>
                </a:cxn>
                <a:cxn ang="0">
                  <a:pos x="T4" y="T5"/>
                </a:cxn>
                <a:cxn ang="0">
                  <a:pos x="T6" y="T7"/>
                </a:cxn>
                <a:cxn ang="0">
                  <a:pos x="T8" y="T9"/>
                </a:cxn>
              </a:cxnLst>
              <a:rect l="0" t="0" r="r" b="b"/>
              <a:pathLst>
                <a:path w="28" h="29">
                  <a:moveTo>
                    <a:pt x="3" y="8"/>
                  </a:moveTo>
                  <a:cubicBezTo>
                    <a:pt x="0" y="14"/>
                    <a:pt x="2" y="22"/>
                    <a:pt x="8" y="25"/>
                  </a:cubicBezTo>
                  <a:cubicBezTo>
                    <a:pt x="14" y="29"/>
                    <a:pt x="21" y="27"/>
                    <a:pt x="25" y="21"/>
                  </a:cubicBezTo>
                  <a:cubicBezTo>
                    <a:pt x="28" y="15"/>
                    <a:pt x="26" y="7"/>
                    <a:pt x="20" y="4"/>
                  </a:cubicBezTo>
                  <a:cubicBezTo>
                    <a:pt x="14" y="0"/>
                    <a:pt x="7" y="2"/>
                    <a:pt x="3"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00">
              <a:extLst>
                <a:ext uri="{FF2B5EF4-FFF2-40B4-BE49-F238E27FC236}">
                  <a16:creationId xmlns:a16="http://schemas.microsoft.com/office/drawing/2014/main" id="{F54740D5-F232-4410-9D7B-F6A8F6D10E9C}"/>
                </a:ext>
              </a:extLst>
            </p:cNvPr>
            <p:cNvSpPr>
              <a:spLocks/>
            </p:cNvSpPr>
            <p:nvPr/>
          </p:nvSpPr>
          <p:spPr bwMode="auto">
            <a:xfrm>
              <a:off x="3580" y="1403"/>
              <a:ext cx="700" cy="695"/>
            </a:xfrm>
            <a:custGeom>
              <a:avLst/>
              <a:gdLst>
                <a:gd name="T0" fmla="*/ 145 w 295"/>
                <a:gd name="T1" fmla="*/ 0 h 293"/>
                <a:gd name="T2" fmla="*/ 132 w 295"/>
                <a:gd name="T3" fmla="*/ 0 h 293"/>
                <a:gd name="T4" fmla="*/ 118 w 295"/>
                <a:gd name="T5" fmla="*/ 3 h 293"/>
                <a:gd name="T6" fmla="*/ 68 w 295"/>
                <a:gd name="T7" fmla="*/ 23 h 293"/>
                <a:gd name="T8" fmla="*/ 2 w 295"/>
                <a:gd name="T9" fmla="*/ 132 h 293"/>
                <a:gd name="T10" fmla="*/ 2 w 295"/>
                <a:gd name="T11" fmla="*/ 162 h 293"/>
                <a:gd name="T12" fmla="*/ 17 w 295"/>
                <a:gd name="T13" fmla="*/ 213 h 293"/>
                <a:gd name="T14" fmla="*/ 82 w 295"/>
                <a:gd name="T15" fmla="*/ 277 h 293"/>
                <a:gd name="T16" fmla="*/ 141 w 295"/>
                <a:gd name="T17" fmla="*/ 292 h 293"/>
                <a:gd name="T18" fmla="*/ 179 w 295"/>
                <a:gd name="T19" fmla="*/ 289 h 293"/>
                <a:gd name="T20" fmla="*/ 227 w 295"/>
                <a:gd name="T21" fmla="*/ 268 h 293"/>
                <a:gd name="T22" fmla="*/ 281 w 295"/>
                <a:gd name="T23" fmla="*/ 290 h 293"/>
                <a:gd name="T24" fmla="*/ 265 w 295"/>
                <a:gd name="T25" fmla="*/ 232 h 293"/>
                <a:gd name="T26" fmla="*/ 292 w 295"/>
                <a:gd name="T27" fmla="*/ 171 h 293"/>
                <a:gd name="T28" fmla="*/ 293 w 295"/>
                <a:gd name="T29" fmla="*/ 124 h 293"/>
                <a:gd name="T30" fmla="*/ 290 w 295"/>
                <a:gd name="T31" fmla="*/ 110 h 293"/>
                <a:gd name="T32" fmla="*/ 199 w 295"/>
                <a:gd name="T33" fmla="*/ 9 h 293"/>
                <a:gd name="T34" fmla="*/ 184 w 295"/>
                <a:gd name="T35" fmla="*/ 4 h 293"/>
                <a:gd name="T36" fmla="*/ 171 w 295"/>
                <a:gd name="T37" fmla="*/ 2 h 293"/>
                <a:gd name="T38" fmla="*/ 154 w 295"/>
                <a:gd name="T39" fmla="*/ 0 h 293"/>
                <a:gd name="T40" fmla="*/ 148 w 295"/>
                <a:gd name="T41" fmla="*/ 0 h 293"/>
                <a:gd name="T42" fmla="*/ 154 w 295"/>
                <a:gd name="T43" fmla="*/ 1 h 293"/>
                <a:gd name="T44" fmla="*/ 171 w 295"/>
                <a:gd name="T45" fmla="*/ 3 h 293"/>
                <a:gd name="T46" fmla="*/ 287 w 295"/>
                <a:gd name="T47" fmla="*/ 110 h 293"/>
                <a:gd name="T48" fmla="*/ 290 w 295"/>
                <a:gd name="T49" fmla="*/ 125 h 293"/>
                <a:gd name="T50" fmla="*/ 289 w 295"/>
                <a:gd name="T51" fmla="*/ 171 h 293"/>
                <a:gd name="T52" fmla="*/ 262 w 295"/>
                <a:gd name="T53" fmla="*/ 232 h 293"/>
                <a:gd name="T54" fmla="*/ 277 w 295"/>
                <a:gd name="T55" fmla="*/ 288 h 293"/>
                <a:gd name="T56" fmla="*/ 228 w 295"/>
                <a:gd name="T57" fmla="*/ 265 h 293"/>
                <a:gd name="T58" fmla="*/ 227 w 295"/>
                <a:gd name="T59" fmla="*/ 265 h 293"/>
                <a:gd name="T60" fmla="*/ 153 w 295"/>
                <a:gd name="T61" fmla="*/ 289 h 293"/>
                <a:gd name="T62" fmla="*/ 129 w 295"/>
                <a:gd name="T63" fmla="*/ 288 h 293"/>
                <a:gd name="T64" fmla="*/ 46 w 295"/>
                <a:gd name="T65" fmla="*/ 247 h 293"/>
                <a:gd name="T66" fmla="*/ 6 w 295"/>
                <a:gd name="T67" fmla="*/ 172 h 293"/>
                <a:gd name="T68" fmla="*/ 4 w 295"/>
                <a:gd name="T69" fmla="*/ 152 h 293"/>
                <a:gd name="T70" fmla="*/ 28 w 295"/>
                <a:gd name="T71" fmla="*/ 65 h 293"/>
                <a:gd name="T72" fmla="*/ 110 w 295"/>
                <a:gd name="T73" fmla="*/ 6 h 293"/>
                <a:gd name="T74" fmla="*/ 126 w 295"/>
                <a:gd name="T75" fmla="*/ 2 h 293"/>
                <a:gd name="T76" fmla="*/ 138 w 295"/>
                <a:gd name="T77" fmla="*/ 1 h 293"/>
                <a:gd name="T78" fmla="*/ 148 w 295"/>
                <a:gd name="T7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5" h="293">
                  <a:moveTo>
                    <a:pt x="148" y="0"/>
                  </a:moveTo>
                  <a:cubicBezTo>
                    <a:pt x="148" y="0"/>
                    <a:pt x="147" y="0"/>
                    <a:pt x="145" y="0"/>
                  </a:cubicBezTo>
                  <a:cubicBezTo>
                    <a:pt x="143" y="0"/>
                    <a:pt x="141" y="0"/>
                    <a:pt x="138" y="0"/>
                  </a:cubicBezTo>
                  <a:cubicBezTo>
                    <a:pt x="136" y="0"/>
                    <a:pt x="134" y="0"/>
                    <a:pt x="132" y="0"/>
                  </a:cubicBezTo>
                  <a:cubicBezTo>
                    <a:pt x="130" y="1"/>
                    <a:pt x="128" y="1"/>
                    <a:pt x="126" y="1"/>
                  </a:cubicBezTo>
                  <a:cubicBezTo>
                    <a:pt x="123" y="2"/>
                    <a:pt x="121" y="2"/>
                    <a:pt x="118" y="3"/>
                  </a:cubicBezTo>
                  <a:cubicBezTo>
                    <a:pt x="115" y="3"/>
                    <a:pt x="113" y="4"/>
                    <a:pt x="110" y="5"/>
                  </a:cubicBezTo>
                  <a:cubicBezTo>
                    <a:pt x="98" y="8"/>
                    <a:pt x="83" y="13"/>
                    <a:pt x="68" y="23"/>
                  </a:cubicBezTo>
                  <a:cubicBezTo>
                    <a:pt x="54" y="32"/>
                    <a:pt x="38" y="46"/>
                    <a:pt x="26" y="64"/>
                  </a:cubicBezTo>
                  <a:cubicBezTo>
                    <a:pt x="13" y="83"/>
                    <a:pt x="4" y="106"/>
                    <a:pt x="2" y="132"/>
                  </a:cubicBezTo>
                  <a:cubicBezTo>
                    <a:pt x="1" y="139"/>
                    <a:pt x="0" y="145"/>
                    <a:pt x="1" y="152"/>
                  </a:cubicBezTo>
                  <a:cubicBezTo>
                    <a:pt x="1" y="155"/>
                    <a:pt x="1" y="159"/>
                    <a:pt x="2" y="162"/>
                  </a:cubicBezTo>
                  <a:cubicBezTo>
                    <a:pt x="2" y="166"/>
                    <a:pt x="3" y="169"/>
                    <a:pt x="3" y="172"/>
                  </a:cubicBezTo>
                  <a:cubicBezTo>
                    <a:pt x="6" y="186"/>
                    <a:pt x="10" y="200"/>
                    <a:pt x="17" y="213"/>
                  </a:cubicBezTo>
                  <a:cubicBezTo>
                    <a:pt x="24" y="226"/>
                    <a:pt x="33" y="238"/>
                    <a:pt x="44" y="249"/>
                  </a:cubicBezTo>
                  <a:cubicBezTo>
                    <a:pt x="55" y="260"/>
                    <a:pt x="68" y="270"/>
                    <a:pt x="82" y="277"/>
                  </a:cubicBezTo>
                  <a:cubicBezTo>
                    <a:pt x="96" y="284"/>
                    <a:pt x="112" y="289"/>
                    <a:pt x="128" y="291"/>
                  </a:cubicBezTo>
                  <a:cubicBezTo>
                    <a:pt x="132" y="292"/>
                    <a:pt x="137" y="292"/>
                    <a:pt x="141" y="292"/>
                  </a:cubicBezTo>
                  <a:cubicBezTo>
                    <a:pt x="145" y="292"/>
                    <a:pt x="149" y="293"/>
                    <a:pt x="153" y="292"/>
                  </a:cubicBezTo>
                  <a:cubicBezTo>
                    <a:pt x="162" y="292"/>
                    <a:pt x="170" y="291"/>
                    <a:pt x="179" y="289"/>
                  </a:cubicBezTo>
                  <a:cubicBezTo>
                    <a:pt x="197" y="285"/>
                    <a:pt x="214" y="278"/>
                    <a:pt x="229" y="268"/>
                  </a:cubicBezTo>
                  <a:cubicBezTo>
                    <a:pt x="227" y="268"/>
                    <a:pt x="227" y="268"/>
                    <a:pt x="227" y="268"/>
                  </a:cubicBezTo>
                  <a:cubicBezTo>
                    <a:pt x="244" y="275"/>
                    <a:pt x="261" y="282"/>
                    <a:pt x="278" y="289"/>
                  </a:cubicBezTo>
                  <a:cubicBezTo>
                    <a:pt x="281" y="290"/>
                    <a:pt x="281" y="290"/>
                    <a:pt x="281" y="290"/>
                  </a:cubicBezTo>
                  <a:cubicBezTo>
                    <a:pt x="280" y="287"/>
                    <a:pt x="280" y="287"/>
                    <a:pt x="280" y="287"/>
                  </a:cubicBezTo>
                  <a:cubicBezTo>
                    <a:pt x="275" y="268"/>
                    <a:pt x="270" y="250"/>
                    <a:pt x="265" y="232"/>
                  </a:cubicBezTo>
                  <a:cubicBezTo>
                    <a:pt x="265" y="234"/>
                    <a:pt x="265" y="234"/>
                    <a:pt x="265" y="234"/>
                  </a:cubicBezTo>
                  <a:cubicBezTo>
                    <a:pt x="279" y="215"/>
                    <a:pt x="288" y="193"/>
                    <a:pt x="292" y="171"/>
                  </a:cubicBezTo>
                  <a:cubicBezTo>
                    <a:pt x="294" y="161"/>
                    <a:pt x="295" y="150"/>
                    <a:pt x="294" y="140"/>
                  </a:cubicBezTo>
                  <a:cubicBezTo>
                    <a:pt x="294" y="134"/>
                    <a:pt x="294" y="129"/>
                    <a:pt x="293" y="124"/>
                  </a:cubicBezTo>
                  <a:cubicBezTo>
                    <a:pt x="292" y="122"/>
                    <a:pt x="292" y="119"/>
                    <a:pt x="292" y="117"/>
                  </a:cubicBezTo>
                  <a:cubicBezTo>
                    <a:pt x="291" y="114"/>
                    <a:pt x="290" y="112"/>
                    <a:pt x="290" y="110"/>
                  </a:cubicBezTo>
                  <a:cubicBezTo>
                    <a:pt x="280" y="71"/>
                    <a:pt x="256" y="43"/>
                    <a:pt x="233" y="27"/>
                  </a:cubicBezTo>
                  <a:cubicBezTo>
                    <a:pt x="221" y="18"/>
                    <a:pt x="210" y="13"/>
                    <a:pt x="199" y="9"/>
                  </a:cubicBezTo>
                  <a:cubicBezTo>
                    <a:pt x="196" y="8"/>
                    <a:pt x="194" y="7"/>
                    <a:pt x="191" y="6"/>
                  </a:cubicBezTo>
                  <a:cubicBezTo>
                    <a:pt x="189" y="5"/>
                    <a:pt x="186" y="5"/>
                    <a:pt x="184" y="4"/>
                  </a:cubicBezTo>
                  <a:cubicBezTo>
                    <a:pt x="182" y="4"/>
                    <a:pt x="180" y="3"/>
                    <a:pt x="178" y="3"/>
                  </a:cubicBezTo>
                  <a:cubicBezTo>
                    <a:pt x="175" y="2"/>
                    <a:pt x="173" y="2"/>
                    <a:pt x="171" y="2"/>
                  </a:cubicBezTo>
                  <a:cubicBezTo>
                    <a:pt x="168" y="1"/>
                    <a:pt x="164" y="1"/>
                    <a:pt x="161" y="0"/>
                  </a:cubicBezTo>
                  <a:cubicBezTo>
                    <a:pt x="158" y="0"/>
                    <a:pt x="156" y="0"/>
                    <a:pt x="154" y="0"/>
                  </a:cubicBezTo>
                  <a:cubicBezTo>
                    <a:pt x="152" y="0"/>
                    <a:pt x="150" y="0"/>
                    <a:pt x="149" y="0"/>
                  </a:cubicBezTo>
                  <a:cubicBezTo>
                    <a:pt x="148" y="0"/>
                    <a:pt x="148" y="0"/>
                    <a:pt x="148" y="0"/>
                  </a:cubicBezTo>
                  <a:cubicBezTo>
                    <a:pt x="148" y="0"/>
                    <a:pt x="148" y="0"/>
                    <a:pt x="149" y="0"/>
                  </a:cubicBezTo>
                  <a:cubicBezTo>
                    <a:pt x="150" y="0"/>
                    <a:pt x="152" y="1"/>
                    <a:pt x="154" y="1"/>
                  </a:cubicBezTo>
                  <a:cubicBezTo>
                    <a:pt x="156" y="1"/>
                    <a:pt x="158" y="1"/>
                    <a:pt x="161" y="1"/>
                  </a:cubicBezTo>
                  <a:cubicBezTo>
                    <a:pt x="164" y="1"/>
                    <a:pt x="167" y="2"/>
                    <a:pt x="171" y="3"/>
                  </a:cubicBezTo>
                  <a:cubicBezTo>
                    <a:pt x="186" y="5"/>
                    <a:pt x="209" y="11"/>
                    <a:pt x="232" y="28"/>
                  </a:cubicBezTo>
                  <a:cubicBezTo>
                    <a:pt x="255" y="44"/>
                    <a:pt x="278" y="73"/>
                    <a:pt x="287" y="110"/>
                  </a:cubicBezTo>
                  <a:cubicBezTo>
                    <a:pt x="288" y="113"/>
                    <a:pt x="288" y="115"/>
                    <a:pt x="289" y="117"/>
                  </a:cubicBezTo>
                  <a:cubicBezTo>
                    <a:pt x="289" y="120"/>
                    <a:pt x="290" y="122"/>
                    <a:pt x="290" y="125"/>
                  </a:cubicBezTo>
                  <a:cubicBezTo>
                    <a:pt x="291" y="130"/>
                    <a:pt x="291" y="135"/>
                    <a:pt x="291" y="140"/>
                  </a:cubicBezTo>
                  <a:cubicBezTo>
                    <a:pt x="292" y="150"/>
                    <a:pt x="291" y="160"/>
                    <a:pt x="289" y="171"/>
                  </a:cubicBezTo>
                  <a:cubicBezTo>
                    <a:pt x="285" y="192"/>
                    <a:pt x="276" y="213"/>
                    <a:pt x="262" y="232"/>
                  </a:cubicBezTo>
                  <a:cubicBezTo>
                    <a:pt x="262" y="232"/>
                    <a:pt x="262" y="232"/>
                    <a:pt x="262" y="232"/>
                  </a:cubicBezTo>
                  <a:cubicBezTo>
                    <a:pt x="262" y="233"/>
                    <a:pt x="262" y="233"/>
                    <a:pt x="262" y="233"/>
                  </a:cubicBezTo>
                  <a:cubicBezTo>
                    <a:pt x="267" y="251"/>
                    <a:pt x="272" y="269"/>
                    <a:pt x="277" y="288"/>
                  </a:cubicBezTo>
                  <a:cubicBezTo>
                    <a:pt x="279" y="286"/>
                    <a:pt x="279" y="286"/>
                    <a:pt x="279" y="286"/>
                  </a:cubicBezTo>
                  <a:cubicBezTo>
                    <a:pt x="263" y="279"/>
                    <a:pt x="246" y="272"/>
                    <a:pt x="228" y="265"/>
                  </a:cubicBezTo>
                  <a:cubicBezTo>
                    <a:pt x="227" y="265"/>
                    <a:pt x="227" y="265"/>
                    <a:pt x="227" y="265"/>
                  </a:cubicBezTo>
                  <a:cubicBezTo>
                    <a:pt x="227" y="265"/>
                    <a:pt x="227" y="265"/>
                    <a:pt x="227" y="265"/>
                  </a:cubicBezTo>
                  <a:cubicBezTo>
                    <a:pt x="212" y="275"/>
                    <a:pt x="195" y="282"/>
                    <a:pt x="178" y="286"/>
                  </a:cubicBezTo>
                  <a:cubicBezTo>
                    <a:pt x="170" y="288"/>
                    <a:pt x="161" y="289"/>
                    <a:pt x="153" y="289"/>
                  </a:cubicBezTo>
                  <a:cubicBezTo>
                    <a:pt x="149" y="289"/>
                    <a:pt x="145" y="289"/>
                    <a:pt x="141" y="289"/>
                  </a:cubicBezTo>
                  <a:cubicBezTo>
                    <a:pt x="137" y="289"/>
                    <a:pt x="133" y="289"/>
                    <a:pt x="129" y="288"/>
                  </a:cubicBezTo>
                  <a:cubicBezTo>
                    <a:pt x="113" y="286"/>
                    <a:pt x="97" y="281"/>
                    <a:pt x="83" y="274"/>
                  </a:cubicBezTo>
                  <a:cubicBezTo>
                    <a:pt x="69" y="267"/>
                    <a:pt x="57" y="258"/>
                    <a:pt x="46" y="247"/>
                  </a:cubicBezTo>
                  <a:cubicBezTo>
                    <a:pt x="35" y="236"/>
                    <a:pt x="27" y="224"/>
                    <a:pt x="20" y="212"/>
                  </a:cubicBezTo>
                  <a:cubicBezTo>
                    <a:pt x="13" y="199"/>
                    <a:pt x="9" y="185"/>
                    <a:pt x="6" y="172"/>
                  </a:cubicBezTo>
                  <a:cubicBezTo>
                    <a:pt x="6" y="168"/>
                    <a:pt x="5" y="165"/>
                    <a:pt x="5" y="162"/>
                  </a:cubicBezTo>
                  <a:cubicBezTo>
                    <a:pt x="4" y="158"/>
                    <a:pt x="4" y="155"/>
                    <a:pt x="4" y="152"/>
                  </a:cubicBezTo>
                  <a:cubicBezTo>
                    <a:pt x="3" y="145"/>
                    <a:pt x="4" y="139"/>
                    <a:pt x="4" y="132"/>
                  </a:cubicBezTo>
                  <a:cubicBezTo>
                    <a:pt x="7" y="107"/>
                    <a:pt x="16" y="84"/>
                    <a:pt x="28" y="65"/>
                  </a:cubicBezTo>
                  <a:cubicBezTo>
                    <a:pt x="40" y="47"/>
                    <a:pt x="55" y="34"/>
                    <a:pt x="69" y="24"/>
                  </a:cubicBezTo>
                  <a:cubicBezTo>
                    <a:pt x="84" y="14"/>
                    <a:pt x="98" y="9"/>
                    <a:pt x="110" y="6"/>
                  </a:cubicBezTo>
                  <a:cubicBezTo>
                    <a:pt x="113" y="5"/>
                    <a:pt x="116" y="4"/>
                    <a:pt x="118" y="4"/>
                  </a:cubicBezTo>
                  <a:cubicBezTo>
                    <a:pt x="121" y="3"/>
                    <a:pt x="124" y="3"/>
                    <a:pt x="126" y="2"/>
                  </a:cubicBezTo>
                  <a:cubicBezTo>
                    <a:pt x="128" y="2"/>
                    <a:pt x="130" y="2"/>
                    <a:pt x="132" y="1"/>
                  </a:cubicBezTo>
                  <a:cubicBezTo>
                    <a:pt x="134" y="1"/>
                    <a:pt x="136" y="1"/>
                    <a:pt x="138" y="1"/>
                  </a:cubicBezTo>
                  <a:cubicBezTo>
                    <a:pt x="141" y="1"/>
                    <a:pt x="143" y="1"/>
                    <a:pt x="145" y="0"/>
                  </a:cubicBezTo>
                  <a:cubicBezTo>
                    <a:pt x="147" y="0"/>
                    <a:pt x="148" y="0"/>
                    <a:pt x="14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7" name="Rectangle 206">
            <a:extLst>
              <a:ext uri="{FF2B5EF4-FFF2-40B4-BE49-F238E27FC236}">
                <a16:creationId xmlns:a16="http://schemas.microsoft.com/office/drawing/2014/main" id="{1061B374-A092-49FD-8196-B36A4A908ECE}"/>
              </a:ext>
            </a:extLst>
          </p:cNvPr>
          <p:cNvSpPr/>
          <p:nvPr/>
        </p:nvSpPr>
        <p:spPr>
          <a:xfrm>
            <a:off x="523413" y="1919611"/>
            <a:ext cx="2698348" cy="1431161"/>
          </a:xfrm>
          <a:prstGeom prst="rect">
            <a:avLst/>
          </a:prstGeom>
        </p:spPr>
        <p:txBody>
          <a:bodyPr wrap="square" lIns="0" tIns="0" rIns="0" bIns="0">
            <a:spAutoFit/>
          </a:bodyPr>
          <a:lstStyle/>
          <a:p>
            <a:pPr algn="r" rtl="1">
              <a:spcBef>
                <a:spcPts val="600"/>
              </a:spcBef>
            </a:pPr>
            <a:r>
              <a:rPr lang="en-US" b="1" dirty="0">
                <a:solidFill>
                  <a:srgbClr val="0075B0"/>
                </a:solidFill>
              </a:rPr>
              <a:t>LOREM IPSUM </a:t>
            </a:r>
          </a:p>
          <a:p>
            <a:pPr algn="r" rtl="1">
              <a:spcBef>
                <a:spcPts val="600"/>
              </a:spcBef>
            </a:pPr>
            <a:r>
              <a:rPr lang="en-US" sz="1400" dirty="0">
                <a:solidFill>
                  <a:schemeClr val="tx1">
                    <a:lumMod val="75000"/>
                    <a:lumOff val="25000"/>
                  </a:schemeClr>
                </a:solidFill>
              </a:rPr>
              <a:t>Lorem ipsum dolor sit </a:t>
            </a:r>
            <a:r>
              <a:rPr lang="en-US" sz="1400" dirty="0" err="1">
                <a:solidFill>
                  <a:schemeClr val="tx1">
                    <a:lumMod val="75000"/>
                    <a:lumOff val="25000"/>
                  </a:schemeClr>
                </a:solidFill>
              </a:rPr>
              <a:t>amet</a:t>
            </a:r>
            <a:r>
              <a:rPr lang="en-US" sz="1400" dirty="0">
                <a:solidFill>
                  <a:schemeClr val="tx1">
                    <a:lumMod val="75000"/>
                    <a:lumOff val="25000"/>
                  </a:schemeClr>
                </a:solidFill>
              </a:rPr>
              <a:t>, </a:t>
            </a:r>
            <a:r>
              <a:rPr lang="en-US" sz="1400" dirty="0" err="1">
                <a:solidFill>
                  <a:schemeClr val="tx1">
                    <a:lumMod val="75000"/>
                    <a:lumOff val="25000"/>
                  </a:schemeClr>
                </a:solidFill>
              </a:rPr>
              <a:t>consectetur</a:t>
            </a:r>
            <a:r>
              <a:rPr lang="en-US" sz="1400" dirty="0">
                <a:solidFill>
                  <a:schemeClr val="tx1">
                    <a:lumMod val="75000"/>
                    <a:lumOff val="25000"/>
                  </a:schemeClr>
                </a:solidFill>
              </a:rPr>
              <a:t> </a:t>
            </a:r>
            <a:r>
              <a:rPr lang="en-US" sz="1400" dirty="0" err="1">
                <a:solidFill>
                  <a:schemeClr val="tx1">
                    <a:lumMod val="75000"/>
                    <a:lumOff val="25000"/>
                  </a:schemeClr>
                </a:solidFill>
              </a:rPr>
              <a:t>adipiscing</a:t>
            </a:r>
            <a:r>
              <a:rPr lang="en-US" sz="1400" dirty="0">
                <a:solidFill>
                  <a:schemeClr val="tx1">
                    <a:lumMod val="75000"/>
                    <a:lumOff val="25000"/>
                  </a:schemeClr>
                </a:solidFill>
              </a:rPr>
              <a:t> </a:t>
            </a:r>
            <a:r>
              <a:rPr lang="en-US" sz="1400" dirty="0" err="1">
                <a:solidFill>
                  <a:schemeClr val="tx1">
                    <a:lumMod val="75000"/>
                    <a:lumOff val="25000"/>
                  </a:schemeClr>
                </a:solidFill>
              </a:rPr>
              <a:t>elit</a:t>
            </a:r>
            <a:r>
              <a:rPr lang="en-US" sz="1400" dirty="0">
                <a:solidFill>
                  <a:schemeClr val="tx1">
                    <a:lumMod val="75000"/>
                    <a:lumOff val="25000"/>
                  </a:schemeClr>
                </a:solidFill>
              </a:rPr>
              <a:t>. Nunc in </a:t>
            </a:r>
            <a:r>
              <a:rPr lang="en-US" sz="1400" dirty="0" err="1">
                <a:solidFill>
                  <a:schemeClr val="tx1">
                    <a:lumMod val="75000"/>
                    <a:lumOff val="25000"/>
                  </a:schemeClr>
                </a:solidFill>
              </a:rPr>
              <a:t>aliquet</a:t>
            </a:r>
            <a:r>
              <a:rPr lang="en-US" sz="1400" dirty="0">
                <a:solidFill>
                  <a:schemeClr val="tx1">
                    <a:lumMod val="75000"/>
                    <a:lumOff val="25000"/>
                  </a:schemeClr>
                </a:solidFill>
              </a:rPr>
              <a:t> </a:t>
            </a:r>
            <a:r>
              <a:rPr lang="en-US" sz="1400" dirty="0" err="1">
                <a:solidFill>
                  <a:schemeClr val="tx1">
                    <a:lumMod val="75000"/>
                    <a:lumOff val="25000"/>
                  </a:schemeClr>
                </a:solidFill>
              </a:rPr>
              <a:t>nunc</a:t>
            </a:r>
            <a:r>
              <a:rPr lang="en-US" sz="1400" dirty="0">
                <a:solidFill>
                  <a:schemeClr val="tx1">
                    <a:lumMod val="75000"/>
                    <a:lumOff val="25000"/>
                  </a:schemeClr>
                </a:solidFill>
              </a:rPr>
              <a:t>. Morbi </a:t>
            </a:r>
            <a:r>
              <a:rPr lang="en-US" sz="1400" dirty="0" err="1">
                <a:solidFill>
                  <a:schemeClr val="tx1">
                    <a:lumMod val="75000"/>
                    <a:lumOff val="25000"/>
                  </a:schemeClr>
                </a:solidFill>
              </a:rPr>
              <a:t>efficitur</a:t>
            </a:r>
            <a:r>
              <a:rPr lang="en-US" sz="1400" dirty="0">
                <a:solidFill>
                  <a:schemeClr val="tx1">
                    <a:lumMod val="75000"/>
                    <a:lumOff val="25000"/>
                  </a:schemeClr>
                </a:solidFill>
              </a:rPr>
              <a:t> libero at </a:t>
            </a:r>
            <a:r>
              <a:rPr lang="en-US" sz="1400" dirty="0" err="1">
                <a:solidFill>
                  <a:schemeClr val="tx1">
                    <a:lumMod val="75000"/>
                    <a:lumOff val="25000"/>
                  </a:schemeClr>
                </a:solidFill>
              </a:rPr>
              <a:t>lectus</a:t>
            </a:r>
            <a:r>
              <a:rPr lang="en-US" sz="1400" dirty="0">
                <a:solidFill>
                  <a:schemeClr val="tx1">
                    <a:lumMod val="75000"/>
                    <a:lumOff val="25000"/>
                  </a:schemeClr>
                </a:solidFill>
              </a:rPr>
              <a:t> </a:t>
            </a:r>
            <a:r>
              <a:rPr lang="en-US" sz="1400" dirty="0" err="1">
                <a:solidFill>
                  <a:schemeClr val="tx1">
                    <a:lumMod val="75000"/>
                    <a:lumOff val="25000"/>
                  </a:schemeClr>
                </a:solidFill>
              </a:rPr>
              <a:t>laoreet</a:t>
            </a:r>
            <a:r>
              <a:rPr lang="en-US" sz="1400" dirty="0">
                <a:solidFill>
                  <a:schemeClr val="tx1">
                    <a:lumMod val="75000"/>
                    <a:lumOff val="25000"/>
                  </a:schemeClr>
                </a:solidFill>
              </a:rPr>
              <a:t>, et </a:t>
            </a:r>
            <a:r>
              <a:rPr lang="en-US" sz="1400" dirty="0" err="1">
                <a:solidFill>
                  <a:schemeClr val="tx1">
                    <a:lumMod val="75000"/>
                    <a:lumOff val="25000"/>
                  </a:schemeClr>
                </a:solidFill>
              </a:rPr>
              <a:t>malesuada</a:t>
            </a:r>
            <a:r>
              <a:rPr lang="en-US" sz="1400" dirty="0">
                <a:solidFill>
                  <a:schemeClr val="tx1">
                    <a:lumMod val="75000"/>
                    <a:lumOff val="25000"/>
                  </a:schemeClr>
                </a:solidFill>
              </a:rPr>
              <a:t> </a:t>
            </a:r>
            <a:r>
              <a:rPr lang="en-US" sz="1400" dirty="0" err="1">
                <a:solidFill>
                  <a:schemeClr val="tx1">
                    <a:lumMod val="75000"/>
                    <a:lumOff val="25000"/>
                  </a:schemeClr>
                </a:solidFill>
              </a:rPr>
              <a:t>tortor</a:t>
            </a:r>
            <a:r>
              <a:rPr lang="en-US" sz="1400" dirty="0">
                <a:solidFill>
                  <a:schemeClr val="tx1">
                    <a:lumMod val="75000"/>
                    <a:lumOff val="25000"/>
                  </a:schemeClr>
                </a:solidFill>
              </a:rPr>
              <a:t> </a:t>
            </a:r>
            <a:r>
              <a:rPr lang="en-US" sz="1400" dirty="0" err="1">
                <a:solidFill>
                  <a:schemeClr val="tx1">
                    <a:lumMod val="75000"/>
                    <a:lumOff val="25000"/>
                  </a:schemeClr>
                </a:solidFill>
              </a:rPr>
              <a:t>sodales</a:t>
            </a:r>
            <a:r>
              <a:rPr lang="en-US" sz="1400" dirty="0">
                <a:solidFill>
                  <a:schemeClr val="tx1">
                    <a:lumMod val="75000"/>
                    <a:lumOff val="25000"/>
                  </a:schemeClr>
                </a:solidFill>
              </a:rPr>
              <a:t>. </a:t>
            </a:r>
          </a:p>
        </p:txBody>
      </p:sp>
      <p:sp>
        <p:nvSpPr>
          <p:cNvPr id="208" name="Rectangle 207">
            <a:extLst>
              <a:ext uri="{FF2B5EF4-FFF2-40B4-BE49-F238E27FC236}">
                <a16:creationId xmlns:a16="http://schemas.microsoft.com/office/drawing/2014/main" id="{4509D3D6-3AF5-40C1-8890-6562513B6553}"/>
              </a:ext>
            </a:extLst>
          </p:cNvPr>
          <p:cNvSpPr/>
          <p:nvPr/>
        </p:nvSpPr>
        <p:spPr>
          <a:xfrm>
            <a:off x="523413" y="4243711"/>
            <a:ext cx="2698348" cy="1431161"/>
          </a:xfrm>
          <a:prstGeom prst="rect">
            <a:avLst/>
          </a:prstGeom>
        </p:spPr>
        <p:txBody>
          <a:bodyPr wrap="square" lIns="0" tIns="0" rIns="0" bIns="0">
            <a:spAutoFit/>
          </a:bodyPr>
          <a:lstStyle/>
          <a:p>
            <a:pPr algn="r" rtl="1">
              <a:spcBef>
                <a:spcPts val="600"/>
              </a:spcBef>
            </a:pPr>
            <a:r>
              <a:rPr lang="en-US" b="1" dirty="0">
                <a:solidFill>
                  <a:srgbClr val="0075B0"/>
                </a:solidFill>
              </a:rPr>
              <a:t>LOREM IPSUM </a:t>
            </a:r>
          </a:p>
          <a:p>
            <a:pPr algn="r" rtl="1">
              <a:spcBef>
                <a:spcPts val="600"/>
              </a:spcBef>
            </a:pPr>
            <a:r>
              <a:rPr lang="en-US" sz="1400" dirty="0">
                <a:solidFill>
                  <a:schemeClr val="tx1">
                    <a:lumMod val="75000"/>
                    <a:lumOff val="25000"/>
                  </a:schemeClr>
                </a:solidFill>
              </a:rPr>
              <a:t>Lorem ipsum dolor sit </a:t>
            </a:r>
            <a:r>
              <a:rPr lang="en-US" sz="1400" dirty="0" err="1">
                <a:solidFill>
                  <a:schemeClr val="tx1">
                    <a:lumMod val="75000"/>
                    <a:lumOff val="25000"/>
                  </a:schemeClr>
                </a:solidFill>
              </a:rPr>
              <a:t>amet</a:t>
            </a:r>
            <a:r>
              <a:rPr lang="en-US" sz="1400" dirty="0">
                <a:solidFill>
                  <a:schemeClr val="tx1">
                    <a:lumMod val="75000"/>
                    <a:lumOff val="25000"/>
                  </a:schemeClr>
                </a:solidFill>
              </a:rPr>
              <a:t>, </a:t>
            </a:r>
            <a:r>
              <a:rPr lang="en-US" sz="1400" dirty="0" err="1">
                <a:solidFill>
                  <a:schemeClr val="tx1">
                    <a:lumMod val="75000"/>
                    <a:lumOff val="25000"/>
                  </a:schemeClr>
                </a:solidFill>
              </a:rPr>
              <a:t>consectetur</a:t>
            </a:r>
            <a:r>
              <a:rPr lang="en-US" sz="1400" dirty="0">
                <a:solidFill>
                  <a:schemeClr val="tx1">
                    <a:lumMod val="75000"/>
                    <a:lumOff val="25000"/>
                  </a:schemeClr>
                </a:solidFill>
              </a:rPr>
              <a:t> </a:t>
            </a:r>
            <a:r>
              <a:rPr lang="en-US" sz="1400" dirty="0" err="1">
                <a:solidFill>
                  <a:schemeClr val="tx1">
                    <a:lumMod val="75000"/>
                    <a:lumOff val="25000"/>
                  </a:schemeClr>
                </a:solidFill>
              </a:rPr>
              <a:t>adipiscing</a:t>
            </a:r>
            <a:r>
              <a:rPr lang="en-US" sz="1400" dirty="0">
                <a:solidFill>
                  <a:schemeClr val="tx1">
                    <a:lumMod val="75000"/>
                    <a:lumOff val="25000"/>
                  </a:schemeClr>
                </a:solidFill>
              </a:rPr>
              <a:t> </a:t>
            </a:r>
            <a:r>
              <a:rPr lang="en-US" sz="1400" dirty="0" err="1">
                <a:solidFill>
                  <a:schemeClr val="tx1">
                    <a:lumMod val="75000"/>
                    <a:lumOff val="25000"/>
                  </a:schemeClr>
                </a:solidFill>
              </a:rPr>
              <a:t>elit</a:t>
            </a:r>
            <a:r>
              <a:rPr lang="en-US" sz="1400" dirty="0">
                <a:solidFill>
                  <a:schemeClr val="tx1">
                    <a:lumMod val="75000"/>
                    <a:lumOff val="25000"/>
                  </a:schemeClr>
                </a:solidFill>
              </a:rPr>
              <a:t>. Nunc in </a:t>
            </a:r>
            <a:r>
              <a:rPr lang="en-US" sz="1400" dirty="0" err="1">
                <a:solidFill>
                  <a:schemeClr val="tx1">
                    <a:lumMod val="75000"/>
                    <a:lumOff val="25000"/>
                  </a:schemeClr>
                </a:solidFill>
              </a:rPr>
              <a:t>aliquet</a:t>
            </a:r>
            <a:r>
              <a:rPr lang="en-US" sz="1400" dirty="0">
                <a:solidFill>
                  <a:schemeClr val="tx1">
                    <a:lumMod val="75000"/>
                    <a:lumOff val="25000"/>
                  </a:schemeClr>
                </a:solidFill>
              </a:rPr>
              <a:t> </a:t>
            </a:r>
            <a:r>
              <a:rPr lang="en-US" sz="1400" dirty="0" err="1">
                <a:solidFill>
                  <a:schemeClr val="tx1">
                    <a:lumMod val="75000"/>
                    <a:lumOff val="25000"/>
                  </a:schemeClr>
                </a:solidFill>
              </a:rPr>
              <a:t>nunc</a:t>
            </a:r>
            <a:r>
              <a:rPr lang="en-US" sz="1400" dirty="0">
                <a:solidFill>
                  <a:schemeClr val="tx1">
                    <a:lumMod val="75000"/>
                    <a:lumOff val="25000"/>
                  </a:schemeClr>
                </a:solidFill>
              </a:rPr>
              <a:t>. Morbi </a:t>
            </a:r>
            <a:r>
              <a:rPr lang="en-US" sz="1400" dirty="0" err="1">
                <a:solidFill>
                  <a:schemeClr val="tx1">
                    <a:lumMod val="75000"/>
                    <a:lumOff val="25000"/>
                  </a:schemeClr>
                </a:solidFill>
              </a:rPr>
              <a:t>efficitur</a:t>
            </a:r>
            <a:r>
              <a:rPr lang="en-US" sz="1400" dirty="0">
                <a:solidFill>
                  <a:schemeClr val="tx1">
                    <a:lumMod val="75000"/>
                    <a:lumOff val="25000"/>
                  </a:schemeClr>
                </a:solidFill>
              </a:rPr>
              <a:t> libero at </a:t>
            </a:r>
            <a:r>
              <a:rPr lang="en-US" sz="1400" dirty="0" err="1">
                <a:solidFill>
                  <a:schemeClr val="tx1">
                    <a:lumMod val="75000"/>
                    <a:lumOff val="25000"/>
                  </a:schemeClr>
                </a:solidFill>
              </a:rPr>
              <a:t>lectus</a:t>
            </a:r>
            <a:r>
              <a:rPr lang="en-US" sz="1400" dirty="0">
                <a:solidFill>
                  <a:schemeClr val="tx1">
                    <a:lumMod val="75000"/>
                    <a:lumOff val="25000"/>
                  </a:schemeClr>
                </a:solidFill>
              </a:rPr>
              <a:t> </a:t>
            </a:r>
            <a:r>
              <a:rPr lang="en-US" sz="1400" dirty="0" err="1">
                <a:solidFill>
                  <a:schemeClr val="tx1">
                    <a:lumMod val="75000"/>
                    <a:lumOff val="25000"/>
                  </a:schemeClr>
                </a:solidFill>
              </a:rPr>
              <a:t>laoreet</a:t>
            </a:r>
            <a:r>
              <a:rPr lang="en-US" sz="1400" dirty="0">
                <a:solidFill>
                  <a:schemeClr val="tx1">
                    <a:lumMod val="75000"/>
                    <a:lumOff val="25000"/>
                  </a:schemeClr>
                </a:solidFill>
              </a:rPr>
              <a:t>, et </a:t>
            </a:r>
            <a:r>
              <a:rPr lang="en-US" sz="1400" dirty="0" err="1">
                <a:solidFill>
                  <a:schemeClr val="tx1">
                    <a:lumMod val="75000"/>
                    <a:lumOff val="25000"/>
                  </a:schemeClr>
                </a:solidFill>
              </a:rPr>
              <a:t>malesuada</a:t>
            </a:r>
            <a:r>
              <a:rPr lang="en-US" sz="1400" dirty="0">
                <a:solidFill>
                  <a:schemeClr val="tx1">
                    <a:lumMod val="75000"/>
                    <a:lumOff val="25000"/>
                  </a:schemeClr>
                </a:solidFill>
              </a:rPr>
              <a:t> </a:t>
            </a:r>
            <a:r>
              <a:rPr lang="en-US" sz="1400" dirty="0" err="1">
                <a:solidFill>
                  <a:schemeClr val="tx1">
                    <a:lumMod val="75000"/>
                    <a:lumOff val="25000"/>
                  </a:schemeClr>
                </a:solidFill>
              </a:rPr>
              <a:t>tortor</a:t>
            </a:r>
            <a:r>
              <a:rPr lang="en-US" sz="1400" dirty="0">
                <a:solidFill>
                  <a:schemeClr val="tx1">
                    <a:lumMod val="75000"/>
                    <a:lumOff val="25000"/>
                  </a:schemeClr>
                </a:solidFill>
              </a:rPr>
              <a:t> </a:t>
            </a:r>
            <a:r>
              <a:rPr lang="en-US" sz="1400" dirty="0" err="1">
                <a:solidFill>
                  <a:schemeClr val="tx1">
                    <a:lumMod val="75000"/>
                    <a:lumOff val="25000"/>
                  </a:schemeClr>
                </a:solidFill>
              </a:rPr>
              <a:t>sodales</a:t>
            </a:r>
            <a:r>
              <a:rPr lang="en-US" sz="1400" dirty="0">
                <a:solidFill>
                  <a:schemeClr val="tx1">
                    <a:lumMod val="75000"/>
                    <a:lumOff val="25000"/>
                  </a:schemeClr>
                </a:solidFill>
              </a:rPr>
              <a:t>. </a:t>
            </a:r>
          </a:p>
        </p:txBody>
      </p:sp>
      <p:sp>
        <p:nvSpPr>
          <p:cNvPr id="209" name="Rectangle 208">
            <a:extLst>
              <a:ext uri="{FF2B5EF4-FFF2-40B4-BE49-F238E27FC236}">
                <a16:creationId xmlns:a16="http://schemas.microsoft.com/office/drawing/2014/main" id="{3AF9264F-C53A-47F4-92B7-45337294B75E}"/>
              </a:ext>
            </a:extLst>
          </p:cNvPr>
          <p:cNvSpPr/>
          <p:nvPr/>
        </p:nvSpPr>
        <p:spPr>
          <a:xfrm flipH="1">
            <a:off x="9087918" y="1919611"/>
            <a:ext cx="2698348" cy="1431161"/>
          </a:xfrm>
          <a:prstGeom prst="rect">
            <a:avLst/>
          </a:prstGeom>
        </p:spPr>
        <p:txBody>
          <a:bodyPr wrap="square" lIns="0" tIns="0" rIns="0" bIns="0">
            <a:spAutoFit/>
          </a:bodyPr>
          <a:lstStyle/>
          <a:p>
            <a:pPr algn="l">
              <a:spcBef>
                <a:spcPts val="600"/>
              </a:spcBef>
            </a:pPr>
            <a:r>
              <a:rPr lang="en-US" b="1" dirty="0">
                <a:solidFill>
                  <a:srgbClr val="0075B0"/>
                </a:solidFill>
              </a:rPr>
              <a:t>LOREM IPSUM </a:t>
            </a:r>
          </a:p>
          <a:p>
            <a:pPr algn="l">
              <a:spcBef>
                <a:spcPts val="600"/>
              </a:spcBef>
            </a:pPr>
            <a:r>
              <a:rPr lang="en-US" sz="1400" dirty="0">
                <a:solidFill>
                  <a:schemeClr val="tx1">
                    <a:lumMod val="75000"/>
                    <a:lumOff val="25000"/>
                  </a:schemeClr>
                </a:solidFill>
              </a:rPr>
              <a:t>Lorem ipsum dolor sit </a:t>
            </a:r>
            <a:r>
              <a:rPr lang="en-US" sz="1400" dirty="0" err="1">
                <a:solidFill>
                  <a:schemeClr val="tx1">
                    <a:lumMod val="75000"/>
                    <a:lumOff val="25000"/>
                  </a:schemeClr>
                </a:solidFill>
              </a:rPr>
              <a:t>amet</a:t>
            </a:r>
            <a:r>
              <a:rPr lang="en-US" sz="1400" dirty="0">
                <a:solidFill>
                  <a:schemeClr val="tx1">
                    <a:lumMod val="75000"/>
                    <a:lumOff val="25000"/>
                  </a:schemeClr>
                </a:solidFill>
              </a:rPr>
              <a:t>, </a:t>
            </a:r>
            <a:r>
              <a:rPr lang="en-US" sz="1400" dirty="0" err="1">
                <a:solidFill>
                  <a:schemeClr val="tx1">
                    <a:lumMod val="75000"/>
                    <a:lumOff val="25000"/>
                  </a:schemeClr>
                </a:solidFill>
              </a:rPr>
              <a:t>consectetur</a:t>
            </a:r>
            <a:r>
              <a:rPr lang="en-US" sz="1400" dirty="0">
                <a:solidFill>
                  <a:schemeClr val="tx1">
                    <a:lumMod val="75000"/>
                    <a:lumOff val="25000"/>
                  </a:schemeClr>
                </a:solidFill>
              </a:rPr>
              <a:t> </a:t>
            </a:r>
            <a:r>
              <a:rPr lang="en-US" sz="1400" dirty="0" err="1">
                <a:solidFill>
                  <a:schemeClr val="tx1">
                    <a:lumMod val="75000"/>
                    <a:lumOff val="25000"/>
                  </a:schemeClr>
                </a:solidFill>
              </a:rPr>
              <a:t>adipiscing</a:t>
            </a:r>
            <a:r>
              <a:rPr lang="en-US" sz="1400" dirty="0">
                <a:solidFill>
                  <a:schemeClr val="tx1">
                    <a:lumMod val="75000"/>
                    <a:lumOff val="25000"/>
                  </a:schemeClr>
                </a:solidFill>
              </a:rPr>
              <a:t> </a:t>
            </a:r>
            <a:r>
              <a:rPr lang="en-US" sz="1400" dirty="0" err="1">
                <a:solidFill>
                  <a:schemeClr val="tx1">
                    <a:lumMod val="75000"/>
                    <a:lumOff val="25000"/>
                  </a:schemeClr>
                </a:solidFill>
              </a:rPr>
              <a:t>elit</a:t>
            </a:r>
            <a:r>
              <a:rPr lang="en-US" sz="1400" dirty="0">
                <a:solidFill>
                  <a:schemeClr val="tx1">
                    <a:lumMod val="75000"/>
                    <a:lumOff val="25000"/>
                  </a:schemeClr>
                </a:solidFill>
              </a:rPr>
              <a:t>. Nunc in </a:t>
            </a:r>
            <a:r>
              <a:rPr lang="en-US" sz="1400" dirty="0" err="1">
                <a:solidFill>
                  <a:schemeClr val="tx1">
                    <a:lumMod val="75000"/>
                    <a:lumOff val="25000"/>
                  </a:schemeClr>
                </a:solidFill>
              </a:rPr>
              <a:t>aliquet</a:t>
            </a:r>
            <a:r>
              <a:rPr lang="en-US" sz="1400" dirty="0">
                <a:solidFill>
                  <a:schemeClr val="tx1">
                    <a:lumMod val="75000"/>
                    <a:lumOff val="25000"/>
                  </a:schemeClr>
                </a:solidFill>
              </a:rPr>
              <a:t> </a:t>
            </a:r>
            <a:r>
              <a:rPr lang="en-US" sz="1400" dirty="0" err="1">
                <a:solidFill>
                  <a:schemeClr val="tx1">
                    <a:lumMod val="75000"/>
                    <a:lumOff val="25000"/>
                  </a:schemeClr>
                </a:solidFill>
              </a:rPr>
              <a:t>nunc</a:t>
            </a:r>
            <a:r>
              <a:rPr lang="en-US" sz="1400" dirty="0">
                <a:solidFill>
                  <a:schemeClr val="tx1">
                    <a:lumMod val="75000"/>
                    <a:lumOff val="25000"/>
                  </a:schemeClr>
                </a:solidFill>
              </a:rPr>
              <a:t>. Morbi </a:t>
            </a:r>
            <a:r>
              <a:rPr lang="en-US" sz="1400" dirty="0" err="1">
                <a:solidFill>
                  <a:schemeClr val="tx1">
                    <a:lumMod val="75000"/>
                    <a:lumOff val="25000"/>
                  </a:schemeClr>
                </a:solidFill>
              </a:rPr>
              <a:t>efficitur</a:t>
            </a:r>
            <a:r>
              <a:rPr lang="en-US" sz="1400" dirty="0">
                <a:solidFill>
                  <a:schemeClr val="tx1">
                    <a:lumMod val="75000"/>
                    <a:lumOff val="25000"/>
                  </a:schemeClr>
                </a:solidFill>
              </a:rPr>
              <a:t> libero at </a:t>
            </a:r>
            <a:r>
              <a:rPr lang="en-US" sz="1400" dirty="0" err="1">
                <a:solidFill>
                  <a:schemeClr val="tx1">
                    <a:lumMod val="75000"/>
                    <a:lumOff val="25000"/>
                  </a:schemeClr>
                </a:solidFill>
              </a:rPr>
              <a:t>lectus</a:t>
            </a:r>
            <a:r>
              <a:rPr lang="en-US" sz="1400" dirty="0">
                <a:solidFill>
                  <a:schemeClr val="tx1">
                    <a:lumMod val="75000"/>
                    <a:lumOff val="25000"/>
                  </a:schemeClr>
                </a:solidFill>
              </a:rPr>
              <a:t> </a:t>
            </a:r>
            <a:r>
              <a:rPr lang="en-US" sz="1400" dirty="0" err="1">
                <a:solidFill>
                  <a:schemeClr val="tx1">
                    <a:lumMod val="75000"/>
                    <a:lumOff val="25000"/>
                  </a:schemeClr>
                </a:solidFill>
              </a:rPr>
              <a:t>laoreet</a:t>
            </a:r>
            <a:r>
              <a:rPr lang="en-US" sz="1400" dirty="0">
                <a:solidFill>
                  <a:schemeClr val="tx1">
                    <a:lumMod val="75000"/>
                    <a:lumOff val="25000"/>
                  </a:schemeClr>
                </a:solidFill>
              </a:rPr>
              <a:t>, et </a:t>
            </a:r>
            <a:r>
              <a:rPr lang="en-US" sz="1400" dirty="0" err="1">
                <a:solidFill>
                  <a:schemeClr val="tx1">
                    <a:lumMod val="75000"/>
                    <a:lumOff val="25000"/>
                  </a:schemeClr>
                </a:solidFill>
              </a:rPr>
              <a:t>malesuada</a:t>
            </a:r>
            <a:r>
              <a:rPr lang="en-US" sz="1400" dirty="0">
                <a:solidFill>
                  <a:schemeClr val="tx1">
                    <a:lumMod val="75000"/>
                    <a:lumOff val="25000"/>
                  </a:schemeClr>
                </a:solidFill>
              </a:rPr>
              <a:t> </a:t>
            </a:r>
            <a:r>
              <a:rPr lang="en-US" sz="1400" dirty="0" err="1">
                <a:solidFill>
                  <a:schemeClr val="tx1">
                    <a:lumMod val="75000"/>
                    <a:lumOff val="25000"/>
                  </a:schemeClr>
                </a:solidFill>
              </a:rPr>
              <a:t>tortor</a:t>
            </a:r>
            <a:r>
              <a:rPr lang="en-US" sz="1400" dirty="0">
                <a:solidFill>
                  <a:schemeClr val="tx1">
                    <a:lumMod val="75000"/>
                    <a:lumOff val="25000"/>
                  </a:schemeClr>
                </a:solidFill>
              </a:rPr>
              <a:t> </a:t>
            </a:r>
            <a:r>
              <a:rPr lang="en-US" sz="1400" dirty="0" err="1">
                <a:solidFill>
                  <a:schemeClr val="tx1">
                    <a:lumMod val="75000"/>
                    <a:lumOff val="25000"/>
                  </a:schemeClr>
                </a:solidFill>
              </a:rPr>
              <a:t>sodales</a:t>
            </a:r>
            <a:r>
              <a:rPr lang="en-US" sz="1400" dirty="0">
                <a:solidFill>
                  <a:schemeClr val="tx1">
                    <a:lumMod val="75000"/>
                    <a:lumOff val="25000"/>
                  </a:schemeClr>
                </a:solidFill>
              </a:rPr>
              <a:t>. </a:t>
            </a:r>
          </a:p>
        </p:txBody>
      </p:sp>
      <p:sp>
        <p:nvSpPr>
          <p:cNvPr id="210" name="Rectangle 209">
            <a:extLst>
              <a:ext uri="{FF2B5EF4-FFF2-40B4-BE49-F238E27FC236}">
                <a16:creationId xmlns:a16="http://schemas.microsoft.com/office/drawing/2014/main" id="{F1E1E08A-B1F8-45BD-AAA8-8AADBC800FA8}"/>
              </a:ext>
            </a:extLst>
          </p:cNvPr>
          <p:cNvSpPr/>
          <p:nvPr/>
        </p:nvSpPr>
        <p:spPr>
          <a:xfrm flipH="1">
            <a:off x="9087918" y="4243711"/>
            <a:ext cx="2698348" cy="1431161"/>
          </a:xfrm>
          <a:prstGeom prst="rect">
            <a:avLst/>
          </a:prstGeom>
        </p:spPr>
        <p:txBody>
          <a:bodyPr wrap="square" lIns="0" tIns="0" rIns="0" bIns="0">
            <a:spAutoFit/>
          </a:bodyPr>
          <a:lstStyle/>
          <a:p>
            <a:pPr algn="l">
              <a:spcBef>
                <a:spcPts val="600"/>
              </a:spcBef>
            </a:pPr>
            <a:r>
              <a:rPr lang="en-US" b="1" dirty="0">
                <a:solidFill>
                  <a:srgbClr val="0075B0"/>
                </a:solidFill>
              </a:rPr>
              <a:t>LOREM IPSUM </a:t>
            </a:r>
          </a:p>
          <a:p>
            <a:pPr algn="l">
              <a:spcBef>
                <a:spcPts val="600"/>
              </a:spcBef>
            </a:pPr>
            <a:r>
              <a:rPr lang="en-US" sz="1400" dirty="0">
                <a:solidFill>
                  <a:schemeClr val="tx1">
                    <a:lumMod val="75000"/>
                    <a:lumOff val="25000"/>
                  </a:schemeClr>
                </a:solidFill>
              </a:rPr>
              <a:t>Lorem ipsum dolor sit </a:t>
            </a:r>
            <a:r>
              <a:rPr lang="en-US" sz="1400" dirty="0" err="1">
                <a:solidFill>
                  <a:schemeClr val="tx1">
                    <a:lumMod val="75000"/>
                    <a:lumOff val="25000"/>
                  </a:schemeClr>
                </a:solidFill>
              </a:rPr>
              <a:t>amet</a:t>
            </a:r>
            <a:r>
              <a:rPr lang="en-US" sz="1400" dirty="0">
                <a:solidFill>
                  <a:schemeClr val="tx1">
                    <a:lumMod val="75000"/>
                    <a:lumOff val="25000"/>
                  </a:schemeClr>
                </a:solidFill>
              </a:rPr>
              <a:t>, </a:t>
            </a:r>
            <a:r>
              <a:rPr lang="en-US" sz="1400" dirty="0" err="1">
                <a:solidFill>
                  <a:schemeClr val="tx1">
                    <a:lumMod val="75000"/>
                    <a:lumOff val="25000"/>
                  </a:schemeClr>
                </a:solidFill>
              </a:rPr>
              <a:t>consectetur</a:t>
            </a:r>
            <a:r>
              <a:rPr lang="en-US" sz="1400" dirty="0">
                <a:solidFill>
                  <a:schemeClr val="tx1">
                    <a:lumMod val="75000"/>
                    <a:lumOff val="25000"/>
                  </a:schemeClr>
                </a:solidFill>
              </a:rPr>
              <a:t> </a:t>
            </a:r>
            <a:r>
              <a:rPr lang="en-US" sz="1400" dirty="0" err="1">
                <a:solidFill>
                  <a:schemeClr val="tx1">
                    <a:lumMod val="75000"/>
                    <a:lumOff val="25000"/>
                  </a:schemeClr>
                </a:solidFill>
              </a:rPr>
              <a:t>adipiscing</a:t>
            </a:r>
            <a:r>
              <a:rPr lang="en-US" sz="1400" dirty="0">
                <a:solidFill>
                  <a:schemeClr val="tx1">
                    <a:lumMod val="75000"/>
                    <a:lumOff val="25000"/>
                  </a:schemeClr>
                </a:solidFill>
              </a:rPr>
              <a:t> </a:t>
            </a:r>
            <a:r>
              <a:rPr lang="en-US" sz="1400" dirty="0" err="1">
                <a:solidFill>
                  <a:schemeClr val="tx1">
                    <a:lumMod val="75000"/>
                    <a:lumOff val="25000"/>
                  </a:schemeClr>
                </a:solidFill>
              </a:rPr>
              <a:t>elit</a:t>
            </a:r>
            <a:r>
              <a:rPr lang="en-US" sz="1400" dirty="0">
                <a:solidFill>
                  <a:schemeClr val="tx1">
                    <a:lumMod val="75000"/>
                    <a:lumOff val="25000"/>
                  </a:schemeClr>
                </a:solidFill>
              </a:rPr>
              <a:t>. Nunc in </a:t>
            </a:r>
            <a:r>
              <a:rPr lang="en-US" sz="1400" dirty="0" err="1">
                <a:solidFill>
                  <a:schemeClr val="tx1">
                    <a:lumMod val="75000"/>
                    <a:lumOff val="25000"/>
                  </a:schemeClr>
                </a:solidFill>
              </a:rPr>
              <a:t>aliquet</a:t>
            </a:r>
            <a:r>
              <a:rPr lang="en-US" sz="1400" dirty="0">
                <a:solidFill>
                  <a:schemeClr val="tx1">
                    <a:lumMod val="75000"/>
                    <a:lumOff val="25000"/>
                  </a:schemeClr>
                </a:solidFill>
              </a:rPr>
              <a:t> </a:t>
            </a:r>
            <a:r>
              <a:rPr lang="en-US" sz="1400" dirty="0" err="1">
                <a:solidFill>
                  <a:schemeClr val="tx1">
                    <a:lumMod val="75000"/>
                    <a:lumOff val="25000"/>
                  </a:schemeClr>
                </a:solidFill>
              </a:rPr>
              <a:t>nunc</a:t>
            </a:r>
            <a:r>
              <a:rPr lang="en-US" sz="1400" dirty="0">
                <a:solidFill>
                  <a:schemeClr val="tx1">
                    <a:lumMod val="75000"/>
                    <a:lumOff val="25000"/>
                  </a:schemeClr>
                </a:solidFill>
              </a:rPr>
              <a:t>. Morbi </a:t>
            </a:r>
            <a:r>
              <a:rPr lang="en-US" sz="1400" dirty="0" err="1">
                <a:solidFill>
                  <a:schemeClr val="tx1">
                    <a:lumMod val="75000"/>
                    <a:lumOff val="25000"/>
                  </a:schemeClr>
                </a:solidFill>
              </a:rPr>
              <a:t>efficitur</a:t>
            </a:r>
            <a:r>
              <a:rPr lang="en-US" sz="1400" dirty="0">
                <a:solidFill>
                  <a:schemeClr val="tx1">
                    <a:lumMod val="75000"/>
                    <a:lumOff val="25000"/>
                  </a:schemeClr>
                </a:solidFill>
              </a:rPr>
              <a:t> libero at </a:t>
            </a:r>
            <a:r>
              <a:rPr lang="en-US" sz="1400" dirty="0" err="1">
                <a:solidFill>
                  <a:schemeClr val="tx1">
                    <a:lumMod val="75000"/>
                    <a:lumOff val="25000"/>
                  </a:schemeClr>
                </a:solidFill>
              </a:rPr>
              <a:t>lectus</a:t>
            </a:r>
            <a:r>
              <a:rPr lang="en-US" sz="1400" dirty="0">
                <a:solidFill>
                  <a:schemeClr val="tx1">
                    <a:lumMod val="75000"/>
                    <a:lumOff val="25000"/>
                  </a:schemeClr>
                </a:solidFill>
              </a:rPr>
              <a:t> </a:t>
            </a:r>
            <a:r>
              <a:rPr lang="en-US" sz="1400" dirty="0" err="1">
                <a:solidFill>
                  <a:schemeClr val="tx1">
                    <a:lumMod val="75000"/>
                    <a:lumOff val="25000"/>
                  </a:schemeClr>
                </a:solidFill>
              </a:rPr>
              <a:t>laoreet</a:t>
            </a:r>
            <a:r>
              <a:rPr lang="en-US" sz="1400" dirty="0">
                <a:solidFill>
                  <a:schemeClr val="tx1">
                    <a:lumMod val="75000"/>
                    <a:lumOff val="25000"/>
                  </a:schemeClr>
                </a:solidFill>
              </a:rPr>
              <a:t>, et </a:t>
            </a:r>
            <a:r>
              <a:rPr lang="en-US" sz="1400" dirty="0" err="1">
                <a:solidFill>
                  <a:schemeClr val="tx1">
                    <a:lumMod val="75000"/>
                    <a:lumOff val="25000"/>
                  </a:schemeClr>
                </a:solidFill>
              </a:rPr>
              <a:t>malesuada</a:t>
            </a:r>
            <a:r>
              <a:rPr lang="en-US" sz="1400" dirty="0">
                <a:solidFill>
                  <a:schemeClr val="tx1">
                    <a:lumMod val="75000"/>
                    <a:lumOff val="25000"/>
                  </a:schemeClr>
                </a:solidFill>
              </a:rPr>
              <a:t> </a:t>
            </a:r>
            <a:r>
              <a:rPr lang="en-US" sz="1400" dirty="0" err="1">
                <a:solidFill>
                  <a:schemeClr val="tx1">
                    <a:lumMod val="75000"/>
                    <a:lumOff val="25000"/>
                  </a:schemeClr>
                </a:solidFill>
              </a:rPr>
              <a:t>tortor</a:t>
            </a:r>
            <a:r>
              <a:rPr lang="en-US" sz="1400" dirty="0">
                <a:solidFill>
                  <a:schemeClr val="tx1">
                    <a:lumMod val="75000"/>
                    <a:lumOff val="25000"/>
                  </a:schemeClr>
                </a:solidFill>
              </a:rPr>
              <a:t> </a:t>
            </a:r>
            <a:r>
              <a:rPr lang="en-US" sz="1400" dirty="0" err="1">
                <a:solidFill>
                  <a:schemeClr val="tx1">
                    <a:lumMod val="75000"/>
                    <a:lumOff val="25000"/>
                  </a:schemeClr>
                </a:solidFill>
              </a:rPr>
              <a:t>sodales</a:t>
            </a:r>
            <a:r>
              <a:rPr lang="en-US" sz="1400" dirty="0">
                <a:solidFill>
                  <a:schemeClr val="tx1">
                    <a:lumMod val="75000"/>
                    <a:lumOff val="25000"/>
                  </a:schemeClr>
                </a:solidFill>
              </a:rPr>
              <a:t>. </a:t>
            </a:r>
          </a:p>
        </p:txBody>
      </p:sp>
      <p:grpSp>
        <p:nvGrpSpPr>
          <p:cNvPr id="212" name="Group 211">
            <a:extLst>
              <a:ext uri="{FF2B5EF4-FFF2-40B4-BE49-F238E27FC236}">
                <a16:creationId xmlns:a16="http://schemas.microsoft.com/office/drawing/2014/main" id="{25580DBE-5057-4B6A-82BD-F996F28157A1}"/>
              </a:ext>
            </a:extLst>
          </p:cNvPr>
          <p:cNvGrpSpPr/>
          <p:nvPr/>
        </p:nvGrpSpPr>
        <p:grpSpPr>
          <a:xfrm>
            <a:off x="3786087" y="2061694"/>
            <a:ext cx="643132" cy="579252"/>
            <a:chOff x="5035809" y="4247797"/>
            <a:chExt cx="394930" cy="355704"/>
          </a:xfrm>
        </p:grpSpPr>
        <p:sp>
          <p:nvSpPr>
            <p:cNvPr id="213" name="Oval 212">
              <a:extLst>
                <a:ext uri="{FF2B5EF4-FFF2-40B4-BE49-F238E27FC236}">
                  <a16:creationId xmlns:a16="http://schemas.microsoft.com/office/drawing/2014/main" id="{FDCB7E7F-B129-4F17-8837-6125DA80EA9E}"/>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14" name="Oval 213">
              <a:extLst>
                <a:ext uri="{FF2B5EF4-FFF2-40B4-BE49-F238E27FC236}">
                  <a16:creationId xmlns:a16="http://schemas.microsoft.com/office/drawing/2014/main" id="{85FE1AD2-F35C-42C8-8F3C-5E7139843E0A}"/>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21" name="Group 220">
            <a:extLst>
              <a:ext uri="{FF2B5EF4-FFF2-40B4-BE49-F238E27FC236}">
                <a16:creationId xmlns:a16="http://schemas.microsoft.com/office/drawing/2014/main" id="{F12BF891-967D-496C-B9AC-F07032171448}"/>
              </a:ext>
            </a:extLst>
          </p:cNvPr>
          <p:cNvGrpSpPr/>
          <p:nvPr/>
        </p:nvGrpSpPr>
        <p:grpSpPr>
          <a:xfrm>
            <a:off x="3786087" y="5058894"/>
            <a:ext cx="643132" cy="579252"/>
            <a:chOff x="5035809" y="4247797"/>
            <a:chExt cx="394930" cy="355704"/>
          </a:xfrm>
        </p:grpSpPr>
        <p:sp>
          <p:nvSpPr>
            <p:cNvPr id="222" name="Oval 221">
              <a:extLst>
                <a:ext uri="{FF2B5EF4-FFF2-40B4-BE49-F238E27FC236}">
                  <a16:creationId xmlns:a16="http://schemas.microsoft.com/office/drawing/2014/main" id="{9928F366-5358-452F-8D3A-4565AF27C314}"/>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23" name="Oval 222">
              <a:extLst>
                <a:ext uri="{FF2B5EF4-FFF2-40B4-BE49-F238E27FC236}">
                  <a16:creationId xmlns:a16="http://schemas.microsoft.com/office/drawing/2014/main" id="{94DFBD4E-E71A-490D-AD06-E6360E3ED23A}"/>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24" name="Group 223">
            <a:extLst>
              <a:ext uri="{FF2B5EF4-FFF2-40B4-BE49-F238E27FC236}">
                <a16:creationId xmlns:a16="http://schemas.microsoft.com/office/drawing/2014/main" id="{A934080B-3EBC-4257-A030-4A13DE1C8A6F}"/>
              </a:ext>
            </a:extLst>
          </p:cNvPr>
          <p:cNvGrpSpPr/>
          <p:nvPr/>
        </p:nvGrpSpPr>
        <p:grpSpPr>
          <a:xfrm>
            <a:off x="7798528" y="2061694"/>
            <a:ext cx="643132" cy="579252"/>
            <a:chOff x="5035809" y="4247797"/>
            <a:chExt cx="394930" cy="355704"/>
          </a:xfrm>
        </p:grpSpPr>
        <p:sp>
          <p:nvSpPr>
            <p:cNvPr id="225" name="Oval 224">
              <a:extLst>
                <a:ext uri="{FF2B5EF4-FFF2-40B4-BE49-F238E27FC236}">
                  <a16:creationId xmlns:a16="http://schemas.microsoft.com/office/drawing/2014/main" id="{56C7DC64-8A20-41F3-9E57-8E0C647E2996}"/>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26" name="Oval 225">
              <a:extLst>
                <a:ext uri="{FF2B5EF4-FFF2-40B4-BE49-F238E27FC236}">
                  <a16:creationId xmlns:a16="http://schemas.microsoft.com/office/drawing/2014/main" id="{887CB152-331D-42F1-9835-CF126FB347D9}"/>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27" name="Group 226">
            <a:extLst>
              <a:ext uri="{FF2B5EF4-FFF2-40B4-BE49-F238E27FC236}">
                <a16:creationId xmlns:a16="http://schemas.microsoft.com/office/drawing/2014/main" id="{C76E3F81-D934-41FC-A504-37837BB83417}"/>
              </a:ext>
            </a:extLst>
          </p:cNvPr>
          <p:cNvGrpSpPr/>
          <p:nvPr/>
        </p:nvGrpSpPr>
        <p:grpSpPr>
          <a:xfrm>
            <a:off x="7798528" y="5058894"/>
            <a:ext cx="643132" cy="579252"/>
            <a:chOff x="5035809" y="4247797"/>
            <a:chExt cx="394930" cy="355704"/>
          </a:xfrm>
        </p:grpSpPr>
        <p:sp>
          <p:nvSpPr>
            <p:cNvPr id="228" name="Oval 227">
              <a:extLst>
                <a:ext uri="{FF2B5EF4-FFF2-40B4-BE49-F238E27FC236}">
                  <a16:creationId xmlns:a16="http://schemas.microsoft.com/office/drawing/2014/main" id="{B4907363-8982-40D6-9FA9-000325D1639F}"/>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229" name="Oval 228">
              <a:extLst>
                <a:ext uri="{FF2B5EF4-FFF2-40B4-BE49-F238E27FC236}">
                  <a16:creationId xmlns:a16="http://schemas.microsoft.com/office/drawing/2014/main" id="{093C8272-9BED-47FE-8B49-E67EA6FB1AC9}"/>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30" name="Group 229">
            <a:extLst>
              <a:ext uri="{FF2B5EF4-FFF2-40B4-BE49-F238E27FC236}">
                <a16:creationId xmlns:a16="http://schemas.microsoft.com/office/drawing/2014/main" id="{C1C19D36-A5E1-4390-A6D6-C19FB1D66018}"/>
              </a:ext>
            </a:extLst>
          </p:cNvPr>
          <p:cNvGrpSpPr/>
          <p:nvPr/>
        </p:nvGrpSpPr>
        <p:grpSpPr>
          <a:xfrm>
            <a:off x="3932013" y="2208314"/>
            <a:ext cx="284701" cy="286013"/>
            <a:chOff x="9169400" y="3255963"/>
            <a:chExt cx="344488" cy="346075"/>
          </a:xfrm>
        </p:grpSpPr>
        <p:sp>
          <p:nvSpPr>
            <p:cNvPr id="231" name="Freeform 115">
              <a:extLst>
                <a:ext uri="{FF2B5EF4-FFF2-40B4-BE49-F238E27FC236}">
                  <a16:creationId xmlns:a16="http://schemas.microsoft.com/office/drawing/2014/main" id="{C1146654-776E-4DBB-B42B-D671066AE117}"/>
                </a:ext>
              </a:extLst>
            </p:cNvPr>
            <p:cNvSpPr>
              <a:spLocks/>
            </p:cNvSpPr>
            <p:nvPr/>
          </p:nvSpPr>
          <p:spPr bwMode="auto">
            <a:xfrm>
              <a:off x="9169400" y="3255963"/>
              <a:ext cx="344488" cy="346075"/>
            </a:xfrm>
            <a:custGeom>
              <a:avLst/>
              <a:gdLst>
                <a:gd name="T0" fmla="*/ 64 w 92"/>
                <a:gd name="T1" fmla="*/ 17 h 92"/>
                <a:gd name="T2" fmla="*/ 52 w 92"/>
                <a:gd name="T3" fmla="*/ 13 h 92"/>
                <a:gd name="T4" fmla="*/ 52 w 92"/>
                <a:gd name="T5" fmla="*/ 0 h 92"/>
                <a:gd name="T6" fmla="*/ 40 w 92"/>
                <a:gd name="T7" fmla="*/ 0 h 92"/>
                <a:gd name="T8" fmla="*/ 40 w 92"/>
                <a:gd name="T9" fmla="*/ 13 h 92"/>
                <a:gd name="T10" fmla="*/ 28 w 92"/>
                <a:gd name="T11" fmla="*/ 17 h 92"/>
                <a:gd name="T12" fmla="*/ 19 w 92"/>
                <a:gd name="T13" fmla="*/ 8 h 92"/>
                <a:gd name="T14" fmla="*/ 8 w 92"/>
                <a:gd name="T15" fmla="*/ 19 h 92"/>
                <a:gd name="T16" fmla="*/ 17 w 92"/>
                <a:gd name="T17" fmla="*/ 28 h 92"/>
                <a:gd name="T18" fmla="*/ 13 w 92"/>
                <a:gd name="T19" fmla="*/ 40 h 92"/>
                <a:gd name="T20" fmla="*/ 0 w 92"/>
                <a:gd name="T21" fmla="*/ 40 h 92"/>
                <a:gd name="T22" fmla="*/ 0 w 92"/>
                <a:gd name="T23" fmla="*/ 52 h 92"/>
                <a:gd name="T24" fmla="*/ 13 w 92"/>
                <a:gd name="T25" fmla="*/ 52 h 92"/>
                <a:gd name="T26" fmla="*/ 17 w 92"/>
                <a:gd name="T27" fmla="*/ 64 h 92"/>
                <a:gd name="T28" fmla="*/ 8 w 92"/>
                <a:gd name="T29" fmla="*/ 73 h 92"/>
                <a:gd name="T30" fmla="*/ 19 w 92"/>
                <a:gd name="T31" fmla="*/ 84 h 92"/>
                <a:gd name="T32" fmla="*/ 28 w 92"/>
                <a:gd name="T33" fmla="*/ 75 h 92"/>
                <a:gd name="T34" fmla="*/ 40 w 92"/>
                <a:gd name="T35" fmla="*/ 79 h 92"/>
                <a:gd name="T36" fmla="*/ 40 w 92"/>
                <a:gd name="T37" fmla="*/ 92 h 92"/>
                <a:gd name="T38" fmla="*/ 52 w 92"/>
                <a:gd name="T39" fmla="*/ 92 h 92"/>
                <a:gd name="T40" fmla="*/ 52 w 92"/>
                <a:gd name="T41" fmla="*/ 79 h 92"/>
                <a:gd name="T42" fmla="*/ 64 w 92"/>
                <a:gd name="T43" fmla="*/ 75 h 92"/>
                <a:gd name="T44" fmla="*/ 73 w 92"/>
                <a:gd name="T45" fmla="*/ 84 h 92"/>
                <a:gd name="T46" fmla="*/ 84 w 92"/>
                <a:gd name="T47" fmla="*/ 73 h 92"/>
                <a:gd name="T48" fmla="*/ 75 w 92"/>
                <a:gd name="T49" fmla="*/ 64 h 92"/>
                <a:gd name="T50" fmla="*/ 79 w 92"/>
                <a:gd name="T51" fmla="*/ 52 h 92"/>
                <a:gd name="T52" fmla="*/ 92 w 92"/>
                <a:gd name="T53" fmla="*/ 52 h 92"/>
                <a:gd name="T54" fmla="*/ 92 w 92"/>
                <a:gd name="T55" fmla="*/ 40 h 92"/>
                <a:gd name="T56" fmla="*/ 79 w 92"/>
                <a:gd name="T57" fmla="*/ 40 h 92"/>
                <a:gd name="T58" fmla="*/ 77 w 92"/>
                <a:gd name="T59" fmla="*/ 3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92">
                  <a:moveTo>
                    <a:pt x="64" y="17"/>
                  </a:moveTo>
                  <a:cubicBezTo>
                    <a:pt x="61" y="15"/>
                    <a:pt x="55" y="14"/>
                    <a:pt x="52" y="13"/>
                  </a:cubicBezTo>
                  <a:cubicBezTo>
                    <a:pt x="52" y="0"/>
                    <a:pt x="52" y="0"/>
                    <a:pt x="52" y="0"/>
                  </a:cubicBezTo>
                  <a:cubicBezTo>
                    <a:pt x="40" y="0"/>
                    <a:pt x="40" y="0"/>
                    <a:pt x="40" y="0"/>
                  </a:cubicBezTo>
                  <a:cubicBezTo>
                    <a:pt x="40" y="13"/>
                    <a:pt x="40" y="13"/>
                    <a:pt x="40" y="13"/>
                  </a:cubicBezTo>
                  <a:cubicBezTo>
                    <a:pt x="37" y="14"/>
                    <a:pt x="31" y="15"/>
                    <a:pt x="28" y="17"/>
                  </a:cubicBezTo>
                  <a:cubicBezTo>
                    <a:pt x="19" y="8"/>
                    <a:pt x="19" y="8"/>
                    <a:pt x="19" y="8"/>
                  </a:cubicBezTo>
                  <a:cubicBezTo>
                    <a:pt x="8" y="19"/>
                    <a:pt x="8" y="19"/>
                    <a:pt x="8" y="19"/>
                  </a:cubicBezTo>
                  <a:cubicBezTo>
                    <a:pt x="17" y="28"/>
                    <a:pt x="17" y="28"/>
                    <a:pt x="17" y="28"/>
                  </a:cubicBezTo>
                  <a:cubicBezTo>
                    <a:pt x="15" y="31"/>
                    <a:pt x="14" y="37"/>
                    <a:pt x="13" y="40"/>
                  </a:cubicBezTo>
                  <a:cubicBezTo>
                    <a:pt x="0" y="40"/>
                    <a:pt x="0" y="40"/>
                    <a:pt x="0" y="40"/>
                  </a:cubicBezTo>
                  <a:cubicBezTo>
                    <a:pt x="0" y="52"/>
                    <a:pt x="0" y="52"/>
                    <a:pt x="0" y="52"/>
                  </a:cubicBezTo>
                  <a:cubicBezTo>
                    <a:pt x="13" y="52"/>
                    <a:pt x="13" y="52"/>
                    <a:pt x="13" y="52"/>
                  </a:cubicBezTo>
                  <a:cubicBezTo>
                    <a:pt x="14" y="55"/>
                    <a:pt x="15" y="61"/>
                    <a:pt x="17" y="64"/>
                  </a:cubicBezTo>
                  <a:cubicBezTo>
                    <a:pt x="8" y="73"/>
                    <a:pt x="8" y="73"/>
                    <a:pt x="8" y="73"/>
                  </a:cubicBezTo>
                  <a:cubicBezTo>
                    <a:pt x="19" y="84"/>
                    <a:pt x="19" y="84"/>
                    <a:pt x="19" y="84"/>
                  </a:cubicBezTo>
                  <a:cubicBezTo>
                    <a:pt x="28" y="75"/>
                    <a:pt x="28" y="75"/>
                    <a:pt x="28" y="75"/>
                  </a:cubicBezTo>
                  <a:cubicBezTo>
                    <a:pt x="31" y="77"/>
                    <a:pt x="37" y="78"/>
                    <a:pt x="40" y="79"/>
                  </a:cubicBezTo>
                  <a:cubicBezTo>
                    <a:pt x="40" y="92"/>
                    <a:pt x="40" y="92"/>
                    <a:pt x="40" y="92"/>
                  </a:cubicBezTo>
                  <a:cubicBezTo>
                    <a:pt x="52" y="92"/>
                    <a:pt x="52" y="92"/>
                    <a:pt x="52" y="92"/>
                  </a:cubicBezTo>
                  <a:cubicBezTo>
                    <a:pt x="52" y="79"/>
                    <a:pt x="52" y="79"/>
                    <a:pt x="52" y="79"/>
                  </a:cubicBezTo>
                  <a:cubicBezTo>
                    <a:pt x="55" y="78"/>
                    <a:pt x="61" y="77"/>
                    <a:pt x="64" y="75"/>
                  </a:cubicBezTo>
                  <a:cubicBezTo>
                    <a:pt x="73" y="84"/>
                    <a:pt x="73" y="84"/>
                    <a:pt x="73" y="84"/>
                  </a:cubicBezTo>
                  <a:cubicBezTo>
                    <a:pt x="84" y="73"/>
                    <a:pt x="84" y="73"/>
                    <a:pt x="84" y="73"/>
                  </a:cubicBezTo>
                  <a:cubicBezTo>
                    <a:pt x="75" y="64"/>
                    <a:pt x="75" y="64"/>
                    <a:pt x="75" y="64"/>
                  </a:cubicBezTo>
                  <a:cubicBezTo>
                    <a:pt x="77" y="61"/>
                    <a:pt x="78" y="55"/>
                    <a:pt x="79" y="52"/>
                  </a:cubicBezTo>
                  <a:cubicBezTo>
                    <a:pt x="92" y="52"/>
                    <a:pt x="92" y="52"/>
                    <a:pt x="92" y="52"/>
                  </a:cubicBezTo>
                  <a:cubicBezTo>
                    <a:pt x="92" y="40"/>
                    <a:pt x="92" y="40"/>
                    <a:pt x="92" y="40"/>
                  </a:cubicBezTo>
                  <a:cubicBezTo>
                    <a:pt x="79" y="40"/>
                    <a:pt x="79" y="40"/>
                    <a:pt x="79" y="40"/>
                  </a:cubicBezTo>
                  <a:cubicBezTo>
                    <a:pt x="79" y="38"/>
                    <a:pt x="78" y="35"/>
                    <a:pt x="77" y="33"/>
                  </a:cubicBez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2" name="Freeform 116">
              <a:extLst>
                <a:ext uri="{FF2B5EF4-FFF2-40B4-BE49-F238E27FC236}">
                  <a16:creationId xmlns:a16="http://schemas.microsoft.com/office/drawing/2014/main" id="{D45E8FB1-9C6D-4225-AAFB-63A676E34C56}"/>
                </a:ext>
              </a:extLst>
            </p:cNvPr>
            <p:cNvSpPr>
              <a:spLocks/>
            </p:cNvSpPr>
            <p:nvPr/>
          </p:nvSpPr>
          <p:spPr bwMode="auto">
            <a:xfrm>
              <a:off x="9277350" y="3255963"/>
              <a:ext cx="236538" cy="211138"/>
            </a:xfrm>
            <a:custGeom>
              <a:avLst/>
              <a:gdLst>
                <a:gd name="T0" fmla="*/ 149 w 149"/>
                <a:gd name="T1" fmla="*/ 0 h 133"/>
                <a:gd name="T2" fmla="*/ 43 w 149"/>
                <a:gd name="T3" fmla="*/ 133 h 133"/>
                <a:gd name="T4" fmla="*/ 0 w 149"/>
                <a:gd name="T5" fmla="*/ 90 h 133"/>
              </a:gdLst>
              <a:ahLst/>
              <a:cxnLst>
                <a:cxn ang="0">
                  <a:pos x="T0" y="T1"/>
                </a:cxn>
                <a:cxn ang="0">
                  <a:pos x="T2" y="T3"/>
                </a:cxn>
                <a:cxn ang="0">
                  <a:pos x="T4" y="T5"/>
                </a:cxn>
              </a:cxnLst>
              <a:rect l="0" t="0" r="r" b="b"/>
              <a:pathLst>
                <a:path w="149" h="133">
                  <a:moveTo>
                    <a:pt x="149" y="0"/>
                  </a:moveTo>
                  <a:lnTo>
                    <a:pt x="43" y="133"/>
                  </a:lnTo>
                  <a:lnTo>
                    <a:pt x="0" y="90"/>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33" name="Group 232">
            <a:extLst>
              <a:ext uri="{FF2B5EF4-FFF2-40B4-BE49-F238E27FC236}">
                <a16:creationId xmlns:a16="http://schemas.microsoft.com/office/drawing/2014/main" id="{1F1D7579-F0DB-49FD-9605-371273CA09BE}"/>
              </a:ext>
            </a:extLst>
          </p:cNvPr>
          <p:cNvGrpSpPr/>
          <p:nvPr/>
        </p:nvGrpSpPr>
        <p:grpSpPr>
          <a:xfrm>
            <a:off x="3948591" y="5200922"/>
            <a:ext cx="295195" cy="295196"/>
            <a:chOff x="6283326" y="1800225"/>
            <a:chExt cx="357187" cy="357188"/>
          </a:xfrm>
        </p:grpSpPr>
        <p:sp>
          <p:nvSpPr>
            <p:cNvPr id="234" name="Freeform 34">
              <a:extLst>
                <a:ext uri="{FF2B5EF4-FFF2-40B4-BE49-F238E27FC236}">
                  <a16:creationId xmlns:a16="http://schemas.microsoft.com/office/drawing/2014/main" id="{7FA836D9-F8DC-427D-A553-5780DFDA14CB}"/>
                </a:ext>
              </a:extLst>
            </p:cNvPr>
            <p:cNvSpPr>
              <a:spLocks/>
            </p:cNvSpPr>
            <p:nvPr/>
          </p:nvSpPr>
          <p:spPr bwMode="auto">
            <a:xfrm>
              <a:off x="6283326" y="1841500"/>
              <a:ext cx="285750" cy="315913"/>
            </a:xfrm>
            <a:custGeom>
              <a:avLst/>
              <a:gdLst>
                <a:gd name="T0" fmla="*/ 180 w 180"/>
                <a:gd name="T1" fmla="*/ 80 h 199"/>
                <a:gd name="T2" fmla="*/ 180 w 180"/>
                <a:gd name="T3" fmla="*/ 199 h 199"/>
                <a:gd name="T4" fmla="*/ 0 w 180"/>
                <a:gd name="T5" fmla="*/ 199 h 199"/>
                <a:gd name="T6" fmla="*/ 0 w 180"/>
                <a:gd name="T7" fmla="*/ 0 h 199"/>
                <a:gd name="T8" fmla="*/ 152 w 180"/>
                <a:gd name="T9" fmla="*/ 0 h 199"/>
              </a:gdLst>
              <a:ahLst/>
              <a:cxnLst>
                <a:cxn ang="0">
                  <a:pos x="T0" y="T1"/>
                </a:cxn>
                <a:cxn ang="0">
                  <a:pos x="T2" y="T3"/>
                </a:cxn>
                <a:cxn ang="0">
                  <a:pos x="T4" y="T5"/>
                </a:cxn>
                <a:cxn ang="0">
                  <a:pos x="T6" y="T7"/>
                </a:cxn>
                <a:cxn ang="0">
                  <a:pos x="T8" y="T9"/>
                </a:cxn>
              </a:cxnLst>
              <a:rect l="0" t="0" r="r" b="b"/>
              <a:pathLst>
                <a:path w="180" h="199">
                  <a:moveTo>
                    <a:pt x="180" y="80"/>
                  </a:moveTo>
                  <a:lnTo>
                    <a:pt x="180" y="199"/>
                  </a:lnTo>
                  <a:lnTo>
                    <a:pt x="0" y="199"/>
                  </a:lnTo>
                  <a:lnTo>
                    <a:pt x="0" y="0"/>
                  </a:lnTo>
                  <a:lnTo>
                    <a:pt x="152" y="0"/>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5" name="Freeform 35">
              <a:extLst>
                <a:ext uri="{FF2B5EF4-FFF2-40B4-BE49-F238E27FC236}">
                  <a16:creationId xmlns:a16="http://schemas.microsoft.com/office/drawing/2014/main" id="{264724E3-4051-4877-8BE9-0596A25FC0A6}"/>
                </a:ext>
              </a:extLst>
            </p:cNvPr>
            <p:cNvSpPr>
              <a:spLocks/>
            </p:cNvSpPr>
            <p:nvPr/>
          </p:nvSpPr>
          <p:spPr bwMode="auto">
            <a:xfrm>
              <a:off x="6437313" y="1800225"/>
              <a:ext cx="203200" cy="203200"/>
            </a:xfrm>
            <a:custGeom>
              <a:avLst/>
              <a:gdLst>
                <a:gd name="T0" fmla="*/ 12 w 54"/>
                <a:gd name="T1" fmla="*/ 48 h 54"/>
                <a:gd name="T2" fmla="*/ 0 w 54"/>
                <a:gd name="T3" fmla="*/ 54 h 54"/>
                <a:gd name="T4" fmla="*/ 6 w 54"/>
                <a:gd name="T5" fmla="*/ 42 h 54"/>
                <a:gd name="T6" fmla="*/ 44 w 54"/>
                <a:gd name="T7" fmla="*/ 4 h 54"/>
                <a:gd name="T8" fmla="*/ 50 w 54"/>
                <a:gd name="T9" fmla="*/ 10 h 54"/>
                <a:gd name="T10" fmla="*/ 12 w 54"/>
                <a:gd name="T11" fmla="*/ 48 h 54"/>
              </a:gdLst>
              <a:ahLst/>
              <a:cxnLst>
                <a:cxn ang="0">
                  <a:pos x="T0" y="T1"/>
                </a:cxn>
                <a:cxn ang="0">
                  <a:pos x="T2" y="T3"/>
                </a:cxn>
                <a:cxn ang="0">
                  <a:pos x="T4" y="T5"/>
                </a:cxn>
                <a:cxn ang="0">
                  <a:pos x="T6" y="T7"/>
                </a:cxn>
                <a:cxn ang="0">
                  <a:pos x="T8" y="T9"/>
                </a:cxn>
                <a:cxn ang="0">
                  <a:pos x="T10" y="T11"/>
                </a:cxn>
              </a:cxnLst>
              <a:rect l="0" t="0" r="r" b="b"/>
              <a:pathLst>
                <a:path w="54" h="54">
                  <a:moveTo>
                    <a:pt x="12" y="48"/>
                  </a:moveTo>
                  <a:cubicBezTo>
                    <a:pt x="0" y="54"/>
                    <a:pt x="0" y="54"/>
                    <a:pt x="0" y="54"/>
                  </a:cubicBezTo>
                  <a:cubicBezTo>
                    <a:pt x="6" y="42"/>
                    <a:pt x="6" y="42"/>
                    <a:pt x="6" y="42"/>
                  </a:cubicBezTo>
                  <a:cubicBezTo>
                    <a:pt x="44" y="4"/>
                    <a:pt x="44" y="4"/>
                    <a:pt x="44" y="4"/>
                  </a:cubicBezTo>
                  <a:cubicBezTo>
                    <a:pt x="48" y="0"/>
                    <a:pt x="54" y="6"/>
                    <a:pt x="50" y="10"/>
                  </a:cubicBezTo>
                  <a:lnTo>
                    <a:pt x="12" y="48"/>
                  </a:ln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6" name="Line 36">
              <a:extLst>
                <a:ext uri="{FF2B5EF4-FFF2-40B4-BE49-F238E27FC236}">
                  <a16:creationId xmlns:a16="http://schemas.microsoft.com/office/drawing/2014/main" id="{92F4C9BB-7CA3-4FC9-8253-57C879D4ACD4}"/>
                </a:ext>
              </a:extLst>
            </p:cNvPr>
            <p:cNvSpPr>
              <a:spLocks noChangeShapeType="1"/>
            </p:cNvSpPr>
            <p:nvPr/>
          </p:nvSpPr>
          <p:spPr bwMode="auto">
            <a:xfrm>
              <a:off x="6580188" y="1836738"/>
              <a:ext cx="23813" cy="23813"/>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45" name="Group 244">
            <a:extLst>
              <a:ext uri="{FF2B5EF4-FFF2-40B4-BE49-F238E27FC236}">
                <a16:creationId xmlns:a16="http://schemas.microsoft.com/office/drawing/2014/main" id="{4D08DA5F-4A4D-4209-819E-95294AAD37C2}"/>
              </a:ext>
            </a:extLst>
          </p:cNvPr>
          <p:cNvGrpSpPr/>
          <p:nvPr/>
        </p:nvGrpSpPr>
        <p:grpSpPr>
          <a:xfrm>
            <a:off x="7963214" y="2208313"/>
            <a:ext cx="284701" cy="286014"/>
            <a:chOff x="7005638" y="3978275"/>
            <a:chExt cx="344488" cy="346076"/>
          </a:xfrm>
        </p:grpSpPr>
        <p:sp>
          <p:nvSpPr>
            <p:cNvPr id="246" name="Line 253">
              <a:extLst>
                <a:ext uri="{FF2B5EF4-FFF2-40B4-BE49-F238E27FC236}">
                  <a16:creationId xmlns:a16="http://schemas.microsoft.com/office/drawing/2014/main" id="{2D988BDA-4422-45B9-BF6A-515425B2C759}"/>
                </a:ext>
              </a:extLst>
            </p:cNvPr>
            <p:cNvSpPr>
              <a:spLocks noChangeShapeType="1"/>
            </p:cNvSpPr>
            <p:nvPr/>
          </p:nvSpPr>
          <p:spPr bwMode="auto">
            <a:xfrm>
              <a:off x="7050088" y="4068763"/>
              <a:ext cx="68263"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7" name="Line 254">
              <a:extLst>
                <a:ext uri="{FF2B5EF4-FFF2-40B4-BE49-F238E27FC236}">
                  <a16:creationId xmlns:a16="http://schemas.microsoft.com/office/drawing/2014/main" id="{493A4E3A-53D6-4D88-904B-4B8FCBB57437}"/>
                </a:ext>
              </a:extLst>
            </p:cNvPr>
            <p:cNvSpPr>
              <a:spLocks noChangeShapeType="1"/>
            </p:cNvSpPr>
            <p:nvPr/>
          </p:nvSpPr>
          <p:spPr bwMode="auto">
            <a:xfrm>
              <a:off x="7050088" y="4113213"/>
              <a:ext cx="1206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8" name="Line 255">
              <a:extLst>
                <a:ext uri="{FF2B5EF4-FFF2-40B4-BE49-F238E27FC236}">
                  <a16:creationId xmlns:a16="http://schemas.microsoft.com/office/drawing/2014/main" id="{5A70C4EB-1480-46EB-93A5-AB9B80FC0B04}"/>
                </a:ext>
              </a:extLst>
            </p:cNvPr>
            <p:cNvSpPr>
              <a:spLocks noChangeShapeType="1"/>
            </p:cNvSpPr>
            <p:nvPr/>
          </p:nvSpPr>
          <p:spPr bwMode="auto">
            <a:xfrm>
              <a:off x="7050088" y="4159250"/>
              <a:ext cx="904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9" name="Line 256">
              <a:extLst>
                <a:ext uri="{FF2B5EF4-FFF2-40B4-BE49-F238E27FC236}">
                  <a16:creationId xmlns:a16="http://schemas.microsoft.com/office/drawing/2014/main" id="{FB4B9175-9F6C-4BA0-B17A-37E2F9733AC3}"/>
                </a:ext>
              </a:extLst>
            </p:cNvPr>
            <p:cNvSpPr>
              <a:spLocks noChangeShapeType="1"/>
            </p:cNvSpPr>
            <p:nvPr/>
          </p:nvSpPr>
          <p:spPr bwMode="auto">
            <a:xfrm>
              <a:off x="7050088" y="4203700"/>
              <a:ext cx="74613"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0" name="Oval 257">
              <a:extLst>
                <a:ext uri="{FF2B5EF4-FFF2-40B4-BE49-F238E27FC236}">
                  <a16:creationId xmlns:a16="http://schemas.microsoft.com/office/drawing/2014/main" id="{8A23C130-10D1-43E3-AEA1-FEF22888AF3A}"/>
                </a:ext>
              </a:extLst>
            </p:cNvPr>
            <p:cNvSpPr>
              <a:spLocks noChangeArrowheads="1"/>
            </p:cNvSpPr>
            <p:nvPr/>
          </p:nvSpPr>
          <p:spPr bwMode="auto">
            <a:xfrm>
              <a:off x="7200901" y="4173538"/>
              <a:ext cx="112713" cy="112713"/>
            </a:xfrm>
            <a:prstGeom prst="ellipse">
              <a:avLst/>
            </a:prstGeom>
            <a:noFill/>
            <a:ln w="12700"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1" name="Line 258">
              <a:extLst>
                <a:ext uri="{FF2B5EF4-FFF2-40B4-BE49-F238E27FC236}">
                  <a16:creationId xmlns:a16="http://schemas.microsoft.com/office/drawing/2014/main" id="{3074ACD8-B30D-467E-9AB1-E7651AC8C80F}"/>
                </a:ext>
              </a:extLst>
            </p:cNvPr>
            <p:cNvSpPr>
              <a:spLocks noChangeShapeType="1"/>
            </p:cNvSpPr>
            <p:nvPr/>
          </p:nvSpPr>
          <p:spPr bwMode="auto">
            <a:xfrm>
              <a:off x="7297738" y="4271963"/>
              <a:ext cx="52388" cy="52388"/>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2" name="Freeform 259">
              <a:extLst>
                <a:ext uri="{FF2B5EF4-FFF2-40B4-BE49-F238E27FC236}">
                  <a16:creationId xmlns:a16="http://schemas.microsoft.com/office/drawing/2014/main" id="{13CF3B64-E173-40D8-9AAB-D09463A38AF9}"/>
                </a:ext>
              </a:extLst>
            </p:cNvPr>
            <p:cNvSpPr>
              <a:spLocks/>
            </p:cNvSpPr>
            <p:nvPr/>
          </p:nvSpPr>
          <p:spPr bwMode="auto">
            <a:xfrm>
              <a:off x="7005638" y="3978275"/>
              <a:ext cx="239713" cy="315913"/>
            </a:xfrm>
            <a:custGeom>
              <a:avLst/>
              <a:gdLst>
                <a:gd name="T0" fmla="*/ 113 w 151"/>
                <a:gd name="T1" fmla="*/ 199 h 199"/>
                <a:gd name="T2" fmla="*/ 0 w 151"/>
                <a:gd name="T3" fmla="*/ 199 h 199"/>
                <a:gd name="T4" fmla="*/ 0 w 151"/>
                <a:gd name="T5" fmla="*/ 0 h 199"/>
                <a:gd name="T6" fmla="*/ 104 w 151"/>
                <a:gd name="T7" fmla="*/ 0 h 199"/>
                <a:gd name="T8" fmla="*/ 151 w 151"/>
                <a:gd name="T9" fmla="*/ 47 h 199"/>
                <a:gd name="T10" fmla="*/ 151 w 151"/>
                <a:gd name="T11" fmla="*/ 99 h 199"/>
              </a:gdLst>
              <a:ahLst/>
              <a:cxnLst>
                <a:cxn ang="0">
                  <a:pos x="T0" y="T1"/>
                </a:cxn>
                <a:cxn ang="0">
                  <a:pos x="T2" y="T3"/>
                </a:cxn>
                <a:cxn ang="0">
                  <a:pos x="T4" y="T5"/>
                </a:cxn>
                <a:cxn ang="0">
                  <a:pos x="T6" y="T7"/>
                </a:cxn>
                <a:cxn ang="0">
                  <a:pos x="T8" y="T9"/>
                </a:cxn>
                <a:cxn ang="0">
                  <a:pos x="T10" y="T11"/>
                </a:cxn>
              </a:cxnLst>
              <a:rect l="0" t="0" r="r" b="b"/>
              <a:pathLst>
                <a:path w="151" h="199">
                  <a:moveTo>
                    <a:pt x="113" y="199"/>
                  </a:moveTo>
                  <a:lnTo>
                    <a:pt x="0" y="199"/>
                  </a:lnTo>
                  <a:lnTo>
                    <a:pt x="0" y="0"/>
                  </a:lnTo>
                  <a:lnTo>
                    <a:pt x="104" y="0"/>
                  </a:lnTo>
                  <a:lnTo>
                    <a:pt x="151" y="47"/>
                  </a:lnTo>
                  <a:lnTo>
                    <a:pt x="151" y="99"/>
                  </a:lnTo>
                </a:path>
              </a:pathLst>
            </a:custGeom>
            <a:noFill/>
            <a:ln w="12700"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3" name="Freeform 260">
              <a:extLst>
                <a:ext uri="{FF2B5EF4-FFF2-40B4-BE49-F238E27FC236}">
                  <a16:creationId xmlns:a16="http://schemas.microsoft.com/office/drawing/2014/main" id="{B190A5DE-8E01-4A92-A817-FB5E2DB2F875}"/>
                </a:ext>
              </a:extLst>
            </p:cNvPr>
            <p:cNvSpPr>
              <a:spLocks/>
            </p:cNvSpPr>
            <p:nvPr/>
          </p:nvSpPr>
          <p:spPr bwMode="auto">
            <a:xfrm>
              <a:off x="7170738" y="3978275"/>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54" name="Group 253">
            <a:extLst>
              <a:ext uri="{FF2B5EF4-FFF2-40B4-BE49-F238E27FC236}">
                <a16:creationId xmlns:a16="http://schemas.microsoft.com/office/drawing/2014/main" id="{55E4F7DD-EAB0-4D2C-877C-3FE020264E3F}"/>
              </a:ext>
            </a:extLst>
          </p:cNvPr>
          <p:cNvGrpSpPr/>
          <p:nvPr/>
        </p:nvGrpSpPr>
        <p:grpSpPr>
          <a:xfrm>
            <a:off x="7974839" y="5205514"/>
            <a:ext cx="211230" cy="286013"/>
            <a:chOff x="7770813" y="2532063"/>
            <a:chExt cx="255588" cy="346075"/>
          </a:xfrm>
        </p:grpSpPr>
        <p:sp>
          <p:nvSpPr>
            <p:cNvPr id="255" name="Freeform 52">
              <a:extLst>
                <a:ext uri="{FF2B5EF4-FFF2-40B4-BE49-F238E27FC236}">
                  <a16:creationId xmlns:a16="http://schemas.microsoft.com/office/drawing/2014/main" id="{3BBDAFC4-ADF3-4835-BE20-2BA34A3CAF61}"/>
                </a:ext>
              </a:extLst>
            </p:cNvPr>
            <p:cNvSpPr>
              <a:spLocks/>
            </p:cNvSpPr>
            <p:nvPr/>
          </p:nvSpPr>
          <p:spPr bwMode="auto">
            <a:xfrm>
              <a:off x="7800975" y="2532063"/>
              <a:ext cx="195263" cy="173038"/>
            </a:xfrm>
            <a:custGeom>
              <a:avLst/>
              <a:gdLst>
                <a:gd name="T0" fmla="*/ 52 w 52"/>
                <a:gd name="T1" fmla="*/ 20 h 46"/>
                <a:gd name="T2" fmla="*/ 26 w 52"/>
                <a:gd name="T3" fmla="*/ 46 h 46"/>
                <a:gd name="T4" fmla="*/ 0 w 52"/>
                <a:gd name="T5" fmla="*/ 20 h 46"/>
                <a:gd name="T6" fmla="*/ 0 w 52"/>
                <a:gd name="T7" fmla="*/ 0 h 46"/>
                <a:gd name="T8" fmla="*/ 52 w 52"/>
                <a:gd name="T9" fmla="*/ 0 h 46"/>
                <a:gd name="T10" fmla="*/ 52 w 52"/>
                <a:gd name="T11" fmla="*/ 20 h 46"/>
              </a:gdLst>
              <a:ahLst/>
              <a:cxnLst>
                <a:cxn ang="0">
                  <a:pos x="T0" y="T1"/>
                </a:cxn>
                <a:cxn ang="0">
                  <a:pos x="T2" y="T3"/>
                </a:cxn>
                <a:cxn ang="0">
                  <a:pos x="T4" y="T5"/>
                </a:cxn>
                <a:cxn ang="0">
                  <a:pos x="T6" y="T7"/>
                </a:cxn>
                <a:cxn ang="0">
                  <a:pos x="T8" y="T9"/>
                </a:cxn>
                <a:cxn ang="0">
                  <a:pos x="T10" y="T11"/>
                </a:cxn>
              </a:cxnLst>
              <a:rect l="0" t="0" r="r" b="b"/>
              <a:pathLst>
                <a:path w="52" h="46">
                  <a:moveTo>
                    <a:pt x="52" y="20"/>
                  </a:moveTo>
                  <a:cubicBezTo>
                    <a:pt x="52" y="34"/>
                    <a:pt x="40" y="46"/>
                    <a:pt x="26" y="46"/>
                  </a:cubicBezTo>
                  <a:cubicBezTo>
                    <a:pt x="12" y="46"/>
                    <a:pt x="0" y="34"/>
                    <a:pt x="0" y="20"/>
                  </a:cubicBezTo>
                  <a:cubicBezTo>
                    <a:pt x="0" y="0"/>
                    <a:pt x="0" y="0"/>
                    <a:pt x="0" y="0"/>
                  </a:cubicBezTo>
                  <a:cubicBezTo>
                    <a:pt x="52" y="0"/>
                    <a:pt x="52" y="0"/>
                    <a:pt x="52" y="0"/>
                  </a:cubicBezTo>
                  <a:lnTo>
                    <a:pt x="52" y="20"/>
                  </a:ln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6" name="Freeform 53">
              <a:extLst>
                <a:ext uri="{FF2B5EF4-FFF2-40B4-BE49-F238E27FC236}">
                  <a16:creationId xmlns:a16="http://schemas.microsoft.com/office/drawing/2014/main" id="{C55319B6-7F3B-4E31-8D57-1B20B9D2B9B6}"/>
                </a:ext>
              </a:extLst>
            </p:cNvPr>
            <p:cNvSpPr>
              <a:spLocks/>
            </p:cNvSpPr>
            <p:nvPr/>
          </p:nvSpPr>
          <p:spPr bwMode="auto">
            <a:xfrm>
              <a:off x="7800975" y="2705100"/>
              <a:ext cx="195263" cy="173038"/>
            </a:xfrm>
            <a:custGeom>
              <a:avLst/>
              <a:gdLst>
                <a:gd name="T0" fmla="*/ 52 w 52"/>
                <a:gd name="T1" fmla="*/ 26 h 46"/>
                <a:gd name="T2" fmla="*/ 26 w 52"/>
                <a:gd name="T3" fmla="*/ 0 h 46"/>
                <a:gd name="T4" fmla="*/ 0 w 52"/>
                <a:gd name="T5" fmla="*/ 26 h 46"/>
                <a:gd name="T6" fmla="*/ 0 w 52"/>
                <a:gd name="T7" fmla="*/ 46 h 46"/>
                <a:gd name="T8" fmla="*/ 52 w 52"/>
                <a:gd name="T9" fmla="*/ 46 h 46"/>
                <a:gd name="T10" fmla="*/ 52 w 52"/>
                <a:gd name="T11" fmla="*/ 26 h 46"/>
              </a:gdLst>
              <a:ahLst/>
              <a:cxnLst>
                <a:cxn ang="0">
                  <a:pos x="T0" y="T1"/>
                </a:cxn>
                <a:cxn ang="0">
                  <a:pos x="T2" y="T3"/>
                </a:cxn>
                <a:cxn ang="0">
                  <a:pos x="T4" y="T5"/>
                </a:cxn>
                <a:cxn ang="0">
                  <a:pos x="T6" y="T7"/>
                </a:cxn>
                <a:cxn ang="0">
                  <a:pos x="T8" y="T9"/>
                </a:cxn>
                <a:cxn ang="0">
                  <a:pos x="T10" y="T11"/>
                </a:cxn>
              </a:cxnLst>
              <a:rect l="0" t="0" r="r" b="b"/>
              <a:pathLst>
                <a:path w="52" h="46">
                  <a:moveTo>
                    <a:pt x="52" y="26"/>
                  </a:moveTo>
                  <a:cubicBezTo>
                    <a:pt x="52" y="12"/>
                    <a:pt x="40" y="0"/>
                    <a:pt x="26" y="0"/>
                  </a:cubicBezTo>
                  <a:cubicBezTo>
                    <a:pt x="12" y="0"/>
                    <a:pt x="0" y="12"/>
                    <a:pt x="0" y="26"/>
                  </a:cubicBezTo>
                  <a:cubicBezTo>
                    <a:pt x="0" y="46"/>
                    <a:pt x="0" y="46"/>
                    <a:pt x="0" y="46"/>
                  </a:cubicBezTo>
                  <a:cubicBezTo>
                    <a:pt x="52" y="46"/>
                    <a:pt x="52" y="46"/>
                    <a:pt x="52" y="46"/>
                  </a:cubicBezTo>
                  <a:lnTo>
                    <a:pt x="52" y="26"/>
                  </a:lnTo>
                  <a:close/>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7" name="Line 54">
              <a:extLst>
                <a:ext uri="{FF2B5EF4-FFF2-40B4-BE49-F238E27FC236}">
                  <a16:creationId xmlns:a16="http://schemas.microsoft.com/office/drawing/2014/main" id="{A5225864-EB2B-473C-ACF9-141F4961B9E5}"/>
                </a:ext>
              </a:extLst>
            </p:cNvPr>
            <p:cNvSpPr>
              <a:spLocks noChangeShapeType="1"/>
            </p:cNvSpPr>
            <p:nvPr/>
          </p:nvSpPr>
          <p:spPr bwMode="auto">
            <a:xfrm>
              <a:off x="7770813" y="2532063"/>
              <a:ext cx="2555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8" name="Line 55">
              <a:extLst>
                <a:ext uri="{FF2B5EF4-FFF2-40B4-BE49-F238E27FC236}">
                  <a16:creationId xmlns:a16="http://schemas.microsoft.com/office/drawing/2014/main" id="{7821941E-F95A-43EC-B47F-876A3FDE8AAF}"/>
                </a:ext>
              </a:extLst>
            </p:cNvPr>
            <p:cNvSpPr>
              <a:spLocks noChangeShapeType="1"/>
            </p:cNvSpPr>
            <p:nvPr/>
          </p:nvSpPr>
          <p:spPr bwMode="auto">
            <a:xfrm>
              <a:off x="7770813" y="2878138"/>
              <a:ext cx="255588"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9" name="Freeform 56">
              <a:extLst>
                <a:ext uri="{FF2B5EF4-FFF2-40B4-BE49-F238E27FC236}">
                  <a16:creationId xmlns:a16="http://schemas.microsoft.com/office/drawing/2014/main" id="{C2FDBE52-E8F7-43EC-A646-5C9F8E924CCF}"/>
                </a:ext>
              </a:extLst>
            </p:cNvPr>
            <p:cNvSpPr>
              <a:spLocks/>
            </p:cNvSpPr>
            <p:nvPr/>
          </p:nvSpPr>
          <p:spPr bwMode="auto">
            <a:xfrm>
              <a:off x="7800975" y="2773363"/>
              <a:ext cx="195263" cy="44450"/>
            </a:xfrm>
            <a:custGeom>
              <a:avLst/>
              <a:gdLst>
                <a:gd name="T0" fmla="*/ 0 w 123"/>
                <a:gd name="T1" fmla="*/ 28 h 28"/>
                <a:gd name="T2" fmla="*/ 33 w 123"/>
                <a:gd name="T3" fmla="*/ 28 h 28"/>
                <a:gd name="T4" fmla="*/ 62 w 123"/>
                <a:gd name="T5" fmla="*/ 0 h 28"/>
                <a:gd name="T6" fmla="*/ 90 w 123"/>
                <a:gd name="T7" fmla="*/ 28 h 28"/>
                <a:gd name="T8" fmla="*/ 123 w 123"/>
                <a:gd name="T9" fmla="*/ 28 h 28"/>
              </a:gdLst>
              <a:ahLst/>
              <a:cxnLst>
                <a:cxn ang="0">
                  <a:pos x="T0" y="T1"/>
                </a:cxn>
                <a:cxn ang="0">
                  <a:pos x="T2" y="T3"/>
                </a:cxn>
                <a:cxn ang="0">
                  <a:pos x="T4" y="T5"/>
                </a:cxn>
                <a:cxn ang="0">
                  <a:pos x="T6" y="T7"/>
                </a:cxn>
                <a:cxn ang="0">
                  <a:pos x="T8" y="T9"/>
                </a:cxn>
              </a:cxnLst>
              <a:rect l="0" t="0" r="r" b="b"/>
              <a:pathLst>
                <a:path w="123" h="28">
                  <a:moveTo>
                    <a:pt x="0" y="28"/>
                  </a:moveTo>
                  <a:lnTo>
                    <a:pt x="33" y="28"/>
                  </a:lnTo>
                  <a:lnTo>
                    <a:pt x="62" y="0"/>
                  </a:lnTo>
                  <a:lnTo>
                    <a:pt x="90" y="28"/>
                  </a:lnTo>
                  <a:lnTo>
                    <a:pt x="123" y="28"/>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0" name="Line 57">
              <a:extLst>
                <a:ext uri="{FF2B5EF4-FFF2-40B4-BE49-F238E27FC236}">
                  <a16:creationId xmlns:a16="http://schemas.microsoft.com/office/drawing/2014/main" id="{736FA47C-D7AE-4692-938F-139F611AD4E5}"/>
                </a:ext>
              </a:extLst>
            </p:cNvPr>
            <p:cNvSpPr>
              <a:spLocks noChangeShapeType="1"/>
            </p:cNvSpPr>
            <p:nvPr/>
          </p:nvSpPr>
          <p:spPr bwMode="auto">
            <a:xfrm>
              <a:off x="7824788" y="2667000"/>
              <a:ext cx="14922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 name="Slide Number Placeholder 2">
            <a:extLst>
              <a:ext uri="{FF2B5EF4-FFF2-40B4-BE49-F238E27FC236}">
                <a16:creationId xmlns:a16="http://schemas.microsoft.com/office/drawing/2014/main" id="{92D984C2-5E61-49C3-B6B9-7AA5293D0392}"/>
              </a:ext>
            </a:extLst>
          </p:cNvPr>
          <p:cNvSpPr>
            <a:spLocks noGrp="1"/>
          </p:cNvSpPr>
          <p:nvPr>
            <p:ph type="sldNum" sz="quarter" idx="12"/>
          </p:nvPr>
        </p:nvSpPr>
        <p:spPr/>
        <p:txBody>
          <a:bodyPr/>
          <a:lstStyle/>
          <a:p>
            <a:fld id="{89CD6E39-4852-418B-BA35-BEEEB494AB9E}" type="slidenum">
              <a:rPr lang="en-US" smtClean="0"/>
              <a:t>8</a:t>
            </a:fld>
            <a:endParaRPr lang="en-US"/>
          </a:p>
        </p:txBody>
      </p:sp>
    </p:spTree>
    <p:extLst>
      <p:ext uri="{BB962C8B-B14F-4D97-AF65-F5344CB8AC3E}">
        <p14:creationId xmlns:p14="http://schemas.microsoft.com/office/powerpoint/2010/main" val="245865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37A54F-6B2F-4D59-B27A-2100AFB28EC6}"/>
              </a:ext>
            </a:extLst>
          </p:cNvPr>
          <p:cNvGraphicFramePr>
            <a:graphicFrameLocks noChangeAspect="1"/>
          </p:cNvGraphicFramePr>
          <p:nvPr>
            <p:custDataLst>
              <p:tags r:id="rId2"/>
            </p:custDataLst>
            <p:extLst>
              <p:ext uri="{D42A27DB-BD31-4B8C-83A1-F6EECF244321}">
                <p14:modId xmlns:p14="http://schemas.microsoft.com/office/powerpoint/2010/main" val="4262820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7"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2CBD6C5-6032-42C4-98D9-F6F6D7F1419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rial Black" panose="020B0A04020102020204" pitchFamily="34" charset="0"/>
              <a:ea typeface="+mj-ea"/>
              <a:cs typeface="+mj-cs"/>
              <a:sym typeface="Arial Black" panose="020B0A04020102020204" pitchFamily="34" charset="0"/>
            </a:endParaRPr>
          </a:p>
        </p:txBody>
      </p:sp>
      <p:sp>
        <p:nvSpPr>
          <p:cNvPr id="10" name="Rectángulo 11314">
            <a:extLst>
              <a:ext uri="{FF2B5EF4-FFF2-40B4-BE49-F238E27FC236}">
                <a16:creationId xmlns:a16="http://schemas.microsoft.com/office/drawing/2014/main" id="{97551772-4555-4A9D-9102-7438F55F5C30}"/>
              </a:ext>
            </a:extLst>
          </p:cNvPr>
          <p:cNvSpPr/>
          <p:nvPr/>
        </p:nvSpPr>
        <p:spPr>
          <a:xfrm>
            <a:off x="0" y="-25563"/>
            <a:ext cx="12191999" cy="2502064"/>
          </a:xfrm>
          <a:prstGeom prst="rect">
            <a:avLst/>
          </a:prstGeom>
          <a:gradFill>
            <a:gsLst>
              <a:gs pos="100000">
                <a:srgbClr val="006496"/>
              </a:gs>
              <a:gs pos="49000">
                <a:srgbClr val="0077B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5EEA85B-BBE4-4AEA-BF71-0556B13C7838}"/>
              </a:ext>
            </a:extLst>
          </p:cNvPr>
          <p:cNvSpPr>
            <a:spLocks noGrp="1"/>
          </p:cNvSpPr>
          <p:nvPr>
            <p:ph type="title"/>
          </p:nvPr>
        </p:nvSpPr>
        <p:spPr>
          <a:xfrm>
            <a:off x="507999" y="365125"/>
            <a:ext cx="11326153" cy="1311275"/>
          </a:xfrm>
        </p:spPr>
        <p:txBody>
          <a:bodyPr>
            <a:noAutofit/>
          </a:bodyPr>
          <a:lstStyle/>
          <a:p>
            <a:r>
              <a:rPr lang="en-US" sz="4000" dirty="0">
                <a:solidFill>
                  <a:schemeClr val="bg1"/>
                </a:solidFill>
              </a:rPr>
              <a:t>3 Habits of Successful Language Learners</a:t>
            </a:r>
          </a:p>
        </p:txBody>
      </p:sp>
      <p:sp>
        <p:nvSpPr>
          <p:cNvPr id="11" name="Rectangle: Rounded Corners 10">
            <a:extLst>
              <a:ext uri="{FF2B5EF4-FFF2-40B4-BE49-F238E27FC236}">
                <a16:creationId xmlns:a16="http://schemas.microsoft.com/office/drawing/2014/main" id="{05B0B74D-43F5-4F5F-976E-7BCAE1B6C843}"/>
              </a:ext>
            </a:extLst>
          </p:cNvPr>
          <p:cNvSpPr/>
          <p:nvPr/>
        </p:nvSpPr>
        <p:spPr>
          <a:xfrm>
            <a:off x="507999" y="1943100"/>
            <a:ext cx="11326153" cy="4048592"/>
          </a:xfrm>
          <a:prstGeom prst="roundRect">
            <a:avLst>
              <a:gd name="adj" fmla="val 1874"/>
            </a:avLst>
          </a:prstGeom>
          <a:solidFill>
            <a:schemeClr val="bg1"/>
          </a:solidFill>
          <a:effectLst>
            <a:outerShdw blurRad="50800" dist="38100" dir="2700000" algn="tl" rotWithShape="0">
              <a:prstClr val="black">
                <a:alpha val="20000"/>
              </a:prstClr>
            </a:outerShdw>
          </a:effectLst>
        </p:spPr>
        <p:txBody>
          <a:bodyPr vert="horz" wrap="square" lIns="252000" tIns="396000" rIns="0" bIns="0" rtlCol="0">
            <a:noAutofit/>
          </a:bodyPr>
          <a:lstStyle/>
          <a:p>
            <a:pPr>
              <a:lnSpc>
                <a:spcPct val="90000"/>
              </a:lnSpc>
              <a:spcBef>
                <a:spcPts val="1000"/>
              </a:spcBef>
            </a:pPr>
            <a:endParaRPr lang="en-ID" sz="2400">
              <a:solidFill>
                <a:srgbClr val="272525"/>
              </a:solidFill>
              <a:latin typeface="Dubai Light" panose="020B0303030403030204" pitchFamily="34" charset="-78"/>
              <a:cs typeface="Dubai Light" panose="020B0303030403030204" pitchFamily="34" charset="-78"/>
            </a:endParaRPr>
          </a:p>
        </p:txBody>
      </p:sp>
      <p:grpSp>
        <p:nvGrpSpPr>
          <p:cNvPr id="336" name="Group 335">
            <a:extLst>
              <a:ext uri="{FF2B5EF4-FFF2-40B4-BE49-F238E27FC236}">
                <a16:creationId xmlns:a16="http://schemas.microsoft.com/office/drawing/2014/main" id="{CBEFA59C-059F-4EA0-AEAE-344728BD6E54}"/>
              </a:ext>
            </a:extLst>
          </p:cNvPr>
          <p:cNvGrpSpPr/>
          <p:nvPr/>
        </p:nvGrpSpPr>
        <p:grpSpPr>
          <a:xfrm>
            <a:off x="5726999" y="2358640"/>
            <a:ext cx="5830002" cy="3369913"/>
            <a:chOff x="6292850" y="2435618"/>
            <a:chExt cx="5300002" cy="3063557"/>
          </a:xfrm>
        </p:grpSpPr>
        <p:grpSp>
          <p:nvGrpSpPr>
            <p:cNvPr id="15" name="Group 207">
              <a:extLst>
                <a:ext uri="{FF2B5EF4-FFF2-40B4-BE49-F238E27FC236}">
                  <a16:creationId xmlns:a16="http://schemas.microsoft.com/office/drawing/2014/main" id="{F156E5B3-5549-4D2C-966E-DEC1823EBA49}"/>
                </a:ext>
              </a:extLst>
            </p:cNvPr>
            <p:cNvGrpSpPr>
              <a:grpSpLocks/>
            </p:cNvGrpSpPr>
            <p:nvPr/>
          </p:nvGrpSpPr>
          <p:grpSpPr bwMode="auto">
            <a:xfrm>
              <a:off x="6292850" y="2435618"/>
              <a:ext cx="5300002" cy="3063557"/>
              <a:chOff x="574" y="264"/>
              <a:chExt cx="6536" cy="3778"/>
            </a:xfrm>
          </p:grpSpPr>
          <p:sp>
            <p:nvSpPr>
              <p:cNvPr id="136" name="Freeform 7">
                <a:extLst>
                  <a:ext uri="{FF2B5EF4-FFF2-40B4-BE49-F238E27FC236}">
                    <a16:creationId xmlns:a16="http://schemas.microsoft.com/office/drawing/2014/main" id="{9596154A-54CB-48D7-8392-24D24CB80276}"/>
                  </a:ext>
                </a:extLst>
              </p:cNvPr>
              <p:cNvSpPr>
                <a:spLocks/>
              </p:cNvSpPr>
              <p:nvPr/>
            </p:nvSpPr>
            <p:spPr bwMode="auto">
              <a:xfrm>
                <a:off x="1424" y="264"/>
                <a:ext cx="1236" cy="1237"/>
              </a:xfrm>
              <a:custGeom>
                <a:avLst/>
                <a:gdLst>
                  <a:gd name="T0" fmla="*/ 9 w 521"/>
                  <a:gd name="T1" fmla="*/ 244 h 521"/>
                  <a:gd name="T2" fmla="*/ 277 w 521"/>
                  <a:gd name="T3" fmla="*/ 9 h 521"/>
                  <a:gd name="T4" fmla="*/ 512 w 521"/>
                  <a:gd name="T5" fmla="*/ 277 h 521"/>
                  <a:gd name="T6" fmla="*/ 244 w 521"/>
                  <a:gd name="T7" fmla="*/ 512 h 521"/>
                  <a:gd name="T8" fmla="*/ 9 w 521"/>
                  <a:gd name="T9" fmla="*/ 244 h 521"/>
                </a:gdLst>
                <a:ahLst/>
                <a:cxnLst>
                  <a:cxn ang="0">
                    <a:pos x="T0" y="T1"/>
                  </a:cxn>
                  <a:cxn ang="0">
                    <a:pos x="T2" y="T3"/>
                  </a:cxn>
                  <a:cxn ang="0">
                    <a:pos x="T4" y="T5"/>
                  </a:cxn>
                  <a:cxn ang="0">
                    <a:pos x="T6" y="T7"/>
                  </a:cxn>
                  <a:cxn ang="0">
                    <a:pos x="T8" y="T9"/>
                  </a:cxn>
                </a:cxnLst>
                <a:rect l="0" t="0" r="r" b="b"/>
                <a:pathLst>
                  <a:path w="521" h="521">
                    <a:moveTo>
                      <a:pt x="9" y="244"/>
                    </a:moveTo>
                    <a:cubicBezTo>
                      <a:pt x="18" y="105"/>
                      <a:pt x="138" y="0"/>
                      <a:pt x="277" y="9"/>
                    </a:cubicBezTo>
                    <a:cubicBezTo>
                      <a:pt x="416" y="18"/>
                      <a:pt x="521" y="138"/>
                      <a:pt x="512" y="277"/>
                    </a:cubicBezTo>
                    <a:cubicBezTo>
                      <a:pt x="503" y="416"/>
                      <a:pt x="383" y="521"/>
                      <a:pt x="244" y="512"/>
                    </a:cubicBezTo>
                    <a:cubicBezTo>
                      <a:pt x="105" y="503"/>
                      <a:pt x="0" y="383"/>
                      <a:pt x="9" y="24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8">
                <a:extLst>
                  <a:ext uri="{FF2B5EF4-FFF2-40B4-BE49-F238E27FC236}">
                    <a16:creationId xmlns:a16="http://schemas.microsoft.com/office/drawing/2014/main" id="{6784FD5C-B866-4EC1-A874-C7A2D78F6835}"/>
                  </a:ext>
                </a:extLst>
              </p:cNvPr>
              <p:cNvSpPr>
                <a:spLocks/>
              </p:cNvSpPr>
              <p:nvPr/>
            </p:nvSpPr>
            <p:spPr bwMode="auto">
              <a:xfrm>
                <a:off x="2036" y="549"/>
                <a:ext cx="278" cy="356"/>
              </a:xfrm>
              <a:custGeom>
                <a:avLst/>
                <a:gdLst>
                  <a:gd name="T0" fmla="*/ 117 w 117"/>
                  <a:gd name="T1" fmla="*/ 148 h 150"/>
                  <a:gd name="T2" fmla="*/ 108 w 117"/>
                  <a:gd name="T3" fmla="*/ 149 h 150"/>
                  <a:gd name="T4" fmla="*/ 84 w 117"/>
                  <a:gd name="T5" fmla="*/ 149 h 150"/>
                  <a:gd name="T6" fmla="*/ 1 w 117"/>
                  <a:gd name="T7" fmla="*/ 150 h 150"/>
                  <a:gd name="T8" fmla="*/ 0 w 117"/>
                  <a:gd name="T9" fmla="*/ 150 h 150"/>
                  <a:gd name="T10" fmla="*/ 0 w 117"/>
                  <a:gd name="T11" fmla="*/ 148 h 150"/>
                  <a:gd name="T12" fmla="*/ 0 w 117"/>
                  <a:gd name="T13" fmla="*/ 132 h 150"/>
                  <a:gd name="T14" fmla="*/ 0 w 117"/>
                  <a:gd name="T15" fmla="*/ 38 h 150"/>
                  <a:gd name="T16" fmla="*/ 1 w 117"/>
                  <a:gd name="T17" fmla="*/ 10 h 150"/>
                  <a:gd name="T18" fmla="*/ 1 w 117"/>
                  <a:gd name="T19" fmla="*/ 0 h 150"/>
                  <a:gd name="T20" fmla="*/ 2 w 117"/>
                  <a:gd name="T21" fmla="*/ 10 h 150"/>
                  <a:gd name="T22" fmla="*/ 2 w 117"/>
                  <a:gd name="T23" fmla="*/ 38 h 150"/>
                  <a:gd name="T24" fmla="*/ 3 w 117"/>
                  <a:gd name="T25" fmla="*/ 132 h 150"/>
                  <a:gd name="T26" fmla="*/ 3 w 117"/>
                  <a:gd name="T27" fmla="*/ 148 h 150"/>
                  <a:gd name="T28" fmla="*/ 1 w 117"/>
                  <a:gd name="T29" fmla="*/ 147 h 150"/>
                  <a:gd name="T30" fmla="*/ 84 w 117"/>
                  <a:gd name="T31" fmla="*/ 147 h 150"/>
                  <a:gd name="T32" fmla="*/ 108 w 117"/>
                  <a:gd name="T33" fmla="*/ 148 h 150"/>
                  <a:gd name="T34" fmla="*/ 117 w 117"/>
                  <a:gd name="T35" fmla="*/ 14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7" h="150">
                    <a:moveTo>
                      <a:pt x="117" y="148"/>
                    </a:moveTo>
                    <a:cubicBezTo>
                      <a:pt x="117" y="148"/>
                      <a:pt x="114" y="149"/>
                      <a:pt x="108" y="149"/>
                    </a:cubicBezTo>
                    <a:cubicBezTo>
                      <a:pt x="102" y="149"/>
                      <a:pt x="94" y="149"/>
                      <a:pt x="84" y="149"/>
                    </a:cubicBezTo>
                    <a:cubicBezTo>
                      <a:pt x="63" y="150"/>
                      <a:pt x="34" y="150"/>
                      <a:pt x="1" y="150"/>
                    </a:cubicBezTo>
                    <a:cubicBezTo>
                      <a:pt x="0" y="150"/>
                      <a:pt x="0" y="150"/>
                      <a:pt x="0" y="150"/>
                    </a:cubicBezTo>
                    <a:cubicBezTo>
                      <a:pt x="0" y="148"/>
                      <a:pt x="0" y="148"/>
                      <a:pt x="0" y="148"/>
                    </a:cubicBezTo>
                    <a:cubicBezTo>
                      <a:pt x="0" y="143"/>
                      <a:pt x="0" y="138"/>
                      <a:pt x="0" y="132"/>
                    </a:cubicBezTo>
                    <a:cubicBezTo>
                      <a:pt x="0" y="95"/>
                      <a:pt x="0" y="62"/>
                      <a:pt x="0" y="38"/>
                    </a:cubicBezTo>
                    <a:cubicBezTo>
                      <a:pt x="0" y="27"/>
                      <a:pt x="0" y="17"/>
                      <a:pt x="1" y="10"/>
                    </a:cubicBezTo>
                    <a:cubicBezTo>
                      <a:pt x="1" y="3"/>
                      <a:pt x="1" y="0"/>
                      <a:pt x="1" y="0"/>
                    </a:cubicBezTo>
                    <a:cubicBezTo>
                      <a:pt x="1" y="0"/>
                      <a:pt x="2" y="3"/>
                      <a:pt x="2" y="10"/>
                    </a:cubicBezTo>
                    <a:cubicBezTo>
                      <a:pt x="2" y="17"/>
                      <a:pt x="2" y="27"/>
                      <a:pt x="2" y="38"/>
                    </a:cubicBezTo>
                    <a:cubicBezTo>
                      <a:pt x="3" y="62"/>
                      <a:pt x="3" y="95"/>
                      <a:pt x="3" y="132"/>
                    </a:cubicBezTo>
                    <a:cubicBezTo>
                      <a:pt x="3" y="138"/>
                      <a:pt x="3" y="143"/>
                      <a:pt x="3" y="148"/>
                    </a:cubicBezTo>
                    <a:cubicBezTo>
                      <a:pt x="1" y="147"/>
                      <a:pt x="1" y="147"/>
                      <a:pt x="1" y="147"/>
                    </a:cubicBezTo>
                    <a:cubicBezTo>
                      <a:pt x="34" y="147"/>
                      <a:pt x="63" y="147"/>
                      <a:pt x="84" y="147"/>
                    </a:cubicBezTo>
                    <a:cubicBezTo>
                      <a:pt x="94" y="147"/>
                      <a:pt x="102" y="148"/>
                      <a:pt x="108" y="148"/>
                    </a:cubicBezTo>
                    <a:cubicBezTo>
                      <a:pt x="114" y="148"/>
                      <a:pt x="117" y="148"/>
                      <a:pt x="117" y="14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
                <a:extLst>
                  <a:ext uri="{FF2B5EF4-FFF2-40B4-BE49-F238E27FC236}">
                    <a16:creationId xmlns:a16="http://schemas.microsoft.com/office/drawing/2014/main" id="{0B8591D2-42B3-47B9-B1DC-1C97D232B183}"/>
                  </a:ext>
                </a:extLst>
              </p:cNvPr>
              <p:cNvSpPr>
                <a:spLocks noChangeArrowheads="1"/>
              </p:cNvSpPr>
              <p:nvPr/>
            </p:nvSpPr>
            <p:spPr bwMode="auto">
              <a:xfrm>
                <a:off x="2036" y="383"/>
                <a:ext cx="10" cy="100"/>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0">
                <a:extLst>
                  <a:ext uri="{FF2B5EF4-FFF2-40B4-BE49-F238E27FC236}">
                    <a16:creationId xmlns:a16="http://schemas.microsoft.com/office/drawing/2014/main" id="{F1E41C62-C210-4B40-98AC-88BF53A92013}"/>
                  </a:ext>
                </a:extLst>
              </p:cNvPr>
              <p:cNvSpPr>
                <a:spLocks/>
              </p:cNvSpPr>
              <p:nvPr/>
            </p:nvSpPr>
            <p:spPr bwMode="auto">
              <a:xfrm>
                <a:off x="2243" y="461"/>
                <a:ext cx="73" cy="74"/>
              </a:xfrm>
              <a:custGeom>
                <a:avLst/>
                <a:gdLst>
                  <a:gd name="T0" fmla="*/ 30 w 31"/>
                  <a:gd name="T1" fmla="*/ 1 h 31"/>
                  <a:gd name="T2" fmla="*/ 16 w 31"/>
                  <a:gd name="T3" fmla="*/ 17 h 31"/>
                  <a:gd name="T4" fmla="*/ 0 w 31"/>
                  <a:gd name="T5" fmla="*/ 30 h 31"/>
                  <a:gd name="T6" fmla="*/ 14 w 31"/>
                  <a:gd name="T7" fmla="*/ 14 h 31"/>
                  <a:gd name="T8" fmla="*/ 30 w 31"/>
                  <a:gd name="T9" fmla="*/ 1 h 31"/>
                </a:gdLst>
                <a:ahLst/>
                <a:cxnLst>
                  <a:cxn ang="0">
                    <a:pos x="T0" y="T1"/>
                  </a:cxn>
                  <a:cxn ang="0">
                    <a:pos x="T2" y="T3"/>
                  </a:cxn>
                  <a:cxn ang="0">
                    <a:pos x="T4" y="T5"/>
                  </a:cxn>
                  <a:cxn ang="0">
                    <a:pos x="T6" y="T7"/>
                  </a:cxn>
                  <a:cxn ang="0">
                    <a:pos x="T8" y="T9"/>
                  </a:cxn>
                </a:cxnLst>
                <a:rect l="0" t="0" r="r" b="b"/>
                <a:pathLst>
                  <a:path w="31" h="31">
                    <a:moveTo>
                      <a:pt x="30" y="1"/>
                    </a:moveTo>
                    <a:cubicBezTo>
                      <a:pt x="31" y="1"/>
                      <a:pt x="24" y="9"/>
                      <a:pt x="16" y="17"/>
                    </a:cubicBezTo>
                    <a:cubicBezTo>
                      <a:pt x="8" y="25"/>
                      <a:pt x="1" y="31"/>
                      <a:pt x="0" y="30"/>
                    </a:cubicBezTo>
                    <a:cubicBezTo>
                      <a:pt x="0" y="30"/>
                      <a:pt x="6" y="23"/>
                      <a:pt x="14" y="14"/>
                    </a:cubicBezTo>
                    <a:cubicBezTo>
                      <a:pt x="22" y="6"/>
                      <a:pt x="29" y="0"/>
                      <a:pt x="30"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1">
                <a:extLst>
                  <a:ext uri="{FF2B5EF4-FFF2-40B4-BE49-F238E27FC236}">
                    <a16:creationId xmlns:a16="http://schemas.microsoft.com/office/drawing/2014/main" id="{402BBF93-EDBB-4D19-B9B4-C79A8C8B8900}"/>
                  </a:ext>
                </a:extLst>
              </p:cNvPr>
              <p:cNvSpPr>
                <a:spLocks/>
              </p:cNvSpPr>
              <p:nvPr/>
            </p:nvSpPr>
            <p:spPr bwMode="auto">
              <a:xfrm>
                <a:off x="2388" y="635"/>
                <a:ext cx="87" cy="56"/>
              </a:xfrm>
              <a:custGeom>
                <a:avLst/>
                <a:gdLst>
                  <a:gd name="T0" fmla="*/ 36 w 37"/>
                  <a:gd name="T1" fmla="*/ 1 h 24"/>
                  <a:gd name="T2" fmla="*/ 19 w 37"/>
                  <a:gd name="T3" fmla="*/ 13 h 24"/>
                  <a:gd name="T4" fmla="*/ 0 w 37"/>
                  <a:gd name="T5" fmla="*/ 23 h 24"/>
                  <a:gd name="T6" fmla="*/ 17 w 37"/>
                  <a:gd name="T7" fmla="*/ 10 h 24"/>
                  <a:gd name="T8" fmla="*/ 36 w 37"/>
                  <a:gd name="T9" fmla="*/ 1 h 24"/>
                </a:gdLst>
                <a:ahLst/>
                <a:cxnLst>
                  <a:cxn ang="0">
                    <a:pos x="T0" y="T1"/>
                  </a:cxn>
                  <a:cxn ang="0">
                    <a:pos x="T2" y="T3"/>
                  </a:cxn>
                  <a:cxn ang="0">
                    <a:pos x="T4" y="T5"/>
                  </a:cxn>
                  <a:cxn ang="0">
                    <a:pos x="T6" y="T7"/>
                  </a:cxn>
                  <a:cxn ang="0">
                    <a:pos x="T8" y="T9"/>
                  </a:cxn>
                </a:cxnLst>
                <a:rect l="0" t="0" r="r" b="b"/>
                <a:pathLst>
                  <a:path w="37" h="24">
                    <a:moveTo>
                      <a:pt x="36" y="1"/>
                    </a:moveTo>
                    <a:cubicBezTo>
                      <a:pt x="37" y="2"/>
                      <a:pt x="29" y="7"/>
                      <a:pt x="19" y="13"/>
                    </a:cubicBezTo>
                    <a:cubicBezTo>
                      <a:pt x="9" y="19"/>
                      <a:pt x="1" y="24"/>
                      <a:pt x="0" y="23"/>
                    </a:cubicBezTo>
                    <a:cubicBezTo>
                      <a:pt x="0" y="22"/>
                      <a:pt x="7" y="16"/>
                      <a:pt x="17" y="10"/>
                    </a:cubicBezTo>
                    <a:cubicBezTo>
                      <a:pt x="27" y="4"/>
                      <a:pt x="36" y="0"/>
                      <a:pt x="36" y="1"/>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2">
                <a:extLst>
                  <a:ext uri="{FF2B5EF4-FFF2-40B4-BE49-F238E27FC236}">
                    <a16:creationId xmlns:a16="http://schemas.microsoft.com/office/drawing/2014/main" id="{46CDF5E7-985A-467B-B916-56FB6A5CE4A0}"/>
                  </a:ext>
                </a:extLst>
              </p:cNvPr>
              <p:cNvSpPr>
                <a:spLocks noChangeArrowheads="1"/>
              </p:cNvSpPr>
              <p:nvPr/>
            </p:nvSpPr>
            <p:spPr bwMode="auto">
              <a:xfrm>
                <a:off x="2430" y="891"/>
                <a:ext cx="138" cy="9"/>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3">
                <a:extLst>
                  <a:ext uri="{FF2B5EF4-FFF2-40B4-BE49-F238E27FC236}">
                    <a16:creationId xmlns:a16="http://schemas.microsoft.com/office/drawing/2014/main" id="{749B4161-9D25-4478-AEA2-F6FE95CBC708}"/>
                  </a:ext>
                </a:extLst>
              </p:cNvPr>
              <p:cNvSpPr>
                <a:spLocks noChangeArrowheads="1"/>
              </p:cNvSpPr>
              <p:nvPr/>
            </p:nvSpPr>
            <p:spPr bwMode="auto">
              <a:xfrm>
                <a:off x="1486" y="884"/>
                <a:ext cx="130" cy="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
                <a:extLst>
                  <a:ext uri="{FF2B5EF4-FFF2-40B4-BE49-F238E27FC236}">
                    <a16:creationId xmlns:a16="http://schemas.microsoft.com/office/drawing/2014/main" id="{74E4B8B0-C610-4A93-A98C-B2033FE0C538}"/>
                  </a:ext>
                </a:extLst>
              </p:cNvPr>
              <p:cNvSpPr>
                <a:spLocks/>
              </p:cNvSpPr>
              <p:nvPr/>
            </p:nvSpPr>
            <p:spPr bwMode="auto">
              <a:xfrm>
                <a:off x="1578" y="1079"/>
                <a:ext cx="107" cy="85"/>
              </a:xfrm>
              <a:custGeom>
                <a:avLst/>
                <a:gdLst>
                  <a:gd name="T0" fmla="*/ 44 w 45"/>
                  <a:gd name="T1" fmla="*/ 0 h 36"/>
                  <a:gd name="T2" fmla="*/ 24 w 45"/>
                  <a:gd name="T3" fmla="*/ 19 h 36"/>
                  <a:gd name="T4" fmla="*/ 1 w 45"/>
                  <a:gd name="T5" fmla="*/ 35 h 36"/>
                  <a:gd name="T6" fmla="*/ 22 w 45"/>
                  <a:gd name="T7" fmla="*/ 16 h 36"/>
                  <a:gd name="T8" fmla="*/ 44 w 45"/>
                  <a:gd name="T9" fmla="*/ 0 h 36"/>
                </a:gdLst>
                <a:ahLst/>
                <a:cxnLst>
                  <a:cxn ang="0">
                    <a:pos x="T0" y="T1"/>
                  </a:cxn>
                  <a:cxn ang="0">
                    <a:pos x="T2" y="T3"/>
                  </a:cxn>
                  <a:cxn ang="0">
                    <a:pos x="T4" y="T5"/>
                  </a:cxn>
                  <a:cxn ang="0">
                    <a:pos x="T6" y="T7"/>
                  </a:cxn>
                  <a:cxn ang="0">
                    <a:pos x="T8" y="T9"/>
                  </a:cxn>
                </a:cxnLst>
                <a:rect l="0" t="0" r="r" b="b"/>
                <a:pathLst>
                  <a:path w="45" h="36">
                    <a:moveTo>
                      <a:pt x="44" y="0"/>
                    </a:moveTo>
                    <a:cubicBezTo>
                      <a:pt x="45" y="1"/>
                      <a:pt x="36" y="9"/>
                      <a:pt x="24" y="19"/>
                    </a:cubicBezTo>
                    <a:cubicBezTo>
                      <a:pt x="12" y="29"/>
                      <a:pt x="1" y="36"/>
                      <a:pt x="1" y="35"/>
                    </a:cubicBezTo>
                    <a:cubicBezTo>
                      <a:pt x="0" y="34"/>
                      <a:pt x="10" y="26"/>
                      <a:pt x="22" y="16"/>
                    </a:cubicBezTo>
                    <a:cubicBezTo>
                      <a:pt x="33" y="7"/>
                      <a:pt x="44" y="0"/>
                      <a:pt x="44"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5">
                <a:extLst>
                  <a:ext uri="{FF2B5EF4-FFF2-40B4-BE49-F238E27FC236}">
                    <a16:creationId xmlns:a16="http://schemas.microsoft.com/office/drawing/2014/main" id="{C2765095-0BA0-4EA3-84CB-2066A0FDB60C}"/>
                  </a:ext>
                </a:extLst>
              </p:cNvPr>
              <p:cNvSpPr>
                <a:spLocks/>
              </p:cNvSpPr>
              <p:nvPr/>
            </p:nvSpPr>
            <p:spPr bwMode="auto">
              <a:xfrm>
                <a:off x="1778" y="1228"/>
                <a:ext cx="73" cy="116"/>
              </a:xfrm>
              <a:custGeom>
                <a:avLst/>
                <a:gdLst>
                  <a:gd name="T0" fmla="*/ 30 w 31"/>
                  <a:gd name="T1" fmla="*/ 0 h 49"/>
                  <a:gd name="T2" fmla="*/ 16 w 31"/>
                  <a:gd name="T3" fmla="*/ 24 h 49"/>
                  <a:gd name="T4" fmla="*/ 1 w 31"/>
                  <a:gd name="T5" fmla="*/ 48 h 49"/>
                  <a:gd name="T6" fmla="*/ 13 w 31"/>
                  <a:gd name="T7" fmla="*/ 23 h 49"/>
                  <a:gd name="T8" fmla="*/ 30 w 31"/>
                  <a:gd name="T9" fmla="*/ 0 h 49"/>
                </a:gdLst>
                <a:ahLst/>
                <a:cxnLst>
                  <a:cxn ang="0">
                    <a:pos x="T0" y="T1"/>
                  </a:cxn>
                  <a:cxn ang="0">
                    <a:pos x="T2" y="T3"/>
                  </a:cxn>
                  <a:cxn ang="0">
                    <a:pos x="T4" y="T5"/>
                  </a:cxn>
                  <a:cxn ang="0">
                    <a:pos x="T6" y="T7"/>
                  </a:cxn>
                  <a:cxn ang="0">
                    <a:pos x="T8" y="T9"/>
                  </a:cxn>
                </a:cxnLst>
                <a:rect l="0" t="0" r="r" b="b"/>
                <a:pathLst>
                  <a:path w="31" h="49">
                    <a:moveTo>
                      <a:pt x="30" y="0"/>
                    </a:moveTo>
                    <a:cubicBezTo>
                      <a:pt x="31" y="1"/>
                      <a:pt x="24" y="11"/>
                      <a:pt x="16" y="24"/>
                    </a:cubicBezTo>
                    <a:cubicBezTo>
                      <a:pt x="8" y="38"/>
                      <a:pt x="2" y="49"/>
                      <a:pt x="1" y="48"/>
                    </a:cubicBezTo>
                    <a:cubicBezTo>
                      <a:pt x="0" y="48"/>
                      <a:pt x="5" y="36"/>
                      <a:pt x="13" y="23"/>
                    </a:cubicBezTo>
                    <a:cubicBezTo>
                      <a:pt x="21" y="9"/>
                      <a:pt x="29" y="0"/>
                      <a:pt x="3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6">
                <a:extLst>
                  <a:ext uri="{FF2B5EF4-FFF2-40B4-BE49-F238E27FC236}">
                    <a16:creationId xmlns:a16="http://schemas.microsoft.com/office/drawing/2014/main" id="{EA0EFF8B-9641-449F-8707-AE10F69F24BF}"/>
                  </a:ext>
                </a:extLst>
              </p:cNvPr>
              <p:cNvSpPr>
                <a:spLocks noChangeArrowheads="1"/>
              </p:cNvSpPr>
              <p:nvPr/>
            </p:nvSpPr>
            <p:spPr bwMode="auto">
              <a:xfrm>
                <a:off x="2036" y="1283"/>
                <a:ext cx="10" cy="137"/>
              </a:xfrm>
              <a:prstGeom prst="ellipse">
                <a:avLst/>
              </a:pr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7">
                <a:extLst>
                  <a:ext uri="{FF2B5EF4-FFF2-40B4-BE49-F238E27FC236}">
                    <a16:creationId xmlns:a16="http://schemas.microsoft.com/office/drawing/2014/main" id="{2304B40F-9EEA-435A-9272-2C7000036B3B}"/>
                  </a:ext>
                </a:extLst>
              </p:cNvPr>
              <p:cNvSpPr>
                <a:spLocks/>
              </p:cNvSpPr>
              <p:nvPr/>
            </p:nvSpPr>
            <p:spPr bwMode="auto">
              <a:xfrm>
                <a:off x="2233" y="1238"/>
                <a:ext cx="105" cy="92"/>
              </a:xfrm>
              <a:custGeom>
                <a:avLst/>
                <a:gdLst>
                  <a:gd name="T0" fmla="*/ 44 w 44"/>
                  <a:gd name="T1" fmla="*/ 38 h 39"/>
                  <a:gd name="T2" fmla="*/ 20 w 44"/>
                  <a:gd name="T3" fmla="*/ 22 h 39"/>
                  <a:gd name="T4" fmla="*/ 0 w 44"/>
                  <a:gd name="T5" fmla="*/ 1 h 39"/>
                  <a:gd name="T6" fmla="*/ 22 w 44"/>
                  <a:gd name="T7" fmla="*/ 20 h 39"/>
                  <a:gd name="T8" fmla="*/ 44 w 44"/>
                  <a:gd name="T9" fmla="*/ 38 h 39"/>
                </a:gdLst>
                <a:ahLst/>
                <a:cxnLst>
                  <a:cxn ang="0">
                    <a:pos x="T0" y="T1"/>
                  </a:cxn>
                  <a:cxn ang="0">
                    <a:pos x="T2" y="T3"/>
                  </a:cxn>
                  <a:cxn ang="0">
                    <a:pos x="T4" y="T5"/>
                  </a:cxn>
                  <a:cxn ang="0">
                    <a:pos x="T6" y="T7"/>
                  </a:cxn>
                  <a:cxn ang="0">
                    <a:pos x="T8" y="T9"/>
                  </a:cxn>
                </a:cxnLst>
                <a:rect l="0" t="0" r="r" b="b"/>
                <a:pathLst>
                  <a:path w="44" h="39">
                    <a:moveTo>
                      <a:pt x="44" y="38"/>
                    </a:moveTo>
                    <a:cubicBezTo>
                      <a:pt x="43" y="39"/>
                      <a:pt x="32" y="33"/>
                      <a:pt x="20" y="22"/>
                    </a:cubicBezTo>
                    <a:cubicBezTo>
                      <a:pt x="8" y="12"/>
                      <a:pt x="0" y="1"/>
                      <a:pt x="0" y="1"/>
                    </a:cubicBezTo>
                    <a:cubicBezTo>
                      <a:pt x="1" y="0"/>
                      <a:pt x="10" y="9"/>
                      <a:pt x="22" y="20"/>
                    </a:cubicBezTo>
                    <a:cubicBezTo>
                      <a:pt x="34" y="30"/>
                      <a:pt x="44" y="38"/>
                      <a:pt x="44" y="38"/>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8">
                <a:extLst>
                  <a:ext uri="{FF2B5EF4-FFF2-40B4-BE49-F238E27FC236}">
                    <a16:creationId xmlns:a16="http://schemas.microsoft.com/office/drawing/2014/main" id="{390F1C0A-20B9-4871-9B15-FA732ADC3F71}"/>
                  </a:ext>
                </a:extLst>
              </p:cNvPr>
              <p:cNvSpPr>
                <a:spLocks/>
              </p:cNvSpPr>
              <p:nvPr/>
            </p:nvSpPr>
            <p:spPr bwMode="auto">
              <a:xfrm>
                <a:off x="2388" y="1093"/>
                <a:ext cx="90" cy="88"/>
              </a:xfrm>
              <a:custGeom>
                <a:avLst/>
                <a:gdLst>
                  <a:gd name="T0" fmla="*/ 37 w 38"/>
                  <a:gd name="T1" fmla="*/ 37 h 37"/>
                  <a:gd name="T2" fmla="*/ 18 w 38"/>
                  <a:gd name="T3" fmla="*/ 20 h 37"/>
                  <a:gd name="T4" fmla="*/ 1 w 38"/>
                  <a:gd name="T5" fmla="*/ 1 h 37"/>
                  <a:gd name="T6" fmla="*/ 20 w 38"/>
                  <a:gd name="T7" fmla="*/ 17 h 37"/>
                  <a:gd name="T8" fmla="*/ 37 w 38"/>
                  <a:gd name="T9" fmla="*/ 37 h 37"/>
                </a:gdLst>
                <a:ahLst/>
                <a:cxnLst>
                  <a:cxn ang="0">
                    <a:pos x="T0" y="T1"/>
                  </a:cxn>
                  <a:cxn ang="0">
                    <a:pos x="T2" y="T3"/>
                  </a:cxn>
                  <a:cxn ang="0">
                    <a:pos x="T4" y="T5"/>
                  </a:cxn>
                  <a:cxn ang="0">
                    <a:pos x="T6" y="T7"/>
                  </a:cxn>
                  <a:cxn ang="0">
                    <a:pos x="T8" y="T9"/>
                  </a:cxn>
                </a:cxnLst>
                <a:rect l="0" t="0" r="r" b="b"/>
                <a:pathLst>
                  <a:path w="38" h="37">
                    <a:moveTo>
                      <a:pt x="37" y="37"/>
                    </a:moveTo>
                    <a:cubicBezTo>
                      <a:pt x="36" y="37"/>
                      <a:pt x="28" y="30"/>
                      <a:pt x="18" y="20"/>
                    </a:cubicBezTo>
                    <a:cubicBezTo>
                      <a:pt x="8" y="10"/>
                      <a:pt x="0" y="1"/>
                      <a:pt x="1" y="1"/>
                    </a:cubicBezTo>
                    <a:cubicBezTo>
                      <a:pt x="2" y="0"/>
                      <a:pt x="10" y="7"/>
                      <a:pt x="20" y="17"/>
                    </a:cubicBezTo>
                    <a:cubicBezTo>
                      <a:pt x="30" y="27"/>
                      <a:pt x="38" y="36"/>
                      <a:pt x="37" y="37"/>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
                <a:extLst>
                  <a:ext uri="{FF2B5EF4-FFF2-40B4-BE49-F238E27FC236}">
                    <a16:creationId xmlns:a16="http://schemas.microsoft.com/office/drawing/2014/main" id="{60A18C47-7551-48F8-9315-E97E3A988722}"/>
                  </a:ext>
                </a:extLst>
              </p:cNvPr>
              <p:cNvSpPr>
                <a:spLocks/>
              </p:cNvSpPr>
              <p:nvPr/>
            </p:nvSpPr>
            <p:spPr bwMode="auto">
              <a:xfrm>
                <a:off x="1600" y="625"/>
                <a:ext cx="78" cy="78"/>
              </a:xfrm>
              <a:custGeom>
                <a:avLst/>
                <a:gdLst>
                  <a:gd name="T0" fmla="*/ 33 w 33"/>
                  <a:gd name="T1" fmla="*/ 33 h 33"/>
                  <a:gd name="T2" fmla="*/ 16 w 33"/>
                  <a:gd name="T3" fmla="*/ 18 h 33"/>
                  <a:gd name="T4" fmla="*/ 1 w 33"/>
                  <a:gd name="T5" fmla="*/ 1 h 33"/>
                  <a:gd name="T6" fmla="*/ 18 w 33"/>
                  <a:gd name="T7" fmla="*/ 16 h 33"/>
                  <a:gd name="T8" fmla="*/ 33 w 33"/>
                  <a:gd name="T9" fmla="*/ 33 h 33"/>
                </a:gdLst>
                <a:ahLst/>
                <a:cxnLst>
                  <a:cxn ang="0">
                    <a:pos x="T0" y="T1"/>
                  </a:cxn>
                  <a:cxn ang="0">
                    <a:pos x="T2" y="T3"/>
                  </a:cxn>
                  <a:cxn ang="0">
                    <a:pos x="T4" y="T5"/>
                  </a:cxn>
                  <a:cxn ang="0">
                    <a:pos x="T6" y="T7"/>
                  </a:cxn>
                  <a:cxn ang="0">
                    <a:pos x="T8" y="T9"/>
                  </a:cxn>
                </a:cxnLst>
                <a:rect l="0" t="0" r="r" b="b"/>
                <a:pathLst>
                  <a:path w="33" h="33">
                    <a:moveTo>
                      <a:pt x="33" y="33"/>
                    </a:moveTo>
                    <a:cubicBezTo>
                      <a:pt x="32" y="33"/>
                      <a:pt x="24" y="27"/>
                      <a:pt x="16" y="18"/>
                    </a:cubicBezTo>
                    <a:cubicBezTo>
                      <a:pt x="7" y="9"/>
                      <a:pt x="0" y="2"/>
                      <a:pt x="1" y="1"/>
                    </a:cubicBezTo>
                    <a:cubicBezTo>
                      <a:pt x="2" y="0"/>
                      <a:pt x="9" y="7"/>
                      <a:pt x="18" y="16"/>
                    </a:cubicBezTo>
                    <a:cubicBezTo>
                      <a:pt x="27" y="24"/>
                      <a:pt x="33" y="32"/>
                      <a:pt x="33" y="33"/>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0">
                <a:extLst>
                  <a:ext uri="{FF2B5EF4-FFF2-40B4-BE49-F238E27FC236}">
                    <a16:creationId xmlns:a16="http://schemas.microsoft.com/office/drawing/2014/main" id="{9F35CF1B-2871-4E0F-ACD5-24509D253693}"/>
                  </a:ext>
                </a:extLst>
              </p:cNvPr>
              <p:cNvSpPr>
                <a:spLocks/>
              </p:cNvSpPr>
              <p:nvPr/>
            </p:nvSpPr>
            <p:spPr bwMode="auto">
              <a:xfrm>
                <a:off x="1773" y="447"/>
                <a:ext cx="76" cy="76"/>
              </a:xfrm>
              <a:custGeom>
                <a:avLst/>
                <a:gdLst>
                  <a:gd name="T0" fmla="*/ 32 w 32"/>
                  <a:gd name="T1" fmla="*/ 32 h 32"/>
                  <a:gd name="T2" fmla="*/ 15 w 32"/>
                  <a:gd name="T3" fmla="*/ 17 h 32"/>
                  <a:gd name="T4" fmla="*/ 1 w 32"/>
                  <a:gd name="T5" fmla="*/ 1 h 32"/>
                  <a:gd name="T6" fmla="*/ 17 w 32"/>
                  <a:gd name="T7" fmla="*/ 15 h 32"/>
                  <a:gd name="T8" fmla="*/ 32 w 32"/>
                  <a:gd name="T9" fmla="*/ 32 h 32"/>
                </a:gdLst>
                <a:ahLst/>
                <a:cxnLst>
                  <a:cxn ang="0">
                    <a:pos x="T0" y="T1"/>
                  </a:cxn>
                  <a:cxn ang="0">
                    <a:pos x="T2" y="T3"/>
                  </a:cxn>
                  <a:cxn ang="0">
                    <a:pos x="T4" y="T5"/>
                  </a:cxn>
                  <a:cxn ang="0">
                    <a:pos x="T6" y="T7"/>
                  </a:cxn>
                  <a:cxn ang="0">
                    <a:pos x="T8" y="T9"/>
                  </a:cxn>
                </a:cxnLst>
                <a:rect l="0" t="0" r="r" b="b"/>
                <a:pathLst>
                  <a:path w="32" h="32">
                    <a:moveTo>
                      <a:pt x="32" y="32"/>
                    </a:moveTo>
                    <a:cubicBezTo>
                      <a:pt x="31" y="32"/>
                      <a:pt x="24" y="26"/>
                      <a:pt x="15" y="17"/>
                    </a:cubicBezTo>
                    <a:cubicBezTo>
                      <a:pt x="7" y="9"/>
                      <a:pt x="0" y="1"/>
                      <a:pt x="1" y="1"/>
                    </a:cubicBezTo>
                    <a:cubicBezTo>
                      <a:pt x="1" y="0"/>
                      <a:pt x="9" y="7"/>
                      <a:pt x="17" y="15"/>
                    </a:cubicBezTo>
                    <a:cubicBezTo>
                      <a:pt x="26" y="24"/>
                      <a:pt x="32" y="31"/>
                      <a:pt x="32" y="32"/>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1">
                <a:extLst>
                  <a:ext uri="{FF2B5EF4-FFF2-40B4-BE49-F238E27FC236}">
                    <a16:creationId xmlns:a16="http://schemas.microsoft.com/office/drawing/2014/main" id="{E1E2A429-C71B-4CDC-BA7E-25CBDFA2BAD5}"/>
                  </a:ext>
                </a:extLst>
              </p:cNvPr>
              <p:cNvSpPr>
                <a:spLocks/>
              </p:cNvSpPr>
              <p:nvPr/>
            </p:nvSpPr>
            <p:spPr bwMode="auto">
              <a:xfrm>
                <a:off x="5542" y="2805"/>
                <a:ext cx="1471" cy="261"/>
              </a:xfrm>
              <a:custGeom>
                <a:avLst/>
                <a:gdLst>
                  <a:gd name="T0" fmla="*/ 59 w 620"/>
                  <a:gd name="T1" fmla="*/ 4 h 110"/>
                  <a:gd name="T2" fmla="*/ 57 w 620"/>
                  <a:gd name="T3" fmla="*/ 108 h 110"/>
                  <a:gd name="T4" fmla="*/ 61 w 620"/>
                  <a:gd name="T5" fmla="*/ 110 h 110"/>
                  <a:gd name="T6" fmla="*/ 576 w 620"/>
                  <a:gd name="T7" fmla="*/ 107 h 110"/>
                  <a:gd name="T8" fmla="*/ 584 w 620"/>
                  <a:gd name="T9" fmla="*/ 0 h 110"/>
                  <a:gd name="T10" fmla="*/ 59 w 620"/>
                  <a:gd name="T11" fmla="*/ 4 h 110"/>
                </a:gdLst>
                <a:ahLst/>
                <a:cxnLst>
                  <a:cxn ang="0">
                    <a:pos x="T0" y="T1"/>
                  </a:cxn>
                  <a:cxn ang="0">
                    <a:pos x="T2" y="T3"/>
                  </a:cxn>
                  <a:cxn ang="0">
                    <a:pos x="T4" y="T5"/>
                  </a:cxn>
                  <a:cxn ang="0">
                    <a:pos x="T6" y="T7"/>
                  </a:cxn>
                  <a:cxn ang="0">
                    <a:pos x="T8" y="T9"/>
                  </a:cxn>
                  <a:cxn ang="0">
                    <a:pos x="T10" y="T11"/>
                  </a:cxn>
                </a:cxnLst>
                <a:rect l="0" t="0" r="r" b="b"/>
                <a:pathLst>
                  <a:path w="620" h="110">
                    <a:moveTo>
                      <a:pt x="59" y="4"/>
                    </a:moveTo>
                    <a:cubicBezTo>
                      <a:pt x="59" y="4"/>
                      <a:pt x="0" y="49"/>
                      <a:pt x="57" y="108"/>
                    </a:cubicBezTo>
                    <a:cubicBezTo>
                      <a:pt x="58" y="109"/>
                      <a:pt x="59" y="110"/>
                      <a:pt x="61" y="110"/>
                    </a:cubicBezTo>
                    <a:cubicBezTo>
                      <a:pt x="576" y="107"/>
                      <a:pt x="576" y="107"/>
                      <a:pt x="576" y="107"/>
                    </a:cubicBezTo>
                    <a:cubicBezTo>
                      <a:pt x="576" y="107"/>
                      <a:pt x="620" y="57"/>
                      <a:pt x="584" y="0"/>
                    </a:cubicBezTo>
                    <a:cubicBezTo>
                      <a:pt x="59" y="4"/>
                      <a:pt x="59" y="4"/>
                      <a:pt x="59" y="4"/>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22">
                <a:extLst>
                  <a:ext uri="{FF2B5EF4-FFF2-40B4-BE49-F238E27FC236}">
                    <a16:creationId xmlns:a16="http://schemas.microsoft.com/office/drawing/2014/main" id="{FD901CB2-6F71-48E1-863E-3E3830131D38}"/>
                  </a:ext>
                </a:extLst>
              </p:cNvPr>
              <p:cNvSpPr>
                <a:spLocks noChangeArrowheads="1"/>
              </p:cNvSpPr>
              <p:nvPr/>
            </p:nvSpPr>
            <p:spPr bwMode="auto">
              <a:xfrm>
                <a:off x="5959" y="2923"/>
                <a:ext cx="679"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23">
                <a:extLst>
                  <a:ext uri="{FF2B5EF4-FFF2-40B4-BE49-F238E27FC236}">
                    <a16:creationId xmlns:a16="http://schemas.microsoft.com/office/drawing/2014/main" id="{0494A568-E890-4EEA-B54F-0B9C266ED58D}"/>
                  </a:ext>
                </a:extLst>
              </p:cNvPr>
              <p:cNvSpPr>
                <a:spLocks noChangeArrowheads="1"/>
              </p:cNvSpPr>
              <p:nvPr/>
            </p:nvSpPr>
            <p:spPr bwMode="auto">
              <a:xfrm>
                <a:off x="6128" y="2966"/>
                <a:ext cx="320"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4">
                <a:extLst>
                  <a:ext uri="{FF2B5EF4-FFF2-40B4-BE49-F238E27FC236}">
                    <a16:creationId xmlns:a16="http://schemas.microsoft.com/office/drawing/2014/main" id="{E4738249-9B0B-4DE9-A50D-95F604529928}"/>
                  </a:ext>
                </a:extLst>
              </p:cNvPr>
              <p:cNvSpPr>
                <a:spLocks/>
              </p:cNvSpPr>
              <p:nvPr/>
            </p:nvSpPr>
            <p:spPr bwMode="auto">
              <a:xfrm>
                <a:off x="6761" y="2802"/>
                <a:ext cx="22" cy="252"/>
              </a:xfrm>
              <a:custGeom>
                <a:avLst/>
                <a:gdLst>
                  <a:gd name="T0" fmla="*/ 1 w 9"/>
                  <a:gd name="T1" fmla="*/ 106 h 106"/>
                  <a:gd name="T2" fmla="*/ 4 w 9"/>
                  <a:gd name="T3" fmla="*/ 91 h 106"/>
                  <a:gd name="T4" fmla="*/ 7 w 9"/>
                  <a:gd name="T5" fmla="*/ 53 h 106"/>
                  <a:gd name="T6" fmla="*/ 3 w 9"/>
                  <a:gd name="T7" fmla="*/ 15 h 106"/>
                  <a:gd name="T8" fmla="*/ 0 w 9"/>
                  <a:gd name="T9" fmla="*/ 0 h 106"/>
                  <a:gd name="T10" fmla="*/ 2 w 9"/>
                  <a:gd name="T11" fmla="*/ 4 h 106"/>
                  <a:gd name="T12" fmla="*/ 5 w 9"/>
                  <a:gd name="T13" fmla="*/ 15 h 106"/>
                  <a:gd name="T14" fmla="*/ 9 w 9"/>
                  <a:gd name="T15" fmla="*/ 53 h 106"/>
                  <a:gd name="T16" fmla="*/ 5 w 9"/>
                  <a:gd name="T17" fmla="*/ 91 h 106"/>
                  <a:gd name="T18" fmla="*/ 3 w 9"/>
                  <a:gd name="T19" fmla="*/ 102 h 106"/>
                  <a:gd name="T20" fmla="*/ 1 w 9"/>
                  <a:gd name="T2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6">
                    <a:moveTo>
                      <a:pt x="1" y="106"/>
                    </a:moveTo>
                    <a:cubicBezTo>
                      <a:pt x="1" y="106"/>
                      <a:pt x="2" y="100"/>
                      <a:pt x="4" y="91"/>
                    </a:cubicBezTo>
                    <a:cubicBezTo>
                      <a:pt x="5" y="81"/>
                      <a:pt x="7" y="68"/>
                      <a:pt x="7" y="53"/>
                    </a:cubicBezTo>
                    <a:cubicBezTo>
                      <a:pt x="7" y="38"/>
                      <a:pt x="5" y="25"/>
                      <a:pt x="3" y="15"/>
                    </a:cubicBezTo>
                    <a:cubicBezTo>
                      <a:pt x="1" y="6"/>
                      <a:pt x="0" y="0"/>
                      <a:pt x="0" y="0"/>
                    </a:cubicBezTo>
                    <a:cubicBezTo>
                      <a:pt x="0" y="0"/>
                      <a:pt x="1" y="1"/>
                      <a:pt x="2" y="4"/>
                    </a:cubicBezTo>
                    <a:cubicBezTo>
                      <a:pt x="2" y="7"/>
                      <a:pt x="4" y="10"/>
                      <a:pt x="5" y="15"/>
                    </a:cubicBezTo>
                    <a:cubicBezTo>
                      <a:pt x="7" y="25"/>
                      <a:pt x="9" y="38"/>
                      <a:pt x="9" y="53"/>
                    </a:cubicBezTo>
                    <a:cubicBezTo>
                      <a:pt x="9" y="68"/>
                      <a:pt x="7" y="81"/>
                      <a:pt x="5" y="91"/>
                    </a:cubicBezTo>
                    <a:cubicBezTo>
                      <a:pt x="4" y="96"/>
                      <a:pt x="3" y="99"/>
                      <a:pt x="3" y="102"/>
                    </a:cubicBezTo>
                    <a:cubicBezTo>
                      <a:pt x="2" y="105"/>
                      <a:pt x="1" y="106"/>
                      <a:pt x="1" y="10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5">
                <a:extLst>
                  <a:ext uri="{FF2B5EF4-FFF2-40B4-BE49-F238E27FC236}">
                    <a16:creationId xmlns:a16="http://schemas.microsoft.com/office/drawing/2014/main" id="{82973296-4A98-4A15-A2F9-CC64ED814535}"/>
                  </a:ext>
                </a:extLst>
              </p:cNvPr>
              <p:cNvSpPr>
                <a:spLocks/>
              </p:cNvSpPr>
              <p:nvPr/>
            </p:nvSpPr>
            <p:spPr bwMode="auto">
              <a:xfrm>
                <a:off x="6854" y="2805"/>
                <a:ext cx="36" cy="254"/>
              </a:xfrm>
              <a:custGeom>
                <a:avLst/>
                <a:gdLst>
                  <a:gd name="T0" fmla="*/ 1 w 15"/>
                  <a:gd name="T1" fmla="*/ 0 h 107"/>
                  <a:gd name="T2" fmla="*/ 3 w 15"/>
                  <a:gd name="T3" fmla="*/ 3 h 107"/>
                  <a:gd name="T4" fmla="*/ 5 w 15"/>
                  <a:gd name="T5" fmla="*/ 8 h 107"/>
                  <a:gd name="T6" fmla="*/ 8 w 15"/>
                  <a:gd name="T7" fmla="*/ 14 h 107"/>
                  <a:gd name="T8" fmla="*/ 13 w 15"/>
                  <a:gd name="T9" fmla="*/ 32 h 107"/>
                  <a:gd name="T10" fmla="*/ 15 w 15"/>
                  <a:gd name="T11" fmla="*/ 53 h 107"/>
                  <a:gd name="T12" fmla="*/ 13 w 15"/>
                  <a:gd name="T13" fmla="*/ 75 h 107"/>
                  <a:gd name="T14" fmla="*/ 8 w 15"/>
                  <a:gd name="T15" fmla="*/ 92 h 107"/>
                  <a:gd name="T16" fmla="*/ 6 w 15"/>
                  <a:gd name="T17" fmla="*/ 99 h 107"/>
                  <a:gd name="T18" fmla="*/ 4 w 15"/>
                  <a:gd name="T19" fmla="*/ 103 h 107"/>
                  <a:gd name="T20" fmla="*/ 1 w 15"/>
                  <a:gd name="T21" fmla="*/ 107 h 107"/>
                  <a:gd name="T22" fmla="*/ 7 w 15"/>
                  <a:gd name="T23" fmla="*/ 92 h 107"/>
                  <a:gd name="T24" fmla="*/ 11 w 15"/>
                  <a:gd name="T25" fmla="*/ 75 h 107"/>
                  <a:gd name="T26" fmla="*/ 13 w 15"/>
                  <a:gd name="T27" fmla="*/ 53 h 107"/>
                  <a:gd name="T28" fmla="*/ 11 w 15"/>
                  <a:gd name="T29" fmla="*/ 32 h 107"/>
                  <a:gd name="T30" fmla="*/ 6 w 15"/>
                  <a:gd name="T31" fmla="*/ 15 h 107"/>
                  <a:gd name="T32" fmla="*/ 1 w 15"/>
                  <a:gd name="T3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07">
                    <a:moveTo>
                      <a:pt x="1" y="0"/>
                    </a:moveTo>
                    <a:cubicBezTo>
                      <a:pt x="1" y="0"/>
                      <a:pt x="2" y="1"/>
                      <a:pt x="3" y="3"/>
                    </a:cubicBezTo>
                    <a:cubicBezTo>
                      <a:pt x="4" y="5"/>
                      <a:pt x="4" y="6"/>
                      <a:pt x="5" y="8"/>
                    </a:cubicBezTo>
                    <a:cubicBezTo>
                      <a:pt x="6" y="10"/>
                      <a:pt x="7" y="12"/>
                      <a:pt x="8" y="14"/>
                    </a:cubicBezTo>
                    <a:cubicBezTo>
                      <a:pt x="10" y="19"/>
                      <a:pt x="11" y="25"/>
                      <a:pt x="13" y="32"/>
                    </a:cubicBezTo>
                    <a:cubicBezTo>
                      <a:pt x="14" y="38"/>
                      <a:pt x="15" y="45"/>
                      <a:pt x="15" y="53"/>
                    </a:cubicBezTo>
                    <a:cubicBezTo>
                      <a:pt x="15" y="61"/>
                      <a:pt x="14" y="68"/>
                      <a:pt x="13" y="75"/>
                    </a:cubicBezTo>
                    <a:cubicBezTo>
                      <a:pt x="12" y="82"/>
                      <a:pt x="10" y="87"/>
                      <a:pt x="8" y="92"/>
                    </a:cubicBezTo>
                    <a:cubicBezTo>
                      <a:pt x="8" y="95"/>
                      <a:pt x="7" y="97"/>
                      <a:pt x="6" y="99"/>
                    </a:cubicBezTo>
                    <a:cubicBezTo>
                      <a:pt x="5" y="100"/>
                      <a:pt x="4" y="102"/>
                      <a:pt x="4" y="103"/>
                    </a:cubicBezTo>
                    <a:cubicBezTo>
                      <a:pt x="2" y="106"/>
                      <a:pt x="2" y="107"/>
                      <a:pt x="1" y="107"/>
                    </a:cubicBezTo>
                    <a:cubicBezTo>
                      <a:pt x="1" y="107"/>
                      <a:pt x="4" y="101"/>
                      <a:pt x="7" y="92"/>
                    </a:cubicBezTo>
                    <a:cubicBezTo>
                      <a:pt x="9" y="87"/>
                      <a:pt x="10" y="81"/>
                      <a:pt x="11" y="75"/>
                    </a:cubicBezTo>
                    <a:cubicBezTo>
                      <a:pt x="12" y="68"/>
                      <a:pt x="13" y="61"/>
                      <a:pt x="13" y="53"/>
                    </a:cubicBezTo>
                    <a:cubicBezTo>
                      <a:pt x="13" y="46"/>
                      <a:pt x="12" y="38"/>
                      <a:pt x="11" y="32"/>
                    </a:cubicBezTo>
                    <a:cubicBezTo>
                      <a:pt x="10" y="25"/>
                      <a:pt x="8" y="20"/>
                      <a:pt x="6" y="15"/>
                    </a:cubicBezTo>
                    <a:cubicBezTo>
                      <a:pt x="3" y="5"/>
                      <a:pt x="0" y="0"/>
                      <a:pt x="1"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6">
                <a:extLst>
                  <a:ext uri="{FF2B5EF4-FFF2-40B4-BE49-F238E27FC236}">
                    <a16:creationId xmlns:a16="http://schemas.microsoft.com/office/drawing/2014/main" id="{0B52E272-DDF0-4D15-94F5-9F5D957D7AAF}"/>
                  </a:ext>
                </a:extLst>
              </p:cNvPr>
              <p:cNvSpPr>
                <a:spLocks/>
              </p:cNvSpPr>
              <p:nvPr/>
            </p:nvSpPr>
            <p:spPr bwMode="auto">
              <a:xfrm>
                <a:off x="5841" y="2817"/>
                <a:ext cx="38" cy="239"/>
              </a:xfrm>
              <a:custGeom>
                <a:avLst/>
                <a:gdLst>
                  <a:gd name="T0" fmla="*/ 15 w 16"/>
                  <a:gd name="T1" fmla="*/ 101 h 101"/>
                  <a:gd name="T2" fmla="*/ 12 w 16"/>
                  <a:gd name="T3" fmla="*/ 97 h 101"/>
                  <a:gd name="T4" fmla="*/ 10 w 16"/>
                  <a:gd name="T5" fmla="*/ 93 h 101"/>
                  <a:gd name="T6" fmla="*/ 7 w 16"/>
                  <a:gd name="T7" fmla="*/ 87 h 101"/>
                  <a:gd name="T8" fmla="*/ 2 w 16"/>
                  <a:gd name="T9" fmla="*/ 71 h 101"/>
                  <a:gd name="T10" fmla="*/ 0 w 16"/>
                  <a:gd name="T11" fmla="*/ 50 h 101"/>
                  <a:gd name="T12" fmla="*/ 3 w 16"/>
                  <a:gd name="T13" fmla="*/ 29 h 101"/>
                  <a:gd name="T14" fmla="*/ 8 w 16"/>
                  <a:gd name="T15" fmla="*/ 13 h 101"/>
                  <a:gd name="T16" fmla="*/ 11 w 16"/>
                  <a:gd name="T17" fmla="*/ 7 h 101"/>
                  <a:gd name="T18" fmla="*/ 14 w 16"/>
                  <a:gd name="T19" fmla="*/ 3 h 101"/>
                  <a:gd name="T20" fmla="*/ 16 w 16"/>
                  <a:gd name="T21" fmla="*/ 0 h 101"/>
                  <a:gd name="T22" fmla="*/ 10 w 16"/>
                  <a:gd name="T23" fmla="*/ 14 h 101"/>
                  <a:gd name="T24" fmla="*/ 5 w 16"/>
                  <a:gd name="T25" fmla="*/ 30 h 101"/>
                  <a:gd name="T26" fmla="*/ 2 w 16"/>
                  <a:gd name="T27" fmla="*/ 50 h 101"/>
                  <a:gd name="T28" fmla="*/ 4 w 16"/>
                  <a:gd name="T29" fmla="*/ 70 h 101"/>
                  <a:gd name="T30" fmla="*/ 9 w 16"/>
                  <a:gd name="T31" fmla="*/ 87 h 101"/>
                  <a:gd name="T32" fmla="*/ 15 w 16"/>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01">
                    <a:moveTo>
                      <a:pt x="15" y="101"/>
                    </a:moveTo>
                    <a:cubicBezTo>
                      <a:pt x="15" y="101"/>
                      <a:pt x="14" y="100"/>
                      <a:pt x="12" y="97"/>
                    </a:cubicBezTo>
                    <a:cubicBezTo>
                      <a:pt x="12" y="96"/>
                      <a:pt x="11" y="95"/>
                      <a:pt x="10" y="93"/>
                    </a:cubicBezTo>
                    <a:cubicBezTo>
                      <a:pt x="9" y="91"/>
                      <a:pt x="8" y="89"/>
                      <a:pt x="7" y="87"/>
                    </a:cubicBezTo>
                    <a:cubicBezTo>
                      <a:pt x="5" y="83"/>
                      <a:pt x="4" y="77"/>
                      <a:pt x="2" y="71"/>
                    </a:cubicBezTo>
                    <a:cubicBezTo>
                      <a:pt x="1" y="64"/>
                      <a:pt x="0" y="57"/>
                      <a:pt x="0" y="50"/>
                    </a:cubicBezTo>
                    <a:cubicBezTo>
                      <a:pt x="0" y="43"/>
                      <a:pt x="1" y="36"/>
                      <a:pt x="3" y="29"/>
                    </a:cubicBezTo>
                    <a:cubicBezTo>
                      <a:pt x="4" y="23"/>
                      <a:pt x="6" y="18"/>
                      <a:pt x="8" y="13"/>
                    </a:cubicBezTo>
                    <a:cubicBezTo>
                      <a:pt x="9" y="11"/>
                      <a:pt x="10" y="9"/>
                      <a:pt x="11" y="7"/>
                    </a:cubicBezTo>
                    <a:cubicBezTo>
                      <a:pt x="12" y="6"/>
                      <a:pt x="13" y="4"/>
                      <a:pt x="14" y="3"/>
                    </a:cubicBezTo>
                    <a:cubicBezTo>
                      <a:pt x="15" y="1"/>
                      <a:pt x="16" y="0"/>
                      <a:pt x="16" y="0"/>
                    </a:cubicBezTo>
                    <a:cubicBezTo>
                      <a:pt x="16" y="0"/>
                      <a:pt x="13" y="5"/>
                      <a:pt x="10" y="14"/>
                    </a:cubicBezTo>
                    <a:cubicBezTo>
                      <a:pt x="8" y="18"/>
                      <a:pt x="6" y="24"/>
                      <a:pt x="5" y="30"/>
                    </a:cubicBezTo>
                    <a:cubicBezTo>
                      <a:pt x="3" y="36"/>
                      <a:pt x="2" y="43"/>
                      <a:pt x="2" y="50"/>
                    </a:cubicBezTo>
                    <a:cubicBezTo>
                      <a:pt x="2" y="57"/>
                      <a:pt x="3" y="64"/>
                      <a:pt x="4" y="70"/>
                    </a:cubicBezTo>
                    <a:cubicBezTo>
                      <a:pt x="5" y="77"/>
                      <a:pt x="7" y="82"/>
                      <a:pt x="9" y="87"/>
                    </a:cubicBezTo>
                    <a:cubicBezTo>
                      <a:pt x="12" y="95"/>
                      <a:pt x="15" y="101"/>
                      <a:pt x="15" y="10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7">
                <a:extLst>
                  <a:ext uri="{FF2B5EF4-FFF2-40B4-BE49-F238E27FC236}">
                    <a16:creationId xmlns:a16="http://schemas.microsoft.com/office/drawing/2014/main" id="{405D2ECA-BE84-41FE-87A3-A0B8F6F30EFC}"/>
                  </a:ext>
                </a:extLst>
              </p:cNvPr>
              <p:cNvSpPr>
                <a:spLocks/>
              </p:cNvSpPr>
              <p:nvPr/>
            </p:nvSpPr>
            <p:spPr bwMode="auto">
              <a:xfrm>
                <a:off x="5703" y="2814"/>
                <a:ext cx="40" cy="271"/>
              </a:xfrm>
              <a:custGeom>
                <a:avLst/>
                <a:gdLst>
                  <a:gd name="T0" fmla="*/ 17 w 17"/>
                  <a:gd name="T1" fmla="*/ 114 h 114"/>
                  <a:gd name="T2" fmla="*/ 14 w 17"/>
                  <a:gd name="T3" fmla="*/ 110 h 114"/>
                  <a:gd name="T4" fmla="*/ 12 w 17"/>
                  <a:gd name="T5" fmla="*/ 106 h 114"/>
                  <a:gd name="T6" fmla="*/ 9 w 17"/>
                  <a:gd name="T7" fmla="*/ 99 h 114"/>
                  <a:gd name="T8" fmla="*/ 3 w 17"/>
                  <a:gd name="T9" fmla="*/ 81 h 114"/>
                  <a:gd name="T10" fmla="*/ 0 w 17"/>
                  <a:gd name="T11" fmla="*/ 57 h 114"/>
                  <a:gd name="T12" fmla="*/ 2 w 17"/>
                  <a:gd name="T13" fmla="*/ 34 h 114"/>
                  <a:gd name="T14" fmla="*/ 7 w 17"/>
                  <a:gd name="T15" fmla="*/ 16 h 114"/>
                  <a:gd name="T16" fmla="*/ 10 w 17"/>
                  <a:gd name="T17" fmla="*/ 9 h 114"/>
                  <a:gd name="T18" fmla="*/ 12 w 17"/>
                  <a:gd name="T19" fmla="*/ 4 h 114"/>
                  <a:gd name="T20" fmla="*/ 15 w 17"/>
                  <a:gd name="T21" fmla="*/ 0 h 114"/>
                  <a:gd name="T22" fmla="*/ 8 w 17"/>
                  <a:gd name="T23" fmla="*/ 16 h 114"/>
                  <a:gd name="T24" fmla="*/ 4 w 17"/>
                  <a:gd name="T25" fmla="*/ 34 h 114"/>
                  <a:gd name="T26" fmla="*/ 2 w 17"/>
                  <a:gd name="T27" fmla="*/ 57 h 114"/>
                  <a:gd name="T28" fmla="*/ 5 w 17"/>
                  <a:gd name="T29" fmla="*/ 80 h 114"/>
                  <a:gd name="T30" fmla="*/ 10 w 17"/>
                  <a:gd name="T31" fmla="*/ 98 h 114"/>
                  <a:gd name="T32" fmla="*/ 17 w 17"/>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14">
                    <a:moveTo>
                      <a:pt x="17" y="114"/>
                    </a:moveTo>
                    <a:cubicBezTo>
                      <a:pt x="17" y="114"/>
                      <a:pt x="16" y="113"/>
                      <a:pt x="14" y="110"/>
                    </a:cubicBezTo>
                    <a:cubicBezTo>
                      <a:pt x="14" y="109"/>
                      <a:pt x="13" y="108"/>
                      <a:pt x="12" y="106"/>
                    </a:cubicBezTo>
                    <a:cubicBezTo>
                      <a:pt x="11" y="104"/>
                      <a:pt x="10" y="101"/>
                      <a:pt x="9" y="99"/>
                    </a:cubicBezTo>
                    <a:cubicBezTo>
                      <a:pt x="6" y="94"/>
                      <a:pt x="4" y="88"/>
                      <a:pt x="3" y="81"/>
                    </a:cubicBezTo>
                    <a:cubicBezTo>
                      <a:pt x="1" y="74"/>
                      <a:pt x="0" y="66"/>
                      <a:pt x="0" y="57"/>
                    </a:cubicBezTo>
                    <a:cubicBezTo>
                      <a:pt x="0" y="49"/>
                      <a:pt x="0" y="41"/>
                      <a:pt x="2" y="34"/>
                    </a:cubicBezTo>
                    <a:cubicBezTo>
                      <a:pt x="3" y="27"/>
                      <a:pt x="5" y="21"/>
                      <a:pt x="7" y="16"/>
                    </a:cubicBezTo>
                    <a:cubicBezTo>
                      <a:pt x="8" y="13"/>
                      <a:pt x="9" y="11"/>
                      <a:pt x="10" y="9"/>
                    </a:cubicBezTo>
                    <a:cubicBezTo>
                      <a:pt x="10" y="7"/>
                      <a:pt x="11" y="5"/>
                      <a:pt x="12" y="4"/>
                    </a:cubicBezTo>
                    <a:cubicBezTo>
                      <a:pt x="14" y="1"/>
                      <a:pt x="14" y="0"/>
                      <a:pt x="15" y="0"/>
                    </a:cubicBezTo>
                    <a:cubicBezTo>
                      <a:pt x="15" y="0"/>
                      <a:pt x="12" y="6"/>
                      <a:pt x="8" y="16"/>
                    </a:cubicBezTo>
                    <a:cubicBezTo>
                      <a:pt x="6" y="21"/>
                      <a:pt x="5" y="27"/>
                      <a:pt x="4" y="34"/>
                    </a:cubicBezTo>
                    <a:cubicBezTo>
                      <a:pt x="2" y="41"/>
                      <a:pt x="2" y="49"/>
                      <a:pt x="2" y="57"/>
                    </a:cubicBezTo>
                    <a:cubicBezTo>
                      <a:pt x="2" y="66"/>
                      <a:pt x="3" y="73"/>
                      <a:pt x="5" y="80"/>
                    </a:cubicBezTo>
                    <a:cubicBezTo>
                      <a:pt x="6" y="87"/>
                      <a:pt x="8" y="93"/>
                      <a:pt x="10" y="98"/>
                    </a:cubicBezTo>
                    <a:cubicBezTo>
                      <a:pt x="14" y="108"/>
                      <a:pt x="17" y="114"/>
                      <a:pt x="17" y="11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8">
                <a:extLst>
                  <a:ext uri="{FF2B5EF4-FFF2-40B4-BE49-F238E27FC236}">
                    <a16:creationId xmlns:a16="http://schemas.microsoft.com/office/drawing/2014/main" id="{8DFEBEB7-6DC4-4AE1-B0FA-144EA8FC4241}"/>
                  </a:ext>
                </a:extLst>
              </p:cNvPr>
              <p:cNvSpPr>
                <a:spLocks/>
              </p:cNvSpPr>
              <p:nvPr/>
            </p:nvSpPr>
            <p:spPr bwMode="auto">
              <a:xfrm>
                <a:off x="6410" y="3432"/>
                <a:ext cx="453" cy="232"/>
              </a:xfrm>
              <a:custGeom>
                <a:avLst/>
                <a:gdLst>
                  <a:gd name="T0" fmla="*/ 191 w 191"/>
                  <a:gd name="T1" fmla="*/ 0 h 98"/>
                  <a:gd name="T2" fmla="*/ 191 w 191"/>
                  <a:gd name="T3" fmla="*/ 98 h 98"/>
                  <a:gd name="T4" fmla="*/ 0 w 191"/>
                  <a:gd name="T5" fmla="*/ 98 h 98"/>
                  <a:gd name="T6" fmla="*/ 0 w 191"/>
                  <a:gd name="T7" fmla="*/ 0 h 98"/>
                  <a:gd name="T8" fmla="*/ 191 w 191"/>
                  <a:gd name="T9" fmla="*/ 0 h 98"/>
                </a:gdLst>
                <a:ahLst/>
                <a:cxnLst>
                  <a:cxn ang="0">
                    <a:pos x="T0" y="T1"/>
                  </a:cxn>
                  <a:cxn ang="0">
                    <a:pos x="T2" y="T3"/>
                  </a:cxn>
                  <a:cxn ang="0">
                    <a:pos x="T4" y="T5"/>
                  </a:cxn>
                  <a:cxn ang="0">
                    <a:pos x="T6" y="T7"/>
                  </a:cxn>
                  <a:cxn ang="0">
                    <a:pos x="T8" y="T9"/>
                  </a:cxn>
                </a:cxnLst>
                <a:rect l="0" t="0" r="r" b="b"/>
                <a:pathLst>
                  <a:path w="191" h="98">
                    <a:moveTo>
                      <a:pt x="191" y="0"/>
                    </a:moveTo>
                    <a:cubicBezTo>
                      <a:pt x="191" y="4"/>
                      <a:pt x="191" y="98"/>
                      <a:pt x="191" y="98"/>
                    </a:cubicBezTo>
                    <a:cubicBezTo>
                      <a:pt x="0" y="98"/>
                      <a:pt x="0" y="98"/>
                      <a:pt x="0" y="98"/>
                    </a:cubicBezTo>
                    <a:cubicBezTo>
                      <a:pt x="0" y="0"/>
                      <a:pt x="0" y="0"/>
                      <a:pt x="0" y="0"/>
                    </a:cubicBezTo>
                    <a:lnTo>
                      <a:pt x="191"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9">
                <a:extLst>
                  <a:ext uri="{FF2B5EF4-FFF2-40B4-BE49-F238E27FC236}">
                    <a16:creationId xmlns:a16="http://schemas.microsoft.com/office/drawing/2014/main" id="{77784617-A096-4983-94F1-BB2C35227BCE}"/>
                  </a:ext>
                </a:extLst>
              </p:cNvPr>
              <p:cNvSpPr>
                <a:spLocks/>
              </p:cNvSpPr>
              <p:nvPr/>
            </p:nvSpPr>
            <p:spPr bwMode="auto">
              <a:xfrm>
                <a:off x="5397" y="3405"/>
                <a:ext cx="1488" cy="278"/>
              </a:xfrm>
              <a:custGeom>
                <a:avLst/>
                <a:gdLst>
                  <a:gd name="T0" fmla="*/ 2 w 627"/>
                  <a:gd name="T1" fmla="*/ 61 h 117"/>
                  <a:gd name="T2" fmla="*/ 2 w 627"/>
                  <a:gd name="T3" fmla="*/ 64 h 117"/>
                  <a:gd name="T4" fmla="*/ 59 w 627"/>
                  <a:gd name="T5" fmla="*/ 117 h 117"/>
                  <a:gd name="T6" fmla="*/ 627 w 627"/>
                  <a:gd name="T7" fmla="*/ 117 h 117"/>
                  <a:gd name="T8" fmla="*/ 627 w 627"/>
                  <a:gd name="T9" fmla="*/ 109 h 117"/>
                  <a:gd name="T10" fmla="*/ 492 w 627"/>
                  <a:gd name="T11" fmla="*/ 109 h 117"/>
                  <a:gd name="T12" fmla="*/ 443 w 627"/>
                  <a:gd name="T13" fmla="*/ 60 h 117"/>
                  <a:gd name="T14" fmla="*/ 492 w 627"/>
                  <a:gd name="T15" fmla="*/ 11 h 117"/>
                  <a:gd name="T16" fmla="*/ 627 w 627"/>
                  <a:gd name="T17" fmla="*/ 11 h 117"/>
                  <a:gd name="T18" fmla="*/ 627 w 627"/>
                  <a:gd name="T19" fmla="*/ 0 h 117"/>
                  <a:gd name="T20" fmla="*/ 58 w 627"/>
                  <a:gd name="T21" fmla="*/ 2 h 117"/>
                  <a:gd name="T22" fmla="*/ 2 w 627"/>
                  <a:gd name="T23" fmla="*/ 6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7" h="117">
                    <a:moveTo>
                      <a:pt x="2" y="61"/>
                    </a:moveTo>
                    <a:cubicBezTo>
                      <a:pt x="2" y="62"/>
                      <a:pt x="2" y="63"/>
                      <a:pt x="2" y="64"/>
                    </a:cubicBezTo>
                    <a:cubicBezTo>
                      <a:pt x="3" y="94"/>
                      <a:pt x="29" y="117"/>
                      <a:pt x="59" y="117"/>
                    </a:cubicBezTo>
                    <a:cubicBezTo>
                      <a:pt x="627" y="117"/>
                      <a:pt x="627" y="117"/>
                      <a:pt x="627" y="117"/>
                    </a:cubicBezTo>
                    <a:cubicBezTo>
                      <a:pt x="627" y="109"/>
                      <a:pt x="627" y="109"/>
                      <a:pt x="627" y="109"/>
                    </a:cubicBezTo>
                    <a:cubicBezTo>
                      <a:pt x="492" y="109"/>
                      <a:pt x="492" y="109"/>
                      <a:pt x="492" y="109"/>
                    </a:cubicBezTo>
                    <a:cubicBezTo>
                      <a:pt x="465" y="109"/>
                      <a:pt x="443" y="87"/>
                      <a:pt x="443" y="60"/>
                    </a:cubicBezTo>
                    <a:cubicBezTo>
                      <a:pt x="443" y="33"/>
                      <a:pt x="465" y="11"/>
                      <a:pt x="492" y="11"/>
                    </a:cubicBezTo>
                    <a:cubicBezTo>
                      <a:pt x="627" y="11"/>
                      <a:pt x="627" y="11"/>
                      <a:pt x="627" y="11"/>
                    </a:cubicBezTo>
                    <a:cubicBezTo>
                      <a:pt x="627" y="0"/>
                      <a:pt x="627" y="0"/>
                      <a:pt x="627" y="0"/>
                    </a:cubicBezTo>
                    <a:cubicBezTo>
                      <a:pt x="58" y="2"/>
                      <a:pt x="58" y="2"/>
                      <a:pt x="58" y="2"/>
                    </a:cubicBezTo>
                    <a:cubicBezTo>
                      <a:pt x="26" y="2"/>
                      <a:pt x="0" y="29"/>
                      <a:pt x="2" y="6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30">
                <a:extLst>
                  <a:ext uri="{FF2B5EF4-FFF2-40B4-BE49-F238E27FC236}">
                    <a16:creationId xmlns:a16="http://schemas.microsoft.com/office/drawing/2014/main" id="{707681E8-0923-4E2D-8C2E-DC076E50B8C2}"/>
                  </a:ext>
                </a:extLst>
              </p:cNvPr>
              <p:cNvSpPr>
                <a:spLocks noChangeArrowheads="1"/>
              </p:cNvSpPr>
              <p:nvPr/>
            </p:nvSpPr>
            <p:spPr bwMode="auto">
              <a:xfrm>
                <a:off x="6448" y="3548"/>
                <a:ext cx="415"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31">
                <a:extLst>
                  <a:ext uri="{FF2B5EF4-FFF2-40B4-BE49-F238E27FC236}">
                    <a16:creationId xmlns:a16="http://schemas.microsoft.com/office/drawing/2014/main" id="{1BF6073A-CF89-4E87-B001-62268B00991F}"/>
                  </a:ext>
                </a:extLst>
              </p:cNvPr>
              <p:cNvSpPr>
                <a:spLocks noChangeArrowheads="1"/>
              </p:cNvSpPr>
              <p:nvPr/>
            </p:nvSpPr>
            <p:spPr bwMode="auto">
              <a:xfrm>
                <a:off x="6465" y="3603"/>
                <a:ext cx="394"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32">
                <a:extLst>
                  <a:ext uri="{FF2B5EF4-FFF2-40B4-BE49-F238E27FC236}">
                    <a16:creationId xmlns:a16="http://schemas.microsoft.com/office/drawing/2014/main" id="{FF042FC8-8A7B-42A7-8949-5FEFC5AB5E00}"/>
                  </a:ext>
                </a:extLst>
              </p:cNvPr>
              <p:cNvSpPr>
                <a:spLocks noChangeArrowheads="1"/>
              </p:cNvSpPr>
              <p:nvPr/>
            </p:nvSpPr>
            <p:spPr bwMode="auto">
              <a:xfrm>
                <a:off x="6510" y="3650"/>
                <a:ext cx="353"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33">
                <a:extLst>
                  <a:ext uri="{FF2B5EF4-FFF2-40B4-BE49-F238E27FC236}">
                    <a16:creationId xmlns:a16="http://schemas.microsoft.com/office/drawing/2014/main" id="{0FD3F7E9-B731-451F-9FD5-76C577AD6BAF}"/>
                  </a:ext>
                </a:extLst>
              </p:cNvPr>
              <p:cNvSpPr>
                <a:spLocks noChangeArrowheads="1"/>
              </p:cNvSpPr>
              <p:nvPr/>
            </p:nvSpPr>
            <p:spPr bwMode="auto">
              <a:xfrm>
                <a:off x="6458" y="3500"/>
                <a:ext cx="405" cy="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34">
                <a:extLst>
                  <a:ext uri="{FF2B5EF4-FFF2-40B4-BE49-F238E27FC236}">
                    <a16:creationId xmlns:a16="http://schemas.microsoft.com/office/drawing/2014/main" id="{49819EEB-FBB7-41CE-A971-CE630D9BE8C6}"/>
                  </a:ext>
                </a:extLst>
              </p:cNvPr>
              <p:cNvSpPr>
                <a:spLocks noChangeArrowheads="1"/>
              </p:cNvSpPr>
              <p:nvPr/>
            </p:nvSpPr>
            <p:spPr bwMode="auto">
              <a:xfrm>
                <a:off x="6496" y="3453"/>
                <a:ext cx="363"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35">
                <a:extLst>
                  <a:ext uri="{FF2B5EF4-FFF2-40B4-BE49-F238E27FC236}">
                    <a16:creationId xmlns:a16="http://schemas.microsoft.com/office/drawing/2014/main" id="{71F981C1-D178-4BA3-B834-A154685D1E9D}"/>
                  </a:ext>
                </a:extLst>
              </p:cNvPr>
              <p:cNvSpPr>
                <a:spLocks/>
              </p:cNvSpPr>
              <p:nvPr/>
            </p:nvSpPr>
            <p:spPr bwMode="auto">
              <a:xfrm>
                <a:off x="5499" y="3415"/>
                <a:ext cx="69" cy="268"/>
              </a:xfrm>
              <a:custGeom>
                <a:avLst/>
                <a:gdLst>
                  <a:gd name="T0" fmla="*/ 28 w 29"/>
                  <a:gd name="T1" fmla="*/ 0 h 113"/>
                  <a:gd name="T2" fmla="*/ 15 w 29"/>
                  <a:gd name="T3" fmla="*/ 14 h 113"/>
                  <a:gd name="T4" fmla="*/ 3 w 29"/>
                  <a:gd name="T5" fmla="*/ 57 h 113"/>
                  <a:gd name="T6" fmla="*/ 16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5" y="14"/>
                    </a:cubicBezTo>
                    <a:cubicBezTo>
                      <a:pt x="9" y="24"/>
                      <a:pt x="2" y="39"/>
                      <a:pt x="3" y="57"/>
                    </a:cubicBezTo>
                    <a:cubicBezTo>
                      <a:pt x="3" y="74"/>
                      <a:pt x="10" y="90"/>
                      <a:pt x="16" y="99"/>
                    </a:cubicBezTo>
                    <a:cubicBezTo>
                      <a:pt x="23" y="108"/>
                      <a:pt x="29" y="113"/>
                      <a:pt x="29" y="113"/>
                    </a:cubicBezTo>
                    <a:cubicBezTo>
                      <a:pt x="29" y="113"/>
                      <a:pt x="27" y="112"/>
                      <a:pt x="25" y="110"/>
                    </a:cubicBezTo>
                    <a:cubicBezTo>
                      <a:pt x="22" y="108"/>
                      <a:pt x="19" y="104"/>
                      <a:pt x="15" y="100"/>
                    </a:cubicBezTo>
                    <a:cubicBezTo>
                      <a:pt x="8" y="90"/>
                      <a:pt x="1" y="75"/>
                      <a:pt x="0" y="57"/>
                    </a:cubicBezTo>
                    <a:cubicBezTo>
                      <a:pt x="0" y="38"/>
                      <a:pt x="7" y="23"/>
                      <a:pt x="14" y="13"/>
                    </a:cubicBezTo>
                    <a:cubicBezTo>
                      <a:pt x="18" y="9"/>
                      <a:pt x="21" y="5"/>
                      <a:pt x="24" y="3"/>
                    </a:cubicBezTo>
                    <a:cubicBezTo>
                      <a:pt x="26" y="1"/>
                      <a:pt x="27"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36">
                <a:extLst>
                  <a:ext uri="{FF2B5EF4-FFF2-40B4-BE49-F238E27FC236}">
                    <a16:creationId xmlns:a16="http://schemas.microsoft.com/office/drawing/2014/main" id="{896D6275-79C0-4603-B2D4-12E7696BA727}"/>
                  </a:ext>
                </a:extLst>
              </p:cNvPr>
              <p:cNvSpPr>
                <a:spLocks/>
              </p:cNvSpPr>
              <p:nvPr/>
            </p:nvSpPr>
            <p:spPr bwMode="auto">
              <a:xfrm>
                <a:off x="5454" y="3410"/>
                <a:ext cx="69" cy="269"/>
              </a:xfrm>
              <a:custGeom>
                <a:avLst/>
                <a:gdLst>
                  <a:gd name="T0" fmla="*/ 27 w 29"/>
                  <a:gd name="T1" fmla="*/ 0 h 113"/>
                  <a:gd name="T2" fmla="*/ 15 w 29"/>
                  <a:gd name="T3" fmla="*/ 14 h 113"/>
                  <a:gd name="T4" fmla="*/ 2 w 29"/>
                  <a:gd name="T5" fmla="*/ 57 h 113"/>
                  <a:gd name="T6" fmla="*/ 16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3 w 29"/>
                  <a:gd name="T19" fmla="*/ 3 h 113"/>
                  <a:gd name="T20" fmla="*/ 27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7" y="0"/>
                    </a:moveTo>
                    <a:cubicBezTo>
                      <a:pt x="28" y="0"/>
                      <a:pt x="22" y="5"/>
                      <a:pt x="15" y="14"/>
                    </a:cubicBezTo>
                    <a:cubicBezTo>
                      <a:pt x="9" y="24"/>
                      <a:pt x="2" y="39"/>
                      <a:pt x="2" y="57"/>
                    </a:cubicBezTo>
                    <a:cubicBezTo>
                      <a:pt x="2" y="74"/>
                      <a:pt x="10" y="89"/>
                      <a:pt x="16" y="99"/>
                    </a:cubicBezTo>
                    <a:cubicBezTo>
                      <a:pt x="23" y="108"/>
                      <a:pt x="29" y="112"/>
                      <a:pt x="29" y="113"/>
                    </a:cubicBezTo>
                    <a:cubicBezTo>
                      <a:pt x="29" y="113"/>
                      <a:pt x="27" y="112"/>
                      <a:pt x="25" y="110"/>
                    </a:cubicBezTo>
                    <a:cubicBezTo>
                      <a:pt x="22" y="108"/>
                      <a:pt x="19" y="104"/>
                      <a:pt x="15" y="100"/>
                    </a:cubicBezTo>
                    <a:cubicBezTo>
                      <a:pt x="8" y="90"/>
                      <a:pt x="0" y="75"/>
                      <a:pt x="0" y="57"/>
                    </a:cubicBezTo>
                    <a:cubicBezTo>
                      <a:pt x="0" y="38"/>
                      <a:pt x="7" y="23"/>
                      <a:pt x="14" y="13"/>
                    </a:cubicBezTo>
                    <a:cubicBezTo>
                      <a:pt x="18" y="9"/>
                      <a:pt x="21" y="5"/>
                      <a:pt x="23" y="3"/>
                    </a:cubicBezTo>
                    <a:cubicBezTo>
                      <a:pt x="26" y="1"/>
                      <a:pt x="27" y="0"/>
                      <a:pt x="27"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37">
                <a:extLst>
                  <a:ext uri="{FF2B5EF4-FFF2-40B4-BE49-F238E27FC236}">
                    <a16:creationId xmlns:a16="http://schemas.microsoft.com/office/drawing/2014/main" id="{775530CD-3C21-4AC0-AD89-D5D5BC3B7392}"/>
                  </a:ext>
                </a:extLst>
              </p:cNvPr>
              <p:cNvSpPr>
                <a:spLocks/>
              </p:cNvSpPr>
              <p:nvPr/>
            </p:nvSpPr>
            <p:spPr bwMode="auto">
              <a:xfrm>
                <a:off x="6370" y="3415"/>
                <a:ext cx="69" cy="268"/>
              </a:xfrm>
              <a:custGeom>
                <a:avLst/>
                <a:gdLst>
                  <a:gd name="T0" fmla="*/ 28 w 29"/>
                  <a:gd name="T1" fmla="*/ 0 h 113"/>
                  <a:gd name="T2" fmla="*/ 16 w 29"/>
                  <a:gd name="T3" fmla="*/ 14 h 113"/>
                  <a:gd name="T4" fmla="*/ 3 w 29"/>
                  <a:gd name="T5" fmla="*/ 57 h 113"/>
                  <a:gd name="T6" fmla="*/ 17 w 29"/>
                  <a:gd name="T7" fmla="*/ 99 h 113"/>
                  <a:gd name="T8" fmla="*/ 29 w 29"/>
                  <a:gd name="T9" fmla="*/ 113 h 113"/>
                  <a:gd name="T10" fmla="*/ 25 w 29"/>
                  <a:gd name="T11" fmla="*/ 110 h 113"/>
                  <a:gd name="T12" fmla="*/ 16 w 29"/>
                  <a:gd name="T13" fmla="*/ 100 h 113"/>
                  <a:gd name="T14" fmla="*/ 1 w 29"/>
                  <a:gd name="T15" fmla="*/ 57 h 113"/>
                  <a:gd name="T16" fmla="*/ 15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6" y="14"/>
                    </a:cubicBezTo>
                    <a:cubicBezTo>
                      <a:pt x="9" y="24"/>
                      <a:pt x="3" y="39"/>
                      <a:pt x="3" y="57"/>
                    </a:cubicBezTo>
                    <a:cubicBezTo>
                      <a:pt x="3" y="74"/>
                      <a:pt x="10" y="90"/>
                      <a:pt x="17" y="99"/>
                    </a:cubicBezTo>
                    <a:cubicBezTo>
                      <a:pt x="23" y="108"/>
                      <a:pt x="29" y="113"/>
                      <a:pt x="29" y="113"/>
                    </a:cubicBezTo>
                    <a:cubicBezTo>
                      <a:pt x="29" y="113"/>
                      <a:pt x="28" y="112"/>
                      <a:pt x="25" y="110"/>
                    </a:cubicBezTo>
                    <a:cubicBezTo>
                      <a:pt x="23" y="108"/>
                      <a:pt x="19" y="104"/>
                      <a:pt x="16" y="100"/>
                    </a:cubicBezTo>
                    <a:cubicBezTo>
                      <a:pt x="8" y="90"/>
                      <a:pt x="1" y="75"/>
                      <a:pt x="1" y="57"/>
                    </a:cubicBezTo>
                    <a:cubicBezTo>
                      <a:pt x="0" y="38"/>
                      <a:pt x="8" y="23"/>
                      <a:pt x="15" y="13"/>
                    </a:cubicBezTo>
                    <a:cubicBezTo>
                      <a:pt x="18" y="9"/>
                      <a:pt x="21" y="5"/>
                      <a:pt x="24" y="3"/>
                    </a:cubicBezTo>
                    <a:cubicBezTo>
                      <a:pt x="26" y="1"/>
                      <a:pt x="28"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38">
                <a:extLst>
                  <a:ext uri="{FF2B5EF4-FFF2-40B4-BE49-F238E27FC236}">
                    <a16:creationId xmlns:a16="http://schemas.microsoft.com/office/drawing/2014/main" id="{CF312E33-2FC8-4796-ADF3-6FAD2D023B7C}"/>
                  </a:ext>
                </a:extLst>
              </p:cNvPr>
              <p:cNvSpPr>
                <a:spLocks/>
              </p:cNvSpPr>
              <p:nvPr/>
            </p:nvSpPr>
            <p:spPr bwMode="auto">
              <a:xfrm>
                <a:off x="6325" y="3410"/>
                <a:ext cx="69" cy="269"/>
              </a:xfrm>
              <a:custGeom>
                <a:avLst/>
                <a:gdLst>
                  <a:gd name="T0" fmla="*/ 28 w 29"/>
                  <a:gd name="T1" fmla="*/ 0 h 113"/>
                  <a:gd name="T2" fmla="*/ 16 w 29"/>
                  <a:gd name="T3" fmla="*/ 14 h 113"/>
                  <a:gd name="T4" fmla="*/ 3 w 29"/>
                  <a:gd name="T5" fmla="*/ 57 h 113"/>
                  <a:gd name="T6" fmla="*/ 17 w 29"/>
                  <a:gd name="T7" fmla="*/ 99 h 113"/>
                  <a:gd name="T8" fmla="*/ 29 w 29"/>
                  <a:gd name="T9" fmla="*/ 113 h 113"/>
                  <a:gd name="T10" fmla="*/ 25 w 29"/>
                  <a:gd name="T11" fmla="*/ 110 h 113"/>
                  <a:gd name="T12" fmla="*/ 15 w 29"/>
                  <a:gd name="T13" fmla="*/ 100 h 113"/>
                  <a:gd name="T14" fmla="*/ 0 w 29"/>
                  <a:gd name="T15" fmla="*/ 57 h 113"/>
                  <a:gd name="T16" fmla="*/ 14 w 29"/>
                  <a:gd name="T17" fmla="*/ 13 h 113"/>
                  <a:gd name="T18" fmla="*/ 24 w 29"/>
                  <a:gd name="T19" fmla="*/ 3 h 113"/>
                  <a:gd name="T20" fmla="*/ 28 w 29"/>
                  <a:gd name="T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113">
                    <a:moveTo>
                      <a:pt x="28" y="0"/>
                    </a:moveTo>
                    <a:cubicBezTo>
                      <a:pt x="28" y="0"/>
                      <a:pt x="22" y="5"/>
                      <a:pt x="16" y="14"/>
                    </a:cubicBezTo>
                    <a:cubicBezTo>
                      <a:pt x="9" y="24"/>
                      <a:pt x="2" y="39"/>
                      <a:pt x="3" y="57"/>
                    </a:cubicBezTo>
                    <a:cubicBezTo>
                      <a:pt x="3" y="74"/>
                      <a:pt x="10" y="89"/>
                      <a:pt x="17" y="99"/>
                    </a:cubicBezTo>
                    <a:cubicBezTo>
                      <a:pt x="23" y="108"/>
                      <a:pt x="29" y="112"/>
                      <a:pt x="29" y="113"/>
                    </a:cubicBezTo>
                    <a:cubicBezTo>
                      <a:pt x="29" y="113"/>
                      <a:pt x="27" y="112"/>
                      <a:pt x="25" y="110"/>
                    </a:cubicBezTo>
                    <a:cubicBezTo>
                      <a:pt x="22" y="108"/>
                      <a:pt x="19" y="104"/>
                      <a:pt x="15" y="100"/>
                    </a:cubicBezTo>
                    <a:cubicBezTo>
                      <a:pt x="8" y="90"/>
                      <a:pt x="1" y="75"/>
                      <a:pt x="0" y="57"/>
                    </a:cubicBezTo>
                    <a:cubicBezTo>
                      <a:pt x="0" y="38"/>
                      <a:pt x="7" y="23"/>
                      <a:pt x="14" y="13"/>
                    </a:cubicBezTo>
                    <a:cubicBezTo>
                      <a:pt x="18" y="9"/>
                      <a:pt x="21" y="5"/>
                      <a:pt x="24" y="3"/>
                    </a:cubicBezTo>
                    <a:cubicBezTo>
                      <a:pt x="26" y="1"/>
                      <a:pt x="28" y="0"/>
                      <a:pt x="28" y="0"/>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39">
                <a:extLst>
                  <a:ext uri="{FF2B5EF4-FFF2-40B4-BE49-F238E27FC236}">
                    <a16:creationId xmlns:a16="http://schemas.microsoft.com/office/drawing/2014/main" id="{4F3AAA81-3412-47CF-B184-F9718BA9E9D7}"/>
                  </a:ext>
                </a:extLst>
              </p:cNvPr>
              <p:cNvSpPr>
                <a:spLocks/>
              </p:cNvSpPr>
              <p:nvPr/>
            </p:nvSpPr>
            <p:spPr bwMode="auto">
              <a:xfrm>
                <a:off x="5646" y="3443"/>
                <a:ext cx="71" cy="198"/>
              </a:xfrm>
              <a:custGeom>
                <a:avLst/>
                <a:gdLst>
                  <a:gd name="T0" fmla="*/ 30 w 30"/>
                  <a:gd name="T1" fmla="*/ 59 h 83"/>
                  <a:gd name="T2" fmla="*/ 30 w 30"/>
                  <a:gd name="T3" fmla="*/ 19 h 83"/>
                  <a:gd name="T4" fmla="*/ 28 w 30"/>
                  <a:gd name="T5" fmla="*/ 8 h 83"/>
                  <a:gd name="T6" fmla="*/ 21 w 30"/>
                  <a:gd name="T7" fmla="*/ 2 h 83"/>
                  <a:gd name="T8" fmla="*/ 4 w 30"/>
                  <a:gd name="T9" fmla="*/ 10 h 83"/>
                  <a:gd name="T10" fmla="*/ 0 w 30"/>
                  <a:gd name="T11" fmla="*/ 29 h 83"/>
                  <a:gd name="T12" fmla="*/ 2 w 30"/>
                  <a:gd name="T13" fmla="*/ 61 h 83"/>
                  <a:gd name="T14" fmla="*/ 6 w 30"/>
                  <a:gd name="T15" fmla="*/ 76 h 83"/>
                  <a:gd name="T16" fmla="*/ 18 w 30"/>
                  <a:gd name="T17" fmla="*/ 83 h 83"/>
                  <a:gd name="T18" fmla="*/ 29 w 30"/>
                  <a:gd name="T19" fmla="*/ 74 h 83"/>
                  <a:gd name="T20" fmla="*/ 30 w 30"/>
                  <a:gd name="T2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83">
                    <a:moveTo>
                      <a:pt x="30" y="59"/>
                    </a:moveTo>
                    <a:cubicBezTo>
                      <a:pt x="30" y="46"/>
                      <a:pt x="30" y="32"/>
                      <a:pt x="30" y="19"/>
                    </a:cubicBezTo>
                    <a:cubicBezTo>
                      <a:pt x="30" y="15"/>
                      <a:pt x="30" y="12"/>
                      <a:pt x="28" y="8"/>
                    </a:cubicBezTo>
                    <a:cubicBezTo>
                      <a:pt x="27" y="5"/>
                      <a:pt x="24" y="2"/>
                      <a:pt x="21" y="2"/>
                    </a:cubicBezTo>
                    <a:cubicBezTo>
                      <a:pt x="16" y="0"/>
                      <a:pt x="8" y="4"/>
                      <a:pt x="4" y="10"/>
                    </a:cubicBezTo>
                    <a:cubicBezTo>
                      <a:pt x="1" y="16"/>
                      <a:pt x="0" y="23"/>
                      <a:pt x="0" y="29"/>
                    </a:cubicBezTo>
                    <a:cubicBezTo>
                      <a:pt x="0" y="40"/>
                      <a:pt x="1" y="51"/>
                      <a:pt x="2" y="61"/>
                    </a:cubicBezTo>
                    <a:cubicBezTo>
                      <a:pt x="2" y="66"/>
                      <a:pt x="3" y="71"/>
                      <a:pt x="6" y="76"/>
                    </a:cubicBezTo>
                    <a:cubicBezTo>
                      <a:pt x="8" y="80"/>
                      <a:pt x="13" y="83"/>
                      <a:pt x="18" y="83"/>
                    </a:cubicBezTo>
                    <a:cubicBezTo>
                      <a:pt x="23" y="83"/>
                      <a:pt x="27" y="78"/>
                      <a:pt x="29" y="74"/>
                    </a:cubicBezTo>
                    <a:cubicBezTo>
                      <a:pt x="30" y="69"/>
                      <a:pt x="30" y="64"/>
                      <a:pt x="30" y="59"/>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40">
                <a:extLst>
                  <a:ext uri="{FF2B5EF4-FFF2-40B4-BE49-F238E27FC236}">
                    <a16:creationId xmlns:a16="http://schemas.microsoft.com/office/drawing/2014/main" id="{C028F11B-E7F7-4540-BA6C-34640DCDEB6B}"/>
                  </a:ext>
                </a:extLst>
              </p:cNvPr>
              <p:cNvSpPr>
                <a:spLocks noChangeArrowheads="1"/>
              </p:cNvSpPr>
              <p:nvPr/>
            </p:nvSpPr>
            <p:spPr bwMode="auto">
              <a:xfrm>
                <a:off x="5807" y="3553"/>
                <a:ext cx="435" cy="4"/>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41">
                <a:extLst>
                  <a:ext uri="{FF2B5EF4-FFF2-40B4-BE49-F238E27FC236}">
                    <a16:creationId xmlns:a16="http://schemas.microsoft.com/office/drawing/2014/main" id="{F11F11DA-CA81-48AD-BEBB-630A9FDA0977}"/>
                  </a:ext>
                </a:extLst>
              </p:cNvPr>
              <p:cNvSpPr>
                <a:spLocks/>
              </p:cNvSpPr>
              <p:nvPr/>
            </p:nvSpPr>
            <p:spPr bwMode="auto">
              <a:xfrm>
                <a:off x="5625" y="3182"/>
                <a:ext cx="125" cy="223"/>
              </a:xfrm>
              <a:custGeom>
                <a:avLst/>
                <a:gdLst>
                  <a:gd name="T0" fmla="*/ 2 w 125"/>
                  <a:gd name="T1" fmla="*/ 223 h 223"/>
                  <a:gd name="T2" fmla="*/ 0 w 125"/>
                  <a:gd name="T3" fmla="*/ 0 h 223"/>
                  <a:gd name="T4" fmla="*/ 121 w 125"/>
                  <a:gd name="T5" fmla="*/ 0 h 223"/>
                  <a:gd name="T6" fmla="*/ 125 w 125"/>
                  <a:gd name="T7" fmla="*/ 223 h 223"/>
                  <a:gd name="T8" fmla="*/ 2 w 125"/>
                  <a:gd name="T9" fmla="*/ 223 h 223"/>
                </a:gdLst>
                <a:ahLst/>
                <a:cxnLst>
                  <a:cxn ang="0">
                    <a:pos x="T0" y="T1"/>
                  </a:cxn>
                  <a:cxn ang="0">
                    <a:pos x="T2" y="T3"/>
                  </a:cxn>
                  <a:cxn ang="0">
                    <a:pos x="T4" y="T5"/>
                  </a:cxn>
                  <a:cxn ang="0">
                    <a:pos x="T6" y="T7"/>
                  </a:cxn>
                  <a:cxn ang="0">
                    <a:pos x="T8" y="T9"/>
                  </a:cxn>
                </a:cxnLst>
                <a:rect l="0" t="0" r="r" b="b"/>
                <a:pathLst>
                  <a:path w="125" h="223">
                    <a:moveTo>
                      <a:pt x="2" y="223"/>
                    </a:moveTo>
                    <a:lnTo>
                      <a:pt x="0" y="0"/>
                    </a:lnTo>
                    <a:lnTo>
                      <a:pt x="121" y="0"/>
                    </a:lnTo>
                    <a:lnTo>
                      <a:pt x="125" y="223"/>
                    </a:lnTo>
                    <a:lnTo>
                      <a:pt x="2" y="22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42">
                <a:extLst>
                  <a:ext uri="{FF2B5EF4-FFF2-40B4-BE49-F238E27FC236}">
                    <a16:creationId xmlns:a16="http://schemas.microsoft.com/office/drawing/2014/main" id="{450BDFED-3E70-4C5B-B5B1-C18981FD1C99}"/>
                  </a:ext>
                </a:extLst>
              </p:cNvPr>
              <p:cNvSpPr>
                <a:spLocks/>
              </p:cNvSpPr>
              <p:nvPr/>
            </p:nvSpPr>
            <p:spPr bwMode="auto">
              <a:xfrm>
                <a:off x="5625" y="3182"/>
                <a:ext cx="125" cy="223"/>
              </a:xfrm>
              <a:custGeom>
                <a:avLst/>
                <a:gdLst>
                  <a:gd name="T0" fmla="*/ 2 w 125"/>
                  <a:gd name="T1" fmla="*/ 223 h 223"/>
                  <a:gd name="T2" fmla="*/ 0 w 125"/>
                  <a:gd name="T3" fmla="*/ 0 h 223"/>
                  <a:gd name="T4" fmla="*/ 121 w 125"/>
                  <a:gd name="T5" fmla="*/ 0 h 223"/>
                  <a:gd name="T6" fmla="*/ 125 w 125"/>
                  <a:gd name="T7" fmla="*/ 223 h 223"/>
                  <a:gd name="T8" fmla="*/ 2 w 125"/>
                  <a:gd name="T9" fmla="*/ 223 h 223"/>
                </a:gdLst>
                <a:ahLst/>
                <a:cxnLst>
                  <a:cxn ang="0">
                    <a:pos x="T0" y="T1"/>
                  </a:cxn>
                  <a:cxn ang="0">
                    <a:pos x="T2" y="T3"/>
                  </a:cxn>
                  <a:cxn ang="0">
                    <a:pos x="T4" y="T5"/>
                  </a:cxn>
                  <a:cxn ang="0">
                    <a:pos x="T6" y="T7"/>
                  </a:cxn>
                  <a:cxn ang="0">
                    <a:pos x="T8" y="T9"/>
                  </a:cxn>
                </a:cxnLst>
                <a:rect l="0" t="0" r="r" b="b"/>
                <a:pathLst>
                  <a:path w="125" h="223">
                    <a:moveTo>
                      <a:pt x="2" y="223"/>
                    </a:moveTo>
                    <a:lnTo>
                      <a:pt x="0" y="0"/>
                    </a:lnTo>
                    <a:lnTo>
                      <a:pt x="121" y="0"/>
                    </a:lnTo>
                    <a:lnTo>
                      <a:pt x="125" y="223"/>
                    </a:lnTo>
                    <a:lnTo>
                      <a:pt x="2" y="2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43">
                <a:extLst>
                  <a:ext uri="{FF2B5EF4-FFF2-40B4-BE49-F238E27FC236}">
                    <a16:creationId xmlns:a16="http://schemas.microsoft.com/office/drawing/2014/main" id="{88611A41-68CB-44DE-BF5E-A7E7382C361A}"/>
                  </a:ext>
                </a:extLst>
              </p:cNvPr>
              <p:cNvSpPr>
                <a:spLocks noChangeArrowheads="1"/>
              </p:cNvSpPr>
              <p:nvPr/>
            </p:nvSpPr>
            <p:spPr bwMode="auto">
              <a:xfrm>
                <a:off x="5627" y="3220"/>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44">
                <a:extLst>
                  <a:ext uri="{FF2B5EF4-FFF2-40B4-BE49-F238E27FC236}">
                    <a16:creationId xmlns:a16="http://schemas.microsoft.com/office/drawing/2014/main" id="{DBD9B1C1-E387-417F-9998-D09D4BD35816}"/>
                  </a:ext>
                </a:extLst>
              </p:cNvPr>
              <p:cNvSpPr>
                <a:spLocks noChangeArrowheads="1"/>
              </p:cNvSpPr>
              <p:nvPr/>
            </p:nvSpPr>
            <p:spPr bwMode="auto">
              <a:xfrm>
                <a:off x="5627" y="3253"/>
                <a:ext cx="112" cy="8"/>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45">
                <a:extLst>
                  <a:ext uri="{FF2B5EF4-FFF2-40B4-BE49-F238E27FC236}">
                    <a16:creationId xmlns:a16="http://schemas.microsoft.com/office/drawing/2014/main" id="{F9FD13A6-B270-4780-8D66-C1E5EDB69B75}"/>
                  </a:ext>
                </a:extLst>
              </p:cNvPr>
              <p:cNvSpPr>
                <a:spLocks noChangeArrowheads="1"/>
              </p:cNvSpPr>
              <p:nvPr/>
            </p:nvSpPr>
            <p:spPr bwMode="auto">
              <a:xfrm>
                <a:off x="5627" y="3289"/>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46">
                <a:extLst>
                  <a:ext uri="{FF2B5EF4-FFF2-40B4-BE49-F238E27FC236}">
                    <a16:creationId xmlns:a16="http://schemas.microsoft.com/office/drawing/2014/main" id="{EF230F34-4DE4-4FC5-B26D-4EB5648F9A6C}"/>
                  </a:ext>
                </a:extLst>
              </p:cNvPr>
              <p:cNvSpPr>
                <a:spLocks noChangeArrowheads="1"/>
              </p:cNvSpPr>
              <p:nvPr/>
            </p:nvSpPr>
            <p:spPr bwMode="auto">
              <a:xfrm>
                <a:off x="5627" y="3322"/>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47">
                <a:extLst>
                  <a:ext uri="{FF2B5EF4-FFF2-40B4-BE49-F238E27FC236}">
                    <a16:creationId xmlns:a16="http://schemas.microsoft.com/office/drawing/2014/main" id="{2BE48D32-D155-4066-AD9B-C3132FE212E8}"/>
                  </a:ext>
                </a:extLst>
              </p:cNvPr>
              <p:cNvSpPr>
                <a:spLocks noChangeArrowheads="1"/>
              </p:cNvSpPr>
              <p:nvPr/>
            </p:nvSpPr>
            <p:spPr bwMode="auto">
              <a:xfrm>
                <a:off x="5627" y="3358"/>
                <a:ext cx="112"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48">
                <a:extLst>
                  <a:ext uri="{FF2B5EF4-FFF2-40B4-BE49-F238E27FC236}">
                    <a16:creationId xmlns:a16="http://schemas.microsoft.com/office/drawing/2014/main" id="{A4B52B2D-3D4F-466C-B6CB-0A459D2E02C8}"/>
                  </a:ext>
                </a:extLst>
              </p:cNvPr>
              <p:cNvSpPr>
                <a:spLocks/>
              </p:cNvSpPr>
              <p:nvPr/>
            </p:nvSpPr>
            <p:spPr bwMode="auto">
              <a:xfrm>
                <a:off x="5618" y="3178"/>
                <a:ext cx="1357" cy="239"/>
              </a:xfrm>
              <a:custGeom>
                <a:avLst/>
                <a:gdLst>
                  <a:gd name="T0" fmla="*/ 0 w 572"/>
                  <a:gd name="T1" fmla="*/ 0 h 101"/>
                  <a:gd name="T2" fmla="*/ 565 w 572"/>
                  <a:gd name="T3" fmla="*/ 0 h 101"/>
                  <a:gd name="T4" fmla="*/ 565 w 572"/>
                  <a:gd name="T5" fmla="*/ 101 h 101"/>
                  <a:gd name="T6" fmla="*/ 3 w 572"/>
                  <a:gd name="T7" fmla="*/ 101 h 101"/>
                  <a:gd name="T8" fmla="*/ 3 w 572"/>
                  <a:gd name="T9" fmla="*/ 94 h 101"/>
                  <a:gd name="T10" fmla="*/ 37 w 572"/>
                  <a:gd name="T11" fmla="*/ 94 h 101"/>
                  <a:gd name="T12" fmla="*/ 53 w 572"/>
                  <a:gd name="T13" fmla="*/ 78 h 101"/>
                  <a:gd name="T14" fmla="*/ 53 w 572"/>
                  <a:gd name="T15" fmla="*/ 22 h 101"/>
                  <a:gd name="T16" fmla="*/ 37 w 572"/>
                  <a:gd name="T17" fmla="*/ 6 h 101"/>
                  <a:gd name="T18" fmla="*/ 0 w 572"/>
                  <a:gd name="T19" fmla="*/ 6 h 101"/>
                  <a:gd name="T20" fmla="*/ 0 w 572"/>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2" h="101">
                    <a:moveTo>
                      <a:pt x="0" y="0"/>
                    </a:moveTo>
                    <a:cubicBezTo>
                      <a:pt x="565" y="0"/>
                      <a:pt x="565" y="0"/>
                      <a:pt x="565" y="0"/>
                    </a:cubicBezTo>
                    <a:cubicBezTo>
                      <a:pt x="572" y="31"/>
                      <a:pt x="571" y="65"/>
                      <a:pt x="565" y="101"/>
                    </a:cubicBezTo>
                    <a:cubicBezTo>
                      <a:pt x="3" y="101"/>
                      <a:pt x="3" y="101"/>
                      <a:pt x="3" y="101"/>
                    </a:cubicBezTo>
                    <a:cubicBezTo>
                      <a:pt x="3" y="94"/>
                      <a:pt x="3" y="94"/>
                      <a:pt x="3" y="94"/>
                    </a:cubicBezTo>
                    <a:cubicBezTo>
                      <a:pt x="37" y="94"/>
                      <a:pt x="37" y="94"/>
                      <a:pt x="37" y="94"/>
                    </a:cubicBezTo>
                    <a:cubicBezTo>
                      <a:pt x="46" y="94"/>
                      <a:pt x="53" y="87"/>
                      <a:pt x="53" y="78"/>
                    </a:cubicBezTo>
                    <a:cubicBezTo>
                      <a:pt x="53" y="22"/>
                      <a:pt x="53" y="22"/>
                      <a:pt x="53" y="22"/>
                    </a:cubicBezTo>
                    <a:cubicBezTo>
                      <a:pt x="53" y="13"/>
                      <a:pt x="46" y="6"/>
                      <a:pt x="37" y="6"/>
                    </a:cubicBezTo>
                    <a:cubicBezTo>
                      <a:pt x="0" y="6"/>
                      <a:pt x="0" y="6"/>
                      <a:pt x="0" y="6"/>
                    </a:cubicBezTo>
                    <a:cubicBezTo>
                      <a:pt x="0" y="0"/>
                      <a:pt x="0" y="0"/>
                      <a:pt x="0"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49">
                <a:extLst>
                  <a:ext uri="{FF2B5EF4-FFF2-40B4-BE49-F238E27FC236}">
                    <a16:creationId xmlns:a16="http://schemas.microsoft.com/office/drawing/2014/main" id="{9BE00EC0-7CF8-482D-9ABF-72F11FC0B1CD}"/>
                  </a:ext>
                </a:extLst>
              </p:cNvPr>
              <p:cNvSpPr>
                <a:spLocks/>
              </p:cNvSpPr>
              <p:nvPr/>
            </p:nvSpPr>
            <p:spPr bwMode="auto">
              <a:xfrm>
                <a:off x="5902" y="3251"/>
                <a:ext cx="60" cy="93"/>
              </a:xfrm>
              <a:custGeom>
                <a:avLst/>
                <a:gdLst>
                  <a:gd name="T0" fmla="*/ 14 w 25"/>
                  <a:gd name="T1" fmla="*/ 20 h 39"/>
                  <a:gd name="T2" fmla="*/ 23 w 25"/>
                  <a:gd name="T3" fmla="*/ 20 h 39"/>
                  <a:gd name="T4" fmla="*/ 24 w 25"/>
                  <a:gd name="T5" fmla="*/ 20 h 39"/>
                  <a:gd name="T6" fmla="*/ 25 w 25"/>
                  <a:gd name="T7" fmla="*/ 22 h 39"/>
                  <a:gd name="T8" fmla="*/ 25 w 25"/>
                  <a:gd name="T9" fmla="*/ 22 h 39"/>
                  <a:gd name="T10" fmla="*/ 25 w 25"/>
                  <a:gd name="T11" fmla="*/ 25 h 39"/>
                  <a:gd name="T12" fmla="*/ 19 w 25"/>
                  <a:gd name="T13" fmla="*/ 35 h 39"/>
                  <a:gd name="T14" fmla="*/ 11 w 25"/>
                  <a:gd name="T15" fmla="*/ 39 h 39"/>
                  <a:gd name="T16" fmla="*/ 10 w 25"/>
                  <a:gd name="T17" fmla="*/ 39 h 39"/>
                  <a:gd name="T18" fmla="*/ 3 w 25"/>
                  <a:gd name="T19" fmla="*/ 35 h 39"/>
                  <a:gd name="T20" fmla="*/ 0 w 25"/>
                  <a:gd name="T21" fmla="*/ 23 h 39"/>
                  <a:gd name="T22" fmla="*/ 1 w 25"/>
                  <a:gd name="T23" fmla="*/ 15 h 39"/>
                  <a:gd name="T24" fmla="*/ 7 w 25"/>
                  <a:gd name="T25" fmla="*/ 4 h 39"/>
                  <a:gd name="T26" fmla="*/ 16 w 25"/>
                  <a:gd name="T27" fmla="*/ 0 h 39"/>
                  <a:gd name="T28" fmla="*/ 19 w 25"/>
                  <a:gd name="T29" fmla="*/ 1 h 39"/>
                  <a:gd name="T30" fmla="*/ 25 w 25"/>
                  <a:gd name="T31" fmla="*/ 8 h 39"/>
                  <a:gd name="T32" fmla="*/ 25 w 25"/>
                  <a:gd name="T33" fmla="*/ 8 h 39"/>
                  <a:gd name="T34" fmla="*/ 25 w 25"/>
                  <a:gd name="T35" fmla="*/ 9 h 39"/>
                  <a:gd name="T36" fmla="*/ 23 w 25"/>
                  <a:gd name="T37" fmla="*/ 10 h 39"/>
                  <a:gd name="T38" fmla="*/ 22 w 25"/>
                  <a:gd name="T39" fmla="*/ 10 h 39"/>
                  <a:gd name="T40" fmla="*/ 21 w 25"/>
                  <a:gd name="T41" fmla="*/ 9 h 39"/>
                  <a:gd name="T42" fmla="*/ 21 w 25"/>
                  <a:gd name="T43" fmla="*/ 9 h 39"/>
                  <a:gd name="T44" fmla="*/ 20 w 25"/>
                  <a:gd name="T45" fmla="*/ 7 h 39"/>
                  <a:gd name="T46" fmla="*/ 15 w 25"/>
                  <a:gd name="T47" fmla="*/ 4 h 39"/>
                  <a:gd name="T48" fmla="*/ 12 w 25"/>
                  <a:gd name="T49" fmla="*/ 5 h 39"/>
                  <a:gd name="T50" fmla="*/ 7 w 25"/>
                  <a:gd name="T51" fmla="*/ 13 h 39"/>
                  <a:gd name="T52" fmla="*/ 5 w 25"/>
                  <a:gd name="T53" fmla="*/ 23 h 39"/>
                  <a:gd name="T54" fmla="*/ 6 w 25"/>
                  <a:gd name="T55" fmla="*/ 32 h 39"/>
                  <a:gd name="T56" fmla="*/ 11 w 25"/>
                  <a:gd name="T57" fmla="*/ 35 h 39"/>
                  <a:gd name="T58" fmla="*/ 16 w 25"/>
                  <a:gd name="T59" fmla="*/ 32 h 39"/>
                  <a:gd name="T60" fmla="*/ 21 w 25"/>
                  <a:gd name="T61" fmla="*/ 24 h 39"/>
                  <a:gd name="T62" fmla="*/ 14 w 25"/>
                  <a:gd name="T63" fmla="*/ 24 h 39"/>
                  <a:gd name="T64" fmla="*/ 12 w 25"/>
                  <a:gd name="T65" fmla="*/ 21 h 39"/>
                  <a:gd name="T66" fmla="*/ 12 w 25"/>
                  <a:gd name="T67" fmla="*/ 21 h 39"/>
                  <a:gd name="T68" fmla="*/ 14 w 25"/>
                  <a:gd name="T6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9">
                    <a:moveTo>
                      <a:pt x="14" y="20"/>
                    </a:moveTo>
                    <a:cubicBezTo>
                      <a:pt x="23" y="20"/>
                      <a:pt x="23" y="20"/>
                      <a:pt x="23" y="20"/>
                    </a:cubicBezTo>
                    <a:cubicBezTo>
                      <a:pt x="24" y="20"/>
                      <a:pt x="24" y="20"/>
                      <a:pt x="24" y="20"/>
                    </a:cubicBezTo>
                    <a:cubicBezTo>
                      <a:pt x="25" y="20"/>
                      <a:pt x="25" y="21"/>
                      <a:pt x="25" y="22"/>
                    </a:cubicBezTo>
                    <a:cubicBezTo>
                      <a:pt x="25" y="22"/>
                      <a:pt x="25" y="22"/>
                      <a:pt x="25" y="22"/>
                    </a:cubicBezTo>
                    <a:cubicBezTo>
                      <a:pt x="25" y="23"/>
                      <a:pt x="25" y="24"/>
                      <a:pt x="25" y="25"/>
                    </a:cubicBezTo>
                    <a:cubicBezTo>
                      <a:pt x="23" y="29"/>
                      <a:pt x="21" y="32"/>
                      <a:pt x="19" y="35"/>
                    </a:cubicBezTo>
                    <a:cubicBezTo>
                      <a:pt x="16" y="38"/>
                      <a:pt x="13" y="39"/>
                      <a:pt x="11" y="39"/>
                    </a:cubicBezTo>
                    <a:cubicBezTo>
                      <a:pt x="10" y="39"/>
                      <a:pt x="10" y="39"/>
                      <a:pt x="10" y="39"/>
                    </a:cubicBezTo>
                    <a:cubicBezTo>
                      <a:pt x="7" y="39"/>
                      <a:pt x="5" y="37"/>
                      <a:pt x="3" y="35"/>
                    </a:cubicBezTo>
                    <a:cubicBezTo>
                      <a:pt x="1" y="32"/>
                      <a:pt x="0" y="28"/>
                      <a:pt x="0" y="23"/>
                    </a:cubicBezTo>
                    <a:cubicBezTo>
                      <a:pt x="0" y="21"/>
                      <a:pt x="1" y="18"/>
                      <a:pt x="1" y="15"/>
                    </a:cubicBezTo>
                    <a:cubicBezTo>
                      <a:pt x="3" y="11"/>
                      <a:pt x="5" y="7"/>
                      <a:pt x="7" y="4"/>
                    </a:cubicBezTo>
                    <a:cubicBezTo>
                      <a:pt x="10" y="1"/>
                      <a:pt x="13" y="0"/>
                      <a:pt x="16" y="0"/>
                    </a:cubicBezTo>
                    <a:cubicBezTo>
                      <a:pt x="17" y="0"/>
                      <a:pt x="18" y="0"/>
                      <a:pt x="19" y="1"/>
                    </a:cubicBezTo>
                    <a:cubicBezTo>
                      <a:pt x="22" y="2"/>
                      <a:pt x="23" y="4"/>
                      <a:pt x="25" y="8"/>
                    </a:cubicBezTo>
                    <a:cubicBezTo>
                      <a:pt x="25" y="8"/>
                      <a:pt x="25" y="8"/>
                      <a:pt x="25" y="8"/>
                    </a:cubicBezTo>
                    <a:cubicBezTo>
                      <a:pt x="25" y="9"/>
                      <a:pt x="25" y="9"/>
                      <a:pt x="25" y="9"/>
                    </a:cubicBezTo>
                    <a:cubicBezTo>
                      <a:pt x="24" y="10"/>
                      <a:pt x="24" y="10"/>
                      <a:pt x="23" y="10"/>
                    </a:cubicBezTo>
                    <a:cubicBezTo>
                      <a:pt x="22" y="10"/>
                      <a:pt x="22" y="10"/>
                      <a:pt x="22" y="10"/>
                    </a:cubicBezTo>
                    <a:cubicBezTo>
                      <a:pt x="21" y="10"/>
                      <a:pt x="21" y="10"/>
                      <a:pt x="21" y="9"/>
                    </a:cubicBezTo>
                    <a:cubicBezTo>
                      <a:pt x="21" y="9"/>
                      <a:pt x="21" y="9"/>
                      <a:pt x="21" y="9"/>
                    </a:cubicBezTo>
                    <a:cubicBezTo>
                      <a:pt x="20" y="8"/>
                      <a:pt x="20" y="7"/>
                      <a:pt x="20" y="7"/>
                    </a:cubicBezTo>
                    <a:cubicBezTo>
                      <a:pt x="18" y="5"/>
                      <a:pt x="17" y="4"/>
                      <a:pt x="15" y="4"/>
                    </a:cubicBezTo>
                    <a:cubicBezTo>
                      <a:pt x="14" y="4"/>
                      <a:pt x="13" y="4"/>
                      <a:pt x="12" y="5"/>
                    </a:cubicBezTo>
                    <a:cubicBezTo>
                      <a:pt x="10" y="7"/>
                      <a:pt x="8" y="9"/>
                      <a:pt x="7" y="13"/>
                    </a:cubicBezTo>
                    <a:cubicBezTo>
                      <a:pt x="5" y="16"/>
                      <a:pt x="5" y="20"/>
                      <a:pt x="5" y="23"/>
                    </a:cubicBezTo>
                    <a:cubicBezTo>
                      <a:pt x="5" y="26"/>
                      <a:pt x="5" y="29"/>
                      <a:pt x="6" y="32"/>
                    </a:cubicBezTo>
                    <a:cubicBezTo>
                      <a:pt x="7" y="34"/>
                      <a:pt x="9" y="35"/>
                      <a:pt x="11" y="35"/>
                    </a:cubicBezTo>
                    <a:cubicBezTo>
                      <a:pt x="13" y="35"/>
                      <a:pt x="14" y="34"/>
                      <a:pt x="16" y="32"/>
                    </a:cubicBezTo>
                    <a:cubicBezTo>
                      <a:pt x="18" y="30"/>
                      <a:pt x="19" y="27"/>
                      <a:pt x="21" y="24"/>
                    </a:cubicBezTo>
                    <a:cubicBezTo>
                      <a:pt x="16" y="24"/>
                      <a:pt x="14" y="24"/>
                      <a:pt x="14" y="24"/>
                    </a:cubicBezTo>
                    <a:cubicBezTo>
                      <a:pt x="12" y="23"/>
                      <a:pt x="12" y="23"/>
                      <a:pt x="12" y="21"/>
                    </a:cubicBezTo>
                    <a:cubicBezTo>
                      <a:pt x="12" y="21"/>
                      <a:pt x="12" y="21"/>
                      <a:pt x="12" y="21"/>
                    </a:cubicBezTo>
                    <a:cubicBezTo>
                      <a:pt x="12" y="20"/>
                      <a:pt x="13" y="20"/>
                      <a:pt x="14" y="2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50">
                <a:extLst>
                  <a:ext uri="{FF2B5EF4-FFF2-40B4-BE49-F238E27FC236}">
                    <a16:creationId xmlns:a16="http://schemas.microsoft.com/office/drawing/2014/main" id="{3AC7B91C-1941-4B46-9416-EE81BBABAE33}"/>
                  </a:ext>
                </a:extLst>
              </p:cNvPr>
              <p:cNvSpPr>
                <a:spLocks noEditPoints="1"/>
              </p:cNvSpPr>
              <p:nvPr/>
            </p:nvSpPr>
            <p:spPr bwMode="auto">
              <a:xfrm>
                <a:off x="5964" y="3251"/>
                <a:ext cx="64" cy="93"/>
              </a:xfrm>
              <a:custGeom>
                <a:avLst/>
                <a:gdLst>
                  <a:gd name="T0" fmla="*/ 20 w 27"/>
                  <a:gd name="T1" fmla="*/ 1 h 39"/>
                  <a:gd name="T2" fmla="*/ 20 w 27"/>
                  <a:gd name="T3" fmla="*/ 2 h 39"/>
                  <a:gd name="T4" fmla="*/ 27 w 27"/>
                  <a:gd name="T5" fmla="*/ 37 h 39"/>
                  <a:gd name="T6" fmla="*/ 27 w 27"/>
                  <a:gd name="T7" fmla="*/ 37 h 39"/>
                  <a:gd name="T8" fmla="*/ 27 w 27"/>
                  <a:gd name="T9" fmla="*/ 38 h 39"/>
                  <a:gd name="T10" fmla="*/ 25 w 27"/>
                  <a:gd name="T11" fmla="*/ 39 h 39"/>
                  <a:gd name="T12" fmla="*/ 25 w 27"/>
                  <a:gd name="T13" fmla="*/ 39 h 39"/>
                  <a:gd name="T14" fmla="*/ 23 w 27"/>
                  <a:gd name="T15" fmla="*/ 38 h 39"/>
                  <a:gd name="T16" fmla="*/ 21 w 27"/>
                  <a:gd name="T17" fmla="*/ 26 h 39"/>
                  <a:gd name="T18" fmla="*/ 9 w 27"/>
                  <a:gd name="T19" fmla="*/ 26 h 39"/>
                  <a:gd name="T20" fmla="*/ 4 w 27"/>
                  <a:gd name="T21" fmla="*/ 38 h 39"/>
                  <a:gd name="T22" fmla="*/ 3 w 27"/>
                  <a:gd name="T23" fmla="*/ 38 h 39"/>
                  <a:gd name="T24" fmla="*/ 2 w 27"/>
                  <a:gd name="T25" fmla="*/ 39 h 39"/>
                  <a:gd name="T26" fmla="*/ 1 w 27"/>
                  <a:gd name="T27" fmla="*/ 39 h 39"/>
                  <a:gd name="T28" fmla="*/ 0 w 27"/>
                  <a:gd name="T29" fmla="*/ 37 h 39"/>
                  <a:gd name="T30" fmla="*/ 0 w 27"/>
                  <a:gd name="T31" fmla="*/ 37 h 39"/>
                  <a:gd name="T32" fmla="*/ 2 w 27"/>
                  <a:gd name="T33" fmla="*/ 33 h 39"/>
                  <a:gd name="T34" fmla="*/ 16 w 27"/>
                  <a:gd name="T35" fmla="*/ 2 h 39"/>
                  <a:gd name="T36" fmla="*/ 18 w 27"/>
                  <a:gd name="T37" fmla="*/ 0 h 39"/>
                  <a:gd name="T38" fmla="*/ 20 w 27"/>
                  <a:gd name="T39" fmla="*/ 1 h 39"/>
                  <a:gd name="T40" fmla="*/ 17 w 27"/>
                  <a:gd name="T41" fmla="*/ 9 h 39"/>
                  <a:gd name="T42" fmla="*/ 11 w 27"/>
                  <a:gd name="T43" fmla="*/ 22 h 39"/>
                  <a:gd name="T44" fmla="*/ 20 w 27"/>
                  <a:gd name="T45" fmla="*/ 22 h 39"/>
                  <a:gd name="T46" fmla="*/ 17 w 27"/>
                  <a:gd name="T4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9">
                    <a:moveTo>
                      <a:pt x="20" y="1"/>
                    </a:moveTo>
                    <a:cubicBezTo>
                      <a:pt x="20" y="2"/>
                      <a:pt x="20" y="2"/>
                      <a:pt x="20" y="2"/>
                    </a:cubicBezTo>
                    <a:cubicBezTo>
                      <a:pt x="21" y="3"/>
                      <a:pt x="23" y="15"/>
                      <a:pt x="27" y="37"/>
                    </a:cubicBezTo>
                    <a:cubicBezTo>
                      <a:pt x="27" y="37"/>
                      <a:pt x="27" y="37"/>
                      <a:pt x="27" y="37"/>
                    </a:cubicBezTo>
                    <a:cubicBezTo>
                      <a:pt x="27" y="38"/>
                      <a:pt x="27" y="38"/>
                      <a:pt x="27" y="38"/>
                    </a:cubicBezTo>
                    <a:cubicBezTo>
                      <a:pt x="26" y="39"/>
                      <a:pt x="26" y="39"/>
                      <a:pt x="25" y="39"/>
                    </a:cubicBezTo>
                    <a:cubicBezTo>
                      <a:pt x="25" y="39"/>
                      <a:pt x="25" y="39"/>
                      <a:pt x="25" y="39"/>
                    </a:cubicBezTo>
                    <a:cubicBezTo>
                      <a:pt x="24" y="39"/>
                      <a:pt x="23" y="39"/>
                      <a:pt x="23" y="38"/>
                    </a:cubicBezTo>
                    <a:cubicBezTo>
                      <a:pt x="21" y="26"/>
                      <a:pt x="21" y="26"/>
                      <a:pt x="21" y="26"/>
                    </a:cubicBezTo>
                    <a:cubicBezTo>
                      <a:pt x="9" y="26"/>
                      <a:pt x="9" y="26"/>
                      <a:pt x="9" y="26"/>
                    </a:cubicBezTo>
                    <a:cubicBezTo>
                      <a:pt x="4" y="38"/>
                      <a:pt x="4" y="38"/>
                      <a:pt x="4" y="38"/>
                    </a:cubicBezTo>
                    <a:cubicBezTo>
                      <a:pt x="3" y="38"/>
                      <a:pt x="3" y="38"/>
                      <a:pt x="3" y="38"/>
                    </a:cubicBezTo>
                    <a:cubicBezTo>
                      <a:pt x="3" y="39"/>
                      <a:pt x="2" y="39"/>
                      <a:pt x="2" y="39"/>
                    </a:cubicBezTo>
                    <a:cubicBezTo>
                      <a:pt x="1" y="39"/>
                      <a:pt x="1" y="39"/>
                      <a:pt x="1" y="39"/>
                    </a:cubicBezTo>
                    <a:cubicBezTo>
                      <a:pt x="0" y="39"/>
                      <a:pt x="0" y="38"/>
                      <a:pt x="0" y="37"/>
                    </a:cubicBezTo>
                    <a:cubicBezTo>
                      <a:pt x="0" y="37"/>
                      <a:pt x="0" y="37"/>
                      <a:pt x="0" y="37"/>
                    </a:cubicBezTo>
                    <a:cubicBezTo>
                      <a:pt x="0" y="36"/>
                      <a:pt x="1" y="35"/>
                      <a:pt x="2" y="33"/>
                    </a:cubicBezTo>
                    <a:cubicBezTo>
                      <a:pt x="10" y="15"/>
                      <a:pt x="15" y="5"/>
                      <a:pt x="16" y="2"/>
                    </a:cubicBezTo>
                    <a:cubicBezTo>
                      <a:pt x="17" y="1"/>
                      <a:pt x="17" y="0"/>
                      <a:pt x="18" y="0"/>
                    </a:cubicBezTo>
                    <a:cubicBezTo>
                      <a:pt x="19" y="0"/>
                      <a:pt x="19" y="0"/>
                      <a:pt x="20" y="1"/>
                    </a:cubicBezTo>
                    <a:moveTo>
                      <a:pt x="17" y="9"/>
                    </a:moveTo>
                    <a:cubicBezTo>
                      <a:pt x="11" y="22"/>
                      <a:pt x="11" y="22"/>
                      <a:pt x="11" y="22"/>
                    </a:cubicBezTo>
                    <a:cubicBezTo>
                      <a:pt x="20" y="22"/>
                      <a:pt x="20" y="22"/>
                      <a:pt x="20" y="22"/>
                    </a:cubicBezTo>
                    <a:cubicBezTo>
                      <a:pt x="17" y="9"/>
                      <a:pt x="17" y="9"/>
                      <a:pt x="17" y="9"/>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51">
                <a:extLst>
                  <a:ext uri="{FF2B5EF4-FFF2-40B4-BE49-F238E27FC236}">
                    <a16:creationId xmlns:a16="http://schemas.microsoft.com/office/drawing/2014/main" id="{441B6B95-D419-4ED5-9298-5568FAC0C825}"/>
                  </a:ext>
                </a:extLst>
              </p:cNvPr>
              <p:cNvSpPr>
                <a:spLocks/>
              </p:cNvSpPr>
              <p:nvPr/>
            </p:nvSpPr>
            <p:spPr bwMode="auto">
              <a:xfrm>
                <a:off x="6040" y="3251"/>
                <a:ext cx="52" cy="93"/>
              </a:xfrm>
              <a:custGeom>
                <a:avLst/>
                <a:gdLst>
                  <a:gd name="T0" fmla="*/ 19 w 22"/>
                  <a:gd name="T1" fmla="*/ 39 h 39"/>
                  <a:gd name="T2" fmla="*/ 2 w 22"/>
                  <a:gd name="T3" fmla="*/ 39 h 39"/>
                  <a:gd name="T4" fmla="*/ 1 w 22"/>
                  <a:gd name="T5" fmla="*/ 39 h 39"/>
                  <a:gd name="T6" fmla="*/ 0 w 22"/>
                  <a:gd name="T7" fmla="*/ 37 h 39"/>
                  <a:gd name="T8" fmla="*/ 0 w 22"/>
                  <a:gd name="T9" fmla="*/ 37 h 39"/>
                  <a:gd name="T10" fmla="*/ 5 w 22"/>
                  <a:gd name="T11" fmla="*/ 2 h 39"/>
                  <a:gd name="T12" fmla="*/ 5 w 22"/>
                  <a:gd name="T13" fmla="*/ 1 h 39"/>
                  <a:gd name="T14" fmla="*/ 7 w 22"/>
                  <a:gd name="T15" fmla="*/ 0 h 39"/>
                  <a:gd name="T16" fmla="*/ 8 w 22"/>
                  <a:gd name="T17" fmla="*/ 0 h 39"/>
                  <a:gd name="T18" fmla="*/ 9 w 22"/>
                  <a:gd name="T19" fmla="*/ 2 h 39"/>
                  <a:gd name="T20" fmla="*/ 8 w 22"/>
                  <a:gd name="T21" fmla="*/ 12 h 39"/>
                  <a:gd name="T22" fmla="*/ 5 w 22"/>
                  <a:gd name="T23" fmla="*/ 35 h 39"/>
                  <a:gd name="T24" fmla="*/ 19 w 22"/>
                  <a:gd name="T25" fmla="*/ 35 h 39"/>
                  <a:gd name="T26" fmla="*/ 20 w 22"/>
                  <a:gd name="T27" fmla="*/ 35 h 39"/>
                  <a:gd name="T28" fmla="*/ 22 w 22"/>
                  <a:gd name="T29" fmla="*/ 37 h 39"/>
                  <a:gd name="T30" fmla="*/ 22 w 22"/>
                  <a:gd name="T31" fmla="*/ 38 h 39"/>
                  <a:gd name="T32" fmla="*/ 19 w 22"/>
                  <a:gd name="T3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19" y="39"/>
                    </a:moveTo>
                    <a:cubicBezTo>
                      <a:pt x="2" y="39"/>
                      <a:pt x="2" y="39"/>
                      <a:pt x="2" y="39"/>
                    </a:cubicBezTo>
                    <a:cubicBezTo>
                      <a:pt x="2" y="39"/>
                      <a:pt x="2" y="39"/>
                      <a:pt x="1" y="39"/>
                    </a:cubicBezTo>
                    <a:cubicBezTo>
                      <a:pt x="1" y="39"/>
                      <a:pt x="0" y="38"/>
                      <a:pt x="0" y="37"/>
                    </a:cubicBezTo>
                    <a:cubicBezTo>
                      <a:pt x="0" y="37"/>
                      <a:pt x="0" y="37"/>
                      <a:pt x="0" y="37"/>
                    </a:cubicBezTo>
                    <a:cubicBezTo>
                      <a:pt x="0" y="36"/>
                      <a:pt x="2" y="25"/>
                      <a:pt x="5" y="2"/>
                    </a:cubicBezTo>
                    <a:cubicBezTo>
                      <a:pt x="5" y="1"/>
                      <a:pt x="5" y="1"/>
                      <a:pt x="5" y="1"/>
                    </a:cubicBezTo>
                    <a:cubicBezTo>
                      <a:pt x="5" y="0"/>
                      <a:pt x="6" y="0"/>
                      <a:pt x="7" y="0"/>
                    </a:cubicBezTo>
                    <a:cubicBezTo>
                      <a:pt x="8" y="0"/>
                      <a:pt x="8" y="0"/>
                      <a:pt x="8" y="0"/>
                    </a:cubicBezTo>
                    <a:cubicBezTo>
                      <a:pt x="9" y="1"/>
                      <a:pt x="9" y="1"/>
                      <a:pt x="9" y="2"/>
                    </a:cubicBezTo>
                    <a:cubicBezTo>
                      <a:pt x="9" y="4"/>
                      <a:pt x="8" y="7"/>
                      <a:pt x="8" y="12"/>
                    </a:cubicBezTo>
                    <a:cubicBezTo>
                      <a:pt x="6" y="27"/>
                      <a:pt x="5" y="34"/>
                      <a:pt x="5" y="35"/>
                    </a:cubicBezTo>
                    <a:cubicBezTo>
                      <a:pt x="19" y="35"/>
                      <a:pt x="19" y="35"/>
                      <a:pt x="19" y="35"/>
                    </a:cubicBezTo>
                    <a:cubicBezTo>
                      <a:pt x="20" y="35"/>
                      <a:pt x="20" y="35"/>
                      <a:pt x="20" y="35"/>
                    </a:cubicBezTo>
                    <a:cubicBezTo>
                      <a:pt x="21" y="36"/>
                      <a:pt x="22" y="36"/>
                      <a:pt x="22" y="37"/>
                    </a:cubicBezTo>
                    <a:cubicBezTo>
                      <a:pt x="22" y="38"/>
                      <a:pt x="22" y="38"/>
                      <a:pt x="22" y="38"/>
                    </a:cubicBezTo>
                    <a:cubicBezTo>
                      <a:pt x="21" y="39"/>
                      <a:pt x="21" y="39"/>
                      <a:pt x="19" y="39"/>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52">
                <a:extLst>
                  <a:ext uri="{FF2B5EF4-FFF2-40B4-BE49-F238E27FC236}">
                    <a16:creationId xmlns:a16="http://schemas.microsoft.com/office/drawing/2014/main" id="{EABDD104-E721-4B75-A60D-4F2E53EAC82D}"/>
                  </a:ext>
                </a:extLst>
              </p:cNvPr>
              <p:cNvSpPr>
                <a:spLocks noEditPoints="1"/>
              </p:cNvSpPr>
              <p:nvPr/>
            </p:nvSpPr>
            <p:spPr bwMode="auto">
              <a:xfrm>
                <a:off x="6092" y="3251"/>
                <a:ext cx="67" cy="93"/>
              </a:xfrm>
              <a:custGeom>
                <a:avLst/>
                <a:gdLst>
                  <a:gd name="T0" fmla="*/ 21 w 28"/>
                  <a:gd name="T1" fmla="*/ 1 h 39"/>
                  <a:gd name="T2" fmla="*/ 21 w 28"/>
                  <a:gd name="T3" fmla="*/ 2 h 39"/>
                  <a:gd name="T4" fmla="*/ 28 w 28"/>
                  <a:gd name="T5" fmla="*/ 37 h 39"/>
                  <a:gd name="T6" fmla="*/ 28 w 28"/>
                  <a:gd name="T7" fmla="*/ 37 h 39"/>
                  <a:gd name="T8" fmla="*/ 27 w 28"/>
                  <a:gd name="T9" fmla="*/ 38 h 39"/>
                  <a:gd name="T10" fmla="*/ 26 w 28"/>
                  <a:gd name="T11" fmla="*/ 39 h 39"/>
                  <a:gd name="T12" fmla="*/ 25 w 28"/>
                  <a:gd name="T13" fmla="*/ 39 h 39"/>
                  <a:gd name="T14" fmla="*/ 24 w 28"/>
                  <a:gd name="T15" fmla="*/ 38 h 39"/>
                  <a:gd name="T16" fmla="*/ 22 w 28"/>
                  <a:gd name="T17" fmla="*/ 26 h 39"/>
                  <a:gd name="T18" fmla="*/ 10 w 28"/>
                  <a:gd name="T19" fmla="*/ 26 h 39"/>
                  <a:gd name="T20" fmla="*/ 4 w 28"/>
                  <a:gd name="T21" fmla="*/ 38 h 39"/>
                  <a:gd name="T22" fmla="*/ 4 w 28"/>
                  <a:gd name="T23" fmla="*/ 38 h 39"/>
                  <a:gd name="T24" fmla="*/ 2 w 28"/>
                  <a:gd name="T25" fmla="*/ 39 h 39"/>
                  <a:gd name="T26" fmla="*/ 1 w 28"/>
                  <a:gd name="T27" fmla="*/ 39 h 39"/>
                  <a:gd name="T28" fmla="*/ 0 w 28"/>
                  <a:gd name="T29" fmla="*/ 37 h 39"/>
                  <a:gd name="T30" fmla="*/ 1 w 28"/>
                  <a:gd name="T31" fmla="*/ 37 h 39"/>
                  <a:gd name="T32" fmla="*/ 2 w 28"/>
                  <a:gd name="T33" fmla="*/ 33 h 39"/>
                  <a:gd name="T34" fmla="*/ 17 w 28"/>
                  <a:gd name="T35" fmla="*/ 2 h 39"/>
                  <a:gd name="T36" fmla="*/ 19 w 28"/>
                  <a:gd name="T37" fmla="*/ 0 h 39"/>
                  <a:gd name="T38" fmla="*/ 21 w 28"/>
                  <a:gd name="T39" fmla="*/ 1 h 39"/>
                  <a:gd name="T40" fmla="*/ 18 w 28"/>
                  <a:gd name="T41" fmla="*/ 9 h 39"/>
                  <a:gd name="T42" fmla="*/ 12 w 28"/>
                  <a:gd name="T43" fmla="*/ 22 h 39"/>
                  <a:gd name="T44" fmla="*/ 21 w 28"/>
                  <a:gd name="T45" fmla="*/ 22 h 39"/>
                  <a:gd name="T46" fmla="*/ 18 w 28"/>
                  <a:gd name="T4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9">
                    <a:moveTo>
                      <a:pt x="21" y="1"/>
                    </a:moveTo>
                    <a:cubicBezTo>
                      <a:pt x="21" y="2"/>
                      <a:pt x="21" y="2"/>
                      <a:pt x="21" y="2"/>
                    </a:cubicBezTo>
                    <a:cubicBezTo>
                      <a:pt x="21" y="3"/>
                      <a:pt x="24" y="15"/>
                      <a:pt x="28" y="37"/>
                    </a:cubicBezTo>
                    <a:cubicBezTo>
                      <a:pt x="28" y="37"/>
                      <a:pt x="28" y="37"/>
                      <a:pt x="28" y="37"/>
                    </a:cubicBezTo>
                    <a:cubicBezTo>
                      <a:pt x="27" y="38"/>
                      <a:pt x="27" y="38"/>
                      <a:pt x="27" y="38"/>
                    </a:cubicBezTo>
                    <a:cubicBezTo>
                      <a:pt x="27" y="39"/>
                      <a:pt x="26" y="39"/>
                      <a:pt x="26" y="39"/>
                    </a:cubicBezTo>
                    <a:cubicBezTo>
                      <a:pt x="25" y="39"/>
                      <a:pt x="25" y="39"/>
                      <a:pt x="25" y="39"/>
                    </a:cubicBezTo>
                    <a:cubicBezTo>
                      <a:pt x="25" y="39"/>
                      <a:pt x="24" y="39"/>
                      <a:pt x="24" y="38"/>
                    </a:cubicBezTo>
                    <a:cubicBezTo>
                      <a:pt x="22" y="26"/>
                      <a:pt x="22" y="26"/>
                      <a:pt x="22" y="26"/>
                    </a:cubicBezTo>
                    <a:cubicBezTo>
                      <a:pt x="10" y="26"/>
                      <a:pt x="10" y="26"/>
                      <a:pt x="10" y="26"/>
                    </a:cubicBezTo>
                    <a:cubicBezTo>
                      <a:pt x="4" y="38"/>
                      <a:pt x="4" y="38"/>
                      <a:pt x="4" y="38"/>
                    </a:cubicBezTo>
                    <a:cubicBezTo>
                      <a:pt x="4" y="38"/>
                      <a:pt x="4" y="38"/>
                      <a:pt x="4" y="38"/>
                    </a:cubicBezTo>
                    <a:cubicBezTo>
                      <a:pt x="4" y="39"/>
                      <a:pt x="3" y="39"/>
                      <a:pt x="2" y="39"/>
                    </a:cubicBezTo>
                    <a:cubicBezTo>
                      <a:pt x="2" y="39"/>
                      <a:pt x="2" y="39"/>
                      <a:pt x="1" y="39"/>
                    </a:cubicBezTo>
                    <a:cubicBezTo>
                      <a:pt x="1" y="39"/>
                      <a:pt x="0" y="38"/>
                      <a:pt x="0" y="37"/>
                    </a:cubicBezTo>
                    <a:cubicBezTo>
                      <a:pt x="1" y="37"/>
                      <a:pt x="1" y="37"/>
                      <a:pt x="1" y="37"/>
                    </a:cubicBezTo>
                    <a:cubicBezTo>
                      <a:pt x="1" y="36"/>
                      <a:pt x="1" y="35"/>
                      <a:pt x="2" y="33"/>
                    </a:cubicBezTo>
                    <a:cubicBezTo>
                      <a:pt x="10" y="15"/>
                      <a:pt x="15" y="5"/>
                      <a:pt x="17" y="2"/>
                    </a:cubicBezTo>
                    <a:cubicBezTo>
                      <a:pt x="17" y="1"/>
                      <a:pt x="18" y="0"/>
                      <a:pt x="19" y="0"/>
                    </a:cubicBezTo>
                    <a:cubicBezTo>
                      <a:pt x="20" y="0"/>
                      <a:pt x="20" y="0"/>
                      <a:pt x="21" y="1"/>
                    </a:cubicBezTo>
                    <a:close/>
                    <a:moveTo>
                      <a:pt x="18" y="9"/>
                    </a:moveTo>
                    <a:cubicBezTo>
                      <a:pt x="12" y="22"/>
                      <a:pt x="12" y="22"/>
                      <a:pt x="12" y="22"/>
                    </a:cubicBezTo>
                    <a:cubicBezTo>
                      <a:pt x="21" y="22"/>
                      <a:pt x="21" y="22"/>
                      <a:pt x="21" y="22"/>
                    </a:cubicBezTo>
                    <a:lnTo>
                      <a:pt x="18"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53">
                <a:extLst>
                  <a:ext uri="{FF2B5EF4-FFF2-40B4-BE49-F238E27FC236}">
                    <a16:creationId xmlns:a16="http://schemas.microsoft.com/office/drawing/2014/main" id="{81CF8B4E-F81C-468F-B240-636020E5C557}"/>
                  </a:ext>
                </a:extLst>
              </p:cNvPr>
              <p:cNvSpPr>
                <a:spLocks/>
              </p:cNvSpPr>
              <p:nvPr/>
            </p:nvSpPr>
            <p:spPr bwMode="auto">
              <a:xfrm>
                <a:off x="6166" y="3251"/>
                <a:ext cx="71" cy="93"/>
              </a:xfrm>
              <a:custGeom>
                <a:avLst/>
                <a:gdLst>
                  <a:gd name="T0" fmla="*/ 17 w 30"/>
                  <a:gd name="T1" fmla="*/ 21 h 39"/>
                  <a:gd name="T2" fmla="*/ 20 w 30"/>
                  <a:gd name="T3" fmla="*/ 30 h 39"/>
                  <a:gd name="T4" fmla="*/ 22 w 30"/>
                  <a:gd name="T5" fmla="*/ 37 h 39"/>
                  <a:gd name="T6" fmla="*/ 22 w 30"/>
                  <a:gd name="T7" fmla="*/ 38 h 39"/>
                  <a:gd name="T8" fmla="*/ 20 w 30"/>
                  <a:gd name="T9" fmla="*/ 39 h 39"/>
                  <a:gd name="T10" fmla="*/ 19 w 30"/>
                  <a:gd name="T11" fmla="*/ 38 h 39"/>
                  <a:gd name="T12" fmla="*/ 18 w 30"/>
                  <a:gd name="T13" fmla="*/ 37 h 39"/>
                  <a:gd name="T14" fmla="*/ 14 w 30"/>
                  <a:gd name="T15" fmla="*/ 25 h 39"/>
                  <a:gd name="T16" fmla="*/ 4 w 30"/>
                  <a:gd name="T17" fmla="*/ 38 h 39"/>
                  <a:gd name="T18" fmla="*/ 2 w 30"/>
                  <a:gd name="T19" fmla="*/ 39 h 39"/>
                  <a:gd name="T20" fmla="*/ 1 w 30"/>
                  <a:gd name="T21" fmla="*/ 39 h 39"/>
                  <a:gd name="T22" fmla="*/ 0 w 30"/>
                  <a:gd name="T23" fmla="*/ 37 h 39"/>
                  <a:gd name="T24" fmla="*/ 0 w 30"/>
                  <a:gd name="T25" fmla="*/ 37 h 39"/>
                  <a:gd name="T26" fmla="*/ 1 w 30"/>
                  <a:gd name="T27" fmla="*/ 35 h 39"/>
                  <a:gd name="T28" fmla="*/ 12 w 30"/>
                  <a:gd name="T29" fmla="*/ 20 h 39"/>
                  <a:gd name="T30" fmla="*/ 11 w 30"/>
                  <a:gd name="T31" fmla="*/ 17 h 39"/>
                  <a:gd name="T32" fmla="*/ 6 w 30"/>
                  <a:gd name="T33" fmla="*/ 2 h 39"/>
                  <a:gd name="T34" fmla="*/ 6 w 30"/>
                  <a:gd name="T35" fmla="*/ 1 h 39"/>
                  <a:gd name="T36" fmla="*/ 7 w 30"/>
                  <a:gd name="T37" fmla="*/ 0 h 39"/>
                  <a:gd name="T38" fmla="*/ 9 w 30"/>
                  <a:gd name="T39" fmla="*/ 1 h 39"/>
                  <a:gd name="T40" fmla="*/ 15 w 30"/>
                  <a:gd name="T41" fmla="*/ 17 h 39"/>
                  <a:gd name="T42" fmla="*/ 26 w 30"/>
                  <a:gd name="T43" fmla="*/ 1 h 39"/>
                  <a:gd name="T44" fmla="*/ 28 w 30"/>
                  <a:gd name="T45" fmla="*/ 0 h 39"/>
                  <a:gd name="T46" fmla="*/ 29 w 30"/>
                  <a:gd name="T47" fmla="*/ 0 h 39"/>
                  <a:gd name="T48" fmla="*/ 30 w 30"/>
                  <a:gd name="T49" fmla="*/ 2 h 39"/>
                  <a:gd name="T50" fmla="*/ 30 w 30"/>
                  <a:gd name="T51" fmla="*/ 3 h 39"/>
                  <a:gd name="T52" fmla="*/ 17 w 30"/>
                  <a:gd name="T5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 h="39">
                    <a:moveTo>
                      <a:pt x="17" y="21"/>
                    </a:moveTo>
                    <a:cubicBezTo>
                      <a:pt x="18" y="25"/>
                      <a:pt x="19" y="28"/>
                      <a:pt x="20" y="30"/>
                    </a:cubicBezTo>
                    <a:cubicBezTo>
                      <a:pt x="22" y="35"/>
                      <a:pt x="22" y="37"/>
                      <a:pt x="22" y="37"/>
                    </a:cubicBezTo>
                    <a:cubicBezTo>
                      <a:pt x="22" y="38"/>
                      <a:pt x="22" y="38"/>
                      <a:pt x="22" y="38"/>
                    </a:cubicBezTo>
                    <a:cubicBezTo>
                      <a:pt x="22" y="39"/>
                      <a:pt x="21" y="39"/>
                      <a:pt x="20" y="39"/>
                    </a:cubicBezTo>
                    <a:cubicBezTo>
                      <a:pt x="20" y="39"/>
                      <a:pt x="19" y="39"/>
                      <a:pt x="19" y="38"/>
                    </a:cubicBezTo>
                    <a:cubicBezTo>
                      <a:pt x="19" y="38"/>
                      <a:pt x="19" y="37"/>
                      <a:pt x="18" y="37"/>
                    </a:cubicBezTo>
                    <a:cubicBezTo>
                      <a:pt x="18" y="35"/>
                      <a:pt x="16" y="31"/>
                      <a:pt x="14" y="25"/>
                    </a:cubicBezTo>
                    <a:cubicBezTo>
                      <a:pt x="4" y="38"/>
                      <a:pt x="4" y="38"/>
                      <a:pt x="4" y="38"/>
                    </a:cubicBezTo>
                    <a:cubicBezTo>
                      <a:pt x="4" y="39"/>
                      <a:pt x="3" y="39"/>
                      <a:pt x="2" y="39"/>
                    </a:cubicBezTo>
                    <a:cubicBezTo>
                      <a:pt x="2" y="39"/>
                      <a:pt x="2" y="39"/>
                      <a:pt x="1" y="39"/>
                    </a:cubicBezTo>
                    <a:cubicBezTo>
                      <a:pt x="1" y="39"/>
                      <a:pt x="0" y="38"/>
                      <a:pt x="0" y="37"/>
                    </a:cubicBezTo>
                    <a:cubicBezTo>
                      <a:pt x="0" y="37"/>
                      <a:pt x="0" y="37"/>
                      <a:pt x="0" y="37"/>
                    </a:cubicBezTo>
                    <a:cubicBezTo>
                      <a:pt x="1" y="37"/>
                      <a:pt x="1" y="36"/>
                      <a:pt x="1" y="35"/>
                    </a:cubicBezTo>
                    <a:cubicBezTo>
                      <a:pt x="5" y="31"/>
                      <a:pt x="8" y="26"/>
                      <a:pt x="12" y="20"/>
                    </a:cubicBezTo>
                    <a:cubicBezTo>
                      <a:pt x="12" y="19"/>
                      <a:pt x="11" y="18"/>
                      <a:pt x="11" y="17"/>
                    </a:cubicBezTo>
                    <a:cubicBezTo>
                      <a:pt x="7" y="8"/>
                      <a:pt x="6" y="3"/>
                      <a:pt x="6" y="2"/>
                    </a:cubicBezTo>
                    <a:cubicBezTo>
                      <a:pt x="6" y="2"/>
                      <a:pt x="6" y="1"/>
                      <a:pt x="6" y="1"/>
                    </a:cubicBezTo>
                    <a:cubicBezTo>
                      <a:pt x="6" y="0"/>
                      <a:pt x="7" y="0"/>
                      <a:pt x="7" y="0"/>
                    </a:cubicBezTo>
                    <a:cubicBezTo>
                      <a:pt x="8" y="0"/>
                      <a:pt x="9" y="1"/>
                      <a:pt x="9" y="1"/>
                    </a:cubicBezTo>
                    <a:cubicBezTo>
                      <a:pt x="15" y="17"/>
                      <a:pt x="15" y="17"/>
                      <a:pt x="15" y="17"/>
                    </a:cubicBezTo>
                    <a:cubicBezTo>
                      <a:pt x="26" y="1"/>
                      <a:pt x="26" y="1"/>
                      <a:pt x="26" y="1"/>
                    </a:cubicBezTo>
                    <a:cubicBezTo>
                      <a:pt x="27" y="0"/>
                      <a:pt x="28" y="0"/>
                      <a:pt x="28" y="0"/>
                    </a:cubicBezTo>
                    <a:cubicBezTo>
                      <a:pt x="29" y="0"/>
                      <a:pt x="29" y="0"/>
                      <a:pt x="29" y="0"/>
                    </a:cubicBezTo>
                    <a:cubicBezTo>
                      <a:pt x="30" y="1"/>
                      <a:pt x="30" y="1"/>
                      <a:pt x="30" y="2"/>
                    </a:cubicBezTo>
                    <a:cubicBezTo>
                      <a:pt x="30" y="3"/>
                      <a:pt x="30" y="3"/>
                      <a:pt x="30" y="3"/>
                    </a:cubicBezTo>
                    <a:lnTo>
                      <a:pt x="17" y="21"/>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54">
                <a:extLst>
                  <a:ext uri="{FF2B5EF4-FFF2-40B4-BE49-F238E27FC236}">
                    <a16:creationId xmlns:a16="http://schemas.microsoft.com/office/drawing/2014/main" id="{AEFC60A8-A0AD-4751-A992-0106A2A69704}"/>
                  </a:ext>
                </a:extLst>
              </p:cNvPr>
              <p:cNvSpPr>
                <a:spLocks/>
              </p:cNvSpPr>
              <p:nvPr/>
            </p:nvSpPr>
            <p:spPr bwMode="auto">
              <a:xfrm>
                <a:off x="6237" y="3251"/>
                <a:ext cx="74" cy="126"/>
              </a:xfrm>
              <a:custGeom>
                <a:avLst/>
                <a:gdLst>
                  <a:gd name="T0" fmla="*/ 29 w 31"/>
                  <a:gd name="T1" fmla="*/ 0 h 53"/>
                  <a:gd name="T2" fmla="*/ 30 w 31"/>
                  <a:gd name="T3" fmla="*/ 0 h 53"/>
                  <a:gd name="T4" fmla="*/ 31 w 31"/>
                  <a:gd name="T5" fmla="*/ 2 h 53"/>
                  <a:gd name="T6" fmla="*/ 26 w 31"/>
                  <a:gd name="T7" fmla="*/ 38 h 53"/>
                  <a:gd name="T8" fmla="*/ 23 w 31"/>
                  <a:gd name="T9" fmla="*/ 47 h 53"/>
                  <a:gd name="T10" fmla="*/ 11 w 31"/>
                  <a:gd name="T11" fmla="*/ 53 h 53"/>
                  <a:gd name="T12" fmla="*/ 6 w 31"/>
                  <a:gd name="T13" fmla="*/ 51 h 53"/>
                  <a:gd name="T14" fmla="*/ 0 w 31"/>
                  <a:gd name="T15" fmla="*/ 46 h 53"/>
                  <a:gd name="T16" fmla="*/ 0 w 31"/>
                  <a:gd name="T17" fmla="*/ 45 h 53"/>
                  <a:gd name="T18" fmla="*/ 0 w 31"/>
                  <a:gd name="T19" fmla="*/ 44 h 53"/>
                  <a:gd name="T20" fmla="*/ 2 w 31"/>
                  <a:gd name="T21" fmla="*/ 43 h 53"/>
                  <a:gd name="T22" fmla="*/ 3 w 31"/>
                  <a:gd name="T23" fmla="*/ 44 h 53"/>
                  <a:gd name="T24" fmla="*/ 12 w 31"/>
                  <a:gd name="T25" fmla="*/ 49 h 53"/>
                  <a:gd name="T26" fmla="*/ 19 w 31"/>
                  <a:gd name="T27" fmla="*/ 45 h 53"/>
                  <a:gd name="T28" fmla="*/ 22 w 31"/>
                  <a:gd name="T29" fmla="*/ 35 h 53"/>
                  <a:gd name="T30" fmla="*/ 20 w 31"/>
                  <a:gd name="T31" fmla="*/ 37 h 53"/>
                  <a:gd name="T32" fmla="*/ 14 w 31"/>
                  <a:gd name="T33" fmla="*/ 39 h 53"/>
                  <a:gd name="T34" fmla="*/ 13 w 31"/>
                  <a:gd name="T35" fmla="*/ 39 h 53"/>
                  <a:gd name="T36" fmla="*/ 6 w 31"/>
                  <a:gd name="T37" fmla="*/ 35 h 53"/>
                  <a:gd name="T38" fmla="*/ 3 w 31"/>
                  <a:gd name="T39" fmla="*/ 23 h 53"/>
                  <a:gd name="T40" fmla="*/ 4 w 31"/>
                  <a:gd name="T41" fmla="*/ 17 h 53"/>
                  <a:gd name="T42" fmla="*/ 6 w 31"/>
                  <a:gd name="T43" fmla="*/ 2 h 53"/>
                  <a:gd name="T44" fmla="*/ 6 w 31"/>
                  <a:gd name="T45" fmla="*/ 2 h 53"/>
                  <a:gd name="T46" fmla="*/ 8 w 31"/>
                  <a:gd name="T47" fmla="*/ 0 h 53"/>
                  <a:gd name="T48" fmla="*/ 9 w 31"/>
                  <a:gd name="T49" fmla="*/ 1 h 53"/>
                  <a:gd name="T50" fmla="*/ 10 w 31"/>
                  <a:gd name="T51" fmla="*/ 2 h 53"/>
                  <a:gd name="T52" fmla="*/ 9 w 31"/>
                  <a:gd name="T53" fmla="*/ 10 h 53"/>
                  <a:gd name="T54" fmla="*/ 8 w 31"/>
                  <a:gd name="T55" fmla="*/ 22 h 53"/>
                  <a:gd name="T56" fmla="*/ 9 w 31"/>
                  <a:gd name="T57" fmla="*/ 31 h 53"/>
                  <a:gd name="T58" fmla="*/ 14 w 31"/>
                  <a:gd name="T59" fmla="*/ 35 h 53"/>
                  <a:gd name="T60" fmla="*/ 15 w 31"/>
                  <a:gd name="T61" fmla="*/ 35 h 53"/>
                  <a:gd name="T62" fmla="*/ 20 w 31"/>
                  <a:gd name="T63" fmla="*/ 31 h 53"/>
                  <a:gd name="T64" fmla="*/ 24 w 31"/>
                  <a:gd name="T65" fmla="*/ 22 h 53"/>
                  <a:gd name="T66" fmla="*/ 27 w 31"/>
                  <a:gd name="T67" fmla="*/ 2 h 53"/>
                  <a:gd name="T68" fmla="*/ 27 w 31"/>
                  <a:gd name="T69" fmla="*/ 1 h 53"/>
                  <a:gd name="T70" fmla="*/ 29 w 31"/>
                  <a:gd name="T7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53">
                    <a:moveTo>
                      <a:pt x="29" y="0"/>
                    </a:moveTo>
                    <a:cubicBezTo>
                      <a:pt x="30" y="0"/>
                      <a:pt x="30" y="0"/>
                      <a:pt x="30" y="0"/>
                    </a:cubicBezTo>
                    <a:cubicBezTo>
                      <a:pt x="30" y="1"/>
                      <a:pt x="31" y="1"/>
                      <a:pt x="31" y="2"/>
                    </a:cubicBezTo>
                    <a:cubicBezTo>
                      <a:pt x="28" y="24"/>
                      <a:pt x="27" y="36"/>
                      <a:pt x="26" y="38"/>
                    </a:cubicBezTo>
                    <a:cubicBezTo>
                      <a:pt x="26" y="42"/>
                      <a:pt x="24" y="45"/>
                      <a:pt x="23" y="47"/>
                    </a:cubicBezTo>
                    <a:cubicBezTo>
                      <a:pt x="20" y="51"/>
                      <a:pt x="16" y="53"/>
                      <a:pt x="11" y="53"/>
                    </a:cubicBezTo>
                    <a:cubicBezTo>
                      <a:pt x="10" y="53"/>
                      <a:pt x="8" y="52"/>
                      <a:pt x="6" y="51"/>
                    </a:cubicBezTo>
                    <a:cubicBezTo>
                      <a:pt x="3" y="50"/>
                      <a:pt x="1" y="48"/>
                      <a:pt x="0" y="46"/>
                    </a:cubicBezTo>
                    <a:cubicBezTo>
                      <a:pt x="0" y="45"/>
                      <a:pt x="0" y="45"/>
                      <a:pt x="0" y="45"/>
                    </a:cubicBezTo>
                    <a:cubicBezTo>
                      <a:pt x="0" y="44"/>
                      <a:pt x="0" y="44"/>
                      <a:pt x="0" y="44"/>
                    </a:cubicBezTo>
                    <a:cubicBezTo>
                      <a:pt x="0" y="43"/>
                      <a:pt x="1" y="43"/>
                      <a:pt x="2" y="43"/>
                    </a:cubicBezTo>
                    <a:cubicBezTo>
                      <a:pt x="2" y="43"/>
                      <a:pt x="3" y="43"/>
                      <a:pt x="3" y="44"/>
                    </a:cubicBezTo>
                    <a:cubicBezTo>
                      <a:pt x="6" y="47"/>
                      <a:pt x="9" y="49"/>
                      <a:pt x="12" y="49"/>
                    </a:cubicBezTo>
                    <a:cubicBezTo>
                      <a:pt x="15" y="49"/>
                      <a:pt x="17" y="48"/>
                      <a:pt x="19" y="45"/>
                    </a:cubicBezTo>
                    <a:cubicBezTo>
                      <a:pt x="21" y="43"/>
                      <a:pt x="22" y="39"/>
                      <a:pt x="22" y="35"/>
                    </a:cubicBezTo>
                    <a:cubicBezTo>
                      <a:pt x="22" y="36"/>
                      <a:pt x="21" y="37"/>
                      <a:pt x="20" y="37"/>
                    </a:cubicBezTo>
                    <a:cubicBezTo>
                      <a:pt x="18" y="39"/>
                      <a:pt x="16" y="39"/>
                      <a:pt x="14" y="39"/>
                    </a:cubicBezTo>
                    <a:cubicBezTo>
                      <a:pt x="13" y="39"/>
                      <a:pt x="13" y="39"/>
                      <a:pt x="13" y="39"/>
                    </a:cubicBezTo>
                    <a:cubicBezTo>
                      <a:pt x="10" y="39"/>
                      <a:pt x="8" y="37"/>
                      <a:pt x="6" y="35"/>
                    </a:cubicBezTo>
                    <a:cubicBezTo>
                      <a:pt x="4" y="32"/>
                      <a:pt x="3" y="28"/>
                      <a:pt x="3" y="23"/>
                    </a:cubicBezTo>
                    <a:cubicBezTo>
                      <a:pt x="3" y="21"/>
                      <a:pt x="4" y="19"/>
                      <a:pt x="4" y="17"/>
                    </a:cubicBezTo>
                    <a:cubicBezTo>
                      <a:pt x="4" y="13"/>
                      <a:pt x="5" y="9"/>
                      <a:pt x="6" y="2"/>
                    </a:cubicBezTo>
                    <a:cubicBezTo>
                      <a:pt x="6" y="2"/>
                      <a:pt x="6" y="2"/>
                      <a:pt x="6" y="2"/>
                    </a:cubicBezTo>
                    <a:cubicBezTo>
                      <a:pt x="7" y="1"/>
                      <a:pt x="7" y="0"/>
                      <a:pt x="8" y="0"/>
                    </a:cubicBezTo>
                    <a:cubicBezTo>
                      <a:pt x="9" y="1"/>
                      <a:pt x="9" y="1"/>
                      <a:pt x="9" y="1"/>
                    </a:cubicBezTo>
                    <a:cubicBezTo>
                      <a:pt x="10" y="1"/>
                      <a:pt x="10" y="1"/>
                      <a:pt x="10" y="2"/>
                    </a:cubicBezTo>
                    <a:cubicBezTo>
                      <a:pt x="10" y="3"/>
                      <a:pt x="10" y="6"/>
                      <a:pt x="9" y="10"/>
                    </a:cubicBezTo>
                    <a:cubicBezTo>
                      <a:pt x="8" y="16"/>
                      <a:pt x="8" y="20"/>
                      <a:pt x="8" y="22"/>
                    </a:cubicBezTo>
                    <a:cubicBezTo>
                      <a:pt x="8" y="26"/>
                      <a:pt x="8" y="29"/>
                      <a:pt x="9" y="31"/>
                    </a:cubicBezTo>
                    <a:cubicBezTo>
                      <a:pt x="10" y="34"/>
                      <a:pt x="12" y="35"/>
                      <a:pt x="14" y="35"/>
                    </a:cubicBezTo>
                    <a:cubicBezTo>
                      <a:pt x="15" y="35"/>
                      <a:pt x="15" y="35"/>
                      <a:pt x="15" y="35"/>
                    </a:cubicBezTo>
                    <a:cubicBezTo>
                      <a:pt x="17" y="35"/>
                      <a:pt x="18" y="33"/>
                      <a:pt x="20" y="31"/>
                    </a:cubicBezTo>
                    <a:cubicBezTo>
                      <a:pt x="22" y="28"/>
                      <a:pt x="23" y="25"/>
                      <a:pt x="24" y="22"/>
                    </a:cubicBezTo>
                    <a:cubicBezTo>
                      <a:pt x="27" y="2"/>
                      <a:pt x="27" y="2"/>
                      <a:pt x="27" y="2"/>
                    </a:cubicBezTo>
                    <a:cubicBezTo>
                      <a:pt x="27" y="1"/>
                      <a:pt x="27" y="1"/>
                      <a:pt x="27" y="1"/>
                    </a:cubicBezTo>
                    <a:cubicBezTo>
                      <a:pt x="27" y="1"/>
                      <a:pt x="28" y="0"/>
                      <a:pt x="29"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55">
                <a:extLst>
                  <a:ext uri="{FF2B5EF4-FFF2-40B4-BE49-F238E27FC236}">
                    <a16:creationId xmlns:a16="http://schemas.microsoft.com/office/drawing/2014/main" id="{2BDD182C-B34F-4A6E-A0B6-69637706A70F}"/>
                  </a:ext>
                </a:extLst>
              </p:cNvPr>
              <p:cNvSpPr>
                <a:spLocks noChangeArrowheads="1"/>
              </p:cNvSpPr>
              <p:nvPr/>
            </p:nvSpPr>
            <p:spPr bwMode="auto">
              <a:xfrm>
                <a:off x="6906" y="3175"/>
                <a:ext cx="5" cy="24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56">
                <a:extLst>
                  <a:ext uri="{FF2B5EF4-FFF2-40B4-BE49-F238E27FC236}">
                    <a16:creationId xmlns:a16="http://schemas.microsoft.com/office/drawing/2014/main" id="{CAA23402-7CA5-4B8A-B462-AB1A4D7CA734}"/>
                  </a:ext>
                </a:extLst>
              </p:cNvPr>
              <p:cNvSpPr>
                <a:spLocks noChangeArrowheads="1"/>
              </p:cNvSpPr>
              <p:nvPr/>
            </p:nvSpPr>
            <p:spPr bwMode="auto">
              <a:xfrm>
                <a:off x="5810" y="3175"/>
                <a:ext cx="5" cy="24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57">
                <a:extLst>
                  <a:ext uri="{FF2B5EF4-FFF2-40B4-BE49-F238E27FC236}">
                    <a16:creationId xmlns:a16="http://schemas.microsoft.com/office/drawing/2014/main" id="{3CEBD2B7-AE26-4C69-853F-B39DA564633B}"/>
                  </a:ext>
                </a:extLst>
              </p:cNvPr>
              <p:cNvSpPr>
                <a:spLocks noChangeArrowheads="1"/>
              </p:cNvSpPr>
              <p:nvPr/>
            </p:nvSpPr>
            <p:spPr bwMode="auto">
              <a:xfrm>
                <a:off x="6930" y="3175"/>
                <a:ext cx="5" cy="24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58">
                <a:extLst>
                  <a:ext uri="{FF2B5EF4-FFF2-40B4-BE49-F238E27FC236}">
                    <a16:creationId xmlns:a16="http://schemas.microsoft.com/office/drawing/2014/main" id="{A5E44E48-ABBA-499C-8E1F-61F1CB5AE0C6}"/>
                  </a:ext>
                </a:extLst>
              </p:cNvPr>
              <p:cNvSpPr>
                <a:spLocks noChangeArrowheads="1"/>
              </p:cNvSpPr>
              <p:nvPr/>
            </p:nvSpPr>
            <p:spPr bwMode="auto">
              <a:xfrm>
                <a:off x="5786" y="3175"/>
                <a:ext cx="7" cy="24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59">
                <a:extLst>
                  <a:ext uri="{FF2B5EF4-FFF2-40B4-BE49-F238E27FC236}">
                    <a16:creationId xmlns:a16="http://schemas.microsoft.com/office/drawing/2014/main" id="{357B1C12-01C3-425A-A14E-FDCD21CC3C8A}"/>
                  </a:ext>
                </a:extLst>
              </p:cNvPr>
              <p:cNvSpPr>
                <a:spLocks/>
              </p:cNvSpPr>
              <p:nvPr/>
            </p:nvSpPr>
            <p:spPr bwMode="auto">
              <a:xfrm>
                <a:off x="6436" y="3213"/>
                <a:ext cx="290" cy="154"/>
              </a:xfrm>
              <a:custGeom>
                <a:avLst/>
                <a:gdLst>
                  <a:gd name="T0" fmla="*/ 62 w 122"/>
                  <a:gd name="T1" fmla="*/ 1 h 65"/>
                  <a:gd name="T2" fmla="*/ 62 w 122"/>
                  <a:gd name="T3" fmla="*/ 0 h 65"/>
                  <a:gd name="T4" fmla="*/ 121 w 122"/>
                  <a:gd name="T5" fmla="*/ 49 h 65"/>
                  <a:gd name="T6" fmla="*/ 122 w 122"/>
                  <a:gd name="T7" fmla="*/ 49 h 65"/>
                  <a:gd name="T8" fmla="*/ 121 w 122"/>
                  <a:gd name="T9" fmla="*/ 49 h 65"/>
                  <a:gd name="T10" fmla="*/ 113 w 122"/>
                  <a:gd name="T11" fmla="*/ 51 h 65"/>
                  <a:gd name="T12" fmla="*/ 63 w 122"/>
                  <a:gd name="T13" fmla="*/ 65 h 65"/>
                  <a:gd name="T14" fmla="*/ 63 w 122"/>
                  <a:gd name="T15" fmla="*/ 65 h 65"/>
                  <a:gd name="T16" fmla="*/ 63 w 122"/>
                  <a:gd name="T17" fmla="*/ 65 h 65"/>
                  <a:gd name="T18" fmla="*/ 17 w 122"/>
                  <a:gd name="T19" fmla="*/ 45 h 65"/>
                  <a:gd name="T20" fmla="*/ 4 w 122"/>
                  <a:gd name="T21" fmla="*/ 40 h 65"/>
                  <a:gd name="T22" fmla="*/ 1 w 122"/>
                  <a:gd name="T23" fmla="*/ 38 h 65"/>
                  <a:gd name="T24" fmla="*/ 0 w 122"/>
                  <a:gd name="T25" fmla="*/ 38 h 65"/>
                  <a:gd name="T26" fmla="*/ 0 w 122"/>
                  <a:gd name="T27" fmla="*/ 38 h 65"/>
                  <a:gd name="T28" fmla="*/ 0 w 122"/>
                  <a:gd name="T29" fmla="*/ 38 h 65"/>
                  <a:gd name="T30" fmla="*/ 1 w 122"/>
                  <a:gd name="T31" fmla="*/ 38 h 65"/>
                  <a:gd name="T32" fmla="*/ 4 w 122"/>
                  <a:gd name="T33" fmla="*/ 39 h 65"/>
                  <a:gd name="T34" fmla="*/ 17 w 122"/>
                  <a:gd name="T35" fmla="*/ 45 h 65"/>
                  <a:gd name="T36" fmla="*/ 63 w 122"/>
                  <a:gd name="T37" fmla="*/ 64 h 65"/>
                  <a:gd name="T38" fmla="*/ 63 w 122"/>
                  <a:gd name="T39" fmla="*/ 64 h 65"/>
                  <a:gd name="T40" fmla="*/ 113 w 122"/>
                  <a:gd name="T41" fmla="*/ 51 h 65"/>
                  <a:gd name="T42" fmla="*/ 121 w 122"/>
                  <a:gd name="T43" fmla="*/ 49 h 65"/>
                  <a:gd name="T44" fmla="*/ 121 w 122"/>
                  <a:gd name="T45" fmla="*/ 49 h 65"/>
                  <a:gd name="T46" fmla="*/ 61 w 122"/>
                  <a:gd name="T47" fmla="*/ 1 h 65"/>
                  <a:gd name="T48" fmla="*/ 61 w 122"/>
                  <a:gd name="T49" fmla="*/ 1 h 65"/>
                  <a:gd name="T50" fmla="*/ 61 w 122"/>
                  <a:gd name="T51"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2" h="65">
                    <a:moveTo>
                      <a:pt x="62" y="1"/>
                    </a:moveTo>
                    <a:cubicBezTo>
                      <a:pt x="62" y="0"/>
                      <a:pt x="62" y="0"/>
                      <a:pt x="62" y="0"/>
                    </a:cubicBezTo>
                    <a:cubicBezTo>
                      <a:pt x="77" y="13"/>
                      <a:pt x="98" y="30"/>
                      <a:pt x="121" y="49"/>
                    </a:cubicBezTo>
                    <a:cubicBezTo>
                      <a:pt x="122" y="49"/>
                      <a:pt x="122" y="49"/>
                      <a:pt x="122" y="49"/>
                    </a:cubicBezTo>
                    <a:cubicBezTo>
                      <a:pt x="121" y="49"/>
                      <a:pt x="121" y="49"/>
                      <a:pt x="121" y="49"/>
                    </a:cubicBezTo>
                    <a:cubicBezTo>
                      <a:pt x="119" y="50"/>
                      <a:pt x="116" y="51"/>
                      <a:pt x="113" y="51"/>
                    </a:cubicBezTo>
                    <a:cubicBezTo>
                      <a:pt x="95" y="56"/>
                      <a:pt x="78" y="61"/>
                      <a:pt x="63" y="65"/>
                    </a:cubicBezTo>
                    <a:cubicBezTo>
                      <a:pt x="63" y="65"/>
                      <a:pt x="63" y="65"/>
                      <a:pt x="63" y="65"/>
                    </a:cubicBezTo>
                    <a:cubicBezTo>
                      <a:pt x="63" y="65"/>
                      <a:pt x="63" y="65"/>
                      <a:pt x="63" y="65"/>
                    </a:cubicBezTo>
                    <a:cubicBezTo>
                      <a:pt x="44" y="57"/>
                      <a:pt x="28" y="50"/>
                      <a:pt x="17" y="45"/>
                    </a:cubicBezTo>
                    <a:cubicBezTo>
                      <a:pt x="12" y="43"/>
                      <a:pt x="7" y="41"/>
                      <a:pt x="4" y="40"/>
                    </a:cubicBezTo>
                    <a:cubicBezTo>
                      <a:pt x="3" y="39"/>
                      <a:pt x="2" y="38"/>
                      <a:pt x="1" y="38"/>
                    </a:cubicBezTo>
                    <a:cubicBezTo>
                      <a:pt x="0" y="38"/>
                      <a:pt x="0" y="38"/>
                      <a:pt x="0" y="38"/>
                    </a:cubicBezTo>
                    <a:cubicBezTo>
                      <a:pt x="0" y="38"/>
                      <a:pt x="0" y="38"/>
                      <a:pt x="0" y="38"/>
                    </a:cubicBezTo>
                    <a:cubicBezTo>
                      <a:pt x="0" y="38"/>
                      <a:pt x="0" y="38"/>
                      <a:pt x="0" y="38"/>
                    </a:cubicBezTo>
                    <a:cubicBezTo>
                      <a:pt x="0" y="38"/>
                      <a:pt x="0" y="38"/>
                      <a:pt x="1" y="38"/>
                    </a:cubicBezTo>
                    <a:cubicBezTo>
                      <a:pt x="2" y="38"/>
                      <a:pt x="3" y="39"/>
                      <a:pt x="4" y="39"/>
                    </a:cubicBezTo>
                    <a:cubicBezTo>
                      <a:pt x="7" y="41"/>
                      <a:pt x="12" y="43"/>
                      <a:pt x="17" y="45"/>
                    </a:cubicBezTo>
                    <a:cubicBezTo>
                      <a:pt x="28" y="49"/>
                      <a:pt x="44" y="56"/>
                      <a:pt x="63" y="64"/>
                    </a:cubicBezTo>
                    <a:cubicBezTo>
                      <a:pt x="63" y="64"/>
                      <a:pt x="63" y="64"/>
                      <a:pt x="63" y="64"/>
                    </a:cubicBezTo>
                    <a:cubicBezTo>
                      <a:pt x="78" y="60"/>
                      <a:pt x="95" y="55"/>
                      <a:pt x="113" y="51"/>
                    </a:cubicBezTo>
                    <a:cubicBezTo>
                      <a:pt x="116" y="50"/>
                      <a:pt x="119" y="49"/>
                      <a:pt x="121" y="49"/>
                    </a:cubicBezTo>
                    <a:cubicBezTo>
                      <a:pt x="121" y="49"/>
                      <a:pt x="121" y="49"/>
                      <a:pt x="121" y="49"/>
                    </a:cubicBezTo>
                    <a:cubicBezTo>
                      <a:pt x="98" y="30"/>
                      <a:pt x="77" y="13"/>
                      <a:pt x="61" y="1"/>
                    </a:cubicBezTo>
                    <a:cubicBezTo>
                      <a:pt x="61" y="1"/>
                      <a:pt x="61" y="1"/>
                      <a:pt x="61" y="1"/>
                    </a:cubicBezTo>
                    <a:cubicBezTo>
                      <a:pt x="61" y="1"/>
                      <a:pt x="61" y="1"/>
                      <a:pt x="61" y="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60">
                <a:extLst>
                  <a:ext uri="{FF2B5EF4-FFF2-40B4-BE49-F238E27FC236}">
                    <a16:creationId xmlns:a16="http://schemas.microsoft.com/office/drawing/2014/main" id="{27413877-CA02-49D4-A991-E579754BE4CB}"/>
                  </a:ext>
                </a:extLst>
              </p:cNvPr>
              <p:cNvSpPr>
                <a:spLocks/>
              </p:cNvSpPr>
              <p:nvPr/>
            </p:nvSpPr>
            <p:spPr bwMode="auto">
              <a:xfrm>
                <a:off x="6702" y="3310"/>
                <a:ext cx="29" cy="31"/>
              </a:xfrm>
              <a:custGeom>
                <a:avLst/>
                <a:gdLst>
                  <a:gd name="T0" fmla="*/ 10 w 29"/>
                  <a:gd name="T1" fmla="*/ 0 h 31"/>
                  <a:gd name="T2" fmla="*/ 17 w 29"/>
                  <a:gd name="T3" fmla="*/ 8 h 31"/>
                  <a:gd name="T4" fmla="*/ 29 w 29"/>
                  <a:gd name="T5" fmla="*/ 5 h 31"/>
                  <a:gd name="T6" fmla="*/ 24 w 29"/>
                  <a:gd name="T7" fmla="*/ 15 h 31"/>
                  <a:gd name="T8" fmla="*/ 29 w 29"/>
                  <a:gd name="T9" fmla="*/ 24 h 31"/>
                  <a:gd name="T10" fmla="*/ 19 w 29"/>
                  <a:gd name="T11" fmla="*/ 24 h 31"/>
                  <a:gd name="T12" fmla="*/ 12 w 29"/>
                  <a:gd name="T13" fmla="*/ 31 h 31"/>
                  <a:gd name="T14" fmla="*/ 10 w 29"/>
                  <a:gd name="T15" fmla="*/ 22 h 31"/>
                  <a:gd name="T16" fmla="*/ 0 w 29"/>
                  <a:gd name="T17" fmla="*/ 17 h 31"/>
                  <a:gd name="T18" fmla="*/ 10 w 29"/>
                  <a:gd name="T19" fmla="*/ 12 h 31"/>
                  <a:gd name="T20" fmla="*/ 10 w 29"/>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1">
                    <a:moveTo>
                      <a:pt x="10" y="0"/>
                    </a:moveTo>
                    <a:lnTo>
                      <a:pt x="17" y="8"/>
                    </a:lnTo>
                    <a:lnTo>
                      <a:pt x="29" y="5"/>
                    </a:lnTo>
                    <a:lnTo>
                      <a:pt x="24" y="15"/>
                    </a:lnTo>
                    <a:lnTo>
                      <a:pt x="29" y="24"/>
                    </a:lnTo>
                    <a:lnTo>
                      <a:pt x="19" y="24"/>
                    </a:lnTo>
                    <a:lnTo>
                      <a:pt x="12" y="31"/>
                    </a:lnTo>
                    <a:lnTo>
                      <a:pt x="10" y="22"/>
                    </a:lnTo>
                    <a:lnTo>
                      <a:pt x="0" y="17"/>
                    </a:lnTo>
                    <a:lnTo>
                      <a:pt x="10" y="12"/>
                    </a:lnTo>
                    <a:lnTo>
                      <a:pt x="10"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61">
                <a:extLst>
                  <a:ext uri="{FF2B5EF4-FFF2-40B4-BE49-F238E27FC236}">
                    <a16:creationId xmlns:a16="http://schemas.microsoft.com/office/drawing/2014/main" id="{3CBD6B48-D14A-428D-8B8F-E119E9128AAE}"/>
                  </a:ext>
                </a:extLst>
              </p:cNvPr>
              <p:cNvSpPr>
                <a:spLocks/>
              </p:cNvSpPr>
              <p:nvPr/>
            </p:nvSpPr>
            <p:spPr bwMode="auto">
              <a:xfrm>
                <a:off x="6569" y="3356"/>
                <a:ext cx="19" cy="19"/>
              </a:xfrm>
              <a:custGeom>
                <a:avLst/>
                <a:gdLst>
                  <a:gd name="T0" fmla="*/ 7 w 19"/>
                  <a:gd name="T1" fmla="*/ 0 h 19"/>
                  <a:gd name="T2" fmla="*/ 12 w 19"/>
                  <a:gd name="T3" fmla="*/ 4 h 19"/>
                  <a:gd name="T4" fmla="*/ 19 w 19"/>
                  <a:gd name="T5" fmla="*/ 2 h 19"/>
                  <a:gd name="T6" fmla="*/ 17 w 19"/>
                  <a:gd name="T7" fmla="*/ 9 h 19"/>
                  <a:gd name="T8" fmla="*/ 19 w 19"/>
                  <a:gd name="T9" fmla="*/ 14 h 19"/>
                  <a:gd name="T10" fmla="*/ 12 w 19"/>
                  <a:gd name="T11" fmla="*/ 14 h 19"/>
                  <a:gd name="T12" fmla="*/ 10 w 19"/>
                  <a:gd name="T13" fmla="*/ 19 h 19"/>
                  <a:gd name="T14" fmla="*/ 7 w 19"/>
                  <a:gd name="T15" fmla="*/ 14 h 19"/>
                  <a:gd name="T16" fmla="*/ 0 w 19"/>
                  <a:gd name="T17" fmla="*/ 11 h 19"/>
                  <a:gd name="T18" fmla="*/ 7 w 19"/>
                  <a:gd name="T19" fmla="*/ 7 h 19"/>
                  <a:gd name="T20" fmla="*/ 7 w 19"/>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9">
                    <a:moveTo>
                      <a:pt x="7" y="0"/>
                    </a:moveTo>
                    <a:lnTo>
                      <a:pt x="12" y="4"/>
                    </a:lnTo>
                    <a:lnTo>
                      <a:pt x="19" y="2"/>
                    </a:lnTo>
                    <a:lnTo>
                      <a:pt x="17" y="9"/>
                    </a:lnTo>
                    <a:lnTo>
                      <a:pt x="19" y="14"/>
                    </a:lnTo>
                    <a:lnTo>
                      <a:pt x="12" y="14"/>
                    </a:lnTo>
                    <a:lnTo>
                      <a:pt x="10" y="19"/>
                    </a:lnTo>
                    <a:lnTo>
                      <a:pt x="7" y="14"/>
                    </a:lnTo>
                    <a:lnTo>
                      <a:pt x="0" y="11"/>
                    </a:lnTo>
                    <a:lnTo>
                      <a:pt x="7" y="7"/>
                    </a:lnTo>
                    <a:lnTo>
                      <a:pt x="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62">
                <a:extLst>
                  <a:ext uri="{FF2B5EF4-FFF2-40B4-BE49-F238E27FC236}">
                    <a16:creationId xmlns:a16="http://schemas.microsoft.com/office/drawing/2014/main" id="{C55526D4-4626-48B7-9A71-F9F142A4523B}"/>
                  </a:ext>
                </a:extLst>
              </p:cNvPr>
              <p:cNvSpPr>
                <a:spLocks/>
              </p:cNvSpPr>
              <p:nvPr/>
            </p:nvSpPr>
            <p:spPr bwMode="auto">
              <a:xfrm>
                <a:off x="6427" y="3289"/>
                <a:ext cx="24" cy="24"/>
              </a:xfrm>
              <a:custGeom>
                <a:avLst/>
                <a:gdLst>
                  <a:gd name="T0" fmla="*/ 0 w 24"/>
                  <a:gd name="T1" fmla="*/ 5 h 24"/>
                  <a:gd name="T2" fmla="*/ 7 w 24"/>
                  <a:gd name="T3" fmla="*/ 5 h 24"/>
                  <a:gd name="T4" fmla="*/ 12 w 24"/>
                  <a:gd name="T5" fmla="*/ 0 h 24"/>
                  <a:gd name="T6" fmla="*/ 14 w 24"/>
                  <a:gd name="T7" fmla="*/ 7 h 24"/>
                  <a:gd name="T8" fmla="*/ 24 w 24"/>
                  <a:gd name="T9" fmla="*/ 10 h 24"/>
                  <a:gd name="T10" fmla="*/ 16 w 24"/>
                  <a:gd name="T11" fmla="*/ 14 h 24"/>
                  <a:gd name="T12" fmla="*/ 14 w 24"/>
                  <a:gd name="T13" fmla="*/ 24 h 24"/>
                  <a:gd name="T14" fmla="*/ 9 w 24"/>
                  <a:gd name="T15" fmla="*/ 17 h 24"/>
                  <a:gd name="T16" fmla="*/ 0 w 24"/>
                  <a:gd name="T17" fmla="*/ 19 h 24"/>
                  <a:gd name="T18" fmla="*/ 5 w 24"/>
                  <a:gd name="T19" fmla="*/ 12 h 24"/>
                  <a:gd name="T20" fmla="*/ 0 w 24"/>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4">
                    <a:moveTo>
                      <a:pt x="0" y="5"/>
                    </a:moveTo>
                    <a:lnTo>
                      <a:pt x="7" y="5"/>
                    </a:lnTo>
                    <a:lnTo>
                      <a:pt x="12" y="0"/>
                    </a:lnTo>
                    <a:lnTo>
                      <a:pt x="14" y="7"/>
                    </a:lnTo>
                    <a:lnTo>
                      <a:pt x="24" y="10"/>
                    </a:lnTo>
                    <a:lnTo>
                      <a:pt x="16" y="14"/>
                    </a:lnTo>
                    <a:lnTo>
                      <a:pt x="14" y="24"/>
                    </a:lnTo>
                    <a:lnTo>
                      <a:pt x="9" y="17"/>
                    </a:lnTo>
                    <a:lnTo>
                      <a:pt x="0" y="19"/>
                    </a:lnTo>
                    <a:lnTo>
                      <a:pt x="5" y="12"/>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63">
                <a:extLst>
                  <a:ext uri="{FF2B5EF4-FFF2-40B4-BE49-F238E27FC236}">
                    <a16:creationId xmlns:a16="http://schemas.microsoft.com/office/drawing/2014/main" id="{D96A0F3C-E974-4185-80A3-EEF616D5BE7B}"/>
                  </a:ext>
                </a:extLst>
              </p:cNvPr>
              <p:cNvSpPr>
                <a:spLocks/>
              </p:cNvSpPr>
              <p:nvPr/>
            </p:nvSpPr>
            <p:spPr bwMode="auto">
              <a:xfrm>
                <a:off x="6776" y="3211"/>
                <a:ext cx="23" cy="23"/>
              </a:xfrm>
              <a:custGeom>
                <a:avLst/>
                <a:gdLst>
                  <a:gd name="T0" fmla="*/ 0 w 23"/>
                  <a:gd name="T1" fmla="*/ 4 h 23"/>
                  <a:gd name="T2" fmla="*/ 7 w 23"/>
                  <a:gd name="T3" fmla="*/ 7 h 23"/>
                  <a:gd name="T4" fmla="*/ 12 w 23"/>
                  <a:gd name="T5" fmla="*/ 0 h 23"/>
                  <a:gd name="T6" fmla="*/ 14 w 23"/>
                  <a:gd name="T7" fmla="*/ 7 h 23"/>
                  <a:gd name="T8" fmla="*/ 23 w 23"/>
                  <a:gd name="T9" fmla="*/ 12 h 23"/>
                  <a:gd name="T10" fmla="*/ 16 w 23"/>
                  <a:gd name="T11" fmla="*/ 14 h 23"/>
                  <a:gd name="T12" fmla="*/ 16 w 23"/>
                  <a:gd name="T13" fmla="*/ 23 h 23"/>
                  <a:gd name="T14" fmla="*/ 9 w 23"/>
                  <a:gd name="T15" fmla="*/ 19 h 23"/>
                  <a:gd name="T16" fmla="*/ 0 w 23"/>
                  <a:gd name="T17" fmla="*/ 21 h 23"/>
                  <a:gd name="T18" fmla="*/ 4 w 23"/>
                  <a:gd name="T19" fmla="*/ 12 h 23"/>
                  <a:gd name="T20" fmla="*/ 0 w 23"/>
                  <a:gd name="T21"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0" y="4"/>
                    </a:moveTo>
                    <a:lnTo>
                      <a:pt x="7" y="7"/>
                    </a:lnTo>
                    <a:lnTo>
                      <a:pt x="12" y="0"/>
                    </a:lnTo>
                    <a:lnTo>
                      <a:pt x="14" y="7"/>
                    </a:lnTo>
                    <a:lnTo>
                      <a:pt x="23" y="12"/>
                    </a:lnTo>
                    <a:lnTo>
                      <a:pt x="16" y="14"/>
                    </a:lnTo>
                    <a:lnTo>
                      <a:pt x="16" y="23"/>
                    </a:lnTo>
                    <a:lnTo>
                      <a:pt x="9" y="19"/>
                    </a:lnTo>
                    <a:lnTo>
                      <a:pt x="0" y="21"/>
                    </a:lnTo>
                    <a:lnTo>
                      <a:pt x="4" y="12"/>
                    </a:lnTo>
                    <a:lnTo>
                      <a:pt x="0" y="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64">
                <a:extLst>
                  <a:ext uri="{FF2B5EF4-FFF2-40B4-BE49-F238E27FC236}">
                    <a16:creationId xmlns:a16="http://schemas.microsoft.com/office/drawing/2014/main" id="{E5D87802-B41E-4229-ACC0-9160C50F2825}"/>
                  </a:ext>
                </a:extLst>
              </p:cNvPr>
              <p:cNvSpPr>
                <a:spLocks/>
              </p:cNvSpPr>
              <p:nvPr/>
            </p:nvSpPr>
            <p:spPr bwMode="auto">
              <a:xfrm>
                <a:off x="6576" y="3206"/>
                <a:ext cx="15" cy="17"/>
              </a:xfrm>
              <a:custGeom>
                <a:avLst/>
                <a:gdLst>
                  <a:gd name="T0" fmla="*/ 0 w 15"/>
                  <a:gd name="T1" fmla="*/ 5 h 17"/>
                  <a:gd name="T2" fmla="*/ 5 w 15"/>
                  <a:gd name="T3" fmla="*/ 5 h 17"/>
                  <a:gd name="T4" fmla="*/ 10 w 15"/>
                  <a:gd name="T5" fmla="*/ 0 h 17"/>
                  <a:gd name="T6" fmla="*/ 10 w 15"/>
                  <a:gd name="T7" fmla="*/ 7 h 17"/>
                  <a:gd name="T8" fmla="*/ 15 w 15"/>
                  <a:gd name="T9" fmla="*/ 7 h 17"/>
                  <a:gd name="T10" fmla="*/ 10 w 15"/>
                  <a:gd name="T11" fmla="*/ 12 h 17"/>
                  <a:gd name="T12" fmla="*/ 10 w 15"/>
                  <a:gd name="T13" fmla="*/ 17 h 17"/>
                  <a:gd name="T14" fmla="*/ 7 w 15"/>
                  <a:gd name="T15" fmla="*/ 12 h 17"/>
                  <a:gd name="T16" fmla="*/ 0 w 15"/>
                  <a:gd name="T17" fmla="*/ 14 h 17"/>
                  <a:gd name="T18" fmla="*/ 3 w 15"/>
                  <a:gd name="T19" fmla="*/ 9 h 17"/>
                  <a:gd name="T20" fmla="*/ 0 w 15"/>
                  <a:gd name="T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7">
                    <a:moveTo>
                      <a:pt x="0" y="5"/>
                    </a:moveTo>
                    <a:lnTo>
                      <a:pt x="5" y="5"/>
                    </a:lnTo>
                    <a:lnTo>
                      <a:pt x="10" y="0"/>
                    </a:lnTo>
                    <a:lnTo>
                      <a:pt x="10" y="7"/>
                    </a:lnTo>
                    <a:lnTo>
                      <a:pt x="15" y="7"/>
                    </a:lnTo>
                    <a:lnTo>
                      <a:pt x="10" y="12"/>
                    </a:lnTo>
                    <a:lnTo>
                      <a:pt x="10" y="17"/>
                    </a:lnTo>
                    <a:lnTo>
                      <a:pt x="7" y="12"/>
                    </a:lnTo>
                    <a:lnTo>
                      <a:pt x="0" y="14"/>
                    </a:lnTo>
                    <a:lnTo>
                      <a:pt x="3" y="9"/>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5">
                <a:extLst>
                  <a:ext uri="{FF2B5EF4-FFF2-40B4-BE49-F238E27FC236}">
                    <a16:creationId xmlns:a16="http://schemas.microsoft.com/office/drawing/2014/main" id="{16C6631B-BE2C-4F6E-9FAD-C8B525DBE205}"/>
                  </a:ext>
                </a:extLst>
              </p:cNvPr>
              <p:cNvSpPr>
                <a:spLocks/>
              </p:cNvSpPr>
              <p:nvPr/>
            </p:nvSpPr>
            <p:spPr bwMode="auto">
              <a:xfrm>
                <a:off x="6583" y="3213"/>
                <a:ext cx="205" cy="10"/>
              </a:xfrm>
              <a:custGeom>
                <a:avLst/>
                <a:gdLst>
                  <a:gd name="T0" fmla="*/ 86 w 86"/>
                  <a:gd name="T1" fmla="*/ 4 h 4"/>
                  <a:gd name="T2" fmla="*/ 43 w 86"/>
                  <a:gd name="T3" fmla="*/ 2 h 4"/>
                  <a:gd name="T4" fmla="*/ 0 w 86"/>
                  <a:gd name="T5" fmla="*/ 0 h 4"/>
                  <a:gd name="T6" fmla="*/ 43 w 86"/>
                  <a:gd name="T7" fmla="*/ 2 h 4"/>
                  <a:gd name="T8" fmla="*/ 86 w 86"/>
                  <a:gd name="T9" fmla="*/ 4 h 4"/>
                </a:gdLst>
                <a:ahLst/>
                <a:cxnLst>
                  <a:cxn ang="0">
                    <a:pos x="T0" y="T1"/>
                  </a:cxn>
                  <a:cxn ang="0">
                    <a:pos x="T2" y="T3"/>
                  </a:cxn>
                  <a:cxn ang="0">
                    <a:pos x="T4" y="T5"/>
                  </a:cxn>
                  <a:cxn ang="0">
                    <a:pos x="T6" y="T7"/>
                  </a:cxn>
                  <a:cxn ang="0">
                    <a:pos x="T8" y="T9"/>
                  </a:cxn>
                </a:cxnLst>
                <a:rect l="0" t="0" r="r" b="b"/>
                <a:pathLst>
                  <a:path w="86" h="4">
                    <a:moveTo>
                      <a:pt x="86" y="4"/>
                    </a:moveTo>
                    <a:cubicBezTo>
                      <a:pt x="86" y="4"/>
                      <a:pt x="66" y="4"/>
                      <a:pt x="43" y="2"/>
                    </a:cubicBezTo>
                    <a:cubicBezTo>
                      <a:pt x="19" y="1"/>
                      <a:pt x="0" y="0"/>
                      <a:pt x="0" y="0"/>
                    </a:cubicBezTo>
                    <a:cubicBezTo>
                      <a:pt x="0" y="0"/>
                      <a:pt x="19" y="1"/>
                      <a:pt x="43" y="2"/>
                    </a:cubicBezTo>
                    <a:cubicBezTo>
                      <a:pt x="66" y="3"/>
                      <a:pt x="86" y="4"/>
                      <a:pt x="86"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66">
                <a:extLst>
                  <a:ext uri="{FF2B5EF4-FFF2-40B4-BE49-F238E27FC236}">
                    <a16:creationId xmlns:a16="http://schemas.microsoft.com/office/drawing/2014/main" id="{571028D3-9789-443F-9BA7-F7977C94E86A}"/>
                  </a:ext>
                </a:extLst>
              </p:cNvPr>
              <p:cNvSpPr>
                <a:spLocks/>
              </p:cNvSpPr>
              <p:nvPr/>
            </p:nvSpPr>
            <p:spPr bwMode="auto">
              <a:xfrm>
                <a:off x="5459" y="3061"/>
                <a:ext cx="1397" cy="114"/>
              </a:xfrm>
              <a:custGeom>
                <a:avLst/>
                <a:gdLst>
                  <a:gd name="T0" fmla="*/ 581 w 589"/>
                  <a:gd name="T1" fmla="*/ 48 h 48"/>
                  <a:gd name="T2" fmla="*/ 9 w 589"/>
                  <a:gd name="T3" fmla="*/ 48 h 48"/>
                  <a:gd name="T4" fmla="*/ 9 w 589"/>
                  <a:gd name="T5" fmla="*/ 0 h 48"/>
                  <a:gd name="T6" fmla="*/ 581 w 589"/>
                  <a:gd name="T7" fmla="*/ 0 h 48"/>
                  <a:gd name="T8" fmla="*/ 581 w 589"/>
                  <a:gd name="T9" fmla="*/ 48 h 48"/>
                </a:gdLst>
                <a:ahLst/>
                <a:cxnLst>
                  <a:cxn ang="0">
                    <a:pos x="T0" y="T1"/>
                  </a:cxn>
                  <a:cxn ang="0">
                    <a:pos x="T2" y="T3"/>
                  </a:cxn>
                  <a:cxn ang="0">
                    <a:pos x="T4" y="T5"/>
                  </a:cxn>
                  <a:cxn ang="0">
                    <a:pos x="T6" y="T7"/>
                  </a:cxn>
                  <a:cxn ang="0">
                    <a:pos x="T8" y="T9"/>
                  </a:cxn>
                </a:cxnLst>
                <a:rect l="0" t="0" r="r" b="b"/>
                <a:pathLst>
                  <a:path w="589" h="48">
                    <a:moveTo>
                      <a:pt x="581" y="48"/>
                    </a:moveTo>
                    <a:cubicBezTo>
                      <a:pt x="9" y="48"/>
                      <a:pt x="9" y="48"/>
                      <a:pt x="9" y="48"/>
                    </a:cubicBezTo>
                    <a:cubicBezTo>
                      <a:pt x="1" y="31"/>
                      <a:pt x="0" y="15"/>
                      <a:pt x="9" y="0"/>
                    </a:cubicBezTo>
                    <a:cubicBezTo>
                      <a:pt x="581" y="0"/>
                      <a:pt x="581" y="0"/>
                      <a:pt x="581" y="0"/>
                    </a:cubicBezTo>
                    <a:cubicBezTo>
                      <a:pt x="589" y="18"/>
                      <a:pt x="588" y="33"/>
                      <a:pt x="581" y="4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67">
                <a:extLst>
                  <a:ext uri="{FF2B5EF4-FFF2-40B4-BE49-F238E27FC236}">
                    <a16:creationId xmlns:a16="http://schemas.microsoft.com/office/drawing/2014/main" id="{0524D8C4-CBA7-47AA-9B76-CD1A766D1626}"/>
                  </a:ext>
                </a:extLst>
              </p:cNvPr>
              <p:cNvSpPr>
                <a:spLocks noChangeArrowheads="1"/>
              </p:cNvSpPr>
              <p:nvPr/>
            </p:nvSpPr>
            <p:spPr bwMode="auto">
              <a:xfrm>
                <a:off x="5760" y="3094"/>
                <a:ext cx="738" cy="41"/>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Rectangle 68">
                <a:extLst>
                  <a:ext uri="{FF2B5EF4-FFF2-40B4-BE49-F238E27FC236}">
                    <a16:creationId xmlns:a16="http://schemas.microsoft.com/office/drawing/2014/main" id="{4D7A1607-9834-435E-A6A0-386563380BC2}"/>
                  </a:ext>
                </a:extLst>
              </p:cNvPr>
              <p:cNvSpPr>
                <a:spLocks noChangeArrowheads="1"/>
              </p:cNvSpPr>
              <p:nvPr/>
            </p:nvSpPr>
            <p:spPr bwMode="auto">
              <a:xfrm>
                <a:off x="5760" y="3094"/>
                <a:ext cx="738"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69">
                <a:extLst>
                  <a:ext uri="{FF2B5EF4-FFF2-40B4-BE49-F238E27FC236}">
                    <a16:creationId xmlns:a16="http://schemas.microsoft.com/office/drawing/2014/main" id="{4EABC921-3F40-485E-BDF7-8B3E49504EE3}"/>
                  </a:ext>
                </a:extLst>
              </p:cNvPr>
              <p:cNvSpPr>
                <a:spLocks/>
              </p:cNvSpPr>
              <p:nvPr/>
            </p:nvSpPr>
            <p:spPr bwMode="auto">
              <a:xfrm>
                <a:off x="5508" y="3064"/>
                <a:ext cx="24" cy="111"/>
              </a:xfrm>
              <a:custGeom>
                <a:avLst/>
                <a:gdLst>
                  <a:gd name="T0" fmla="*/ 10 w 10"/>
                  <a:gd name="T1" fmla="*/ 47 h 47"/>
                  <a:gd name="T2" fmla="*/ 5 w 10"/>
                  <a:gd name="T3" fmla="*/ 42 h 47"/>
                  <a:gd name="T4" fmla="*/ 0 w 10"/>
                  <a:gd name="T5" fmla="*/ 25 h 47"/>
                  <a:gd name="T6" fmla="*/ 2 w 10"/>
                  <a:gd name="T7" fmla="*/ 7 h 47"/>
                  <a:gd name="T8" fmla="*/ 6 w 10"/>
                  <a:gd name="T9" fmla="*/ 1 h 47"/>
                  <a:gd name="T10" fmla="*/ 4 w 10"/>
                  <a:gd name="T11" fmla="*/ 7 h 47"/>
                  <a:gd name="T12" fmla="*/ 2 w 10"/>
                  <a:gd name="T13" fmla="*/ 24 h 47"/>
                  <a:gd name="T14" fmla="*/ 7 w 10"/>
                  <a:gd name="T15" fmla="*/ 41 h 47"/>
                  <a:gd name="T16" fmla="*/ 10 w 1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7">
                    <a:moveTo>
                      <a:pt x="10" y="47"/>
                    </a:moveTo>
                    <a:cubicBezTo>
                      <a:pt x="10" y="47"/>
                      <a:pt x="8" y="45"/>
                      <a:pt x="5" y="42"/>
                    </a:cubicBezTo>
                    <a:cubicBezTo>
                      <a:pt x="3" y="38"/>
                      <a:pt x="1" y="32"/>
                      <a:pt x="0" y="25"/>
                    </a:cubicBezTo>
                    <a:cubicBezTo>
                      <a:pt x="0" y="18"/>
                      <a:pt x="1" y="11"/>
                      <a:pt x="2" y="7"/>
                    </a:cubicBezTo>
                    <a:cubicBezTo>
                      <a:pt x="4" y="3"/>
                      <a:pt x="6" y="0"/>
                      <a:pt x="6" y="1"/>
                    </a:cubicBezTo>
                    <a:cubicBezTo>
                      <a:pt x="6" y="1"/>
                      <a:pt x="5" y="3"/>
                      <a:pt x="4" y="7"/>
                    </a:cubicBezTo>
                    <a:cubicBezTo>
                      <a:pt x="3" y="12"/>
                      <a:pt x="2" y="18"/>
                      <a:pt x="2" y="24"/>
                    </a:cubicBezTo>
                    <a:cubicBezTo>
                      <a:pt x="3" y="31"/>
                      <a:pt x="5" y="37"/>
                      <a:pt x="7" y="41"/>
                    </a:cubicBezTo>
                    <a:cubicBezTo>
                      <a:pt x="9" y="45"/>
                      <a:pt x="10" y="47"/>
                      <a:pt x="10"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70">
                <a:extLst>
                  <a:ext uri="{FF2B5EF4-FFF2-40B4-BE49-F238E27FC236}">
                    <a16:creationId xmlns:a16="http://schemas.microsoft.com/office/drawing/2014/main" id="{7A918F72-DD12-42FB-BE3B-D9B483ABD4AE}"/>
                  </a:ext>
                </a:extLst>
              </p:cNvPr>
              <p:cNvSpPr>
                <a:spLocks/>
              </p:cNvSpPr>
              <p:nvPr/>
            </p:nvSpPr>
            <p:spPr bwMode="auto">
              <a:xfrm>
                <a:off x="5537" y="3064"/>
                <a:ext cx="26" cy="111"/>
              </a:xfrm>
              <a:custGeom>
                <a:avLst/>
                <a:gdLst>
                  <a:gd name="T0" fmla="*/ 10 w 11"/>
                  <a:gd name="T1" fmla="*/ 47 h 47"/>
                  <a:gd name="T2" fmla="*/ 6 w 11"/>
                  <a:gd name="T3" fmla="*/ 42 h 47"/>
                  <a:gd name="T4" fmla="*/ 1 w 11"/>
                  <a:gd name="T5" fmla="*/ 25 h 47"/>
                  <a:gd name="T6" fmla="*/ 3 w 11"/>
                  <a:gd name="T7" fmla="*/ 7 h 47"/>
                  <a:gd name="T8" fmla="*/ 6 w 11"/>
                  <a:gd name="T9" fmla="*/ 1 h 47"/>
                  <a:gd name="T10" fmla="*/ 4 w 11"/>
                  <a:gd name="T11" fmla="*/ 7 h 47"/>
                  <a:gd name="T12" fmla="*/ 3 w 11"/>
                  <a:gd name="T13" fmla="*/ 24 h 47"/>
                  <a:gd name="T14" fmla="*/ 7 w 11"/>
                  <a:gd name="T15" fmla="*/ 41 h 47"/>
                  <a:gd name="T16" fmla="*/ 10 w 11"/>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7">
                    <a:moveTo>
                      <a:pt x="10" y="47"/>
                    </a:moveTo>
                    <a:cubicBezTo>
                      <a:pt x="10" y="47"/>
                      <a:pt x="8" y="45"/>
                      <a:pt x="6" y="42"/>
                    </a:cubicBezTo>
                    <a:cubicBezTo>
                      <a:pt x="3" y="38"/>
                      <a:pt x="1" y="32"/>
                      <a:pt x="1" y="25"/>
                    </a:cubicBezTo>
                    <a:cubicBezTo>
                      <a:pt x="0" y="18"/>
                      <a:pt x="1" y="11"/>
                      <a:pt x="3" y="7"/>
                    </a:cubicBezTo>
                    <a:cubicBezTo>
                      <a:pt x="4" y="3"/>
                      <a:pt x="6" y="0"/>
                      <a:pt x="6" y="1"/>
                    </a:cubicBezTo>
                    <a:cubicBezTo>
                      <a:pt x="6" y="1"/>
                      <a:pt x="5" y="3"/>
                      <a:pt x="4" y="7"/>
                    </a:cubicBezTo>
                    <a:cubicBezTo>
                      <a:pt x="3" y="12"/>
                      <a:pt x="2" y="18"/>
                      <a:pt x="3" y="24"/>
                    </a:cubicBezTo>
                    <a:cubicBezTo>
                      <a:pt x="3" y="31"/>
                      <a:pt x="5" y="37"/>
                      <a:pt x="7" y="41"/>
                    </a:cubicBezTo>
                    <a:cubicBezTo>
                      <a:pt x="9" y="45"/>
                      <a:pt x="11" y="47"/>
                      <a:pt x="10"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71">
                <a:extLst>
                  <a:ext uri="{FF2B5EF4-FFF2-40B4-BE49-F238E27FC236}">
                    <a16:creationId xmlns:a16="http://schemas.microsoft.com/office/drawing/2014/main" id="{DFB6CA69-05AB-4BD6-A38C-F6C8D30F7EA5}"/>
                  </a:ext>
                </a:extLst>
              </p:cNvPr>
              <p:cNvSpPr>
                <a:spLocks/>
              </p:cNvSpPr>
              <p:nvPr/>
            </p:nvSpPr>
            <p:spPr bwMode="auto">
              <a:xfrm>
                <a:off x="6783" y="3061"/>
                <a:ext cx="14" cy="114"/>
              </a:xfrm>
              <a:custGeom>
                <a:avLst/>
                <a:gdLst>
                  <a:gd name="T0" fmla="*/ 0 w 6"/>
                  <a:gd name="T1" fmla="*/ 47 h 48"/>
                  <a:gd name="T2" fmla="*/ 4 w 6"/>
                  <a:gd name="T3" fmla="*/ 24 h 48"/>
                  <a:gd name="T4" fmla="*/ 0 w 6"/>
                  <a:gd name="T5" fmla="*/ 1 h 48"/>
                  <a:gd name="T6" fmla="*/ 6 w 6"/>
                  <a:gd name="T7" fmla="*/ 24 h 48"/>
                  <a:gd name="T8" fmla="*/ 0 w 6"/>
                  <a:gd name="T9" fmla="*/ 47 h 48"/>
                </a:gdLst>
                <a:ahLst/>
                <a:cxnLst>
                  <a:cxn ang="0">
                    <a:pos x="T0" y="T1"/>
                  </a:cxn>
                  <a:cxn ang="0">
                    <a:pos x="T2" y="T3"/>
                  </a:cxn>
                  <a:cxn ang="0">
                    <a:pos x="T4" y="T5"/>
                  </a:cxn>
                  <a:cxn ang="0">
                    <a:pos x="T6" y="T7"/>
                  </a:cxn>
                  <a:cxn ang="0">
                    <a:pos x="T8" y="T9"/>
                  </a:cxn>
                </a:cxnLst>
                <a:rect l="0" t="0" r="r" b="b"/>
                <a:pathLst>
                  <a:path w="6" h="48">
                    <a:moveTo>
                      <a:pt x="0" y="47"/>
                    </a:moveTo>
                    <a:cubicBezTo>
                      <a:pt x="0" y="47"/>
                      <a:pt x="4" y="37"/>
                      <a:pt x="4" y="24"/>
                    </a:cubicBezTo>
                    <a:cubicBezTo>
                      <a:pt x="4" y="11"/>
                      <a:pt x="0" y="1"/>
                      <a:pt x="0" y="1"/>
                    </a:cubicBezTo>
                    <a:cubicBezTo>
                      <a:pt x="1" y="0"/>
                      <a:pt x="6" y="10"/>
                      <a:pt x="6" y="24"/>
                    </a:cubicBezTo>
                    <a:cubicBezTo>
                      <a:pt x="6" y="38"/>
                      <a:pt x="1" y="48"/>
                      <a:pt x="0"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72">
                <a:extLst>
                  <a:ext uri="{FF2B5EF4-FFF2-40B4-BE49-F238E27FC236}">
                    <a16:creationId xmlns:a16="http://schemas.microsoft.com/office/drawing/2014/main" id="{87F882FB-06D1-428A-8BC8-B27FA4449105}"/>
                  </a:ext>
                </a:extLst>
              </p:cNvPr>
              <p:cNvSpPr>
                <a:spLocks/>
              </p:cNvSpPr>
              <p:nvPr/>
            </p:nvSpPr>
            <p:spPr bwMode="auto">
              <a:xfrm>
                <a:off x="6757" y="3064"/>
                <a:ext cx="9" cy="109"/>
              </a:xfrm>
              <a:custGeom>
                <a:avLst/>
                <a:gdLst>
                  <a:gd name="T0" fmla="*/ 1 w 4"/>
                  <a:gd name="T1" fmla="*/ 46 h 46"/>
                  <a:gd name="T2" fmla="*/ 2 w 4"/>
                  <a:gd name="T3" fmla="*/ 23 h 46"/>
                  <a:gd name="T4" fmla="*/ 1 w 4"/>
                  <a:gd name="T5" fmla="*/ 0 h 46"/>
                  <a:gd name="T6" fmla="*/ 4 w 4"/>
                  <a:gd name="T7" fmla="*/ 23 h 46"/>
                  <a:gd name="T8" fmla="*/ 1 w 4"/>
                  <a:gd name="T9" fmla="*/ 46 h 46"/>
                </a:gdLst>
                <a:ahLst/>
                <a:cxnLst>
                  <a:cxn ang="0">
                    <a:pos x="T0" y="T1"/>
                  </a:cxn>
                  <a:cxn ang="0">
                    <a:pos x="T2" y="T3"/>
                  </a:cxn>
                  <a:cxn ang="0">
                    <a:pos x="T4" y="T5"/>
                  </a:cxn>
                  <a:cxn ang="0">
                    <a:pos x="T6" y="T7"/>
                  </a:cxn>
                  <a:cxn ang="0">
                    <a:pos x="T8" y="T9"/>
                  </a:cxn>
                </a:cxnLst>
                <a:rect l="0" t="0" r="r" b="b"/>
                <a:pathLst>
                  <a:path w="4" h="46">
                    <a:moveTo>
                      <a:pt x="1" y="46"/>
                    </a:moveTo>
                    <a:cubicBezTo>
                      <a:pt x="0" y="46"/>
                      <a:pt x="2" y="36"/>
                      <a:pt x="2" y="23"/>
                    </a:cubicBezTo>
                    <a:cubicBezTo>
                      <a:pt x="2" y="11"/>
                      <a:pt x="0" y="1"/>
                      <a:pt x="1" y="0"/>
                    </a:cubicBezTo>
                    <a:cubicBezTo>
                      <a:pt x="1" y="0"/>
                      <a:pt x="4" y="10"/>
                      <a:pt x="4" y="23"/>
                    </a:cubicBezTo>
                    <a:cubicBezTo>
                      <a:pt x="4" y="36"/>
                      <a:pt x="1" y="46"/>
                      <a:pt x="1" y="4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73">
                <a:extLst>
                  <a:ext uri="{FF2B5EF4-FFF2-40B4-BE49-F238E27FC236}">
                    <a16:creationId xmlns:a16="http://schemas.microsoft.com/office/drawing/2014/main" id="{4CC03A12-C125-4D73-A4AD-EA3B1D0AF844}"/>
                  </a:ext>
                </a:extLst>
              </p:cNvPr>
              <p:cNvSpPr>
                <a:spLocks/>
              </p:cNvSpPr>
              <p:nvPr/>
            </p:nvSpPr>
            <p:spPr bwMode="auto">
              <a:xfrm>
                <a:off x="6078" y="563"/>
                <a:ext cx="111" cy="542"/>
              </a:xfrm>
              <a:custGeom>
                <a:avLst/>
                <a:gdLst>
                  <a:gd name="T0" fmla="*/ 111 w 111"/>
                  <a:gd name="T1" fmla="*/ 539 h 542"/>
                  <a:gd name="T2" fmla="*/ 2 w 111"/>
                  <a:gd name="T3" fmla="*/ 542 h 542"/>
                  <a:gd name="T4" fmla="*/ 0 w 111"/>
                  <a:gd name="T5" fmla="*/ 0 h 542"/>
                  <a:gd name="T6" fmla="*/ 107 w 111"/>
                  <a:gd name="T7" fmla="*/ 0 h 542"/>
                  <a:gd name="T8" fmla="*/ 111 w 111"/>
                  <a:gd name="T9" fmla="*/ 539 h 542"/>
                </a:gdLst>
                <a:ahLst/>
                <a:cxnLst>
                  <a:cxn ang="0">
                    <a:pos x="T0" y="T1"/>
                  </a:cxn>
                  <a:cxn ang="0">
                    <a:pos x="T2" y="T3"/>
                  </a:cxn>
                  <a:cxn ang="0">
                    <a:pos x="T4" y="T5"/>
                  </a:cxn>
                  <a:cxn ang="0">
                    <a:pos x="T6" y="T7"/>
                  </a:cxn>
                  <a:cxn ang="0">
                    <a:pos x="T8" y="T9"/>
                  </a:cxn>
                </a:cxnLst>
                <a:rect l="0" t="0" r="r" b="b"/>
                <a:pathLst>
                  <a:path w="111" h="542">
                    <a:moveTo>
                      <a:pt x="111" y="539"/>
                    </a:moveTo>
                    <a:lnTo>
                      <a:pt x="2" y="542"/>
                    </a:lnTo>
                    <a:lnTo>
                      <a:pt x="0" y="0"/>
                    </a:lnTo>
                    <a:lnTo>
                      <a:pt x="107" y="0"/>
                    </a:lnTo>
                    <a:lnTo>
                      <a:pt x="111" y="53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74">
                <a:extLst>
                  <a:ext uri="{FF2B5EF4-FFF2-40B4-BE49-F238E27FC236}">
                    <a16:creationId xmlns:a16="http://schemas.microsoft.com/office/drawing/2014/main" id="{81A0D088-E7F6-450B-92E4-850D096F5E5C}"/>
                  </a:ext>
                </a:extLst>
              </p:cNvPr>
              <p:cNvSpPr>
                <a:spLocks/>
              </p:cNvSpPr>
              <p:nvPr/>
            </p:nvSpPr>
            <p:spPr bwMode="auto">
              <a:xfrm>
                <a:off x="5138" y="566"/>
                <a:ext cx="283" cy="299"/>
              </a:xfrm>
              <a:custGeom>
                <a:avLst/>
                <a:gdLst>
                  <a:gd name="T0" fmla="*/ 283 w 283"/>
                  <a:gd name="T1" fmla="*/ 296 h 299"/>
                  <a:gd name="T2" fmla="*/ 3 w 283"/>
                  <a:gd name="T3" fmla="*/ 299 h 299"/>
                  <a:gd name="T4" fmla="*/ 0 w 283"/>
                  <a:gd name="T5" fmla="*/ 0 h 299"/>
                  <a:gd name="T6" fmla="*/ 280 w 283"/>
                  <a:gd name="T7" fmla="*/ 0 h 299"/>
                  <a:gd name="T8" fmla="*/ 283 w 283"/>
                  <a:gd name="T9" fmla="*/ 296 h 299"/>
                </a:gdLst>
                <a:ahLst/>
                <a:cxnLst>
                  <a:cxn ang="0">
                    <a:pos x="T0" y="T1"/>
                  </a:cxn>
                  <a:cxn ang="0">
                    <a:pos x="T2" y="T3"/>
                  </a:cxn>
                  <a:cxn ang="0">
                    <a:pos x="T4" y="T5"/>
                  </a:cxn>
                  <a:cxn ang="0">
                    <a:pos x="T6" y="T7"/>
                  </a:cxn>
                  <a:cxn ang="0">
                    <a:pos x="T8" y="T9"/>
                  </a:cxn>
                </a:cxnLst>
                <a:rect l="0" t="0" r="r" b="b"/>
                <a:pathLst>
                  <a:path w="283" h="299">
                    <a:moveTo>
                      <a:pt x="283" y="296"/>
                    </a:moveTo>
                    <a:lnTo>
                      <a:pt x="3" y="299"/>
                    </a:lnTo>
                    <a:lnTo>
                      <a:pt x="0" y="0"/>
                    </a:lnTo>
                    <a:lnTo>
                      <a:pt x="280" y="0"/>
                    </a:lnTo>
                    <a:lnTo>
                      <a:pt x="283" y="296"/>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75">
                <a:extLst>
                  <a:ext uri="{FF2B5EF4-FFF2-40B4-BE49-F238E27FC236}">
                    <a16:creationId xmlns:a16="http://schemas.microsoft.com/office/drawing/2014/main" id="{509439AF-198B-4863-8150-CB3BA7843F7D}"/>
                  </a:ext>
                </a:extLst>
              </p:cNvPr>
              <p:cNvSpPr>
                <a:spLocks/>
              </p:cNvSpPr>
              <p:nvPr/>
            </p:nvSpPr>
            <p:spPr bwMode="auto">
              <a:xfrm>
                <a:off x="5418" y="563"/>
                <a:ext cx="283" cy="299"/>
              </a:xfrm>
              <a:custGeom>
                <a:avLst/>
                <a:gdLst>
                  <a:gd name="T0" fmla="*/ 283 w 283"/>
                  <a:gd name="T1" fmla="*/ 299 h 299"/>
                  <a:gd name="T2" fmla="*/ 3 w 283"/>
                  <a:gd name="T3" fmla="*/ 299 h 299"/>
                  <a:gd name="T4" fmla="*/ 0 w 283"/>
                  <a:gd name="T5" fmla="*/ 3 h 299"/>
                  <a:gd name="T6" fmla="*/ 280 w 283"/>
                  <a:gd name="T7" fmla="*/ 0 h 299"/>
                  <a:gd name="T8" fmla="*/ 283 w 283"/>
                  <a:gd name="T9" fmla="*/ 299 h 299"/>
                </a:gdLst>
                <a:ahLst/>
                <a:cxnLst>
                  <a:cxn ang="0">
                    <a:pos x="T0" y="T1"/>
                  </a:cxn>
                  <a:cxn ang="0">
                    <a:pos x="T2" y="T3"/>
                  </a:cxn>
                  <a:cxn ang="0">
                    <a:pos x="T4" y="T5"/>
                  </a:cxn>
                  <a:cxn ang="0">
                    <a:pos x="T6" y="T7"/>
                  </a:cxn>
                  <a:cxn ang="0">
                    <a:pos x="T8" y="T9"/>
                  </a:cxn>
                </a:cxnLst>
                <a:rect l="0" t="0" r="r" b="b"/>
                <a:pathLst>
                  <a:path w="283" h="299">
                    <a:moveTo>
                      <a:pt x="283" y="299"/>
                    </a:moveTo>
                    <a:lnTo>
                      <a:pt x="3" y="299"/>
                    </a:lnTo>
                    <a:lnTo>
                      <a:pt x="0" y="3"/>
                    </a:lnTo>
                    <a:lnTo>
                      <a:pt x="280" y="0"/>
                    </a:lnTo>
                    <a:lnTo>
                      <a:pt x="283" y="299"/>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76">
                <a:extLst>
                  <a:ext uri="{FF2B5EF4-FFF2-40B4-BE49-F238E27FC236}">
                    <a16:creationId xmlns:a16="http://schemas.microsoft.com/office/drawing/2014/main" id="{9BC0C6C1-9506-4A5B-84C5-514E9DAA7937}"/>
                  </a:ext>
                </a:extLst>
              </p:cNvPr>
              <p:cNvSpPr>
                <a:spLocks/>
              </p:cNvSpPr>
              <p:nvPr/>
            </p:nvSpPr>
            <p:spPr bwMode="auto">
              <a:xfrm>
                <a:off x="5136" y="639"/>
                <a:ext cx="567" cy="12"/>
              </a:xfrm>
              <a:custGeom>
                <a:avLst/>
                <a:gdLst>
                  <a:gd name="T0" fmla="*/ 1 w 239"/>
                  <a:gd name="T1" fmla="*/ 4 h 5"/>
                  <a:gd name="T2" fmla="*/ 237 w 239"/>
                  <a:gd name="T3" fmla="*/ 3 h 5"/>
                  <a:gd name="T4" fmla="*/ 237 w 239"/>
                  <a:gd name="T5" fmla="*/ 0 h 5"/>
                  <a:gd name="T6" fmla="*/ 1 w 239"/>
                  <a:gd name="T7" fmla="*/ 2 h 5"/>
                  <a:gd name="T8" fmla="*/ 1 w 239"/>
                  <a:gd name="T9" fmla="*/ 4 h 5"/>
                </a:gdLst>
                <a:ahLst/>
                <a:cxnLst>
                  <a:cxn ang="0">
                    <a:pos x="T0" y="T1"/>
                  </a:cxn>
                  <a:cxn ang="0">
                    <a:pos x="T2" y="T3"/>
                  </a:cxn>
                  <a:cxn ang="0">
                    <a:pos x="T4" y="T5"/>
                  </a:cxn>
                  <a:cxn ang="0">
                    <a:pos x="T6" y="T7"/>
                  </a:cxn>
                  <a:cxn ang="0">
                    <a:pos x="T8" y="T9"/>
                  </a:cxn>
                </a:cxnLst>
                <a:rect l="0" t="0" r="r" b="b"/>
                <a:pathLst>
                  <a:path w="239" h="5">
                    <a:moveTo>
                      <a:pt x="1" y="4"/>
                    </a:moveTo>
                    <a:cubicBezTo>
                      <a:pt x="80" y="5"/>
                      <a:pt x="159" y="4"/>
                      <a:pt x="237" y="3"/>
                    </a:cubicBezTo>
                    <a:cubicBezTo>
                      <a:pt x="239" y="3"/>
                      <a:pt x="239" y="0"/>
                      <a:pt x="237" y="0"/>
                    </a:cubicBezTo>
                    <a:cubicBezTo>
                      <a:pt x="159" y="0"/>
                      <a:pt x="80" y="0"/>
                      <a:pt x="1" y="2"/>
                    </a:cubicBezTo>
                    <a:cubicBezTo>
                      <a:pt x="0" y="2"/>
                      <a:pt x="0" y="4"/>
                      <a:pt x="1"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77">
                <a:extLst>
                  <a:ext uri="{FF2B5EF4-FFF2-40B4-BE49-F238E27FC236}">
                    <a16:creationId xmlns:a16="http://schemas.microsoft.com/office/drawing/2014/main" id="{E4002B3D-963D-4E3B-AD40-CB82751AC24D}"/>
                  </a:ext>
                </a:extLst>
              </p:cNvPr>
              <p:cNvSpPr>
                <a:spLocks/>
              </p:cNvSpPr>
              <p:nvPr/>
            </p:nvSpPr>
            <p:spPr bwMode="auto">
              <a:xfrm>
                <a:off x="4963" y="858"/>
                <a:ext cx="512" cy="247"/>
              </a:xfrm>
              <a:custGeom>
                <a:avLst/>
                <a:gdLst>
                  <a:gd name="T0" fmla="*/ 512 w 512"/>
                  <a:gd name="T1" fmla="*/ 242 h 247"/>
                  <a:gd name="T2" fmla="*/ 2 w 512"/>
                  <a:gd name="T3" fmla="*/ 247 h 247"/>
                  <a:gd name="T4" fmla="*/ 0 w 512"/>
                  <a:gd name="T5" fmla="*/ 2 h 247"/>
                  <a:gd name="T6" fmla="*/ 510 w 512"/>
                  <a:gd name="T7" fmla="*/ 0 h 247"/>
                  <a:gd name="T8" fmla="*/ 512 w 512"/>
                  <a:gd name="T9" fmla="*/ 242 h 247"/>
                </a:gdLst>
                <a:ahLst/>
                <a:cxnLst>
                  <a:cxn ang="0">
                    <a:pos x="T0" y="T1"/>
                  </a:cxn>
                  <a:cxn ang="0">
                    <a:pos x="T2" y="T3"/>
                  </a:cxn>
                  <a:cxn ang="0">
                    <a:pos x="T4" y="T5"/>
                  </a:cxn>
                  <a:cxn ang="0">
                    <a:pos x="T6" y="T7"/>
                  </a:cxn>
                  <a:cxn ang="0">
                    <a:pos x="T8" y="T9"/>
                  </a:cxn>
                </a:cxnLst>
                <a:rect l="0" t="0" r="r" b="b"/>
                <a:pathLst>
                  <a:path w="512" h="247">
                    <a:moveTo>
                      <a:pt x="512" y="242"/>
                    </a:moveTo>
                    <a:lnTo>
                      <a:pt x="2" y="247"/>
                    </a:lnTo>
                    <a:lnTo>
                      <a:pt x="0" y="2"/>
                    </a:lnTo>
                    <a:lnTo>
                      <a:pt x="510" y="0"/>
                    </a:lnTo>
                    <a:lnTo>
                      <a:pt x="512" y="242"/>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78">
                <a:extLst>
                  <a:ext uri="{FF2B5EF4-FFF2-40B4-BE49-F238E27FC236}">
                    <a16:creationId xmlns:a16="http://schemas.microsoft.com/office/drawing/2014/main" id="{042EF99D-3B3A-4F01-846F-5FDBB78E2BA9}"/>
                  </a:ext>
                </a:extLst>
              </p:cNvPr>
              <p:cNvSpPr>
                <a:spLocks/>
              </p:cNvSpPr>
              <p:nvPr/>
            </p:nvSpPr>
            <p:spPr bwMode="auto">
              <a:xfrm>
                <a:off x="5470" y="855"/>
                <a:ext cx="513" cy="245"/>
              </a:xfrm>
              <a:custGeom>
                <a:avLst/>
                <a:gdLst>
                  <a:gd name="T0" fmla="*/ 513 w 513"/>
                  <a:gd name="T1" fmla="*/ 243 h 245"/>
                  <a:gd name="T2" fmla="*/ 3 w 513"/>
                  <a:gd name="T3" fmla="*/ 245 h 245"/>
                  <a:gd name="T4" fmla="*/ 0 w 513"/>
                  <a:gd name="T5" fmla="*/ 3 h 245"/>
                  <a:gd name="T6" fmla="*/ 511 w 513"/>
                  <a:gd name="T7" fmla="*/ 0 h 245"/>
                  <a:gd name="T8" fmla="*/ 513 w 513"/>
                  <a:gd name="T9" fmla="*/ 243 h 245"/>
                </a:gdLst>
                <a:ahLst/>
                <a:cxnLst>
                  <a:cxn ang="0">
                    <a:pos x="T0" y="T1"/>
                  </a:cxn>
                  <a:cxn ang="0">
                    <a:pos x="T2" y="T3"/>
                  </a:cxn>
                  <a:cxn ang="0">
                    <a:pos x="T4" y="T5"/>
                  </a:cxn>
                  <a:cxn ang="0">
                    <a:pos x="T6" y="T7"/>
                  </a:cxn>
                  <a:cxn ang="0">
                    <a:pos x="T8" y="T9"/>
                  </a:cxn>
                </a:cxnLst>
                <a:rect l="0" t="0" r="r" b="b"/>
                <a:pathLst>
                  <a:path w="513" h="245">
                    <a:moveTo>
                      <a:pt x="513" y="243"/>
                    </a:moveTo>
                    <a:lnTo>
                      <a:pt x="3" y="245"/>
                    </a:lnTo>
                    <a:lnTo>
                      <a:pt x="0" y="3"/>
                    </a:lnTo>
                    <a:lnTo>
                      <a:pt x="511" y="0"/>
                    </a:lnTo>
                    <a:lnTo>
                      <a:pt x="513" y="24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79">
                <a:extLst>
                  <a:ext uri="{FF2B5EF4-FFF2-40B4-BE49-F238E27FC236}">
                    <a16:creationId xmlns:a16="http://schemas.microsoft.com/office/drawing/2014/main" id="{24B58984-CB72-4160-B65E-29B94084385A}"/>
                  </a:ext>
                </a:extLst>
              </p:cNvPr>
              <p:cNvSpPr>
                <a:spLocks/>
              </p:cNvSpPr>
              <p:nvPr/>
            </p:nvSpPr>
            <p:spPr bwMode="auto">
              <a:xfrm>
                <a:off x="4960" y="915"/>
                <a:ext cx="1025" cy="16"/>
              </a:xfrm>
              <a:custGeom>
                <a:avLst/>
                <a:gdLst>
                  <a:gd name="T0" fmla="*/ 2 w 432"/>
                  <a:gd name="T1" fmla="*/ 6 h 7"/>
                  <a:gd name="T2" fmla="*/ 430 w 432"/>
                  <a:gd name="T3" fmla="*/ 4 h 7"/>
                  <a:gd name="T4" fmla="*/ 430 w 432"/>
                  <a:gd name="T5" fmla="*/ 1 h 7"/>
                  <a:gd name="T6" fmla="*/ 2 w 432"/>
                  <a:gd name="T7" fmla="*/ 4 h 7"/>
                  <a:gd name="T8" fmla="*/ 2 w 432"/>
                  <a:gd name="T9" fmla="*/ 6 h 7"/>
                </a:gdLst>
                <a:ahLst/>
                <a:cxnLst>
                  <a:cxn ang="0">
                    <a:pos x="T0" y="T1"/>
                  </a:cxn>
                  <a:cxn ang="0">
                    <a:pos x="T2" y="T3"/>
                  </a:cxn>
                  <a:cxn ang="0">
                    <a:pos x="T4" y="T5"/>
                  </a:cxn>
                  <a:cxn ang="0">
                    <a:pos x="T6" y="T7"/>
                  </a:cxn>
                  <a:cxn ang="0">
                    <a:pos x="T8" y="T9"/>
                  </a:cxn>
                </a:cxnLst>
                <a:rect l="0" t="0" r="r" b="b"/>
                <a:pathLst>
                  <a:path w="432" h="7">
                    <a:moveTo>
                      <a:pt x="2" y="6"/>
                    </a:moveTo>
                    <a:cubicBezTo>
                      <a:pt x="144" y="7"/>
                      <a:pt x="288" y="6"/>
                      <a:pt x="430" y="4"/>
                    </a:cubicBezTo>
                    <a:cubicBezTo>
                      <a:pt x="432" y="4"/>
                      <a:pt x="432" y="1"/>
                      <a:pt x="430" y="1"/>
                    </a:cubicBezTo>
                    <a:cubicBezTo>
                      <a:pt x="288" y="0"/>
                      <a:pt x="144" y="0"/>
                      <a:pt x="2" y="4"/>
                    </a:cubicBezTo>
                    <a:cubicBezTo>
                      <a:pt x="0" y="4"/>
                      <a:pt x="0" y="6"/>
                      <a:pt x="2" y="6"/>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80">
                <a:extLst>
                  <a:ext uri="{FF2B5EF4-FFF2-40B4-BE49-F238E27FC236}">
                    <a16:creationId xmlns:a16="http://schemas.microsoft.com/office/drawing/2014/main" id="{F72E327B-32C4-4CF1-8A98-688AC45C0C95}"/>
                  </a:ext>
                </a:extLst>
              </p:cNvPr>
              <p:cNvSpPr>
                <a:spLocks noChangeArrowheads="1"/>
              </p:cNvSpPr>
              <p:nvPr/>
            </p:nvSpPr>
            <p:spPr bwMode="auto">
              <a:xfrm>
                <a:off x="4773" y="1105"/>
                <a:ext cx="1977" cy="85"/>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81">
                <a:extLst>
                  <a:ext uri="{FF2B5EF4-FFF2-40B4-BE49-F238E27FC236}">
                    <a16:creationId xmlns:a16="http://schemas.microsoft.com/office/drawing/2014/main" id="{AEAE2209-A95D-43CF-87C8-A7C776F1F0AA}"/>
                  </a:ext>
                </a:extLst>
              </p:cNvPr>
              <p:cNvSpPr>
                <a:spLocks noChangeArrowheads="1"/>
              </p:cNvSpPr>
              <p:nvPr/>
            </p:nvSpPr>
            <p:spPr bwMode="auto">
              <a:xfrm>
                <a:off x="5098" y="1145"/>
                <a:ext cx="78" cy="297"/>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Rectangle 82">
                <a:extLst>
                  <a:ext uri="{FF2B5EF4-FFF2-40B4-BE49-F238E27FC236}">
                    <a16:creationId xmlns:a16="http://schemas.microsoft.com/office/drawing/2014/main" id="{BD4DEA63-7D47-4B59-8935-3F78E8F47882}"/>
                  </a:ext>
                </a:extLst>
              </p:cNvPr>
              <p:cNvSpPr>
                <a:spLocks noChangeArrowheads="1"/>
              </p:cNvSpPr>
              <p:nvPr/>
            </p:nvSpPr>
            <p:spPr bwMode="auto">
              <a:xfrm>
                <a:off x="6294" y="1145"/>
                <a:ext cx="81" cy="297"/>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83">
                <a:extLst>
                  <a:ext uri="{FF2B5EF4-FFF2-40B4-BE49-F238E27FC236}">
                    <a16:creationId xmlns:a16="http://schemas.microsoft.com/office/drawing/2014/main" id="{73C28348-5FBE-472A-8D00-9A5807DF0A42}"/>
                  </a:ext>
                </a:extLst>
              </p:cNvPr>
              <p:cNvSpPr>
                <a:spLocks/>
              </p:cNvSpPr>
              <p:nvPr/>
            </p:nvSpPr>
            <p:spPr bwMode="auto">
              <a:xfrm>
                <a:off x="6182" y="361"/>
                <a:ext cx="114" cy="744"/>
              </a:xfrm>
              <a:custGeom>
                <a:avLst/>
                <a:gdLst>
                  <a:gd name="T0" fmla="*/ 114 w 114"/>
                  <a:gd name="T1" fmla="*/ 744 h 744"/>
                  <a:gd name="T2" fmla="*/ 5 w 114"/>
                  <a:gd name="T3" fmla="*/ 744 h 744"/>
                  <a:gd name="T4" fmla="*/ 0 w 114"/>
                  <a:gd name="T5" fmla="*/ 3 h 744"/>
                  <a:gd name="T6" fmla="*/ 110 w 114"/>
                  <a:gd name="T7" fmla="*/ 0 h 744"/>
                  <a:gd name="T8" fmla="*/ 114 w 114"/>
                  <a:gd name="T9" fmla="*/ 744 h 744"/>
                </a:gdLst>
                <a:ahLst/>
                <a:cxnLst>
                  <a:cxn ang="0">
                    <a:pos x="T0" y="T1"/>
                  </a:cxn>
                  <a:cxn ang="0">
                    <a:pos x="T2" y="T3"/>
                  </a:cxn>
                  <a:cxn ang="0">
                    <a:pos x="T4" y="T5"/>
                  </a:cxn>
                  <a:cxn ang="0">
                    <a:pos x="T6" y="T7"/>
                  </a:cxn>
                  <a:cxn ang="0">
                    <a:pos x="T8" y="T9"/>
                  </a:cxn>
                </a:cxnLst>
                <a:rect l="0" t="0" r="r" b="b"/>
                <a:pathLst>
                  <a:path w="114" h="744">
                    <a:moveTo>
                      <a:pt x="114" y="744"/>
                    </a:moveTo>
                    <a:lnTo>
                      <a:pt x="5" y="744"/>
                    </a:lnTo>
                    <a:lnTo>
                      <a:pt x="0" y="3"/>
                    </a:lnTo>
                    <a:lnTo>
                      <a:pt x="110" y="0"/>
                    </a:lnTo>
                    <a:lnTo>
                      <a:pt x="114" y="744"/>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84">
                <a:extLst>
                  <a:ext uri="{FF2B5EF4-FFF2-40B4-BE49-F238E27FC236}">
                    <a16:creationId xmlns:a16="http://schemas.microsoft.com/office/drawing/2014/main" id="{CA437A7E-1D97-47F0-B283-55CA9C4C330B}"/>
                  </a:ext>
                </a:extLst>
              </p:cNvPr>
              <p:cNvSpPr>
                <a:spLocks/>
              </p:cNvSpPr>
              <p:nvPr/>
            </p:nvSpPr>
            <p:spPr bwMode="auto">
              <a:xfrm>
                <a:off x="6292" y="502"/>
                <a:ext cx="173" cy="600"/>
              </a:xfrm>
              <a:custGeom>
                <a:avLst/>
                <a:gdLst>
                  <a:gd name="T0" fmla="*/ 173 w 173"/>
                  <a:gd name="T1" fmla="*/ 600 h 600"/>
                  <a:gd name="T2" fmla="*/ 4 w 173"/>
                  <a:gd name="T3" fmla="*/ 600 h 600"/>
                  <a:gd name="T4" fmla="*/ 0 w 173"/>
                  <a:gd name="T5" fmla="*/ 0 h 600"/>
                  <a:gd name="T6" fmla="*/ 168 w 173"/>
                  <a:gd name="T7" fmla="*/ 0 h 600"/>
                  <a:gd name="T8" fmla="*/ 173 w 173"/>
                  <a:gd name="T9" fmla="*/ 600 h 600"/>
                </a:gdLst>
                <a:ahLst/>
                <a:cxnLst>
                  <a:cxn ang="0">
                    <a:pos x="T0" y="T1"/>
                  </a:cxn>
                  <a:cxn ang="0">
                    <a:pos x="T2" y="T3"/>
                  </a:cxn>
                  <a:cxn ang="0">
                    <a:pos x="T4" y="T5"/>
                  </a:cxn>
                  <a:cxn ang="0">
                    <a:pos x="T6" y="T7"/>
                  </a:cxn>
                  <a:cxn ang="0">
                    <a:pos x="T8" y="T9"/>
                  </a:cxn>
                </a:cxnLst>
                <a:rect l="0" t="0" r="r" b="b"/>
                <a:pathLst>
                  <a:path w="173" h="600">
                    <a:moveTo>
                      <a:pt x="173" y="600"/>
                    </a:moveTo>
                    <a:lnTo>
                      <a:pt x="4" y="600"/>
                    </a:lnTo>
                    <a:lnTo>
                      <a:pt x="0" y="0"/>
                    </a:lnTo>
                    <a:lnTo>
                      <a:pt x="168" y="0"/>
                    </a:lnTo>
                    <a:lnTo>
                      <a:pt x="173" y="60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85">
                <a:extLst>
                  <a:ext uri="{FF2B5EF4-FFF2-40B4-BE49-F238E27FC236}">
                    <a16:creationId xmlns:a16="http://schemas.microsoft.com/office/drawing/2014/main" id="{A57395E4-69B2-463F-A62D-DEB55F47BD22}"/>
                  </a:ext>
                </a:extLst>
              </p:cNvPr>
              <p:cNvSpPr>
                <a:spLocks noChangeArrowheads="1"/>
              </p:cNvSpPr>
              <p:nvPr/>
            </p:nvSpPr>
            <p:spPr bwMode="auto">
              <a:xfrm>
                <a:off x="6292" y="613"/>
                <a:ext cx="168" cy="7"/>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86">
                <a:extLst>
                  <a:ext uri="{FF2B5EF4-FFF2-40B4-BE49-F238E27FC236}">
                    <a16:creationId xmlns:a16="http://schemas.microsoft.com/office/drawing/2014/main" id="{A334D8DF-22E8-420F-ACEE-FE05D7DE1282}"/>
                  </a:ext>
                </a:extLst>
              </p:cNvPr>
              <p:cNvSpPr>
                <a:spLocks noChangeArrowheads="1"/>
              </p:cNvSpPr>
              <p:nvPr/>
            </p:nvSpPr>
            <p:spPr bwMode="auto">
              <a:xfrm>
                <a:off x="6292" y="589"/>
                <a:ext cx="168" cy="5"/>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87">
                <a:extLst>
                  <a:ext uri="{FF2B5EF4-FFF2-40B4-BE49-F238E27FC236}">
                    <a16:creationId xmlns:a16="http://schemas.microsoft.com/office/drawing/2014/main" id="{65C18778-FFA8-4E7E-8258-F5B4995597CD}"/>
                  </a:ext>
                </a:extLst>
              </p:cNvPr>
              <p:cNvSpPr>
                <a:spLocks noChangeArrowheads="1"/>
              </p:cNvSpPr>
              <p:nvPr/>
            </p:nvSpPr>
            <p:spPr bwMode="auto">
              <a:xfrm>
                <a:off x="6292" y="1010"/>
                <a:ext cx="168"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88">
                <a:extLst>
                  <a:ext uri="{FF2B5EF4-FFF2-40B4-BE49-F238E27FC236}">
                    <a16:creationId xmlns:a16="http://schemas.microsoft.com/office/drawing/2014/main" id="{99CE25AE-DF94-4A4A-AAB9-903E28C7F761}"/>
                  </a:ext>
                </a:extLst>
              </p:cNvPr>
              <p:cNvSpPr>
                <a:spLocks noChangeArrowheads="1"/>
              </p:cNvSpPr>
              <p:nvPr/>
            </p:nvSpPr>
            <p:spPr bwMode="auto">
              <a:xfrm>
                <a:off x="6292" y="984"/>
                <a:ext cx="168" cy="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89">
                <a:extLst>
                  <a:ext uri="{FF2B5EF4-FFF2-40B4-BE49-F238E27FC236}">
                    <a16:creationId xmlns:a16="http://schemas.microsoft.com/office/drawing/2014/main" id="{4646DB63-AC95-4170-B8CE-60B40BF660BF}"/>
                  </a:ext>
                </a:extLst>
              </p:cNvPr>
              <p:cNvSpPr>
                <a:spLocks noChangeArrowheads="1"/>
              </p:cNvSpPr>
              <p:nvPr/>
            </p:nvSpPr>
            <p:spPr bwMode="auto">
              <a:xfrm>
                <a:off x="6375" y="661"/>
                <a:ext cx="7" cy="270"/>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Rectangle 90">
                <a:extLst>
                  <a:ext uri="{FF2B5EF4-FFF2-40B4-BE49-F238E27FC236}">
                    <a16:creationId xmlns:a16="http://schemas.microsoft.com/office/drawing/2014/main" id="{8C2BC836-FCA8-4C3E-8ADA-840A793C9F1F}"/>
                  </a:ext>
                </a:extLst>
              </p:cNvPr>
              <p:cNvSpPr>
                <a:spLocks noChangeArrowheads="1"/>
              </p:cNvSpPr>
              <p:nvPr/>
            </p:nvSpPr>
            <p:spPr bwMode="auto">
              <a:xfrm>
                <a:off x="6462" y="649"/>
                <a:ext cx="183" cy="453"/>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91">
                <a:extLst>
                  <a:ext uri="{FF2B5EF4-FFF2-40B4-BE49-F238E27FC236}">
                    <a16:creationId xmlns:a16="http://schemas.microsoft.com/office/drawing/2014/main" id="{B1448C82-73AE-4135-AC19-06F1F2C72FC5}"/>
                  </a:ext>
                </a:extLst>
              </p:cNvPr>
              <p:cNvSpPr>
                <a:spLocks noChangeArrowheads="1"/>
              </p:cNvSpPr>
              <p:nvPr/>
            </p:nvSpPr>
            <p:spPr bwMode="auto">
              <a:xfrm>
                <a:off x="6204" y="459"/>
                <a:ext cx="64" cy="6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Rectangle 92">
                <a:extLst>
                  <a:ext uri="{FF2B5EF4-FFF2-40B4-BE49-F238E27FC236}">
                    <a16:creationId xmlns:a16="http://schemas.microsoft.com/office/drawing/2014/main" id="{7E3C39D6-B238-4CB0-84B1-073A74353C71}"/>
                  </a:ext>
                </a:extLst>
              </p:cNvPr>
              <p:cNvSpPr>
                <a:spLocks noChangeArrowheads="1"/>
              </p:cNvSpPr>
              <p:nvPr/>
            </p:nvSpPr>
            <p:spPr bwMode="auto">
              <a:xfrm>
                <a:off x="6225" y="575"/>
                <a:ext cx="21" cy="442"/>
              </a:xfrm>
              <a:prstGeom prst="rect">
                <a:avLst/>
              </a:prstGeom>
              <a:solidFill>
                <a:srgbClr val="E0E0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93">
                <a:extLst>
                  <a:ext uri="{FF2B5EF4-FFF2-40B4-BE49-F238E27FC236}">
                    <a16:creationId xmlns:a16="http://schemas.microsoft.com/office/drawing/2014/main" id="{F4941FBE-7AE8-4D6B-A403-56202DFDFE72}"/>
                  </a:ext>
                </a:extLst>
              </p:cNvPr>
              <p:cNvSpPr>
                <a:spLocks/>
              </p:cNvSpPr>
              <p:nvPr/>
            </p:nvSpPr>
            <p:spPr bwMode="auto">
              <a:xfrm>
                <a:off x="2480" y="3783"/>
                <a:ext cx="1367" cy="204"/>
              </a:xfrm>
              <a:custGeom>
                <a:avLst/>
                <a:gdLst>
                  <a:gd name="T0" fmla="*/ 703 w 1367"/>
                  <a:gd name="T1" fmla="*/ 0 h 204"/>
                  <a:gd name="T2" fmla="*/ 703 w 1367"/>
                  <a:gd name="T3" fmla="*/ 0 h 204"/>
                  <a:gd name="T4" fmla="*/ 0 w 1367"/>
                  <a:gd name="T5" fmla="*/ 157 h 204"/>
                  <a:gd name="T6" fmla="*/ 781 w 1367"/>
                  <a:gd name="T7" fmla="*/ 204 h 204"/>
                  <a:gd name="T8" fmla="*/ 1367 w 1367"/>
                  <a:gd name="T9" fmla="*/ 31 h 204"/>
                  <a:gd name="T10" fmla="*/ 1308 w 1367"/>
                  <a:gd name="T11" fmla="*/ 31 h 204"/>
                  <a:gd name="T12" fmla="*/ 703 w 1367"/>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1367" h="204">
                    <a:moveTo>
                      <a:pt x="703" y="0"/>
                    </a:moveTo>
                    <a:lnTo>
                      <a:pt x="703" y="0"/>
                    </a:lnTo>
                    <a:lnTo>
                      <a:pt x="0" y="157"/>
                    </a:lnTo>
                    <a:lnTo>
                      <a:pt x="781" y="204"/>
                    </a:lnTo>
                    <a:lnTo>
                      <a:pt x="1367" y="31"/>
                    </a:lnTo>
                    <a:lnTo>
                      <a:pt x="1308" y="31"/>
                    </a:lnTo>
                    <a:lnTo>
                      <a:pt x="703"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94">
                <a:extLst>
                  <a:ext uri="{FF2B5EF4-FFF2-40B4-BE49-F238E27FC236}">
                    <a16:creationId xmlns:a16="http://schemas.microsoft.com/office/drawing/2014/main" id="{145AA9C9-BF86-433E-90E0-537BA4196620}"/>
                  </a:ext>
                </a:extLst>
              </p:cNvPr>
              <p:cNvSpPr>
                <a:spLocks/>
              </p:cNvSpPr>
              <p:nvPr/>
            </p:nvSpPr>
            <p:spPr bwMode="auto">
              <a:xfrm>
                <a:off x="2535" y="3745"/>
                <a:ext cx="1246" cy="207"/>
              </a:xfrm>
              <a:custGeom>
                <a:avLst/>
                <a:gdLst>
                  <a:gd name="T0" fmla="*/ 640 w 1246"/>
                  <a:gd name="T1" fmla="*/ 0 h 207"/>
                  <a:gd name="T2" fmla="*/ 0 w 1246"/>
                  <a:gd name="T3" fmla="*/ 154 h 207"/>
                  <a:gd name="T4" fmla="*/ 0 w 1246"/>
                  <a:gd name="T5" fmla="*/ 185 h 207"/>
                  <a:gd name="T6" fmla="*/ 769 w 1246"/>
                  <a:gd name="T7" fmla="*/ 207 h 207"/>
                  <a:gd name="T8" fmla="*/ 1243 w 1246"/>
                  <a:gd name="T9" fmla="*/ 81 h 207"/>
                  <a:gd name="T10" fmla="*/ 1246 w 1246"/>
                  <a:gd name="T11" fmla="*/ 31 h 207"/>
                  <a:gd name="T12" fmla="*/ 640 w 1246"/>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1246" h="207">
                    <a:moveTo>
                      <a:pt x="640" y="0"/>
                    </a:moveTo>
                    <a:lnTo>
                      <a:pt x="0" y="154"/>
                    </a:lnTo>
                    <a:lnTo>
                      <a:pt x="0" y="185"/>
                    </a:lnTo>
                    <a:lnTo>
                      <a:pt x="769" y="207"/>
                    </a:lnTo>
                    <a:lnTo>
                      <a:pt x="1243" y="81"/>
                    </a:lnTo>
                    <a:lnTo>
                      <a:pt x="1246" y="31"/>
                    </a:lnTo>
                    <a:lnTo>
                      <a:pt x="640"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5">
                <a:extLst>
                  <a:ext uri="{FF2B5EF4-FFF2-40B4-BE49-F238E27FC236}">
                    <a16:creationId xmlns:a16="http://schemas.microsoft.com/office/drawing/2014/main" id="{54B6E962-F6CB-496B-B66A-9EF457DE064E}"/>
                  </a:ext>
                </a:extLst>
              </p:cNvPr>
              <p:cNvSpPr>
                <a:spLocks/>
              </p:cNvSpPr>
              <p:nvPr/>
            </p:nvSpPr>
            <p:spPr bwMode="auto">
              <a:xfrm>
                <a:off x="2535" y="3899"/>
                <a:ext cx="769" cy="53"/>
              </a:xfrm>
              <a:custGeom>
                <a:avLst/>
                <a:gdLst>
                  <a:gd name="T0" fmla="*/ 0 w 769"/>
                  <a:gd name="T1" fmla="*/ 31 h 53"/>
                  <a:gd name="T2" fmla="*/ 0 w 769"/>
                  <a:gd name="T3" fmla="*/ 0 h 53"/>
                  <a:gd name="T4" fmla="*/ 759 w 769"/>
                  <a:gd name="T5" fmla="*/ 15 h 53"/>
                  <a:gd name="T6" fmla="*/ 769 w 769"/>
                  <a:gd name="T7" fmla="*/ 53 h 53"/>
                  <a:gd name="T8" fmla="*/ 0 w 769"/>
                  <a:gd name="T9" fmla="*/ 31 h 53"/>
                </a:gdLst>
                <a:ahLst/>
                <a:cxnLst>
                  <a:cxn ang="0">
                    <a:pos x="T0" y="T1"/>
                  </a:cxn>
                  <a:cxn ang="0">
                    <a:pos x="T2" y="T3"/>
                  </a:cxn>
                  <a:cxn ang="0">
                    <a:pos x="T4" y="T5"/>
                  </a:cxn>
                  <a:cxn ang="0">
                    <a:pos x="T6" y="T7"/>
                  </a:cxn>
                  <a:cxn ang="0">
                    <a:pos x="T8" y="T9"/>
                  </a:cxn>
                </a:cxnLst>
                <a:rect l="0" t="0" r="r" b="b"/>
                <a:pathLst>
                  <a:path w="769" h="53">
                    <a:moveTo>
                      <a:pt x="0" y="31"/>
                    </a:moveTo>
                    <a:lnTo>
                      <a:pt x="0" y="0"/>
                    </a:lnTo>
                    <a:lnTo>
                      <a:pt x="759" y="15"/>
                    </a:lnTo>
                    <a:lnTo>
                      <a:pt x="769" y="53"/>
                    </a:lnTo>
                    <a:lnTo>
                      <a:pt x="0" y="31"/>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6">
                <a:extLst>
                  <a:ext uri="{FF2B5EF4-FFF2-40B4-BE49-F238E27FC236}">
                    <a16:creationId xmlns:a16="http://schemas.microsoft.com/office/drawing/2014/main" id="{94B3137A-2842-4FEA-8168-2568458043A5}"/>
                  </a:ext>
                </a:extLst>
              </p:cNvPr>
              <p:cNvSpPr>
                <a:spLocks/>
              </p:cNvSpPr>
              <p:nvPr/>
            </p:nvSpPr>
            <p:spPr bwMode="auto">
              <a:xfrm>
                <a:off x="3294" y="3776"/>
                <a:ext cx="487" cy="176"/>
              </a:xfrm>
              <a:custGeom>
                <a:avLst/>
                <a:gdLst>
                  <a:gd name="T0" fmla="*/ 0 w 487"/>
                  <a:gd name="T1" fmla="*/ 138 h 176"/>
                  <a:gd name="T2" fmla="*/ 487 w 487"/>
                  <a:gd name="T3" fmla="*/ 0 h 176"/>
                  <a:gd name="T4" fmla="*/ 484 w 487"/>
                  <a:gd name="T5" fmla="*/ 50 h 176"/>
                  <a:gd name="T6" fmla="*/ 10 w 487"/>
                  <a:gd name="T7" fmla="*/ 176 h 176"/>
                  <a:gd name="T8" fmla="*/ 0 w 487"/>
                  <a:gd name="T9" fmla="*/ 138 h 176"/>
                </a:gdLst>
                <a:ahLst/>
                <a:cxnLst>
                  <a:cxn ang="0">
                    <a:pos x="T0" y="T1"/>
                  </a:cxn>
                  <a:cxn ang="0">
                    <a:pos x="T2" y="T3"/>
                  </a:cxn>
                  <a:cxn ang="0">
                    <a:pos x="T4" y="T5"/>
                  </a:cxn>
                  <a:cxn ang="0">
                    <a:pos x="T6" y="T7"/>
                  </a:cxn>
                  <a:cxn ang="0">
                    <a:pos x="T8" y="T9"/>
                  </a:cxn>
                </a:cxnLst>
                <a:rect l="0" t="0" r="r" b="b"/>
                <a:pathLst>
                  <a:path w="487" h="176">
                    <a:moveTo>
                      <a:pt x="0" y="138"/>
                    </a:moveTo>
                    <a:lnTo>
                      <a:pt x="487" y="0"/>
                    </a:lnTo>
                    <a:lnTo>
                      <a:pt x="484" y="50"/>
                    </a:lnTo>
                    <a:lnTo>
                      <a:pt x="10" y="176"/>
                    </a:lnTo>
                    <a:lnTo>
                      <a:pt x="0" y="138"/>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7">
                <a:extLst>
                  <a:ext uri="{FF2B5EF4-FFF2-40B4-BE49-F238E27FC236}">
                    <a16:creationId xmlns:a16="http://schemas.microsoft.com/office/drawing/2014/main" id="{27246C35-6411-4D3D-888E-B067D8A2FEF4}"/>
                  </a:ext>
                </a:extLst>
              </p:cNvPr>
              <p:cNvSpPr>
                <a:spLocks/>
              </p:cNvSpPr>
              <p:nvPr/>
            </p:nvSpPr>
            <p:spPr bwMode="auto">
              <a:xfrm>
                <a:off x="2532" y="3745"/>
                <a:ext cx="1251" cy="209"/>
              </a:xfrm>
              <a:custGeom>
                <a:avLst/>
                <a:gdLst>
                  <a:gd name="T0" fmla="*/ 271 w 527"/>
                  <a:gd name="T1" fmla="*/ 0 h 88"/>
                  <a:gd name="T2" fmla="*/ 275 w 527"/>
                  <a:gd name="T3" fmla="*/ 0 h 88"/>
                  <a:gd name="T4" fmla="*/ 289 w 527"/>
                  <a:gd name="T5" fmla="*/ 0 h 88"/>
                  <a:gd name="T6" fmla="*/ 340 w 527"/>
                  <a:gd name="T7" fmla="*/ 3 h 88"/>
                  <a:gd name="T8" fmla="*/ 526 w 527"/>
                  <a:gd name="T9" fmla="*/ 12 h 88"/>
                  <a:gd name="T10" fmla="*/ 527 w 527"/>
                  <a:gd name="T11" fmla="*/ 12 h 88"/>
                  <a:gd name="T12" fmla="*/ 527 w 527"/>
                  <a:gd name="T13" fmla="*/ 13 h 88"/>
                  <a:gd name="T14" fmla="*/ 526 w 527"/>
                  <a:gd name="T15" fmla="*/ 34 h 88"/>
                  <a:gd name="T16" fmla="*/ 526 w 527"/>
                  <a:gd name="T17" fmla="*/ 35 h 88"/>
                  <a:gd name="T18" fmla="*/ 525 w 527"/>
                  <a:gd name="T19" fmla="*/ 35 h 88"/>
                  <a:gd name="T20" fmla="*/ 325 w 527"/>
                  <a:gd name="T21" fmla="*/ 88 h 88"/>
                  <a:gd name="T22" fmla="*/ 325 w 527"/>
                  <a:gd name="T23" fmla="*/ 88 h 88"/>
                  <a:gd name="T24" fmla="*/ 325 w 527"/>
                  <a:gd name="T25" fmla="*/ 88 h 88"/>
                  <a:gd name="T26" fmla="*/ 259 w 527"/>
                  <a:gd name="T27" fmla="*/ 87 h 88"/>
                  <a:gd name="T28" fmla="*/ 1 w 527"/>
                  <a:gd name="T29" fmla="*/ 79 h 88"/>
                  <a:gd name="T30" fmla="*/ 0 w 527"/>
                  <a:gd name="T31" fmla="*/ 79 h 88"/>
                  <a:gd name="T32" fmla="*/ 0 w 527"/>
                  <a:gd name="T33" fmla="*/ 78 h 88"/>
                  <a:gd name="T34" fmla="*/ 0 w 527"/>
                  <a:gd name="T35" fmla="*/ 65 h 88"/>
                  <a:gd name="T36" fmla="*/ 0 w 527"/>
                  <a:gd name="T37" fmla="*/ 64 h 88"/>
                  <a:gd name="T38" fmla="*/ 0 w 527"/>
                  <a:gd name="T39" fmla="*/ 64 h 88"/>
                  <a:gd name="T40" fmla="*/ 196 w 527"/>
                  <a:gd name="T41" fmla="*/ 17 h 88"/>
                  <a:gd name="T42" fmla="*/ 251 w 527"/>
                  <a:gd name="T43" fmla="*/ 4 h 88"/>
                  <a:gd name="T44" fmla="*/ 266 w 527"/>
                  <a:gd name="T45" fmla="*/ 1 h 88"/>
                  <a:gd name="T46" fmla="*/ 269 w 527"/>
                  <a:gd name="T47" fmla="*/ 0 h 88"/>
                  <a:gd name="T48" fmla="*/ 271 w 527"/>
                  <a:gd name="T49" fmla="*/ 0 h 88"/>
                  <a:gd name="T50" fmla="*/ 269 w 527"/>
                  <a:gd name="T51" fmla="*/ 0 h 88"/>
                  <a:gd name="T52" fmla="*/ 266 w 527"/>
                  <a:gd name="T53" fmla="*/ 1 h 88"/>
                  <a:gd name="T54" fmla="*/ 251 w 527"/>
                  <a:gd name="T55" fmla="*/ 5 h 88"/>
                  <a:gd name="T56" fmla="*/ 196 w 527"/>
                  <a:gd name="T57" fmla="*/ 18 h 88"/>
                  <a:gd name="T58" fmla="*/ 1 w 527"/>
                  <a:gd name="T59" fmla="*/ 66 h 88"/>
                  <a:gd name="T60" fmla="*/ 1 w 527"/>
                  <a:gd name="T61" fmla="*/ 65 h 88"/>
                  <a:gd name="T62" fmla="*/ 1 w 527"/>
                  <a:gd name="T63" fmla="*/ 78 h 88"/>
                  <a:gd name="T64" fmla="*/ 1 w 527"/>
                  <a:gd name="T65" fmla="*/ 77 h 88"/>
                  <a:gd name="T66" fmla="*/ 259 w 527"/>
                  <a:gd name="T67" fmla="*/ 84 h 88"/>
                  <a:gd name="T68" fmla="*/ 325 w 527"/>
                  <a:gd name="T69" fmla="*/ 86 h 88"/>
                  <a:gd name="T70" fmla="*/ 324 w 527"/>
                  <a:gd name="T71" fmla="*/ 86 h 88"/>
                  <a:gd name="T72" fmla="*/ 525 w 527"/>
                  <a:gd name="T73" fmla="*/ 33 h 88"/>
                  <a:gd name="T74" fmla="*/ 524 w 527"/>
                  <a:gd name="T75" fmla="*/ 34 h 88"/>
                  <a:gd name="T76" fmla="*/ 525 w 527"/>
                  <a:gd name="T77" fmla="*/ 13 h 88"/>
                  <a:gd name="T78" fmla="*/ 526 w 527"/>
                  <a:gd name="T79" fmla="*/ 14 h 88"/>
                  <a:gd name="T80" fmla="*/ 341 w 527"/>
                  <a:gd name="T81" fmla="*/ 4 h 88"/>
                  <a:gd name="T82" fmla="*/ 289 w 527"/>
                  <a:gd name="T83" fmla="*/ 1 h 88"/>
                  <a:gd name="T84" fmla="*/ 275 w 527"/>
                  <a:gd name="T85" fmla="*/ 0 h 88"/>
                  <a:gd name="T86" fmla="*/ 271 w 527"/>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7" h="88">
                    <a:moveTo>
                      <a:pt x="271" y="0"/>
                    </a:moveTo>
                    <a:cubicBezTo>
                      <a:pt x="271" y="0"/>
                      <a:pt x="272" y="0"/>
                      <a:pt x="275" y="0"/>
                    </a:cubicBezTo>
                    <a:cubicBezTo>
                      <a:pt x="278" y="0"/>
                      <a:pt x="283" y="0"/>
                      <a:pt x="289" y="0"/>
                    </a:cubicBezTo>
                    <a:cubicBezTo>
                      <a:pt x="301" y="1"/>
                      <a:pt x="318" y="2"/>
                      <a:pt x="340" y="3"/>
                    </a:cubicBezTo>
                    <a:cubicBezTo>
                      <a:pt x="385" y="5"/>
                      <a:pt x="449" y="8"/>
                      <a:pt x="526" y="12"/>
                    </a:cubicBezTo>
                    <a:cubicBezTo>
                      <a:pt x="527" y="12"/>
                      <a:pt x="527" y="12"/>
                      <a:pt x="527" y="12"/>
                    </a:cubicBezTo>
                    <a:cubicBezTo>
                      <a:pt x="527" y="13"/>
                      <a:pt x="527" y="13"/>
                      <a:pt x="527" y="13"/>
                    </a:cubicBezTo>
                    <a:cubicBezTo>
                      <a:pt x="526" y="20"/>
                      <a:pt x="526" y="27"/>
                      <a:pt x="526" y="34"/>
                    </a:cubicBezTo>
                    <a:cubicBezTo>
                      <a:pt x="526" y="35"/>
                      <a:pt x="526" y="35"/>
                      <a:pt x="526" y="35"/>
                    </a:cubicBezTo>
                    <a:cubicBezTo>
                      <a:pt x="525" y="35"/>
                      <a:pt x="525" y="35"/>
                      <a:pt x="525" y="35"/>
                    </a:cubicBezTo>
                    <a:cubicBezTo>
                      <a:pt x="466" y="51"/>
                      <a:pt x="397" y="69"/>
                      <a:pt x="325" y="88"/>
                    </a:cubicBezTo>
                    <a:cubicBezTo>
                      <a:pt x="325" y="88"/>
                      <a:pt x="325" y="88"/>
                      <a:pt x="325" y="88"/>
                    </a:cubicBezTo>
                    <a:cubicBezTo>
                      <a:pt x="325" y="88"/>
                      <a:pt x="325" y="88"/>
                      <a:pt x="325" y="88"/>
                    </a:cubicBezTo>
                    <a:cubicBezTo>
                      <a:pt x="304" y="88"/>
                      <a:pt x="281" y="87"/>
                      <a:pt x="259" y="87"/>
                    </a:cubicBezTo>
                    <a:cubicBezTo>
                      <a:pt x="165" y="84"/>
                      <a:pt x="77" y="81"/>
                      <a:pt x="1" y="79"/>
                    </a:cubicBezTo>
                    <a:cubicBezTo>
                      <a:pt x="0" y="79"/>
                      <a:pt x="0" y="79"/>
                      <a:pt x="0" y="79"/>
                    </a:cubicBezTo>
                    <a:cubicBezTo>
                      <a:pt x="0" y="78"/>
                      <a:pt x="0" y="78"/>
                      <a:pt x="0" y="78"/>
                    </a:cubicBezTo>
                    <a:cubicBezTo>
                      <a:pt x="0" y="73"/>
                      <a:pt x="0" y="69"/>
                      <a:pt x="0" y="65"/>
                    </a:cubicBezTo>
                    <a:cubicBezTo>
                      <a:pt x="0" y="64"/>
                      <a:pt x="0" y="64"/>
                      <a:pt x="0" y="64"/>
                    </a:cubicBezTo>
                    <a:cubicBezTo>
                      <a:pt x="0" y="64"/>
                      <a:pt x="0" y="64"/>
                      <a:pt x="0" y="64"/>
                    </a:cubicBezTo>
                    <a:cubicBezTo>
                      <a:pt x="81" y="45"/>
                      <a:pt x="149" y="28"/>
                      <a:pt x="196" y="17"/>
                    </a:cubicBezTo>
                    <a:cubicBezTo>
                      <a:pt x="220" y="12"/>
                      <a:pt x="239" y="7"/>
                      <a:pt x="251" y="4"/>
                    </a:cubicBezTo>
                    <a:cubicBezTo>
                      <a:pt x="258" y="3"/>
                      <a:pt x="262" y="2"/>
                      <a:pt x="266" y="1"/>
                    </a:cubicBezTo>
                    <a:cubicBezTo>
                      <a:pt x="267" y="0"/>
                      <a:pt x="269" y="0"/>
                      <a:pt x="269" y="0"/>
                    </a:cubicBezTo>
                    <a:cubicBezTo>
                      <a:pt x="270" y="0"/>
                      <a:pt x="271" y="0"/>
                      <a:pt x="271" y="0"/>
                    </a:cubicBezTo>
                    <a:cubicBezTo>
                      <a:pt x="271" y="0"/>
                      <a:pt x="270" y="0"/>
                      <a:pt x="269" y="0"/>
                    </a:cubicBezTo>
                    <a:cubicBezTo>
                      <a:pt x="269" y="0"/>
                      <a:pt x="267" y="1"/>
                      <a:pt x="266" y="1"/>
                    </a:cubicBezTo>
                    <a:cubicBezTo>
                      <a:pt x="262" y="2"/>
                      <a:pt x="258" y="3"/>
                      <a:pt x="251" y="5"/>
                    </a:cubicBezTo>
                    <a:cubicBezTo>
                      <a:pt x="239" y="8"/>
                      <a:pt x="220" y="12"/>
                      <a:pt x="196" y="18"/>
                    </a:cubicBezTo>
                    <a:cubicBezTo>
                      <a:pt x="149" y="30"/>
                      <a:pt x="82" y="46"/>
                      <a:pt x="1" y="66"/>
                    </a:cubicBezTo>
                    <a:cubicBezTo>
                      <a:pt x="1" y="65"/>
                      <a:pt x="1" y="65"/>
                      <a:pt x="1" y="65"/>
                    </a:cubicBezTo>
                    <a:cubicBezTo>
                      <a:pt x="1" y="69"/>
                      <a:pt x="1" y="73"/>
                      <a:pt x="1" y="78"/>
                    </a:cubicBezTo>
                    <a:cubicBezTo>
                      <a:pt x="1" y="77"/>
                      <a:pt x="1" y="77"/>
                      <a:pt x="1" y="77"/>
                    </a:cubicBezTo>
                    <a:cubicBezTo>
                      <a:pt x="77" y="79"/>
                      <a:pt x="165" y="82"/>
                      <a:pt x="259" y="84"/>
                    </a:cubicBezTo>
                    <a:cubicBezTo>
                      <a:pt x="281" y="85"/>
                      <a:pt x="304" y="86"/>
                      <a:pt x="325" y="86"/>
                    </a:cubicBezTo>
                    <a:cubicBezTo>
                      <a:pt x="324" y="86"/>
                      <a:pt x="324" y="86"/>
                      <a:pt x="324" y="86"/>
                    </a:cubicBezTo>
                    <a:cubicBezTo>
                      <a:pt x="397" y="67"/>
                      <a:pt x="465" y="49"/>
                      <a:pt x="525" y="33"/>
                    </a:cubicBezTo>
                    <a:cubicBezTo>
                      <a:pt x="524" y="34"/>
                      <a:pt x="524" y="34"/>
                      <a:pt x="524" y="34"/>
                    </a:cubicBezTo>
                    <a:cubicBezTo>
                      <a:pt x="524" y="27"/>
                      <a:pt x="525" y="20"/>
                      <a:pt x="525" y="13"/>
                    </a:cubicBezTo>
                    <a:cubicBezTo>
                      <a:pt x="526" y="14"/>
                      <a:pt x="526" y="14"/>
                      <a:pt x="526" y="14"/>
                    </a:cubicBezTo>
                    <a:cubicBezTo>
                      <a:pt x="449" y="10"/>
                      <a:pt x="385" y="6"/>
                      <a:pt x="341" y="4"/>
                    </a:cubicBezTo>
                    <a:cubicBezTo>
                      <a:pt x="318" y="3"/>
                      <a:pt x="301" y="2"/>
                      <a:pt x="289" y="1"/>
                    </a:cubicBezTo>
                    <a:cubicBezTo>
                      <a:pt x="283" y="1"/>
                      <a:pt x="279" y="0"/>
                      <a:pt x="275" y="0"/>
                    </a:cubicBezTo>
                    <a:cubicBezTo>
                      <a:pt x="272" y="0"/>
                      <a:pt x="271" y="0"/>
                      <a:pt x="27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98">
                <a:extLst>
                  <a:ext uri="{FF2B5EF4-FFF2-40B4-BE49-F238E27FC236}">
                    <a16:creationId xmlns:a16="http://schemas.microsoft.com/office/drawing/2014/main" id="{B49DC6B1-26ED-4DF2-8849-E675AF91D808}"/>
                  </a:ext>
                </a:extLst>
              </p:cNvPr>
              <p:cNvSpPr>
                <a:spLocks/>
              </p:cNvSpPr>
              <p:nvPr/>
            </p:nvSpPr>
            <p:spPr bwMode="auto">
              <a:xfrm>
                <a:off x="2748" y="3873"/>
                <a:ext cx="527" cy="12"/>
              </a:xfrm>
              <a:custGeom>
                <a:avLst/>
                <a:gdLst>
                  <a:gd name="T0" fmla="*/ 222 w 222"/>
                  <a:gd name="T1" fmla="*/ 5 h 5"/>
                  <a:gd name="T2" fmla="*/ 220 w 222"/>
                  <a:gd name="T3" fmla="*/ 5 h 5"/>
                  <a:gd name="T4" fmla="*/ 213 w 222"/>
                  <a:gd name="T5" fmla="*/ 5 h 5"/>
                  <a:gd name="T6" fmla="*/ 190 w 222"/>
                  <a:gd name="T7" fmla="*/ 5 h 5"/>
                  <a:gd name="T8" fmla="*/ 111 w 222"/>
                  <a:gd name="T9" fmla="*/ 4 h 5"/>
                  <a:gd name="T10" fmla="*/ 33 w 222"/>
                  <a:gd name="T11" fmla="*/ 2 h 5"/>
                  <a:gd name="T12" fmla="*/ 9 w 222"/>
                  <a:gd name="T13" fmla="*/ 1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2 h 5"/>
                  <a:gd name="T26" fmla="*/ 190 w 222"/>
                  <a:gd name="T27" fmla="*/ 4 h 5"/>
                  <a:gd name="T28" fmla="*/ 213 w 222"/>
                  <a:gd name="T29" fmla="*/ 5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90" y="5"/>
                    </a:cubicBezTo>
                    <a:cubicBezTo>
                      <a:pt x="169" y="5"/>
                      <a:pt x="142" y="4"/>
                      <a:pt x="111" y="4"/>
                    </a:cubicBezTo>
                    <a:cubicBezTo>
                      <a:pt x="81" y="3"/>
                      <a:pt x="53" y="3"/>
                      <a:pt x="33" y="2"/>
                    </a:cubicBezTo>
                    <a:cubicBezTo>
                      <a:pt x="23" y="2"/>
                      <a:pt x="15" y="1"/>
                      <a:pt x="9" y="1"/>
                    </a:cubicBezTo>
                    <a:cubicBezTo>
                      <a:pt x="7" y="1"/>
                      <a:pt x="4" y="1"/>
                      <a:pt x="3" y="0"/>
                    </a:cubicBezTo>
                    <a:cubicBezTo>
                      <a:pt x="1" y="0"/>
                      <a:pt x="0" y="0"/>
                      <a:pt x="0" y="0"/>
                    </a:cubicBezTo>
                    <a:cubicBezTo>
                      <a:pt x="0" y="0"/>
                      <a:pt x="1" y="0"/>
                      <a:pt x="3" y="0"/>
                    </a:cubicBezTo>
                    <a:cubicBezTo>
                      <a:pt x="4" y="0"/>
                      <a:pt x="7" y="0"/>
                      <a:pt x="9" y="0"/>
                    </a:cubicBezTo>
                    <a:cubicBezTo>
                      <a:pt x="15" y="0"/>
                      <a:pt x="23" y="0"/>
                      <a:pt x="33" y="0"/>
                    </a:cubicBezTo>
                    <a:cubicBezTo>
                      <a:pt x="53" y="1"/>
                      <a:pt x="81" y="1"/>
                      <a:pt x="111" y="2"/>
                    </a:cubicBezTo>
                    <a:cubicBezTo>
                      <a:pt x="142" y="2"/>
                      <a:pt x="170" y="3"/>
                      <a:pt x="190" y="4"/>
                    </a:cubicBezTo>
                    <a:cubicBezTo>
                      <a:pt x="200" y="4"/>
                      <a:pt x="208" y="4"/>
                      <a:pt x="213" y="5"/>
                    </a:cubicBezTo>
                    <a:cubicBezTo>
                      <a:pt x="216" y="5"/>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99">
                <a:extLst>
                  <a:ext uri="{FF2B5EF4-FFF2-40B4-BE49-F238E27FC236}">
                    <a16:creationId xmlns:a16="http://schemas.microsoft.com/office/drawing/2014/main" id="{A0FDA02D-D12A-4EE2-B4BD-729753EED622}"/>
                  </a:ext>
                </a:extLst>
              </p:cNvPr>
              <p:cNvSpPr>
                <a:spLocks/>
              </p:cNvSpPr>
              <p:nvPr/>
            </p:nvSpPr>
            <p:spPr bwMode="auto">
              <a:xfrm>
                <a:off x="2853" y="3854"/>
                <a:ext cx="527" cy="12"/>
              </a:xfrm>
              <a:custGeom>
                <a:avLst/>
                <a:gdLst>
                  <a:gd name="T0" fmla="*/ 222 w 222"/>
                  <a:gd name="T1" fmla="*/ 5 h 5"/>
                  <a:gd name="T2" fmla="*/ 220 w 222"/>
                  <a:gd name="T3" fmla="*/ 5 h 5"/>
                  <a:gd name="T4" fmla="*/ 213 w 222"/>
                  <a:gd name="T5" fmla="*/ 5 h 5"/>
                  <a:gd name="T6" fmla="*/ 190 w 222"/>
                  <a:gd name="T7" fmla="*/ 5 h 5"/>
                  <a:gd name="T8" fmla="*/ 111 w 222"/>
                  <a:gd name="T9" fmla="*/ 3 h 5"/>
                  <a:gd name="T10" fmla="*/ 33 w 222"/>
                  <a:gd name="T11" fmla="*/ 2 h 5"/>
                  <a:gd name="T12" fmla="*/ 9 w 222"/>
                  <a:gd name="T13" fmla="*/ 0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1 h 5"/>
                  <a:gd name="T26" fmla="*/ 190 w 222"/>
                  <a:gd name="T27" fmla="*/ 3 h 5"/>
                  <a:gd name="T28" fmla="*/ 213 w 222"/>
                  <a:gd name="T29" fmla="*/ 4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90" y="5"/>
                    </a:cubicBezTo>
                    <a:cubicBezTo>
                      <a:pt x="169" y="4"/>
                      <a:pt x="142" y="4"/>
                      <a:pt x="111" y="3"/>
                    </a:cubicBezTo>
                    <a:cubicBezTo>
                      <a:pt x="81" y="3"/>
                      <a:pt x="53" y="2"/>
                      <a:pt x="33" y="2"/>
                    </a:cubicBezTo>
                    <a:cubicBezTo>
                      <a:pt x="23" y="1"/>
                      <a:pt x="15" y="1"/>
                      <a:pt x="9" y="0"/>
                    </a:cubicBezTo>
                    <a:cubicBezTo>
                      <a:pt x="7" y="0"/>
                      <a:pt x="4" y="0"/>
                      <a:pt x="3" y="0"/>
                    </a:cubicBezTo>
                    <a:cubicBezTo>
                      <a:pt x="1" y="0"/>
                      <a:pt x="0" y="0"/>
                      <a:pt x="0" y="0"/>
                    </a:cubicBezTo>
                    <a:cubicBezTo>
                      <a:pt x="0" y="0"/>
                      <a:pt x="1" y="0"/>
                      <a:pt x="3" y="0"/>
                    </a:cubicBezTo>
                    <a:cubicBezTo>
                      <a:pt x="4" y="0"/>
                      <a:pt x="7" y="0"/>
                      <a:pt x="9" y="0"/>
                    </a:cubicBezTo>
                    <a:cubicBezTo>
                      <a:pt x="15" y="0"/>
                      <a:pt x="23" y="0"/>
                      <a:pt x="33" y="0"/>
                    </a:cubicBezTo>
                    <a:cubicBezTo>
                      <a:pt x="53" y="0"/>
                      <a:pt x="81" y="1"/>
                      <a:pt x="111" y="1"/>
                    </a:cubicBezTo>
                    <a:cubicBezTo>
                      <a:pt x="142" y="2"/>
                      <a:pt x="170" y="3"/>
                      <a:pt x="190" y="3"/>
                    </a:cubicBezTo>
                    <a:cubicBezTo>
                      <a:pt x="200" y="4"/>
                      <a:pt x="208" y="4"/>
                      <a:pt x="213" y="4"/>
                    </a:cubicBezTo>
                    <a:cubicBezTo>
                      <a:pt x="216" y="4"/>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00">
                <a:extLst>
                  <a:ext uri="{FF2B5EF4-FFF2-40B4-BE49-F238E27FC236}">
                    <a16:creationId xmlns:a16="http://schemas.microsoft.com/office/drawing/2014/main" id="{6FD58B6C-1B5E-4911-A067-2EF7716930F1}"/>
                  </a:ext>
                </a:extLst>
              </p:cNvPr>
              <p:cNvSpPr>
                <a:spLocks/>
              </p:cNvSpPr>
              <p:nvPr/>
            </p:nvSpPr>
            <p:spPr bwMode="auto">
              <a:xfrm>
                <a:off x="2929" y="3830"/>
                <a:ext cx="527" cy="15"/>
              </a:xfrm>
              <a:custGeom>
                <a:avLst/>
                <a:gdLst>
                  <a:gd name="T0" fmla="*/ 222 w 222"/>
                  <a:gd name="T1" fmla="*/ 6 h 6"/>
                  <a:gd name="T2" fmla="*/ 220 w 222"/>
                  <a:gd name="T3" fmla="*/ 6 h 6"/>
                  <a:gd name="T4" fmla="*/ 213 w 222"/>
                  <a:gd name="T5" fmla="*/ 6 h 6"/>
                  <a:gd name="T6" fmla="*/ 190 w 222"/>
                  <a:gd name="T7" fmla="*/ 5 h 6"/>
                  <a:gd name="T8" fmla="*/ 111 w 222"/>
                  <a:gd name="T9" fmla="*/ 4 h 6"/>
                  <a:gd name="T10" fmla="*/ 33 w 222"/>
                  <a:gd name="T11" fmla="*/ 2 h 6"/>
                  <a:gd name="T12" fmla="*/ 9 w 222"/>
                  <a:gd name="T13" fmla="*/ 1 h 6"/>
                  <a:gd name="T14" fmla="*/ 3 w 222"/>
                  <a:gd name="T15" fmla="*/ 1 h 6"/>
                  <a:gd name="T16" fmla="*/ 0 w 222"/>
                  <a:gd name="T17" fmla="*/ 0 h 6"/>
                  <a:gd name="T18" fmla="*/ 3 w 222"/>
                  <a:gd name="T19" fmla="*/ 0 h 6"/>
                  <a:gd name="T20" fmla="*/ 9 w 222"/>
                  <a:gd name="T21" fmla="*/ 0 h 6"/>
                  <a:gd name="T22" fmla="*/ 33 w 222"/>
                  <a:gd name="T23" fmla="*/ 1 h 6"/>
                  <a:gd name="T24" fmla="*/ 111 w 222"/>
                  <a:gd name="T25" fmla="*/ 2 h 6"/>
                  <a:gd name="T26" fmla="*/ 190 w 222"/>
                  <a:gd name="T27" fmla="*/ 4 h 6"/>
                  <a:gd name="T28" fmla="*/ 213 w 222"/>
                  <a:gd name="T29" fmla="*/ 5 h 6"/>
                  <a:gd name="T30" fmla="*/ 220 w 222"/>
                  <a:gd name="T31" fmla="*/ 5 h 6"/>
                  <a:gd name="T32" fmla="*/ 222 w 222"/>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6">
                    <a:moveTo>
                      <a:pt x="222" y="6"/>
                    </a:moveTo>
                    <a:cubicBezTo>
                      <a:pt x="222" y="6"/>
                      <a:pt x="221" y="6"/>
                      <a:pt x="220" y="6"/>
                    </a:cubicBezTo>
                    <a:cubicBezTo>
                      <a:pt x="218" y="6"/>
                      <a:pt x="216" y="6"/>
                      <a:pt x="213" y="6"/>
                    </a:cubicBezTo>
                    <a:cubicBezTo>
                      <a:pt x="207" y="6"/>
                      <a:pt x="199" y="5"/>
                      <a:pt x="190" y="5"/>
                    </a:cubicBezTo>
                    <a:cubicBezTo>
                      <a:pt x="169" y="5"/>
                      <a:pt x="142" y="5"/>
                      <a:pt x="111" y="4"/>
                    </a:cubicBezTo>
                    <a:cubicBezTo>
                      <a:pt x="81" y="4"/>
                      <a:pt x="53" y="3"/>
                      <a:pt x="33" y="2"/>
                    </a:cubicBezTo>
                    <a:cubicBezTo>
                      <a:pt x="23" y="2"/>
                      <a:pt x="15" y="1"/>
                      <a:pt x="9" y="1"/>
                    </a:cubicBezTo>
                    <a:cubicBezTo>
                      <a:pt x="7" y="1"/>
                      <a:pt x="4" y="1"/>
                      <a:pt x="3" y="1"/>
                    </a:cubicBezTo>
                    <a:cubicBezTo>
                      <a:pt x="1" y="1"/>
                      <a:pt x="0" y="0"/>
                      <a:pt x="0" y="0"/>
                    </a:cubicBezTo>
                    <a:cubicBezTo>
                      <a:pt x="0" y="0"/>
                      <a:pt x="1" y="0"/>
                      <a:pt x="3" y="0"/>
                    </a:cubicBezTo>
                    <a:cubicBezTo>
                      <a:pt x="4" y="0"/>
                      <a:pt x="7" y="0"/>
                      <a:pt x="9" y="0"/>
                    </a:cubicBezTo>
                    <a:cubicBezTo>
                      <a:pt x="15" y="0"/>
                      <a:pt x="23" y="1"/>
                      <a:pt x="33" y="1"/>
                    </a:cubicBezTo>
                    <a:cubicBezTo>
                      <a:pt x="53" y="1"/>
                      <a:pt x="81" y="1"/>
                      <a:pt x="111" y="2"/>
                    </a:cubicBezTo>
                    <a:cubicBezTo>
                      <a:pt x="142" y="2"/>
                      <a:pt x="170" y="3"/>
                      <a:pt x="190" y="4"/>
                    </a:cubicBezTo>
                    <a:cubicBezTo>
                      <a:pt x="200" y="4"/>
                      <a:pt x="208" y="5"/>
                      <a:pt x="213" y="5"/>
                    </a:cubicBezTo>
                    <a:cubicBezTo>
                      <a:pt x="216" y="5"/>
                      <a:pt x="218" y="5"/>
                      <a:pt x="220" y="5"/>
                    </a:cubicBezTo>
                    <a:cubicBezTo>
                      <a:pt x="221" y="5"/>
                      <a:pt x="222" y="5"/>
                      <a:pt x="222"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01">
                <a:extLst>
                  <a:ext uri="{FF2B5EF4-FFF2-40B4-BE49-F238E27FC236}">
                    <a16:creationId xmlns:a16="http://schemas.microsoft.com/office/drawing/2014/main" id="{BB92F659-8261-4981-8DC5-0A33749C347B}"/>
                  </a:ext>
                </a:extLst>
              </p:cNvPr>
              <p:cNvSpPr>
                <a:spLocks/>
              </p:cNvSpPr>
              <p:nvPr/>
            </p:nvSpPr>
            <p:spPr bwMode="auto">
              <a:xfrm>
                <a:off x="3007" y="3814"/>
                <a:ext cx="527" cy="12"/>
              </a:xfrm>
              <a:custGeom>
                <a:avLst/>
                <a:gdLst>
                  <a:gd name="T0" fmla="*/ 222 w 222"/>
                  <a:gd name="T1" fmla="*/ 5 h 5"/>
                  <a:gd name="T2" fmla="*/ 220 w 222"/>
                  <a:gd name="T3" fmla="*/ 5 h 5"/>
                  <a:gd name="T4" fmla="*/ 213 w 222"/>
                  <a:gd name="T5" fmla="*/ 5 h 5"/>
                  <a:gd name="T6" fmla="*/ 189 w 222"/>
                  <a:gd name="T7" fmla="*/ 5 h 5"/>
                  <a:gd name="T8" fmla="*/ 111 w 222"/>
                  <a:gd name="T9" fmla="*/ 4 h 5"/>
                  <a:gd name="T10" fmla="*/ 33 w 222"/>
                  <a:gd name="T11" fmla="*/ 2 h 5"/>
                  <a:gd name="T12" fmla="*/ 9 w 222"/>
                  <a:gd name="T13" fmla="*/ 1 h 5"/>
                  <a:gd name="T14" fmla="*/ 3 w 222"/>
                  <a:gd name="T15" fmla="*/ 0 h 5"/>
                  <a:gd name="T16" fmla="*/ 0 w 222"/>
                  <a:gd name="T17" fmla="*/ 0 h 5"/>
                  <a:gd name="T18" fmla="*/ 3 w 222"/>
                  <a:gd name="T19" fmla="*/ 0 h 5"/>
                  <a:gd name="T20" fmla="*/ 9 w 222"/>
                  <a:gd name="T21" fmla="*/ 0 h 5"/>
                  <a:gd name="T22" fmla="*/ 33 w 222"/>
                  <a:gd name="T23" fmla="*/ 0 h 5"/>
                  <a:gd name="T24" fmla="*/ 111 w 222"/>
                  <a:gd name="T25" fmla="*/ 2 h 5"/>
                  <a:gd name="T26" fmla="*/ 189 w 222"/>
                  <a:gd name="T27" fmla="*/ 3 h 5"/>
                  <a:gd name="T28" fmla="*/ 213 w 222"/>
                  <a:gd name="T29" fmla="*/ 4 h 5"/>
                  <a:gd name="T30" fmla="*/ 220 w 222"/>
                  <a:gd name="T31" fmla="*/ 5 h 5"/>
                  <a:gd name="T32" fmla="*/ 222 w 222"/>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5">
                    <a:moveTo>
                      <a:pt x="222" y="5"/>
                    </a:moveTo>
                    <a:cubicBezTo>
                      <a:pt x="222" y="5"/>
                      <a:pt x="221" y="5"/>
                      <a:pt x="220" y="5"/>
                    </a:cubicBezTo>
                    <a:cubicBezTo>
                      <a:pt x="218" y="5"/>
                      <a:pt x="216" y="5"/>
                      <a:pt x="213" y="5"/>
                    </a:cubicBezTo>
                    <a:cubicBezTo>
                      <a:pt x="207" y="5"/>
                      <a:pt x="199" y="5"/>
                      <a:pt x="189" y="5"/>
                    </a:cubicBezTo>
                    <a:cubicBezTo>
                      <a:pt x="169" y="5"/>
                      <a:pt x="142" y="4"/>
                      <a:pt x="111" y="4"/>
                    </a:cubicBezTo>
                    <a:cubicBezTo>
                      <a:pt x="80" y="3"/>
                      <a:pt x="53" y="2"/>
                      <a:pt x="33" y="2"/>
                    </a:cubicBezTo>
                    <a:cubicBezTo>
                      <a:pt x="23" y="1"/>
                      <a:pt x="15" y="1"/>
                      <a:pt x="9" y="1"/>
                    </a:cubicBezTo>
                    <a:cubicBezTo>
                      <a:pt x="6" y="1"/>
                      <a:pt x="4" y="0"/>
                      <a:pt x="3" y="0"/>
                    </a:cubicBezTo>
                    <a:cubicBezTo>
                      <a:pt x="1" y="0"/>
                      <a:pt x="0" y="0"/>
                      <a:pt x="0" y="0"/>
                    </a:cubicBezTo>
                    <a:cubicBezTo>
                      <a:pt x="0" y="0"/>
                      <a:pt x="1" y="0"/>
                      <a:pt x="3" y="0"/>
                    </a:cubicBezTo>
                    <a:cubicBezTo>
                      <a:pt x="4" y="0"/>
                      <a:pt x="6" y="0"/>
                      <a:pt x="9" y="0"/>
                    </a:cubicBezTo>
                    <a:cubicBezTo>
                      <a:pt x="15" y="0"/>
                      <a:pt x="23" y="0"/>
                      <a:pt x="33" y="0"/>
                    </a:cubicBezTo>
                    <a:cubicBezTo>
                      <a:pt x="53" y="1"/>
                      <a:pt x="81" y="1"/>
                      <a:pt x="111" y="2"/>
                    </a:cubicBezTo>
                    <a:cubicBezTo>
                      <a:pt x="142" y="2"/>
                      <a:pt x="169" y="3"/>
                      <a:pt x="189" y="3"/>
                    </a:cubicBezTo>
                    <a:cubicBezTo>
                      <a:pt x="199" y="4"/>
                      <a:pt x="208" y="4"/>
                      <a:pt x="213" y="4"/>
                    </a:cubicBezTo>
                    <a:cubicBezTo>
                      <a:pt x="216" y="5"/>
                      <a:pt x="218" y="5"/>
                      <a:pt x="220" y="5"/>
                    </a:cubicBezTo>
                    <a:cubicBezTo>
                      <a:pt x="221" y="5"/>
                      <a:pt x="222" y="5"/>
                      <a:pt x="222"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02">
                <a:extLst>
                  <a:ext uri="{FF2B5EF4-FFF2-40B4-BE49-F238E27FC236}">
                    <a16:creationId xmlns:a16="http://schemas.microsoft.com/office/drawing/2014/main" id="{28649486-04DC-4D0F-8C3A-C27345717CA9}"/>
                  </a:ext>
                </a:extLst>
              </p:cNvPr>
              <p:cNvSpPr>
                <a:spLocks/>
              </p:cNvSpPr>
              <p:nvPr/>
            </p:nvSpPr>
            <p:spPr bwMode="auto">
              <a:xfrm>
                <a:off x="3159" y="2012"/>
                <a:ext cx="1991" cy="1664"/>
              </a:xfrm>
              <a:custGeom>
                <a:avLst/>
                <a:gdLst>
                  <a:gd name="T0" fmla="*/ 508 w 839"/>
                  <a:gd name="T1" fmla="*/ 39 h 701"/>
                  <a:gd name="T2" fmla="*/ 738 w 839"/>
                  <a:gd name="T3" fmla="*/ 57 h 701"/>
                  <a:gd name="T4" fmla="*/ 839 w 839"/>
                  <a:gd name="T5" fmla="*/ 177 h 701"/>
                  <a:gd name="T6" fmla="*/ 711 w 839"/>
                  <a:gd name="T7" fmla="*/ 340 h 701"/>
                  <a:gd name="T8" fmla="*/ 783 w 839"/>
                  <a:gd name="T9" fmla="*/ 701 h 701"/>
                  <a:gd name="T10" fmla="*/ 230 w 839"/>
                  <a:gd name="T11" fmla="*/ 701 h 701"/>
                  <a:gd name="T12" fmla="*/ 141 w 839"/>
                  <a:gd name="T13" fmla="*/ 459 h 701"/>
                  <a:gd name="T14" fmla="*/ 0 w 839"/>
                  <a:gd name="T15" fmla="*/ 297 h 701"/>
                  <a:gd name="T16" fmla="*/ 168 w 839"/>
                  <a:gd name="T17" fmla="*/ 131 h 701"/>
                  <a:gd name="T18" fmla="*/ 508 w 839"/>
                  <a:gd name="T19" fmla="*/ 3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9" h="701">
                    <a:moveTo>
                      <a:pt x="508" y="39"/>
                    </a:moveTo>
                    <a:cubicBezTo>
                      <a:pt x="508" y="39"/>
                      <a:pt x="665" y="0"/>
                      <a:pt x="738" y="57"/>
                    </a:cubicBezTo>
                    <a:cubicBezTo>
                      <a:pt x="797" y="102"/>
                      <a:pt x="839" y="177"/>
                      <a:pt x="839" y="177"/>
                    </a:cubicBezTo>
                    <a:cubicBezTo>
                      <a:pt x="711" y="340"/>
                      <a:pt x="711" y="340"/>
                      <a:pt x="711" y="340"/>
                    </a:cubicBezTo>
                    <a:cubicBezTo>
                      <a:pt x="783" y="701"/>
                      <a:pt x="783" y="701"/>
                      <a:pt x="783" y="701"/>
                    </a:cubicBezTo>
                    <a:cubicBezTo>
                      <a:pt x="230" y="701"/>
                      <a:pt x="230" y="701"/>
                      <a:pt x="230" y="701"/>
                    </a:cubicBezTo>
                    <a:cubicBezTo>
                      <a:pt x="141" y="459"/>
                      <a:pt x="141" y="459"/>
                      <a:pt x="141" y="459"/>
                    </a:cubicBezTo>
                    <a:cubicBezTo>
                      <a:pt x="0" y="297"/>
                      <a:pt x="0" y="297"/>
                      <a:pt x="0" y="297"/>
                    </a:cubicBezTo>
                    <a:cubicBezTo>
                      <a:pt x="0" y="297"/>
                      <a:pt x="129" y="149"/>
                      <a:pt x="168" y="131"/>
                    </a:cubicBezTo>
                    <a:cubicBezTo>
                      <a:pt x="206" y="112"/>
                      <a:pt x="508" y="39"/>
                      <a:pt x="508" y="39"/>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03">
                <a:extLst>
                  <a:ext uri="{FF2B5EF4-FFF2-40B4-BE49-F238E27FC236}">
                    <a16:creationId xmlns:a16="http://schemas.microsoft.com/office/drawing/2014/main" id="{3B030511-8300-4C33-8F38-AF0CE9739E4B}"/>
                  </a:ext>
                </a:extLst>
              </p:cNvPr>
              <p:cNvSpPr>
                <a:spLocks/>
              </p:cNvSpPr>
              <p:nvPr/>
            </p:nvSpPr>
            <p:spPr bwMode="auto">
              <a:xfrm>
                <a:off x="4604" y="2928"/>
                <a:ext cx="313" cy="306"/>
              </a:xfrm>
              <a:custGeom>
                <a:avLst/>
                <a:gdLst>
                  <a:gd name="T0" fmla="*/ 1 w 132"/>
                  <a:gd name="T1" fmla="*/ 53 h 129"/>
                  <a:gd name="T2" fmla="*/ 10 w 132"/>
                  <a:gd name="T3" fmla="*/ 60 h 129"/>
                  <a:gd name="T4" fmla="*/ 35 w 132"/>
                  <a:gd name="T5" fmla="*/ 82 h 129"/>
                  <a:gd name="T6" fmla="*/ 30 w 132"/>
                  <a:gd name="T7" fmla="*/ 128 h 129"/>
                  <a:gd name="T8" fmla="*/ 68 w 132"/>
                  <a:gd name="T9" fmla="*/ 104 h 129"/>
                  <a:gd name="T10" fmla="*/ 68 w 132"/>
                  <a:gd name="T11" fmla="*/ 104 h 129"/>
                  <a:gd name="T12" fmla="*/ 108 w 132"/>
                  <a:gd name="T13" fmla="*/ 124 h 129"/>
                  <a:gd name="T14" fmla="*/ 98 w 132"/>
                  <a:gd name="T15" fmla="*/ 79 h 129"/>
                  <a:gd name="T16" fmla="*/ 99 w 132"/>
                  <a:gd name="T17" fmla="*/ 78 h 129"/>
                  <a:gd name="T18" fmla="*/ 99 w 132"/>
                  <a:gd name="T19" fmla="*/ 78 h 129"/>
                  <a:gd name="T20" fmla="*/ 99 w 132"/>
                  <a:gd name="T21" fmla="*/ 78 h 129"/>
                  <a:gd name="T22" fmla="*/ 100 w 132"/>
                  <a:gd name="T23" fmla="*/ 77 h 129"/>
                  <a:gd name="T24" fmla="*/ 103 w 132"/>
                  <a:gd name="T25" fmla="*/ 74 h 129"/>
                  <a:gd name="T26" fmla="*/ 114 w 132"/>
                  <a:gd name="T27" fmla="*/ 62 h 129"/>
                  <a:gd name="T28" fmla="*/ 130 w 132"/>
                  <a:gd name="T29" fmla="*/ 47 h 129"/>
                  <a:gd name="T30" fmla="*/ 84 w 132"/>
                  <a:gd name="T31" fmla="*/ 42 h 129"/>
                  <a:gd name="T32" fmla="*/ 62 w 132"/>
                  <a:gd name="T33" fmla="*/ 2 h 129"/>
                  <a:gd name="T34" fmla="*/ 45 w 132"/>
                  <a:gd name="T35" fmla="*/ 44 h 129"/>
                  <a:gd name="T36" fmla="*/ 45 w 132"/>
                  <a:gd name="T37" fmla="*/ 44 h 129"/>
                  <a:gd name="T38" fmla="*/ 3 w 132"/>
                  <a:gd name="T39" fmla="*/ 52 h 129"/>
                  <a:gd name="T40" fmla="*/ 0 w 132"/>
                  <a:gd name="T41" fmla="*/ 52 h 129"/>
                  <a:gd name="T42" fmla="*/ 3 w 132"/>
                  <a:gd name="T43" fmla="*/ 52 h 129"/>
                  <a:gd name="T44" fmla="*/ 45 w 132"/>
                  <a:gd name="T45" fmla="*/ 43 h 129"/>
                  <a:gd name="T46" fmla="*/ 62 w 132"/>
                  <a:gd name="T47" fmla="*/ 2 h 129"/>
                  <a:gd name="T48" fmla="*/ 64 w 132"/>
                  <a:gd name="T49" fmla="*/ 1 h 129"/>
                  <a:gd name="T50" fmla="*/ 85 w 132"/>
                  <a:gd name="T51" fmla="*/ 41 h 129"/>
                  <a:gd name="T52" fmla="*/ 132 w 132"/>
                  <a:gd name="T53" fmla="*/ 45 h 129"/>
                  <a:gd name="T54" fmla="*/ 116 w 132"/>
                  <a:gd name="T55" fmla="*/ 63 h 129"/>
                  <a:gd name="T56" fmla="*/ 104 w 132"/>
                  <a:gd name="T57" fmla="*/ 76 h 129"/>
                  <a:gd name="T58" fmla="*/ 101 w 132"/>
                  <a:gd name="T59" fmla="*/ 79 h 129"/>
                  <a:gd name="T60" fmla="*/ 100 w 132"/>
                  <a:gd name="T61" fmla="*/ 80 h 129"/>
                  <a:gd name="T62" fmla="*/ 100 w 132"/>
                  <a:gd name="T63" fmla="*/ 80 h 129"/>
                  <a:gd name="T64" fmla="*/ 100 w 132"/>
                  <a:gd name="T65" fmla="*/ 80 h 129"/>
                  <a:gd name="T66" fmla="*/ 100 w 132"/>
                  <a:gd name="T67" fmla="*/ 79 h 129"/>
                  <a:gd name="T68" fmla="*/ 110 w 132"/>
                  <a:gd name="T69" fmla="*/ 123 h 129"/>
                  <a:gd name="T70" fmla="*/ 109 w 132"/>
                  <a:gd name="T71" fmla="*/ 124 h 129"/>
                  <a:gd name="T72" fmla="*/ 68 w 132"/>
                  <a:gd name="T73" fmla="*/ 105 h 129"/>
                  <a:gd name="T74" fmla="*/ 28 w 132"/>
                  <a:gd name="T75" fmla="*/ 129 h 129"/>
                  <a:gd name="T76" fmla="*/ 34 w 132"/>
                  <a:gd name="T77" fmla="*/ 82 h 129"/>
                  <a:gd name="T78" fmla="*/ 9 w 132"/>
                  <a:gd name="T79" fmla="*/ 60 h 129"/>
                  <a:gd name="T80" fmla="*/ 1 w 132"/>
                  <a:gd name="T81"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9">
                    <a:moveTo>
                      <a:pt x="0" y="52"/>
                    </a:moveTo>
                    <a:cubicBezTo>
                      <a:pt x="0" y="52"/>
                      <a:pt x="0" y="53"/>
                      <a:pt x="1" y="53"/>
                    </a:cubicBezTo>
                    <a:cubicBezTo>
                      <a:pt x="1" y="53"/>
                      <a:pt x="2" y="54"/>
                      <a:pt x="3" y="54"/>
                    </a:cubicBezTo>
                    <a:cubicBezTo>
                      <a:pt x="4" y="56"/>
                      <a:pt x="7" y="58"/>
                      <a:pt x="10" y="60"/>
                    </a:cubicBezTo>
                    <a:cubicBezTo>
                      <a:pt x="15" y="65"/>
                      <a:pt x="24" y="73"/>
                      <a:pt x="35" y="82"/>
                    </a:cubicBezTo>
                    <a:cubicBezTo>
                      <a:pt x="35" y="82"/>
                      <a:pt x="35" y="82"/>
                      <a:pt x="35" y="82"/>
                    </a:cubicBezTo>
                    <a:cubicBezTo>
                      <a:pt x="35" y="82"/>
                      <a:pt x="35" y="82"/>
                      <a:pt x="35" y="82"/>
                    </a:cubicBezTo>
                    <a:cubicBezTo>
                      <a:pt x="33" y="95"/>
                      <a:pt x="32" y="110"/>
                      <a:pt x="30" y="128"/>
                    </a:cubicBezTo>
                    <a:cubicBezTo>
                      <a:pt x="28" y="127"/>
                      <a:pt x="28" y="127"/>
                      <a:pt x="28" y="127"/>
                    </a:cubicBezTo>
                    <a:cubicBezTo>
                      <a:pt x="40" y="120"/>
                      <a:pt x="53" y="112"/>
                      <a:pt x="68" y="104"/>
                    </a:cubicBezTo>
                    <a:cubicBezTo>
                      <a:pt x="68" y="103"/>
                      <a:pt x="68" y="103"/>
                      <a:pt x="68" y="103"/>
                    </a:cubicBezTo>
                    <a:cubicBezTo>
                      <a:pt x="68" y="104"/>
                      <a:pt x="68" y="104"/>
                      <a:pt x="68" y="104"/>
                    </a:cubicBezTo>
                    <a:cubicBezTo>
                      <a:pt x="81" y="109"/>
                      <a:pt x="95" y="116"/>
                      <a:pt x="110" y="123"/>
                    </a:cubicBezTo>
                    <a:cubicBezTo>
                      <a:pt x="108" y="124"/>
                      <a:pt x="108" y="124"/>
                      <a:pt x="108" y="124"/>
                    </a:cubicBezTo>
                    <a:cubicBezTo>
                      <a:pt x="105" y="109"/>
                      <a:pt x="102" y="95"/>
                      <a:pt x="98" y="79"/>
                    </a:cubicBezTo>
                    <a:cubicBezTo>
                      <a:pt x="98" y="79"/>
                      <a:pt x="98" y="79"/>
                      <a:pt x="98" y="79"/>
                    </a:cubicBezTo>
                    <a:cubicBezTo>
                      <a:pt x="98" y="79"/>
                      <a:pt x="98" y="80"/>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100" y="77"/>
                      <a:pt x="100" y="77"/>
                      <a:pt x="100" y="77"/>
                    </a:cubicBezTo>
                    <a:cubicBezTo>
                      <a:pt x="101" y="76"/>
                      <a:pt x="101" y="76"/>
                      <a:pt x="101" y="76"/>
                    </a:cubicBezTo>
                    <a:cubicBezTo>
                      <a:pt x="103" y="74"/>
                      <a:pt x="103" y="74"/>
                      <a:pt x="103" y="74"/>
                    </a:cubicBezTo>
                    <a:cubicBezTo>
                      <a:pt x="106" y="70"/>
                      <a:pt x="106" y="70"/>
                      <a:pt x="106" y="70"/>
                    </a:cubicBezTo>
                    <a:cubicBezTo>
                      <a:pt x="109" y="67"/>
                      <a:pt x="112" y="64"/>
                      <a:pt x="114" y="62"/>
                    </a:cubicBezTo>
                    <a:cubicBezTo>
                      <a:pt x="119" y="56"/>
                      <a:pt x="124" y="51"/>
                      <a:pt x="129" y="45"/>
                    </a:cubicBezTo>
                    <a:cubicBezTo>
                      <a:pt x="130" y="47"/>
                      <a:pt x="130" y="47"/>
                      <a:pt x="130" y="47"/>
                    </a:cubicBezTo>
                    <a:cubicBezTo>
                      <a:pt x="114" y="45"/>
                      <a:pt x="99" y="44"/>
                      <a:pt x="85" y="43"/>
                    </a:cubicBezTo>
                    <a:cubicBezTo>
                      <a:pt x="84" y="42"/>
                      <a:pt x="84" y="42"/>
                      <a:pt x="84" y="42"/>
                    </a:cubicBezTo>
                    <a:cubicBezTo>
                      <a:pt x="84" y="42"/>
                      <a:pt x="84" y="42"/>
                      <a:pt x="84" y="42"/>
                    </a:cubicBezTo>
                    <a:cubicBezTo>
                      <a:pt x="76" y="28"/>
                      <a:pt x="69" y="14"/>
                      <a:pt x="62" y="2"/>
                    </a:cubicBezTo>
                    <a:cubicBezTo>
                      <a:pt x="64" y="2"/>
                      <a:pt x="64" y="2"/>
                      <a:pt x="64" y="2"/>
                    </a:cubicBezTo>
                    <a:cubicBezTo>
                      <a:pt x="57" y="18"/>
                      <a:pt x="51" y="32"/>
                      <a:pt x="45" y="44"/>
                    </a:cubicBezTo>
                    <a:cubicBezTo>
                      <a:pt x="45" y="44"/>
                      <a:pt x="45" y="44"/>
                      <a:pt x="45" y="44"/>
                    </a:cubicBezTo>
                    <a:cubicBezTo>
                      <a:pt x="45" y="44"/>
                      <a:pt x="45" y="44"/>
                      <a:pt x="45" y="44"/>
                    </a:cubicBezTo>
                    <a:cubicBezTo>
                      <a:pt x="31" y="47"/>
                      <a:pt x="20" y="49"/>
                      <a:pt x="12" y="50"/>
                    </a:cubicBezTo>
                    <a:cubicBezTo>
                      <a:pt x="8" y="51"/>
                      <a:pt x="6" y="51"/>
                      <a:pt x="3" y="52"/>
                    </a:cubicBezTo>
                    <a:cubicBezTo>
                      <a:pt x="2" y="52"/>
                      <a:pt x="2" y="52"/>
                      <a:pt x="1" y="52"/>
                    </a:cubicBezTo>
                    <a:cubicBezTo>
                      <a:pt x="1" y="52"/>
                      <a:pt x="0" y="52"/>
                      <a:pt x="0" y="52"/>
                    </a:cubicBezTo>
                    <a:cubicBezTo>
                      <a:pt x="0" y="52"/>
                      <a:pt x="0" y="52"/>
                      <a:pt x="1" y="52"/>
                    </a:cubicBezTo>
                    <a:cubicBezTo>
                      <a:pt x="1" y="52"/>
                      <a:pt x="2" y="52"/>
                      <a:pt x="3" y="52"/>
                    </a:cubicBezTo>
                    <a:cubicBezTo>
                      <a:pt x="5" y="51"/>
                      <a:pt x="8" y="51"/>
                      <a:pt x="12" y="50"/>
                    </a:cubicBezTo>
                    <a:cubicBezTo>
                      <a:pt x="19" y="48"/>
                      <a:pt x="31" y="46"/>
                      <a:pt x="45" y="43"/>
                    </a:cubicBezTo>
                    <a:cubicBezTo>
                      <a:pt x="44" y="43"/>
                      <a:pt x="44" y="43"/>
                      <a:pt x="44" y="43"/>
                    </a:cubicBezTo>
                    <a:cubicBezTo>
                      <a:pt x="49" y="32"/>
                      <a:pt x="55" y="18"/>
                      <a:pt x="62" y="2"/>
                    </a:cubicBezTo>
                    <a:cubicBezTo>
                      <a:pt x="63" y="0"/>
                      <a:pt x="63" y="0"/>
                      <a:pt x="63" y="0"/>
                    </a:cubicBezTo>
                    <a:cubicBezTo>
                      <a:pt x="64" y="1"/>
                      <a:pt x="64" y="1"/>
                      <a:pt x="64" y="1"/>
                    </a:cubicBezTo>
                    <a:cubicBezTo>
                      <a:pt x="70" y="14"/>
                      <a:pt x="78" y="27"/>
                      <a:pt x="86" y="41"/>
                    </a:cubicBezTo>
                    <a:cubicBezTo>
                      <a:pt x="85" y="41"/>
                      <a:pt x="85" y="41"/>
                      <a:pt x="85" y="41"/>
                    </a:cubicBezTo>
                    <a:cubicBezTo>
                      <a:pt x="99" y="42"/>
                      <a:pt x="115" y="43"/>
                      <a:pt x="130" y="45"/>
                    </a:cubicBezTo>
                    <a:cubicBezTo>
                      <a:pt x="132" y="45"/>
                      <a:pt x="132" y="45"/>
                      <a:pt x="132" y="45"/>
                    </a:cubicBezTo>
                    <a:cubicBezTo>
                      <a:pt x="131" y="47"/>
                      <a:pt x="131" y="47"/>
                      <a:pt x="131" y="47"/>
                    </a:cubicBezTo>
                    <a:cubicBezTo>
                      <a:pt x="126" y="52"/>
                      <a:pt x="121" y="57"/>
                      <a:pt x="116" y="63"/>
                    </a:cubicBezTo>
                    <a:cubicBezTo>
                      <a:pt x="113" y="66"/>
                      <a:pt x="111" y="69"/>
                      <a:pt x="108" y="71"/>
                    </a:cubicBezTo>
                    <a:cubicBezTo>
                      <a:pt x="104" y="76"/>
                      <a:pt x="104" y="76"/>
                      <a:pt x="104" y="76"/>
                    </a:cubicBezTo>
                    <a:cubicBezTo>
                      <a:pt x="102" y="78"/>
                      <a:pt x="102" y="78"/>
                      <a:pt x="102" y="78"/>
                    </a:cubicBezTo>
                    <a:cubicBezTo>
                      <a:pt x="101" y="79"/>
                      <a:pt x="101" y="79"/>
                      <a:pt x="101" y="79"/>
                    </a:cubicBezTo>
                    <a:cubicBezTo>
                      <a:pt x="101" y="79"/>
                      <a:pt x="101" y="79"/>
                      <a:pt x="101" y="79"/>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79"/>
                      <a:pt x="100" y="79"/>
                      <a:pt x="100" y="79"/>
                    </a:cubicBezTo>
                    <a:cubicBezTo>
                      <a:pt x="100" y="79"/>
                      <a:pt x="100" y="79"/>
                      <a:pt x="100" y="79"/>
                    </a:cubicBezTo>
                    <a:cubicBezTo>
                      <a:pt x="104" y="94"/>
                      <a:pt x="107" y="109"/>
                      <a:pt x="110" y="123"/>
                    </a:cubicBezTo>
                    <a:cubicBezTo>
                      <a:pt x="111" y="125"/>
                      <a:pt x="111" y="125"/>
                      <a:pt x="111" y="125"/>
                    </a:cubicBezTo>
                    <a:cubicBezTo>
                      <a:pt x="109" y="124"/>
                      <a:pt x="109" y="124"/>
                      <a:pt x="109" y="124"/>
                    </a:cubicBezTo>
                    <a:cubicBezTo>
                      <a:pt x="94" y="118"/>
                      <a:pt x="81" y="111"/>
                      <a:pt x="68" y="105"/>
                    </a:cubicBezTo>
                    <a:cubicBezTo>
                      <a:pt x="68" y="105"/>
                      <a:pt x="68" y="105"/>
                      <a:pt x="68" y="105"/>
                    </a:cubicBezTo>
                    <a:cubicBezTo>
                      <a:pt x="54" y="113"/>
                      <a:pt x="41" y="121"/>
                      <a:pt x="29" y="128"/>
                    </a:cubicBezTo>
                    <a:cubicBezTo>
                      <a:pt x="28" y="129"/>
                      <a:pt x="28" y="129"/>
                      <a:pt x="28" y="129"/>
                    </a:cubicBezTo>
                    <a:cubicBezTo>
                      <a:pt x="28" y="127"/>
                      <a:pt x="28" y="127"/>
                      <a:pt x="28" y="127"/>
                    </a:cubicBezTo>
                    <a:cubicBezTo>
                      <a:pt x="30" y="110"/>
                      <a:pt x="32" y="95"/>
                      <a:pt x="34" y="82"/>
                    </a:cubicBezTo>
                    <a:cubicBezTo>
                      <a:pt x="34" y="83"/>
                      <a:pt x="34" y="83"/>
                      <a:pt x="34" y="83"/>
                    </a:cubicBezTo>
                    <a:cubicBezTo>
                      <a:pt x="23" y="73"/>
                      <a:pt x="15" y="66"/>
                      <a:pt x="9" y="60"/>
                    </a:cubicBezTo>
                    <a:cubicBezTo>
                      <a:pt x="6" y="58"/>
                      <a:pt x="4" y="56"/>
                      <a:pt x="2" y="54"/>
                    </a:cubicBezTo>
                    <a:cubicBezTo>
                      <a:pt x="2" y="54"/>
                      <a:pt x="1" y="53"/>
                      <a:pt x="1" y="53"/>
                    </a:cubicBezTo>
                    <a:cubicBezTo>
                      <a:pt x="0" y="52"/>
                      <a:pt x="0" y="52"/>
                      <a:pt x="0" y="52"/>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04">
                <a:extLst>
                  <a:ext uri="{FF2B5EF4-FFF2-40B4-BE49-F238E27FC236}">
                    <a16:creationId xmlns:a16="http://schemas.microsoft.com/office/drawing/2014/main" id="{F779130F-30C6-4824-9F8A-36188D71AE96}"/>
                  </a:ext>
                </a:extLst>
              </p:cNvPr>
              <p:cNvSpPr>
                <a:spLocks/>
              </p:cNvSpPr>
              <p:nvPr/>
            </p:nvSpPr>
            <p:spPr bwMode="auto">
              <a:xfrm>
                <a:off x="2482" y="2669"/>
                <a:ext cx="1011" cy="1026"/>
              </a:xfrm>
              <a:custGeom>
                <a:avLst/>
                <a:gdLst>
                  <a:gd name="T0" fmla="*/ 302 w 426"/>
                  <a:gd name="T1" fmla="*/ 0 h 432"/>
                  <a:gd name="T2" fmla="*/ 67 w 426"/>
                  <a:gd name="T3" fmla="*/ 249 h 432"/>
                  <a:gd name="T4" fmla="*/ 50 w 426"/>
                  <a:gd name="T5" fmla="*/ 426 h 432"/>
                  <a:gd name="T6" fmla="*/ 275 w 426"/>
                  <a:gd name="T7" fmla="*/ 424 h 432"/>
                  <a:gd name="T8" fmla="*/ 426 w 426"/>
                  <a:gd name="T9" fmla="*/ 182 h 432"/>
                  <a:gd name="T10" fmla="*/ 302 w 426"/>
                  <a:gd name="T11" fmla="*/ 0 h 432"/>
                </a:gdLst>
                <a:ahLst/>
                <a:cxnLst>
                  <a:cxn ang="0">
                    <a:pos x="T0" y="T1"/>
                  </a:cxn>
                  <a:cxn ang="0">
                    <a:pos x="T2" y="T3"/>
                  </a:cxn>
                  <a:cxn ang="0">
                    <a:pos x="T4" y="T5"/>
                  </a:cxn>
                  <a:cxn ang="0">
                    <a:pos x="T6" y="T7"/>
                  </a:cxn>
                  <a:cxn ang="0">
                    <a:pos x="T8" y="T9"/>
                  </a:cxn>
                  <a:cxn ang="0">
                    <a:pos x="T10" y="T11"/>
                  </a:cxn>
                </a:cxnLst>
                <a:rect l="0" t="0" r="r" b="b"/>
                <a:pathLst>
                  <a:path w="426" h="432">
                    <a:moveTo>
                      <a:pt x="302" y="0"/>
                    </a:moveTo>
                    <a:cubicBezTo>
                      <a:pt x="302" y="0"/>
                      <a:pt x="134" y="194"/>
                      <a:pt x="67" y="249"/>
                    </a:cubicBezTo>
                    <a:cubicBezTo>
                      <a:pt x="0" y="304"/>
                      <a:pt x="13" y="412"/>
                      <a:pt x="50" y="426"/>
                    </a:cubicBezTo>
                    <a:cubicBezTo>
                      <a:pt x="64" y="432"/>
                      <a:pt x="275" y="424"/>
                      <a:pt x="275" y="424"/>
                    </a:cubicBezTo>
                    <a:cubicBezTo>
                      <a:pt x="426" y="182"/>
                      <a:pt x="426" y="182"/>
                      <a:pt x="426" y="182"/>
                    </a:cubicBezTo>
                    <a:cubicBezTo>
                      <a:pt x="302" y="0"/>
                      <a:pt x="302" y="0"/>
                      <a:pt x="302" y="0"/>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05">
                <a:extLst>
                  <a:ext uri="{FF2B5EF4-FFF2-40B4-BE49-F238E27FC236}">
                    <a16:creationId xmlns:a16="http://schemas.microsoft.com/office/drawing/2014/main" id="{FB4D4177-35D9-401A-9B9A-629A6258DD82}"/>
                  </a:ext>
                </a:extLst>
              </p:cNvPr>
              <p:cNvSpPr>
                <a:spLocks/>
              </p:cNvSpPr>
              <p:nvPr/>
            </p:nvSpPr>
            <p:spPr bwMode="auto">
              <a:xfrm>
                <a:off x="4946" y="3318"/>
                <a:ext cx="9" cy="23"/>
              </a:xfrm>
              <a:custGeom>
                <a:avLst/>
                <a:gdLst>
                  <a:gd name="T0" fmla="*/ 0 w 4"/>
                  <a:gd name="T1" fmla="*/ 0 h 10"/>
                  <a:gd name="T2" fmla="*/ 2 w 4"/>
                  <a:gd name="T3" fmla="*/ 10 h 10"/>
                  <a:gd name="T4" fmla="*/ 4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2" y="10"/>
                      <a:pt x="2" y="10"/>
                      <a:pt x="2" y="10"/>
                    </a:cubicBezTo>
                    <a:cubicBezTo>
                      <a:pt x="4" y="10"/>
                      <a:pt x="4" y="10"/>
                      <a:pt x="4" y="10"/>
                    </a:cubicBezTo>
                    <a:cubicBezTo>
                      <a:pt x="3" y="6"/>
                      <a:pt x="1" y="3"/>
                      <a:pt x="0"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06">
                <a:extLst>
                  <a:ext uri="{FF2B5EF4-FFF2-40B4-BE49-F238E27FC236}">
                    <a16:creationId xmlns:a16="http://schemas.microsoft.com/office/drawing/2014/main" id="{111DB94C-D237-4445-ADA2-902F2F89BBEA}"/>
                  </a:ext>
                </a:extLst>
              </p:cNvPr>
              <p:cNvSpPr>
                <a:spLocks noEditPoints="1"/>
              </p:cNvSpPr>
              <p:nvPr/>
            </p:nvSpPr>
            <p:spPr bwMode="auto">
              <a:xfrm>
                <a:off x="4614" y="2757"/>
                <a:ext cx="337" cy="637"/>
              </a:xfrm>
              <a:custGeom>
                <a:avLst/>
                <a:gdLst>
                  <a:gd name="T0" fmla="*/ 112 w 142"/>
                  <a:gd name="T1" fmla="*/ 134 h 268"/>
                  <a:gd name="T2" fmla="*/ 112 w 142"/>
                  <a:gd name="T3" fmla="*/ 135 h 268"/>
                  <a:gd name="T4" fmla="*/ 104 w 142"/>
                  <a:gd name="T5" fmla="*/ 143 h 268"/>
                  <a:gd name="T6" fmla="*/ 100 w 142"/>
                  <a:gd name="T7" fmla="*/ 148 h 268"/>
                  <a:gd name="T8" fmla="*/ 98 w 142"/>
                  <a:gd name="T9" fmla="*/ 150 h 268"/>
                  <a:gd name="T10" fmla="*/ 97 w 142"/>
                  <a:gd name="T11" fmla="*/ 151 h 268"/>
                  <a:gd name="T12" fmla="*/ 97 w 142"/>
                  <a:gd name="T13" fmla="*/ 151 h 268"/>
                  <a:gd name="T14" fmla="*/ 96 w 142"/>
                  <a:gd name="T15" fmla="*/ 151 h 268"/>
                  <a:gd name="T16" fmla="*/ 106 w 142"/>
                  <a:gd name="T17" fmla="*/ 195 h 268"/>
                  <a:gd name="T18" fmla="*/ 107 w 142"/>
                  <a:gd name="T19" fmla="*/ 197 h 268"/>
                  <a:gd name="T20" fmla="*/ 105 w 142"/>
                  <a:gd name="T21" fmla="*/ 196 h 268"/>
                  <a:gd name="T22" fmla="*/ 81 w 142"/>
                  <a:gd name="T23" fmla="*/ 185 h 268"/>
                  <a:gd name="T24" fmla="*/ 83 w 142"/>
                  <a:gd name="T25" fmla="*/ 210 h 268"/>
                  <a:gd name="T26" fmla="*/ 74 w 142"/>
                  <a:gd name="T27" fmla="*/ 209 h 268"/>
                  <a:gd name="T28" fmla="*/ 2 w 142"/>
                  <a:gd name="T29" fmla="*/ 268 h 268"/>
                  <a:gd name="T30" fmla="*/ 142 w 142"/>
                  <a:gd name="T31" fmla="*/ 246 h 268"/>
                  <a:gd name="T32" fmla="*/ 140 w 142"/>
                  <a:gd name="T33" fmla="*/ 236 h 268"/>
                  <a:gd name="T34" fmla="*/ 112 w 142"/>
                  <a:gd name="T35" fmla="*/ 134 h 268"/>
                  <a:gd name="T36" fmla="*/ 77 w 142"/>
                  <a:gd name="T37" fmla="*/ 109 h 268"/>
                  <a:gd name="T38" fmla="*/ 81 w 142"/>
                  <a:gd name="T39" fmla="*/ 183 h 268"/>
                  <a:gd name="T40" fmla="*/ 104 w 142"/>
                  <a:gd name="T41" fmla="*/ 194 h 268"/>
                  <a:gd name="T42" fmla="*/ 94 w 142"/>
                  <a:gd name="T43" fmla="*/ 151 h 268"/>
                  <a:gd name="T44" fmla="*/ 94 w 142"/>
                  <a:gd name="T45" fmla="*/ 151 h 268"/>
                  <a:gd name="T46" fmla="*/ 94 w 142"/>
                  <a:gd name="T47" fmla="*/ 151 h 268"/>
                  <a:gd name="T48" fmla="*/ 94 w 142"/>
                  <a:gd name="T49" fmla="*/ 151 h 268"/>
                  <a:gd name="T50" fmla="*/ 95 w 142"/>
                  <a:gd name="T51" fmla="*/ 150 h 268"/>
                  <a:gd name="T52" fmla="*/ 95 w 142"/>
                  <a:gd name="T53" fmla="*/ 150 h 268"/>
                  <a:gd name="T54" fmla="*/ 95 w 142"/>
                  <a:gd name="T55" fmla="*/ 150 h 268"/>
                  <a:gd name="T56" fmla="*/ 95 w 142"/>
                  <a:gd name="T57" fmla="*/ 150 h 268"/>
                  <a:gd name="T58" fmla="*/ 95 w 142"/>
                  <a:gd name="T59" fmla="*/ 150 h 268"/>
                  <a:gd name="T60" fmla="*/ 95 w 142"/>
                  <a:gd name="T61" fmla="*/ 150 h 268"/>
                  <a:gd name="T62" fmla="*/ 95 w 142"/>
                  <a:gd name="T63" fmla="*/ 150 h 268"/>
                  <a:gd name="T64" fmla="*/ 96 w 142"/>
                  <a:gd name="T65" fmla="*/ 149 h 268"/>
                  <a:gd name="T66" fmla="*/ 97 w 142"/>
                  <a:gd name="T67" fmla="*/ 148 h 268"/>
                  <a:gd name="T68" fmla="*/ 99 w 142"/>
                  <a:gd name="T69" fmla="*/ 146 h 268"/>
                  <a:gd name="T70" fmla="*/ 102 w 142"/>
                  <a:gd name="T71" fmla="*/ 142 h 268"/>
                  <a:gd name="T72" fmla="*/ 110 w 142"/>
                  <a:gd name="T73" fmla="*/ 134 h 268"/>
                  <a:gd name="T74" fmla="*/ 112 w 142"/>
                  <a:gd name="T75" fmla="*/ 132 h 268"/>
                  <a:gd name="T76" fmla="*/ 109 w 142"/>
                  <a:gd name="T77" fmla="*/ 117 h 268"/>
                  <a:gd name="T78" fmla="*/ 81 w 142"/>
                  <a:gd name="T79" fmla="*/ 115 h 268"/>
                  <a:gd name="T80" fmla="*/ 80 w 142"/>
                  <a:gd name="T81" fmla="*/ 114 h 268"/>
                  <a:gd name="T82" fmla="*/ 80 w 142"/>
                  <a:gd name="T83" fmla="*/ 114 h 268"/>
                  <a:gd name="T84" fmla="*/ 77 w 142"/>
                  <a:gd name="T85" fmla="*/ 109 h 268"/>
                  <a:gd name="T86" fmla="*/ 87 w 142"/>
                  <a:gd name="T87" fmla="*/ 0 h 268"/>
                  <a:gd name="T88" fmla="*/ 77 w 142"/>
                  <a:gd name="T89" fmla="*/ 105 h 268"/>
                  <a:gd name="T90" fmla="*/ 82 w 142"/>
                  <a:gd name="T91" fmla="*/ 113 h 268"/>
                  <a:gd name="T92" fmla="*/ 109 w 142"/>
                  <a:gd name="T93" fmla="*/ 115 h 268"/>
                  <a:gd name="T94" fmla="*/ 87 w 142"/>
                  <a:gd name="T9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2" h="268">
                    <a:moveTo>
                      <a:pt x="112" y="134"/>
                    </a:moveTo>
                    <a:cubicBezTo>
                      <a:pt x="112" y="134"/>
                      <a:pt x="112" y="135"/>
                      <a:pt x="112" y="135"/>
                    </a:cubicBezTo>
                    <a:cubicBezTo>
                      <a:pt x="109" y="138"/>
                      <a:pt x="107" y="141"/>
                      <a:pt x="104" y="143"/>
                    </a:cubicBezTo>
                    <a:cubicBezTo>
                      <a:pt x="100" y="148"/>
                      <a:pt x="100" y="148"/>
                      <a:pt x="100" y="148"/>
                    </a:cubicBezTo>
                    <a:cubicBezTo>
                      <a:pt x="98" y="150"/>
                      <a:pt x="98" y="150"/>
                      <a:pt x="98" y="150"/>
                    </a:cubicBezTo>
                    <a:cubicBezTo>
                      <a:pt x="97" y="151"/>
                      <a:pt x="97" y="151"/>
                      <a:pt x="97" y="151"/>
                    </a:cubicBezTo>
                    <a:cubicBezTo>
                      <a:pt x="97" y="151"/>
                      <a:pt x="97" y="151"/>
                      <a:pt x="97" y="151"/>
                    </a:cubicBezTo>
                    <a:cubicBezTo>
                      <a:pt x="96" y="151"/>
                      <a:pt x="96" y="151"/>
                      <a:pt x="96" y="151"/>
                    </a:cubicBezTo>
                    <a:cubicBezTo>
                      <a:pt x="100" y="166"/>
                      <a:pt x="103" y="181"/>
                      <a:pt x="106" y="195"/>
                    </a:cubicBezTo>
                    <a:cubicBezTo>
                      <a:pt x="107" y="197"/>
                      <a:pt x="107" y="197"/>
                      <a:pt x="107" y="197"/>
                    </a:cubicBezTo>
                    <a:cubicBezTo>
                      <a:pt x="105" y="196"/>
                      <a:pt x="105" y="196"/>
                      <a:pt x="105" y="196"/>
                    </a:cubicBezTo>
                    <a:cubicBezTo>
                      <a:pt x="97" y="193"/>
                      <a:pt x="89" y="189"/>
                      <a:pt x="81" y="185"/>
                    </a:cubicBezTo>
                    <a:cubicBezTo>
                      <a:pt x="82" y="194"/>
                      <a:pt x="83" y="203"/>
                      <a:pt x="83" y="210"/>
                    </a:cubicBezTo>
                    <a:cubicBezTo>
                      <a:pt x="80" y="210"/>
                      <a:pt x="77" y="209"/>
                      <a:pt x="74" y="209"/>
                    </a:cubicBezTo>
                    <a:cubicBezTo>
                      <a:pt x="45" y="209"/>
                      <a:pt x="0" y="234"/>
                      <a:pt x="2" y="268"/>
                    </a:cubicBezTo>
                    <a:cubicBezTo>
                      <a:pt x="142" y="246"/>
                      <a:pt x="142" y="246"/>
                      <a:pt x="142" y="246"/>
                    </a:cubicBezTo>
                    <a:cubicBezTo>
                      <a:pt x="140" y="236"/>
                      <a:pt x="140" y="236"/>
                      <a:pt x="140" y="236"/>
                    </a:cubicBezTo>
                    <a:cubicBezTo>
                      <a:pt x="128" y="203"/>
                      <a:pt x="120" y="169"/>
                      <a:pt x="112" y="134"/>
                    </a:cubicBezTo>
                    <a:moveTo>
                      <a:pt x="77" y="109"/>
                    </a:moveTo>
                    <a:cubicBezTo>
                      <a:pt x="78" y="135"/>
                      <a:pt x="79" y="161"/>
                      <a:pt x="81" y="183"/>
                    </a:cubicBezTo>
                    <a:cubicBezTo>
                      <a:pt x="88" y="187"/>
                      <a:pt x="96" y="190"/>
                      <a:pt x="104" y="194"/>
                    </a:cubicBezTo>
                    <a:cubicBezTo>
                      <a:pt x="101" y="180"/>
                      <a:pt x="98" y="166"/>
                      <a:pt x="94" y="151"/>
                    </a:cubicBezTo>
                    <a:cubicBezTo>
                      <a:pt x="94" y="151"/>
                      <a:pt x="94" y="151"/>
                      <a:pt x="94" y="151"/>
                    </a:cubicBezTo>
                    <a:cubicBezTo>
                      <a:pt x="94" y="151"/>
                      <a:pt x="94" y="151"/>
                      <a:pt x="94" y="151"/>
                    </a:cubicBezTo>
                    <a:cubicBezTo>
                      <a:pt x="94" y="151"/>
                      <a:pt x="94" y="151"/>
                      <a:pt x="94" y="151"/>
                    </a:cubicBezTo>
                    <a:cubicBezTo>
                      <a:pt x="94" y="151"/>
                      <a:pt x="94" y="151"/>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5" y="150"/>
                      <a:pt x="95" y="150"/>
                      <a:pt x="95" y="150"/>
                    </a:cubicBezTo>
                    <a:cubicBezTo>
                      <a:pt x="96" y="149"/>
                      <a:pt x="96" y="149"/>
                      <a:pt x="96" y="149"/>
                    </a:cubicBezTo>
                    <a:cubicBezTo>
                      <a:pt x="97" y="148"/>
                      <a:pt x="97" y="148"/>
                      <a:pt x="97" y="148"/>
                    </a:cubicBezTo>
                    <a:cubicBezTo>
                      <a:pt x="99" y="146"/>
                      <a:pt x="99" y="146"/>
                      <a:pt x="99" y="146"/>
                    </a:cubicBezTo>
                    <a:cubicBezTo>
                      <a:pt x="102" y="142"/>
                      <a:pt x="102" y="142"/>
                      <a:pt x="102" y="142"/>
                    </a:cubicBezTo>
                    <a:cubicBezTo>
                      <a:pt x="105" y="139"/>
                      <a:pt x="108" y="136"/>
                      <a:pt x="110" y="134"/>
                    </a:cubicBezTo>
                    <a:cubicBezTo>
                      <a:pt x="111" y="133"/>
                      <a:pt x="111" y="132"/>
                      <a:pt x="112" y="132"/>
                    </a:cubicBezTo>
                    <a:cubicBezTo>
                      <a:pt x="111" y="127"/>
                      <a:pt x="110" y="122"/>
                      <a:pt x="109" y="117"/>
                    </a:cubicBezTo>
                    <a:cubicBezTo>
                      <a:pt x="99" y="116"/>
                      <a:pt x="90" y="115"/>
                      <a:pt x="81" y="115"/>
                    </a:cubicBezTo>
                    <a:cubicBezTo>
                      <a:pt x="80" y="114"/>
                      <a:pt x="80" y="114"/>
                      <a:pt x="80" y="114"/>
                    </a:cubicBezTo>
                    <a:cubicBezTo>
                      <a:pt x="80" y="114"/>
                      <a:pt x="80" y="114"/>
                      <a:pt x="80" y="114"/>
                    </a:cubicBezTo>
                    <a:cubicBezTo>
                      <a:pt x="79" y="112"/>
                      <a:pt x="78" y="110"/>
                      <a:pt x="77" y="109"/>
                    </a:cubicBezTo>
                    <a:moveTo>
                      <a:pt x="87" y="0"/>
                    </a:moveTo>
                    <a:cubicBezTo>
                      <a:pt x="79" y="28"/>
                      <a:pt x="77" y="66"/>
                      <a:pt x="77" y="105"/>
                    </a:cubicBezTo>
                    <a:cubicBezTo>
                      <a:pt x="79" y="107"/>
                      <a:pt x="80" y="110"/>
                      <a:pt x="82" y="113"/>
                    </a:cubicBezTo>
                    <a:cubicBezTo>
                      <a:pt x="90" y="113"/>
                      <a:pt x="99" y="114"/>
                      <a:pt x="109" y="115"/>
                    </a:cubicBezTo>
                    <a:cubicBezTo>
                      <a:pt x="101" y="77"/>
                      <a:pt x="95" y="38"/>
                      <a:pt x="8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07">
                <a:extLst>
                  <a:ext uri="{FF2B5EF4-FFF2-40B4-BE49-F238E27FC236}">
                    <a16:creationId xmlns:a16="http://schemas.microsoft.com/office/drawing/2014/main" id="{3933C13D-44E5-4025-8C3F-595B7A8B400C}"/>
                  </a:ext>
                </a:extLst>
              </p:cNvPr>
              <p:cNvSpPr>
                <a:spLocks noEditPoints="1"/>
              </p:cNvSpPr>
              <p:nvPr/>
            </p:nvSpPr>
            <p:spPr bwMode="auto">
              <a:xfrm>
                <a:off x="4796" y="3007"/>
                <a:ext cx="83" cy="218"/>
              </a:xfrm>
              <a:custGeom>
                <a:avLst/>
                <a:gdLst>
                  <a:gd name="T0" fmla="*/ 19 w 35"/>
                  <a:gd name="T1" fmla="*/ 46 h 92"/>
                  <a:gd name="T2" fmla="*/ 19 w 35"/>
                  <a:gd name="T3" fmla="*/ 46 h 92"/>
                  <a:gd name="T4" fmla="*/ 19 w 35"/>
                  <a:gd name="T5" fmla="*/ 46 h 92"/>
                  <a:gd name="T6" fmla="*/ 35 w 35"/>
                  <a:gd name="T7" fmla="*/ 27 h 92"/>
                  <a:gd name="T8" fmla="*/ 33 w 35"/>
                  <a:gd name="T9" fmla="*/ 29 h 92"/>
                  <a:gd name="T10" fmla="*/ 25 w 35"/>
                  <a:gd name="T11" fmla="*/ 37 h 92"/>
                  <a:gd name="T12" fmla="*/ 22 w 35"/>
                  <a:gd name="T13" fmla="*/ 41 h 92"/>
                  <a:gd name="T14" fmla="*/ 20 w 35"/>
                  <a:gd name="T15" fmla="*/ 43 h 92"/>
                  <a:gd name="T16" fmla="*/ 19 w 35"/>
                  <a:gd name="T17" fmla="*/ 44 h 92"/>
                  <a:gd name="T18" fmla="*/ 18 w 35"/>
                  <a:gd name="T19" fmla="*/ 45 h 92"/>
                  <a:gd name="T20" fmla="*/ 18 w 35"/>
                  <a:gd name="T21" fmla="*/ 45 h 92"/>
                  <a:gd name="T22" fmla="*/ 18 w 35"/>
                  <a:gd name="T23" fmla="*/ 45 h 92"/>
                  <a:gd name="T24" fmla="*/ 18 w 35"/>
                  <a:gd name="T25" fmla="*/ 45 h 92"/>
                  <a:gd name="T26" fmla="*/ 18 w 35"/>
                  <a:gd name="T27" fmla="*/ 45 h 92"/>
                  <a:gd name="T28" fmla="*/ 18 w 35"/>
                  <a:gd name="T29" fmla="*/ 45 h 92"/>
                  <a:gd name="T30" fmla="*/ 18 w 35"/>
                  <a:gd name="T31" fmla="*/ 45 h 92"/>
                  <a:gd name="T32" fmla="*/ 17 w 35"/>
                  <a:gd name="T33" fmla="*/ 46 h 92"/>
                  <a:gd name="T34" fmla="*/ 17 w 35"/>
                  <a:gd name="T35" fmla="*/ 46 h 92"/>
                  <a:gd name="T36" fmla="*/ 17 w 35"/>
                  <a:gd name="T37" fmla="*/ 46 h 92"/>
                  <a:gd name="T38" fmla="*/ 17 w 35"/>
                  <a:gd name="T39" fmla="*/ 46 h 92"/>
                  <a:gd name="T40" fmla="*/ 27 w 35"/>
                  <a:gd name="T41" fmla="*/ 89 h 92"/>
                  <a:gd name="T42" fmla="*/ 4 w 35"/>
                  <a:gd name="T43" fmla="*/ 78 h 92"/>
                  <a:gd name="T44" fmla="*/ 4 w 35"/>
                  <a:gd name="T45" fmla="*/ 80 h 92"/>
                  <a:gd name="T46" fmla="*/ 28 w 35"/>
                  <a:gd name="T47" fmla="*/ 91 h 92"/>
                  <a:gd name="T48" fmla="*/ 30 w 35"/>
                  <a:gd name="T49" fmla="*/ 92 h 92"/>
                  <a:gd name="T50" fmla="*/ 29 w 35"/>
                  <a:gd name="T51" fmla="*/ 90 h 92"/>
                  <a:gd name="T52" fmla="*/ 19 w 35"/>
                  <a:gd name="T53" fmla="*/ 46 h 92"/>
                  <a:gd name="T54" fmla="*/ 20 w 35"/>
                  <a:gd name="T55" fmla="*/ 46 h 92"/>
                  <a:gd name="T56" fmla="*/ 20 w 35"/>
                  <a:gd name="T57" fmla="*/ 46 h 92"/>
                  <a:gd name="T58" fmla="*/ 21 w 35"/>
                  <a:gd name="T59" fmla="*/ 45 h 92"/>
                  <a:gd name="T60" fmla="*/ 23 w 35"/>
                  <a:gd name="T61" fmla="*/ 43 h 92"/>
                  <a:gd name="T62" fmla="*/ 27 w 35"/>
                  <a:gd name="T63" fmla="*/ 38 h 92"/>
                  <a:gd name="T64" fmla="*/ 35 w 35"/>
                  <a:gd name="T65" fmla="*/ 30 h 92"/>
                  <a:gd name="T66" fmla="*/ 35 w 35"/>
                  <a:gd name="T67" fmla="*/ 29 h 92"/>
                  <a:gd name="T68" fmla="*/ 35 w 35"/>
                  <a:gd name="T69" fmla="*/ 27 h 92"/>
                  <a:gd name="T70" fmla="*/ 0 w 35"/>
                  <a:gd name="T71" fmla="*/ 0 h 92"/>
                  <a:gd name="T72" fmla="*/ 0 w 35"/>
                  <a:gd name="T73" fmla="*/ 4 h 92"/>
                  <a:gd name="T74" fmla="*/ 3 w 35"/>
                  <a:gd name="T75" fmla="*/ 9 h 92"/>
                  <a:gd name="T76" fmla="*/ 3 w 35"/>
                  <a:gd name="T77" fmla="*/ 9 h 92"/>
                  <a:gd name="T78" fmla="*/ 4 w 35"/>
                  <a:gd name="T79" fmla="*/ 10 h 92"/>
                  <a:gd name="T80" fmla="*/ 32 w 35"/>
                  <a:gd name="T81" fmla="*/ 12 h 92"/>
                  <a:gd name="T82" fmla="*/ 32 w 35"/>
                  <a:gd name="T83" fmla="*/ 10 h 92"/>
                  <a:gd name="T84" fmla="*/ 5 w 35"/>
                  <a:gd name="T85" fmla="*/ 8 h 92"/>
                  <a:gd name="T86" fmla="*/ 0 w 35"/>
                  <a:gd name="T8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92">
                    <a:moveTo>
                      <a:pt x="19" y="46"/>
                    </a:moveTo>
                    <a:cubicBezTo>
                      <a:pt x="19" y="46"/>
                      <a:pt x="19" y="46"/>
                      <a:pt x="19" y="46"/>
                    </a:cubicBezTo>
                    <a:cubicBezTo>
                      <a:pt x="19" y="46"/>
                      <a:pt x="19" y="46"/>
                      <a:pt x="19" y="46"/>
                    </a:cubicBezTo>
                    <a:moveTo>
                      <a:pt x="35" y="27"/>
                    </a:moveTo>
                    <a:cubicBezTo>
                      <a:pt x="34" y="27"/>
                      <a:pt x="34" y="28"/>
                      <a:pt x="33" y="29"/>
                    </a:cubicBezTo>
                    <a:cubicBezTo>
                      <a:pt x="31" y="31"/>
                      <a:pt x="28" y="34"/>
                      <a:pt x="25" y="37"/>
                    </a:cubicBezTo>
                    <a:cubicBezTo>
                      <a:pt x="22" y="41"/>
                      <a:pt x="22" y="41"/>
                      <a:pt x="22" y="41"/>
                    </a:cubicBezTo>
                    <a:cubicBezTo>
                      <a:pt x="20" y="43"/>
                      <a:pt x="20" y="43"/>
                      <a:pt x="20" y="43"/>
                    </a:cubicBezTo>
                    <a:cubicBezTo>
                      <a:pt x="19" y="44"/>
                      <a:pt x="19" y="44"/>
                      <a:pt x="19" y="44"/>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8" y="45"/>
                      <a:pt x="18" y="45"/>
                      <a:pt x="18" y="45"/>
                    </a:cubicBezTo>
                    <a:cubicBezTo>
                      <a:pt x="17" y="46"/>
                      <a:pt x="17" y="46"/>
                      <a:pt x="17" y="46"/>
                    </a:cubicBezTo>
                    <a:cubicBezTo>
                      <a:pt x="17" y="46"/>
                      <a:pt x="17" y="46"/>
                      <a:pt x="17" y="46"/>
                    </a:cubicBezTo>
                    <a:cubicBezTo>
                      <a:pt x="17" y="46"/>
                      <a:pt x="17" y="46"/>
                      <a:pt x="17" y="46"/>
                    </a:cubicBezTo>
                    <a:cubicBezTo>
                      <a:pt x="17" y="46"/>
                      <a:pt x="17" y="46"/>
                      <a:pt x="17" y="46"/>
                    </a:cubicBezTo>
                    <a:cubicBezTo>
                      <a:pt x="21" y="61"/>
                      <a:pt x="24" y="75"/>
                      <a:pt x="27" y="89"/>
                    </a:cubicBezTo>
                    <a:cubicBezTo>
                      <a:pt x="19" y="85"/>
                      <a:pt x="11" y="82"/>
                      <a:pt x="4" y="78"/>
                    </a:cubicBezTo>
                    <a:cubicBezTo>
                      <a:pt x="4" y="79"/>
                      <a:pt x="4" y="80"/>
                      <a:pt x="4" y="80"/>
                    </a:cubicBezTo>
                    <a:cubicBezTo>
                      <a:pt x="12" y="84"/>
                      <a:pt x="20" y="88"/>
                      <a:pt x="28" y="91"/>
                    </a:cubicBezTo>
                    <a:cubicBezTo>
                      <a:pt x="30" y="92"/>
                      <a:pt x="30" y="92"/>
                      <a:pt x="30" y="92"/>
                    </a:cubicBezTo>
                    <a:cubicBezTo>
                      <a:pt x="29" y="90"/>
                      <a:pt x="29" y="90"/>
                      <a:pt x="29" y="90"/>
                    </a:cubicBezTo>
                    <a:cubicBezTo>
                      <a:pt x="26" y="76"/>
                      <a:pt x="23" y="61"/>
                      <a:pt x="19" y="46"/>
                    </a:cubicBezTo>
                    <a:cubicBezTo>
                      <a:pt x="20" y="46"/>
                      <a:pt x="20" y="46"/>
                      <a:pt x="20" y="46"/>
                    </a:cubicBezTo>
                    <a:cubicBezTo>
                      <a:pt x="20" y="46"/>
                      <a:pt x="20" y="46"/>
                      <a:pt x="20" y="46"/>
                    </a:cubicBezTo>
                    <a:cubicBezTo>
                      <a:pt x="21" y="45"/>
                      <a:pt x="21" y="45"/>
                      <a:pt x="21" y="45"/>
                    </a:cubicBezTo>
                    <a:cubicBezTo>
                      <a:pt x="23" y="43"/>
                      <a:pt x="23" y="43"/>
                      <a:pt x="23" y="43"/>
                    </a:cubicBezTo>
                    <a:cubicBezTo>
                      <a:pt x="27" y="38"/>
                      <a:pt x="27" y="38"/>
                      <a:pt x="27" y="38"/>
                    </a:cubicBezTo>
                    <a:cubicBezTo>
                      <a:pt x="30" y="36"/>
                      <a:pt x="32" y="33"/>
                      <a:pt x="35" y="30"/>
                    </a:cubicBezTo>
                    <a:cubicBezTo>
                      <a:pt x="35" y="30"/>
                      <a:pt x="35" y="29"/>
                      <a:pt x="35" y="29"/>
                    </a:cubicBezTo>
                    <a:cubicBezTo>
                      <a:pt x="35" y="28"/>
                      <a:pt x="35" y="28"/>
                      <a:pt x="35" y="27"/>
                    </a:cubicBezTo>
                    <a:moveTo>
                      <a:pt x="0" y="0"/>
                    </a:moveTo>
                    <a:cubicBezTo>
                      <a:pt x="0" y="1"/>
                      <a:pt x="0" y="2"/>
                      <a:pt x="0" y="4"/>
                    </a:cubicBezTo>
                    <a:cubicBezTo>
                      <a:pt x="1" y="5"/>
                      <a:pt x="2" y="7"/>
                      <a:pt x="3" y="9"/>
                    </a:cubicBezTo>
                    <a:cubicBezTo>
                      <a:pt x="3" y="9"/>
                      <a:pt x="3" y="9"/>
                      <a:pt x="3" y="9"/>
                    </a:cubicBezTo>
                    <a:cubicBezTo>
                      <a:pt x="4" y="10"/>
                      <a:pt x="4" y="10"/>
                      <a:pt x="4" y="10"/>
                    </a:cubicBezTo>
                    <a:cubicBezTo>
                      <a:pt x="13" y="10"/>
                      <a:pt x="22" y="11"/>
                      <a:pt x="32" y="12"/>
                    </a:cubicBezTo>
                    <a:cubicBezTo>
                      <a:pt x="32" y="12"/>
                      <a:pt x="32" y="11"/>
                      <a:pt x="32" y="10"/>
                    </a:cubicBezTo>
                    <a:cubicBezTo>
                      <a:pt x="22" y="9"/>
                      <a:pt x="13" y="8"/>
                      <a:pt x="5" y="8"/>
                    </a:cubicBezTo>
                    <a:cubicBezTo>
                      <a:pt x="3" y="5"/>
                      <a:pt x="2" y="2"/>
                      <a:pt x="0" y="0"/>
                    </a:cubicBezTo>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8">
                <a:extLst>
                  <a:ext uri="{FF2B5EF4-FFF2-40B4-BE49-F238E27FC236}">
                    <a16:creationId xmlns:a16="http://schemas.microsoft.com/office/drawing/2014/main" id="{CEBD884E-3CA5-4090-983A-5205D77F15EB}"/>
                  </a:ext>
                </a:extLst>
              </p:cNvPr>
              <p:cNvSpPr>
                <a:spLocks/>
              </p:cNvSpPr>
              <p:nvPr/>
            </p:nvSpPr>
            <p:spPr bwMode="auto">
              <a:xfrm>
                <a:off x="4618" y="2432"/>
                <a:ext cx="1011" cy="1249"/>
              </a:xfrm>
              <a:custGeom>
                <a:avLst/>
                <a:gdLst>
                  <a:gd name="T0" fmla="*/ 88 w 426"/>
                  <a:gd name="T1" fmla="*/ 165 h 526"/>
                  <a:gd name="T2" fmla="*/ 141 w 426"/>
                  <a:gd name="T3" fmla="*/ 388 h 526"/>
                  <a:gd name="T4" fmla="*/ 0 w 426"/>
                  <a:gd name="T5" fmla="*/ 406 h 526"/>
                  <a:gd name="T6" fmla="*/ 40 w 426"/>
                  <a:gd name="T7" fmla="*/ 525 h 526"/>
                  <a:gd name="T8" fmla="*/ 398 w 426"/>
                  <a:gd name="T9" fmla="*/ 526 h 526"/>
                  <a:gd name="T10" fmla="*/ 393 w 426"/>
                  <a:gd name="T11" fmla="*/ 333 h 526"/>
                  <a:gd name="T12" fmla="*/ 224 w 426"/>
                  <a:gd name="T13" fmla="*/ 0 h 526"/>
                  <a:gd name="T14" fmla="*/ 113 w 426"/>
                  <a:gd name="T15" fmla="*/ 38 h 526"/>
                  <a:gd name="T16" fmla="*/ 88 w 426"/>
                  <a:gd name="T17" fmla="*/ 16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526">
                    <a:moveTo>
                      <a:pt x="88" y="165"/>
                    </a:moveTo>
                    <a:cubicBezTo>
                      <a:pt x="141" y="388"/>
                      <a:pt x="141" y="388"/>
                      <a:pt x="141" y="388"/>
                    </a:cubicBezTo>
                    <a:cubicBezTo>
                      <a:pt x="141" y="388"/>
                      <a:pt x="53" y="334"/>
                      <a:pt x="0" y="406"/>
                    </a:cubicBezTo>
                    <a:cubicBezTo>
                      <a:pt x="40" y="525"/>
                      <a:pt x="40" y="525"/>
                      <a:pt x="40" y="525"/>
                    </a:cubicBezTo>
                    <a:cubicBezTo>
                      <a:pt x="398" y="526"/>
                      <a:pt x="398" y="526"/>
                      <a:pt x="398" y="526"/>
                    </a:cubicBezTo>
                    <a:cubicBezTo>
                      <a:pt x="398" y="526"/>
                      <a:pt x="426" y="419"/>
                      <a:pt x="393" y="333"/>
                    </a:cubicBezTo>
                    <a:cubicBezTo>
                      <a:pt x="380" y="297"/>
                      <a:pt x="224" y="0"/>
                      <a:pt x="224" y="0"/>
                    </a:cubicBezTo>
                    <a:cubicBezTo>
                      <a:pt x="113" y="38"/>
                      <a:pt x="113" y="38"/>
                      <a:pt x="113" y="38"/>
                    </a:cubicBezTo>
                    <a:lnTo>
                      <a:pt x="88" y="165"/>
                    </a:lnTo>
                    <a:close/>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09">
                <a:extLst>
                  <a:ext uri="{FF2B5EF4-FFF2-40B4-BE49-F238E27FC236}">
                    <a16:creationId xmlns:a16="http://schemas.microsoft.com/office/drawing/2014/main" id="{76E5306F-D375-401A-8DCF-65A873951135}"/>
                  </a:ext>
                </a:extLst>
              </p:cNvPr>
              <p:cNvSpPr>
                <a:spLocks/>
              </p:cNvSpPr>
              <p:nvPr/>
            </p:nvSpPr>
            <p:spPr bwMode="auto">
              <a:xfrm>
                <a:off x="4616" y="3306"/>
                <a:ext cx="411" cy="373"/>
              </a:xfrm>
              <a:custGeom>
                <a:avLst/>
                <a:gdLst>
                  <a:gd name="T0" fmla="*/ 41 w 173"/>
                  <a:gd name="T1" fmla="*/ 157 h 157"/>
                  <a:gd name="T2" fmla="*/ 40 w 173"/>
                  <a:gd name="T3" fmla="*/ 155 h 157"/>
                  <a:gd name="T4" fmla="*/ 38 w 173"/>
                  <a:gd name="T5" fmla="*/ 148 h 157"/>
                  <a:gd name="T6" fmla="*/ 29 w 173"/>
                  <a:gd name="T7" fmla="*/ 123 h 157"/>
                  <a:gd name="T8" fmla="*/ 0 w 173"/>
                  <a:gd name="T9" fmla="*/ 37 h 157"/>
                  <a:gd name="T10" fmla="*/ 0 w 173"/>
                  <a:gd name="T11" fmla="*/ 37 h 157"/>
                  <a:gd name="T12" fmla="*/ 0 w 173"/>
                  <a:gd name="T13" fmla="*/ 36 h 157"/>
                  <a:gd name="T14" fmla="*/ 14 w 173"/>
                  <a:gd name="T15" fmla="*/ 20 h 157"/>
                  <a:gd name="T16" fmla="*/ 33 w 173"/>
                  <a:gd name="T17" fmla="*/ 8 h 157"/>
                  <a:gd name="T18" fmla="*/ 66 w 173"/>
                  <a:gd name="T19" fmla="*/ 0 h 157"/>
                  <a:gd name="T20" fmla="*/ 83 w 173"/>
                  <a:gd name="T21" fmla="*/ 0 h 157"/>
                  <a:gd name="T22" fmla="*/ 98 w 173"/>
                  <a:gd name="T23" fmla="*/ 2 h 157"/>
                  <a:gd name="T24" fmla="*/ 146 w 173"/>
                  <a:gd name="T25" fmla="*/ 27 h 157"/>
                  <a:gd name="T26" fmla="*/ 169 w 173"/>
                  <a:gd name="T27" fmla="*/ 55 h 157"/>
                  <a:gd name="T28" fmla="*/ 173 w 173"/>
                  <a:gd name="T29" fmla="*/ 68 h 157"/>
                  <a:gd name="T30" fmla="*/ 168 w 173"/>
                  <a:gd name="T31" fmla="*/ 55 h 157"/>
                  <a:gd name="T32" fmla="*/ 145 w 173"/>
                  <a:gd name="T33" fmla="*/ 28 h 157"/>
                  <a:gd name="T34" fmla="*/ 98 w 173"/>
                  <a:gd name="T35" fmla="*/ 3 h 157"/>
                  <a:gd name="T36" fmla="*/ 83 w 173"/>
                  <a:gd name="T37" fmla="*/ 2 h 157"/>
                  <a:gd name="T38" fmla="*/ 67 w 173"/>
                  <a:gd name="T39" fmla="*/ 2 h 157"/>
                  <a:gd name="T40" fmla="*/ 34 w 173"/>
                  <a:gd name="T41" fmla="*/ 10 h 157"/>
                  <a:gd name="T42" fmla="*/ 15 w 173"/>
                  <a:gd name="T43" fmla="*/ 21 h 157"/>
                  <a:gd name="T44" fmla="*/ 2 w 173"/>
                  <a:gd name="T45" fmla="*/ 37 h 157"/>
                  <a:gd name="T46" fmla="*/ 2 w 173"/>
                  <a:gd name="T47" fmla="*/ 37 h 157"/>
                  <a:gd name="T48" fmla="*/ 30 w 173"/>
                  <a:gd name="T49" fmla="*/ 123 h 157"/>
                  <a:gd name="T50" fmla="*/ 39 w 173"/>
                  <a:gd name="T51" fmla="*/ 148 h 157"/>
                  <a:gd name="T52" fmla="*/ 41 w 173"/>
                  <a:gd name="T53" fmla="*/ 154 h 157"/>
                  <a:gd name="T54" fmla="*/ 41 w 173"/>
                  <a:gd name="T55"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 h="157">
                    <a:moveTo>
                      <a:pt x="41" y="157"/>
                    </a:moveTo>
                    <a:cubicBezTo>
                      <a:pt x="41" y="157"/>
                      <a:pt x="41" y="156"/>
                      <a:pt x="40" y="155"/>
                    </a:cubicBezTo>
                    <a:cubicBezTo>
                      <a:pt x="40" y="153"/>
                      <a:pt x="39" y="151"/>
                      <a:pt x="38" y="148"/>
                    </a:cubicBezTo>
                    <a:cubicBezTo>
                      <a:pt x="36" y="142"/>
                      <a:pt x="33" y="133"/>
                      <a:pt x="29" y="123"/>
                    </a:cubicBezTo>
                    <a:cubicBezTo>
                      <a:pt x="22" y="101"/>
                      <a:pt x="12" y="72"/>
                      <a:pt x="0" y="37"/>
                    </a:cubicBezTo>
                    <a:cubicBezTo>
                      <a:pt x="0" y="37"/>
                      <a:pt x="0" y="37"/>
                      <a:pt x="0" y="37"/>
                    </a:cubicBezTo>
                    <a:cubicBezTo>
                      <a:pt x="0" y="36"/>
                      <a:pt x="0" y="36"/>
                      <a:pt x="0" y="36"/>
                    </a:cubicBezTo>
                    <a:cubicBezTo>
                      <a:pt x="4" y="30"/>
                      <a:pt x="8" y="25"/>
                      <a:pt x="14" y="20"/>
                    </a:cubicBezTo>
                    <a:cubicBezTo>
                      <a:pt x="19" y="15"/>
                      <a:pt x="26" y="11"/>
                      <a:pt x="33" y="8"/>
                    </a:cubicBezTo>
                    <a:cubicBezTo>
                      <a:pt x="44" y="3"/>
                      <a:pt x="55" y="1"/>
                      <a:pt x="66" y="0"/>
                    </a:cubicBezTo>
                    <a:cubicBezTo>
                      <a:pt x="72" y="0"/>
                      <a:pt x="77" y="0"/>
                      <a:pt x="83" y="0"/>
                    </a:cubicBezTo>
                    <a:cubicBezTo>
                      <a:pt x="88" y="0"/>
                      <a:pt x="93" y="0"/>
                      <a:pt x="98" y="2"/>
                    </a:cubicBezTo>
                    <a:cubicBezTo>
                      <a:pt x="118" y="6"/>
                      <a:pt x="136" y="15"/>
                      <a:pt x="146" y="27"/>
                    </a:cubicBezTo>
                    <a:cubicBezTo>
                      <a:pt x="157" y="38"/>
                      <a:pt x="165" y="47"/>
                      <a:pt x="169" y="55"/>
                    </a:cubicBezTo>
                    <a:cubicBezTo>
                      <a:pt x="173" y="63"/>
                      <a:pt x="173" y="68"/>
                      <a:pt x="173" y="68"/>
                    </a:cubicBezTo>
                    <a:cubicBezTo>
                      <a:pt x="173" y="68"/>
                      <a:pt x="172" y="63"/>
                      <a:pt x="168" y="55"/>
                    </a:cubicBezTo>
                    <a:cubicBezTo>
                      <a:pt x="164" y="48"/>
                      <a:pt x="156" y="38"/>
                      <a:pt x="145" y="28"/>
                    </a:cubicBezTo>
                    <a:cubicBezTo>
                      <a:pt x="134" y="17"/>
                      <a:pt x="118" y="8"/>
                      <a:pt x="98" y="3"/>
                    </a:cubicBezTo>
                    <a:cubicBezTo>
                      <a:pt x="93" y="2"/>
                      <a:pt x="88" y="2"/>
                      <a:pt x="83" y="2"/>
                    </a:cubicBezTo>
                    <a:cubicBezTo>
                      <a:pt x="77" y="2"/>
                      <a:pt x="72" y="2"/>
                      <a:pt x="67" y="2"/>
                    </a:cubicBezTo>
                    <a:cubicBezTo>
                      <a:pt x="56" y="3"/>
                      <a:pt x="44" y="5"/>
                      <a:pt x="34" y="10"/>
                    </a:cubicBezTo>
                    <a:cubicBezTo>
                      <a:pt x="27" y="13"/>
                      <a:pt x="20" y="17"/>
                      <a:pt x="15" y="21"/>
                    </a:cubicBezTo>
                    <a:cubicBezTo>
                      <a:pt x="10" y="26"/>
                      <a:pt x="5" y="32"/>
                      <a:pt x="2" y="37"/>
                    </a:cubicBezTo>
                    <a:cubicBezTo>
                      <a:pt x="2" y="37"/>
                      <a:pt x="2" y="37"/>
                      <a:pt x="2" y="37"/>
                    </a:cubicBezTo>
                    <a:cubicBezTo>
                      <a:pt x="13" y="71"/>
                      <a:pt x="23" y="101"/>
                      <a:pt x="30" y="123"/>
                    </a:cubicBezTo>
                    <a:cubicBezTo>
                      <a:pt x="34" y="133"/>
                      <a:pt x="37" y="142"/>
                      <a:pt x="39" y="148"/>
                    </a:cubicBezTo>
                    <a:cubicBezTo>
                      <a:pt x="39" y="150"/>
                      <a:pt x="40" y="153"/>
                      <a:pt x="41" y="154"/>
                    </a:cubicBezTo>
                    <a:cubicBezTo>
                      <a:pt x="41" y="156"/>
                      <a:pt x="41" y="157"/>
                      <a:pt x="41" y="157"/>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10">
                <a:extLst>
                  <a:ext uri="{FF2B5EF4-FFF2-40B4-BE49-F238E27FC236}">
                    <a16:creationId xmlns:a16="http://schemas.microsoft.com/office/drawing/2014/main" id="{C5933661-D7F5-4DAD-89C3-17E9DCED734A}"/>
                  </a:ext>
                </a:extLst>
              </p:cNvPr>
              <p:cNvSpPr>
                <a:spLocks/>
              </p:cNvSpPr>
              <p:nvPr/>
            </p:nvSpPr>
            <p:spPr bwMode="auto">
              <a:xfrm>
                <a:off x="4939" y="3322"/>
                <a:ext cx="171" cy="53"/>
              </a:xfrm>
              <a:custGeom>
                <a:avLst/>
                <a:gdLst>
                  <a:gd name="T0" fmla="*/ 72 w 72"/>
                  <a:gd name="T1" fmla="*/ 21 h 22"/>
                  <a:gd name="T2" fmla="*/ 63 w 72"/>
                  <a:gd name="T3" fmla="*/ 14 h 22"/>
                  <a:gd name="T4" fmla="*/ 38 w 72"/>
                  <a:gd name="T5" fmla="*/ 3 h 22"/>
                  <a:gd name="T6" fmla="*/ 23 w 72"/>
                  <a:gd name="T7" fmla="*/ 3 h 22"/>
                  <a:gd name="T8" fmla="*/ 11 w 72"/>
                  <a:gd name="T9" fmla="*/ 6 h 22"/>
                  <a:gd name="T10" fmla="*/ 0 w 72"/>
                  <a:gd name="T11" fmla="*/ 11 h 22"/>
                  <a:gd name="T12" fmla="*/ 3 w 72"/>
                  <a:gd name="T13" fmla="*/ 9 h 22"/>
                  <a:gd name="T14" fmla="*/ 10 w 72"/>
                  <a:gd name="T15" fmla="*/ 5 h 22"/>
                  <a:gd name="T16" fmla="*/ 22 w 72"/>
                  <a:gd name="T17" fmla="*/ 1 h 22"/>
                  <a:gd name="T18" fmla="*/ 38 w 72"/>
                  <a:gd name="T19" fmla="*/ 1 h 22"/>
                  <a:gd name="T20" fmla="*/ 64 w 72"/>
                  <a:gd name="T21" fmla="*/ 13 h 22"/>
                  <a:gd name="T22" fmla="*/ 70 w 72"/>
                  <a:gd name="T23" fmla="*/ 19 h 22"/>
                  <a:gd name="T24" fmla="*/ 72 w 72"/>
                  <a:gd name="T25"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22">
                    <a:moveTo>
                      <a:pt x="72" y="21"/>
                    </a:moveTo>
                    <a:cubicBezTo>
                      <a:pt x="72" y="22"/>
                      <a:pt x="69" y="18"/>
                      <a:pt x="63" y="14"/>
                    </a:cubicBezTo>
                    <a:cubicBezTo>
                      <a:pt x="57" y="10"/>
                      <a:pt x="49" y="5"/>
                      <a:pt x="38" y="3"/>
                    </a:cubicBezTo>
                    <a:cubicBezTo>
                      <a:pt x="32" y="3"/>
                      <a:pt x="27" y="3"/>
                      <a:pt x="23" y="3"/>
                    </a:cubicBezTo>
                    <a:cubicBezTo>
                      <a:pt x="18" y="4"/>
                      <a:pt x="14" y="5"/>
                      <a:pt x="11" y="6"/>
                    </a:cubicBezTo>
                    <a:cubicBezTo>
                      <a:pt x="4" y="9"/>
                      <a:pt x="0" y="11"/>
                      <a:pt x="0" y="11"/>
                    </a:cubicBezTo>
                    <a:cubicBezTo>
                      <a:pt x="0" y="11"/>
                      <a:pt x="1" y="10"/>
                      <a:pt x="3" y="9"/>
                    </a:cubicBezTo>
                    <a:cubicBezTo>
                      <a:pt x="4" y="8"/>
                      <a:pt x="7" y="6"/>
                      <a:pt x="10" y="5"/>
                    </a:cubicBezTo>
                    <a:cubicBezTo>
                      <a:pt x="13" y="3"/>
                      <a:pt x="18" y="2"/>
                      <a:pt x="22" y="1"/>
                    </a:cubicBezTo>
                    <a:cubicBezTo>
                      <a:pt x="27" y="1"/>
                      <a:pt x="33" y="0"/>
                      <a:pt x="38" y="1"/>
                    </a:cubicBezTo>
                    <a:cubicBezTo>
                      <a:pt x="49" y="3"/>
                      <a:pt x="58" y="8"/>
                      <a:pt x="64" y="13"/>
                    </a:cubicBezTo>
                    <a:cubicBezTo>
                      <a:pt x="67" y="15"/>
                      <a:pt x="69" y="17"/>
                      <a:pt x="70" y="19"/>
                    </a:cubicBezTo>
                    <a:cubicBezTo>
                      <a:pt x="72" y="20"/>
                      <a:pt x="72" y="21"/>
                      <a:pt x="72"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11">
                <a:extLst>
                  <a:ext uri="{FF2B5EF4-FFF2-40B4-BE49-F238E27FC236}">
                    <a16:creationId xmlns:a16="http://schemas.microsoft.com/office/drawing/2014/main" id="{9C6CF2B4-6591-48D8-A70E-B971A15234A8}"/>
                  </a:ext>
                </a:extLst>
              </p:cNvPr>
              <p:cNvSpPr>
                <a:spLocks/>
              </p:cNvSpPr>
              <p:nvPr/>
            </p:nvSpPr>
            <p:spPr bwMode="auto">
              <a:xfrm>
                <a:off x="4813" y="2748"/>
                <a:ext cx="142" cy="593"/>
              </a:xfrm>
              <a:custGeom>
                <a:avLst/>
                <a:gdLst>
                  <a:gd name="T0" fmla="*/ 60 w 60"/>
                  <a:gd name="T1" fmla="*/ 250 h 250"/>
                  <a:gd name="T2" fmla="*/ 59 w 60"/>
                  <a:gd name="T3" fmla="*/ 247 h 250"/>
                  <a:gd name="T4" fmla="*/ 57 w 60"/>
                  <a:gd name="T5" fmla="*/ 240 h 250"/>
                  <a:gd name="T6" fmla="*/ 49 w 60"/>
                  <a:gd name="T7" fmla="*/ 214 h 250"/>
                  <a:gd name="T8" fmla="*/ 26 w 60"/>
                  <a:gd name="T9" fmla="*/ 126 h 250"/>
                  <a:gd name="T10" fmla="*/ 6 w 60"/>
                  <a:gd name="T11" fmla="*/ 37 h 250"/>
                  <a:gd name="T12" fmla="*/ 1 w 60"/>
                  <a:gd name="T13" fmla="*/ 10 h 250"/>
                  <a:gd name="T14" fmla="*/ 0 w 60"/>
                  <a:gd name="T15" fmla="*/ 2 h 250"/>
                  <a:gd name="T16" fmla="*/ 0 w 60"/>
                  <a:gd name="T17" fmla="*/ 0 h 250"/>
                  <a:gd name="T18" fmla="*/ 0 w 60"/>
                  <a:gd name="T19" fmla="*/ 2 h 250"/>
                  <a:gd name="T20" fmla="*/ 2 w 60"/>
                  <a:gd name="T21" fmla="*/ 10 h 250"/>
                  <a:gd name="T22" fmla="*/ 8 w 60"/>
                  <a:gd name="T23" fmla="*/ 37 h 250"/>
                  <a:gd name="T24" fmla="*/ 28 w 60"/>
                  <a:gd name="T25" fmla="*/ 125 h 250"/>
                  <a:gd name="T26" fmla="*/ 50 w 60"/>
                  <a:gd name="T27" fmla="*/ 213 h 250"/>
                  <a:gd name="T28" fmla="*/ 57 w 60"/>
                  <a:gd name="T29" fmla="*/ 240 h 250"/>
                  <a:gd name="T30" fmla="*/ 59 w 60"/>
                  <a:gd name="T31" fmla="*/ 247 h 250"/>
                  <a:gd name="T32" fmla="*/ 60 w 60"/>
                  <a:gd name="T33"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250">
                    <a:moveTo>
                      <a:pt x="60" y="250"/>
                    </a:moveTo>
                    <a:cubicBezTo>
                      <a:pt x="60" y="250"/>
                      <a:pt x="59" y="249"/>
                      <a:pt x="59" y="247"/>
                    </a:cubicBezTo>
                    <a:cubicBezTo>
                      <a:pt x="58" y="246"/>
                      <a:pt x="58" y="243"/>
                      <a:pt x="57" y="240"/>
                    </a:cubicBezTo>
                    <a:cubicBezTo>
                      <a:pt x="55" y="234"/>
                      <a:pt x="52" y="225"/>
                      <a:pt x="49" y="214"/>
                    </a:cubicBezTo>
                    <a:cubicBezTo>
                      <a:pt x="42" y="191"/>
                      <a:pt x="34" y="160"/>
                      <a:pt x="26" y="126"/>
                    </a:cubicBezTo>
                    <a:cubicBezTo>
                      <a:pt x="17" y="91"/>
                      <a:pt x="11" y="60"/>
                      <a:pt x="6" y="37"/>
                    </a:cubicBezTo>
                    <a:cubicBezTo>
                      <a:pt x="4" y="26"/>
                      <a:pt x="2" y="16"/>
                      <a:pt x="1" y="10"/>
                    </a:cubicBezTo>
                    <a:cubicBezTo>
                      <a:pt x="1" y="7"/>
                      <a:pt x="0" y="4"/>
                      <a:pt x="0" y="2"/>
                    </a:cubicBezTo>
                    <a:cubicBezTo>
                      <a:pt x="0" y="1"/>
                      <a:pt x="0" y="0"/>
                      <a:pt x="0" y="0"/>
                    </a:cubicBezTo>
                    <a:cubicBezTo>
                      <a:pt x="0" y="0"/>
                      <a:pt x="0" y="1"/>
                      <a:pt x="0" y="2"/>
                    </a:cubicBezTo>
                    <a:cubicBezTo>
                      <a:pt x="1" y="4"/>
                      <a:pt x="1" y="7"/>
                      <a:pt x="2" y="10"/>
                    </a:cubicBezTo>
                    <a:cubicBezTo>
                      <a:pt x="3" y="16"/>
                      <a:pt x="5" y="25"/>
                      <a:pt x="8" y="37"/>
                    </a:cubicBezTo>
                    <a:cubicBezTo>
                      <a:pt x="13" y="59"/>
                      <a:pt x="19" y="91"/>
                      <a:pt x="28" y="125"/>
                    </a:cubicBezTo>
                    <a:cubicBezTo>
                      <a:pt x="36" y="160"/>
                      <a:pt x="44" y="191"/>
                      <a:pt x="50" y="213"/>
                    </a:cubicBezTo>
                    <a:cubicBezTo>
                      <a:pt x="53" y="225"/>
                      <a:pt x="56" y="234"/>
                      <a:pt x="57" y="240"/>
                    </a:cubicBezTo>
                    <a:cubicBezTo>
                      <a:pt x="58" y="243"/>
                      <a:pt x="59" y="245"/>
                      <a:pt x="59" y="247"/>
                    </a:cubicBezTo>
                    <a:cubicBezTo>
                      <a:pt x="60" y="249"/>
                      <a:pt x="60" y="250"/>
                      <a:pt x="60" y="25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12">
                <a:extLst>
                  <a:ext uri="{FF2B5EF4-FFF2-40B4-BE49-F238E27FC236}">
                    <a16:creationId xmlns:a16="http://schemas.microsoft.com/office/drawing/2014/main" id="{728ADB17-F4A2-47BC-9110-37E320BB8552}"/>
                  </a:ext>
                </a:extLst>
              </p:cNvPr>
              <p:cNvSpPr>
                <a:spLocks/>
              </p:cNvSpPr>
              <p:nvPr/>
            </p:nvSpPr>
            <p:spPr bwMode="auto">
              <a:xfrm>
                <a:off x="4808" y="2679"/>
                <a:ext cx="36" cy="81"/>
              </a:xfrm>
              <a:custGeom>
                <a:avLst/>
                <a:gdLst>
                  <a:gd name="T0" fmla="*/ 14 w 15"/>
                  <a:gd name="T1" fmla="*/ 0 h 34"/>
                  <a:gd name="T2" fmla="*/ 8 w 15"/>
                  <a:gd name="T3" fmla="*/ 17 h 34"/>
                  <a:gd name="T4" fmla="*/ 0 w 15"/>
                  <a:gd name="T5" fmla="*/ 33 h 34"/>
                  <a:gd name="T6" fmla="*/ 6 w 15"/>
                  <a:gd name="T7" fmla="*/ 16 h 34"/>
                  <a:gd name="T8" fmla="*/ 14 w 15"/>
                  <a:gd name="T9" fmla="*/ 0 h 34"/>
                </a:gdLst>
                <a:ahLst/>
                <a:cxnLst>
                  <a:cxn ang="0">
                    <a:pos x="T0" y="T1"/>
                  </a:cxn>
                  <a:cxn ang="0">
                    <a:pos x="T2" y="T3"/>
                  </a:cxn>
                  <a:cxn ang="0">
                    <a:pos x="T4" y="T5"/>
                  </a:cxn>
                  <a:cxn ang="0">
                    <a:pos x="T6" y="T7"/>
                  </a:cxn>
                  <a:cxn ang="0">
                    <a:pos x="T8" y="T9"/>
                  </a:cxn>
                </a:cxnLst>
                <a:rect l="0" t="0" r="r" b="b"/>
                <a:pathLst>
                  <a:path w="15" h="34">
                    <a:moveTo>
                      <a:pt x="14" y="0"/>
                    </a:moveTo>
                    <a:cubicBezTo>
                      <a:pt x="15" y="1"/>
                      <a:pt x="12" y="8"/>
                      <a:pt x="8" y="17"/>
                    </a:cubicBezTo>
                    <a:cubicBezTo>
                      <a:pt x="4" y="26"/>
                      <a:pt x="1" y="34"/>
                      <a:pt x="0" y="33"/>
                    </a:cubicBezTo>
                    <a:cubicBezTo>
                      <a:pt x="0" y="33"/>
                      <a:pt x="3" y="26"/>
                      <a:pt x="6" y="16"/>
                    </a:cubicBezTo>
                    <a:cubicBezTo>
                      <a:pt x="10" y="7"/>
                      <a:pt x="13" y="0"/>
                      <a:pt x="14"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13">
                <a:extLst>
                  <a:ext uri="{FF2B5EF4-FFF2-40B4-BE49-F238E27FC236}">
                    <a16:creationId xmlns:a16="http://schemas.microsoft.com/office/drawing/2014/main" id="{4ABDA977-0674-4BB5-814F-0D79728617B0}"/>
                  </a:ext>
                </a:extLst>
              </p:cNvPr>
              <p:cNvSpPr>
                <a:spLocks/>
              </p:cNvSpPr>
              <p:nvPr/>
            </p:nvSpPr>
            <p:spPr bwMode="auto">
              <a:xfrm>
                <a:off x="3387" y="2824"/>
                <a:ext cx="106" cy="278"/>
              </a:xfrm>
              <a:custGeom>
                <a:avLst/>
                <a:gdLst>
                  <a:gd name="T0" fmla="*/ 6 w 45"/>
                  <a:gd name="T1" fmla="*/ 0 h 117"/>
                  <a:gd name="T2" fmla="*/ 0 w 45"/>
                  <a:gd name="T3" fmla="*/ 52 h 117"/>
                  <a:gd name="T4" fmla="*/ 45 w 45"/>
                  <a:gd name="T5" fmla="*/ 117 h 117"/>
                  <a:gd name="T6" fmla="*/ 6 w 45"/>
                  <a:gd name="T7" fmla="*/ 0 h 117"/>
                </a:gdLst>
                <a:ahLst/>
                <a:cxnLst>
                  <a:cxn ang="0">
                    <a:pos x="T0" y="T1"/>
                  </a:cxn>
                  <a:cxn ang="0">
                    <a:pos x="T2" y="T3"/>
                  </a:cxn>
                  <a:cxn ang="0">
                    <a:pos x="T4" y="T5"/>
                  </a:cxn>
                  <a:cxn ang="0">
                    <a:pos x="T6" y="T7"/>
                  </a:cxn>
                </a:cxnLst>
                <a:rect l="0" t="0" r="r" b="b"/>
                <a:pathLst>
                  <a:path w="45" h="117">
                    <a:moveTo>
                      <a:pt x="6" y="0"/>
                    </a:moveTo>
                    <a:cubicBezTo>
                      <a:pt x="4" y="17"/>
                      <a:pt x="2" y="34"/>
                      <a:pt x="0" y="52"/>
                    </a:cubicBezTo>
                    <a:cubicBezTo>
                      <a:pt x="45" y="117"/>
                      <a:pt x="45" y="117"/>
                      <a:pt x="45" y="117"/>
                    </a:cubicBezTo>
                    <a:cubicBezTo>
                      <a:pt x="6" y="0"/>
                      <a:pt x="6" y="0"/>
                      <a:pt x="6"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14">
                <a:extLst>
                  <a:ext uri="{FF2B5EF4-FFF2-40B4-BE49-F238E27FC236}">
                    <a16:creationId xmlns:a16="http://schemas.microsoft.com/office/drawing/2014/main" id="{E900ABF6-6C34-47EC-B147-1AC1FFE416C2}"/>
                  </a:ext>
                </a:extLst>
              </p:cNvPr>
              <p:cNvSpPr>
                <a:spLocks/>
              </p:cNvSpPr>
              <p:nvPr/>
            </p:nvSpPr>
            <p:spPr bwMode="auto">
              <a:xfrm>
                <a:off x="3346" y="2947"/>
                <a:ext cx="147" cy="392"/>
              </a:xfrm>
              <a:custGeom>
                <a:avLst/>
                <a:gdLst>
                  <a:gd name="T0" fmla="*/ 17 w 62"/>
                  <a:gd name="T1" fmla="*/ 0 h 165"/>
                  <a:gd name="T2" fmla="*/ 0 w 62"/>
                  <a:gd name="T3" fmla="*/ 165 h 165"/>
                  <a:gd name="T4" fmla="*/ 62 w 62"/>
                  <a:gd name="T5" fmla="*/ 65 h 165"/>
                  <a:gd name="T6" fmla="*/ 17 w 62"/>
                  <a:gd name="T7" fmla="*/ 0 h 165"/>
                </a:gdLst>
                <a:ahLst/>
                <a:cxnLst>
                  <a:cxn ang="0">
                    <a:pos x="T0" y="T1"/>
                  </a:cxn>
                  <a:cxn ang="0">
                    <a:pos x="T2" y="T3"/>
                  </a:cxn>
                  <a:cxn ang="0">
                    <a:pos x="T4" y="T5"/>
                  </a:cxn>
                  <a:cxn ang="0">
                    <a:pos x="T6" y="T7"/>
                  </a:cxn>
                </a:cxnLst>
                <a:rect l="0" t="0" r="r" b="b"/>
                <a:pathLst>
                  <a:path w="62" h="165">
                    <a:moveTo>
                      <a:pt x="17" y="0"/>
                    </a:moveTo>
                    <a:cubicBezTo>
                      <a:pt x="11" y="55"/>
                      <a:pt x="5" y="113"/>
                      <a:pt x="0" y="165"/>
                    </a:cubicBezTo>
                    <a:cubicBezTo>
                      <a:pt x="62" y="65"/>
                      <a:pt x="62" y="65"/>
                      <a:pt x="62" y="65"/>
                    </a:cubicBezTo>
                    <a:cubicBezTo>
                      <a:pt x="17" y="0"/>
                      <a:pt x="17" y="0"/>
                      <a:pt x="17"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15">
                <a:extLst>
                  <a:ext uri="{FF2B5EF4-FFF2-40B4-BE49-F238E27FC236}">
                    <a16:creationId xmlns:a16="http://schemas.microsoft.com/office/drawing/2014/main" id="{042D2A6F-72CD-40D4-B18D-BE3D754D273A}"/>
                  </a:ext>
                </a:extLst>
              </p:cNvPr>
              <p:cNvSpPr>
                <a:spLocks/>
              </p:cNvSpPr>
              <p:nvPr/>
            </p:nvSpPr>
            <p:spPr bwMode="auto">
              <a:xfrm>
                <a:off x="3391" y="2809"/>
                <a:ext cx="186" cy="516"/>
              </a:xfrm>
              <a:custGeom>
                <a:avLst/>
                <a:gdLst>
                  <a:gd name="T0" fmla="*/ 1 w 78"/>
                  <a:gd name="T1" fmla="*/ 0 h 217"/>
                  <a:gd name="T2" fmla="*/ 40 w 78"/>
                  <a:gd name="T3" fmla="*/ 108 h 217"/>
                  <a:gd name="T4" fmla="*/ 77 w 78"/>
                  <a:gd name="T5" fmla="*/ 217 h 217"/>
                  <a:gd name="T6" fmla="*/ 38 w 78"/>
                  <a:gd name="T7" fmla="*/ 109 h 217"/>
                  <a:gd name="T8" fmla="*/ 1 w 78"/>
                  <a:gd name="T9" fmla="*/ 0 h 217"/>
                </a:gdLst>
                <a:ahLst/>
                <a:cxnLst>
                  <a:cxn ang="0">
                    <a:pos x="T0" y="T1"/>
                  </a:cxn>
                  <a:cxn ang="0">
                    <a:pos x="T2" y="T3"/>
                  </a:cxn>
                  <a:cxn ang="0">
                    <a:pos x="T4" y="T5"/>
                  </a:cxn>
                  <a:cxn ang="0">
                    <a:pos x="T6" y="T7"/>
                  </a:cxn>
                  <a:cxn ang="0">
                    <a:pos x="T8" y="T9"/>
                  </a:cxn>
                </a:cxnLst>
                <a:rect l="0" t="0" r="r" b="b"/>
                <a:pathLst>
                  <a:path w="78" h="217">
                    <a:moveTo>
                      <a:pt x="1" y="0"/>
                    </a:moveTo>
                    <a:cubicBezTo>
                      <a:pt x="1" y="0"/>
                      <a:pt x="19" y="48"/>
                      <a:pt x="40" y="108"/>
                    </a:cubicBezTo>
                    <a:cubicBezTo>
                      <a:pt x="61" y="168"/>
                      <a:pt x="78" y="216"/>
                      <a:pt x="77" y="217"/>
                    </a:cubicBezTo>
                    <a:cubicBezTo>
                      <a:pt x="77" y="217"/>
                      <a:pt x="59" y="168"/>
                      <a:pt x="38" y="109"/>
                    </a:cubicBezTo>
                    <a:cubicBezTo>
                      <a:pt x="17" y="49"/>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16">
                <a:extLst>
                  <a:ext uri="{FF2B5EF4-FFF2-40B4-BE49-F238E27FC236}">
                    <a16:creationId xmlns:a16="http://schemas.microsoft.com/office/drawing/2014/main" id="{BF32B1B4-9703-4F40-AE62-D7B542B80006}"/>
                  </a:ext>
                </a:extLst>
              </p:cNvPr>
              <p:cNvSpPr>
                <a:spLocks/>
              </p:cNvSpPr>
              <p:nvPr/>
            </p:nvSpPr>
            <p:spPr bwMode="auto">
              <a:xfrm>
                <a:off x="3401" y="2508"/>
                <a:ext cx="313" cy="311"/>
              </a:xfrm>
              <a:custGeom>
                <a:avLst/>
                <a:gdLst>
                  <a:gd name="T0" fmla="*/ 42 w 132"/>
                  <a:gd name="T1" fmla="*/ 1 h 131"/>
                  <a:gd name="T2" fmla="*/ 42 w 132"/>
                  <a:gd name="T3" fmla="*/ 12 h 131"/>
                  <a:gd name="T4" fmla="*/ 41 w 132"/>
                  <a:gd name="T5" fmla="*/ 45 h 131"/>
                  <a:gd name="T6" fmla="*/ 3 w 132"/>
                  <a:gd name="T7" fmla="*/ 71 h 131"/>
                  <a:gd name="T8" fmla="*/ 45 w 132"/>
                  <a:gd name="T9" fmla="*/ 84 h 131"/>
                  <a:gd name="T10" fmla="*/ 46 w 132"/>
                  <a:gd name="T11" fmla="*/ 85 h 131"/>
                  <a:gd name="T12" fmla="*/ 56 w 132"/>
                  <a:gd name="T13" fmla="*/ 128 h 131"/>
                  <a:gd name="T14" fmla="*/ 84 w 132"/>
                  <a:gd name="T15" fmla="*/ 92 h 131"/>
                  <a:gd name="T16" fmla="*/ 85 w 132"/>
                  <a:gd name="T17" fmla="*/ 92 h 131"/>
                  <a:gd name="T18" fmla="*/ 85 w 132"/>
                  <a:gd name="T19" fmla="*/ 92 h 131"/>
                  <a:gd name="T20" fmla="*/ 85 w 132"/>
                  <a:gd name="T21" fmla="*/ 92 h 131"/>
                  <a:gd name="T22" fmla="*/ 87 w 132"/>
                  <a:gd name="T23" fmla="*/ 92 h 131"/>
                  <a:gd name="T24" fmla="*/ 96 w 132"/>
                  <a:gd name="T25" fmla="*/ 93 h 131"/>
                  <a:gd name="T26" fmla="*/ 130 w 132"/>
                  <a:gd name="T27" fmla="*/ 94 h 131"/>
                  <a:gd name="T28" fmla="*/ 103 w 132"/>
                  <a:gd name="T29" fmla="*/ 59 h 131"/>
                  <a:gd name="T30" fmla="*/ 103 w 132"/>
                  <a:gd name="T31" fmla="*/ 58 h 131"/>
                  <a:gd name="T32" fmla="*/ 121 w 132"/>
                  <a:gd name="T33" fmla="*/ 16 h 131"/>
                  <a:gd name="T34" fmla="*/ 77 w 132"/>
                  <a:gd name="T35" fmla="*/ 29 h 131"/>
                  <a:gd name="T36" fmla="*/ 51 w 132"/>
                  <a:gd name="T37" fmla="*/ 8 h 131"/>
                  <a:gd name="T38" fmla="*/ 42 w 132"/>
                  <a:gd name="T39" fmla="*/ 0 h 131"/>
                  <a:gd name="T40" fmla="*/ 42 w 132"/>
                  <a:gd name="T41" fmla="*/ 0 h 131"/>
                  <a:gd name="T42" fmla="*/ 51 w 132"/>
                  <a:gd name="T43" fmla="*/ 7 h 131"/>
                  <a:gd name="T44" fmla="*/ 77 w 132"/>
                  <a:gd name="T45" fmla="*/ 28 h 131"/>
                  <a:gd name="T46" fmla="*/ 122 w 132"/>
                  <a:gd name="T47" fmla="*/ 14 h 131"/>
                  <a:gd name="T48" fmla="*/ 105 w 132"/>
                  <a:gd name="T49" fmla="*/ 58 h 131"/>
                  <a:gd name="T50" fmla="*/ 131 w 132"/>
                  <a:gd name="T51" fmla="*/ 95 h 131"/>
                  <a:gd name="T52" fmla="*/ 130 w 132"/>
                  <a:gd name="T53" fmla="*/ 97 h 131"/>
                  <a:gd name="T54" fmla="*/ 96 w 132"/>
                  <a:gd name="T55" fmla="*/ 95 h 131"/>
                  <a:gd name="T56" fmla="*/ 87 w 132"/>
                  <a:gd name="T57" fmla="*/ 94 h 131"/>
                  <a:gd name="T58" fmla="*/ 85 w 132"/>
                  <a:gd name="T59" fmla="*/ 94 h 131"/>
                  <a:gd name="T60" fmla="*/ 85 w 132"/>
                  <a:gd name="T61" fmla="*/ 94 h 131"/>
                  <a:gd name="T62" fmla="*/ 84 w 132"/>
                  <a:gd name="T63" fmla="*/ 94 h 131"/>
                  <a:gd name="T64" fmla="*/ 84 w 132"/>
                  <a:gd name="T65" fmla="*/ 94 h 131"/>
                  <a:gd name="T66" fmla="*/ 57 w 132"/>
                  <a:gd name="T67" fmla="*/ 130 h 131"/>
                  <a:gd name="T68" fmla="*/ 56 w 132"/>
                  <a:gd name="T69" fmla="*/ 129 h 131"/>
                  <a:gd name="T70" fmla="*/ 45 w 132"/>
                  <a:gd name="T71" fmla="*/ 86 h 131"/>
                  <a:gd name="T72" fmla="*/ 0 w 132"/>
                  <a:gd name="T73" fmla="*/ 70 h 131"/>
                  <a:gd name="T74" fmla="*/ 40 w 132"/>
                  <a:gd name="T75" fmla="*/ 45 h 131"/>
                  <a:gd name="T76" fmla="*/ 41 w 132"/>
                  <a:gd name="T77" fmla="*/ 11 h 131"/>
                  <a:gd name="T78" fmla="*/ 42 w 132"/>
                  <a:gd name="T7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31">
                    <a:moveTo>
                      <a:pt x="42" y="0"/>
                    </a:moveTo>
                    <a:cubicBezTo>
                      <a:pt x="42" y="0"/>
                      <a:pt x="42" y="0"/>
                      <a:pt x="42" y="1"/>
                    </a:cubicBezTo>
                    <a:cubicBezTo>
                      <a:pt x="42" y="1"/>
                      <a:pt x="42" y="2"/>
                      <a:pt x="42" y="3"/>
                    </a:cubicBezTo>
                    <a:cubicBezTo>
                      <a:pt x="42" y="5"/>
                      <a:pt x="42" y="8"/>
                      <a:pt x="42" y="12"/>
                    </a:cubicBezTo>
                    <a:cubicBezTo>
                      <a:pt x="41" y="20"/>
                      <a:pt x="41" y="31"/>
                      <a:pt x="41" y="45"/>
                    </a:cubicBezTo>
                    <a:cubicBezTo>
                      <a:pt x="41" y="45"/>
                      <a:pt x="41" y="45"/>
                      <a:pt x="41" y="45"/>
                    </a:cubicBezTo>
                    <a:cubicBezTo>
                      <a:pt x="41" y="46"/>
                      <a:pt x="41" y="46"/>
                      <a:pt x="41" y="46"/>
                    </a:cubicBezTo>
                    <a:cubicBezTo>
                      <a:pt x="30" y="53"/>
                      <a:pt x="17" y="61"/>
                      <a:pt x="3" y="71"/>
                    </a:cubicBezTo>
                    <a:cubicBezTo>
                      <a:pt x="2" y="69"/>
                      <a:pt x="2" y="69"/>
                      <a:pt x="2" y="69"/>
                    </a:cubicBezTo>
                    <a:cubicBezTo>
                      <a:pt x="15" y="74"/>
                      <a:pt x="30" y="79"/>
                      <a:pt x="45" y="84"/>
                    </a:cubicBezTo>
                    <a:cubicBezTo>
                      <a:pt x="46" y="84"/>
                      <a:pt x="46" y="84"/>
                      <a:pt x="46" y="84"/>
                    </a:cubicBezTo>
                    <a:cubicBezTo>
                      <a:pt x="46" y="85"/>
                      <a:pt x="46" y="85"/>
                      <a:pt x="46" y="85"/>
                    </a:cubicBezTo>
                    <a:cubicBezTo>
                      <a:pt x="50" y="99"/>
                      <a:pt x="54" y="113"/>
                      <a:pt x="58" y="129"/>
                    </a:cubicBezTo>
                    <a:cubicBezTo>
                      <a:pt x="56" y="128"/>
                      <a:pt x="56" y="128"/>
                      <a:pt x="56" y="128"/>
                    </a:cubicBezTo>
                    <a:cubicBezTo>
                      <a:pt x="65" y="117"/>
                      <a:pt x="74" y="105"/>
                      <a:pt x="84" y="92"/>
                    </a:cubicBezTo>
                    <a:cubicBezTo>
                      <a:pt x="84" y="92"/>
                      <a:pt x="83" y="93"/>
                      <a:pt x="84" y="92"/>
                    </a:cubicBezTo>
                    <a:cubicBezTo>
                      <a:pt x="84" y="92"/>
                      <a:pt x="84" y="92"/>
                      <a:pt x="84" y="92"/>
                    </a:cubicBezTo>
                    <a:cubicBezTo>
                      <a:pt x="85" y="92"/>
                      <a:pt x="85" y="92"/>
                      <a:pt x="85" y="92"/>
                    </a:cubicBezTo>
                    <a:cubicBezTo>
                      <a:pt x="85" y="92"/>
                      <a:pt x="85" y="92"/>
                      <a:pt x="85" y="92"/>
                    </a:cubicBezTo>
                    <a:cubicBezTo>
                      <a:pt x="85" y="92"/>
                      <a:pt x="85" y="92"/>
                      <a:pt x="85" y="92"/>
                    </a:cubicBezTo>
                    <a:cubicBezTo>
                      <a:pt x="85" y="92"/>
                      <a:pt x="85" y="92"/>
                      <a:pt x="85" y="92"/>
                    </a:cubicBezTo>
                    <a:cubicBezTo>
                      <a:pt x="85" y="92"/>
                      <a:pt x="85" y="92"/>
                      <a:pt x="85" y="92"/>
                    </a:cubicBezTo>
                    <a:cubicBezTo>
                      <a:pt x="86" y="92"/>
                      <a:pt x="86" y="92"/>
                      <a:pt x="86" y="92"/>
                    </a:cubicBezTo>
                    <a:cubicBezTo>
                      <a:pt x="87" y="92"/>
                      <a:pt x="87" y="92"/>
                      <a:pt x="87" y="92"/>
                    </a:cubicBezTo>
                    <a:cubicBezTo>
                      <a:pt x="90" y="92"/>
                      <a:pt x="90" y="92"/>
                      <a:pt x="90" y="92"/>
                    </a:cubicBezTo>
                    <a:cubicBezTo>
                      <a:pt x="96" y="93"/>
                      <a:pt x="96" y="93"/>
                      <a:pt x="96" y="93"/>
                    </a:cubicBezTo>
                    <a:cubicBezTo>
                      <a:pt x="100" y="93"/>
                      <a:pt x="104" y="93"/>
                      <a:pt x="108" y="93"/>
                    </a:cubicBezTo>
                    <a:cubicBezTo>
                      <a:pt x="115" y="94"/>
                      <a:pt x="123" y="94"/>
                      <a:pt x="130" y="94"/>
                    </a:cubicBezTo>
                    <a:cubicBezTo>
                      <a:pt x="129" y="96"/>
                      <a:pt x="129" y="96"/>
                      <a:pt x="129" y="96"/>
                    </a:cubicBezTo>
                    <a:cubicBezTo>
                      <a:pt x="120" y="83"/>
                      <a:pt x="111" y="70"/>
                      <a:pt x="103" y="59"/>
                    </a:cubicBezTo>
                    <a:cubicBezTo>
                      <a:pt x="103" y="58"/>
                      <a:pt x="103" y="58"/>
                      <a:pt x="103" y="58"/>
                    </a:cubicBezTo>
                    <a:cubicBezTo>
                      <a:pt x="103" y="58"/>
                      <a:pt x="103" y="58"/>
                      <a:pt x="103" y="58"/>
                    </a:cubicBezTo>
                    <a:cubicBezTo>
                      <a:pt x="109" y="42"/>
                      <a:pt x="115" y="28"/>
                      <a:pt x="120" y="15"/>
                    </a:cubicBezTo>
                    <a:cubicBezTo>
                      <a:pt x="121" y="16"/>
                      <a:pt x="121" y="16"/>
                      <a:pt x="121" y="16"/>
                    </a:cubicBezTo>
                    <a:cubicBezTo>
                      <a:pt x="104" y="21"/>
                      <a:pt x="89" y="25"/>
                      <a:pt x="77" y="29"/>
                    </a:cubicBezTo>
                    <a:cubicBezTo>
                      <a:pt x="77" y="29"/>
                      <a:pt x="77" y="29"/>
                      <a:pt x="77" y="29"/>
                    </a:cubicBezTo>
                    <a:cubicBezTo>
                      <a:pt x="77" y="29"/>
                      <a:pt x="77" y="29"/>
                      <a:pt x="77" y="29"/>
                    </a:cubicBezTo>
                    <a:cubicBezTo>
                      <a:pt x="66" y="20"/>
                      <a:pt x="57" y="13"/>
                      <a:pt x="51" y="8"/>
                    </a:cubicBezTo>
                    <a:cubicBezTo>
                      <a:pt x="48" y="5"/>
                      <a:pt x="46" y="3"/>
                      <a:pt x="44" y="2"/>
                    </a:cubicBezTo>
                    <a:cubicBezTo>
                      <a:pt x="43" y="1"/>
                      <a:pt x="43" y="1"/>
                      <a:pt x="42" y="0"/>
                    </a:cubicBezTo>
                    <a:cubicBezTo>
                      <a:pt x="42" y="0"/>
                      <a:pt x="42" y="0"/>
                      <a:pt x="42" y="0"/>
                    </a:cubicBezTo>
                    <a:cubicBezTo>
                      <a:pt x="42" y="0"/>
                      <a:pt x="42" y="0"/>
                      <a:pt x="42" y="0"/>
                    </a:cubicBezTo>
                    <a:cubicBezTo>
                      <a:pt x="43" y="1"/>
                      <a:pt x="43" y="1"/>
                      <a:pt x="44" y="2"/>
                    </a:cubicBezTo>
                    <a:cubicBezTo>
                      <a:pt x="46" y="3"/>
                      <a:pt x="48" y="5"/>
                      <a:pt x="51" y="7"/>
                    </a:cubicBezTo>
                    <a:cubicBezTo>
                      <a:pt x="57" y="12"/>
                      <a:pt x="66" y="19"/>
                      <a:pt x="77" y="28"/>
                    </a:cubicBezTo>
                    <a:cubicBezTo>
                      <a:pt x="77" y="28"/>
                      <a:pt x="77" y="28"/>
                      <a:pt x="77" y="28"/>
                    </a:cubicBezTo>
                    <a:cubicBezTo>
                      <a:pt x="89" y="24"/>
                      <a:pt x="104" y="20"/>
                      <a:pt x="120" y="15"/>
                    </a:cubicBezTo>
                    <a:cubicBezTo>
                      <a:pt x="122" y="14"/>
                      <a:pt x="122" y="14"/>
                      <a:pt x="122" y="14"/>
                    </a:cubicBezTo>
                    <a:cubicBezTo>
                      <a:pt x="121" y="16"/>
                      <a:pt x="121" y="16"/>
                      <a:pt x="121" y="16"/>
                    </a:cubicBezTo>
                    <a:cubicBezTo>
                      <a:pt x="116" y="29"/>
                      <a:pt x="111" y="43"/>
                      <a:pt x="105" y="58"/>
                    </a:cubicBezTo>
                    <a:cubicBezTo>
                      <a:pt x="105" y="57"/>
                      <a:pt x="105" y="57"/>
                      <a:pt x="105" y="57"/>
                    </a:cubicBezTo>
                    <a:cubicBezTo>
                      <a:pt x="113" y="69"/>
                      <a:pt x="122" y="82"/>
                      <a:pt x="131" y="95"/>
                    </a:cubicBezTo>
                    <a:cubicBezTo>
                      <a:pt x="132" y="97"/>
                      <a:pt x="132" y="97"/>
                      <a:pt x="132" y="97"/>
                    </a:cubicBezTo>
                    <a:cubicBezTo>
                      <a:pt x="130" y="97"/>
                      <a:pt x="130" y="97"/>
                      <a:pt x="130" y="97"/>
                    </a:cubicBezTo>
                    <a:cubicBezTo>
                      <a:pt x="122" y="96"/>
                      <a:pt x="115" y="96"/>
                      <a:pt x="107" y="95"/>
                    </a:cubicBezTo>
                    <a:cubicBezTo>
                      <a:pt x="104" y="95"/>
                      <a:pt x="100" y="95"/>
                      <a:pt x="96" y="95"/>
                    </a:cubicBezTo>
                    <a:cubicBezTo>
                      <a:pt x="90" y="94"/>
                      <a:pt x="90" y="94"/>
                      <a:pt x="90" y="94"/>
                    </a:cubicBezTo>
                    <a:cubicBezTo>
                      <a:pt x="87" y="94"/>
                      <a:pt x="87" y="94"/>
                      <a:pt x="87" y="94"/>
                    </a:cubicBezTo>
                    <a:cubicBezTo>
                      <a:pt x="86" y="94"/>
                      <a:pt x="86" y="94"/>
                      <a:pt x="86" y="94"/>
                    </a:cubicBezTo>
                    <a:cubicBezTo>
                      <a:pt x="85" y="94"/>
                      <a:pt x="85" y="94"/>
                      <a:pt x="85" y="94"/>
                    </a:cubicBezTo>
                    <a:cubicBezTo>
                      <a:pt x="85" y="94"/>
                      <a:pt x="85" y="94"/>
                      <a:pt x="85" y="94"/>
                    </a:cubicBezTo>
                    <a:cubicBezTo>
                      <a:pt x="85" y="94"/>
                      <a:pt x="85" y="94"/>
                      <a:pt x="85" y="94"/>
                    </a:cubicBezTo>
                    <a:cubicBezTo>
                      <a:pt x="84" y="94"/>
                      <a:pt x="84" y="94"/>
                      <a:pt x="84" y="94"/>
                    </a:cubicBezTo>
                    <a:cubicBezTo>
                      <a:pt x="84" y="94"/>
                      <a:pt x="84" y="94"/>
                      <a:pt x="84" y="94"/>
                    </a:cubicBezTo>
                    <a:cubicBezTo>
                      <a:pt x="84" y="94"/>
                      <a:pt x="84" y="94"/>
                      <a:pt x="84" y="94"/>
                    </a:cubicBezTo>
                    <a:cubicBezTo>
                      <a:pt x="84" y="94"/>
                      <a:pt x="84" y="94"/>
                      <a:pt x="84" y="94"/>
                    </a:cubicBezTo>
                    <a:cubicBezTo>
                      <a:pt x="86" y="93"/>
                      <a:pt x="85" y="94"/>
                      <a:pt x="85" y="94"/>
                    </a:cubicBezTo>
                    <a:cubicBezTo>
                      <a:pt x="76" y="106"/>
                      <a:pt x="66" y="118"/>
                      <a:pt x="57" y="130"/>
                    </a:cubicBezTo>
                    <a:cubicBezTo>
                      <a:pt x="56" y="131"/>
                      <a:pt x="56" y="131"/>
                      <a:pt x="56" y="131"/>
                    </a:cubicBezTo>
                    <a:cubicBezTo>
                      <a:pt x="56" y="129"/>
                      <a:pt x="56" y="129"/>
                      <a:pt x="56" y="129"/>
                    </a:cubicBezTo>
                    <a:cubicBezTo>
                      <a:pt x="52" y="114"/>
                      <a:pt x="48" y="99"/>
                      <a:pt x="44" y="85"/>
                    </a:cubicBezTo>
                    <a:cubicBezTo>
                      <a:pt x="45" y="86"/>
                      <a:pt x="45" y="86"/>
                      <a:pt x="45" y="86"/>
                    </a:cubicBezTo>
                    <a:cubicBezTo>
                      <a:pt x="29" y="80"/>
                      <a:pt x="15" y="75"/>
                      <a:pt x="2" y="71"/>
                    </a:cubicBezTo>
                    <a:cubicBezTo>
                      <a:pt x="0" y="70"/>
                      <a:pt x="0" y="70"/>
                      <a:pt x="0" y="70"/>
                    </a:cubicBezTo>
                    <a:cubicBezTo>
                      <a:pt x="2" y="69"/>
                      <a:pt x="2" y="69"/>
                      <a:pt x="2" y="69"/>
                    </a:cubicBezTo>
                    <a:cubicBezTo>
                      <a:pt x="16" y="60"/>
                      <a:pt x="29" y="52"/>
                      <a:pt x="40" y="45"/>
                    </a:cubicBezTo>
                    <a:cubicBezTo>
                      <a:pt x="40" y="45"/>
                      <a:pt x="40" y="45"/>
                      <a:pt x="40" y="45"/>
                    </a:cubicBezTo>
                    <a:cubicBezTo>
                      <a:pt x="40" y="31"/>
                      <a:pt x="41" y="19"/>
                      <a:pt x="41" y="11"/>
                    </a:cubicBezTo>
                    <a:cubicBezTo>
                      <a:pt x="41" y="8"/>
                      <a:pt x="41" y="5"/>
                      <a:pt x="41" y="3"/>
                    </a:cubicBezTo>
                    <a:cubicBezTo>
                      <a:pt x="42" y="2"/>
                      <a:pt x="42" y="1"/>
                      <a:pt x="42" y="0"/>
                    </a:cubicBezTo>
                    <a:cubicBezTo>
                      <a:pt x="42" y="0"/>
                      <a:pt x="42" y="0"/>
                      <a:pt x="42"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17">
                <a:extLst>
                  <a:ext uri="{FF2B5EF4-FFF2-40B4-BE49-F238E27FC236}">
                    <a16:creationId xmlns:a16="http://schemas.microsoft.com/office/drawing/2014/main" id="{BB2C354F-2C92-4A04-A075-0836EE18E109}"/>
                  </a:ext>
                </a:extLst>
              </p:cNvPr>
              <p:cNvSpPr>
                <a:spLocks/>
              </p:cNvSpPr>
              <p:nvPr/>
            </p:nvSpPr>
            <p:spPr bwMode="auto">
              <a:xfrm>
                <a:off x="3123" y="2900"/>
                <a:ext cx="304" cy="313"/>
              </a:xfrm>
              <a:custGeom>
                <a:avLst/>
                <a:gdLst>
                  <a:gd name="T0" fmla="*/ 77 w 128"/>
                  <a:gd name="T1" fmla="*/ 1 h 132"/>
                  <a:gd name="T2" fmla="*/ 69 w 128"/>
                  <a:gd name="T3" fmla="*/ 9 h 132"/>
                  <a:gd name="T4" fmla="*/ 47 w 128"/>
                  <a:gd name="T5" fmla="*/ 34 h 132"/>
                  <a:gd name="T6" fmla="*/ 2 w 128"/>
                  <a:gd name="T7" fmla="*/ 28 h 132"/>
                  <a:gd name="T8" fmla="*/ 25 w 128"/>
                  <a:gd name="T9" fmla="*/ 66 h 132"/>
                  <a:gd name="T10" fmla="*/ 25 w 128"/>
                  <a:gd name="T11" fmla="*/ 67 h 132"/>
                  <a:gd name="T12" fmla="*/ 3 w 128"/>
                  <a:gd name="T13" fmla="*/ 106 h 132"/>
                  <a:gd name="T14" fmla="*/ 49 w 128"/>
                  <a:gd name="T15" fmla="*/ 98 h 132"/>
                  <a:gd name="T16" fmla="*/ 49 w 128"/>
                  <a:gd name="T17" fmla="*/ 98 h 132"/>
                  <a:gd name="T18" fmla="*/ 49 w 128"/>
                  <a:gd name="T19" fmla="*/ 98 h 132"/>
                  <a:gd name="T20" fmla="*/ 49 w 128"/>
                  <a:gd name="T21" fmla="*/ 98 h 132"/>
                  <a:gd name="T22" fmla="*/ 51 w 128"/>
                  <a:gd name="T23" fmla="*/ 100 h 132"/>
                  <a:gd name="T24" fmla="*/ 57 w 128"/>
                  <a:gd name="T25" fmla="*/ 106 h 132"/>
                  <a:gd name="T26" fmla="*/ 81 w 128"/>
                  <a:gd name="T27" fmla="*/ 129 h 132"/>
                  <a:gd name="T28" fmla="*/ 85 w 128"/>
                  <a:gd name="T29" fmla="*/ 85 h 132"/>
                  <a:gd name="T30" fmla="*/ 86 w 128"/>
                  <a:gd name="T31" fmla="*/ 84 h 132"/>
                  <a:gd name="T32" fmla="*/ 126 w 128"/>
                  <a:gd name="T33" fmla="*/ 65 h 132"/>
                  <a:gd name="T34" fmla="*/ 85 w 128"/>
                  <a:gd name="T35" fmla="*/ 45 h 132"/>
                  <a:gd name="T36" fmla="*/ 79 w 128"/>
                  <a:gd name="T37" fmla="*/ 12 h 132"/>
                  <a:gd name="T38" fmla="*/ 78 w 128"/>
                  <a:gd name="T39" fmla="*/ 1 h 132"/>
                  <a:gd name="T40" fmla="*/ 78 w 128"/>
                  <a:gd name="T41" fmla="*/ 1 h 132"/>
                  <a:gd name="T42" fmla="*/ 80 w 128"/>
                  <a:gd name="T43" fmla="*/ 11 h 132"/>
                  <a:gd name="T44" fmla="*/ 85 w 128"/>
                  <a:gd name="T45" fmla="*/ 44 h 132"/>
                  <a:gd name="T46" fmla="*/ 128 w 128"/>
                  <a:gd name="T47" fmla="*/ 64 h 132"/>
                  <a:gd name="T48" fmla="*/ 87 w 128"/>
                  <a:gd name="T49" fmla="*/ 86 h 132"/>
                  <a:gd name="T50" fmla="*/ 82 w 128"/>
                  <a:gd name="T51" fmla="*/ 130 h 132"/>
                  <a:gd name="T52" fmla="*/ 80 w 128"/>
                  <a:gd name="T53" fmla="*/ 131 h 132"/>
                  <a:gd name="T54" fmla="*/ 56 w 128"/>
                  <a:gd name="T55" fmla="*/ 107 h 132"/>
                  <a:gd name="T56" fmla="*/ 50 w 128"/>
                  <a:gd name="T57" fmla="*/ 101 h 132"/>
                  <a:gd name="T58" fmla="*/ 48 w 128"/>
                  <a:gd name="T59" fmla="*/ 100 h 132"/>
                  <a:gd name="T60" fmla="*/ 48 w 128"/>
                  <a:gd name="T61" fmla="*/ 99 h 132"/>
                  <a:gd name="T62" fmla="*/ 47 w 128"/>
                  <a:gd name="T63" fmla="*/ 99 h 132"/>
                  <a:gd name="T64" fmla="*/ 47 w 128"/>
                  <a:gd name="T65" fmla="*/ 99 h 132"/>
                  <a:gd name="T66" fmla="*/ 4 w 128"/>
                  <a:gd name="T67" fmla="*/ 108 h 132"/>
                  <a:gd name="T68" fmla="*/ 3 w 128"/>
                  <a:gd name="T69" fmla="*/ 107 h 132"/>
                  <a:gd name="T70" fmla="*/ 23 w 128"/>
                  <a:gd name="T71" fmla="*/ 67 h 132"/>
                  <a:gd name="T72" fmla="*/ 0 w 128"/>
                  <a:gd name="T73" fmla="*/ 26 h 132"/>
                  <a:gd name="T74" fmla="*/ 47 w 128"/>
                  <a:gd name="T75" fmla="*/ 33 h 132"/>
                  <a:gd name="T76" fmla="*/ 69 w 128"/>
                  <a:gd name="T77" fmla="*/ 8 h 132"/>
                  <a:gd name="T78" fmla="*/ 77 w 128"/>
                  <a:gd name="T7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32">
                    <a:moveTo>
                      <a:pt x="78" y="0"/>
                    </a:moveTo>
                    <a:cubicBezTo>
                      <a:pt x="78" y="0"/>
                      <a:pt x="77" y="0"/>
                      <a:pt x="77" y="1"/>
                    </a:cubicBezTo>
                    <a:cubicBezTo>
                      <a:pt x="77" y="1"/>
                      <a:pt x="76" y="2"/>
                      <a:pt x="75" y="2"/>
                    </a:cubicBezTo>
                    <a:cubicBezTo>
                      <a:pt x="74" y="4"/>
                      <a:pt x="72" y="6"/>
                      <a:pt x="69" y="9"/>
                    </a:cubicBezTo>
                    <a:cubicBezTo>
                      <a:pt x="64" y="15"/>
                      <a:pt x="57" y="23"/>
                      <a:pt x="47" y="34"/>
                    </a:cubicBezTo>
                    <a:cubicBezTo>
                      <a:pt x="47" y="34"/>
                      <a:pt x="47" y="34"/>
                      <a:pt x="47" y="34"/>
                    </a:cubicBezTo>
                    <a:cubicBezTo>
                      <a:pt x="47" y="34"/>
                      <a:pt x="47" y="34"/>
                      <a:pt x="47" y="34"/>
                    </a:cubicBezTo>
                    <a:cubicBezTo>
                      <a:pt x="34" y="32"/>
                      <a:pt x="19" y="30"/>
                      <a:pt x="2" y="28"/>
                    </a:cubicBezTo>
                    <a:cubicBezTo>
                      <a:pt x="2" y="26"/>
                      <a:pt x="2" y="26"/>
                      <a:pt x="2" y="26"/>
                    </a:cubicBezTo>
                    <a:cubicBezTo>
                      <a:pt x="9" y="38"/>
                      <a:pt x="17" y="52"/>
                      <a:pt x="25" y="66"/>
                    </a:cubicBezTo>
                    <a:cubicBezTo>
                      <a:pt x="25" y="66"/>
                      <a:pt x="25" y="66"/>
                      <a:pt x="25" y="66"/>
                    </a:cubicBezTo>
                    <a:cubicBezTo>
                      <a:pt x="25" y="67"/>
                      <a:pt x="25" y="67"/>
                      <a:pt x="25" y="67"/>
                    </a:cubicBezTo>
                    <a:cubicBezTo>
                      <a:pt x="18" y="80"/>
                      <a:pt x="12" y="93"/>
                      <a:pt x="5" y="108"/>
                    </a:cubicBezTo>
                    <a:cubicBezTo>
                      <a:pt x="3" y="106"/>
                      <a:pt x="3" y="106"/>
                      <a:pt x="3" y="106"/>
                    </a:cubicBezTo>
                    <a:cubicBezTo>
                      <a:pt x="18" y="103"/>
                      <a:pt x="33" y="100"/>
                      <a:pt x="48" y="97"/>
                    </a:cubicBezTo>
                    <a:cubicBezTo>
                      <a:pt x="48" y="97"/>
                      <a:pt x="47" y="97"/>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49" y="98"/>
                      <a:pt x="49" y="98"/>
                      <a:pt x="49" y="98"/>
                    </a:cubicBezTo>
                    <a:cubicBezTo>
                      <a:pt x="50" y="99"/>
                      <a:pt x="50" y="99"/>
                      <a:pt x="50" y="99"/>
                    </a:cubicBezTo>
                    <a:cubicBezTo>
                      <a:pt x="51" y="100"/>
                      <a:pt x="51" y="100"/>
                      <a:pt x="51" y="100"/>
                    </a:cubicBezTo>
                    <a:cubicBezTo>
                      <a:pt x="53" y="102"/>
                      <a:pt x="53" y="102"/>
                      <a:pt x="53" y="102"/>
                    </a:cubicBezTo>
                    <a:cubicBezTo>
                      <a:pt x="57" y="106"/>
                      <a:pt x="57" y="106"/>
                      <a:pt x="57" y="106"/>
                    </a:cubicBezTo>
                    <a:cubicBezTo>
                      <a:pt x="60" y="108"/>
                      <a:pt x="63" y="111"/>
                      <a:pt x="65" y="114"/>
                    </a:cubicBezTo>
                    <a:cubicBezTo>
                      <a:pt x="71" y="119"/>
                      <a:pt x="76" y="124"/>
                      <a:pt x="81" y="129"/>
                    </a:cubicBezTo>
                    <a:cubicBezTo>
                      <a:pt x="80" y="130"/>
                      <a:pt x="80" y="130"/>
                      <a:pt x="80" y="130"/>
                    </a:cubicBezTo>
                    <a:cubicBezTo>
                      <a:pt x="82" y="114"/>
                      <a:pt x="83" y="99"/>
                      <a:pt x="85" y="85"/>
                    </a:cubicBezTo>
                    <a:cubicBezTo>
                      <a:pt x="85" y="84"/>
                      <a:pt x="85" y="84"/>
                      <a:pt x="85" y="84"/>
                    </a:cubicBezTo>
                    <a:cubicBezTo>
                      <a:pt x="86" y="84"/>
                      <a:pt x="86" y="84"/>
                      <a:pt x="86" y="84"/>
                    </a:cubicBezTo>
                    <a:cubicBezTo>
                      <a:pt x="100" y="77"/>
                      <a:pt x="114" y="70"/>
                      <a:pt x="126" y="63"/>
                    </a:cubicBezTo>
                    <a:cubicBezTo>
                      <a:pt x="126" y="65"/>
                      <a:pt x="126" y="65"/>
                      <a:pt x="126" y="65"/>
                    </a:cubicBezTo>
                    <a:cubicBezTo>
                      <a:pt x="110" y="57"/>
                      <a:pt x="96" y="51"/>
                      <a:pt x="85" y="45"/>
                    </a:cubicBezTo>
                    <a:cubicBezTo>
                      <a:pt x="85" y="45"/>
                      <a:pt x="85" y="45"/>
                      <a:pt x="85" y="45"/>
                    </a:cubicBezTo>
                    <a:cubicBezTo>
                      <a:pt x="85" y="45"/>
                      <a:pt x="85" y="45"/>
                      <a:pt x="85" y="45"/>
                    </a:cubicBezTo>
                    <a:cubicBezTo>
                      <a:pt x="82" y="31"/>
                      <a:pt x="81" y="20"/>
                      <a:pt x="79" y="12"/>
                    </a:cubicBezTo>
                    <a:cubicBezTo>
                      <a:pt x="79" y="8"/>
                      <a:pt x="78" y="5"/>
                      <a:pt x="78" y="3"/>
                    </a:cubicBezTo>
                    <a:cubicBezTo>
                      <a:pt x="78" y="2"/>
                      <a:pt x="78" y="1"/>
                      <a:pt x="78" y="1"/>
                    </a:cubicBezTo>
                    <a:cubicBezTo>
                      <a:pt x="78" y="0"/>
                      <a:pt x="78" y="0"/>
                      <a:pt x="78" y="0"/>
                    </a:cubicBezTo>
                    <a:cubicBezTo>
                      <a:pt x="78" y="0"/>
                      <a:pt x="78" y="0"/>
                      <a:pt x="78" y="1"/>
                    </a:cubicBezTo>
                    <a:cubicBezTo>
                      <a:pt x="78" y="1"/>
                      <a:pt x="78" y="2"/>
                      <a:pt x="78" y="3"/>
                    </a:cubicBezTo>
                    <a:cubicBezTo>
                      <a:pt x="79" y="5"/>
                      <a:pt x="79" y="8"/>
                      <a:pt x="80" y="11"/>
                    </a:cubicBezTo>
                    <a:cubicBezTo>
                      <a:pt x="81" y="19"/>
                      <a:pt x="83" y="31"/>
                      <a:pt x="86" y="45"/>
                    </a:cubicBezTo>
                    <a:cubicBezTo>
                      <a:pt x="85" y="44"/>
                      <a:pt x="85" y="44"/>
                      <a:pt x="85" y="44"/>
                    </a:cubicBezTo>
                    <a:cubicBezTo>
                      <a:pt x="97" y="50"/>
                      <a:pt x="111" y="56"/>
                      <a:pt x="127" y="63"/>
                    </a:cubicBezTo>
                    <a:cubicBezTo>
                      <a:pt x="128" y="64"/>
                      <a:pt x="128" y="64"/>
                      <a:pt x="128" y="64"/>
                    </a:cubicBezTo>
                    <a:cubicBezTo>
                      <a:pt x="127" y="65"/>
                      <a:pt x="127" y="65"/>
                      <a:pt x="127" y="65"/>
                    </a:cubicBezTo>
                    <a:cubicBezTo>
                      <a:pt x="114" y="71"/>
                      <a:pt x="101" y="78"/>
                      <a:pt x="87" y="86"/>
                    </a:cubicBezTo>
                    <a:cubicBezTo>
                      <a:pt x="87" y="85"/>
                      <a:pt x="87" y="85"/>
                      <a:pt x="87" y="85"/>
                    </a:cubicBezTo>
                    <a:cubicBezTo>
                      <a:pt x="85" y="99"/>
                      <a:pt x="84" y="115"/>
                      <a:pt x="82" y="130"/>
                    </a:cubicBezTo>
                    <a:cubicBezTo>
                      <a:pt x="81" y="132"/>
                      <a:pt x="81" y="132"/>
                      <a:pt x="81" y="132"/>
                    </a:cubicBezTo>
                    <a:cubicBezTo>
                      <a:pt x="80" y="131"/>
                      <a:pt x="80" y="131"/>
                      <a:pt x="80" y="131"/>
                    </a:cubicBezTo>
                    <a:cubicBezTo>
                      <a:pt x="75" y="126"/>
                      <a:pt x="69" y="121"/>
                      <a:pt x="64" y="115"/>
                    </a:cubicBezTo>
                    <a:cubicBezTo>
                      <a:pt x="61" y="113"/>
                      <a:pt x="59" y="110"/>
                      <a:pt x="56" y="107"/>
                    </a:cubicBezTo>
                    <a:cubicBezTo>
                      <a:pt x="52" y="103"/>
                      <a:pt x="52" y="103"/>
                      <a:pt x="52" y="103"/>
                    </a:cubicBezTo>
                    <a:cubicBezTo>
                      <a:pt x="50" y="101"/>
                      <a:pt x="50" y="101"/>
                      <a:pt x="50" y="101"/>
                    </a:cubicBezTo>
                    <a:cubicBezTo>
                      <a:pt x="49" y="100"/>
                      <a:pt x="49" y="100"/>
                      <a:pt x="49" y="100"/>
                    </a:cubicBezTo>
                    <a:cubicBezTo>
                      <a:pt x="48" y="100"/>
                      <a:pt x="48" y="100"/>
                      <a:pt x="48" y="100"/>
                    </a:cubicBezTo>
                    <a:cubicBezTo>
                      <a:pt x="48" y="99"/>
                      <a:pt x="48" y="99"/>
                      <a:pt x="48" y="99"/>
                    </a:cubicBezTo>
                    <a:cubicBezTo>
                      <a:pt x="48" y="99"/>
                      <a:pt x="48" y="99"/>
                      <a:pt x="48" y="99"/>
                    </a:cubicBezTo>
                    <a:cubicBezTo>
                      <a:pt x="48" y="99"/>
                      <a:pt x="48" y="99"/>
                      <a:pt x="48" y="99"/>
                    </a:cubicBezTo>
                    <a:cubicBezTo>
                      <a:pt x="47" y="99"/>
                      <a:pt x="47" y="99"/>
                      <a:pt x="47" y="99"/>
                    </a:cubicBezTo>
                    <a:cubicBezTo>
                      <a:pt x="47" y="99"/>
                      <a:pt x="47" y="99"/>
                      <a:pt x="47" y="99"/>
                    </a:cubicBezTo>
                    <a:cubicBezTo>
                      <a:pt x="47" y="99"/>
                      <a:pt x="47" y="99"/>
                      <a:pt x="47" y="99"/>
                    </a:cubicBezTo>
                    <a:cubicBezTo>
                      <a:pt x="49" y="100"/>
                      <a:pt x="48" y="99"/>
                      <a:pt x="48" y="99"/>
                    </a:cubicBezTo>
                    <a:cubicBezTo>
                      <a:pt x="33" y="102"/>
                      <a:pt x="18" y="105"/>
                      <a:pt x="4" y="108"/>
                    </a:cubicBezTo>
                    <a:cubicBezTo>
                      <a:pt x="2" y="109"/>
                      <a:pt x="2" y="109"/>
                      <a:pt x="2" y="109"/>
                    </a:cubicBezTo>
                    <a:cubicBezTo>
                      <a:pt x="3" y="107"/>
                      <a:pt x="3" y="107"/>
                      <a:pt x="3" y="107"/>
                    </a:cubicBezTo>
                    <a:cubicBezTo>
                      <a:pt x="10" y="92"/>
                      <a:pt x="17" y="79"/>
                      <a:pt x="23" y="66"/>
                    </a:cubicBezTo>
                    <a:cubicBezTo>
                      <a:pt x="23" y="67"/>
                      <a:pt x="23" y="67"/>
                      <a:pt x="23" y="67"/>
                    </a:cubicBezTo>
                    <a:cubicBezTo>
                      <a:pt x="15" y="53"/>
                      <a:pt x="8" y="39"/>
                      <a:pt x="1" y="27"/>
                    </a:cubicBezTo>
                    <a:cubicBezTo>
                      <a:pt x="0" y="26"/>
                      <a:pt x="0" y="26"/>
                      <a:pt x="0" y="26"/>
                    </a:cubicBezTo>
                    <a:cubicBezTo>
                      <a:pt x="2" y="26"/>
                      <a:pt x="2" y="26"/>
                      <a:pt x="2" y="26"/>
                    </a:cubicBezTo>
                    <a:cubicBezTo>
                      <a:pt x="19" y="28"/>
                      <a:pt x="34" y="31"/>
                      <a:pt x="47" y="33"/>
                    </a:cubicBezTo>
                    <a:cubicBezTo>
                      <a:pt x="46" y="33"/>
                      <a:pt x="46" y="33"/>
                      <a:pt x="46" y="33"/>
                    </a:cubicBezTo>
                    <a:cubicBezTo>
                      <a:pt x="56" y="22"/>
                      <a:pt x="64" y="14"/>
                      <a:pt x="69" y="8"/>
                    </a:cubicBezTo>
                    <a:cubicBezTo>
                      <a:pt x="72" y="6"/>
                      <a:pt x="74" y="4"/>
                      <a:pt x="75" y="2"/>
                    </a:cubicBezTo>
                    <a:cubicBezTo>
                      <a:pt x="76" y="1"/>
                      <a:pt x="77" y="1"/>
                      <a:pt x="77" y="0"/>
                    </a:cubicBezTo>
                    <a:lnTo>
                      <a:pt x="7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18">
                <a:extLst>
                  <a:ext uri="{FF2B5EF4-FFF2-40B4-BE49-F238E27FC236}">
                    <a16:creationId xmlns:a16="http://schemas.microsoft.com/office/drawing/2014/main" id="{7CF2D9B2-9135-4436-9D40-97B05A1AF2B5}"/>
                  </a:ext>
                </a:extLst>
              </p:cNvPr>
              <p:cNvSpPr>
                <a:spLocks/>
              </p:cNvSpPr>
              <p:nvPr/>
            </p:nvSpPr>
            <p:spPr bwMode="auto">
              <a:xfrm>
                <a:off x="3904" y="2795"/>
                <a:ext cx="313" cy="307"/>
              </a:xfrm>
              <a:custGeom>
                <a:avLst/>
                <a:gdLst>
                  <a:gd name="T0" fmla="*/ 1 w 132"/>
                  <a:gd name="T1" fmla="*/ 53 h 129"/>
                  <a:gd name="T2" fmla="*/ 10 w 132"/>
                  <a:gd name="T3" fmla="*/ 61 h 129"/>
                  <a:gd name="T4" fmla="*/ 35 w 132"/>
                  <a:gd name="T5" fmla="*/ 83 h 129"/>
                  <a:gd name="T6" fmla="*/ 30 w 132"/>
                  <a:gd name="T7" fmla="*/ 128 h 129"/>
                  <a:gd name="T8" fmla="*/ 68 w 132"/>
                  <a:gd name="T9" fmla="*/ 104 h 129"/>
                  <a:gd name="T10" fmla="*/ 68 w 132"/>
                  <a:gd name="T11" fmla="*/ 104 h 129"/>
                  <a:gd name="T12" fmla="*/ 108 w 132"/>
                  <a:gd name="T13" fmla="*/ 124 h 129"/>
                  <a:gd name="T14" fmla="*/ 99 w 132"/>
                  <a:gd name="T15" fmla="*/ 79 h 129"/>
                  <a:gd name="T16" fmla="*/ 99 w 132"/>
                  <a:gd name="T17" fmla="*/ 79 h 129"/>
                  <a:gd name="T18" fmla="*/ 99 w 132"/>
                  <a:gd name="T19" fmla="*/ 79 h 129"/>
                  <a:gd name="T20" fmla="*/ 99 w 132"/>
                  <a:gd name="T21" fmla="*/ 78 h 129"/>
                  <a:gd name="T22" fmla="*/ 101 w 132"/>
                  <a:gd name="T23" fmla="*/ 77 h 129"/>
                  <a:gd name="T24" fmla="*/ 107 w 132"/>
                  <a:gd name="T25" fmla="*/ 70 h 129"/>
                  <a:gd name="T26" fmla="*/ 130 w 132"/>
                  <a:gd name="T27" fmla="*/ 46 h 129"/>
                  <a:gd name="T28" fmla="*/ 85 w 132"/>
                  <a:gd name="T29" fmla="*/ 43 h 129"/>
                  <a:gd name="T30" fmla="*/ 84 w 132"/>
                  <a:gd name="T31" fmla="*/ 42 h 129"/>
                  <a:gd name="T32" fmla="*/ 64 w 132"/>
                  <a:gd name="T33" fmla="*/ 3 h 129"/>
                  <a:gd name="T34" fmla="*/ 45 w 132"/>
                  <a:gd name="T35" fmla="*/ 45 h 129"/>
                  <a:gd name="T36" fmla="*/ 12 w 132"/>
                  <a:gd name="T37" fmla="*/ 51 h 129"/>
                  <a:gd name="T38" fmla="*/ 1 w 132"/>
                  <a:gd name="T39" fmla="*/ 53 h 129"/>
                  <a:gd name="T40" fmla="*/ 1 w 132"/>
                  <a:gd name="T41" fmla="*/ 53 h 129"/>
                  <a:gd name="T42" fmla="*/ 12 w 132"/>
                  <a:gd name="T43" fmla="*/ 50 h 129"/>
                  <a:gd name="T44" fmla="*/ 44 w 132"/>
                  <a:gd name="T45" fmla="*/ 44 h 129"/>
                  <a:gd name="T46" fmla="*/ 63 w 132"/>
                  <a:gd name="T47" fmla="*/ 0 h 129"/>
                  <a:gd name="T48" fmla="*/ 86 w 132"/>
                  <a:gd name="T49" fmla="*/ 41 h 129"/>
                  <a:gd name="T50" fmla="*/ 130 w 132"/>
                  <a:gd name="T51" fmla="*/ 45 h 129"/>
                  <a:gd name="T52" fmla="*/ 131 w 132"/>
                  <a:gd name="T53" fmla="*/ 47 h 129"/>
                  <a:gd name="T54" fmla="*/ 108 w 132"/>
                  <a:gd name="T55" fmla="*/ 72 h 129"/>
                  <a:gd name="T56" fmla="*/ 102 w 132"/>
                  <a:gd name="T57" fmla="*/ 78 h 129"/>
                  <a:gd name="T58" fmla="*/ 101 w 132"/>
                  <a:gd name="T59" fmla="*/ 80 h 129"/>
                  <a:gd name="T60" fmla="*/ 100 w 132"/>
                  <a:gd name="T61" fmla="*/ 80 h 129"/>
                  <a:gd name="T62" fmla="*/ 100 w 132"/>
                  <a:gd name="T63" fmla="*/ 80 h 129"/>
                  <a:gd name="T64" fmla="*/ 100 w 132"/>
                  <a:gd name="T65" fmla="*/ 80 h 129"/>
                  <a:gd name="T66" fmla="*/ 110 w 132"/>
                  <a:gd name="T67" fmla="*/ 124 h 129"/>
                  <a:gd name="T68" fmla="*/ 109 w 132"/>
                  <a:gd name="T69" fmla="*/ 125 h 129"/>
                  <a:gd name="T70" fmla="*/ 69 w 132"/>
                  <a:gd name="T71" fmla="*/ 106 h 129"/>
                  <a:gd name="T72" fmla="*/ 28 w 132"/>
                  <a:gd name="T73" fmla="*/ 129 h 129"/>
                  <a:gd name="T74" fmla="*/ 34 w 132"/>
                  <a:gd name="T75" fmla="*/ 83 h 129"/>
                  <a:gd name="T76" fmla="*/ 9 w 132"/>
                  <a:gd name="T77" fmla="*/ 61 h 129"/>
                  <a:gd name="T78" fmla="*/ 1 w 132"/>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29">
                    <a:moveTo>
                      <a:pt x="0" y="53"/>
                    </a:moveTo>
                    <a:cubicBezTo>
                      <a:pt x="0" y="53"/>
                      <a:pt x="1" y="53"/>
                      <a:pt x="1" y="53"/>
                    </a:cubicBezTo>
                    <a:cubicBezTo>
                      <a:pt x="1" y="54"/>
                      <a:pt x="2" y="54"/>
                      <a:pt x="3" y="55"/>
                    </a:cubicBezTo>
                    <a:cubicBezTo>
                      <a:pt x="4" y="56"/>
                      <a:pt x="7" y="58"/>
                      <a:pt x="10" y="61"/>
                    </a:cubicBezTo>
                    <a:cubicBezTo>
                      <a:pt x="16" y="66"/>
                      <a:pt x="24" y="73"/>
                      <a:pt x="35" y="82"/>
                    </a:cubicBezTo>
                    <a:cubicBezTo>
                      <a:pt x="35" y="83"/>
                      <a:pt x="35" y="83"/>
                      <a:pt x="35" y="83"/>
                    </a:cubicBezTo>
                    <a:cubicBezTo>
                      <a:pt x="35" y="83"/>
                      <a:pt x="35" y="83"/>
                      <a:pt x="35" y="83"/>
                    </a:cubicBezTo>
                    <a:cubicBezTo>
                      <a:pt x="34" y="96"/>
                      <a:pt x="32" y="111"/>
                      <a:pt x="30" y="128"/>
                    </a:cubicBezTo>
                    <a:cubicBezTo>
                      <a:pt x="29" y="127"/>
                      <a:pt x="29" y="127"/>
                      <a:pt x="29" y="127"/>
                    </a:cubicBezTo>
                    <a:cubicBezTo>
                      <a:pt x="40" y="120"/>
                      <a:pt x="54" y="112"/>
                      <a:pt x="68" y="104"/>
                    </a:cubicBezTo>
                    <a:cubicBezTo>
                      <a:pt x="68" y="104"/>
                      <a:pt x="68" y="104"/>
                      <a:pt x="68" y="104"/>
                    </a:cubicBezTo>
                    <a:cubicBezTo>
                      <a:pt x="68" y="104"/>
                      <a:pt x="68" y="104"/>
                      <a:pt x="68" y="104"/>
                    </a:cubicBezTo>
                    <a:cubicBezTo>
                      <a:pt x="81" y="110"/>
                      <a:pt x="95" y="116"/>
                      <a:pt x="110" y="123"/>
                    </a:cubicBezTo>
                    <a:cubicBezTo>
                      <a:pt x="108" y="124"/>
                      <a:pt x="108" y="124"/>
                      <a:pt x="108" y="124"/>
                    </a:cubicBezTo>
                    <a:cubicBezTo>
                      <a:pt x="105" y="110"/>
                      <a:pt x="102" y="95"/>
                      <a:pt x="98" y="80"/>
                    </a:cubicBezTo>
                    <a:cubicBezTo>
                      <a:pt x="98" y="79"/>
                      <a:pt x="98" y="81"/>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8"/>
                      <a:pt x="99" y="78"/>
                      <a:pt x="99" y="78"/>
                    </a:cubicBezTo>
                    <a:cubicBezTo>
                      <a:pt x="100" y="78"/>
                      <a:pt x="100" y="78"/>
                      <a:pt x="100" y="78"/>
                    </a:cubicBezTo>
                    <a:cubicBezTo>
                      <a:pt x="101" y="77"/>
                      <a:pt x="101" y="77"/>
                      <a:pt x="101" y="77"/>
                    </a:cubicBezTo>
                    <a:cubicBezTo>
                      <a:pt x="103" y="75"/>
                      <a:pt x="103" y="75"/>
                      <a:pt x="103" y="75"/>
                    </a:cubicBezTo>
                    <a:cubicBezTo>
                      <a:pt x="107" y="70"/>
                      <a:pt x="107" y="70"/>
                      <a:pt x="107" y="70"/>
                    </a:cubicBezTo>
                    <a:cubicBezTo>
                      <a:pt x="109" y="68"/>
                      <a:pt x="112" y="65"/>
                      <a:pt x="114" y="62"/>
                    </a:cubicBezTo>
                    <a:cubicBezTo>
                      <a:pt x="119" y="56"/>
                      <a:pt x="125" y="51"/>
                      <a:pt x="130" y="46"/>
                    </a:cubicBezTo>
                    <a:cubicBezTo>
                      <a:pt x="130" y="47"/>
                      <a:pt x="130" y="47"/>
                      <a:pt x="130" y="47"/>
                    </a:cubicBezTo>
                    <a:cubicBezTo>
                      <a:pt x="114" y="46"/>
                      <a:pt x="99" y="44"/>
                      <a:pt x="85" y="43"/>
                    </a:cubicBezTo>
                    <a:cubicBezTo>
                      <a:pt x="84" y="43"/>
                      <a:pt x="84" y="43"/>
                      <a:pt x="84" y="43"/>
                    </a:cubicBezTo>
                    <a:cubicBezTo>
                      <a:pt x="84" y="42"/>
                      <a:pt x="84" y="42"/>
                      <a:pt x="84" y="42"/>
                    </a:cubicBezTo>
                    <a:cubicBezTo>
                      <a:pt x="76" y="28"/>
                      <a:pt x="69" y="15"/>
                      <a:pt x="62" y="3"/>
                    </a:cubicBezTo>
                    <a:cubicBezTo>
                      <a:pt x="64" y="3"/>
                      <a:pt x="64" y="3"/>
                      <a:pt x="64" y="3"/>
                    </a:cubicBezTo>
                    <a:cubicBezTo>
                      <a:pt x="57" y="19"/>
                      <a:pt x="51" y="32"/>
                      <a:pt x="45" y="44"/>
                    </a:cubicBezTo>
                    <a:cubicBezTo>
                      <a:pt x="45" y="45"/>
                      <a:pt x="45" y="45"/>
                      <a:pt x="45" y="45"/>
                    </a:cubicBezTo>
                    <a:cubicBezTo>
                      <a:pt x="45" y="45"/>
                      <a:pt x="45" y="45"/>
                      <a:pt x="45" y="45"/>
                    </a:cubicBezTo>
                    <a:cubicBezTo>
                      <a:pt x="31" y="47"/>
                      <a:pt x="20" y="49"/>
                      <a:pt x="12" y="51"/>
                    </a:cubicBezTo>
                    <a:cubicBezTo>
                      <a:pt x="9" y="51"/>
                      <a:pt x="6" y="52"/>
                      <a:pt x="3" y="52"/>
                    </a:cubicBezTo>
                    <a:cubicBezTo>
                      <a:pt x="3" y="52"/>
                      <a:pt x="2" y="53"/>
                      <a:pt x="1" y="53"/>
                    </a:cubicBezTo>
                    <a:cubicBezTo>
                      <a:pt x="1" y="53"/>
                      <a:pt x="0" y="53"/>
                      <a:pt x="0" y="53"/>
                    </a:cubicBezTo>
                    <a:cubicBezTo>
                      <a:pt x="0" y="53"/>
                      <a:pt x="0" y="53"/>
                      <a:pt x="1" y="53"/>
                    </a:cubicBezTo>
                    <a:cubicBezTo>
                      <a:pt x="2" y="52"/>
                      <a:pt x="2" y="52"/>
                      <a:pt x="3" y="52"/>
                    </a:cubicBezTo>
                    <a:cubicBezTo>
                      <a:pt x="5" y="52"/>
                      <a:pt x="8" y="51"/>
                      <a:pt x="12" y="50"/>
                    </a:cubicBezTo>
                    <a:cubicBezTo>
                      <a:pt x="20" y="49"/>
                      <a:pt x="31" y="46"/>
                      <a:pt x="45" y="43"/>
                    </a:cubicBezTo>
                    <a:cubicBezTo>
                      <a:pt x="44" y="44"/>
                      <a:pt x="44" y="44"/>
                      <a:pt x="44" y="44"/>
                    </a:cubicBezTo>
                    <a:cubicBezTo>
                      <a:pt x="49" y="32"/>
                      <a:pt x="55" y="18"/>
                      <a:pt x="62" y="2"/>
                    </a:cubicBezTo>
                    <a:cubicBezTo>
                      <a:pt x="63" y="0"/>
                      <a:pt x="63" y="0"/>
                      <a:pt x="63" y="0"/>
                    </a:cubicBezTo>
                    <a:cubicBezTo>
                      <a:pt x="64" y="2"/>
                      <a:pt x="64" y="2"/>
                      <a:pt x="64" y="2"/>
                    </a:cubicBezTo>
                    <a:cubicBezTo>
                      <a:pt x="70" y="14"/>
                      <a:pt x="78" y="27"/>
                      <a:pt x="86" y="41"/>
                    </a:cubicBezTo>
                    <a:cubicBezTo>
                      <a:pt x="85" y="41"/>
                      <a:pt x="85" y="41"/>
                      <a:pt x="85" y="41"/>
                    </a:cubicBezTo>
                    <a:cubicBezTo>
                      <a:pt x="99" y="42"/>
                      <a:pt x="115" y="44"/>
                      <a:pt x="130" y="45"/>
                    </a:cubicBezTo>
                    <a:cubicBezTo>
                      <a:pt x="132" y="45"/>
                      <a:pt x="132" y="45"/>
                      <a:pt x="132" y="45"/>
                    </a:cubicBezTo>
                    <a:cubicBezTo>
                      <a:pt x="131" y="47"/>
                      <a:pt x="131" y="47"/>
                      <a:pt x="131" y="47"/>
                    </a:cubicBezTo>
                    <a:cubicBezTo>
                      <a:pt x="126" y="52"/>
                      <a:pt x="121" y="58"/>
                      <a:pt x="116" y="63"/>
                    </a:cubicBezTo>
                    <a:cubicBezTo>
                      <a:pt x="113" y="66"/>
                      <a:pt x="111" y="69"/>
                      <a:pt x="108" y="72"/>
                    </a:cubicBezTo>
                    <a:cubicBezTo>
                      <a:pt x="104" y="76"/>
                      <a:pt x="104" y="76"/>
                      <a:pt x="104" y="76"/>
                    </a:cubicBezTo>
                    <a:cubicBezTo>
                      <a:pt x="102" y="78"/>
                      <a:pt x="102" y="78"/>
                      <a:pt x="102" y="78"/>
                    </a:cubicBezTo>
                    <a:cubicBezTo>
                      <a:pt x="101" y="79"/>
                      <a:pt x="101" y="79"/>
                      <a:pt x="101" y="79"/>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8"/>
                      <a:pt x="100" y="80"/>
                      <a:pt x="100" y="79"/>
                    </a:cubicBezTo>
                    <a:cubicBezTo>
                      <a:pt x="104" y="95"/>
                      <a:pt x="107" y="109"/>
                      <a:pt x="110" y="124"/>
                    </a:cubicBezTo>
                    <a:cubicBezTo>
                      <a:pt x="111" y="126"/>
                      <a:pt x="111" y="126"/>
                      <a:pt x="111" y="126"/>
                    </a:cubicBezTo>
                    <a:cubicBezTo>
                      <a:pt x="109" y="125"/>
                      <a:pt x="109" y="125"/>
                      <a:pt x="109" y="125"/>
                    </a:cubicBezTo>
                    <a:cubicBezTo>
                      <a:pt x="94" y="118"/>
                      <a:pt x="81" y="112"/>
                      <a:pt x="68" y="106"/>
                    </a:cubicBezTo>
                    <a:cubicBezTo>
                      <a:pt x="69" y="106"/>
                      <a:pt x="69" y="106"/>
                      <a:pt x="69" y="106"/>
                    </a:cubicBezTo>
                    <a:cubicBezTo>
                      <a:pt x="54" y="114"/>
                      <a:pt x="41" y="122"/>
                      <a:pt x="29" y="129"/>
                    </a:cubicBezTo>
                    <a:cubicBezTo>
                      <a:pt x="28" y="129"/>
                      <a:pt x="28" y="129"/>
                      <a:pt x="28" y="129"/>
                    </a:cubicBezTo>
                    <a:cubicBezTo>
                      <a:pt x="28" y="128"/>
                      <a:pt x="28" y="128"/>
                      <a:pt x="28" y="128"/>
                    </a:cubicBezTo>
                    <a:cubicBezTo>
                      <a:pt x="30" y="111"/>
                      <a:pt x="32" y="95"/>
                      <a:pt x="34" y="83"/>
                    </a:cubicBezTo>
                    <a:cubicBezTo>
                      <a:pt x="34" y="83"/>
                      <a:pt x="34" y="83"/>
                      <a:pt x="34" y="83"/>
                    </a:cubicBezTo>
                    <a:cubicBezTo>
                      <a:pt x="23" y="74"/>
                      <a:pt x="15" y="66"/>
                      <a:pt x="9" y="61"/>
                    </a:cubicBezTo>
                    <a:cubicBezTo>
                      <a:pt x="6" y="58"/>
                      <a:pt x="4" y="56"/>
                      <a:pt x="2" y="55"/>
                    </a:cubicBezTo>
                    <a:cubicBezTo>
                      <a:pt x="2" y="54"/>
                      <a:pt x="1" y="54"/>
                      <a:pt x="1" y="53"/>
                    </a:cubicBezTo>
                    <a:lnTo>
                      <a:pt x="0" y="53"/>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19">
                <a:extLst>
                  <a:ext uri="{FF2B5EF4-FFF2-40B4-BE49-F238E27FC236}">
                    <a16:creationId xmlns:a16="http://schemas.microsoft.com/office/drawing/2014/main" id="{6516A954-897E-4711-84D8-F2C91B5E4B89}"/>
                  </a:ext>
                </a:extLst>
              </p:cNvPr>
              <p:cNvSpPr>
                <a:spLocks/>
              </p:cNvSpPr>
              <p:nvPr/>
            </p:nvSpPr>
            <p:spPr bwMode="auto">
              <a:xfrm>
                <a:off x="4279" y="2439"/>
                <a:ext cx="316" cy="309"/>
              </a:xfrm>
              <a:custGeom>
                <a:avLst/>
                <a:gdLst>
                  <a:gd name="T0" fmla="*/ 1 w 133"/>
                  <a:gd name="T1" fmla="*/ 53 h 130"/>
                  <a:gd name="T2" fmla="*/ 10 w 133"/>
                  <a:gd name="T3" fmla="*/ 61 h 130"/>
                  <a:gd name="T4" fmla="*/ 35 w 133"/>
                  <a:gd name="T5" fmla="*/ 83 h 130"/>
                  <a:gd name="T6" fmla="*/ 30 w 133"/>
                  <a:gd name="T7" fmla="*/ 128 h 130"/>
                  <a:gd name="T8" fmla="*/ 68 w 133"/>
                  <a:gd name="T9" fmla="*/ 104 h 130"/>
                  <a:gd name="T10" fmla="*/ 69 w 133"/>
                  <a:gd name="T11" fmla="*/ 104 h 130"/>
                  <a:gd name="T12" fmla="*/ 108 w 133"/>
                  <a:gd name="T13" fmla="*/ 124 h 130"/>
                  <a:gd name="T14" fmla="*/ 99 w 133"/>
                  <a:gd name="T15" fmla="*/ 80 h 130"/>
                  <a:gd name="T16" fmla="*/ 99 w 133"/>
                  <a:gd name="T17" fmla="*/ 79 h 130"/>
                  <a:gd name="T18" fmla="*/ 99 w 133"/>
                  <a:gd name="T19" fmla="*/ 79 h 130"/>
                  <a:gd name="T20" fmla="*/ 99 w 133"/>
                  <a:gd name="T21" fmla="*/ 79 h 130"/>
                  <a:gd name="T22" fmla="*/ 100 w 133"/>
                  <a:gd name="T23" fmla="*/ 78 h 130"/>
                  <a:gd name="T24" fmla="*/ 103 w 133"/>
                  <a:gd name="T25" fmla="*/ 75 h 130"/>
                  <a:gd name="T26" fmla="*/ 114 w 133"/>
                  <a:gd name="T27" fmla="*/ 62 h 130"/>
                  <a:gd name="T28" fmla="*/ 130 w 133"/>
                  <a:gd name="T29" fmla="*/ 47 h 130"/>
                  <a:gd name="T30" fmla="*/ 85 w 133"/>
                  <a:gd name="T31" fmla="*/ 43 h 130"/>
                  <a:gd name="T32" fmla="*/ 62 w 133"/>
                  <a:gd name="T33" fmla="*/ 3 h 130"/>
                  <a:gd name="T34" fmla="*/ 46 w 133"/>
                  <a:gd name="T35" fmla="*/ 44 h 130"/>
                  <a:gd name="T36" fmla="*/ 45 w 133"/>
                  <a:gd name="T37" fmla="*/ 45 h 130"/>
                  <a:gd name="T38" fmla="*/ 4 w 133"/>
                  <a:gd name="T39" fmla="*/ 52 h 130"/>
                  <a:gd name="T40" fmla="*/ 0 w 133"/>
                  <a:gd name="T41" fmla="*/ 53 h 130"/>
                  <a:gd name="T42" fmla="*/ 3 w 133"/>
                  <a:gd name="T43" fmla="*/ 52 h 130"/>
                  <a:gd name="T44" fmla="*/ 45 w 133"/>
                  <a:gd name="T45" fmla="*/ 43 h 130"/>
                  <a:gd name="T46" fmla="*/ 62 w 133"/>
                  <a:gd name="T47" fmla="*/ 2 h 130"/>
                  <a:gd name="T48" fmla="*/ 64 w 133"/>
                  <a:gd name="T49" fmla="*/ 2 h 130"/>
                  <a:gd name="T50" fmla="*/ 85 w 133"/>
                  <a:gd name="T51" fmla="*/ 41 h 130"/>
                  <a:gd name="T52" fmla="*/ 133 w 133"/>
                  <a:gd name="T53" fmla="*/ 46 h 130"/>
                  <a:gd name="T54" fmla="*/ 116 w 133"/>
                  <a:gd name="T55" fmla="*/ 63 h 130"/>
                  <a:gd name="T56" fmla="*/ 104 w 133"/>
                  <a:gd name="T57" fmla="*/ 76 h 130"/>
                  <a:gd name="T58" fmla="*/ 101 w 133"/>
                  <a:gd name="T59" fmla="*/ 79 h 130"/>
                  <a:gd name="T60" fmla="*/ 101 w 133"/>
                  <a:gd name="T61" fmla="*/ 80 h 130"/>
                  <a:gd name="T62" fmla="*/ 100 w 133"/>
                  <a:gd name="T63" fmla="*/ 80 h 130"/>
                  <a:gd name="T64" fmla="*/ 100 w 133"/>
                  <a:gd name="T65" fmla="*/ 80 h 130"/>
                  <a:gd name="T66" fmla="*/ 101 w 133"/>
                  <a:gd name="T67" fmla="*/ 79 h 130"/>
                  <a:gd name="T68" fmla="*/ 110 w 133"/>
                  <a:gd name="T69" fmla="*/ 124 h 130"/>
                  <a:gd name="T70" fmla="*/ 109 w 133"/>
                  <a:gd name="T71" fmla="*/ 125 h 130"/>
                  <a:gd name="T72" fmla="*/ 69 w 133"/>
                  <a:gd name="T73" fmla="*/ 106 h 130"/>
                  <a:gd name="T74" fmla="*/ 28 w 133"/>
                  <a:gd name="T75" fmla="*/ 130 h 130"/>
                  <a:gd name="T76" fmla="*/ 34 w 133"/>
                  <a:gd name="T77" fmla="*/ 83 h 130"/>
                  <a:gd name="T78" fmla="*/ 9 w 133"/>
                  <a:gd name="T79" fmla="*/ 61 h 130"/>
                  <a:gd name="T80" fmla="*/ 1 w 133"/>
                  <a:gd name="T81" fmla="*/ 5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130">
                    <a:moveTo>
                      <a:pt x="0" y="53"/>
                    </a:moveTo>
                    <a:cubicBezTo>
                      <a:pt x="0" y="53"/>
                      <a:pt x="1" y="53"/>
                      <a:pt x="1" y="53"/>
                    </a:cubicBezTo>
                    <a:cubicBezTo>
                      <a:pt x="2" y="54"/>
                      <a:pt x="2" y="54"/>
                      <a:pt x="3" y="55"/>
                    </a:cubicBezTo>
                    <a:cubicBezTo>
                      <a:pt x="5" y="56"/>
                      <a:pt x="7" y="58"/>
                      <a:pt x="10" y="61"/>
                    </a:cubicBezTo>
                    <a:cubicBezTo>
                      <a:pt x="16" y="66"/>
                      <a:pt x="24" y="73"/>
                      <a:pt x="35" y="82"/>
                    </a:cubicBezTo>
                    <a:cubicBezTo>
                      <a:pt x="35" y="83"/>
                      <a:pt x="35" y="83"/>
                      <a:pt x="35" y="83"/>
                    </a:cubicBezTo>
                    <a:cubicBezTo>
                      <a:pt x="35" y="83"/>
                      <a:pt x="35" y="83"/>
                      <a:pt x="35" y="83"/>
                    </a:cubicBezTo>
                    <a:cubicBezTo>
                      <a:pt x="34" y="96"/>
                      <a:pt x="32" y="111"/>
                      <a:pt x="30" y="128"/>
                    </a:cubicBezTo>
                    <a:cubicBezTo>
                      <a:pt x="29" y="127"/>
                      <a:pt x="29" y="127"/>
                      <a:pt x="29" y="127"/>
                    </a:cubicBezTo>
                    <a:cubicBezTo>
                      <a:pt x="41" y="120"/>
                      <a:pt x="54" y="112"/>
                      <a:pt x="68" y="104"/>
                    </a:cubicBezTo>
                    <a:cubicBezTo>
                      <a:pt x="68" y="104"/>
                      <a:pt x="68" y="104"/>
                      <a:pt x="68" y="104"/>
                    </a:cubicBezTo>
                    <a:cubicBezTo>
                      <a:pt x="69" y="104"/>
                      <a:pt x="69" y="104"/>
                      <a:pt x="69" y="104"/>
                    </a:cubicBezTo>
                    <a:cubicBezTo>
                      <a:pt x="82" y="110"/>
                      <a:pt x="95" y="116"/>
                      <a:pt x="110" y="123"/>
                    </a:cubicBezTo>
                    <a:cubicBezTo>
                      <a:pt x="108" y="124"/>
                      <a:pt x="108" y="124"/>
                      <a:pt x="108" y="124"/>
                    </a:cubicBezTo>
                    <a:cubicBezTo>
                      <a:pt x="105" y="110"/>
                      <a:pt x="102" y="95"/>
                      <a:pt x="99" y="80"/>
                    </a:cubicBezTo>
                    <a:cubicBezTo>
                      <a:pt x="99" y="80"/>
                      <a:pt x="99" y="80"/>
                      <a:pt x="99" y="80"/>
                    </a:cubicBezTo>
                    <a:cubicBezTo>
                      <a:pt x="99" y="80"/>
                      <a:pt x="98" y="80"/>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9"/>
                      <a:pt x="99" y="79"/>
                      <a:pt x="99" y="79"/>
                    </a:cubicBezTo>
                    <a:cubicBezTo>
                      <a:pt x="99" y="78"/>
                      <a:pt x="99" y="78"/>
                      <a:pt x="99" y="78"/>
                    </a:cubicBezTo>
                    <a:cubicBezTo>
                      <a:pt x="100" y="78"/>
                      <a:pt x="100" y="78"/>
                      <a:pt x="100" y="78"/>
                    </a:cubicBezTo>
                    <a:cubicBezTo>
                      <a:pt x="101" y="77"/>
                      <a:pt x="101" y="77"/>
                      <a:pt x="101" y="77"/>
                    </a:cubicBezTo>
                    <a:cubicBezTo>
                      <a:pt x="103" y="75"/>
                      <a:pt x="103" y="75"/>
                      <a:pt x="103" y="75"/>
                    </a:cubicBezTo>
                    <a:cubicBezTo>
                      <a:pt x="107" y="70"/>
                      <a:pt x="107" y="70"/>
                      <a:pt x="107" y="70"/>
                    </a:cubicBezTo>
                    <a:cubicBezTo>
                      <a:pt x="109" y="68"/>
                      <a:pt x="112" y="65"/>
                      <a:pt x="114" y="62"/>
                    </a:cubicBezTo>
                    <a:cubicBezTo>
                      <a:pt x="120" y="56"/>
                      <a:pt x="125" y="51"/>
                      <a:pt x="130" y="46"/>
                    </a:cubicBezTo>
                    <a:cubicBezTo>
                      <a:pt x="130" y="47"/>
                      <a:pt x="130" y="47"/>
                      <a:pt x="130" y="47"/>
                    </a:cubicBezTo>
                    <a:cubicBezTo>
                      <a:pt x="115" y="46"/>
                      <a:pt x="99" y="44"/>
                      <a:pt x="85" y="43"/>
                    </a:cubicBezTo>
                    <a:cubicBezTo>
                      <a:pt x="85" y="43"/>
                      <a:pt x="85" y="43"/>
                      <a:pt x="85" y="43"/>
                    </a:cubicBezTo>
                    <a:cubicBezTo>
                      <a:pt x="84" y="43"/>
                      <a:pt x="84" y="43"/>
                      <a:pt x="84" y="43"/>
                    </a:cubicBezTo>
                    <a:cubicBezTo>
                      <a:pt x="77" y="28"/>
                      <a:pt x="69" y="15"/>
                      <a:pt x="62" y="3"/>
                    </a:cubicBezTo>
                    <a:cubicBezTo>
                      <a:pt x="64" y="3"/>
                      <a:pt x="64" y="3"/>
                      <a:pt x="64" y="3"/>
                    </a:cubicBezTo>
                    <a:cubicBezTo>
                      <a:pt x="57" y="19"/>
                      <a:pt x="51" y="33"/>
                      <a:pt x="46" y="44"/>
                    </a:cubicBezTo>
                    <a:cubicBezTo>
                      <a:pt x="45" y="45"/>
                      <a:pt x="45" y="45"/>
                      <a:pt x="45" y="45"/>
                    </a:cubicBezTo>
                    <a:cubicBezTo>
                      <a:pt x="45" y="45"/>
                      <a:pt x="45" y="45"/>
                      <a:pt x="45" y="45"/>
                    </a:cubicBezTo>
                    <a:cubicBezTo>
                      <a:pt x="31" y="47"/>
                      <a:pt x="20" y="49"/>
                      <a:pt x="12" y="51"/>
                    </a:cubicBezTo>
                    <a:cubicBezTo>
                      <a:pt x="9" y="51"/>
                      <a:pt x="6" y="52"/>
                      <a:pt x="4" y="52"/>
                    </a:cubicBezTo>
                    <a:cubicBezTo>
                      <a:pt x="3" y="52"/>
                      <a:pt x="2" y="53"/>
                      <a:pt x="1" y="53"/>
                    </a:cubicBezTo>
                    <a:cubicBezTo>
                      <a:pt x="1" y="53"/>
                      <a:pt x="0" y="53"/>
                      <a:pt x="0" y="53"/>
                    </a:cubicBezTo>
                    <a:cubicBezTo>
                      <a:pt x="0" y="53"/>
                      <a:pt x="1" y="53"/>
                      <a:pt x="1" y="53"/>
                    </a:cubicBezTo>
                    <a:cubicBezTo>
                      <a:pt x="2" y="53"/>
                      <a:pt x="2" y="52"/>
                      <a:pt x="3" y="52"/>
                    </a:cubicBezTo>
                    <a:cubicBezTo>
                      <a:pt x="5" y="52"/>
                      <a:pt x="8" y="51"/>
                      <a:pt x="12" y="50"/>
                    </a:cubicBezTo>
                    <a:cubicBezTo>
                      <a:pt x="20" y="49"/>
                      <a:pt x="31" y="46"/>
                      <a:pt x="45" y="43"/>
                    </a:cubicBezTo>
                    <a:cubicBezTo>
                      <a:pt x="44" y="44"/>
                      <a:pt x="44" y="44"/>
                      <a:pt x="44" y="44"/>
                    </a:cubicBezTo>
                    <a:cubicBezTo>
                      <a:pt x="50" y="32"/>
                      <a:pt x="55" y="18"/>
                      <a:pt x="62" y="2"/>
                    </a:cubicBezTo>
                    <a:cubicBezTo>
                      <a:pt x="63" y="0"/>
                      <a:pt x="63" y="0"/>
                      <a:pt x="63" y="0"/>
                    </a:cubicBezTo>
                    <a:cubicBezTo>
                      <a:pt x="64" y="2"/>
                      <a:pt x="64" y="2"/>
                      <a:pt x="64" y="2"/>
                    </a:cubicBezTo>
                    <a:cubicBezTo>
                      <a:pt x="71" y="14"/>
                      <a:pt x="78" y="27"/>
                      <a:pt x="86" y="42"/>
                    </a:cubicBezTo>
                    <a:cubicBezTo>
                      <a:pt x="85" y="41"/>
                      <a:pt x="85" y="41"/>
                      <a:pt x="85" y="41"/>
                    </a:cubicBezTo>
                    <a:cubicBezTo>
                      <a:pt x="100" y="42"/>
                      <a:pt x="115" y="44"/>
                      <a:pt x="131" y="45"/>
                    </a:cubicBezTo>
                    <a:cubicBezTo>
                      <a:pt x="133" y="46"/>
                      <a:pt x="133" y="46"/>
                      <a:pt x="133" y="46"/>
                    </a:cubicBezTo>
                    <a:cubicBezTo>
                      <a:pt x="131" y="47"/>
                      <a:pt x="131" y="47"/>
                      <a:pt x="131" y="47"/>
                    </a:cubicBezTo>
                    <a:cubicBezTo>
                      <a:pt x="126" y="52"/>
                      <a:pt x="121" y="58"/>
                      <a:pt x="116" y="63"/>
                    </a:cubicBezTo>
                    <a:cubicBezTo>
                      <a:pt x="113" y="66"/>
                      <a:pt x="111" y="69"/>
                      <a:pt x="108" y="72"/>
                    </a:cubicBezTo>
                    <a:cubicBezTo>
                      <a:pt x="104" y="76"/>
                      <a:pt x="104" y="76"/>
                      <a:pt x="104" y="76"/>
                    </a:cubicBezTo>
                    <a:cubicBezTo>
                      <a:pt x="102" y="78"/>
                      <a:pt x="102" y="78"/>
                      <a:pt x="102" y="78"/>
                    </a:cubicBezTo>
                    <a:cubicBezTo>
                      <a:pt x="101" y="79"/>
                      <a:pt x="101" y="79"/>
                      <a:pt x="101" y="79"/>
                    </a:cubicBezTo>
                    <a:cubicBezTo>
                      <a:pt x="101" y="80"/>
                      <a:pt x="101" y="80"/>
                      <a:pt x="101" y="80"/>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9"/>
                      <a:pt x="101" y="79"/>
                      <a:pt x="101" y="79"/>
                    </a:cubicBezTo>
                    <a:cubicBezTo>
                      <a:pt x="101" y="80"/>
                      <a:pt x="101" y="80"/>
                      <a:pt x="101" y="79"/>
                    </a:cubicBezTo>
                    <a:cubicBezTo>
                      <a:pt x="104" y="95"/>
                      <a:pt x="107" y="109"/>
                      <a:pt x="110" y="124"/>
                    </a:cubicBezTo>
                    <a:cubicBezTo>
                      <a:pt x="111" y="126"/>
                      <a:pt x="111" y="126"/>
                      <a:pt x="111" y="126"/>
                    </a:cubicBezTo>
                    <a:cubicBezTo>
                      <a:pt x="109" y="125"/>
                      <a:pt x="109" y="125"/>
                      <a:pt x="109" y="125"/>
                    </a:cubicBezTo>
                    <a:cubicBezTo>
                      <a:pt x="95" y="118"/>
                      <a:pt x="81" y="112"/>
                      <a:pt x="68" y="106"/>
                    </a:cubicBezTo>
                    <a:cubicBezTo>
                      <a:pt x="69" y="106"/>
                      <a:pt x="69" y="106"/>
                      <a:pt x="69" y="106"/>
                    </a:cubicBezTo>
                    <a:cubicBezTo>
                      <a:pt x="55" y="114"/>
                      <a:pt x="41" y="122"/>
                      <a:pt x="30" y="129"/>
                    </a:cubicBezTo>
                    <a:cubicBezTo>
                      <a:pt x="28" y="130"/>
                      <a:pt x="28" y="130"/>
                      <a:pt x="28" y="130"/>
                    </a:cubicBezTo>
                    <a:cubicBezTo>
                      <a:pt x="28" y="128"/>
                      <a:pt x="28" y="128"/>
                      <a:pt x="28" y="128"/>
                    </a:cubicBezTo>
                    <a:cubicBezTo>
                      <a:pt x="30" y="111"/>
                      <a:pt x="32" y="95"/>
                      <a:pt x="34" y="83"/>
                    </a:cubicBezTo>
                    <a:cubicBezTo>
                      <a:pt x="34" y="83"/>
                      <a:pt x="34" y="83"/>
                      <a:pt x="34" y="83"/>
                    </a:cubicBezTo>
                    <a:cubicBezTo>
                      <a:pt x="23" y="74"/>
                      <a:pt x="15" y="66"/>
                      <a:pt x="9" y="61"/>
                    </a:cubicBezTo>
                    <a:cubicBezTo>
                      <a:pt x="6" y="58"/>
                      <a:pt x="4" y="56"/>
                      <a:pt x="3" y="55"/>
                    </a:cubicBezTo>
                    <a:cubicBezTo>
                      <a:pt x="2" y="54"/>
                      <a:pt x="1" y="54"/>
                      <a:pt x="1" y="53"/>
                    </a:cubicBezTo>
                    <a:cubicBezTo>
                      <a:pt x="0" y="53"/>
                      <a:pt x="0" y="53"/>
                      <a:pt x="0" y="53"/>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20">
                <a:extLst>
                  <a:ext uri="{FF2B5EF4-FFF2-40B4-BE49-F238E27FC236}">
                    <a16:creationId xmlns:a16="http://schemas.microsoft.com/office/drawing/2014/main" id="{C4847E36-77E8-480F-9ECE-923049090D5C}"/>
                  </a:ext>
                </a:extLst>
              </p:cNvPr>
              <p:cNvSpPr>
                <a:spLocks/>
              </p:cNvSpPr>
              <p:nvPr/>
            </p:nvSpPr>
            <p:spPr bwMode="auto">
              <a:xfrm>
                <a:off x="4279" y="3315"/>
                <a:ext cx="316" cy="307"/>
              </a:xfrm>
              <a:custGeom>
                <a:avLst/>
                <a:gdLst>
                  <a:gd name="T0" fmla="*/ 1 w 133"/>
                  <a:gd name="T1" fmla="*/ 53 h 129"/>
                  <a:gd name="T2" fmla="*/ 10 w 133"/>
                  <a:gd name="T3" fmla="*/ 60 h 129"/>
                  <a:gd name="T4" fmla="*/ 35 w 133"/>
                  <a:gd name="T5" fmla="*/ 82 h 129"/>
                  <a:gd name="T6" fmla="*/ 30 w 133"/>
                  <a:gd name="T7" fmla="*/ 128 h 129"/>
                  <a:gd name="T8" fmla="*/ 68 w 133"/>
                  <a:gd name="T9" fmla="*/ 104 h 129"/>
                  <a:gd name="T10" fmla="*/ 69 w 133"/>
                  <a:gd name="T11" fmla="*/ 104 h 129"/>
                  <a:gd name="T12" fmla="*/ 108 w 133"/>
                  <a:gd name="T13" fmla="*/ 124 h 129"/>
                  <a:gd name="T14" fmla="*/ 99 w 133"/>
                  <a:gd name="T15" fmla="*/ 78 h 129"/>
                  <a:gd name="T16" fmla="*/ 99 w 133"/>
                  <a:gd name="T17" fmla="*/ 78 h 129"/>
                  <a:gd name="T18" fmla="*/ 99 w 133"/>
                  <a:gd name="T19" fmla="*/ 78 h 129"/>
                  <a:gd name="T20" fmla="*/ 99 w 133"/>
                  <a:gd name="T21" fmla="*/ 78 h 129"/>
                  <a:gd name="T22" fmla="*/ 101 w 133"/>
                  <a:gd name="T23" fmla="*/ 76 h 129"/>
                  <a:gd name="T24" fmla="*/ 107 w 133"/>
                  <a:gd name="T25" fmla="*/ 70 h 129"/>
                  <a:gd name="T26" fmla="*/ 130 w 133"/>
                  <a:gd name="T27" fmla="*/ 45 h 129"/>
                  <a:gd name="T28" fmla="*/ 85 w 133"/>
                  <a:gd name="T29" fmla="*/ 43 h 129"/>
                  <a:gd name="T30" fmla="*/ 84 w 133"/>
                  <a:gd name="T31" fmla="*/ 42 h 129"/>
                  <a:gd name="T32" fmla="*/ 64 w 133"/>
                  <a:gd name="T33" fmla="*/ 2 h 129"/>
                  <a:gd name="T34" fmla="*/ 45 w 133"/>
                  <a:gd name="T35" fmla="*/ 44 h 129"/>
                  <a:gd name="T36" fmla="*/ 12 w 133"/>
                  <a:gd name="T37" fmla="*/ 50 h 129"/>
                  <a:gd name="T38" fmla="*/ 1 w 133"/>
                  <a:gd name="T39" fmla="*/ 52 h 129"/>
                  <a:gd name="T40" fmla="*/ 1 w 133"/>
                  <a:gd name="T41" fmla="*/ 52 h 129"/>
                  <a:gd name="T42" fmla="*/ 12 w 133"/>
                  <a:gd name="T43" fmla="*/ 50 h 129"/>
                  <a:gd name="T44" fmla="*/ 44 w 133"/>
                  <a:gd name="T45" fmla="*/ 43 h 129"/>
                  <a:gd name="T46" fmla="*/ 63 w 133"/>
                  <a:gd name="T47" fmla="*/ 0 h 129"/>
                  <a:gd name="T48" fmla="*/ 86 w 133"/>
                  <a:gd name="T49" fmla="*/ 41 h 129"/>
                  <a:gd name="T50" fmla="*/ 131 w 133"/>
                  <a:gd name="T51" fmla="*/ 45 h 129"/>
                  <a:gd name="T52" fmla="*/ 131 w 133"/>
                  <a:gd name="T53" fmla="*/ 47 h 129"/>
                  <a:gd name="T54" fmla="*/ 108 w 133"/>
                  <a:gd name="T55" fmla="*/ 71 h 129"/>
                  <a:gd name="T56" fmla="*/ 102 w 133"/>
                  <a:gd name="T57" fmla="*/ 78 h 129"/>
                  <a:gd name="T58" fmla="*/ 101 w 133"/>
                  <a:gd name="T59" fmla="*/ 79 h 129"/>
                  <a:gd name="T60" fmla="*/ 100 w 133"/>
                  <a:gd name="T61" fmla="*/ 80 h 129"/>
                  <a:gd name="T62" fmla="*/ 100 w 133"/>
                  <a:gd name="T63" fmla="*/ 80 h 129"/>
                  <a:gd name="T64" fmla="*/ 100 w 133"/>
                  <a:gd name="T65" fmla="*/ 80 h 129"/>
                  <a:gd name="T66" fmla="*/ 110 w 133"/>
                  <a:gd name="T67" fmla="*/ 123 h 129"/>
                  <a:gd name="T68" fmla="*/ 109 w 133"/>
                  <a:gd name="T69" fmla="*/ 124 h 129"/>
                  <a:gd name="T70" fmla="*/ 69 w 133"/>
                  <a:gd name="T71" fmla="*/ 105 h 129"/>
                  <a:gd name="T72" fmla="*/ 28 w 133"/>
                  <a:gd name="T73" fmla="*/ 129 h 129"/>
                  <a:gd name="T74" fmla="*/ 34 w 133"/>
                  <a:gd name="T75" fmla="*/ 82 h 129"/>
                  <a:gd name="T76" fmla="*/ 9 w 133"/>
                  <a:gd name="T77" fmla="*/ 60 h 129"/>
                  <a:gd name="T78" fmla="*/ 1 w 133"/>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29">
                    <a:moveTo>
                      <a:pt x="0" y="52"/>
                    </a:moveTo>
                    <a:cubicBezTo>
                      <a:pt x="0" y="52"/>
                      <a:pt x="1" y="53"/>
                      <a:pt x="1" y="53"/>
                    </a:cubicBezTo>
                    <a:cubicBezTo>
                      <a:pt x="2" y="53"/>
                      <a:pt x="2" y="54"/>
                      <a:pt x="3" y="54"/>
                    </a:cubicBezTo>
                    <a:cubicBezTo>
                      <a:pt x="5" y="56"/>
                      <a:pt x="7" y="58"/>
                      <a:pt x="10" y="60"/>
                    </a:cubicBezTo>
                    <a:cubicBezTo>
                      <a:pt x="16" y="65"/>
                      <a:pt x="24" y="73"/>
                      <a:pt x="35" y="82"/>
                    </a:cubicBezTo>
                    <a:cubicBezTo>
                      <a:pt x="35" y="82"/>
                      <a:pt x="35" y="82"/>
                      <a:pt x="35" y="82"/>
                    </a:cubicBezTo>
                    <a:cubicBezTo>
                      <a:pt x="35" y="82"/>
                      <a:pt x="35" y="82"/>
                      <a:pt x="35" y="82"/>
                    </a:cubicBezTo>
                    <a:cubicBezTo>
                      <a:pt x="34" y="95"/>
                      <a:pt x="32" y="110"/>
                      <a:pt x="30" y="128"/>
                    </a:cubicBezTo>
                    <a:cubicBezTo>
                      <a:pt x="29" y="127"/>
                      <a:pt x="29" y="127"/>
                      <a:pt x="29" y="127"/>
                    </a:cubicBezTo>
                    <a:cubicBezTo>
                      <a:pt x="41" y="120"/>
                      <a:pt x="54" y="112"/>
                      <a:pt x="68" y="104"/>
                    </a:cubicBezTo>
                    <a:cubicBezTo>
                      <a:pt x="68" y="103"/>
                      <a:pt x="68" y="103"/>
                      <a:pt x="68" y="103"/>
                    </a:cubicBezTo>
                    <a:cubicBezTo>
                      <a:pt x="69" y="104"/>
                      <a:pt x="69" y="104"/>
                      <a:pt x="69" y="104"/>
                    </a:cubicBezTo>
                    <a:cubicBezTo>
                      <a:pt x="82" y="109"/>
                      <a:pt x="95" y="116"/>
                      <a:pt x="110" y="123"/>
                    </a:cubicBezTo>
                    <a:cubicBezTo>
                      <a:pt x="108" y="124"/>
                      <a:pt x="108" y="124"/>
                      <a:pt x="108" y="124"/>
                    </a:cubicBezTo>
                    <a:cubicBezTo>
                      <a:pt x="105" y="109"/>
                      <a:pt x="102" y="95"/>
                      <a:pt x="99" y="79"/>
                    </a:cubicBezTo>
                    <a:cubicBezTo>
                      <a:pt x="99" y="79"/>
                      <a:pt x="98" y="80"/>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99" y="78"/>
                      <a:pt x="99" y="78"/>
                      <a:pt x="99" y="78"/>
                    </a:cubicBezTo>
                    <a:cubicBezTo>
                      <a:pt x="100" y="77"/>
                      <a:pt x="100" y="77"/>
                      <a:pt x="100" y="77"/>
                    </a:cubicBezTo>
                    <a:cubicBezTo>
                      <a:pt x="101" y="76"/>
                      <a:pt x="101" y="76"/>
                      <a:pt x="101" y="76"/>
                    </a:cubicBezTo>
                    <a:cubicBezTo>
                      <a:pt x="103" y="74"/>
                      <a:pt x="103" y="74"/>
                      <a:pt x="103" y="74"/>
                    </a:cubicBezTo>
                    <a:cubicBezTo>
                      <a:pt x="107" y="70"/>
                      <a:pt x="107" y="70"/>
                      <a:pt x="107" y="70"/>
                    </a:cubicBezTo>
                    <a:cubicBezTo>
                      <a:pt x="109" y="67"/>
                      <a:pt x="112" y="64"/>
                      <a:pt x="114" y="62"/>
                    </a:cubicBezTo>
                    <a:cubicBezTo>
                      <a:pt x="120" y="56"/>
                      <a:pt x="125" y="51"/>
                      <a:pt x="130" y="45"/>
                    </a:cubicBezTo>
                    <a:cubicBezTo>
                      <a:pt x="130" y="47"/>
                      <a:pt x="130" y="47"/>
                      <a:pt x="130" y="47"/>
                    </a:cubicBezTo>
                    <a:cubicBezTo>
                      <a:pt x="115" y="45"/>
                      <a:pt x="99" y="44"/>
                      <a:pt x="85" y="43"/>
                    </a:cubicBezTo>
                    <a:cubicBezTo>
                      <a:pt x="85" y="42"/>
                      <a:pt x="85" y="42"/>
                      <a:pt x="85" y="42"/>
                    </a:cubicBezTo>
                    <a:cubicBezTo>
                      <a:pt x="84" y="42"/>
                      <a:pt x="84" y="42"/>
                      <a:pt x="84" y="42"/>
                    </a:cubicBezTo>
                    <a:cubicBezTo>
                      <a:pt x="77" y="28"/>
                      <a:pt x="69" y="14"/>
                      <a:pt x="62" y="2"/>
                    </a:cubicBezTo>
                    <a:cubicBezTo>
                      <a:pt x="64" y="2"/>
                      <a:pt x="64" y="2"/>
                      <a:pt x="64" y="2"/>
                    </a:cubicBezTo>
                    <a:cubicBezTo>
                      <a:pt x="57" y="18"/>
                      <a:pt x="51" y="32"/>
                      <a:pt x="46" y="44"/>
                    </a:cubicBezTo>
                    <a:cubicBezTo>
                      <a:pt x="45" y="44"/>
                      <a:pt x="45" y="44"/>
                      <a:pt x="45" y="44"/>
                    </a:cubicBezTo>
                    <a:cubicBezTo>
                      <a:pt x="45" y="44"/>
                      <a:pt x="45" y="44"/>
                      <a:pt x="45" y="44"/>
                    </a:cubicBezTo>
                    <a:cubicBezTo>
                      <a:pt x="31" y="47"/>
                      <a:pt x="20" y="49"/>
                      <a:pt x="12" y="50"/>
                    </a:cubicBezTo>
                    <a:cubicBezTo>
                      <a:pt x="9" y="51"/>
                      <a:pt x="6" y="51"/>
                      <a:pt x="4" y="52"/>
                    </a:cubicBezTo>
                    <a:cubicBezTo>
                      <a:pt x="3" y="52"/>
                      <a:pt x="2" y="52"/>
                      <a:pt x="1" y="52"/>
                    </a:cubicBezTo>
                    <a:cubicBezTo>
                      <a:pt x="1" y="52"/>
                      <a:pt x="0" y="52"/>
                      <a:pt x="0" y="52"/>
                    </a:cubicBezTo>
                    <a:cubicBezTo>
                      <a:pt x="0" y="52"/>
                      <a:pt x="1" y="52"/>
                      <a:pt x="1" y="52"/>
                    </a:cubicBezTo>
                    <a:cubicBezTo>
                      <a:pt x="2" y="52"/>
                      <a:pt x="2" y="52"/>
                      <a:pt x="3" y="52"/>
                    </a:cubicBezTo>
                    <a:cubicBezTo>
                      <a:pt x="5" y="51"/>
                      <a:pt x="8" y="51"/>
                      <a:pt x="12" y="50"/>
                    </a:cubicBezTo>
                    <a:cubicBezTo>
                      <a:pt x="20" y="48"/>
                      <a:pt x="31" y="46"/>
                      <a:pt x="45" y="43"/>
                    </a:cubicBezTo>
                    <a:cubicBezTo>
                      <a:pt x="44" y="43"/>
                      <a:pt x="44" y="43"/>
                      <a:pt x="44" y="43"/>
                    </a:cubicBezTo>
                    <a:cubicBezTo>
                      <a:pt x="50" y="32"/>
                      <a:pt x="55" y="18"/>
                      <a:pt x="62" y="2"/>
                    </a:cubicBezTo>
                    <a:cubicBezTo>
                      <a:pt x="63" y="0"/>
                      <a:pt x="63" y="0"/>
                      <a:pt x="63" y="0"/>
                    </a:cubicBezTo>
                    <a:cubicBezTo>
                      <a:pt x="64" y="1"/>
                      <a:pt x="64" y="1"/>
                      <a:pt x="64" y="1"/>
                    </a:cubicBezTo>
                    <a:cubicBezTo>
                      <a:pt x="71" y="14"/>
                      <a:pt x="78" y="27"/>
                      <a:pt x="86" y="41"/>
                    </a:cubicBezTo>
                    <a:cubicBezTo>
                      <a:pt x="85" y="41"/>
                      <a:pt x="85" y="41"/>
                      <a:pt x="85" y="41"/>
                    </a:cubicBezTo>
                    <a:cubicBezTo>
                      <a:pt x="100" y="42"/>
                      <a:pt x="115" y="43"/>
                      <a:pt x="131" y="45"/>
                    </a:cubicBezTo>
                    <a:cubicBezTo>
                      <a:pt x="133" y="45"/>
                      <a:pt x="133" y="45"/>
                      <a:pt x="133" y="45"/>
                    </a:cubicBezTo>
                    <a:cubicBezTo>
                      <a:pt x="131" y="47"/>
                      <a:pt x="131" y="47"/>
                      <a:pt x="131" y="47"/>
                    </a:cubicBezTo>
                    <a:cubicBezTo>
                      <a:pt x="126" y="52"/>
                      <a:pt x="121" y="57"/>
                      <a:pt x="116" y="63"/>
                    </a:cubicBezTo>
                    <a:cubicBezTo>
                      <a:pt x="113" y="66"/>
                      <a:pt x="111" y="69"/>
                      <a:pt x="108" y="71"/>
                    </a:cubicBezTo>
                    <a:cubicBezTo>
                      <a:pt x="104" y="76"/>
                      <a:pt x="104" y="76"/>
                      <a:pt x="104" y="76"/>
                    </a:cubicBezTo>
                    <a:cubicBezTo>
                      <a:pt x="102" y="78"/>
                      <a:pt x="102" y="78"/>
                      <a:pt x="102" y="78"/>
                    </a:cubicBezTo>
                    <a:cubicBezTo>
                      <a:pt x="101" y="79"/>
                      <a:pt x="101" y="79"/>
                      <a:pt x="101" y="79"/>
                    </a:cubicBezTo>
                    <a:cubicBezTo>
                      <a:pt x="101" y="79"/>
                      <a:pt x="101" y="79"/>
                      <a:pt x="101" y="79"/>
                    </a:cubicBezTo>
                    <a:cubicBezTo>
                      <a:pt x="101" y="80"/>
                      <a:pt x="101" y="80"/>
                      <a:pt x="101"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0" y="80"/>
                      <a:pt x="100" y="80"/>
                      <a:pt x="100" y="80"/>
                    </a:cubicBezTo>
                    <a:cubicBezTo>
                      <a:pt x="101" y="78"/>
                      <a:pt x="100" y="79"/>
                      <a:pt x="101" y="79"/>
                    </a:cubicBezTo>
                    <a:cubicBezTo>
                      <a:pt x="104" y="94"/>
                      <a:pt x="107" y="109"/>
                      <a:pt x="110" y="123"/>
                    </a:cubicBezTo>
                    <a:cubicBezTo>
                      <a:pt x="111" y="125"/>
                      <a:pt x="111" y="125"/>
                      <a:pt x="111" y="125"/>
                    </a:cubicBezTo>
                    <a:cubicBezTo>
                      <a:pt x="109" y="124"/>
                      <a:pt x="109" y="124"/>
                      <a:pt x="109" y="124"/>
                    </a:cubicBezTo>
                    <a:cubicBezTo>
                      <a:pt x="95" y="118"/>
                      <a:pt x="81" y="111"/>
                      <a:pt x="68" y="105"/>
                    </a:cubicBezTo>
                    <a:cubicBezTo>
                      <a:pt x="69" y="105"/>
                      <a:pt x="69" y="105"/>
                      <a:pt x="69" y="105"/>
                    </a:cubicBezTo>
                    <a:cubicBezTo>
                      <a:pt x="55" y="114"/>
                      <a:pt x="41" y="121"/>
                      <a:pt x="30" y="128"/>
                    </a:cubicBezTo>
                    <a:cubicBezTo>
                      <a:pt x="28" y="129"/>
                      <a:pt x="28" y="129"/>
                      <a:pt x="28" y="129"/>
                    </a:cubicBezTo>
                    <a:cubicBezTo>
                      <a:pt x="28" y="127"/>
                      <a:pt x="28" y="127"/>
                      <a:pt x="28" y="127"/>
                    </a:cubicBezTo>
                    <a:cubicBezTo>
                      <a:pt x="30" y="110"/>
                      <a:pt x="32" y="95"/>
                      <a:pt x="34" y="82"/>
                    </a:cubicBezTo>
                    <a:cubicBezTo>
                      <a:pt x="34" y="83"/>
                      <a:pt x="34" y="83"/>
                      <a:pt x="34" y="83"/>
                    </a:cubicBezTo>
                    <a:cubicBezTo>
                      <a:pt x="23" y="73"/>
                      <a:pt x="15" y="66"/>
                      <a:pt x="9" y="60"/>
                    </a:cubicBezTo>
                    <a:cubicBezTo>
                      <a:pt x="6" y="58"/>
                      <a:pt x="4" y="56"/>
                      <a:pt x="3" y="54"/>
                    </a:cubicBezTo>
                    <a:cubicBezTo>
                      <a:pt x="2" y="54"/>
                      <a:pt x="1" y="53"/>
                      <a:pt x="1" y="53"/>
                    </a:cubicBezTo>
                    <a:lnTo>
                      <a:pt x="0" y="5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21">
                <a:extLst>
                  <a:ext uri="{FF2B5EF4-FFF2-40B4-BE49-F238E27FC236}">
                    <a16:creationId xmlns:a16="http://schemas.microsoft.com/office/drawing/2014/main" id="{4F6747DE-8670-4B17-9C66-428C4127F47D}"/>
                  </a:ext>
                </a:extLst>
              </p:cNvPr>
              <p:cNvSpPr>
                <a:spLocks/>
              </p:cNvSpPr>
              <p:nvPr/>
            </p:nvSpPr>
            <p:spPr bwMode="auto">
              <a:xfrm>
                <a:off x="3634" y="3275"/>
                <a:ext cx="313" cy="306"/>
              </a:xfrm>
              <a:custGeom>
                <a:avLst/>
                <a:gdLst>
                  <a:gd name="T0" fmla="*/ 0 w 132"/>
                  <a:gd name="T1" fmla="*/ 53 h 129"/>
                  <a:gd name="T2" fmla="*/ 9 w 132"/>
                  <a:gd name="T3" fmla="*/ 60 h 129"/>
                  <a:gd name="T4" fmla="*/ 34 w 132"/>
                  <a:gd name="T5" fmla="*/ 82 h 129"/>
                  <a:gd name="T6" fmla="*/ 29 w 132"/>
                  <a:gd name="T7" fmla="*/ 127 h 129"/>
                  <a:gd name="T8" fmla="*/ 67 w 132"/>
                  <a:gd name="T9" fmla="*/ 103 h 129"/>
                  <a:gd name="T10" fmla="*/ 68 w 132"/>
                  <a:gd name="T11" fmla="*/ 103 h 129"/>
                  <a:gd name="T12" fmla="*/ 108 w 132"/>
                  <a:gd name="T13" fmla="*/ 123 h 129"/>
                  <a:gd name="T14" fmla="*/ 98 w 132"/>
                  <a:gd name="T15" fmla="*/ 78 h 129"/>
                  <a:gd name="T16" fmla="*/ 98 w 132"/>
                  <a:gd name="T17" fmla="*/ 78 h 129"/>
                  <a:gd name="T18" fmla="*/ 98 w 132"/>
                  <a:gd name="T19" fmla="*/ 78 h 129"/>
                  <a:gd name="T20" fmla="*/ 98 w 132"/>
                  <a:gd name="T21" fmla="*/ 78 h 129"/>
                  <a:gd name="T22" fmla="*/ 100 w 132"/>
                  <a:gd name="T23" fmla="*/ 76 h 129"/>
                  <a:gd name="T24" fmla="*/ 106 w 132"/>
                  <a:gd name="T25" fmla="*/ 70 h 129"/>
                  <a:gd name="T26" fmla="*/ 129 w 132"/>
                  <a:gd name="T27" fmla="*/ 45 h 129"/>
                  <a:gd name="T28" fmla="*/ 84 w 132"/>
                  <a:gd name="T29" fmla="*/ 42 h 129"/>
                  <a:gd name="T30" fmla="*/ 84 w 132"/>
                  <a:gd name="T31" fmla="*/ 42 h 129"/>
                  <a:gd name="T32" fmla="*/ 63 w 132"/>
                  <a:gd name="T33" fmla="*/ 2 h 129"/>
                  <a:gd name="T34" fmla="*/ 45 w 132"/>
                  <a:gd name="T35" fmla="*/ 44 h 129"/>
                  <a:gd name="T36" fmla="*/ 12 w 132"/>
                  <a:gd name="T37" fmla="*/ 50 h 129"/>
                  <a:gd name="T38" fmla="*/ 0 w 132"/>
                  <a:gd name="T39" fmla="*/ 52 h 129"/>
                  <a:gd name="T40" fmla="*/ 0 w 132"/>
                  <a:gd name="T41" fmla="*/ 52 h 129"/>
                  <a:gd name="T42" fmla="*/ 11 w 132"/>
                  <a:gd name="T43" fmla="*/ 50 h 129"/>
                  <a:gd name="T44" fmla="*/ 44 w 132"/>
                  <a:gd name="T45" fmla="*/ 43 h 129"/>
                  <a:gd name="T46" fmla="*/ 62 w 132"/>
                  <a:gd name="T47" fmla="*/ 0 h 129"/>
                  <a:gd name="T48" fmla="*/ 85 w 132"/>
                  <a:gd name="T49" fmla="*/ 41 h 129"/>
                  <a:gd name="T50" fmla="*/ 130 w 132"/>
                  <a:gd name="T51" fmla="*/ 45 h 129"/>
                  <a:gd name="T52" fmla="*/ 130 w 132"/>
                  <a:gd name="T53" fmla="*/ 46 h 129"/>
                  <a:gd name="T54" fmla="*/ 107 w 132"/>
                  <a:gd name="T55" fmla="*/ 71 h 129"/>
                  <a:gd name="T56" fmla="*/ 101 w 132"/>
                  <a:gd name="T57" fmla="*/ 77 h 129"/>
                  <a:gd name="T58" fmla="*/ 100 w 132"/>
                  <a:gd name="T59" fmla="*/ 79 h 129"/>
                  <a:gd name="T60" fmla="*/ 100 w 132"/>
                  <a:gd name="T61" fmla="*/ 79 h 129"/>
                  <a:gd name="T62" fmla="*/ 99 w 132"/>
                  <a:gd name="T63" fmla="*/ 80 h 129"/>
                  <a:gd name="T64" fmla="*/ 99 w 132"/>
                  <a:gd name="T65" fmla="*/ 80 h 129"/>
                  <a:gd name="T66" fmla="*/ 110 w 132"/>
                  <a:gd name="T67" fmla="*/ 123 h 129"/>
                  <a:gd name="T68" fmla="*/ 108 w 132"/>
                  <a:gd name="T69" fmla="*/ 124 h 129"/>
                  <a:gd name="T70" fmla="*/ 68 w 132"/>
                  <a:gd name="T71" fmla="*/ 105 h 129"/>
                  <a:gd name="T72" fmla="*/ 27 w 132"/>
                  <a:gd name="T73" fmla="*/ 129 h 129"/>
                  <a:gd name="T74" fmla="*/ 33 w 132"/>
                  <a:gd name="T75" fmla="*/ 82 h 129"/>
                  <a:gd name="T76" fmla="*/ 8 w 132"/>
                  <a:gd name="T77" fmla="*/ 60 h 129"/>
                  <a:gd name="T78" fmla="*/ 0 w 132"/>
                  <a:gd name="T79"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2" h="129">
                    <a:moveTo>
                      <a:pt x="0" y="52"/>
                    </a:moveTo>
                    <a:cubicBezTo>
                      <a:pt x="0" y="52"/>
                      <a:pt x="0" y="52"/>
                      <a:pt x="0" y="53"/>
                    </a:cubicBezTo>
                    <a:cubicBezTo>
                      <a:pt x="1" y="53"/>
                      <a:pt x="1" y="54"/>
                      <a:pt x="2" y="54"/>
                    </a:cubicBezTo>
                    <a:cubicBezTo>
                      <a:pt x="4" y="56"/>
                      <a:pt x="6" y="58"/>
                      <a:pt x="9" y="60"/>
                    </a:cubicBezTo>
                    <a:cubicBezTo>
                      <a:pt x="15" y="65"/>
                      <a:pt x="23" y="72"/>
                      <a:pt x="34" y="82"/>
                    </a:cubicBezTo>
                    <a:cubicBezTo>
                      <a:pt x="34" y="82"/>
                      <a:pt x="34" y="82"/>
                      <a:pt x="34" y="82"/>
                    </a:cubicBezTo>
                    <a:cubicBezTo>
                      <a:pt x="34" y="82"/>
                      <a:pt x="34" y="82"/>
                      <a:pt x="34" y="82"/>
                    </a:cubicBezTo>
                    <a:cubicBezTo>
                      <a:pt x="33" y="95"/>
                      <a:pt x="31" y="110"/>
                      <a:pt x="29" y="127"/>
                    </a:cubicBezTo>
                    <a:cubicBezTo>
                      <a:pt x="28" y="127"/>
                      <a:pt x="28" y="127"/>
                      <a:pt x="28" y="127"/>
                    </a:cubicBezTo>
                    <a:cubicBezTo>
                      <a:pt x="40" y="120"/>
                      <a:pt x="53" y="112"/>
                      <a:pt x="67" y="103"/>
                    </a:cubicBezTo>
                    <a:cubicBezTo>
                      <a:pt x="67" y="103"/>
                      <a:pt x="67" y="103"/>
                      <a:pt x="67" y="103"/>
                    </a:cubicBezTo>
                    <a:cubicBezTo>
                      <a:pt x="68" y="103"/>
                      <a:pt x="68" y="103"/>
                      <a:pt x="68" y="103"/>
                    </a:cubicBezTo>
                    <a:cubicBezTo>
                      <a:pt x="81" y="109"/>
                      <a:pt x="95" y="116"/>
                      <a:pt x="109" y="122"/>
                    </a:cubicBezTo>
                    <a:cubicBezTo>
                      <a:pt x="108" y="123"/>
                      <a:pt x="108" y="123"/>
                      <a:pt x="108" y="123"/>
                    </a:cubicBezTo>
                    <a:cubicBezTo>
                      <a:pt x="104" y="109"/>
                      <a:pt x="101" y="94"/>
                      <a:pt x="98" y="79"/>
                    </a:cubicBezTo>
                    <a:cubicBezTo>
                      <a:pt x="98" y="79"/>
                      <a:pt x="97" y="80"/>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8" y="78"/>
                      <a:pt x="98" y="78"/>
                      <a:pt x="98" y="78"/>
                    </a:cubicBezTo>
                    <a:cubicBezTo>
                      <a:pt x="99" y="77"/>
                      <a:pt x="99" y="77"/>
                      <a:pt x="99" y="77"/>
                    </a:cubicBezTo>
                    <a:cubicBezTo>
                      <a:pt x="100" y="76"/>
                      <a:pt x="100" y="76"/>
                      <a:pt x="100" y="76"/>
                    </a:cubicBezTo>
                    <a:cubicBezTo>
                      <a:pt x="102" y="74"/>
                      <a:pt x="102" y="74"/>
                      <a:pt x="102" y="74"/>
                    </a:cubicBezTo>
                    <a:cubicBezTo>
                      <a:pt x="106" y="70"/>
                      <a:pt x="106" y="70"/>
                      <a:pt x="106" y="70"/>
                    </a:cubicBezTo>
                    <a:cubicBezTo>
                      <a:pt x="108" y="67"/>
                      <a:pt x="111" y="64"/>
                      <a:pt x="114" y="61"/>
                    </a:cubicBezTo>
                    <a:cubicBezTo>
                      <a:pt x="119" y="56"/>
                      <a:pt x="124" y="50"/>
                      <a:pt x="129" y="45"/>
                    </a:cubicBezTo>
                    <a:cubicBezTo>
                      <a:pt x="130" y="47"/>
                      <a:pt x="130" y="47"/>
                      <a:pt x="130" y="47"/>
                    </a:cubicBezTo>
                    <a:cubicBezTo>
                      <a:pt x="114" y="45"/>
                      <a:pt x="99" y="44"/>
                      <a:pt x="84" y="42"/>
                    </a:cubicBezTo>
                    <a:cubicBezTo>
                      <a:pt x="84" y="42"/>
                      <a:pt x="84" y="42"/>
                      <a:pt x="84" y="42"/>
                    </a:cubicBezTo>
                    <a:cubicBezTo>
                      <a:pt x="84" y="42"/>
                      <a:pt x="84" y="42"/>
                      <a:pt x="84" y="42"/>
                    </a:cubicBezTo>
                    <a:cubicBezTo>
                      <a:pt x="76" y="28"/>
                      <a:pt x="68" y="14"/>
                      <a:pt x="62" y="2"/>
                    </a:cubicBezTo>
                    <a:cubicBezTo>
                      <a:pt x="63" y="2"/>
                      <a:pt x="63" y="2"/>
                      <a:pt x="63" y="2"/>
                    </a:cubicBezTo>
                    <a:cubicBezTo>
                      <a:pt x="56" y="18"/>
                      <a:pt x="50" y="32"/>
                      <a:pt x="45" y="44"/>
                    </a:cubicBezTo>
                    <a:cubicBezTo>
                      <a:pt x="45" y="44"/>
                      <a:pt x="45" y="44"/>
                      <a:pt x="45" y="44"/>
                    </a:cubicBezTo>
                    <a:cubicBezTo>
                      <a:pt x="44" y="44"/>
                      <a:pt x="44" y="44"/>
                      <a:pt x="44" y="44"/>
                    </a:cubicBezTo>
                    <a:cubicBezTo>
                      <a:pt x="30" y="46"/>
                      <a:pt x="19" y="49"/>
                      <a:pt x="12" y="50"/>
                    </a:cubicBezTo>
                    <a:cubicBezTo>
                      <a:pt x="8" y="51"/>
                      <a:pt x="5" y="51"/>
                      <a:pt x="3" y="52"/>
                    </a:cubicBezTo>
                    <a:cubicBezTo>
                      <a:pt x="2" y="52"/>
                      <a:pt x="1" y="52"/>
                      <a:pt x="0" y="52"/>
                    </a:cubicBezTo>
                    <a:cubicBezTo>
                      <a:pt x="0" y="52"/>
                      <a:pt x="0" y="52"/>
                      <a:pt x="0" y="52"/>
                    </a:cubicBezTo>
                    <a:cubicBezTo>
                      <a:pt x="0" y="52"/>
                      <a:pt x="0" y="52"/>
                      <a:pt x="0" y="52"/>
                    </a:cubicBezTo>
                    <a:cubicBezTo>
                      <a:pt x="1" y="52"/>
                      <a:pt x="2" y="52"/>
                      <a:pt x="2" y="51"/>
                    </a:cubicBezTo>
                    <a:cubicBezTo>
                      <a:pt x="5" y="51"/>
                      <a:pt x="7" y="50"/>
                      <a:pt x="11" y="50"/>
                    </a:cubicBezTo>
                    <a:cubicBezTo>
                      <a:pt x="19" y="48"/>
                      <a:pt x="30" y="46"/>
                      <a:pt x="44" y="43"/>
                    </a:cubicBezTo>
                    <a:cubicBezTo>
                      <a:pt x="44" y="43"/>
                      <a:pt x="44" y="43"/>
                      <a:pt x="44" y="43"/>
                    </a:cubicBezTo>
                    <a:cubicBezTo>
                      <a:pt x="49" y="31"/>
                      <a:pt x="55" y="17"/>
                      <a:pt x="61" y="1"/>
                    </a:cubicBezTo>
                    <a:cubicBezTo>
                      <a:pt x="62" y="0"/>
                      <a:pt x="62" y="0"/>
                      <a:pt x="62" y="0"/>
                    </a:cubicBezTo>
                    <a:cubicBezTo>
                      <a:pt x="63" y="1"/>
                      <a:pt x="63" y="1"/>
                      <a:pt x="63" y="1"/>
                    </a:cubicBezTo>
                    <a:cubicBezTo>
                      <a:pt x="70" y="13"/>
                      <a:pt x="77" y="27"/>
                      <a:pt x="85" y="41"/>
                    </a:cubicBezTo>
                    <a:cubicBezTo>
                      <a:pt x="84" y="40"/>
                      <a:pt x="84" y="40"/>
                      <a:pt x="84" y="40"/>
                    </a:cubicBezTo>
                    <a:cubicBezTo>
                      <a:pt x="99" y="42"/>
                      <a:pt x="114" y="43"/>
                      <a:pt x="130" y="45"/>
                    </a:cubicBezTo>
                    <a:cubicBezTo>
                      <a:pt x="132" y="45"/>
                      <a:pt x="132" y="45"/>
                      <a:pt x="132" y="45"/>
                    </a:cubicBezTo>
                    <a:cubicBezTo>
                      <a:pt x="130" y="46"/>
                      <a:pt x="130" y="46"/>
                      <a:pt x="130" y="46"/>
                    </a:cubicBezTo>
                    <a:cubicBezTo>
                      <a:pt x="125" y="52"/>
                      <a:pt x="120" y="57"/>
                      <a:pt x="115" y="63"/>
                    </a:cubicBezTo>
                    <a:cubicBezTo>
                      <a:pt x="113" y="65"/>
                      <a:pt x="110" y="68"/>
                      <a:pt x="107" y="71"/>
                    </a:cubicBezTo>
                    <a:cubicBezTo>
                      <a:pt x="103" y="75"/>
                      <a:pt x="103" y="75"/>
                      <a:pt x="103" y="75"/>
                    </a:cubicBezTo>
                    <a:cubicBezTo>
                      <a:pt x="101" y="77"/>
                      <a:pt x="101" y="77"/>
                      <a:pt x="101" y="77"/>
                    </a:cubicBezTo>
                    <a:cubicBezTo>
                      <a:pt x="100" y="79"/>
                      <a:pt x="100" y="79"/>
                      <a:pt x="100" y="79"/>
                    </a:cubicBezTo>
                    <a:cubicBezTo>
                      <a:pt x="100" y="79"/>
                      <a:pt x="100" y="79"/>
                      <a:pt x="100" y="79"/>
                    </a:cubicBezTo>
                    <a:cubicBezTo>
                      <a:pt x="100" y="79"/>
                      <a:pt x="100" y="79"/>
                      <a:pt x="100" y="79"/>
                    </a:cubicBezTo>
                    <a:cubicBezTo>
                      <a:pt x="100" y="79"/>
                      <a:pt x="100" y="79"/>
                      <a:pt x="100" y="79"/>
                    </a:cubicBezTo>
                    <a:cubicBezTo>
                      <a:pt x="100" y="80"/>
                      <a:pt x="100" y="80"/>
                      <a:pt x="100" y="80"/>
                    </a:cubicBezTo>
                    <a:cubicBezTo>
                      <a:pt x="99" y="80"/>
                      <a:pt x="99" y="80"/>
                      <a:pt x="99" y="80"/>
                    </a:cubicBezTo>
                    <a:cubicBezTo>
                      <a:pt x="99" y="80"/>
                      <a:pt x="99" y="80"/>
                      <a:pt x="99" y="80"/>
                    </a:cubicBezTo>
                    <a:cubicBezTo>
                      <a:pt x="99" y="80"/>
                      <a:pt x="99" y="80"/>
                      <a:pt x="99" y="80"/>
                    </a:cubicBezTo>
                    <a:cubicBezTo>
                      <a:pt x="100" y="78"/>
                      <a:pt x="100" y="79"/>
                      <a:pt x="100" y="79"/>
                    </a:cubicBezTo>
                    <a:cubicBezTo>
                      <a:pt x="103" y="94"/>
                      <a:pt x="106" y="109"/>
                      <a:pt x="110" y="123"/>
                    </a:cubicBezTo>
                    <a:cubicBezTo>
                      <a:pt x="110" y="125"/>
                      <a:pt x="110" y="125"/>
                      <a:pt x="110" y="125"/>
                    </a:cubicBezTo>
                    <a:cubicBezTo>
                      <a:pt x="108" y="124"/>
                      <a:pt x="108" y="124"/>
                      <a:pt x="108" y="124"/>
                    </a:cubicBezTo>
                    <a:cubicBezTo>
                      <a:pt x="94" y="117"/>
                      <a:pt x="80" y="111"/>
                      <a:pt x="67" y="105"/>
                    </a:cubicBezTo>
                    <a:cubicBezTo>
                      <a:pt x="68" y="105"/>
                      <a:pt x="68" y="105"/>
                      <a:pt x="68" y="105"/>
                    </a:cubicBezTo>
                    <a:cubicBezTo>
                      <a:pt x="54" y="113"/>
                      <a:pt x="41" y="121"/>
                      <a:pt x="29" y="128"/>
                    </a:cubicBezTo>
                    <a:cubicBezTo>
                      <a:pt x="27" y="129"/>
                      <a:pt x="27" y="129"/>
                      <a:pt x="27" y="129"/>
                    </a:cubicBezTo>
                    <a:cubicBezTo>
                      <a:pt x="27" y="127"/>
                      <a:pt x="27" y="127"/>
                      <a:pt x="27" y="127"/>
                    </a:cubicBezTo>
                    <a:cubicBezTo>
                      <a:pt x="30" y="110"/>
                      <a:pt x="31" y="95"/>
                      <a:pt x="33" y="82"/>
                    </a:cubicBezTo>
                    <a:cubicBezTo>
                      <a:pt x="33" y="83"/>
                      <a:pt x="33" y="83"/>
                      <a:pt x="33" y="83"/>
                    </a:cubicBezTo>
                    <a:cubicBezTo>
                      <a:pt x="23" y="73"/>
                      <a:pt x="14" y="65"/>
                      <a:pt x="8" y="60"/>
                    </a:cubicBezTo>
                    <a:cubicBezTo>
                      <a:pt x="5" y="57"/>
                      <a:pt x="3" y="56"/>
                      <a:pt x="2" y="54"/>
                    </a:cubicBezTo>
                    <a:cubicBezTo>
                      <a:pt x="1" y="53"/>
                      <a:pt x="1" y="53"/>
                      <a:pt x="0" y="53"/>
                    </a:cubicBezTo>
                    <a:lnTo>
                      <a:pt x="0" y="5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22">
                <a:extLst>
                  <a:ext uri="{FF2B5EF4-FFF2-40B4-BE49-F238E27FC236}">
                    <a16:creationId xmlns:a16="http://schemas.microsoft.com/office/drawing/2014/main" id="{C2F82665-CEDB-4C05-B3CD-89D7F2B3A3B9}"/>
                  </a:ext>
                </a:extLst>
              </p:cNvPr>
              <p:cNvSpPr>
                <a:spLocks/>
              </p:cNvSpPr>
              <p:nvPr/>
            </p:nvSpPr>
            <p:spPr bwMode="auto">
              <a:xfrm>
                <a:off x="4770" y="2147"/>
                <a:ext cx="318" cy="304"/>
              </a:xfrm>
              <a:custGeom>
                <a:avLst/>
                <a:gdLst>
                  <a:gd name="T0" fmla="*/ 102 w 134"/>
                  <a:gd name="T1" fmla="*/ 40 h 128"/>
                  <a:gd name="T2" fmla="*/ 101 w 134"/>
                  <a:gd name="T3" fmla="*/ 42 h 128"/>
                  <a:gd name="T4" fmla="*/ 101 w 134"/>
                  <a:gd name="T5" fmla="*/ 48 h 128"/>
                  <a:gd name="T6" fmla="*/ 101 w 134"/>
                  <a:gd name="T7" fmla="*/ 48 h 128"/>
                  <a:gd name="T8" fmla="*/ 133 w 134"/>
                  <a:gd name="T9" fmla="*/ 80 h 128"/>
                  <a:gd name="T10" fmla="*/ 134 w 134"/>
                  <a:gd name="T11" fmla="*/ 81 h 128"/>
                  <a:gd name="T12" fmla="*/ 132 w 134"/>
                  <a:gd name="T13" fmla="*/ 81 h 128"/>
                  <a:gd name="T14" fmla="*/ 87 w 134"/>
                  <a:gd name="T15" fmla="*/ 87 h 128"/>
                  <a:gd name="T16" fmla="*/ 88 w 134"/>
                  <a:gd name="T17" fmla="*/ 86 h 128"/>
                  <a:gd name="T18" fmla="*/ 67 w 134"/>
                  <a:gd name="T19" fmla="*/ 126 h 128"/>
                  <a:gd name="T20" fmla="*/ 66 w 134"/>
                  <a:gd name="T21" fmla="*/ 128 h 128"/>
                  <a:gd name="T22" fmla="*/ 65 w 134"/>
                  <a:gd name="T23" fmla="*/ 126 h 128"/>
                  <a:gd name="T24" fmla="*/ 46 w 134"/>
                  <a:gd name="T25" fmla="*/ 85 h 128"/>
                  <a:gd name="T26" fmla="*/ 47 w 134"/>
                  <a:gd name="T27" fmla="*/ 86 h 128"/>
                  <a:gd name="T28" fmla="*/ 44 w 134"/>
                  <a:gd name="T29" fmla="*/ 85 h 128"/>
                  <a:gd name="T30" fmla="*/ 2 w 134"/>
                  <a:gd name="T31" fmla="*/ 78 h 128"/>
                  <a:gd name="T32" fmla="*/ 0 w 134"/>
                  <a:gd name="T33" fmla="*/ 78 h 128"/>
                  <a:gd name="T34" fmla="*/ 1 w 134"/>
                  <a:gd name="T35" fmla="*/ 76 h 128"/>
                  <a:gd name="T36" fmla="*/ 35 w 134"/>
                  <a:gd name="T37" fmla="*/ 45 h 128"/>
                  <a:gd name="T38" fmla="*/ 34 w 134"/>
                  <a:gd name="T39" fmla="*/ 46 h 128"/>
                  <a:gd name="T40" fmla="*/ 28 w 134"/>
                  <a:gd name="T41" fmla="*/ 1 h 128"/>
                  <a:gd name="T42" fmla="*/ 28 w 134"/>
                  <a:gd name="T43" fmla="*/ 0 h 128"/>
                  <a:gd name="T44" fmla="*/ 29 w 134"/>
                  <a:gd name="T45" fmla="*/ 0 h 128"/>
                  <a:gd name="T46" fmla="*/ 69 w 134"/>
                  <a:gd name="T47" fmla="*/ 23 h 128"/>
                  <a:gd name="T48" fmla="*/ 68 w 134"/>
                  <a:gd name="T49" fmla="*/ 23 h 128"/>
                  <a:gd name="T50" fmla="*/ 76 w 134"/>
                  <a:gd name="T51" fmla="*/ 18 h 128"/>
                  <a:gd name="T52" fmla="*/ 79 w 134"/>
                  <a:gd name="T53" fmla="*/ 17 h 128"/>
                  <a:gd name="T54" fmla="*/ 77 w 134"/>
                  <a:gd name="T55" fmla="*/ 19 h 128"/>
                  <a:gd name="T56" fmla="*/ 69 w 134"/>
                  <a:gd name="T57" fmla="*/ 24 h 128"/>
                  <a:gd name="T58" fmla="*/ 68 w 134"/>
                  <a:gd name="T59" fmla="*/ 24 h 128"/>
                  <a:gd name="T60" fmla="*/ 68 w 134"/>
                  <a:gd name="T61" fmla="*/ 24 h 128"/>
                  <a:gd name="T62" fmla="*/ 28 w 134"/>
                  <a:gd name="T63" fmla="*/ 2 h 128"/>
                  <a:gd name="T64" fmla="*/ 30 w 134"/>
                  <a:gd name="T65" fmla="*/ 1 h 128"/>
                  <a:gd name="T66" fmla="*/ 36 w 134"/>
                  <a:gd name="T67" fmla="*/ 46 h 128"/>
                  <a:gd name="T68" fmla="*/ 36 w 134"/>
                  <a:gd name="T69" fmla="*/ 46 h 128"/>
                  <a:gd name="T70" fmla="*/ 36 w 134"/>
                  <a:gd name="T71" fmla="*/ 47 h 128"/>
                  <a:gd name="T72" fmla="*/ 3 w 134"/>
                  <a:gd name="T73" fmla="*/ 78 h 128"/>
                  <a:gd name="T74" fmla="*/ 2 w 134"/>
                  <a:gd name="T75" fmla="*/ 76 h 128"/>
                  <a:gd name="T76" fmla="*/ 45 w 134"/>
                  <a:gd name="T77" fmla="*/ 83 h 128"/>
                  <a:gd name="T78" fmla="*/ 47 w 134"/>
                  <a:gd name="T79" fmla="*/ 84 h 128"/>
                  <a:gd name="T80" fmla="*/ 47 w 134"/>
                  <a:gd name="T81" fmla="*/ 84 h 128"/>
                  <a:gd name="T82" fmla="*/ 48 w 134"/>
                  <a:gd name="T83" fmla="*/ 84 h 128"/>
                  <a:gd name="T84" fmla="*/ 67 w 134"/>
                  <a:gd name="T85" fmla="*/ 126 h 128"/>
                  <a:gd name="T86" fmla="*/ 65 w 134"/>
                  <a:gd name="T87" fmla="*/ 125 h 128"/>
                  <a:gd name="T88" fmla="*/ 86 w 134"/>
                  <a:gd name="T89" fmla="*/ 85 h 128"/>
                  <a:gd name="T90" fmla="*/ 86 w 134"/>
                  <a:gd name="T91" fmla="*/ 85 h 128"/>
                  <a:gd name="T92" fmla="*/ 87 w 134"/>
                  <a:gd name="T93" fmla="*/ 85 h 128"/>
                  <a:gd name="T94" fmla="*/ 132 w 134"/>
                  <a:gd name="T95" fmla="*/ 80 h 128"/>
                  <a:gd name="T96" fmla="*/ 132 w 134"/>
                  <a:gd name="T97" fmla="*/ 81 h 128"/>
                  <a:gd name="T98" fmla="*/ 100 w 134"/>
                  <a:gd name="T99" fmla="*/ 48 h 128"/>
                  <a:gd name="T100" fmla="*/ 100 w 134"/>
                  <a:gd name="T101" fmla="*/ 48 h 128"/>
                  <a:gd name="T102" fmla="*/ 100 w 134"/>
                  <a:gd name="T103" fmla="*/ 48 h 128"/>
                  <a:gd name="T104" fmla="*/ 101 w 134"/>
                  <a:gd name="T105" fmla="*/ 42 h 128"/>
                  <a:gd name="T106" fmla="*/ 102 w 134"/>
                  <a:gd name="T10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 h="128">
                    <a:moveTo>
                      <a:pt x="102" y="40"/>
                    </a:moveTo>
                    <a:cubicBezTo>
                      <a:pt x="102" y="40"/>
                      <a:pt x="102" y="41"/>
                      <a:pt x="101" y="42"/>
                    </a:cubicBezTo>
                    <a:cubicBezTo>
                      <a:pt x="101" y="43"/>
                      <a:pt x="101" y="45"/>
                      <a:pt x="101" y="48"/>
                    </a:cubicBezTo>
                    <a:cubicBezTo>
                      <a:pt x="101" y="48"/>
                      <a:pt x="101" y="48"/>
                      <a:pt x="101" y="48"/>
                    </a:cubicBezTo>
                    <a:cubicBezTo>
                      <a:pt x="107" y="54"/>
                      <a:pt x="118" y="65"/>
                      <a:pt x="133" y="80"/>
                    </a:cubicBezTo>
                    <a:cubicBezTo>
                      <a:pt x="134" y="81"/>
                      <a:pt x="134" y="81"/>
                      <a:pt x="134" y="81"/>
                    </a:cubicBezTo>
                    <a:cubicBezTo>
                      <a:pt x="132" y="81"/>
                      <a:pt x="132" y="81"/>
                      <a:pt x="132" y="81"/>
                    </a:cubicBezTo>
                    <a:cubicBezTo>
                      <a:pt x="119" y="83"/>
                      <a:pt x="104" y="85"/>
                      <a:pt x="87" y="87"/>
                    </a:cubicBezTo>
                    <a:cubicBezTo>
                      <a:pt x="88" y="86"/>
                      <a:pt x="88" y="86"/>
                      <a:pt x="88" y="86"/>
                    </a:cubicBezTo>
                    <a:cubicBezTo>
                      <a:pt x="81" y="98"/>
                      <a:pt x="74" y="112"/>
                      <a:pt x="67" y="126"/>
                    </a:cubicBezTo>
                    <a:cubicBezTo>
                      <a:pt x="66" y="128"/>
                      <a:pt x="66" y="128"/>
                      <a:pt x="66" y="128"/>
                    </a:cubicBezTo>
                    <a:cubicBezTo>
                      <a:pt x="65" y="126"/>
                      <a:pt x="65" y="126"/>
                      <a:pt x="65" y="126"/>
                    </a:cubicBezTo>
                    <a:cubicBezTo>
                      <a:pt x="59" y="113"/>
                      <a:pt x="52" y="99"/>
                      <a:pt x="46" y="85"/>
                    </a:cubicBezTo>
                    <a:cubicBezTo>
                      <a:pt x="47" y="86"/>
                      <a:pt x="47" y="86"/>
                      <a:pt x="47" y="86"/>
                    </a:cubicBezTo>
                    <a:cubicBezTo>
                      <a:pt x="46" y="86"/>
                      <a:pt x="45" y="85"/>
                      <a:pt x="44" y="85"/>
                    </a:cubicBezTo>
                    <a:cubicBezTo>
                      <a:pt x="30" y="83"/>
                      <a:pt x="15" y="80"/>
                      <a:pt x="2" y="78"/>
                    </a:cubicBezTo>
                    <a:cubicBezTo>
                      <a:pt x="0" y="78"/>
                      <a:pt x="0" y="78"/>
                      <a:pt x="0" y="78"/>
                    </a:cubicBezTo>
                    <a:cubicBezTo>
                      <a:pt x="1" y="76"/>
                      <a:pt x="1" y="76"/>
                      <a:pt x="1" y="76"/>
                    </a:cubicBezTo>
                    <a:cubicBezTo>
                      <a:pt x="13" y="65"/>
                      <a:pt x="24" y="55"/>
                      <a:pt x="35" y="45"/>
                    </a:cubicBezTo>
                    <a:cubicBezTo>
                      <a:pt x="34" y="46"/>
                      <a:pt x="34" y="46"/>
                      <a:pt x="34" y="46"/>
                    </a:cubicBezTo>
                    <a:cubicBezTo>
                      <a:pt x="32" y="30"/>
                      <a:pt x="30" y="14"/>
                      <a:pt x="28" y="1"/>
                    </a:cubicBezTo>
                    <a:cubicBezTo>
                      <a:pt x="28" y="0"/>
                      <a:pt x="28" y="0"/>
                      <a:pt x="28" y="0"/>
                    </a:cubicBezTo>
                    <a:cubicBezTo>
                      <a:pt x="29" y="0"/>
                      <a:pt x="29" y="0"/>
                      <a:pt x="29" y="0"/>
                    </a:cubicBezTo>
                    <a:cubicBezTo>
                      <a:pt x="46" y="10"/>
                      <a:pt x="60" y="18"/>
                      <a:pt x="69" y="23"/>
                    </a:cubicBezTo>
                    <a:cubicBezTo>
                      <a:pt x="68" y="23"/>
                      <a:pt x="68" y="23"/>
                      <a:pt x="68" y="23"/>
                    </a:cubicBezTo>
                    <a:cubicBezTo>
                      <a:pt x="72" y="21"/>
                      <a:pt x="74" y="20"/>
                      <a:pt x="76" y="18"/>
                    </a:cubicBezTo>
                    <a:cubicBezTo>
                      <a:pt x="78" y="17"/>
                      <a:pt x="79" y="17"/>
                      <a:pt x="79" y="17"/>
                    </a:cubicBezTo>
                    <a:cubicBezTo>
                      <a:pt x="79" y="17"/>
                      <a:pt x="78" y="18"/>
                      <a:pt x="77" y="19"/>
                    </a:cubicBezTo>
                    <a:cubicBezTo>
                      <a:pt x="75" y="20"/>
                      <a:pt x="72" y="22"/>
                      <a:pt x="69" y="24"/>
                    </a:cubicBezTo>
                    <a:cubicBezTo>
                      <a:pt x="68" y="24"/>
                      <a:pt x="68" y="24"/>
                      <a:pt x="68" y="24"/>
                    </a:cubicBezTo>
                    <a:cubicBezTo>
                      <a:pt x="68" y="24"/>
                      <a:pt x="68" y="24"/>
                      <a:pt x="68" y="24"/>
                    </a:cubicBezTo>
                    <a:cubicBezTo>
                      <a:pt x="60" y="19"/>
                      <a:pt x="46" y="11"/>
                      <a:pt x="28" y="2"/>
                    </a:cubicBezTo>
                    <a:cubicBezTo>
                      <a:pt x="30" y="1"/>
                      <a:pt x="30" y="1"/>
                      <a:pt x="30" y="1"/>
                    </a:cubicBezTo>
                    <a:cubicBezTo>
                      <a:pt x="31" y="14"/>
                      <a:pt x="34" y="29"/>
                      <a:pt x="36" y="46"/>
                    </a:cubicBezTo>
                    <a:cubicBezTo>
                      <a:pt x="36" y="46"/>
                      <a:pt x="36" y="46"/>
                      <a:pt x="36" y="46"/>
                    </a:cubicBezTo>
                    <a:cubicBezTo>
                      <a:pt x="36" y="47"/>
                      <a:pt x="36" y="47"/>
                      <a:pt x="36" y="47"/>
                    </a:cubicBezTo>
                    <a:cubicBezTo>
                      <a:pt x="26" y="56"/>
                      <a:pt x="14" y="67"/>
                      <a:pt x="3" y="78"/>
                    </a:cubicBezTo>
                    <a:cubicBezTo>
                      <a:pt x="2" y="76"/>
                      <a:pt x="2" y="76"/>
                      <a:pt x="2" y="76"/>
                    </a:cubicBezTo>
                    <a:cubicBezTo>
                      <a:pt x="16" y="78"/>
                      <a:pt x="30" y="81"/>
                      <a:pt x="45" y="83"/>
                    </a:cubicBezTo>
                    <a:cubicBezTo>
                      <a:pt x="45" y="83"/>
                      <a:pt x="46" y="84"/>
                      <a:pt x="47" y="84"/>
                    </a:cubicBezTo>
                    <a:cubicBezTo>
                      <a:pt x="47" y="84"/>
                      <a:pt x="47" y="84"/>
                      <a:pt x="47" y="84"/>
                    </a:cubicBezTo>
                    <a:cubicBezTo>
                      <a:pt x="48" y="84"/>
                      <a:pt x="48" y="84"/>
                      <a:pt x="48" y="84"/>
                    </a:cubicBezTo>
                    <a:cubicBezTo>
                      <a:pt x="54" y="99"/>
                      <a:pt x="61" y="112"/>
                      <a:pt x="67" y="126"/>
                    </a:cubicBezTo>
                    <a:cubicBezTo>
                      <a:pt x="65" y="125"/>
                      <a:pt x="65" y="125"/>
                      <a:pt x="65" y="125"/>
                    </a:cubicBezTo>
                    <a:cubicBezTo>
                      <a:pt x="72" y="111"/>
                      <a:pt x="80" y="98"/>
                      <a:pt x="86" y="85"/>
                    </a:cubicBezTo>
                    <a:cubicBezTo>
                      <a:pt x="86" y="85"/>
                      <a:pt x="86" y="85"/>
                      <a:pt x="86" y="85"/>
                    </a:cubicBezTo>
                    <a:cubicBezTo>
                      <a:pt x="87" y="85"/>
                      <a:pt x="87" y="85"/>
                      <a:pt x="87" y="85"/>
                    </a:cubicBezTo>
                    <a:cubicBezTo>
                      <a:pt x="104" y="83"/>
                      <a:pt x="119" y="81"/>
                      <a:pt x="132" y="80"/>
                    </a:cubicBezTo>
                    <a:cubicBezTo>
                      <a:pt x="132" y="81"/>
                      <a:pt x="132" y="81"/>
                      <a:pt x="132" y="81"/>
                    </a:cubicBezTo>
                    <a:cubicBezTo>
                      <a:pt x="117" y="66"/>
                      <a:pt x="106" y="55"/>
                      <a:pt x="100" y="48"/>
                    </a:cubicBezTo>
                    <a:cubicBezTo>
                      <a:pt x="100" y="48"/>
                      <a:pt x="100" y="48"/>
                      <a:pt x="100" y="48"/>
                    </a:cubicBezTo>
                    <a:cubicBezTo>
                      <a:pt x="100" y="48"/>
                      <a:pt x="100" y="48"/>
                      <a:pt x="100" y="48"/>
                    </a:cubicBezTo>
                    <a:cubicBezTo>
                      <a:pt x="101" y="45"/>
                      <a:pt x="101" y="43"/>
                      <a:pt x="101" y="42"/>
                    </a:cubicBezTo>
                    <a:cubicBezTo>
                      <a:pt x="101" y="41"/>
                      <a:pt x="102" y="40"/>
                      <a:pt x="102" y="4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23">
                <a:extLst>
                  <a:ext uri="{FF2B5EF4-FFF2-40B4-BE49-F238E27FC236}">
                    <a16:creationId xmlns:a16="http://schemas.microsoft.com/office/drawing/2014/main" id="{74EB4C0C-A918-4BB6-98E2-E33C306BF54C}"/>
                  </a:ext>
                </a:extLst>
              </p:cNvPr>
              <p:cNvSpPr>
                <a:spLocks/>
              </p:cNvSpPr>
              <p:nvPr/>
            </p:nvSpPr>
            <p:spPr bwMode="auto">
              <a:xfrm>
                <a:off x="4925" y="2677"/>
                <a:ext cx="318" cy="301"/>
              </a:xfrm>
              <a:custGeom>
                <a:avLst/>
                <a:gdLst>
                  <a:gd name="T0" fmla="*/ 29 w 134"/>
                  <a:gd name="T1" fmla="*/ 1 h 127"/>
                  <a:gd name="T2" fmla="*/ 31 w 134"/>
                  <a:gd name="T3" fmla="*/ 12 h 127"/>
                  <a:gd name="T4" fmla="*/ 36 w 134"/>
                  <a:gd name="T5" fmla="*/ 45 h 127"/>
                  <a:gd name="T6" fmla="*/ 3 w 134"/>
                  <a:gd name="T7" fmla="*/ 76 h 127"/>
                  <a:gd name="T8" fmla="*/ 47 w 134"/>
                  <a:gd name="T9" fmla="*/ 83 h 127"/>
                  <a:gd name="T10" fmla="*/ 48 w 134"/>
                  <a:gd name="T11" fmla="*/ 83 h 127"/>
                  <a:gd name="T12" fmla="*/ 65 w 134"/>
                  <a:gd name="T13" fmla="*/ 124 h 127"/>
                  <a:gd name="T14" fmla="*/ 87 w 134"/>
                  <a:gd name="T15" fmla="*/ 84 h 127"/>
                  <a:gd name="T16" fmla="*/ 87 w 134"/>
                  <a:gd name="T17" fmla="*/ 84 h 127"/>
                  <a:gd name="T18" fmla="*/ 87 w 134"/>
                  <a:gd name="T19" fmla="*/ 84 h 127"/>
                  <a:gd name="T20" fmla="*/ 88 w 134"/>
                  <a:gd name="T21" fmla="*/ 84 h 127"/>
                  <a:gd name="T22" fmla="*/ 90 w 134"/>
                  <a:gd name="T23" fmla="*/ 83 h 127"/>
                  <a:gd name="T24" fmla="*/ 98 w 134"/>
                  <a:gd name="T25" fmla="*/ 82 h 127"/>
                  <a:gd name="T26" fmla="*/ 132 w 134"/>
                  <a:gd name="T27" fmla="*/ 78 h 127"/>
                  <a:gd name="T28" fmla="*/ 100 w 134"/>
                  <a:gd name="T29" fmla="*/ 47 h 127"/>
                  <a:gd name="T30" fmla="*/ 99 w 134"/>
                  <a:gd name="T31" fmla="*/ 47 h 127"/>
                  <a:gd name="T32" fmla="*/ 110 w 134"/>
                  <a:gd name="T33" fmla="*/ 3 h 127"/>
                  <a:gd name="T34" fmla="*/ 68 w 134"/>
                  <a:gd name="T35" fmla="*/ 23 h 127"/>
                  <a:gd name="T36" fmla="*/ 39 w 134"/>
                  <a:gd name="T37" fmla="*/ 6 h 127"/>
                  <a:gd name="T38" fmla="*/ 30 w 134"/>
                  <a:gd name="T39" fmla="*/ 0 h 127"/>
                  <a:gd name="T40" fmla="*/ 29 w 134"/>
                  <a:gd name="T41" fmla="*/ 0 h 127"/>
                  <a:gd name="T42" fmla="*/ 39 w 134"/>
                  <a:gd name="T43" fmla="*/ 6 h 127"/>
                  <a:gd name="T44" fmla="*/ 68 w 134"/>
                  <a:gd name="T45" fmla="*/ 22 h 127"/>
                  <a:gd name="T46" fmla="*/ 110 w 134"/>
                  <a:gd name="T47" fmla="*/ 1 h 127"/>
                  <a:gd name="T48" fmla="*/ 101 w 134"/>
                  <a:gd name="T49" fmla="*/ 47 h 127"/>
                  <a:gd name="T50" fmla="*/ 133 w 134"/>
                  <a:gd name="T51" fmla="*/ 79 h 127"/>
                  <a:gd name="T52" fmla="*/ 132 w 134"/>
                  <a:gd name="T53" fmla="*/ 80 h 127"/>
                  <a:gd name="T54" fmla="*/ 99 w 134"/>
                  <a:gd name="T55" fmla="*/ 84 h 127"/>
                  <a:gd name="T56" fmla="*/ 90 w 134"/>
                  <a:gd name="T57" fmla="*/ 85 h 127"/>
                  <a:gd name="T58" fmla="*/ 88 w 134"/>
                  <a:gd name="T59" fmla="*/ 86 h 127"/>
                  <a:gd name="T60" fmla="*/ 87 w 134"/>
                  <a:gd name="T61" fmla="*/ 86 h 127"/>
                  <a:gd name="T62" fmla="*/ 87 w 134"/>
                  <a:gd name="T63" fmla="*/ 86 h 127"/>
                  <a:gd name="T64" fmla="*/ 87 w 134"/>
                  <a:gd name="T65" fmla="*/ 86 h 127"/>
                  <a:gd name="T66" fmla="*/ 67 w 134"/>
                  <a:gd name="T67" fmla="*/ 125 h 127"/>
                  <a:gd name="T68" fmla="*/ 65 w 134"/>
                  <a:gd name="T69" fmla="*/ 125 h 127"/>
                  <a:gd name="T70" fmla="*/ 47 w 134"/>
                  <a:gd name="T71" fmla="*/ 85 h 127"/>
                  <a:gd name="T72" fmla="*/ 0 w 134"/>
                  <a:gd name="T73" fmla="*/ 76 h 127"/>
                  <a:gd name="T74" fmla="*/ 35 w 134"/>
                  <a:gd name="T75" fmla="*/ 45 h 127"/>
                  <a:gd name="T76" fmla="*/ 30 w 134"/>
                  <a:gd name="T77" fmla="*/ 12 h 127"/>
                  <a:gd name="T78" fmla="*/ 29 w 134"/>
                  <a:gd name="T79" fmla="*/ 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27">
                    <a:moveTo>
                      <a:pt x="29" y="0"/>
                    </a:moveTo>
                    <a:cubicBezTo>
                      <a:pt x="29" y="0"/>
                      <a:pt x="29" y="0"/>
                      <a:pt x="29" y="1"/>
                    </a:cubicBezTo>
                    <a:cubicBezTo>
                      <a:pt x="29" y="1"/>
                      <a:pt x="29" y="2"/>
                      <a:pt x="29" y="3"/>
                    </a:cubicBezTo>
                    <a:cubicBezTo>
                      <a:pt x="30" y="5"/>
                      <a:pt x="30" y="8"/>
                      <a:pt x="31" y="12"/>
                    </a:cubicBezTo>
                    <a:cubicBezTo>
                      <a:pt x="32" y="20"/>
                      <a:pt x="34" y="31"/>
                      <a:pt x="36" y="45"/>
                    </a:cubicBezTo>
                    <a:cubicBezTo>
                      <a:pt x="36" y="45"/>
                      <a:pt x="36" y="45"/>
                      <a:pt x="36" y="45"/>
                    </a:cubicBezTo>
                    <a:cubicBezTo>
                      <a:pt x="36" y="45"/>
                      <a:pt x="36" y="45"/>
                      <a:pt x="36" y="45"/>
                    </a:cubicBezTo>
                    <a:cubicBezTo>
                      <a:pt x="26" y="54"/>
                      <a:pt x="15" y="65"/>
                      <a:pt x="3" y="76"/>
                    </a:cubicBezTo>
                    <a:cubicBezTo>
                      <a:pt x="2" y="75"/>
                      <a:pt x="2" y="75"/>
                      <a:pt x="2" y="75"/>
                    </a:cubicBezTo>
                    <a:cubicBezTo>
                      <a:pt x="16" y="77"/>
                      <a:pt x="31" y="80"/>
                      <a:pt x="47" y="83"/>
                    </a:cubicBezTo>
                    <a:cubicBezTo>
                      <a:pt x="47" y="83"/>
                      <a:pt x="47" y="83"/>
                      <a:pt x="47" y="83"/>
                    </a:cubicBezTo>
                    <a:cubicBezTo>
                      <a:pt x="48" y="83"/>
                      <a:pt x="48" y="83"/>
                      <a:pt x="48" y="83"/>
                    </a:cubicBezTo>
                    <a:cubicBezTo>
                      <a:pt x="54" y="96"/>
                      <a:pt x="60" y="110"/>
                      <a:pt x="67" y="124"/>
                    </a:cubicBezTo>
                    <a:cubicBezTo>
                      <a:pt x="65" y="124"/>
                      <a:pt x="65" y="124"/>
                      <a:pt x="65" y="124"/>
                    </a:cubicBezTo>
                    <a:cubicBezTo>
                      <a:pt x="72" y="111"/>
                      <a:pt x="79" y="98"/>
                      <a:pt x="86" y="84"/>
                    </a:cubicBezTo>
                    <a:cubicBezTo>
                      <a:pt x="86" y="84"/>
                      <a:pt x="85" y="85"/>
                      <a:pt x="87" y="84"/>
                    </a:cubicBezTo>
                    <a:cubicBezTo>
                      <a:pt x="87" y="84"/>
                      <a:pt x="87" y="84"/>
                      <a:pt x="87" y="84"/>
                    </a:cubicBezTo>
                    <a:cubicBezTo>
                      <a:pt x="87" y="84"/>
                      <a:pt x="87" y="84"/>
                      <a:pt x="87" y="84"/>
                    </a:cubicBezTo>
                    <a:cubicBezTo>
                      <a:pt x="87" y="84"/>
                      <a:pt x="87" y="84"/>
                      <a:pt x="87" y="84"/>
                    </a:cubicBezTo>
                    <a:cubicBezTo>
                      <a:pt x="87" y="84"/>
                      <a:pt x="87" y="84"/>
                      <a:pt x="87" y="84"/>
                    </a:cubicBezTo>
                    <a:cubicBezTo>
                      <a:pt x="87" y="84"/>
                      <a:pt x="87" y="84"/>
                      <a:pt x="87" y="84"/>
                    </a:cubicBezTo>
                    <a:cubicBezTo>
                      <a:pt x="88" y="84"/>
                      <a:pt x="88" y="84"/>
                      <a:pt x="88" y="84"/>
                    </a:cubicBezTo>
                    <a:cubicBezTo>
                      <a:pt x="88" y="83"/>
                      <a:pt x="88" y="83"/>
                      <a:pt x="88" y="83"/>
                    </a:cubicBezTo>
                    <a:cubicBezTo>
                      <a:pt x="90" y="83"/>
                      <a:pt x="90" y="83"/>
                      <a:pt x="90" y="83"/>
                    </a:cubicBezTo>
                    <a:cubicBezTo>
                      <a:pt x="93" y="83"/>
                      <a:pt x="93" y="83"/>
                      <a:pt x="93" y="83"/>
                    </a:cubicBezTo>
                    <a:cubicBezTo>
                      <a:pt x="98" y="82"/>
                      <a:pt x="98" y="82"/>
                      <a:pt x="98" y="82"/>
                    </a:cubicBezTo>
                    <a:cubicBezTo>
                      <a:pt x="102" y="82"/>
                      <a:pt x="106" y="81"/>
                      <a:pt x="110" y="81"/>
                    </a:cubicBezTo>
                    <a:cubicBezTo>
                      <a:pt x="117" y="80"/>
                      <a:pt x="125" y="79"/>
                      <a:pt x="132" y="78"/>
                    </a:cubicBezTo>
                    <a:cubicBezTo>
                      <a:pt x="131" y="80"/>
                      <a:pt x="131" y="80"/>
                      <a:pt x="131" y="80"/>
                    </a:cubicBezTo>
                    <a:cubicBezTo>
                      <a:pt x="120" y="69"/>
                      <a:pt x="110" y="58"/>
                      <a:pt x="100" y="47"/>
                    </a:cubicBezTo>
                    <a:cubicBezTo>
                      <a:pt x="99" y="47"/>
                      <a:pt x="99" y="47"/>
                      <a:pt x="99" y="47"/>
                    </a:cubicBezTo>
                    <a:cubicBezTo>
                      <a:pt x="99" y="47"/>
                      <a:pt x="99" y="47"/>
                      <a:pt x="99" y="47"/>
                    </a:cubicBezTo>
                    <a:cubicBezTo>
                      <a:pt x="103" y="31"/>
                      <a:pt x="106" y="16"/>
                      <a:pt x="108" y="2"/>
                    </a:cubicBezTo>
                    <a:cubicBezTo>
                      <a:pt x="110" y="3"/>
                      <a:pt x="110" y="3"/>
                      <a:pt x="110" y="3"/>
                    </a:cubicBezTo>
                    <a:cubicBezTo>
                      <a:pt x="94" y="11"/>
                      <a:pt x="80" y="17"/>
                      <a:pt x="69" y="23"/>
                    </a:cubicBezTo>
                    <a:cubicBezTo>
                      <a:pt x="68" y="23"/>
                      <a:pt x="68" y="23"/>
                      <a:pt x="68" y="23"/>
                    </a:cubicBezTo>
                    <a:cubicBezTo>
                      <a:pt x="68" y="23"/>
                      <a:pt x="68" y="23"/>
                      <a:pt x="68" y="23"/>
                    </a:cubicBezTo>
                    <a:cubicBezTo>
                      <a:pt x="56" y="16"/>
                      <a:pt x="46" y="10"/>
                      <a:pt x="39" y="6"/>
                    </a:cubicBezTo>
                    <a:cubicBezTo>
                      <a:pt x="36" y="4"/>
                      <a:pt x="33" y="3"/>
                      <a:pt x="32" y="2"/>
                    </a:cubicBezTo>
                    <a:cubicBezTo>
                      <a:pt x="31" y="1"/>
                      <a:pt x="30" y="1"/>
                      <a:pt x="30" y="0"/>
                    </a:cubicBezTo>
                    <a:cubicBezTo>
                      <a:pt x="29" y="0"/>
                      <a:pt x="29" y="0"/>
                      <a:pt x="29" y="0"/>
                    </a:cubicBezTo>
                    <a:cubicBezTo>
                      <a:pt x="29" y="0"/>
                      <a:pt x="29" y="0"/>
                      <a:pt x="29" y="0"/>
                    </a:cubicBezTo>
                    <a:cubicBezTo>
                      <a:pt x="30" y="1"/>
                      <a:pt x="31" y="1"/>
                      <a:pt x="31" y="1"/>
                    </a:cubicBezTo>
                    <a:cubicBezTo>
                      <a:pt x="33" y="2"/>
                      <a:pt x="36" y="4"/>
                      <a:pt x="39" y="6"/>
                    </a:cubicBezTo>
                    <a:cubicBezTo>
                      <a:pt x="46" y="9"/>
                      <a:pt x="56" y="15"/>
                      <a:pt x="69" y="22"/>
                    </a:cubicBezTo>
                    <a:cubicBezTo>
                      <a:pt x="68" y="22"/>
                      <a:pt x="68" y="22"/>
                      <a:pt x="68" y="22"/>
                    </a:cubicBezTo>
                    <a:cubicBezTo>
                      <a:pt x="80" y="16"/>
                      <a:pt x="93" y="9"/>
                      <a:pt x="109" y="1"/>
                    </a:cubicBezTo>
                    <a:cubicBezTo>
                      <a:pt x="110" y="1"/>
                      <a:pt x="110" y="1"/>
                      <a:pt x="110" y="1"/>
                    </a:cubicBezTo>
                    <a:cubicBezTo>
                      <a:pt x="110" y="2"/>
                      <a:pt x="110" y="2"/>
                      <a:pt x="110" y="2"/>
                    </a:cubicBezTo>
                    <a:cubicBezTo>
                      <a:pt x="107" y="16"/>
                      <a:pt x="104" y="31"/>
                      <a:pt x="101" y="47"/>
                    </a:cubicBezTo>
                    <a:cubicBezTo>
                      <a:pt x="101" y="46"/>
                      <a:pt x="101" y="46"/>
                      <a:pt x="101" y="46"/>
                    </a:cubicBezTo>
                    <a:cubicBezTo>
                      <a:pt x="111" y="56"/>
                      <a:pt x="122" y="67"/>
                      <a:pt x="133" y="79"/>
                    </a:cubicBezTo>
                    <a:cubicBezTo>
                      <a:pt x="134" y="80"/>
                      <a:pt x="134" y="80"/>
                      <a:pt x="134" y="80"/>
                    </a:cubicBezTo>
                    <a:cubicBezTo>
                      <a:pt x="132" y="80"/>
                      <a:pt x="132" y="80"/>
                      <a:pt x="132" y="80"/>
                    </a:cubicBezTo>
                    <a:cubicBezTo>
                      <a:pt x="125" y="81"/>
                      <a:pt x="118" y="82"/>
                      <a:pt x="110" y="83"/>
                    </a:cubicBezTo>
                    <a:cubicBezTo>
                      <a:pt x="106" y="83"/>
                      <a:pt x="102" y="84"/>
                      <a:pt x="99" y="84"/>
                    </a:cubicBezTo>
                    <a:cubicBezTo>
                      <a:pt x="93" y="85"/>
                      <a:pt x="93" y="85"/>
                      <a:pt x="93" y="85"/>
                    </a:cubicBezTo>
                    <a:cubicBezTo>
                      <a:pt x="90" y="85"/>
                      <a:pt x="90" y="85"/>
                      <a:pt x="90" y="85"/>
                    </a:cubicBezTo>
                    <a:cubicBezTo>
                      <a:pt x="89" y="85"/>
                      <a:pt x="89" y="85"/>
                      <a:pt x="89" y="85"/>
                    </a:cubicBezTo>
                    <a:cubicBezTo>
                      <a:pt x="88" y="86"/>
                      <a:pt x="88" y="86"/>
                      <a:pt x="88" y="86"/>
                    </a:cubicBezTo>
                    <a:cubicBezTo>
                      <a:pt x="87" y="86"/>
                      <a:pt x="87" y="86"/>
                      <a:pt x="87" y="86"/>
                    </a:cubicBezTo>
                    <a:cubicBezTo>
                      <a:pt x="87" y="86"/>
                      <a:pt x="87" y="86"/>
                      <a:pt x="87" y="86"/>
                    </a:cubicBezTo>
                    <a:cubicBezTo>
                      <a:pt x="87" y="86"/>
                      <a:pt x="87" y="86"/>
                      <a:pt x="87" y="86"/>
                    </a:cubicBezTo>
                    <a:cubicBezTo>
                      <a:pt x="87" y="86"/>
                      <a:pt x="87" y="86"/>
                      <a:pt x="87" y="86"/>
                    </a:cubicBezTo>
                    <a:cubicBezTo>
                      <a:pt x="87" y="86"/>
                      <a:pt x="87" y="86"/>
                      <a:pt x="87" y="86"/>
                    </a:cubicBezTo>
                    <a:cubicBezTo>
                      <a:pt x="87" y="86"/>
                      <a:pt x="87" y="86"/>
                      <a:pt x="87" y="86"/>
                    </a:cubicBezTo>
                    <a:cubicBezTo>
                      <a:pt x="89" y="85"/>
                      <a:pt x="88" y="85"/>
                      <a:pt x="88" y="85"/>
                    </a:cubicBezTo>
                    <a:cubicBezTo>
                      <a:pt x="81" y="99"/>
                      <a:pt x="74" y="112"/>
                      <a:pt x="67" y="125"/>
                    </a:cubicBezTo>
                    <a:cubicBezTo>
                      <a:pt x="66" y="127"/>
                      <a:pt x="66" y="127"/>
                      <a:pt x="66" y="127"/>
                    </a:cubicBezTo>
                    <a:cubicBezTo>
                      <a:pt x="65" y="125"/>
                      <a:pt x="65" y="125"/>
                      <a:pt x="65" y="125"/>
                    </a:cubicBezTo>
                    <a:cubicBezTo>
                      <a:pt x="58" y="111"/>
                      <a:pt x="52" y="97"/>
                      <a:pt x="46" y="84"/>
                    </a:cubicBezTo>
                    <a:cubicBezTo>
                      <a:pt x="47" y="85"/>
                      <a:pt x="47" y="85"/>
                      <a:pt x="47" y="85"/>
                    </a:cubicBezTo>
                    <a:cubicBezTo>
                      <a:pt x="31" y="82"/>
                      <a:pt x="15" y="79"/>
                      <a:pt x="2" y="77"/>
                    </a:cubicBezTo>
                    <a:cubicBezTo>
                      <a:pt x="0" y="76"/>
                      <a:pt x="0" y="76"/>
                      <a:pt x="0" y="76"/>
                    </a:cubicBezTo>
                    <a:cubicBezTo>
                      <a:pt x="1" y="75"/>
                      <a:pt x="1" y="75"/>
                      <a:pt x="1" y="75"/>
                    </a:cubicBezTo>
                    <a:cubicBezTo>
                      <a:pt x="14" y="64"/>
                      <a:pt x="26" y="53"/>
                      <a:pt x="35" y="45"/>
                    </a:cubicBezTo>
                    <a:cubicBezTo>
                      <a:pt x="35" y="45"/>
                      <a:pt x="35" y="45"/>
                      <a:pt x="35" y="45"/>
                    </a:cubicBezTo>
                    <a:cubicBezTo>
                      <a:pt x="33" y="31"/>
                      <a:pt x="31" y="20"/>
                      <a:pt x="30" y="12"/>
                    </a:cubicBezTo>
                    <a:cubicBezTo>
                      <a:pt x="30" y="8"/>
                      <a:pt x="29" y="5"/>
                      <a:pt x="29" y="3"/>
                    </a:cubicBezTo>
                    <a:cubicBezTo>
                      <a:pt x="29" y="2"/>
                      <a:pt x="29" y="1"/>
                      <a:pt x="29" y="1"/>
                    </a:cubicBezTo>
                    <a:cubicBezTo>
                      <a:pt x="29" y="0"/>
                      <a:pt x="29" y="0"/>
                      <a:pt x="29"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24">
                <a:extLst>
                  <a:ext uri="{FF2B5EF4-FFF2-40B4-BE49-F238E27FC236}">
                    <a16:creationId xmlns:a16="http://schemas.microsoft.com/office/drawing/2014/main" id="{72AB9F5C-AD18-4753-A9DD-38D236CEE103}"/>
                  </a:ext>
                </a:extLst>
              </p:cNvPr>
              <p:cNvSpPr>
                <a:spLocks/>
              </p:cNvSpPr>
              <p:nvPr/>
            </p:nvSpPr>
            <p:spPr bwMode="auto">
              <a:xfrm>
                <a:off x="5098" y="3206"/>
                <a:ext cx="315" cy="306"/>
              </a:xfrm>
              <a:custGeom>
                <a:avLst/>
                <a:gdLst>
                  <a:gd name="T0" fmla="*/ 71 w 133"/>
                  <a:gd name="T1" fmla="*/ 1 h 129"/>
                  <a:gd name="T2" fmla="*/ 65 w 133"/>
                  <a:gd name="T3" fmla="*/ 10 h 129"/>
                  <a:gd name="T4" fmla="*/ 48 w 133"/>
                  <a:gd name="T5" fmla="*/ 39 h 129"/>
                  <a:gd name="T6" fmla="*/ 2 w 133"/>
                  <a:gd name="T7" fmla="*/ 40 h 129"/>
                  <a:gd name="T8" fmla="*/ 31 w 133"/>
                  <a:gd name="T9" fmla="*/ 74 h 129"/>
                  <a:gd name="T10" fmla="*/ 32 w 133"/>
                  <a:gd name="T11" fmla="*/ 75 h 129"/>
                  <a:gd name="T12" fmla="*/ 18 w 133"/>
                  <a:gd name="T13" fmla="*/ 117 h 129"/>
                  <a:gd name="T14" fmla="*/ 61 w 133"/>
                  <a:gd name="T15" fmla="*/ 101 h 129"/>
                  <a:gd name="T16" fmla="*/ 61 w 133"/>
                  <a:gd name="T17" fmla="*/ 101 h 129"/>
                  <a:gd name="T18" fmla="*/ 61 w 133"/>
                  <a:gd name="T19" fmla="*/ 101 h 129"/>
                  <a:gd name="T20" fmla="*/ 62 w 133"/>
                  <a:gd name="T21" fmla="*/ 101 h 129"/>
                  <a:gd name="T22" fmla="*/ 63 w 133"/>
                  <a:gd name="T23" fmla="*/ 103 h 129"/>
                  <a:gd name="T24" fmla="*/ 71 w 133"/>
                  <a:gd name="T25" fmla="*/ 107 h 129"/>
                  <a:gd name="T26" fmla="*/ 99 w 133"/>
                  <a:gd name="T27" fmla="*/ 126 h 129"/>
                  <a:gd name="T28" fmla="*/ 94 w 133"/>
                  <a:gd name="T29" fmla="*/ 82 h 129"/>
                  <a:gd name="T30" fmla="*/ 95 w 133"/>
                  <a:gd name="T31" fmla="*/ 81 h 129"/>
                  <a:gd name="T32" fmla="*/ 131 w 133"/>
                  <a:gd name="T33" fmla="*/ 55 h 129"/>
                  <a:gd name="T34" fmla="*/ 87 w 133"/>
                  <a:gd name="T35" fmla="*/ 43 h 129"/>
                  <a:gd name="T36" fmla="*/ 76 w 133"/>
                  <a:gd name="T37" fmla="*/ 11 h 129"/>
                  <a:gd name="T38" fmla="*/ 72 w 133"/>
                  <a:gd name="T39" fmla="*/ 1 h 129"/>
                  <a:gd name="T40" fmla="*/ 72 w 133"/>
                  <a:gd name="T41" fmla="*/ 0 h 129"/>
                  <a:gd name="T42" fmla="*/ 76 w 133"/>
                  <a:gd name="T43" fmla="*/ 11 h 129"/>
                  <a:gd name="T44" fmla="*/ 87 w 133"/>
                  <a:gd name="T45" fmla="*/ 42 h 129"/>
                  <a:gd name="T46" fmla="*/ 133 w 133"/>
                  <a:gd name="T47" fmla="*/ 54 h 129"/>
                  <a:gd name="T48" fmla="*/ 96 w 133"/>
                  <a:gd name="T49" fmla="*/ 83 h 129"/>
                  <a:gd name="T50" fmla="*/ 99 w 133"/>
                  <a:gd name="T51" fmla="*/ 127 h 129"/>
                  <a:gd name="T52" fmla="*/ 97 w 133"/>
                  <a:gd name="T53" fmla="*/ 128 h 129"/>
                  <a:gd name="T54" fmla="*/ 69 w 133"/>
                  <a:gd name="T55" fmla="*/ 109 h 129"/>
                  <a:gd name="T56" fmla="*/ 62 w 133"/>
                  <a:gd name="T57" fmla="*/ 104 h 129"/>
                  <a:gd name="T58" fmla="*/ 60 w 133"/>
                  <a:gd name="T59" fmla="*/ 103 h 129"/>
                  <a:gd name="T60" fmla="*/ 60 w 133"/>
                  <a:gd name="T61" fmla="*/ 103 h 129"/>
                  <a:gd name="T62" fmla="*/ 60 w 133"/>
                  <a:gd name="T63" fmla="*/ 103 h 129"/>
                  <a:gd name="T64" fmla="*/ 60 w 133"/>
                  <a:gd name="T65" fmla="*/ 103 h 129"/>
                  <a:gd name="T66" fmla="*/ 18 w 133"/>
                  <a:gd name="T67" fmla="*/ 119 h 129"/>
                  <a:gd name="T68" fmla="*/ 17 w 133"/>
                  <a:gd name="T69" fmla="*/ 118 h 129"/>
                  <a:gd name="T70" fmla="*/ 30 w 133"/>
                  <a:gd name="T71" fmla="*/ 75 h 129"/>
                  <a:gd name="T72" fmla="*/ 0 w 133"/>
                  <a:gd name="T73" fmla="*/ 39 h 129"/>
                  <a:gd name="T74" fmla="*/ 47 w 133"/>
                  <a:gd name="T75" fmla="*/ 37 h 129"/>
                  <a:gd name="T76" fmla="*/ 65 w 133"/>
                  <a:gd name="T77" fmla="*/ 10 h 129"/>
                  <a:gd name="T78" fmla="*/ 71 w 133"/>
                  <a:gd name="T7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3" h="129">
                    <a:moveTo>
                      <a:pt x="72" y="0"/>
                    </a:moveTo>
                    <a:cubicBezTo>
                      <a:pt x="72" y="0"/>
                      <a:pt x="72" y="0"/>
                      <a:pt x="71" y="1"/>
                    </a:cubicBezTo>
                    <a:cubicBezTo>
                      <a:pt x="71" y="1"/>
                      <a:pt x="71" y="2"/>
                      <a:pt x="70" y="3"/>
                    </a:cubicBezTo>
                    <a:cubicBezTo>
                      <a:pt x="69" y="4"/>
                      <a:pt x="67" y="7"/>
                      <a:pt x="65" y="10"/>
                    </a:cubicBezTo>
                    <a:cubicBezTo>
                      <a:pt x="61" y="17"/>
                      <a:pt x="55" y="26"/>
                      <a:pt x="48" y="38"/>
                    </a:cubicBezTo>
                    <a:cubicBezTo>
                      <a:pt x="48" y="39"/>
                      <a:pt x="48" y="39"/>
                      <a:pt x="48" y="39"/>
                    </a:cubicBezTo>
                    <a:cubicBezTo>
                      <a:pt x="47" y="39"/>
                      <a:pt x="47" y="39"/>
                      <a:pt x="47" y="39"/>
                    </a:cubicBezTo>
                    <a:cubicBezTo>
                      <a:pt x="35" y="39"/>
                      <a:pt x="19" y="40"/>
                      <a:pt x="2" y="40"/>
                    </a:cubicBezTo>
                    <a:cubicBezTo>
                      <a:pt x="2" y="39"/>
                      <a:pt x="2" y="39"/>
                      <a:pt x="2" y="39"/>
                    </a:cubicBezTo>
                    <a:cubicBezTo>
                      <a:pt x="11" y="50"/>
                      <a:pt x="21" y="61"/>
                      <a:pt x="31" y="74"/>
                    </a:cubicBezTo>
                    <a:cubicBezTo>
                      <a:pt x="32" y="74"/>
                      <a:pt x="32" y="74"/>
                      <a:pt x="32" y="74"/>
                    </a:cubicBezTo>
                    <a:cubicBezTo>
                      <a:pt x="32" y="75"/>
                      <a:pt x="32" y="75"/>
                      <a:pt x="32" y="75"/>
                    </a:cubicBezTo>
                    <a:cubicBezTo>
                      <a:pt x="28" y="89"/>
                      <a:pt x="23" y="103"/>
                      <a:pt x="19" y="119"/>
                    </a:cubicBezTo>
                    <a:cubicBezTo>
                      <a:pt x="18" y="117"/>
                      <a:pt x="18" y="117"/>
                      <a:pt x="18" y="117"/>
                    </a:cubicBezTo>
                    <a:cubicBezTo>
                      <a:pt x="31" y="112"/>
                      <a:pt x="45" y="106"/>
                      <a:pt x="60" y="101"/>
                    </a:cubicBezTo>
                    <a:cubicBezTo>
                      <a:pt x="60" y="101"/>
                      <a:pt x="59" y="101"/>
                      <a:pt x="61" y="101"/>
                    </a:cubicBezTo>
                    <a:cubicBezTo>
                      <a:pt x="61" y="101"/>
                      <a:pt x="61" y="101"/>
                      <a:pt x="61" y="101"/>
                    </a:cubicBezTo>
                    <a:cubicBezTo>
                      <a:pt x="61" y="101"/>
                      <a:pt x="61" y="101"/>
                      <a:pt x="61" y="101"/>
                    </a:cubicBezTo>
                    <a:cubicBezTo>
                      <a:pt x="61" y="101"/>
                      <a:pt x="61" y="101"/>
                      <a:pt x="61" y="101"/>
                    </a:cubicBezTo>
                    <a:cubicBezTo>
                      <a:pt x="61" y="101"/>
                      <a:pt x="61" y="101"/>
                      <a:pt x="61" y="101"/>
                    </a:cubicBezTo>
                    <a:cubicBezTo>
                      <a:pt x="61" y="101"/>
                      <a:pt x="61" y="101"/>
                      <a:pt x="61" y="101"/>
                    </a:cubicBezTo>
                    <a:cubicBezTo>
                      <a:pt x="62" y="101"/>
                      <a:pt x="62" y="101"/>
                      <a:pt x="62" y="101"/>
                    </a:cubicBezTo>
                    <a:cubicBezTo>
                      <a:pt x="62" y="102"/>
                      <a:pt x="62" y="102"/>
                      <a:pt x="62" y="102"/>
                    </a:cubicBezTo>
                    <a:cubicBezTo>
                      <a:pt x="63" y="103"/>
                      <a:pt x="63" y="103"/>
                      <a:pt x="63" y="103"/>
                    </a:cubicBezTo>
                    <a:cubicBezTo>
                      <a:pt x="66" y="104"/>
                      <a:pt x="66" y="104"/>
                      <a:pt x="66" y="104"/>
                    </a:cubicBezTo>
                    <a:cubicBezTo>
                      <a:pt x="71" y="107"/>
                      <a:pt x="71" y="107"/>
                      <a:pt x="71" y="107"/>
                    </a:cubicBezTo>
                    <a:cubicBezTo>
                      <a:pt x="74" y="110"/>
                      <a:pt x="77" y="112"/>
                      <a:pt x="80" y="114"/>
                    </a:cubicBezTo>
                    <a:cubicBezTo>
                      <a:pt x="86" y="118"/>
                      <a:pt x="92" y="122"/>
                      <a:pt x="99" y="126"/>
                    </a:cubicBezTo>
                    <a:cubicBezTo>
                      <a:pt x="97" y="127"/>
                      <a:pt x="97" y="127"/>
                      <a:pt x="97" y="127"/>
                    </a:cubicBezTo>
                    <a:cubicBezTo>
                      <a:pt x="96" y="112"/>
                      <a:pt x="95" y="96"/>
                      <a:pt x="94" y="82"/>
                    </a:cubicBezTo>
                    <a:cubicBezTo>
                      <a:pt x="94" y="81"/>
                      <a:pt x="94" y="81"/>
                      <a:pt x="94" y="81"/>
                    </a:cubicBezTo>
                    <a:cubicBezTo>
                      <a:pt x="95" y="81"/>
                      <a:pt x="95" y="81"/>
                      <a:pt x="95" y="81"/>
                    </a:cubicBezTo>
                    <a:cubicBezTo>
                      <a:pt x="108" y="71"/>
                      <a:pt x="120" y="62"/>
                      <a:pt x="131" y="53"/>
                    </a:cubicBezTo>
                    <a:cubicBezTo>
                      <a:pt x="131" y="55"/>
                      <a:pt x="131" y="55"/>
                      <a:pt x="131" y="55"/>
                    </a:cubicBezTo>
                    <a:cubicBezTo>
                      <a:pt x="114" y="50"/>
                      <a:pt x="99" y="46"/>
                      <a:pt x="87" y="43"/>
                    </a:cubicBezTo>
                    <a:cubicBezTo>
                      <a:pt x="87" y="43"/>
                      <a:pt x="87" y="43"/>
                      <a:pt x="87" y="43"/>
                    </a:cubicBezTo>
                    <a:cubicBezTo>
                      <a:pt x="87" y="43"/>
                      <a:pt x="87" y="43"/>
                      <a:pt x="87" y="43"/>
                    </a:cubicBezTo>
                    <a:cubicBezTo>
                      <a:pt x="82" y="29"/>
                      <a:pt x="78" y="19"/>
                      <a:pt x="76" y="11"/>
                    </a:cubicBezTo>
                    <a:cubicBezTo>
                      <a:pt x="74" y="8"/>
                      <a:pt x="73" y="5"/>
                      <a:pt x="73" y="3"/>
                    </a:cubicBezTo>
                    <a:cubicBezTo>
                      <a:pt x="72" y="2"/>
                      <a:pt x="72" y="1"/>
                      <a:pt x="72" y="1"/>
                    </a:cubicBezTo>
                    <a:cubicBezTo>
                      <a:pt x="72" y="0"/>
                      <a:pt x="72" y="0"/>
                      <a:pt x="72" y="0"/>
                    </a:cubicBezTo>
                    <a:cubicBezTo>
                      <a:pt x="72" y="0"/>
                      <a:pt x="72" y="0"/>
                      <a:pt x="72" y="0"/>
                    </a:cubicBezTo>
                    <a:cubicBezTo>
                      <a:pt x="72" y="1"/>
                      <a:pt x="73" y="2"/>
                      <a:pt x="73" y="2"/>
                    </a:cubicBezTo>
                    <a:cubicBezTo>
                      <a:pt x="74" y="4"/>
                      <a:pt x="75" y="7"/>
                      <a:pt x="76" y="11"/>
                    </a:cubicBezTo>
                    <a:cubicBezTo>
                      <a:pt x="79" y="18"/>
                      <a:pt x="83" y="29"/>
                      <a:pt x="88" y="42"/>
                    </a:cubicBezTo>
                    <a:cubicBezTo>
                      <a:pt x="87" y="42"/>
                      <a:pt x="87" y="42"/>
                      <a:pt x="87" y="42"/>
                    </a:cubicBezTo>
                    <a:cubicBezTo>
                      <a:pt x="100" y="45"/>
                      <a:pt x="115" y="49"/>
                      <a:pt x="131" y="53"/>
                    </a:cubicBezTo>
                    <a:cubicBezTo>
                      <a:pt x="133" y="54"/>
                      <a:pt x="133" y="54"/>
                      <a:pt x="133" y="54"/>
                    </a:cubicBezTo>
                    <a:cubicBezTo>
                      <a:pt x="132" y="55"/>
                      <a:pt x="132" y="55"/>
                      <a:pt x="132" y="55"/>
                    </a:cubicBezTo>
                    <a:cubicBezTo>
                      <a:pt x="121" y="63"/>
                      <a:pt x="109" y="73"/>
                      <a:pt x="96" y="83"/>
                    </a:cubicBezTo>
                    <a:cubicBezTo>
                      <a:pt x="96" y="82"/>
                      <a:pt x="96" y="82"/>
                      <a:pt x="96" y="82"/>
                    </a:cubicBezTo>
                    <a:cubicBezTo>
                      <a:pt x="97" y="96"/>
                      <a:pt x="98" y="111"/>
                      <a:pt x="99" y="127"/>
                    </a:cubicBezTo>
                    <a:cubicBezTo>
                      <a:pt x="99" y="129"/>
                      <a:pt x="99" y="129"/>
                      <a:pt x="99" y="129"/>
                    </a:cubicBezTo>
                    <a:cubicBezTo>
                      <a:pt x="97" y="128"/>
                      <a:pt x="97" y="128"/>
                      <a:pt x="97" y="128"/>
                    </a:cubicBezTo>
                    <a:cubicBezTo>
                      <a:pt x="91" y="124"/>
                      <a:pt x="85" y="120"/>
                      <a:pt x="79" y="116"/>
                    </a:cubicBezTo>
                    <a:cubicBezTo>
                      <a:pt x="76" y="113"/>
                      <a:pt x="73" y="111"/>
                      <a:pt x="69" y="109"/>
                    </a:cubicBezTo>
                    <a:cubicBezTo>
                      <a:pt x="65" y="106"/>
                      <a:pt x="65" y="106"/>
                      <a:pt x="65" y="106"/>
                    </a:cubicBezTo>
                    <a:cubicBezTo>
                      <a:pt x="62" y="104"/>
                      <a:pt x="62" y="104"/>
                      <a:pt x="62" y="104"/>
                    </a:cubicBezTo>
                    <a:cubicBezTo>
                      <a:pt x="61" y="103"/>
                      <a:pt x="61" y="103"/>
                      <a:pt x="61"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0" y="103"/>
                      <a:pt x="60" y="103"/>
                      <a:pt x="60" y="103"/>
                    </a:cubicBezTo>
                    <a:cubicBezTo>
                      <a:pt x="62" y="103"/>
                      <a:pt x="60" y="103"/>
                      <a:pt x="61" y="103"/>
                    </a:cubicBezTo>
                    <a:cubicBezTo>
                      <a:pt x="46" y="108"/>
                      <a:pt x="32" y="114"/>
                      <a:pt x="18" y="119"/>
                    </a:cubicBezTo>
                    <a:cubicBezTo>
                      <a:pt x="16" y="120"/>
                      <a:pt x="16" y="120"/>
                      <a:pt x="16" y="120"/>
                    </a:cubicBezTo>
                    <a:cubicBezTo>
                      <a:pt x="17" y="118"/>
                      <a:pt x="17" y="118"/>
                      <a:pt x="17" y="118"/>
                    </a:cubicBezTo>
                    <a:cubicBezTo>
                      <a:pt x="21" y="103"/>
                      <a:pt x="26" y="88"/>
                      <a:pt x="30" y="74"/>
                    </a:cubicBezTo>
                    <a:cubicBezTo>
                      <a:pt x="30" y="75"/>
                      <a:pt x="30" y="75"/>
                      <a:pt x="30" y="75"/>
                    </a:cubicBezTo>
                    <a:cubicBezTo>
                      <a:pt x="20" y="63"/>
                      <a:pt x="10" y="51"/>
                      <a:pt x="1" y="40"/>
                    </a:cubicBezTo>
                    <a:cubicBezTo>
                      <a:pt x="0" y="39"/>
                      <a:pt x="0" y="39"/>
                      <a:pt x="0" y="39"/>
                    </a:cubicBezTo>
                    <a:cubicBezTo>
                      <a:pt x="2" y="39"/>
                      <a:pt x="2" y="39"/>
                      <a:pt x="2" y="39"/>
                    </a:cubicBezTo>
                    <a:cubicBezTo>
                      <a:pt x="19" y="38"/>
                      <a:pt x="35" y="38"/>
                      <a:pt x="47" y="37"/>
                    </a:cubicBezTo>
                    <a:cubicBezTo>
                      <a:pt x="47" y="38"/>
                      <a:pt x="47" y="38"/>
                      <a:pt x="47" y="38"/>
                    </a:cubicBezTo>
                    <a:cubicBezTo>
                      <a:pt x="55" y="26"/>
                      <a:pt x="61" y="16"/>
                      <a:pt x="65" y="10"/>
                    </a:cubicBezTo>
                    <a:cubicBezTo>
                      <a:pt x="67" y="6"/>
                      <a:pt x="69" y="4"/>
                      <a:pt x="70" y="2"/>
                    </a:cubicBezTo>
                    <a:cubicBezTo>
                      <a:pt x="71" y="1"/>
                      <a:pt x="71" y="1"/>
                      <a:pt x="71" y="0"/>
                    </a:cubicBezTo>
                    <a:cubicBezTo>
                      <a:pt x="72" y="0"/>
                      <a:pt x="72" y="0"/>
                      <a:pt x="72"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5">
                <a:extLst>
                  <a:ext uri="{FF2B5EF4-FFF2-40B4-BE49-F238E27FC236}">
                    <a16:creationId xmlns:a16="http://schemas.microsoft.com/office/drawing/2014/main" id="{1884CFD6-0505-483F-8873-0A508B38C405}"/>
                  </a:ext>
                </a:extLst>
              </p:cNvPr>
              <p:cNvSpPr>
                <a:spLocks/>
              </p:cNvSpPr>
              <p:nvPr/>
            </p:nvSpPr>
            <p:spPr bwMode="auto">
              <a:xfrm>
                <a:off x="2547" y="3301"/>
                <a:ext cx="303" cy="316"/>
              </a:xfrm>
              <a:custGeom>
                <a:avLst/>
                <a:gdLst>
                  <a:gd name="T0" fmla="*/ 50 w 128"/>
                  <a:gd name="T1" fmla="*/ 1 h 133"/>
                  <a:gd name="T2" fmla="*/ 49 w 128"/>
                  <a:gd name="T3" fmla="*/ 13 h 133"/>
                  <a:gd name="T4" fmla="*/ 44 w 128"/>
                  <a:gd name="T5" fmla="*/ 46 h 133"/>
                  <a:gd name="T6" fmla="*/ 2 w 128"/>
                  <a:gd name="T7" fmla="*/ 65 h 133"/>
                  <a:gd name="T8" fmla="*/ 43 w 128"/>
                  <a:gd name="T9" fmla="*/ 85 h 133"/>
                  <a:gd name="T10" fmla="*/ 43 w 128"/>
                  <a:gd name="T11" fmla="*/ 85 h 133"/>
                  <a:gd name="T12" fmla="*/ 47 w 128"/>
                  <a:gd name="T13" fmla="*/ 130 h 133"/>
                  <a:gd name="T14" fmla="*/ 80 w 128"/>
                  <a:gd name="T15" fmla="*/ 98 h 133"/>
                  <a:gd name="T16" fmla="*/ 80 w 128"/>
                  <a:gd name="T17" fmla="*/ 98 h 133"/>
                  <a:gd name="T18" fmla="*/ 81 w 128"/>
                  <a:gd name="T19" fmla="*/ 98 h 133"/>
                  <a:gd name="T20" fmla="*/ 81 w 128"/>
                  <a:gd name="T21" fmla="*/ 98 h 133"/>
                  <a:gd name="T22" fmla="*/ 83 w 128"/>
                  <a:gd name="T23" fmla="*/ 98 h 133"/>
                  <a:gd name="T24" fmla="*/ 92 w 128"/>
                  <a:gd name="T25" fmla="*/ 100 h 133"/>
                  <a:gd name="T26" fmla="*/ 125 w 128"/>
                  <a:gd name="T27" fmla="*/ 106 h 133"/>
                  <a:gd name="T28" fmla="*/ 104 w 128"/>
                  <a:gd name="T29" fmla="*/ 67 h 133"/>
                  <a:gd name="T30" fmla="*/ 104 w 128"/>
                  <a:gd name="T31" fmla="*/ 66 h 133"/>
                  <a:gd name="T32" fmla="*/ 126 w 128"/>
                  <a:gd name="T33" fmla="*/ 28 h 133"/>
                  <a:gd name="T34" fmla="*/ 81 w 128"/>
                  <a:gd name="T35" fmla="*/ 34 h 133"/>
                  <a:gd name="T36" fmla="*/ 58 w 128"/>
                  <a:gd name="T37" fmla="*/ 9 h 133"/>
                  <a:gd name="T38" fmla="*/ 51 w 128"/>
                  <a:gd name="T39" fmla="*/ 1 h 133"/>
                  <a:gd name="T40" fmla="*/ 51 w 128"/>
                  <a:gd name="T41" fmla="*/ 1 h 133"/>
                  <a:gd name="T42" fmla="*/ 58 w 128"/>
                  <a:gd name="T43" fmla="*/ 9 h 133"/>
                  <a:gd name="T44" fmla="*/ 81 w 128"/>
                  <a:gd name="T45" fmla="*/ 33 h 133"/>
                  <a:gd name="T46" fmla="*/ 128 w 128"/>
                  <a:gd name="T47" fmla="*/ 26 h 133"/>
                  <a:gd name="T48" fmla="*/ 105 w 128"/>
                  <a:gd name="T49" fmla="*/ 67 h 133"/>
                  <a:gd name="T50" fmla="*/ 126 w 128"/>
                  <a:gd name="T51" fmla="*/ 107 h 133"/>
                  <a:gd name="T52" fmla="*/ 125 w 128"/>
                  <a:gd name="T53" fmla="*/ 108 h 133"/>
                  <a:gd name="T54" fmla="*/ 91 w 128"/>
                  <a:gd name="T55" fmla="*/ 102 h 133"/>
                  <a:gd name="T56" fmla="*/ 83 w 128"/>
                  <a:gd name="T57" fmla="*/ 100 h 133"/>
                  <a:gd name="T58" fmla="*/ 81 w 128"/>
                  <a:gd name="T59" fmla="*/ 100 h 133"/>
                  <a:gd name="T60" fmla="*/ 80 w 128"/>
                  <a:gd name="T61" fmla="*/ 100 h 133"/>
                  <a:gd name="T62" fmla="*/ 80 w 128"/>
                  <a:gd name="T63" fmla="*/ 100 h 133"/>
                  <a:gd name="T64" fmla="*/ 80 w 128"/>
                  <a:gd name="T65" fmla="*/ 100 h 133"/>
                  <a:gd name="T66" fmla="*/ 49 w 128"/>
                  <a:gd name="T67" fmla="*/ 131 h 133"/>
                  <a:gd name="T68" fmla="*/ 47 w 128"/>
                  <a:gd name="T69" fmla="*/ 131 h 133"/>
                  <a:gd name="T70" fmla="*/ 42 w 128"/>
                  <a:gd name="T71" fmla="*/ 86 h 133"/>
                  <a:gd name="T72" fmla="*/ 0 w 128"/>
                  <a:gd name="T73" fmla="*/ 65 h 133"/>
                  <a:gd name="T74" fmla="*/ 43 w 128"/>
                  <a:gd name="T75" fmla="*/ 45 h 133"/>
                  <a:gd name="T76" fmla="*/ 48 w 128"/>
                  <a:gd name="T77" fmla="*/ 12 h 133"/>
                  <a:gd name="T78" fmla="*/ 50 w 128"/>
                  <a:gd name="T79"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33">
                    <a:moveTo>
                      <a:pt x="50" y="0"/>
                    </a:moveTo>
                    <a:cubicBezTo>
                      <a:pt x="50" y="0"/>
                      <a:pt x="50" y="1"/>
                      <a:pt x="50" y="1"/>
                    </a:cubicBezTo>
                    <a:cubicBezTo>
                      <a:pt x="50" y="2"/>
                      <a:pt x="50" y="3"/>
                      <a:pt x="50" y="4"/>
                    </a:cubicBezTo>
                    <a:cubicBezTo>
                      <a:pt x="50" y="6"/>
                      <a:pt x="49" y="9"/>
                      <a:pt x="49" y="13"/>
                    </a:cubicBezTo>
                    <a:cubicBezTo>
                      <a:pt x="47" y="20"/>
                      <a:pt x="46" y="31"/>
                      <a:pt x="44" y="45"/>
                    </a:cubicBezTo>
                    <a:cubicBezTo>
                      <a:pt x="44" y="46"/>
                      <a:pt x="44" y="46"/>
                      <a:pt x="44" y="46"/>
                    </a:cubicBezTo>
                    <a:cubicBezTo>
                      <a:pt x="43" y="46"/>
                      <a:pt x="43" y="46"/>
                      <a:pt x="43" y="46"/>
                    </a:cubicBezTo>
                    <a:cubicBezTo>
                      <a:pt x="32" y="51"/>
                      <a:pt x="18" y="58"/>
                      <a:pt x="2" y="65"/>
                    </a:cubicBezTo>
                    <a:cubicBezTo>
                      <a:pt x="2" y="64"/>
                      <a:pt x="2" y="64"/>
                      <a:pt x="2" y="64"/>
                    </a:cubicBezTo>
                    <a:cubicBezTo>
                      <a:pt x="14" y="70"/>
                      <a:pt x="28" y="77"/>
                      <a:pt x="43" y="85"/>
                    </a:cubicBezTo>
                    <a:cubicBezTo>
                      <a:pt x="43" y="85"/>
                      <a:pt x="43" y="85"/>
                      <a:pt x="43" y="85"/>
                    </a:cubicBezTo>
                    <a:cubicBezTo>
                      <a:pt x="43" y="85"/>
                      <a:pt x="43" y="85"/>
                      <a:pt x="43" y="85"/>
                    </a:cubicBezTo>
                    <a:cubicBezTo>
                      <a:pt x="45" y="99"/>
                      <a:pt x="47" y="115"/>
                      <a:pt x="49" y="130"/>
                    </a:cubicBezTo>
                    <a:cubicBezTo>
                      <a:pt x="47" y="130"/>
                      <a:pt x="47" y="130"/>
                      <a:pt x="47" y="130"/>
                    </a:cubicBezTo>
                    <a:cubicBezTo>
                      <a:pt x="58" y="120"/>
                      <a:pt x="68" y="109"/>
                      <a:pt x="79" y="98"/>
                    </a:cubicBezTo>
                    <a:cubicBezTo>
                      <a:pt x="80" y="98"/>
                      <a:pt x="79" y="98"/>
                      <a:pt x="80" y="98"/>
                    </a:cubicBezTo>
                    <a:cubicBezTo>
                      <a:pt x="80" y="98"/>
                      <a:pt x="80" y="98"/>
                      <a:pt x="80" y="98"/>
                    </a:cubicBezTo>
                    <a:cubicBezTo>
                      <a:pt x="80" y="98"/>
                      <a:pt x="80" y="98"/>
                      <a:pt x="80" y="98"/>
                    </a:cubicBezTo>
                    <a:cubicBezTo>
                      <a:pt x="80" y="98"/>
                      <a:pt x="80" y="98"/>
                      <a:pt x="80" y="98"/>
                    </a:cubicBezTo>
                    <a:cubicBezTo>
                      <a:pt x="81" y="98"/>
                      <a:pt x="81" y="98"/>
                      <a:pt x="81" y="98"/>
                    </a:cubicBezTo>
                    <a:cubicBezTo>
                      <a:pt x="81" y="98"/>
                      <a:pt x="81" y="98"/>
                      <a:pt x="81" y="98"/>
                    </a:cubicBezTo>
                    <a:cubicBezTo>
                      <a:pt x="81" y="98"/>
                      <a:pt x="81" y="98"/>
                      <a:pt x="81" y="98"/>
                    </a:cubicBezTo>
                    <a:cubicBezTo>
                      <a:pt x="82" y="98"/>
                      <a:pt x="82" y="98"/>
                      <a:pt x="82" y="98"/>
                    </a:cubicBezTo>
                    <a:cubicBezTo>
                      <a:pt x="83" y="98"/>
                      <a:pt x="83" y="98"/>
                      <a:pt x="83" y="98"/>
                    </a:cubicBezTo>
                    <a:cubicBezTo>
                      <a:pt x="86" y="99"/>
                      <a:pt x="86" y="99"/>
                      <a:pt x="86" y="99"/>
                    </a:cubicBezTo>
                    <a:cubicBezTo>
                      <a:pt x="92" y="100"/>
                      <a:pt x="92" y="100"/>
                      <a:pt x="92" y="100"/>
                    </a:cubicBezTo>
                    <a:cubicBezTo>
                      <a:pt x="96" y="101"/>
                      <a:pt x="99" y="101"/>
                      <a:pt x="103" y="102"/>
                    </a:cubicBezTo>
                    <a:cubicBezTo>
                      <a:pt x="110" y="103"/>
                      <a:pt x="118" y="105"/>
                      <a:pt x="125" y="106"/>
                    </a:cubicBezTo>
                    <a:cubicBezTo>
                      <a:pt x="124" y="108"/>
                      <a:pt x="124" y="108"/>
                      <a:pt x="124" y="108"/>
                    </a:cubicBezTo>
                    <a:cubicBezTo>
                      <a:pt x="117" y="93"/>
                      <a:pt x="110" y="80"/>
                      <a:pt x="104" y="67"/>
                    </a:cubicBezTo>
                    <a:cubicBezTo>
                      <a:pt x="103" y="67"/>
                      <a:pt x="103" y="67"/>
                      <a:pt x="103" y="67"/>
                    </a:cubicBezTo>
                    <a:cubicBezTo>
                      <a:pt x="104" y="66"/>
                      <a:pt x="104" y="66"/>
                      <a:pt x="104" y="66"/>
                    </a:cubicBezTo>
                    <a:cubicBezTo>
                      <a:pt x="111" y="52"/>
                      <a:pt x="119" y="39"/>
                      <a:pt x="126" y="26"/>
                    </a:cubicBezTo>
                    <a:cubicBezTo>
                      <a:pt x="126" y="28"/>
                      <a:pt x="126" y="28"/>
                      <a:pt x="126" y="28"/>
                    </a:cubicBezTo>
                    <a:cubicBezTo>
                      <a:pt x="109" y="30"/>
                      <a:pt x="94" y="32"/>
                      <a:pt x="82" y="34"/>
                    </a:cubicBezTo>
                    <a:cubicBezTo>
                      <a:pt x="81" y="34"/>
                      <a:pt x="81" y="34"/>
                      <a:pt x="81" y="34"/>
                    </a:cubicBezTo>
                    <a:cubicBezTo>
                      <a:pt x="81" y="34"/>
                      <a:pt x="81" y="34"/>
                      <a:pt x="81" y="34"/>
                    </a:cubicBezTo>
                    <a:cubicBezTo>
                      <a:pt x="71" y="24"/>
                      <a:pt x="64" y="15"/>
                      <a:pt x="58" y="9"/>
                    </a:cubicBezTo>
                    <a:cubicBezTo>
                      <a:pt x="56" y="7"/>
                      <a:pt x="54" y="4"/>
                      <a:pt x="52" y="3"/>
                    </a:cubicBezTo>
                    <a:cubicBezTo>
                      <a:pt x="52" y="2"/>
                      <a:pt x="51" y="2"/>
                      <a:pt x="51" y="1"/>
                    </a:cubicBezTo>
                    <a:cubicBezTo>
                      <a:pt x="51" y="1"/>
                      <a:pt x="50" y="0"/>
                      <a:pt x="50" y="0"/>
                    </a:cubicBezTo>
                    <a:cubicBezTo>
                      <a:pt x="51" y="1"/>
                      <a:pt x="51" y="1"/>
                      <a:pt x="51" y="1"/>
                    </a:cubicBezTo>
                    <a:cubicBezTo>
                      <a:pt x="51" y="1"/>
                      <a:pt x="52" y="2"/>
                      <a:pt x="52" y="2"/>
                    </a:cubicBezTo>
                    <a:cubicBezTo>
                      <a:pt x="54" y="4"/>
                      <a:pt x="56" y="6"/>
                      <a:pt x="58" y="9"/>
                    </a:cubicBezTo>
                    <a:cubicBezTo>
                      <a:pt x="64" y="15"/>
                      <a:pt x="72" y="23"/>
                      <a:pt x="82" y="33"/>
                    </a:cubicBezTo>
                    <a:cubicBezTo>
                      <a:pt x="81" y="33"/>
                      <a:pt x="81" y="33"/>
                      <a:pt x="81" y="33"/>
                    </a:cubicBezTo>
                    <a:cubicBezTo>
                      <a:pt x="94" y="31"/>
                      <a:pt x="109" y="29"/>
                      <a:pt x="126" y="26"/>
                    </a:cubicBezTo>
                    <a:cubicBezTo>
                      <a:pt x="128" y="26"/>
                      <a:pt x="128" y="26"/>
                      <a:pt x="128" y="26"/>
                    </a:cubicBezTo>
                    <a:cubicBezTo>
                      <a:pt x="127" y="27"/>
                      <a:pt x="127" y="27"/>
                      <a:pt x="127" y="27"/>
                    </a:cubicBezTo>
                    <a:cubicBezTo>
                      <a:pt x="120" y="39"/>
                      <a:pt x="113" y="53"/>
                      <a:pt x="105" y="67"/>
                    </a:cubicBezTo>
                    <a:cubicBezTo>
                      <a:pt x="105" y="66"/>
                      <a:pt x="105" y="66"/>
                      <a:pt x="105" y="66"/>
                    </a:cubicBezTo>
                    <a:cubicBezTo>
                      <a:pt x="112" y="79"/>
                      <a:pt x="119" y="93"/>
                      <a:pt x="126" y="107"/>
                    </a:cubicBezTo>
                    <a:cubicBezTo>
                      <a:pt x="127" y="109"/>
                      <a:pt x="127" y="109"/>
                      <a:pt x="127" y="109"/>
                    </a:cubicBezTo>
                    <a:cubicBezTo>
                      <a:pt x="125" y="108"/>
                      <a:pt x="125" y="108"/>
                      <a:pt x="125" y="108"/>
                    </a:cubicBezTo>
                    <a:cubicBezTo>
                      <a:pt x="117" y="107"/>
                      <a:pt x="110" y="105"/>
                      <a:pt x="103" y="104"/>
                    </a:cubicBezTo>
                    <a:cubicBezTo>
                      <a:pt x="99" y="103"/>
                      <a:pt x="95" y="103"/>
                      <a:pt x="91" y="102"/>
                    </a:cubicBezTo>
                    <a:cubicBezTo>
                      <a:pt x="86" y="101"/>
                      <a:pt x="86" y="101"/>
                      <a:pt x="86" y="101"/>
                    </a:cubicBezTo>
                    <a:cubicBezTo>
                      <a:pt x="83" y="100"/>
                      <a:pt x="83" y="100"/>
                      <a:pt x="83" y="100"/>
                    </a:cubicBezTo>
                    <a:cubicBezTo>
                      <a:pt x="81" y="100"/>
                      <a:pt x="81" y="100"/>
                      <a:pt x="81" y="100"/>
                    </a:cubicBezTo>
                    <a:cubicBezTo>
                      <a:pt x="81" y="100"/>
                      <a:pt x="81" y="100"/>
                      <a:pt x="81"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0" y="100"/>
                      <a:pt x="80" y="100"/>
                      <a:pt x="80" y="100"/>
                    </a:cubicBezTo>
                    <a:cubicBezTo>
                      <a:pt x="82" y="99"/>
                      <a:pt x="81" y="100"/>
                      <a:pt x="81" y="99"/>
                    </a:cubicBezTo>
                    <a:cubicBezTo>
                      <a:pt x="70" y="110"/>
                      <a:pt x="59" y="121"/>
                      <a:pt x="49" y="131"/>
                    </a:cubicBezTo>
                    <a:cubicBezTo>
                      <a:pt x="47" y="133"/>
                      <a:pt x="47" y="133"/>
                      <a:pt x="47" y="133"/>
                    </a:cubicBezTo>
                    <a:cubicBezTo>
                      <a:pt x="47" y="131"/>
                      <a:pt x="47" y="131"/>
                      <a:pt x="47" y="131"/>
                    </a:cubicBezTo>
                    <a:cubicBezTo>
                      <a:pt x="45" y="115"/>
                      <a:pt x="43" y="100"/>
                      <a:pt x="41" y="86"/>
                    </a:cubicBezTo>
                    <a:cubicBezTo>
                      <a:pt x="42" y="86"/>
                      <a:pt x="42" y="86"/>
                      <a:pt x="42" y="86"/>
                    </a:cubicBezTo>
                    <a:cubicBezTo>
                      <a:pt x="27" y="79"/>
                      <a:pt x="14" y="72"/>
                      <a:pt x="1" y="65"/>
                    </a:cubicBezTo>
                    <a:cubicBezTo>
                      <a:pt x="0" y="65"/>
                      <a:pt x="0" y="65"/>
                      <a:pt x="0" y="65"/>
                    </a:cubicBezTo>
                    <a:cubicBezTo>
                      <a:pt x="1" y="64"/>
                      <a:pt x="1" y="64"/>
                      <a:pt x="1" y="64"/>
                    </a:cubicBezTo>
                    <a:cubicBezTo>
                      <a:pt x="17" y="57"/>
                      <a:pt x="31" y="50"/>
                      <a:pt x="43" y="45"/>
                    </a:cubicBezTo>
                    <a:cubicBezTo>
                      <a:pt x="42" y="45"/>
                      <a:pt x="42" y="45"/>
                      <a:pt x="42" y="45"/>
                    </a:cubicBezTo>
                    <a:cubicBezTo>
                      <a:pt x="45" y="31"/>
                      <a:pt x="47" y="20"/>
                      <a:pt x="48" y="12"/>
                    </a:cubicBezTo>
                    <a:cubicBezTo>
                      <a:pt x="49" y="8"/>
                      <a:pt x="49" y="5"/>
                      <a:pt x="50" y="3"/>
                    </a:cubicBezTo>
                    <a:cubicBezTo>
                      <a:pt x="50" y="2"/>
                      <a:pt x="50" y="2"/>
                      <a:pt x="50" y="1"/>
                    </a:cubicBezTo>
                    <a:cubicBezTo>
                      <a:pt x="50" y="1"/>
                      <a:pt x="50" y="0"/>
                      <a:pt x="5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26">
                <a:extLst>
                  <a:ext uri="{FF2B5EF4-FFF2-40B4-BE49-F238E27FC236}">
                    <a16:creationId xmlns:a16="http://schemas.microsoft.com/office/drawing/2014/main" id="{3A7619D6-A1E1-49A7-9181-880D1DECEDE5}"/>
                  </a:ext>
                </a:extLst>
              </p:cNvPr>
              <p:cNvSpPr>
                <a:spLocks/>
              </p:cNvSpPr>
              <p:nvPr/>
            </p:nvSpPr>
            <p:spPr bwMode="auto">
              <a:xfrm>
                <a:off x="4272" y="1060"/>
                <a:ext cx="361" cy="809"/>
              </a:xfrm>
              <a:custGeom>
                <a:avLst/>
                <a:gdLst>
                  <a:gd name="T0" fmla="*/ 106 w 152"/>
                  <a:gd name="T1" fmla="*/ 341 h 341"/>
                  <a:gd name="T2" fmla="*/ 143 w 152"/>
                  <a:gd name="T3" fmla="*/ 258 h 341"/>
                  <a:gd name="T4" fmla="*/ 128 w 152"/>
                  <a:gd name="T5" fmla="*/ 217 h 341"/>
                  <a:gd name="T6" fmla="*/ 142 w 152"/>
                  <a:gd name="T7" fmla="*/ 151 h 341"/>
                  <a:gd name="T8" fmla="*/ 134 w 152"/>
                  <a:gd name="T9" fmla="*/ 86 h 341"/>
                  <a:gd name="T10" fmla="*/ 94 w 152"/>
                  <a:gd name="T11" fmla="*/ 66 h 341"/>
                  <a:gd name="T12" fmla="*/ 66 w 152"/>
                  <a:gd name="T13" fmla="*/ 33 h 341"/>
                  <a:gd name="T14" fmla="*/ 34 w 152"/>
                  <a:gd name="T15" fmla="*/ 5 h 341"/>
                  <a:gd name="T16" fmla="*/ 0 w 152"/>
                  <a:gd name="T17" fmla="*/ 2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341">
                    <a:moveTo>
                      <a:pt x="106" y="341"/>
                    </a:moveTo>
                    <a:cubicBezTo>
                      <a:pt x="136" y="326"/>
                      <a:pt x="152" y="290"/>
                      <a:pt x="143" y="258"/>
                    </a:cubicBezTo>
                    <a:cubicBezTo>
                      <a:pt x="139" y="244"/>
                      <a:pt x="130" y="231"/>
                      <a:pt x="128" y="217"/>
                    </a:cubicBezTo>
                    <a:cubicBezTo>
                      <a:pt x="124" y="194"/>
                      <a:pt x="135" y="172"/>
                      <a:pt x="142" y="151"/>
                    </a:cubicBezTo>
                    <a:cubicBezTo>
                      <a:pt x="149" y="129"/>
                      <a:pt x="151" y="102"/>
                      <a:pt x="134" y="86"/>
                    </a:cubicBezTo>
                    <a:cubicBezTo>
                      <a:pt x="123" y="76"/>
                      <a:pt x="107" y="74"/>
                      <a:pt x="94" y="66"/>
                    </a:cubicBezTo>
                    <a:cubicBezTo>
                      <a:pt x="82" y="58"/>
                      <a:pt x="75" y="45"/>
                      <a:pt x="66" y="33"/>
                    </a:cubicBezTo>
                    <a:cubicBezTo>
                      <a:pt x="58" y="21"/>
                      <a:pt x="48" y="9"/>
                      <a:pt x="34" y="5"/>
                    </a:cubicBezTo>
                    <a:cubicBezTo>
                      <a:pt x="21" y="0"/>
                      <a:pt x="2" y="8"/>
                      <a:pt x="0" y="22"/>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27">
                <a:extLst>
                  <a:ext uri="{FF2B5EF4-FFF2-40B4-BE49-F238E27FC236}">
                    <a16:creationId xmlns:a16="http://schemas.microsoft.com/office/drawing/2014/main" id="{508BBA43-2B38-4B91-8213-660606259A33}"/>
                  </a:ext>
                </a:extLst>
              </p:cNvPr>
              <p:cNvSpPr>
                <a:spLocks/>
              </p:cNvSpPr>
              <p:nvPr/>
            </p:nvSpPr>
            <p:spPr bwMode="auto">
              <a:xfrm>
                <a:off x="3083" y="836"/>
                <a:ext cx="1286" cy="1499"/>
              </a:xfrm>
              <a:custGeom>
                <a:avLst/>
                <a:gdLst>
                  <a:gd name="T0" fmla="*/ 396 w 542"/>
                  <a:gd name="T1" fmla="*/ 102 h 631"/>
                  <a:gd name="T2" fmla="*/ 396 w 542"/>
                  <a:gd name="T3" fmla="*/ 29 h 631"/>
                  <a:gd name="T4" fmla="*/ 324 w 542"/>
                  <a:gd name="T5" fmla="*/ 1 h 631"/>
                  <a:gd name="T6" fmla="*/ 228 w 542"/>
                  <a:gd name="T7" fmla="*/ 57 h 631"/>
                  <a:gd name="T8" fmla="*/ 192 w 542"/>
                  <a:gd name="T9" fmla="*/ 108 h 631"/>
                  <a:gd name="T10" fmla="*/ 139 w 542"/>
                  <a:gd name="T11" fmla="*/ 122 h 631"/>
                  <a:gd name="T12" fmla="*/ 92 w 542"/>
                  <a:gd name="T13" fmla="*/ 175 h 631"/>
                  <a:gd name="T14" fmla="*/ 86 w 542"/>
                  <a:gd name="T15" fmla="*/ 248 h 631"/>
                  <a:gd name="T16" fmla="*/ 80 w 542"/>
                  <a:gd name="T17" fmla="*/ 314 h 631"/>
                  <a:gd name="T18" fmla="*/ 30 w 542"/>
                  <a:gd name="T19" fmla="*/ 356 h 631"/>
                  <a:gd name="T20" fmla="*/ 30 w 542"/>
                  <a:gd name="T21" fmla="*/ 467 h 631"/>
                  <a:gd name="T22" fmla="*/ 56 w 542"/>
                  <a:gd name="T23" fmla="*/ 496 h 631"/>
                  <a:gd name="T24" fmla="*/ 53 w 542"/>
                  <a:gd name="T25" fmla="*/ 532 h 631"/>
                  <a:gd name="T26" fmla="*/ 111 w 542"/>
                  <a:gd name="T27" fmla="*/ 587 h 631"/>
                  <a:gd name="T28" fmla="*/ 157 w 542"/>
                  <a:gd name="T29" fmla="*/ 579 h 631"/>
                  <a:gd name="T30" fmla="*/ 192 w 542"/>
                  <a:gd name="T31" fmla="*/ 609 h 631"/>
                  <a:gd name="T32" fmla="*/ 276 w 542"/>
                  <a:gd name="T33" fmla="*/ 612 h 631"/>
                  <a:gd name="T34" fmla="*/ 308 w 542"/>
                  <a:gd name="T35" fmla="*/ 591 h 631"/>
                  <a:gd name="T36" fmla="*/ 345 w 542"/>
                  <a:gd name="T37" fmla="*/ 598 h 631"/>
                  <a:gd name="T38" fmla="*/ 381 w 542"/>
                  <a:gd name="T39" fmla="*/ 567 h 631"/>
                  <a:gd name="T40" fmla="*/ 401 w 542"/>
                  <a:gd name="T41" fmla="*/ 521 h 631"/>
                  <a:gd name="T42" fmla="*/ 454 w 542"/>
                  <a:gd name="T43" fmla="*/ 483 h 631"/>
                  <a:gd name="T44" fmla="*/ 534 w 542"/>
                  <a:gd name="T45" fmla="*/ 367 h 631"/>
                  <a:gd name="T46" fmla="*/ 498 w 542"/>
                  <a:gd name="T47" fmla="*/ 2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2" h="631">
                    <a:moveTo>
                      <a:pt x="396" y="102"/>
                    </a:moveTo>
                    <a:cubicBezTo>
                      <a:pt x="415" y="83"/>
                      <a:pt x="413" y="49"/>
                      <a:pt x="396" y="29"/>
                    </a:cubicBezTo>
                    <a:cubicBezTo>
                      <a:pt x="379" y="8"/>
                      <a:pt x="351" y="0"/>
                      <a:pt x="324" y="1"/>
                    </a:cubicBezTo>
                    <a:cubicBezTo>
                      <a:pt x="286" y="3"/>
                      <a:pt x="249" y="25"/>
                      <a:pt x="228" y="57"/>
                    </a:cubicBezTo>
                    <a:cubicBezTo>
                      <a:pt x="217" y="75"/>
                      <a:pt x="210" y="97"/>
                      <a:pt x="192" y="108"/>
                    </a:cubicBezTo>
                    <a:cubicBezTo>
                      <a:pt x="177" y="117"/>
                      <a:pt x="157" y="116"/>
                      <a:pt x="139" y="122"/>
                    </a:cubicBezTo>
                    <a:cubicBezTo>
                      <a:pt x="116" y="130"/>
                      <a:pt x="99" y="152"/>
                      <a:pt x="92" y="175"/>
                    </a:cubicBezTo>
                    <a:cubicBezTo>
                      <a:pt x="84" y="198"/>
                      <a:pt x="84" y="223"/>
                      <a:pt x="86" y="248"/>
                    </a:cubicBezTo>
                    <a:cubicBezTo>
                      <a:pt x="89" y="270"/>
                      <a:pt x="92" y="295"/>
                      <a:pt x="80" y="314"/>
                    </a:cubicBezTo>
                    <a:cubicBezTo>
                      <a:pt x="69" y="333"/>
                      <a:pt x="46" y="341"/>
                      <a:pt x="30" y="356"/>
                    </a:cubicBezTo>
                    <a:cubicBezTo>
                      <a:pt x="0" y="384"/>
                      <a:pt x="0" y="438"/>
                      <a:pt x="30" y="467"/>
                    </a:cubicBezTo>
                    <a:cubicBezTo>
                      <a:pt x="39" y="476"/>
                      <a:pt x="52" y="483"/>
                      <a:pt x="56" y="496"/>
                    </a:cubicBezTo>
                    <a:cubicBezTo>
                      <a:pt x="59" y="508"/>
                      <a:pt x="54" y="520"/>
                      <a:pt x="53" y="532"/>
                    </a:cubicBezTo>
                    <a:cubicBezTo>
                      <a:pt x="50" y="563"/>
                      <a:pt x="81" y="592"/>
                      <a:pt x="111" y="587"/>
                    </a:cubicBezTo>
                    <a:cubicBezTo>
                      <a:pt x="127" y="585"/>
                      <a:pt x="142" y="575"/>
                      <a:pt x="157" y="579"/>
                    </a:cubicBezTo>
                    <a:cubicBezTo>
                      <a:pt x="172" y="583"/>
                      <a:pt x="181" y="598"/>
                      <a:pt x="192" y="609"/>
                    </a:cubicBezTo>
                    <a:cubicBezTo>
                      <a:pt x="214" y="630"/>
                      <a:pt x="252" y="631"/>
                      <a:pt x="276" y="612"/>
                    </a:cubicBezTo>
                    <a:cubicBezTo>
                      <a:pt x="286" y="604"/>
                      <a:pt x="295" y="593"/>
                      <a:pt x="308" y="591"/>
                    </a:cubicBezTo>
                    <a:cubicBezTo>
                      <a:pt x="320" y="589"/>
                      <a:pt x="332" y="598"/>
                      <a:pt x="345" y="598"/>
                    </a:cubicBezTo>
                    <a:cubicBezTo>
                      <a:pt x="362" y="597"/>
                      <a:pt x="375" y="582"/>
                      <a:pt x="381" y="567"/>
                    </a:cubicBezTo>
                    <a:cubicBezTo>
                      <a:pt x="388" y="551"/>
                      <a:pt x="391" y="534"/>
                      <a:pt x="401" y="521"/>
                    </a:cubicBezTo>
                    <a:cubicBezTo>
                      <a:pt x="414" y="503"/>
                      <a:pt x="436" y="495"/>
                      <a:pt x="454" y="483"/>
                    </a:cubicBezTo>
                    <a:cubicBezTo>
                      <a:pt x="496" y="458"/>
                      <a:pt x="526" y="415"/>
                      <a:pt x="534" y="367"/>
                    </a:cubicBezTo>
                    <a:cubicBezTo>
                      <a:pt x="542" y="320"/>
                      <a:pt x="529" y="269"/>
                      <a:pt x="498" y="23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28">
                <a:extLst>
                  <a:ext uri="{FF2B5EF4-FFF2-40B4-BE49-F238E27FC236}">
                    <a16:creationId xmlns:a16="http://schemas.microsoft.com/office/drawing/2014/main" id="{916BEE32-19F6-4546-A7DE-DA632C08EB9A}"/>
                  </a:ext>
                </a:extLst>
              </p:cNvPr>
              <p:cNvSpPr>
                <a:spLocks/>
              </p:cNvSpPr>
              <p:nvPr/>
            </p:nvSpPr>
            <p:spPr bwMode="auto">
              <a:xfrm>
                <a:off x="3482" y="1105"/>
                <a:ext cx="982" cy="1529"/>
              </a:xfrm>
              <a:custGeom>
                <a:avLst/>
                <a:gdLst>
                  <a:gd name="T0" fmla="*/ 282 w 414"/>
                  <a:gd name="T1" fmla="*/ 7 h 644"/>
                  <a:gd name="T2" fmla="*/ 321 w 414"/>
                  <a:gd name="T3" fmla="*/ 36 h 644"/>
                  <a:gd name="T4" fmla="*/ 403 w 414"/>
                  <a:gd name="T5" fmla="*/ 516 h 644"/>
                  <a:gd name="T6" fmla="*/ 279 w 414"/>
                  <a:gd name="T7" fmla="*/ 633 h 644"/>
                  <a:gd name="T8" fmla="*/ 197 w 414"/>
                  <a:gd name="T9" fmla="*/ 562 h 644"/>
                  <a:gd name="T10" fmla="*/ 169 w 414"/>
                  <a:gd name="T11" fmla="*/ 440 h 644"/>
                  <a:gd name="T12" fmla="*/ 53 w 414"/>
                  <a:gd name="T13" fmla="*/ 347 h 644"/>
                  <a:gd name="T14" fmla="*/ 9 w 414"/>
                  <a:gd name="T15" fmla="*/ 149 h 644"/>
                  <a:gd name="T16" fmla="*/ 86 w 414"/>
                  <a:gd name="T17" fmla="*/ 0 h 644"/>
                  <a:gd name="T18" fmla="*/ 282 w 414"/>
                  <a:gd name="T19" fmla="*/ 7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644">
                    <a:moveTo>
                      <a:pt x="282" y="7"/>
                    </a:moveTo>
                    <a:cubicBezTo>
                      <a:pt x="301" y="5"/>
                      <a:pt x="318" y="18"/>
                      <a:pt x="321" y="36"/>
                    </a:cubicBezTo>
                    <a:cubicBezTo>
                      <a:pt x="403" y="516"/>
                      <a:pt x="403" y="516"/>
                      <a:pt x="403" y="516"/>
                    </a:cubicBezTo>
                    <a:cubicBezTo>
                      <a:pt x="414" y="572"/>
                      <a:pt x="339" y="621"/>
                      <a:pt x="279" y="633"/>
                    </a:cubicBezTo>
                    <a:cubicBezTo>
                      <a:pt x="218" y="644"/>
                      <a:pt x="209" y="615"/>
                      <a:pt x="197" y="562"/>
                    </a:cubicBezTo>
                    <a:cubicBezTo>
                      <a:pt x="176" y="473"/>
                      <a:pt x="169" y="439"/>
                      <a:pt x="169" y="440"/>
                    </a:cubicBezTo>
                    <a:cubicBezTo>
                      <a:pt x="169" y="440"/>
                      <a:pt x="90" y="444"/>
                      <a:pt x="53" y="347"/>
                    </a:cubicBezTo>
                    <a:cubicBezTo>
                      <a:pt x="34" y="299"/>
                      <a:pt x="19" y="217"/>
                      <a:pt x="9" y="149"/>
                    </a:cubicBezTo>
                    <a:cubicBezTo>
                      <a:pt x="0" y="88"/>
                      <a:pt x="24" y="6"/>
                      <a:pt x="86" y="0"/>
                    </a:cubicBezTo>
                    <a:lnTo>
                      <a:pt x="282" y="7"/>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29">
                <a:extLst>
                  <a:ext uri="{FF2B5EF4-FFF2-40B4-BE49-F238E27FC236}">
                    <a16:creationId xmlns:a16="http://schemas.microsoft.com/office/drawing/2014/main" id="{4A875460-813D-44F6-BC02-FFB4C2A50EB6}"/>
                  </a:ext>
                </a:extLst>
              </p:cNvPr>
              <p:cNvSpPr>
                <a:spLocks/>
              </p:cNvSpPr>
              <p:nvPr/>
            </p:nvSpPr>
            <p:spPr bwMode="auto">
              <a:xfrm>
                <a:off x="3586" y="1565"/>
                <a:ext cx="66" cy="64"/>
              </a:xfrm>
              <a:custGeom>
                <a:avLst/>
                <a:gdLst>
                  <a:gd name="T0" fmla="*/ 1 w 28"/>
                  <a:gd name="T1" fmla="*/ 15 h 27"/>
                  <a:gd name="T2" fmla="*/ 16 w 28"/>
                  <a:gd name="T3" fmla="*/ 25 h 27"/>
                  <a:gd name="T4" fmla="*/ 27 w 28"/>
                  <a:gd name="T5" fmla="*/ 11 h 27"/>
                  <a:gd name="T6" fmla="*/ 12 w 28"/>
                  <a:gd name="T7" fmla="*/ 1 h 27"/>
                  <a:gd name="T8" fmla="*/ 1 w 28"/>
                  <a:gd name="T9" fmla="*/ 15 h 27"/>
                </a:gdLst>
                <a:ahLst/>
                <a:cxnLst>
                  <a:cxn ang="0">
                    <a:pos x="T0" y="T1"/>
                  </a:cxn>
                  <a:cxn ang="0">
                    <a:pos x="T2" y="T3"/>
                  </a:cxn>
                  <a:cxn ang="0">
                    <a:pos x="T4" y="T5"/>
                  </a:cxn>
                  <a:cxn ang="0">
                    <a:pos x="T6" y="T7"/>
                  </a:cxn>
                  <a:cxn ang="0">
                    <a:pos x="T8" y="T9"/>
                  </a:cxn>
                </a:cxnLst>
                <a:rect l="0" t="0" r="r" b="b"/>
                <a:pathLst>
                  <a:path w="28" h="27">
                    <a:moveTo>
                      <a:pt x="1" y="15"/>
                    </a:moveTo>
                    <a:cubicBezTo>
                      <a:pt x="3" y="22"/>
                      <a:pt x="9" y="27"/>
                      <a:pt x="16" y="25"/>
                    </a:cubicBezTo>
                    <a:cubicBezTo>
                      <a:pt x="24" y="24"/>
                      <a:pt x="28" y="18"/>
                      <a:pt x="27" y="11"/>
                    </a:cubicBezTo>
                    <a:cubicBezTo>
                      <a:pt x="26" y="4"/>
                      <a:pt x="19" y="0"/>
                      <a:pt x="12" y="1"/>
                    </a:cubicBezTo>
                    <a:cubicBezTo>
                      <a:pt x="5" y="2"/>
                      <a:pt x="0" y="8"/>
                      <a:pt x="1"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30">
                <a:extLst>
                  <a:ext uri="{FF2B5EF4-FFF2-40B4-BE49-F238E27FC236}">
                    <a16:creationId xmlns:a16="http://schemas.microsoft.com/office/drawing/2014/main" id="{3C3199CB-710E-4B2F-B1E9-8C58AC5A1DBF}"/>
                  </a:ext>
                </a:extLst>
              </p:cNvPr>
              <p:cNvSpPr>
                <a:spLocks/>
              </p:cNvSpPr>
              <p:nvPr/>
            </p:nvSpPr>
            <p:spPr bwMode="auto">
              <a:xfrm>
                <a:off x="3565" y="1523"/>
                <a:ext cx="123" cy="52"/>
              </a:xfrm>
              <a:custGeom>
                <a:avLst/>
                <a:gdLst>
                  <a:gd name="T0" fmla="*/ 1 w 52"/>
                  <a:gd name="T1" fmla="*/ 20 h 22"/>
                  <a:gd name="T2" fmla="*/ 25 w 52"/>
                  <a:gd name="T3" fmla="*/ 9 h 22"/>
                  <a:gd name="T4" fmla="*/ 52 w 52"/>
                  <a:gd name="T5" fmla="*/ 9 h 22"/>
                  <a:gd name="T6" fmla="*/ 45 w 52"/>
                  <a:gd name="T7" fmla="*/ 3 h 22"/>
                  <a:gd name="T8" fmla="*/ 23 w 52"/>
                  <a:gd name="T9" fmla="*/ 1 h 22"/>
                  <a:gd name="T10" fmla="*/ 5 w 52"/>
                  <a:gd name="T11" fmla="*/ 12 h 22"/>
                  <a:gd name="T12" fmla="*/ 1 w 52"/>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2" h="22">
                    <a:moveTo>
                      <a:pt x="1" y="20"/>
                    </a:moveTo>
                    <a:cubicBezTo>
                      <a:pt x="3" y="22"/>
                      <a:pt x="11" y="12"/>
                      <a:pt x="25" y="9"/>
                    </a:cubicBezTo>
                    <a:cubicBezTo>
                      <a:pt x="39" y="6"/>
                      <a:pt x="50" y="11"/>
                      <a:pt x="52" y="9"/>
                    </a:cubicBezTo>
                    <a:cubicBezTo>
                      <a:pt x="52" y="8"/>
                      <a:pt x="50" y="6"/>
                      <a:pt x="45" y="3"/>
                    </a:cubicBezTo>
                    <a:cubicBezTo>
                      <a:pt x="40" y="1"/>
                      <a:pt x="32" y="0"/>
                      <a:pt x="23" y="1"/>
                    </a:cubicBezTo>
                    <a:cubicBezTo>
                      <a:pt x="15" y="3"/>
                      <a:pt x="8" y="8"/>
                      <a:pt x="5" y="12"/>
                    </a:cubicBezTo>
                    <a:cubicBezTo>
                      <a:pt x="1" y="16"/>
                      <a:pt x="0" y="20"/>
                      <a:pt x="1"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31">
                <a:extLst>
                  <a:ext uri="{FF2B5EF4-FFF2-40B4-BE49-F238E27FC236}">
                    <a16:creationId xmlns:a16="http://schemas.microsoft.com/office/drawing/2014/main" id="{045340B0-478D-414E-9951-93A3BD30AFA4}"/>
                  </a:ext>
                </a:extLst>
              </p:cNvPr>
              <p:cNvSpPr>
                <a:spLocks/>
              </p:cNvSpPr>
              <p:nvPr/>
            </p:nvSpPr>
            <p:spPr bwMode="auto">
              <a:xfrm>
                <a:off x="3914" y="1494"/>
                <a:ext cx="66" cy="64"/>
              </a:xfrm>
              <a:custGeom>
                <a:avLst/>
                <a:gdLst>
                  <a:gd name="T0" fmla="*/ 1 w 28"/>
                  <a:gd name="T1" fmla="*/ 15 h 27"/>
                  <a:gd name="T2" fmla="*/ 16 w 28"/>
                  <a:gd name="T3" fmla="*/ 26 h 27"/>
                  <a:gd name="T4" fmla="*/ 27 w 28"/>
                  <a:gd name="T5" fmla="*/ 11 h 27"/>
                  <a:gd name="T6" fmla="*/ 12 w 28"/>
                  <a:gd name="T7" fmla="*/ 1 h 27"/>
                  <a:gd name="T8" fmla="*/ 1 w 28"/>
                  <a:gd name="T9" fmla="*/ 15 h 27"/>
                </a:gdLst>
                <a:ahLst/>
                <a:cxnLst>
                  <a:cxn ang="0">
                    <a:pos x="T0" y="T1"/>
                  </a:cxn>
                  <a:cxn ang="0">
                    <a:pos x="T2" y="T3"/>
                  </a:cxn>
                  <a:cxn ang="0">
                    <a:pos x="T4" y="T5"/>
                  </a:cxn>
                  <a:cxn ang="0">
                    <a:pos x="T6" y="T7"/>
                  </a:cxn>
                  <a:cxn ang="0">
                    <a:pos x="T8" y="T9"/>
                  </a:cxn>
                </a:cxnLst>
                <a:rect l="0" t="0" r="r" b="b"/>
                <a:pathLst>
                  <a:path w="28" h="27">
                    <a:moveTo>
                      <a:pt x="1" y="15"/>
                    </a:moveTo>
                    <a:cubicBezTo>
                      <a:pt x="2" y="22"/>
                      <a:pt x="9" y="27"/>
                      <a:pt x="16" y="26"/>
                    </a:cubicBezTo>
                    <a:cubicBezTo>
                      <a:pt x="23" y="25"/>
                      <a:pt x="28" y="18"/>
                      <a:pt x="27" y="11"/>
                    </a:cubicBezTo>
                    <a:cubicBezTo>
                      <a:pt x="26" y="5"/>
                      <a:pt x="19" y="0"/>
                      <a:pt x="12" y="1"/>
                    </a:cubicBezTo>
                    <a:cubicBezTo>
                      <a:pt x="5" y="2"/>
                      <a:pt x="0" y="9"/>
                      <a:pt x="1" y="1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32">
                <a:extLst>
                  <a:ext uri="{FF2B5EF4-FFF2-40B4-BE49-F238E27FC236}">
                    <a16:creationId xmlns:a16="http://schemas.microsoft.com/office/drawing/2014/main" id="{ADEBE10A-C128-41CC-BE54-E37FED9F4190}"/>
                  </a:ext>
                </a:extLst>
              </p:cNvPr>
              <p:cNvSpPr>
                <a:spLocks/>
              </p:cNvSpPr>
              <p:nvPr/>
            </p:nvSpPr>
            <p:spPr bwMode="auto">
              <a:xfrm>
                <a:off x="3887" y="1449"/>
                <a:ext cx="124" cy="52"/>
              </a:xfrm>
              <a:custGeom>
                <a:avLst/>
                <a:gdLst>
                  <a:gd name="T0" fmla="*/ 1 w 52"/>
                  <a:gd name="T1" fmla="*/ 20 h 22"/>
                  <a:gd name="T2" fmla="*/ 25 w 52"/>
                  <a:gd name="T3" fmla="*/ 9 h 22"/>
                  <a:gd name="T4" fmla="*/ 52 w 52"/>
                  <a:gd name="T5" fmla="*/ 9 h 22"/>
                  <a:gd name="T6" fmla="*/ 45 w 52"/>
                  <a:gd name="T7" fmla="*/ 3 h 22"/>
                  <a:gd name="T8" fmla="*/ 23 w 52"/>
                  <a:gd name="T9" fmla="*/ 2 h 22"/>
                  <a:gd name="T10" fmla="*/ 5 w 52"/>
                  <a:gd name="T11" fmla="*/ 12 h 22"/>
                  <a:gd name="T12" fmla="*/ 1 w 52"/>
                  <a:gd name="T13" fmla="*/ 20 h 22"/>
                </a:gdLst>
                <a:ahLst/>
                <a:cxnLst>
                  <a:cxn ang="0">
                    <a:pos x="T0" y="T1"/>
                  </a:cxn>
                  <a:cxn ang="0">
                    <a:pos x="T2" y="T3"/>
                  </a:cxn>
                  <a:cxn ang="0">
                    <a:pos x="T4" y="T5"/>
                  </a:cxn>
                  <a:cxn ang="0">
                    <a:pos x="T6" y="T7"/>
                  </a:cxn>
                  <a:cxn ang="0">
                    <a:pos x="T8" y="T9"/>
                  </a:cxn>
                  <a:cxn ang="0">
                    <a:pos x="T10" y="T11"/>
                  </a:cxn>
                  <a:cxn ang="0">
                    <a:pos x="T12" y="T13"/>
                  </a:cxn>
                </a:cxnLst>
                <a:rect l="0" t="0" r="r" b="b"/>
                <a:pathLst>
                  <a:path w="52" h="22">
                    <a:moveTo>
                      <a:pt x="1" y="20"/>
                    </a:moveTo>
                    <a:cubicBezTo>
                      <a:pt x="3" y="22"/>
                      <a:pt x="12" y="12"/>
                      <a:pt x="25" y="9"/>
                    </a:cubicBezTo>
                    <a:cubicBezTo>
                      <a:pt x="39" y="6"/>
                      <a:pt x="51" y="11"/>
                      <a:pt x="52" y="9"/>
                    </a:cubicBezTo>
                    <a:cubicBezTo>
                      <a:pt x="52" y="8"/>
                      <a:pt x="50" y="6"/>
                      <a:pt x="45" y="3"/>
                    </a:cubicBezTo>
                    <a:cubicBezTo>
                      <a:pt x="40" y="1"/>
                      <a:pt x="32" y="0"/>
                      <a:pt x="23" y="2"/>
                    </a:cubicBezTo>
                    <a:cubicBezTo>
                      <a:pt x="15" y="3"/>
                      <a:pt x="8" y="8"/>
                      <a:pt x="5" y="12"/>
                    </a:cubicBezTo>
                    <a:cubicBezTo>
                      <a:pt x="1" y="16"/>
                      <a:pt x="0" y="20"/>
                      <a:pt x="1" y="2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33">
                <a:extLst>
                  <a:ext uri="{FF2B5EF4-FFF2-40B4-BE49-F238E27FC236}">
                    <a16:creationId xmlns:a16="http://schemas.microsoft.com/office/drawing/2014/main" id="{E28FB848-6C75-4F75-9CAF-350FCE4F2C08}"/>
                  </a:ext>
                </a:extLst>
              </p:cNvPr>
              <p:cNvSpPr>
                <a:spLocks/>
              </p:cNvSpPr>
              <p:nvPr/>
            </p:nvSpPr>
            <p:spPr bwMode="auto">
              <a:xfrm>
                <a:off x="3731" y="1480"/>
                <a:ext cx="92" cy="289"/>
              </a:xfrm>
              <a:custGeom>
                <a:avLst/>
                <a:gdLst>
                  <a:gd name="T0" fmla="*/ 39 w 39"/>
                  <a:gd name="T1" fmla="*/ 116 h 122"/>
                  <a:gd name="T2" fmla="*/ 16 w 39"/>
                  <a:gd name="T3" fmla="*/ 117 h 122"/>
                  <a:gd name="T4" fmla="*/ 8 w 39"/>
                  <a:gd name="T5" fmla="*/ 115 h 122"/>
                  <a:gd name="T6" fmla="*/ 8 w 39"/>
                  <a:gd name="T7" fmla="*/ 104 h 122"/>
                  <a:gd name="T8" fmla="*/ 12 w 39"/>
                  <a:gd name="T9" fmla="*/ 75 h 122"/>
                  <a:gd name="T10" fmla="*/ 21 w 39"/>
                  <a:gd name="T11" fmla="*/ 0 h 122"/>
                  <a:gd name="T12" fmla="*/ 6 w 39"/>
                  <a:gd name="T13" fmla="*/ 74 h 122"/>
                  <a:gd name="T14" fmla="*/ 2 w 39"/>
                  <a:gd name="T15" fmla="*/ 104 h 122"/>
                  <a:gd name="T16" fmla="*/ 3 w 39"/>
                  <a:gd name="T17" fmla="*/ 118 h 122"/>
                  <a:gd name="T18" fmla="*/ 10 w 39"/>
                  <a:gd name="T19" fmla="*/ 122 h 122"/>
                  <a:gd name="T20" fmla="*/ 16 w 39"/>
                  <a:gd name="T21" fmla="*/ 121 h 122"/>
                  <a:gd name="T22" fmla="*/ 39 w 39"/>
                  <a:gd name="T23"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22">
                    <a:moveTo>
                      <a:pt x="39" y="116"/>
                    </a:moveTo>
                    <a:cubicBezTo>
                      <a:pt x="39" y="116"/>
                      <a:pt x="30" y="116"/>
                      <a:pt x="16" y="117"/>
                    </a:cubicBezTo>
                    <a:cubicBezTo>
                      <a:pt x="12" y="118"/>
                      <a:pt x="9" y="118"/>
                      <a:pt x="8" y="115"/>
                    </a:cubicBezTo>
                    <a:cubicBezTo>
                      <a:pt x="6" y="113"/>
                      <a:pt x="7" y="109"/>
                      <a:pt x="8" y="104"/>
                    </a:cubicBezTo>
                    <a:cubicBezTo>
                      <a:pt x="9" y="95"/>
                      <a:pt x="11" y="85"/>
                      <a:pt x="12" y="75"/>
                    </a:cubicBezTo>
                    <a:cubicBezTo>
                      <a:pt x="19" y="34"/>
                      <a:pt x="23" y="0"/>
                      <a:pt x="21" y="0"/>
                    </a:cubicBezTo>
                    <a:cubicBezTo>
                      <a:pt x="19" y="0"/>
                      <a:pt x="13" y="33"/>
                      <a:pt x="6" y="74"/>
                    </a:cubicBezTo>
                    <a:cubicBezTo>
                      <a:pt x="5" y="85"/>
                      <a:pt x="4" y="94"/>
                      <a:pt x="2" y="104"/>
                    </a:cubicBezTo>
                    <a:cubicBezTo>
                      <a:pt x="2" y="108"/>
                      <a:pt x="0" y="113"/>
                      <a:pt x="3" y="118"/>
                    </a:cubicBezTo>
                    <a:cubicBezTo>
                      <a:pt x="5" y="120"/>
                      <a:pt x="8" y="122"/>
                      <a:pt x="10" y="122"/>
                    </a:cubicBezTo>
                    <a:cubicBezTo>
                      <a:pt x="13" y="122"/>
                      <a:pt x="15" y="122"/>
                      <a:pt x="16" y="121"/>
                    </a:cubicBezTo>
                    <a:cubicBezTo>
                      <a:pt x="31" y="119"/>
                      <a:pt x="39" y="117"/>
                      <a:pt x="39" y="11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34">
                <a:extLst>
                  <a:ext uri="{FF2B5EF4-FFF2-40B4-BE49-F238E27FC236}">
                    <a16:creationId xmlns:a16="http://schemas.microsoft.com/office/drawing/2014/main" id="{E87C01B8-8C2F-4491-920D-FE1C86593DAD}"/>
                  </a:ext>
                </a:extLst>
              </p:cNvPr>
              <p:cNvSpPr>
                <a:spLocks/>
              </p:cNvSpPr>
              <p:nvPr/>
            </p:nvSpPr>
            <p:spPr bwMode="auto">
              <a:xfrm>
                <a:off x="3883" y="1997"/>
                <a:ext cx="301" cy="212"/>
              </a:xfrm>
              <a:custGeom>
                <a:avLst/>
                <a:gdLst>
                  <a:gd name="T0" fmla="*/ 0 w 127"/>
                  <a:gd name="T1" fmla="*/ 64 h 89"/>
                  <a:gd name="T2" fmla="*/ 127 w 127"/>
                  <a:gd name="T3" fmla="*/ 0 h 89"/>
                  <a:gd name="T4" fmla="*/ 6 w 127"/>
                  <a:gd name="T5" fmla="*/ 89 h 89"/>
                  <a:gd name="T6" fmla="*/ 0 w 127"/>
                  <a:gd name="T7" fmla="*/ 64 h 89"/>
                </a:gdLst>
                <a:ahLst/>
                <a:cxnLst>
                  <a:cxn ang="0">
                    <a:pos x="T0" y="T1"/>
                  </a:cxn>
                  <a:cxn ang="0">
                    <a:pos x="T2" y="T3"/>
                  </a:cxn>
                  <a:cxn ang="0">
                    <a:pos x="T4" y="T5"/>
                  </a:cxn>
                  <a:cxn ang="0">
                    <a:pos x="T6" y="T7"/>
                  </a:cxn>
                </a:cxnLst>
                <a:rect l="0" t="0" r="r" b="b"/>
                <a:pathLst>
                  <a:path w="127" h="89">
                    <a:moveTo>
                      <a:pt x="0" y="64"/>
                    </a:moveTo>
                    <a:cubicBezTo>
                      <a:pt x="0" y="64"/>
                      <a:pt x="69" y="54"/>
                      <a:pt x="127" y="0"/>
                    </a:cubicBezTo>
                    <a:cubicBezTo>
                      <a:pt x="127" y="0"/>
                      <a:pt x="108" y="77"/>
                      <a:pt x="6" y="89"/>
                    </a:cubicBezTo>
                    <a:lnTo>
                      <a:pt x="0" y="64"/>
                    </a:ln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35">
                <a:extLst>
                  <a:ext uri="{FF2B5EF4-FFF2-40B4-BE49-F238E27FC236}">
                    <a16:creationId xmlns:a16="http://schemas.microsoft.com/office/drawing/2014/main" id="{49879D0C-5AC9-4C73-86B5-C2D53E5FB29E}"/>
                  </a:ext>
                </a:extLst>
              </p:cNvPr>
              <p:cNvSpPr>
                <a:spLocks/>
              </p:cNvSpPr>
              <p:nvPr/>
            </p:nvSpPr>
            <p:spPr bwMode="auto">
              <a:xfrm>
                <a:off x="3852" y="1798"/>
                <a:ext cx="109" cy="74"/>
              </a:xfrm>
              <a:custGeom>
                <a:avLst/>
                <a:gdLst>
                  <a:gd name="T0" fmla="*/ 1 w 46"/>
                  <a:gd name="T1" fmla="*/ 15 h 31"/>
                  <a:gd name="T2" fmla="*/ 21 w 46"/>
                  <a:gd name="T3" fmla="*/ 1 h 31"/>
                  <a:gd name="T4" fmla="*/ 39 w 46"/>
                  <a:gd name="T5" fmla="*/ 6 h 31"/>
                  <a:gd name="T6" fmla="*/ 43 w 46"/>
                  <a:gd name="T7" fmla="*/ 22 h 31"/>
                  <a:gd name="T8" fmla="*/ 26 w 46"/>
                  <a:gd name="T9" fmla="*/ 30 h 31"/>
                  <a:gd name="T10" fmla="*/ 6 w 46"/>
                  <a:gd name="T11" fmla="*/ 23 h 31"/>
                  <a:gd name="T12" fmla="*/ 2 w 46"/>
                  <a:gd name="T13" fmla="*/ 20 h 31"/>
                  <a:gd name="T14" fmla="*/ 1 w 46"/>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31">
                    <a:moveTo>
                      <a:pt x="1" y="15"/>
                    </a:moveTo>
                    <a:cubicBezTo>
                      <a:pt x="5" y="7"/>
                      <a:pt x="13" y="1"/>
                      <a:pt x="21" y="1"/>
                    </a:cubicBezTo>
                    <a:cubicBezTo>
                      <a:pt x="28" y="0"/>
                      <a:pt x="34" y="1"/>
                      <a:pt x="39" y="6"/>
                    </a:cubicBezTo>
                    <a:cubicBezTo>
                      <a:pt x="44" y="10"/>
                      <a:pt x="46" y="16"/>
                      <a:pt x="43" y="22"/>
                    </a:cubicBezTo>
                    <a:cubicBezTo>
                      <a:pt x="41" y="28"/>
                      <a:pt x="33" y="31"/>
                      <a:pt x="26" y="30"/>
                    </a:cubicBezTo>
                    <a:cubicBezTo>
                      <a:pt x="19" y="30"/>
                      <a:pt x="13" y="27"/>
                      <a:pt x="6" y="23"/>
                    </a:cubicBezTo>
                    <a:cubicBezTo>
                      <a:pt x="5" y="23"/>
                      <a:pt x="3" y="22"/>
                      <a:pt x="2" y="20"/>
                    </a:cubicBezTo>
                    <a:cubicBezTo>
                      <a:pt x="0" y="19"/>
                      <a:pt x="0" y="17"/>
                      <a:pt x="1" y="15"/>
                    </a:cubicBezTo>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36">
                <a:extLst>
                  <a:ext uri="{FF2B5EF4-FFF2-40B4-BE49-F238E27FC236}">
                    <a16:creationId xmlns:a16="http://schemas.microsoft.com/office/drawing/2014/main" id="{82815DB8-28ED-4E47-995E-C061EC8B530E}"/>
                  </a:ext>
                </a:extLst>
              </p:cNvPr>
              <p:cNvSpPr>
                <a:spLocks/>
              </p:cNvSpPr>
              <p:nvPr/>
            </p:nvSpPr>
            <p:spPr bwMode="auto">
              <a:xfrm>
                <a:off x="3838" y="1758"/>
                <a:ext cx="99" cy="114"/>
              </a:xfrm>
              <a:custGeom>
                <a:avLst/>
                <a:gdLst>
                  <a:gd name="T0" fmla="*/ 37 w 42"/>
                  <a:gd name="T1" fmla="*/ 0 h 48"/>
                  <a:gd name="T2" fmla="*/ 27 w 42"/>
                  <a:gd name="T3" fmla="*/ 29 h 48"/>
                  <a:gd name="T4" fmla="*/ 1 w 42"/>
                  <a:gd name="T5" fmla="*/ 46 h 48"/>
                  <a:gd name="T6" fmla="*/ 12 w 42"/>
                  <a:gd name="T7" fmla="*/ 47 h 48"/>
                  <a:gd name="T8" fmla="*/ 34 w 42"/>
                  <a:gd name="T9" fmla="*/ 34 h 48"/>
                  <a:gd name="T10" fmla="*/ 41 w 42"/>
                  <a:gd name="T11" fmla="*/ 10 h 48"/>
                  <a:gd name="T12" fmla="*/ 37 w 42"/>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2" h="48">
                    <a:moveTo>
                      <a:pt x="37" y="0"/>
                    </a:moveTo>
                    <a:cubicBezTo>
                      <a:pt x="35" y="1"/>
                      <a:pt x="38" y="16"/>
                      <a:pt x="27" y="29"/>
                    </a:cubicBezTo>
                    <a:cubicBezTo>
                      <a:pt x="17" y="42"/>
                      <a:pt x="0" y="44"/>
                      <a:pt x="1" y="46"/>
                    </a:cubicBezTo>
                    <a:cubicBezTo>
                      <a:pt x="1" y="47"/>
                      <a:pt x="5" y="48"/>
                      <a:pt x="12" y="47"/>
                    </a:cubicBezTo>
                    <a:cubicBezTo>
                      <a:pt x="18" y="46"/>
                      <a:pt x="27" y="42"/>
                      <a:pt x="34" y="34"/>
                    </a:cubicBezTo>
                    <a:cubicBezTo>
                      <a:pt x="40" y="25"/>
                      <a:pt x="42" y="16"/>
                      <a:pt x="41" y="10"/>
                    </a:cubicBezTo>
                    <a:cubicBezTo>
                      <a:pt x="40" y="3"/>
                      <a:pt x="38" y="0"/>
                      <a:pt x="3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37">
                <a:extLst>
                  <a:ext uri="{FF2B5EF4-FFF2-40B4-BE49-F238E27FC236}">
                    <a16:creationId xmlns:a16="http://schemas.microsoft.com/office/drawing/2014/main" id="{70C5A333-4940-43BC-848C-5EC539BACD70}"/>
                  </a:ext>
                </a:extLst>
              </p:cNvPr>
              <p:cNvSpPr>
                <a:spLocks/>
              </p:cNvSpPr>
              <p:nvPr/>
            </p:nvSpPr>
            <p:spPr bwMode="auto">
              <a:xfrm>
                <a:off x="3861" y="1392"/>
                <a:ext cx="157" cy="50"/>
              </a:xfrm>
              <a:custGeom>
                <a:avLst/>
                <a:gdLst>
                  <a:gd name="T0" fmla="*/ 1 w 66"/>
                  <a:gd name="T1" fmla="*/ 18 h 21"/>
                  <a:gd name="T2" fmla="*/ 33 w 66"/>
                  <a:gd name="T3" fmla="*/ 15 h 21"/>
                  <a:gd name="T4" fmla="*/ 65 w 66"/>
                  <a:gd name="T5" fmla="*/ 11 h 21"/>
                  <a:gd name="T6" fmla="*/ 57 w 66"/>
                  <a:gd name="T7" fmla="*/ 4 h 21"/>
                  <a:gd name="T8" fmla="*/ 32 w 66"/>
                  <a:gd name="T9" fmla="*/ 1 h 21"/>
                  <a:gd name="T10" fmla="*/ 8 w 66"/>
                  <a:gd name="T11" fmla="*/ 9 h 21"/>
                  <a:gd name="T12" fmla="*/ 1 w 66"/>
                  <a:gd name="T13" fmla="*/ 18 h 21"/>
                </a:gdLst>
                <a:ahLst/>
                <a:cxnLst>
                  <a:cxn ang="0">
                    <a:pos x="T0" y="T1"/>
                  </a:cxn>
                  <a:cxn ang="0">
                    <a:pos x="T2" y="T3"/>
                  </a:cxn>
                  <a:cxn ang="0">
                    <a:pos x="T4" y="T5"/>
                  </a:cxn>
                  <a:cxn ang="0">
                    <a:pos x="T6" y="T7"/>
                  </a:cxn>
                  <a:cxn ang="0">
                    <a:pos x="T8" y="T9"/>
                  </a:cxn>
                  <a:cxn ang="0">
                    <a:pos x="T10" y="T11"/>
                  </a:cxn>
                  <a:cxn ang="0">
                    <a:pos x="T12" y="T13"/>
                  </a:cxn>
                </a:cxnLst>
                <a:rect l="0" t="0" r="r" b="b"/>
                <a:pathLst>
                  <a:path w="66" h="21">
                    <a:moveTo>
                      <a:pt x="1" y="18"/>
                    </a:moveTo>
                    <a:cubicBezTo>
                      <a:pt x="3" y="21"/>
                      <a:pt x="17" y="16"/>
                      <a:pt x="33" y="15"/>
                    </a:cubicBezTo>
                    <a:cubicBezTo>
                      <a:pt x="50" y="13"/>
                      <a:pt x="64" y="15"/>
                      <a:pt x="65" y="11"/>
                    </a:cubicBezTo>
                    <a:cubicBezTo>
                      <a:pt x="66" y="9"/>
                      <a:pt x="63" y="6"/>
                      <a:pt x="57" y="4"/>
                    </a:cubicBezTo>
                    <a:cubicBezTo>
                      <a:pt x="51" y="1"/>
                      <a:pt x="42" y="0"/>
                      <a:pt x="32" y="1"/>
                    </a:cubicBezTo>
                    <a:cubicBezTo>
                      <a:pt x="22" y="2"/>
                      <a:pt x="13" y="5"/>
                      <a:pt x="8" y="9"/>
                    </a:cubicBezTo>
                    <a:cubicBezTo>
                      <a:pt x="2" y="12"/>
                      <a:pt x="0" y="16"/>
                      <a:pt x="1" y="1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8">
                <a:extLst>
                  <a:ext uri="{FF2B5EF4-FFF2-40B4-BE49-F238E27FC236}">
                    <a16:creationId xmlns:a16="http://schemas.microsoft.com/office/drawing/2014/main" id="{F5B5202B-7013-4754-8D46-DCB8C82A8E43}"/>
                  </a:ext>
                </a:extLst>
              </p:cNvPr>
              <p:cNvSpPr>
                <a:spLocks/>
              </p:cNvSpPr>
              <p:nvPr/>
            </p:nvSpPr>
            <p:spPr bwMode="auto">
              <a:xfrm>
                <a:off x="3555" y="1461"/>
                <a:ext cx="116" cy="57"/>
              </a:xfrm>
              <a:custGeom>
                <a:avLst/>
                <a:gdLst>
                  <a:gd name="T0" fmla="*/ 2 w 49"/>
                  <a:gd name="T1" fmla="*/ 21 h 24"/>
                  <a:gd name="T2" fmla="*/ 25 w 49"/>
                  <a:gd name="T3" fmla="*/ 16 h 24"/>
                  <a:gd name="T4" fmla="*/ 48 w 49"/>
                  <a:gd name="T5" fmla="*/ 10 h 24"/>
                  <a:gd name="T6" fmla="*/ 42 w 49"/>
                  <a:gd name="T7" fmla="*/ 3 h 24"/>
                  <a:gd name="T8" fmla="*/ 22 w 49"/>
                  <a:gd name="T9" fmla="*/ 2 h 24"/>
                  <a:gd name="T10" fmla="*/ 4 w 49"/>
                  <a:gd name="T11" fmla="*/ 12 h 24"/>
                  <a:gd name="T12" fmla="*/ 2 w 49"/>
                  <a:gd name="T13" fmla="*/ 21 h 24"/>
                </a:gdLst>
                <a:ahLst/>
                <a:cxnLst>
                  <a:cxn ang="0">
                    <a:pos x="T0" y="T1"/>
                  </a:cxn>
                  <a:cxn ang="0">
                    <a:pos x="T2" y="T3"/>
                  </a:cxn>
                  <a:cxn ang="0">
                    <a:pos x="T4" y="T5"/>
                  </a:cxn>
                  <a:cxn ang="0">
                    <a:pos x="T6" y="T7"/>
                  </a:cxn>
                  <a:cxn ang="0">
                    <a:pos x="T8" y="T9"/>
                  </a:cxn>
                  <a:cxn ang="0">
                    <a:pos x="T10" y="T11"/>
                  </a:cxn>
                  <a:cxn ang="0">
                    <a:pos x="T12" y="T13"/>
                  </a:cxn>
                </a:cxnLst>
                <a:rect l="0" t="0" r="r" b="b"/>
                <a:pathLst>
                  <a:path w="49" h="24">
                    <a:moveTo>
                      <a:pt x="2" y="21"/>
                    </a:moveTo>
                    <a:cubicBezTo>
                      <a:pt x="5" y="24"/>
                      <a:pt x="14" y="19"/>
                      <a:pt x="25" y="16"/>
                    </a:cubicBezTo>
                    <a:cubicBezTo>
                      <a:pt x="36" y="13"/>
                      <a:pt x="47" y="14"/>
                      <a:pt x="48" y="10"/>
                    </a:cubicBezTo>
                    <a:cubicBezTo>
                      <a:pt x="49" y="8"/>
                      <a:pt x="47" y="5"/>
                      <a:pt x="42" y="3"/>
                    </a:cubicBezTo>
                    <a:cubicBezTo>
                      <a:pt x="37" y="1"/>
                      <a:pt x="29" y="0"/>
                      <a:pt x="22" y="2"/>
                    </a:cubicBezTo>
                    <a:cubicBezTo>
                      <a:pt x="14" y="4"/>
                      <a:pt x="8" y="8"/>
                      <a:pt x="4" y="12"/>
                    </a:cubicBezTo>
                    <a:cubicBezTo>
                      <a:pt x="1" y="16"/>
                      <a:pt x="0" y="20"/>
                      <a:pt x="2" y="2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39">
                <a:extLst>
                  <a:ext uri="{FF2B5EF4-FFF2-40B4-BE49-F238E27FC236}">
                    <a16:creationId xmlns:a16="http://schemas.microsoft.com/office/drawing/2014/main" id="{D1A9673C-8644-4B35-A5E2-CBE6D0365B6B}"/>
                  </a:ext>
                </a:extLst>
              </p:cNvPr>
              <p:cNvSpPr>
                <a:spLocks/>
              </p:cNvSpPr>
              <p:nvPr/>
            </p:nvSpPr>
            <p:spPr bwMode="auto">
              <a:xfrm>
                <a:off x="3942" y="998"/>
                <a:ext cx="619" cy="1071"/>
              </a:xfrm>
              <a:custGeom>
                <a:avLst/>
                <a:gdLst>
                  <a:gd name="T0" fmla="*/ 16 w 261"/>
                  <a:gd name="T1" fmla="*/ 34 h 451"/>
                  <a:gd name="T2" fmla="*/ 92 w 261"/>
                  <a:gd name="T3" fmla="*/ 2 h 451"/>
                  <a:gd name="T4" fmla="*/ 154 w 261"/>
                  <a:gd name="T5" fmla="*/ 50 h 451"/>
                  <a:gd name="T6" fmla="*/ 166 w 261"/>
                  <a:gd name="T7" fmla="*/ 102 h 451"/>
                  <a:gd name="T8" fmla="*/ 212 w 261"/>
                  <a:gd name="T9" fmla="*/ 126 h 451"/>
                  <a:gd name="T10" fmla="*/ 241 w 261"/>
                  <a:gd name="T11" fmla="*/ 195 h 451"/>
                  <a:gd name="T12" fmla="*/ 218 w 261"/>
                  <a:gd name="T13" fmla="*/ 260 h 451"/>
                  <a:gd name="T14" fmla="*/ 252 w 261"/>
                  <a:gd name="T15" fmla="*/ 316 h 451"/>
                  <a:gd name="T16" fmla="*/ 239 w 261"/>
                  <a:gd name="T17" fmla="*/ 384 h 451"/>
                  <a:gd name="T18" fmla="*/ 181 w 261"/>
                  <a:gd name="T19" fmla="*/ 430 h 451"/>
                  <a:gd name="T20" fmla="*/ 128 w 261"/>
                  <a:gd name="T21" fmla="*/ 450 h 451"/>
                  <a:gd name="T22" fmla="*/ 77 w 261"/>
                  <a:gd name="T23" fmla="*/ 412 h 451"/>
                  <a:gd name="T24" fmla="*/ 85 w 261"/>
                  <a:gd name="T25" fmla="*/ 347 h 451"/>
                  <a:gd name="T26" fmla="*/ 109 w 261"/>
                  <a:gd name="T27" fmla="*/ 295 h 451"/>
                  <a:gd name="T28" fmla="*/ 64 w 261"/>
                  <a:gd name="T29" fmla="*/ 219 h 451"/>
                  <a:gd name="T30" fmla="*/ 76 w 261"/>
                  <a:gd name="T31" fmla="*/ 174 h 451"/>
                  <a:gd name="T32" fmla="*/ 78 w 261"/>
                  <a:gd name="T33" fmla="*/ 130 h 451"/>
                  <a:gd name="T34" fmla="*/ 24 w 261"/>
                  <a:gd name="T35" fmla="*/ 103 h 451"/>
                  <a:gd name="T36" fmla="*/ 2 w 261"/>
                  <a:gd name="T37" fmla="*/ 60 h 451"/>
                  <a:gd name="T38" fmla="*/ 31 w 261"/>
                  <a:gd name="T39" fmla="*/ 2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1" h="451">
                    <a:moveTo>
                      <a:pt x="16" y="34"/>
                    </a:moveTo>
                    <a:cubicBezTo>
                      <a:pt x="35" y="13"/>
                      <a:pt x="63" y="0"/>
                      <a:pt x="92" y="2"/>
                    </a:cubicBezTo>
                    <a:cubicBezTo>
                      <a:pt x="120" y="4"/>
                      <a:pt x="147" y="23"/>
                      <a:pt x="154" y="50"/>
                    </a:cubicBezTo>
                    <a:cubicBezTo>
                      <a:pt x="159" y="68"/>
                      <a:pt x="155" y="88"/>
                      <a:pt x="166" y="102"/>
                    </a:cubicBezTo>
                    <a:cubicBezTo>
                      <a:pt x="177" y="116"/>
                      <a:pt x="197" y="118"/>
                      <a:pt x="212" y="126"/>
                    </a:cubicBezTo>
                    <a:cubicBezTo>
                      <a:pt x="236" y="139"/>
                      <a:pt x="249" y="169"/>
                      <a:pt x="241" y="195"/>
                    </a:cubicBezTo>
                    <a:cubicBezTo>
                      <a:pt x="235" y="218"/>
                      <a:pt x="215" y="237"/>
                      <a:pt x="218" y="260"/>
                    </a:cubicBezTo>
                    <a:cubicBezTo>
                      <a:pt x="221" y="282"/>
                      <a:pt x="243" y="296"/>
                      <a:pt x="252" y="316"/>
                    </a:cubicBezTo>
                    <a:cubicBezTo>
                      <a:pt x="261" y="338"/>
                      <a:pt x="254" y="365"/>
                      <a:pt x="239" y="384"/>
                    </a:cubicBezTo>
                    <a:cubicBezTo>
                      <a:pt x="224" y="403"/>
                      <a:pt x="202" y="417"/>
                      <a:pt x="181" y="430"/>
                    </a:cubicBezTo>
                    <a:cubicBezTo>
                      <a:pt x="165" y="440"/>
                      <a:pt x="148" y="451"/>
                      <a:pt x="128" y="450"/>
                    </a:cubicBezTo>
                    <a:cubicBezTo>
                      <a:pt x="106" y="450"/>
                      <a:pt x="85" y="433"/>
                      <a:pt x="77" y="412"/>
                    </a:cubicBezTo>
                    <a:cubicBezTo>
                      <a:pt x="70" y="391"/>
                      <a:pt x="74" y="367"/>
                      <a:pt x="85" y="347"/>
                    </a:cubicBezTo>
                    <a:cubicBezTo>
                      <a:pt x="95" y="331"/>
                      <a:pt x="110" y="315"/>
                      <a:pt x="109" y="295"/>
                    </a:cubicBezTo>
                    <a:cubicBezTo>
                      <a:pt x="108" y="265"/>
                      <a:pt x="68" y="249"/>
                      <a:pt x="64" y="219"/>
                    </a:cubicBezTo>
                    <a:cubicBezTo>
                      <a:pt x="62" y="204"/>
                      <a:pt x="70" y="189"/>
                      <a:pt x="76" y="174"/>
                    </a:cubicBezTo>
                    <a:cubicBezTo>
                      <a:pt x="82" y="160"/>
                      <a:pt x="86" y="143"/>
                      <a:pt x="78" y="130"/>
                    </a:cubicBezTo>
                    <a:cubicBezTo>
                      <a:pt x="67" y="113"/>
                      <a:pt x="41" y="113"/>
                      <a:pt x="24" y="103"/>
                    </a:cubicBezTo>
                    <a:cubicBezTo>
                      <a:pt x="9" y="94"/>
                      <a:pt x="0" y="77"/>
                      <a:pt x="2" y="60"/>
                    </a:cubicBezTo>
                    <a:cubicBezTo>
                      <a:pt x="3" y="43"/>
                      <a:pt x="15" y="27"/>
                      <a:pt x="31" y="2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40">
                <a:extLst>
                  <a:ext uri="{FF2B5EF4-FFF2-40B4-BE49-F238E27FC236}">
                    <a16:creationId xmlns:a16="http://schemas.microsoft.com/office/drawing/2014/main" id="{59C96F20-D0F2-4287-99D0-C017F410D8F1}"/>
                  </a:ext>
                </a:extLst>
              </p:cNvPr>
              <p:cNvSpPr>
                <a:spLocks/>
              </p:cNvSpPr>
              <p:nvPr/>
            </p:nvSpPr>
            <p:spPr bwMode="auto">
              <a:xfrm>
                <a:off x="3344" y="960"/>
                <a:ext cx="669" cy="624"/>
              </a:xfrm>
              <a:custGeom>
                <a:avLst/>
                <a:gdLst>
                  <a:gd name="T0" fmla="*/ 274 w 282"/>
                  <a:gd name="T1" fmla="*/ 25 h 263"/>
                  <a:gd name="T2" fmla="*/ 260 w 282"/>
                  <a:gd name="T3" fmla="*/ 83 h 263"/>
                  <a:gd name="T4" fmla="*/ 207 w 282"/>
                  <a:gd name="T5" fmla="*/ 110 h 263"/>
                  <a:gd name="T6" fmla="*/ 162 w 282"/>
                  <a:gd name="T7" fmla="*/ 117 h 263"/>
                  <a:gd name="T8" fmla="*/ 144 w 282"/>
                  <a:gd name="T9" fmla="*/ 163 h 263"/>
                  <a:gd name="T10" fmla="*/ 77 w 282"/>
                  <a:gd name="T11" fmla="*/ 185 h 263"/>
                  <a:gd name="T12" fmla="*/ 45 w 282"/>
                  <a:gd name="T13" fmla="*/ 230 h 263"/>
                  <a:gd name="T14" fmla="*/ 4 w 282"/>
                  <a:gd name="T15" fmla="*/ 261 h 263"/>
                  <a:gd name="T16" fmla="*/ 1 w 282"/>
                  <a:gd name="T17" fmla="*/ 214 h 263"/>
                  <a:gd name="T18" fmla="*/ 19 w 282"/>
                  <a:gd name="T19" fmla="*/ 171 h 263"/>
                  <a:gd name="T20" fmla="*/ 38 w 282"/>
                  <a:gd name="T21" fmla="*/ 153 h 263"/>
                  <a:gd name="T22" fmla="*/ 55 w 282"/>
                  <a:gd name="T23" fmla="*/ 99 h 263"/>
                  <a:gd name="T24" fmla="*/ 104 w 282"/>
                  <a:gd name="T25" fmla="*/ 49 h 263"/>
                  <a:gd name="T26" fmla="*/ 162 w 282"/>
                  <a:gd name="T27" fmla="*/ 36 h 263"/>
                  <a:gd name="T28" fmla="*/ 200 w 282"/>
                  <a:gd name="T29" fmla="*/ 11 h 263"/>
                  <a:gd name="T30" fmla="*/ 282 w 282"/>
                  <a:gd name="T31" fmla="*/ 3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263">
                    <a:moveTo>
                      <a:pt x="274" y="25"/>
                    </a:moveTo>
                    <a:cubicBezTo>
                      <a:pt x="278" y="45"/>
                      <a:pt x="273" y="67"/>
                      <a:pt x="260" y="83"/>
                    </a:cubicBezTo>
                    <a:cubicBezTo>
                      <a:pt x="248" y="99"/>
                      <a:pt x="228" y="109"/>
                      <a:pt x="207" y="110"/>
                    </a:cubicBezTo>
                    <a:cubicBezTo>
                      <a:pt x="192" y="110"/>
                      <a:pt x="173" y="106"/>
                      <a:pt x="162" y="117"/>
                    </a:cubicBezTo>
                    <a:cubicBezTo>
                      <a:pt x="150" y="129"/>
                      <a:pt x="154" y="150"/>
                      <a:pt x="144" y="163"/>
                    </a:cubicBezTo>
                    <a:cubicBezTo>
                      <a:pt x="129" y="182"/>
                      <a:pt x="98" y="174"/>
                      <a:pt x="77" y="185"/>
                    </a:cubicBezTo>
                    <a:cubicBezTo>
                      <a:pt x="61" y="194"/>
                      <a:pt x="54" y="213"/>
                      <a:pt x="45" y="230"/>
                    </a:cubicBezTo>
                    <a:cubicBezTo>
                      <a:pt x="37" y="246"/>
                      <a:pt x="22" y="263"/>
                      <a:pt x="4" y="261"/>
                    </a:cubicBezTo>
                    <a:cubicBezTo>
                      <a:pt x="2" y="246"/>
                      <a:pt x="0" y="230"/>
                      <a:pt x="1" y="214"/>
                    </a:cubicBezTo>
                    <a:cubicBezTo>
                      <a:pt x="2" y="198"/>
                      <a:pt x="8" y="182"/>
                      <a:pt x="19" y="171"/>
                    </a:cubicBezTo>
                    <a:cubicBezTo>
                      <a:pt x="25" y="164"/>
                      <a:pt x="33" y="160"/>
                      <a:pt x="38" y="153"/>
                    </a:cubicBezTo>
                    <a:cubicBezTo>
                      <a:pt x="50" y="138"/>
                      <a:pt x="49" y="117"/>
                      <a:pt x="55" y="99"/>
                    </a:cubicBezTo>
                    <a:cubicBezTo>
                      <a:pt x="62" y="76"/>
                      <a:pt x="80" y="57"/>
                      <a:pt x="104" y="49"/>
                    </a:cubicBezTo>
                    <a:cubicBezTo>
                      <a:pt x="123" y="43"/>
                      <a:pt x="144" y="44"/>
                      <a:pt x="162" y="36"/>
                    </a:cubicBezTo>
                    <a:cubicBezTo>
                      <a:pt x="176" y="29"/>
                      <a:pt x="186" y="17"/>
                      <a:pt x="200" y="11"/>
                    </a:cubicBezTo>
                    <a:cubicBezTo>
                      <a:pt x="227" y="0"/>
                      <a:pt x="257" y="14"/>
                      <a:pt x="282" y="3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41">
                <a:extLst>
                  <a:ext uri="{FF2B5EF4-FFF2-40B4-BE49-F238E27FC236}">
                    <a16:creationId xmlns:a16="http://schemas.microsoft.com/office/drawing/2014/main" id="{1BB75A60-1308-4C61-9349-C13EEA4D9D59}"/>
                  </a:ext>
                </a:extLst>
              </p:cNvPr>
              <p:cNvSpPr>
                <a:spLocks/>
              </p:cNvSpPr>
              <p:nvPr/>
            </p:nvSpPr>
            <p:spPr bwMode="auto">
              <a:xfrm>
                <a:off x="3973" y="1779"/>
                <a:ext cx="9" cy="12"/>
              </a:xfrm>
              <a:custGeom>
                <a:avLst/>
                <a:gdLst>
                  <a:gd name="T0" fmla="*/ 4 w 4"/>
                  <a:gd name="T1" fmla="*/ 5 h 5"/>
                  <a:gd name="T2" fmla="*/ 1 w 4"/>
                  <a:gd name="T3" fmla="*/ 3 h 5"/>
                  <a:gd name="T4" fmla="*/ 0 w 4"/>
                  <a:gd name="T5" fmla="*/ 1 h 5"/>
                  <a:gd name="T6" fmla="*/ 3 w 4"/>
                  <a:gd name="T7" fmla="*/ 2 h 5"/>
                  <a:gd name="T8" fmla="*/ 4 w 4"/>
                  <a:gd name="T9" fmla="*/ 5 h 5"/>
                </a:gdLst>
                <a:ahLst/>
                <a:cxnLst>
                  <a:cxn ang="0">
                    <a:pos x="T0" y="T1"/>
                  </a:cxn>
                  <a:cxn ang="0">
                    <a:pos x="T2" y="T3"/>
                  </a:cxn>
                  <a:cxn ang="0">
                    <a:pos x="T4" y="T5"/>
                  </a:cxn>
                  <a:cxn ang="0">
                    <a:pos x="T6" y="T7"/>
                  </a:cxn>
                  <a:cxn ang="0">
                    <a:pos x="T8" y="T9"/>
                  </a:cxn>
                </a:cxnLst>
                <a:rect l="0" t="0" r="r" b="b"/>
                <a:pathLst>
                  <a:path w="4" h="5">
                    <a:moveTo>
                      <a:pt x="4" y="5"/>
                    </a:moveTo>
                    <a:cubicBezTo>
                      <a:pt x="4" y="5"/>
                      <a:pt x="2" y="4"/>
                      <a:pt x="1" y="3"/>
                    </a:cubicBezTo>
                    <a:cubicBezTo>
                      <a:pt x="0" y="2"/>
                      <a:pt x="0" y="1"/>
                      <a:pt x="0" y="1"/>
                    </a:cubicBezTo>
                    <a:cubicBezTo>
                      <a:pt x="0" y="0"/>
                      <a:pt x="2" y="1"/>
                      <a:pt x="3" y="2"/>
                    </a:cubicBezTo>
                    <a:cubicBezTo>
                      <a:pt x="4" y="3"/>
                      <a:pt x="4" y="4"/>
                      <a:pt x="4" y="5"/>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42">
                <a:extLst>
                  <a:ext uri="{FF2B5EF4-FFF2-40B4-BE49-F238E27FC236}">
                    <a16:creationId xmlns:a16="http://schemas.microsoft.com/office/drawing/2014/main" id="{301D013C-8143-47D3-AE1E-9E873770AF92}"/>
                  </a:ext>
                </a:extLst>
              </p:cNvPr>
              <p:cNvSpPr>
                <a:spLocks/>
              </p:cNvSpPr>
              <p:nvPr/>
            </p:nvSpPr>
            <p:spPr bwMode="auto">
              <a:xfrm>
                <a:off x="3183" y="1071"/>
                <a:ext cx="795" cy="983"/>
              </a:xfrm>
              <a:custGeom>
                <a:avLst/>
                <a:gdLst>
                  <a:gd name="T0" fmla="*/ 0 w 335"/>
                  <a:gd name="T1" fmla="*/ 413 h 414"/>
                  <a:gd name="T2" fmla="*/ 2 w 335"/>
                  <a:gd name="T3" fmla="*/ 413 h 414"/>
                  <a:gd name="T4" fmla="*/ 7 w 335"/>
                  <a:gd name="T5" fmla="*/ 413 h 414"/>
                  <a:gd name="T6" fmla="*/ 25 w 335"/>
                  <a:gd name="T7" fmla="*/ 413 h 414"/>
                  <a:gd name="T8" fmla="*/ 54 w 335"/>
                  <a:gd name="T9" fmla="*/ 405 h 414"/>
                  <a:gd name="T10" fmla="*/ 87 w 335"/>
                  <a:gd name="T11" fmla="*/ 385 h 414"/>
                  <a:gd name="T12" fmla="*/ 115 w 335"/>
                  <a:gd name="T13" fmla="*/ 347 h 414"/>
                  <a:gd name="T14" fmla="*/ 124 w 335"/>
                  <a:gd name="T15" fmla="*/ 294 h 414"/>
                  <a:gd name="T16" fmla="*/ 109 w 335"/>
                  <a:gd name="T17" fmla="*/ 237 h 414"/>
                  <a:gd name="T18" fmla="*/ 101 w 335"/>
                  <a:gd name="T19" fmla="*/ 205 h 414"/>
                  <a:gd name="T20" fmla="*/ 102 w 335"/>
                  <a:gd name="T21" fmla="*/ 172 h 414"/>
                  <a:gd name="T22" fmla="*/ 118 w 335"/>
                  <a:gd name="T23" fmla="*/ 143 h 414"/>
                  <a:gd name="T24" fmla="*/ 131 w 335"/>
                  <a:gd name="T25" fmla="*/ 135 h 414"/>
                  <a:gd name="T26" fmla="*/ 147 w 335"/>
                  <a:gd name="T27" fmla="*/ 130 h 414"/>
                  <a:gd name="T28" fmla="*/ 176 w 335"/>
                  <a:gd name="T29" fmla="*/ 122 h 414"/>
                  <a:gd name="T30" fmla="*/ 189 w 335"/>
                  <a:gd name="T31" fmla="*/ 116 h 414"/>
                  <a:gd name="T32" fmla="*/ 200 w 335"/>
                  <a:gd name="T33" fmla="*/ 106 h 414"/>
                  <a:gd name="T34" fmla="*/ 211 w 335"/>
                  <a:gd name="T35" fmla="*/ 81 h 414"/>
                  <a:gd name="T36" fmla="*/ 219 w 335"/>
                  <a:gd name="T37" fmla="*/ 56 h 414"/>
                  <a:gd name="T38" fmla="*/ 246 w 335"/>
                  <a:gd name="T39" fmla="*/ 17 h 414"/>
                  <a:gd name="T40" fmla="*/ 282 w 335"/>
                  <a:gd name="T41" fmla="*/ 2 h 414"/>
                  <a:gd name="T42" fmla="*/ 311 w 335"/>
                  <a:gd name="T43" fmla="*/ 3 h 414"/>
                  <a:gd name="T44" fmla="*/ 329 w 335"/>
                  <a:gd name="T45" fmla="*/ 9 h 414"/>
                  <a:gd name="T46" fmla="*/ 335 w 335"/>
                  <a:gd name="T47" fmla="*/ 12 h 414"/>
                  <a:gd name="T48" fmla="*/ 329 w 335"/>
                  <a:gd name="T49" fmla="*/ 9 h 414"/>
                  <a:gd name="T50" fmla="*/ 311 w 335"/>
                  <a:gd name="T51" fmla="*/ 3 h 414"/>
                  <a:gd name="T52" fmla="*/ 282 w 335"/>
                  <a:gd name="T53" fmla="*/ 3 h 414"/>
                  <a:gd name="T54" fmla="*/ 247 w 335"/>
                  <a:gd name="T55" fmla="*/ 18 h 414"/>
                  <a:gd name="T56" fmla="*/ 220 w 335"/>
                  <a:gd name="T57" fmla="*/ 56 h 414"/>
                  <a:gd name="T58" fmla="*/ 213 w 335"/>
                  <a:gd name="T59" fmla="*/ 82 h 414"/>
                  <a:gd name="T60" fmla="*/ 201 w 335"/>
                  <a:gd name="T61" fmla="*/ 107 h 414"/>
                  <a:gd name="T62" fmla="*/ 191 w 335"/>
                  <a:gd name="T63" fmla="*/ 118 h 414"/>
                  <a:gd name="T64" fmla="*/ 177 w 335"/>
                  <a:gd name="T65" fmla="*/ 124 h 414"/>
                  <a:gd name="T66" fmla="*/ 147 w 335"/>
                  <a:gd name="T67" fmla="*/ 132 h 414"/>
                  <a:gd name="T68" fmla="*/ 132 w 335"/>
                  <a:gd name="T69" fmla="*/ 136 h 414"/>
                  <a:gd name="T70" fmla="*/ 119 w 335"/>
                  <a:gd name="T71" fmla="*/ 145 h 414"/>
                  <a:gd name="T72" fmla="*/ 104 w 335"/>
                  <a:gd name="T73" fmla="*/ 173 h 414"/>
                  <a:gd name="T74" fmla="*/ 103 w 335"/>
                  <a:gd name="T75" fmla="*/ 205 h 414"/>
                  <a:gd name="T76" fmla="*/ 111 w 335"/>
                  <a:gd name="T77" fmla="*/ 236 h 414"/>
                  <a:gd name="T78" fmla="*/ 126 w 335"/>
                  <a:gd name="T79" fmla="*/ 294 h 414"/>
                  <a:gd name="T80" fmla="*/ 116 w 335"/>
                  <a:gd name="T81" fmla="*/ 348 h 414"/>
                  <a:gd name="T82" fmla="*/ 88 w 335"/>
                  <a:gd name="T83" fmla="*/ 386 h 414"/>
                  <a:gd name="T84" fmla="*/ 54 w 335"/>
                  <a:gd name="T85" fmla="*/ 406 h 414"/>
                  <a:gd name="T86" fmla="*/ 26 w 335"/>
                  <a:gd name="T87" fmla="*/ 413 h 414"/>
                  <a:gd name="T88" fmla="*/ 7 w 335"/>
                  <a:gd name="T89" fmla="*/ 414 h 414"/>
                  <a:gd name="T90" fmla="*/ 2 w 335"/>
                  <a:gd name="T91" fmla="*/ 413 h 414"/>
                  <a:gd name="T92" fmla="*/ 0 w 335"/>
                  <a:gd name="T93" fmla="*/ 413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5" h="414">
                    <a:moveTo>
                      <a:pt x="0" y="413"/>
                    </a:moveTo>
                    <a:cubicBezTo>
                      <a:pt x="0" y="413"/>
                      <a:pt x="1" y="413"/>
                      <a:pt x="2" y="413"/>
                    </a:cubicBezTo>
                    <a:cubicBezTo>
                      <a:pt x="3" y="413"/>
                      <a:pt x="5" y="413"/>
                      <a:pt x="7" y="413"/>
                    </a:cubicBezTo>
                    <a:cubicBezTo>
                      <a:pt x="11" y="413"/>
                      <a:pt x="17" y="414"/>
                      <a:pt x="25" y="413"/>
                    </a:cubicBezTo>
                    <a:cubicBezTo>
                      <a:pt x="34" y="412"/>
                      <a:pt x="43" y="410"/>
                      <a:pt x="54" y="405"/>
                    </a:cubicBezTo>
                    <a:cubicBezTo>
                      <a:pt x="65" y="401"/>
                      <a:pt x="76" y="395"/>
                      <a:pt x="87" y="385"/>
                    </a:cubicBezTo>
                    <a:cubicBezTo>
                      <a:pt x="98" y="376"/>
                      <a:pt x="108" y="363"/>
                      <a:pt x="115" y="347"/>
                    </a:cubicBezTo>
                    <a:cubicBezTo>
                      <a:pt x="121" y="332"/>
                      <a:pt x="125" y="313"/>
                      <a:pt x="124" y="294"/>
                    </a:cubicBezTo>
                    <a:cubicBezTo>
                      <a:pt x="123" y="275"/>
                      <a:pt x="116" y="256"/>
                      <a:pt x="109" y="237"/>
                    </a:cubicBezTo>
                    <a:cubicBezTo>
                      <a:pt x="106" y="227"/>
                      <a:pt x="103" y="216"/>
                      <a:pt x="101" y="205"/>
                    </a:cubicBezTo>
                    <a:cubicBezTo>
                      <a:pt x="100" y="195"/>
                      <a:pt x="100" y="183"/>
                      <a:pt x="102" y="172"/>
                    </a:cubicBezTo>
                    <a:cubicBezTo>
                      <a:pt x="104" y="162"/>
                      <a:pt x="109" y="151"/>
                      <a:pt x="118" y="143"/>
                    </a:cubicBezTo>
                    <a:cubicBezTo>
                      <a:pt x="122" y="140"/>
                      <a:pt x="126" y="137"/>
                      <a:pt x="131" y="135"/>
                    </a:cubicBezTo>
                    <a:cubicBezTo>
                      <a:pt x="136" y="132"/>
                      <a:pt x="141" y="131"/>
                      <a:pt x="147" y="130"/>
                    </a:cubicBezTo>
                    <a:cubicBezTo>
                      <a:pt x="157" y="127"/>
                      <a:pt x="167" y="126"/>
                      <a:pt x="176" y="122"/>
                    </a:cubicBezTo>
                    <a:cubicBezTo>
                      <a:pt x="181" y="121"/>
                      <a:pt x="185" y="119"/>
                      <a:pt x="189" y="116"/>
                    </a:cubicBezTo>
                    <a:cubicBezTo>
                      <a:pt x="193" y="113"/>
                      <a:pt x="197" y="110"/>
                      <a:pt x="200" y="106"/>
                    </a:cubicBezTo>
                    <a:cubicBezTo>
                      <a:pt x="205" y="99"/>
                      <a:pt x="208" y="90"/>
                      <a:pt x="211" y="81"/>
                    </a:cubicBezTo>
                    <a:cubicBezTo>
                      <a:pt x="214" y="72"/>
                      <a:pt x="216" y="64"/>
                      <a:pt x="219" y="56"/>
                    </a:cubicBezTo>
                    <a:cubicBezTo>
                      <a:pt x="224" y="39"/>
                      <a:pt x="234" y="26"/>
                      <a:pt x="246" y="17"/>
                    </a:cubicBezTo>
                    <a:cubicBezTo>
                      <a:pt x="257" y="8"/>
                      <a:pt x="270" y="3"/>
                      <a:pt x="282" y="2"/>
                    </a:cubicBezTo>
                    <a:cubicBezTo>
                      <a:pt x="293" y="0"/>
                      <a:pt x="303" y="1"/>
                      <a:pt x="311" y="3"/>
                    </a:cubicBezTo>
                    <a:cubicBezTo>
                      <a:pt x="319" y="4"/>
                      <a:pt x="325" y="7"/>
                      <a:pt x="329" y="9"/>
                    </a:cubicBezTo>
                    <a:cubicBezTo>
                      <a:pt x="333" y="11"/>
                      <a:pt x="335" y="12"/>
                      <a:pt x="335" y="12"/>
                    </a:cubicBezTo>
                    <a:cubicBezTo>
                      <a:pt x="335" y="12"/>
                      <a:pt x="333" y="11"/>
                      <a:pt x="329" y="9"/>
                    </a:cubicBezTo>
                    <a:cubicBezTo>
                      <a:pt x="325" y="8"/>
                      <a:pt x="319" y="5"/>
                      <a:pt x="311" y="3"/>
                    </a:cubicBezTo>
                    <a:cubicBezTo>
                      <a:pt x="303" y="2"/>
                      <a:pt x="293" y="1"/>
                      <a:pt x="282" y="3"/>
                    </a:cubicBezTo>
                    <a:cubicBezTo>
                      <a:pt x="271" y="4"/>
                      <a:pt x="258" y="9"/>
                      <a:pt x="247" y="18"/>
                    </a:cubicBezTo>
                    <a:cubicBezTo>
                      <a:pt x="235" y="27"/>
                      <a:pt x="225" y="40"/>
                      <a:pt x="220" y="56"/>
                    </a:cubicBezTo>
                    <a:cubicBezTo>
                      <a:pt x="217" y="64"/>
                      <a:pt x="215" y="73"/>
                      <a:pt x="213" y="82"/>
                    </a:cubicBezTo>
                    <a:cubicBezTo>
                      <a:pt x="210" y="90"/>
                      <a:pt x="207" y="99"/>
                      <a:pt x="201" y="107"/>
                    </a:cubicBezTo>
                    <a:cubicBezTo>
                      <a:pt x="198" y="111"/>
                      <a:pt x="195" y="115"/>
                      <a:pt x="191" y="118"/>
                    </a:cubicBezTo>
                    <a:cubicBezTo>
                      <a:pt x="186" y="121"/>
                      <a:pt x="182" y="123"/>
                      <a:pt x="177" y="124"/>
                    </a:cubicBezTo>
                    <a:cubicBezTo>
                      <a:pt x="167" y="128"/>
                      <a:pt x="157" y="129"/>
                      <a:pt x="147" y="132"/>
                    </a:cubicBezTo>
                    <a:cubicBezTo>
                      <a:pt x="142" y="133"/>
                      <a:pt x="137" y="134"/>
                      <a:pt x="132" y="136"/>
                    </a:cubicBezTo>
                    <a:cubicBezTo>
                      <a:pt x="127" y="139"/>
                      <a:pt x="123" y="141"/>
                      <a:pt x="119" y="145"/>
                    </a:cubicBezTo>
                    <a:cubicBezTo>
                      <a:pt x="111" y="152"/>
                      <a:pt x="106" y="162"/>
                      <a:pt x="104" y="173"/>
                    </a:cubicBezTo>
                    <a:cubicBezTo>
                      <a:pt x="102" y="184"/>
                      <a:pt x="102" y="195"/>
                      <a:pt x="103" y="205"/>
                    </a:cubicBezTo>
                    <a:cubicBezTo>
                      <a:pt x="105" y="216"/>
                      <a:pt x="108" y="226"/>
                      <a:pt x="111" y="236"/>
                    </a:cubicBezTo>
                    <a:cubicBezTo>
                      <a:pt x="118" y="256"/>
                      <a:pt x="125" y="275"/>
                      <a:pt x="126" y="294"/>
                    </a:cubicBezTo>
                    <a:cubicBezTo>
                      <a:pt x="127" y="314"/>
                      <a:pt x="123" y="332"/>
                      <a:pt x="116" y="348"/>
                    </a:cubicBezTo>
                    <a:cubicBezTo>
                      <a:pt x="109" y="364"/>
                      <a:pt x="99" y="377"/>
                      <a:pt x="88" y="386"/>
                    </a:cubicBezTo>
                    <a:cubicBezTo>
                      <a:pt x="77" y="396"/>
                      <a:pt x="65" y="402"/>
                      <a:pt x="54" y="406"/>
                    </a:cubicBezTo>
                    <a:cubicBezTo>
                      <a:pt x="44" y="411"/>
                      <a:pt x="34" y="413"/>
                      <a:pt x="26" y="413"/>
                    </a:cubicBezTo>
                    <a:cubicBezTo>
                      <a:pt x="17" y="414"/>
                      <a:pt x="11" y="414"/>
                      <a:pt x="7" y="414"/>
                    </a:cubicBezTo>
                    <a:cubicBezTo>
                      <a:pt x="5" y="414"/>
                      <a:pt x="3" y="413"/>
                      <a:pt x="2" y="413"/>
                    </a:cubicBezTo>
                    <a:cubicBezTo>
                      <a:pt x="1" y="413"/>
                      <a:pt x="0" y="413"/>
                      <a:pt x="0" y="413"/>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3">
                <a:extLst>
                  <a:ext uri="{FF2B5EF4-FFF2-40B4-BE49-F238E27FC236}">
                    <a16:creationId xmlns:a16="http://schemas.microsoft.com/office/drawing/2014/main" id="{D9273AF1-068C-4BCC-86D4-E3EFC374F7BF}"/>
                  </a:ext>
                </a:extLst>
              </p:cNvPr>
              <p:cNvSpPr>
                <a:spLocks/>
              </p:cNvSpPr>
              <p:nvPr/>
            </p:nvSpPr>
            <p:spPr bwMode="auto">
              <a:xfrm>
                <a:off x="3645" y="879"/>
                <a:ext cx="349" cy="181"/>
              </a:xfrm>
              <a:custGeom>
                <a:avLst/>
                <a:gdLst>
                  <a:gd name="T0" fmla="*/ 0 w 147"/>
                  <a:gd name="T1" fmla="*/ 22 h 76"/>
                  <a:gd name="T2" fmla="*/ 2 w 147"/>
                  <a:gd name="T3" fmla="*/ 21 h 76"/>
                  <a:gd name="T4" fmla="*/ 6 w 147"/>
                  <a:gd name="T5" fmla="*/ 17 h 76"/>
                  <a:gd name="T6" fmla="*/ 24 w 147"/>
                  <a:gd name="T7" fmla="*/ 8 h 76"/>
                  <a:gd name="T8" fmla="*/ 53 w 147"/>
                  <a:gd name="T9" fmla="*/ 1 h 76"/>
                  <a:gd name="T10" fmla="*/ 90 w 147"/>
                  <a:gd name="T11" fmla="*/ 6 h 76"/>
                  <a:gd name="T12" fmla="*/ 121 w 147"/>
                  <a:gd name="T13" fmla="*/ 25 h 76"/>
                  <a:gd name="T14" fmla="*/ 139 w 147"/>
                  <a:gd name="T15" fmla="*/ 49 h 76"/>
                  <a:gd name="T16" fmla="*/ 146 w 147"/>
                  <a:gd name="T17" fmla="*/ 68 h 76"/>
                  <a:gd name="T18" fmla="*/ 147 w 147"/>
                  <a:gd name="T19" fmla="*/ 74 h 76"/>
                  <a:gd name="T20" fmla="*/ 147 w 147"/>
                  <a:gd name="T21" fmla="*/ 76 h 76"/>
                  <a:gd name="T22" fmla="*/ 138 w 147"/>
                  <a:gd name="T23" fmla="*/ 50 h 76"/>
                  <a:gd name="T24" fmla="*/ 119 w 147"/>
                  <a:gd name="T25" fmla="*/ 27 h 76"/>
                  <a:gd name="T26" fmla="*/ 89 w 147"/>
                  <a:gd name="T27" fmla="*/ 8 h 76"/>
                  <a:gd name="T28" fmla="*/ 53 w 147"/>
                  <a:gd name="T29" fmla="*/ 3 h 76"/>
                  <a:gd name="T30" fmla="*/ 24 w 147"/>
                  <a:gd name="T31" fmla="*/ 9 h 76"/>
                  <a:gd name="T32" fmla="*/ 0 w 147"/>
                  <a:gd name="T33" fmla="*/ 2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76">
                    <a:moveTo>
                      <a:pt x="0" y="22"/>
                    </a:moveTo>
                    <a:cubicBezTo>
                      <a:pt x="0" y="22"/>
                      <a:pt x="1" y="22"/>
                      <a:pt x="2" y="21"/>
                    </a:cubicBezTo>
                    <a:cubicBezTo>
                      <a:pt x="3" y="20"/>
                      <a:pt x="4" y="19"/>
                      <a:pt x="6" y="17"/>
                    </a:cubicBezTo>
                    <a:cubicBezTo>
                      <a:pt x="10" y="15"/>
                      <a:pt x="16" y="11"/>
                      <a:pt x="24" y="8"/>
                    </a:cubicBezTo>
                    <a:cubicBezTo>
                      <a:pt x="32" y="4"/>
                      <a:pt x="42" y="2"/>
                      <a:pt x="53" y="1"/>
                    </a:cubicBezTo>
                    <a:cubicBezTo>
                      <a:pt x="64" y="0"/>
                      <a:pt x="77" y="1"/>
                      <a:pt x="90" y="6"/>
                    </a:cubicBezTo>
                    <a:cubicBezTo>
                      <a:pt x="102" y="10"/>
                      <a:pt x="113" y="17"/>
                      <a:pt x="121" y="25"/>
                    </a:cubicBezTo>
                    <a:cubicBezTo>
                      <a:pt x="129" y="33"/>
                      <a:pt x="135" y="42"/>
                      <a:pt x="139" y="49"/>
                    </a:cubicBezTo>
                    <a:cubicBezTo>
                      <a:pt x="143" y="57"/>
                      <a:pt x="145" y="64"/>
                      <a:pt x="146" y="68"/>
                    </a:cubicBezTo>
                    <a:cubicBezTo>
                      <a:pt x="147" y="71"/>
                      <a:pt x="147" y="72"/>
                      <a:pt x="147" y="74"/>
                    </a:cubicBezTo>
                    <a:cubicBezTo>
                      <a:pt x="147" y="75"/>
                      <a:pt x="147" y="75"/>
                      <a:pt x="147" y="76"/>
                    </a:cubicBezTo>
                    <a:cubicBezTo>
                      <a:pt x="147" y="76"/>
                      <a:pt x="146" y="65"/>
                      <a:pt x="138" y="50"/>
                    </a:cubicBezTo>
                    <a:cubicBezTo>
                      <a:pt x="133" y="43"/>
                      <a:pt x="128" y="34"/>
                      <a:pt x="119" y="27"/>
                    </a:cubicBezTo>
                    <a:cubicBezTo>
                      <a:pt x="111" y="19"/>
                      <a:pt x="101" y="12"/>
                      <a:pt x="89" y="8"/>
                    </a:cubicBezTo>
                    <a:cubicBezTo>
                      <a:pt x="77" y="3"/>
                      <a:pt x="64" y="2"/>
                      <a:pt x="53" y="3"/>
                    </a:cubicBezTo>
                    <a:cubicBezTo>
                      <a:pt x="42" y="3"/>
                      <a:pt x="32" y="6"/>
                      <a:pt x="24" y="9"/>
                    </a:cubicBezTo>
                    <a:cubicBezTo>
                      <a:pt x="9" y="15"/>
                      <a:pt x="1" y="23"/>
                      <a:pt x="0" y="22"/>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4">
                <a:extLst>
                  <a:ext uri="{FF2B5EF4-FFF2-40B4-BE49-F238E27FC236}">
                    <a16:creationId xmlns:a16="http://schemas.microsoft.com/office/drawing/2014/main" id="{97036AD7-BBB3-4CB2-A74D-7A28ED13FD74}"/>
                  </a:ext>
                </a:extLst>
              </p:cNvPr>
              <p:cNvSpPr>
                <a:spLocks/>
              </p:cNvSpPr>
              <p:nvPr/>
            </p:nvSpPr>
            <p:spPr bwMode="auto">
              <a:xfrm>
                <a:off x="4013" y="1064"/>
                <a:ext cx="480" cy="967"/>
              </a:xfrm>
              <a:custGeom>
                <a:avLst/>
                <a:gdLst>
                  <a:gd name="T0" fmla="*/ 134 w 202"/>
                  <a:gd name="T1" fmla="*/ 407 h 407"/>
                  <a:gd name="T2" fmla="*/ 135 w 202"/>
                  <a:gd name="T3" fmla="*/ 407 h 407"/>
                  <a:gd name="T4" fmla="*/ 139 w 202"/>
                  <a:gd name="T5" fmla="*/ 405 h 407"/>
                  <a:gd name="T6" fmla="*/ 152 w 202"/>
                  <a:gd name="T7" fmla="*/ 397 h 407"/>
                  <a:gd name="T8" fmla="*/ 188 w 202"/>
                  <a:gd name="T9" fmla="*/ 356 h 407"/>
                  <a:gd name="T10" fmla="*/ 195 w 202"/>
                  <a:gd name="T11" fmla="*/ 338 h 407"/>
                  <a:gd name="T12" fmla="*/ 199 w 202"/>
                  <a:gd name="T13" fmla="*/ 319 h 407"/>
                  <a:gd name="T14" fmla="*/ 193 w 202"/>
                  <a:gd name="T15" fmla="*/ 275 h 407"/>
                  <a:gd name="T16" fmla="*/ 167 w 202"/>
                  <a:gd name="T17" fmla="*/ 234 h 407"/>
                  <a:gd name="T18" fmla="*/ 148 w 202"/>
                  <a:gd name="T19" fmla="*/ 216 h 407"/>
                  <a:gd name="T20" fmla="*/ 131 w 202"/>
                  <a:gd name="T21" fmla="*/ 195 h 407"/>
                  <a:gd name="T22" fmla="*/ 119 w 202"/>
                  <a:gd name="T23" fmla="*/ 143 h 407"/>
                  <a:gd name="T24" fmla="*/ 118 w 202"/>
                  <a:gd name="T25" fmla="*/ 118 h 407"/>
                  <a:gd name="T26" fmla="*/ 115 w 202"/>
                  <a:gd name="T27" fmla="*/ 94 h 407"/>
                  <a:gd name="T28" fmla="*/ 107 w 202"/>
                  <a:gd name="T29" fmla="*/ 73 h 407"/>
                  <a:gd name="T30" fmla="*/ 94 w 202"/>
                  <a:gd name="T31" fmla="*/ 56 h 407"/>
                  <a:gd name="T32" fmla="*/ 59 w 202"/>
                  <a:gd name="T33" fmla="*/ 41 h 407"/>
                  <a:gd name="T34" fmla="*/ 28 w 202"/>
                  <a:gd name="T35" fmla="*/ 32 h 407"/>
                  <a:gd name="T36" fmla="*/ 8 w 202"/>
                  <a:gd name="T37" fmla="*/ 18 h 407"/>
                  <a:gd name="T38" fmla="*/ 1 w 202"/>
                  <a:gd name="T39" fmla="*/ 5 h 407"/>
                  <a:gd name="T40" fmla="*/ 0 w 202"/>
                  <a:gd name="T41" fmla="*/ 1 h 407"/>
                  <a:gd name="T42" fmla="*/ 0 w 202"/>
                  <a:gd name="T43" fmla="*/ 0 h 407"/>
                  <a:gd name="T44" fmla="*/ 1 w 202"/>
                  <a:gd name="T45" fmla="*/ 5 h 407"/>
                  <a:gd name="T46" fmla="*/ 9 w 202"/>
                  <a:gd name="T47" fmla="*/ 18 h 407"/>
                  <a:gd name="T48" fmla="*/ 29 w 202"/>
                  <a:gd name="T49" fmla="*/ 31 h 407"/>
                  <a:gd name="T50" fmla="*/ 59 w 202"/>
                  <a:gd name="T51" fmla="*/ 40 h 407"/>
                  <a:gd name="T52" fmla="*/ 95 w 202"/>
                  <a:gd name="T53" fmla="*/ 55 h 407"/>
                  <a:gd name="T54" fmla="*/ 109 w 202"/>
                  <a:gd name="T55" fmla="*/ 72 h 407"/>
                  <a:gd name="T56" fmla="*/ 117 w 202"/>
                  <a:gd name="T57" fmla="*/ 94 h 407"/>
                  <a:gd name="T58" fmla="*/ 120 w 202"/>
                  <a:gd name="T59" fmla="*/ 118 h 407"/>
                  <a:gd name="T60" fmla="*/ 122 w 202"/>
                  <a:gd name="T61" fmla="*/ 143 h 407"/>
                  <a:gd name="T62" fmla="*/ 133 w 202"/>
                  <a:gd name="T63" fmla="*/ 194 h 407"/>
                  <a:gd name="T64" fmla="*/ 169 w 202"/>
                  <a:gd name="T65" fmla="*/ 232 h 407"/>
                  <a:gd name="T66" fmla="*/ 195 w 202"/>
                  <a:gd name="T67" fmla="*/ 274 h 407"/>
                  <a:gd name="T68" fmla="*/ 200 w 202"/>
                  <a:gd name="T69" fmla="*/ 319 h 407"/>
                  <a:gd name="T70" fmla="*/ 197 w 202"/>
                  <a:gd name="T71" fmla="*/ 339 h 407"/>
                  <a:gd name="T72" fmla="*/ 190 w 202"/>
                  <a:gd name="T73" fmla="*/ 356 h 407"/>
                  <a:gd name="T74" fmla="*/ 152 w 202"/>
                  <a:gd name="T75" fmla="*/ 398 h 407"/>
                  <a:gd name="T76" fmla="*/ 139 w 202"/>
                  <a:gd name="T77" fmla="*/ 405 h 407"/>
                  <a:gd name="T78" fmla="*/ 135 w 202"/>
                  <a:gd name="T79" fmla="*/ 407 h 407"/>
                  <a:gd name="T80" fmla="*/ 134 w 202"/>
                  <a:gd name="T81"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407">
                    <a:moveTo>
                      <a:pt x="134" y="407"/>
                    </a:moveTo>
                    <a:cubicBezTo>
                      <a:pt x="134" y="407"/>
                      <a:pt x="134" y="407"/>
                      <a:pt x="135" y="407"/>
                    </a:cubicBezTo>
                    <a:cubicBezTo>
                      <a:pt x="136" y="406"/>
                      <a:pt x="137" y="406"/>
                      <a:pt x="139" y="405"/>
                    </a:cubicBezTo>
                    <a:cubicBezTo>
                      <a:pt x="142" y="403"/>
                      <a:pt x="146" y="401"/>
                      <a:pt x="152" y="397"/>
                    </a:cubicBezTo>
                    <a:cubicBezTo>
                      <a:pt x="163" y="390"/>
                      <a:pt x="178" y="377"/>
                      <a:pt x="188" y="356"/>
                    </a:cubicBezTo>
                    <a:cubicBezTo>
                      <a:pt x="191" y="350"/>
                      <a:pt x="193" y="344"/>
                      <a:pt x="195" y="338"/>
                    </a:cubicBezTo>
                    <a:cubicBezTo>
                      <a:pt x="197" y="332"/>
                      <a:pt x="198" y="325"/>
                      <a:pt x="199" y="319"/>
                    </a:cubicBezTo>
                    <a:cubicBezTo>
                      <a:pt x="200" y="305"/>
                      <a:pt x="198" y="290"/>
                      <a:pt x="193" y="275"/>
                    </a:cubicBezTo>
                    <a:cubicBezTo>
                      <a:pt x="188" y="260"/>
                      <a:pt x="180" y="246"/>
                      <a:pt x="167" y="234"/>
                    </a:cubicBezTo>
                    <a:cubicBezTo>
                      <a:pt x="161" y="228"/>
                      <a:pt x="155" y="222"/>
                      <a:pt x="148" y="216"/>
                    </a:cubicBezTo>
                    <a:cubicBezTo>
                      <a:pt x="142" y="210"/>
                      <a:pt x="136" y="203"/>
                      <a:pt x="131" y="195"/>
                    </a:cubicBezTo>
                    <a:cubicBezTo>
                      <a:pt x="122" y="179"/>
                      <a:pt x="120" y="160"/>
                      <a:pt x="119" y="143"/>
                    </a:cubicBezTo>
                    <a:cubicBezTo>
                      <a:pt x="119" y="135"/>
                      <a:pt x="119" y="126"/>
                      <a:pt x="118" y="118"/>
                    </a:cubicBezTo>
                    <a:cubicBezTo>
                      <a:pt x="118" y="110"/>
                      <a:pt x="117" y="102"/>
                      <a:pt x="115" y="94"/>
                    </a:cubicBezTo>
                    <a:cubicBezTo>
                      <a:pt x="113" y="86"/>
                      <a:pt x="111" y="79"/>
                      <a:pt x="107" y="73"/>
                    </a:cubicBezTo>
                    <a:cubicBezTo>
                      <a:pt x="104" y="66"/>
                      <a:pt x="99" y="61"/>
                      <a:pt x="94" y="56"/>
                    </a:cubicBezTo>
                    <a:cubicBezTo>
                      <a:pt x="84" y="47"/>
                      <a:pt x="70" y="44"/>
                      <a:pt x="59" y="41"/>
                    </a:cubicBezTo>
                    <a:cubicBezTo>
                      <a:pt x="47" y="38"/>
                      <a:pt x="37" y="36"/>
                      <a:pt x="28" y="32"/>
                    </a:cubicBezTo>
                    <a:cubicBezTo>
                      <a:pt x="19" y="28"/>
                      <a:pt x="13" y="23"/>
                      <a:pt x="8" y="18"/>
                    </a:cubicBezTo>
                    <a:cubicBezTo>
                      <a:pt x="4" y="13"/>
                      <a:pt x="1" y="8"/>
                      <a:pt x="1" y="5"/>
                    </a:cubicBezTo>
                    <a:cubicBezTo>
                      <a:pt x="0" y="3"/>
                      <a:pt x="0" y="2"/>
                      <a:pt x="0" y="1"/>
                    </a:cubicBezTo>
                    <a:cubicBezTo>
                      <a:pt x="0" y="0"/>
                      <a:pt x="0" y="0"/>
                      <a:pt x="0" y="0"/>
                    </a:cubicBezTo>
                    <a:cubicBezTo>
                      <a:pt x="0" y="0"/>
                      <a:pt x="0" y="1"/>
                      <a:pt x="1" y="5"/>
                    </a:cubicBezTo>
                    <a:cubicBezTo>
                      <a:pt x="2" y="8"/>
                      <a:pt x="4" y="13"/>
                      <a:pt x="9" y="18"/>
                    </a:cubicBezTo>
                    <a:cubicBezTo>
                      <a:pt x="13" y="22"/>
                      <a:pt x="20" y="27"/>
                      <a:pt x="29" y="31"/>
                    </a:cubicBezTo>
                    <a:cubicBezTo>
                      <a:pt x="37" y="35"/>
                      <a:pt x="48" y="37"/>
                      <a:pt x="59" y="40"/>
                    </a:cubicBezTo>
                    <a:cubicBezTo>
                      <a:pt x="71" y="42"/>
                      <a:pt x="84" y="45"/>
                      <a:pt x="95" y="55"/>
                    </a:cubicBezTo>
                    <a:cubicBezTo>
                      <a:pt x="101" y="59"/>
                      <a:pt x="105" y="65"/>
                      <a:pt x="109" y="72"/>
                    </a:cubicBezTo>
                    <a:cubicBezTo>
                      <a:pt x="112" y="79"/>
                      <a:pt x="115" y="86"/>
                      <a:pt x="117" y="94"/>
                    </a:cubicBezTo>
                    <a:cubicBezTo>
                      <a:pt x="119" y="101"/>
                      <a:pt x="120" y="109"/>
                      <a:pt x="120" y="118"/>
                    </a:cubicBezTo>
                    <a:cubicBezTo>
                      <a:pt x="121" y="126"/>
                      <a:pt x="121" y="134"/>
                      <a:pt x="122" y="143"/>
                    </a:cubicBezTo>
                    <a:cubicBezTo>
                      <a:pt x="122" y="160"/>
                      <a:pt x="124" y="178"/>
                      <a:pt x="133" y="194"/>
                    </a:cubicBezTo>
                    <a:cubicBezTo>
                      <a:pt x="142" y="210"/>
                      <a:pt x="157" y="220"/>
                      <a:pt x="169" y="232"/>
                    </a:cubicBezTo>
                    <a:cubicBezTo>
                      <a:pt x="181" y="244"/>
                      <a:pt x="190" y="259"/>
                      <a:pt x="195" y="274"/>
                    </a:cubicBezTo>
                    <a:cubicBezTo>
                      <a:pt x="200" y="289"/>
                      <a:pt x="202" y="305"/>
                      <a:pt x="200" y="319"/>
                    </a:cubicBezTo>
                    <a:cubicBezTo>
                      <a:pt x="200" y="326"/>
                      <a:pt x="198" y="332"/>
                      <a:pt x="197" y="339"/>
                    </a:cubicBezTo>
                    <a:cubicBezTo>
                      <a:pt x="195" y="345"/>
                      <a:pt x="192" y="351"/>
                      <a:pt x="190" y="356"/>
                    </a:cubicBezTo>
                    <a:cubicBezTo>
                      <a:pt x="179" y="378"/>
                      <a:pt x="163" y="391"/>
                      <a:pt x="152" y="398"/>
                    </a:cubicBezTo>
                    <a:cubicBezTo>
                      <a:pt x="147" y="402"/>
                      <a:pt x="142" y="404"/>
                      <a:pt x="139" y="405"/>
                    </a:cubicBezTo>
                    <a:cubicBezTo>
                      <a:pt x="137" y="406"/>
                      <a:pt x="136" y="407"/>
                      <a:pt x="135" y="407"/>
                    </a:cubicBezTo>
                    <a:cubicBezTo>
                      <a:pt x="134" y="407"/>
                      <a:pt x="134" y="407"/>
                      <a:pt x="134" y="407"/>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45">
                <a:extLst>
                  <a:ext uri="{FF2B5EF4-FFF2-40B4-BE49-F238E27FC236}">
                    <a16:creationId xmlns:a16="http://schemas.microsoft.com/office/drawing/2014/main" id="{5F05063F-7A99-4DDC-864F-7685F2D8AB00}"/>
                  </a:ext>
                </a:extLst>
              </p:cNvPr>
              <p:cNvSpPr>
                <a:spLocks/>
              </p:cNvSpPr>
              <p:nvPr/>
            </p:nvSpPr>
            <p:spPr bwMode="auto">
              <a:xfrm>
                <a:off x="4013" y="1067"/>
                <a:ext cx="575" cy="384"/>
              </a:xfrm>
              <a:custGeom>
                <a:avLst/>
                <a:gdLst>
                  <a:gd name="T0" fmla="*/ 242 w 242"/>
                  <a:gd name="T1" fmla="*/ 159 h 162"/>
                  <a:gd name="T2" fmla="*/ 242 w 242"/>
                  <a:gd name="T3" fmla="*/ 160 h 162"/>
                  <a:gd name="T4" fmla="*/ 239 w 242"/>
                  <a:gd name="T5" fmla="*/ 160 h 162"/>
                  <a:gd name="T6" fmla="*/ 230 w 242"/>
                  <a:gd name="T7" fmla="*/ 161 h 162"/>
                  <a:gd name="T8" fmla="*/ 200 w 242"/>
                  <a:gd name="T9" fmla="*/ 145 h 162"/>
                  <a:gd name="T10" fmla="*/ 188 w 242"/>
                  <a:gd name="T11" fmla="*/ 125 h 162"/>
                  <a:gd name="T12" fmla="*/ 180 w 242"/>
                  <a:gd name="T13" fmla="*/ 99 h 162"/>
                  <a:gd name="T14" fmla="*/ 170 w 242"/>
                  <a:gd name="T15" fmla="*/ 71 h 162"/>
                  <a:gd name="T16" fmla="*/ 150 w 242"/>
                  <a:gd name="T17" fmla="*/ 46 h 162"/>
                  <a:gd name="T18" fmla="*/ 122 w 242"/>
                  <a:gd name="T19" fmla="*/ 32 h 162"/>
                  <a:gd name="T20" fmla="*/ 92 w 242"/>
                  <a:gd name="T21" fmla="*/ 27 h 162"/>
                  <a:gd name="T22" fmla="*/ 42 w 242"/>
                  <a:gd name="T23" fmla="*/ 20 h 162"/>
                  <a:gd name="T24" fmla="*/ 10 w 242"/>
                  <a:gd name="T25" fmla="*/ 8 h 162"/>
                  <a:gd name="T26" fmla="*/ 0 w 242"/>
                  <a:gd name="T27" fmla="*/ 0 h 162"/>
                  <a:gd name="T28" fmla="*/ 10 w 242"/>
                  <a:gd name="T29" fmla="*/ 8 h 162"/>
                  <a:gd name="T30" fmla="*/ 42 w 242"/>
                  <a:gd name="T31" fmla="*/ 19 h 162"/>
                  <a:gd name="T32" fmla="*/ 92 w 242"/>
                  <a:gd name="T33" fmla="*/ 25 h 162"/>
                  <a:gd name="T34" fmla="*/ 122 w 242"/>
                  <a:gd name="T35" fmla="*/ 31 h 162"/>
                  <a:gd name="T36" fmla="*/ 152 w 242"/>
                  <a:gd name="T37" fmla="*/ 44 h 162"/>
                  <a:gd name="T38" fmla="*/ 172 w 242"/>
                  <a:gd name="T39" fmla="*/ 70 h 162"/>
                  <a:gd name="T40" fmla="*/ 181 w 242"/>
                  <a:gd name="T41" fmla="*/ 98 h 162"/>
                  <a:gd name="T42" fmla="*/ 189 w 242"/>
                  <a:gd name="T43" fmla="*/ 124 h 162"/>
                  <a:gd name="T44" fmla="*/ 201 w 242"/>
                  <a:gd name="T45" fmla="*/ 144 h 162"/>
                  <a:gd name="T46" fmla="*/ 230 w 242"/>
                  <a:gd name="T47" fmla="*/ 160 h 162"/>
                  <a:gd name="T48" fmla="*/ 242 w 242"/>
                  <a:gd name="T49" fmla="*/ 1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2" h="162">
                    <a:moveTo>
                      <a:pt x="242" y="159"/>
                    </a:moveTo>
                    <a:cubicBezTo>
                      <a:pt x="242" y="159"/>
                      <a:pt x="242" y="159"/>
                      <a:pt x="242" y="160"/>
                    </a:cubicBezTo>
                    <a:cubicBezTo>
                      <a:pt x="241" y="160"/>
                      <a:pt x="240" y="160"/>
                      <a:pt x="239" y="160"/>
                    </a:cubicBezTo>
                    <a:cubicBezTo>
                      <a:pt x="237" y="161"/>
                      <a:pt x="234" y="162"/>
                      <a:pt x="230" y="161"/>
                    </a:cubicBezTo>
                    <a:cubicBezTo>
                      <a:pt x="222" y="161"/>
                      <a:pt x="210" y="157"/>
                      <a:pt x="200" y="145"/>
                    </a:cubicBezTo>
                    <a:cubicBezTo>
                      <a:pt x="195" y="140"/>
                      <a:pt x="191" y="133"/>
                      <a:pt x="188" y="125"/>
                    </a:cubicBezTo>
                    <a:cubicBezTo>
                      <a:pt x="185" y="117"/>
                      <a:pt x="182" y="108"/>
                      <a:pt x="180" y="99"/>
                    </a:cubicBezTo>
                    <a:cubicBezTo>
                      <a:pt x="177" y="90"/>
                      <a:pt x="174" y="80"/>
                      <a:pt x="170" y="71"/>
                    </a:cubicBezTo>
                    <a:cubicBezTo>
                      <a:pt x="166" y="61"/>
                      <a:pt x="159" y="53"/>
                      <a:pt x="150" y="46"/>
                    </a:cubicBezTo>
                    <a:cubicBezTo>
                      <a:pt x="142" y="39"/>
                      <a:pt x="132" y="35"/>
                      <a:pt x="122" y="32"/>
                    </a:cubicBezTo>
                    <a:cubicBezTo>
                      <a:pt x="112" y="30"/>
                      <a:pt x="102" y="28"/>
                      <a:pt x="92" y="27"/>
                    </a:cubicBezTo>
                    <a:cubicBezTo>
                      <a:pt x="73" y="25"/>
                      <a:pt x="56" y="24"/>
                      <a:pt x="42" y="20"/>
                    </a:cubicBezTo>
                    <a:cubicBezTo>
                      <a:pt x="27" y="17"/>
                      <a:pt x="16" y="13"/>
                      <a:pt x="10" y="8"/>
                    </a:cubicBezTo>
                    <a:cubicBezTo>
                      <a:pt x="3" y="4"/>
                      <a:pt x="0" y="0"/>
                      <a:pt x="0" y="0"/>
                    </a:cubicBezTo>
                    <a:cubicBezTo>
                      <a:pt x="0" y="0"/>
                      <a:pt x="3" y="3"/>
                      <a:pt x="10" y="8"/>
                    </a:cubicBezTo>
                    <a:cubicBezTo>
                      <a:pt x="17" y="12"/>
                      <a:pt x="28" y="16"/>
                      <a:pt x="42" y="19"/>
                    </a:cubicBezTo>
                    <a:cubicBezTo>
                      <a:pt x="56" y="22"/>
                      <a:pt x="73" y="23"/>
                      <a:pt x="92" y="25"/>
                    </a:cubicBezTo>
                    <a:cubicBezTo>
                      <a:pt x="102" y="26"/>
                      <a:pt x="112" y="28"/>
                      <a:pt x="122" y="31"/>
                    </a:cubicBezTo>
                    <a:cubicBezTo>
                      <a:pt x="132" y="33"/>
                      <a:pt x="143" y="38"/>
                      <a:pt x="152" y="44"/>
                    </a:cubicBezTo>
                    <a:cubicBezTo>
                      <a:pt x="161" y="51"/>
                      <a:pt x="167" y="60"/>
                      <a:pt x="172" y="70"/>
                    </a:cubicBezTo>
                    <a:cubicBezTo>
                      <a:pt x="176" y="79"/>
                      <a:pt x="179" y="89"/>
                      <a:pt x="181" y="98"/>
                    </a:cubicBezTo>
                    <a:cubicBezTo>
                      <a:pt x="184" y="108"/>
                      <a:pt x="186" y="116"/>
                      <a:pt x="189" y="124"/>
                    </a:cubicBezTo>
                    <a:cubicBezTo>
                      <a:pt x="193" y="132"/>
                      <a:pt x="196" y="139"/>
                      <a:pt x="201" y="144"/>
                    </a:cubicBezTo>
                    <a:cubicBezTo>
                      <a:pt x="210" y="155"/>
                      <a:pt x="222" y="160"/>
                      <a:pt x="230" y="160"/>
                    </a:cubicBezTo>
                    <a:cubicBezTo>
                      <a:pt x="238" y="161"/>
                      <a:pt x="242" y="159"/>
                      <a:pt x="242" y="15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46">
                <a:extLst>
                  <a:ext uri="{FF2B5EF4-FFF2-40B4-BE49-F238E27FC236}">
                    <a16:creationId xmlns:a16="http://schemas.microsoft.com/office/drawing/2014/main" id="{2661E63D-BB32-412B-A1C8-285A890C82C4}"/>
                  </a:ext>
                </a:extLst>
              </p:cNvPr>
              <p:cNvSpPr>
                <a:spLocks/>
              </p:cNvSpPr>
              <p:nvPr/>
            </p:nvSpPr>
            <p:spPr bwMode="auto">
              <a:xfrm>
                <a:off x="3847" y="3394"/>
                <a:ext cx="866" cy="287"/>
              </a:xfrm>
              <a:custGeom>
                <a:avLst/>
                <a:gdLst>
                  <a:gd name="T0" fmla="*/ 325 w 365"/>
                  <a:gd name="T1" fmla="*/ 0 h 121"/>
                  <a:gd name="T2" fmla="*/ 234 w 365"/>
                  <a:gd name="T3" fmla="*/ 33 h 121"/>
                  <a:gd name="T4" fmla="*/ 193 w 365"/>
                  <a:gd name="T5" fmla="*/ 19 h 121"/>
                  <a:gd name="T6" fmla="*/ 67 w 365"/>
                  <a:gd name="T7" fmla="*/ 57 h 121"/>
                  <a:gd name="T8" fmla="*/ 0 w 365"/>
                  <a:gd name="T9" fmla="*/ 121 h 121"/>
                  <a:gd name="T10" fmla="*/ 365 w 365"/>
                  <a:gd name="T11" fmla="*/ 120 h 121"/>
                  <a:gd name="T12" fmla="*/ 325 w 365"/>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365" h="121">
                    <a:moveTo>
                      <a:pt x="325" y="0"/>
                    </a:moveTo>
                    <a:cubicBezTo>
                      <a:pt x="234" y="33"/>
                      <a:pt x="234" y="33"/>
                      <a:pt x="234" y="33"/>
                    </a:cubicBezTo>
                    <a:cubicBezTo>
                      <a:pt x="234" y="33"/>
                      <a:pt x="200" y="20"/>
                      <a:pt x="193" y="19"/>
                    </a:cubicBezTo>
                    <a:cubicBezTo>
                      <a:pt x="184" y="18"/>
                      <a:pt x="116" y="40"/>
                      <a:pt x="67" y="57"/>
                    </a:cubicBezTo>
                    <a:cubicBezTo>
                      <a:pt x="35" y="68"/>
                      <a:pt x="10" y="89"/>
                      <a:pt x="0" y="121"/>
                    </a:cubicBezTo>
                    <a:cubicBezTo>
                      <a:pt x="365" y="120"/>
                      <a:pt x="365" y="120"/>
                      <a:pt x="365" y="120"/>
                    </a:cubicBezTo>
                    <a:lnTo>
                      <a:pt x="325" y="0"/>
                    </a:ln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47">
                <a:extLst>
                  <a:ext uri="{FF2B5EF4-FFF2-40B4-BE49-F238E27FC236}">
                    <a16:creationId xmlns:a16="http://schemas.microsoft.com/office/drawing/2014/main" id="{C4975FF4-71B3-4575-914D-ABB9DD9C0272}"/>
                  </a:ext>
                </a:extLst>
              </p:cNvPr>
              <p:cNvSpPr>
                <a:spLocks/>
              </p:cNvSpPr>
              <p:nvPr/>
            </p:nvSpPr>
            <p:spPr bwMode="auto">
              <a:xfrm>
                <a:off x="2748" y="3056"/>
                <a:ext cx="458" cy="744"/>
              </a:xfrm>
              <a:custGeom>
                <a:avLst/>
                <a:gdLst>
                  <a:gd name="T0" fmla="*/ 0 w 458"/>
                  <a:gd name="T1" fmla="*/ 48 h 744"/>
                  <a:gd name="T2" fmla="*/ 69 w 458"/>
                  <a:gd name="T3" fmla="*/ 0 h 744"/>
                  <a:gd name="T4" fmla="*/ 432 w 458"/>
                  <a:gd name="T5" fmla="*/ 637 h 744"/>
                  <a:gd name="T6" fmla="*/ 458 w 458"/>
                  <a:gd name="T7" fmla="*/ 744 h 744"/>
                  <a:gd name="T8" fmla="*/ 352 w 458"/>
                  <a:gd name="T9" fmla="*/ 689 h 744"/>
                  <a:gd name="T10" fmla="*/ 0 w 458"/>
                  <a:gd name="T11" fmla="*/ 48 h 744"/>
                </a:gdLst>
                <a:ahLst/>
                <a:cxnLst>
                  <a:cxn ang="0">
                    <a:pos x="T0" y="T1"/>
                  </a:cxn>
                  <a:cxn ang="0">
                    <a:pos x="T2" y="T3"/>
                  </a:cxn>
                  <a:cxn ang="0">
                    <a:pos x="T4" y="T5"/>
                  </a:cxn>
                  <a:cxn ang="0">
                    <a:pos x="T6" y="T7"/>
                  </a:cxn>
                  <a:cxn ang="0">
                    <a:pos x="T8" y="T9"/>
                  </a:cxn>
                  <a:cxn ang="0">
                    <a:pos x="T10" y="T11"/>
                  </a:cxn>
                </a:cxnLst>
                <a:rect l="0" t="0" r="r" b="b"/>
                <a:pathLst>
                  <a:path w="458" h="744">
                    <a:moveTo>
                      <a:pt x="0" y="48"/>
                    </a:moveTo>
                    <a:lnTo>
                      <a:pt x="69" y="0"/>
                    </a:lnTo>
                    <a:lnTo>
                      <a:pt x="432" y="637"/>
                    </a:lnTo>
                    <a:lnTo>
                      <a:pt x="458" y="744"/>
                    </a:lnTo>
                    <a:lnTo>
                      <a:pt x="352" y="689"/>
                    </a:lnTo>
                    <a:lnTo>
                      <a:pt x="0" y="48"/>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48">
                <a:extLst>
                  <a:ext uri="{FF2B5EF4-FFF2-40B4-BE49-F238E27FC236}">
                    <a16:creationId xmlns:a16="http://schemas.microsoft.com/office/drawing/2014/main" id="{A3A0D3E2-82B8-4925-A01C-7B0300F7C269}"/>
                  </a:ext>
                </a:extLst>
              </p:cNvPr>
              <p:cNvSpPr>
                <a:spLocks/>
              </p:cNvSpPr>
              <p:nvPr/>
            </p:nvSpPr>
            <p:spPr bwMode="auto">
              <a:xfrm>
                <a:off x="3171" y="3762"/>
                <a:ext cx="35" cy="38"/>
              </a:xfrm>
              <a:custGeom>
                <a:avLst/>
                <a:gdLst>
                  <a:gd name="T0" fmla="*/ 0 w 35"/>
                  <a:gd name="T1" fmla="*/ 21 h 38"/>
                  <a:gd name="T2" fmla="*/ 26 w 35"/>
                  <a:gd name="T3" fmla="*/ 0 h 38"/>
                  <a:gd name="T4" fmla="*/ 35 w 35"/>
                  <a:gd name="T5" fmla="*/ 38 h 38"/>
                  <a:gd name="T6" fmla="*/ 0 w 35"/>
                  <a:gd name="T7" fmla="*/ 21 h 38"/>
                </a:gdLst>
                <a:ahLst/>
                <a:cxnLst>
                  <a:cxn ang="0">
                    <a:pos x="T0" y="T1"/>
                  </a:cxn>
                  <a:cxn ang="0">
                    <a:pos x="T2" y="T3"/>
                  </a:cxn>
                  <a:cxn ang="0">
                    <a:pos x="T4" y="T5"/>
                  </a:cxn>
                  <a:cxn ang="0">
                    <a:pos x="T6" y="T7"/>
                  </a:cxn>
                </a:cxnLst>
                <a:rect l="0" t="0" r="r" b="b"/>
                <a:pathLst>
                  <a:path w="35" h="38">
                    <a:moveTo>
                      <a:pt x="0" y="21"/>
                    </a:moveTo>
                    <a:lnTo>
                      <a:pt x="26" y="0"/>
                    </a:lnTo>
                    <a:lnTo>
                      <a:pt x="35" y="38"/>
                    </a:lnTo>
                    <a:lnTo>
                      <a:pt x="0" y="2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49">
                <a:extLst>
                  <a:ext uri="{FF2B5EF4-FFF2-40B4-BE49-F238E27FC236}">
                    <a16:creationId xmlns:a16="http://schemas.microsoft.com/office/drawing/2014/main" id="{64ADD1B9-CE4B-4AF6-83FC-40C1D2842CCD}"/>
                  </a:ext>
                </a:extLst>
              </p:cNvPr>
              <p:cNvSpPr>
                <a:spLocks/>
              </p:cNvSpPr>
              <p:nvPr/>
            </p:nvSpPr>
            <p:spPr bwMode="auto">
              <a:xfrm>
                <a:off x="3097" y="3688"/>
                <a:ext cx="83" cy="57"/>
              </a:xfrm>
              <a:custGeom>
                <a:avLst/>
                <a:gdLst>
                  <a:gd name="T0" fmla="*/ 35 w 35"/>
                  <a:gd name="T1" fmla="*/ 2 h 24"/>
                  <a:gd name="T2" fmla="*/ 31 w 35"/>
                  <a:gd name="T3" fmla="*/ 1 h 24"/>
                  <a:gd name="T4" fmla="*/ 27 w 35"/>
                  <a:gd name="T5" fmla="*/ 3 h 24"/>
                  <a:gd name="T6" fmla="*/ 26 w 35"/>
                  <a:gd name="T7" fmla="*/ 8 h 24"/>
                  <a:gd name="T8" fmla="*/ 26 w 35"/>
                  <a:gd name="T9" fmla="*/ 9 h 24"/>
                  <a:gd name="T10" fmla="*/ 25 w 35"/>
                  <a:gd name="T11" fmla="*/ 9 h 24"/>
                  <a:gd name="T12" fmla="*/ 17 w 35"/>
                  <a:gd name="T13" fmla="*/ 10 h 24"/>
                  <a:gd name="T14" fmla="*/ 13 w 35"/>
                  <a:gd name="T15" fmla="*/ 16 h 24"/>
                  <a:gd name="T16" fmla="*/ 13 w 35"/>
                  <a:gd name="T17" fmla="*/ 17 h 24"/>
                  <a:gd name="T18" fmla="*/ 12 w 35"/>
                  <a:gd name="T19" fmla="*/ 17 h 24"/>
                  <a:gd name="T20" fmla="*/ 6 w 35"/>
                  <a:gd name="T21" fmla="*/ 18 h 24"/>
                  <a:gd name="T22" fmla="*/ 3 w 35"/>
                  <a:gd name="T23" fmla="*/ 21 h 24"/>
                  <a:gd name="T24" fmla="*/ 1 w 35"/>
                  <a:gd name="T25" fmla="*/ 24 h 24"/>
                  <a:gd name="T26" fmla="*/ 2 w 35"/>
                  <a:gd name="T27" fmla="*/ 20 h 24"/>
                  <a:gd name="T28" fmla="*/ 6 w 35"/>
                  <a:gd name="T29" fmla="*/ 16 h 24"/>
                  <a:gd name="T30" fmla="*/ 12 w 35"/>
                  <a:gd name="T31" fmla="*/ 15 h 24"/>
                  <a:gd name="T32" fmla="*/ 11 w 35"/>
                  <a:gd name="T33" fmla="*/ 16 h 24"/>
                  <a:gd name="T34" fmla="*/ 16 w 35"/>
                  <a:gd name="T35" fmla="*/ 8 h 24"/>
                  <a:gd name="T36" fmla="*/ 25 w 35"/>
                  <a:gd name="T37" fmla="*/ 7 h 24"/>
                  <a:gd name="T38" fmla="*/ 24 w 35"/>
                  <a:gd name="T39" fmla="*/ 8 h 24"/>
                  <a:gd name="T40" fmla="*/ 26 w 35"/>
                  <a:gd name="T41" fmla="*/ 2 h 24"/>
                  <a:gd name="T42" fmla="*/ 31 w 35"/>
                  <a:gd name="T43" fmla="*/ 0 h 24"/>
                  <a:gd name="T44" fmla="*/ 35 w 35"/>
                  <a:gd name="T45"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4">
                    <a:moveTo>
                      <a:pt x="35" y="2"/>
                    </a:moveTo>
                    <a:cubicBezTo>
                      <a:pt x="35" y="2"/>
                      <a:pt x="34" y="1"/>
                      <a:pt x="31" y="1"/>
                    </a:cubicBezTo>
                    <a:cubicBezTo>
                      <a:pt x="30" y="1"/>
                      <a:pt x="28" y="2"/>
                      <a:pt x="27" y="3"/>
                    </a:cubicBezTo>
                    <a:cubicBezTo>
                      <a:pt x="27" y="4"/>
                      <a:pt x="26" y="6"/>
                      <a:pt x="26" y="8"/>
                    </a:cubicBezTo>
                    <a:cubicBezTo>
                      <a:pt x="26" y="9"/>
                      <a:pt x="26" y="9"/>
                      <a:pt x="26" y="9"/>
                    </a:cubicBezTo>
                    <a:cubicBezTo>
                      <a:pt x="25" y="9"/>
                      <a:pt x="25" y="9"/>
                      <a:pt x="25" y="9"/>
                    </a:cubicBezTo>
                    <a:cubicBezTo>
                      <a:pt x="22" y="8"/>
                      <a:pt x="19" y="8"/>
                      <a:pt x="17" y="10"/>
                    </a:cubicBezTo>
                    <a:cubicBezTo>
                      <a:pt x="15" y="11"/>
                      <a:pt x="14" y="14"/>
                      <a:pt x="13" y="16"/>
                    </a:cubicBezTo>
                    <a:cubicBezTo>
                      <a:pt x="13" y="17"/>
                      <a:pt x="13" y="17"/>
                      <a:pt x="13" y="17"/>
                    </a:cubicBezTo>
                    <a:cubicBezTo>
                      <a:pt x="12" y="17"/>
                      <a:pt x="12" y="17"/>
                      <a:pt x="12" y="17"/>
                    </a:cubicBezTo>
                    <a:cubicBezTo>
                      <a:pt x="10" y="17"/>
                      <a:pt x="8" y="17"/>
                      <a:pt x="6" y="18"/>
                    </a:cubicBezTo>
                    <a:cubicBezTo>
                      <a:pt x="5" y="18"/>
                      <a:pt x="4" y="20"/>
                      <a:pt x="3" y="21"/>
                    </a:cubicBezTo>
                    <a:cubicBezTo>
                      <a:pt x="1" y="23"/>
                      <a:pt x="1" y="24"/>
                      <a:pt x="1" y="24"/>
                    </a:cubicBezTo>
                    <a:cubicBezTo>
                      <a:pt x="1" y="24"/>
                      <a:pt x="0" y="23"/>
                      <a:pt x="2" y="20"/>
                    </a:cubicBezTo>
                    <a:cubicBezTo>
                      <a:pt x="3" y="19"/>
                      <a:pt x="4" y="17"/>
                      <a:pt x="6" y="16"/>
                    </a:cubicBezTo>
                    <a:cubicBezTo>
                      <a:pt x="7" y="15"/>
                      <a:pt x="10" y="15"/>
                      <a:pt x="12" y="15"/>
                    </a:cubicBezTo>
                    <a:cubicBezTo>
                      <a:pt x="11" y="16"/>
                      <a:pt x="11" y="16"/>
                      <a:pt x="11" y="16"/>
                    </a:cubicBezTo>
                    <a:cubicBezTo>
                      <a:pt x="12" y="13"/>
                      <a:pt x="13" y="10"/>
                      <a:pt x="16" y="8"/>
                    </a:cubicBezTo>
                    <a:cubicBezTo>
                      <a:pt x="19" y="6"/>
                      <a:pt x="23" y="6"/>
                      <a:pt x="25" y="7"/>
                    </a:cubicBezTo>
                    <a:cubicBezTo>
                      <a:pt x="24" y="8"/>
                      <a:pt x="24" y="8"/>
                      <a:pt x="24" y="8"/>
                    </a:cubicBezTo>
                    <a:cubicBezTo>
                      <a:pt x="24" y="6"/>
                      <a:pt x="25" y="3"/>
                      <a:pt x="26" y="2"/>
                    </a:cubicBezTo>
                    <a:cubicBezTo>
                      <a:pt x="28" y="0"/>
                      <a:pt x="30" y="0"/>
                      <a:pt x="31" y="0"/>
                    </a:cubicBezTo>
                    <a:cubicBezTo>
                      <a:pt x="34" y="0"/>
                      <a:pt x="35" y="2"/>
                      <a:pt x="35"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50">
                <a:extLst>
                  <a:ext uri="{FF2B5EF4-FFF2-40B4-BE49-F238E27FC236}">
                    <a16:creationId xmlns:a16="http://schemas.microsoft.com/office/drawing/2014/main" id="{75A8C717-F55C-4D5A-A7DB-BC938CBB3D99}"/>
                  </a:ext>
                </a:extLst>
              </p:cNvPr>
              <p:cNvSpPr>
                <a:spLocks/>
              </p:cNvSpPr>
              <p:nvPr/>
            </p:nvSpPr>
            <p:spPr bwMode="auto">
              <a:xfrm>
                <a:off x="2734" y="3030"/>
                <a:ext cx="83" cy="74"/>
              </a:xfrm>
              <a:custGeom>
                <a:avLst/>
                <a:gdLst>
                  <a:gd name="T0" fmla="*/ 6 w 35"/>
                  <a:gd name="T1" fmla="*/ 31 h 31"/>
                  <a:gd name="T2" fmla="*/ 12 w 35"/>
                  <a:gd name="T3" fmla="*/ 10 h 31"/>
                  <a:gd name="T4" fmla="*/ 35 w 35"/>
                  <a:gd name="T5" fmla="*/ 11 h 31"/>
                  <a:gd name="T6" fmla="*/ 6 w 35"/>
                  <a:gd name="T7" fmla="*/ 31 h 31"/>
                </a:gdLst>
                <a:ahLst/>
                <a:cxnLst>
                  <a:cxn ang="0">
                    <a:pos x="T0" y="T1"/>
                  </a:cxn>
                  <a:cxn ang="0">
                    <a:pos x="T2" y="T3"/>
                  </a:cxn>
                  <a:cxn ang="0">
                    <a:pos x="T4" y="T5"/>
                  </a:cxn>
                  <a:cxn ang="0">
                    <a:pos x="T6" y="T7"/>
                  </a:cxn>
                </a:cxnLst>
                <a:rect l="0" t="0" r="r" b="b"/>
                <a:pathLst>
                  <a:path w="35" h="31">
                    <a:moveTo>
                      <a:pt x="6" y="31"/>
                    </a:moveTo>
                    <a:cubicBezTo>
                      <a:pt x="6" y="31"/>
                      <a:pt x="0" y="19"/>
                      <a:pt x="12" y="10"/>
                    </a:cubicBezTo>
                    <a:cubicBezTo>
                      <a:pt x="25" y="0"/>
                      <a:pt x="35" y="11"/>
                      <a:pt x="35" y="11"/>
                    </a:cubicBezTo>
                    <a:lnTo>
                      <a:pt x="6" y="3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51">
                <a:extLst>
                  <a:ext uri="{FF2B5EF4-FFF2-40B4-BE49-F238E27FC236}">
                    <a16:creationId xmlns:a16="http://schemas.microsoft.com/office/drawing/2014/main" id="{F40941AE-A606-45EA-A485-05133CFC6D42}"/>
                  </a:ext>
                </a:extLst>
              </p:cNvPr>
              <p:cNvSpPr>
                <a:spLocks/>
              </p:cNvSpPr>
              <p:nvPr/>
            </p:nvSpPr>
            <p:spPr bwMode="auto">
              <a:xfrm>
                <a:off x="2763" y="3056"/>
                <a:ext cx="393" cy="670"/>
              </a:xfrm>
              <a:custGeom>
                <a:avLst/>
                <a:gdLst>
                  <a:gd name="T0" fmla="*/ 0 w 166"/>
                  <a:gd name="T1" fmla="*/ 8 h 282"/>
                  <a:gd name="T2" fmla="*/ 153 w 166"/>
                  <a:gd name="T3" fmla="*/ 282 h 282"/>
                  <a:gd name="T4" fmla="*/ 166 w 166"/>
                  <a:gd name="T5" fmla="*/ 274 h 282"/>
                  <a:gd name="T6" fmla="*/ 8 w 166"/>
                  <a:gd name="T7" fmla="*/ 0 h 282"/>
                  <a:gd name="T8" fmla="*/ 0 w 166"/>
                  <a:gd name="T9" fmla="*/ 8 h 282"/>
                </a:gdLst>
                <a:ahLst/>
                <a:cxnLst>
                  <a:cxn ang="0">
                    <a:pos x="T0" y="T1"/>
                  </a:cxn>
                  <a:cxn ang="0">
                    <a:pos x="T2" y="T3"/>
                  </a:cxn>
                  <a:cxn ang="0">
                    <a:pos x="T4" y="T5"/>
                  </a:cxn>
                  <a:cxn ang="0">
                    <a:pos x="T6" y="T7"/>
                  </a:cxn>
                  <a:cxn ang="0">
                    <a:pos x="T8" y="T9"/>
                  </a:cxn>
                </a:cxnLst>
                <a:rect l="0" t="0" r="r" b="b"/>
                <a:pathLst>
                  <a:path w="166" h="282">
                    <a:moveTo>
                      <a:pt x="0" y="8"/>
                    </a:moveTo>
                    <a:cubicBezTo>
                      <a:pt x="153" y="282"/>
                      <a:pt x="153" y="282"/>
                      <a:pt x="153" y="282"/>
                    </a:cubicBezTo>
                    <a:cubicBezTo>
                      <a:pt x="153" y="282"/>
                      <a:pt x="153" y="270"/>
                      <a:pt x="166" y="274"/>
                    </a:cubicBezTo>
                    <a:cubicBezTo>
                      <a:pt x="8" y="0"/>
                      <a:pt x="8" y="0"/>
                      <a:pt x="8" y="0"/>
                    </a:cubicBezTo>
                    <a:lnTo>
                      <a:pt x="0" y="8"/>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52">
                <a:extLst>
                  <a:ext uri="{FF2B5EF4-FFF2-40B4-BE49-F238E27FC236}">
                    <a16:creationId xmlns:a16="http://schemas.microsoft.com/office/drawing/2014/main" id="{C767BB99-82EB-4325-AFF1-95533141A344}"/>
                  </a:ext>
                </a:extLst>
              </p:cNvPr>
              <p:cNvSpPr>
                <a:spLocks/>
              </p:cNvSpPr>
              <p:nvPr/>
            </p:nvSpPr>
            <p:spPr bwMode="auto">
              <a:xfrm>
                <a:off x="2983" y="3348"/>
                <a:ext cx="140" cy="138"/>
              </a:xfrm>
              <a:custGeom>
                <a:avLst/>
                <a:gdLst>
                  <a:gd name="T0" fmla="*/ 43 w 59"/>
                  <a:gd name="T1" fmla="*/ 7 h 58"/>
                  <a:gd name="T2" fmla="*/ 22 w 59"/>
                  <a:gd name="T3" fmla="*/ 0 h 58"/>
                  <a:gd name="T4" fmla="*/ 3 w 59"/>
                  <a:gd name="T5" fmla="*/ 10 h 58"/>
                  <a:gd name="T6" fmla="*/ 2 w 59"/>
                  <a:gd name="T7" fmla="*/ 25 h 58"/>
                  <a:gd name="T8" fmla="*/ 10 w 59"/>
                  <a:gd name="T9" fmla="*/ 38 h 58"/>
                  <a:gd name="T10" fmla="*/ 26 w 59"/>
                  <a:gd name="T11" fmla="*/ 53 h 58"/>
                  <a:gd name="T12" fmla="*/ 47 w 59"/>
                  <a:gd name="T13" fmla="*/ 55 h 58"/>
                  <a:gd name="T14" fmla="*/ 58 w 59"/>
                  <a:gd name="T15" fmla="*/ 32 h 58"/>
                  <a:gd name="T16" fmla="*/ 43 w 59"/>
                  <a:gd name="T17" fmla="*/ 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43" y="7"/>
                    </a:moveTo>
                    <a:cubicBezTo>
                      <a:pt x="36" y="4"/>
                      <a:pt x="29" y="1"/>
                      <a:pt x="22" y="0"/>
                    </a:cubicBezTo>
                    <a:cubicBezTo>
                      <a:pt x="14" y="0"/>
                      <a:pt x="6" y="3"/>
                      <a:pt x="3" y="10"/>
                    </a:cubicBezTo>
                    <a:cubicBezTo>
                      <a:pt x="0" y="15"/>
                      <a:pt x="1" y="20"/>
                      <a:pt x="2" y="25"/>
                    </a:cubicBezTo>
                    <a:cubicBezTo>
                      <a:pt x="4" y="30"/>
                      <a:pt x="7" y="34"/>
                      <a:pt x="10" y="38"/>
                    </a:cubicBezTo>
                    <a:cubicBezTo>
                      <a:pt x="15" y="44"/>
                      <a:pt x="20" y="50"/>
                      <a:pt x="26" y="53"/>
                    </a:cubicBezTo>
                    <a:cubicBezTo>
                      <a:pt x="32" y="57"/>
                      <a:pt x="40" y="58"/>
                      <a:pt x="47" y="55"/>
                    </a:cubicBezTo>
                    <a:cubicBezTo>
                      <a:pt x="55" y="51"/>
                      <a:pt x="59" y="41"/>
                      <a:pt x="58" y="32"/>
                    </a:cubicBezTo>
                    <a:cubicBezTo>
                      <a:pt x="57" y="23"/>
                      <a:pt x="50" y="12"/>
                      <a:pt x="43" y="7"/>
                    </a:cubicBezTo>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53">
                <a:extLst>
                  <a:ext uri="{FF2B5EF4-FFF2-40B4-BE49-F238E27FC236}">
                    <a16:creationId xmlns:a16="http://schemas.microsoft.com/office/drawing/2014/main" id="{E3E00F1A-B877-4C8E-9804-387CC631A723}"/>
                  </a:ext>
                </a:extLst>
              </p:cNvPr>
              <p:cNvSpPr>
                <a:spLocks/>
              </p:cNvSpPr>
              <p:nvPr/>
            </p:nvSpPr>
            <p:spPr bwMode="auto">
              <a:xfrm>
                <a:off x="2649" y="3263"/>
                <a:ext cx="479" cy="427"/>
              </a:xfrm>
              <a:custGeom>
                <a:avLst/>
                <a:gdLst>
                  <a:gd name="T0" fmla="*/ 81 w 202"/>
                  <a:gd name="T1" fmla="*/ 7 h 180"/>
                  <a:gd name="T2" fmla="*/ 48 w 202"/>
                  <a:gd name="T3" fmla="*/ 22 h 180"/>
                  <a:gd name="T4" fmla="*/ 14 w 202"/>
                  <a:gd name="T5" fmla="*/ 73 h 180"/>
                  <a:gd name="T6" fmla="*/ 0 w 202"/>
                  <a:gd name="T7" fmla="*/ 114 h 180"/>
                  <a:gd name="T8" fmla="*/ 0 w 202"/>
                  <a:gd name="T9" fmla="*/ 126 h 180"/>
                  <a:gd name="T10" fmla="*/ 18 w 202"/>
                  <a:gd name="T11" fmla="*/ 161 h 180"/>
                  <a:gd name="T12" fmla="*/ 48 w 202"/>
                  <a:gd name="T13" fmla="*/ 178 h 180"/>
                  <a:gd name="T14" fmla="*/ 68 w 202"/>
                  <a:gd name="T15" fmla="*/ 180 h 180"/>
                  <a:gd name="T16" fmla="*/ 76 w 202"/>
                  <a:gd name="T17" fmla="*/ 165 h 180"/>
                  <a:gd name="T18" fmla="*/ 73 w 202"/>
                  <a:gd name="T19" fmla="*/ 161 h 180"/>
                  <a:gd name="T20" fmla="*/ 106 w 202"/>
                  <a:gd name="T21" fmla="*/ 173 h 180"/>
                  <a:gd name="T22" fmla="*/ 131 w 202"/>
                  <a:gd name="T23" fmla="*/ 160 h 180"/>
                  <a:gd name="T24" fmla="*/ 173 w 202"/>
                  <a:gd name="T25" fmla="*/ 151 h 180"/>
                  <a:gd name="T26" fmla="*/ 198 w 202"/>
                  <a:gd name="T27" fmla="*/ 143 h 180"/>
                  <a:gd name="T28" fmla="*/ 189 w 202"/>
                  <a:gd name="T29" fmla="*/ 109 h 180"/>
                  <a:gd name="T30" fmla="*/ 81 w 202"/>
                  <a:gd name="T31" fmla="*/ 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 h="180">
                    <a:moveTo>
                      <a:pt x="81" y="7"/>
                    </a:moveTo>
                    <a:cubicBezTo>
                      <a:pt x="81" y="7"/>
                      <a:pt x="57" y="0"/>
                      <a:pt x="48" y="22"/>
                    </a:cubicBezTo>
                    <a:cubicBezTo>
                      <a:pt x="48" y="22"/>
                      <a:pt x="14" y="42"/>
                      <a:pt x="14" y="73"/>
                    </a:cubicBezTo>
                    <a:cubicBezTo>
                      <a:pt x="14" y="73"/>
                      <a:pt x="0" y="91"/>
                      <a:pt x="0" y="114"/>
                    </a:cubicBezTo>
                    <a:cubicBezTo>
                      <a:pt x="0" y="126"/>
                      <a:pt x="0" y="126"/>
                      <a:pt x="0" y="126"/>
                    </a:cubicBezTo>
                    <a:cubicBezTo>
                      <a:pt x="0" y="140"/>
                      <a:pt x="6" y="153"/>
                      <a:pt x="18" y="161"/>
                    </a:cubicBezTo>
                    <a:cubicBezTo>
                      <a:pt x="27" y="168"/>
                      <a:pt x="39" y="175"/>
                      <a:pt x="48" y="178"/>
                    </a:cubicBezTo>
                    <a:cubicBezTo>
                      <a:pt x="55" y="180"/>
                      <a:pt x="62" y="180"/>
                      <a:pt x="68" y="180"/>
                    </a:cubicBezTo>
                    <a:cubicBezTo>
                      <a:pt x="76" y="180"/>
                      <a:pt x="80" y="171"/>
                      <a:pt x="76" y="165"/>
                    </a:cubicBezTo>
                    <a:cubicBezTo>
                      <a:pt x="73" y="161"/>
                      <a:pt x="73" y="161"/>
                      <a:pt x="73" y="161"/>
                    </a:cubicBezTo>
                    <a:cubicBezTo>
                      <a:pt x="73" y="161"/>
                      <a:pt x="92" y="174"/>
                      <a:pt x="106" y="173"/>
                    </a:cubicBezTo>
                    <a:cubicBezTo>
                      <a:pt x="106" y="173"/>
                      <a:pt x="125" y="172"/>
                      <a:pt x="131" y="160"/>
                    </a:cubicBezTo>
                    <a:cubicBezTo>
                      <a:pt x="133" y="156"/>
                      <a:pt x="169" y="170"/>
                      <a:pt x="173" y="151"/>
                    </a:cubicBezTo>
                    <a:cubicBezTo>
                      <a:pt x="173" y="151"/>
                      <a:pt x="194" y="153"/>
                      <a:pt x="198" y="143"/>
                    </a:cubicBezTo>
                    <a:cubicBezTo>
                      <a:pt x="202" y="133"/>
                      <a:pt x="197" y="118"/>
                      <a:pt x="189" y="109"/>
                    </a:cubicBezTo>
                    <a:cubicBezTo>
                      <a:pt x="181" y="100"/>
                      <a:pt x="81" y="7"/>
                      <a:pt x="81" y="7"/>
                    </a:cubicBezTo>
                    <a:close/>
                  </a:path>
                </a:pathLst>
              </a:custGeom>
              <a:solidFill>
                <a:srgbClr val="B788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54">
                <a:extLst>
                  <a:ext uri="{FF2B5EF4-FFF2-40B4-BE49-F238E27FC236}">
                    <a16:creationId xmlns:a16="http://schemas.microsoft.com/office/drawing/2014/main" id="{AEA73A47-A057-4E8A-AF35-4B15F4B245CA}"/>
                  </a:ext>
                </a:extLst>
              </p:cNvPr>
              <p:cNvSpPr>
                <a:spLocks/>
              </p:cNvSpPr>
              <p:nvPr/>
            </p:nvSpPr>
            <p:spPr bwMode="auto">
              <a:xfrm>
                <a:off x="2817" y="3396"/>
                <a:ext cx="245" cy="223"/>
              </a:xfrm>
              <a:custGeom>
                <a:avLst/>
                <a:gdLst>
                  <a:gd name="T0" fmla="*/ 0 w 103"/>
                  <a:gd name="T1" fmla="*/ 0 h 94"/>
                  <a:gd name="T2" fmla="*/ 4 w 103"/>
                  <a:gd name="T3" fmla="*/ 4 h 94"/>
                  <a:gd name="T4" fmla="*/ 15 w 103"/>
                  <a:gd name="T5" fmla="*/ 14 h 94"/>
                  <a:gd name="T6" fmla="*/ 50 w 103"/>
                  <a:gd name="T7" fmla="*/ 48 h 94"/>
                  <a:gd name="T8" fmla="*/ 87 w 103"/>
                  <a:gd name="T9" fmla="*/ 80 h 94"/>
                  <a:gd name="T10" fmla="*/ 99 w 103"/>
                  <a:gd name="T11" fmla="*/ 90 h 94"/>
                  <a:gd name="T12" fmla="*/ 103 w 103"/>
                  <a:gd name="T13" fmla="*/ 94 h 94"/>
                  <a:gd name="T14" fmla="*/ 98 w 103"/>
                  <a:gd name="T15" fmla="*/ 90 h 94"/>
                  <a:gd name="T16" fmla="*/ 86 w 103"/>
                  <a:gd name="T17" fmla="*/ 81 h 94"/>
                  <a:gd name="T18" fmla="*/ 49 w 103"/>
                  <a:gd name="T19" fmla="*/ 50 h 94"/>
                  <a:gd name="T20" fmla="*/ 14 w 103"/>
                  <a:gd name="T21" fmla="*/ 15 h 94"/>
                  <a:gd name="T22" fmla="*/ 4 w 103"/>
                  <a:gd name="T23" fmla="*/ 4 h 94"/>
                  <a:gd name="T24" fmla="*/ 0 w 103"/>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94">
                    <a:moveTo>
                      <a:pt x="0" y="0"/>
                    </a:moveTo>
                    <a:cubicBezTo>
                      <a:pt x="0" y="0"/>
                      <a:pt x="2" y="1"/>
                      <a:pt x="4" y="4"/>
                    </a:cubicBezTo>
                    <a:cubicBezTo>
                      <a:pt x="7" y="6"/>
                      <a:pt x="10" y="10"/>
                      <a:pt x="15" y="14"/>
                    </a:cubicBezTo>
                    <a:cubicBezTo>
                      <a:pt x="24" y="23"/>
                      <a:pt x="36" y="35"/>
                      <a:pt x="50" y="48"/>
                    </a:cubicBezTo>
                    <a:cubicBezTo>
                      <a:pt x="64" y="61"/>
                      <a:pt x="78" y="72"/>
                      <a:pt x="87" y="80"/>
                    </a:cubicBezTo>
                    <a:cubicBezTo>
                      <a:pt x="92" y="84"/>
                      <a:pt x="96" y="87"/>
                      <a:pt x="99" y="90"/>
                    </a:cubicBezTo>
                    <a:cubicBezTo>
                      <a:pt x="101" y="92"/>
                      <a:pt x="103" y="93"/>
                      <a:pt x="103" y="94"/>
                    </a:cubicBezTo>
                    <a:cubicBezTo>
                      <a:pt x="102" y="94"/>
                      <a:pt x="101" y="93"/>
                      <a:pt x="98" y="90"/>
                    </a:cubicBezTo>
                    <a:cubicBezTo>
                      <a:pt x="95" y="88"/>
                      <a:pt x="91" y="85"/>
                      <a:pt x="86" y="81"/>
                    </a:cubicBezTo>
                    <a:cubicBezTo>
                      <a:pt x="76" y="74"/>
                      <a:pt x="63" y="63"/>
                      <a:pt x="49" y="50"/>
                    </a:cubicBezTo>
                    <a:cubicBezTo>
                      <a:pt x="35" y="37"/>
                      <a:pt x="22" y="24"/>
                      <a:pt x="14" y="15"/>
                    </a:cubicBezTo>
                    <a:cubicBezTo>
                      <a:pt x="9" y="11"/>
                      <a:pt x="6" y="7"/>
                      <a:pt x="4" y="4"/>
                    </a:cubicBezTo>
                    <a:cubicBezTo>
                      <a:pt x="1" y="2"/>
                      <a:pt x="0" y="0"/>
                      <a:pt x="0" y="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55">
                <a:extLst>
                  <a:ext uri="{FF2B5EF4-FFF2-40B4-BE49-F238E27FC236}">
                    <a16:creationId xmlns:a16="http://schemas.microsoft.com/office/drawing/2014/main" id="{212F45C7-8ECF-480C-845A-9B9C57027FFF}"/>
                  </a:ext>
                </a:extLst>
              </p:cNvPr>
              <p:cNvSpPr>
                <a:spLocks/>
              </p:cNvSpPr>
              <p:nvPr/>
            </p:nvSpPr>
            <p:spPr bwMode="auto">
              <a:xfrm>
                <a:off x="2774" y="3498"/>
                <a:ext cx="186" cy="145"/>
              </a:xfrm>
              <a:custGeom>
                <a:avLst/>
                <a:gdLst>
                  <a:gd name="T0" fmla="*/ 78 w 78"/>
                  <a:gd name="T1" fmla="*/ 60 h 61"/>
                  <a:gd name="T2" fmla="*/ 38 w 78"/>
                  <a:gd name="T3" fmla="*/ 31 h 61"/>
                  <a:gd name="T4" fmla="*/ 0 w 78"/>
                  <a:gd name="T5" fmla="*/ 1 h 61"/>
                  <a:gd name="T6" fmla="*/ 39 w 78"/>
                  <a:gd name="T7" fmla="*/ 30 h 61"/>
                  <a:gd name="T8" fmla="*/ 78 w 78"/>
                  <a:gd name="T9" fmla="*/ 60 h 61"/>
                </a:gdLst>
                <a:ahLst/>
                <a:cxnLst>
                  <a:cxn ang="0">
                    <a:pos x="T0" y="T1"/>
                  </a:cxn>
                  <a:cxn ang="0">
                    <a:pos x="T2" y="T3"/>
                  </a:cxn>
                  <a:cxn ang="0">
                    <a:pos x="T4" y="T5"/>
                  </a:cxn>
                  <a:cxn ang="0">
                    <a:pos x="T6" y="T7"/>
                  </a:cxn>
                  <a:cxn ang="0">
                    <a:pos x="T8" y="T9"/>
                  </a:cxn>
                </a:cxnLst>
                <a:rect l="0" t="0" r="r" b="b"/>
                <a:pathLst>
                  <a:path w="78" h="61">
                    <a:moveTo>
                      <a:pt x="78" y="60"/>
                    </a:moveTo>
                    <a:cubicBezTo>
                      <a:pt x="77" y="61"/>
                      <a:pt x="60" y="48"/>
                      <a:pt x="38" y="31"/>
                    </a:cubicBezTo>
                    <a:cubicBezTo>
                      <a:pt x="17" y="15"/>
                      <a:pt x="0" y="1"/>
                      <a:pt x="0" y="1"/>
                    </a:cubicBezTo>
                    <a:cubicBezTo>
                      <a:pt x="0" y="0"/>
                      <a:pt x="18" y="13"/>
                      <a:pt x="39" y="30"/>
                    </a:cubicBezTo>
                    <a:cubicBezTo>
                      <a:pt x="61" y="46"/>
                      <a:pt x="78" y="60"/>
                      <a:pt x="78" y="6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56">
                <a:extLst>
                  <a:ext uri="{FF2B5EF4-FFF2-40B4-BE49-F238E27FC236}">
                    <a16:creationId xmlns:a16="http://schemas.microsoft.com/office/drawing/2014/main" id="{09F28C3C-8290-4052-AEA5-28B2BB823DEF}"/>
                  </a:ext>
                </a:extLst>
              </p:cNvPr>
              <p:cNvSpPr>
                <a:spLocks/>
              </p:cNvSpPr>
              <p:nvPr/>
            </p:nvSpPr>
            <p:spPr bwMode="auto">
              <a:xfrm>
                <a:off x="2720" y="3557"/>
                <a:ext cx="116" cy="95"/>
              </a:xfrm>
              <a:custGeom>
                <a:avLst/>
                <a:gdLst>
                  <a:gd name="T0" fmla="*/ 48 w 49"/>
                  <a:gd name="T1" fmla="*/ 40 h 40"/>
                  <a:gd name="T2" fmla="*/ 41 w 49"/>
                  <a:gd name="T3" fmla="*/ 35 h 40"/>
                  <a:gd name="T4" fmla="*/ 23 w 49"/>
                  <a:gd name="T5" fmla="*/ 22 h 40"/>
                  <a:gd name="T6" fmla="*/ 6 w 49"/>
                  <a:gd name="T7" fmla="*/ 7 h 40"/>
                  <a:gd name="T8" fmla="*/ 0 w 49"/>
                  <a:gd name="T9" fmla="*/ 0 h 40"/>
                  <a:gd name="T10" fmla="*/ 7 w 49"/>
                  <a:gd name="T11" fmla="*/ 6 h 40"/>
                  <a:gd name="T12" fmla="*/ 24 w 49"/>
                  <a:gd name="T13" fmla="*/ 20 h 40"/>
                  <a:gd name="T14" fmla="*/ 48 w 4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0">
                    <a:moveTo>
                      <a:pt x="48" y="40"/>
                    </a:moveTo>
                    <a:cubicBezTo>
                      <a:pt x="48" y="40"/>
                      <a:pt x="45" y="38"/>
                      <a:pt x="41" y="35"/>
                    </a:cubicBezTo>
                    <a:cubicBezTo>
                      <a:pt x="36" y="32"/>
                      <a:pt x="30" y="27"/>
                      <a:pt x="23" y="22"/>
                    </a:cubicBezTo>
                    <a:cubicBezTo>
                      <a:pt x="16" y="17"/>
                      <a:pt x="10" y="11"/>
                      <a:pt x="6" y="7"/>
                    </a:cubicBezTo>
                    <a:cubicBezTo>
                      <a:pt x="2" y="3"/>
                      <a:pt x="0" y="1"/>
                      <a:pt x="0" y="0"/>
                    </a:cubicBezTo>
                    <a:cubicBezTo>
                      <a:pt x="0" y="0"/>
                      <a:pt x="3" y="3"/>
                      <a:pt x="7" y="6"/>
                    </a:cubicBezTo>
                    <a:cubicBezTo>
                      <a:pt x="11" y="10"/>
                      <a:pt x="17" y="15"/>
                      <a:pt x="24" y="20"/>
                    </a:cubicBezTo>
                    <a:cubicBezTo>
                      <a:pt x="38" y="31"/>
                      <a:pt x="49" y="39"/>
                      <a:pt x="48" y="40"/>
                    </a:cubicBezTo>
                    <a:close/>
                  </a:path>
                </a:pathLst>
              </a:custGeom>
              <a:solidFill>
                <a:srgbClr val="AA65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57">
                <a:extLst>
                  <a:ext uri="{FF2B5EF4-FFF2-40B4-BE49-F238E27FC236}">
                    <a16:creationId xmlns:a16="http://schemas.microsoft.com/office/drawing/2014/main" id="{4CEDA4D6-CC52-4DB5-86F0-58BA538CBB81}"/>
                  </a:ext>
                </a:extLst>
              </p:cNvPr>
              <p:cNvSpPr>
                <a:spLocks/>
              </p:cNvSpPr>
              <p:nvPr/>
            </p:nvSpPr>
            <p:spPr bwMode="auto">
              <a:xfrm>
                <a:off x="3757" y="2176"/>
                <a:ext cx="774" cy="536"/>
              </a:xfrm>
              <a:custGeom>
                <a:avLst/>
                <a:gdLst>
                  <a:gd name="T0" fmla="*/ 39 w 326"/>
                  <a:gd name="T1" fmla="*/ 55 h 226"/>
                  <a:gd name="T2" fmla="*/ 145 w 326"/>
                  <a:gd name="T3" fmla="*/ 107 h 226"/>
                  <a:gd name="T4" fmla="*/ 257 w 326"/>
                  <a:gd name="T5" fmla="*/ 55 h 226"/>
                  <a:gd name="T6" fmla="*/ 296 w 326"/>
                  <a:gd name="T7" fmla="*/ 3 h 226"/>
                  <a:gd name="T8" fmla="*/ 324 w 326"/>
                  <a:gd name="T9" fmla="*/ 71 h 226"/>
                  <a:gd name="T10" fmla="*/ 304 w 326"/>
                  <a:gd name="T11" fmla="*/ 134 h 226"/>
                  <a:gd name="T12" fmla="*/ 253 w 326"/>
                  <a:gd name="T13" fmla="*/ 179 h 226"/>
                  <a:gd name="T14" fmla="*/ 134 w 326"/>
                  <a:gd name="T15" fmla="*/ 224 h 226"/>
                  <a:gd name="T16" fmla="*/ 23 w 326"/>
                  <a:gd name="T17" fmla="*/ 172 h 226"/>
                  <a:gd name="T18" fmla="*/ 45 w 326"/>
                  <a:gd name="T19" fmla="*/ 58 h 226"/>
                  <a:gd name="T20" fmla="*/ 39 w 326"/>
                  <a:gd name="T21" fmla="*/ 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 h="226">
                    <a:moveTo>
                      <a:pt x="39" y="55"/>
                    </a:moveTo>
                    <a:cubicBezTo>
                      <a:pt x="59" y="91"/>
                      <a:pt x="104" y="109"/>
                      <a:pt x="145" y="107"/>
                    </a:cubicBezTo>
                    <a:cubicBezTo>
                      <a:pt x="187" y="104"/>
                      <a:pt x="227" y="84"/>
                      <a:pt x="257" y="55"/>
                    </a:cubicBezTo>
                    <a:cubicBezTo>
                      <a:pt x="275" y="38"/>
                      <a:pt x="280" y="0"/>
                      <a:pt x="296" y="3"/>
                    </a:cubicBezTo>
                    <a:cubicBezTo>
                      <a:pt x="311" y="7"/>
                      <a:pt x="322" y="56"/>
                      <a:pt x="324" y="71"/>
                    </a:cubicBezTo>
                    <a:cubicBezTo>
                      <a:pt x="326" y="93"/>
                      <a:pt x="317" y="116"/>
                      <a:pt x="304" y="134"/>
                    </a:cubicBezTo>
                    <a:cubicBezTo>
                      <a:pt x="290" y="152"/>
                      <a:pt x="272" y="167"/>
                      <a:pt x="253" y="179"/>
                    </a:cubicBezTo>
                    <a:cubicBezTo>
                      <a:pt x="217" y="203"/>
                      <a:pt x="177" y="222"/>
                      <a:pt x="134" y="224"/>
                    </a:cubicBezTo>
                    <a:cubicBezTo>
                      <a:pt x="91" y="226"/>
                      <a:pt x="45" y="208"/>
                      <a:pt x="23" y="172"/>
                    </a:cubicBezTo>
                    <a:cubicBezTo>
                      <a:pt x="0" y="135"/>
                      <a:pt x="8" y="80"/>
                      <a:pt x="45" y="58"/>
                    </a:cubicBezTo>
                    <a:cubicBezTo>
                      <a:pt x="39" y="55"/>
                      <a:pt x="39" y="55"/>
                      <a:pt x="39" y="55"/>
                    </a:cubicBezTo>
                  </a:path>
                </a:pathLst>
              </a:custGeom>
              <a:solidFill>
                <a:srgbClr val="FB52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8">
                <a:extLst>
                  <a:ext uri="{FF2B5EF4-FFF2-40B4-BE49-F238E27FC236}">
                    <a16:creationId xmlns:a16="http://schemas.microsoft.com/office/drawing/2014/main" id="{E13A912D-85CF-4293-B22F-EC995AA1383E}"/>
                  </a:ext>
                </a:extLst>
              </p:cNvPr>
              <p:cNvSpPr>
                <a:spLocks/>
              </p:cNvSpPr>
              <p:nvPr/>
            </p:nvSpPr>
            <p:spPr bwMode="auto">
              <a:xfrm>
                <a:off x="3895" y="2430"/>
                <a:ext cx="308" cy="201"/>
              </a:xfrm>
              <a:custGeom>
                <a:avLst/>
                <a:gdLst>
                  <a:gd name="T0" fmla="*/ 90 w 130"/>
                  <a:gd name="T1" fmla="*/ 85 h 85"/>
                  <a:gd name="T2" fmla="*/ 92 w 130"/>
                  <a:gd name="T3" fmla="*/ 83 h 85"/>
                  <a:gd name="T4" fmla="*/ 100 w 130"/>
                  <a:gd name="T5" fmla="*/ 78 h 85"/>
                  <a:gd name="T6" fmla="*/ 128 w 130"/>
                  <a:gd name="T7" fmla="*/ 60 h 85"/>
                  <a:gd name="T8" fmla="*/ 128 w 130"/>
                  <a:gd name="T9" fmla="*/ 62 h 85"/>
                  <a:gd name="T10" fmla="*/ 86 w 130"/>
                  <a:gd name="T11" fmla="*/ 46 h 85"/>
                  <a:gd name="T12" fmla="*/ 85 w 130"/>
                  <a:gd name="T13" fmla="*/ 45 h 85"/>
                  <a:gd name="T14" fmla="*/ 85 w 130"/>
                  <a:gd name="T15" fmla="*/ 45 h 85"/>
                  <a:gd name="T16" fmla="*/ 74 w 130"/>
                  <a:gd name="T17" fmla="*/ 1 h 85"/>
                  <a:gd name="T18" fmla="*/ 75 w 130"/>
                  <a:gd name="T19" fmla="*/ 1 h 85"/>
                  <a:gd name="T20" fmla="*/ 76 w 130"/>
                  <a:gd name="T21" fmla="*/ 1 h 85"/>
                  <a:gd name="T22" fmla="*/ 76 w 130"/>
                  <a:gd name="T23" fmla="*/ 1 h 85"/>
                  <a:gd name="T24" fmla="*/ 76 w 130"/>
                  <a:gd name="T25" fmla="*/ 1 h 85"/>
                  <a:gd name="T26" fmla="*/ 76 w 130"/>
                  <a:gd name="T27" fmla="*/ 1 h 85"/>
                  <a:gd name="T28" fmla="*/ 76 w 130"/>
                  <a:gd name="T29" fmla="*/ 1 h 85"/>
                  <a:gd name="T30" fmla="*/ 76 w 130"/>
                  <a:gd name="T31" fmla="*/ 1 h 85"/>
                  <a:gd name="T32" fmla="*/ 76 w 130"/>
                  <a:gd name="T33" fmla="*/ 2 h 85"/>
                  <a:gd name="T34" fmla="*/ 75 w 130"/>
                  <a:gd name="T35" fmla="*/ 2 h 85"/>
                  <a:gd name="T36" fmla="*/ 74 w 130"/>
                  <a:gd name="T37" fmla="*/ 3 h 85"/>
                  <a:gd name="T38" fmla="*/ 72 w 130"/>
                  <a:gd name="T39" fmla="*/ 6 h 85"/>
                  <a:gd name="T40" fmla="*/ 69 w 130"/>
                  <a:gd name="T41" fmla="*/ 10 h 85"/>
                  <a:gd name="T42" fmla="*/ 61 w 130"/>
                  <a:gd name="T43" fmla="*/ 19 h 85"/>
                  <a:gd name="T44" fmla="*/ 48 w 130"/>
                  <a:gd name="T45" fmla="*/ 36 h 85"/>
                  <a:gd name="T46" fmla="*/ 47 w 130"/>
                  <a:gd name="T47" fmla="*/ 37 h 85"/>
                  <a:gd name="T48" fmla="*/ 47 w 130"/>
                  <a:gd name="T49" fmla="*/ 37 h 85"/>
                  <a:gd name="T50" fmla="*/ 1 w 130"/>
                  <a:gd name="T51" fmla="*/ 33 h 85"/>
                  <a:gd name="T52" fmla="*/ 2 w 130"/>
                  <a:gd name="T53" fmla="*/ 32 h 85"/>
                  <a:gd name="T54" fmla="*/ 20 w 130"/>
                  <a:gd name="T55" fmla="*/ 60 h 85"/>
                  <a:gd name="T56" fmla="*/ 25 w 130"/>
                  <a:gd name="T57" fmla="*/ 68 h 85"/>
                  <a:gd name="T58" fmla="*/ 26 w 130"/>
                  <a:gd name="T59" fmla="*/ 70 h 85"/>
                  <a:gd name="T60" fmla="*/ 24 w 130"/>
                  <a:gd name="T61" fmla="*/ 68 h 85"/>
                  <a:gd name="T62" fmla="*/ 19 w 130"/>
                  <a:gd name="T63" fmla="*/ 60 h 85"/>
                  <a:gd name="T64" fmla="*/ 1 w 130"/>
                  <a:gd name="T65" fmla="*/ 33 h 85"/>
                  <a:gd name="T66" fmla="*/ 0 w 130"/>
                  <a:gd name="T67" fmla="*/ 31 h 85"/>
                  <a:gd name="T68" fmla="*/ 2 w 130"/>
                  <a:gd name="T69" fmla="*/ 32 h 85"/>
                  <a:gd name="T70" fmla="*/ 47 w 130"/>
                  <a:gd name="T71" fmla="*/ 35 h 85"/>
                  <a:gd name="T72" fmla="*/ 46 w 130"/>
                  <a:gd name="T73" fmla="*/ 35 h 85"/>
                  <a:gd name="T74" fmla="*/ 60 w 130"/>
                  <a:gd name="T75" fmla="*/ 18 h 85"/>
                  <a:gd name="T76" fmla="*/ 67 w 130"/>
                  <a:gd name="T77" fmla="*/ 9 h 85"/>
                  <a:gd name="T78" fmla="*/ 71 w 130"/>
                  <a:gd name="T79" fmla="*/ 4 h 85"/>
                  <a:gd name="T80" fmla="*/ 73 w 130"/>
                  <a:gd name="T81" fmla="*/ 2 h 85"/>
                  <a:gd name="T82" fmla="*/ 74 w 130"/>
                  <a:gd name="T83" fmla="*/ 1 h 85"/>
                  <a:gd name="T84" fmla="*/ 74 w 130"/>
                  <a:gd name="T85" fmla="*/ 0 h 85"/>
                  <a:gd name="T86" fmla="*/ 74 w 130"/>
                  <a:gd name="T87" fmla="*/ 0 h 85"/>
                  <a:gd name="T88" fmla="*/ 74 w 130"/>
                  <a:gd name="T89" fmla="*/ 0 h 85"/>
                  <a:gd name="T90" fmla="*/ 75 w 130"/>
                  <a:gd name="T91" fmla="*/ 0 h 85"/>
                  <a:gd name="T92" fmla="*/ 75 w 130"/>
                  <a:gd name="T93" fmla="*/ 0 h 85"/>
                  <a:gd name="T94" fmla="*/ 75 w 130"/>
                  <a:gd name="T95" fmla="*/ 0 h 85"/>
                  <a:gd name="T96" fmla="*/ 75 w 130"/>
                  <a:gd name="T97" fmla="*/ 0 h 85"/>
                  <a:gd name="T98" fmla="*/ 76 w 130"/>
                  <a:gd name="T99" fmla="*/ 0 h 85"/>
                  <a:gd name="T100" fmla="*/ 76 w 130"/>
                  <a:gd name="T101" fmla="*/ 0 h 85"/>
                  <a:gd name="T102" fmla="*/ 87 w 130"/>
                  <a:gd name="T103" fmla="*/ 44 h 85"/>
                  <a:gd name="T104" fmla="*/ 86 w 130"/>
                  <a:gd name="T105" fmla="*/ 44 h 85"/>
                  <a:gd name="T106" fmla="*/ 129 w 130"/>
                  <a:gd name="T107" fmla="*/ 60 h 85"/>
                  <a:gd name="T108" fmla="*/ 130 w 130"/>
                  <a:gd name="T109" fmla="*/ 61 h 85"/>
                  <a:gd name="T110" fmla="*/ 129 w 130"/>
                  <a:gd name="T111" fmla="*/ 62 h 85"/>
                  <a:gd name="T112" fmla="*/ 100 w 130"/>
                  <a:gd name="T113" fmla="*/ 79 h 85"/>
                  <a:gd name="T114" fmla="*/ 93 w 130"/>
                  <a:gd name="T115" fmla="*/ 83 h 85"/>
                  <a:gd name="T116" fmla="*/ 90 w 130"/>
                  <a:gd name="T1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85">
                    <a:moveTo>
                      <a:pt x="90" y="85"/>
                    </a:moveTo>
                    <a:cubicBezTo>
                      <a:pt x="90" y="85"/>
                      <a:pt x="91" y="84"/>
                      <a:pt x="92" y="83"/>
                    </a:cubicBezTo>
                    <a:cubicBezTo>
                      <a:pt x="94" y="82"/>
                      <a:pt x="97" y="80"/>
                      <a:pt x="100" y="78"/>
                    </a:cubicBezTo>
                    <a:cubicBezTo>
                      <a:pt x="107" y="74"/>
                      <a:pt x="116" y="68"/>
                      <a:pt x="128" y="60"/>
                    </a:cubicBezTo>
                    <a:cubicBezTo>
                      <a:pt x="128" y="62"/>
                      <a:pt x="128" y="62"/>
                      <a:pt x="128" y="62"/>
                    </a:cubicBezTo>
                    <a:cubicBezTo>
                      <a:pt x="116" y="57"/>
                      <a:pt x="102" y="52"/>
                      <a:pt x="86" y="46"/>
                    </a:cubicBezTo>
                    <a:cubicBezTo>
                      <a:pt x="85" y="45"/>
                      <a:pt x="85" y="45"/>
                      <a:pt x="85" y="45"/>
                    </a:cubicBezTo>
                    <a:cubicBezTo>
                      <a:pt x="85" y="45"/>
                      <a:pt x="85" y="45"/>
                      <a:pt x="85" y="45"/>
                    </a:cubicBezTo>
                    <a:cubicBezTo>
                      <a:pt x="82" y="31"/>
                      <a:pt x="78" y="16"/>
                      <a:pt x="74" y="1"/>
                    </a:cubicBezTo>
                    <a:cubicBezTo>
                      <a:pt x="73" y="1"/>
                      <a:pt x="74" y="1"/>
                      <a:pt x="75"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2"/>
                      <a:pt x="76" y="2"/>
                      <a:pt x="76" y="2"/>
                    </a:cubicBezTo>
                    <a:cubicBezTo>
                      <a:pt x="75" y="2"/>
                      <a:pt x="75" y="2"/>
                      <a:pt x="75" y="2"/>
                    </a:cubicBezTo>
                    <a:cubicBezTo>
                      <a:pt x="74" y="3"/>
                      <a:pt x="74" y="3"/>
                      <a:pt x="74" y="3"/>
                    </a:cubicBezTo>
                    <a:cubicBezTo>
                      <a:pt x="72" y="6"/>
                      <a:pt x="72" y="6"/>
                      <a:pt x="72" y="6"/>
                    </a:cubicBezTo>
                    <a:cubicBezTo>
                      <a:pt x="71" y="7"/>
                      <a:pt x="70" y="9"/>
                      <a:pt x="69" y="10"/>
                    </a:cubicBezTo>
                    <a:cubicBezTo>
                      <a:pt x="66" y="13"/>
                      <a:pt x="64" y="16"/>
                      <a:pt x="61" y="19"/>
                    </a:cubicBezTo>
                    <a:cubicBezTo>
                      <a:pt x="57" y="25"/>
                      <a:pt x="52" y="31"/>
                      <a:pt x="48" y="36"/>
                    </a:cubicBezTo>
                    <a:cubicBezTo>
                      <a:pt x="47" y="37"/>
                      <a:pt x="47" y="37"/>
                      <a:pt x="47" y="37"/>
                    </a:cubicBezTo>
                    <a:cubicBezTo>
                      <a:pt x="47" y="37"/>
                      <a:pt x="47" y="37"/>
                      <a:pt x="47" y="37"/>
                    </a:cubicBezTo>
                    <a:cubicBezTo>
                      <a:pt x="30" y="35"/>
                      <a:pt x="14" y="34"/>
                      <a:pt x="1" y="33"/>
                    </a:cubicBezTo>
                    <a:cubicBezTo>
                      <a:pt x="2" y="32"/>
                      <a:pt x="2" y="32"/>
                      <a:pt x="2" y="32"/>
                    </a:cubicBezTo>
                    <a:cubicBezTo>
                      <a:pt x="10" y="44"/>
                      <a:pt x="16" y="53"/>
                      <a:pt x="20" y="60"/>
                    </a:cubicBezTo>
                    <a:cubicBezTo>
                      <a:pt x="22" y="63"/>
                      <a:pt x="24" y="66"/>
                      <a:pt x="25" y="68"/>
                    </a:cubicBezTo>
                    <a:cubicBezTo>
                      <a:pt x="26" y="69"/>
                      <a:pt x="26" y="70"/>
                      <a:pt x="26" y="70"/>
                    </a:cubicBezTo>
                    <a:cubicBezTo>
                      <a:pt x="26" y="70"/>
                      <a:pt x="26" y="70"/>
                      <a:pt x="24" y="68"/>
                    </a:cubicBezTo>
                    <a:cubicBezTo>
                      <a:pt x="23" y="66"/>
                      <a:pt x="21" y="64"/>
                      <a:pt x="19" y="60"/>
                    </a:cubicBezTo>
                    <a:cubicBezTo>
                      <a:pt x="15" y="54"/>
                      <a:pt x="9" y="44"/>
                      <a:pt x="1" y="33"/>
                    </a:cubicBezTo>
                    <a:cubicBezTo>
                      <a:pt x="0" y="31"/>
                      <a:pt x="0" y="31"/>
                      <a:pt x="0" y="31"/>
                    </a:cubicBezTo>
                    <a:cubicBezTo>
                      <a:pt x="2" y="32"/>
                      <a:pt x="2" y="32"/>
                      <a:pt x="2" y="32"/>
                    </a:cubicBezTo>
                    <a:cubicBezTo>
                      <a:pt x="15" y="32"/>
                      <a:pt x="30" y="34"/>
                      <a:pt x="47" y="35"/>
                    </a:cubicBezTo>
                    <a:cubicBezTo>
                      <a:pt x="46" y="35"/>
                      <a:pt x="46" y="35"/>
                      <a:pt x="46" y="35"/>
                    </a:cubicBezTo>
                    <a:cubicBezTo>
                      <a:pt x="50" y="30"/>
                      <a:pt x="55" y="24"/>
                      <a:pt x="60" y="18"/>
                    </a:cubicBezTo>
                    <a:cubicBezTo>
                      <a:pt x="62" y="15"/>
                      <a:pt x="65" y="12"/>
                      <a:pt x="67" y="9"/>
                    </a:cubicBezTo>
                    <a:cubicBezTo>
                      <a:pt x="68" y="8"/>
                      <a:pt x="70" y="6"/>
                      <a:pt x="71" y="4"/>
                    </a:cubicBezTo>
                    <a:cubicBezTo>
                      <a:pt x="73" y="2"/>
                      <a:pt x="73" y="2"/>
                      <a:pt x="73" y="2"/>
                    </a:cubicBezTo>
                    <a:cubicBezTo>
                      <a:pt x="74" y="1"/>
                      <a:pt x="74" y="1"/>
                      <a:pt x="74" y="1"/>
                    </a:cubicBezTo>
                    <a:cubicBezTo>
                      <a:pt x="74" y="0"/>
                      <a:pt x="74" y="0"/>
                      <a:pt x="74" y="0"/>
                    </a:cubicBezTo>
                    <a:cubicBezTo>
                      <a:pt x="74" y="0"/>
                      <a:pt x="74" y="0"/>
                      <a:pt x="74" y="0"/>
                    </a:cubicBezTo>
                    <a:cubicBezTo>
                      <a:pt x="74" y="0"/>
                      <a:pt x="74" y="0"/>
                      <a:pt x="74" y="0"/>
                    </a:cubicBezTo>
                    <a:cubicBezTo>
                      <a:pt x="75" y="0"/>
                      <a:pt x="75" y="0"/>
                      <a:pt x="75" y="0"/>
                    </a:cubicBezTo>
                    <a:cubicBezTo>
                      <a:pt x="75" y="0"/>
                      <a:pt x="75" y="0"/>
                      <a:pt x="75" y="0"/>
                    </a:cubicBezTo>
                    <a:cubicBezTo>
                      <a:pt x="75" y="0"/>
                      <a:pt x="75" y="0"/>
                      <a:pt x="75" y="0"/>
                    </a:cubicBezTo>
                    <a:cubicBezTo>
                      <a:pt x="75" y="0"/>
                      <a:pt x="75" y="0"/>
                      <a:pt x="75" y="0"/>
                    </a:cubicBezTo>
                    <a:cubicBezTo>
                      <a:pt x="74" y="0"/>
                      <a:pt x="75" y="0"/>
                      <a:pt x="76" y="0"/>
                    </a:cubicBezTo>
                    <a:cubicBezTo>
                      <a:pt x="77" y="0"/>
                      <a:pt x="77" y="0"/>
                      <a:pt x="76" y="0"/>
                    </a:cubicBezTo>
                    <a:cubicBezTo>
                      <a:pt x="80" y="16"/>
                      <a:pt x="84" y="31"/>
                      <a:pt x="87" y="44"/>
                    </a:cubicBezTo>
                    <a:cubicBezTo>
                      <a:pt x="86" y="44"/>
                      <a:pt x="86" y="44"/>
                      <a:pt x="86" y="44"/>
                    </a:cubicBezTo>
                    <a:cubicBezTo>
                      <a:pt x="102" y="50"/>
                      <a:pt x="117" y="56"/>
                      <a:pt x="129" y="60"/>
                    </a:cubicBezTo>
                    <a:cubicBezTo>
                      <a:pt x="130" y="61"/>
                      <a:pt x="130" y="61"/>
                      <a:pt x="130" y="61"/>
                    </a:cubicBezTo>
                    <a:cubicBezTo>
                      <a:pt x="129" y="62"/>
                      <a:pt x="129" y="62"/>
                      <a:pt x="129" y="62"/>
                    </a:cubicBezTo>
                    <a:cubicBezTo>
                      <a:pt x="117" y="69"/>
                      <a:pt x="107" y="75"/>
                      <a:pt x="100" y="79"/>
                    </a:cubicBezTo>
                    <a:cubicBezTo>
                      <a:pt x="97" y="81"/>
                      <a:pt x="95" y="82"/>
                      <a:pt x="93" y="83"/>
                    </a:cubicBezTo>
                    <a:cubicBezTo>
                      <a:pt x="91" y="84"/>
                      <a:pt x="90" y="85"/>
                      <a:pt x="90" y="85"/>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59">
                <a:extLst>
                  <a:ext uri="{FF2B5EF4-FFF2-40B4-BE49-F238E27FC236}">
                    <a16:creationId xmlns:a16="http://schemas.microsoft.com/office/drawing/2014/main" id="{619633C0-0530-4DBD-8AB7-FD00E687A355}"/>
                  </a:ext>
                </a:extLst>
              </p:cNvPr>
              <p:cNvSpPr>
                <a:spLocks/>
              </p:cNvSpPr>
              <p:nvPr/>
            </p:nvSpPr>
            <p:spPr bwMode="auto">
              <a:xfrm>
                <a:off x="3738" y="2297"/>
                <a:ext cx="187" cy="382"/>
              </a:xfrm>
              <a:custGeom>
                <a:avLst/>
                <a:gdLst>
                  <a:gd name="T0" fmla="*/ 78 w 79"/>
                  <a:gd name="T1" fmla="*/ 161 h 161"/>
                  <a:gd name="T2" fmla="*/ 76 w 79"/>
                  <a:gd name="T3" fmla="*/ 153 h 161"/>
                  <a:gd name="T4" fmla="*/ 64 w 79"/>
                  <a:gd name="T5" fmla="*/ 135 h 161"/>
                  <a:gd name="T6" fmla="*/ 37 w 79"/>
                  <a:gd name="T7" fmla="*/ 118 h 161"/>
                  <a:gd name="T8" fmla="*/ 21 w 79"/>
                  <a:gd name="T9" fmla="*/ 107 h 161"/>
                  <a:gd name="T10" fmla="*/ 8 w 79"/>
                  <a:gd name="T11" fmla="*/ 91 h 161"/>
                  <a:gd name="T12" fmla="*/ 2 w 79"/>
                  <a:gd name="T13" fmla="*/ 51 h 161"/>
                  <a:gd name="T14" fmla="*/ 15 w 79"/>
                  <a:gd name="T15" fmla="*/ 21 h 161"/>
                  <a:gd name="T16" fmla="*/ 29 w 79"/>
                  <a:gd name="T17" fmla="*/ 5 h 161"/>
                  <a:gd name="T18" fmla="*/ 34 w 79"/>
                  <a:gd name="T19" fmla="*/ 1 h 161"/>
                  <a:gd name="T20" fmla="*/ 36 w 79"/>
                  <a:gd name="T21" fmla="*/ 1 h 161"/>
                  <a:gd name="T22" fmla="*/ 30 w 79"/>
                  <a:gd name="T23" fmla="*/ 5 h 161"/>
                  <a:gd name="T24" fmla="*/ 16 w 79"/>
                  <a:gd name="T25" fmla="*/ 22 h 161"/>
                  <a:gd name="T26" fmla="*/ 4 w 79"/>
                  <a:gd name="T27" fmla="*/ 52 h 161"/>
                  <a:gd name="T28" fmla="*/ 10 w 79"/>
                  <a:gd name="T29" fmla="*/ 90 h 161"/>
                  <a:gd name="T30" fmla="*/ 22 w 79"/>
                  <a:gd name="T31" fmla="*/ 106 h 161"/>
                  <a:gd name="T32" fmla="*/ 38 w 79"/>
                  <a:gd name="T33" fmla="*/ 116 h 161"/>
                  <a:gd name="T34" fmla="*/ 65 w 79"/>
                  <a:gd name="T35" fmla="*/ 134 h 161"/>
                  <a:gd name="T36" fmla="*/ 77 w 79"/>
                  <a:gd name="T37" fmla="*/ 152 h 161"/>
                  <a:gd name="T38" fmla="*/ 78 w 79"/>
                  <a:gd name="T39"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161">
                    <a:moveTo>
                      <a:pt x="78" y="161"/>
                    </a:moveTo>
                    <a:cubicBezTo>
                      <a:pt x="78" y="161"/>
                      <a:pt x="78" y="158"/>
                      <a:pt x="76" y="153"/>
                    </a:cubicBezTo>
                    <a:cubicBezTo>
                      <a:pt x="75" y="148"/>
                      <a:pt x="71" y="141"/>
                      <a:pt x="64" y="135"/>
                    </a:cubicBezTo>
                    <a:cubicBezTo>
                      <a:pt x="57" y="129"/>
                      <a:pt x="48" y="124"/>
                      <a:pt x="37" y="118"/>
                    </a:cubicBezTo>
                    <a:cubicBezTo>
                      <a:pt x="31" y="115"/>
                      <a:pt x="26" y="112"/>
                      <a:pt x="21" y="107"/>
                    </a:cubicBezTo>
                    <a:cubicBezTo>
                      <a:pt x="16" y="103"/>
                      <a:pt x="11" y="97"/>
                      <a:pt x="8" y="91"/>
                    </a:cubicBezTo>
                    <a:cubicBezTo>
                      <a:pt x="1" y="78"/>
                      <a:pt x="0" y="64"/>
                      <a:pt x="2" y="51"/>
                    </a:cubicBezTo>
                    <a:cubicBezTo>
                      <a:pt x="5" y="39"/>
                      <a:pt x="10" y="29"/>
                      <a:pt x="15" y="21"/>
                    </a:cubicBezTo>
                    <a:cubicBezTo>
                      <a:pt x="20" y="13"/>
                      <a:pt x="25" y="8"/>
                      <a:pt x="29" y="5"/>
                    </a:cubicBezTo>
                    <a:cubicBezTo>
                      <a:pt x="31" y="3"/>
                      <a:pt x="33" y="2"/>
                      <a:pt x="34" y="1"/>
                    </a:cubicBezTo>
                    <a:cubicBezTo>
                      <a:pt x="36" y="1"/>
                      <a:pt x="36" y="0"/>
                      <a:pt x="36" y="1"/>
                    </a:cubicBezTo>
                    <a:cubicBezTo>
                      <a:pt x="36" y="1"/>
                      <a:pt x="34" y="2"/>
                      <a:pt x="30" y="5"/>
                    </a:cubicBezTo>
                    <a:cubicBezTo>
                      <a:pt x="26" y="9"/>
                      <a:pt x="21" y="14"/>
                      <a:pt x="16" y="22"/>
                    </a:cubicBezTo>
                    <a:cubicBezTo>
                      <a:pt x="12" y="30"/>
                      <a:pt x="7" y="40"/>
                      <a:pt x="4" y="52"/>
                    </a:cubicBezTo>
                    <a:cubicBezTo>
                      <a:pt x="2" y="64"/>
                      <a:pt x="3" y="78"/>
                      <a:pt x="10" y="90"/>
                    </a:cubicBezTo>
                    <a:cubicBezTo>
                      <a:pt x="13" y="96"/>
                      <a:pt x="17" y="101"/>
                      <a:pt x="22" y="106"/>
                    </a:cubicBezTo>
                    <a:cubicBezTo>
                      <a:pt x="27" y="110"/>
                      <a:pt x="32" y="113"/>
                      <a:pt x="38" y="116"/>
                    </a:cubicBezTo>
                    <a:cubicBezTo>
                      <a:pt x="48" y="122"/>
                      <a:pt x="58" y="128"/>
                      <a:pt x="65" y="134"/>
                    </a:cubicBezTo>
                    <a:cubicBezTo>
                      <a:pt x="72" y="140"/>
                      <a:pt x="76" y="147"/>
                      <a:pt x="77" y="152"/>
                    </a:cubicBezTo>
                    <a:cubicBezTo>
                      <a:pt x="79" y="158"/>
                      <a:pt x="78" y="161"/>
                      <a:pt x="78" y="16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60">
                <a:extLst>
                  <a:ext uri="{FF2B5EF4-FFF2-40B4-BE49-F238E27FC236}">
                    <a16:creationId xmlns:a16="http://schemas.microsoft.com/office/drawing/2014/main" id="{E8355482-34E5-4596-ABE4-B18895AD27FD}"/>
                  </a:ext>
                </a:extLst>
              </p:cNvPr>
              <p:cNvSpPr>
                <a:spLocks/>
              </p:cNvSpPr>
              <p:nvPr/>
            </p:nvSpPr>
            <p:spPr bwMode="auto">
              <a:xfrm>
                <a:off x="4025" y="2114"/>
                <a:ext cx="539" cy="522"/>
              </a:xfrm>
              <a:custGeom>
                <a:avLst/>
                <a:gdLst>
                  <a:gd name="T0" fmla="*/ 168 w 227"/>
                  <a:gd name="T1" fmla="*/ 1 h 220"/>
                  <a:gd name="T2" fmla="*/ 169 w 227"/>
                  <a:gd name="T3" fmla="*/ 1 h 220"/>
                  <a:gd name="T4" fmla="*/ 172 w 227"/>
                  <a:gd name="T5" fmla="*/ 2 h 220"/>
                  <a:gd name="T6" fmla="*/ 183 w 227"/>
                  <a:gd name="T7" fmla="*/ 6 h 220"/>
                  <a:gd name="T8" fmla="*/ 198 w 227"/>
                  <a:gd name="T9" fmla="*/ 17 h 220"/>
                  <a:gd name="T10" fmla="*/ 212 w 227"/>
                  <a:gd name="T11" fmla="*/ 36 h 220"/>
                  <a:gd name="T12" fmla="*/ 223 w 227"/>
                  <a:gd name="T13" fmla="*/ 98 h 220"/>
                  <a:gd name="T14" fmla="*/ 210 w 227"/>
                  <a:gd name="T15" fmla="*/ 133 h 220"/>
                  <a:gd name="T16" fmla="*/ 185 w 227"/>
                  <a:gd name="T17" fmla="*/ 164 h 220"/>
                  <a:gd name="T18" fmla="*/ 153 w 227"/>
                  <a:gd name="T19" fmla="*/ 189 h 220"/>
                  <a:gd name="T20" fmla="*/ 120 w 227"/>
                  <a:gd name="T21" fmla="*/ 205 h 220"/>
                  <a:gd name="T22" fmla="*/ 58 w 227"/>
                  <a:gd name="T23" fmla="*/ 218 h 220"/>
                  <a:gd name="T24" fmla="*/ 16 w 227"/>
                  <a:gd name="T25" fmla="*/ 218 h 220"/>
                  <a:gd name="T26" fmla="*/ 4 w 227"/>
                  <a:gd name="T27" fmla="*/ 216 h 220"/>
                  <a:gd name="T28" fmla="*/ 1 w 227"/>
                  <a:gd name="T29" fmla="*/ 215 h 220"/>
                  <a:gd name="T30" fmla="*/ 0 w 227"/>
                  <a:gd name="T31" fmla="*/ 215 h 220"/>
                  <a:gd name="T32" fmla="*/ 1 w 227"/>
                  <a:gd name="T33" fmla="*/ 215 h 220"/>
                  <a:gd name="T34" fmla="*/ 4 w 227"/>
                  <a:gd name="T35" fmla="*/ 215 h 220"/>
                  <a:gd name="T36" fmla="*/ 16 w 227"/>
                  <a:gd name="T37" fmla="*/ 217 h 220"/>
                  <a:gd name="T38" fmla="*/ 58 w 227"/>
                  <a:gd name="T39" fmla="*/ 217 h 220"/>
                  <a:gd name="T40" fmla="*/ 119 w 227"/>
                  <a:gd name="T41" fmla="*/ 203 h 220"/>
                  <a:gd name="T42" fmla="*/ 184 w 227"/>
                  <a:gd name="T43" fmla="*/ 163 h 220"/>
                  <a:gd name="T44" fmla="*/ 208 w 227"/>
                  <a:gd name="T45" fmla="*/ 132 h 220"/>
                  <a:gd name="T46" fmla="*/ 221 w 227"/>
                  <a:gd name="T47" fmla="*/ 97 h 220"/>
                  <a:gd name="T48" fmla="*/ 211 w 227"/>
                  <a:gd name="T49" fmla="*/ 37 h 220"/>
                  <a:gd name="T50" fmla="*/ 197 w 227"/>
                  <a:gd name="T51" fmla="*/ 18 h 220"/>
                  <a:gd name="T52" fmla="*/ 182 w 227"/>
                  <a:gd name="T53" fmla="*/ 7 h 220"/>
                  <a:gd name="T54" fmla="*/ 172 w 227"/>
                  <a:gd name="T55" fmla="*/ 2 h 220"/>
                  <a:gd name="T56" fmla="*/ 169 w 227"/>
                  <a:gd name="T57" fmla="*/ 1 h 220"/>
                  <a:gd name="T58" fmla="*/ 168 w 227"/>
                  <a:gd name="T59" fmla="*/ 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20">
                    <a:moveTo>
                      <a:pt x="168" y="1"/>
                    </a:moveTo>
                    <a:cubicBezTo>
                      <a:pt x="168" y="0"/>
                      <a:pt x="169" y="1"/>
                      <a:pt x="169" y="1"/>
                    </a:cubicBezTo>
                    <a:cubicBezTo>
                      <a:pt x="170" y="1"/>
                      <a:pt x="171" y="1"/>
                      <a:pt x="172" y="2"/>
                    </a:cubicBezTo>
                    <a:cubicBezTo>
                      <a:pt x="175" y="2"/>
                      <a:pt x="178" y="4"/>
                      <a:pt x="183" y="6"/>
                    </a:cubicBezTo>
                    <a:cubicBezTo>
                      <a:pt x="187" y="9"/>
                      <a:pt x="192" y="12"/>
                      <a:pt x="198" y="17"/>
                    </a:cubicBezTo>
                    <a:cubicBezTo>
                      <a:pt x="203" y="22"/>
                      <a:pt x="208" y="28"/>
                      <a:pt x="212" y="36"/>
                    </a:cubicBezTo>
                    <a:cubicBezTo>
                      <a:pt x="221" y="52"/>
                      <a:pt x="227" y="74"/>
                      <a:pt x="223" y="98"/>
                    </a:cubicBezTo>
                    <a:cubicBezTo>
                      <a:pt x="221" y="109"/>
                      <a:pt x="217" y="121"/>
                      <a:pt x="210" y="133"/>
                    </a:cubicBezTo>
                    <a:cubicBezTo>
                      <a:pt x="204" y="144"/>
                      <a:pt x="195" y="155"/>
                      <a:pt x="185" y="164"/>
                    </a:cubicBezTo>
                    <a:cubicBezTo>
                      <a:pt x="175" y="174"/>
                      <a:pt x="165" y="182"/>
                      <a:pt x="153" y="189"/>
                    </a:cubicBezTo>
                    <a:cubicBezTo>
                      <a:pt x="142" y="195"/>
                      <a:pt x="131" y="201"/>
                      <a:pt x="120" y="205"/>
                    </a:cubicBezTo>
                    <a:cubicBezTo>
                      <a:pt x="97" y="213"/>
                      <a:pt x="76" y="217"/>
                      <a:pt x="58" y="218"/>
                    </a:cubicBezTo>
                    <a:cubicBezTo>
                      <a:pt x="40" y="220"/>
                      <a:pt x="26" y="219"/>
                      <a:pt x="16" y="218"/>
                    </a:cubicBezTo>
                    <a:cubicBezTo>
                      <a:pt x="11" y="217"/>
                      <a:pt x="7" y="216"/>
                      <a:pt x="4" y="216"/>
                    </a:cubicBezTo>
                    <a:cubicBezTo>
                      <a:pt x="3" y="215"/>
                      <a:pt x="2" y="215"/>
                      <a:pt x="1" y="215"/>
                    </a:cubicBezTo>
                    <a:cubicBezTo>
                      <a:pt x="1" y="215"/>
                      <a:pt x="0" y="215"/>
                      <a:pt x="0" y="215"/>
                    </a:cubicBezTo>
                    <a:cubicBezTo>
                      <a:pt x="0" y="215"/>
                      <a:pt x="1" y="215"/>
                      <a:pt x="1" y="215"/>
                    </a:cubicBezTo>
                    <a:cubicBezTo>
                      <a:pt x="2" y="215"/>
                      <a:pt x="3" y="215"/>
                      <a:pt x="4" y="215"/>
                    </a:cubicBezTo>
                    <a:cubicBezTo>
                      <a:pt x="7" y="216"/>
                      <a:pt x="11" y="216"/>
                      <a:pt x="16" y="217"/>
                    </a:cubicBezTo>
                    <a:cubicBezTo>
                      <a:pt x="26" y="218"/>
                      <a:pt x="40" y="219"/>
                      <a:pt x="58" y="217"/>
                    </a:cubicBezTo>
                    <a:cubicBezTo>
                      <a:pt x="76" y="215"/>
                      <a:pt x="97" y="212"/>
                      <a:pt x="119" y="203"/>
                    </a:cubicBezTo>
                    <a:cubicBezTo>
                      <a:pt x="141" y="194"/>
                      <a:pt x="164" y="182"/>
                      <a:pt x="184" y="163"/>
                    </a:cubicBezTo>
                    <a:cubicBezTo>
                      <a:pt x="194" y="153"/>
                      <a:pt x="202" y="143"/>
                      <a:pt x="208" y="132"/>
                    </a:cubicBezTo>
                    <a:cubicBezTo>
                      <a:pt x="215" y="121"/>
                      <a:pt x="219" y="109"/>
                      <a:pt x="221" y="97"/>
                    </a:cubicBezTo>
                    <a:cubicBezTo>
                      <a:pt x="225" y="74"/>
                      <a:pt x="220" y="52"/>
                      <a:pt x="211" y="37"/>
                    </a:cubicBezTo>
                    <a:cubicBezTo>
                      <a:pt x="207" y="29"/>
                      <a:pt x="202" y="23"/>
                      <a:pt x="197" y="18"/>
                    </a:cubicBezTo>
                    <a:cubicBezTo>
                      <a:pt x="192" y="13"/>
                      <a:pt x="187" y="9"/>
                      <a:pt x="182" y="7"/>
                    </a:cubicBezTo>
                    <a:cubicBezTo>
                      <a:pt x="178" y="4"/>
                      <a:pt x="174" y="3"/>
                      <a:pt x="172" y="2"/>
                    </a:cubicBezTo>
                    <a:cubicBezTo>
                      <a:pt x="171" y="2"/>
                      <a:pt x="170" y="1"/>
                      <a:pt x="169" y="1"/>
                    </a:cubicBezTo>
                    <a:cubicBezTo>
                      <a:pt x="169" y="1"/>
                      <a:pt x="168" y="1"/>
                      <a:pt x="168" y="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61">
                <a:extLst>
                  <a:ext uri="{FF2B5EF4-FFF2-40B4-BE49-F238E27FC236}">
                    <a16:creationId xmlns:a16="http://schemas.microsoft.com/office/drawing/2014/main" id="{CE716D97-3F44-43D1-8B96-1CCB719029E1}"/>
                  </a:ext>
                </a:extLst>
              </p:cNvPr>
              <p:cNvSpPr>
                <a:spLocks/>
              </p:cNvSpPr>
              <p:nvPr/>
            </p:nvSpPr>
            <p:spPr bwMode="auto">
              <a:xfrm>
                <a:off x="4118" y="2636"/>
                <a:ext cx="14" cy="50"/>
              </a:xfrm>
              <a:custGeom>
                <a:avLst/>
                <a:gdLst>
                  <a:gd name="T0" fmla="*/ 3 w 6"/>
                  <a:gd name="T1" fmla="*/ 21 h 21"/>
                  <a:gd name="T2" fmla="*/ 4 w 6"/>
                  <a:gd name="T3" fmla="*/ 10 h 21"/>
                  <a:gd name="T4" fmla="*/ 0 w 6"/>
                  <a:gd name="T5" fmla="*/ 0 h 21"/>
                  <a:gd name="T6" fmla="*/ 3 w 6"/>
                  <a:gd name="T7" fmla="*/ 2 h 21"/>
                  <a:gd name="T8" fmla="*/ 6 w 6"/>
                  <a:gd name="T9" fmla="*/ 10 h 21"/>
                  <a:gd name="T10" fmla="*/ 5 w 6"/>
                  <a:gd name="T11" fmla="*/ 18 h 21"/>
                  <a:gd name="T12" fmla="*/ 3 w 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6" h="21">
                    <a:moveTo>
                      <a:pt x="3" y="21"/>
                    </a:moveTo>
                    <a:cubicBezTo>
                      <a:pt x="2" y="21"/>
                      <a:pt x="5" y="16"/>
                      <a:pt x="4" y="10"/>
                    </a:cubicBezTo>
                    <a:cubicBezTo>
                      <a:pt x="4" y="4"/>
                      <a:pt x="0" y="0"/>
                      <a:pt x="0" y="0"/>
                    </a:cubicBezTo>
                    <a:cubicBezTo>
                      <a:pt x="1" y="0"/>
                      <a:pt x="2" y="0"/>
                      <a:pt x="3" y="2"/>
                    </a:cubicBezTo>
                    <a:cubicBezTo>
                      <a:pt x="4" y="4"/>
                      <a:pt x="6" y="7"/>
                      <a:pt x="6" y="10"/>
                    </a:cubicBezTo>
                    <a:cubicBezTo>
                      <a:pt x="6" y="13"/>
                      <a:pt x="6" y="16"/>
                      <a:pt x="5" y="18"/>
                    </a:cubicBezTo>
                    <a:cubicBezTo>
                      <a:pt x="4" y="20"/>
                      <a:pt x="3" y="21"/>
                      <a:pt x="3" y="21"/>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62">
                <a:extLst>
                  <a:ext uri="{FF2B5EF4-FFF2-40B4-BE49-F238E27FC236}">
                    <a16:creationId xmlns:a16="http://schemas.microsoft.com/office/drawing/2014/main" id="{F78FDC67-7115-4F6A-A049-EA712DBB81B9}"/>
                  </a:ext>
                </a:extLst>
              </p:cNvPr>
              <p:cNvSpPr>
                <a:spLocks/>
              </p:cNvSpPr>
              <p:nvPr/>
            </p:nvSpPr>
            <p:spPr bwMode="auto">
              <a:xfrm>
                <a:off x="4407" y="2536"/>
                <a:ext cx="55" cy="81"/>
              </a:xfrm>
              <a:custGeom>
                <a:avLst/>
                <a:gdLst>
                  <a:gd name="T0" fmla="*/ 23 w 23"/>
                  <a:gd name="T1" fmla="*/ 34 h 34"/>
                  <a:gd name="T2" fmla="*/ 16 w 23"/>
                  <a:gd name="T3" fmla="*/ 33 h 34"/>
                  <a:gd name="T4" fmla="*/ 4 w 23"/>
                  <a:gd name="T5" fmla="*/ 22 h 34"/>
                  <a:gd name="T6" fmla="*/ 0 w 23"/>
                  <a:gd name="T7" fmla="*/ 7 h 34"/>
                  <a:gd name="T8" fmla="*/ 2 w 23"/>
                  <a:gd name="T9" fmla="*/ 0 h 34"/>
                  <a:gd name="T10" fmla="*/ 2 w 23"/>
                  <a:gd name="T11" fmla="*/ 7 h 34"/>
                  <a:gd name="T12" fmla="*/ 6 w 23"/>
                  <a:gd name="T13" fmla="*/ 21 h 34"/>
                  <a:gd name="T14" fmla="*/ 17 w 23"/>
                  <a:gd name="T15" fmla="*/ 31 h 34"/>
                  <a:gd name="T16" fmla="*/ 23 w 23"/>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4">
                    <a:moveTo>
                      <a:pt x="23" y="34"/>
                    </a:moveTo>
                    <a:cubicBezTo>
                      <a:pt x="23" y="34"/>
                      <a:pt x="20" y="34"/>
                      <a:pt x="16" y="33"/>
                    </a:cubicBezTo>
                    <a:cubicBezTo>
                      <a:pt x="12" y="31"/>
                      <a:pt x="7" y="28"/>
                      <a:pt x="4" y="22"/>
                    </a:cubicBezTo>
                    <a:cubicBezTo>
                      <a:pt x="0" y="17"/>
                      <a:pt x="0" y="11"/>
                      <a:pt x="0" y="7"/>
                    </a:cubicBezTo>
                    <a:cubicBezTo>
                      <a:pt x="1" y="3"/>
                      <a:pt x="2" y="0"/>
                      <a:pt x="2" y="0"/>
                    </a:cubicBezTo>
                    <a:cubicBezTo>
                      <a:pt x="3" y="0"/>
                      <a:pt x="2" y="3"/>
                      <a:pt x="2" y="7"/>
                    </a:cubicBezTo>
                    <a:cubicBezTo>
                      <a:pt x="2" y="11"/>
                      <a:pt x="2" y="16"/>
                      <a:pt x="6" y="21"/>
                    </a:cubicBezTo>
                    <a:cubicBezTo>
                      <a:pt x="9" y="26"/>
                      <a:pt x="13" y="30"/>
                      <a:pt x="17" y="31"/>
                    </a:cubicBezTo>
                    <a:cubicBezTo>
                      <a:pt x="20" y="33"/>
                      <a:pt x="23" y="33"/>
                      <a:pt x="23" y="34"/>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63">
                <a:extLst>
                  <a:ext uri="{FF2B5EF4-FFF2-40B4-BE49-F238E27FC236}">
                    <a16:creationId xmlns:a16="http://schemas.microsoft.com/office/drawing/2014/main" id="{59DE579D-25E9-49A1-AC97-E38AEDAAA382}"/>
                  </a:ext>
                </a:extLst>
              </p:cNvPr>
              <p:cNvSpPr>
                <a:spLocks/>
              </p:cNvSpPr>
              <p:nvPr/>
            </p:nvSpPr>
            <p:spPr bwMode="auto">
              <a:xfrm>
                <a:off x="3885" y="2228"/>
                <a:ext cx="539" cy="206"/>
              </a:xfrm>
              <a:custGeom>
                <a:avLst/>
                <a:gdLst>
                  <a:gd name="T0" fmla="*/ 227 w 227"/>
                  <a:gd name="T1" fmla="*/ 0 h 87"/>
                  <a:gd name="T2" fmla="*/ 226 w 227"/>
                  <a:gd name="T3" fmla="*/ 2 h 87"/>
                  <a:gd name="T4" fmla="*/ 222 w 227"/>
                  <a:gd name="T5" fmla="*/ 9 h 87"/>
                  <a:gd name="T6" fmla="*/ 205 w 227"/>
                  <a:gd name="T7" fmla="*/ 32 h 87"/>
                  <a:gd name="T8" fmla="*/ 174 w 227"/>
                  <a:gd name="T9" fmla="*/ 59 h 87"/>
                  <a:gd name="T10" fmla="*/ 127 w 227"/>
                  <a:gd name="T11" fmla="*/ 81 h 87"/>
                  <a:gd name="T12" fmla="*/ 77 w 227"/>
                  <a:gd name="T13" fmla="*/ 86 h 87"/>
                  <a:gd name="T14" fmla="*/ 35 w 227"/>
                  <a:gd name="T15" fmla="*/ 79 h 87"/>
                  <a:gd name="T16" fmla="*/ 9 w 227"/>
                  <a:gd name="T17" fmla="*/ 69 h 87"/>
                  <a:gd name="T18" fmla="*/ 3 w 227"/>
                  <a:gd name="T19" fmla="*/ 65 h 87"/>
                  <a:gd name="T20" fmla="*/ 0 w 227"/>
                  <a:gd name="T21" fmla="*/ 63 h 87"/>
                  <a:gd name="T22" fmla="*/ 3 w 227"/>
                  <a:gd name="T23" fmla="*/ 64 h 87"/>
                  <a:gd name="T24" fmla="*/ 10 w 227"/>
                  <a:gd name="T25" fmla="*/ 68 h 87"/>
                  <a:gd name="T26" fmla="*/ 36 w 227"/>
                  <a:gd name="T27" fmla="*/ 78 h 87"/>
                  <a:gd name="T28" fmla="*/ 77 w 227"/>
                  <a:gd name="T29" fmla="*/ 84 h 87"/>
                  <a:gd name="T30" fmla="*/ 127 w 227"/>
                  <a:gd name="T31" fmla="*/ 79 h 87"/>
                  <a:gd name="T32" fmla="*/ 173 w 227"/>
                  <a:gd name="T33" fmla="*/ 58 h 87"/>
                  <a:gd name="T34" fmla="*/ 204 w 227"/>
                  <a:gd name="T35" fmla="*/ 31 h 87"/>
                  <a:gd name="T36" fmla="*/ 222 w 227"/>
                  <a:gd name="T37" fmla="*/ 9 h 87"/>
                  <a:gd name="T38" fmla="*/ 226 w 227"/>
                  <a:gd name="T39" fmla="*/ 2 h 87"/>
                  <a:gd name="T40" fmla="*/ 227 w 227"/>
                  <a:gd name="T4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87">
                    <a:moveTo>
                      <a:pt x="227" y="0"/>
                    </a:moveTo>
                    <a:cubicBezTo>
                      <a:pt x="227" y="0"/>
                      <a:pt x="227" y="1"/>
                      <a:pt x="226" y="2"/>
                    </a:cubicBezTo>
                    <a:cubicBezTo>
                      <a:pt x="225" y="4"/>
                      <a:pt x="224" y="6"/>
                      <a:pt x="222" y="9"/>
                    </a:cubicBezTo>
                    <a:cubicBezTo>
                      <a:pt x="219" y="15"/>
                      <a:pt x="213" y="23"/>
                      <a:pt x="205" y="32"/>
                    </a:cubicBezTo>
                    <a:cubicBezTo>
                      <a:pt x="198" y="41"/>
                      <a:pt x="187" y="50"/>
                      <a:pt x="174" y="59"/>
                    </a:cubicBezTo>
                    <a:cubicBezTo>
                      <a:pt x="161" y="68"/>
                      <a:pt x="145" y="76"/>
                      <a:pt x="127" y="81"/>
                    </a:cubicBezTo>
                    <a:cubicBezTo>
                      <a:pt x="110" y="85"/>
                      <a:pt x="92" y="87"/>
                      <a:pt x="77" y="86"/>
                    </a:cubicBezTo>
                    <a:cubicBezTo>
                      <a:pt x="61" y="86"/>
                      <a:pt x="47" y="83"/>
                      <a:pt x="35" y="79"/>
                    </a:cubicBezTo>
                    <a:cubicBezTo>
                      <a:pt x="24" y="76"/>
                      <a:pt x="15" y="72"/>
                      <a:pt x="9" y="69"/>
                    </a:cubicBezTo>
                    <a:cubicBezTo>
                      <a:pt x="6" y="67"/>
                      <a:pt x="4" y="66"/>
                      <a:pt x="3" y="65"/>
                    </a:cubicBezTo>
                    <a:cubicBezTo>
                      <a:pt x="1" y="64"/>
                      <a:pt x="0" y="63"/>
                      <a:pt x="0" y="63"/>
                    </a:cubicBezTo>
                    <a:cubicBezTo>
                      <a:pt x="0" y="63"/>
                      <a:pt x="1" y="64"/>
                      <a:pt x="3" y="64"/>
                    </a:cubicBezTo>
                    <a:cubicBezTo>
                      <a:pt x="4" y="65"/>
                      <a:pt x="7" y="66"/>
                      <a:pt x="10" y="68"/>
                    </a:cubicBezTo>
                    <a:cubicBezTo>
                      <a:pt x="16" y="71"/>
                      <a:pt x="24" y="74"/>
                      <a:pt x="36" y="78"/>
                    </a:cubicBezTo>
                    <a:cubicBezTo>
                      <a:pt x="47" y="81"/>
                      <a:pt x="61" y="84"/>
                      <a:pt x="77" y="84"/>
                    </a:cubicBezTo>
                    <a:cubicBezTo>
                      <a:pt x="92" y="85"/>
                      <a:pt x="109" y="83"/>
                      <a:pt x="127" y="79"/>
                    </a:cubicBezTo>
                    <a:cubicBezTo>
                      <a:pt x="144" y="74"/>
                      <a:pt x="160" y="66"/>
                      <a:pt x="173" y="58"/>
                    </a:cubicBezTo>
                    <a:cubicBezTo>
                      <a:pt x="186" y="49"/>
                      <a:pt x="196" y="39"/>
                      <a:pt x="204" y="31"/>
                    </a:cubicBezTo>
                    <a:cubicBezTo>
                      <a:pt x="212" y="22"/>
                      <a:pt x="218" y="14"/>
                      <a:pt x="222" y="9"/>
                    </a:cubicBezTo>
                    <a:cubicBezTo>
                      <a:pt x="223" y="6"/>
                      <a:pt x="225" y="4"/>
                      <a:pt x="226" y="2"/>
                    </a:cubicBezTo>
                    <a:cubicBezTo>
                      <a:pt x="227" y="1"/>
                      <a:pt x="227" y="0"/>
                      <a:pt x="227"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64">
                <a:extLst>
                  <a:ext uri="{FF2B5EF4-FFF2-40B4-BE49-F238E27FC236}">
                    <a16:creationId xmlns:a16="http://schemas.microsoft.com/office/drawing/2014/main" id="{E9E07999-6E4C-48B1-9F98-452DC71D0242}"/>
                  </a:ext>
                </a:extLst>
              </p:cNvPr>
              <p:cNvSpPr>
                <a:spLocks noEditPoints="1"/>
              </p:cNvSpPr>
              <p:nvPr/>
            </p:nvSpPr>
            <p:spPr bwMode="auto">
              <a:xfrm>
                <a:off x="4172" y="2261"/>
                <a:ext cx="475" cy="437"/>
              </a:xfrm>
              <a:custGeom>
                <a:avLst/>
                <a:gdLst>
                  <a:gd name="T0" fmla="*/ 69 w 200"/>
                  <a:gd name="T1" fmla="*/ 149 h 184"/>
                  <a:gd name="T2" fmla="*/ 0 w 200"/>
                  <a:gd name="T3" fmla="*/ 181 h 184"/>
                  <a:gd name="T4" fmla="*/ 29 w 200"/>
                  <a:gd name="T5" fmla="*/ 184 h 184"/>
                  <a:gd name="T6" fmla="*/ 77 w 200"/>
                  <a:gd name="T7" fmla="*/ 177 h 184"/>
                  <a:gd name="T8" fmla="*/ 79 w 200"/>
                  <a:gd name="T9" fmla="*/ 158 h 184"/>
                  <a:gd name="T10" fmla="*/ 69 w 200"/>
                  <a:gd name="T11" fmla="*/ 149 h 184"/>
                  <a:gd name="T12" fmla="*/ 123 w 200"/>
                  <a:gd name="T13" fmla="*/ 106 h 184"/>
                  <a:gd name="T14" fmla="*/ 123 w 200"/>
                  <a:gd name="T15" fmla="*/ 106 h 184"/>
                  <a:gd name="T16" fmla="*/ 101 w 200"/>
                  <a:gd name="T17" fmla="*/ 127 h 184"/>
                  <a:gd name="T18" fmla="*/ 105 w 200"/>
                  <a:gd name="T19" fmla="*/ 137 h 184"/>
                  <a:gd name="T20" fmla="*/ 116 w 200"/>
                  <a:gd name="T21" fmla="*/ 147 h 184"/>
                  <a:gd name="T22" fmla="*/ 122 w 200"/>
                  <a:gd name="T23" fmla="*/ 150 h 184"/>
                  <a:gd name="T24" fmla="*/ 121 w 200"/>
                  <a:gd name="T25" fmla="*/ 150 h 184"/>
                  <a:gd name="T26" fmla="*/ 115 w 200"/>
                  <a:gd name="T27" fmla="*/ 149 h 184"/>
                  <a:gd name="T28" fmla="*/ 103 w 200"/>
                  <a:gd name="T29" fmla="*/ 138 h 184"/>
                  <a:gd name="T30" fmla="*/ 99 w 200"/>
                  <a:gd name="T31" fmla="*/ 128 h 184"/>
                  <a:gd name="T32" fmla="*/ 78 w 200"/>
                  <a:gd name="T33" fmla="*/ 143 h 184"/>
                  <a:gd name="T34" fmla="*/ 70 w 200"/>
                  <a:gd name="T35" fmla="*/ 149 h 184"/>
                  <a:gd name="T36" fmla="*/ 80 w 200"/>
                  <a:gd name="T37" fmla="*/ 157 h 184"/>
                  <a:gd name="T38" fmla="*/ 80 w 200"/>
                  <a:gd name="T39" fmla="*/ 158 h 184"/>
                  <a:gd name="T40" fmla="*/ 80 w 200"/>
                  <a:gd name="T41" fmla="*/ 158 h 184"/>
                  <a:gd name="T42" fmla="*/ 78 w 200"/>
                  <a:gd name="T43" fmla="*/ 176 h 184"/>
                  <a:gd name="T44" fmla="*/ 89 w 200"/>
                  <a:gd name="T45" fmla="*/ 173 h 184"/>
                  <a:gd name="T46" fmla="*/ 161 w 200"/>
                  <a:gd name="T47" fmla="*/ 121 h 184"/>
                  <a:gd name="T48" fmla="*/ 130 w 200"/>
                  <a:gd name="T49" fmla="*/ 118 h 184"/>
                  <a:gd name="T50" fmla="*/ 130 w 200"/>
                  <a:gd name="T51" fmla="*/ 118 h 184"/>
                  <a:gd name="T52" fmla="*/ 129 w 200"/>
                  <a:gd name="T53" fmla="*/ 118 h 184"/>
                  <a:gd name="T54" fmla="*/ 123 w 200"/>
                  <a:gd name="T55" fmla="*/ 106 h 184"/>
                  <a:gd name="T56" fmla="*/ 175 w 200"/>
                  <a:gd name="T57" fmla="*/ 0 h 184"/>
                  <a:gd name="T58" fmla="*/ 172 w 200"/>
                  <a:gd name="T59" fmla="*/ 1 h 184"/>
                  <a:gd name="T60" fmla="*/ 164 w 200"/>
                  <a:gd name="T61" fmla="*/ 20 h 184"/>
                  <a:gd name="T62" fmla="*/ 124 w 200"/>
                  <a:gd name="T63" fmla="*/ 105 h 184"/>
                  <a:gd name="T64" fmla="*/ 131 w 200"/>
                  <a:gd name="T65" fmla="*/ 116 h 184"/>
                  <a:gd name="T66" fmla="*/ 163 w 200"/>
                  <a:gd name="T67" fmla="*/ 119 h 184"/>
                  <a:gd name="T68" fmla="*/ 176 w 200"/>
                  <a:gd name="T69" fmla="*/ 100 h 184"/>
                  <a:gd name="T70" fmla="*/ 189 w 200"/>
                  <a:gd name="T71" fmla="*/ 13 h 184"/>
                  <a:gd name="T72" fmla="*/ 175 w 200"/>
                  <a:gd name="T7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184">
                    <a:moveTo>
                      <a:pt x="69" y="149"/>
                    </a:moveTo>
                    <a:cubicBezTo>
                      <a:pt x="48" y="163"/>
                      <a:pt x="25" y="174"/>
                      <a:pt x="0" y="181"/>
                    </a:cubicBezTo>
                    <a:cubicBezTo>
                      <a:pt x="10" y="183"/>
                      <a:pt x="19" y="184"/>
                      <a:pt x="29" y="184"/>
                    </a:cubicBezTo>
                    <a:cubicBezTo>
                      <a:pt x="45" y="184"/>
                      <a:pt x="61" y="181"/>
                      <a:pt x="77" y="177"/>
                    </a:cubicBezTo>
                    <a:cubicBezTo>
                      <a:pt x="77" y="170"/>
                      <a:pt x="78" y="164"/>
                      <a:pt x="79" y="158"/>
                    </a:cubicBezTo>
                    <a:cubicBezTo>
                      <a:pt x="75" y="155"/>
                      <a:pt x="72" y="152"/>
                      <a:pt x="69" y="149"/>
                    </a:cubicBezTo>
                    <a:moveTo>
                      <a:pt x="123" y="106"/>
                    </a:moveTo>
                    <a:cubicBezTo>
                      <a:pt x="123" y="106"/>
                      <a:pt x="123" y="106"/>
                      <a:pt x="123" y="106"/>
                    </a:cubicBezTo>
                    <a:cubicBezTo>
                      <a:pt x="116" y="114"/>
                      <a:pt x="109" y="120"/>
                      <a:pt x="101" y="127"/>
                    </a:cubicBezTo>
                    <a:cubicBezTo>
                      <a:pt x="101" y="130"/>
                      <a:pt x="102" y="134"/>
                      <a:pt x="105" y="137"/>
                    </a:cubicBezTo>
                    <a:cubicBezTo>
                      <a:pt x="108" y="142"/>
                      <a:pt x="112" y="146"/>
                      <a:pt x="116" y="147"/>
                    </a:cubicBezTo>
                    <a:cubicBezTo>
                      <a:pt x="119" y="149"/>
                      <a:pt x="122" y="149"/>
                      <a:pt x="122" y="150"/>
                    </a:cubicBezTo>
                    <a:cubicBezTo>
                      <a:pt x="122" y="150"/>
                      <a:pt x="121" y="150"/>
                      <a:pt x="121" y="150"/>
                    </a:cubicBezTo>
                    <a:cubicBezTo>
                      <a:pt x="120" y="150"/>
                      <a:pt x="118" y="149"/>
                      <a:pt x="115" y="149"/>
                    </a:cubicBezTo>
                    <a:cubicBezTo>
                      <a:pt x="111" y="147"/>
                      <a:pt x="106" y="144"/>
                      <a:pt x="103" y="138"/>
                    </a:cubicBezTo>
                    <a:cubicBezTo>
                      <a:pt x="101" y="135"/>
                      <a:pt x="100" y="131"/>
                      <a:pt x="99" y="128"/>
                    </a:cubicBezTo>
                    <a:cubicBezTo>
                      <a:pt x="92" y="134"/>
                      <a:pt x="85" y="139"/>
                      <a:pt x="78" y="143"/>
                    </a:cubicBezTo>
                    <a:cubicBezTo>
                      <a:pt x="75" y="145"/>
                      <a:pt x="73" y="147"/>
                      <a:pt x="70" y="149"/>
                    </a:cubicBezTo>
                    <a:cubicBezTo>
                      <a:pt x="73" y="151"/>
                      <a:pt x="76" y="154"/>
                      <a:pt x="80" y="157"/>
                    </a:cubicBezTo>
                    <a:cubicBezTo>
                      <a:pt x="80" y="158"/>
                      <a:pt x="80" y="158"/>
                      <a:pt x="80" y="158"/>
                    </a:cubicBezTo>
                    <a:cubicBezTo>
                      <a:pt x="80" y="158"/>
                      <a:pt x="80" y="158"/>
                      <a:pt x="80" y="158"/>
                    </a:cubicBezTo>
                    <a:cubicBezTo>
                      <a:pt x="80" y="164"/>
                      <a:pt x="79" y="170"/>
                      <a:pt x="78" y="176"/>
                    </a:cubicBezTo>
                    <a:cubicBezTo>
                      <a:pt x="82" y="175"/>
                      <a:pt x="85" y="174"/>
                      <a:pt x="89" y="173"/>
                    </a:cubicBezTo>
                    <a:cubicBezTo>
                      <a:pt x="117" y="162"/>
                      <a:pt x="142" y="144"/>
                      <a:pt x="161" y="121"/>
                    </a:cubicBezTo>
                    <a:cubicBezTo>
                      <a:pt x="150" y="120"/>
                      <a:pt x="140" y="119"/>
                      <a:pt x="130" y="118"/>
                    </a:cubicBezTo>
                    <a:cubicBezTo>
                      <a:pt x="130" y="118"/>
                      <a:pt x="130" y="118"/>
                      <a:pt x="130" y="118"/>
                    </a:cubicBezTo>
                    <a:cubicBezTo>
                      <a:pt x="129" y="118"/>
                      <a:pt x="129" y="118"/>
                      <a:pt x="129" y="118"/>
                    </a:cubicBezTo>
                    <a:cubicBezTo>
                      <a:pt x="127" y="114"/>
                      <a:pt x="125" y="110"/>
                      <a:pt x="123" y="106"/>
                    </a:cubicBezTo>
                    <a:moveTo>
                      <a:pt x="175" y="0"/>
                    </a:moveTo>
                    <a:cubicBezTo>
                      <a:pt x="174" y="0"/>
                      <a:pt x="173" y="0"/>
                      <a:pt x="172" y="1"/>
                    </a:cubicBezTo>
                    <a:cubicBezTo>
                      <a:pt x="165" y="3"/>
                      <a:pt x="164" y="13"/>
                      <a:pt x="164" y="20"/>
                    </a:cubicBezTo>
                    <a:cubicBezTo>
                      <a:pt x="164" y="52"/>
                      <a:pt x="148" y="82"/>
                      <a:pt x="124" y="105"/>
                    </a:cubicBezTo>
                    <a:cubicBezTo>
                      <a:pt x="126" y="108"/>
                      <a:pt x="129" y="112"/>
                      <a:pt x="131" y="116"/>
                    </a:cubicBezTo>
                    <a:cubicBezTo>
                      <a:pt x="141" y="117"/>
                      <a:pt x="152" y="118"/>
                      <a:pt x="163" y="119"/>
                    </a:cubicBezTo>
                    <a:cubicBezTo>
                      <a:pt x="168" y="113"/>
                      <a:pt x="172" y="106"/>
                      <a:pt x="176" y="100"/>
                    </a:cubicBezTo>
                    <a:cubicBezTo>
                      <a:pt x="192" y="74"/>
                      <a:pt x="200" y="41"/>
                      <a:pt x="189" y="13"/>
                    </a:cubicBezTo>
                    <a:cubicBezTo>
                      <a:pt x="186" y="7"/>
                      <a:pt x="181" y="0"/>
                      <a:pt x="175"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65">
                <a:extLst>
                  <a:ext uri="{FF2B5EF4-FFF2-40B4-BE49-F238E27FC236}">
                    <a16:creationId xmlns:a16="http://schemas.microsoft.com/office/drawing/2014/main" id="{2025CF31-FB04-4FEC-BA64-38C8BEB91960}"/>
                  </a:ext>
                </a:extLst>
              </p:cNvPr>
              <p:cNvSpPr>
                <a:spLocks noEditPoints="1"/>
              </p:cNvSpPr>
              <p:nvPr/>
            </p:nvSpPr>
            <p:spPr bwMode="auto">
              <a:xfrm>
                <a:off x="4336" y="2510"/>
                <a:ext cx="223" cy="171"/>
              </a:xfrm>
              <a:custGeom>
                <a:avLst/>
                <a:gdLst>
                  <a:gd name="T0" fmla="*/ 1 w 94"/>
                  <a:gd name="T1" fmla="*/ 44 h 72"/>
                  <a:gd name="T2" fmla="*/ 0 w 94"/>
                  <a:gd name="T3" fmla="*/ 44 h 72"/>
                  <a:gd name="T4" fmla="*/ 10 w 94"/>
                  <a:gd name="T5" fmla="*/ 53 h 72"/>
                  <a:gd name="T6" fmla="*/ 8 w 94"/>
                  <a:gd name="T7" fmla="*/ 72 h 72"/>
                  <a:gd name="T8" fmla="*/ 9 w 94"/>
                  <a:gd name="T9" fmla="*/ 71 h 72"/>
                  <a:gd name="T10" fmla="*/ 11 w 94"/>
                  <a:gd name="T11" fmla="*/ 53 h 72"/>
                  <a:gd name="T12" fmla="*/ 11 w 94"/>
                  <a:gd name="T13" fmla="*/ 53 h 72"/>
                  <a:gd name="T14" fmla="*/ 11 w 94"/>
                  <a:gd name="T15" fmla="*/ 52 h 72"/>
                  <a:gd name="T16" fmla="*/ 1 w 94"/>
                  <a:gd name="T17" fmla="*/ 44 h 72"/>
                  <a:gd name="T18" fmla="*/ 55 w 94"/>
                  <a:gd name="T19" fmla="*/ 0 h 72"/>
                  <a:gd name="T20" fmla="*/ 54 w 94"/>
                  <a:gd name="T21" fmla="*/ 1 h 72"/>
                  <a:gd name="T22" fmla="*/ 60 w 94"/>
                  <a:gd name="T23" fmla="*/ 13 h 72"/>
                  <a:gd name="T24" fmla="*/ 61 w 94"/>
                  <a:gd name="T25" fmla="*/ 13 h 72"/>
                  <a:gd name="T26" fmla="*/ 61 w 94"/>
                  <a:gd name="T27" fmla="*/ 13 h 72"/>
                  <a:gd name="T28" fmla="*/ 92 w 94"/>
                  <a:gd name="T29" fmla="*/ 16 h 72"/>
                  <a:gd name="T30" fmla="*/ 94 w 94"/>
                  <a:gd name="T31" fmla="*/ 14 h 72"/>
                  <a:gd name="T32" fmla="*/ 62 w 94"/>
                  <a:gd name="T33" fmla="*/ 11 h 72"/>
                  <a:gd name="T34" fmla="*/ 55 w 94"/>
                  <a:gd name="T35"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72">
                    <a:moveTo>
                      <a:pt x="1" y="44"/>
                    </a:moveTo>
                    <a:cubicBezTo>
                      <a:pt x="1" y="44"/>
                      <a:pt x="0" y="44"/>
                      <a:pt x="0" y="44"/>
                    </a:cubicBezTo>
                    <a:cubicBezTo>
                      <a:pt x="3" y="47"/>
                      <a:pt x="6" y="50"/>
                      <a:pt x="10" y="53"/>
                    </a:cubicBezTo>
                    <a:cubicBezTo>
                      <a:pt x="9" y="59"/>
                      <a:pt x="8" y="65"/>
                      <a:pt x="8" y="72"/>
                    </a:cubicBezTo>
                    <a:cubicBezTo>
                      <a:pt x="8" y="72"/>
                      <a:pt x="9" y="72"/>
                      <a:pt x="9" y="71"/>
                    </a:cubicBezTo>
                    <a:cubicBezTo>
                      <a:pt x="10" y="65"/>
                      <a:pt x="11" y="59"/>
                      <a:pt x="11" y="53"/>
                    </a:cubicBezTo>
                    <a:cubicBezTo>
                      <a:pt x="11" y="53"/>
                      <a:pt x="11" y="53"/>
                      <a:pt x="11" y="53"/>
                    </a:cubicBezTo>
                    <a:cubicBezTo>
                      <a:pt x="11" y="52"/>
                      <a:pt x="11" y="52"/>
                      <a:pt x="11" y="52"/>
                    </a:cubicBezTo>
                    <a:cubicBezTo>
                      <a:pt x="7" y="49"/>
                      <a:pt x="4" y="46"/>
                      <a:pt x="1" y="44"/>
                    </a:cubicBezTo>
                    <a:moveTo>
                      <a:pt x="55" y="0"/>
                    </a:moveTo>
                    <a:cubicBezTo>
                      <a:pt x="55" y="0"/>
                      <a:pt x="54" y="0"/>
                      <a:pt x="54" y="1"/>
                    </a:cubicBezTo>
                    <a:cubicBezTo>
                      <a:pt x="56" y="5"/>
                      <a:pt x="58" y="9"/>
                      <a:pt x="60" y="13"/>
                    </a:cubicBezTo>
                    <a:cubicBezTo>
                      <a:pt x="61" y="13"/>
                      <a:pt x="61" y="13"/>
                      <a:pt x="61" y="13"/>
                    </a:cubicBezTo>
                    <a:cubicBezTo>
                      <a:pt x="61" y="13"/>
                      <a:pt x="61" y="13"/>
                      <a:pt x="61" y="13"/>
                    </a:cubicBezTo>
                    <a:cubicBezTo>
                      <a:pt x="71" y="14"/>
                      <a:pt x="81" y="15"/>
                      <a:pt x="92" y="16"/>
                    </a:cubicBezTo>
                    <a:cubicBezTo>
                      <a:pt x="93" y="15"/>
                      <a:pt x="93" y="15"/>
                      <a:pt x="94" y="14"/>
                    </a:cubicBezTo>
                    <a:cubicBezTo>
                      <a:pt x="83" y="13"/>
                      <a:pt x="72" y="12"/>
                      <a:pt x="62" y="11"/>
                    </a:cubicBezTo>
                    <a:cubicBezTo>
                      <a:pt x="60" y="7"/>
                      <a:pt x="57" y="3"/>
                      <a:pt x="55" y="0"/>
                    </a:cubicBezTo>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66">
                <a:extLst>
                  <a:ext uri="{FF2B5EF4-FFF2-40B4-BE49-F238E27FC236}">
                    <a16:creationId xmlns:a16="http://schemas.microsoft.com/office/drawing/2014/main" id="{1DEF63DA-A23D-42D5-BA80-487432AE6DD7}"/>
                  </a:ext>
                </a:extLst>
              </p:cNvPr>
              <p:cNvSpPr>
                <a:spLocks noEditPoints="1"/>
              </p:cNvSpPr>
              <p:nvPr/>
            </p:nvSpPr>
            <p:spPr bwMode="auto">
              <a:xfrm>
                <a:off x="4082" y="2513"/>
                <a:ext cx="382" cy="178"/>
              </a:xfrm>
              <a:custGeom>
                <a:avLst/>
                <a:gdLst>
                  <a:gd name="T0" fmla="*/ 137 w 161"/>
                  <a:gd name="T1" fmla="*/ 18 h 75"/>
                  <a:gd name="T2" fmla="*/ 135 w 161"/>
                  <a:gd name="T3" fmla="*/ 19 h 75"/>
                  <a:gd name="T4" fmla="*/ 95 w 161"/>
                  <a:gd name="T5" fmla="*/ 37 h 75"/>
                  <a:gd name="T6" fmla="*/ 34 w 161"/>
                  <a:gd name="T7" fmla="*/ 50 h 75"/>
                  <a:gd name="T8" fmla="*/ 19 w 161"/>
                  <a:gd name="T9" fmla="*/ 51 h 75"/>
                  <a:gd name="T10" fmla="*/ 9 w 161"/>
                  <a:gd name="T11" fmla="*/ 52 h 75"/>
                  <a:gd name="T12" fmla="*/ 3 w 161"/>
                  <a:gd name="T13" fmla="*/ 52 h 75"/>
                  <a:gd name="T14" fmla="*/ 2 w 161"/>
                  <a:gd name="T15" fmla="*/ 63 h 75"/>
                  <a:gd name="T16" fmla="*/ 13 w 161"/>
                  <a:gd name="T17" fmla="*/ 69 h 75"/>
                  <a:gd name="T18" fmla="*/ 18 w 161"/>
                  <a:gd name="T19" fmla="*/ 71 h 75"/>
                  <a:gd name="T20" fmla="*/ 19 w 161"/>
                  <a:gd name="T21" fmla="*/ 62 h 75"/>
                  <a:gd name="T22" fmla="*/ 15 w 161"/>
                  <a:gd name="T23" fmla="*/ 52 h 75"/>
                  <a:gd name="T24" fmla="*/ 16 w 161"/>
                  <a:gd name="T25" fmla="*/ 52 h 75"/>
                  <a:gd name="T26" fmla="*/ 18 w 161"/>
                  <a:gd name="T27" fmla="*/ 54 h 75"/>
                  <a:gd name="T28" fmla="*/ 21 w 161"/>
                  <a:gd name="T29" fmla="*/ 62 h 75"/>
                  <a:gd name="T30" fmla="*/ 20 w 161"/>
                  <a:gd name="T31" fmla="*/ 70 h 75"/>
                  <a:gd name="T32" fmla="*/ 19 w 161"/>
                  <a:gd name="T33" fmla="*/ 71 h 75"/>
                  <a:gd name="T34" fmla="*/ 38 w 161"/>
                  <a:gd name="T35" fmla="*/ 75 h 75"/>
                  <a:gd name="T36" fmla="*/ 107 w 161"/>
                  <a:gd name="T37" fmla="*/ 43 h 75"/>
                  <a:gd name="T38" fmla="*/ 108 w 161"/>
                  <a:gd name="T39" fmla="*/ 43 h 75"/>
                  <a:gd name="T40" fmla="*/ 116 w 161"/>
                  <a:gd name="T41" fmla="*/ 37 h 75"/>
                  <a:gd name="T42" fmla="*/ 137 w 161"/>
                  <a:gd name="T43" fmla="*/ 22 h 75"/>
                  <a:gd name="T44" fmla="*/ 137 w 161"/>
                  <a:gd name="T45" fmla="*/ 18 h 75"/>
                  <a:gd name="T46" fmla="*/ 161 w 161"/>
                  <a:gd name="T47" fmla="*/ 0 h 75"/>
                  <a:gd name="T48" fmla="*/ 139 w 161"/>
                  <a:gd name="T49" fmla="*/ 17 h 75"/>
                  <a:gd name="T50" fmla="*/ 139 w 161"/>
                  <a:gd name="T51" fmla="*/ 21 h 75"/>
                  <a:gd name="T52" fmla="*/ 161 w 161"/>
                  <a:gd name="T5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 h="75">
                    <a:moveTo>
                      <a:pt x="137" y="18"/>
                    </a:moveTo>
                    <a:cubicBezTo>
                      <a:pt x="136" y="18"/>
                      <a:pt x="135" y="19"/>
                      <a:pt x="135" y="19"/>
                    </a:cubicBezTo>
                    <a:cubicBezTo>
                      <a:pt x="122" y="27"/>
                      <a:pt x="109" y="33"/>
                      <a:pt x="95" y="37"/>
                    </a:cubicBezTo>
                    <a:cubicBezTo>
                      <a:pt x="73" y="45"/>
                      <a:pt x="52" y="49"/>
                      <a:pt x="34" y="50"/>
                    </a:cubicBezTo>
                    <a:cubicBezTo>
                      <a:pt x="29" y="51"/>
                      <a:pt x="24" y="51"/>
                      <a:pt x="19" y="51"/>
                    </a:cubicBezTo>
                    <a:cubicBezTo>
                      <a:pt x="16" y="51"/>
                      <a:pt x="12" y="52"/>
                      <a:pt x="9" y="52"/>
                    </a:cubicBezTo>
                    <a:cubicBezTo>
                      <a:pt x="3" y="52"/>
                      <a:pt x="3" y="52"/>
                      <a:pt x="3" y="52"/>
                    </a:cubicBezTo>
                    <a:cubicBezTo>
                      <a:pt x="0" y="54"/>
                      <a:pt x="0" y="59"/>
                      <a:pt x="2" y="63"/>
                    </a:cubicBezTo>
                    <a:cubicBezTo>
                      <a:pt x="5" y="66"/>
                      <a:pt x="9" y="68"/>
                      <a:pt x="13" y="69"/>
                    </a:cubicBezTo>
                    <a:cubicBezTo>
                      <a:pt x="14" y="69"/>
                      <a:pt x="16" y="70"/>
                      <a:pt x="18" y="71"/>
                    </a:cubicBezTo>
                    <a:cubicBezTo>
                      <a:pt x="19" y="69"/>
                      <a:pt x="19" y="66"/>
                      <a:pt x="19" y="62"/>
                    </a:cubicBezTo>
                    <a:cubicBezTo>
                      <a:pt x="19" y="56"/>
                      <a:pt x="15" y="52"/>
                      <a:pt x="15" y="52"/>
                    </a:cubicBezTo>
                    <a:cubicBezTo>
                      <a:pt x="16" y="52"/>
                      <a:pt x="16" y="52"/>
                      <a:pt x="16" y="52"/>
                    </a:cubicBezTo>
                    <a:cubicBezTo>
                      <a:pt x="16" y="52"/>
                      <a:pt x="17" y="52"/>
                      <a:pt x="18" y="54"/>
                    </a:cubicBezTo>
                    <a:cubicBezTo>
                      <a:pt x="19" y="56"/>
                      <a:pt x="21" y="59"/>
                      <a:pt x="21" y="62"/>
                    </a:cubicBezTo>
                    <a:cubicBezTo>
                      <a:pt x="21" y="65"/>
                      <a:pt x="21" y="68"/>
                      <a:pt x="20" y="70"/>
                    </a:cubicBezTo>
                    <a:cubicBezTo>
                      <a:pt x="20" y="70"/>
                      <a:pt x="20" y="71"/>
                      <a:pt x="19" y="71"/>
                    </a:cubicBezTo>
                    <a:cubicBezTo>
                      <a:pt x="26" y="73"/>
                      <a:pt x="32" y="74"/>
                      <a:pt x="38" y="75"/>
                    </a:cubicBezTo>
                    <a:cubicBezTo>
                      <a:pt x="63" y="68"/>
                      <a:pt x="86" y="57"/>
                      <a:pt x="107" y="43"/>
                    </a:cubicBezTo>
                    <a:cubicBezTo>
                      <a:pt x="107" y="43"/>
                      <a:pt x="108" y="43"/>
                      <a:pt x="108" y="43"/>
                    </a:cubicBezTo>
                    <a:cubicBezTo>
                      <a:pt x="111" y="41"/>
                      <a:pt x="113" y="39"/>
                      <a:pt x="116" y="37"/>
                    </a:cubicBezTo>
                    <a:cubicBezTo>
                      <a:pt x="123" y="33"/>
                      <a:pt x="130" y="28"/>
                      <a:pt x="137" y="22"/>
                    </a:cubicBezTo>
                    <a:cubicBezTo>
                      <a:pt x="137" y="21"/>
                      <a:pt x="137" y="19"/>
                      <a:pt x="137" y="18"/>
                    </a:cubicBezTo>
                    <a:moveTo>
                      <a:pt x="161" y="0"/>
                    </a:moveTo>
                    <a:cubicBezTo>
                      <a:pt x="154" y="6"/>
                      <a:pt x="146" y="12"/>
                      <a:pt x="139" y="17"/>
                    </a:cubicBezTo>
                    <a:cubicBezTo>
                      <a:pt x="139" y="18"/>
                      <a:pt x="139" y="19"/>
                      <a:pt x="139" y="21"/>
                    </a:cubicBezTo>
                    <a:cubicBezTo>
                      <a:pt x="147" y="14"/>
                      <a:pt x="154" y="8"/>
                      <a:pt x="161" y="0"/>
                    </a:cubicBezTo>
                  </a:path>
                </a:pathLst>
              </a:custGeom>
              <a:solidFill>
                <a:srgbClr val="BA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67">
                <a:extLst>
                  <a:ext uri="{FF2B5EF4-FFF2-40B4-BE49-F238E27FC236}">
                    <a16:creationId xmlns:a16="http://schemas.microsoft.com/office/drawing/2014/main" id="{8C08A826-2ACD-4378-B60F-AD5B8267DEED}"/>
                  </a:ext>
                </a:extLst>
              </p:cNvPr>
              <p:cNvSpPr>
                <a:spLocks/>
              </p:cNvSpPr>
              <p:nvPr/>
            </p:nvSpPr>
            <p:spPr bwMode="auto">
              <a:xfrm>
                <a:off x="4127" y="2601"/>
                <a:ext cx="181" cy="33"/>
              </a:xfrm>
              <a:custGeom>
                <a:avLst/>
                <a:gdLst>
                  <a:gd name="T0" fmla="*/ 76 w 76"/>
                  <a:gd name="T1" fmla="*/ 0 h 14"/>
                  <a:gd name="T2" fmla="*/ 0 w 76"/>
                  <a:gd name="T3" fmla="*/ 14 h 14"/>
                  <a:gd name="T4" fmla="*/ 15 w 76"/>
                  <a:gd name="T5" fmla="*/ 13 h 14"/>
                  <a:gd name="T6" fmla="*/ 76 w 76"/>
                  <a:gd name="T7" fmla="*/ 0 h 14"/>
                </a:gdLst>
                <a:ahLst/>
                <a:cxnLst>
                  <a:cxn ang="0">
                    <a:pos x="T0" y="T1"/>
                  </a:cxn>
                  <a:cxn ang="0">
                    <a:pos x="T2" y="T3"/>
                  </a:cxn>
                  <a:cxn ang="0">
                    <a:pos x="T4" y="T5"/>
                  </a:cxn>
                  <a:cxn ang="0">
                    <a:pos x="T6" y="T7"/>
                  </a:cxn>
                </a:cxnLst>
                <a:rect l="0" t="0" r="r" b="b"/>
                <a:pathLst>
                  <a:path w="76" h="14">
                    <a:moveTo>
                      <a:pt x="76" y="0"/>
                    </a:moveTo>
                    <a:cubicBezTo>
                      <a:pt x="52" y="8"/>
                      <a:pt x="26" y="12"/>
                      <a:pt x="0" y="14"/>
                    </a:cubicBezTo>
                    <a:cubicBezTo>
                      <a:pt x="5" y="14"/>
                      <a:pt x="10" y="14"/>
                      <a:pt x="15" y="13"/>
                    </a:cubicBezTo>
                    <a:cubicBezTo>
                      <a:pt x="33" y="12"/>
                      <a:pt x="54" y="8"/>
                      <a:pt x="76"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68">
                <a:extLst>
                  <a:ext uri="{FF2B5EF4-FFF2-40B4-BE49-F238E27FC236}">
                    <a16:creationId xmlns:a16="http://schemas.microsoft.com/office/drawing/2014/main" id="{2AFA6531-17C3-4CD4-B0E4-A921BC654C2F}"/>
                  </a:ext>
                </a:extLst>
              </p:cNvPr>
              <p:cNvSpPr>
                <a:spLocks/>
              </p:cNvSpPr>
              <p:nvPr/>
            </p:nvSpPr>
            <p:spPr bwMode="auto">
              <a:xfrm>
                <a:off x="4118" y="2636"/>
                <a:ext cx="14" cy="45"/>
              </a:xfrm>
              <a:custGeom>
                <a:avLst/>
                <a:gdLst>
                  <a:gd name="T0" fmla="*/ 1 w 6"/>
                  <a:gd name="T1" fmla="*/ 0 h 19"/>
                  <a:gd name="T2" fmla="*/ 0 w 6"/>
                  <a:gd name="T3" fmla="*/ 0 h 19"/>
                  <a:gd name="T4" fmla="*/ 4 w 6"/>
                  <a:gd name="T5" fmla="*/ 10 h 19"/>
                  <a:gd name="T6" fmla="*/ 3 w 6"/>
                  <a:gd name="T7" fmla="*/ 19 h 19"/>
                  <a:gd name="T8" fmla="*/ 4 w 6"/>
                  <a:gd name="T9" fmla="*/ 19 h 19"/>
                  <a:gd name="T10" fmla="*/ 5 w 6"/>
                  <a:gd name="T11" fmla="*/ 18 h 19"/>
                  <a:gd name="T12" fmla="*/ 6 w 6"/>
                  <a:gd name="T13" fmla="*/ 10 h 19"/>
                  <a:gd name="T14" fmla="*/ 3 w 6"/>
                  <a:gd name="T15" fmla="*/ 2 h 19"/>
                  <a:gd name="T16" fmla="*/ 1 w 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1" y="0"/>
                    </a:moveTo>
                    <a:cubicBezTo>
                      <a:pt x="1" y="0"/>
                      <a:pt x="1" y="0"/>
                      <a:pt x="0" y="0"/>
                    </a:cubicBezTo>
                    <a:cubicBezTo>
                      <a:pt x="0" y="0"/>
                      <a:pt x="4" y="4"/>
                      <a:pt x="4" y="10"/>
                    </a:cubicBezTo>
                    <a:cubicBezTo>
                      <a:pt x="4" y="14"/>
                      <a:pt x="4" y="17"/>
                      <a:pt x="3" y="19"/>
                    </a:cubicBezTo>
                    <a:cubicBezTo>
                      <a:pt x="4" y="19"/>
                      <a:pt x="4" y="19"/>
                      <a:pt x="4" y="19"/>
                    </a:cubicBezTo>
                    <a:cubicBezTo>
                      <a:pt x="5" y="19"/>
                      <a:pt x="5" y="18"/>
                      <a:pt x="5" y="18"/>
                    </a:cubicBezTo>
                    <a:cubicBezTo>
                      <a:pt x="6" y="16"/>
                      <a:pt x="6" y="13"/>
                      <a:pt x="6" y="10"/>
                    </a:cubicBezTo>
                    <a:cubicBezTo>
                      <a:pt x="6" y="7"/>
                      <a:pt x="4" y="4"/>
                      <a:pt x="3" y="2"/>
                    </a:cubicBezTo>
                    <a:cubicBezTo>
                      <a:pt x="2" y="0"/>
                      <a:pt x="1" y="0"/>
                      <a:pt x="1"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69">
                <a:extLst>
                  <a:ext uri="{FF2B5EF4-FFF2-40B4-BE49-F238E27FC236}">
                    <a16:creationId xmlns:a16="http://schemas.microsoft.com/office/drawing/2014/main" id="{FA9119B5-F5C9-42BB-B2C0-0AEA99584063}"/>
                  </a:ext>
                </a:extLst>
              </p:cNvPr>
              <p:cNvSpPr>
                <a:spLocks/>
              </p:cNvSpPr>
              <p:nvPr/>
            </p:nvSpPr>
            <p:spPr bwMode="auto">
              <a:xfrm>
                <a:off x="4407" y="2553"/>
                <a:ext cx="55" cy="64"/>
              </a:xfrm>
              <a:custGeom>
                <a:avLst/>
                <a:gdLst>
                  <a:gd name="T0" fmla="*/ 2 w 23"/>
                  <a:gd name="T1" fmla="*/ 0 h 27"/>
                  <a:gd name="T2" fmla="*/ 0 w 23"/>
                  <a:gd name="T3" fmla="*/ 1 h 27"/>
                  <a:gd name="T4" fmla="*/ 0 w 23"/>
                  <a:gd name="T5" fmla="*/ 5 h 27"/>
                  <a:gd name="T6" fmla="*/ 4 w 23"/>
                  <a:gd name="T7" fmla="*/ 15 h 27"/>
                  <a:gd name="T8" fmla="*/ 16 w 23"/>
                  <a:gd name="T9" fmla="*/ 26 h 27"/>
                  <a:gd name="T10" fmla="*/ 22 w 23"/>
                  <a:gd name="T11" fmla="*/ 27 h 27"/>
                  <a:gd name="T12" fmla="*/ 23 w 23"/>
                  <a:gd name="T13" fmla="*/ 27 h 27"/>
                  <a:gd name="T14" fmla="*/ 17 w 23"/>
                  <a:gd name="T15" fmla="*/ 24 h 27"/>
                  <a:gd name="T16" fmla="*/ 6 w 23"/>
                  <a:gd name="T17" fmla="*/ 14 h 27"/>
                  <a:gd name="T18" fmla="*/ 2 w 23"/>
                  <a:gd name="T19" fmla="*/ 4 h 27"/>
                  <a:gd name="T20" fmla="*/ 2 w 23"/>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7">
                    <a:moveTo>
                      <a:pt x="2" y="0"/>
                    </a:moveTo>
                    <a:cubicBezTo>
                      <a:pt x="1" y="0"/>
                      <a:pt x="1" y="1"/>
                      <a:pt x="0" y="1"/>
                    </a:cubicBezTo>
                    <a:cubicBezTo>
                      <a:pt x="0" y="2"/>
                      <a:pt x="0" y="4"/>
                      <a:pt x="0" y="5"/>
                    </a:cubicBezTo>
                    <a:cubicBezTo>
                      <a:pt x="1" y="8"/>
                      <a:pt x="2" y="12"/>
                      <a:pt x="4" y="15"/>
                    </a:cubicBezTo>
                    <a:cubicBezTo>
                      <a:pt x="7" y="21"/>
                      <a:pt x="12" y="24"/>
                      <a:pt x="16" y="26"/>
                    </a:cubicBezTo>
                    <a:cubicBezTo>
                      <a:pt x="19" y="26"/>
                      <a:pt x="21" y="27"/>
                      <a:pt x="22" y="27"/>
                    </a:cubicBezTo>
                    <a:cubicBezTo>
                      <a:pt x="22" y="27"/>
                      <a:pt x="23" y="27"/>
                      <a:pt x="23" y="27"/>
                    </a:cubicBezTo>
                    <a:cubicBezTo>
                      <a:pt x="23" y="26"/>
                      <a:pt x="20" y="26"/>
                      <a:pt x="17" y="24"/>
                    </a:cubicBezTo>
                    <a:cubicBezTo>
                      <a:pt x="13" y="23"/>
                      <a:pt x="9" y="19"/>
                      <a:pt x="6" y="14"/>
                    </a:cubicBezTo>
                    <a:cubicBezTo>
                      <a:pt x="3" y="11"/>
                      <a:pt x="2" y="7"/>
                      <a:pt x="2" y="4"/>
                    </a:cubicBezTo>
                    <a:cubicBezTo>
                      <a:pt x="2" y="2"/>
                      <a:pt x="2" y="1"/>
                      <a:pt x="2" y="0"/>
                    </a:cubicBezTo>
                  </a:path>
                </a:pathLst>
              </a:custGeom>
              <a:solidFill>
                <a:srgbClr val="1E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70">
                <a:extLst>
                  <a:ext uri="{FF2B5EF4-FFF2-40B4-BE49-F238E27FC236}">
                    <a16:creationId xmlns:a16="http://schemas.microsoft.com/office/drawing/2014/main" id="{03263584-AAB1-4976-957F-07D053488455}"/>
                  </a:ext>
                </a:extLst>
              </p:cNvPr>
              <p:cNvSpPr>
                <a:spLocks noChangeArrowheads="1"/>
              </p:cNvSpPr>
              <p:nvPr/>
            </p:nvSpPr>
            <p:spPr bwMode="auto">
              <a:xfrm>
                <a:off x="574" y="3679"/>
                <a:ext cx="6536" cy="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71">
                <a:extLst>
                  <a:ext uri="{FF2B5EF4-FFF2-40B4-BE49-F238E27FC236}">
                    <a16:creationId xmlns:a16="http://schemas.microsoft.com/office/drawing/2014/main" id="{CD1CE693-9785-4F61-8F8E-A85F5FEECA62}"/>
                  </a:ext>
                </a:extLst>
              </p:cNvPr>
              <p:cNvSpPr>
                <a:spLocks/>
              </p:cNvSpPr>
              <p:nvPr/>
            </p:nvSpPr>
            <p:spPr bwMode="auto">
              <a:xfrm>
                <a:off x="5660" y="3842"/>
                <a:ext cx="444" cy="200"/>
              </a:xfrm>
              <a:custGeom>
                <a:avLst/>
                <a:gdLst>
                  <a:gd name="T0" fmla="*/ 0 w 187"/>
                  <a:gd name="T1" fmla="*/ 19 h 84"/>
                  <a:gd name="T2" fmla="*/ 57 w 187"/>
                  <a:gd name="T3" fmla="*/ 77 h 84"/>
                  <a:gd name="T4" fmla="*/ 142 w 187"/>
                  <a:gd name="T5" fmla="*/ 76 h 84"/>
                  <a:gd name="T6" fmla="*/ 182 w 187"/>
                  <a:gd name="T7" fmla="*/ 52 h 84"/>
                  <a:gd name="T8" fmla="*/ 173 w 187"/>
                  <a:gd name="T9" fmla="*/ 18 h 84"/>
                  <a:gd name="T10" fmla="*/ 141 w 187"/>
                  <a:gd name="T11" fmla="*/ 0 h 84"/>
                </a:gdLst>
                <a:ahLst/>
                <a:cxnLst>
                  <a:cxn ang="0">
                    <a:pos x="T0" y="T1"/>
                  </a:cxn>
                  <a:cxn ang="0">
                    <a:pos x="T2" y="T3"/>
                  </a:cxn>
                  <a:cxn ang="0">
                    <a:pos x="T4" y="T5"/>
                  </a:cxn>
                  <a:cxn ang="0">
                    <a:pos x="T6" y="T7"/>
                  </a:cxn>
                  <a:cxn ang="0">
                    <a:pos x="T8" y="T9"/>
                  </a:cxn>
                  <a:cxn ang="0">
                    <a:pos x="T10" y="T11"/>
                  </a:cxn>
                </a:cxnLst>
                <a:rect l="0" t="0" r="r" b="b"/>
                <a:pathLst>
                  <a:path w="187" h="84">
                    <a:moveTo>
                      <a:pt x="0" y="19"/>
                    </a:moveTo>
                    <a:cubicBezTo>
                      <a:pt x="5" y="47"/>
                      <a:pt x="30" y="69"/>
                      <a:pt x="57" y="77"/>
                    </a:cubicBezTo>
                    <a:cubicBezTo>
                      <a:pt x="85" y="84"/>
                      <a:pt x="114" y="81"/>
                      <a:pt x="142" y="76"/>
                    </a:cubicBezTo>
                    <a:cubicBezTo>
                      <a:pt x="158" y="73"/>
                      <a:pt x="176" y="68"/>
                      <a:pt x="182" y="52"/>
                    </a:cubicBezTo>
                    <a:cubicBezTo>
                      <a:pt x="187" y="41"/>
                      <a:pt x="181" y="27"/>
                      <a:pt x="173" y="18"/>
                    </a:cubicBezTo>
                    <a:cubicBezTo>
                      <a:pt x="164" y="10"/>
                      <a:pt x="152" y="4"/>
                      <a:pt x="141" y="0"/>
                    </a:cubicBezTo>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72">
                <a:extLst>
                  <a:ext uri="{FF2B5EF4-FFF2-40B4-BE49-F238E27FC236}">
                    <a16:creationId xmlns:a16="http://schemas.microsoft.com/office/drawing/2014/main" id="{EAE6558D-73E1-40D0-8F61-B758C9B1DA1B}"/>
                  </a:ext>
                </a:extLst>
              </p:cNvPr>
              <p:cNvSpPr>
                <a:spLocks/>
              </p:cNvSpPr>
              <p:nvPr/>
            </p:nvSpPr>
            <p:spPr bwMode="auto">
              <a:xfrm>
                <a:off x="6135" y="1439"/>
                <a:ext cx="249" cy="1938"/>
              </a:xfrm>
              <a:custGeom>
                <a:avLst/>
                <a:gdLst>
                  <a:gd name="T0" fmla="*/ 85 w 105"/>
                  <a:gd name="T1" fmla="*/ 816 h 816"/>
                  <a:gd name="T2" fmla="*/ 85 w 105"/>
                  <a:gd name="T3" fmla="*/ 813 h 816"/>
                  <a:gd name="T4" fmla="*/ 88 w 105"/>
                  <a:gd name="T5" fmla="*/ 808 h 816"/>
                  <a:gd name="T6" fmla="*/ 96 w 105"/>
                  <a:gd name="T7" fmla="*/ 784 h 816"/>
                  <a:gd name="T8" fmla="*/ 96 w 105"/>
                  <a:gd name="T9" fmla="*/ 694 h 816"/>
                  <a:gd name="T10" fmla="*/ 79 w 105"/>
                  <a:gd name="T11" fmla="*/ 634 h 816"/>
                  <a:gd name="T12" fmla="*/ 57 w 105"/>
                  <a:gd name="T13" fmla="*/ 565 h 816"/>
                  <a:gd name="T14" fmla="*/ 46 w 105"/>
                  <a:gd name="T15" fmla="*/ 485 h 816"/>
                  <a:gd name="T16" fmla="*/ 64 w 105"/>
                  <a:gd name="T17" fmla="*/ 402 h 816"/>
                  <a:gd name="T18" fmla="*/ 86 w 105"/>
                  <a:gd name="T19" fmla="*/ 319 h 816"/>
                  <a:gd name="T20" fmla="*/ 71 w 105"/>
                  <a:gd name="T21" fmla="*/ 243 h 816"/>
                  <a:gd name="T22" fmla="*/ 32 w 105"/>
                  <a:gd name="T23" fmla="*/ 182 h 816"/>
                  <a:gd name="T24" fmla="*/ 9 w 105"/>
                  <a:gd name="T25" fmla="*/ 123 h 816"/>
                  <a:gd name="T26" fmla="*/ 7 w 105"/>
                  <a:gd name="T27" fmla="*/ 32 h 816"/>
                  <a:gd name="T28" fmla="*/ 17 w 105"/>
                  <a:gd name="T29" fmla="*/ 0 h 816"/>
                  <a:gd name="T30" fmla="*/ 16 w 105"/>
                  <a:gd name="T31" fmla="*/ 2 h 816"/>
                  <a:gd name="T32" fmla="*/ 14 w 105"/>
                  <a:gd name="T33" fmla="*/ 8 h 816"/>
                  <a:gd name="T34" fmla="*/ 8 w 105"/>
                  <a:gd name="T35" fmla="*/ 32 h 816"/>
                  <a:gd name="T36" fmla="*/ 11 w 105"/>
                  <a:gd name="T37" fmla="*/ 123 h 816"/>
                  <a:gd name="T38" fmla="*/ 34 w 105"/>
                  <a:gd name="T39" fmla="*/ 181 h 816"/>
                  <a:gd name="T40" fmla="*/ 73 w 105"/>
                  <a:gd name="T41" fmla="*/ 241 h 816"/>
                  <a:gd name="T42" fmla="*/ 89 w 105"/>
                  <a:gd name="T43" fmla="*/ 319 h 816"/>
                  <a:gd name="T44" fmla="*/ 67 w 105"/>
                  <a:gd name="T45" fmla="*/ 402 h 816"/>
                  <a:gd name="T46" fmla="*/ 49 w 105"/>
                  <a:gd name="T47" fmla="*/ 486 h 816"/>
                  <a:gd name="T48" fmla="*/ 59 w 105"/>
                  <a:gd name="T49" fmla="*/ 564 h 816"/>
                  <a:gd name="T50" fmla="*/ 81 w 105"/>
                  <a:gd name="T51" fmla="*/ 633 h 816"/>
                  <a:gd name="T52" fmla="*/ 98 w 105"/>
                  <a:gd name="T53" fmla="*/ 694 h 816"/>
                  <a:gd name="T54" fmla="*/ 97 w 105"/>
                  <a:gd name="T55" fmla="*/ 785 h 816"/>
                  <a:gd name="T56" fmla="*/ 89 w 105"/>
                  <a:gd name="T57" fmla="*/ 808 h 816"/>
                  <a:gd name="T58" fmla="*/ 86 w 105"/>
                  <a:gd name="T59" fmla="*/ 814 h 816"/>
                  <a:gd name="T60" fmla="*/ 85 w 105"/>
                  <a:gd name="T6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816">
                    <a:moveTo>
                      <a:pt x="85" y="816"/>
                    </a:moveTo>
                    <a:cubicBezTo>
                      <a:pt x="85" y="815"/>
                      <a:pt x="85" y="815"/>
                      <a:pt x="85" y="813"/>
                    </a:cubicBezTo>
                    <a:cubicBezTo>
                      <a:pt x="86" y="812"/>
                      <a:pt x="87" y="810"/>
                      <a:pt x="88" y="808"/>
                    </a:cubicBezTo>
                    <a:cubicBezTo>
                      <a:pt x="91" y="802"/>
                      <a:pt x="94" y="795"/>
                      <a:pt x="96" y="784"/>
                    </a:cubicBezTo>
                    <a:cubicBezTo>
                      <a:pt x="102" y="764"/>
                      <a:pt x="103" y="732"/>
                      <a:pt x="96" y="694"/>
                    </a:cubicBezTo>
                    <a:cubicBezTo>
                      <a:pt x="92" y="675"/>
                      <a:pt x="86" y="655"/>
                      <a:pt x="79" y="634"/>
                    </a:cubicBezTo>
                    <a:cubicBezTo>
                      <a:pt x="72" y="612"/>
                      <a:pt x="64" y="589"/>
                      <a:pt x="57" y="565"/>
                    </a:cubicBezTo>
                    <a:cubicBezTo>
                      <a:pt x="50" y="540"/>
                      <a:pt x="45" y="513"/>
                      <a:pt x="46" y="485"/>
                    </a:cubicBezTo>
                    <a:cubicBezTo>
                      <a:pt x="47" y="457"/>
                      <a:pt x="55" y="429"/>
                      <a:pt x="64" y="402"/>
                    </a:cubicBezTo>
                    <a:cubicBezTo>
                      <a:pt x="74" y="374"/>
                      <a:pt x="83" y="346"/>
                      <a:pt x="86" y="319"/>
                    </a:cubicBezTo>
                    <a:cubicBezTo>
                      <a:pt x="89" y="292"/>
                      <a:pt x="83" y="265"/>
                      <a:pt x="71" y="243"/>
                    </a:cubicBezTo>
                    <a:cubicBezTo>
                      <a:pt x="59" y="220"/>
                      <a:pt x="43" y="201"/>
                      <a:pt x="32" y="182"/>
                    </a:cubicBezTo>
                    <a:cubicBezTo>
                      <a:pt x="20" y="162"/>
                      <a:pt x="13" y="142"/>
                      <a:pt x="9" y="123"/>
                    </a:cubicBezTo>
                    <a:cubicBezTo>
                      <a:pt x="0" y="85"/>
                      <a:pt x="3" y="53"/>
                      <a:pt x="7" y="32"/>
                    </a:cubicBezTo>
                    <a:cubicBezTo>
                      <a:pt x="12" y="11"/>
                      <a:pt x="17" y="0"/>
                      <a:pt x="17" y="0"/>
                    </a:cubicBezTo>
                    <a:cubicBezTo>
                      <a:pt x="17" y="0"/>
                      <a:pt x="17" y="1"/>
                      <a:pt x="16" y="2"/>
                    </a:cubicBezTo>
                    <a:cubicBezTo>
                      <a:pt x="16" y="4"/>
                      <a:pt x="15" y="6"/>
                      <a:pt x="14" y="8"/>
                    </a:cubicBezTo>
                    <a:cubicBezTo>
                      <a:pt x="13" y="14"/>
                      <a:pt x="10" y="22"/>
                      <a:pt x="8" y="32"/>
                    </a:cubicBezTo>
                    <a:cubicBezTo>
                      <a:pt x="5" y="53"/>
                      <a:pt x="2" y="85"/>
                      <a:pt x="11" y="123"/>
                    </a:cubicBezTo>
                    <a:cubicBezTo>
                      <a:pt x="15" y="141"/>
                      <a:pt x="23" y="161"/>
                      <a:pt x="34" y="181"/>
                    </a:cubicBezTo>
                    <a:cubicBezTo>
                      <a:pt x="45" y="200"/>
                      <a:pt x="61" y="219"/>
                      <a:pt x="73" y="241"/>
                    </a:cubicBezTo>
                    <a:cubicBezTo>
                      <a:pt x="86" y="264"/>
                      <a:pt x="92" y="291"/>
                      <a:pt x="89" y="319"/>
                    </a:cubicBezTo>
                    <a:cubicBezTo>
                      <a:pt x="86" y="347"/>
                      <a:pt x="76" y="375"/>
                      <a:pt x="67" y="402"/>
                    </a:cubicBezTo>
                    <a:cubicBezTo>
                      <a:pt x="58" y="430"/>
                      <a:pt x="50" y="458"/>
                      <a:pt x="49" y="486"/>
                    </a:cubicBezTo>
                    <a:cubicBezTo>
                      <a:pt x="48" y="513"/>
                      <a:pt x="53" y="540"/>
                      <a:pt x="59" y="564"/>
                    </a:cubicBezTo>
                    <a:cubicBezTo>
                      <a:pt x="66" y="589"/>
                      <a:pt x="74" y="611"/>
                      <a:pt x="81" y="633"/>
                    </a:cubicBezTo>
                    <a:cubicBezTo>
                      <a:pt x="88" y="654"/>
                      <a:pt x="94" y="675"/>
                      <a:pt x="98" y="694"/>
                    </a:cubicBezTo>
                    <a:cubicBezTo>
                      <a:pt x="105" y="732"/>
                      <a:pt x="103" y="764"/>
                      <a:pt x="97" y="785"/>
                    </a:cubicBezTo>
                    <a:cubicBezTo>
                      <a:pt x="94" y="795"/>
                      <a:pt x="91" y="803"/>
                      <a:pt x="89" y="808"/>
                    </a:cubicBezTo>
                    <a:cubicBezTo>
                      <a:pt x="87" y="810"/>
                      <a:pt x="86" y="812"/>
                      <a:pt x="86" y="814"/>
                    </a:cubicBezTo>
                    <a:cubicBezTo>
                      <a:pt x="85" y="815"/>
                      <a:pt x="85" y="816"/>
                      <a:pt x="85" y="816"/>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73">
                <a:extLst>
                  <a:ext uri="{FF2B5EF4-FFF2-40B4-BE49-F238E27FC236}">
                    <a16:creationId xmlns:a16="http://schemas.microsoft.com/office/drawing/2014/main" id="{D55FCE89-DC85-4E8F-8239-AD348D22C828}"/>
                  </a:ext>
                </a:extLst>
              </p:cNvPr>
              <p:cNvSpPr>
                <a:spLocks/>
              </p:cNvSpPr>
              <p:nvPr/>
            </p:nvSpPr>
            <p:spPr bwMode="auto">
              <a:xfrm>
                <a:off x="6192" y="1637"/>
                <a:ext cx="121" cy="280"/>
              </a:xfrm>
              <a:custGeom>
                <a:avLst/>
                <a:gdLst>
                  <a:gd name="T0" fmla="*/ 23 w 51"/>
                  <a:gd name="T1" fmla="*/ 118 h 118"/>
                  <a:gd name="T2" fmla="*/ 42 w 51"/>
                  <a:gd name="T3" fmla="*/ 1 h 118"/>
                  <a:gd name="T4" fmla="*/ 46 w 51"/>
                  <a:gd name="T5" fmla="*/ 2 h 118"/>
                  <a:gd name="T6" fmla="*/ 23 w 51"/>
                  <a:gd name="T7" fmla="*/ 118 h 118"/>
                </a:gdLst>
                <a:ahLst/>
                <a:cxnLst>
                  <a:cxn ang="0">
                    <a:pos x="T0" y="T1"/>
                  </a:cxn>
                  <a:cxn ang="0">
                    <a:pos x="T2" y="T3"/>
                  </a:cxn>
                  <a:cxn ang="0">
                    <a:pos x="T4" y="T5"/>
                  </a:cxn>
                  <a:cxn ang="0">
                    <a:pos x="T6" y="T7"/>
                  </a:cxn>
                </a:cxnLst>
                <a:rect l="0" t="0" r="r" b="b"/>
                <a:pathLst>
                  <a:path w="51" h="118">
                    <a:moveTo>
                      <a:pt x="23" y="118"/>
                    </a:moveTo>
                    <a:cubicBezTo>
                      <a:pt x="23" y="118"/>
                      <a:pt x="0" y="44"/>
                      <a:pt x="42" y="1"/>
                    </a:cubicBezTo>
                    <a:cubicBezTo>
                      <a:pt x="43" y="0"/>
                      <a:pt x="46" y="0"/>
                      <a:pt x="46" y="2"/>
                    </a:cubicBezTo>
                    <a:cubicBezTo>
                      <a:pt x="48" y="15"/>
                      <a:pt x="51" y="52"/>
                      <a:pt x="23" y="11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74">
                <a:extLst>
                  <a:ext uri="{FF2B5EF4-FFF2-40B4-BE49-F238E27FC236}">
                    <a16:creationId xmlns:a16="http://schemas.microsoft.com/office/drawing/2014/main" id="{E7D304CD-0821-4E73-B334-ECB14B8FE769}"/>
                  </a:ext>
                </a:extLst>
              </p:cNvPr>
              <p:cNvSpPr>
                <a:spLocks/>
              </p:cNvSpPr>
              <p:nvPr/>
            </p:nvSpPr>
            <p:spPr bwMode="auto">
              <a:xfrm>
                <a:off x="6244" y="1698"/>
                <a:ext cx="38" cy="219"/>
              </a:xfrm>
              <a:custGeom>
                <a:avLst/>
                <a:gdLst>
                  <a:gd name="T0" fmla="*/ 15 w 16"/>
                  <a:gd name="T1" fmla="*/ 0 h 92"/>
                  <a:gd name="T2" fmla="*/ 14 w 16"/>
                  <a:gd name="T3" fmla="*/ 13 h 92"/>
                  <a:gd name="T4" fmla="*/ 8 w 16"/>
                  <a:gd name="T5" fmla="*/ 46 h 92"/>
                  <a:gd name="T6" fmla="*/ 3 w 16"/>
                  <a:gd name="T7" fmla="*/ 78 h 92"/>
                  <a:gd name="T8" fmla="*/ 1 w 16"/>
                  <a:gd name="T9" fmla="*/ 92 h 92"/>
                  <a:gd name="T10" fmla="*/ 1 w 16"/>
                  <a:gd name="T11" fmla="*/ 78 h 92"/>
                  <a:gd name="T12" fmla="*/ 6 w 16"/>
                  <a:gd name="T13" fmla="*/ 45 h 92"/>
                  <a:gd name="T14" fmla="*/ 12 w 16"/>
                  <a:gd name="T15" fmla="*/ 13 h 92"/>
                  <a:gd name="T16" fmla="*/ 15 w 16"/>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2">
                    <a:moveTo>
                      <a:pt x="15" y="0"/>
                    </a:moveTo>
                    <a:cubicBezTo>
                      <a:pt x="16" y="0"/>
                      <a:pt x="15" y="5"/>
                      <a:pt x="14" y="13"/>
                    </a:cubicBezTo>
                    <a:cubicBezTo>
                      <a:pt x="12" y="23"/>
                      <a:pt x="10" y="34"/>
                      <a:pt x="8" y="46"/>
                    </a:cubicBezTo>
                    <a:cubicBezTo>
                      <a:pt x="6" y="58"/>
                      <a:pt x="5" y="69"/>
                      <a:pt x="3" y="78"/>
                    </a:cubicBezTo>
                    <a:cubicBezTo>
                      <a:pt x="2" y="87"/>
                      <a:pt x="1" y="92"/>
                      <a:pt x="1" y="92"/>
                    </a:cubicBezTo>
                    <a:cubicBezTo>
                      <a:pt x="0" y="92"/>
                      <a:pt x="0" y="87"/>
                      <a:pt x="1" y="78"/>
                    </a:cubicBezTo>
                    <a:cubicBezTo>
                      <a:pt x="2" y="70"/>
                      <a:pt x="3" y="58"/>
                      <a:pt x="6" y="45"/>
                    </a:cubicBezTo>
                    <a:cubicBezTo>
                      <a:pt x="8" y="33"/>
                      <a:pt x="10" y="21"/>
                      <a:pt x="12" y="13"/>
                    </a:cubicBezTo>
                    <a:cubicBezTo>
                      <a:pt x="13" y="5"/>
                      <a:pt x="15" y="0"/>
                      <a:pt x="1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5">
                <a:extLst>
                  <a:ext uri="{FF2B5EF4-FFF2-40B4-BE49-F238E27FC236}">
                    <a16:creationId xmlns:a16="http://schemas.microsoft.com/office/drawing/2014/main" id="{4284BF30-B4F3-4051-A6EF-F42423035DD4}"/>
                  </a:ext>
                </a:extLst>
              </p:cNvPr>
              <p:cNvSpPr>
                <a:spLocks/>
              </p:cNvSpPr>
              <p:nvPr/>
            </p:nvSpPr>
            <p:spPr bwMode="auto">
              <a:xfrm>
                <a:off x="6313" y="2104"/>
                <a:ext cx="176" cy="226"/>
              </a:xfrm>
              <a:custGeom>
                <a:avLst/>
                <a:gdLst>
                  <a:gd name="T0" fmla="*/ 0 w 74"/>
                  <a:gd name="T1" fmla="*/ 95 h 95"/>
                  <a:gd name="T2" fmla="*/ 71 w 74"/>
                  <a:gd name="T3" fmla="*/ 0 h 95"/>
                  <a:gd name="T4" fmla="*/ 74 w 74"/>
                  <a:gd name="T5" fmla="*/ 4 h 95"/>
                  <a:gd name="T6" fmla="*/ 0 w 74"/>
                  <a:gd name="T7" fmla="*/ 95 h 95"/>
                </a:gdLst>
                <a:ahLst/>
                <a:cxnLst>
                  <a:cxn ang="0">
                    <a:pos x="T0" y="T1"/>
                  </a:cxn>
                  <a:cxn ang="0">
                    <a:pos x="T2" y="T3"/>
                  </a:cxn>
                  <a:cxn ang="0">
                    <a:pos x="T4" y="T5"/>
                  </a:cxn>
                  <a:cxn ang="0">
                    <a:pos x="T6" y="T7"/>
                  </a:cxn>
                </a:cxnLst>
                <a:rect l="0" t="0" r="r" b="b"/>
                <a:pathLst>
                  <a:path w="74" h="95">
                    <a:moveTo>
                      <a:pt x="0" y="95"/>
                    </a:moveTo>
                    <a:cubicBezTo>
                      <a:pt x="0" y="95"/>
                      <a:pt x="14" y="19"/>
                      <a:pt x="71" y="0"/>
                    </a:cubicBezTo>
                    <a:cubicBezTo>
                      <a:pt x="72" y="0"/>
                      <a:pt x="74" y="2"/>
                      <a:pt x="74" y="4"/>
                    </a:cubicBezTo>
                    <a:cubicBezTo>
                      <a:pt x="70" y="15"/>
                      <a:pt x="55" y="50"/>
                      <a:pt x="0" y="9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76">
                <a:extLst>
                  <a:ext uri="{FF2B5EF4-FFF2-40B4-BE49-F238E27FC236}">
                    <a16:creationId xmlns:a16="http://schemas.microsoft.com/office/drawing/2014/main" id="{6D0B6059-D7D6-43EF-962D-7F73E2A67F74}"/>
                  </a:ext>
                </a:extLst>
              </p:cNvPr>
              <p:cNvSpPr>
                <a:spLocks/>
              </p:cNvSpPr>
              <p:nvPr/>
            </p:nvSpPr>
            <p:spPr bwMode="auto">
              <a:xfrm>
                <a:off x="6311" y="2152"/>
                <a:ext cx="132" cy="178"/>
              </a:xfrm>
              <a:custGeom>
                <a:avLst/>
                <a:gdLst>
                  <a:gd name="T0" fmla="*/ 56 w 56"/>
                  <a:gd name="T1" fmla="*/ 0 h 75"/>
                  <a:gd name="T2" fmla="*/ 48 w 56"/>
                  <a:gd name="T3" fmla="*/ 11 h 75"/>
                  <a:gd name="T4" fmla="*/ 28 w 56"/>
                  <a:gd name="T5" fmla="*/ 38 h 75"/>
                  <a:gd name="T6" fmla="*/ 9 w 56"/>
                  <a:gd name="T7" fmla="*/ 64 h 75"/>
                  <a:gd name="T8" fmla="*/ 0 w 56"/>
                  <a:gd name="T9" fmla="*/ 75 h 75"/>
                  <a:gd name="T10" fmla="*/ 7 w 56"/>
                  <a:gd name="T11" fmla="*/ 63 h 75"/>
                  <a:gd name="T12" fmla="*/ 26 w 56"/>
                  <a:gd name="T13" fmla="*/ 36 h 75"/>
                  <a:gd name="T14" fmla="*/ 47 w 56"/>
                  <a:gd name="T15" fmla="*/ 10 h 75"/>
                  <a:gd name="T16" fmla="*/ 56 w 56"/>
                  <a:gd name="T17"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56" y="0"/>
                    </a:moveTo>
                    <a:cubicBezTo>
                      <a:pt x="56" y="0"/>
                      <a:pt x="53" y="5"/>
                      <a:pt x="48" y="11"/>
                    </a:cubicBezTo>
                    <a:cubicBezTo>
                      <a:pt x="43" y="19"/>
                      <a:pt x="36" y="28"/>
                      <a:pt x="28" y="38"/>
                    </a:cubicBezTo>
                    <a:cubicBezTo>
                      <a:pt x="21" y="48"/>
                      <a:pt x="14" y="57"/>
                      <a:pt x="9" y="64"/>
                    </a:cubicBezTo>
                    <a:cubicBezTo>
                      <a:pt x="4" y="71"/>
                      <a:pt x="0" y="75"/>
                      <a:pt x="0" y="75"/>
                    </a:cubicBezTo>
                    <a:cubicBezTo>
                      <a:pt x="0" y="75"/>
                      <a:pt x="2" y="70"/>
                      <a:pt x="7" y="63"/>
                    </a:cubicBezTo>
                    <a:cubicBezTo>
                      <a:pt x="12" y="56"/>
                      <a:pt x="18" y="46"/>
                      <a:pt x="26" y="36"/>
                    </a:cubicBezTo>
                    <a:cubicBezTo>
                      <a:pt x="34" y="26"/>
                      <a:pt x="41" y="17"/>
                      <a:pt x="47" y="10"/>
                    </a:cubicBezTo>
                    <a:cubicBezTo>
                      <a:pt x="52" y="4"/>
                      <a:pt x="56" y="0"/>
                      <a:pt x="56"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77">
                <a:extLst>
                  <a:ext uri="{FF2B5EF4-FFF2-40B4-BE49-F238E27FC236}">
                    <a16:creationId xmlns:a16="http://schemas.microsoft.com/office/drawing/2014/main" id="{FDCA8803-0DB4-44A4-AEFE-B45438B8B93A}"/>
                  </a:ext>
                </a:extLst>
              </p:cNvPr>
              <p:cNvSpPr>
                <a:spLocks/>
              </p:cNvSpPr>
              <p:nvPr/>
            </p:nvSpPr>
            <p:spPr bwMode="auto">
              <a:xfrm>
                <a:off x="6256" y="2517"/>
                <a:ext cx="126" cy="266"/>
              </a:xfrm>
              <a:custGeom>
                <a:avLst/>
                <a:gdLst>
                  <a:gd name="T0" fmla="*/ 8 w 53"/>
                  <a:gd name="T1" fmla="*/ 112 h 112"/>
                  <a:gd name="T2" fmla="*/ 49 w 53"/>
                  <a:gd name="T3" fmla="*/ 1 h 112"/>
                  <a:gd name="T4" fmla="*/ 53 w 53"/>
                  <a:gd name="T5" fmla="*/ 3 h 112"/>
                  <a:gd name="T6" fmla="*/ 8 w 53"/>
                  <a:gd name="T7" fmla="*/ 112 h 112"/>
                </a:gdLst>
                <a:ahLst/>
                <a:cxnLst>
                  <a:cxn ang="0">
                    <a:pos x="T0" y="T1"/>
                  </a:cxn>
                  <a:cxn ang="0">
                    <a:pos x="T2" y="T3"/>
                  </a:cxn>
                  <a:cxn ang="0">
                    <a:pos x="T4" y="T5"/>
                  </a:cxn>
                  <a:cxn ang="0">
                    <a:pos x="T6" y="T7"/>
                  </a:cxn>
                </a:cxnLst>
                <a:rect l="0" t="0" r="r" b="b"/>
                <a:pathLst>
                  <a:path w="53" h="112">
                    <a:moveTo>
                      <a:pt x="8" y="112"/>
                    </a:moveTo>
                    <a:cubicBezTo>
                      <a:pt x="8" y="112"/>
                      <a:pt x="0" y="35"/>
                      <a:pt x="49" y="1"/>
                    </a:cubicBezTo>
                    <a:cubicBezTo>
                      <a:pt x="50" y="0"/>
                      <a:pt x="53" y="1"/>
                      <a:pt x="53" y="3"/>
                    </a:cubicBezTo>
                    <a:cubicBezTo>
                      <a:pt x="52" y="15"/>
                      <a:pt x="48" y="52"/>
                      <a:pt x="8" y="1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78">
                <a:extLst>
                  <a:ext uri="{FF2B5EF4-FFF2-40B4-BE49-F238E27FC236}">
                    <a16:creationId xmlns:a16="http://schemas.microsoft.com/office/drawing/2014/main" id="{0CC80A60-6A9A-491E-8510-BEB3B5F2FA01}"/>
                  </a:ext>
                </a:extLst>
              </p:cNvPr>
              <p:cNvSpPr>
                <a:spLocks/>
              </p:cNvSpPr>
              <p:nvPr/>
            </p:nvSpPr>
            <p:spPr bwMode="auto">
              <a:xfrm>
                <a:off x="6273" y="2574"/>
                <a:ext cx="78" cy="209"/>
              </a:xfrm>
              <a:custGeom>
                <a:avLst/>
                <a:gdLst>
                  <a:gd name="T0" fmla="*/ 32 w 33"/>
                  <a:gd name="T1" fmla="*/ 0 h 88"/>
                  <a:gd name="T2" fmla="*/ 28 w 33"/>
                  <a:gd name="T3" fmla="*/ 13 h 88"/>
                  <a:gd name="T4" fmla="*/ 17 w 33"/>
                  <a:gd name="T5" fmla="*/ 44 h 88"/>
                  <a:gd name="T6" fmla="*/ 6 w 33"/>
                  <a:gd name="T7" fmla="*/ 75 h 88"/>
                  <a:gd name="T8" fmla="*/ 1 w 33"/>
                  <a:gd name="T9" fmla="*/ 88 h 88"/>
                  <a:gd name="T10" fmla="*/ 4 w 33"/>
                  <a:gd name="T11" fmla="*/ 74 h 88"/>
                  <a:gd name="T12" fmla="*/ 14 w 33"/>
                  <a:gd name="T13" fmla="*/ 43 h 88"/>
                  <a:gd name="T14" fmla="*/ 26 w 33"/>
                  <a:gd name="T15" fmla="*/ 12 h 88"/>
                  <a:gd name="T16" fmla="*/ 32 w 33"/>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88">
                    <a:moveTo>
                      <a:pt x="32" y="0"/>
                    </a:moveTo>
                    <a:cubicBezTo>
                      <a:pt x="33" y="0"/>
                      <a:pt x="31" y="5"/>
                      <a:pt x="28" y="13"/>
                    </a:cubicBezTo>
                    <a:cubicBezTo>
                      <a:pt x="25" y="22"/>
                      <a:pt x="21" y="33"/>
                      <a:pt x="17" y="44"/>
                    </a:cubicBezTo>
                    <a:cubicBezTo>
                      <a:pt x="13" y="56"/>
                      <a:pt x="9" y="66"/>
                      <a:pt x="6" y="75"/>
                    </a:cubicBezTo>
                    <a:cubicBezTo>
                      <a:pt x="3" y="83"/>
                      <a:pt x="1" y="88"/>
                      <a:pt x="1" y="88"/>
                    </a:cubicBezTo>
                    <a:cubicBezTo>
                      <a:pt x="0" y="88"/>
                      <a:pt x="1" y="83"/>
                      <a:pt x="4" y="74"/>
                    </a:cubicBezTo>
                    <a:cubicBezTo>
                      <a:pt x="6" y="66"/>
                      <a:pt x="10" y="55"/>
                      <a:pt x="14" y="43"/>
                    </a:cubicBezTo>
                    <a:cubicBezTo>
                      <a:pt x="19" y="31"/>
                      <a:pt x="23" y="20"/>
                      <a:pt x="26" y="12"/>
                    </a:cubicBezTo>
                    <a:cubicBezTo>
                      <a:pt x="30" y="5"/>
                      <a:pt x="32" y="0"/>
                      <a:pt x="32"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9">
                <a:extLst>
                  <a:ext uri="{FF2B5EF4-FFF2-40B4-BE49-F238E27FC236}">
                    <a16:creationId xmlns:a16="http://schemas.microsoft.com/office/drawing/2014/main" id="{61C67F21-A212-4D62-8187-3283114297E3}"/>
                  </a:ext>
                </a:extLst>
              </p:cNvPr>
              <p:cNvSpPr>
                <a:spLocks/>
              </p:cNvSpPr>
              <p:nvPr/>
            </p:nvSpPr>
            <p:spPr bwMode="auto">
              <a:xfrm>
                <a:off x="6363" y="2976"/>
                <a:ext cx="128" cy="263"/>
              </a:xfrm>
              <a:custGeom>
                <a:avLst/>
                <a:gdLst>
                  <a:gd name="T0" fmla="*/ 6 w 54"/>
                  <a:gd name="T1" fmla="*/ 111 h 111"/>
                  <a:gd name="T2" fmla="*/ 50 w 54"/>
                  <a:gd name="T3" fmla="*/ 1 h 111"/>
                  <a:gd name="T4" fmla="*/ 54 w 54"/>
                  <a:gd name="T5" fmla="*/ 4 h 111"/>
                  <a:gd name="T6" fmla="*/ 6 w 54"/>
                  <a:gd name="T7" fmla="*/ 111 h 111"/>
                </a:gdLst>
                <a:ahLst/>
                <a:cxnLst>
                  <a:cxn ang="0">
                    <a:pos x="T0" y="T1"/>
                  </a:cxn>
                  <a:cxn ang="0">
                    <a:pos x="T2" y="T3"/>
                  </a:cxn>
                  <a:cxn ang="0">
                    <a:pos x="T4" y="T5"/>
                  </a:cxn>
                  <a:cxn ang="0">
                    <a:pos x="T6" y="T7"/>
                  </a:cxn>
                </a:cxnLst>
                <a:rect l="0" t="0" r="r" b="b"/>
                <a:pathLst>
                  <a:path w="54" h="111">
                    <a:moveTo>
                      <a:pt x="6" y="111"/>
                    </a:moveTo>
                    <a:cubicBezTo>
                      <a:pt x="6" y="111"/>
                      <a:pt x="0" y="34"/>
                      <a:pt x="50" y="1"/>
                    </a:cubicBezTo>
                    <a:cubicBezTo>
                      <a:pt x="52" y="0"/>
                      <a:pt x="54" y="1"/>
                      <a:pt x="54" y="4"/>
                    </a:cubicBezTo>
                    <a:cubicBezTo>
                      <a:pt x="54" y="16"/>
                      <a:pt x="48" y="53"/>
                      <a:pt x="6" y="111"/>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80">
                <a:extLst>
                  <a:ext uri="{FF2B5EF4-FFF2-40B4-BE49-F238E27FC236}">
                    <a16:creationId xmlns:a16="http://schemas.microsoft.com/office/drawing/2014/main" id="{3A846C96-6E4B-4CBB-ABD5-A702D2934979}"/>
                  </a:ext>
                </a:extLst>
              </p:cNvPr>
              <p:cNvSpPr>
                <a:spLocks/>
              </p:cNvSpPr>
              <p:nvPr/>
            </p:nvSpPr>
            <p:spPr bwMode="auto">
              <a:xfrm>
                <a:off x="6375" y="3033"/>
                <a:ext cx="85" cy="206"/>
              </a:xfrm>
              <a:custGeom>
                <a:avLst/>
                <a:gdLst>
                  <a:gd name="T0" fmla="*/ 35 w 36"/>
                  <a:gd name="T1" fmla="*/ 0 h 87"/>
                  <a:gd name="T2" fmla="*/ 31 w 36"/>
                  <a:gd name="T3" fmla="*/ 13 h 87"/>
                  <a:gd name="T4" fmla="*/ 18 w 36"/>
                  <a:gd name="T5" fmla="*/ 44 h 87"/>
                  <a:gd name="T6" fmla="*/ 6 w 36"/>
                  <a:gd name="T7" fmla="*/ 74 h 87"/>
                  <a:gd name="T8" fmla="*/ 0 w 36"/>
                  <a:gd name="T9" fmla="*/ 87 h 87"/>
                  <a:gd name="T10" fmla="*/ 4 w 36"/>
                  <a:gd name="T11" fmla="*/ 74 h 87"/>
                  <a:gd name="T12" fmla="*/ 16 w 36"/>
                  <a:gd name="T13" fmla="*/ 43 h 87"/>
                  <a:gd name="T14" fmla="*/ 29 w 36"/>
                  <a:gd name="T15" fmla="*/ 12 h 87"/>
                  <a:gd name="T16" fmla="*/ 35 w 36"/>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87">
                    <a:moveTo>
                      <a:pt x="35" y="0"/>
                    </a:moveTo>
                    <a:cubicBezTo>
                      <a:pt x="36" y="0"/>
                      <a:pt x="34" y="5"/>
                      <a:pt x="31" y="13"/>
                    </a:cubicBezTo>
                    <a:cubicBezTo>
                      <a:pt x="27" y="22"/>
                      <a:pt x="23" y="32"/>
                      <a:pt x="18" y="44"/>
                    </a:cubicBezTo>
                    <a:cubicBezTo>
                      <a:pt x="14" y="55"/>
                      <a:pt x="9" y="65"/>
                      <a:pt x="6" y="74"/>
                    </a:cubicBezTo>
                    <a:cubicBezTo>
                      <a:pt x="3" y="82"/>
                      <a:pt x="1" y="87"/>
                      <a:pt x="0" y="87"/>
                    </a:cubicBezTo>
                    <a:cubicBezTo>
                      <a:pt x="0" y="87"/>
                      <a:pt x="1" y="82"/>
                      <a:pt x="4" y="74"/>
                    </a:cubicBezTo>
                    <a:cubicBezTo>
                      <a:pt x="7" y="66"/>
                      <a:pt x="11" y="55"/>
                      <a:pt x="16" y="43"/>
                    </a:cubicBezTo>
                    <a:cubicBezTo>
                      <a:pt x="21" y="31"/>
                      <a:pt x="25" y="20"/>
                      <a:pt x="29" y="12"/>
                    </a:cubicBezTo>
                    <a:cubicBezTo>
                      <a:pt x="33" y="5"/>
                      <a:pt x="35" y="0"/>
                      <a:pt x="3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81">
                <a:extLst>
                  <a:ext uri="{FF2B5EF4-FFF2-40B4-BE49-F238E27FC236}">
                    <a16:creationId xmlns:a16="http://schemas.microsoft.com/office/drawing/2014/main" id="{68D2C323-7C64-4AA8-9DC6-835510F59C0A}"/>
                  </a:ext>
                </a:extLst>
              </p:cNvPr>
              <p:cNvSpPr>
                <a:spLocks/>
              </p:cNvSpPr>
              <p:nvPr/>
            </p:nvSpPr>
            <p:spPr bwMode="auto">
              <a:xfrm>
                <a:off x="6002" y="1527"/>
                <a:ext cx="166" cy="235"/>
              </a:xfrm>
              <a:custGeom>
                <a:avLst/>
                <a:gdLst>
                  <a:gd name="T0" fmla="*/ 70 w 70"/>
                  <a:gd name="T1" fmla="*/ 99 h 99"/>
                  <a:gd name="T2" fmla="*/ 0 w 70"/>
                  <a:gd name="T3" fmla="*/ 4 h 99"/>
                  <a:gd name="T4" fmla="*/ 4 w 70"/>
                  <a:gd name="T5" fmla="*/ 1 h 99"/>
                  <a:gd name="T6" fmla="*/ 70 w 70"/>
                  <a:gd name="T7" fmla="*/ 99 h 99"/>
                </a:gdLst>
                <a:ahLst/>
                <a:cxnLst>
                  <a:cxn ang="0">
                    <a:pos x="T0" y="T1"/>
                  </a:cxn>
                  <a:cxn ang="0">
                    <a:pos x="T2" y="T3"/>
                  </a:cxn>
                  <a:cxn ang="0">
                    <a:pos x="T4" y="T5"/>
                  </a:cxn>
                  <a:cxn ang="0">
                    <a:pos x="T6" y="T7"/>
                  </a:cxn>
                </a:cxnLst>
                <a:rect l="0" t="0" r="r" b="b"/>
                <a:pathLst>
                  <a:path w="70" h="99">
                    <a:moveTo>
                      <a:pt x="70" y="99"/>
                    </a:moveTo>
                    <a:cubicBezTo>
                      <a:pt x="70" y="99"/>
                      <a:pt x="2" y="63"/>
                      <a:pt x="0" y="4"/>
                    </a:cubicBezTo>
                    <a:cubicBezTo>
                      <a:pt x="0" y="1"/>
                      <a:pt x="3" y="0"/>
                      <a:pt x="4" y="1"/>
                    </a:cubicBezTo>
                    <a:cubicBezTo>
                      <a:pt x="14" y="8"/>
                      <a:pt x="43" y="33"/>
                      <a:pt x="70" y="99"/>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82">
                <a:extLst>
                  <a:ext uri="{FF2B5EF4-FFF2-40B4-BE49-F238E27FC236}">
                    <a16:creationId xmlns:a16="http://schemas.microsoft.com/office/drawing/2014/main" id="{28A411A5-53F4-4F48-8036-8AB287A6E417}"/>
                  </a:ext>
                </a:extLst>
              </p:cNvPr>
              <p:cNvSpPr>
                <a:spLocks/>
              </p:cNvSpPr>
              <p:nvPr/>
            </p:nvSpPr>
            <p:spPr bwMode="auto">
              <a:xfrm>
                <a:off x="6035" y="1584"/>
                <a:ext cx="133" cy="181"/>
              </a:xfrm>
              <a:custGeom>
                <a:avLst/>
                <a:gdLst>
                  <a:gd name="T0" fmla="*/ 1 w 56"/>
                  <a:gd name="T1" fmla="*/ 0 h 76"/>
                  <a:gd name="T2" fmla="*/ 9 w 56"/>
                  <a:gd name="T3" fmla="*/ 11 h 76"/>
                  <a:gd name="T4" fmla="*/ 28 w 56"/>
                  <a:gd name="T5" fmla="*/ 38 h 76"/>
                  <a:gd name="T6" fmla="*/ 48 w 56"/>
                  <a:gd name="T7" fmla="*/ 64 h 76"/>
                  <a:gd name="T8" fmla="*/ 56 w 56"/>
                  <a:gd name="T9" fmla="*/ 76 h 76"/>
                  <a:gd name="T10" fmla="*/ 46 w 56"/>
                  <a:gd name="T11" fmla="*/ 66 h 76"/>
                  <a:gd name="T12" fmla="*/ 26 w 56"/>
                  <a:gd name="T13" fmla="*/ 39 h 76"/>
                  <a:gd name="T14" fmla="*/ 7 w 56"/>
                  <a:gd name="T15" fmla="*/ 12 h 76"/>
                  <a:gd name="T16" fmla="*/ 1 w 5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6">
                    <a:moveTo>
                      <a:pt x="1" y="0"/>
                    </a:moveTo>
                    <a:cubicBezTo>
                      <a:pt x="1" y="0"/>
                      <a:pt x="4" y="4"/>
                      <a:pt x="9" y="11"/>
                    </a:cubicBezTo>
                    <a:cubicBezTo>
                      <a:pt x="15" y="19"/>
                      <a:pt x="21" y="28"/>
                      <a:pt x="28" y="38"/>
                    </a:cubicBezTo>
                    <a:cubicBezTo>
                      <a:pt x="36" y="48"/>
                      <a:pt x="42" y="57"/>
                      <a:pt x="48" y="64"/>
                    </a:cubicBezTo>
                    <a:cubicBezTo>
                      <a:pt x="53" y="71"/>
                      <a:pt x="56" y="75"/>
                      <a:pt x="56" y="76"/>
                    </a:cubicBezTo>
                    <a:cubicBezTo>
                      <a:pt x="55" y="76"/>
                      <a:pt x="52" y="72"/>
                      <a:pt x="46" y="66"/>
                    </a:cubicBezTo>
                    <a:cubicBezTo>
                      <a:pt x="41" y="59"/>
                      <a:pt x="34" y="50"/>
                      <a:pt x="26" y="39"/>
                    </a:cubicBezTo>
                    <a:cubicBezTo>
                      <a:pt x="18" y="29"/>
                      <a:pt x="12" y="19"/>
                      <a:pt x="7" y="12"/>
                    </a:cubicBezTo>
                    <a:cubicBezTo>
                      <a:pt x="3" y="5"/>
                      <a:pt x="0" y="0"/>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83">
                <a:extLst>
                  <a:ext uri="{FF2B5EF4-FFF2-40B4-BE49-F238E27FC236}">
                    <a16:creationId xmlns:a16="http://schemas.microsoft.com/office/drawing/2014/main" id="{42FC0640-72D6-4B15-932E-B96F8231DF18}"/>
                  </a:ext>
                </a:extLst>
              </p:cNvPr>
              <p:cNvSpPr>
                <a:spLocks/>
              </p:cNvSpPr>
              <p:nvPr/>
            </p:nvSpPr>
            <p:spPr bwMode="auto">
              <a:xfrm>
                <a:off x="6163" y="1914"/>
                <a:ext cx="181" cy="226"/>
              </a:xfrm>
              <a:custGeom>
                <a:avLst/>
                <a:gdLst>
                  <a:gd name="T0" fmla="*/ 76 w 76"/>
                  <a:gd name="T1" fmla="*/ 95 h 95"/>
                  <a:gd name="T2" fmla="*/ 0 w 76"/>
                  <a:gd name="T3" fmla="*/ 4 h 95"/>
                  <a:gd name="T4" fmla="*/ 4 w 76"/>
                  <a:gd name="T5" fmla="*/ 1 h 95"/>
                  <a:gd name="T6" fmla="*/ 76 w 76"/>
                  <a:gd name="T7" fmla="*/ 95 h 95"/>
                </a:gdLst>
                <a:ahLst/>
                <a:cxnLst>
                  <a:cxn ang="0">
                    <a:pos x="T0" y="T1"/>
                  </a:cxn>
                  <a:cxn ang="0">
                    <a:pos x="T2" y="T3"/>
                  </a:cxn>
                  <a:cxn ang="0">
                    <a:pos x="T4" y="T5"/>
                  </a:cxn>
                  <a:cxn ang="0">
                    <a:pos x="T6" y="T7"/>
                  </a:cxn>
                </a:cxnLst>
                <a:rect l="0" t="0" r="r" b="b"/>
                <a:pathLst>
                  <a:path w="76" h="95">
                    <a:moveTo>
                      <a:pt x="76" y="95"/>
                    </a:moveTo>
                    <a:cubicBezTo>
                      <a:pt x="76" y="95"/>
                      <a:pt x="5" y="63"/>
                      <a:pt x="0" y="4"/>
                    </a:cubicBezTo>
                    <a:cubicBezTo>
                      <a:pt x="0" y="2"/>
                      <a:pt x="2" y="0"/>
                      <a:pt x="4" y="1"/>
                    </a:cubicBezTo>
                    <a:cubicBezTo>
                      <a:pt x="15" y="8"/>
                      <a:pt x="44" y="30"/>
                      <a:pt x="76" y="9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84">
                <a:extLst>
                  <a:ext uri="{FF2B5EF4-FFF2-40B4-BE49-F238E27FC236}">
                    <a16:creationId xmlns:a16="http://schemas.microsoft.com/office/drawing/2014/main" id="{1F536682-F415-43DE-9A35-E0D5823E89A1}"/>
                  </a:ext>
                </a:extLst>
              </p:cNvPr>
              <p:cNvSpPr>
                <a:spLocks/>
              </p:cNvSpPr>
              <p:nvPr/>
            </p:nvSpPr>
            <p:spPr bwMode="auto">
              <a:xfrm>
                <a:off x="6199" y="1969"/>
                <a:ext cx="145" cy="171"/>
              </a:xfrm>
              <a:custGeom>
                <a:avLst/>
                <a:gdLst>
                  <a:gd name="T0" fmla="*/ 1 w 61"/>
                  <a:gd name="T1" fmla="*/ 0 h 72"/>
                  <a:gd name="T2" fmla="*/ 10 w 61"/>
                  <a:gd name="T3" fmla="*/ 10 h 72"/>
                  <a:gd name="T4" fmla="*/ 31 w 61"/>
                  <a:gd name="T5" fmla="*/ 36 h 72"/>
                  <a:gd name="T6" fmla="*/ 52 w 61"/>
                  <a:gd name="T7" fmla="*/ 61 h 72"/>
                  <a:gd name="T8" fmla="*/ 60 w 61"/>
                  <a:gd name="T9" fmla="*/ 72 h 72"/>
                  <a:gd name="T10" fmla="*/ 50 w 61"/>
                  <a:gd name="T11" fmla="*/ 63 h 72"/>
                  <a:gd name="T12" fmla="*/ 29 w 61"/>
                  <a:gd name="T13" fmla="*/ 38 h 72"/>
                  <a:gd name="T14" fmla="*/ 8 w 61"/>
                  <a:gd name="T15" fmla="*/ 12 h 72"/>
                  <a:gd name="T16" fmla="*/ 1 w 61"/>
                  <a:gd name="T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72">
                    <a:moveTo>
                      <a:pt x="1" y="0"/>
                    </a:moveTo>
                    <a:cubicBezTo>
                      <a:pt x="1" y="0"/>
                      <a:pt x="4" y="4"/>
                      <a:pt x="10" y="10"/>
                    </a:cubicBezTo>
                    <a:cubicBezTo>
                      <a:pt x="16" y="18"/>
                      <a:pt x="23" y="26"/>
                      <a:pt x="31" y="36"/>
                    </a:cubicBezTo>
                    <a:cubicBezTo>
                      <a:pt x="39" y="45"/>
                      <a:pt x="46" y="54"/>
                      <a:pt x="52" y="61"/>
                    </a:cubicBezTo>
                    <a:cubicBezTo>
                      <a:pt x="57" y="68"/>
                      <a:pt x="61" y="72"/>
                      <a:pt x="60" y="72"/>
                    </a:cubicBezTo>
                    <a:cubicBezTo>
                      <a:pt x="60" y="72"/>
                      <a:pt x="56" y="69"/>
                      <a:pt x="50" y="63"/>
                    </a:cubicBezTo>
                    <a:cubicBezTo>
                      <a:pt x="44" y="57"/>
                      <a:pt x="37" y="48"/>
                      <a:pt x="29" y="38"/>
                    </a:cubicBezTo>
                    <a:cubicBezTo>
                      <a:pt x="20" y="28"/>
                      <a:pt x="13" y="19"/>
                      <a:pt x="8" y="12"/>
                    </a:cubicBezTo>
                    <a:cubicBezTo>
                      <a:pt x="3" y="5"/>
                      <a:pt x="0" y="1"/>
                      <a:pt x="1"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85">
                <a:extLst>
                  <a:ext uri="{FF2B5EF4-FFF2-40B4-BE49-F238E27FC236}">
                    <a16:creationId xmlns:a16="http://schemas.microsoft.com/office/drawing/2014/main" id="{74DD1EEA-5687-45F9-A298-B16095C8B6ED}"/>
                  </a:ext>
                </a:extLst>
              </p:cNvPr>
              <p:cNvSpPr>
                <a:spLocks/>
              </p:cNvSpPr>
              <p:nvPr/>
            </p:nvSpPr>
            <p:spPr bwMode="auto">
              <a:xfrm>
                <a:off x="6133" y="2280"/>
                <a:ext cx="118" cy="280"/>
              </a:xfrm>
              <a:custGeom>
                <a:avLst/>
                <a:gdLst>
                  <a:gd name="T0" fmla="*/ 48 w 50"/>
                  <a:gd name="T1" fmla="*/ 118 h 118"/>
                  <a:gd name="T2" fmla="*/ 22 w 50"/>
                  <a:gd name="T3" fmla="*/ 2 h 118"/>
                  <a:gd name="T4" fmla="*/ 27 w 50"/>
                  <a:gd name="T5" fmla="*/ 2 h 118"/>
                  <a:gd name="T6" fmla="*/ 48 w 50"/>
                  <a:gd name="T7" fmla="*/ 118 h 118"/>
                </a:gdLst>
                <a:ahLst/>
                <a:cxnLst>
                  <a:cxn ang="0">
                    <a:pos x="T0" y="T1"/>
                  </a:cxn>
                  <a:cxn ang="0">
                    <a:pos x="T2" y="T3"/>
                  </a:cxn>
                  <a:cxn ang="0">
                    <a:pos x="T4" y="T5"/>
                  </a:cxn>
                  <a:cxn ang="0">
                    <a:pos x="T6" y="T7"/>
                  </a:cxn>
                </a:cxnLst>
                <a:rect l="0" t="0" r="r" b="b"/>
                <a:pathLst>
                  <a:path w="50" h="118">
                    <a:moveTo>
                      <a:pt x="48" y="118"/>
                    </a:moveTo>
                    <a:cubicBezTo>
                      <a:pt x="48" y="118"/>
                      <a:pt x="0" y="58"/>
                      <a:pt x="22" y="2"/>
                    </a:cubicBezTo>
                    <a:cubicBezTo>
                      <a:pt x="23" y="0"/>
                      <a:pt x="26" y="0"/>
                      <a:pt x="27" y="2"/>
                    </a:cubicBezTo>
                    <a:cubicBezTo>
                      <a:pt x="34" y="12"/>
                      <a:pt x="50" y="46"/>
                      <a:pt x="48" y="11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6">
                <a:extLst>
                  <a:ext uri="{FF2B5EF4-FFF2-40B4-BE49-F238E27FC236}">
                    <a16:creationId xmlns:a16="http://schemas.microsoft.com/office/drawing/2014/main" id="{FE760A6F-0DA3-4844-96D0-4F5A49A4F691}"/>
                  </a:ext>
                </a:extLst>
              </p:cNvPr>
              <p:cNvSpPr>
                <a:spLocks/>
              </p:cNvSpPr>
              <p:nvPr/>
            </p:nvSpPr>
            <p:spPr bwMode="auto">
              <a:xfrm>
                <a:off x="6197" y="2344"/>
                <a:ext cx="49" cy="216"/>
              </a:xfrm>
              <a:custGeom>
                <a:avLst/>
                <a:gdLst>
                  <a:gd name="T0" fmla="*/ 0 w 21"/>
                  <a:gd name="T1" fmla="*/ 0 h 91"/>
                  <a:gd name="T2" fmla="*/ 4 w 21"/>
                  <a:gd name="T3" fmla="*/ 13 h 91"/>
                  <a:gd name="T4" fmla="*/ 11 w 21"/>
                  <a:gd name="T5" fmla="*/ 45 h 91"/>
                  <a:gd name="T6" fmla="*/ 18 w 21"/>
                  <a:gd name="T7" fmla="*/ 77 h 91"/>
                  <a:gd name="T8" fmla="*/ 21 w 21"/>
                  <a:gd name="T9" fmla="*/ 91 h 91"/>
                  <a:gd name="T10" fmla="*/ 16 w 21"/>
                  <a:gd name="T11" fmla="*/ 78 h 91"/>
                  <a:gd name="T12" fmla="*/ 8 w 21"/>
                  <a:gd name="T13" fmla="*/ 46 h 91"/>
                  <a:gd name="T14" fmla="*/ 2 w 21"/>
                  <a:gd name="T15" fmla="*/ 13 h 91"/>
                  <a:gd name="T16" fmla="*/ 0 w 21"/>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91">
                    <a:moveTo>
                      <a:pt x="0" y="0"/>
                    </a:moveTo>
                    <a:cubicBezTo>
                      <a:pt x="1" y="0"/>
                      <a:pt x="2" y="5"/>
                      <a:pt x="4" y="13"/>
                    </a:cubicBezTo>
                    <a:cubicBezTo>
                      <a:pt x="6" y="22"/>
                      <a:pt x="8" y="33"/>
                      <a:pt x="11" y="45"/>
                    </a:cubicBezTo>
                    <a:cubicBezTo>
                      <a:pt x="13" y="57"/>
                      <a:pt x="16" y="68"/>
                      <a:pt x="18" y="77"/>
                    </a:cubicBezTo>
                    <a:cubicBezTo>
                      <a:pt x="20" y="86"/>
                      <a:pt x="21" y="91"/>
                      <a:pt x="21" y="91"/>
                    </a:cubicBezTo>
                    <a:cubicBezTo>
                      <a:pt x="20" y="91"/>
                      <a:pt x="18" y="86"/>
                      <a:pt x="16" y="78"/>
                    </a:cubicBezTo>
                    <a:cubicBezTo>
                      <a:pt x="14" y="70"/>
                      <a:pt x="11" y="58"/>
                      <a:pt x="8" y="46"/>
                    </a:cubicBezTo>
                    <a:cubicBezTo>
                      <a:pt x="5" y="33"/>
                      <a:pt x="3" y="22"/>
                      <a:pt x="2" y="13"/>
                    </a:cubicBezTo>
                    <a:cubicBezTo>
                      <a:pt x="0" y="5"/>
                      <a:pt x="0" y="0"/>
                      <a:pt x="0"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87">
                <a:extLst>
                  <a:ext uri="{FF2B5EF4-FFF2-40B4-BE49-F238E27FC236}">
                    <a16:creationId xmlns:a16="http://schemas.microsoft.com/office/drawing/2014/main" id="{B2CA4290-150F-43EE-99D5-848E2679D301}"/>
                  </a:ext>
                </a:extLst>
              </p:cNvPr>
              <p:cNvSpPr>
                <a:spLocks/>
              </p:cNvSpPr>
              <p:nvPr/>
            </p:nvSpPr>
            <p:spPr bwMode="auto">
              <a:xfrm>
                <a:off x="6185" y="2826"/>
                <a:ext cx="175" cy="228"/>
              </a:xfrm>
              <a:custGeom>
                <a:avLst/>
                <a:gdLst>
                  <a:gd name="T0" fmla="*/ 74 w 74"/>
                  <a:gd name="T1" fmla="*/ 96 h 96"/>
                  <a:gd name="T2" fmla="*/ 0 w 74"/>
                  <a:gd name="T3" fmla="*/ 3 h 96"/>
                  <a:gd name="T4" fmla="*/ 4 w 74"/>
                  <a:gd name="T5" fmla="*/ 1 h 96"/>
                  <a:gd name="T6" fmla="*/ 74 w 74"/>
                  <a:gd name="T7" fmla="*/ 96 h 96"/>
                </a:gdLst>
                <a:ahLst/>
                <a:cxnLst>
                  <a:cxn ang="0">
                    <a:pos x="T0" y="T1"/>
                  </a:cxn>
                  <a:cxn ang="0">
                    <a:pos x="T2" y="T3"/>
                  </a:cxn>
                  <a:cxn ang="0">
                    <a:pos x="T4" y="T5"/>
                  </a:cxn>
                  <a:cxn ang="0">
                    <a:pos x="T6" y="T7"/>
                  </a:cxn>
                </a:cxnLst>
                <a:rect l="0" t="0" r="r" b="b"/>
                <a:pathLst>
                  <a:path w="74" h="96">
                    <a:moveTo>
                      <a:pt x="74" y="96"/>
                    </a:moveTo>
                    <a:cubicBezTo>
                      <a:pt x="74" y="96"/>
                      <a:pt x="4" y="63"/>
                      <a:pt x="0" y="3"/>
                    </a:cubicBezTo>
                    <a:cubicBezTo>
                      <a:pt x="0" y="1"/>
                      <a:pt x="2" y="0"/>
                      <a:pt x="4" y="1"/>
                    </a:cubicBezTo>
                    <a:cubicBezTo>
                      <a:pt x="15" y="8"/>
                      <a:pt x="44" y="31"/>
                      <a:pt x="74" y="96"/>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88">
                <a:extLst>
                  <a:ext uri="{FF2B5EF4-FFF2-40B4-BE49-F238E27FC236}">
                    <a16:creationId xmlns:a16="http://schemas.microsoft.com/office/drawing/2014/main" id="{ED7E964D-51D6-4705-B6DC-0853EC59890D}"/>
                  </a:ext>
                </a:extLst>
              </p:cNvPr>
              <p:cNvSpPr>
                <a:spLocks/>
              </p:cNvSpPr>
              <p:nvPr/>
            </p:nvSpPr>
            <p:spPr bwMode="auto">
              <a:xfrm>
                <a:off x="6220" y="2881"/>
                <a:ext cx="140" cy="175"/>
              </a:xfrm>
              <a:custGeom>
                <a:avLst/>
                <a:gdLst>
                  <a:gd name="T0" fmla="*/ 0 w 59"/>
                  <a:gd name="T1" fmla="*/ 0 h 74"/>
                  <a:gd name="T2" fmla="*/ 9 w 59"/>
                  <a:gd name="T3" fmla="*/ 11 h 74"/>
                  <a:gd name="T4" fmla="*/ 30 w 59"/>
                  <a:gd name="T5" fmla="*/ 37 h 74"/>
                  <a:gd name="T6" fmla="*/ 50 w 59"/>
                  <a:gd name="T7" fmla="*/ 62 h 74"/>
                  <a:gd name="T8" fmla="*/ 59 w 59"/>
                  <a:gd name="T9" fmla="*/ 73 h 74"/>
                  <a:gd name="T10" fmla="*/ 49 w 59"/>
                  <a:gd name="T11" fmla="*/ 64 h 74"/>
                  <a:gd name="T12" fmla="*/ 28 w 59"/>
                  <a:gd name="T13" fmla="*/ 38 h 74"/>
                  <a:gd name="T14" fmla="*/ 8 w 59"/>
                  <a:gd name="T15" fmla="*/ 12 h 74"/>
                  <a:gd name="T16" fmla="*/ 0 w 59"/>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4">
                    <a:moveTo>
                      <a:pt x="0" y="0"/>
                    </a:moveTo>
                    <a:cubicBezTo>
                      <a:pt x="1" y="0"/>
                      <a:pt x="4" y="4"/>
                      <a:pt x="9" y="11"/>
                    </a:cubicBezTo>
                    <a:cubicBezTo>
                      <a:pt x="15" y="18"/>
                      <a:pt x="22" y="27"/>
                      <a:pt x="30" y="37"/>
                    </a:cubicBezTo>
                    <a:cubicBezTo>
                      <a:pt x="38" y="46"/>
                      <a:pt x="44" y="55"/>
                      <a:pt x="50" y="62"/>
                    </a:cubicBezTo>
                    <a:cubicBezTo>
                      <a:pt x="56" y="69"/>
                      <a:pt x="59" y="73"/>
                      <a:pt x="59" y="73"/>
                    </a:cubicBezTo>
                    <a:cubicBezTo>
                      <a:pt x="58" y="74"/>
                      <a:pt x="55" y="70"/>
                      <a:pt x="49" y="64"/>
                    </a:cubicBezTo>
                    <a:cubicBezTo>
                      <a:pt x="43" y="57"/>
                      <a:pt x="36" y="49"/>
                      <a:pt x="28" y="38"/>
                    </a:cubicBezTo>
                    <a:cubicBezTo>
                      <a:pt x="20" y="28"/>
                      <a:pt x="13" y="19"/>
                      <a:pt x="8" y="12"/>
                    </a:cubicBezTo>
                    <a:cubicBezTo>
                      <a:pt x="3" y="5"/>
                      <a:pt x="0" y="1"/>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89">
                <a:extLst>
                  <a:ext uri="{FF2B5EF4-FFF2-40B4-BE49-F238E27FC236}">
                    <a16:creationId xmlns:a16="http://schemas.microsoft.com/office/drawing/2014/main" id="{1CFB6FB0-8586-40A6-AE64-48DE397F46FB}"/>
                  </a:ext>
                </a:extLst>
              </p:cNvPr>
              <p:cNvSpPr>
                <a:spLocks/>
              </p:cNvSpPr>
              <p:nvPr/>
            </p:nvSpPr>
            <p:spPr bwMode="auto">
              <a:xfrm>
                <a:off x="6375" y="2332"/>
                <a:ext cx="318" cy="822"/>
              </a:xfrm>
              <a:custGeom>
                <a:avLst/>
                <a:gdLst>
                  <a:gd name="T0" fmla="*/ 134 w 134"/>
                  <a:gd name="T1" fmla="*/ 0 h 346"/>
                  <a:gd name="T2" fmla="*/ 134 w 134"/>
                  <a:gd name="T3" fmla="*/ 1 h 346"/>
                  <a:gd name="T4" fmla="*/ 134 w 134"/>
                  <a:gd name="T5" fmla="*/ 6 h 346"/>
                  <a:gd name="T6" fmla="*/ 133 w 134"/>
                  <a:gd name="T7" fmla="*/ 25 h 346"/>
                  <a:gd name="T8" fmla="*/ 129 w 134"/>
                  <a:gd name="T9" fmla="*/ 92 h 346"/>
                  <a:gd name="T10" fmla="*/ 129 w 134"/>
                  <a:gd name="T11" fmla="*/ 92 h 346"/>
                  <a:gd name="T12" fmla="*/ 129 w 134"/>
                  <a:gd name="T13" fmla="*/ 92 h 346"/>
                  <a:gd name="T14" fmla="*/ 91 w 134"/>
                  <a:gd name="T15" fmla="*/ 182 h 346"/>
                  <a:gd name="T16" fmla="*/ 49 w 134"/>
                  <a:gd name="T17" fmla="*/ 243 h 346"/>
                  <a:gd name="T18" fmla="*/ 18 w 134"/>
                  <a:gd name="T19" fmla="*/ 294 h 346"/>
                  <a:gd name="T20" fmla="*/ 4 w 134"/>
                  <a:gd name="T21" fmla="*/ 332 h 346"/>
                  <a:gd name="T22" fmla="*/ 1 w 134"/>
                  <a:gd name="T23" fmla="*/ 343 h 346"/>
                  <a:gd name="T24" fmla="*/ 0 w 134"/>
                  <a:gd name="T25" fmla="*/ 346 h 346"/>
                  <a:gd name="T26" fmla="*/ 1 w 134"/>
                  <a:gd name="T27" fmla="*/ 342 h 346"/>
                  <a:gd name="T28" fmla="*/ 3 w 134"/>
                  <a:gd name="T29" fmla="*/ 332 h 346"/>
                  <a:gd name="T30" fmla="*/ 16 w 134"/>
                  <a:gd name="T31" fmla="*/ 293 h 346"/>
                  <a:gd name="T32" fmla="*/ 47 w 134"/>
                  <a:gd name="T33" fmla="*/ 241 h 346"/>
                  <a:gd name="T34" fmla="*/ 88 w 134"/>
                  <a:gd name="T35" fmla="*/ 180 h 346"/>
                  <a:gd name="T36" fmla="*/ 127 w 134"/>
                  <a:gd name="T37" fmla="*/ 92 h 346"/>
                  <a:gd name="T38" fmla="*/ 127 w 134"/>
                  <a:gd name="T39" fmla="*/ 92 h 346"/>
                  <a:gd name="T40" fmla="*/ 132 w 134"/>
                  <a:gd name="T41" fmla="*/ 25 h 346"/>
                  <a:gd name="T42" fmla="*/ 133 w 134"/>
                  <a:gd name="T43" fmla="*/ 6 h 346"/>
                  <a:gd name="T44" fmla="*/ 134 w 134"/>
                  <a:gd name="T45" fmla="*/ 1 h 346"/>
                  <a:gd name="T46" fmla="*/ 134 w 134"/>
                  <a:gd name="T4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346">
                    <a:moveTo>
                      <a:pt x="134" y="0"/>
                    </a:moveTo>
                    <a:cubicBezTo>
                      <a:pt x="134" y="0"/>
                      <a:pt x="134" y="0"/>
                      <a:pt x="134" y="1"/>
                    </a:cubicBezTo>
                    <a:cubicBezTo>
                      <a:pt x="134" y="3"/>
                      <a:pt x="134" y="4"/>
                      <a:pt x="134" y="6"/>
                    </a:cubicBezTo>
                    <a:cubicBezTo>
                      <a:pt x="134" y="11"/>
                      <a:pt x="133" y="17"/>
                      <a:pt x="133" y="25"/>
                    </a:cubicBezTo>
                    <a:cubicBezTo>
                      <a:pt x="132" y="42"/>
                      <a:pt x="131" y="65"/>
                      <a:pt x="129" y="92"/>
                    </a:cubicBezTo>
                    <a:cubicBezTo>
                      <a:pt x="129" y="92"/>
                      <a:pt x="129" y="92"/>
                      <a:pt x="129" y="92"/>
                    </a:cubicBezTo>
                    <a:cubicBezTo>
                      <a:pt x="129" y="92"/>
                      <a:pt x="129" y="92"/>
                      <a:pt x="129" y="92"/>
                    </a:cubicBezTo>
                    <a:cubicBezTo>
                      <a:pt x="124" y="120"/>
                      <a:pt x="110" y="151"/>
                      <a:pt x="91" y="182"/>
                    </a:cubicBezTo>
                    <a:cubicBezTo>
                      <a:pt x="77" y="204"/>
                      <a:pt x="62" y="224"/>
                      <a:pt x="49" y="243"/>
                    </a:cubicBezTo>
                    <a:cubicBezTo>
                      <a:pt x="37" y="261"/>
                      <a:pt x="26" y="279"/>
                      <a:pt x="18" y="294"/>
                    </a:cubicBezTo>
                    <a:cubicBezTo>
                      <a:pt x="11" y="309"/>
                      <a:pt x="6" y="323"/>
                      <a:pt x="4" y="332"/>
                    </a:cubicBezTo>
                    <a:cubicBezTo>
                      <a:pt x="3" y="336"/>
                      <a:pt x="2" y="340"/>
                      <a:pt x="1" y="343"/>
                    </a:cubicBezTo>
                    <a:cubicBezTo>
                      <a:pt x="1" y="345"/>
                      <a:pt x="0" y="346"/>
                      <a:pt x="0" y="346"/>
                    </a:cubicBezTo>
                    <a:cubicBezTo>
                      <a:pt x="0" y="346"/>
                      <a:pt x="0" y="345"/>
                      <a:pt x="1" y="342"/>
                    </a:cubicBezTo>
                    <a:cubicBezTo>
                      <a:pt x="1" y="340"/>
                      <a:pt x="2" y="336"/>
                      <a:pt x="3" y="332"/>
                    </a:cubicBezTo>
                    <a:cubicBezTo>
                      <a:pt x="5" y="322"/>
                      <a:pt x="9" y="309"/>
                      <a:pt x="16" y="293"/>
                    </a:cubicBezTo>
                    <a:cubicBezTo>
                      <a:pt x="24" y="278"/>
                      <a:pt x="35" y="260"/>
                      <a:pt x="47" y="241"/>
                    </a:cubicBezTo>
                    <a:cubicBezTo>
                      <a:pt x="60" y="222"/>
                      <a:pt x="74" y="202"/>
                      <a:pt x="88" y="180"/>
                    </a:cubicBezTo>
                    <a:cubicBezTo>
                      <a:pt x="108" y="150"/>
                      <a:pt x="122" y="119"/>
                      <a:pt x="127" y="92"/>
                    </a:cubicBezTo>
                    <a:cubicBezTo>
                      <a:pt x="127" y="92"/>
                      <a:pt x="127" y="92"/>
                      <a:pt x="127" y="92"/>
                    </a:cubicBezTo>
                    <a:cubicBezTo>
                      <a:pt x="129" y="65"/>
                      <a:pt x="130" y="42"/>
                      <a:pt x="132" y="25"/>
                    </a:cubicBezTo>
                    <a:cubicBezTo>
                      <a:pt x="132" y="17"/>
                      <a:pt x="133" y="11"/>
                      <a:pt x="133" y="6"/>
                    </a:cubicBezTo>
                    <a:cubicBezTo>
                      <a:pt x="133" y="4"/>
                      <a:pt x="133" y="3"/>
                      <a:pt x="134" y="1"/>
                    </a:cubicBezTo>
                    <a:cubicBezTo>
                      <a:pt x="134" y="0"/>
                      <a:pt x="134" y="0"/>
                      <a:pt x="134"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90">
                <a:extLst>
                  <a:ext uri="{FF2B5EF4-FFF2-40B4-BE49-F238E27FC236}">
                    <a16:creationId xmlns:a16="http://schemas.microsoft.com/office/drawing/2014/main" id="{6F892214-5980-4FCE-863E-F939256094EC}"/>
                  </a:ext>
                </a:extLst>
              </p:cNvPr>
              <p:cNvSpPr>
                <a:spLocks/>
              </p:cNvSpPr>
              <p:nvPr/>
            </p:nvSpPr>
            <p:spPr bwMode="auto">
              <a:xfrm>
                <a:off x="6543" y="2465"/>
                <a:ext cx="121" cy="285"/>
              </a:xfrm>
              <a:custGeom>
                <a:avLst/>
                <a:gdLst>
                  <a:gd name="T0" fmla="*/ 21 w 51"/>
                  <a:gd name="T1" fmla="*/ 120 h 120"/>
                  <a:gd name="T2" fmla="*/ 13 w 51"/>
                  <a:gd name="T3" fmla="*/ 1 h 120"/>
                  <a:gd name="T4" fmla="*/ 9 w 51"/>
                  <a:gd name="T5" fmla="*/ 2 h 120"/>
                  <a:gd name="T6" fmla="*/ 21 w 51"/>
                  <a:gd name="T7" fmla="*/ 120 h 120"/>
                </a:gdLst>
                <a:ahLst/>
                <a:cxnLst>
                  <a:cxn ang="0">
                    <a:pos x="T0" y="T1"/>
                  </a:cxn>
                  <a:cxn ang="0">
                    <a:pos x="T2" y="T3"/>
                  </a:cxn>
                  <a:cxn ang="0">
                    <a:pos x="T4" y="T5"/>
                  </a:cxn>
                  <a:cxn ang="0">
                    <a:pos x="T6" y="T7"/>
                  </a:cxn>
                </a:cxnLst>
                <a:rect l="0" t="0" r="r" b="b"/>
                <a:pathLst>
                  <a:path w="51" h="120">
                    <a:moveTo>
                      <a:pt x="21" y="120"/>
                    </a:moveTo>
                    <a:cubicBezTo>
                      <a:pt x="21" y="120"/>
                      <a:pt x="51" y="48"/>
                      <a:pt x="13" y="1"/>
                    </a:cubicBezTo>
                    <a:cubicBezTo>
                      <a:pt x="12" y="0"/>
                      <a:pt x="10" y="0"/>
                      <a:pt x="9" y="2"/>
                    </a:cubicBezTo>
                    <a:cubicBezTo>
                      <a:pt x="6" y="14"/>
                      <a:pt x="0" y="51"/>
                      <a:pt x="21" y="1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91">
                <a:extLst>
                  <a:ext uri="{FF2B5EF4-FFF2-40B4-BE49-F238E27FC236}">
                    <a16:creationId xmlns:a16="http://schemas.microsoft.com/office/drawing/2014/main" id="{23D9DDF0-8EC1-4C76-8255-482369CBB03C}"/>
                  </a:ext>
                </a:extLst>
              </p:cNvPr>
              <p:cNvSpPr>
                <a:spLocks/>
              </p:cNvSpPr>
              <p:nvPr/>
            </p:nvSpPr>
            <p:spPr bwMode="auto">
              <a:xfrm>
                <a:off x="6579" y="2527"/>
                <a:ext cx="19" cy="223"/>
              </a:xfrm>
              <a:custGeom>
                <a:avLst/>
                <a:gdLst>
                  <a:gd name="T0" fmla="*/ 1 w 8"/>
                  <a:gd name="T1" fmla="*/ 0 h 94"/>
                  <a:gd name="T2" fmla="*/ 3 w 8"/>
                  <a:gd name="T3" fmla="*/ 14 h 94"/>
                  <a:gd name="T4" fmla="*/ 6 w 8"/>
                  <a:gd name="T5" fmla="*/ 47 h 94"/>
                  <a:gd name="T6" fmla="*/ 8 w 8"/>
                  <a:gd name="T7" fmla="*/ 80 h 94"/>
                  <a:gd name="T8" fmla="*/ 7 w 8"/>
                  <a:gd name="T9" fmla="*/ 94 h 94"/>
                  <a:gd name="T10" fmla="*/ 6 w 8"/>
                  <a:gd name="T11" fmla="*/ 80 h 94"/>
                  <a:gd name="T12" fmla="*/ 3 w 8"/>
                  <a:gd name="T13" fmla="*/ 47 h 94"/>
                  <a:gd name="T14" fmla="*/ 1 w 8"/>
                  <a:gd name="T15" fmla="*/ 14 h 94"/>
                  <a:gd name="T16" fmla="*/ 1 w 8"/>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4">
                    <a:moveTo>
                      <a:pt x="1" y="0"/>
                    </a:moveTo>
                    <a:cubicBezTo>
                      <a:pt x="1" y="0"/>
                      <a:pt x="2" y="6"/>
                      <a:pt x="3" y="14"/>
                    </a:cubicBezTo>
                    <a:cubicBezTo>
                      <a:pt x="4" y="22"/>
                      <a:pt x="5" y="34"/>
                      <a:pt x="6" y="47"/>
                    </a:cubicBezTo>
                    <a:cubicBezTo>
                      <a:pt x="7" y="60"/>
                      <a:pt x="8" y="71"/>
                      <a:pt x="8" y="80"/>
                    </a:cubicBezTo>
                    <a:cubicBezTo>
                      <a:pt x="8" y="88"/>
                      <a:pt x="7" y="94"/>
                      <a:pt x="7" y="94"/>
                    </a:cubicBezTo>
                    <a:cubicBezTo>
                      <a:pt x="6" y="94"/>
                      <a:pt x="6" y="88"/>
                      <a:pt x="6" y="80"/>
                    </a:cubicBezTo>
                    <a:cubicBezTo>
                      <a:pt x="5" y="70"/>
                      <a:pt x="4" y="59"/>
                      <a:pt x="3" y="47"/>
                    </a:cubicBezTo>
                    <a:cubicBezTo>
                      <a:pt x="2" y="35"/>
                      <a:pt x="2" y="24"/>
                      <a:pt x="1" y="14"/>
                    </a:cubicBezTo>
                    <a:cubicBezTo>
                      <a:pt x="1" y="6"/>
                      <a:pt x="0" y="0"/>
                      <a:pt x="1"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92">
                <a:extLst>
                  <a:ext uri="{FF2B5EF4-FFF2-40B4-BE49-F238E27FC236}">
                    <a16:creationId xmlns:a16="http://schemas.microsoft.com/office/drawing/2014/main" id="{03C184F8-4F00-49C4-B293-0A73EE0E1CB9}"/>
                  </a:ext>
                </a:extLst>
              </p:cNvPr>
              <p:cNvSpPr>
                <a:spLocks/>
              </p:cNvSpPr>
              <p:nvPr/>
            </p:nvSpPr>
            <p:spPr bwMode="auto">
              <a:xfrm>
                <a:off x="6557" y="2468"/>
                <a:ext cx="62" cy="282"/>
              </a:xfrm>
              <a:custGeom>
                <a:avLst/>
                <a:gdLst>
                  <a:gd name="T0" fmla="*/ 5 w 26"/>
                  <a:gd name="T1" fmla="*/ 0 h 119"/>
                  <a:gd name="T2" fmla="*/ 3 w 26"/>
                  <a:gd name="T3" fmla="*/ 1 h 119"/>
                  <a:gd name="T4" fmla="*/ 0 w 26"/>
                  <a:gd name="T5" fmla="*/ 32 h 119"/>
                  <a:gd name="T6" fmla="*/ 15 w 26"/>
                  <a:gd name="T7" fmla="*/ 119 h 119"/>
                  <a:gd name="T8" fmla="*/ 16 w 26"/>
                  <a:gd name="T9" fmla="*/ 118 h 119"/>
                  <a:gd name="T10" fmla="*/ 15 w 26"/>
                  <a:gd name="T11" fmla="*/ 105 h 119"/>
                  <a:gd name="T12" fmla="*/ 12 w 26"/>
                  <a:gd name="T13" fmla="*/ 72 h 119"/>
                  <a:gd name="T14" fmla="*/ 10 w 26"/>
                  <a:gd name="T15" fmla="*/ 39 h 119"/>
                  <a:gd name="T16" fmla="*/ 10 w 26"/>
                  <a:gd name="T17" fmla="*/ 25 h 119"/>
                  <a:gd name="T18" fmla="*/ 10 w 26"/>
                  <a:gd name="T19" fmla="*/ 25 h 119"/>
                  <a:gd name="T20" fmla="*/ 12 w 26"/>
                  <a:gd name="T21" fmla="*/ 39 h 119"/>
                  <a:gd name="T22" fmla="*/ 15 w 26"/>
                  <a:gd name="T23" fmla="*/ 72 h 119"/>
                  <a:gd name="T24" fmla="*/ 17 w 26"/>
                  <a:gd name="T25" fmla="*/ 105 h 119"/>
                  <a:gd name="T26" fmla="*/ 16 w 26"/>
                  <a:gd name="T27" fmla="*/ 116 h 119"/>
                  <a:gd name="T28" fmla="*/ 26 w 26"/>
                  <a:gd name="T29" fmla="*/ 60 h 119"/>
                  <a:gd name="T30" fmla="*/ 7 w 26"/>
                  <a:gd name="T31" fmla="*/ 0 h 119"/>
                  <a:gd name="T32" fmla="*/ 5 w 2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9">
                    <a:moveTo>
                      <a:pt x="5" y="0"/>
                    </a:moveTo>
                    <a:cubicBezTo>
                      <a:pt x="4" y="0"/>
                      <a:pt x="3" y="0"/>
                      <a:pt x="3" y="1"/>
                    </a:cubicBezTo>
                    <a:cubicBezTo>
                      <a:pt x="2" y="7"/>
                      <a:pt x="0" y="16"/>
                      <a:pt x="0" y="32"/>
                    </a:cubicBezTo>
                    <a:cubicBezTo>
                      <a:pt x="0" y="51"/>
                      <a:pt x="3" y="80"/>
                      <a:pt x="15" y="119"/>
                    </a:cubicBezTo>
                    <a:cubicBezTo>
                      <a:pt x="15" y="119"/>
                      <a:pt x="15" y="118"/>
                      <a:pt x="16" y="118"/>
                    </a:cubicBezTo>
                    <a:cubicBezTo>
                      <a:pt x="15" y="116"/>
                      <a:pt x="15" y="112"/>
                      <a:pt x="15" y="105"/>
                    </a:cubicBezTo>
                    <a:cubicBezTo>
                      <a:pt x="14" y="95"/>
                      <a:pt x="13" y="84"/>
                      <a:pt x="12" y="72"/>
                    </a:cubicBezTo>
                    <a:cubicBezTo>
                      <a:pt x="11" y="60"/>
                      <a:pt x="11" y="49"/>
                      <a:pt x="10" y="39"/>
                    </a:cubicBezTo>
                    <a:cubicBezTo>
                      <a:pt x="10" y="31"/>
                      <a:pt x="9" y="25"/>
                      <a:pt x="10" y="25"/>
                    </a:cubicBezTo>
                    <a:cubicBezTo>
                      <a:pt x="10" y="25"/>
                      <a:pt x="10" y="25"/>
                      <a:pt x="10" y="25"/>
                    </a:cubicBezTo>
                    <a:cubicBezTo>
                      <a:pt x="10" y="25"/>
                      <a:pt x="11" y="31"/>
                      <a:pt x="12" y="39"/>
                    </a:cubicBezTo>
                    <a:cubicBezTo>
                      <a:pt x="13" y="47"/>
                      <a:pt x="14" y="59"/>
                      <a:pt x="15" y="72"/>
                    </a:cubicBezTo>
                    <a:cubicBezTo>
                      <a:pt x="16" y="85"/>
                      <a:pt x="17" y="96"/>
                      <a:pt x="17" y="105"/>
                    </a:cubicBezTo>
                    <a:cubicBezTo>
                      <a:pt x="17" y="110"/>
                      <a:pt x="16" y="114"/>
                      <a:pt x="16" y="116"/>
                    </a:cubicBezTo>
                    <a:cubicBezTo>
                      <a:pt x="19" y="108"/>
                      <a:pt x="26" y="86"/>
                      <a:pt x="26" y="60"/>
                    </a:cubicBezTo>
                    <a:cubicBezTo>
                      <a:pt x="26" y="40"/>
                      <a:pt x="22" y="19"/>
                      <a:pt x="7" y="0"/>
                    </a:cubicBezTo>
                    <a:cubicBezTo>
                      <a:pt x="7" y="0"/>
                      <a:pt x="6" y="0"/>
                      <a:pt x="5"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93">
                <a:extLst>
                  <a:ext uri="{FF2B5EF4-FFF2-40B4-BE49-F238E27FC236}">
                    <a16:creationId xmlns:a16="http://schemas.microsoft.com/office/drawing/2014/main" id="{8AAE6B2B-1076-4DA9-A449-48B5E0935BBC}"/>
                  </a:ext>
                </a:extLst>
              </p:cNvPr>
              <p:cNvSpPr>
                <a:spLocks/>
              </p:cNvSpPr>
              <p:nvPr/>
            </p:nvSpPr>
            <p:spPr bwMode="auto">
              <a:xfrm>
                <a:off x="6579" y="2527"/>
                <a:ext cx="19" cy="221"/>
              </a:xfrm>
              <a:custGeom>
                <a:avLst/>
                <a:gdLst>
                  <a:gd name="T0" fmla="*/ 1 w 8"/>
                  <a:gd name="T1" fmla="*/ 0 h 93"/>
                  <a:gd name="T2" fmla="*/ 1 w 8"/>
                  <a:gd name="T3" fmla="*/ 0 h 93"/>
                  <a:gd name="T4" fmla="*/ 1 w 8"/>
                  <a:gd name="T5" fmla="*/ 14 h 93"/>
                  <a:gd name="T6" fmla="*/ 3 w 8"/>
                  <a:gd name="T7" fmla="*/ 47 h 93"/>
                  <a:gd name="T8" fmla="*/ 6 w 8"/>
                  <a:gd name="T9" fmla="*/ 80 h 93"/>
                  <a:gd name="T10" fmla="*/ 7 w 8"/>
                  <a:gd name="T11" fmla="*/ 93 h 93"/>
                  <a:gd name="T12" fmla="*/ 7 w 8"/>
                  <a:gd name="T13" fmla="*/ 91 h 93"/>
                  <a:gd name="T14" fmla="*/ 8 w 8"/>
                  <a:gd name="T15" fmla="*/ 80 h 93"/>
                  <a:gd name="T16" fmla="*/ 6 w 8"/>
                  <a:gd name="T17" fmla="*/ 47 h 93"/>
                  <a:gd name="T18" fmla="*/ 3 w 8"/>
                  <a:gd name="T19" fmla="*/ 14 h 93"/>
                  <a:gd name="T20" fmla="*/ 1 w 8"/>
                  <a:gd name="T2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3">
                    <a:moveTo>
                      <a:pt x="1" y="0"/>
                    </a:moveTo>
                    <a:cubicBezTo>
                      <a:pt x="1" y="0"/>
                      <a:pt x="1" y="0"/>
                      <a:pt x="1" y="0"/>
                    </a:cubicBezTo>
                    <a:cubicBezTo>
                      <a:pt x="0" y="0"/>
                      <a:pt x="1" y="6"/>
                      <a:pt x="1" y="14"/>
                    </a:cubicBezTo>
                    <a:cubicBezTo>
                      <a:pt x="2" y="24"/>
                      <a:pt x="2" y="35"/>
                      <a:pt x="3" y="47"/>
                    </a:cubicBezTo>
                    <a:cubicBezTo>
                      <a:pt x="4" y="59"/>
                      <a:pt x="5" y="70"/>
                      <a:pt x="6" y="80"/>
                    </a:cubicBezTo>
                    <a:cubicBezTo>
                      <a:pt x="6" y="87"/>
                      <a:pt x="6" y="91"/>
                      <a:pt x="7" y="93"/>
                    </a:cubicBezTo>
                    <a:cubicBezTo>
                      <a:pt x="7" y="92"/>
                      <a:pt x="7" y="92"/>
                      <a:pt x="7" y="91"/>
                    </a:cubicBezTo>
                    <a:cubicBezTo>
                      <a:pt x="7" y="89"/>
                      <a:pt x="8" y="85"/>
                      <a:pt x="8" y="80"/>
                    </a:cubicBezTo>
                    <a:cubicBezTo>
                      <a:pt x="8" y="71"/>
                      <a:pt x="7" y="60"/>
                      <a:pt x="6" y="47"/>
                    </a:cubicBezTo>
                    <a:cubicBezTo>
                      <a:pt x="5" y="34"/>
                      <a:pt x="4" y="22"/>
                      <a:pt x="3" y="14"/>
                    </a:cubicBezTo>
                    <a:cubicBezTo>
                      <a:pt x="2" y="6"/>
                      <a:pt x="1" y="0"/>
                      <a:pt x="1"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94">
                <a:extLst>
                  <a:ext uri="{FF2B5EF4-FFF2-40B4-BE49-F238E27FC236}">
                    <a16:creationId xmlns:a16="http://schemas.microsoft.com/office/drawing/2014/main" id="{6B9601AD-3F11-4075-B527-50C783AF7A26}"/>
                  </a:ext>
                </a:extLst>
              </p:cNvPr>
              <p:cNvSpPr>
                <a:spLocks/>
              </p:cNvSpPr>
              <p:nvPr/>
            </p:nvSpPr>
            <p:spPr bwMode="auto">
              <a:xfrm>
                <a:off x="6311" y="2876"/>
                <a:ext cx="121" cy="283"/>
              </a:xfrm>
              <a:custGeom>
                <a:avLst/>
                <a:gdLst>
                  <a:gd name="T0" fmla="*/ 27 w 51"/>
                  <a:gd name="T1" fmla="*/ 119 h 119"/>
                  <a:gd name="T2" fmla="*/ 10 w 51"/>
                  <a:gd name="T3" fmla="*/ 2 h 119"/>
                  <a:gd name="T4" fmla="*/ 6 w 51"/>
                  <a:gd name="T5" fmla="*/ 3 h 119"/>
                  <a:gd name="T6" fmla="*/ 27 w 51"/>
                  <a:gd name="T7" fmla="*/ 119 h 119"/>
                </a:gdLst>
                <a:ahLst/>
                <a:cxnLst>
                  <a:cxn ang="0">
                    <a:pos x="T0" y="T1"/>
                  </a:cxn>
                  <a:cxn ang="0">
                    <a:pos x="T2" y="T3"/>
                  </a:cxn>
                  <a:cxn ang="0">
                    <a:pos x="T4" y="T5"/>
                  </a:cxn>
                  <a:cxn ang="0">
                    <a:pos x="T6" y="T7"/>
                  </a:cxn>
                </a:cxnLst>
                <a:rect l="0" t="0" r="r" b="b"/>
                <a:pathLst>
                  <a:path w="51" h="119">
                    <a:moveTo>
                      <a:pt x="27" y="119"/>
                    </a:moveTo>
                    <a:cubicBezTo>
                      <a:pt x="27" y="119"/>
                      <a:pt x="51" y="45"/>
                      <a:pt x="10" y="2"/>
                    </a:cubicBezTo>
                    <a:cubicBezTo>
                      <a:pt x="9" y="0"/>
                      <a:pt x="6" y="1"/>
                      <a:pt x="6" y="3"/>
                    </a:cubicBezTo>
                    <a:cubicBezTo>
                      <a:pt x="3" y="15"/>
                      <a:pt x="0" y="52"/>
                      <a:pt x="27" y="119"/>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95">
                <a:extLst>
                  <a:ext uri="{FF2B5EF4-FFF2-40B4-BE49-F238E27FC236}">
                    <a16:creationId xmlns:a16="http://schemas.microsoft.com/office/drawing/2014/main" id="{C0B07F1E-1E09-4D50-947C-0075609A1D1B}"/>
                  </a:ext>
                </a:extLst>
              </p:cNvPr>
              <p:cNvSpPr>
                <a:spLocks/>
              </p:cNvSpPr>
              <p:nvPr/>
            </p:nvSpPr>
            <p:spPr bwMode="auto">
              <a:xfrm>
                <a:off x="6344" y="2938"/>
                <a:ext cx="33" cy="221"/>
              </a:xfrm>
              <a:custGeom>
                <a:avLst/>
                <a:gdLst>
                  <a:gd name="T0" fmla="*/ 0 w 14"/>
                  <a:gd name="T1" fmla="*/ 0 h 93"/>
                  <a:gd name="T2" fmla="*/ 4 w 14"/>
                  <a:gd name="T3" fmla="*/ 14 h 93"/>
                  <a:gd name="T4" fmla="*/ 9 w 14"/>
                  <a:gd name="T5" fmla="*/ 46 h 93"/>
                  <a:gd name="T6" fmla="*/ 14 w 14"/>
                  <a:gd name="T7" fmla="*/ 79 h 93"/>
                  <a:gd name="T8" fmla="*/ 14 w 14"/>
                  <a:gd name="T9" fmla="*/ 93 h 93"/>
                  <a:gd name="T10" fmla="*/ 11 w 14"/>
                  <a:gd name="T11" fmla="*/ 79 h 93"/>
                  <a:gd name="T12" fmla="*/ 7 w 14"/>
                  <a:gd name="T13" fmla="*/ 47 h 93"/>
                  <a:gd name="T14" fmla="*/ 2 w 14"/>
                  <a:gd name="T15" fmla="*/ 14 h 93"/>
                  <a:gd name="T16" fmla="*/ 0 w 14"/>
                  <a:gd name="T1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3">
                    <a:moveTo>
                      <a:pt x="0" y="0"/>
                    </a:moveTo>
                    <a:cubicBezTo>
                      <a:pt x="1" y="0"/>
                      <a:pt x="2" y="5"/>
                      <a:pt x="4" y="14"/>
                    </a:cubicBezTo>
                    <a:cubicBezTo>
                      <a:pt x="5" y="22"/>
                      <a:pt x="8" y="33"/>
                      <a:pt x="9" y="46"/>
                    </a:cubicBezTo>
                    <a:cubicBezTo>
                      <a:pt x="11" y="59"/>
                      <a:pt x="13" y="71"/>
                      <a:pt x="14" y="79"/>
                    </a:cubicBezTo>
                    <a:cubicBezTo>
                      <a:pt x="14" y="87"/>
                      <a:pt x="14" y="93"/>
                      <a:pt x="14" y="93"/>
                    </a:cubicBezTo>
                    <a:cubicBezTo>
                      <a:pt x="13" y="93"/>
                      <a:pt x="13" y="88"/>
                      <a:pt x="11" y="79"/>
                    </a:cubicBezTo>
                    <a:cubicBezTo>
                      <a:pt x="10" y="70"/>
                      <a:pt x="8" y="59"/>
                      <a:pt x="7" y="47"/>
                    </a:cubicBezTo>
                    <a:cubicBezTo>
                      <a:pt x="5" y="34"/>
                      <a:pt x="3" y="23"/>
                      <a:pt x="2" y="14"/>
                    </a:cubicBezTo>
                    <a:cubicBezTo>
                      <a:pt x="0" y="6"/>
                      <a:pt x="0" y="0"/>
                      <a:pt x="0"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96">
                <a:extLst>
                  <a:ext uri="{FF2B5EF4-FFF2-40B4-BE49-F238E27FC236}">
                    <a16:creationId xmlns:a16="http://schemas.microsoft.com/office/drawing/2014/main" id="{35786745-452D-4491-B3AB-C6DCC07650AD}"/>
                  </a:ext>
                </a:extLst>
              </p:cNvPr>
              <p:cNvSpPr>
                <a:spLocks/>
              </p:cNvSpPr>
              <p:nvPr/>
            </p:nvSpPr>
            <p:spPr bwMode="auto">
              <a:xfrm>
                <a:off x="6320" y="2878"/>
                <a:ext cx="71" cy="281"/>
              </a:xfrm>
              <a:custGeom>
                <a:avLst/>
                <a:gdLst>
                  <a:gd name="T0" fmla="*/ 4 w 30"/>
                  <a:gd name="T1" fmla="*/ 0 h 118"/>
                  <a:gd name="T2" fmla="*/ 2 w 30"/>
                  <a:gd name="T3" fmla="*/ 2 h 118"/>
                  <a:gd name="T4" fmla="*/ 0 w 30"/>
                  <a:gd name="T5" fmla="*/ 18 h 118"/>
                  <a:gd name="T6" fmla="*/ 0 w 30"/>
                  <a:gd name="T7" fmla="*/ 20 h 118"/>
                  <a:gd name="T8" fmla="*/ 23 w 30"/>
                  <a:gd name="T9" fmla="*/ 118 h 118"/>
                  <a:gd name="T10" fmla="*/ 23 w 30"/>
                  <a:gd name="T11" fmla="*/ 117 h 118"/>
                  <a:gd name="T12" fmla="*/ 21 w 30"/>
                  <a:gd name="T13" fmla="*/ 104 h 118"/>
                  <a:gd name="T14" fmla="*/ 17 w 30"/>
                  <a:gd name="T15" fmla="*/ 72 h 118"/>
                  <a:gd name="T16" fmla="*/ 12 w 30"/>
                  <a:gd name="T17" fmla="*/ 39 h 118"/>
                  <a:gd name="T18" fmla="*/ 10 w 30"/>
                  <a:gd name="T19" fmla="*/ 25 h 118"/>
                  <a:gd name="T20" fmla="*/ 10 w 30"/>
                  <a:gd name="T21" fmla="*/ 25 h 118"/>
                  <a:gd name="T22" fmla="*/ 14 w 30"/>
                  <a:gd name="T23" fmla="*/ 39 h 118"/>
                  <a:gd name="T24" fmla="*/ 19 w 30"/>
                  <a:gd name="T25" fmla="*/ 71 h 118"/>
                  <a:gd name="T26" fmla="*/ 24 w 30"/>
                  <a:gd name="T27" fmla="*/ 104 h 118"/>
                  <a:gd name="T28" fmla="*/ 24 w 30"/>
                  <a:gd name="T29" fmla="*/ 115 h 118"/>
                  <a:gd name="T30" fmla="*/ 30 w 30"/>
                  <a:gd name="T31" fmla="*/ 70 h 118"/>
                  <a:gd name="T32" fmla="*/ 6 w 30"/>
                  <a:gd name="T33" fmla="*/ 1 h 118"/>
                  <a:gd name="T34" fmla="*/ 4 w 30"/>
                  <a:gd name="T3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18">
                    <a:moveTo>
                      <a:pt x="4" y="0"/>
                    </a:moveTo>
                    <a:cubicBezTo>
                      <a:pt x="3" y="0"/>
                      <a:pt x="2" y="1"/>
                      <a:pt x="2" y="2"/>
                    </a:cubicBezTo>
                    <a:cubicBezTo>
                      <a:pt x="1" y="5"/>
                      <a:pt x="0" y="11"/>
                      <a:pt x="0" y="18"/>
                    </a:cubicBezTo>
                    <a:cubicBezTo>
                      <a:pt x="0" y="18"/>
                      <a:pt x="0" y="19"/>
                      <a:pt x="0" y="20"/>
                    </a:cubicBezTo>
                    <a:cubicBezTo>
                      <a:pt x="0" y="39"/>
                      <a:pt x="4" y="71"/>
                      <a:pt x="23" y="118"/>
                    </a:cubicBezTo>
                    <a:cubicBezTo>
                      <a:pt x="23" y="118"/>
                      <a:pt x="23" y="118"/>
                      <a:pt x="23" y="117"/>
                    </a:cubicBezTo>
                    <a:cubicBezTo>
                      <a:pt x="23" y="115"/>
                      <a:pt x="22" y="111"/>
                      <a:pt x="21" y="104"/>
                    </a:cubicBezTo>
                    <a:cubicBezTo>
                      <a:pt x="20" y="95"/>
                      <a:pt x="18" y="84"/>
                      <a:pt x="17" y="72"/>
                    </a:cubicBezTo>
                    <a:cubicBezTo>
                      <a:pt x="15" y="59"/>
                      <a:pt x="13" y="48"/>
                      <a:pt x="12" y="39"/>
                    </a:cubicBezTo>
                    <a:cubicBezTo>
                      <a:pt x="10" y="31"/>
                      <a:pt x="10" y="25"/>
                      <a:pt x="10" y="25"/>
                    </a:cubicBezTo>
                    <a:cubicBezTo>
                      <a:pt x="10" y="25"/>
                      <a:pt x="10" y="25"/>
                      <a:pt x="10" y="25"/>
                    </a:cubicBezTo>
                    <a:cubicBezTo>
                      <a:pt x="11" y="25"/>
                      <a:pt x="12" y="30"/>
                      <a:pt x="14" y="39"/>
                    </a:cubicBezTo>
                    <a:cubicBezTo>
                      <a:pt x="15" y="47"/>
                      <a:pt x="18" y="58"/>
                      <a:pt x="19" y="71"/>
                    </a:cubicBezTo>
                    <a:cubicBezTo>
                      <a:pt x="21" y="84"/>
                      <a:pt x="23" y="96"/>
                      <a:pt x="24" y="104"/>
                    </a:cubicBezTo>
                    <a:cubicBezTo>
                      <a:pt x="24" y="109"/>
                      <a:pt x="24" y="113"/>
                      <a:pt x="24" y="115"/>
                    </a:cubicBezTo>
                    <a:cubicBezTo>
                      <a:pt x="26" y="108"/>
                      <a:pt x="30" y="91"/>
                      <a:pt x="30" y="70"/>
                    </a:cubicBezTo>
                    <a:cubicBezTo>
                      <a:pt x="30" y="48"/>
                      <a:pt x="25" y="21"/>
                      <a:pt x="6" y="1"/>
                    </a:cubicBezTo>
                    <a:cubicBezTo>
                      <a:pt x="5" y="0"/>
                      <a:pt x="5" y="0"/>
                      <a:pt x="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97">
                <a:extLst>
                  <a:ext uri="{FF2B5EF4-FFF2-40B4-BE49-F238E27FC236}">
                    <a16:creationId xmlns:a16="http://schemas.microsoft.com/office/drawing/2014/main" id="{8B431BA7-74C0-442D-952F-43F50293AC79}"/>
                  </a:ext>
                </a:extLst>
              </p:cNvPr>
              <p:cNvSpPr>
                <a:spLocks/>
              </p:cNvSpPr>
              <p:nvPr/>
            </p:nvSpPr>
            <p:spPr bwMode="auto">
              <a:xfrm>
                <a:off x="6344" y="2938"/>
                <a:ext cx="33" cy="218"/>
              </a:xfrm>
              <a:custGeom>
                <a:avLst/>
                <a:gdLst>
                  <a:gd name="T0" fmla="*/ 0 w 14"/>
                  <a:gd name="T1" fmla="*/ 0 h 92"/>
                  <a:gd name="T2" fmla="*/ 0 w 14"/>
                  <a:gd name="T3" fmla="*/ 0 h 92"/>
                  <a:gd name="T4" fmla="*/ 2 w 14"/>
                  <a:gd name="T5" fmla="*/ 14 h 92"/>
                  <a:gd name="T6" fmla="*/ 7 w 14"/>
                  <a:gd name="T7" fmla="*/ 47 h 92"/>
                  <a:gd name="T8" fmla="*/ 11 w 14"/>
                  <a:gd name="T9" fmla="*/ 79 h 92"/>
                  <a:gd name="T10" fmla="*/ 13 w 14"/>
                  <a:gd name="T11" fmla="*/ 92 h 92"/>
                  <a:gd name="T12" fmla="*/ 14 w 14"/>
                  <a:gd name="T13" fmla="*/ 90 h 92"/>
                  <a:gd name="T14" fmla="*/ 14 w 14"/>
                  <a:gd name="T15" fmla="*/ 79 h 92"/>
                  <a:gd name="T16" fmla="*/ 9 w 14"/>
                  <a:gd name="T17" fmla="*/ 46 h 92"/>
                  <a:gd name="T18" fmla="*/ 4 w 14"/>
                  <a:gd name="T19" fmla="*/ 14 h 92"/>
                  <a:gd name="T20" fmla="*/ 0 w 14"/>
                  <a:gd name="T2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92">
                    <a:moveTo>
                      <a:pt x="0" y="0"/>
                    </a:moveTo>
                    <a:cubicBezTo>
                      <a:pt x="0" y="0"/>
                      <a:pt x="0" y="0"/>
                      <a:pt x="0" y="0"/>
                    </a:cubicBezTo>
                    <a:cubicBezTo>
                      <a:pt x="0" y="0"/>
                      <a:pt x="0" y="6"/>
                      <a:pt x="2" y="14"/>
                    </a:cubicBezTo>
                    <a:cubicBezTo>
                      <a:pt x="3" y="23"/>
                      <a:pt x="5" y="34"/>
                      <a:pt x="7" y="47"/>
                    </a:cubicBezTo>
                    <a:cubicBezTo>
                      <a:pt x="8" y="59"/>
                      <a:pt x="10" y="70"/>
                      <a:pt x="11" y="79"/>
                    </a:cubicBezTo>
                    <a:cubicBezTo>
                      <a:pt x="12" y="86"/>
                      <a:pt x="13" y="90"/>
                      <a:pt x="13" y="92"/>
                    </a:cubicBezTo>
                    <a:cubicBezTo>
                      <a:pt x="14" y="92"/>
                      <a:pt x="14" y="91"/>
                      <a:pt x="14" y="90"/>
                    </a:cubicBezTo>
                    <a:cubicBezTo>
                      <a:pt x="14" y="88"/>
                      <a:pt x="14" y="84"/>
                      <a:pt x="14" y="79"/>
                    </a:cubicBezTo>
                    <a:cubicBezTo>
                      <a:pt x="13" y="71"/>
                      <a:pt x="11" y="59"/>
                      <a:pt x="9" y="46"/>
                    </a:cubicBezTo>
                    <a:cubicBezTo>
                      <a:pt x="8" y="33"/>
                      <a:pt x="5" y="22"/>
                      <a:pt x="4" y="14"/>
                    </a:cubicBezTo>
                    <a:cubicBezTo>
                      <a:pt x="2" y="5"/>
                      <a:pt x="1" y="0"/>
                      <a:pt x="0" y="0"/>
                    </a:cubicBezTo>
                  </a:path>
                </a:pathLst>
              </a:custGeom>
              <a:solidFill>
                <a:srgbClr val="1B23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98">
                <a:extLst>
                  <a:ext uri="{FF2B5EF4-FFF2-40B4-BE49-F238E27FC236}">
                    <a16:creationId xmlns:a16="http://schemas.microsoft.com/office/drawing/2014/main" id="{E91F8F80-9306-4C9D-819F-D8F89B224A87}"/>
                  </a:ext>
                </a:extLst>
              </p:cNvPr>
              <p:cNvSpPr>
                <a:spLocks/>
              </p:cNvSpPr>
              <p:nvPr/>
            </p:nvSpPr>
            <p:spPr bwMode="auto">
              <a:xfrm>
                <a:off x="6683" y="2287"/>
                <a:ext cx="150" cy="254"/>
              </a:xfrm>
              <a:custGeom>
                <a:avLst/>
                <a:gdLst>
                  <a:gd name="T0" fmla="*/ 0 w 63"/>
                  <a:gd name="T1" fmla="*/ 107 h 107"/>
                  <a:gd name="T2" fmla="*/ 57 w 63"/>
                  <a:gd name="T3" fmla="*/ 4 h 107"/>
                  <a:gd name="T4" fmla="*/ 53 w 63"/>
                  <a:gd name="T5" fmla="*/ 2 h 107"/>
                  <a:gd name="T6" fmla="*/ 0 w 63"/>
                  <a:gd name="T7" fmla="*/ 107 h 107"/>
                </a:gdLst>
                <a:ahLst/>
                <a:cxnLst>
                  <a:cxn ang="0">
                    <a:pos x="T0" y="T1"/>
                  </a:cxn>
                  <a:cxn ang="0">
                    <a:pos x="T2" y="T3"/>
                  </a:cxn>
                  <a:cxn ang="0">
                    <a:pos x="T4" y="T5"/>
                  </a:cxn>
                  <a:cxn ang="0">
                    <a:pos x="T6" y="T7"/>
                  </a:cxn>
                </a:cxnLst>
                <a:rect l="0" t="0" r="r" b="b"/>
                <a:pathLst>
                  <a:path w="63" h="107">
                    <a:moveTo>
                      <a:pt x="0" y="107"/>
                    </a:moveTo>
                    <a:cubicBezTo>
                      <a:pt x="0" y="107"/>
                      <a:pt x="63" y="63"/>
                      <a:pt x="57" y="4"/>
                    </a:cubicBezTo>
                    <a:cubicBezTo>
                      <a:pt x="57" y="1"/>
                      <a:pt x="54" y="0"/>
                      <a:pt x="53" y="2"/>
                    </a:cubicBezTo>
                    <a:cubicBezTo>
                      <a:pt x="44" y="10"/>
                      <a:pt x="19" y="38"/>
                      <a:pt x="0" y="107"/>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99">
                <a:extLst>
                  <a:ext uri="{FF2B5EF4-FFF2-40B4-BE49-F238E27FC236}">
                    <a16:creationId xmlns:a16="http://schemas.microsoft.com/office/drawing/2014/main" id="{79ECB9F0-F2DF-40C6-BB8C-7D3D4A76D05A}"/>
                  </a:ext>
                </a:extLst>
              </p:cNvPr>
              <p:cNvSpPr>
                <a:spLocks/>
              </p:cNvSpPr>
              <p:nvPr/>
            </p:nvSpPr>
            <p:spPr bwMode="auto">
              <a:xfrm>
                <a:off x="6683" y="2289"/>
                <a:ext cx="135" cy="252"/>
              </a:xfrm>
              <a:custGeom>
                <a:avLst/>
                <a:gdLst>
                  <a:gd name="T0" fmla="*/ 54 w 57"/>
                  <a:gd name="T1" fmla="*/ 0 h 106"/>
                  <a:gd name="T2" fmla="*/ 53 w 57"/>
                  <a:gd name="T3" fmla="*/ 1 h 106"/>
                  <a:gd name="T4" fmla="*/ 0 w 57"/>
                  <a:gd name="T5" fmla="*/ 106 h 106"/>
                  <a:gd name="T6" fmla="*/ 57 w 57"/>
                  <a:gd name="T7" fmla="*/ 11 h 106"/>
                  <a:gd name="T8" fmla="*/ 57 w 57"/>
                  <a:gd name="T9" fmla="*/ 3 h 106"/>
                  <a:gd name="T10" fmla="*/ 54 w 57"/>
                  <a:gd name="T11" fmla="*/ 0 h 106"/>
                </a:gdLst>
                <a:ahLst/>
                <a:cxnLst>
                  <a:cxn ang="0">
                    <a:pos x="T0" y="T1"/>
                  </a:cxn>
                  <a:cxn ang="0">
                    <a:pos x="T2" y="T3"/>
                  </a:cxn>
                  <a:cxn ang="0">
                    <a:pos x="T4" y="T5"/>
                  </a:cxn>
                  <a:cxn ang="0">
                    <a:pos x="T6" y="T7"/>
                  </a:cxn>
                  <a:cxn ang="0">
                    <a:pos x="T8" y="T9"/>
                  </a:cxn>
                  <a:cxn ang="0">
                    <a:pos x="T10" y="T11"/>
                  </a:cxn>
                </a:cxnLst>
                <a:rect l="0" t="0" r="r" b="b"/>
                <a:pathLst>
                  <a:path w="57" h="106">
                    <a:moveTo>
                      <a:pt x="54" y="0"/>
                    </a:moveTo>
                    <a:cubicBezTo>
                      <a:pt x="54" y="0"/>
                      <a:pt x="53" y="0"/>
                      <a:pt x="53" y="1"/>
                    </a:cubicBezTo>
                    <a:cubicBezTo>
                      <a:pt x="44" y="9"/>
                      <a:pt x="19" y="37"/>
                      <a:pt x="0" y="106"/>
                    </a:cubicBezTo>
                    <a:cubicBezTo>
                      <a:pt x="0" y="106"/>
                      <a:pt x="57" y="66"/>
                      <a:pt x="57" y="11"/>
                    </a:cubicBezTo>
                    <a:cubicBezTo>
                      <a:pt x="57" y="8"/>
                      <a:pt x="57" y="5"/>
                      <a:pt x="57" y="3"/>
                    </a:cubicBezTo>
                    <a:cubicBezTo>
                      <a:pt x="57" y="1"/>
                      <a:pt x="56" y="0"/>
                      <a:pt x="5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00">
                <a:extLst>
                  <a:ext uri="{FF2B5EF4-FFF2-40B4-BE49-F238E27FC236}">
                    <a16:creationId xmlns:a16="http://schemas.microsoft.com/office/drawing/2014/main" id="{24769591-A904-46AB-9B5E-D6CB66193668}"/>
                  </a:ext>
                </a:extLst>
              </p:cNvPr>
              <p:cNvSpPr>
                <a:spLocks/>
              </p:cNvSpPr>
              <p:nvPr/>
            </p:nvSpPr>
            <p:spPr bwMode="auto">
              <a:xfrm>
                <a:off x="6683" y="2349"/>
                <a:ext cx="109" cy="195"/>
              </a:xfrm>
              <a:custGeom>
                <a:avLst/>
                <a:gdLst>
                  <a:gd name="T0" fmla="*/ 45 w 46"/>
                  <a:gd name="T1" fmla="*/ 0 h 82"/>
                  <a:gd name="T2" fmla="*/ 40 w 46"/>
                  <a:gd name="T3" fmla="*/ 12 h 82"/>
                  <a:gd name="T4" fmla="*/ 25 w 46"/>
                  <a:gd name="T5" fmla="*/ 42 h 82"/>
                  <a:gd name="T6" fmla="*/ 9 w 46"/>
                  <a:gd name="T7" fmla="*/ 70 h 82"/>
                  <a:gd name="T8" fmla="*/ 1 w 46"/>
                  <a:gd name="T9" fmla="*/ 82 h 82"/>
                  <a:gd name="T10" fmla="*/ 7 w 46"/>
                  <a:gd name="T11" fmla="*/ 69 h 82"/>
                  <a:gd name="T12" fmla="*/ 23 w 46"/>
                  <a:gd name="T13" fmla="*/ 40 h 82"/>
                  <a:gd name="T14" fmla="*/ 38 w 46"/>
                  <a:gd name="T15" fmla="*/ 11 h 82"/>
                  <a:gd name="T16" fmla="*/ 45 w 46"/>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5" y="0"/>
                    </a:moveTo>
                    <a:cubicBezTo>
                      <a:pt x="46" y="0"/>
                      <a:pt x="44" y="5"/>
                      <a:pt x="40" y="12"/>
                    </a:cubicBezTo>
                    <a:cubicBezTo>
                      <a:pt x="37" y="20"/>
                      <a:pt x="31" y="31"/>
                      <a:pt x="25" y="42"/>
                    </a:cubicBezTo>
                    <a:cubicBezTo>
                      <a:pt x="19" y="53"/>
                      <a:pt x="13" y="63"/>
                      <a:pt x="9" y="70"/>
                    </a:cubicBezTo>
                    <a:cubicBezTo>
                      <a:pt x="4" y="78"/>
                      <a:pt x="1" y="82"/>
                      <a:pt x="1" y="82"/>
                    </a:cubicBezTo>
                    <a:cubicBezTo>
                      <a:pt x="0" y="81"/>
                      <a:pt x="3" y="77"/>
                      <a:pt x="7" y="69"/>
                    </a:cubicBezTo>
                    <a:cubicBezTo>
                      <a:pt x="11" y="61"/>
                      <a:pt x="17" y="51"/>
                      <a:pt x="23" y="40"/>
                    </a:cubicBezTo>
                    <a:cubicBezTo>
                      <a:pt x="29" y="30"/>
                      <a:pt x="34" y="20"/>
                      <a:pt x="38" y="11"/>
                    </a:cubicBezTo>
                    <a:cubicBezTo>
                      <a:pt x="42" y="4"/>
                      <a:pt x="45" y="0"/>
                      <a:pt x="45"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01">
                <a:extLst>
                  <a:ext uri="{FF2B5EF4-FFF2-40B4-BE49-F238E27FC236}">
                    <a16:creationId xmlns:a16="http://schemas.microsoft.com/office/drawing/2014/main" id="{657088EE-B5E3-45A1-8282-4945E0329368}"/>
                  </a:ext>
                </a:extLst>
              </p:cNvPr>
              <p:cNvSpPr>
                <a:spLocks/>
              </p:cNvSpPr>
              <p:nvPr/>
            </p:nvSpPr>
            <p:spPr bwMode="auto">
              <a:xfrm>
                <a:off x="6436" y="2814"/>
                <a:ext cx="231" cy="171"/>
              </a:xfrm>
              <a:custGeom>
                <a:avLst/>
                <a:gdLst>
                  <a:gd name="T0" fmla="*/ 0 w 97"/>
                  <a:gd name="T1" fmla="*/ 72 h 72"/>
                  <a:gd name="T2" fmla="*/ 97 w 97"/>
                  <a:gd name="T3" fmla="*/ 4 h 72"/>
                  <a:gd name="T4" fmla="*/ 94 w 97"/>
                  <a:gd name="T5" fmla="*/ 0 h 72"/>
                  <a:gd name="T6" fmla="*/ 0 w 97"/>
                  <a:gd name="T7" fmla="*/ 72 h 72"/>
                </a:gdLst>
                <a:ahLst/>
                <a:cxnLst>
                  <a:cxn ang="0">
                    <a:pos x="T0" y="T1"/>
                  </a:cxn>
                  <a:cxn ang="0">
                    <a:pos x="T2" y="T3"/>
                  </a:cxn>
                  <a:cxn ang="0">
                    <a:pos x="T4" y="T5"/>
                  </a:cxn>
                  <a:cxn ang="0">
                    <a:pos x="T6" y="T7"/>
                  </a:cxn>
                </a:cxnLst>
                <a:rect l="0" t="0" r="r" b="b"/>
                <a:pathLst>
                  <a:path w="97" h="72">
                    <a:moveTo>
                      <a:pt x="0" y="72"/>
                    </a:moveTo>
                    <a:cubicBezTo>
                      <a:pt x="0" y="72"/>
                      <a:pt x="76" y="60"/>
                      <a:pt x="97" y="4"/>
                    </a:cubicBezTo>
                    <a:cubicBezTo>
                      <a:pt x="97" y="2"/>
                      <a:pt x="96" y="0"/>
                      <a:pt x="94" y="0"/>
                    </a:cubicBezTo>
                    <a:cubicBezTo>
                      <a:pt x="82" y="4"/>
                      <a:pt x="47" y="18"/>
                      <a:pt x="0" y="72"/>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202">
                <a:extLst>
                  <a:ext uri="{FF2B5EF4-FFF2-40B4-BE49-F238E27FC236}">
                    <a16:creationId xmlns:a16="http://schemas.microsoft.com/office/drawing/2014/main" id="{DD438814-F57E-4023-9378-7C5909E4464F}"/>
                  </a:ext>
                </a:extLst>
              </p:cNvPr>
              <p:cNvSpPr>
                <a:spLocks/>
              </p:cNvSpPr>
              <p:nvPr/>
            </p:nvSpPr>
            <p:spPr bwMode="auto">
              <a:xfrm>
                <a:off x="6436" y="2814"/>
                <a:ext cx="231" cy="171"/>
              </a:xfrm>
              <a:custGeom>
                <a:avLst/>
                <a:gdLst>
                  <a:gd name="T0" fmla="*/ 94 w 97"/>
                  <a:gd name="T1" fmla="*/ 0 h 72"/>
                  <a:gd name="T2" fmla="*/ 94 w 97"/>
                  <a:gd name="T3" fmla="*/ 0 h 72"/>
                  <a:gd name="T4" fmla="*/ 25 w 97"/>
                  <a:gd name="T5" fmla="*/ 46 h 72"/>
                  <a:gd name="T6" fmla="*/ 23 w 97"/>
                  <a:gd name="T7" fmla="*/ 48 h 72"/>
                  <a:gd name="T8" fmla="*/ 9 w 97"/>
                  <a:gd name="T9" fmla="*/ 62 h 72"/>
                  <a:gd name="T10" fmla="*/ 1 w 97"/>
                  <a:gd name="T11" fmla="*/ 71 h 72"/>
                  <a:gd name="T12" fmla="*/ 0 w 97"/>
                  <a:gd name="T13" fmla="*/ 72 h 72"/>
                  <a:gd name="T14" fmla="*/ 97 w 97"/>
                  <a:gd name="T15" fmla="*/ 4 h 72"/>
                  <a:gd name="T16" fmla="*/ 97 w 97"/>
                  <a:gd name="T17" fmla="*/ 3 h 72"/>
                  <a:gd name="T18" fmla="*/ 94 w 97"/>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72">
                    <a:moveTo>
                      <a:pt x="94" y="0"/>
                    </a:moveTo>
                    <a:cubicBezTo>
                      <a:pt x="94" y="0"/>
                      <a:pt x="94" y="0"/>
                      <a:pt x="94" y="0"/>
                    </a:cubicBezTo>
                    <a:cubicBezTo>
                      <a:pt x="84" y="3"/>
                      <a:pt x="59" y="13"/>
                      <a:pt x="25" y="46"/>
                    </a:cubicBezTo>
                    <a:cubicBezTo>
                      <a:pt x="24" y="46"/>
                      <a:pt x="23" y="47"/>
                      <a:pt x="23" y="48"/>
                    </a:cubicBezTo>
                    <a:cubicBezTo>
                      <a:pt x="18" y="52"/>
                      <a:pt x="14" y="57"/>
                      <a:pt x="9" y="62"/>
                    </a:cubicBezTo>
                    <a:cubicBezTo>
                      <a:pt x="6" y="65"/>
                      <a:pt x="3" y="68"/>
                      <a:pt x="1" y="71"/>
                    </a:cubicBezTo>
                    <a:cubicBezTo>
                      <a:pt x="0" y="71"/>
                      <a:pt x="0" y="72"/>
                      <a:pt x="0" y="72"/>
                    </a:cubicBezTo>
                    <a:cubicBezTo>
                      <a:pt x="0" y="72"/>
                      <a:pt x="76" y="60"/>
                      <a:pt x="97" y="4"/>
                    </a:cubicBezTo>
                    <a:cubicBezTo>
                      <a:pt x="97" y="3"/>
                      <a:pt x="97" y="3"/>
                      <a:pt x="97" y="3"/>
                    </a:cubicBezTo>
                    <a:cubicBezTo>
                      <a:pt x="97" y="1"/>
                      <a:pt x="96" y="0"/>
                      <a:pt x="9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203">
                <a:extLst>
                  <a:ext uri="{FF2B5EF4-FFF2-40B4-BE49-F238E27FC236}">
                    <a16:creationId xmlns:a16="http://schemas.microsoft.com/office/drawing/2014/main" id="{DB691588-7BA0-4819-94BB-4B0C6DE29FCF}"/>
                  </a:ext>
                </a:extLst>
              </p:cNvPr>
              <p:cNvSpPr>
                <a:spLocks/>
              </p:cNvSpPr>
              <p:nvPr/>
            </p:nvSpPr>
            <p:spPr bwMode="auto">
              <a:xfrm>
                <a:off x="6436" y="2857"/>
                <a:ext cx="183" cy="131"/>
              </a:xfrm>
              <a:custGeom>
                <a:avLst/>
                <a:gdLst>
                  <a:gd name="T0" fmla="*/ 77 w 77"/>
                  <a:gd name="T1" fmla="*/ 1 h 55"/>
                  <a:gd name="T2" fmla="*/ 66 w 77"/>
                  <a:gd name="T3" fmla="*/ 10 h 55"/>
                  <a:gd name="T4" fmla="*/ 40 w 77"/>
                  <a:gd name="T5" fmla="*/ 30 h 55"/>
                  <a:gd name="T6" fmla="*/ 12 w 77"/>
                  <a:gd name="T7" fmla="*/ 48 h 55"/>
                  <a:gd name="T8" fmla="*/ 0 w 77"/>
                  <a:gd name="T9" fmla="*/ 54 h 55"/>
                  <a:gd name="T10" fmla="*/ 11 w 77"/>
                  <a:gd name="T11" fmla="*/ 46 h 55"/>
                  <a:gd name="T12" fmla="*/ 38 w 77"/>
                  <a:gd name="T13" fmla="*/ 27 h 55"/>
                  <a:gd name="T14" fmla="*/ 65 w 77"/>
                  <a:gd name="T15" fmla="*/ 8 h 55"/>
                  <a:gd name="T16" fmla="*/ 77 w 77"/>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55">
                    <a:moveTo>
                      <a:pt x="77" y="1"/>
                    </a:moveTo>
                    <a:cubicBezTo>
                      <a:pt x="77" y="1"/>
                      <a:pt x="73" y="4"/>
                      <a:pt x="66" y="10"/>
                    </a:cubicBezTo>
                    <a:cubicBezTo>
                      <a:pt x="60" y="15"/>
                      <a:pt x="50" y="22"/>
                      <a:pt x="40" y="30"/>
                    </a:cubicBezTo>
                    <a:cubicBezTo>
                      <a:pt x="29" y="37"/>
                      <a:pt x="20" y="44"/>
                      <a:pt x="12" y="48"/>
                    </a:cubicBezTo>
                    <a:cubicBezTo>
                      <a:pt x="5" y="52"/>
                      <a:pt x="0" y="55"/>
                      <a:pt x="0" y="54"/>
                    </a:cubicBezTo>
                    <a:cubicBezTo>
                      <a:pt x="0" y="54"/>
                      <a:pt x="4" y="51"/>
                      <a:pt x="11" y="46"/>
                    </a:cubicBezTo>
                    <a:cubicBezTo>
                      <a:pt x="19" y="41"/>
                      <a:pt x="28" y="34"/>
                      <a:pt x="38" y="27"/>
                    </a:cubicBezTo>
                    <a:cubicBezTo>
                      <a:pt x="48" y="20"/>
                      <a:pt x="57" y="14"/>
                      <a:pt x="65" y="8"/>
                    </a:cubicBezTo>
                    <a:cubicBezTo>
                      <a:pt x="72" y="3"/>
                      <a:pt x="76" y="0"/>
                      <a:pt x="77"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204">
                <a:extLst>
                  <a:ext uri="{FF2B5EF4-FFF2-40B4-BE49-F238E27FC236}">
                    <a16:creationId xmlns:a16="http://schemas.microsoft.com/office/drawing/2014/main" id="{04BEFFEB-1864-46EB-87D1-F11336D44240}"/>
                  </a:ext>
                </a:extLst>
              </p:cNvPr>
              <p:cNvSpPr>
                <a:spLocks/>
              </p:cNvSpPr>
              <p:nvPr/>
            </p:nvSpPr>
            <p:spPr bwMode="auto">
              <a:xfrm>
                <a:off x="6211" y="3320"/>
                <a:ext cx="330" cy="356"/>
              </a:xfrm>
              <a:custGeom>
                <a:avLst/>
                <a:gdLst>
                  <a:gd name="T0" fmla="*/ 52 w 330"/>
                  <a:gd name="T1" fmla="*/ 0 h 356"/>
                  <a:gd name="T2" fmla="*/ 0 w 330"/>
                  <a:gd name="T3" fmla="*/ 356 h 356"/>
                  <a:gd name="T4" fmla="*/ 330 w 330"/>
                  <a:gd name="T5" fmla="*/ 356 h 356"/>
                  <a:gd name="T6" fmla="*/ 285 w 330"/>
                  <a:gd name="T7" fmla="*/ 0 h 356"/>
                  <a:gd name="T8" fmla="*/ 52 w 330"/>
                  <a:gd name="T9" fmla="*/ 0 h 356"/>
                </a:gdLst>
                <a:ahLst/>
                <a:cxnLst>
                  <a:cxn ang="0">
                    <a:pos x="T0" y="T1"/>
                  </a:cxn>
                  <a:cxn ang="0">
                    <a:pos x="T2" y="T3"/>
                  </a:cxn>
                  <a:cxn ang="0">
                    <a:pos x="T4" y="T5"/>
                  </a:cxn>
                  <a:cxn ang="0">
                    <a:pos x="T6" y="T7"/>
                  </a:cxn>
                  <a:cxn ang="0">
                    <a:pos x="T8" y="T9"/>
                  </a:cxn>
                </a:cxnLst>
                <a:rect l="0" t="0" r="r" b="b"/>
                <a:pathLst>
                  <a:path w="330" h="356">
                    <a:moveTo>
                      <a:pt x="52" y="0"/>
                    </a:moveTo>
                    <a:lnTo>
                      <a:pt x="0" y="356"/>
                    </a:lnTo>
                    <a:lnTo>
                      <a:pt x="330" y="356"/>
                    </a:lnTo>
                    <a:lnTo>
                      <a:pt x="285" y="0"/>
                    </a:lnTo>
                    <a:lnTo>
                      <a:pt x="52" y="0"/>
                    </a:ln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Oval 205">
                <a:extLst>
                  <a:ext uri="{FF2B5EF4-FFF2-40B4-BE49-F238E27FC236}">
                    <a16:creationId xmlns:a16="http://schemas.microsoft.com/office/drawing/2014/main" id="{AAE80192-D152-48C6-9019-B7CF4E299E17}"/>
                  </a:ext>
                </a:extLst>
              </p:cNvPr>
              <p:cNvSpPr>
                <a:spLocks noChangeArrowheads="1"/>
              </p:cNvSpPr>
              <p:nvPr/>
            </p:nvSpPr>
            <p:spPr bwMode="auto">
              <a:xfrm>
                <a:off x="6244" y="3427"/>
                <a:ext cx="266"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206">
                <a:extLst>
                  <a:ext uri="{FF2B5EF4-FFF2-40B4-BE49-F238E27FC236}">
                    <a16:creationId xmlns:a16="http://schemas.microsoft.com/office/drawing/2014/main" id="{4DD79DB6-7BDD-41E5-85E0-E696B9770F3A}"/>
                  </a:ext>
                </a:extLst>
              </p:cNvPr>
              <p:cNvSpPr>
                <a:spLocks noChangeArrowheads="1"/>
              </p:cNvSpPr>
              <p:nvPr/>
            </p:nvSpPr>
            <p:spPr bwMode="auto">
              <a:xfrm>
                <a:off x="6242" y="3455"/>
                <a:ext cx="275" cy="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Freeform 208">
              <a:extLst>
                <a:ext uri="{FF2B5EF4-FFF2-40B4-BE49-F238E27FC236}">
                  <a16:creationId xmlns:a16="http://schemas.microsoft.com/office/drawing/2014/main" id="{61EFB83D-0058-42FE-AF95-A7F2BC8ADDE0}"/>
                </a:ext>
              </a:extLst>
            </p:cNvPr>
            <p:cNvSpPr>
              <a:spLocks/>
            </p:cNvSpPr>
            <p:nvPr/>
          </p:nvSpPr>
          <p:spPr bwMode="auto">
            <a:xfrm>
              <a:off x="10425165" y="5342672"/>
              <a:ext cx="246512" cy="65682"/>
            </a:xfrm>
            <a:custGeom>
              <a:avLst/>
              <a:gdLst>
                <a:gd name="T0" fmla="*/ 100 w 128"/>
                <a:gd name="T1" fmla="*/ 32 h 34"/>
                <a:gd name="T2" fmla="*/ 28 w 128"/>
                <a:gd name="T3" fmla="*/ 32 h 34"/>
                <a:gd name="T4" fmla="*/ 0 w 128"/>
                <a:gd name="T5" fmla="*/ 0 h 34"/>
                <a:gd name="T6" fmla="*/ 128 w 128"/>
                <a:gd name="T7" fmla="*/ 0 h 34"/>
                <a:gd name="T8" fmla="*/ 100 w 128"/>
                <a:gd name="T9" fmla="*/ 32 h 34"/>
              </a:gdLst>
              <a:ahLst/>
              <a:cxnLst>
                <a:cxn ang="0">
                  <a:pos x="T0" y="T1"/>
                </a:cxn>
                <a:cxn ang="0">
                  <a:pos x="T2" y="T3"/>
                </a:cxn>
                <a:cxn ang="0">
                  <a:pos x="T4" y="T5"/>
                </a:cxn>
                <a:cxn ang="0">
                  <a:pos x="T6" y="T7"/>
                </a:cxn>
                <a:cxn ang="0">
                  <a:pos x="T8" y="T9"/>
                </a:cxn>
              </a:cxnLst>
              <a:rect l="0" t="0" r="r" b="b"/>
              <a:pathLst>
                <a:path w="128" h="34">
                  <a:moveTo>
                    <a:pt x="100" y="32"/>
                  </a:moveTo>
                  <a:cubicBezTo>
                    <a:pt x="76" y="34"/>
                    <a:pt x="52" y="34"/>
                    <a:pt x="28" y="32"/>
                  </a:cubicBezTo>
                  <a:cubicBezTo>
                    <a:pt x="12" y="30"/>
                    <a:pt x="0" y="16"/>
                    <a:pt x="0" y="0"/>
                  </a:cubicBezTo>
                  <a:cubicBezTo>
                    <a:pt x="128" y="0"/>
                    <a:pt x="128" y="0"/>
                    <a:pt x="128" y="0"/>
                  </a:cubicBezTo>
                  <a:cubicBezTo>
                    <a:pt x="128" y="17"/>
                    <a:pt x="116" y="30"/>
                    <a:pt x="100" y="32"/>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09">
              <a:extLst>
                <a:ext uri="{FF2B5EF4-FFF2-40B4-BE49-F238E27FC236}">
                  <a16:creationId xmlns:a16="http://schemas.microsoft.com/office/drawing/2014/main" id="{A88CE417-DEB0-4B5E-ACF5-6EDBB2487210}"/>
                </a:ext>
              </a:extLst>
            </p:cNvPr>
            <p:cNvSpPr>
              <a:spLocks/>
            </p:cNvSpPr>
            <p:nvPr/>
          </p:nvSpPr>
          <p:spPr bwMode="auto">
            <a:xfrm>
              <a:off x="10391918" y="4894248"/>
              <a:ext cx="312194" cy="510052"/>
            </a:xfrm>
            <a:custGeom>
              <a:avLst/>
              <a:gdLst>
                <a:gd name="T0" fmla="*/ 137 w 162"/>
                <a:gd name="T1" fmla="*/ 257 h 265"/>
                <a:gd name="T2" fmla="*/ 24 w 162"/>
                <a:gd name="T3" fmla="*/ 257 h 265"/>
                <a:gd name="T4" fmla="*/ 0 w 162"/>
                <a:gd name="T5" fmla="*/ 226 h 265"/>
                <a:gd name="T6" fmla="*/ 0 w 162"/>
                <a:gd name="T7" fmla="*/ 31 h 265"/>
                <a:gd name="T8" fmla="*/ 31 w 162"/>
                <a:gd name="T9" fmla="*/ 0 h 265"/>
                <a:gd name="T10" fmla="*/ 131 w 162"/>
                <a:gd name="T11" fmla="*/ 0 h 265"/>
                <a:gd name="T12" fmla="*/ 162 w 162"/>
                <a:gd name="T13" fmla="*/ 31 h 265"/>
                <a:gd name="T14" fmla="*/ 162 w 162"/>
                <a:gd name="T15" fmla="*/ 226 h 265"/>
                <a:gd name="T16" fmla="*/ 137 w 162"/>
                <a:gd name="T17" fmla="*/ 2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65">
                  <a:moveTo>
                    <a:pt x="137" y="257"/>
                  </a:moveTo>
                  <a:cubicBezTo>
                    <a:pt x="98" y="265"/>
                    <a:pt x="60" y="265"/>
                    <a:pt x="24" y="257"/>
                  </a:cubicBezTo>
                  <a:cubicBezTo>
                    <a:pt x="10" y="254"/>
                    <a:pt x="0" y="241"/>
                    <a:pt x="0" y="226"/>
                  </a:cubicBezTo>
                  <a:cubicBezTo>
                    <a:pt x="0" y="31"/>
                    <a:pt x="0" y="31"/>
                    <a:pt x="0" y="31"/>
                  </a:cubicBezTo>
                  <a:cubicBezTo>
                    <a:pt x="0" y="14"/>
                    <a:pt x="14" y="0"/>
                    <a:pt x="31" y="0"/>
                  </a:cubicBezTo>
                  <a:cubicBezTo>
                    <a:pt x="131" y="0"/>
                    <a:pt x="131" y="0"/>
                    <a:pt x="131" y="0"/>
                  </a:cubicBezTo>
                  <a:cubicBezTo>
                    <a:pt x="148" y="0"/>
                    <a:pt x="162" y="14"/>
                    <a:pt x="162" y="31"/>
                  </a:cubicBezTo>
                  <a:cubicBezTo>
                    <a:pt x="162" y="226"/>
                    <a:pt x="162" y="226"/>
                    <a:pt x="162" y="226"/>
                  </a:cubicBezTo>
                  <a:cubicBezTo>
                    <a:pt x="162" y="241"/>
                    <a:pt x="152" y="254"/>
                    <a:pt x="137" y="257"/>
                  </a:cubicBezTo>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210">
              <a:extLst>
                <a:ext uri="{FF2B5EF4-FFF2-40B4-BE49-F238E27FC236}">
                  <a16:creationId xmlns:a16="http://schemas.microsoft.com/office/drawing/2014/main" id="{5B4DA9B1-5EF6-49FE-81F3-432F85915E03}"/>
                </a:ext>
              </a:extLst>
            </p:cNvPr>
            <p:cNvSpPr>
              <a:spLocks/>
            </p:cNvSpPr>
            <p:nvPr/>
          </p:nvSpPr>
          <p:spPr bwMode="auto">
            <a:xfrm>
              <a:off x="10398405" y="4882896"/>
              <a:ext cx="300031" cy="119201"/>
            </a:xfrm>
            <a:custGeom>
              <a:avLst/>
              <a:gdLst>
                <a:gd name="T0" fmla="*/ 153 w 156"/>
                <a:gd name="T1" fmla="*/ 20 h 62"/>
                <a:gd name="T2" fmla="*/ 136 w 156"/>
                <a:gd name="T3" fmla="*/ 47 h 62"/>
                <a:gd name="T4" fmla="*/ 78 w 156"/>
                <a:gd name="T5" fmla="*/ 62 h 62"/>
                <a:gd name="T6" fmla="*/ 20 w 156"/>
                <a:gd name="T7" fmla="*/ 47 h 62"/>
                <a:gd name="T8" fmla="*/ 2 w 156"/>
                <a:gd name="T9" fmla="*/ 21 h 62"/>
                <a:gd name="T10" fmla="*/ 29 w 156"/>
                <a:gd name="T11" fmla="*/ 4 h 62"/>
                <a:gd name="T12" fmla="*/ 78 w 156"/>
                <a:gd name="T13" fmla="*/ 0 h 62"/>
                <a:gd name="T14" fmla="*/ 127 w 156"/>
                <a:gd name="T15" fmla="*/ 4 h 62"/>
                <a:gd name="T16" fmla="*/ 153 w 156"/>
                <a:gd name="T1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62">
                  <a:moveTo>
                    <a:pt x="153" y="20"/>
                  </a:moveTo>
                  <a:cubicBezTo>
                    <a:pt x="156" y="28"/>
                    <a:pt x="150" y="38"/>
                    <a:pt x="136" y="47"/>
                  </a:cubicBezTo>
                  <a:cubicBezTo>
                    <a:pt x="123" y="55"/>
                    <a:pt x="102" y="62"/>
                    <a:pt x="78" y="62"/>
                  </a:cubicBezTo>
                  <a:cubicBezTo>
                    <a:pt x="55" y="62"/>
                    <a:pt x="33" y="56"/>
                    <a:pt x="20" y="47"/>
                  </a:cubicBezTo>
                  <a:cubicBezTo>
                    <a:pt x="6" y="39"/>
                    <a:pt x="0" y="29"/>
                    <a:pt x="2" y="21"/>
                  </a:cubicBezTo>
                  <a:cubicBezTo>
                    <a:pt x="5" y="12"/>
                    <a:pt x="15" y="7"/>
                    <a:pt x="29" y="4"/>
                  </a:cubicBezTo>
                  <a:cubicBezTo>
                    <a:pt x="42" y="1"/>
                    <a:pt x="59" y="0"/>
                    <a:pt x="78" y="0"/>
                  </a:cubicBezTo>
                  <a:cubicBezTo>
                    <a:pt x="96" y="0"/>
                    <a:pt x="114" y="1"/>
                    <a:pt x="127" y="4"/>
                  </a:cubicBezTo>
                  <a:cubicBezTo>
                    <a:pt x="141" y="6"/>
                    <a:pt x="151" y="11"/>
                    <a:pt x="153" y="20"/>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11">
              <a:extLst>
                <a:ext uri="{FF2B5EF4-FFF2-40B4-BE49-F238E27FC236}">
                  <a16:creationId xmlns:a16="http://schemas.microsoft.com/office/drawing/2014/main" id="{F866C1C4-A85C-4E52-9E82-508F7B55A1FF}"/>
                </a:ext>
              </a:extLst>
            </p:cNvPr>
            <p:cNvSpPr>
              <a:spLocks/>
            </p:cNvSpPr>
            <p:nvPr/>
          </p:nvSpPr>
          <p:spPr bwMode="auto">
            <a:xfrm>
              <a:off x="10401649" y="4882896"/>
              <a:ext cx="292733" cy="119201"/>
            </a:xfrm>
            <a:custGeom>
              <a:avLst/>
              <a:gdLst>
                <a:gd name="T0" fmla="*/ 79 w 152"/>
                <a:gd name="T1" fmla="*/ 0 h 62"/>
                <a:gd name="T2" fmla="*/ 76 w 152"/>
                <a:gd name="T3" fmla="*/ 0 h 62"/>
                <a:gd name="T4" fmla="*/ 73 w 152"/>
                <a:gd name="T5" fmla="*/ 0 h 62"/>
                <a:gd name="T6" fmla="*/ 71 w 152"/>
                <a:gd name="T7" fmla="*/ 0 h 62"/>
                <a:gd name="T8" fmla="*/ 64 w 152"/>
                <a:gd name="T9" fmla="*/ 0 h 62"/>
                <a:gd name="T10" fmla="*/ 62 w 152"/>
                <a:gd name="T11" fmla="*/ 0 h 62"/>
                <a:gd name="T12" fmla="*/ 32 w 152"/>
                <a:gd name="T13" fmla="*/ 3 h 62"/>
                <a:gd name="T14" fmla="*/ 27 w 152"/>
                <a:gd name="T15" fmla="*/ 4 h 62"/>
                <a:gd name="T16" fmla="*/ 23 w 152"/>
                <a:gd name="T17" fmla="*/ 5 h 62"/>
                <a:gd name="T18" fmla="*/ 0 w 152"/>
                <a:gd name="T19" fmla="*/ 21 h 62"/>
                <a:gd name="T20" fmla="*/ 0 w 152"/>
                <a:gd name="T21" fmla="*/ 24 h 62"/>
                <a:gd name="T22" fmla="*/ 18 w 152"/>
                <a:gd name="T23" fmla="*/ 47 h 62"/>
                <a:gd name="T24" fmla="*/ 75 w 152"/>
                <a:gd name="T25" fmla="*/ 62 h 62"/>
                <a:gd name="T26" fmla="*/ 76 w 152"/>
                <a:gd name="T27" fmla="*/ 62 h 62"/>
                <a:gd name="T28" fmla="*/ 134 w 152"/>
                <a:gd name="T29" fmla="*/ 47 h 62"/>
                <a:gd name="T30" fmla="*/ 152 w 152"/>
                <a:gd name="T31" fmla="*/ 23 h 62"/>
                <a:gd name="T32" fmla="*/ 151 w 152"/>
                <a:gd name="T33" fmla="*/ 20 h 62"/>
                <a:gd name="T34" fmla="*/ 147 w 152"/>
                <a:gd name="T35" fmla="*/ 13 h 62"/>
                <a:gd name="T36" fmla="*/ 142 w 152"/>
                <a:gd name="T37" fmla="*/ 10 h 62"/>
                <a:gd name="T38" fmla="*/ 125 w 152"/>
                <a:gd name="T39" fmla="*/ 4 h 62"/>
                <a:gd name="T40" fmla="*/ 116 w 152"/>
                <a:gd name="T41" fmla="*/ 2 h 62"/>
                <a:gd name="T42" fmla="*/ 112 w 152"/>
                <a:gd name="T43" fmla="*/ 1 h 62"/>
                <a:gd name="T44" fmla="*/ 79 w 152"/>
                <a:gd name="T4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62">
                  <a:moveTo>
                    <a:pt x="79" y="0"/>
                  </a:moveTo>
                  <a:cubicBezTo>
                    <a:pt x="78" y="0"/>
                    <a:pt x="77" y="0"/>
                    <a:pt x="76" y="0"/>
                  </a:cubicBezTo>
                  <a:cubicBezTo>
                    <a:pt x="75" y="0"/>
                    <a:pt x="74" y="0"/>
                    <a:pt x="73" y="0"/>
                  </a:cubicBezTo>
                  <a:cubicBezTo>
                    <a:pt x="72" y="0"/>
                    <a:pt x="71" y="0"/>
                    <a:pt x="71" y="0"/>
                  </a:cubicBezTo>
                  <a:cubicBezTo>
                    <a:pt x="68" y="0"/>
                    <a:pt x="66" y="0"/>
                    <a:pt x="64" y="0"/>
                  </a:cubicBezTo>
                  <a:cubicBezTo>
                    <a:pt x="63" y="0"/>
                    <a:pt x="62" y="0"/>
                    <a:pt x="62" y="0"/>
                  </a:cubicBezTo>
                  <a:cubicBezTo>
                    <a:pt x="51" y="1"/>
                    <a:pt x="41" y="2"/>
                    <a:pt x="32" y="3"/>
                  </a:cubicBezTo>
                  <a:cubicBezTo>
                    <a:pt x="30" y="3"/>
                    <a:pt x="28" y="4"/>
                    <a:pt x="27" y="4"/>
                  </a:cubicBezTo>
                  <a:cubicBezTo>
                    <a:pt x="25" y="4"/>
                    <a:pt x="24" y="5"/>
                    <a:pt x="23" y="5"/>
                  </a:cubicBezTo>
                  <a:cubicBezTo>
                    <a:pt x="11" y="8"/>
                    <a:pt x="3" y="13"/>
                    <a:pt x="0" y="21"/>
                  </a:cubicBezTo>
                  <a:cubicBezTo>
                    <a:pt x="0" y="22"/>
                    <a:pt x="0" y="23"/>
                    <a:pt x="0" y="24"/>
                  </a:cubicBezTo>
                  <a:cubicBezTo>
                    <a:pt x="0" y="32"/>
                    <a:pt x="6" y="40"/>
                    <a:pt x="18" y="47"/>
                  </a:cubicBezTo>
                  <a:cubicBezTo>
                    <a:pt x="31" y="56"/>
                    <a:pt x="52" y="62"/>
                    <a:pt x="75" y="62"/>
                  </a:cubicBezTo>
                  <a:cubicBezTo>
                    <a:pt x="76" y="62"/>
                    <a:pt x="76" y="62"/>
                    <a:pt x="76" y="62"/>
                  </a:cubicBezTo>
                  <a:cubicBezTo>
                    <a:pt x="100" y="62"/>
                    <a:pt x="121" y="55"/>
                    <a:pt x="134" y="47"/>
                  </a:cubicBezTo>
                  <a:cubicBezTo>
                    <a:pt x="146" y="39"/>
                    <a:pt x="152" y="31"/>
                    <a:pt x="152" y="23"/>
                  </a:cubicBezTo>
                  <a:cubicBezTo>
                    <a:pt x="152" y="22"/>
                    <a:pt x="152" y="21"/>
                    <a:pt x="151" y="20"/>
                  </a:cubicBezTo>
                  <a:cubicBezTo>
                    <a:pt x="151" y="17"/>
                    <a:pt x="149" y="15"/>
                    <a:pt x="147" y="13"/>
                  </a:cubicBezTo>
                  <a:cubicBezTo>
                    <a:pt x="146" y="12"/>
                    <a:pt x="144" y="11"/>
                    <a:pt x="142" y="10"/>
                  </a:cubicBezTo>
                  <a:cubicBezTo>
                    <a:pt x="138" y="7"/>
                    <a:pt x="132" y="5"/>
                    <a:pt x="125" y="4"/>
                  </a:cubicBezTo>
                  <a:cubicBezTo>
                    <a:pt x="122" y="3"/>
                    <a:pt x="119" y="2"/>
                    <a:pt x="116" y="2"/>
                  </a:cubicBezTo>
                  <a:cubicBezTo>
                    <a:pt x="115" y="2"/>
                    <a:pt x="113" y="2"/>
                    <a:pt x="112" y="1"/>
                  </a:cubicBezTo>
                  <a:cubicBezTo>
                    <a:pt x="102" y="0"/>
                    <a:pt x="91" y="0"/>
                    <a:pt x="79" y="0"/>
                  </a:cubicBezTo>
                </a:path>
              </a:pathLst>
            </a:custGeom>
            <a:solidFill>
              <a:srgbClr val="7428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2">
              <a:extLst>
                <a:ext uri="{FF2B5EF4-FFF2-40B4-BE49-F238E27FC236}">
                  <a16:creationId xmlns:a16="http://schemas.microsoft.com/office/drawing/2014/main" id="{4C169D04-A590-48A0-BD91-5230ACB831DF}"/>
                </a:ext>
              </a:extLst>
            </p:cNvPr>
            <p:cNvSpPr>
              <a:spLocks/>
            </p:cNvSpPr>
            <p:nvPr/>
          </p:nvSpPr>
          <p:spPr bwMode="auto">
            <a:xfrm>
              <a:off x="10579235" y="4913710"/>
              <a:ext cx="92442" cy="38112"/>
            </a:xfrm>
            <a:custGeom>
              <a:avLst/>
              <a:gdLst>
                <a:gd name="T0" fmla="*/ 29 w 48"/>
                <a:gd name="T1" fmla="*/ 1 h 20"/>
                <a:gd name="T2" fmla="*/ 7 w 48"/>
                <a:gd name="T3" fmla="*/ 3 h 20"/>
                <a:gd name="T4" fmla="*/ 1 w 48"/>
                <a:gd name="T5" fmla="*/ 9 h 20"/>
                <a:gd name="T6" fmla="*/ 6 w 48"/>
                <a:gd name="T7" fmla="*/ 15 h 20"/>
                <a:gd name="T8" fmla="*/ 42 w 48"/>
                <a:gd name="T9" fmla="*/ 14 h 20"/>
                <a:gd name="T10" fmla="*/ 47 w 48"/>
                <a:gd name="T11" fmla="*/ 8 h 20"/>
                <a:gd name="T12" fmla="*/ 44 w 48"/>
                <a:gd name="T13" fmla="*/ 5 h 20"/>
                <a:gd name="T14" fmla="*/ 28 w 4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0">
                  <a:moveTo>
                    <a:pt x="29" y="1"/>
                  </a:moveTo>
                  <a:cubicBezTo>
                    <a:pt x="22" y="0"/>
                    <a:pt x="14" y="0"/>
                    <a:pt x="7" y="3"/>
                  </a:cubicBezTo>
                  <a:cubicBezTo>
                    <a:pt x="4" y="4"/>
                    <a:pt x="0" y="6"/>
                    <a:pt x="1" y="9"/>
                  </a:cubicBezTo>
                  <a:cubicBezTo>
                    <a:pt x="1" y="12"/>
                    <a:pt x="4" y="14"/>
                    <a:pt x="6" y="15"/>
                  </a:cubicBezTo>
                  <a:cubicBezTo>
                    <a:pt x="18" y="20"/>
                    <a:pt x="31" y="20"/>
                    <a:pt x="42" y="14"/>
                  </a:cubicBezTo>
                  <a:cubicBezTo>
                    <a:pt x="45" y="13"/>
                    <a:pt x="48" y="11"/>
                    <a:pt x="47" y="8"/>
                  </a:cubicBezTo>
                  <a:cubicBezTo>
                    <a:pt x="47" y="6"/>
                    <a:pt x="45" y="5"/>
                    <a:pt x="44" y="5"/>
                  </a:cubicBezTo>
                  <a:cubicBezTo>
                    <a:pt x="39" y="2"/>
                    <a:pt x="34" y="0"/>
                    <a:pt x="28" y="0"/>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3">
              <a:extLst>
                <a:ext uri="{FF2B5EF4-FFF2-40B4-BE49-F238E27FC236}">
                  <a16:creationId xmlns:a16="http://schemas.microsoft.com/office/drawing/2014/main" id="{847C2339-7928-4FE7-BE84-4D69264C0267}"/>
                </a:ext>
              </a:extLst>
            </p:cNvPr>
            <p:cNvSpPr>
              <a:spLocks/>
            </p:cNvSpPr>
            <p:nvPr/>
          </p:nvSpPr>
          <p:spPr bwMode="auto">
            <a:xfrm>
              <a:off x="10404082" y="5053994"/>
              <a:ext cx="300031" cy="240835"/>
            </a:xfrm>
            <a:custGeom>
              <a:avLst/>
              <a:gdLst>
                <a:gd name="T0" fmla="*/ 156 w 156"/>
                <a:gd name="T1" fmla="*/ 25 h 125"/>
                <a:gd name="T2" fmla="*/ 152 w 156"/>
                <a:gd name="T3" fmla="*/ 28 h 125"/>
                <a:gd name="T4" fmla="*/ 137 w 156"/>
                <a:gd name="T5" fmla="*/ 34 h 125"/>
                <a:gd name="T6" fmla="*/ 113 w 156"/>
                <a:gd name="T7" fmla="*/ 28 h 125"/>
                <a:gd name="T8" fmla="*/ 102 w 156"/>
                <a:gd name="T9" fmla="*/ 16 h 125"/>
                <a:gd name="T10" fmla="*/ 101 w 156"/>
                <a:gd name="T11" fmla="*/ 7 h 125"/>
                <a:gd name="T12" fmla="*/ 108 w 156"/>
                <a:gd name="T13" fmla="*/ 1 h 125"/>
                <a:gd name="T14" fmla="*/ 117 w 156"/>
                <a:gd name="T15" fmla="*/ 4 h 125"/>
                <a:gd name="T16" fmla="*/ 124 w 156"/>
                <a:gd name="T17" fmla="*/ 11 h 125"/>
                <a:gd name="T18" fmla="*/ 132 w 156"/>
                <a:gd name="T19" fmla="*/ 31 h 125"/>
                <a:gd name="T20" fmla="*/ 131 w 156"/>
                <a:gd name="T21" fmla="*/ 53 h 125"/>
                <a:gd name="T22" fmla="*/ 116 w 156"/>
                <a:gd name="T23" fmla="*/ 73 h 125"/>
                <a:gd name="T24" fmla="*/ 92 w 156"/>
                <a:gd name="T25" fmla="*/ 81 h 125"/>
                <a:gd name="T26" fmla="*/ 67 w 156"/>
                <a:gd name="T27" fmla="*/ 73 h 125"/>
                <a:gd name="T28" fmla="*/ 52 w 156"/>
                <a:gd name="T29" fmla="*/ 50 h 125"/>
                <a:gd name="T30" fmla="*/ 52 w 156"/>
                <a:gd name="T31" fmla="*/ 36 h 125"/>
                <a:gd name="T32" fmla="*/ 59 w 156"/>
                <a:gd name="T33" fmla="*/ 23 h 125"/>
                <a:gd name="T34" fmla="*/ 68 w 156"/>
                <a:gd name="T35" fmla="*/ 25 h 125"/>
                <a:gd name="T36" fmla="*/ 73 w 156"/>
                <a:gd name="T37" fmla="*/ 32 h 125"/>
                <a:gd name="T38" fmla="*/ 77 w 156"/>
                <a:gd name="T39" fmla="*/ 47 h 125"/>
                <a:gd name="T40" fmla="*/ 75 w 156"/>
                <a:gd name="T41" fmla="*/ 78 h 125"/>
                <a:gd name="T42" fmla="*/ 64 w 156"/>
                <a:gd name="T43" fmla="*/ 105 h 125"/>
                <a:gd name="T44" fmla="*/ 42 w 156"/>
                <a:gd name="T45" fmla="*/ 122 h 125"/>
                <a:gd name="T46" fmla="*/ 17 w 156"/>
                <a:gd name="T47" fmla="*/ 116 h 125"/>
                <a:gd name="T48" fmla="*/ 4 w 156"/>
                <a:gd name="T49" fmla="*/ 95 h 125"/>
                <a:gd name="T50" fmla="*/ 9 w 156"/>
                <a:gd name="T51" fmla="*/ 54 h 125"/>
                <a:gd name="T52" fmla="*/ 10 w 156"/>
                <a:gd name="T53" fmla="*/ 53 h 125"/>
                <a:gd name="T54" fmla="*/ 11 w 156"/>
                <a:gd name="T55" fmla="*/ 55 h 125"/>
                <a:gd name="T56" fmla="*/ 15 w 156"/>
                <a:gd name="T57" fmla="*/ 80 h 125"/>
                <a:gd name="T58" fmla="*/ 11 w 156"/>
                <a:gd name="T59" fmla="*/ 99 h 125"/>
                <a:gd name="T60" fmla="*/ 3 w 156"/>
                <a:gd name="T61" fmla="*/ 113 h 125"/>
                <a:gd name="T62" fmla="*/ 10 w 156"/>
                <a:gd name="T63" fmla="*/ 99 h 125"/>
                <a:gd name="T64" fmla="*/ 14 w 156"/>
                <a:gd name="T65" fmla="*/ 80 h 125"/>
                <a:gd name="T66" fmla="*/ 9 w 156"/>
                <a:gd name="T67" fmla="*/ 55 h 125"/>
                <a:gd name="T68" fmla="*/ 11 w 156"/>
                <a:gd name="T69" fmla="*/ 55 h 125"/>
                <a:gd name="T70" fmla="*/ 7 w 156"/>
                <a:gd name="T71" fmla="*/ 94 h 125"/>
                <a:gd name="T72" fmla="*/ 19 w 156"/>
                <a:gd name="T73" fmla="*/ 114 h 125"/>
                <a:gd name="T74" fmla="*/ 42 w 156"/>
                <a:gd name="T75" fmla="*/ 120 h 125"/>
                <a:gd name="T76" fmla="*/ 61 w 156"/>
                <a:gd name="T77" fmla="*/ 103 h 125"/>
                <a:gd name="T78" fmla="*/ 72 w 156"/>
                <a:gd name="T79" fmla="*/ 77 h 125"/>
                <a:gd name="T80" fmla="*/ 74 w 156"/>
                <a:gd name="T81" fmla="*/ 48 h 125"/>
                <a:gd name="T82" fmla="*/ 70 w 156"/>
                <a:gd name="T83" fmla="*/ 33 h 125"/>
                <a:gd name="T84" fmla="*/ 66 w 156"/>
                <a:gd name="T85" fmla="*/ 27 h 125"/>
                <a:gd name="T86" fmla="*/ 60 w 156"/>
                <a:gd name="T87" fmla="*/ 26 h 125"/>
                <a:gd name="T88" fmla="*/ 55 w 156"/>
                <a:gd name="T89" fmla="*/ 37 h 125"/>
                <a:gd name="T90" fmla="*/ 55 w 156"/>
                <a:gd name="T91" fmla="*/ 50 h 125"/>
                <a:gd name="T92" fmla="*/ 69 w 156"/>
                <a:gd name="T93" fmla="*/ 71 h 125"/>
                <a:gd name="T94" fmla="*/ 92 w 156"/>
                <a:gd name="T95" fmla="*/ 78 h 125"/>
                <a:gd name="T96" fmla="*/ 114 w 156"/>
                <a:gd name="T97" fmla="*/ 70 h 125"/>
                <a:gd name="T98" fmla="*/ 128 w 156"/>
                <a:gd name="T99" fmla="*/ 53 h 125"/>
                <a:gd name="T100" fmla="*/ 130 w 156"/>
                <a:gd name="T101" fmla="*/ 31 h 125"/>
                <a:gd name="T102" fmla="*/ 122 w 156"/>
                <a:gd name="T103" fmla="*/ 13 h 125"/>
                <a:gd name="T104" fmla="*/ 115 w 156"/>
                <a:gd name="T105" fmla="*/ 6 h 125"/>
                <a:gd name="T106" fmla="*/ 108 w 156"/>
                <a:gd name="T107" fmla="*/ 3 h 125"/>
                <a:gd name="T108" fmla="*/ 103 w 156"/>
                <a:gd name="T109" fmla="*/ 8 h 125"/>
                <a:gd name="T110" fmla="*/ 104 w 156"/>
                <a:gd name="T111" fmla="*/ 16 h 125"/>
                <a:gd name="T112" fmla="*/ 114 w 156"/>
                <a:gd name="T113" fmla="*/ 27 h 125"/>
                <a:gd name="T114" fmla="*/ 137 w 156"/>
                <a:gd name="T115" fmla="*/ 32 h 125"/>
                <a:gd name="T116" fmla="*/ 152 w 156"/>
                <a:gd name="T117" fmla="*/ 28 h 125"/>
                <a:gd name="T118" fmla="*/ 156 w 156"/>
                <a:gd name="T119" fmla="*/ 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25">
                  <a:moveTo>
                    <a:pt x="156" y="25"/>
                  </a:moveTo>
                  <a:cubicBezTo>
                    <a:pt x="156" y="25"/>
                    <a:pt x="155" y="26"/>
                    <a:pt x="152" y="28"/>
                  </a:cubicBezTo>
                  <a:cubicBezTo>
                    <a:pt x="149" y="30"/>
                    <a:pt x="144" y="33"/>
                    <a:pt x="137" y="34"/>
                  </a:cubicBezTo>
                  <a:cubicBezTo>
                    <a:pt x="130" y="34"/>
                    <a:pt x="121" y="34"/>
                    <a:pt x="113" y="28"/>
                  </a:cubicBezTo>
                  <a:cubicBezTo>
                    <a:pt x="109" y="25"/>
                    <a:pt x="105" y="21"/>
                    <a:pt x="102" y="16"/>
                  </a:cubicBezTo>
                  <a:cubicBezTo>
                    <a:pt x="101" y="14"/>
                    <a:pt x="100" y="11"/>
                    <a:pt x="101" y="7"/>
                  </a:cubicBezTo>
                  <a:cubicBezTo>
                    <a:pt x="102" y="4"/>
                    <a:pt x="104" y="1"/>
                    <a:pt x="108" y="1"/>
                  </a:cubicBezTo>
                  <a:cubicBezTo>
                    <a:pt x="111" y="0"/>
                    <a:pt x="115" y="2"/>
                    <a:pt x="117" y="4"/>
                  </a:cubicBezTo>
                  <a:cubicBezTo>
                    <a:pt x="119" y="6"/>
                    <a:pt x="122" y="9"/>
                    <a:pt x="124" y="11"/>
                  </a:cubicBezTo>
                  <a:cubicBezTo>
                    <a:pt x="128" y="17"/>
                    <a:pt x="131" y="24"/>
                    <a:pt x="132" y="31"/>
                  </a:cubicBezTo>
                  <a:cubicBezTo>
                    <a:pt x="134" y="38"/>
                    <a:pt x="133" y="46"/>
                    <a:pt x="131" y="53"/>
                  </a:cubicBezTo>
                  <a:cubicBezTo>
                    <a:pt x="128" y="61"/>
                    <a:pt x="123" y="68"/>
                    <a:pt x="116" y="73"/>
                  </a:cubicBezTo>
                  <a:cubicBezTo>
                    <a:pt x="109" y="78"/>
                    <a:pt x="101" y="81"/>
                    <a:pt x="92" y="81"/>
                  </a:cubicBezTo>
                  <a:cubicBezTo>
                    <a:pt x="84" y="82"/>
                    <a:pt x="74" y="79"/>
                    <a:pt x="67" y="73"/>
                  </a:cubicBezTo>
                  <a:cubicBezTo>
                    <a:pt x="60" y="68"/>
                    <a:pt x="55" y="60"/>
                    <a:pt x="52" y="50"/>
                  </a:cubicBezTo>
                  <a:cubicBezTo>
                    <a:pt x="51" y="46"/>
                    <a:pt x="51" y="41"/>
                    <a:pt x="52" y="36"/>
                  </a:cubicBezTo>
                  <a:cubicBezTo>
                    <a:pt x="52" y="32"/>
                    <a:pt x="54" y="26"/>
                    <a:pt x="59" y="23"/>
                  </a:cubicBezTo>
                  <a:cubicBezTo>
                    <a:pt x="62" y="22"/>
                    <a:pt x="66" y="23"/>
                    <a:pt x="68" y="25"/>
                  </a:cubicBezTo>
                  <a:cubicBezTo>
                    <a:pt x="70" y="27"/>
                    <a:pt x="72" y="29"/>
                    <a:pt x="73" y="32"/>
                  </a:cubicBezTo>
                  <a:cubicBezTo>
                    <a:pt x="75" y="37"/>
                    <a:pt x="76" y="42"/>
                    <a:pt x="77" y="47"/>
                  </a:cubicBezTo>
                  <a:cubicBezTo>
                    <a:pt x="78" y="57"/>
                    <a:pt x="77" y="68"/>
                    <a:pt x="75" y="78"/>
                  </a:cubicBezTo>
                  <a:cubicBezTo>
                    <a:pt x="73" y="87"/>
                    <a:pt x="69" y="97"/>
                    <a:pt x="64" y="105"/>
                  </a:cubicBezTo>
                  <a:cubicBezTo>
                    <a:pt x="59" y="113"/>
                    <a:pt x="52" y="120"/>
                    <a:pt x="42" y="122"/>
                  </a:cubicBezTo>
                  <a:cubicBezTo>
                    <a:pt x="33" y="125"/>
                    <a:pt x="24" y="121"/>
                    <a:pt x="17" y="116"/>
                  </a:cubicBezTo>
                  <a:cubicBezTo>
                    <a:pt x="11" y="110"/>
                    <a:pt x="7" y="103"/>
                    <a:pt x="4" y="95"/>
                  </a:cubicBezTo>
                  <a:cubicBezTo>
                    <a:pt x="0" y="80"/>
                    <a:pt x="3" y="65"/>
                    <a:pt x="9" y="54"/>
                  </a:cubicBezTo>
                  <a:cubicBezTo>
                    <a:pt x="10" y="53"/>
                    <a:pt x="10" y="53"/>
                    <a:pt x="10" y="53"/>
                  </a:cubicBezTo>
                  <a:cubicBezTo>
                    <a:pt x="11" y="55"/>
                    <a:pt x="11" y="55"/>
                    <a:pt x="11" y="55"/>
                  </a:cubicBezTo>
                  <a:cubicBezTo>
                    <a:pt x="15" y="64"/>
                    <a:pt x="16" y="73"/>
                    <a:pt x="15" y="80"/>
                  </a:cubicBezTo>
                  <a:cubicBezTo>
                    <a:pt x="15" y="88"/>
                    <a:pt x="13" y="95"/>
                    <a:pt x="11" y="99"/>
                  </a:cubicBezTo>
                  <a:cubicBezTo>
                    <a:pt x="7" y="109"/>
                    <a:pt x="3" y="113"/>
                    <a:pt x="3" y="113"/>
                  </a:cubicBezTo>
                  <a:cubicBezTo>
                    <a:pt x="3" y="113"/>
                    <a:pt x="7" y="109"/>
                    <a:pt x="10" y="99"/>
                  </a:cubicBezTo>
                  <a:cubicBezTo>
                    <a:pt x="12" y="94"/>
                    <a:pt x="14" y="88"/>
                    <a:pt x="14" y="80"/>
                  </a:cubicBezTo>
                  <a:cubicBezTo>
                    <a:pt x="14" y="73"/>
                    <a:pt x="13" y="64"/>
                    <a:pt x="9" y="55"/>
                  </a:cubicBezTo>
                  <a:cubicBezTo>
                    <a:pt x="11" y="55"/>
                    <a:pt x="11" y="55"/>
                    <a:pt x="11" y="55"/>
                  </a:cubicBezTo>
                  <a:cubicBezTo>
                    <a:pt x="5" y="66"/>
                    <a:pt x="2" y="80"/>
                    <a:pt x="7" y="94"/>
                  </a:cubicBezTo>
                  <a:cubicBezTo>
                    <a:pt x="9" y="101"/>
                    <a:pt x="13" y="108"/>
                    <a:pt x="19" y="114"/>
                  </a:cubicBezTo>
                  <a:cubicBezTo>
                    <a:pt x="25" y="119"/>
                    <a:pt x="33" y="122"/>
                    <a:pt x="42" y="120"/>
                  </a:cubicBezTo>
                  <a:cubicBezTo>
                    <a:pt x="50" y="117"/>
                    <a:pt x="56" y="111"/>
                    <a:pt x="61" y="103"/>
                  </a:cubicBezTo>
                  <a:cubicBezTo>
                    <a:pt x="66" y="95"/>
                    <a:pt x="70" y="86"/>
                    <a:pt x="72" y="77"/>
                  </a:cubicBezTo>
                  <a:cubicBezTo>
                    <a:pt x="74" y="68"/>
                    <a:pt x="75" y="57"/>
                    <a:pt x="74" y="48"/>
                  </a:cubicBezTo>
                  <a:cubicBezTo>
                    <a:pt x="73" y="43"/>
                    <a:pt x="72" y="37"/>
                    <a:pt x="70" y="33"/>
                  </a:cubicBezTo>
                  <a:cubicBezTo>
                    <a:pt x="69" y="31"/>
                    <a:pt x="68" y="28"/>
                    <a:pt x="66" y="27"/>
                  </a:cubicBezTo>
                  <a:cubicBezTo>
                    <a:pt x="65" y="26"/>
                    <a:pt x="62" y="25"/>
                    <a:pt x="60" y="26"/>
                  </a:cubicBezTo>
                  <a:cubicBezTo>
                    <a:pt x="57" y="28"/>
                    <a:pt x="55" y="32"/>
                    <a:pt x="55" y="37"/>
                  </a:cubicBezTo>
                  <a:cubicBezTo>
                    <a:pt x="54" y="41"/>
                    <a:pt x="54" y="45"/>
                    <a:pt x="55" y="50"/>
                  </a:cubicBezTo>
                  <a:cubicBezTo>
                    <a:pt x="57" y="58"/>
                    <a:pt x="62" y="66"/>
                    <a:pt x="69" y="71"/>
                  </a:cubicBezTo>
                  <a:cubicBezTo>
                    <a:pt x="76" y="76"/>
                    <a:pt x="84" y="79"/>
                    <a:pt x="92" y="78"/>
                  </a:cubicBezTo>
                  <a:cubicBezTo>
                    <a:pt x="100" y="78"/>
                    <a:pt x="108" y="75"/>
                    <a:pt x="114" y="70"/>
                  </a:cubicBezTo>
                  <a:cubicBezTo>
                    <a:pt x="121" y="66"/>
                    <a:pt x="125" y="59"/>
                    <a:pt x="128" y="53"/>
                  </a:cubicBezTo>
                  <a:cubicBezTo>
                    <a:pt x="130" y="46"/>
                    <a:pt x="131" y="38"/>
                    <a:pt x="130" y="31"/>
                  </a:cubicBezTo>
                  <a:cubicBezTo>
                    <a:pt x="128" y="24"/>
                    <a:pt x="126" y="18"/>
                    <a:pt x="122" y="13"/>
                  </a:cubicBezTo>
                  <a:cubicBezTo>
                    <a:pt x="120" y="10"/>
                    <a:pt x="118" y="8"/>
                    <a:pt x="115" y="6"/>
                  </a:cubicBezTo>
                  <a:cubicBezTo>
                    <a:pt x="113" y="4"/>
                    <a:pt x="110" y="2"/>
                    <a:pt x="108" y="3"/>
                  </a:cubicBezTo>
                  <a:cubicBezTo>
                    <a:pt x="105" y="3"/>
                    <a:pt x="104" y="5"/>
                    <a:pt x="103" y="8"/>
                  </a:cubicBezTo>
                  <a:cubicBezTo>
                    <a:pt x="102" y="10"/>
                    <a:pt x="103" y="13"/>
                    <a:pt x="104" y="16"/>
                  </a:cubicBezTo>
                  <a:cubicBezTo>
                    <a:pt x="106" y="20"/>
                    <a:pt x="110" y="24"/>
                    <a:pt x="114" y="27"/>
                  </a:cubicBezTo>
                  <a:cubicBezTo>
                    <a:pt x="122" y="32"/>
                    <a:pt x="130" y="33"/>
                    <a:pt x="137" y="32"/>
                  </a:cubicBezTo>
                  <a:cubicBezTo>
                    <a:pt x="144" y="32"/>
                    <a:pt x="149" y="30"/>
                    <a:pt x="152" y="28"/>
                  </a:cubicBezTo>
                  <a:cubicBezTo>
                    <a:pt x="155" y="26"/>
                    <a:pt x="156" y="24"/>
                    <a:pt x="156" y="25"/>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4">
              <a:extLst>
                <a:ext uri="{FF2B5EF4-FFF2-40B4-BE49-F238E27FC236}">
                  <a16:creationId xmlns:a16="http://schemas.microsoft.com/office/drawing/2014/main" id="{39B78699-6B03-425B-800C-B3B21B42CD4C}"/>
                </a:ext>
              </a:extLst>
            </p:cNvPr>
            <p:cNvSpPr>
              <a:spLocks/>
            </p:cNvSpPr>
            <p:nvPr/>
          </p:nvSpPr>
          <p:spPr bwMode="auto">
            <a:xfrm>
              <a:off x="10413812" y="4898303"/>
              <a:ext cx="273271" cy="99740"/>
            </a:xfrm>
            <a:custGeom>
              <a:avLst/>
              <a:gdLst>
                <a:gd name="T0" fmla="*/ 136 w 142"/>
                <a:gd name="T1" fmla="*/ 1 h 52"/>
                <a:gd name="T2" fmla="*/ 137 w 142"/>
                <a:gd name="T3" fmla="*/ 3 h 52"/>
                <a:gd name="T4" fmla="*/ 141 w 142"/>
                <a:gd name="T5" fmla="*/ 7 h 52"/>
                <a:gd name="T6" fmla="*/ 142 w 142"/>
                <a:gd name="T7" fmla="*/ 17 h 52"/>
                <a:gd name="T8" fmla="*/ 137 w 142"/>
                <a:gd name="T9" fmla="*/ 28 h 52"/>
                <a:gd name="T10" fmla="*/ 110 w 142"/>
                <a:gd name="T11" fmla="*/ 46 h 52"/>
                <a:gd name="T12" fmla="*/ 71 w 142"/>
                <a:gd name="T13" fmla="*/ 52 h 52"/>
                <a:gd name="T14" fmla="*/ 32 w 142"/>
                <a:gd name="T15" fmla="*/ 45 h 52"/>
                <a:gd name="T16" fmla="*/ 16 w 142"/>
                <a:gd name="T17" fmla="*/ 38 h 52"/>
                <a:gd name="T18" fmla="*/ 5 w 142"/>
                <a:gd name="T19" fmla="*/ 27 h 52"/>
                <a:gd name="T20" fmla="*/ 2 w 142"/>
                <a:gd name="T21" fmla="*/ 6 h 52"/>
                <a:gd name="T22" fmla="*/ 5 w 142"/>
                <a:gd name="T23" fmla="*/ 1 h 52"/>
                <a:gd name="T24" fmla="*/ 7 w 142"/>
                <a:gd name="T25" fmla="*/ 0 h 52"/>
                <a:gd name="T26" fmla="*/ 3 w 142"/>
                <a:gd name="T27" fmla="*/ 6 h 52"/>
                <a:gd name="T28" fmla="*/ 6 w 142"/>
                <a:gd name="T29" fmla="*/ 26 h 52"/>
                <a:gd name="T30" fmla="*/ 32 w 142"/>
                <a:gd name="T31" fmla="*/ 43 h 52"/>
                <a:gd name="T32" fmla="*/ 71 w 142"/>
                <a:gd name="T33" fmla="*/ 49 h 52"/>
                <a:gd name="T34" fmla="*/ 109 w 142"/>
                <a:gd name="T35" fmla="*/ 44 h 52"/>
                <a:gd name="T36" fmla="*/ 135 w 142"/>
                <a:gd name="T37" fmla="*/ 27 h 52"/>
                <a:gd name="T38" fmla="*/ 141 w 142"/>
                <a:gd name="T39" fmla="*/ 17 h 52"/>
                <a:gd name="T40" fmla="*/ 140 w 142"/>
                <a:gd name="T41" fmla="*/ 8 h 52"/>
                <a:gd name="T42" fmla="*/ 136 w 142"/>
                <a:gd name="T43"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52">
                  <a:moveTo>
                    <a:pt x="136" y="1"/>
                  </a:moveTo>
                  <a:cubicBezTo>
                    <a:pt x="136" y="1"/>
                    <a:pt x="136" y="2"/>
                    <a:pt x="137" y="3"/>
                  </a:cubicBezTo>
                  <a:cubicBezTo>
                    <a:pt x="138" y="4"/>
                    <a:pt x="140" y="5"/>
                    <a:pt x="141" y="7"/>
                  </a:cubicBezTo>
                  <a:cubicBezTo>
                    <a:pt x="142" y="10"/>
                    <a:pt x="142" y="13"/>
                    <a:pt x="142" y="17"/>
                  </a:cubicBezTo>
                  <a:cubicBezTo>
                    <a:pt x="141" y="21"/>
                    <a:pt x="139" y="25"/>
                    <a:pt x="137" y="28"/>
                  </a:cubicBezTo>
                  <a:cubicBezTo>
                    <a:pt x="131" y="36"/>
                    <a:pt x="121" y="42"/>
                    <a:pt x="110" y="46"/>
                  </a:cubicBezTo>
                  <a:cubicBezTo>
                    <a:pt x="98" y="50"/>
                    <a:pt x="85" y="52"/>
                    <a:pt x="71" y="52"/>
                  </a:cubicBezTo>
                  <a:cubicBezTo>
                    <a:pt x="57" y="51"/>
                    <a:pt x="43" y="49"/>
                    <a:pt x="32" y="45"/>
                  </a:cubicBezTo>
                  <a:cubicBezTo>
                    <a:pt x="26" y="43"/>
                    <a:pt x="21" y="40"/>
                    <a:pt x="16" y="38"/>
                  </a:cubicBezTo>
                  <a:cubicBezTo>
                    <a:pt x="11" y="35"/>
                    <a:pt x="8" y="31"/>
                    <a:pt x="5" y="27"/>
                  </a:cubicBezTo>
                  <a:cubicBezTo>
                    <a:pt x="0" y="19"/>
                    <a:pt x="0" y="11"/>
                    <a:pt x="2" y="6"/>
                  </a:cubicBezTo>
                  <a:cubicBezTo>
                    <a:pt x="3" y="4"/>
                    <a:pt x="4" y="2"/>
                    <a:pt x="5" y="1"/>
                  </a:cubicBezTo>
                  <a:cubicBezTo>
                    <a:pt x="6" y="0"/>
                    <a:pt x="7" y="0"/>
                    <a:pt x="7" y="0"/>
                  </a:cubicBezTo>
                  <a:cubicBezTo>
                    <a:pt x="7" y="0"/>
                    <a:pt x="5" y="2"/>
                    <a:pt x="3" y="6"/>
                  </a:cubicBezTo>
                  <a:cubicBezTo>
                    <a:pt x="1" y="11"/>
                    <a:pt x="1" y="19"/>
                    <a:pt x="6" y="26"/>
                  </a:cubicBezTo>
                  <a:cubicBezTo>
                    <a:pt x="11" y="34"/>
                    <a:pt x="21" y="39"/>
                    <a:pt x="32" y="43"/>
                  </a:cubicBezTo>
                  <a:cubicBezTo>
                    <a:pt x="44" y="47"/>
                    <a:pt x="57" y="49"/>
                    <a:pt x="71" y="49"/>
                  </a:cubicBezTo>
                  <a:cubicBezTo>
                    <a:pt x="84" y="50"/>
                    <a:pt x="98" y="48"/>
                    <a:pt x="109" y="44"/>
                  </a:cubicBezTo>
                  <a:cubicBezTo>
                    <a:pt x="120" y="40"/>
                    <a:pt x="130" y="34"/>
                    <a:pt x="135" y="27"/>
                  </a:cubicBezTo>
                  <a:cubicBezTo>
                    <a:pt x="138" y="24"/>
                    <a:pt x="140" y="20"/>
                    <a:pt x="141" y="17"/>
                  </a:cubicBezTo>
                  <a:cubicBezTo>
                    <a:pt x="141" y="13"/>
                    <a:pt x="141" y="10"/>
                    <a:pt x="140" y="8"/>
                  </a:cubicBezTo>
                  <a:cubicBezTo>
                    <a:pt x="138" y="3"/>
                    <a:pt x="135" y="1"/>
                    <a:pt x="136" y="1"/>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5">
              <a:extLst>
                <a:ext uri="{FF2B5EF4-FFF2-40B4-BE49-F238E27FC236}">
                  <a16:creationId xmlns:a16="http://schemas.microsoft.com/office/drawing/2014/main" id="{F903ABCD-354C-41F4-A937-35709AAE793D}"/>
                </a:ext>
              </a:extLst>
            </p:cNvPr>
            <p:cNvSpPr>
              <a:spLocks/>
            </p:cNvSpPr>
            <p:nvPr/>
          </p:nvSpPr>
          <p:spPr bwMode="auto">
            <a:xfrm>
              <a:off x="6437189" y="4723150"/>
              <a:ext cx="1333920" cy="235159"/>
            </a:xfrm>
            <a:custGeom>
              <a:avLst/>
              <a:gdLst>
                <a:gd name="T0" fmla="*/ 66 w 693"/>
                <a:gd name="T1" fmla="*/ 3 h 122"/>
                <a:gd name="T2" fmla="*/ 63 w 693"/>
                <a:gd name="T3" fmla="*/ 120 h 122"/>
                <a:gd name="T4" fmla="*/ 67 w 693"/>
                <a:gd name="T5" fmla="*/ 122 h 122"/>
                <a:gd name="T6" fmla="*/ 643 w 693"/>
                <a:gd name="T7" fmla="*/ 118 h 122"/>
                <a:gd name="T8" fmla="*/ 652 w 693"/>
                <a:gd name="T9" fmla="*/ 0 h 122"/>
                <a:gd name="T10" fmla="*/ 66 w 693"/>
                <a:gd name="T11" fmla="*/ 3 h 122"/>
              </a:gdLst>
              <a:ahLst/>
              <a:cxnLst>
                <a:cxn ang="0">
                  <a:pos x="T0" y="T1"/>
                </a:cxn>
                <a:cxn ang="0">
                  <a:pos x="T2" y="T3"/>
                </a:cxn>
                <a:cxn ang="0">
                  <a:pos x="T4" y="T5"/>
                </a:cxn>
                <a:cxn ang="0">
                  <a:pos x="T6" y="T7"/>
                </a:cxn>
                <a:cxn ang="0">
                  <a:pos x="T8" y="T9"/>
                </a:cxn>
                <a:cxn ang="0">
                  <a:pos x="T10" y="T11"/>
                </a:cxn>
              </a:cxnLst>
              <a:rect l="0" t="0" r="r" b="b"/>
              <a:pathLst>
                <a:path w="693" h="122">
                  <a:moveTo>
                    <a:pt x="66" y="3"/>
                  </a:moveTo>
                  <a:cubicBezTo>
                    <a:pt x="66" y="3"/>
                    <a:pt x="0" y="54"/>
                    <a:pt x="63" y="120"/>
                  </a:cubicBezTo>
                  <a:cubicBezTo>
                    <a:pt x="64" y="121"/>
                    <a:pt x="65" y="122"/>
                    <a:pt x="67" y="122"/>
                  </a:cubicBezTo>
                  <a:cubicBezTo>
                    <a:pt x="643" y="118"/>
                    <a:pt x="643" y="118"/>
                    <a:pt x="643" y="118"/>
                  </a:cubicBezTo>
                  <a:cubicBezTo>
                    <a:pt x="643" y="118"/>
                    <a:pt x="693" y="63"/>
                    <a:pt x="652" y="0"/>
                  </a:cubicBezTo>
                  <a:lnTo>
                    <a:pt x="66" y="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6">
              <a:extLst>
                <a:ext uri="{FF2B5EF4-FFF2-40B4-BE49-F238E27FC236}">
                  <a16:creationId xmlns:a16="http://schemas.microsoft.com/office/drawing/2014/main" id="{C97E2842-8B9D-4FBE-8F42-6B1226B98299}"/>
                </a:ext>
              </a:extLst>
            </p:cNvPr>
            <p:cNvSpPr>
              <a:spLocks/>
            </p:cNvSpPr>
            <p:nvPr/>
          </p:nvSpPr>
          <p:spPr bwMode="auto">
            <a:xfrm>
              <a:off x="6568554" y="4730448"/>
              <a:ext cx="46221" cy="229483"/>
            </a:xfrm>
            <a:custGeom>
              <a:avLst/>
              <a:gdLst>
                <a:gd name="T0" fmla="*/ 24 w 24"/>
                <a:gd name="T1" fmla="*/ 119 h 119"/>
                <a:gd name="T2" fmla="*/ 23 w 24"/>
                <a:gd name="T3" fmla="*/ 119 h 119"/>
                <a:gd name="T4" fmla="*/ 20 w 24"/>
                <a:gd name="T5" fmla="*/ 118 h 119"/>
                <a:gd name="T6" fmla="*/ 10 w 24"/>
                <a:gd name="T7" fmla="*/ 112 h 119"/>
                <a:gd name="T8" fmla="*/ 4 w 24"/>
                <a:gd name="T9" fmla="*/ 95 h 119"/>
                <a:gd name="T10" fmla="*/ 14 w 24"/>
                <a:gd name="T11" fmla="*/ 76 h 119"/>
                <a:gd name="T12" fmla="*/ 15 w 24"/>
                <a:gd name="T13" fmla="*/ 78 h 119"/>
                <a:gd name="T14" fmla="*/ 0 w 24"/>
                <a:gd name="T15" fmla="*/ 59 h 119"/>
                <a:gd name="T16" fmla="*/ 17 w 24"/>
                <a:gd name="T17" fmla="*/ 39 h 119"/>
                <a:gd name="T18" fmla="*/ 17 w 24"/>
                <a:gd name="T19" fmla="*/ 41 h 119"/>
                <a:gd name="T20" fmla="*/ 5 w 24"/>
                <a:gd name="T21" fmla="*/ 24 h 119"/>
                <a:gd name="T22" fmla="*/ 10 w 24"/>
                <a:gd name="T23" fmla="*/ 8 h 119"/>
                <a:gd name="T24" fmla="*/ 18 w 24"/>
                <a:gd name="T25" fmla="*/ 1 h 119"/>
                <a:gd name="T26" fmla="*/ 21 w 24"/>
                <a:gd name="T27" fmla="*/ 0 h 119"/>
                <a:gd name="T28" fmla="*/ 22 w 24"/>
                <a:gd name="T29" fmla="*/ 0 h 119"/>
                <a:gd name="T30" fmla="*/ 18 w 24"/>
                <a:gd name="T31" fmla="*/ 2 h 119"/>
                <a:gd name="T32" fmla="*/ 11 w 24"/>
                <a:gd name="T33" fmla="*/ 9 h 119"/>
                <a:gd name="T34" fmla="*/ 7 w 24"/>
                <a:gd name="T35" fmla="*/ 23 h 119"/>
                <a:gd name="T36" fmla="*/ 18 w 24"/>
                <a:gd name="T37" fmla="*/ 39 h 119"/>
                <a:gd name="T38" fmla="*/ 20 w 24"/>
                <a:gd name="T39" fmla="*/ 41 h 119"/>
                <a:gd name="T40" fmla="*/ 17 w 24"/>
                <a:gd name="T41" fmla="*/ 41 h 119"/>
                <a:gd name="T42" fmla="*/ 2 w 24"/>
                <a:gd name="T43" fmla="*/ 59 h 119"/>
                <a:gd name="T44" fmla="*/ 15 w 24"/>
                <a:gd name="T45" fmla="*/ 76 h 119"/>
                <a:gd name="T46" fmla="*/ 17 w 24"/>
                <a:gd name="T47" fmla="*/ 76 h 119"/>
                <a:gd name="T48" fmla="*/ 15 w 24"/>
                <a:gd name="T49" fmla="*/ 77 h 119"/>
                <a:gd name="T50" fmla="*/ 5 w 24"/>
                <a:gd name="T51" fmla="*/ 95 h 119"/>
                <a:gd name="T52" fmla="*/ 11 w 24"/>
                <a:gd name="T53" fmla="*/ 111 h 119"/>
                <a:gd name="T54" fmla="*/ 20 w 24"/>
                <a:gd name="T55" fmla="*/ 117 h 119"/>
                <a:gd name="T56" fmla="*/ 24 w 24"/>
                <a:gd name="T5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119">
                  <a:moveTo>
                    <a:pt x="24" y="119"/>
                  </a:moveTo>
                  <a:cubicBezTo>
                    <a:pt x="24" y="119"/>
                    <a:pt x="23" y="119"/>
                    <a:pt x="23" y="119"/>
                  </a:cubicBezTo>
                  <a:cubicBezTo>
                    <a:pt x="22" y="119"/>
                    <a:pt x="21" y="118"/>
                    <a:pt x="20" y="118"/>
                  </a:cubicBezTo>
                  <a:cubicBezTo>
                    <a:pt x="17" y="117"/>
                    <a:pt x="13" y="115"/>
                    <a:pt x="10" y="112"/>
                  </a:cubicBezTo>
                  <a:cubicBezTo>
                    <a:pt x="7" y="108"/>
                    <a:pt x="3" y="102"/>
                    <a:pt x="4" y="95"/>
                  </a:cubicBezTo>
                  <a:cubicBezTo>
                    <a:pt x="4" y="88"/>
                    <a:pt x="7" y="81"/>
                    <a:pt x="14" y="76"/>
                  </a:cubicBezTo>
                  <a:cubicBezTo>
                    <a:pt x="15" y="78"/>
                    <a:pt x="15" y="78"/>
                    <a:pt x="15" y="78"/>
                  </a:cubicBezTo>
                  <a:cubicBezTo>
                    <a:pt x="7" y="75"/>
                    <a:pt x="1" y="68"/>
                    <a:pt x="0" y="59"/>
                  </a:cubicBezTo>
                  <a:cubicBezTo>
                    <a:pt x="0" y="49"/>
                    <a:pt x="8" y="40"/>
                    <a:pt x="17" y="39"/>
                  </a:cubicBezTo>
                  <a:cubicBezTo>
                    <a:pt x="17" y="41"/>
                    <a:pt x="17" y="41"/>
                    <a:pt x="17" y="41"/>
                  </a:cubicBezTo>
                  <a:cubicBezTo>
                    <a:pt x="10" y="37"/>
                    <a:pt x="6" y="30"/>
                    <a:pt x="5" y="24"/>
                  </a:cubicBezTo>
                  <a:cubicBezTo>
                    <a:pt x="5" y="17"/>
                    <a:pt x="7" y="11"/>
                    <a:pt x="10" y="8"/>
                  </a:cubicBezTo>
                  <a:cubicBezTo>
                    <a:pt x="13" y="4"/>
                    <a:pt x="16" y="2"/>
                    <a:pt x="18" y="1"/>
                  </a:cubicBezTo>
                  <a:cubicBezTo>
                    <a:pt x="19" y="1"/>
                    <a:pt x="20" y="0"/>
                    <a:pt x="21" y="0"/>
                  </a:cubicBezTo>
                  <a:cubicBezTo>
                    <a:pt x="21" y="0"/>
                    <a:pt x="22" y="0"/>
                    <a:pt x="22" y="0"/>
                  </a:cubicBezTo>
                  <a:cubicBezTo>
                    <a:pt x="22" y="0"/>
                    <a:pt x="21" y="1"/>
                    <a:pt x="18" y="2"/>
                  </a:cubicBezTo>
                  <a:cubicBezTo>
                    <a:pt x="16" y="3"/>
                    <a:pt x="13" y="5"/>
                    <a:pt x="11" y="9"/>
                  </a:cubicBezTo>
                  <a:cubicBezTo>
                    <a:pt x="8" y="12"/>
                    <a:pt x="6" y="17"/>
                    <a:pt x="7" y="23"/>
                  </a:cubicBezTo>
                  <a:cubicBezTo>
                    <a:pt x="8" y="29"/>
                    <a:pt x="11" y="36"/>
                    <a:pt x="18" y="39"/>
                  </a:cubicBezTo>
                  <a:cubicBezTo>
                    <a:pt x="20" y="41"/>
                    <a:pt x="20" y="41"/>
                    <a:pt x="20" y="41"/>
                  </a:cubicBezTo>
                  <a:cubicBezTo>
                    <a:pt x="17" y="41"/>
                    <a:pt x="17" y="41"/>
                    <a:pt x="17" y="41"/>
                  </a:cubicBezTo>
                  <a:cubicBezTo>
                    <a:pt x="10" y="42"/>
                    <a:pt x="2" y="50"/>
                    <a:pt x="2" y="59"/>
                  </a:cubicBezTo>
                  <a:cubicBezTo>
                    <a:pt x="3" y="67"/>
                    <a:pt x="9" y="74"/>
                    <a:pt x="15" y="76"/>
                  </a:cubicBezTo>
                  <a:cubicBezTo>
                    <a:pt x="17" y="76"/>
                    <a:pt x="17" y="76"/>
                    <a:pt x="17" y="76"/>
                  </a:cubicBezTo>
                  <a:cubicBezTo>
                    <a:pt x="15" y="77"/>
                    <a:pt x="15" y="77"/>
                    <a:pt x="15" y="77"/>
                  </a:cubicBezTo>
                  <a:cubicBezTo>
                    <a:pt x="9" y="82"/>
                    <a:pt x="6" y="89"/>
                    <a:pt x="5" y="95"/>
                  </a:cubicBezTo>
                  <a:cubicBezTo>
                    <a:pt x="5" y="102"/>
                    <a:pt x="8" y="107"/>
                    <a:pt x="11" y="111"/>
                  </a:cubicBezTo>
                  <a:cubicBezTo>
                    <a:pt x="14" y="114"/>
                    <a:pt x="17" y="116"/>
                    <a:pt x="20" y="117"/>
                  </a:cubicBezTo>
                  <a:cubicBezTo>
                    <a:pt x="22" y="118"/>
                    <a:pt x="24" y="119"/>
                    <a:pt x="24" y="11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7">
              <a:extLst>
                <a:ext uri="{FF2B5EF4-FFF2-40B4-BE49-F238E27FC236}">
                  <a16:creationId xmlns:a16="http://schemas.microsoft.com/office/drawing/2014/main" id="{1577596C-0B45-4541-B8F9-7AB22D75EF36}"/>
                </a:ext>
              </a:extLst>
            </p:cNvPr>
            <p:cNvSpPr>
              <a:spLocks/>
            </p:cNvSpPr>
            <p:nvPr/>
          </p:nvSpPr>
          <p:spPr bwMode="auto">
            <a:xfrm>
              <a:off x="6610720" y="4903979"/>
              <a:ext cx="57573" cy="23516"/>
            </a:xfrm>
            <a:custGeom>
              <a:avLst/>
              <a:gdLst>
                <a:gd name="T0" fmla="*/ 2 w 30"/>
                <a:gd name="T1" fmla="*/ 9 h 12"/>
                <a:gd name="T2" fmla="*/ 1 w 30"/>
                <a:gd name="T3" fmla="*/ 9 h 12"/>
                <a:gd name="T4" fmla="*/ 0 w 30"/>
                <a:gd name="T5" fmla="*/ 5 h 12"/>
                <a:gd name="T6" fmla="*/ 0 w 30"/>
                <a:gd name="T7" fmla="*/ 5 h 12"/>
                <a:gd name="T8" fmla="*/ 0 w 30"/>
                <a:gd name="T9" fmla="*/ 5 h 12"/>
                <a:gd name="T10" fmla="*/ 4 w 30"/>
                <a:gd name="T11" fmla="*/ 1 h 12"/>
                <a:gd name="T12" fmla="*/ 10 w 30"/>
                <a:gd name="T13" fmla="*/ 0 h 12"/>
                <a:gd name="T14" fmla="*/ 19 w 30"/>
                <a:gd name="T15" fmla="*/ 0 h 12"/>
                <a:gd name="T16" fmla="*/ 23 w 30"/>
                <a:gd name="T17" fmla="*/ 1 h 12"/>
                <a:gd name="T18" fmla="*/ 28 w 30"/>
                <a:gd name="T19" fmla="*/ 3 h 12"/>
                <a:gd name="T20" fmla="*/ 30 w 30"/>
                <a:gd name="T21" fmla="*/ 6 h 12"/>
                <a:gd name="T22" fmla="*/ 28 w 30"/>
                <a:gd name="T23" fmla="*/ 10 h 12"/>
                <a:gd name="T24" fmla="*/ 22 w 30"/>
                <a:gd name="T25" fmla="*/ 12 h 12"/>
                <a:gd name="T26" fmla="*/ 11 w 30"/>
                <a:gd name="T27" fmla="*/ 12 h 12"/>
                <a:gd name="T28" fmla="*/ 2 w 30"/>
                <a:gd name="T29" fmla="*/ 9 h 12"/>
                <a:gd name="T30" fmla="*/ 11 w 30"/>
                <a:gd name="T31" fmla="*/ 10 h 12"/>
                <a:gd name="T32" fmla="*/ 22 w 30"/>
                <a:gd name="T33" fmla="*/ 10 h 12"/>
                <a:gd name="T34" fmla="*/ 27 w 30"/>
                <a:gd name="T35" fmla="*/ 8 h 12"/>
                <a:gd name="T36" fmla="*/ 27 w 30"/>
                <a:gd name="T37" fmla="*/ 4 h 12"/>
                <a:gd name="T38" fmla="*/ 23 w 30"/>
                <a:gd name="T39" fmla="*/ 3 h 12"/>
                <a:gd name="T40" fmla="*/ 18 w 30"/>
                <a:gd name="T41" fmla="*/ 2 h 12"/>
                <a:gd name="T42" fmla="*/ 11 w 30"/>
                <a:gd name="T43" fmla="*/ 2 h 12"/>
                <a:gd name="T44" fmla="*/ 1 w 30"/>
                <a:gd name="T45" fmla="*/ 6 h 12"/>
                <a:gd name="T46" fmla="*/ 1 w 30"/>
                <a:gd name="T47" fmla="*/ 6 h 12"/>
                <a:gd name="T48" fmla="*/ 1 w 30"/>
                <a:gd name="T49" fmla="*/ 8 h 12"/>
                <a:gd name="T50" fmla="*/ 2 w 30"/>
                <a:gd name="T5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2">
                  <a:moveTo>
                    <a:pt x="2" y="9"/>
                  </a:moveTo>
                  <a:cubicBezTo>
                    <a:pt x="2" y="9"/>
                    <a:pt x="1" y="9"/>
                    <a:pt x="1" y="9"/>
                  </a:cubicBezTo>
                  <a:cubicBezTo>
                    <a:pt x="0" y="8"/>
                    <a:pt x="0" y="7"/>
                    <a:pt x="0" y="5"/>
                  </a:cubicBezTo>
                  <a:cubicBezTo>
                    <a:pt x="0" y="5"/>
                    <a:pt x="0" y="5"/>
                    <a:pt x="0" y="5"/>
                  </a:cubicBezTo>
                  <a:cubicBezTo>
                    <a:pt x="0" y="5"/>
                    <a:pt x="0" y="5"/>
                    <a:pt x="0" y="5"/>
                  </a:cubicBezTo>
                  <a:cubicBezTo>
                    <a:pt x="0" y="4"/>
                    <a:pt x="2" y="2"/>
                    <a:pt x="4" y="1"/>
                  </a:cubicBezTo>
                  <a:cubicBezTo>
                    <a:pt x="6" y="0"/>
                    <a:pt x="8" y="0"/>
                    <a:pt x="10" y="0"/>
                  </a:cubicBezTo>
                  <a:cubicBezTo>
                    <a:pt x="13" y="0"/>
                    <a:pt x="16" y="0"/>
                    <a:pt x="19" y="0"/>
                  </a:cubicBezTo>
                  <a:cubicBezTo>
                    <a:pt x="20" y="0"/>
                    <a:pt x="22" y="0"/>
                    <a:pt x="23" y="1"/>
                  </a:cubicBezTo>
                  <a:cubicBezTo>
                    <a:pt x="25" y="1"/>
                    <a:pt x="26" y="1"/>
                    <a:pt x="28" y="3"/>
                  </a:cubicBezTo>
                  <a:cubicBezTo>
                    <a:pt x="29" y="3"/>
                    <a:pt x="30" y="5"/>
                    <a:pt x="30" y="6"/>
                  </a:cubicBezTo>
                  <a:cubicBezTo>
                    <a:pt x="30" y="8"/>
                    <a:pt x="29" y="9"/>
                    <a:pt x="28" y="10"/>
                  </a:cubicBezTo>
                  <a:cubicBezTo>
                    <a:pt x="26" y="11"/>
                    <a:pt x="24" y="11"/>
                    <a:pt x="22" y="12"/>
                  </a:cubicBezTo>
                  <a:cubicBezTo>
                    <a:pt x="18" y="12"/>
                    <a:pt x="14" y="12"/>
                    <a:pt x="11" y="12"/>
                  </a:cubicBezTo>
                  <a:cubicBezTo>
                    <a:pt x="5" y="11"/>
                    <a:pt x="2" y="9"/>
                    <a:pt x="2" y="9"/>
                  </a:cubicBezTo>
                  <a:cubicBezTo>
                    <a:pt x="2" y="9"/>
                    <a:pt x="5" y="10"/>
                    <a:pt x="11" y="10"/>
                  </a:cubicBezTo>
                  <a:cubicBezTo>
                    <a:pt x="14" y="11"/>
                    <a:pt x="18" y="10"/>
                    <a:pt x="22" y="10"/>
                  </a:cubicBezTo>
                  <a:cubicBezTo>
                    <a:pt x="23" y="10"/>
                    <a:pt x="26" y="9"/>
                    <a:pt x="27" y="8"/>
                  </a:cubicBezTo>
                  <a:cubicBezTo>
                    <a:pt x="28" y="7"/>
                    <a:pt x="28" y="5"/>
                    <a:pt x="27" y="4"/>
                  </a:cubicBezTo>
                  <a:cubicBezTo>
                    <a:pt x="26" y="3"/>
                    <a:pt x="24" y="3"/>
                    <a:pt x="23" y="3"/>
                  </a:cubicBezTo>
                  <a:cubicBezTo>
                    <a:pt x="21" y="2"/>
                    <a:pt x="20" y="2"/>
                    <a:pt x="18" y="2"/>
                  </a:cubicBezTo>
                  <a:cubicBezTo>
                    <a:pt x="16" y="2"/>
                    <a:pt x="13" y="2"/>
                    <a:pt x="11" y="2"/>
                  </a:cubicBezTo>
                  <a:cubicBezTo>
                    <a:pt x="6" y="2"/>
                    <a:pt x="2" y="3"/>
                    <a:pt x="1" y="6"/>
                  </a:cubicBezTo>
                  <a:cubicBezTo>
                    <a:pt x="1" y="6"/>
                    <a:pt x="1" y="6"/>
                    <a:pt x="1" y="6"/>
                  </a:cubicBezTo>
                  <a:cubicBezTo>
                    <a:pt x="1" y="7"/>
                    <a:pt x="1" y="8"/>
                    <a:pt x="1" y="8"/>
                  </a:cubicBezTo>
                  <a:cubicBezTo>
                    <a:pt x="1"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8">
              <a:extLst>
                <a:ext uri="{FF2B5EF4-FFF2-40B4-BE49-F238E27FC236}">
                  <a16:creationId xmlns:a16="http://schemas.microsoft.com/office/drawing/2014/main" id="{C8E855EE-0123-4384-A509-DBCA03A7BB36}"/>
                </a:ext>
              </a:extLst>
            </p:cNvPr>
            <p:cNvSpPr>
              <a:spLocks/>
            </p:cNvSpPr>
            <p:nvPr/>
          </p:nvSpPr>
          <p:spPr bwMode="auto">
            <a:xfrm>
              <a:off x="6606666" y="4828566"/>
              <a:ext cx="60006" cy="23516"/>
            </a:xfrm>
            <a:custGeom>
              <a:avLst/>
              <a:gdLst>
                <a:gd name="T0" fmla="*/ 2 w 31"/>
                <a:gd name="T1" fmla="*/ 9 h 12"/>
                <a:gd name="T2" fmla="*/ 1 w 31"/>
                <a:gd name="T3" fmla="*/ 9 h 12"/>
                <a:gd name="T4" fmla="*/ 0 w 31"/>
                <a:gd name="T5" fmla="*/ 5 h 12"/>
                <a:gd name="T6" fmla="*/ 0 w 31"/>
                <a:gd name="T7" fmla="*/ 5 h 12"/>
                <a:gd name="T8" fmla="*/ 0 w 31"/>
                <a:gd name="T9" fmla="*/ 5 h 12"/>
                <a:gd name="T10" fmla="*/ 4 w 31"/>
                <a:gd name="T11" fmla="*/ 1 h 12"/>
                <a:gd name="T12" fmla="*/ 11 w 31"/>
                <a:gd name="T13" fmla="*/ 0 h 12"/>
                <a:gd name="T14" fmla="*/ 19 w 31"/>
                <a:gd name="T15" fmla="*/ 0 h 12"/>
                <a:gd name="T16" fmla="*/ 24 w 31"/>
                <a:gd name="T17" fmla="*/ 1 h 12"/>
                <a:gd name="T18" fmla="*/ 28 w 31"/>
                <a:gd name="T19" fmla="*/ 3 h 12"/>
                <a:gd name="T20" fmla="*/ 30 w 31"/>
                <a:gd name="T21" fmla="*/ 6 h 12"/>
                <a:gd name="T22" fmla="*/ 29 w 31"/>
                <a:gd name="T23" fmla="*/ 10 h 12"/>
                <a:gd name="T24" fmla="*/ 22 w 31"/>
                <a:gd name="T25" fmla="*/ 12 h 12"/>
                <a:gd name="T26" fmla="*/ 12 w 31"/>
                <a:gd name="T27" fmla="*/ 12 h 12"/>
                <a:gd name="T28" fmla="*/ 2 w 31"/>
                <a:gd name="T29" fmla="*/ 9 h 12"/>
                <a:gd name="T30" fmla="*/ 12 w 31"/>
                <a:gd name="T31" fmla="*/ 11 h 12"/>
                <a:gd name="T32" fmla="*/ 22 w 31"/>
                <a:gd name="T33" fmla="*/ 10 h 12"/>
                <a:gd name="T34" fmla="*/ 27 w 31"/>
                <a:gd name="T35" fmla="*/ 8 h 12"/>
                <a:gd name="T36" fmla="*/ 27 w 31"/>
                <a:gd name="T37" fmla="*/ 4 h 12"/>
                <a:gd name="T38" fmla="*/ 23 w 31"/>
                <a:gd name="T39" fmla="*/ 3 h 12"/>
                <a:gd name="T40" fmla="*/ 19 w 31"/>
                <a:gd name="T41" fmla="*/ 2 h 12"/>
                <a:gd name="T42" fmla="*/ 11 w 31"/>
                <a:gd name="T43" fmla="*/ 2 h 12"/>
                <a:gd name="T44" fmla="*/ 1 w 31"/>
                <a:gd name="T45" fmla="*/ 6 h 12"/>
                <a:gd name="T46" fmla="*/ 1 w 31"/>
                <a:gd name="T47" fmla="*/ 6 h 12"/>
                <a:gd name="T48" fmla="*/ 2 w 31"/>
                <a:gd name="T49" fmla="*/ 8 h 12"/>
                <a:gd name="T50" fmla="*/ 2 w 31"/>
                <a:gd name="T5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2">
                  <a:moveTo>
                    <a:pt x="2" y="9"/>
                  </a:moveTo>
                  <a:cubicBezTo>
                    <a:pt x="2" y="9"/>
                    <a:pt x="2" y="9"/>
                    <a:pt x="1" y="9"/>
                  </a:cubicBezTo>
                  <a:cubicBezTo>
                    <a:pt x="1" y="8"/>
                    <a:pt x="0" y="7"/>
                    <a:pt x="0" y="5"/>
                  </a:cubicBezTo>
                  <a:cubicBezTo>
                    <a:pt x="0" y="5"/>
                    <a:pt x="0" y="5"/>
                    <a:pt x="0" y="5"/>
                  </a:cubicBezTo>
                  <a:cubicBezTo>
                    <a:pt x="0" y="5"/>
                    <a:pt x="0" y="5"/>
                    <a:pt x="0" y="5"/>
                  </a:cubicBezTo>
                  <a:cubicBezTo>
                    <a:pt x="1" y="4"/>
                    <a:pt x="2" y="2"/>
                    <a:pt x="4" y="1"/>
                  </a:cubicBezTo>
                  <a:cubicBezTo>
                    <a:pt x="6" y="0"/>
                    <a:pt x="8" y="0"/>
                    <a:pt x="11" y="0"/>
                  </a:cubicBezTo>
                  <a:cubicBezTo>
                    <a:pt x="13" y="0"/>
                    <a:pt x="16" y="0"/>
                    <a:pt x="19" y="0"/>
                  </a:cubicBezTo>
                  <a:cubicBezTo>
                    <a:pt x="21" y="0"/>
                    <a:pt x="22" y="0"/>
                    <a:pt x="24" y="1"/>
                  </a:cubicBezTo>
                  <a:cubicBezTo>
                    <a:pt x="25" y="1"/>
                    <a:pt x="27" y="1"/>
                    <a:pt x="28" y="3"/>
                  </a:cubicBezTo>
                  <a:cubicBezTo>
                    <a:pt x="29" y="3"/>
                    <a:pt x="30" y="5"/>
                    <a:pt x="30" y="6"/>
                  </a:cubicBezTo>
                  <a:cubicBezTo>
                    <a:pt x="31" y="8"/>
                    <a:pt x="30" y="9"/>
                    <a:pt x="29" y="10"/>
                  </a:cubicBezTo>
                  <a:cubicBezTo>
                    <a:pt x="26" y="11"/>
                    <a:pt x="24" y="12"/>
                    <a:pt x="22" y="12"/>
                  </a:cubicBezTo>
                  <a:cubicBezTo>
                    <a:pt x="18" y="12"/>
                    <a:pt x="15" y="12"/>
                    <a:pt x="12" y="12"/>
                  </a:cubicBezTo>
                  <a:cubicBezTo>
                    <a:pt x="5" y="11"/>
                    <a:pt x="2" y="9"/>
                    <a:pt x="2" y="9"/>
                  </a:cubicBezTo>
                  <a:cubicBezTo>
                    <a:pt x="2" y="9"/>
                    <a:pt x="6" y="10"/>
                    <a:pt x="12" y="11"/>
                  </a:cubicBezTo>
                  <a:cubicBezTo>
                    <a:pt x="15" y="11"/>
                    <a:pt x="18" y="11"/>
                    <a:pt x="22" y="10"/>
                  </a:cubicBezTo>
                  <a:cubicBezTo>
                    <a:pt x="24" y="10"/>
                    <a:pt x="26" y="9"/>
                    <a:pt x="27" y="8"/>
                  </a:cubicBezTo>
                  <a:cubicBezTo>
                    <a:pt x="29" y="7"/>
                    <a:pt x="29" y="5"/>
                    <a:pt x="27" y="4"/>
                  </a:cubicBezTo>
                  <a:cubicBezTo>
                    <a:pt x="26" y="3"/>
                    <a:pt x="25" y="3"/>
                    <a:pt x="23" y="3"/>
                  </a:cubicBezTo>
                  <a:cubicBezTo>
                    <a:pt x="22" y="3"/>
                    <a:pt x="20" y="2"/>
                    <a:pt x="19" y="2"/>
                  </a:cubicBezTo>
                  <a:cubicBezTo>
                    <a:pt x="16" y="2"/>
                    <a:pt x="13" y="2"/>
                    <a:pt x="11" y="2"/>
                  </a:cubicBezTo>
                  <a:cubicBezTo>
                    <a:pt x="6" y="2"/>
                    <a:pt x="2" y="3"/>
                    <a:pt x="1" y="6"/>
                  </a:cubicBezTo>
                  <a:cubicBezTo>
                    <a:pt x="1" y="6"/>
                    <a:pt x="1" y="6"/>
                    <a:pt x="1" y="6"/>
                  </a:cubicBezTo>
                  <a:cubicBezTo>
                    <a:pt x="1" y="7"/>
                    <a:pt x="1" y="8"/>
                    <a:pt x="2" y="8"/>
                  </a:cubicBezTo>
                  <a:cubicBezTo>
                    <a:pt x="2"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19">
              <a:extLst>
                <a:ext uri="{FF2B5EF4-FFF2-40B4-BE49-F238E27FC236}">
                  <a16:creationId xmlns:a16="http://schemas.microsoft.com/office/drawing/2014/main" id="{4728DC1B-2540-412F-8218-ADF8B579A74A}"/>
                </a:ext>
              </a:extLst>
            </p:cNvPr>
            <p:cNvSpPr>
              <a:spLocks/>
            </p:cNvSpPr>
            <p:nvPr/>
          </p:nvSpPr>
          <p:spPr bwMode="auto">
            <a:xfrm>
              <a:off x="6609099" y="4755585"/>
              <a:ext cx="57573" cy="25138"/>
            </a:xfrm>
            <a:custGeom>
              <a:avLst/>
              <a:gdLst>
                <a:gd name="T0" fmla="*/ 2 w 30"/>
                <a:gd name="T1" fmla="*/ 9 h 13"/>
                <a:gd name="T2" fmla="*/ 1 w 30"/>
                <a:gd name="T3" fmla="*/ 9 h 13"/>
                <a:gd name="T4" fmla="*/ 0 w 30"/>
                <a:gd name="T5" fmla="*/ 6 h 13"/>
                <a:gd name="T6" fmla="*/ 0 w 30"/>
                <a:gd name="T7" fmla="*/ 6 h 13"/>
                <a:gd name="T8" fmla="*/ 0 w 30"/>
                <a:gd name="T9" fmla="*/ 6 h 13"/>
                <a:gd name="T10" fmla="*/ 4 w 30"/>
                <a:gd name="T11" fmla="*/ 2 h 13"/>
                <a:gd name="T12" fmla="*/ 11 w 30"/>
                <a:gd name="T13" fmla="*/ 0 h 13"/>
                <a:gd name="T14" fmla="*/ 19 w 30"/>
                <a:gd name="T15" fmla="*/ 0 h 13"/>
                <a:gd name="T16" fmla="*/ 23 w 30"/>
                <a:gd name="T17" fmla="*/ 1 h 13"/>
                <a:gd name="T18" fmla="*/ 28 w 30"/>
                <a:gd name="T19" fmla="*/ 3 h 13"/>
                <a:gd name="T20" fmla="*/ 30 w 30"/>
                <a:gd name="T21" fmla="*/ 6 h 13"/>
                <a:gd name="T22" fmla="*/ 28 w 30"/>
                <a:gd name="T23" fmla="*/ 10 h 13"/>
                <a:gd name="T24" fmla="*/ 22 w 30"/>
                <a:gd name="T25" fmla="*/ 12 h 13"/>
                <a:gd name="T26" fmla="*/ 11 w 30"/>
                <a:gd name="T27" fmla="*/ 12 h 13"/>
                <a:gd name="T28" fmla="*/ 2 w 30"/>
                <a:gd name="T29" fmla="*/ 9 h 13"/>
                <a:gd name="T30" fmla="*/ 12 w 30"/>
                <a:gd name="T31" fmla="*/ 11 h 13"/>
                <a:gd name="T32" fmla="*/ 22 w 30"/>
                <a:gd name="T33" fmla="*/ 10 h 13"/>
                <a:gd name="T34" fmla="*/ 27 w 30"/>
                <a:gd name="T35" fmla="*/ 9 h 13"/>
                <a:gd name="T36" fmla="*/ 27 w 30"/>
                <a:gd name="T37" fmla="*/ 5 h 13"/>
                <a:gd name="T38" fmla="*/ 23 w 30"/>
                <a:gd name="T39" fmla="*/ 3 h 13"/>
                <a:gd name="T40" fmla="*/ 19 w 30"/>
                <a:gd name="T41" fmla="*/ 2 h 13"/>
                <a:gd name="T42" fmla="*/ 11 w 30"/>
                <a:gd name="T43" fmla="*/ 2 h 13"/>
                <a:gd name="T44" fmla="*/ 1 w 30"/>
                <a:gd name="T45" fmla="*/ 6 h 13"/>
                <a:gd name="T46" fmla="*/ 1 w 30"/>
                <a:gd name="T47" fmla="*/ 6 h 13"/>
                <a:gd name="T48" fmla="*/ 1 w 30"/>
                <a:gd name="T49" fmla="*/ 9 h 13"/>
                <a:gd name="T50" fmla="*/ 2 w 30"/>
                <a:gd name="T5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3">
                  <a:moveTo>
                    <a:pt x="2" y="9"/>
                  </a:moveTo>
                  <a:cubicBezTo>
                    <a:pt x="2" y="9"/>
                    <a:pt x="2" y="10"/>
                    <a:pt x="1" y="9"/>
                  </a:cubicBezTo>
                  <a:cubicBezTo>
                    <a:pt x="0" y="8"/>
                    <a:pt x="0" y="7"/>
                    <a:pt x="0" y="6"/>
                  </a:cubicBezTo>
                  <a:cubicBezTo>
                    <a:pt x="0" y="6"/>
                    <a:pt x="0" y="6"/>
                    <a:pt x="0" y="6"/>
                  </a:cubicBezTo>
                  <a:cubicBezTo>
                    <a:pt x="0" y="6"/>
                    <a:pt x="0" y="6"/>
                    <a:pt x="0" y="6"/>
                  </a:cubicBezTo>
                  <a:cubicBezTo>
                    <a:pt x="1" y="4"/>
                    <a:pt x="2" y="3"/>
                    <a:pt x="4" y="2"/>
                  </a:cubicBezTo>
                  <a:cubicBezTo>
                    <a:pt x="6" y="1"/>
                    <a:pt x="8" y="0"/>
                    <a:pt x="11" y="0"/>
                  </a:cubicBezTo>
                  <a:cubicBezTo>
                    <a:pt x="13" y="0"/>
                    <a:pt x="16" y="0"/>
                    <a:pt x="19" y="0"/>
                  </a:cubicBezTo>
                  <a:cubicBezTo>
                    <a:pt x="20" y="1"/>
                    <a:pt x="22" y="1"/>
                    <a:pt x="23" y="1"/>
                  </a:cubicBezTo>
                  <a:cubicBezTo>
                    <a:pt x="25" y="1"/>
                    <a:pt x="27" y="2"/>
                    <a:pt x="28" y="3"/>
                  </a:cubicBezTo>
                  <a:cubicBezTo>
                    <a:pt x="29" y="4"/>
                    <a:pt x="30" y="5"/>
                    <a:pt x="30" y="6"/>
                  </a:cubicBezTo>
                  <a:cubicBezTo>
                    <a:pt x="30" y="8"/>
                    <a:pt x="29" y="9"/>
                    <a:pt x="28" y="10"/>
                  </a:cubicBezTo>
                  <a:cubicBezTo>
                    <a:pt x="26" y="12"/>
                    <a:pt x="24" y="12"/>
                    <a:pt x="22" y="12"/>
                  </a:cubicBezTo>
                  <a:cubicBezTo>
                    <a:pt x="18" y="13"/>
                    <a:pt x="14" y="13"/>
                    <a:pt x="11" y="12"/>
                  </a:cubicBezTo>
                  <a:cubicBezTo>
                    <a:pt x="5" y="12"/>
                    <a:pt x="2" y="10"/>
                    <a:pt x="2" y="9"/>
                  </a:cubicBezTo>
                  <a:cubicBezTo>
                    <a:pt x="2" y="9"/>
                    <a:pt x="6" y="11"/>
                    <a:pt x="12" y="11"/>
                  </a:cubicBezTo>
                  <a:cubicBezTo>
                    <a:pt x="14" y="11"/>
                    <a:pt x="18" y="11"/>
                    <a:pt x="22" y="10"/>
                  </a:cubicBezTo>
                  <a:cubicBezTo>
                    <a:pt x="24" y="10"/>
                    <a:pt x="26" y="10"/>
                    <a:pt x="27" y="9"/>
                  </a:cubicBezTo>
                  <a:cubicBezTo>
                    <a:pt x="29" y="8"/>
                    <a:pt x="28" y="6"/>
                    <a:pt x="27" y="5"/>
                  </a:cubicBezTo>
                  <a:cubicBezTo>
                    <a:pt x="26" y="4"/>
                    <a:pt x="24" y="3"/>
                    <a:pt x="23" y="3"/>
                  </a:cubicBezTo>
                  <a:cubicBezTo>
                    <a:pt x="22" y="3"/>
                    <a:pt x="20" y="3"/>
                    <a:pt x="19" y="2"/>
                  </a:cubicBezTo>
                  <a:cubicBezTo>
                    <a:pt x="16" y="2"/>
                    <a:pt x="13" y="2"/>
                    <a:pt x="11" y="2"/>
                  </a:cubicBezTo>
                  <a:cubicBezTo>
                    <a:pt x="6" y="2"/>
                    <a:pt x="2" y="4"/>
                    <a:pt x="1" y="6"/>
                  </a:cubicBezTo>
                  <a:cubicBezTo>
                    <a:pt x="1" y="6"/>
                    <a:pt x="1" y="6"/>
                    <a:pt x="1" y="6"/>
                  </a:cubicBezTo>
                  <a:cubicBezTo>
                    <a:pt x="1" y="7"/>
                    <a:pt x="1" y="8"/>
                    <a:pt x="1" y="9"/>
                  </a:cubicBezTo>
                  <a:cubicBezTo>
                    <a:pt x="2" y="9"/>
                    <a:pt x="2" y="9"/>
                    <a:pt x="2" y="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0">
              <a:extLst>
                <a:ext uri="{FF2B5EF4-FFF2-40B4-BE49-F238E27FC236}">
                  <a16:creationId xmlns:a16="http://schemas.microsoft.com/office/drawing/2014/main" id="{1B747D0E-3E21-42EF-B0C4-E4B2609481E1}"/>
                </a:ext>
              </a:extLst>
            </p:cNvPr>
            <p:cNvSpPr>
              <a:spLocks/>
            </p:cNvSpPr>
            <p:nvPr/>
          </p:nvSpPr>
          <p:spPr bwMode="auto">
            <a:xfrm>
              <a:off x="7609742" y="4724771"/>
              <a:ext cx="46221" cy="229483"/>
            </a:xfrm>
            <a:custGeom>
              <a:avLst/>
              <a:gdLst>
                <a:gd name="T0" fmla="*/ 0 w 24"/>
                <a:gd name="T1" fmla="*/ 0 h 119"/>
                <a:gd name="T2" fmla="*/ 1 w 24"/>
                <a:gd name="T3" fmla="*/ 0 h 119"/>
                <a:gd name="T4" fmla="*/ 4 w 24"/>
                <a:gd name="T5" fmla="*/ 1 h 119"/>
                <a:gd name="T6" fmla="*/ 14 w 24"/>
                <a:gd name="T7" fmla="*/ 7 h 119"/>
                <a:gd name="T8" fmla="*/ 20 w 24"/>
                <a:gd name="T9" fmla="*/ 24 h 119"/>
                <a:gd name="T10" fmla="*/ 10 w 24"/>
                <a:gd name="T11" fmla="*/ 43 h 119"/>
                <a:gd name="T12" fmla="*/ 9 w 24"/>
                <a:gd name="T13" fmla="*/ 41 h 119"/>
                <a:gd name="T14" fmla="*/ 24 w 24"/>
                <a:gd name="T15" fmla="*/ 60 h 119"/>
                <a:gd name="T16" fmla="*/ 7 w 24"/>
                <a:gd name="T17" fmla="*/ 80 h 119"/>
                <a:gd name="T18" fmla="*/ 7 w 24"/>
                <a:gd name="T19" fmla="*/ 78 h 119"/>
                <a:gd name="T20" fmla="*/ 19 w 24"/>
                <a:gd name="T21" fmla="*/ 95 h 119"/>
                <a:gd name="T22" fmla="*/ 14 w 24"/>
                <a:gd name="T23" fmla="*/ 111 h 119"/>
                <a:gd name="T24" fmla="*/ 6 w 24"/>
                <a:gd name="T25" fmla="*/ 118 h 119"/>
                <a:gd name="T26" fmla="*/ 3 w 24"/>
                <a:gd name="T27" fmla="*/ 119 h 119"/>
                <a:gd name="T28" fmla="*/ 2 w 24"/>
                <a:gd name="T29" fmla="*/ 119 h 119"/>
                <a:gd name="T30" fmla="*/ 5 w 24"/>
                <a:gd name="T31" fmla="*/ 117 h 119"/>
                <a:gd name="T32" fmla="*/ 13 w 24"/>
                <a:gd name="T33" fmla="*/ 110 h 119"/>
                <a:gd name="T34" fmla="*/ 17 w 24"/>
                <a:gd name="T35" fmla="*/ 96 h 119"/>
                <a:gd name="T36" fmla="*/ 6 w 24"/>
                <a:gd name="T37" fmla="*/ 80 h 119"/>
                <a:gd name="T38" fmla="*/ 4 w 24"/>
                <a:gd name="T39" fmla="*/ 78 h 119"/>
                <a:gd name="T40" fmla="*/ 7 w 24"/>
                <a:gd name="T41" fmla="*/ 78 h 119"/>
                <a:gd name="T42" fmla="*/ 22 w 24"/>
                <a:gd name="T43" fmla="*/ 60 h 119"/>
                <a:gd name="T44" fmla="*/ 9 w 24"/>
                <a:gd name="T45" fmla="*/ 43 h 119"/>
                <a:gd name="T46" fmla="*/ 7 w 24"/>
                <a:gd name="T47" fmla="*/ 43 h 119"/>
                <a:gd name="T48" fmla="*/ 9 w 24"/>
                <a:gd name="T49" fmla="*/ 42 h 119"/>
                <a:gd name="T50" fmla="*/ 19 w 24"/>
                <a:gd name="T51" fmla="*/ 24 h 119"/>
                <a:gd name="T52" fmla="*/ 13 w 24"/>
                <a:gd name="T53" fmla="*/ 8 h 119"/>
                <a:gd name="T54" fmla="*/ 4 w 24"/>
                <a:gd name="T55" fmla="*/ 2 h 119"/>
                <a:gd name="T56" fmla="*/ 0 w 24"/>
                <a:gd name="T5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119">
                  <a:moveTo>
                    <a:pt x="0" y="0"/>
                  </a:moveTo>
                  <a:cubicBezTo>
                    <a:pt x="0" y="0"/>
                    <a:pt x="1" y="0"/>
                    <a:pt x="1" y="0"/>
                  </a:cubicBezTo>
                  <a:cubicBezTo>
                    <a:pt x="2" y="0"/>
                    <a:pt x="3" y="1"/>
                    <a:pt x="4" y="1"/>
                  </a:cubicBezTo>
                  <a:cubicBezTo>
                    <a:pt x="7" y="2"/>
                    <a:pt x="11" y="4"/>
                    <a:pt x="14" y="7"/>
                  </a:cubicBezTo>
                  <a:cubicBezTo>
                    <a:pt x="17" y="11"/>
                    <a:pt x="21" y="17"/>
                    <a:pt x="20" y="24"/>
                  </a:cubicBezTo>
                  <a:cubicBezTo>
                    <a:pt x="20" y="31"/>
                    <a:pt x="17" y="38"/>
                    <a:pt x="10" y="43"/>
                  </a:cubicBezTo>
                  <a:cubicBezTo>
                    <a:pt x="9" y="41"/>
                    <a:pt x="9" y="41"/>
                    <a:pt x="9" y="41"/>
                  </a:cubicBezTo>
                  <a:cubicBezTo>
                    <a:pt x="17" y="44"/>
                    <a:pt x="23" y="51"/>
                    <a:pt x="24" y="60"/>
                  </a:cubicBezTo>
                  <a:cubicBezTo>
                    <a:pt x="24" y="70"/>
                    <a:pt x="16" y="79"/>
                    <a:pt x="7" y="80"/>
                  </a:cubicBezTo>
                  <a:cubicBezTo>
                    <a:pt x="7" y="78"/>
                    <a:pt x="7" y="78"/>
                    <a:pt x="7" y="78"/>
                  </a:cubicBezTo>
                  <a:cubicBezTo>
                    <a:pt x="14" y="82"/>
                    <a:pt x="18" y="89"/>
                    <a:pt x="19" y="95"/>
                  </a:cubicBezTo>
                  <a:cubicBezTo>
                    <a:pt x="19" y="102"/>
                    <a:pt x="17" y="108"/>
                    <a:pt x="14" y="111"/>
                  </a:cubicBezTo>
                  <a:cubicBezTo>
                    <a:pt x="11" y="115"/>
                    <a:pt x="8" y="117"/>
                    <a:pt x="6" y="118"/>
                  </a:cubicBezTo>
                  <a:cubicBezTo>
                    <a:pt x="5" y="118"/>
                    <a:pt x="4" y="119"/>
                    <a:pt x="3" y="119"/>
                  </a:cubicBezTo>
                  <a:cubicBezTo>
                    <a:pt x="2" y="119"/>
                    <a:pt x="2" y="119"/>
                    <a:pt x="2" y="119"/>
                  </a:cubicBezTo>
                  <a:cubicBezTo>
                    <a:pt x="2" y="119"/>
                    <a:pt x="3" y="118"/>
                    <a:pt x="5" y="117"/>
                  </a:cubicBezTo>
                  <a:cubicBezTo>
                    <a:pt x="8" y="116"/>
                    <a:pt x="11" y="114"/>
                    <a:pt x="13" y="110"/>
                  </a:cubicBezTo>
                  <a:cubicBezTo>
                    <a:pt x="16" y="107"/>
                    <a:pt x="18" y="102"/>
                    <a:pt x="17" y="96"/>
                  </a:cubicBezTo>
                  <a:cubicBezTo>
                    <a:pt x="16" y="90"/>
                    <a:pt x="12" y="83"/>
                    <a:pt x="6" y="80"/>
                  </a:cubicBezTo>
                  <a:cubicBezTo>
                    <a:pt x="4" y="78"/>
                    <a:pt x="4" y="78"/>
                    <a:pt x="4" y="78"/>
                  </a:cubicBezTo>
                  <a:cubicBezTo>
                    <a:pt x="7" y="78"/>
                    <a:pt x="7" y="78"/>
                    <a:pt x="7" y="78"/>
                  </a:cubicBezTo>
                  <a:cubicBezTo>
                    <a:pt x="14" y="77"/>
                    <a:pt x="22" y="69"/>
                    <a:pt x="22" y="60"/>
                  </a:cubicBezTo>
                  <a:cubicBezTo>
                    <a:pt x="21" y="52"/>
                    <a:pt x="15" y="45"/>
                    <a:pt x="9" y="43"/>
                  </a:cubicBezTo>
                  <a:cubicBezTo>
                    <a:pt x="7" y="43"/>
                    <a:pt x="7" y="43"/>
                    <a:pt x="7" y="43"/>
                  </a:cubicBezTo>
                  <a:cubicBezTo>
                    <a:pt x="9" y="42"/>
                    <a:pt x="9" y="42"/>
                    <a:pt x="9" y="42"/>
                  </a:cubicBezTo>
                  <a:cubicBezTo>
                    <a:pt x="15" y="37"/>
                    <a:pt x="18" y="30"/>
                    <a:pt x="19" y="24"/>
                  </a:cubicBezTo>
                  <a:cubicBezTo>
                    <a:pt x="19" y="17"/>
                    <a:pt x="16" y="12"/>
                    <a:pt x="13" y="8"/>
                  </a:cubicBezTo>
                  <a:cubicBezTo>
                    <a:pt x="10" y="5"/>
                    <a:pt x="7" y="3"/>
                    <a:pt x="4" y="2"/>
                  </a:cubicBezTo>
                  <a:cubicBezTo>
                    <a:pt x="2" y="1"/>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1">
              <a:extLst>
                <a:ext uri="{FF2B5EF4-FFF2-40B4-BE49-F238E27FC236}">
                  <a16:creationId xmlns:a16="http://schemas.microsoft.com/office/drawing/2014/main" id="{B773A8B9-DF5C-458C-8C05-58F65A663D8B}"/>
                </a:ext>
              </a:extLst>
            </p:cNvPr>
            <p:cNvSpPr>
              <a:spLocks/>
            </p:cNvSpPr>
            <p:nvPr/>
          </p:nvSpPr>
          <p:spPr bwMode="auto">
            <a:xfrm>
              <a:off x="7555412" y="4758018"/>
              <a:ext cx="57573" cy="22705"/>
            </a:xfrm>
            <a:custGeom>
              <a:avLst/>
              <a:gdLst>
                <a:gd name="T0" fmla="*/ 28 w 30"/>
                <a:gd name="T1" fmla="*/ 3 h 12"/>
                <a:gd name="T2" fmla="*/ 29 w 30"/>
                <a:gd name="T3" fmla="*/ 3 h 12"/>
                <a:gd name="T4" fmla="*/ 30 w 30"/>
                <a:gd name="T5" fmla="*/ 7 h 12"/>
                <a:gd name="T6" fmla="*/ 30 w 30"/>
                <a:gd name="T7" fmla="*/ 7 h 12"/>
                <a:gd name="T8" fmla="*/ 30 w 30"/>
                <a:gd name="T9" fmla="*/ 7 h 12"/>
                <a:gd name="T10" fmla="*/ 26 w 30"/>
                <a:gd name="T11" fmla="*/ 11 h 12"/>
                <a:gd name="T12" fmla="*/ 19 w 30"/>
                <a:gd name="T13" fmla="*/ 12 h 12"/>
                <a:gd name="T14" fmla="*/ 11 w 30"/>
                <a:gd name="T15" fmla="*/ 12 h 12"/>
                <a:gd name="T16" fmla="*/ 7 w 30"/>
                <a:gd name="T17" fmla="*/ 11 h 12"/>
                <a:gd name="T18" fmla="*/ 2 w 30"/>
                <a:gd name="T19" fmla="*/ 9 h 12"/>
                <a:gd name="T20" fmla="*/ 0 w 30"/>
                <a:gd name="T21" fmla="*/ 6 h 12"/>
                <a:gd name="T22" fmla="*/ 2 w 30"/>
                <a:gd name="T23" fmla="*/ 2 h 12"/>
                <a:gd name="T24" fmla="*/ 8 w 30"/>
                <a:gd name="T25" fmla="*/ 0 h 12"/>
                <a:gd name="T26" fmla="*/ 19 w 30"/>
                <a:gd name="T27" fmla="*/ 0 h 12"/>
                <a:gd name="T28" fmla="*/ 28 w 30"/>
                <a:gd name="T29" fmla="*/ 3 h 12"/>
                <a:gd name="T30" fmla="*/ 19 w 30"/>
                <a:gd name="T31" fmla="*/ 2 h 12"/>
                <a:gd name="T32" fmla="*/ 8 w 30"/>
                <a:gd name="T33" fmla="*/ 2 h 12"/>
                <a:gd name="T34" fmla="*/ 3 w 30"/>
                <a:gd name="T35" fmla="*/ 4 h 12"/>
                <a:gd name="T36" fmla="*/ 3 w 30"/>
                <a:gd name="T37" fmla="*/ 8 h 12"/>
                <a:gd name="T38" fmla="*/ 7 w 30"/>
                <a:gd name="T39" fmla="*/ 9 h 12"/>
                <a:gd name="T40" fmla="*/ 11 w 30"/>
                <a:gd name="T41" fmla="*/ 10 h 12"/>
                <a:gd name="T42" fmla="*/ 19 w 30"/>
                <a:gd name="T43" fmla="*/ 10 h 12"/>
                <a:gd name="T44" fmla="*/ 29 w 30"/>
                <a:gd name="T45" fmla="*/ 6 h 12"/>
                <a:gd name="T46" fmla="*/ 29 w 30"/>
                <a:gd name="T47" fmla="*/ 6 h 12"/>
                <a:gd name="T48" fmla="*/ 29 w 30"/>
                <a:gd name="T49" fmla="*/ 4 h 12"/>
                <a:gd name="T50" fmla="*/ 28 w 30"/>
                <a:gd name="T5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2">
                  <a:moveTo>
                    <a:pt x="28" y="3"/>
                  </a:moveTo>
                  <a:cubicBezTo>
                    <a:pt x="28" y="3"/>
                    <a:pt x="29" y="3"/>
                    <a:pt x="29" y="3"/>
                  </a:cubicBezTo>
                  <a:cubicBezTo>
                    <a:pt x="30" y="4"/>
                    <a:pt x="30" y="5"/>
                    <a:pt x="30" y="7"/>
                  </a:cubicBezTo>
                  <a:cubicBezTo>
                    <a:pt x="30" y="7"/>
                    <a:pt x="30" y="7"/>
                    <a:pt x="30" y="7"/>
                  </a:cubicBezTo>
                  <a:cubicBezTo>
                    <a:pt x="30" y="7"/>
                    <a:pt x="30" y="7"/>
                    <a:pt x="30" y="7"/>
                  </a:cubicBezTo>
                  <a:cubicBezTo>
                    <a:pt x="30" y="8"/>
                    <a:pt x="28" y="10"/>
                    <a:pt x="26" y="11"/>
                  </a:cubicBezTo>
                  <a:cubicBezTo>
                    <a:pt x="24" y="12"/>
                    <a:pt x="22" y="12"/>
                    <a:pt x="19" y="12"/>
                  </a:cubicBezTo>
                  <a:cubicBezTo>
                    <a:pt x="17" y="12"/>
                    <a:pt x="14" y="12"/>
                    <a:pt x="11" y="12"/>
                  </a:cubicBezTo>
                  <a:cubicBezTo>
                    <a:pt x="10" y="12"/>
                    <a:pt x="8" y="12"/>
                    <a:pt x="7" y="11"/>
                  </a:cubicBezTo>
                  <a:cubicBezTo>
                    <a:pt x="5" y="11"/>
                    <a:pt x="4" y="11"/>
                    <a:pt x="2" y="9"/>
                  </a:cubicBezTo>
                  <a:cubicBezTo>
                    <a:pt x="1" y="9"/>
                    <a:pt x="0" y="7"/>
                    <a:pt x="0" y="6"/>
                  </a:cubicBezTo>
                  <a:cubicBezTo>
                    <a:pt x="0" y="4"/>
                    <a:pt x="1" y="3"/>
                    <a:pt x="2" y="2"/>
                  </a:cubicBezTo>
                  <a:cubicBezTo>
                    <a:pt x="4" y="1"/>
                    <a:pt x="6" y="1"/>
                    <a:pt x="8" y="0"/>
                  </a:cubicBezTo>
                  <a:cubicBezTo>
                    <a:pt x="12" y="0"/>
                    <a:pt x="16" y="0"/>
                    <a:pt x="19" y="0"/>
                  </a:cubicBezTo>
                  <a:cubicBezTo>
                    <a:pt x="25" y="1"/>
                    <a:pt x="28" y="3"/>
                    <a:pt x="28" y="3"/>
                  </a:cubicBezTo>
                  <a:cubicBezTo>
                    <a:pt x="28" y="3"/>
                    <a:pt x="25" y="2"/>
                    <a:pt x="19" y="2"/>
                  </a:cubicBezTo>
                  <a:cubicBezTo>
                    <a:pt x="16" y="1"/>
                    <a:pt x="12" y="2"/>
                    <a:pt x="8" y="2"/>
                  </a:cubicBezTo>
                  <a:cubicBezTo>
                    <a:pt x="6" y="2"/>
                    <a:pt x="4" y="3"/>
                    <a:pt x="3" y="4"/>
                  </a:cubicBezTo>
                  <a:cubicBezTo>
                    <a:pt x="2" y="5"/>
                    <a:pt x="2" y="7"/>
                    <a:pt x="3" y="8"/>
                  </a:cubicBezTo>
                  <a:cubicBezTo>
                    <a:pt x="4" y="9"/>
                    <a:pt x="6" y="9"/>
                    <a:pt x="7" y="9"/>
                  </a:cubicBezTo>
                  <a:cubicBezTo>
                    <a:pt x="9" y="10"/>
                    <a:pt x="10" y="10"/>
                    <a:pt x="11" y="10"/>
                  </a:cubicBezTo>
                  <a:cubicBezTo>
                    <a:pt x="14" y="10"/>
                    <a:pt x="17" y="10"/>
                    <a:pt x="19" y="10"/>
                  </a:cubicBezTo>
                  <a:cubicBezTo>
                    <a:pt x="24" y="10"/>
                    <a:pt x="28" y="9"/>
                    <a:pt x="29" y="6"/>
                  </a:cubicBezTo>
                  <a:cubicBezTo>
                    <a:pt x="29" y="6"/>
                    <a:pt x="29" y="6"/>
                    <a:pt x="29" y="6"/>
                  </a:cubicBezTo>
                  <a:cubicBezTo>
                    <a:pt x="29" y="5"/>
                    <a:pt x="29" y="4"/>
                    <a:pt x="29" y="4"/>
                  </a:cubicBezTo>
                  <a:cubicBezTo>
                    <a:pt x="28" y="3"/>
                    <a:pt x="28" y="3"/>
                    <a:pt x="28"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2">
              <a:extLst>
                <a:ext uri="{FF2B5EF4-FFF2-40B4-BE49-F238E27FC236}">
                  <a16:creationId xmlns:a16="http://schemas.microsoft.com/office/drawing/2014/main" id="{F2F11C06-ABB7-4536-98A7-6FF93B04142D}"/>
                </a:ext>
              </a:extLst>
            </p:cNvPr>
            <p:cNvSpPr>
              <a:spLocks/>
            </p:cNvSpPr>
            <p:nvPr/>
          </p:nvSpPr>
          <p:spPr bwMode="auto">
            <a:xfrm>
              <a:off x="7557844" y="4832620"/>
              <a:ext cx="59195" cy="23516"/>
            </a:xfrm>
            <a:custGeom>
              <a:avLst/>
              <a:gdLst>
                <a:gd name="T0" fmla="*/ 29 w 31"/>
                <a:gd name="T1" fmla="*/ 3 h 12"/>
                <a:gd name="T2" fmla="*/ 30 w 31"/>
                <a:gd name="T3" fmla="*/ 3 h 12"/>
                <a:gd name="T4" fmla="*/ 31 w 31"/>
                <a:gd name="T5" fmla="*/ 7 h 12"/>
                <a:gd name="T6" fmla="*/ 31 w 31"/>
                <a:gd name="T7" fmla="*/ 7 h 12"/>
                <a:gd name="T8" fmla="*/ 31 w 31"/>
                <a:gd name="T9" fmla="*/ 7 h 12"/>
                <a:gd name="T10" fmla="*/ 27 w 31"/>
                <a:gd name="T11" fmla="*/ 11 h 12"/>
                <a:gd name="T12" fmla="*/ 20 w 31"/>
                <a:gd name="T13" fmla="*/ 12 h 12"/>
                <a:gd name="T14" fmla="*/ 12 w 31"/>
                <a:gd name="T15" fmla="*/ 12 h 12"/>
                <a:gd name="T16" fmla="*/ 7 w 31"/>
                <a:gd name="T17" fmla="*/ 11 h 12"/>
                <a:gd name="T18" fmla="*/ 3 w 31"/>
                <a:gd name="T19" fmla="*/ 9 h 12"/>
                <a:gd name="T20" fmla="*/ 1 w 31"/>
                <a:gd name="T21" fmla="*/ 6 h 12"/>
                <a:gd name="T22" fmla="*/ 2 w 31"/>
                <a:gd name="T23" fmla="*/ 2 h 12"/>
                <a:gd name="T24" fmla="*/ 9 w 31"/>
                <a:gd name="T25" fmla="*/ 0 h 12"/>
                <a:gd name="T26" fmla="*/ 19 w 31"/>
                <a:gd name="T27" fmla="*/ 0 h 12"/>
                <a:gd name="T28" fmla="*/ 29 w 31"/>
                <a:gd name="T29" fmla="*/ 3 h 12"/>
                <a:gd name="T30" fmla="*/ 19 w 31"/>
                <a:gd name="T31" fmla="*/ 1 h 12"/>
                <a:gd name="T32" fmla="*/ 9 w 31"/>
                <a:gd name="T33" fmla="*/ 2 h 12"/>
                <a:gd name="T34" fmla="*/ 4 w 31"/>
                <a:gd name="T35" fmla="*/ 4 h 12"/>
                <a:gd name="T36" fmla="*/ 4 w 31"/>
                <a:gd name="T37" fmla="*/ 8 h 12"/>
                <a:gd name="T38" fmla="*/ 8 w 31"/>
                <a:gd name="T39" fmla="*/ 9 h 12"/>
                <a:gd name="T40" fmla="*/ 12 w 31"/>
                <a:gd name="T41" fmla="*/ 10 h 12"/>
                <a:gd name="T42" fmla="*/ 20 w 31"/>
                <a:gd name="T43" fmla="*/ 10 h 12"/>
                <a:gd name="T44" fmla="*/ 30 w 31"/>
                <a:gd name="T45" fmla="*/ 6 h 12"/>
                <a:gd name="T46" fmla="*/ 30 w 31"/>
                <a:gd name="T47" fmla="*/ 6 h 12"/>
                <a:gd name="T48" fmla="*/ 29 w 31"/>
                <a:gd name="T49" fmla="*/ 4 h 12"/>
                <a:gd name="T50" fmla="*/ 29 w 31"/>
                <a:gd name="T5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12">
                  <a:moveTo>
                    <a:pt x="29" y="3"/>
                  </a:moveTo>
                  <a:cubicBezTo>
                    <a:pt x="29" y="3"/>
                    <a:pt x="29" y="3"/>
                    <a:pt x="30" y="3"/>
                  </a:cubicBezTo>
                  <a:cubicBezTo>
                    <a:pt x="30" y="4"/>
                    <a:pt x="31" y="5"/>
                    <a:pt x="31" y="7"/>
                  </a:cubicBezTo>
                  <a:cubicBezTo>
                    <a:pt x="31" y="7"/>
                    <a:pt x="31" y="7"/>
                    <a:pt x="31" y="7"/>
                  </a:cubicBezTo>
                  <a:cubicBezTo>
                    <a:pt x="31" y="7"/>
                    <a:pt x="31" y="7"/>
                    <a:pt x="31" y="7"/>
                  </a:cubicBezTo>
                  <a:cubicBezTo>
                    <a:pt x="30" y="8"/>
                    <a:pt x="29" y="10"/>
                    <a:pt x="27" y="11"/>
                  </a:cubicBezTo>
                  <a:cubicBezTo>
                    <a:pt x="25" y="12"/>
                    <a:pt x="23" y="12"/>
                    <a:pt x="20" y="12"/>
                  </a:cubicBezTo>
                  <a:cubicBezTo>
                    <a:pt x="18" y="12"/>
                    <a:pt x="15" y="12"/>
                    <a:pt x="12" y="12"/>
                  </a:cubicBezTo>
                  <a:cubicBezTo>
                    <a:pt x="10" y="12"/>
                    <a:pt x="9" y="12"/>
                    <a:pt x="7" y="11"/>
                  </a:cubicBezTo>
                  <a:cubicBezTo>
                    <a:pt x="6" y="11"/>
                    <a:pt x="4" y="11"/>
                    <a:pt x="3" y="9"/>
                  </a:cubicBezTo>
                  <a:cubicBezTo>
                    <a:pt x="2" y="9"/>
                    <a:pt x="1" y="7"/>
                    <a:pt x="1" y="6"/>
                  </a:cubicBezTo>
                  <a:cubicBezTo>
                    <a:pt x="0" y="4"/>
                    <a:pt x="1" y="3"/>
                    <a:pt x="2" y="2"/>
                  </a:cubicBezTo>
                  <a:cubicBezTo>
                    <a:pt x="4" y="1"/>
                    <a:pt x="7" y="0"/>
                    <a:pt x="9" y="0"/>
                  </a:cubicBezTo>
                  <a:cubicBezTo>
                    <a:pt x="13" y="0"/>
                    <a:pt x="16" y="0"/>
                    <a:pt x="19" y="0"/>
                  </a:cubicBezTo>
                  <a:cubicBezTo>
                    <a:pt x="26" y="1"/>
                    <a:pt x="29" y="3"/>
                    <a:pt x="29" y="3"/>
                  </a:cubicBezTo>
                  <a:cubicBezTo>
                    <a:pt x="29" y="3"/>
                    <a:pt x="25" y="2"/>
                    <a:pt x="19" y="1"/>
                  </a:cubicBezTo>
                  <a:cubicBezTo>
                    <a:pt x="16" y="1"/>
                    <a:pt x="13" y="2"/>
                    <a:pt x="9" y="2"/>
                  </a:cubicBezTo>
                  <a:cubicBezTo>
                    <a:pt x="7" y="2"/>
                    <a:pt x="5" y="3"/>
                    <a:pt x="4" y="4"/>
                  </a:cubicBezTo>
                  <a:cubicBezTo>
                    <a:pt x="2" y="5"/>
                    <a:pt x="2" y="7"/>
                    <a:pt x="4" y="8"/>
                  </a:cubicBezTo>
                  <a:cubicBezTo>
                    <a:pt x="5" y="9"/>
                    <a:pt x="6" y="9"/>
                    <a:pt x="8" y="9"/>
                  </a:cubicBezTo>
                  <a:cubicBezTo>
                    <a:pt x="9" y="10"/>
                    <a:pt x="11" y="10"/>
                    <a:pt x="12" y="10"/>
                  </a:cubicBezTo>
                  <a:cubicBezTo>
                    <a:pt x="15" y="10"/>
                    <a:pt x="18" y="10"/>
                    <a:pt x="20" y="10"/>
                  </a:cubicBezTo>
                  <a:cubicBezTo>
                    <a:pt x="25" y="10"/>
                    <a:pt x="29" y="9"/>
                    <a:pt x="30" y="6"/>
                  </a:cubicBezTo>
                  <a:cubicBezTo>
                    <a:pt x="30" y="6"/>
                    <a:pt x="30" y="6"/>
                    <a:pt x="30" y="6"/>
                  </a:cubicBezTo>
                  <a:cubicBezTo>
                    <a:pt x="30" y="5"/>
                    <a:pt x="30" y="4"/>
                    <a:pt x="29" y="4"/>
                  </a:cubicBezTo>
                  <a:cubicBezTo>
                    <a:pt x="29" y="3"/>
                    <a:pt x="29" y="3"/>
                    <a:pt x="29" y="3"/>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3">
              <a:extLst>
                <a:ext uri="{FF2B5EF4-FFF2-40B4-BE49-F238E27FC236}">
                  <a16:creationId xmlns:a16="http://schemas.microsoft.com/office/drawing/2014/main" id="{18F6ABE3-A315-41DC-87AC-3FCB23CAE219}"/>
                </a:ext>
              </a:extLst>
            </p:cNvPr>
            <p:cNvSpPr>
              <a:spLocks/>
            </p:cNvSpPr>
            <p:nvPr/>
          </p:nvSpPr>
          <p:spPr bwMode="auto">
            <a:xfrm>
              <a:off x="7557844" y="4903979"/>
              <a:ext cx="57573" cy="25138"/>
            </a:xfrm>
            <a:custGeom>
              <a:avLst/>
              <a:gdLst>
                <a:gd name="T0" fmla="*/ 28 w 30"/>
                <a:gd name="T1" fmla="*/ 4 h 13"/>
                <a:gd name="T2" fmla="*/ 29 w 30"/>
                <a:gd name="T3" fmla="*/ 4 h 13"/>
                <a:gd name="T4" fmla="*/ 30 w 30"/>
                <a:gd name="T5" fmla="*/ 7 h 13"/>
                <a:gd name="T6" fmla="*/ 30 w 30"/>
                <a:gd name="T7" fmla="*/ 7 h 13"/>
                <a:gd name="T8" fmla="*/ 30 w 30"/>
                <a:gd name="T9" fmla="*/ 7 h 13"/>
                <a:gd name="T10" fmla="*/ 26 w 30"/>
                <a:gd name="T11" fmla="*/ 11 h 13"/>
                <a:gd name="T12" fmla="*/ 19 w 30"/>
                <a:gd name="T13" fmla="*/ 13 h 13"/>
                <a:gd name="T14" fmla="*/ 11 w 30"/>
                <a:gd name="T15" fmla="*/ 13 h 13"/>
                <a:gd name="T16" fmla="*/ 7 w 30"/>
                <a:gd name="T17" fmla="*/ 12 h 13"/>
                <a:gd name="T18" fmla="*/ 2 w 30"/>
                <a:gd name="T19" fmla="*/ 10 h 13"/>
                <a:gd name="T20" fmla="*/ 0 w 30"/>
                <a:gd name="T21" fmla="*/ 7 h 13"/>
                <a:gd name="T22" fmla="*/ 2 w 30"/>
                <a:gd name="T23" fmla="*/ 3 h 13"/>
                <a:gd name="T24" fmla="*/ 8 w 30"/>
                <a:gd name="T25" fmla="*/ 1 h 13"/>
                <a:gd name="T26" fmla="*/ 19 w 30"/>
                <a:gd name="T27" fmla="*/ 1 h 13"/>
                <a:gd name="T28" fmla="*/ 28 w 30"/>
                <a:gd name="T29" fmla="*/ 4 h 13"/>
                <a:gd name="T30" fmla="*/ 18 w 30"/>
                <a:gd name="T31" fmla="*/ 2 h 13"/>
                <a:gd name="T32" fmla="*/ 8 w 30"/>
                <a:gd name="T33" fmla="*/ 3 h 13"/>
                <a:gd name="T34" fmla="*/ 3 w 30"/>
                <a:gd name="T35" fmla="*/ 4 h 13"/>
                <a:gd name="T36" fmla="*/ 3 w 30"/>
                <a:gd name="T37" fmla="*/ 8 h 13"/>
                <a:gd name="T38" fmla="*/ 7 w 30"/>
                <a:gd name="T39" fmla="*/ 10 h 13"/>
                <a:gd name="T40" fmla="*/ 11 w 30"/>
                <a:gd name="T41" fmla="*/ 11 h 13"/>
                <a:gd name="T42" fmla="*/ 19 w 30"/>
                <a:gd name="T43" fmla="*/ 11 h 13"/>
                <a:gd name="T44" fmla="*/ 29 w 30"/>
                <a:gd name="T45" fmla="*/ 7 h 13"/>
                <a:gd name="T46" fmla="*/ 29 w 30"/>
                <a:gd name="T47" fmla="*/ 7 h 13"/>
                <a:gd name="T48" fmla="*/ 29 w 30"/>
                <a:gd name="T49" fmla="*/ 4 h 13"/>
                <a:gd name="T50" fmla="*/ 28 w 30"/>
                <a:gd name="T5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3">
                  <a:moveTo>
                    <a:pt x="28" y="4"/>
                  </a:moveTo>
                  <a:cubicBezTo>
                    <a:pt x="28" y="4"/>
                    <a:pt x="28" y="4"/>
                    <a:pt x="29" y="4"/>
                  </a:cubicBezTo>
                  <a:cubicBezTo>
                    <a:pt x="30" y="5"/>
                    <a:pt x="30" y="6"/>
                    <a:pt x="30" y="7"/>
                  </a:cubicBezTo>
                  <a:cubicBezTo>
                    <a:pt x="30" y="7"/>
                    <a:pt x="30" y="7"/>
                    <a:pt x="30" y="7"/>
                  </a:cubicBezTo>
                  <a:cubicBezTo>
                    <a:pt x="30" y="7"/>
                    <a:pt x="30" y="7"/>
                    <a:pt x="30" y="7"/>
                  </a:cubicBezTo>
                  <a:cubicBezTo>
                    <a:pt x="29" y="9"/>
                    <a:pt x="28" y="10"/>
                    <a:pt x="26" y="11"/>
                  </a:cubicBezTo>
                  <a:cubicBezTo>
                    <a:pt x="24" y="12"/>
                    <a:pt x="22" y="13"/>
                    <a:pt x="19" y="13"/>
                  </a:cubicBezTo>
                  <a:cubicBezTo>
                    <a:pt x="17" y="13"/>
                    <a:pt x="14" y="13"/>
                    <a:pt x="11" y="13"/>
                  </a:cubicBezTo>
                  <a:cubicBezTo>
                    <a:pt x="10" y="12"/>
                    <a:pt x="8" y="12"/>
                    <a:pt x="7" y="12"/>
                  </a:cubicBezTo>
                  <a:cubicBezTo>
                    <a:pt x="5" y="12"/>
                    <a:pt x="3" y="11"/>
                    <a:pt x="2" y="10"/>
                  </a:cubicBezTo>
                  <a:cubicBezTo>
                    <a:pt x="1" y="9"/>
                    <a:pt x="0" y="8"/>
                    <a:pt x="0" y="7"/>
                  </a:cubicBezTo>
                  <a:cubicBezTo>
                    <a:pt x="0" y="5"/>
                    <a:pt x="0" y="4"/>
                    <a:pt x="2" y="3"/>
                  </a:cubicBezTo>
                  <a:cubicBezTo>
                    <a:pt x="4" y="1"/>
                    <a:pt x="6" y="1"/>
                    <a:pt x="8" y="1"/>
                  </a:cubicBezTo>
                  <a:cubicBezTo>
                    <a:pt x="12" y="0"/>
                    <a:pt x="16" y="0"/>
                    <a:pt x="19" y="1"/>
                  </a:cubicBezTo>
                  <a:cubicBezTo>
                    <a:pt x="25" y="1"/>
                    <a:pt x="28" y="3"/>
                    <a:pt x="28" y="4"/>
                  </a:cubicBezTo>
                  <a:cubicBezTo>
                    <a:pt x="28" y="4"/>
                    <a:pt x="24" y="2"/>
                    <a:pt x="18" y="2"/>
                  </a:cubicBezTo>
                  <a:cubicBezTo>
                    <a:pt x="16" y="2"/>
                    <a:pt x="12" y="2"/>
                    <a:pt x="8" y="3"/>
                  </a:cubicBezTo>
                  <a:cubicBezTo>
                    <a:pt x="6" y="3"/>
                    <a:pt x="4" y="3"/>
                    <a:pt x="3" y="4"/>
                  </a:cubicBezTo>
                  <a:cubicBezTo>
                    <a:pt x="1" y="5"/>
                    <a:pt x="2" y="7"/>
                    <a:pt x="3" y="8"/>
                  </a:cubicBezTo>
                  <a:cubicBezTo>
                    <a:pt x="4" y="9"/>
                    <a:pt x="5" y="10"/>
                    <a:pt x="7" y="10"/>
                  </a:cubicBezTo>
                  <a:cubicBezTo>
                    <a:pt x="8" y="10"/>
                    <a:pt x="10" y="10"/>
                    <a:pt x="11" y="11"/>
                  </a:cubicBezTo>
                  <a:cubicBezTo>
                    <a:pt x="14" y="11"/>
                    <a:pt x="17" y="11"/>
                    <a:pt x="19" y="11"/>
                  </a:cubicBezTo>
                  <a:cubicBezTo>
                    <a:pt x="24" y="11"/>
                    <a:pt x="28" y="9"/>
                    <a:pt x="29" y="7"/>
                  </a:cubicBezTo>
                  <a:cubicBezTo>
                    <a:pt x="29" y="7"/>
                    <a:pt x="29" y="7"/>
                    <a:pt x="29" y="7"/>
                  </a:cubicBezTo>
                  <a:cubicBezTo>
                    <a:pt x="29" y="6"/>
                    <a:pt x="29" y="5"/>
                    <a:pt x="29" y="4"/>
                  </a:cubicBezTo>
                  <a:cubicBezTo>
                    <a:pt x="28" y="4"/>
                    <a:pt x="28" y="4"/>
                    <a:pt x="28" y="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24">
              <a:extLst>
                <a:ext uri="{FF2B5EF4-FFF2-40B4-BE49-F238E27FC236}">
                  <a16:creationId xmlns:a16="http://schemas.microsoft.com/office/drawing/2014/main" id="{5B9C56B0-5C7B-4AC6-BAF0-BF48BBB8A93C}"/>
                </a:ext>
              </a:extLst>
            </p:cNvPr>
            <p:cNvSpPr>
              <a:spLocks noChangeArrowheads="1"/>
            </p:cNvSpPr>
            <p:nvPr/>
          </p:nvSpPr>
          <p:spPr bwMode="auto">
            <a:xfrm>
              <a:off x="6815066" y="4828566"/>
              <a:ext cx="61709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225">
              <a:extLst>
                <a:ext uri="{FF2B5EF4-FFF2-40B4-BE49-F238E27FC236}">
                  <a16:creationId xmlns:a16="http://schemas.microsoft.com/office/drawing/2014/main" id="{067B5E2F-46C2-4145-8CE1-CC92E37ADB89}"/>
                </a:ext>
              </a:extLst>
            </p:cNvPr>
            <p:cNvSpPr>
              <a:spLocks noChangeArrowheads="1"/>
            </p:cNvSpPr>
            <p:nvPr/>
          </p:nvSpPr>
          <p:spPr bwMode="auto">
            <a:xfrm>
              <a:off x="6968325" y="4869110"/>
              <a:ext cx="291111"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26">
              <a:extLst>
                <a:ext uri="{FF2B5EF4-FFF2-40B4-BE49-F238E27FC236}">
                  <a16:creationId xmlns:a16="http://schemas.microsoft.com/office/drawing/2014/main" id="{7620491C-7662-4BE9-9D67-23B9F026F25D}"/>
                </a:ext>
              </a:extLst>
            </p:cNvPr>
            <p:cNvSpPr>
              <a:spLocks/>
            </p:cNvSpPr>
            <p:nvPr/>
          </p:nvSpPr>
          <p:spPr bwMode="auto">
            <a:xfrm>
              <a:off x="6610720" y="3773593"/>
              <a:ext cx="1227693" cy="215698"/>
            </a:xfrm>
            <a:custGeom>
              <a:avLst/>
              <a:gdLst>
                <a:gd name="T0" fmla="*/ 61 w 638"/>
                <a:gd name="T1" fmla="*/ 3 h 112"/>
                <a:gd name="T2" fmla="*/ 58 w 638"/>
                <a:gd name="T3" fmla="*/ 111 h 112"/>
                <a:gd name="T4" fmla="*/ 62 w 638"/>
                <a:gd name="T5" fmla="*/ 112 h 112"/>
                <a:gd name="T6" fmla="*/ 593 w 638"/>
                <a:gd name="T7" fmla="*/ 109 h 112"/>
                <a:gd name="T8" fmla="*/ 600 w 638"/>
                <a:gd name="T9" fmla="*/ 0 h 112"/>
                <a:gd name="T10" fmla="*/ 61 w 638"/>
                <a:gd name="T11" fmla="*/ 3 h 112"/>
              </a:gdLst>
              <a:ahLst/>
              <a:cxnLst>
                <a:cxn ang="0">
                  <a:pos x="T0" y="T1"/>
                </a:cxn>
                <a:cxn ang="0">
                  <a:pos x="T2" y="T3"/>
                </a:cxn>
                <a:cxn ang="0">
                  <a:pos x="T4" y="T5"/>
                </a:cxn>
                <a:cxn ang="0">
                  <a:pos x="T6" y="T7"/>
                </a:cxn>
                <a:cxn ang="0">
                  <a:pos x="T8" y="T9"/>
                </a:cxn>
                <a:cxn ang="0">
                  <a:pos x="T10" y="T11"/>
                </a:cxn>
              </a:cxnLst>
              <a:rect l="0" t="0" r="r" b="b"/>
              <a:pathLst>
                <a:path w="638" h="112">
                  <a:moveTo>
                    <a:pt x="61" y="3"/>
                  </a:moveTo>
                  <a:cubicBezTo>
                    <a:pt x="61" y="3"/>
                    <a:pt x="0" y="50"/>
                    <a:pt x="58" y="111"/>
                  </a:cubicBezTo>
                  <a:cubicBezTo>
                    <a:pt x="59" y="112"/>
                    <a:pt x="60" y="112"/>
                    <a:pt x="62" y="112"/>
                  </a:cubicBezTo>
                  <a:cubicBezTo>
                    <a:pt x="593" y="109"/>
                    <a:pt x="593" y="109"/>
                    <a:pt x="593" y="109"/>
                  </a:cubicBezTo>
                  <a:cubicBezTo>
                    <a:pt x="593" y="109"/>
                    <a:pt x="638" y="58"/>
                    <a:pt x="600" y="0"/>
                  </a:cubicBezTo>
                  <a:lnTo>
                    <a:pt x="61" y="3"/>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227">
              <a:extLst>
                <a:ext uri="{FF2B5EF4-FFF2-40B4-BE49-F238E27FC236}">
                  <a16:creationId xmlns:a16="http://schemas.microsoft.com/office/drawing/2014/main" id="{AC4EF8C0-6192-4199-9929-3EF659395D9F}"/>
                </a:ext>
              </a:extLst>
            </p:cNvPr>
            <p:cNvSpPr>
              <a:spLocks noChangeArrowheads="1"/>
            </p:cNvSpPr>
            <p:nvPr/>
          </p:nvSpPr>
          <p:spPr bwMode="auto">
            <a:xfrm>
              <a:off x="6956972" y="3871711"/>
              <a:ext cx="567626"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228">
              <a:extLst>
                <a:ext uri="{FF2B5EF4-FFF2-40B4-BE49-F238E27FC236}">
                  <a16:creationId xmlns:a16="http://schemas.microsoft.com/office/drawing/2014/main" id="{C42C9AD1-8D32-445B-8EC3-5EF750A0BC58}"/>
                </a:ext>
              </a:extLst>
            </p:cNvPr>
            <p:cNvSpPr>
              <a:spLocks noChangeArrowheads="1"/>
            </p:cNvSpPr>
            <p:nvPr/>
          </p:nvSpPr>
          <p:spPr bwMode="auto">
            <a:xfrm>
              <a:off x="7099689" y="3909012"/>
              <a:ext cx="26759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29">
              <a:extLst>
                <a:ext uri="{FF2B5EF4-FFF2-40B4-BE49-F238E27FC236}">
                  <a16:creationId xmlns:a16="http://schemas.microsoft.com/office/drawing/2014/main" id="{9A126D77-6D2C-4E29-BCBC-7EBBC2F1D5F9}"/>
                </a:ext>
              </a:extLst>
            </p:cNvPr>
            <p:cNvSpPr>
              <a:spLocks/>
            </p:cNvSpPr>
            <p:nvPr/>
          </p:nvSpPr>
          <p:spPr bwMode="auto">
            <a:xfrm>
              <a:off x="7626770" y="3770349"/>
              <a:ext cx="19461" cy="211643"/>
            </a:xfrm>
            <a:custGeom>
              <a:avLst/>
              <a:gdLst>
                <a:gd name="T0" fmla="*/ 2 w 10"/>
                <a:gd name="T1" fmla="*/ 110 h 110"/>
                <a:gd name="T2" fmla="*/ 4 w 10"/>
                <a:gd name="T3" fmla="*/ 94 h 110"/>
                <a:gd name="T4" fmla="*/ 8 w 10"/>
                <a:gd name="T5" fmla="*/ 55 h 110"/>
                <a:gd name="T6" fmla="*/ 4 w 10"/>
                <a:gd name="T7" fmla="*/ 16 h 110"/>
                <a:gd name="T8" fmla="*/ 1 w 10"/>
                <a:gd name="T9" fmla="*/ 0 h 110"/>
                <a:gd name="T10" fmla="*/ 2 w 10"/>
                <a:gd name="T11" fmla="*/ 4 h 110"/>
                <a:gd name="T12" fmla="*/ 5 w 10"/>
                <a:gd name="T13" fmla="*/ 16 h 110"/>
                <a:gd name="T14" fmla="*/ 10 w 10"/>
                <a:gd name="T15" fmla="*/ 55 h 110"/>
                <a:gd name="T16" fmla="*/ 6 w 10"/>
                <a:gd name="T17" fmla="*/ 94 h 110"/>
                <a:gd name="T18" fmla="*/ 3 w 10"/>
                <a:gd name="T19" fmla="*/ 105 h 110"/>
                <a:gd name="T20" fmla="*/ 2 w 10"/>
                <a:gd name="T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0">
                  <a:moveTo>
                    <a:pt x="2" y="110"/>
                  </a:moveTo>
                  <a:cubicBezTo>
                    <a:pt x="1" y="109"/>
                    <a:pt x="3" y="103"/>
                    <a:pt x="4" y="94"/>
                  </a:cubicBezTo>
                  <a:cubicBezTo>
                    <a:pt x="6" y="84"/>
                    <a:pt x="8" y="70"/>
                    <a:pt x="8" y="55"/>
                  </a:cubicBezTo>
                  <a:cubicBezTo>
                    <a:pt x="7" y="40"/>
                    <a:pt x="6" y="26"/>
                    <a:pt x="4" y="16"/>
                  </a:cubicBezTo>
                  <a:cubicBezTo>
                    <a:pt x="2" y="6"/>
                    <a:pt x="0" y="0"/>
                    <a:pt x="1" y="0"/>
                  </a:cubicBezTo>
                  <a:cubicBezTo>
                    <a:pt x="1" y="0"/>
                    <a:pt x="1" y="2"/>
                    <a:pt x="2" y="4"/>
                  </a:cubicBezTo>
                  <a:cubicBezTo>
                    <a:pt x="3" y="7"/>
                    <a:pt x="4" y="11"/>
                    <a:pt x="5" y="16"/>
                  </a:cubicBezTo>
                  <a:cubicBezTo>
                    <a:pt x="7" y="26"/>
                    <a:pt x="9" y="40"/>
                    <a:pt x="10" y="55"/>
                  </a:cubicBezTo>
                  <a:cubicBezTo>
                    <a:pt x="10" y="70"/>
                    <a:pt x="8" y="84"/>
                    <a:pt x="6" y="94"/>
                  </a:cubicBezTo>
                  <a:cubicBezTo>
                    <a:pt x="5" y="99"/>
                    <a:pt x="4" y="103"/>
                    <a:pt x="3" y="105"/>
                  </a:cubicBezTo>
                  <a:cubicBezTo>
                    <a:pt x="2" y="108"/>
                    <a:pt x="2" y="110"/>
                    <a:pt x="2" y="11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30">
              <a:extLst>
                <a:ext uri="{FF2B5EF4-FFF2-40B4-BE49-F238E27FC236}">
                  <a16:creationId xmlns:a16="http://schemas.microsoft.com/office/drawing/2014/main" id="{DC29DBD1-9D5E-45E4-98DA-1B6413374C98}"/>
                </a:ext>
              </a:extLst>
            </p:cNvPr>
            <p:cNvSpPr>
              <a:spLocks/>
            </p:cNvSpPr>
            <p:nvPr/>
          </p:nvSpPr>
          <p:spPr bwMode="auto">
            <a:xfrm>
              <a:off x="7705427" y="3771971"/>
              <a:ext cx="29192" cy="214076"/>
            </a:xfrm>
            <a:custGeom>
              <a:avLst/>
              <a:gdLst>
                <a:gd name="T0" fmla="*/ 0 w 15"/>
                <a:gd name="T1" fmla="*/ 0 h 111"/>
                <a:gd name="T2" fmla="*/ 3 w 15"/>
                <a:gd name="T3" fmla="*/ 4 h 111"/>
                <a:gd name="T4" fmla="*/ 5 w 15"/>
                <a:gd name="T5" fmla="*/ 9 h 111"/>
                <a:gd name="T6" fmla="*/ 8 w 15"/>
                <a:gd name="T7" fmla="*/ 15 h 111"/>
                <a:gd name="T8" fmla="*/ 13 w 15"/>
                <a:gd name="T9" fmla="*/ 33 h 111"/>
                <a:gd name="T10" fmla="*/ 15 w 15"/>
                <a:gd name="T11" fmla="*/ 55 h 111"/>
                <a:gd name="T12" fmla="*/ 13 w 15"/>
                <a:gd name="T13" fmla="*/ 78 h 111"/>
                <a:gd name="T14" fmla="*/ 8 w 15"/>
                <a:gd name="T15" fmla="*/ 95 h 111"/>
                <a:gd name="T16" fmla="*/ 6 w 15"/>
                <a:gd name="T17" fmla="*/ 102 h 111"/>
                <a:gd name="T18" fmla="*/ 3 w 15"/>
                <a:gd name="T19" fmla="*/ 107 h 111"/>
                <a:gd name="T20" fmla="*/ 1 w 15"/>
                <a:gd name="T21" fmla="*/ 111 h 111"/>
                <a:gd name="T22" fmla="*/ 7 w 15"/>
                <a:gd name="T23" fmla="*/ 95 h 111"/>
                <a:gd name="T24" fmla="*/ 11 w 15"/>
                <a:gd name="T25" fmla="*/ 77 h 111"/>
                <a:gd name="T26" fmla="*/ 13 w 15"/>
                <a:gd name="T27" fmla="*/ 55 h 111"/>
                <a:gd name="T28" fmla="*/ 11 w 15"/>
                <a:gd name="T29" fmla="*/ 33 h 111"/>
                <a:gd name="T30" fmla="*/ 6 w 15"/>
                <a:gd name="T31" fmla="*/ 16 h 111"/>
                <a:gd name="T32" fmla="*/ 0 w 15"/>
                <a:gd name="T3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11">
                  <a:moveTo>
                    <a:pt x="0" y="0"/>
                  </a:moveTo>
                  <a:cubicBezTo>
                    <a:pt x="0" y="0"/>
                    <a:pt x="1" y="1"/>
                    <a:pt x="3" y="4"/>
                  </a:cubicBezTo>
                  <a:cubicBezTo>
                    <a:pt x="3" y="5"/>
                    <a:pt x="4" y="7"/>
                    <a:pt x="5" y="9"/>
                  </a:cubicBezTo>
                  <a:cubicBezTo>
                    <a:pt x="6" y="11"/>
                    <a:pt x="7" y="13"/>
                    <a:pt x="8" y="15"/>
                  </a:cubicBezTo>
                  <a:cubicBezTo>
                    <a:pt x="10" y="20"/>
                    <a:pt x="11" y="26"/>
                    <a:pt x="13" y="33"/>
                  </a:cubicBezTo>
                  <a:cubicBezTo>
                    <a:pt x="14" y="40"/>
                    <a:pt x="15" y="47"/>
                    <a:pt x="15" y="55"/>
                  </a:cubicBezTo>
                  <a:cubicBezTo>
                    <a:pt x="15" y="63"/>
                    <a:pt x="14" y="71"/>
                    <a:pt x="13" y="78"/>
                  </a:cubicBezTo>
                  <a:cubicBezTo>
                    <a:pt x="12" y="84"/>
                    <a:pt x="10" y="90"/>
                    <a:pt x="8" y="95"/>
                  </a:cubicBezTo>
                  <a:cubicBezTo>
                    <a:pt x="8" y="98"/>
                    <a:pt x="7" y="100"/>
                    <a:pt x="6" y="102"/>
                  </a:cubicBezTo>
                  <a:cubicBezTo>
                    <a:pt x="5" y="104"/>
                    <a:pt x="4" y="105"/>
                    <a:pt x="3" y="107"/>
                  </a:cubicBezTo>
                  <a:cubicBezTo>
                    <a:pt x="2" y="109"/>
                    <a:pt x="1" y="111"/>
                    <a:pt x="1" y="111"/>
                  </a:cubicBezTo>
                  <a:cubicBezTo>
                    <a:pt x="1" y="110"/>
                    <a:pt x="4" y="105"/>
                    <a:pt x="7" y="95"/>
                  </a:cubicBezTo>
                  <a:cubicBezTo>
                    <a:pt x="9" y="90"/>
                    <a:pt x="10" y="84"/>
                    <a:pt x="11" y="77"/>
                  </a:cubicBezTo>
                  <a:cubicBezTo>
                    <a:pt x="12" y="71"/>
                    <a:pt x="13" y="63"/>
                    <a:pt x="13" y="55"/>
                  </a:cubicBezTo>
                  <a:cubicBezTo>
                    <a:pt x="13" y="47"/>
                    <a:pt x="12" y="40"/>
                    <a:pt x="11" y="33"/>
                  </a:cubicBezTo>
                  <a:cubicBezTo>
                    <a:pt x="10" y="27"/>
                    <a:pt x="8" y="21"/>
                    <a:pt x="6" y="16"/>
                  </a:cubicBezTo>
                  <a:cubicBezTo>
                    <a:pt x="3" y="6"/>
                    <a:pt x="0" y="0"/>
                    <a:pt x="0"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231">
              <a:extLst>
                <a:ext uri="{FF2B5EF4-FFF2-40B4-BE49-F238E27FC236}">
                  <a16:creationId xmlns:a16="http://schemas.microsoft.com/office/drawing/2014/main" id="{14774F96-3D69-4F88-939E-B3D041ADCB04}"/>
                </a:ext>
              </a:extLst>
            </p:cNvPr>
            <p:cNvSpPr>
              <a:spLocks/>
            </p:cNvSpPr>
            <p:nvPr/>
          </p:nvSpPr>
          <p:spPr bwMode="auto">
            <a:xfrm>
              <a:off x="6858854" y="3781702"/>
              <a:ext cx="32436" cy="200291"/>
            </a:xfrm>
            <a:custGeom>
              <a:avLst/>
              <a:gdLst>
                <a:gd name="T0" fmla="*/ 15 w 17"/>
                <a:gd name="T1" fmla="*/ 104 h 104"/>
                <a:gd name="T2" fmla="*/ 13 w 17"/>
                <a:gd name="T3" fmla="*/ 101 h 104"/>
                <a:gd name="T4" fmla="*/ 10 w 17"/>
                <a:gd name="T5" fmla="*/ 96 h 104"/>
                <a:gd name="T6" fmla="*/ 8 w 17"/>
                <a:gd name="T7" fmla="*/ 90 h 104"/>
                <a:gd name="T8" fmla="*/ 2 w 17"/>
                <a:gd name="T9" fmla="*/ 73 h 104"/>
                <a:gd name="T10" fmla="*/ 0 w 17"/>
                <a:gd name="T11" fmla="*/ 52 h 104"/>
                <a:gd name="T12" fmla="*/ 3 w 17"/>
                <a:gd name="T13" fmla="*/ 31 h 104"/>
                <a:gd name="T14" fmla="*/ 9 w 17"/>
                <a:gd name="T15" fmla="*/ 14 h 104"/>
                <a:gd name="T16" fmla="*/ 12 w 17"/>
                <a:gd name="T17" fmla="*/ 8 h 104"/>
                <a:gd name="T18" fmla="*/ 14 w 17"/>
                <a:gd name="T19" fmla="*/ 4 h 104"/>
                <a:gd name="T20" fmla="*/ 17 w 17"/>
                <a:gd name="T21" fmla="*/ 0 h 104"/>
                <a:gd name="T22" fmla="*/ 10 w 17"/>
                <a:gd name="T23" fmla="*/ 15 h 104"/>
                <a:gd name="T24" fmla="*/ 5 w 17"/>
                <a:gd name="T25" fmla="*/ 31 h 104"/>
                <a:gd name="T26" fmla="*/ 2 w 17"/>
                <a:gd name="T27" fmla="*/ 52 h 104"/>
                <a:gd name="T28" fmla="*/ 4 w 17"/>
                <a:gd name="T29" fmla="*/ 73 h 104"/>
                <a:gd name="T30" fmla="*/ 9 w 17"/>
                <a:gd name="T31" fmla="*/ 90 h 104"/>
                <a:gd name="T32" fmla="*/ 15 w 17"/>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04">
                  <a:moveTo>
                    <a:pt x="15" y="104"/>
                  </a:moveTo>
                  <a:cubicBezTo>
                    <a:pt x="15" y="104"/>
                    <a:pt x="14" y="103"/>
                    <a:pt x="13" y="101"/>
                  </a:cubicBezTo>
                  <a:cubicBezTo>
                    <a:pt x="12" y="100"/>
                    <a:pt x="11" y="98"/>
                    <a:pt x="10" y="96"/>
                  </a:cubicBezTo>
                  <a:cubicBezTo>
                    <a:pt x="9" y="95"/>
                    <a:pt x="8" y="93"/>
                    <a:pt x="8" y="90"/>
                  </a:cubicBezTo>
                  <a:cubicBezTo>
                    <a:pt x="6" y="86"/>
                    <a:pt x="4" y="80"/>
                    <a:pt x="2" y="73"/>
                  </a:cubicBezTo>
                  <a:cubicBezTo>
                    <a:pt x="1" y="67"/>
                    <a:pt x="0" y="60"/>
                    <a:pt x="0" y="52"/>
                  </a:cubicBezTo>
                  <a:cubicBezTo>
                    <a:pt x="0" y="44"/>
                    <a:pt x="1" y="37"/>
                    <a:pt x="3" y="31"/>
                  </a:cubicBezTo>
                  <a:cubicBezTo>
                    <a:pt x="5" y="24"/>
                    <a:pt x="6" y="19"/>
                    <a:pt x="9" y="14"/>
                  </a:cubicBezTo>
                  <a:cubicBezTo>
                    <a:pt x="9" y="12"/>
                    <a:pt x="11" y="10"/>
                    <a:pt x="12" y="8"/>
                  </a:cubicBezTo>
                  <a:cubicBezTo>
                    <a:pt x="12" y="6"/>
                    <a:pt x="13" y="5"/>
                    <a:pt x="14" y="4"/>
                  </a:cubicBezTo>
                  <a:cubicBezTo>
                    <a:pt x="16" y="1"/>
                    <a:pt x="17" y="0"/>
                    <a:pt x="17" y="0"/>
                  </a:cubicBezTo>
                  <a:cubicBezTo>
                    <a:pt x="17" y="0"/>
                    <a:pt x="14" y="6"/>
                    <a:pt x="10" y="15"/>
                  </a:cubicBezTo>
                  <a:cubicBezTo>
                    <a:pt x="8" y="19"/>
                    <a:pt x="6" y="25"/>
                    <a:pt x="5" y="31"/>
                  </a:cubicBezTo>
                  <a:cubicBezTo>
                    <a:pt x="3" y="38"/>
                    <a:pt x="3" y="45"/>
                    <a:pt x="2" y="52"/>
                  </a:cubicBezTo>
                  <a:cubicBezTo>
                    <a:pt x="2" y="60"/>
                    <a:pt x="3" y="67"/>
                    <a:pt x="4" y="73"/>
                  </a:cubicBezTo>
                  <a:cubicBezTo>
                    <a:pt x="6" y="79"/>
                    <a:pt x="7" y="85"/>
                    <a:pt x="9" y="90"/>
                  </a:cubicBezTo>
                  <a:cubicBezTo>
                    <a:pt x="12" y="99"/>
                    <a:pt x="16" y="104"/>
                    <a:pt x="15" y="104"/>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232">
              <a:extLst>
                <a:ext uri="{FF2B5EF4-FFF2-40B4-BE49-F238E27FC236}">
                  <a16:creationId xmlns:a16="http://schemas.microsoft.com/office/drawing/2014/main" id="{07FF8D91-61FC-4CA2-B6EB-57FAE770C287}"/>
                </a:ext>
              </a:extLst>
            </p:cNvPr>
            <p:cNvSpPr>
              <a:spLocks/>
            </p:cNvSpPr>
            <p:nvPr/>
          </p:nvSpPr>
          <p:spPr bwMode="auto">
            <a:xfrm>
              <a:off x="6743707" y="3779269"/>
              <a:ext cx="34058" cy="227861"/>
            </a:xfrm>
            <a:custGeom>
              <a:avLst/>
              <a:gdLst>
                <a:gd name="T0" fmla="*/ 18 w 18"/>
                <a:gd name="T1" fmla="*/ 118 h 118"/>
                <a:gd name="T2" fmla="*/ 15 w 18"/>
                <a:gd name="T3" fmla="*/ 114 h 118"/>
                <a:gd name="T4" fmla="*/ 12 w 18"/>
                <a:gd name="T5" fmla="*/ 109 h 118"/>
                <a:gd name="T6" fmla="*/ 9 w 18"/>
                <a:gd name="T7" fmla="*/ 102 h 118"/>
                <a:gd name="T8" fmla="*/ 3 w 18"/>
                <a:gd name="T9" fmla="*/ 84 h 118"/>
                <a:gd name="T10" fmla="*/ 0 w 18"/>
                <a:gd name="T11" fmla="*/ 60 h 118"/>
                <a:gd name="T12" fmla="*/ 2 w 18"/>
                <a:gd name="T13" fmla="*/ 36 h 118"/>
                <a:gd name="T14" fmla="*/ 7 w 18"/>
                <a:gd name="T15" fmla="*/ 17 h 118"/>
                <a:gd name="T16" fmla="*/ 10 w 18"/>
                <a:gd name="T17" fmla="*/ 10 h 118"/>
                <a:gd name="T18" fmla="*/ 13 w 18"/>
                <a:gd name="T19" fmla="*/ 5 h 118"/>
                <a:gd name="T20" fmla="*/ 15 w 18"/>
                <a:gd name="T21" fmla="*/ 0 h 118"/>
                <a:gd name="T22" fmla="*/ 9 w 18"/>
                <a:gd name="T23" fmla="*/ 17 h 118"/>
                <a:gd name="T24" fmla="*/ 4 w 18"/>
                <a:gd name="T25" fmla="*/ 36 h 118"/>
                <a:gd name="T26" fmla="*/ 2 w 18"/>
                <a:gd name="T27" fmla="*/ 60 h 118"/>
                <a:gd name="T28" fmla="*/ 5 w 18"/>
                <a:gd name="T29" fmla="*/ 83 h 118"/>
                <a:gd name="T30" fmla="*/ 11 w 18"/>
                <a:gd name="T31" fmla="*/ 102 h 118"/>
                <a:gd name="T32" fmla="*/ 18 w 18"/>
                <a:gd name="T3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18">
                  <a:moveTo>
                    <a:pt x="18" y="118"/>
                  </a:moveTo>
                  <a:cubicBezTo>
                    <a:pt x="18" y="118"/>
                    <a:pt x="17" y="117"/>
                    <a:pt x="15" y="114"/>
                  </a:cubicBezTo>
                  <a:cubicBezTo>
                    <a:pt x="14" y="113"/>
                    <a:pt x="13" y="111"/>
                    <a:pt x="12" y="109"/>
                  </a:cubicBezTo>
                  <a:cubicBezTo>
                    <a:pt x="11" y="107"/>
                    <a:pt x="10" y="105"/>
                    <a:pt x="9" y="102"/>
                  </a:cubicBezTo>
                  <a:cubicBezTo>
                    <a:pt x="7" y="97"/>
                    <a:pt x="5" y="91"/>
                    <a:pt x="3" y="84"/>
                  </a:cubicBezTo>
                  <a:cubicBezTo>
                    <a:pt x="2" y="76"/>
                    <a:pt x="0" y="68"/>
                    <a:pt x="0" y="60"/>
                  </a:cubicBezTo>
                  <a:cubicBezTo>
                    <a:pt x="0" y="51"/>
                    <a:pt x="1" y="43"/>
                    <a:pt x="2" y="36"/>
                  </a:cubicBezTo>
                  <a:cubicBezTo>
                    <a:pt x="4" y="28"/>
                    <a:pt x="5" y="22"/>
                    <a:pt x="7" y="17"/>
                  </a:cubicBezTo>
                  <a:cubicBezTo>
                    <a:pt x="8" y="14"/>
                    <a:pt x="9" y="12"/>
                    <a:pt x="10" y="10"/>
                  </a:cubicBezTo>
                  <a:cubicBezTo>
                    <a:pt x="11" y="8"/>
                    <a:pt x="12" y="6"/>
                    <a:pt x="13" y="5"/>
                  </a:cubicBezTo>
                  <a:cubicBezTo>
                    <a:pt x="14" y="2"/>
                    <a:pt x="15" y="0"/>
                    <a:pt x="15" y="0"/>
                  </a:cubicBezTo>
                  <a:cubicBezTo>
                    <a:pt x="16" y="1"/>
                    <a:pt x="12" y="7"/>
                    <a:pt x="9" y="17"/>
                  </a:cubicBezTo>
                  <a:cubicBezTo>
                    <a:pt x="7" y="22"/>
                    <a:pt x="5" y="29"/>
                    <a:pt x="4" y="36"/>
                  </a:cubicBezTo>
                  <a:cubicBezTo>
                    <a:pt x="3" y="43"/>
                    <a:pt x="2" y="51"/>
                    <a:pt x="2" y="60"/>
                  </a:cubicBezTo>
                  <a:cubicBezTo>
                    <a:pt x="3" y="68"/>
                    <a:pt x="4" y="76"/>
                    <a:pt x="5" y="83"/>
                  </a:cubicBezTo>
                  <a:cubicBezTo>
                    <a:pt x="7" y="90"/>
                    <a:pt x="9" y="97"/>
                    <a:pt x="11" y="102"/>
                  </a:cubicBezTo>
                  <a:cubicBezTo>
                    <a:pt x="15" y="112"/>
                    <a:pt x="18" y="118"/>
                    <a:pt x="18" y="11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33">
              <a:extLst>
                <a:ext uri="{FF2B5EF4-FFF2-40B4-BE49-F238E27FC236}">
                  <a16:creationId xmlns:a16="http://schemas.microsoft.com/office/drawing/2014/main" id="{4C453585-7207-4E6B-A1AA-8FDDC104F9BD}"/>
                </a:ext>
              </a:extLst>
            </p:cNvPr>
            <p:cNvSpPr>
              <a:spLocks/>
            </p:cNvSpPr>
            <p:nvPr/>
          </p:nvSpPr>
          <p:spPr bwMode="auto">
            <a:xfrm>
              <a:off x="6375561" y="4955876"/>
              <a:ext cx="131365" cy="235159"/>
            </a:xfrm>
            <a:custGeom>
              <a:avLst/>
              <a:gdLst>
                <a:gd name="T0" fmla="*/ 3 w 162"/>
                <a:gd name="T1" fmla="*/ 290 h 290"/>
                <a:gd name="T2" fmla="*/ 0 w 162"/>
                <a:gd name="T3" fmla="*/ 0 h 290"/>
                <a:gd name="T4" fmla="*/ 157 w 162"/>
                <a:gd name="T5" fmla="*/ 0 h 290"/>
                <a:gd name="T6" fmla="*/ 162 w 162"/>
                <a:gd name="T7" fmla="*/ 290 h 290"/>
                <a:gd name="T8" fmla="*/ 3 w 162"/>
                <a:gd name="T9" fmla="*/ 290 h 290"/>
              </a:gdLst>
              <a:ahLst/>
              <a:cxnLst>
                <a:cxn ang="0">
                  <a:pos x="T0" y="T1"/>
                </a:cxn>
                <a:cxn ang="0">
                  <a:pos x="T2" y="T3"/>
                </a:cxn>
                <a:cxn ang="0">
                  <a:pos x="T4" y="T5"/>
                </a:cxn>
                <a:cxn ang="0">
                  <a:pos x="T6" y="T7"/>
                </a:cxn>
                <a:cxn ang="0">
                  <a:pos x="T8" y="T9"/>
                </a:cxn>
              </a:cxnLst>
              <a:rect l="0" t="0" r="r" b="b"/>
              <a:pathLst>
                <a:path w="162" h="290">
                  <a:moveTo>
                    <a:pt x="3" y="290"/>
                  </a:moveTo>
                  <a:lnTo>
                    <a:pt x="0" y="0"/>
                  </a:lnTo>
                  <a:lnTo>
                    <a:pt x="157" y="0"/>
                  </a:lnTo>
                  <a:lnTo>
                    <a:pt x="162" y="290"/>
                  </a:lnTo>
                  <a:lnTo>
                    <a:pt x="3" y="29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34">
              <a:extLst>
                <a:ext uri="{FF2B5EF4-FFF2-40B4-BE49-F238E27FC236}">
                  <a16:creationId xmlns:a16="http://schemas.microsoft.com/office/drawing/2014/main" id="{1E592D95-5D25-4604-81B2-3B3487915A0B}"/>
                </a:ext>
              </a:extLst>
            </p:cNvPr>
            <p:cNvSpPr>
              <a:spLocks noChangeArrowheads="1"/>
            </p:cNvSpPr>
            <p:nvPr/>
          </p:nvSpPr>
          <p:spPr bwMode="auto">
            <a:xfrm>
              <a:off x="6377994" y="4996421"/>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235">
              <a:extLst>
                <a:ext uri="{FF2B5EF4-FFF2-40B4-BE49-F238E27FC236}">
                  <a16:creationId xmlns:a16="http://schemas.microsoft.com/office/drawing/2014/main" id="{4064996D-4D61-4FB8-A572-8DADDADD7AFB}"/>
                </a:ext>
              </a:extLst>
            </p:cNvPr>
            <p:cNvSpPr>
              <a:spLocks noChangeArrowheads="1"/>
            </p:cNvSpPr>
            <p:nvPr/>
          </p:nvSpPr>
          <p:spPr bwMode="auto">
            <a:xfrm>
              <a:off x="6377994" y="5032911"/>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236">
              <a:extLst>
                <a:ext uri="{FF2B5EF4-FFF2-40B4-BE49-F238E27FC236}">
                  <a16:creationId xmlns:a16="http://schemas.microsoft.com/office/drawing/2014/main" id="{90F40873-6799-4AA2-A3CE-3225E1FA6E66}"/>
                </a:ext>
              </a:extLst>
            </p:cNvPr>
            <p:cNvSpPr>
              <a:spLocks noChangeArrowheads="1"/>
            </p:cNvSpPr>
            <p:nvPr/>
          </p:nvSpPr>
          <p:spPr bwMode="auto">
            <a:xfrm>
              <a:off x="6377994" y="5067779"/>
              <a:ext cx="117580" cy="5676"/>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237">
              <a:extLst>
                <a:ext uri="{FF2B5EF4-FFF2-40B4-BE49-F238E27FC236}">
                  <a16:creationId xmlns:a16="http://schemas.microsoft.com/office/drawing/2014/main" id="{48D8CD55-4A3A-4D7C-AA25-36B413238189}"/>
                </a:ext>
              </a:extLst>
            </p:cNvPr>
            <p:cNvSpPr>
              <a:spLocks noChangeArrowheads="1"/>
            </p:cNvSpPr>
            <p:nvPr/>
          </p:nvSpPr>
          <p:spPr bwMode="auto">
            <a:xfrm>
              <a:off x="6377994" y="5104270"/>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238">
              <a:extLst>
                <a:ext uri="{FF2B5EF4-FFF2-40B4-BE49-F238E27FC236}">
                  <a16:creationId xmlns:a16="http://schemas.microsoft.com/office/drawing/2014/main" id="{D686C50A-EAC5-49A2-AC69-09DA51FEC60E}"/>
                </a:ext>
              </a:extLst>
            </p:cNvPr>
            <p:cNvSpPr>
              <a:spLocks noChangeArrowheads="1"/>
            </p:cNvSpPr>
            <p:nvPr/>
          </p:nvSpPr>
          <p:spPr bwMode="auto">
            <a:xfrm>
              <a:off x="6377994" y="5140760"/>
              <a:ext cx="117580"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39">
              <a:extLst>
                <a:ext uri="{FF2B5EF4-FFF2-40B4-BE49-F238E27FC236}">
                  <a16:creationId xmlns:a16="http://schemas.microsoft.com/office/drawing/2014/main" id="{DFD83B9C-C688-42B0-8C92-B9F500332346}"/>
                </a:ext>
              </a:extLst>
            </p:cNvPr>
            <p:cNvSpPr>
              <a:spLocks/>
            </p:cNvSpPr>
            <p:nvPr/>
          </p:nvSpPr>
          <p:spPr bwMode="auto">
            <a:xfrm>
              <a:off x="6364209" y="4948578"/>
              <a:ext cx="1430417" cy="253810"/>
            </a:xfrm>
            <a:custGeom>
              <a:avLst/>
              <a:gdLst>
                <a:gd name="T0" fmla="*/ 0 w 743"/>
                <a:gd name="T1" fmla="*/ 0 h 132"/>
                <a:gd name="T2" fmla="*/ 734 w 743"/>
                <a:gd name="T3" fmla="*/ 0 h 132"/>
                <a:gd name="T4" fmla="*/ 734 w 743"/>
                <a:gd name="T5" fmla="*/ 132 h 132"/>
                <a:gd name="T6" fmla="*/ 3 w 743"/>
                <a:gd name="T7" fmla="*/ 132 h 132"/>
                <a:gd name="T8" fmla="*/ 3 w 743"/>
                <a:gd name="T9" fmla="*/ 123 h 132"/>
                <a:gd name="T10" fmla="*/ 48 w 743"/>
                <a:gd name="T11" fmla="*/ 123 h 132"/>
                <a:gd name="T12" fmla="*/ 69 w 743"/>
                <a:gd name="T13" fmla="*/ 102 h 132"/>
                <a:gd name="T14" fmla="*/ 69 w 743"/>
                <a:gd name="T15" fmla="*/ 29 h 132"/>
                <a:gd name="T16" fmla="*/ 48 w 743"/>
                <a:gd name="T17" fmla="*/ 8 h 132"/>
                <a:gd name="T18" fmla="*/ 0 w 743"/>
                <a:gd name="T19" fmla="*/ 8 h 132"/>
                <a:gd name="T20" fmla="*/ 0 w 743"/>
                <a:gd name="T2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3" h="132">
                  <a:moveTo>
                    <a:pt x="0" y="0"/>
                  </a:moveTo>
                  <a:cubicBezTo>
                    <a:pt x="734" y="0"/>
                    <a:pt x="734" y="0"/>
                    <a:pt x="734" y="0"/>
                  </a:cubicBezTo>
                  <a:cubicBezTo>
                    <a:pt x="743" y="41"/>
                    <a:pt x="742" y="85"/>
                    <a:pt x="734" y="132"/>
                  </a:cubicBezTo>
                  <a:cubicBezTo>
                    <a:pt x="3" y="132"/>
                    <a:pt x="3" y="132"/>
                    <a:pt x="3" y="132"/>
                  </a:cubicBezTo>
                  <a:cubicBezTo>
                    <a:pt x="3" y="123"/>
                    <a:pt x="3" y="123"/>
                    <a:pt x="3" y="123"/>
                  </a:cubicBezTo>
                  <a:cubicBezTo>
                    <a:pt x="48" y="123"/>
                    <a:pt x="48" y="123"/>
                    <a:pt x="48" y="123"/>
                  </a:cubicBezTo>
                  <a:cubicBezTo>
                    <a:pt x="60" y="123"/>
                    <a:pt x="69" y="113"/>
                    <a:pt x="69" y="102"/>
                  </a:cubicBezTo>
                  <a:cubicBezTo>
                    <a:pt x="69" y="29"/>
                    <a:pt x="69" y="29"/>
                    <a:pt x="69" y="29"/>
                  </a:cubicBezTo>
                  <a:cubicBezTo>
                    <a:pt x="69" y="17"/>
                    <a:pt x="60" y="8"/>
                    <a:pt x="48" y="8"/>
                  </a:cubicBezTo>
                  <a:cubicBezTo>
                    <a:pt x="0" y="8"/>
                    <a:pt x="0" y="8"/>
                    <a:pt x="0" y="8"/>
                  </a:cubicBezTo>
                  <a:cubicBezTo>
                    <a:pt x="0" y="0"/>
                    <a:pt x="0" y="0"/>
                    <a:pt x="0" y="0"/>
                  </a:cubicBezTo>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40">
              <a:extLst>
                <a:ext uri="{FF2B5EF4-FFF2-40B4-BE49-F238E27FC236}">
                  <a16:creationId xmlns:a16="http://schemas.microsoft.com/office/drawing/2014/main" id="{87D28117-7A36-4388-AAF5-A593F21D2651}"/>
                </a:ext>
              </a:extLst>
            </p:cNvPr>
            <p:cNvSpPr>
              <a:spLocks noEditPoints="1"/>
            </p:cNvSpPr>
            <p:nvPr/>
          </p:nvSpPr>
          <p:spPr bwMode="auto">
            <a:xfrm>
              <a:off x="6658563" y="5028857"/>
              <a:ext cx="69737" cy="98929"/>
            </a:xfrm>
            <a:custGeom>
              <a:avLst/>
              <a:gdLst>
                <a:gd name="T0" fmla="*/ 26 w 36"/>
                <a:gd name="T1" fmla="*/ 1 h 51"/>
                <a:gd name="T2" fmla="*/ 27 w 36"/>
                <a:gd name="T3" fmla="*/ 2 h 51"/>
                <a:gd name="T4" fmla="*/ 35 w 36"/>
                <a:gd name="T5" fmla="*/ 47 h 51"/>
                <a:gd name="T6" fmla="*/ 36 w 36"/>
                <a:gd name="T7" fmla="*/ 48 h 51"/>
                <a:gd name="T8" fmla="*/ 35 w 36"/>
                <a:gd name="T9" fmla="*/ 49 h 51"/>
                <a:gd name="T10" fmla="*/ 33 w 36"/>
                <a:gd name="T11" fmla="*/ 51 h 51"/>
                <a:gd name="T12" fmla="*/ 33 w 36"/>
                <a:gd name="T13" fmla="*/ 51 h 51"/>
                <a:gd name="T14" fmla="*/ 31 w 36"/>
                <a:gd name="T15" fmla="*/ 49 h 51"/>
                <a:gd name="T16" fmla="*/ 28 w 36"/>
                <a:gd name="T17" fmla="*/ 34 h 51"/>
                <a:gd name="T18" fmla="*/ 13 w 36"/>
                <a:gd name="T19" fmla="*/ 34 h 51"/>
                <a:gd name="T20" fmla="*/ 5 w 36"/>
                <a:gd name="T21" fmla="*/ 49 h 51"/>
                <a:gd name="T22" fmla="*/ 5 w 36"/>
                <a:gd name="T23" fmla="*/ 49 h 51"/>
                <a:gd name="T24" fmla="*/ 3 w 36"/>
                <a:gd name="T25" fmla="*/ 51 h 51"/>
                <a:gd name="T26" fmla="*/ 1 w 36"/>
                <a:gd name="T27" fmla="*/ 50 h 51"/>
                <a:gd name="T28" fmla="*/ 0 w 36"/>
                <a:gd name="T29" fmla="*/ 48 h 51"/>
                <a:gd name="T30" fmla="*/ 0 w 36"/>
                <a:gd name="T31" fmla="*/ 47 h 51"/>
                <a:gd name="T32" fmla="*/ 3 w 36"/>
                <a:gd name="T33" fmla="*/ 42 h 51"/>
                <a:gd name="T34" fmla="*/ 22 w 36"/>
                <a:gd name="T35" fmla="*/ 2 h 51"/>
                <a:gd name="T36" fmla="*/ 24 w 36"/>
                <a:gd name="T37" fmla="*/ 0 h 51"/>
                <a:gd name="T38" fmla="*/ 26 w 36"/>
                <a:gd name="T39" fmla="*/ 1 h 51"/>
                <a:gd name="T40" fmla="*/ 23 w 36"/>
                <a:gd name="T41" fmla="*/ 11 h 51"/>
                <a:gd name="T42" fmla="*/ 15 w 36"/>
                <a:gd name="T43" fmla="*/ 28 h 51"/>
                <a:gd name="T44" fmla="*/ 27 w 36"/>
                <a:gd name="T45" fmla="*/ 28 h 51"/>
                <a:gd name="T46" fmla="*/ 23 w 36"/>
                <a:gd name="T47" fmla="*/ 1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51">
                  <a:moveTo>
                    <a:pt x="26" y="1"/>
                  </a:moveTo>
                  <a:cubicBezTo>
                    <a:pt x="27" y="2"/>
                    <a:pt x="27" y="2"/>
                    <a:pt x="27" y="2"/>
                  </a:cubicBezTo>
                  <a:cubicBezTo>
                    <a:pt x="27" y="4"/>
                    <a:pt x="30" y="19"/>
                    <a:pt x="35" y="47"/>
                  </a:cubicBezTo>
                  <a:cubicBezTo>
                    <a:pt x="36" y="48"/>
                    <a:pt x="36" y="48"/>
                    <a:pt x="36" y="48"/>
                  </a:cubicBezTo>
                  <a:cubicBezTo>
                    <a:pt x="36" y="48"/>
                    <a:pt x="35" y="49"/>
                    <a:pt x="35" y="49"/>
                  </a:cubicBezTo>
                  <a:cubicBezTo>
                    <a:pt x="35" y="50"/>
                    <a:pt x="34" y="51"/>
                    <a:pt x="33" y="51"/>
                  </a:cubicBezTo>
                  <a:cubicBezTo>
                    <a:pt x="33" y="51"/>
                    <a:pt x="33" y="51"/>
                    <a:pt x="33" y="51"/>
                  </a:cubicBezTo>
                  <a:cubicBezTo>
                    <a:pt x="32" y="51"/>
                    <a:pt x="31" y="50"/>
                    <a:pt x="31" y="49"/>
                  </a:cubicBezTo>
                  <a:cubicBezTo>
                    <a:pt x="28" y="34"/>
                    <a:pt x="28" y="34"/>
                    <a:pt x="28" y="34"/>
                  </a:cubicBezTo>
                  <a:cubicBezTo>
                    <a:pt x="13" y="34"/>
                    <a:pt x="13" y="34"/>
                    <a:pt x="13" y="34"/>
                  </a:cubicBezTo>
                  <a:cubicBezTo>
                    <a:pt x="5" y="49"/>
                    <a:pt x="5" y="49"/>
                    <a:pt x="5" y="49"/>
                  </a:cubicBezTo>
                  <a:cubicBezTo>
                    <a:pt x="5" y="49"/>
                    <a:pt x="5" y="49"/>
                    <a:pt x="5" y="49"/>
                  </a:cubicBezTo>
                  <a:cubicBezTo>
                    <a:pt x="4" y="50"/>
                    <a:pt x="4" y="51"/>
                    <a:pt x="3" y="51"/>
                  </a:cubicBezTo>
                  <a:cubicBezTo>
                    <a:pt x="2" y="51"/>
                    <a:pt x="2" y="51"/>
                    <a:pt x="1" y="50"/>
                  </a:cubicBezTo>
                  <a:cubicBezTo>
                    <a:pt x="1" y="50"/>
                    <a:pt x="0" y="49"/>
                    <a:pt x="0" y="48"/>
                  </a:cubicBezTo>
                  <a:cubicBezTo>
                    <a:pt x="0" y="47"/>
                    <a:pt x="0" y="47"/>
                    <a:pt x="0" y="47"/>
                  </a:cubicBezTo>
                  <a:cubicBezTo>
                    <a:pt x="1" y="46"/>
                    <a:pt x="2" y="45"/>
                    <a:pt x="3" y="42"/>
                  </a:cubicBezTo>
                  <a:cubicBezTo>
                    <a:pt x="13" y="19"/>
                    <a:pt x="19" y="6"/>
                    <a:pt x="22" y="2"/>
                  </a:cubicBezTo>
                  <a:cubicBezTo>
                    <a:pt x="22" y="0"/>
                    <a:pt x="23" y="0"/>
                    <a:pt x="24" y="0"/>
                  </a:cubicBezTo>
                  <a:cubicBezTo>
                    <a:pt x="25" y="0"/>
                    <a:pt x="26" y="0"/>
                    <a:pt x="26" y="1"/>
                  </a:cubicBezTo>
                  <a:close/>
                  <a:moveTo>
                    <a:pt x="23" y="11"/>
                  </a:moveTo>
                  <a:cubicBezTo>
                    <a:pt x="15" y="28"/>
                    <a:pt x="15" y="28"/>
                    <a:pt x="15" y="28"/>
                  </a:cubicBezTo>
                  <a:cubicBezTo>
                    <a:pt x="27" y="28"/>
                    <a:pt x="27" y="28"/>
                    <a:pt x="27" y="28"/>
                  </a:cubicBezTo>
                  <a:lnTo>
                    <a:pt x="23" y="11"/>
                  </a:ln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1">
              <a:extLst>
                <a:ext uri="{FF2B5EF4-FFF2-40B4-BE49-F238E27FC236}">
                  <a16:creationId xmlns:a16="http://schemas.microsoft.com/office/drawing/2014/main" id="{A106E12E-99E9-4DEB-9258-41D95B60777D}"/>
                </a:ext>
              </a:extLst>
            </p:cNvPr>
            <p:cNvSpPr>
              <a:spLocks/>
            </p:cNvSpPr>
            <p:nvPr/>
          </p:nvSpPr>
          <p:spPr bwMode="auto">
            <a:xfrm>
              <a:off x="6735598" y="5028857"/>
              <a:ext cx="60006" cy="98929"/>
            </a:xfrm>
            <a:custGeom>
              <a:avLst/>
              <a:gdLst>
                <a:gd name="T0" fmla="*/ 0 w 31"/>
                <a:gd name="T1" fmla="*/ 42 h 51"/>
                <a:gd name="T2" fmla="*/ 0 w 31"/>
                <a:gd name="T3" fmla="*/ 40 h 51"/>
                <a:gd name="T4" fmla="*/ 0 w 31"/>
                <a:gd name="T5" fmla="*/ 39 h 51"/>
                <a:gd name="T6" fmla="*/ 2 w 31"/>
                <a:gd name="T7" fmla="*/ 38 h 51"/>
                <a:gd name="T8" fmla="*/ 5 w 31"/>
                <a:gd name="T9" fmla="*/ 39 h 51"/>
                <a:gd name="T10" fmla="*/ 5 w 31"/>
                <a:gd name="T11" fmla="*/ 40 h 51"/>
                <a:gd name="T12" fmla="*/ 14 w 31"/>
                <a:gd name="T13" fmla="*/ 46 h 51"/>
                <a:gd name="T14" fmla="*/ 21 w 31"/>
                <a:gd name="T15" fmla="*/ 43 h 51"/>
                <a:gd name="T16" fmla="*/ 24 w 31"/>
                <a:gd name="T17" fmla="*/ 36 h 51"/>
                <a:gd name="T18" fmla="*/ 22 w 31"/>
                <a:gd name="T19" fmla="*/ 30 h 51"/>
                <a:gd name="T20" fmla="*/ 17 w 31"/>
                <a:gd name="T21" fmla="*/ 26 h 51"/>
                <a:gd name="T22" fmla="*/ 13 w 31"/>
                <a:gd name="T23" fmla="*/ 23 h 51"/>
                <a:gd name="T24" fmla="*/ 10 w 31"/>
                <a:gd name="T25" fmla="*/ 21 h 51"/>
                <a:gd name="T26" fmla="*/ 7 w 31"/>
                <a:gd name="T27" fmla="*/ 13 h 51"/>
                <a:gd name="T28" fmla="*/ 7 w 31"/>
                <a:gd name="T29" fmla="*/ 12 h 51"/>
                <a:gd name="T30" fmla="*/ 11 w 31"/>
                <a:gd name="T31" fmla="*/ 3 h 51"/>
                <a:gd name="T32" fmla="*/ 20 w 31"/>
                <a:gd name="T33" fmla="*/ 0 h 51"/>
                <a:gd name="T34" fmla="*/ 24 w 31"/>
                <a:gd name="T35" fmla="*/ 0 h 51"/>
                <a:gd name="T36" fmla="*/ 31 w 31"/>
                <a:gd name="T37" fmla="*/ 5 h 51"/>
                <a:gd name="T38" fmla="*/ 31 w 31"/>
                <a:gd name="T39" fmla="*/ 7 h 51"/>
                <a:gd name="T40" fmla="*/ 31 w 31"/>
                <a:gd name="T41" fmla="*/ 8 h 51"/>
                <a:gd name="T42" fmla="*/ 29 w 31"/>
                <a:gd name="T43" fmla="*/ 9 h 51"/>
                <a:gd name="T44" fmla="*/ 27 w 31"/>
                <a:gd name="T45" fmla="*/ 9 h 51"/>
                <a:gd name="T46" fmla="*/ 20 w 31"/>
                <a:gd name="T47" fmla="*/ 5 h 51"/>
                <a:gd name="T48" fmla="*/ 14 w 31"/>
                <a:gd name="T49" fmla="*/ 7 h 51"/>
                <a:gd name="T50" fmla="*/ 12 w 31"/>
                <a:gd name="T51" fmla="*/ 13 h 51"/>
                <a:gd name="T52" fmla="*/ 13 w 31"/>
                <a:gd name="T53" fmla="*/ 17 h 51"/>
                <a:gd name="T54" fmla="*/ 18 w 31"/>
                <a:gd name="T55" fmla="*/ 20 h 51"/>
                <a:gd name="T56" fmla="*/ 24 w 31"/>
                <a:gd name="T57" fmla="*/ 24 h 51"/>
                <a:gd name="T58" fmla="*/ 30 w 31"/>
                <a:gd name="T59" fmla="*/ 36 h 51"/>
                <a:gd name="T60" fmla="*/ 30 w 31"/>
                <a:gd name="T61" fmla="*/ 39 h 51"/>
                <a:gd name="T62" fmla="*/ 24 w 31"/>
                <a:gd name="T63" fmla="*/ 48 h 51"/>
                <a:gd name="T64" fmla="*/ 14 w 31"/>
                <a:gd name="T65" fmla="*/ 51 h 51"/>
                <a:gd name="T66" fmla="*/ 7 w 31"/>
                <a:gd name="T67" fmla="*/ 49 h 51"/>
                <a:gd name="T68" fmla="*/ 0 w 31"/>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51">
                  <a:moveTo>
                    <a:pt x="0" y="42"/>
                  </a:moveTo>
                  <a:cubicBezTo>
                    <a:pt x="0" y="41"/>
                    <a:pt x="0" y="41"/>
                    <a:pt x="0" y="40"/>
                  </a:cubicBezTo>
                  <a:cubicBezTo>
                    <a:pt x="0" y="40"/>
                    <a:pt x="0" y="40"/>
                    <a:pt x="0" y="39"/>
                  </a:cubicBezTo>
                  <a:cubicBezTo>
                    <a:pt x="1" y="38"/>
                    <a:pt x="1" y="38"/>
                    <a:pt x="2" y="38"/>
                  </a:cubicBezTo>
                  <a:cubicBezTo>
                    <a:pt x="3" y="38"/>
                    <a:pt x="4" y="39"/>
                    <a:pt x="5" y="39"/>
                  </a:cubicBezTo>
                  <a:cubicBezTo>
                    <a:pt x="5" y="40"/>
                    <a:pt x="5" y="40"/>
                    <a:pt x="5" y="40"/>
                  </a:cubicBezTo>
                  <a:cubicBezTo>
                    <a:pt x="9" y="44"/>
                    <a:pt x="11" y="46"/>
                    <a:pt x="14" y="46"/>
                  </a:cubicBezTo>
                  <a:cubicBezTo>
                    <a:pt x="17" y="46"/>
                    <a:pt x="19" y="45"/>
                    <a:pt x="21" y="43"/>
                  </a:cubicBezTo>
                  <a:cubicBezTo>
                    <a:pt x="23" y="41"/>
                    <a:pt x="24" y="39"/>
                    <a:pt x="24" y="36"/>
                  </a:cubicBezTo>
                  <a:cubicBezTo>
                    <a:pt x="24" y="34"/>
                    <a:pt x="24" y="32"/>
                    <a:pt x="22" y="30"/>
                  </a:cubicBezTo>
                  <a:cubicBezTo>
                    <a:pt x="21" y="29"/>
                    <a:pt x="20" y="27"/>
                    <a:pt x="17" y="26"/>
                  </a:cubicBezTo>
                  <a:cubicBezTo>
                    <a:pt x="15" y="24"/>
                    <a:pt x="13" y="23"/>
                    <a:pt x="13" y="23"/>
                  </a:cubicBezTo>
                  <a:cubicBezTo>
                    <a:pt x="12" y="22"/>
                    <a:pt x="11" y="21"/>
                    <a:pt x="10" y="21"/>
                  </a:cubicBezTo>
                  <a:cubicBezTo>
                    <a:pt x="8" y="18"/>
                    <a:pt x="7" y="16"/>
                    <a:pt x="7" y="13"/>
                  </a:cubicBezTo>
                  <a:cubicBezTo>
                    <a:pt x="7" y="12"/>
                    <a:pt x="7" y="12"/>
                    <a:pt x="7" y="12"/>
                  </a:cubicBezTo>
                  <a:cubicBezTo>
                    <a:pt x="7" y="8"/>
                    <a:pt x="9" y="5"/>
                    <a:pt x="11" y="3"/>
                  </a:cubicBezTo>
                  <a:cubicBezTo>
                    <a:pt x="14" y="1"/>
                    <a:pt x="16" y="0"/>
                    <a:pt x="20" y="0"/>
                  </a:cubicBezTo>
                  <a:cubicBezTo>
                    <a:pt x="21" y="0"/>
                    <a:pt x="23" y="0"/>
                    <a:pt x="24" y="0"/>
                  </a:cubicBezTo>
                  <a:cubicBezTo>
                    <a:pt x="27" y="1"/>
                    <a:pt x="29" y="3"/>
                    <a:pt x="31" y="5"/>
                  </a:cubicBezTo>
                  <a:cubicBezTo>
                    <a:pt x="31" y="6"/>
                    <a:pt x="31" y="7"/>
                    <a:pt x="31" y="7"/>
                  </a:cubicBezTo>
                  <a:cubicBezTo>
                    <a:pt x="31" y="7"/>
                    <a:pt x="31" y="8"/>
                    <a:pt x="31" y="8"/>
                  </a:cubicBezTo>
                  <a:cubicBezTo>
                    <a:pt x="30" y="9"/>
                    <a:pt x="30" y="9"/>
                    <a:pt x="29" y="9"/>
                  </a:cubicBezTo>
                  <a:cubicBezTo>
                    <a:pt x="28" y="9"/>
                    <a:pt x="27" y="9"/>
                    <a:pt x="27" y="9"/>
                  </a:cubicBezTo>
                  <a:cubicBezTo>
                    <a:pt x="25" y="6"/>
                    <a:pt x="22" y="5"/>
                    <a:pt x="20" y="5"/>
                  </a:cubicBezTo>
                  <a:cubicBezTo>
                    <a:pt x="18" y="5"/>
                    <a:pt x="16" y="5"/>
                    <a:pt x="14" y="7"/>
                  </a:cubicBezTo>
                  <a:cubicBezTo>
                    <a:pt x="13" y="8"/>
                    <a:pt x="12" y="10"/>
                    <a:pt x="12" y="13"/>
                  </a:cubicBezTo>
                  <a:cubicBezTo>
                    <a:pt x="12" y="14"/>
                    <a:pt x="12" y="16"/>
                    <a:pt x="13" y="17"/>
                  </a:cubicBezTo>
                  <a:cubicBezTo>
                    <a:pt x="14" y="18"/>
                    <a:pt x="16" y="19"/>
                    <a:pt x="18" y="20"/>
                  </a:cubicBezTo>
                  <a:cubicBezTo>
                    <a:pt x="21" y="22"/>
                    <a:pt x="22" y="23"/>
                    <a:pt x="24" y="24"/>
                  </a:cubicBezTo>
                  <a:cubicBezTo>
                    <a:pt x="28" y="28"/>
                    <a:pt x="30" y="31"/>
                    <a:pt x="30" y="36"/>
                  </a:cubicBezTo>
                  <a:cubicBezTo>
                    <a:pt x="30" y="37"/>
                    <a:pt x="30" y="38"/>
                    <a:pt x="30" y="39"/>
                  </a:cubicBezTo>
                  <a:cubicBezTo>
                    <a:pt x="29" y="42"/>
                    <a:pt x="27" y="45"/>
                    <a:pt x="24" y="48"/>
                  </a:cubicBezTo>
                  <a:cubicBezTo>
                    <a:pt x="21" y="50"/>
                    <a:pt x="18" y="51"/>
                    <a:pt x="14" y="51"/>
                  </a:cubicBezTo>
                  <a:cubicBezTo>
                    <a:pt x="12" y="51"/>
                    <a:pt x="10" y="50"/>
                    <a:pt x="7" y="49"/>
                  </a:cubicBezTo>
                  <a:cubicBezTo>
                    <a:pt x="4" y="48"/>
                    <a:pt x="2" y="45"/>
                    <a:pt x="0" y="4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42">
              <a:extLst>
                <a:ext uri="{FF2B5EF4-FFF2-40B4-BE49-F238E27FC236}">
                  <a16:creationId xmlns:a16="http://schemas.microsoft.com/office/drawing/2014/main" id="{2B8A4835-E31F-4B8E-83E9-2540915C5CEB}"/>
                </a:ext>
              </a:extLst>
            </p:cNvPr>
            <p:cNvSpPr>
              <a:spLocks/>
            </p:cNvSpPr>
            <p:nvPr/>
          </p:nvSpPr>
          <p:spPr bwMode="auto">
            <a:xfrm>
              <a:off x="6805335" y="5028857"/>
              <a:ext cx="77035" cy="98929"/>
            </a:xfrm>
            <a:custGeom>
              <a:avLst/>
              <a:gdLst>
                <a:gd name="T0" fmla="*/ 40 w 40"/>
                <a:gd name="T1" fmla="*/ 2 h 51"/>
                <a:gd name="T2" fmla="*/ 40 w 40"/>
                <a:gd name="T3" fmla="*/ 4 h 51"/>
                <a:gd name="T4" fmla="*/ 37 w 40"/>
                <a:gd name="T5" fmla="*/ 5 h 51"/>
                <a:gd name="T6" fmla="*/ 22 w 40"/>
                <a:gd name="T7" fmla="*/ 5 h 51"/>
                <a:gd name="T8" fmla="*/ 17 w 40"/>
                <a:gd name="T9" fmla="*/ 48 h 51"/>
                <a:gd name="T10" fmla="*/ 17 w 40"/>
                <a:gd name="T11" fmla="*/ 48 h 51"/>
                <a:gd name="T12" fmla="*/ 14 w 40"/>
                <a:gd name="T13" fmla="*/ 51 h 51"/>
                <a:gd name="T14" fmla="*/ 13 w 40"/>
                <a:gd name="T15" fmla="*/ 50 h 51"/>
                <a:gd name="T16" fmla="*/ 11 w 40"/>
                <a:gd name="T17" fmla="*/ 48 h 51"/>
                <a:gd name="T18" fmla="*/ 15 w 40"/>
                <a:gd name="T19" fmla="*/ 18 h 51"/>
                <a:gd name="T20" fmla="*/ 17 w 40"/>
                <a:gd name="T21" fmla="*/ 5 h 51"/>
                <a:gd name="T22" fmla="*/ 3 w 40"/>
                <a:gd name="T23" fmla="*/ 5 h 51"/>
                <a:gd name="T24" fmla="*/ 2 w 40"/>
                <a:gd name="T25" fmla="*/ 5 h 51"/>
                <a:gd name="T26" fmla="*/ 0 w 40"/>
                <a:gd name="T27" fmla="*/ 2 h 51"/>
                <a:gd name="T28" fmla="*/ 0 w 40"/>
                <a:gd name="T29" fmla="*/ 1 h 51"/>
                <a:gd name="T30" fmla="*/ 3 w 40"/>
                <a:gd name="T31" fmla="*/ 0 h 51"/>
                <a:gd name="T32" fmla="*/ 37 w 40"/>
                <a:gd name="T33" fmla="*/ 0 h 51"/>
                <a:gd name="T34" fmla="*/ 38 w 40"/>
                <a:gd name="T35" fmla="*/ 0 h 51"/>
                <a:gd name="T36" fmla="*/ 40 w 40"/>
                <a:gd name="T3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1">
                  <a:moveTo>
                    <a:pt x="40" y="2"/>
                  </a:moveTo>
                  <a:cubicBezTo>
                    <a:pt x="40" y="3"/>
                    <a:pt x="40" y="3"/>
                    <a:pt x="40" y="4"/>
                  </a:cubicBezTo>
                  <a:cubicBezTo>
                    <a:pt x="39" y="4"/>
                    <a:pt x="39" y="5"/>
                    <a:pt x="37" y="5"/>
                  </a:cubicBezTo>
                  <a:cubicBezTo>
                    <a:pt x="22" y="5"/>
                    <a:pt x="22" y="5"/>
                    <a:pt x="22" y="5"/>
                  </a:cubicBezTo>
                  <a:cubicBezTo>
                    <a:pt x="19" y="33"/>
                    <a:pt x="17" y="47"/>
                    <a:pt x="17" y="48"/>
                  </a:cubicBezTo>
                  <a:cubicBezTo>
                    <a:pt x="17" y="48"/>
                    <a:pt x="17" y="48"/>
                    <a:pt x="17" y="48"/>
                  </a:cubicBezTo>
                  <a:cubicBezTo>
                    <a:pt x="16" y="50"/>
                    <a:pt x="15" y="51"/>
                    <a:pt x="14" y="51"/>
                  </a:cubicBezTo>
                  <a:cubicBezTo>
                    <a:pt x="14" y="51"/>
                    <a:pt x="13" y="51"/>
                    <a:pt x="13" y="50"/>
                  </a:cubicBezTo>
                  <a:cubicBezTo>
                    <a:pt x="12" y="50"/>
                    <a:pt x="11" y="49"/>
                    <a:pt x="11" y="48"/>
                  </a:cubicBezTo>
                  <a:cubicBezTo>
                    <a:pt x="11" y="47"/>
                    <a:pt x="13" y="37"/>
                    <a:pt x="15" y="18"/>
                  </a:cubicBezTo>
                  <a:cubicBezTo>
                    <a:pt x="16" y="11"/>
                    <a:pt x="17" y="7"/>
                    <a:pt x="17" y="5"/>
                  </a:cubicBezTo>
                  <a:cubicBezTo>
                    <a:pt x="3" y="5"/>
                    <a:pt x="3" y="5"/>
                    <a:pt x="3" y="5"/>
                  </a:cubicBezTo>
                  <a:cubicBezTo>
                    <a:pt x="2" y="5"/>
                    <a:pt x="2" y="5"/>
                    <a:pt x="2" y="5"/>
                  </a:cubicBezTo>
                  <a:cubicBezTo>
                    <a:pt x="0" y="4"/>
                    <a:pt x="0" y="4"/>
                    <a:pt x="0" y="2"/>
                  </a:cubicBezTo>
                  <a:cubicBezTo>
                    <a:pt x="0" y="2"/>
                    <a:pt x="0" y="1"/>
                    <a:pt x="0" y="1"/>
                  </a:cubicBezTo>
                  <a:cubicBezTo>
                    <a:pt x="1" y="0"/>
                    <a:pt x="2" y="0"/>
                    <a:pt x="3" y="0"/>
                  </a:cubicBezTo>
                  <a:cubicBezTo>
                    <a:pt x="37" y="0"/>
                    <a:pt x="37" y="0"/>
                    <a:pt x="37" y="0"/>
                  </a:cubicBezTo>
                  <a:cubicBezTo>
                    <a:pt x="38" y="0"/>
                    <a:pt x="38" y="0"/>
                    <a:pt x="38" y="0"/>
                  </a:cubicBezTo>
                  <a:cubicBezTo>
                    <a:pt x="40" y="0"/>
                    <a:pt x="40" y="1"/>
                    <a:pt x="40" y="2"/>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3">
              <a:extLst>
                <a:ext uri="{FF2B5EF4-FFF2-40B4-BE49-F238E27FC236}">
                  <a16:creationId xmlns:a16="http://schemas.microsoft.com/office/drawing/2014/main" id="{4CE5317D-90D9-477A-B921-DE8862E0427C}"/>
                </a:ext>
              </a:extLst>
            </p:cNvPr>
            <p:cNvSpPr>
              <a:spLocks noEditPoints="1"/>
            </p:cNvSpPr>
            <p:nvPr/>
          </p:nvSpPr>
          <p:spPr bwMode="auto">
            <a:xfrm>
              <a:off x="6882370" y="5027235"/>
              <a:ext cx="59195" cy="100551"/>
            </a:xfrm>
            <a:custGeom>
              <a:avLst/>
              <a:gdLst>
                <a:gd name="T0" fmla="*/ 5 w 31"/>
                <a:gd name="T1" fmla="*/ 49 h 52"/>
                <a:gd name="T2" fmla="*/ 3 w 31"/>
                <a:gd name="T3" fmla="*/ 52 h 52"/>
                <a:gd name="T4" fmla="*/ 1 w 31"/>
                <a:gd name="T5" fmla="*/ 51 h 52"/>
                <a:gd name="T6" fmla="*/ 0 w 31"/>
                <a:gd name="T7" fmla="*/ 49 h 52"/>
                <a:gd name="T8" fmla="*/ 6 w 31"/>
                <a:gd name="T9" fmla="*/ 3 h 52"/>
                <a:gd name="T10" fmla="*/ 7 w 31"/>
                <a:gd name="T11" fmla="*/ 2 h 52"/>
                <a:gd name="T12" fmla="*/ 9 w 31"/>
                <a:gd name="T13" fmla="*/ 1 h 52"/>
                <a:gd name="T14" fmla="*/ 16 w 31"/>
                <a:gd name="T15" fmla="*/ 0 h 52"/>
                <a:gd name="T16" fmla="*/ 20 w 31"/>
                <a:gd name="T17" fmla="*/ 1 h 52"/>
                <a:gd name="T18" fmla="*/ 30 w 31"/>
                <a:gd name="T19" fmla="*/ 11 h 52"/>
                <a:gd name="T20" fmla="*/ 28 w 31"/>
                <a:gd name="T21" fmla="*/ 17 h 52"/>
                <a:gd name="T22" fmla="*/ 12 w 31"/>
                <a:gd name="T23" fmla="*/ 30 h 52"/>
                <a:gd name="T24" fmla="*/ 30 w 31"/>
                <a:gd name="T25" fmla="*/ 47 h 52"/>
                <a:gd name="T26" fmla="*/ 31 w 31"/>
                <a:gd name="T27" fmla="*/ 49 h 52"/>
                <a:gd name="T28" fmla="*/ 31 w 31"/>
                <a:gd name="T29" fmla="*/ 50 h 52"/>
                <a:gd name="T30" fmla="*/ 29 w 31"/>
                <a:gd name="T31" fmla="*/ 52 h 52"/>
                <a:gd name="T32" fmla="*/ 27 w 31"/>
                <a:gd name="T33" fmla="*/ 51 h 52"/>
                <a:gd name="T34" fmla="*/ 7 w 31"/>
                <a:gd name="T35" fmla="*/ 33 h 52"/>
                <a:gd name="T36" fmla="*/ 5 w 31"/>
                <a:gd name="T37" fmla="*/ 49 h 52"/>
                <a:gd name="T38" fmla="*/ 11 w 31"/>
                <a:gd name="T39" fmla="*/ 6 h 52"/>
                <a:gd name="T40" fmla="*/ 8 w 31"/>
                <a:gd name="T41" fmla="*/ 25 h 52"/>
                <a:gd name="T42" fmla="*/ 17 w 31"/>
                <a:gd name="T43" fmla="*/ 22 h 52"/>
                <a:gd name="T44" fmla="*/ 24 w 31"/>
                <a:gd name="T45" fmla="*/ 11 h 52"/>
                <a:gd name="T46" fmla="*/ 16 w 31"/>
                <a:gd name="T47" fmla="*/ 5 h 52"/>
                <a:gd name="T48" fmla="*/ 11 w 31"/>
                <a:gd name="T4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 h="52">
                  <a:moveTo>
                    <a:pt x="5" y="49"/>
                  </a:moveTo>
                  <a:cubicBezTo>
                    <a:pt x="5" y="51"/>
                    <a:pt x="4" y="52"/>
                    <a:pt x="3" y="52"/>
                  </a:cubicBezTo>
                  <a:cubicBezTo>
                    <a:pt x="2" y="52"/>
                    <a:pt x="2" y="52"/>
                    <a:pt x="1" y="51"/>
                  </a:cubicBezTo>
                  <a:cubicBezTo>
                    <a:pt x="0" y="51"/>
                    <a:pt x="0" y="50"/>
                    <a:pt x="0" y="49"/>
                  </a:cubicBezTo>
                  <a:cubicBezTo>
                    <a:pt x="1" y="40"/>
                    <a:pt x="3" y="25"/>
                    <a:pt x="6" y="3"/>
                  </a:cubicBezTo>
                  <a:cubicBezTo>
                    <a:pt x="6" y="3"/>
                    <a:pt x="6" y="2"/>
                    <a:pt x="7" y="2"/>
                  </a:cubicBezTo>
                  <a:cubicBezTo>
                    <a:pt x="7" y="1"/>
                    <a:pt x="8" y="1"/>
                    <a:pt x="9" y="1"/>
                  </a:cubicBezTo>
                  <a:cubicBezTo>
                    <a:pt x="11" y="1"/>
                    <a:pt x="13" y="0"/>
                    <a:pt x="16" y="0"/>
                  </a:cubicBezTo>
                  <a:cubicBezTo>
                    <a:pt x="17" y="0"/>
                    <a:pt x="19" y="1"/>
                    <a:pt x="20" y="1"/>
                  </a:cubicBezTo>
                  <a:cubicBezTo>
                    <a:pt x="26" y="2"/>
                    <a:pt x="30" y="5"/>
                    <a:pt x="30" y="11"/>
                  </a:cubicBezTo>
                  <a:cubicBezTo>
                    <a:pt x="30" y="13"/>
                    <a:pt x="29" y="15"/>
                    <a:pt x="28" y="17"/>
                  </a:cubicBezTo>
                  <a:cubicBezTo>
                    <a:pt x="26" y="23"/>
                    <a:pt x="21" y="27"/>
                    <a:pt x="12" y="30"/>
                  </a:cubicBezTo>
                  <a:cubicBezTo>
                    <a:pt x="30" y="47"/>
                    <a:pt x="30" y="47"/>
                    <a:pt x="30" y="47"/>
                  </a:cubicBezTo>
                  <a:cubicBezTo>
                    <a:pt x="31" y="48"/>
                    <a:pt x="31" y="48"/>
                    <a:pt x="31" y="49"/>
                  </a:cubicBezTo>
                  <a:cubicBezTo>
                    <a:pt x="31" y="50"/>
                    <a:pt x="31" y="50"/>
                    <a:pt x="31" y="50"/>
                  </a:cubicBezTo>
                  <a:cubicBezTo>
                    <a:pt x="31" y="51"/>
                    <a:pt x="30" y="52"/>
                    <a:pt x="29" y="52"/>
                  </a:cubicBezTo>
                  <a:cubicBezTo>
                    <a:pt x="28" y="52"/>
                    <a:pt x="28" y="51"/>
                    <a:pt x="27" y="51"/>
                  </a:cubicBezTo>
                  <a:cubicBezTo>
                    <a:pt x="26" y="51"/>
                    <a:pt x="20" y="45"/>
                    <a:pt x="7" y="33"/>
                  </a:cubicBezTo>
                  <a:cubicBezTo>
                    <a:pt x="6" y="42"/>
                    <a:pt x="6" y="47"/>
                    <a:pt x="5" y="49"/>
                  </a:cubicBezTo>
                  <a:close/>
                  <a:moveTo>
                    <a:pt x="11" y="6"/>
                  </a:moveTo>
                  <a:cubicBezTo>
                    <a:pt x="8" y="25"/>
                    <a:pt x="8" y="25"/>
                    <a:pt x="8" y="25"/>
                  </a:cubicBezTo>
                  <a:cubicBezTo>
                    <a:pt x="12" y="25"/>
                    <a:pt x="14" y="24"/>
                    <a:pt x="17" y="22"/>
                  </a:cubicBezTo>
                  <a:cubicBezTo>
                    <a:pt x="22" y="20"/>
                    <a:pt x="24" y="16"/>
                    <a:pt x="24" y="11"/>
                  </a:cubicBezTo>
                  <a:cubicBezTo>
                    <a:pt x="24" y="7"/>
                    <a:pt x="22" y="5"/>
                    <a:pt x="16" y="5"/>
                  </a:cubicBezTo>
                  <a:cubicBezTo>
                    <a:pt x="15" y="5"/>
                    <a:pt x="14" y="5"/>
                    <a:pt x="1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44">
              <a:extLst>
                <a:ext uri="{FF2B5EF4-FFF2-40B4-BE49-F238E27FC236}">
                  <a16:creationId xmlns:a16="http://schemas.microsoft.com/office/drawing/2014/main" id="{0E1E1324-6E79-4A97-AAAD-827EC0208D77}"/>
                </a:ext>
              </a:extLst>
            </p:cNvPr>
            <p:cNvSpPr>
              <a:spLocks noEditPoints="1"/>
            </p:cNvSpPr>
            <p:nvPr/>
          </p:nvSpPr>
          <p:spPr bwMode="auto">
            <a:xfrm>
              <a:off x="6949674" y="5027235"/>
              <a:ext cx="82711" cy="100551"/>
            </a:xfrm>
            <a:custGeom>
              <a:avLst/>
              <a:gdLst>
                <a:gd name="T0" fmla="*/ 0 w 43"/>
                <a:gd name="T1" fmla="*/ 31 h 52"/>
                <a:gd name="T2" fmla="*/ 2 w 43"/>
                <a:gd name="T3" fmla="*/ 20 h 52"/>
                <a:gd name="T4" fmla="*/ 9 w 43"/>
                <a:gd name="T5" fmla="*/ 6 h 52"/>
                <a:gd name="T6" fmla="*/ 20 w 43"/>
                <a:gd name="T7" fmla="*/ 0 h 52"/>
                <a:gd name="T8" fmla="*/ 29 w 43"/>
                <a:gd name="T9" fmla="*/ 5 h 52"/>
                <a:gd name="T10" fmla="*/ 33 w 43"/>
                <a:gd name="T11" fmla="*/ 19 h 52"/>
                <a:gd name="T12" fmla="*/ 36 w 43"/>
                <a:gd name="T13" fmla="*/ 18 h 52"/>
                <a:gd name="T14" fmla="*/ 40 w 43"/>
                <a:gd name="T15" fmla="*/ 16 h 52"/>
                <a:gd name="T16" fmla="*/ 42 w 43"/>
                <a:gd name="T17" fmla="*/ 17 h 52"/>
                <a:gd name="T18" fmla="*/ 43 w 43"/>
                <a:gd name="T19" fmla="*/ 19 h 52"/>
                <a:gd name="T20" fmla="*/ 42 w 43"/>
                <a:gd name="T21" fmla="*/ 21 h 52"/>
                <a:gd name="T22" fmla="*/ 33 w 43"/>
                <a:gd name="T23" fmla="*/ 25 h 52"/>
                <a:gd name="T24" fmla="*/ 32 w 43"/>
                <a:gd name="T25" fmla="*/ 32 h 52"/>
                <a:gd name="T26" fmla="*/ 25 w 43"/>
                <a:gd name="T27" fmla="*/ 46 h 52"/>
                <a:gd name="T28" fmla="*/ 13 w 43"/>
                <a:gd name="T29" fmla="*/ 52 h 52"/>
                <a:gd name="T30" fmla="*/ 12 w 43"/>
                <a:gd name="T31" fmla="*/ 52 h 52"/>
                <a:gd name="T32" fmla="*/ 4 w 43"/>
                <a:gd name="T33" fmla="*/ 46 h 52"/>
                <a:gd name="T34" fmla="*/ 0 w 43"/>
                <a:gd name="T35" fmla="*/ 31 h 52"/>
                <a:gd name="T36" fmla="*/ 6 w 43"/>
                <a:gd name="T37" fmla="*/ 30 h 52"/>
                <a:gd name="T38" fmla="*/ 7 w 43"/>
                <a:gd name="T39" fmla="*/ 40 h 52"/>
                <a:gd name="T40" fmla="*/ 14 w 43"/>
                <a:gd name="T41" fmla="*/ 46 h 52"/>
                <a:gd name="T42" fmla="*/ 16 w 43"/>
                <a:gd name="T43" fmla="*/ 46 h 52"/>
                <a:gd name="T44" fmla="*/ 23 w 43"/>
                <a:gd name="T45" fmla="*/ 38 h 52"/>
                <a:gd name="T46" fmla="*/ 28 w 43"/>
                <a:gd name="T47" fmla="*/ 25 h 52"/>
                <a:gd name="T48" fmla="*/ 19 w 43"/>
                <a:gd name="T49" fmla="*/ 22 h 52"/>
                <a:gd name="T50" fmla="*/ 11 w 43"/>
                <a:gd name="T51" fmla="*/ 12 h 52"/>
                <a:gd name="T52" fmla="*/ 6 w 43"/>
                <a:gd name="T53" fmla="*/ 30 h 52"/>
                <a:gd name="T54" fmla="*/ 21 w 43"/>
                <a:gd name="T55" fmla="*/ 6 h 52"/>
                <a:gd name="T56" fmla="*/ 19 w 43"/>
                <a:gd name="T57" fmla="*/ 7 h 52"/>
                <a:gd name="T58" fmla="*/ 17 w 43"/>
                <a:gd name="T59" fmla="*/ 11 h 52"/>
                <a:gd name="T60" fmla="*/ 17 w 43"/>
                <a:gd name="T61" fmla="*/ 12 h 52"/>
                <a:gd name="T62" fmla="*/ 22 w 43"/>
                <a:gd name="T63" fmla="*/ 18 h 52"/>
                <a:gd name="T64" fmla="*/ 28 w 43"/>
                <a:gd name="T65" fmla="*/ 20 h 52"/>
                <a:gd name="T66" fmla="*/ 27 w 43"/>
                <a:gd name="T67" fmla="*/ 15 h 52"/>
                <a:gd name="T68" fmla="*/ 21 w 43"/>
                <a:gd name="T6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31"/>
                  </a:moveTo>
                  <a:cubicBezTo>
                    <a:pt x="0" y="27"/>
                    <a:pt x="0" y="24"/>
                    <a:pt x="2" y="20"/>
                  </a:cubicBezTo>
                  <a:cubicBezTo>
                    <a:pt x="3" y="14"/>
                    <a:pt x="6" y="10"/>
                    <a:pt x="9" y="6"/>
                  </a:cubicBezTo>
                  <a:cubicBezTo>
                    <a:pt x="12" y="2"/>
                    <a:pt x="16" y="0"/>
                    <a:pt x="20" y="0"/>
                  </a:cubicBezTo>
                  <a:cubicBezTo>
                    <a:pt x="23" y="0"/>
                    <a:pt x="26" y="2"/>
                    <a:pt x="29" y="5"/>
                  </a:cubicBezTo>
                  <a:cubicBezTo>
                    <a:pt x="31" y="9"/>
                    <a:pt x="33" y="13"/>
                    <a:pt x="33" y="19"/>
                  </a:cubicBezTo>
                  <a:cubicBezTo>
                    <a:pt x="34" y="19"/>
                    <a:pt x="35" y="18"/>
                    <a:pt x="36" y="18"/>
                  </a:cubicBezTo>
                  <a:cubicBezTo>
                    <a:pt x="38" y="17"/>
                    <a:pt x="40" y="16"/>
                    <a:pt x="40" y="16"/>
                  </a:cubicBezTo>
                  <a:cubicBezTo>
                    <a:pt x="41" y="16"/>
                    <a:pt x="41" y="16"/>
                    <a:pt x="42" y="17"/>
                  </a:cubicBezTo>
                  <a:cubicBezTo>
                    <a:pt x="42" y="17"/>
                    <a:pt x="43" y="18"/>
                    <a:pt x="43" y="19"/>
                  </a:cubicBezTo>
                  <a:cubicBezTo>
                    <a:pt x="43" y="20"/>
                    <a:pt x="42" y="20"/>
                    <a:pt x="42" y="21"/>
                  </a:cubicBezTo>
                  <a:cubicBezTo>
                    <a:pt x="40" y="23"/>
                    <a:pt x="37" y="24"/>
                    <a:pt x="33" y="25"/>
                  </a:cubicBezTo>
                  <a:cubicBezTo>
                    <a:pt x="33" y="27"/>
                    <a:pt x="33" y="29"/>
                    <a:pt x="32" y="32"/>
                  </a:cubicBezTo>
                  <a:cubicBezTo>
                    <a:pt x="30" y="38"/>
                    <a:pt x="28" y="42"/>
                    <a:pt x="25" y="46"/>
                  </a:cubicBezTo>
                  <a:cubicBezTo>
                    <a:pt x="21" y="50"/>
                    <a:pt x="17" y="52"/>
                    <a:pt x="13" y="52"/>
                  </a:cubicBezTo>
                  <a:cubicBezTo>
                    <a:pt x="13" y="52"/>
                    <a:pt x="13" y="52"/>
                    <a:pt x="12" y="52"/>
                  </a:cubicBezTo>
                  <a:cubicBezTo>
                    <a:pt x="9" y="51"/>
                    <a:pt x="6" y="49"/>
                    <a:pt x="4" y="46"/>
                  </a:cubicBezTo>
                  <a:cubicBezTo>
                    <a:pt x="1" y="42"/>
                    <a:pt x="0" y="37"/>
                    <a:pt x="0" y="31"/>
                  </a:cubicBezTo>
                  <a:close/>
                  <a:moveTo>
                    <a:pt x="6" y="30"/>
                  </a:moveTo>
                  <a:cubicBezTo>
                    <a:pt x="6" y="34"/>
                    <a:pt x="6" y="37"/>
                    <a:pt x="7" y="40"/>
                  </a:cubicBezTo>
                  <a:cubicBezTo>
                    <a:pt x="9" y="44"/>
                    <a:pt x="11" y="46"/>
                    <a:pt x="14" y="46"/>
                  </a:cubicBezTo>
                  <a:cubicBezTo>
                    <a:pt x="15" y="46"/>
                    <a:pt x="16" y="46"/>
                    <a:pt x="16" y="46"/>
                  </a:cubicBezTo>
                  <a:cubicBezTo>
                    <a:pt x="19" y="45"/>
                    <a:pt x="21" y="42"/>
                    <a:pt x="23" y="38"/>
                  </a:cubicBezTo>
                  <a:cubicBezTo>
                    <a:pt x="26" y="34"/>
                    <a:pt x="27" y="30"/>
                    <a:pt x="28" y="25"/>
                  </a:cubicBezTo>
                  <a:cubicBezTo>
                    <a:pt x="24" y="25"/>
                    <a:pt x="21" y="24"/>
                    <a:pt x="19" y="22"/>
                  </a:cubicBezTo>
                  <a:cubicBezTo>
                    <a:pt x="15" y="20"/>
                    <a:pt x="13" y="16"/>
                    <a:pt x="11" y="12"/>
                  </a:cubicBezTo>
                  <a:cubicBezTo>
                    <a:pt x="7" y="17"/>
                    <a:pt x="6" y="23"/>
                    <a:pt x="6" y="30"/>
                  </a:cubicBezTo>
                  <a:close/>
                  <a:moveTo>
                    <a:pt x="21" y="6"/>
                  </a:moveTo>
                  <a:cubicBezTo>
                    <a:pt x="20" y="6"/>
                    <a:pt x="20" y="6"/>
                    <a:pt x="19" y="7"/>
                  </a:cubicBezTo>
                  <a:cubicBezTo>
                    <a:pt x="18" y="7"/>
                    <a:pt x="17" y="9"/>
                    <a:pt x="17" y="11"/>
                  </a:cubicBezTo>
                  <a:cubicBezTo>
                    <a:pt x="17" y="11"/>
                    <a:pt x="17" y="12"/>
                    <a:pt x="17" y="12"/>
                  </a:cubicBezTo>
                  <a:cubicBezTo>
                    <a:pt x="18" y="14"/>
                    <a:pt x="19" y="16"/>
                    <a:pt x="22" y="18"/>
                  </a:cubicBezTo>
                  <a:cubicBezTo>
                    <a:pt x="24" y="19"/>
                    <a:pt x="26" y="20"/>
                    <a:pt x="28" y="20"/>
                  </a:cubicBezTo>
                  <a:cubicBezTo>
                    <a:pt x="28" y="18"/>
                    <a:pt x="27" y="16"/>
                    <a:pt x="27" y="15"/>
                  </a:cubicBezTo>
                  <a:cubicBezTo>
                    <a:pt x="26" y="9"/>
                    <a:pt x="24" y="7"/>
                    <a:pt x="2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45">
              <a:extLst>
                <a:ext uri="{FF2B5EF4-FFF2-40B4-BE49-F238E27FC236}">
                  <a16:creationId xmlns:a16="http://schemas.microsoft.com/office/drawing/2014/main" id="{90CBA864-DE75-41E6-A6C4-F7448C0971B1}"/>
                </a:ext>
              </a:extLst>
            </p:cNvPr>
            <p:cNvSpPr>
              <a:spLocks/>
            </p:cNvSpPr>
            <p:nvPr/>
          </p:nvSpPr>
          <p:spPr bwMode="auto">
            <a:xfrm>
              <a:off x="7029952" y="5028857"/>
              <a:ext cx="73791" cy="98929"/>
            </a:xfrm>
            <a:custGeom>
              <a:avLst/>
              <a:gdLst>
                <a:gd name="T0" fmla="*/ 33 w 38"/>
                <a:gd name="T1" fmla="*/ 48 h 51"/>
                <a:gd name="T2" fmla="*/ 30 w 38"/>
                <a:gd name="T3" fmla="*/ 51 h 51"/>
                <a:gd name="T4" fmla="*/ 27 w 38"/>
                <a:gd name="T5" fmla="*/ 49 h 51"/>
                <a:gd name="T6" fmla="*/ 10 w 38"/>
                <a:gd name="T7" fmla="*/ 11 h 51"/>
                <a:gd name="T8" fmla="*/ 10 w 38"/>
                <a:gd name="T9" fmla="*/ 17 h 51"/>
                <a:gd name="T10" fmla="*/ 6 w 38"/>
                <a:gd name="T11" fmla="*/ 48 h 51"/>
                <a:gd name="T12" fmla="*/ 3 w 38"/>
                <a:gd name="T13" fmla="*/ 51 h 51"/>
                <a:gd name="T14" fmla="*/ 2 w 38"/>
                <a:gd name="T15" fmla="*/ 50 h 51"/>
                <a:gd name="T16" fmla="*/ 0 w 38"/>
                <a:gd name="T17" fmla="*/ 48 h 51"/>
                <a:gd name="T18" fmla="*/ 6 w 38"/>
                <a:gd name="T19" fmla="*/ 2 h 51"/>
                <a:gd name="T20" fmla="*/ 7 w 38"/>
                <a:gd name="T21" fmla="*/ 1 h 51"/>
                <a:gd name="T22" fmla="*/ 9 w 38"/>
                <a:gd name="T23" fmla="*/ 0 h 51"/>
                <a:gd name="T24" fmla="*/ 12 w 38"/>
                <a:gd name="T25" fmla="*/ 1 h 51"/>
                <a:gd name="T26" fmla="*/ 29 w 38"/>
                <a:gd name="T27" fmla="*/ 38 h 51"/>
                <a:gd name="T28" fmla="*/ 33 w 38"/>
                <a:gd name="T29" fmla="*/ 2 h 51"/>
                <a:gd name="T30" fmla="*/ 34 w 38"/>
                <a:gd name="T31" fmla="*/ 1 h 51"/>
                <a:gd name="T32" fmla="*/ 36 w 38"/>
                <a:gd name="T33" fmla="*/ 0 h 51"/>
                <a:gd name="T34" fmla="*/ 37 w 38"/>
                <a:gd name="T35" fmla="*/ 0 h 51"/>
                <a:gd name="T36" fmla="*/ 38 w 38"/>
                <a:gd name="T37" fmla="*/ 2 h 51"/>
                <a:gd name="T38" fmla="*/ 38 w 38"/>
                <a:gd name="T39" fmla="*/ 5 h 51"/>
                <a:gd name="T40" fmla="*/ 33 w 38"/>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51">
                  <a:moveTo>
                    <a:pt x="33" y="48"/>
                  </a:moveTo>
                  <a:cubicBezTo>
                    <a:pt x="32" y="50"/>
                    <a:pt x="31" y="51"/>
                    <a:pt x="30" y="51"/>
                  </a:cubicBezTo>
                  <a:cubicBezTo>
                    <a:pt x="29" y="51"/>
                    <a:pt x="28" y="50"/>
                    <a:pt x="27" y="49"/>
                  </a:cubicBezTo>
                  <a:cubicBezTo>
                    <a:pt x="10" y="11"/>
                    <a:pt x="10" y="11"/>
                    <a:pt x="10" y="11"/>
                  </a:cubicBezTo>
                  <a:cubicBezTo>
                    <a:pt x="10" y="13"/>
                    <a:pt x="10" y="15"/>
                    <a:pt x="10" y="17"/>
                  </a:cubicBezTo>
                  <a:cubicBezTo>
                    <a:pt x="8" y="35"/>
                    <a:pt x="6" y="45"/>
                    <a:pt x="6" y="48"/>
                  </a:cubicBezTo>
                  <a:cubicBezTo>
                    <a:pt x="5" y="50"/>
                    <a:pt x="5" y="51"/>
                    <a:pt x="3" y="51"/>
                  </a:cubicBezTo>
                  <a:cubicBezTo>
                    <a:pt x="3" y="51"/>
                    <a:pt x="2" y="51"/>
                    <a:pt x="2" y="50"/>
                  </a:cubicBezTo>
                  <a:cubicBezTo>
                    <a:pt x="1" y="50"/>
                    <a:pt x="0" y="49"/>
                    <a:pt x="0" y="48"/>
                  </a:cubicBezTo>
                  <a:cubicBezTo>
                    <a:pt x="4" y="17"/>
                    <a:pt x="6" y="2"/>
                    <a:pt x="6" y="2"/>
                  </a:cubicBezTo>
                  <a:cubicBezTo>
                    <a:pt x="6" y="2"/>
                    <a:pt x="7" y="1"/>
                    <a:pt x="7" y="1"/>
                  </a:cubicBezTo>
                  <a:cubicBezTo>
                    <a:pt x="7" y="0"/>
                    <a:pt x="8" y="0"/>
                    <a:pt x="9" y="0"/>
                  </a:cubicBezTo>
                  <a:cubicBezTo>
                    <a:pt x="11" y="0"/>
                    <a:pt x="12" y="0"/>
                    <a:pt x="12" y="1"/>
                  </a:cubicBezTo>
                  <a:cubicBezTo>
                    <a:pt x="29" y="38"/>
                    <a:pt x="29" y="38"/>
                    <a:pt x="29" y="38"/>
                  </a:cubicBezTo>
                  <a:cubicBezTo>
                    <a:pt x="33" y="2"/>
                    <a:pt x="33" y="2"/>
                    <a:pt x="33" y="2"/>
                  </a:cubicBezTo>
                  <a:cubicBezTo>
                    <a:pt x="33" y="2"/>
                    <a:pt x="33" y="2"/>
                    <a:pt x="34" y="1"/>
                  </a:cubicBezTo>
                  <a:cubicBezTo>
                    <a:pt x="34" y="0"/>
                    <a:pt x="35" y="0"/>
                    <a:pt x="36" y="0"/>
                  </a:cubicBezTo>
                  <a:cubicBezTo>
                    <a:pt x="36" y="0"/>
                    <a:pt x="37" y="0"/>
                    <a:pt x="37" y="0"/>
                  </a:cubicBezTo>
                  <a:cubicBezTo>
                    <a:pt x="38" y="1"/>
                    <a:pt x="38" y="1"/>
                    <a:pt x="38" y="2"/>
                  </a:cubicBezTo>
                  <a:cubicBezTo>
                    <a:pt x="38" y="3"/>
                    <a:pt x="38" y="4"/>
                    <a:pt x="38" y="5"/>
                  </a:cubicBezTo>
                  <a:cubicBezTo>
                    <a:pt x="35" y="31"/>
                    <a:pt x="33" y="45"/>
                    <a:pt x="33"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46">
              <a:extLst>
                <a:ext uri="{FF2B5EF4-FFF2-40B4-BE49-F238E27FC236}">
                  <a16:creationId xmlns:a16="http://schemas.microsoft.com/office/drawing/2014/main" id="{48C158F1-9573-4941-B1F4-E5DFA7A76049}"/>
                </a:ext>
              </a:extLst>
            </p:cNvPr>
            <p:cNvSpPr>
              <a:spLocks noEditPoints="1"/>
            </p:cNvSpPr>
            <p:nvPr/>
          </p:nvSpPr>
          <p:spPr bwMode="auto">
            <a:xfrm>
              <a:off x="7115096" y="5027235"/>
              <a:ext cx="82711" cy="100551"/>
            </a:xfrm>
            <a:custGeom>
              <a:avLst/>
              <a:gdLst>
                <a:gd name="T0" fmla="*/ 0 w 43"/>
                <a:gd name="T1" fmla="*/ 31 h 52"/>
                <a:gd name="T2" fmla="*/ 2 w 43"/>
                <a:gd name="T3" fmla="*/ 20 h 52"/>
                <a:gd name="T4" fmla="*/ 9 w 43"/>
                <a:gd name="T5" fmla="*/ 6 h 52"/>
                <a:gd name="T6" fmla="*/ 20 w 43"/>
                <a:gd name="T7" fmla="*/ 0 h 52"/>
                <a:gd name="T8" fmla="*/ 29 w 43"/>
                <a:gd name="T9" fmla="*/ 5 h 52"/>
                <a:gd name="T10" fmla="*/ 33 w 43"/>
                <a:gd name="T11" fmla="*/ 19 h 52"/>
                <a:gd name="T12" fmla="*/ 37 w 43"/>
                <a:gd name="T13" fmla="*/ 18 h 52"/>
                <a:gd name="T14" fmla="*/ 41 w 43"/>
                <a:gd name="T15" fmla="*/ 16 h 52"/>
                <a:gd name="T16" fmla="*/ 42 w 43"/>
                <a:gd name="T17" fmla="*/ 17 h 52"/>
                <a:gd name="T18" fmla="*/ 43 w 43"/>
                <a:gd name="T19" fmla="*/ 19 h 52"/>
                <a:gd name="T20" fmla="*/ 42 w 43"/>
                <a:gd name="T21" fmla="*/ 21 h 52"/>
                <a:gd name="T22" fmla="*/ 33 w 43"/>
                <a:gd name="T23" fmla="*/ 25 h 52"/>
                <a:gd name="T24" fmla="*/ 32 w 43"/>
                <a:gd name="T25" fmla="*/ 32 h 52"/>
                <a:gd name="T26" fmla="*/ 25 w 43"/>
                <a:gd name="T27" fmla="*/ 46 h 52"/>
                <a:gd name="T28" fmla="*/ 14 w 43"/>
                <a:gd name="T29" fmla="*/ 52 h 52"/>
                <a:gd name="T30" fmla="*/ 12 w 43"/>
                <a:gd name="T31" fmla="*/ 52 h 52"/>
                <a:gd name="T32" fmla="*/ 4 w 43"/>
                <a:gd name="T33" fmla="*/ 46 h 52"/>
                <a:gd name="T34" fmla="*/ 0 w 43"/>
                <a:gd name="T35" fmla="*/ 31 h 52"/>
                <a:gd name="T36" fmla="*/ 6 w 43"/>
                <a:gd name="T37" fmla="*/ 30 h 52"/>
                <a:gd name="T38" fmla="*/ 7 w 43"/>
                <a:gd name="T39" fmla="*/ 40 h 52"/>
                <a:gd name="T40" fmla="*/ 14 w 43"/>
                <a:gd name="T41" fmla="*/ 46 h 52"/>
                <a:gd name="T42" fmla="*/ 17 w 43"/>
                <a:gd name="T43" fmla="*/ 46 h 52"/>
                <a:gd name="T44" fmla="*/ 23 w 43"/>
                <a:gd name="T45" fmla="*/ 38 h 52"/>
                <a:gd name="T46" fmla="*/ 28 w 43"/>
                <a:gd name="T47" fmla="*/ 25 h 52"/>
                <a:gd name="T48" fmla="*/ 19 w 43"/>
                <a:gd name="T49" fmla="*/ 22 h 52"/>
                <a:gd name="T50" fmla="*/ 11 w 43"/>
                <a:gd name="T51" fmla="*/ 12 h 52"/>
                <a:gd name="T52" fmla="*/ 6 w 43"/>
                <a:gd name="T53" fmla="*/ 30 h 52"/>
                <a:gd name="T54" fmla="*/ 21 w 43"/>
                <a:gd name="T55" fmla="*/ 6 h 52"/>
                <a:gd name="T56" fmla="*/ 19 w 43"/>
                <a:gd name="T57" fmla="*/ 7 h 52"/>
                <a:gd name="T58" fmla="*/ 17 w 43"/>
                <a:gd name="T59" fmla="*/ 11 h 52"/>
                <a:gd name="T60" fmla="*/ 18 w 43"/>
                <a:gd name="T61" fmla="*/ 12 h 52"/>
                <a:gd name="T62" fmla="*/ 22 w 43"/>
                <a:gd name="T63" fmla="*/ 18 h 52"/>
                <a:gd name="T64" fmla="*/ 28 w 43"/>
                <a:gd name="T65" fmla="*/ 20 h 52"/>
                <a:gd name="T66" fmla="*/ 27 w 43"/>
                <a:gd name="T67" fmla="*/ 15 h 52"/>
                <a:gd name="T68" fmla="*/ 21 w 43"/>
                <a:gd name="T69"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31"/>
                  </a:moveTo>
                  <a:cubicBezTo>
                    <a:pt x="0" y="27"/>
                    <a:pt x="1" y="24"/>
                    <a:pt x="2" y="20"/>
                  </a:cubicBezTo>
                  <a:cubicBezTo>
                    <a:pt x="3" y="14"/>
                    <a:pt x="6" y="10"/>
                    <a:pt x="9" y="6"/>
                  </a:cubicBezTo>
                  <a:cubicBezTo>
                    <a:pt x="12" y="2"/>
                    <a:pt x="16" y="0"/>
                    <a:pt x="20" y="0"/>
                  </a:cubicBezTo>
                  <a:cubicBezTo>
                    <a:pt x="23" y="0"/>
                    <a:pt x="26" y="2"/>
                    <a:pt x="29" y="5"/>
                  </a:cubicBezTo>
                  <a:cubicBezTo>
                    <a:pt x="32" y="9"/>
                    <a:pt x="33" y="13"/>
                    <a:pt x="33" y="19"/>
                  </a:cubicBezTo>
                  <a:cubicBezTo>
                    <a:pt x="34" y="19"/>
                    <a:pt x="35" y="18"/>
                    <a:pt x="37" y="18"/>
                  </a:cubicBezTo>
                  <a:cubicBezTo>
                    <a:pt x="38" y="17"/>
                    <a:pt x="40" y="16"/>
                    <a:pt x="41" y="16"/>
                  </a:cubicBezTo>
                  <a:cubicBezTo>
                    <a:pt x="41" y="16"/>
                    <a:pt x="41" y="16"/>
                    <a:pt x="42" y="17"/>
                  </a:cubicBezTo>
                  <a:cubicBezTo>
                    <a:pt x="43" y="17"/>
                    <a:pt x="43" y="18"/>
                    <a:pt x="43" y="19"/>
                  </a:cubicBezTo>
                  <a:cubicBezTo>
                    <a:pt x="43" y="20"/>
                    <a:pt x="43" y="20"/>
                    <a:pt x="42" y="21"/>
                  </a:cubicBezTo>
                  <a:cubicBezTo>
                    <a:pt x="40" y="23"/>
                    <a:pt x="37" y="24"/>
                    <a:pt x="33" y="25"/>
                  </a:cubicBezTo>
                  <a:cubicBezTo>
                    <a:pt x="33" y="27"/>
                    <a:pt x="33" y="29"/>
                    <a:pt x="32" y="32"/>
                  </a:cubicBezTo>
                  <a:cubicBezTo>
                    <a:pt x="30" y="38"/>
                    <a:pt x="28" y="42"/>
                    <a:pt x="25" y="46"/>
                  </a:cubicBezTo>
                  <a:cubicBezTo>
                    <a:pt x="21" y="50"/>
                    <a:pt x="18" y="52"/>
                    <a:pt x="14" y="52"/>
                  </a:cubicBezTo>
                  <a:cubicBezTo>
                    <a:pt x="13" y="52"/>
                    <a:pt x="13" y="52"/>
                    <a:pt x="12" y="52"/>
                  </a:cubicBezTo>
                  <a:cubicBezTo>
                    <a:pt x="9" y="51"/>
                    <a:pt x="6" y="49"/>
                    <a:pt x="4" y="46"/>
                  </a:cubicBezTo>
                  <a:cubicBezTo>
                    <a:pt x="1" y="42"/>
                    <a:pt x="0" y="37"/>
                    <a:pt x="0" y="31"/>
                  </a:cubicBezTo>
                  <a:close/>
                  <a:moveTo>
                    <a:pt x="6" y="30"/>
                  </a:moveTo>
                  <a:cubicBezTo>
                    <a:pt x="6" y="34"/>
                    <a:pt x="6" y="37"/>
                    <a:pt x="7" y="40"/>
                  </a:cubicBezTo>
                  <a:cubicBezTo>
                    <a:pt x="9" y="44"/>
                    <a:pt x="11" y="46"/>
                    <a:pt x="14" y="46"/>
                  </a:cubicBezTo>
                  <a:cubicBezTo>
                    <a:pt x="15" y="46"/>
                    <a:pt x="16" y="46"/>
                    <a:pt x="17" y="46"/>
                  </a:cubicBezTo>
                  <a:cubicBezTo>
                    <a:pt x="19" y="45"/>
                    <a:pt x="21" y="42"/>
                    <a:pt x="23" y="38"/>
                  </a:cubicBezTo>
                  <a:cubicBezTo>
                    <a:pt x="26" y="34"/>
                    <a:pt x="27" y="30"/>
                    <a:pt x="28" y="25"/>
                  </a:cubicBezTo>
                  <a:cubicBezTo>
                    <a:pt x="24" y="25"/>
                    <a:pt x="21" y="24"/>
                    <a:pt x="19" y="22"/>
                  </a:cubicBezTo>
                  <a:cubicBezTo>
                    <a:pt x="15" y="20"/>
                    <a:pt x="13" y="16"/>
                    <a:pt x="11" y="12"/>
                  </a:cubicBezTo>
                  <a:cubicBezTo>
                    <a:pt x="8" y="17"/>
                    <a:pt x="6" y="23"/>
                    <a:pt x="6" y="30"/>
                  </a:cubicBezTo>
                  <a:close/>
                  <a:moveTo>
                    <a:pt x="21" y="6"/>
                  </a:moveTo>
                  <a:cubicBezTo>
                    <a:pt x="20" y="6"/>
                    <a:pt x="20" y="6"/>
                    <a:pt x="19" y="7"/>
                  </a:cubicBezTo>
                  <a:cubicBezTo>
                    <a:pt x="18" y="7"/>
                    <a:pt x="17" y="9"/>
                    <a:pt x="17" y="11"/>
                  </a:cubicBezTo>
                  <a:cubicBezTo>
                    <a:pt x="17" y="11"/>
                    <a:pt x="18" y="12"/>
                    <a:pt x="18" y="12"/>
                  </a:cubicBezTo>
                  <a:cubicBezTo>
                    <a:pt x="18" y="14"/>
                    <a:pt x="20" y="16"/>
                    <a:pt x="22" y="18"/>
                  </a:cubicBezTo>
                  <a:cubicBezTo>
                    <a:pt x="24" y="19"/>
                    <a:pt x="26" y="20"/>
                    <a:pt x="28" y="20"/>
                  </a:cubicBezTo>
                  <a:cubicBezTo>
                    <a:pt x="28" y="18"/>
                    <a:pt x="27" y="16"/>
                    <a:pt x="27" y="15"/>
                  </a:cubicBezTo>
                  <a:cubicBezTo>
                    <a:pt x="26" y="9"/>
                    <a:pt x="24" y="7"/>
                    <a:pt x="21" y="6"/>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47">
              <a:extLst>
                <a:ext uri="{FF2B5EF4-FFF2-40B4-BE49-F238E27FC236}">
                  <a16:creationId xmlns:a16="http://schemas.microsoft.com/office/drawing/2014/main" id="{F281B4D0-3DE0-42E6-BAB6-AE37AB06F0D0}"/>
                </a:ext>
              </a:extLst>
            </p:cNvPr>
            <p:cNvSpPr>
              <a:spLocks/>
            </p:cNvSpPr>
            <p:nvPr/>
          </p:nvSpPr>
          <p:spPr bwMode="auto">
            <a:xfrm>
              <a:off x="7197808" y="5028857"/>
              <a:ext cx="81089" cy="98929"/>
            </a:xfrm>
            <a:custGeom>
              <a:avLst/>
              <a:gdLst>
                <a:gd name="T0" fmla="*/ 36 w 42"/>
                <a:gd name="T1" fmla="*/ 48 h 51"/>
                <a:gd name="T2" fmla="*/ 36 w 42"/>
                <a:gd name="T3" fmla="*/ 48 h 51"/>
                <a:gd name="T4" fmla="*/ 34 w 42"/>
                <a:gd name="T5" fmla="*/ 51 h 51"/>
                <a:gd name="T6" fmla="*/ 32 w 42"/>
                <a:gd name="T7" fmla="*/ 50 h 51"/>
                <a:gd name="T8" fmla="*/ 31 w 42"/>
                <a:gd name="T9" fmla="*/ 48 h 51"/>
                <a:gd name="T10" fmla="*/ 34 w 42"/>
                <a:gd name="T11" fmla="*/ 21 h 51"/>
                <a:gd name="T12" fmla="*/ 22 w 42"/>
                <a:gd name="T13" fmla="*/ 47 h 51"/>
                <a:gd name="T14" fmla="*/ 21 w 42"/>
                <a:gd name="T15" fmla="*/ 49 h 51"/>
                <a:gd name="T16" fmla="*/ 18 w 42"/>
                <a:gd name="T17" fmla="*/ 51 h 51"/>
                <a:gd name="T18" fmla="*/ 17 w 42"/>
                <a:gd name="T19" fmla="*/ 51 h 51"/>
                <a:gd name="T20" fmla="*/ 15 w 42"/>
                <a:gd name="T21" fmla="*/ 48 h 51"/>
                <a:gd name="T22" fmla="*/ 10 w 42"/>
                <a:gd name="T23" fmla="*/ 20 h 51"/>
                <a:gd name="T24" fmla="*/ 6 w 42"/>
                <a:gd name="T25" fmla="*/ 48 h 51"/>
                <a:gd name="T26" fmla="*/ 6 w 42"/>
                <a:gd name="T27" fmla="*/ 48 h 51"/>
                <a:gd name="T28" fmla="*/ 3 w 42"/>
                <a:gd name="T29" fmla="*/ 51 h 51"/>
                <a:gd name="T30" fmla="*/ 2 w 42"/>
                <a:gd name="T31" fmla="*/ 50 h 51"/>
                <a:gd name="T32" fmla="*/ 0 w 42"/>
                <a:gd name="T33" fmla="*/ 48 h 51"/>
                <a:gd name="T34" fmla="*/ 5 w 42"/>
                <a:gd name="T35" fmla="*/ 12 h 51"/>
                <a:gd name="T36" fmla="*/ 6 w 42"/>
                <a:gd name="T37" fmla="*/ 2 h 51"/>
                <a:gd name="T38" fmla="*/ 7 w 42"/>
                <a:gd name="T39" fmla="*/ 1 h 51"/>
                <a:gd name="T40" fmla="*/ 9 w 42"/>
                <a:gd name="T41" fmla="*/ 0 h 51"/>
                <a:gd name="T42" fmla="*/ 10 w 42"/>
                <a:gd name="T43" fmla="*/ 0 h 51"/>
                <a:gd name="T44" fmla="*/ 11 w 42"/>
                <a:gd name="T45" fmla="*/ 1 h 51"/>
                <a:gd name="T46" fmla="*/ 16 w 42"/>
                <a:gd name="T47" fmla="*/ 23 h 51"/>
                <a:gd name="T48" fmla="*/ 19 w 42"/>
                <a:gd name="T49" fmla="*/ 39 h 51"/>
                <a:gd name="T50" fmla="*/ 37 w 42"/>
                <a:gd name="T51" fmla="*/ 2 h 51"/>
                <a:gd name="T52" fmla="*/ 37 w 42"/>
                <a:gd name="T53" fmla="*/ 1 h 51"/>
                <a:gd name="T54" fmla="*/ 40 w 42"/>
                <a:gd name="T55" fmla="*/ 0 h 51"/>
                <a:gd name="T56" fmla="*/ 41 w 42"/>
                <a:gd name="T57" fmla="*/ 0 h 51"/>
                <a:gd name="T58" fmla="*/ 42 w 42"/>
                <a:gd name="T59" fmla="*/ 2 h 51"/>
                <a:gd name="T60" fmla="*/ 42 w 42"/>
                <a:gd name="T61" fmla="*/ 5 h 51"/>
                <a:gd name="T62" fmla="*/ 36 w 42"/>
                <a:gd name="T63"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51">
                  <a:moveTo>
                    <a:pt x="36" y="48"/>
                  </a:moveTo>
                  <a:cubicBezTo>
                    <a:pt x="36" y="48"/>
                    <a:pt x="36" y="48"/>
                    <a:pt x="36" y="48"/>
                  </a:cubicBezTo>
                  <a:cubicBezTo>
                    <a:pt x="36" y="50"/>
                    <a:pt x="35" y="51"/>
                    <a:pt x="34" y="51"/>
                  </a:cubicBezTo>
                  <a:cubicBezTo>
                    <a:pt x="33" y="51"/>
                    <a:pt x="33" y="51"/>
                    <a:pt x="32" y="50"/>
                  </a:cubicBezTo>
                  <a:cubicBezTo>
                    <a:pt x="31" y="50"/>
                    <a:pt x="31" y="49"/>
                    <a:pt x="31" y="48"/>
                  </a:cubicBezTo>
                  <a:cubicBezTo>
                    <a:pt x="31" y="47"/>
                    <a:pt x="32" y="38"/>
                    <a:pt x="34" y="21"/>
                  </a:cubicBezTo>
                  <a:cubicBezTo>
                    <a:pt x="29" y="32"/>
                    <a:pt x="25" y="40"/>
                    <a:pt x="22" y="47"/>
                  </a:cubicBezTo>
                  <a:cubicBezTo>
                    <a:pt x="21" y="48"/>
                    <a:pt x="21" y="49"/>
                    <a:pt x="21" y="49"/>
                  </a:cubicBezTo>
                  <a:cubicBezTo>
                    <a:pt x="20" y="50"/>
                    <a:pt x="19" y="51"/>
                    <a:pt x="18" y="51"/>
                  </a:cubicBezTo>
                  <a:cubicBezTo>
                    <a:pt x="17" y="51"/>
                    <a:pt x="17" y="51"/>
                    <a:pt x="17" y="51"/>
                  </a:cubicBezTo>
                  <a:cubicBezTo>
                    <a:pt x="16" y="50"/>
                    <a:pt x="16" y="50"/>
                    <a:pt x="15" y="48"/>
                  </a:cubicBezTo>
                  <a:cubicBezTo>
                    <a:pt x="10" y="20"/>
                    <a:pt x="10" y="20"/>
                    <a:pt x="10" y="20"/>
                  </a:cubicBezTo>
                  <a:cubicBezTo>
                    <a:pt x="8" y="30"/>
                    <a:pt x="7" y="40"/>
                    <a:pt x="6" y="48"/>
                  </a:cubicBezTo>
                  <a:cubicBezTo>
                    <a:pt x="6" y="48"/>
                    <a:pt x="6" y="48"/>
                    <a:pt x="6" y="48"/>
                  </a:cubicBezTo>
                  <a:cubicBezTo>
                    <a:pt x="5" y="50"/>
                    <a:pt x="4" y="51"/>
                    <a:pt x="3" y="51"/>
                  </a:cubicBezTo>
                  <a:cubicBezTo>
                    <a:pt x="2" y="51"/>
                    <a:pt x="2" y="51"/>
                    <a:pt x="2" y="50"/>
                  </a:cubicBezTo>
                  <a:cubicBezTo>
                    <a:pt x="1" y="50"/>
                    <a:pt x="0" y="49"/>
                    <a:pt x="0" y="48"/>
                  </a:cubicBezTo>
                  <a:cubicBezTo>
                    <a:pt x="0" y="47"/>
                    <a:pt x="2" y="35"/>
                    <a:pt x="5" y="12"/>
                  </a:cubicBezTo>
                  <a:cubicBezTo>
                    <a:pt x="6" y="6"/>
                    <a:pt x="6" y="3"/>
                    <a:pt x="6" y="2"/>
                  </a:cubicBezTo>
                  <a:cubicBezTo>
                    <a:pt x="6" y="2"/>
                    <a:pt x="6" y="1"/>
                    <a:pt x="7" y="1"/>
                  </a:cubicBezTo>
                  <a:cubicBezTo>
                    <a:pt x="7" y="0"/>
                    <a:pt x="8" y="0"/>
                    <a:pt x="9" y="0"/>
                  </a:cubicBezTo>
                  <a:cubicBezTo>
                    <a:pt x="10" y="0"/>
                    <a:pt x="10" y="0"/>
                    <a:pt x="10" y="0"/>
                  </a:cubicBezTo>
                  <a:cubicBezTo>
                    <a:pt x="11" y="0"/>
                    <a:pt x="11" y="1"/>
                    <a:pt x="11" y="1"/>
                  </a:cubicBezTo>
                  <a:cubicBezTo>
                    <a:pt x="12" y="4"/>
                    <a:pt x="13" y="11"/>
                    <a:pt x="16" y="23"/>
                  </a:cubicBezTo>
                  <a:cubicBezTo>
                    <a:pt x="17" y="31"/>
                    <a:pt x="18" y="37"/>
                    <a:pt x="19" y="39"/>
                  </a:cubicBezTo>
                  <a:cubicBezTo>
                    <a:pt x="37" y="2"/>
                    <a:pt x="37" y="2"/>
                    <a:pt x="37" y="2"/>
                  </a:cubicBezTo>
                  <a:cubicBezTo>
                    <a:pt x="37" y="1"/>
                    <a:pt x="37" y="1"/>
                    <a:pt x="37" y="1"/>
                  </a:cubicBezTo>
                  <a:cubicBezTo>
                    <a:pt x="38" y="0"/>
                    <a:pt x="39" y="0"/>
                    <a:pt x="40" y="0"/>
                  </a:cubicBezTo>
                  <a:cubicBezTo>
                    <a:pt x="40" y="0"/>
                    <a:pt x="40" y="0"/>
                    <a:pt x="41" y="0"/>
                  </a:cubicBezTo>
                  <a:cubicBezTo>
                    <a:pt x="42" y="1"/>
                    <a:pt x="42" y="1"/>
                    <a:pt x="42" y="2"/>
                  </a:cubicBezTo>
                  <a:cubicBezTo>
                    <a:pt x="42" y="3"/>
                    <a:pt x="42" y="4"/>
                    <a:pt x="42" y="5"/>
                  </a:cubicBezTo>
                  <a:cubicBezTo>
                    <a:pt x="39" y="30"/>
                    <a:pt x="37" y="45"/>
                    <a:pt x="36" y="48"/>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48">
              <a:extLst>
                <a:ext uri="{FF2B5EF4-FFF2-40B4-BE49-F238E27FC236}">
                  <a16:creationId xmlns:a16="http://schemas.microsoft.com/office/drawing/2014/main" id="{DA7489D3-2555-43B8-A3E2-5F91DAC064CF}"/>
                </a:ext>
              </a:extLst>
            </p:cNvPr>
            <p:cNvSpPr>
              <a:spLocks/>
            </p:cNvSpPr>
            <p:nvPr/>
          </p:nvSpPr>
          <p:spPr bwMode="auto">
            <a:xfrm>
              <a:off x="7284573" y="5028857"/>
              <a:ext cx="78657" cy="131365"/>
            </a:xfrm>
            <a:custGeom>
              <a:avLst/>
              <a:gdLst>
                <a:gd name="T0" fmla="*/ 38 w 41"/>
                <a:gd name="T1" fmla="*/ 0 h 68"/>
                <a:gd name="T2" fmla="*/ 39 w 41"/>
                <a:gd name="T3" fmla="*/ 0 h 68"/>
                <a:gd name="T4" fmla="*/ 41 w 41"/>
                <a:gd name="T5" fmla="*/ 2 h 68"/>
                <a:gd name="T6" fmla="*/ 35 w 41"/>
                <a:gd name="T7" fmla="*/ 49 h 68"/>
                <a:gd name="T8" fmla="*/ 30 w 41"/>
                <a:gd name="T9" fmla="*/ 61 h 68"/>
                <a:gd name="T10" fmla="*/ 15 w 41"/>
                <a:gd name="T11" fmla="*/ 68 h 68"/>
                <a:gd name="T12" fmla="*/ 8 w 41"/>
                <a:gd name="T13" fmla="*/ 66 h 68"/>
                <a:gd name="T14" fmla="*/ 0 w 41"/>
                <a:gd name="T15" fmla="*/ 59 h 68"/>
                <a:gd name="T16" fmla="*/ 0 w 41"/>
                <a:gd name="T17" fmla="*/ 58 h 68"/>
                <a:gd name="T18" fmla="*/ 1 w 41"/>
                <a:gd name="T19" fmla="*/ 57 h 68"/>
                <a:gd name="T20" fmla="*/ 3 w 41"/>
                <a:gd name="T21" fmla="*/ 55 h 68"/>
                <a:gd name="T22" fmla="*/ 5 w 41"/>
                <a:gd name="T23" fmla="*/ 57 h 68"/>
                <a:gd name="T24" fmla="*/ 16 w 41"/>
                <a:gd name="T25" fmla="*/ 63 h 68"/>
                <a:gd name="T26" fmla="*/ 25 w 41"/>
                <a:gd name="T27" fmla="*/ 58 h 68"/>
                <a:gd name="T28" fmla="*/ 30 w 41"/>
                <a:gd name="T29" fmla="*/ 45 h 68"/>
                <a:gd name="T30" fmla="*/ 27 w 41"/>
                <a:gd name="T31" fmla="*/ 48 h 68"/>
                <a:gd name="T32" fmla="*/ 19 w 41"/>
                <a:gd name="T33" fmla="*/ 51 h 68"/>
                <a:gd name="T34" fmla="*/ 17 w 41"/>
                <a:gd name="T35" fmla="*/ 51 h 68"/>
                <a:gd name="T36" fmla="*/ 9 w 41"/>
                <a:gd name="T37" fmla="*/ 45 h 68"/>
                <a:gd name="T38" fmla="*/ 5 w 41"/>
                <a:gd name="T39" fmla="*/ 30 h 68"/>
                <a:gd name="T40" fmla="*/ 5 w 41"/>
                <a:gd name="T41" fmla="*/ 21 h 68"/>
                <a:gd name="T42" fmla="*/ 8 w 41"/>
                <a:gd name="T43" fmla="*/ 2 h 68"/>
                <a:gd name="T44" fmla="*/ 9 w 41"/>
                <a:gd name="T45" fmla="*/ 2 h 68"/>
                <a:gd name="T46" fmla="*/ 11 w 41"/>
                <a:gd name="T47" fmla="*/ 0 h 68"/>
                <a:gd name="T48" fmla="*/ 12 w 41"/>
                <a:gd name="T49" fmla="*/ 0 h 68"/>
                <a:gd name="T50" fmla="*/ 14 w 41"/>
                <a:gd name="T51" fmla="*/ 2 h 68"/>
                <a:gd name="T52" fmla="*/ 12 w 41"/>
                <a:gd name="T53" fmla="*/ 12 h 68"/>
                <a:gd name="T54" fmla="*/ 11 w 41"/>
                <a:gd name="T55" fmla="*/ 28 h 68"/>
                <a:gd name="T56" fmla="*/ 13 w 41"/>
                <a:gd name="T57" fmla="*/ 40 h 68"/>
                <a:gd name="T58" fmla="*/ 19 w 41"/>
                <a:gd name="T59" fmla="*/ 45 h 68"/>
                <a:gd name="T60" fmla="*/ 20 w 41"/>
                <a:gd name="T61" fmla="*/ 45 h 68"/>
                <a:gd name="T62" fmla="*/ 27 w 41"/>
                <a:gd name="T63" fmla="*/ 40 h 68"/>
                <a:gd name="T64" fmla="*/ 32 w 41"/>
                <a:gd name="T65" fmla="*/ 28 h 68"/>
                <a:gd name="T66" fmla="*/ 35 w 41"/>
                <a:gd name="T67" fmla="*/ 2 h 68"/>
                <a:gd name="T68" fmla="*/ 36 w 41"/>
                <a:gd name="T69" fmla="*/ 1 h 68"/>
                <a:gd name="T70" fmla="*/ 38 w 41"/>
                <a:gd name="T7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 h="68">
                  <a:moveTo>
                    <a:pt x="38" y="0"/>
                  </a:moveTo>
                  <a:cubicBezTo>
                    <a:pt x="39" y="0"/>
                    <a:pt x="39" y="0"/>
                    <a:pt x="39" y="0"/>
                  </a:cubicBezTo>
                  <a:cubicBezTo>
                    <a:pt x="40" y="1"/>
                    <a:pt x="41" y="1"/>
                    <a:pt x="41" y="2"/>
                  </a:cubicBezTo>
                  <a:cubicBezTo>
                    <a:pt x="37" y="31"/>
                    <a:pt x="35" y="46"/>
                    <a:pt x="35" y="49"/>
                  </a:cubicBezTo>
                  <a:cubicBezTo>
                    <a:pt x="34" y="54"/>
                    <a:pt x="32" y="58"/>
                    <a:pt x="30" y="61"/>
                  </a:cubicBezTo>
                  <a:cubicBezTo>
                    <a:pt x="26" y="66"/>
                    <a:pt x="22" y="68"/>
                    <a:pt x="15" y="68"/>
                  </a:cubicBezTo>
                  <a:cubicBezTo>
                    <a:pt x="13" y="68"/>
                    <a:pt x="11" y="67"/>
                    <a:pt x="8" y="66"/>
                  </a:cubicBezTo>
                  <a:cubicBezTo>
                    <a:pt x="4" y="64"/>
                    <a:pt x="2" y="62"/>
                    <a:pt x="0" y="59"/>
                  </a:cubicBezTo>
                  <a:cubicBezTo>
                    <a:pt x="0" y="59"/>
                    <a:pt x="0" y="59"/>
                    <a:pt x="0" y="58"/>
                  </a:cubicBezTo>
                  <a:cubicBezTo>
                    <a:pt x="0" y="58"/>
                    <a:pt x="0" y="57"/>
                    <a:pt x="1" y="57"/>
                  </a:cubicBezTo>
                  <a:cubicBezTo>
                    <a:pt x="1" y="56"/>
                    <a:pt x="2" y="55"/>
                    <a:pt x="3" y="55"/>
                  </a:cubicBezTo>
                  <a:cubicBezTo>
                    <a:pt x="4" y="55"/>
                    <a:pt x="4" y="56"/>
                    <a:pt x="5" y="57"/>
                  </a:cubicBezTo>
                  <a:cubicBezTo>
                    <a:pt x="8" y="61"/>
                    <a:pt x="12" y="63"/>
                    <a:pt x="16" y="63"/>
                  </a:cubicBezTo>
                  <a:cubicBezTo>
                    <a:pt x="20" y="63"/>
                    <a:pt x="22" y="61"/>
                    <a:pt x="25" y="58"/>
                  </a:cubicBezTo>
                  <a:cubicBezTo>
                    <a:pt x="28" y="55"/>
                    <a:pt x="29" y="50"/>
                    <a:pt x="30" y="45"/>
                  </a:cubicBezTo>
                  <a:cubicBezTo>
                    <a:pt x="29" y="46"/>
                    <a:pt x="28" y="47"/>
                    <a:pt x="27" y="48"/>
                  </a:cubicBezTo>
                  <a:cubicBezTo>
                    <a:pt x="24" y="50"/>
                    <a:pt x="21" y="51"/>
                    <a:pt x="19" y="51"/>
                  </a:cubicBezTo>
                  <a:cubicBezTo>
                    <a:pt x="18" y="51"/>
                    <a:pt x="18" y="51"/>
                    <a:pt x="17" y="51"/>
                  </a:cubicBezTo>
                  <a:cubicBezTo>
                    <a:pt x="14" y="50"/>
                    <a:pt x="11" y="48"/>
                    <a:pt x="9" y="45"/>
                  </a:cubicBezTo>
                  <a:cubicBezTo>
                    <a:pt x="6" y="41"/>
                    <a:pt x="5" y="36"/>
                    <a:pt x="5" y="30"/>
                  </a:cubicBezTo>
                  <a:cubicBezTo>
                    <a:pt x="5" y="27"/>
                    <a:pt x="5" y="24"/>
                    <a:pt x="5" y="21"/>
                  </a:cubicBezTo>
                  <a:cubicBezTo>
                    <a:pt x="6" y="17"/>
                    <a:pt x="7" y="11"/>
                    <a:pt x="8" y="2"/>
                  </a:cubicBezTo>
                  <a:cubicBezTo>
                    <a:pt x="9" y="2"/>
                    <a:pt x="9" y="2"/>
                    <a:pt x="9" y="2"/>
                  </a:cubicBezTo>
                  <a:cubicBezTo>
                    <a:pt x="9" y="0"/>
                    <a:pt x="10" y="0"/>
                    <a:pt x="11" y="0"/>
                  </a:cubicBezTo>
                  <a:cubicBezTo>
                    <a:pt x="11" y="0"/>
                    <a:pt x="12" y="0"/>
                    <a:pt x="12" y="0"/>
                  </a:cubicBezTo>
                  <a:cubicBezTo>
                    <a:pt x="13" y="1"/>
                    <a:pt x="14" y="1"/>
                    <a:pt x="14" y="2"/>
                  </a:cubicBezTo>
                  <a:cubicBezTo>
                    <a:pt x="14" y="4"/>
                    <a:pt x="13" y="7"/>
                    <a:pt x="12" y="12"/>
                  </a:cubicBezTo>
                  <a:cubicBezTo>
                    <a:pt x="11" y="20"/>
                    <a:pt x="11" y="25"/>
                    <a:pt x="11" y="28"/>
                  </a:cubicBezTo>
                  <a:cubicBezTo>
                    <a:pt x="11" y="33"/>
                    <a:pt x="11" y="37"/>
                    <a:pt x="13" y="40"/>
                  </a:cubicBezTo>
                  <a:cubicBezTo>
                    <a:pt x="14" y="43"/>
                    <a:pt x="16" y="45"/>
                    <a:pt x="19" y="45"/>
                  </a:cubicBezTo>
                  <a:cubicBezTo>
                    <a:pt x="20" y="45"/>
                    <a:pt x="20" y="45"/>
                    <a:pt x="20" y="45"/>
                  </a:cubicBezTo>
                  <a:cubicBezTo>
                    <a:pt x="22" y="45"/>
                    <a:pt x="24" y="43"/>
                    <a:pt x="27" y="40"/>
                  </a:cubicBezTo>
                  <a:cubicBezTo>
                    <a:pt x="29" y="36"/>
                    <a:pt x="31" y="32"/>
                    <a:pt x="32" y="28"/>
                  </a:cubicBezTo>
                  <a:cubicBezTo>
                    <a:pt x="35" y="2"/>
                    <a:pt x="35" y="2"/>
                    <a:pt x="35" y="2"/>
                  </a:cubicBezTo>
                  <a:cubicBezTo>
                    <a:pt x="35" y="2"/>
                    <a:pt x="36" y="2"/>
                    <a:pt x="36" y="1"/>
                  </a:cubicBezTo>
                  <a:cubicBezTo>
                    <a:pt x="36" y="0"/>
                    <a:pt x="37" y="0"/>
                    <a:pt x="38" y="0"/>
                  </a:cubicBezTo>
                  <a:close/>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249">
              <a:extLst>
                <a:ext uri="{FF2B5EF4-FFF2-40B4-BE49-F238E27FC236}">
                  <a16:creationId xmlns:a16="http://schemas.microsoft.com/office/drawing/2014/main" id="{4CEC8F7A-CBDA-43E7-B88C-C27FE914FECC}"/>
                </a:ext>
              </a:extLst>
            </p:cNvPr>
            <p:cNvSpPr>
              <a:spLocks noChangeArrowheads="1"/>
            </p:cNvSpPr>
            <p:nvPr/>
          </p:nvSpPr>
          <p:spPr bwMode="auto">
            <a:xfrm>
              <a:off x="7480809" y="5002097"/>
              <a:ext cx="150015" cy="148394"/>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250">
              <a:extLst>
                <a:ext uri="{FF2B5EF4-FFF2-40B4-BE49-F238E27FC236}">
                  <a16:creationId xmlns:a16="http://schemas.microsoft.com/office/drawing/2014/main" id="{C2D14FF4-9EFE-41F0-91AA-C2576F9AC240}"/>
                </a:ext>
              </a:extLst>
            </p:cNvPr>
            <p:cNvSpPr>
              <a:spLocks noChangeArrowheads="1"/>
            </p:cNvSpPr>
            <p:nvPr/>
          </p:nvSpPr>
          <p:spPr bwMode="auto">
            <a:xfrm>
              <a:off x="7521354" y="5087241"/>
              <a:ext cx="24327" cy="25138"/>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251">
              <a:extLst>
                <a:ext uri="{FF2B5EF4-FFF2-40B4-BE49-F238E27FC236}">
                  <a16:creationId xmlns:a16="http://schemas.microsoft.com/office/drawing/2014/main" id="{AF12488A-6A99-4B2C-8AAE-5C865B4A2810}"/>
                </a:ext>
              </a:extLst>
            </p:cNvPr>
            <p:cNvSpPr>
              <a:spLocks noChangeArrowheads="1"/>
            </p:cNvSpPr>
            <p:nvPr/>
          </p:nvSpPr>
          <p:spPr bwMode="auto">
            <a:xfrm>
              <a:off x="7514867" y="5058049"/>
              <a:ext cx="13785" cy="13785"/>
            </a:xfrm>
            <a:prstGeom prst="ellipse">
              <a:avLst/>
            </a:pr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252">
              <a:extLst>
                <a:ext uri="{FF2B5EF4-FFF2-40B4-BE49-F238E27FC236}">
                  <a16:creationId xmlns:a16="http://schemas.microsoft.com/office/drawing/2014/main" id="{75EA36E5-AA21-4A37-99CA-637F96459A63}"/>
                </a:ext>
              </a:extLst>
            </p:cNvPr>
            <p:cNvSpPr>
              <a:spLocks/>
            </p:cNvSpPr>
            <p:nvPr/>
          </p:nvSpPr>
          <p:spPr bwMode="auto">
            <a:xfrm>
              <a:off x="7420803" y="4965607"/>
              <a:ext cx="273271" cy="217320"/>
            </a:xfrm>
            <a:custGeom>
              <a:avLst/>
              <a:gdLst>
                <a:gd name="T0" fmla="*/ 33 w 142"/>
                <a:gd name="T1" fmla="*/ 67 h 113"/>
                <a:gd name="T2" fmla="*/ 8 w 142"/>
                <a:gd name="T3" fmla="*/ 106 h 113"/>
                <a:gd name="T4" fmla="*/ 83 w 142"/>
                <a:gd name="T5" fmla="*/ 71 h 113"/>
                <a:gd name="T6" fmla="*/ 134 w 142"/>
                <a:gd name="T7" fmla="*/ 8 h 113"/>
                <a:gd name="T8" fmla="*/ 88 w 142"/>
                <a:gd name="T9" fmla="*/ 24 h 113"/>
                <a:gd name="T10" fmla="*/ 93 w 142"/>
                <a:gd name="T11" fmla="*/ 27 h 113"/>
                <a:gd name="T12" fmla="*/ 123 w 142"/>
                <a:gd name="T13" fmla="*/ 17 h 113"/>
                <a:gd name="T14" fmla="*/ 80 w 142"/>
                <a:gd name="T15" fmla="*/ 67 h 113"/>
                <a:gd name="T16" fmla="*/ 18 w 142"/>
                <a:gd name="T17" fmla="*/ 98 h 113"/>
                <a:gd name="T18" fmla="*/ 34 w 142"/>
                <a:gd name="T19" fmla="*/ 72 h 113"/>
                <a:gd name="T20" fmla="*/ 33 w 142"/>
                <a:gd name="T21" fmla="*/ 6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13">
                  <a:moveTo>
                    <a:pt x="33" y="67"/>
                  </a:moveTo>
                  <a:cubicBezTo>
                    <a:pt x="33" y="68"/>
                    <a:pt x="0" y="99"/>
                    <a:pt x="8" y="106"/>
                  </a:cubicBezTo>
                  <a:cubicBezTo>
                    <a:pt x="17" y="113"/>
                    <a:pt x="53" y="96"/>
                    <a:pt x="83" y="71"/>
                  </a:cubicBezTo>
                  <a:cubicBezTo>
                    <a:pt x="114" y="46"/>
                    <a:pt x="142" y="16"/>
                    <a:pt x="134" y="8"/>
                  </a:cubicBezTo>
                  <a:cubicBezTo>
                    <a:pt x="127" y="0"/>
                    <a:pt x="88" y="24"/>
                    <a:pt x="88" y="24"/>
                  </a:cubicBezTo>
                  <a:cubicBezTo>
                    <a:pt x="93" y="27"/>
                    <a:pt x="93" y="27"/>
                    <a:pt x="93" y="27"/>
                  </a:cubicBezTo>
                  <a:cubicBezTo>
                    <a:pt x="93" y="27"/>
                    <a:pt x="116" y="12"/>
                    <a:pt x="123" y="17"/>
                  </a:cubicBezTo>
                  <a:cubicBezTo>
                    <a:pt x="131" y="23"/>
                    <a:pt x="110" y="46"/>
                    <a:pt x="80" y="67"/>
                  </a:cubicBezTo>
                  <a:cubicBezTo>
                    <a:pt x="51" y="89"/>
                    <a:pt x="22" y="104"/>
                    <a:pt x="18" y="98"/>
                  </a:cubicBezTo>
                  <a:cubicBezTo>
                    <a:pt x="14" y="92"/>
                    <a:pt x="34" y="72"/>
                    <a:pt x="34" y="72"/>
                  </a:cubicBezTo>
                  <a:cubicBezTo>
                    <a:pt x="33" y="67"/>
                    <a:pt x="33" y="67"/>
                    <a:pt x="33" y="67"/>
                  </a:cubicBezTo>
                </a:path>
              </a:pathLst>
            </a:cu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253">
              <a:extLst>
                <a:ext uri="{FF2B5EF4-FFF2-40B4-BE49-F238E27FC236}">
                  <a16:creationId xmlns:a16="http://schemas.microsoft.com/office/drawing/2014/main" id="{A6A93986-E1A4-431A-999E-50C24BB43EB0}"/>
                </a:ext>
              </a:extLst>
            </p:cNvPr>
            <p:cNvSpPr>
              <a:spLocks noChangeArrowheads="1"/>
            </p:cNvSpPr>
            <p:nvPr/>
          </p:nvSpPr>
          <p:spPr bwMode="auto">
            <a:xfrm>
              <a:off x="7486486" y="5023180"/>
              <a:ext cx="28381" cy="104605"/>
            </a:xfrm>
            <a:prstGeom prst="rect">
              <a:avLst/>
            </a:prstGeom>
            <a:solidFill>
              <a:srgbClr val="2F3E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54">
              <a:extLst>
                <a:ext uri="{FF2B5EF4-FFF2-40B4-BE49-F238E27FC236}">
                  <a16:creationId xmlns:a16="http://schemas.microsoft.com/office/drawing/2014/main" id="{E1E74A9E-1651-48BC-8675-9CD42CCAF93F}"/>
                </a:ext>
              </a:extLst>
            </p:cNvPr>
            <p:cNvSpPr>
              <a:spLocks noChangeArrowheads="1"/>
            </p:cNvSpPr>
            <p:nvPr/>
          </p:nvSpPr>
          <p:spPr bwMode="auto">
            <a:xfrm>
              <a:off x="7724888" y="4946145"/>
              <a:ext cx="5676"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255">
              <a:extLst>
                <a:ext uri="{FF2B5EF4-FFF2-40B4-BE49-F238E27FC236}">
                  <a16:creationId xmlns:a16="http://schemas.microsoft.com/office/drawing/2014/main" id="{7CEC0727-674F-45ED-8406-180C6BFDC2C9}"/>
                </a:ext>
              </a:extLst>
            </p:cNvPr>
            <p:cNvSpPr>
              <a:spLocks noChangeArrowheads="1"/>
            </p:cNvSpPr>
            <p:nvPr/>
          </p:nvSpPr>
          <p:spPr bwMode="auto">
            <a:xfrm>
              <a:off x="6570176" y="4946145"/>
              <a:ext cx="405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56">
              <a:extLst>
                <a:ext uri="{FF2B5EF4-FFF2-40B4-BE49-F238E27FC236}">
                  <a16:creationId xmlns:a16="http://schemas.microsoft.com/office/drawing/2014/main" id="{7A728E25-00F2-48A5-A34C-35DF3456B6AC}"/>
                </a:ext>
              </a:extLst>
            </p:cNvPr>
            <p:cNvSpPr>
              <a:spLocks noChangeArrowheads="1"/>
            </p:cNvSpPr>
            <p:nvPr/>
          </p:nvSpPr>
          <p:spPr bwMode="auto">
            <a:xfrm>
              <a:off x="7750026" y="4946145"/>
              <a:ext cx="405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57">
              <a:extLst>
                <a:ext uri="{FF2B5EF4-FFF2-40B4-BE49-F238E27FC236}">
                  <a16:creationId xmlns:a16="http://schemas.microsoft.com/office/drawing/2014/main" id="{EE5C3B6D-282C-4CA9-AB78-E9C6D03E64ED}"/>
                </a:ext>
              </a:extLst>
            </p:cNvPr>
            <p:cNvSpPr>
              <a:spLocks noChangeArrowheads="1"/>
            </p:cNvSpPr>
            <p:nvPr/>
          </p:nvSpPr>
          <p:spPr bwMode="auto">
            <a:xfrm>
              <a:off x="6547471" y="4946145"/>
              <a:ext cx="3244" cy="260297"/>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8">
              <a:extLst>
                <a:ext uri="{FF2B5EF4-FFF2-40B4-BE49-F238E27FC236}">
                  <a16:creationId xmlns:a16="http://schemas.microsoft.com/office/drawing/2014/main" id="{C6740693-B411-4152-BF99-D2B7B8279F89}"/>
                </a:ext>
              </a:extLst>
            </p:cNvPr>
            <p:cNvSpPr>
              <a:spLocks/>
            </p:cNvSpPr>
            <p:nvPr/>
          </p:nvSpPr>
          <p:spPr bwMode="auto">
            <a:xfrm>
              <a:off x="7428912" y="4522859"/>
              <a:ext cx="182451" cy="196236"/>
            </a:xfrm>
            <a:custGeom>
              <a:avLst/>
              <a:gdLst>
                <a:gd name="T0" fmla="*/ 95 w 95"/>
                <a:gd name="T1" fmla="*/ 0 h 102"/>
                <a:gd name="T2" fmla="*/ 95 w 95"/>
                <a:gd name="T3" fmla="*/ 102 h 102"/>
                <a:gd name="T4" fmla="*/ 0 w 95"/>
                <a:gd name="T5" fmla="*/ 102 h 102"/>
                <a:gd name="T6" fmla="*/ 0 w 95"/>
                <a:gd name="T7" fmla="*/ 0 h 102"/>
                <a:gd name="T8" fmla="*/ 95 w 95"/>
                <a:gd name="T9" fmla="*/ 0 h 102"/>
              </a:gdLst>
              <a:ahLst/>
              <a:cxnLst>
                <a:cxn ang="0">
                  <a:pos x="T0" y="T1"/>
                </a:cxn>
                <a:cxn ang="0">
                  <a:pos x="T2" y="T3"/>
                </a:cxn>
                <a:cxn ang="0">
                  <a:pos x="T4" y="T5"/>
                </a:cxn>
                <a:cxn ang="0">
                  <a:pos x="T6" y="T7"/>
                </a:cxn>
                <a:cxn ang="0">
                  <a:pos x="T8" y="T9"/>
                </a:cxn>
              </a:cxnLst>
              <a:rect l="0" t="0" r="r" b="b"/>
              <a:pathLst>
                <a:path w="95" h="102">
                  <a:moveTo>
                    <a:pt x="95" y="0"/>
                  </a:moveTo>
                  <a:cubicBezTo>
                    <a:pt x="95" y="4"/>
                    <a:pt x="95" y="102"/>
                    <a:pt x="95" y="102"/>
                  </a:cubicBezTo>
                  <a:cubicBezTo>
                    <a:pt x="0" y="102"/>
                    <a:pt x="0" y="102"/>
                    <a:pt x="0" y="102"/>
                  </a:cubicBezTo>
                  <a:cubicBezTo>
                    <a:pt x="0" y="0"/>
                    <a:pt x="0" y="0"/>
                    <a:pt x="0" y="0"/>
                  </a:cubicBezTo>
                  <a:lnTo>
                    <a:pt x="95"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59">
              <a:extLst>
                <a:ext uri="{FF2B5EF4-FFF2-40B4-BE49-F238E27FC236}">
                  <a16:creationId xmlns:a16="http://schemas.microsoft.com/office/drawing/2014/main" id="{F7FE13AC-2EAE-4CFE-85D5-6F2685754D32}"/>
                </a:ext>
              </a:extLst>
            </p:cNvPr>
            <p:cNvSpPr>
              <a:spLocks/>
            </p:cNvSpPr>
            <p:nvPr/>
          </p:nvSpPr>
          <p:spPr bwMode="auto">
            <a:xfrm>
              <a:off x="6575852" y="4501776"/>
              <a:ext cx="1049297" cy="231105"/>
            </a:xfrm>
            <a:custGeom>
              <a:avLst/>
              <a:gdLst>
                <a:gd name="T0" fmla="*/ 15 w 545"/>
                <a:gd name="T1" fmla="*/ 2 h 120"/>
                <a:gd name="T2" fmla="*/ 15 w 545"/>
                <a:gd name="T3" fmla="*/ 120 h 120"/>
                <a:gd name="T4" fmla="*/ 543 w 545"/>
                <a:gd name="T5" fmla="*/ 120 h 120"/>
                <a:gd name="T6" fmla="*/ 543 w 545"/>
                <a:gd name="T7" fmla="*/ 113 h 120"/>
                <a:gd name="T8" fmla="*/ 510 w 545"/>
                <a:gd name="T9" fmla="*/ 113 h 120"/>
                <a:gd name="T10" fmla="*/ 459 w 545"/>
                <a:gd name="T11" fmla="*/ 62 h 120"/>
                <a:gd name="T12" fmla="*/ 510 w 545"/>
                <a:gd name="T13" fmla="*/ 11 h 120"/>
                <a:gd name="T14" fmla="*/ 545 w 545"/>
                <a:gd name="T15" fmla="*/ 11 h 120"/>
                <a:gd name="T16" fmla="*/ 545 w 545"/>
                <a:gd name="T17" fmla="*/ 0 h 120"/>
                <a:gd name="T18" fmla="*/ 15 w 545"/>
                <a:gd name="T19" fmla="*/ 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5" h="120">
                  <a:moveTo>
                    <a:pt x="15" y="2"/>
                  </a:moveTo>
                  <a:cubicBezTo>
                    <a:pt x="0" y="38"/>
                    <a:pt x="2" y="78"/>
                    <a:pt x="15" y="120"/>
                  </a:cubicBezTo>
                  <a:cubicBezTo>
                    <a:pt x="543" y="120"/>
                    <a:pt x="543" y="120"/>
                    <a:pt x="543" y="120"/>
                  </a:cubicBezTo>
                  <a:cubicBezTo>
                    <a:pt x="543" y="113"/>
                    <a:pt x="543" y="113"/>
                    <a:pt x="543" y="113"/>
                  </a:cubicBezTo>
                  <a:cubicBezTo>
                    <a:pt x="510" y="113"/>
                    <a:pt x="510" y="113"/>
                    <a:pt x="510" y="113"/>
                  </a:cubicBezTo>
                  <a:cubicBezTo>
                    <a:pt x="482" y="113"/>
                    <a:pt x="459" y="90"/>
                    <a:pt x="459" y="62"/>
                  </a:cubicBezTo>
                  <a:cubicBezTo>
                    <a:pt x="459" y="34"/>
                    <a:pt x="482" y="11"/>
                    <a:pt x="510" y="11"/>
                  </a:cubicBezTo>
                  <a:cubicBezTo>
                    <a:pt x="545" y="11"/>
                    <a:pt x="545" y="11"/>
                    <a:pt x="545" y="11"/>
                  </a:cubicBezTo>
                  <a:cubicBezTo>
                    <a:pt x="545" y="0"/>
                    <a:pt x="545" y="0"/>
                    <a:pt x="545" y="0"/>
                  </a:cubicBezTo>
                  <a:cubicBezTo>
                    <a:pt x="15" y="2"/>
                    <a:pt x="15" y="2"/>
                    <a:pt x="15" y="2"/>
                  </a:cubicBezTo>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Oval 260">
              <a:extLst>
                <a:ext uri="{FF2B5EF4-FFF2-40B4-BE49-F238E27FC236}">
                  <a16:creationId xmlns:a16="http://schemas.microsoft.com/office/drawing/2014/main" id="{CCEDA342-29FE-458D-A8CF-C158245459BC}"/>
                </a:ext>
              </a:extLst>
            </p:cNvPr>
            <p:cNvSpPr>
              <a:spLocks noChangeArrowheads="1"/>
            </p:cNvSpPr>
            <p:nvPr/>
          </p:nvSpPr>
          <p:spPr bwMode="auto">
            <a:xfrm>
              <a:off x="6593692" y="4536644"/>
              <a:ext cx="90982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61">
              <a:extLst>
                <a:ext uri="{FF2B5EF4-FFF2-40B4-BE49-F238E27FC236}">
                  <a16:creationId xmlns:a16="http://schemas.microsoft.com/office/drawing/2014/main" id="{30408DB7-2B61-415E-BC62-5406BE29018C}"/>
                </a:ext>
              </a:extLst>
            </p:cNvPr>
            <p:cNvSpPr>
              <a:spLocks noChangeArrowheads="1"/>
            </p:cNvSpPr>
            <p:nvPr/>
          </p:nvSpPr>
          <p:spPr bwMode="auto">
            <a:xfrm>
              <a:off x="6596935" y="4706121"/>
              <a:ext cx="916310"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62">
              <a:extLst>
                <a:ext uri="{FF2B5EF4-FFF2-40B4-BE49-F238E27FC236}">
                  <a16:creationId xmlns:a16="http://schemas.microsoft.com/office/drawing/2014/main" id="{B15F08CF-4A26-49A7-85AB-1166B681FB50}"/>
                </a:ext>
              </a:extLst>
            </p:cNvPr>
            <p:cNvSpPr>
              <a:spLocks noEditPoints="1"/>
            </p:cNvSpPr>
            <p:nvPr/>
          </p:nvSpPr>
          <p:spPr bwMode="auto">
            <a:xfrm>
              <a:off x="6955350" y="4570702"/>
              <a:ext cx="51897" cy="89198"/>
            </a:xfrm>
            <a:custGeom>
              <a:avLst/>
              <a:gdLst>
                <a:gd name="T0" fmla="*/ 7 w 27"/>
                <a:gd name="T1" fmla="*/ 42 h 46"/>
                <a:gd name="T2" fmla="*/ 5 w 27"/>
                <a:gd name="T3" fmla="*/ 42 h 46"/>
                <a:gd name="T4" fmla="*/ 7 w 27"/>
                <a:gd name="T5" fmla="*/ 25 h 46"/>
                <a:gd name="T6" fmla="*/ 17 w 27"/>
                <a:gd name="T7" fmla="*/ 26 h 46"/>
                <a:gd name="T8" fmla="*/ 22 w 27"/>
                <a:gd name="T9" fmla="*/ 32 h 46"/>
                <a:gd name="T10" fmla="*/ 15 w 27"/>
                <a:gd name="T11" fmla="*/ 41 h 46"/>
                <a:gd name="T12" fmla="*/ 7 w 27"/>
                <a:gd name="T13" fmla="*/ 42 h 46"/>
                <a:gd name="T14" fmla="*/ 7 w 27"/>
                <a:gd name="T15" fmla="*/ 20 h 46"/>
                <a:gd name="T16" fmla="*/ 10 w 27"/>
                <a:gd name="T17" fmla="*/ 5 h 46"/>
                <a:gd name="T18" fmla="*/ 11 w 27"/>
                <a:gd name="T19" fmla="*/ 5 h 46"/>
                <a:gd name="T20" fmla="*/ 18 w 27"/>
                <a:gd name="T21" fmla="*/ 6 h 46"/>
                <a:gd name="T22" fmla="*/ 20 w 27"/>
                <a:gd name="T23" fmla="*/ 10 h 46"/>
                <a:gd name="T24" fmla="*/ 9 w 27"/>
                <a:gd name="T25" fmla="*/ 20 h 46"/>
                <a:gd name="T26" fmla="*/ 7 w 27"/>
                <a:gd name="T27" fmla="*/ 20 h 46"/>
                <a:gd name="T28" fmla="*/ 12 w 27"/>
                <a:gd name="T29" fmla="*/ 0 h 46"/>
                <a:gd name="T30" fmla="*/ 7 w 27"/>
                <a:gd name="T31" fmla="*/ 1 h 46"/>
                <a:gd name="T32" fmla="*/ 5 w 27"/>
                <a:gd name="T33" fmla="*/ 2 h 46"/>
                <a:gd name="T34" fmla="*/ 5 w 27"/>
                <a:gd name="T35" fmla="*/ 3 h 46"/>
                <a:gd name="T36" fmla="*/ 0 w 27"/>
                <a:gd name="T37" fmla="*/ 43 h 46"/>
                <a:gd name="T38" fmla="*/ 1 w 27"/>
                <a:gd name="T39" fmla="*/ 45 h 46"/>
                <a:gd name="T40" fmla="*/ 2 w 27"/>
                <a:gd name="T41" fmla="*/ 46 h 46"/>
                <a:gd name="T42" fmla="*/ 7 w 27"/>
                <a:gd name="T43" fmla="*/ 46 h 46"/>
                <a:gd name="T44" fmla="*/ 26 w 27"/>
                <a:gd name="T45" fmla="*/ 38 h 46"/>
                <a:gd name="T46" fmla="*/ 27 w 27"/>
                <a:gd name="T47" fmla="*/ 32 h 46"/>
                <a:gd name="T48" fmla="*/ 19 w 27"/>
                <a:gd name="T49" fmla="*/ 22 h 46"/>
                <a:gd name="T50" fmla="*/ 24 w 27"/>
                <a:gd name="T51" fmla="*/ 10 h 46"/>
                <a:gd name="T52" fmla="*/ 12 w 27"/>
                <a:gd name="T5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6">
                  <a:moveTo>
                    <a:pt x="7" y="42"/>
                  </a:moveTo>
                  <a:cubicBezTo>
                    <a:pt x="7" y="42"/>
                    <a:pt x="6" y="42"/>
                    <a:pt x="5" y="42"/>
                  </a:cubicBezTo>
                  <a:cubicBezTo>
                    <a:pt x="7" y="25"/>
                    <a:pt x="7" y="25"/>
                    <a:pt x="7" y="25"/>
                  </a:cubicBezTo>
                  <a:cubicBezTo>
                    <a:pt x="11" y="25"/>
                    <a:pt x="15" y="25"/>
                    <a:pt x="17" y="26"/>
                  </a:cubicBezTo>
                  <a:cubicBezTo>
                    <a:pt x="20" y="27"/>
                    <a:pt x="22" y="29"/>
                    <a:pt x="22" y="32"/>
                  </a:cubicBezTo>
                  <a:cubicBezTo>
                    <a:pt x="22" y="36"/>
                    <a:pt x="20" y="39"/>
                    <a:pt x="15" y="41"/>
                  </a:cubicBezTo>
                  <a:cubicBezTo>
                    <a:pt x="13" y="41"/>
                    <a:pt x="10" y="42"/>
                    <a:pt x="7" y="42"/>
                  </a:cubicBezTo>
                  <a:moveTo>
                    <a:pt x="7" y="20"/>
                  </a:moveTo>
                  <a:cubicBezTo>
                    <a:pt x="10" y="5"/>
                    <a:pt x="10" y="5"/>
                    <a:pt x="10" y="5"/>
                  </a:cubicBezTo>
                  <a:cubicBezTo>
                    <a:pt x="10" y="5"/>
                    <a:pt x="10" y="5"/>
                    <a:pt x="11" y="5"/>
                  </a:cubicBezTo>
                  <a:cubicBezTo>
                    <a:pt x="14" y="5"/>
                    <a:pt x="17" y="5"/>
                    <a:pt x="18" y="6"/>
                  </a:cubicBezTo>
                  <a:cubicBezTo>
                    <a:pt x="19" y="7"/>
                    <a:pt x="20" y="8"/>
                    <a:pt x="20" y="10"/>
                  </a:cubicBezTo>
                  <a:cubicBezTo>
                    <a:pt x="20" y="16"/>
                    <a:pt x="16" y="20"/>
                    <a:pt x="9" y="20"/>
                  </a:cubicBezTo>
                  <a:cubicBezTo>
                    <a:pt x="9" y="20"/>
                    <a:pt x="8" y="20"/>
                    <a:pt x="7" y="20"/>
                  </a:cubicBezTo>
                  <a:moveTo>
                    <a:pt x="12" y="0"/>
                  </a:moveTo>
                  <a:cubicBezTo>
                    <a:pt x="10" y="0"/>
                    <a:pt x="9" y="1"/>
                    <a:pt x="7" y="1"/>
                  </a:cubicBezTo>
                  <a:cubicBezTo>
                    <a:pt x="6" y="1"/>
                    <a:pt x="6" y="1"/>
                    <a:pt x="5" y="2"/>
                  </a:cubicBezTo>
                  <a:cubicBezTo>
                    <a:pt x="5" y="3"/>
                    <a:pt x="5" y="3"/>
                    <a:pt x="5" y="3"/>
                  </a:cubicBezTo>
                  <a:cubicBezTo>
                    <a:pt x="0" y="43"/>
                    <a:pt x="0" y="43"/>
                    <a:pt x="0" y="43"/>
                  </a:cubicBezTo>
                  <a:cubicBezTo>
                    <a:pt x="0" y="44"/>
                    <a:pt x="0" y="45"/>
                    <a:pt x="1" y="45"/>
                  </a:cubicBezTo>
                  <a:cubicBezTo>
                    <a:pt x="1" y="46"/>
                    <a:pt x="2" y="46"/>
                    <a:pt x="2" y="46"/>
                  </a:cubicBezTo>
                  <a:cubicBezTo>
                    <a:pt x="5" y="46"/>
                    <a:pt x="6" y="46"/>
                    <a:pt x="7" y="46"/>
                  </a:cubicBezTo>
                  <a:cubicBezTo>
                    <a:pt x="17" y="46"/>
                    <a:pt x="23" y="43"/>
                    <a:pt x="26" y="38"/>
                  </a:cubicBezTo>
                  <a:cubicBezTo>
                    <a:pt x="26" y="36"/>
                    <a:pt x="27" y="34"/>
                    <a:pt x="27" y="32"/>
                  </a:cubicBezTo>
                  <a:cubicBezTo>
                    <a:pt x="27" y="27"/>
                    <a:pt x="24" y="23"/>
                    <a:pt x="19" y="22"/>
                  </a:cubicBezTo>
                  <a:cubicBezTo>
                    <a:pt x="23" y="19"/>
                    <a:pt x="24" y="15"/>
                    <a:pt x="24" y="10"/>
                  </a:cubicBezTo>
                  <a:cubicBezTo>
                    <a:pt x="24" y="4"/>
                    <a:pt x="20" y="0"/>
                    <a:pt x="12"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63">
              <a:extLst>
                <a:ext uri="{FF2B5EF4-FFF2-40B4-BE49-F238E27FC236}">
                  <a16:creationId xmlns:a16="http://schemas.microsoft.com/office/drawing/2014/main" id="{E854B0B5-D56C-4982-AFFA-4DF1773AE604}"/>
                </a:ext>
              </a:extLst>
            </p:cNvPr>
            <p:cNvSpPr>
              <a:spLocks noEditPoints="1"/>
            </p:cNvSpPr>
            <p:nvPr/>
          </p:nvSpPr>
          <p:spPr bwMode="auto">
            <a:xfrm>
              <a:off x="7016978" y="4573134"/>
              <a:ext cx="72980" cy="86766"/>
            </a:xfrm>
            <a:custGeom>
              <a:avLst/>
              <a:gdLst>
                <a:gd name="T0" fmla="*/ 13 w 38"/>
                <a:gd name="T1" fmla="*/ 40 h 45"/>
                <a:gd name="T2" fmla="*/ 7 w 38"/>
                <a:gd name="T3" fmla="*/ 35 h 45"/>
                <a:gd name="T4" fmla="*/ 5 w 38"/>
                <a:gd name="T5" fmla="*/ 26 h 45"/>
                <a:gd name="T6" fmla="*/ 10 w 38"/>
                <a:gd name="T7" fmla="*/ 10 h 45"/>
                <a:gd name="T8" fmla="*/ 17 w 38"/>
                <a:gd name="T9" fmla="*/ 19 h 45"/>
                <a:gd name="T10" fmla="*/ 25 w 38"/>
                <a:gd name="T11" fmla="*/ 21 h 45"/>
                <a:gd name="T12" fmla="*/ 21 w 38"/>
                <a:gd name="T13" fmla="*/ 33 h 45"/>
                <a:gd name="T14" fmla="*/ 15 w 38"/>
                <a:gd name="T15" fmla="*/ 40 h 45"/>
                <a:gd name="T16" fmla="*/ 13 w 38"/>
                <a:gd name="T17" fmla="*/ 40 h 45"/>
                <a:gd name="T18" fmla="*/ 25 w 38"/>
                <a:gd name="T19" fmla="*/ 17 h 45"/>
                <a:gd name="T20" fmla="*/ 20 w 38"/>
                <a:gd name="T21" fmla="*/ 15 h 45"/>
                <a:gd name="T22" fmla="*/ 16 w 38"/>
                <a:gd name="T23" fmla="*/ 10 h 45"/>
                <a:gd name="T24" fmla="*/ 16 w 38"/>
                <a:gd name="T25" fmla="*/ 9 h 45"/>
                <a:gd name="T26" fmla="*/ 17 w 38"/>
                <a:gd name="T27" fmla="*/ 5 h 45"/>
                <a:gd name="T28" fmla="*/ 19 w 38"/>
                <a:gd name="T29" fmla="*/ 5 h 45"/>
                <a:gd name="T30" fmla="*/ 24 w 38"/>
                <a:gd name="T31" fmla="*/ 12 h 45"/>
                <a:gd name="T32" fmla="*/ 25 w 38"/>
                <a:gd name="T33" fmla="*/ 17 h 45"/>
                <a:gd name="T34" fmla="*/ 18 w 38"/>
                <a:gd name="T35" fmla="*/ 0 h 45"/>
                <a:gd name="T36" fmla="*/ 8 w 38"/>
                <a:gd name="T37" fmla="*/ 5 h 45"/>
                <a:gd name="T38" fmla="*/ 2 w 38"/>
                <a:gd name="T39" fmla="*/ 17 h 45"/>
                <a:gd name="T40" fmla="*/ 0 w 38"/>
                <a:gd name="T41" fmla="*/ 26 h 45"/>
                <a:gd name="T42" fmla="*/ 3 w 38"/>
                <a:gd name="T43" fmla="*/ 39 h 45"/>
                <a:gd name="T44" fmla="*/ 11 w 38"/>
                <a:gd name="T45" fmla="*/ 45 h 45"/>
                <a:gd name="T46" fmla="*/ 12 w 38"/>
                <a:gd name="T47" fmla="*/ 45 h 45"/>
                <a:gd name="T48" fmla="*/ 22 w 38"/>
                <a:gd name="T49" fmla="*/ 40 h 45"/>
                <a:gd name="T50" fmla="*/ 28 w 38"/>
                <a:gd name="T51" fmla="*/ 27 h 45"/>
                <a:gd name="T52" fmla="*/ 29 w 38"/>
                <a:gd name="T53" fmla="*/ 21 h 45"/>
                <a:gd name="T54" fmla="*/ 37 w 38"/>
                <a:gd name="T55" fmla="*/ 18 h 45"/>
                <a:gd name="T56" fmla="*/ 38 w 38"/>
                <a:gd name="T57" fmla="*/ 16 h 45"/>
                <a:gd name="T58" fmla="*/ 37 w 38"/>
                <a:gd name="T59" fmla="*/ 14 h 45"/>
                <a:gd name="T60" fmla="*/ 36 w 38"/>
                <a:gd name="T61" fmla="*/ 14 h 45"/>
                <a:gd name="T62" fmla="*/ 32 w 38"/>
                <a:gd name="T63" fmla="*/ 15 h 45"/>
                <a:gd name="T64" fmla="*/ 30 w 38"/>
                <a:gd name="T65" fmla="*/ 16 h 45"/>
                <a:gd name="T66" fmla="*/ 26 w 38"/>
                <a:gd name="T67" fmla="*/ 4 h 45"/>
                <a:gd name="T68" fmla="*/ 18 w 38"/>
                <a:gd name="T6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45">
                  <a:moveTo>
                    <a:pt x="13" y="40"/>
                  </a:moveTo>
                  <a:cubicBezTo>
                    <a:pt x="10" y="40"/>
                    <a:pt x="8" y="38"/>
                    <a:pt x="7" y="35"/>
                  </a:cubicBezTo>
                  <a:cubicBezTo>
                    <a:pt x="6" y="32"/>
                    <a:pt x="5" y="29"/>
                    <a:pt x="5" y="26"/>
                  </a:cubicBezTo>
                  <a:cubicBezTo>
                    <a:pt x="5" y="20"/>
                    <a:pt x="7" y="14"/>
                    <a:pt x="10" y="10"/>
                  </a:cubicBezTo>
                  <a:cubicBezTo>
                    <a:pt x="11" y="14"/>
                    <a:pt x="14" y="17"/>
                    <a:pt x="17" y="19"/>
                  </a:cubicBezTo>
                  <a:cubicBezTo>
                    <a:pt x="19" y="21"/>
                    <a:pt x="22" y="21"/>
                    <a:pt x="25" y="21"/>
                  </a:cubicBezTo>
                  <a:cubicBezTo>
                    <a:pt x="24" y="26"/>
                    <a:pt x="23" y="29"/>
                    <a:pt x="21" y="33"/>
                  </a:cubicBezTo>
                  <a:cubicBezTo>
                    <a:pt x="19" y="36"/>
                    <a:pt x="17" y="39"/>
                    <a:pt x="15" y="40"/>
                  </a:cubicBezTo>
                  <a:cubicBezTo>
                    <a:pt x="14" y="40"/>
                    <a:pt x="13" y="40"/>
                    <a:pt x="13" y="40"/>
                  </a:cubicBezTo>
                  <a:moveTo>
                    <a:pt x="25" y="17"/>
                  </a:moveTo>
                  <a:cubicBezTo>
                    <a:pt x="23" y="17"/>
                    <a:pt x="21" y="16"/>
                    <a:pt x="20" y="15"/>
                  </a:cubicBezTo>
                  <a:cubicBezTo>
                    <a:pt x="17" y="14"/>
                    <a:pt x="16" y="12"/>
                    <a:pt x="16" y="10"/>
                  </a:cubicBezTo>
                  <a:cubicBezTo>
                    <a:pt x="16" y="9"/>
                    <a:pt x="16" y="9"/>
                    <a:pt x="16" y="9"/>
                  </a:cubicBezTo>
                  <a:cubicBezTo>
                    <a:pt x="16" y="7"/>
                    <a:pt x="16" y="6"/>
                    <a:pt x="17" y="5"/>
                  </a:cubicBezTo>
                  <a:cubicBezTo>
                    <a:pt x="18" y="5"/>
                    <a:pt x="18" y="5"/>
                    <a:pt x="19" y="5"/>
                  </a:cubicBezTo>
                  <a:cubicBezTo>
                    <a:pt x="21" y="5"/>
                    <a:pt x="23" y="7"/>
                    <a:pt x="24" y="12"/>
                  </a:cubicBezTo>
                  <a:cubicBezTo>
                    <a:pt x="24" y="14"/>
                    <a:pt x="25" y="15"/>
                    <a:pt x="25" y="17"/>
                  </a:cubicBezTo>
                  <a:moveTo>
                    <a:pt x="18" y="0"/>
                  </a:moveTo>
                  <a:cubicBezTo>
                    <a:pt x="14" y="0"/>
                    <a:pt x="11" y="1"/>
                    <a:pt x="8" y="5"/>
                  </a:cubicBezTo>
                  <a:cubicBezTo>
                    <a:pt x="5" y="8"/>
                    <a:pt x="3" y="12"/>
                    <a:pt x="2" y="17"/>
                  </a:cubicBezTo>
                  <a:cubicBezTo>
                    <a:pt x="1" y="20"/>
                    <a:pt x="0" y="23"/>
                    <a:pt x="0" y="26"/>
                  </a:cubicBezTo>
                  <a:cubicBezTo>
                    <a:pt x="0" y="32"/>
                    <a:pt x="1" y="36"/>
                    <a:pt x="3" y="39"/>
                  </a:cubicBezTo>
                  <a:cubicBezTo>
                    <a:pt x="5" y="43"/>
                    <a:pt x="8" y="44"/>
                    <a:pt x="11" y="45"/>
                  </a:cubicBezTo>
                  <a:cubicBezTo>
                    <a:pt x="11" y="45"/>
                    <a:pt x="12" y="45"/>
                    <a:pt x="12" y="45"/>
                  </a:cubicBezTo>
                  <a:cubicBezTo>
                    <a:pt x="16" y="45"/>
                    <a:pt x="19" y="43"/>
                    <a:pt x="22" y="40"/>
                  </a:cubicBezTo>
                  <a:cubicBezTo>
                    <a:pt x="25" y="37"/>
                    <a:pt x="27" y="32"/>
                    <a:pt x="28" y="27"/>
                  </a:cubicBezTo>
                  <a:cubicBezTo>
                    <a:pt x="29" y="25"/>
                    <a:pt x="29" y="23"/>
                    <a:pt x="29" y="21"/>
                  </a:cubicBezTo>
                  <a:cubicBezTo>
                    <a:pt x="33" y="20"/>
                    <a:pt x="36" y="19"/>
                    <a:pt x="37" y="18"/>
                  </a:cubicBezTo>
                  <a:cubicBezTo>
                    <a:pt x="38" y="17"/>
                    <a:pt x="38" y="16"/>
                    <a:pt x="38" y="16"/>
                  </a:cubicBezTo>
                  <a:cubicBezTo>
                    <a:pt x="38" y="15"/>
                    <a:pt x="38" y="14"/>
                    <a:pt x="37" y="14"/>
                  </a:cubicBezTo>
                  <a:cubicBezTo>
                    <a:pt x="37" y="14"/>
                    <a:pt x="36" y="14"/>
                    <a:pt x="36" y="14"/>
                  </a:cubicBezTo>
                  <a:cubicBezTo>
                    <a:pt x="35" y="14"/>
                    <a:pt x="34" y="14"/>
                    <a:pt x="32" y="15"/>
                  </a:cubicBezTo>
                  <a:cubicBezTo>
                    <a:pt x="31" y="15"/>
                    <a:pt x="30" y="16"/>
                    <a:pt x="30" y="16"/>
                  </a:cubicBezTo>
                  <a:cubicBezTo>
                    <a:pt x="29" y="11"/>
                    <a:pt x="28" y="7"/>
                    <a:pt x="26" y="4"/>
                  </a:cubicBezTo>
                  <a:cubicBezTo>
                    <a:pt x="23" y="1"/>
                    <a:pt x="21" y="0"/>
                    <a:pt x="18"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64">
              <a:extLst>
                <a:ext uri="{FF2B5EF4-FFF2-40B4-BE49-F238E27FC236}">
                  <a16:creationId xmlns:a16="http://schemas.microsoft.com/office/drawing/2014/main" id="{8B3D2A91-2BDF-480A-92F9-D151863EB39D}"/>
                </a:ext>
              </a:extLst>
            </p:cNvPr>
            <p:cNvSpPr>
              <a:spLocks/>
            </p:cNvSpPr>
            <p:nvPr/>
          </p:nvSpPr>
          <p:spPr bwMode="auto">
            <a:xfrm>
              <a:off x="7080228" y="4573134"/>
              <a:ext cx="68926" cy="86766"/>
            </a:xfrm>
            <a:custGeom>
              <a:avLst/>
              <a:gdLst>
                <a:gd name="T0" fmla="*/ 33 w 36"/>
                <a:gd name="T1" fmla="*/ 0 h 45"/>
                <a:gd name="T2" fmla="*/ 3 w 36"/>
                <a:gd name="T3" fmla="*/ 0 h 45"/>
                <a:gd name="T4" fmla="*/ 1 w 36"/>
                <a:gd name="T5" fmla="*/ 1 h 45"/>
                <a:gd name="T6" fmla="*/ 0 w 36"/>
                <a:gd name="T7" fmla="*/ 2 h 45"/>
                <a:gd name="T8" fmla="*/ 2 w 36"/>
                <a:gd name="T9" fmla="*/ 4 h 45"/>
                <a:gd name="T10" fmla="*/ 3 w 36"/>
                <a:gd name="T11" fmla="*/ 4 h 45"/>
                <a:gd name="T12" fmla="*/ 15 w 36"/>
                <a:gd name="T13" fmla="*/ 4 h 45"/>
                <a:gd name="T14" fmla="*/ 14 w 36"/>
                <a:gd name="T15" fmla="*/ 16 h 45"/>
                <a:gd name="T16" fmla="*/ 10 w 36"/>
                <a:gd name="T17" fmla="*/ 42 h 45"/>
                <a:gd name="T18" fmla="*/ 12 w 36"/>
                <a:gd name="T19" fmla="*/ 44 h 45"/>
                <a:gd name="T20" fmla="*/ 13 w 36"/>
                <a:gd name="T21" fmla="*/ 45 h 45"/>
                <a:gd name="T22" fmla="*/ 15 w 36"/>
                <a:gd name="T23" fmla="*/ 43 h 45"/>
                <a:gd name="T24" fmla="*/ 15 w 36"/>
                <a:gd name="T25" fmla="*/ 42 h 45"/>
                <a:gd name="T26" fmla="*/ 20 w 36"/>
                <a:gd name="T27" fmla="*/ 4 h 45"/>
                <a:gd name="T28" fmla="*/ 33 w 36"/>
                <a:gd name="T29" fmla="*/ 4 h 45"/>
                <a:gd name="T30" fmla="*/ 36 w 36"/>
                <a:gd name="T31" fmla="*/ 3 h 45"/>
                <a:gd name="T32" fmla="*/ 36 w 36"/>
                <a:gd name="T33" fmla="*/ 2 h 45"/>
                <a:gd name="T34" fmla="*/ 34 w 36"/>
                <a:gd name="T35" fmla="*/ 0 h 45"/>
                <a:gd name="T36" fmla="*/ 33 w 36"/>
                <a:gd name="T3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45">
                  <a:moveTo>
                    <a:pt x="33" y="0"/>
                  </a:moveTo>
                  <a:cubicBezTo>
                    <a:pt x="3" y="0"/>
                    <a:pt x="3" y="0"/>
                    <a:pt x="3" y="0"/>
                  </a:cubicBezTo>
                  <a:cubicBezTo>
                    <a:pt x="2" y="0"/>
                    <a:pt x="1" y="0"/>
                    <a:pt x="1" y="1"/>
                  </a:cubicBezTo>
                  <a:cubicBezTo>
                    <a:pt x="0" y="1"/>
                    <a:pt x="0" y="2"/>
                    <a:pt x="0" y="2"/>
                  </a:cubicBezTo>
                  <a:cubicBezTo>
                    <a:pt x="0" y="3"/>
                    <a:pt x="1" y="4"/>
                    <a:pt x="2" y="4"/>
                  </a:cubicBezTo>
                  <a:cubicBezTo>
                    <a:pt x="2" y="4"/>
                    <a:pt x="3" y="4"/>
                    <a:pt x="3" y="4"/>
                  </a:cubicBezTo>
                  <a:cubicBezTo>
                    <a:pt x="15" y="4"/>
                    <a:pt x="15" y="4"/>
                    <a:pt x="15" y="4"/>
                  </a:cubicBezTo>
                  <a:cubicBezTo>
                    <a:pt x="15" y="6"/>
                    <a:pt x="15" y="10"/>
                    <a:pt x="14" y="16"/>
                  </a:cubicBezTo>
                  <a:cubicBezTo>
                    <a:pt x="12" y="33"/>
                    <a:pt x="10" y="42"/>
                    <a:pt x="10" y="42"/>
                  </a:cubicBezTo>
                  <a:cubicBezTo>
                    <a:pt x="10" y="43"/>
                    <a:pt x="11" y="44"/>
                    <a:pt x="12" y="44"/>
                  </a:cubicBezTo>
                  <a:cubicBezTo>
                    <a:pt x="12" y="45"/>
                    <a:pt x="12" y="45"/>
                    <a:pt x="13" y="45"/>
                  </a:cubicBezTo>
                  <a:cubicBezTo>
                    <a:pt x="14" y="45"/>
                    <a:pt x="15" y="44"/>
                    <a:pt x="15" y="43"/>
                  </a:cubicBezTo>
                  <a:cubicBezTo>
                    <a:pt x="15" y="42"/>
                    <a:pt x="15" y="42"/>
                    <a:pt x="15" y="42"/>
                  </a:cubicBezTo>
                  <a:cubicBezTo>
                    <a:pt x="15" y="42"/>
                    <a:pt x="17" y="29"/>
                    <a:pt x="20" y="4"/>
                  </a:cubicBezTo>
                  <a:cubicBezTo>
                    <a:pt x="33" y="4"/>
                    <a:pt x="33" y="4"/>
                    <a:pt x="33" y="4"/>
                  </a:cubicBezTo>
                  <a:cubicBezTo>
                    <a:pt x="34" y="4"/>
                    <a:pt x="35" y="4"/>
                    <a:pt x="36" y="3"/>
                  </a:cubicBezTo>
                  <a:cubicBezTo>
                    <a:pt x="36" y="3"/>
                    <a:pt x="36" y="3"/>
                    <a:pt x="36" y="2"/>
                  </a:cubicBezTo>
                  <a:cubicBezTo>
                    <a:pt x="36" y="1"/>
                    <a:pt x="35" y="0"/>
                    <a:pt x="34" y="0"/>
                  </a:cubicBezTo>
                  <a:cubicBezTo>
                    <a:pt x="33" y="0"/>
                    <a:pt x="33" y="0"/>
                    <a:pt x="33"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65">
              <a:extLst>
                <a:ext uri="{FF2B5EF4-FFF2-40B4-BE49-F238E27FC236}">
                  <a16:creationId xmlns:a16="http://schemas.microsoft.com/office/drawing/2014/main" id="{6CF40757-AD76-4E18-BEB0-2DF937296FA9}"/>
                </a:ext>
              </a:extLst>
            </p:cNvPr>
            <p:cNvSpPr>
              <a:spLocks noEditPoints="1"/>
            </p:cNvSpPr>
            <p:nvPr/>
          </p:nvSpPr>
          <p:spPr bwMode="auto">
            <a:xfrm>
              <a:off x="7128071" y="4573134"/>
              <a:ext cx="60006" cy="86766"/>
            </a:xfrm>
            <a:custGeom>
              <a:avLst/>
              <a:gdLst>
                <a:gd name="T0" fmla="*/ 13 w 31"/>
                <a:gd name="T1" fmla="*/ 25 h 45"/>
                <a:gd name="T2" fmla="*/ 20 w 31"/>
                <a:gd name="T3" fmla="*/ 10 h 45"/>
                <a:gd name="T4" fmla="*/ 23 w 31"/>
                <a:gd name="T5" fmla="*/ 25 h 45"/>
                <a:gd name="T6" fmla="*/ 13 w 31"/>
                <a:gd name="T7" fmla="*/ 25 h 45"/>
                <a:gd name="T8" fmla="*/ 21 w 31"/>
                <a:gd name="T9" fmla="*/ 0 h 45"/>
                <a:gd name="T10" fmla="*/ 19 w 31"/>
                <a:gd name="T11" fmla="*/ 1 h 45"/>
                <a:gd name="T12" fmla="*/ 2 w 31"/>
                <a:gd name="T13" fmla="*/ 37 h 45"/>
                <a:gd name="T14" fmla="*/ 0 w 31"/>
                <a:gd name="T15" fmla="*/ 42 h 45"/>
                <a:gd name="T16" fmla="*/ 0 w 31"/>
                <a:gd name="T17" fmla="*/ 43 h 45"/>
                <a:gd name="T18" fmla="*/ 1 w 31"/>
                <a:gd name="T19" fmla="*/ 44 h 45"/>
                <a:gd name="T20" fmla="*/ 2 w 31"/>
                <a:gd name="T21" fmla="*/ 45 h 45"/>
                <a:gd name="T22" fmla="*/ 4 w 31"/>
                <a:gd name="T23" fmla="*/ 44 h 45"/>
                <a:gd name="T24" fmla="*/ 4 w 31"/>
                <a:gd name="T25" fmla="*/ 43 h 45"/>
                <a:gd name="T26" fmla="*/ 11 w 31"/>
                <a:gd name="T27" fmla="*/ 30 h 45"/>
                <a:gd name="T28" fmla="*/ 24 w 31"/>
                <a:gd name="T29" fmla="*/ 30 h 45"/>
                <a:gd name="T30" fmla="*/ 27 w 31"/>
                <a:gd name="T31" fmla="*/ 43 h 45"/>
                <a:gd name="T32" fmla="*/ 28 w 31"/>
                <a:gd name="T33" fmla="*/ 45 h 45"/>
                <a:gd name="T34" fmla="*/ 29 w 31"/>
                <a:gd name="T35" fmla="*/ 45 h 45"/>
                <a:gd name="T36" fmla="*/ 31 w 31"/>
                <a:gd name="T37" fmla="*/ 44 h 45"/>
                <a:gd name="T38" fmla="*/ 31 w 31"/>
                <a:gd name="T39" fmla="*/ 42 h 45"/>
                <a:gd name="T40" fmla="*/ 31 w 31"/>
                <a:gd name="T41" fmla="*/ 42 h 45"/>
                <a:gd name="T42" fmla="*/ 23 w 31"/>
                <a:gd name="T43" fmla="*/ 2 h 45"/>
                <a:gd name="T44" fmla="*/ 23 w 31"/>
                <a:gd name="T45" fmla="*/ 1 h 45"/>
                <a:gd name="T46" fmla="*/ 21 w 31"/>
                <a:gd name="T4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45">
                  <a:moveTo>
                    <a:pt x="13" y="25"/>
                  </a:moveTo>
                  <a:cubicBezTo>
                    <a:pt x="20" y="10"/>
                    <a:pt x="20" y="10"/>
                    <a:pt x="20" y="10"/>
                  </a:cubicBezTo>
                  <a:cubicBezTo>
                    <a:pt x="23" y="25"/>
                    <a:pt x="23" y="25"/>
                    <a:pt x="23" y="25"/>
                  </a:cubicBezTo>
                  <a:cubicBezTo>
                    <a:pt x="13" y="25"/>
                    <a:pt x="13" y="25"/>
                    <a:pt x="13" y="25"/>
                  </a:cubicBezTo>
                  <a:moveTo>
                    <a:pt x="21" y="0"/>
                  </a:moveTo>
                  <a:cubicBezTo>
                    <a:pt x="20" y="0"/>
                    <a:pt x="19" y="0"/>
                    <a:pt x="19" y="1"/>
                  </a:cubicBezTo>
                  <a:cubicBezTo>
                    <a:pt x="17" y="5"/>
                    <a:pt x="11" y="17"/>
                    <a:pt x="2" y="37"/>
                  </a:cubicBezTo>
                  <a:cubicBezTo>
                    <a:pt x="1" y="39"/>
                    <a:pt x="0" y="41"/>
                    <a:pt x="0" y="42"/>
                  </a:cubicBezTo>
                  <a:cubicBezTo>
                    <a:pt x="0" y="43"/>
                    <a:pt x="0" y="43"/>
                    <a:pt x="0" y="43"/>
                  </a:cubicBezTo>
                  <a:cubicBezTo>
                    <a:pt x="0" y="43"/>
                    <a:pt x="0" y="44"/>
                    <a:pt x="1" y="44"/>
                  </a:cubicBezTo>
                  <a:cubicBezTo>
                    <a:pt x="1" y="45"/>
                    <a:pt x="2" y="45"/>
                    <a:pt x="2" y="45"/>
                  </a:cubicBezTo>
                  <a:cubicBezTo>
                    <a:pt x="3" y="45"/>
                    <a:pt x="4" y="44"/>
                    <a:pt x="4" y="44"/>
                  </a:cubicBezTo>
                  <a:cubicBezTo>
                    <a:pt x="4" y="43"/>
                    <a:pt x="4" y="43"/>
                    <a:pt x="4" y="43"/>
                  </a:cubicBezTo>
                  <a:cubicBezTo>
                    <a:pt x="11" y="30"/>
                    <a:pt x="11" y="30"/>
                    <a:pt x="11" y="30"/>
                  </a:cubicBezTo>
                  <a:cubicBezTo>
                    <a:pt x="24" y="30"/>
                    <a:pt x="24" y="30"/>
                    <a:pt x="24" y="30"/>
                  </a:cubicBezTo>
                  <a:cubicBezTo>
                    <a:pt x="27" y="43"/>
                    <a:pt x="27" y="43"/>
                    <a:pt x="27" y="43"/>
                  </a:cubicBezTo>
                  <a:cubicBezTo>
                    <a:pt x="27" y="44"/>
                    <a:pt x="28" y="45"/>
                    <a:pt x="28" y="45"/>
                  </a:cubicBezTo>
                  <a:cubicBezTo>
                    <a:pt x="29" y="45"/>
                    <a:pt x="29" y="45"/>
                    <a:pt x="29" y="45"/>
                  </a:cubicBezTo>
                  <a:cubicBezTo>
                    <a:pt x="30" y="45"/>
                    <a:pt x="30" y="44"/>
                    <a:pt x="31" y="44"/>
                  </a:cubicBezTo>
                  <a:cubicBezTo>
                    <a:pt x="31" y="43"/>
                    <a:pt x="31" y="43"/>
                    <a:pt x="31" y="42"/>
                  </a:cubicBezTo>
                  <a:cubicBezTo>
                    <a:pt x="31" y="42"/>
                    <a:pt x="31" y="42"/>
                    <a:pt x="31" y="42"/>
                  </a:cubicBezTo>
                  <a:cubicBezTo>
                    <a:pt x="26" y="17"/>
                    <a:pt x="24" y="3"/>
                    <a:pt x="23" y="2"/>
                  </a:cubicBezTo>
                  <a:cubicBezTo>
                    <a:pt x="23" y="1"/>
                    <a:pt x="23" y="1"/>
                    <a:pt x="23" y="1"/>
                  </a:cubicBezTo>
                  <a:cubicBezTo>
                    <a:pt x="23" y="0"/>
                    <a:pt x="22" y="0"/>
                    <a:pt x="21"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266">
              <a:extLst>
                <a:ext uri="{FF2B5EF4-FFF2-40B4-BE49-F238E27FC236}">
                  <a16:creationId xmlns:a16="http://schemas.microsoft.com/office/drawing/2014/main" id="{A4D2AB47-B76C-4A27-8AD2-2519E7E774F4}"/>
                </a:ext>
              </a:extLst>
            </p:cNvPr>
            <p:cNvSpPr>
              <a:spLocks/>
            </p:cNvSpPr>
            <p:nvPr/>
          </p:nvSpPr>
          <p:spPr bwMode="auto">
            <a:xfrm>
              <a:off x="7199429" y="4573134"/>
              <a:ext cx="64061" cy="86766"/>
            </a:xfrm>
            <a:custGeom>
              <a:avLst/>
              <a:gdLst>
                <a:gd name="T0" fmla="*/ 31 w 33"/>
                <a:gd name="T1" fmla="*/ 0 h 45"/>
                <a:gd name="T2" fmla="*/ 29 w 33"/>
                <a:gd name="T3" fmla="*/ 1 h 45"/>
                <a:gd name="T4" fmla="*/ 29 w 33"/>
                <a:gd name="T5" fmla="*/ 2 h 45"/>
                <a:gd name="T6" fmla="*/ 25 w 33"/>
                <a:gd name="T7" fmla="*/ 34 h 45"/>
                <a:gd name="T8" fmla="*/ 10 w 33"/>
                <a:gd name="T9" fmla="*/ 1 h 45"/>
                <a:gd name="T10" fmla="*/ 8 w 33"/>
                <a:gd name="T11" fmla="*/ 0 h 45"/>
                <a:gd name="T12" fmla="*/ 6 w 33"/>
                <a:gd name="T13" fmla="*/ 1 h 45"/>
                <a:gd name="T14" fmla="*/ 5 w 33"/>
                <a:gd name="T15" fmla="*/ 2 h 45"/>
                <a:gd name="T16" fmla="*/ 0 w 33"/>
                <a:gd name="T17" fmla="*/ 42 h 45"/>
                <a:gd name="T18" fmla="*/ 1 w 33"/>
                <a:gd name="T19" fmla="*/ 44 h 45"/>
                <a:gd name="T20" fmla="*/ 2 w 33"/>
                <a:gd name="T21" fmla="*/ 45 h 45"/>
                <a:gd name="T22" fmla="*/ 5 w 33"/>
                <a:gd name="T23" fmla="*/ 42 h 45"/>
                <a:gd name="T24" fmla="*/ 8 w 33"/>
                <a:gd name="T25" fmla="*/ 15 h 45"/>
                <a:gd name="T26" fmla="*/ 9 w 33"/>
                <a:gd name="T27" fmla="*/ 10 h 45"/>
                <a:gd name="T28" fmla="*/ 24 w 33"/>
                <a:gd name="T29" fmla="*/ 43 h 45"/>
                <a:gd name="T30" fmla="*/ 26 w 33"/>
                <a:gd name="T31" fmla="*/ 45 h 45"/>
                <a:gd name="T32" fmla="*/ 28 w 33"/>
                <a:gd name="T33" fmla="*/ 43 h 45"/>
                <a:gd name="T34" fmla="*/ 33 w 33"/>
                <a:gd name="T35" fmla="*/ 4 h 45"/>
                <a:gd name="T36" fmla="*/ 33 w 33"/>
                <a:gd name="T37" fmla="*/ 2 h 45"/>
                <a:gd name="T38" fmla="*/ 32 w 33"/>
                <a:gd name="T39" fmla="*/ 0 h 45"/>
                <a:gd name="T40" fmla="*/ 31 w 33"/>
                <a:gd name="T4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45">
                  <a:moveTo>
                    <a:pt x="31" y="0"/>
                  </a:moveTo>
                  <a:cubicBezTo>
                    <a:pt x="30" y="0"/>
                    <a:pt x="30" y="0"/>
                    <a:pt x="29" y="1"/>
                  </a:cubicBezTo>
                  <a:cubicBezTo>
                    <a:pt x="29" y="2"/>
                    <a:pt x="29" y="2"/>
                    <a:pt x="29" y="2"/>
                  </a:cubicBezTo>
                  <a:cubicBezTo>
                    <a:pt x="25" y="34"/>
                    <a:pt x="25" y="34"/>
                    <a:pt x="25" y="34"/>
                  </a:cubicBezTo>
                  <a:cubicBezTo>
                    <a:pt x="10" y="1"/>
                    <a:pt x="10" y="1"/>
                    <a:pt x="10" y="1"/>
                  </a:cubicBezTo>
                  <a:cubicBezTo>
                    <a:pt x="10" y="0"/>
                    <a:pt x="9" y="0"/>
                    <a:pt x="8" y="0"/>
                  </a:cubicBezTo>
                  <a:cubicBezTo>
                    <a:pt x="7" y="0"/>
                    <a:pt x="6" y="0"/>
                    <a:pt x="6" y="1"/>
                  </a:cubicBezTo>
                  <a:cubicBezTo>
                    <a:pt x="5" y="2"/>
                    <a:pt x="5" y="2"/>
                    <a:pt x="5" y="2"/>
                  </a:cubicBezTo>
                  <a:cubicBezTo>
                    <a:pt x="5" y="2"/>
                    <a:pt x="3" y="15"/>
                    <a:pt x="0" y="42"/>
                  </a:cubicBezTo>
                  <a:cubicBezTo>
                    <a:pt x="0" y="43"/>
                    <a:pt x="0" y="44"/>
                    <a:pt x="1" y="44"/>
                  </a:cubicBezTo>
                  <a:cubicBezTo>
                    <a:pt x="1" y="45"/>
                    <a:pt x="2" y="45"/>
                    <a:pt x="2" y="45"/>
                  </a:cubicBezTo>
                  <a:cubicBezTo>
                    <a:pt x="4" y="45"/>
                    <a:pt x="4" y="44"/>
                    <a:pt x="5" y="42"/>
                  </a:cubicBezTo>
                  <a:cubicBezTo>
                    <a:pt x="5" y="40"/>
                    <a:pt x="6" y="31"/>
                    <a:pt x="8" y="15"/>
                  </a:cubicBezTo>
                  <a:cubicBezTo>
                    <a:pt x="8" y="13"/>
                    <a:pt x="9" y="11"/>
                    <a:pt x="9" y="10"/>
                  </a:cubicBezTo>
                  <a:cubicBezTo>
                    <a:pt x="24" y="43"/>
                    <a:pt x="24" y="43"/>
                    <a:pt x="24" y="43"/>
                  </a:cubicBezTo>
                  <a:cubicBezTo>
                    <a:pt x="24" y="44"/>
                    <a:pt x="25" y="45"/>
                    <a:pt x="26" y="45"/>
                  </a:cubicBezTo>
                  <a:cubicBezTo>
                    <a:pt x="27" y="45"/>
                    <a:pt x="28" y="44"/>
                    <a:pt x="28" y="43"/>
                  </a:cubicBezTo>
                  <a:cubicBezTo>
                    <a:pt x="29" y="40"/>
                    <a:pt x="30" y="27"/>
                    <a:pt x="33" y="4"/>
                  </a:cubicBezTo>
                  <a:cubicBezTo>
                    <a:pt x="33" y="4"/>
                    <a:pt x="33" y="3"/>
                    <a:pt x="33" y="2"/>
                  </a:cubicBezTo>
                  <a:cubicBezTo>
                    <a:pt x="33" y="1"/>
                    <a:pt x="33" y="1"/>
                    <a:pt x="32" y="0"/>
                  </a:cubicBezTo>
                  <a:cubicBezTo>
                    <a:pt x="32" y="0"/>
                    <a:pt x="32" y="0"/>
                    <a:pt x="31"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67">
              <a:extLst>
                <a:ext uri="{FF2B5EF4-FFF2-40B4-BE49-F238E27FC236}">
                  <a16:creationId xmlns:a16="http://schemas.microsoft.com/office/drawing/2014/main" id="{F4EBD8AA-6392-4F83-9B7C-823CFAEFDBB8}"/>
                </a:ext>
              </a:extLst>
            </p:cNvPr>
            <p:cNvSpPr>
              <a:spLocks/>
            </p:cNvSpPr>
            <p:nvPr/>
          </p:nvSpPr>
          <p:spPr bwMode="auto">
            <a:xfrm>
              <a:off x="7269166" y="4573134"/>
              <a:ext cx="68926" cy="115147"/>
            </a:xfrm>
            <a:custGeom>
              <a:avLst/>
              <a:gdLst>
                <a:gd name="T0" fmla="*/ 34 w 36"/>
                <a:gd name="T1" fmla="*/ 0 h 60"/>
                <a:gd name="T2" fmla="*/ 31 w 36"/>
                <a:gd name="T3" fmla="*/ 1 h 60"/>
                <a:gd name="T4" fmla="*/ 31 w 36"/>
                <a:gd name="T5" fmla="*/ 2 h 60"/>
                <a:gd name="T6" fmla="*/ 28 w 36"/>
                <a:gd name="T7" fmla="*/ 24 h 60"/>
                <a:gd name="T8" fmla="*/ 23 w 36"/>
                <a:gd name="T9" fmla="*/ 35 h 60"/>
                <a:gd name="T10" fmla="*/ 18 w 36"/>
                <a:gd name="T11" fmla="*/ 40 h 60"/>
                <a:gd name="T12" fmla="*/ 17 w 36"/>
                <a:gd name="T13" fmla="*/ 40 h 60"/>
                <a:gd name="T14" fmla="*/ 11 w 36"/>
                <a:gd name="T15" fmla="*/ 35 h 60"/>
                <a:gd name="T16" fmla="*/ 9 w 36"/>
                <a:gd name="T17" fmla="*/ 25 h 60"/>
                <a:gd name="T18" fmla="*/ 11 w 36"/>
                <a:gd name="T19" fmla="*/ 11 h 60"/>
                <a:gd name="T20" fmla="*/ 12 w 36"/>
                <a:gd name="T21" fmla="*/ 2 h 60"/>
                <a:gd name="T22" fmla="*/ 11 w 36"/>
                <a:gd name="T23" fmla="*/ 0 h 60"/>
                <a:gd name="T24" fmla="*/ 10 w 36"/>
                <a:gd name="T25" fmla="*/ 0 h 60"/>
                <a:gd name="T26" fmla="*/ 8 w 36"/>
                <a:gd name="T27" fmla="*/ 2 h 60"/>
                <a:gd name="T28" fmla="*/ 7 w 36"/>
                <a:gd name="T29" fmla="*/ 2 h 60"/>
                <a:gd name="T30" fmla="*/ 5 w 36"/>
                <a:gd name="T31" fmla="*/ 19 h 60"/>
                <a:gd name="T32" fmla="*/ 4 w 36"/>
                <a:gd name="T33" fmla="*/ 26 h 60"/>
                <a:gd name="T34" fmla="*/ 8 w 36"/>
                <a:gd name="T35" fmla="*/ 39 h 60"/>
                <a:gd name="T36" fmla="*/ 15 w 36"/>
                <a:gd name="T37" fmla="*/ 45 h 60"/>
                <a:gd name="T38" fmla="*/ 16 w 36"/>
                <a:gd name="T39" fmla="*/ 45 h 60"/>
                <a:gd name="T40" fmla="*/ 23 w 36"/>
                <a:gd name="T41" fmla="*/ 42 h 60"/>
                <a:gd name="T42" fmla="*/ 26 w 36"/>
                <a:gd name="T43" fmla="*/ 39 h 60"/>
                <a:gd name="T44" fmla="*/ 22 w 36"/>
                <a:gd name="T45" fmla="*/ 52 h 60"/>
                <a:gd name="T46" fmla="*/ 14 w 36"/>
                <a:gd name="T47" fmla="*/ 56 h 60"/>
                <a:gd name="T48" fmla="*/ 4 w 36"/>
                <a:gd name="T49" fmla="*/ 50 h 60"/>
                <a:gd name="T50" fmla="*/ 2 w 36"/>
                <a:gd name="T51" fmla="*/ 49 h 60"/>
                <a:gd name="T52" fmla="*/ 0 w 36"/>
                <a:gd name="T53" fmla="*/ 50 h 60"/>
                <a:gd name="T54" fmla="*/ 0 w 36"/>
                <a:gd name="T55" fmla="*/ 51 h 60"/>
                <a:gd name="T56" fmla="*/ 0 w 36"/>
                <a:gd name="T57" fmla="*/ 52 h 60"/>
                <a:gd name="T58" fmla="*/ 7 w 36"/>
                <a:gd name="T59" fmla="*/ 58 h 60"/>
                <a:gd name="T60" fmla="*/ 13 w 36"/>
                <a:gd name="T61" fmla="*/ 60 h 60"/>
                <a:gd name="T62" fmla="*/ 26 w 36"/>
                <a:gd name="T63" fmla="*/ 54 h 60"/>
                <a:gd name="T64" fmla="*/ 31 w 36"/>
                <a:gd name="T65" fmla="*/ 43 h 60"/>
                <a:gd name="T66" fmla="*/ 36 w 36"/>
                <a:gd name="T67" fmla="*/ 2 h 60"/>
                <a:gd name="T68" fmla="*/ 35 w 36"/>
                <a:gd name="T69" fmla="*/ 0 h 60"/>
                <a:gd name="T70" fmla="*/ 34 w 36"/>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60">
                  <a:moveTo>
                    <a:pt x="34" y="0"/>
                  </a:moveTo>
                  <a:cubicBezTo>
                    <a:pt x="33" y="0"/>
                    <a:pt x="32" y="0"/>
                    <a:pt x="31" y="1"/>
                  </a:cubicBezTo>
                  <a:cubicBezTo>
                    <a:pt x="31" y="2"/>
                    <a:pt x="31" y="2"/>
                    <a:pt x="31" y="2"/>
                  </a:cubicBezTo>
                  <a:cubicBezTo>
                    <a:pt x="28" y="24"/>
                    <a:pt x="28" y="24"/>
                    <a:pt x="28" y="24"/>
                  </a:cubicBezTo>
                  <a:cubicBezTo>
                    <a:pt x="27" y="29"/>
                    <a:pt x="26" y="32"/>
                    <a:pt x="23" y="35"/>
                  </a:cubicBezTo>
                  <a:cubicBezTo>
                    <a:pt x="21" y="38"/>
                    <a:pt x="19" y="40"/>
                    <a:pt x="18" y="40"/>
                  </a:cubicBezTo>
                  <a:cubicBezTo>
                    <a:pt x="17" y="40"/>
                    <a:pt x="17" y="40"/>
                    <a:pt x="17" y="40"/>
                  </a:cubicBezTo>
                  <a:cubicBezTo>
                    <a:pt x="14" y="40"/>
                    <a:pt x="12" y="38"/>
                    <a:pt x="11" y="35"/>
                  </a:cubicBezTo>
                  <a:cubicBezTo>
                    <a:pt x="10" y="33"/>
                    <a:pt x="9" y="29"/>
                    <a:pt x="9" y="25"/>
                  </a:cubicBezTo>
                  <a:cubicBezTo>
                    <a:pt x="9" y="23"/>
                    <a:pt x="10" y="18"/>
                    <a:pt x="11" y="11"/>
                  </a:cubicBezTo>
                  <a:cubicBezTo>
                    <a:pt x="12" y="6"/>
                    <a:pt x="12" y="3"/>
                    <a:pt x="12" y="2"/>
                  </a:cubicBezTo>
                  <a:cubicBezTo>
                    <a:pt x="12" y="1"/>
                    <a:pt x="11" y="1"/>
                    <a:pt x="11" y="0"/>
                  </a:cubicBezTo>
                  <a:cubicBezTo>
                    <a:pt x="10" y="0"/>
                    <a:pt x="10" y="0"/>
                    <a:pt x="10" y="0"/>
                  </a:cubicBezTo>
                  <a:cubicBezTo>
                    <a:pt x="9" y="0"/>
                    <a:pt x="8" y="1"/>
                    <a:pt x="8" y="2"/>
                  </a:cubicBezTo>
                  <a:cubicBezTo>
                    <a:pt x="7" y="2"/>
                    <a:pt x="7" y="2"/>
                    <a:pt x="7" y="2"/>
                  </a:cubicBezTo>
                  <a:cubicBezTo>
                    <a:pt x="6" y="10"/>
                    <a:pt x="5" y="15"/>
                    <a:pt x="5" y="19"/>
                  </a:cubicBezTo>
                  <a:cubicBezTo>
                    <a:pt x="4" y="22"/>
                    <a:pt x="4" y="24"/>
                    <a:pt x="4" y="26"/>
                  </a:cubicBezTo>
                  <a:cubicBezTo>
                    <a:pt x="4" y="32"/>
                    <a:pt x="5" y="36"/>
                    <a:pt x="8" y="39"/>
                  </a:cubicBezTo>
                  <a:cubicBezTo>
                    <a:pt x="10" y="42"/>
                    <a:pt x="12" y="44"/>
                    <a:pt x="15" y="45"/>
                  </a:cubicBezTo>
                  <a:cubicBezTo>
                    <a:pt x="15" y="45"/>
                    <a:pt x="16" y="45"/>
                    <a:pt x="16" y="45"/>
                  </a:cubicBezTo>
                  <a:cubicBezTo>
                    <a:pt x="19" y="45"/>
                    <a:pt x="21" y="44"/>
                    <a:pt x="23" y="42"/>
                  </a:cubicBezTo>
                  <a:cubicBezTo>
                    <a:pt x="24" y="42"/>
                    <a:pt x="25" y="41"/>
                    <a:pt x="26" y="39"/>
                  </a:cubicBezTo>
                  <a:cubicBezTo>
                    <a:pt x="26" y="45"/>
                    <a:pt x="24" y="49"/>
                    <a:pt x="22" y="52"/>
                  </a:cubicBezTo>
                  <a:cubicBezTo>
                    <a:pt x="20" y="54"/>
                    <a:pt x="17" y="56"/>
                    <a:pt x="14" y="56"/>
                  </a:cubicBezTo>
                  <a:cubicBezTo>
                    <a:pt x="10" y="56"/>
                    <a:pt x="7" y="54"/>
                    <a:pt x="4" y="50"/>
                  </a:cubicBezTo>
                  <a:cubicBezTo>
                    <a:pt x="4" y="49"/>
                    <a:pt x="3" y="49"/>
                    <a:pt x="2" y="49"/>
                  </a:cubicBezTo>
                  <a:cubicBezTo>
                    <a:pt x="1" y="49"/>
                    <a:pt x="1" y="49"/>
                    <a:pt x="0" y="50"/>
                  </a:cubicBezTo>
                  <a:cubicBezTo>
                    <a:pt x="0" y="51"/>
                    <a:pt x="0" y="51"/>
                    <a:pt x="0" y="51"/>
                  </a:cubicBezTo>
                  <a:cubicBezTo>
                    <a:pt x="0" y="52"/>
                    <a:pt x="0" y="52"/>
                    <a:pt x="0" y="52"/>
                  </a:cubicBezTo>
                  <a:cubicBezTo>
                    <a:pt x="2" y="55"/>
                    <a:pt x="4" y="57"/>
                    <a:pt x="7" y="58"/>
                  </a:cubicBezTo>
                  <a:cubicBezTo>
                    <a:pt x="10" y="60"/>
                    <a:pt x="12" y="60"/>
                    <a:pt x="13" y="60"/>
                  </a:cubicBezTo>
                  <a:cubicBezTo>
                    <a:pt x="19" y="60"/>
                    <a:pt x="23" y="58"/>
                    <a:pt x="26" y="54"/>
                  </a:cubicBezTo>
                  <a:cubicBezTo>
                    <a:pt x="28" y="51"/>
                    <a:pt x="30" y="47"/>
                    <a:pt x="31" y="43"/>
                  </a:cubicBezTo>
                  <a:cubicBezTo>
                    <a:pt x="31" y="41"/>
                    <a:pt x="33" y="27"/>
                    <a:pt x="36" y="2"/>
                  </a:cubicBezTo>
                  <a:cubicBezTo>
                    <a:pt x="36" y="1"/>
                    <a:pt x="35" y="1"/>
                    <a:pt x="35" y="0"/>
                  </a:cubicBezTo>
                  <a:cubicBezTo>
                    <a:pt x="34" y="0"/>
                    <a:pt x="34" y="0"/>
                    <a:pt x="3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68">
              <a:extLst>
                <a:ext uri="{FF2B5EF4-FFF2-40B4-BE49-F238E27FC236}">
                  <a16:creationId xmlns:a16="http://schemas.microsoft.com/office/drawing/2014/main" id="{AE472B46-74C7-4198-A852-510D9014B48B}"/>
                </a:ext>
              </a:extLst>
            </p:cNvPr>
            <p:cNvSpPr>
              <a:spLocks/>
            </p:cNvSpPr>
            <p:nvPr/>
          </p:nvSpPr>
          <p:spPr bwMode="auto">
            <a:xfrm>
              <a:off x="6678025" y="4563403"/>
              <a:ext cx="96496" cy="111903"/>
            </a:xfrm>
            <a:custGeom>
              <a:avLst/>
              <a:gdLst>
                <a:gd name="T0" fmla="*/ 6 w 50"/>
                <a:gd name="T1" fmla="*/ 0 h 58"/>
                <a:gd name="T2" fmla="*/ 5 w 50"/>
                <a:gd name="T3" fmla="*/ 0 h 58"/>
                <a:gd name="T4" fmla="*/ 2 w 50"/>
                <a:gd name="T5" fmla="*/ 5 h 58"/>
                <a:gd name="T6" fmla="*/ 7 w 50"/>
                <a:gd name="T7" fmla="*/ 42 h 58"/>
                <a:gd name="T8" fmla="*/ 21 w 50"/>
                <a:gd name="T9" fmla="*/ 58 h 58"/>
                <a:gd name="T10" fmla="*/ 23 w 50"/>
                <a:gd name="T11" fmla="*/ 58 h 58"/>
                <a:gd name="T12" fmla="*/ 37 w 50"/>
                <a:gd name="T13" fmla="*/ 53 h 58"/>
                <a:gd name="T14" fmla="*/ 50 w 50"/>
                <a:gd name="T15" fmla="*/ 36 h 58"/>
                <a:gd name="T16" fmla="*/ 41 w 50"/>
                <a:gd name="T17" fmla="*/ 19 h 58"/>
                <a:gd name="T18" fmla="*/ 24 w 50"/>
                <a:gd name="T19" fmla="*/ 8 h 58"/>
                <a:gd name="T20" fmla="*/ 10 w 50"/>
                <a:gd name="T21" fmla="*/ 1 h 58"/>
                <a:gd name="T22" fmla="*/ 6 w 50"/>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8">
                  <a:moveTo>
                    <a:pt x="6" y="0"/>
                  </a:moveTo>
                  <a:cubicBezTo>
                    <a:pt x="6" y="0"/>
                    <a:pt x="5" y="0"/>
                    <a:pt x="5" y="0"/>
                  </a:cubicBezTo>
                  <a:cubicBezTo>
                    <a:pt x="3" y="1"/>
                    <a:pt x="2" y="3"/>
                    <a:pt x="2" y="5"/>
                  </a:cubicBezTo>
                  <a:cubicBezTo>
                    <a:pt x="0" y="17"/>
                    <a:pt x="2" y="30"/>
                    <a:pt x="7" y="42"/>
                  </a:cubicBezTo>
                  <a:cubicBezTo>
                    <a:pt x="10" y="49"/>
                    <a:pt x="14" y="56"/>
                    <a:pt x="21" y="58"/>
                  </a:cubicBezTo>
                  <a:cubicBezTo>
                    <a:pt x="22" y="58"/>
                    <a:pt x="22" y="58"/>
                    <a:pt x="23" y="58"/>
                  </a:cubicBezTo>
                  <a:cubicBezTo>
                    <a:pt x="26" y="58"/>
                    <a:pt x="33" y="57"/>
                    <a:pt x="37" y="53"/>
                  </a:cubicBezTo>
                  <a:cubicBezTo>
                    <a:pt x="44" y="51"/>
                    <a:pt x="50" y="42"/>
                    <a:pt x="50" y="36"/>
                  </a:cubicBezTo>
                  <a:cubicBezTo>
                    <a:pt x="50" y="29"/>
                    <a:pt x="46" y="23"/>
                    <a:pt x="41" y="19"/>
                  </a:cubicBezTo>
                  <a:cubicBezTo>
                    <a:pt x="36" y="14"/>
                    <a:pt x="30" y="11"/>
                    <a:pt x="24" y="8"/>
                  </a:cubicBezTo>
                  <a:cubicBezTo>
                    <a:pt x="19" y="6"/>
                    <a:pt x="15" y="3"/>
                    <a:pt x="10" y="1"/>
                  </a:cubicBezTo>
                  <a:cubicBezTo>
                    <a:pt x="9" y="0"/>
                    <a:pt x="7" y="0"/>
                    <a:pt x="6"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9">
              <a:extLst>
                <a:ext uri="{FF2B5EF4-FFF2-40B4-BE49-F238E27FC236}">
                  <a16:creationId xmlns:a16="http://schemas.microsoft.com/office/drawing/2014/main" id="{48B30F1E-16E1-4300-9395-80EBEC5FE492}"/>
                </a:ext>
              </a:extLst>
            </p:cNvPr>
            <p:cNvSpPr>
              <a:spLocks/>
            </p:cNvSpPr>
            <p:nvPr/>
          </p:nvSpPr>
          <p:spPr bwMode="auto">
            <a:xfrm>
              <a:off x="6697486" y="4584487"/>
              <a:ext cx="67304" cy="99740"/>
            </a:xfrm>
            <a:custGeom>
              <a:avLst/>
              <a:gdLst>
                <a:gd name="T0" fmla="*/ 35 w 35"/>
                <a:gd name="T1" fmla="*/ 51 h 52"/>
                <a:gd name="T2" fmla="*/ 17 w 35"/>
                <a:gd name="T3" fmla="*/ 27 h 52"/>
                <a:gd name="T4" fmla="*/ 1 w 35"/>
                <a:gd name="T5" fmla="*/ 1 h 52"/>
                <a:gd name="T6" fmla="*/ 18 w 35"/>
                <a:gd name="T7" fmla="*/ 25 h 52"/>
                <a:gd name="T8" fmla="*/ 35 w 35"/>
                <a:gd name="T9" fmla="*/ 51 h 52"/>
              </a:gdLst>
              <a:ahLst/>
              <a:cxnLst>
                <a:cxn ang="0">
                  <a:pos x="T0" y="T1"/>
                </a:cxn>
                <a:cxn ang="0">
                  <a:pos x="T2" y="T3"/>
                </a:cxn>
                <a:cxn ang="0">
                  <a:pos x="T4" y="T5"/>
                </a:cxn>
                <a:cxn ang="0">
                  <a:pos x="T6" y="T7"/>
                </a:cxn>
                <a:cxn ang="0">
                  <a:pos x="T8" y="T9"/>
                </a:cxn>
              </a:cxnLst>
              <a:rect l="0" t="0" r="r" b="b"/>
              <a:pathLst>
                <a:path w="35" h="52">
                  <a:moveTo>
                    <a:pt x="35" y="51"/>
                  </a:moveTo>
                  <a:cubicBezTo>
                    <a:pt x="34" y="52"/>
                    <a:pt x="26" y="41"/>
                    <a:pt x="17" y="27"/>
                  </a:cubicBezTo>
                  <a:cubicBezTo>
                    <a:pt x="7" y="13"/>
                    <a:pt x="0" y="1"/>
                    <a:pt x="1" y="1"/>
                  </a:cubicBezTo>
                  <a:cubicBezTo>
                    <a:pt x="1" y="0"/>
                    <a:pt x="9" y="11"/>
                    <a:pt x="18" y="25"/>
                  </a:cubicBezTo>
                  <a:cubicBezTo>
                    <a:pt x="28" y="39"/>
                    <a:pt x="35" y="51"/>
                    <a:pt x="35" y="51"/>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0">
              <a:extLst>
                <a:ext uri="{FF2B5EF4-FFF2-40B4-BE49-F238E27FC236}">
                  <a16:creationId xmlns:a16="http://schemas.microsoft.com/office/drawing/2014/main" id="{1BFAF471-17E9-4A7C-A4BC-D71633E7A196}"/>
                </a:ext>
              </a:extLst>
            </p:cNvPr>
            <p:cNvSpPr>
              <a:spLocks/>
            </p:cNvSpPr>
            <p:nvPr/>
          </p:nvSpPr>
          <p:spPr bwMode="auto">
            <a:xfrm>
              <a:off x="6697486" y="4620977"/>
              <a:ext cx="30814" cy="8109"/>
            </a:xfrm>
            <a:custGeom>
              <a:avLst/>
              <a:gdLst>
                <a:gd name="T0" fmla="*/ 16 w 16"/>
                <a:gd name="T1" fmla="*/ 4 h 4"/>
                <a:gd name="T2" fmla="*/ 8 w 16"/>
                <a:gd name="T3" fmla="*/ 3 h 4"/>
                <a:gd name="T4" fmla="*/ 0 w 16"/>
                <a:gd name="T5" fmla="*/ 0 h 4"/>
                <a:gd name="T6" fmla="*/ 8 w 16"/>
                <a:gd name="T7" fmla="*/ 1 h 4"/>
                <a:gd name="T8" fmla="*/ 16 w 16"/>
                <a:gd name="T9" fmla="*/ 4 h 4"/>
              </a:gdLst>
              <a:ahLst/>
              <a:cxnLst>
                <a:cxn ang="0">
                  <a:pos x="T0" y="T1"/>
                </a:cxn>
                <a:cxn ang="0">
                  <a:pos x="T2" y="T3"/>
                </a:cxn>
                <a:cxn ang="0">
                  <a:pos x="T4" y="T5"/>
                </a:cxn>
                <a:cxn ang="0">
                  <a:pos x="T6" y="T7"/>
                </a:cxn>
                <a:cxn ang="0">
                  <a:pos x="T8" y="T9"/>
                </a:cxn>
              </a:cxnLst>
              <a:rect l="0" t="0" r="r" b="b"/>
              <a:pathLst>
                <a:path w="16" h="4">
                  <a:moveTo>
                    <a:pt x="16" y="4"/>
                  </a:moveTo>
                  <a:cubicBezTo>
                    <a:pt x="15" y="4"/>
                    <a:pt x="12" y="4"/>
                    <a:pt x="8" y="3"/>
                  </a:cubicBezTo>
                  <a:cubicBezTo>
                    <a:pt x="4" y="2"/>
                    <a:pt x="0" y="1"/>
                    <a:pt x="0" y="0"/>
                  </a:cubicBezTo>
                  <a:cubicBezTo>
                    <a:pt x="0" y="0"/>
                    <a:pt x="4" y="0"/>
                    <a:pt x="8" y="1"/>
                  </a:cubicBezTo>
                  <a:cubicBezTo>
                    <a:pt x="12" y="2"/>
                    <a:pt x="16" y="3"/>
                    <a:pt x="16" y="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71">
              <a:extLst>
                <a:ext uri="{FF2B5EF4-FFF2-40B4-BE49-F238E27FC236}">
                  <a16:creationId xmlns:a16="http://schemas.microsoft.com/office/drawing/2014/main" id="{F0A3727C-5549-49C9-96DC-DC3488B90A6C}"/>
                </a:ext>
              </a:extLst>
            </p:cNvPr>
            <p:cNvSpPr>
              <a:spLocks/>
            </p:cNvSpPr>
            <p:nvPr/>
          </p:nvSpPr>
          <p:spPr bwMode="auto">
            <a:xfrm>
              <a:off x="6714515" y="4644493"/>
              <a:ext cx="29192" cy="8920"/>
            </a:xfrm>
            <a:custGeom>
              <a:avLst/>
              <a:gdLst>
                <a:gd name="T0" fmla="*/ 15 w 15"/>
                <a:gd name="T1" fmla="*/ 4 h 5"/>
                <a:gd name="T2" fmla="*/ 7 w 15"/>
                <a:gd name="T3" fmla="*/ 3 h 5"/>
                <a:gd name="T4" fmla="*/ 0 w 15"/>
                <a:gd name="T5" fmla="*/ 1 h 5"/>
                <a:gd name="T6" fmla="*/ 8 w 15"/>
                <a:gd name="T7" fmla="*/ 1 h 5"/>
                <a:gd name="T8" fmla="*/ 15 w 15"/>
                <a:gd name="T9" fmla="*/ 4 h 5"/>
              </a:gdLst>
              <a:ahLst/>
              <a:cxnLst>
                <a:cxn ang="0">
                  <a:pos x="T0" y="T1"/>
                </a:cxn>
                <a:cxn ang="0">
                  <a:pos x="T2" y="T3"/>
                </a:cxn>
                <a:cxn ang="0">
                  <a:pos x="T4" y="T5"/>
                </a:cxn>
                <a:cxn ang="0">
                  <a:pos x="T6" y="T7"/>
                </a:cxn>
                <a:cxn ang="0">
                  <a:pos x="T8" y="T9"/>
                </a:cxn>
              </a:cxnLst>
              <a:rect l="0" t="0" r="r" b="b"/>
              <a:pathLst>
                <a:path w="15" h="5">
                  <a:moveTo>
                    <a:pt x="15" y="4"/>
                  </a:moveTo>
                  <a:cubicBezTo>
                    <a:pt x="15" y="5"/>
                    <a:pt x="12" y="4"/>
                    <a:pt x="7" y="3"/>
                  </a:cubicBezTo>
                  <a:cubicBezTo>
                    <a:pt x="3" y="2"/>
                    <a:pt x="0" y="1"/>
                    <a:pt x="0" y="1"/>
                  </a:cubicBezTo>
                  <a:cubicBezTo>
                    <a:pt x="0" y="0"/>
                    <a:pt x="4" y="0"/>
                    <a:pt x="8" y="1"/>
                  </a:cubicBezTo>
                  <a:cubicBezTo>
                    <a:pt x="12" y="2"/>
                    <a:pt x="15" y="4"/>
                    <a:pt x="15" y="4"/>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72">
              <a:extLst>
                <a:ext uri="{FF2B5EF4-FFF2-40B4-BE49-F238E27FC236}">
                  <a16:creationId xmlns:a16="http://schemas.microsoft.com/office/drawing/2014/main" id="{5603BB00-478D-4932-86BB-E2A7BB167C2C}"/>
                </a:ext>
              </a:extLst>
            </p:cNvPr>
            <p:cNvSpPr>
              <a:spLocks noChangeArrowheads="1"/>
            </p:cNvSpPr>
            <p:nvPr/>
          </p:nvSpPr>
          <p:spPr bwMode="auto">
            <a:xfrm>
              <a:off x="6735598" y="4607192"/>
              <a:ext cx="4054" cy="34868"/>
            </a:xfrm>
            <a:prstGeom prst="ellipse">
              <a:avLst/>
            </a:pr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73">
              <a:extLst>
                <a:ext uri="{FF2B5EF4-FFF2-40B4-BE49-F238E27FC236}">
                  <a16:creationId xmlns:a16="http://schemas.microsoft.com/office/drawing/2014/main" id="{C21D3771-7645-4CCE-9B21-4CCF4884604F}"/>
                </a:ext>
              </a:extLst>
            </p:cNvPr>
            <p:cNvSpPr>
              <a:spLocks/>
            </p:cNvSpPr>
            <p:nvPr/>
          </p:nvSpPr>
          <p:spPr bwMode="auto">
            <a:xfrm>
              <a:off x="6797226" y="4574756"/>
              <a:ext cx="78657" cy="85144"/>
            </a:xfrm>
            <a:custGeom>
              <a:avLst/>
              <a:gdLst>
                <a:gd name="T0" fmla="*/ 37 w 41"/>
                <a:gd name="T1" fmla="*/ 0 h 44"/>
                <a:gd name="T2" fmla="*/ 36 w 41"/>
                <a:gd name="T3" fmla="*/ 1 h 44"/>
                <a:gd name="T4" fmla="*/ 9 w 41"/>
                <a:gd name="T5" fmla="*/ 13 h 44"/>
                <a:gd name="T6" fmla="*/ 0 w 41"/>
                <a:gd name="T7" fmla="*/ 27 h 44"/>
                <a:gd name="T8" fmla="*/ 8 w 41"/>
                <a:gd name="T9" fmla="*/ 38 h 44"/>
                <a:gd name="T10" fmla="*/ 20 w 41"/>
                <a:gd name="T11" fmla="*/ 44 h 44"/>
                <a:gd name="T12" fmla="*/ 24 w 41"/>
                <a:gd name="T13" fmla="*/ 44 h 44"/>
                <a:gd name="T14" fmla="*/ 34 w 41"/>
                <a:gd name="T15" fmla="*/ 33 h 44"/>
                <a:gd name="T16" fmla="*/ 38 w 41"/>
                <a:gd name="T17" fmla="*/ 18 h 44"/>
                <a:gd name="T18" fmla="*/ 40 w 41"/>
                <a:gd name="T19" fmla="*/ 5 h 44"/>
                <a:gd name="T20" fmla="*/ 40 w 41"/>
                <a:gd name="T21" fmla="*/ 1 h 44"/>
                <a:gd name="T22" fmla="*/ 37 w 41"/>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4">
                  <a:moveTo>
                    <a:pt x="37" y="0"/>
                  </a:moveTo>
                  <a:cubicBezTo>
                    <a:pt x="37" y="0"/>
                    <a:pt x="36" y="1"/>
                    <a:pt x="36" y="1"/>
                  </a:cubicBezTo>
                  <a:cubicBezTo>
                    <a:pt x="26" y="2"/>
                    <a:pt x="16" y="6"/>
                    <a:pt x="9" y="13"/>
                  </a:cubicBezTo>
                  <a:cubicBezTo>
                    <a:pt x="4" y="17"/>
                    <a:pt x="0" y="21"/>
                    <a:pt x="0" y="27"/>
                  </a:cubicBezTo>
                  <a:cubicBezTo>
                    <a:pt x="0" y="29"/>
                    <a:pt x="3" y="36"/>
                    <a:pt x="8" y="38"/>
                  </a:cubicBezTo>
                  <a:cubicBezTo>
                    <a:pt x="10" y="42"/>
                    <a:pt x="16" y="44"/>
                    <a:pt x="20" y="44"/>
                  </a:cubicBezTo>
                  <a:cubicBezTo>
                    <a:pt x="21" y="44"/>
                    <a:pt x="23" y="44"/>
                    <a:pt x="24" y="44"/>
                  </a:cubicBezTo>
                  <a:cubicBezTo>
                    <a:pt x="28" y="42"/>
                    <a:pt x="32" y="38"/>
                    <a:pt x="34" y="33"/>
                  </a:cubicBezTo>
                  <a:cubicBezTo>
                    <a:pt x="36" y="28"/>
                    <a:pt x="37" y="23"/>
                    <a:pt x="38" y="18"/>
                  </a:cubicBezTo>
                  <a:cubicBezTo>
                    <a:pt x="39" y="14"/>
                    <a:pt x="39" y="10"/>
                    <a:pt x="40" y="5"/>
                  </a:cubicBezTo>
                  <a:cubicBezTo>
                    <a:pt x="40" y="4"/>
                    <a:pt x="41" y="2"/>
                    <a:pt x="40" y="1"/>
                  </a:cubicBezTo>
                  <a:cubicBezTo>
                    <a:pt x="39" y="1"/>
                    <a:pt x="38" y="0"/>
                    <a:pt x="37"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74">
              <a:extLst>
                <a:ext uri="{FF2B5EF4-FFF2-40B4-BE49-F238E27FC236}">
                  <a16:creationId xmlns:a16="http://schemas.microsoft.com/office/drawing/2014/main" id="{2D68371E-0F31-4BBA-8470-BA1818B08DE7}"/>
                </a:ext>
              </a:extLst>
            </p:cNvPr>
            <p:cNvSpPr>
              <a:spLocks/>
            </p:cNvSpPr>
            <p:nvPr/>
          </p:nvSpPr>
          <p:spPr bwMode="auto">
            <a:xfrm>
              <a:off x="6801280" y="4590163"/>
              <a:ext cx="60006" cy="72980"/>
            </a:xfrm>
            <a:custGeom>
              <a:avLst/>
              <a:gdLst>
                <a:gd name="T0" fmla="*/ 0 w 31"/>
                <a:gd name="T1" fmla="*/ 38 h 38"/>
                <a:gd name="T2" fmla="*/ 14 w 31"/>
                <a:gd name="T3" fmla="*/ 19 h 38"/>
                <a:gd name="T4" fmla="*/ 30 w 31"/>
                <a:gd name="T5" fmla="*/ 1 h 38"/>
                <a:gd name="T6" fmla="*/ 16 w 31"/>
                <a:gd name="T7" fmla="*/ 20 h 38"/>
                <a:gd name="T8" fmla="*/ 0 w 31"/>
                <a:gd name="T9" fmla="*/ 38 h 38"/>
              </a:gdLst>
              <a:ahLst/>
              <a:cxnLst>
                <a:cxn ang="0">
                  <a:pos x="T0" y="T1"/>
                </a:cxn>
                <a:cxn ang="0">
                  <a:pos x="T2" y="T3"/>
                </a:cxn>
                <a:cxn ang="0">
                  <a:pos x="T4" y="T5"/>
                </a:cxn>
                <a:cxn ang="0">
                  <a:pos x="T6" y="T7"/>
                </a:cxn>
                <a:cxn ang="0">
                  <a:pos x="T8" y="T9"/>
                </a:cxn>
              </a:cxnLst>
              <a:rect l="0" t="0" r="r" b="b"/>
              <a:pathLst>
                <a:path w="31" h="38">
                  <a:moveTo>
                    <a:pt x="0" y="38"/>
                  </a:moveTo>
                  <a:cubicBezTo>
                    <a:pt x="0" y="37"/>
                    <a:pt x="6" y="29"/>
                    <a:pt x="14" y="19"/>
                  </a:cubicBezTo>
                  <a:cubicBezTo>
                    <a:pt x="23" y="8"/>
                    <a:pt x="30" y="0"/>
                    <a:pt x="30" y="1"/>
                  </a:cubicBezTo>
                  <a:cubicBezTo>
                    <a:pt x="31" y="1"/>
                    <a:pt x="24" y="10"/>
                    <a:pt x="16" y="20"/>
                  </a:cubicBezTo>
                  <a:cubicBezTo>
                    <a:pt x="8" y="30"/>
                    <a:pt x="1" y="38"/>
                    <a:pt x="0" y="38"/>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75">
              <a:extLst>
                <a:ext uri="{FF2B5EF4-FFF2-40B4-BE49-F238E27FC236}">
                  <a16:creationId xmlns:a16="http://schemas.microsoft.com/office/drawing/2014/main" id="{ABC899D3-3A7B-4281-83A0-38BB8F8B1AF7}"/>
                </a:ext>
              </a:extLst>
            </p:cNvPr>
            <p:cNvSpPr>
              <a:spLocks/>
            </p:cNvSpPr>
            <p:nvPr/>
          </p:nvSpPr>
          <p:spPr bwMode="auto">
            <a:xfrm>
              <a:off x="6830473" y="4599894"/>
              <a:ext cx="5676" cy="22705"/>
            </a:xfrm>
            <a:custGeom>
              <a:avLst/>
              <a:gdLst>
                <a:gd name="T0" fmla="*/ 2 w 3"/>
                <a:gd name="T1" fmla="*/ 12 h 12"/>
                <a:gd name="T2" fmla="*/ 1 w 3"/>
                <a:gd name="T3" fmla="*/ 6 h 12"/>
                <a:gd name="T4" fmla="*/ 1 w 3"/>
                <a:gd name="T5" fmla="*/ 0 h 12"/>
                <a:gd name="T6" fmla="*/ 3 w 3"/>
                <a:gd name="T7" fmla="*/ 6 h 12"/>
                <a:gd name="T8" fmla="*/ 2 w 3"/>
                <a:gd name="T9" fmla="*/ 12 h 12"/>
              </a:gdLst>
              <a:ahLst/>
              <a:cxnLst>
                <a:cxn ang="0">
                  <a:pos x="T0" y="T1"/>
                </a:cxn>
                <a:cxn ang="0">
                  <a:pos x="T2" y="T3"/>
                </a:cxn>
                <a:cxn ang="0">
                  <a:pos x="T4" y="T5"/>
                </a:cxn>
                <a:cxn ang="0">
                  <a:pos x="T6" y="T7"/>
                </a:cxn>
                <a:cxn ang="0">
                  <a:pos x="T8" y="T9"/>
                </a:cxn>
              </a:cxnLst>
              <a:rect l="0" t="0" r="r" b="b"/>
              <a:pathLst>
                <a:path w="3" h="12">
                  <a:moveTo>
                    <a:pt x="2" y="12"/>
                  </a:moveTo>
                  <a:cubicBezTo>
                    <a:pt x="2" y="12"/>
                    <a:pt x="1" y="9"/>
                    <a:pt x="1" y="6"/>
                  </a:cubicBezTo>
                  <a:cubicBezTo>
                    <a:pt x="0" y="3"/>
                    <a:pt x="1" y="0"/>
                    <a:pt x="1" y="0"/>
                  </a:cubicBezTo>
                  <a:cubicBezTo>
                    <a:pt x="2" y="0"/>
                    <a:pt x="2" y="2"/>
                    <a:pt x="3" y="6"/>
                  </a:cubicBezTo>
                  <a:cubicBezTo>
                    <a:pt x="3" y="9"/>
                    <a:pt x="3" y="12"/>
                    <a:pt x="2" y="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76">
              <a:extLst>
                <a:ext uri="{FF2B5EF4-FFF2-40B4-BE49-F238E27FC236}">
                  <a16:creationId xmlns:a16="http://schemas.microsoft.com/office/drawing/2014/main" id="{6D690784-41C1-481D-A1EB-349ABA45D2CB}"/>
                </a:ext>
              </a:extLst>
            </p:cNvPr>
            <p:cNvSpPr>
              <a:spLocks/>
            </p:cNvSpPr>
            <p:nvPr/>
          </p:nvSpPr>
          <p:spPr bwMode="auto">
            <a:xfrm>
              <a:off x="6816687" y="4616922"/>
              <a:ext cx="5676" cy="23516"/>
            </a:xfrm>
            <a:custGeom>
              <a:avLst/>
              <a:gdLst>
                <a:gd name="T0" fmla="*/ 2 w 3"/>
                <a:gd name="T1" fmla="*/ 12 h 12"/>
                <a:gd name="T2" fmla="*/ 0 w 3"/>
                <a:gd name="T3" fmla="*/ 6 h 12"/>
                <a:gd name="T4" fmla="*/ 1 w 3"/>
                <a:gd name="T5" fmla="*/ 0 h 12"/>
                <a:gd name="T6" fmla="*/ 3 w 3"/>
                <a:gd name="T7" fmla="*/ 6 h 12"/>
                <a:gd name="T8" fmla="*/ 2 w 3"/>
                <a:gd name="T9" fmla="*/ 12 h 12"/>
              </a:gdLst>
              <a:ahLst/>
              <a:cxnLst>
                <a:cxn ang="0">
                  <a:pos x="T0" y="T1"/>
                </a:cxn>
                <a:cxn ang="0">
                  <a:pos x="T2" y="T3"/>
                </a:cxn>
                <a:cxn ang="0">
                  <a:pos x="T4" y="T5"/>
                </a:cxn>
                <a:cxn ang="0">
                  <a:pos x="T6" y="T7"/>
                </a:cxn>
                <a:cxn ang="0">
                  <a:pos x="T8" y="T9"/>
                </a:cxn>
              </a:cxnLst>
              <a:rect l="0" t="0" r="r" b="b"/>
              <a:pathLst>
                <a:path w="3" h="12">
                  <a:moveTo>
                    <a:pt x="2" y="12"/>
                  </a:moveTo>
                  <a:cubicBezTo>
                    <a:pt x="1" y="12"/>
                    <a:pt x="1" y="10"/>
                    <a:pt x="0" y="6"/>
                  </a:cubicBezTo>
                  <a:cubicBezTo>
                    <a:pt x="0" y="3"/>
                    <a:pt x="0" y="0"/>
                    <a:pt x="1" y="0"/>
                  </a:cubicBezTo>
                  <a:cubicBezTo>
                    <a:pt x="2" y="0"/>
                    <a:pt x="2" y="3"/>
                    <a:pt x="3" y="6"/>
                  </a:cubicBezTo>
                  <a:cubicBezTo>
                    <a:pt x="3" y="10"/>
                    <a:pt x="3" y="12"/>
                    <a:pt x="2" y="12"/>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77">
              <a:extLst>
                <a:ext uri="{FF2B5EF4-FFF2-40B4-BE49-F238E27FC236}">
                  <a16:creationId xmlns:a16="http://schemas.microsoft.com/office/drawing/2014/main" id="{09C369BC-52FB-49BC-8868-88D11F34BAB8}"/>
                </a:ext>
              </a:extLst>
            </p:cNvPr>
            <p:cNvSpPr>
              <a:spLocks/>
            </p:cNvSpPr>
            <p:nvPr/>
          </p:nvSpPr>
          <p:spPr bwMode="auto">
            <a:xfrm>
              <a:off x="6826418" y="4625031"/>
              <a:ext cx="25138" cy="9731"/>
            </a:xfrm>
            <a:custGeom>
              <a:avLst/>
              <a:gdLst>
                <a:gd name="T0" fmla="*/ 0 w 13"/>
                <a:gd name="T1" fmla="*/ 5 h 5"/>
                <a:gd name="T2" fmla="*/ 6 w 13"/>
                <a:gd name="T3" fmla="*/ 1 h 5"/>
                <a:gd name="T4" fmla="*/ 13 w 13"/>
                <a:gd name="T5" fmla="*/ 0 h 5"/>
                <a:gd name="T6" fmla="*/ 7 w 13"/>
                <a:gd name="T7" fmla="*/ 3 h 5"/>
                <a:gd name="T8" fmla="*/ 0 w 13"/>
                <a:gd name="T9" fmla="*/ 5 h 5"/>
              </a:gdLst>
              <a:ahLst/>
              <a:cxnLst>
                <a:cxn ang="0">
                  <a:pos x="T0" y="T1"/>
                </a:cxn>
                <a:cxn ang="0">
                  <a:pos x="T2" y="T3"/>
                </a:cxn>
                <a:cxn ang="0">
                  <a:pos x="T4" y="T5"/>
                </a:cxn>
                <a:cxn ang="0">
                  <a:pos x="T6" y="T7"/>
                </a:cxn>
                <a:cxn ang="0">
                  <a:pos x="T8" y="T9"/>
                </a:cxn>
              </a:cxnLst>
              <a:rect l="0" t="0" r="r" b="b"/>
              <a:pathLst>
                <a:path w="13" h="5">
                  <a:moveTo>
                    <a:pt x="0" y="5"/>
                  </a:moveTo>
                  <a:cubicBezTo>
                    <a:pt x="0" y="4"/>
                    <a:pt x="3" y="3"/>
                    <a:pt x="6" y="1"/>
                  </a:cubicBezTo>
                  <a:cubicBezTo>
                    <a:pt x="10" y="0"/>
                    <a:pt x="13" y="0"/>
                    <a:pt x="13" y="0"/>
                  </a:cubicBezTo>
                  <a:cubicBezTo>
                    <a:pt x="13" y="1"/>
                    <a:pt x="11" y="2"/>
                    <a:pt x="7" y="3"/>
                  </a:cubicBezTo>
                  <a:cubicBezTo>
                    <a:pt x="3" y="5"/>
                    <a:pt x="0" y="5"/>
                    <a:pt x="0" y="5"/>
                  </a:cubicBezTo>
                  <a:close/>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78">
              <a:extLst>
                <a:ext uri="{FF2B5EF4-FFF2-40B4-BE49-F238E27FC236}">
                  <a16:creationId xmlns:a16="http://schemas.microsoft.com/office/drawing/2014/main" id="{FE127DBC-113E-45AF-A640-D7A7C3E9D798}"/>
                </a:ext>
              </a:extLst>
            </p:cNvPr>
            <p:cNvSpPr>
              <a:spLocks noChangeArrowheads="1"/>
            </p:cNvSpPr>
            <p:nvPr/>
          </p:nvSpPr>
          <p:spPr bwMode="auto">
            <a:xfrm>
              <a:off x="7459726" y="4620977"/>
              <a:ext cx="151637"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279">
              <a:extLst>
                <a:ext uri="{FF2B5EF4-FFF2-40B4-BE49-F238E27FC236}">
                  <a16:creationId xmlns:a16="http://schemas.microsoft.com/office/drawing/2014/main" id="{FD41AB2E-AA81-4E2A-8A4E-27E4160D74AD}"/>
                </a:ext>
              </a:extLst>
            </p:cNvPr>
            <p:cNvSpPr>
              <a:spLocks noChangeArrowheads="1"/>
            </p:cNvSpPr>
            <p:nvPr/>
          </p:nvSpPr>
          <p:spPr bwMode="auto">
            <a:xfrm>
              <a:off x="7472701" y="4665576"/>
              <a:ext cx="13866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80">
              <a:extLst>
                <a:ext uri="{FF2B5EF4-FFF2-40B4-BE49-F238E27FC236}">
                  <a16:creationId xmlns:a16="http://schemas.microsoft.com/office/drawing/2014/main" id="{E16D9ECB-763E-41BC-BEF4-2A4435075275}"/>
                </a:ext>
              </a:extLst>
            </p:cNvPr>
            <p:cNvSpPr>
              <a:spLocks noChangeArrowheads="1"/>
            </p:cNvSpPr>
            <p:nvPr/>
          </p:nvSpPr>
          <p:spPr bwMode="auto">
            <a:xfrm>
              <a:off x="7511623" y="4706121"/>
              <a:ext cx="101362"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81">
              <a:extLst>
                <a:ext uri="{FF2B5EF4-FFF2-40B4-BE49-F238E27FC236}">
                  <a16:creationId xmlns:a16="http://schemas.microsoft.com/office/drawing/2014/main" id="{8D39000C-75ED-430F-B596-6A36F4D3656E}"/>
                </a:ext>
              </a:extLst>
            </p:cNvPr>
            <p:cNvSpPr>
              <a:spLocks noChangeArrowheads="1"/>
            </p:cNvSpPr>
            <p:nvPr/>
          </p:nvSpPr>
          <p:spPr bwMode="auto">
            <a:xfrm>
              <a:off x="7467024" y="4582865"/>
              <a:ext cx="145961"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282">
              <a:extLst>
                <a:ext uri="{FF2B5EF4-FFF2-40B4-BE49-F238E27FC236}">
                  <a16:creationId xmlns:a16="http://schemas.microsoft.com/office/drawing/2014/main" id="{DC454906-FAE1-4CD9-B066-6318F2CCB249}"/>
                </a:ext>
              </a:extLst>
            </p:cNvPr>
            <p:cNvSpPr>
              <a:spLocks noChangeArrowheads="1"/>
            </p:cNvSpPr>
            <p:nvPr/>
          </p:nvSpPr>
          <p:spPr bwMode="auto">
            <a:xfrm>
              <a:off x="7497838" y="4542320"/>
              <a:ext cx="11352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83">
              <a:extLst>
                <a:ext uri="{FF2B5EF4-FFF2-40B4-BE49-F238E27FC236}">
                  <a16:creationId xmlns:a16="http://schemas.microsoft.com/office/drawing/2014/main" id="{F0DE2934-A674-4367-8F59-130E022779B0}"/>
                </a:ext>
              </a:extLst>
            </p:cNvPr>
            <p:cNvSpPr>
              <a:spLocks/>
            </p:cNvSpPr>
            <p:nvPr/>
          </p:nvSpPr>
          <p:spPr bwMode="auto">
            <a:xfrm>
              <a:off x="7336470" y="4295809"/>
              <a:ext cx="377066" cy="196236"/>
            </a:xfrm>
            <a:custGeom>
              <a:avLst/>
              <a:gdLst>
                <a:gd name="T0" fmla="*/ 196 w 196"/>
                <a:gd name="T1" fmla="*/ 0 h 102"/>
                <a:gd name="T2" fmla="*/ 196 w 196"/>
                <a:gd name="T3" fmla="*/ 102 h 102"/>
                <a:gd name="T4" fmla="*/ 0 w 196"/>
                <a:gd name="T5" fmla="*/ 102 h 102"/>
                <a:gd name="T6" fmla="*/ 0 w 196"/>
                <a:gd name="T7" fmla="*/ 0 h 102"/>
                <a:gd name="T8" fmla="*/ 196 w 196"/>
                <a:gd name="T9" fmla="*/ 0 h 102"/>
              </a:gdLst>
              <a:ahLst/>
              <a:cxnLst>
                <a:cxn ang="0">
                  <a:pos x="T0" y="T1"/>
                </a:cxn>
                <a:cxn ang="0">
                  <a:pos x="T2" y="T3"/>
                </a:cxn>
                <a:cxn ang="0">
                  <a:pos x="T4" y="T5"/>
                </a:cxn>
                <a:cxn ang="0">
                  <a:pos x="T6" y="T7"/>
                </a:cxn>
                <a:cxn ang="0">
                  <a:pos x="T8" y="T9"/>
                </a:cxn>
              </a:cxnLst>
              <a:rect l="0" t="0" r="r" b="b"/>
              <a:pathLst>
                <a:path w="196" h="102">
                  <a:moveTo>
                    <a:pt x="196" y="0"/>
                  </a:moveTo>
                  <a:cubicBezTo>
                    <a:pt x="196" y="4"/>
                    <a:pt x="196" y="102"/>
                    <a:pt x="196" y="102"/>
                  </a:cubicBezTo>
                  <a:cubicBezTo>
                    <a:pt x="0" y="102"/>
                    <a:pt x="0" y="102"/>
                    <a:pt x="0" y="102"/>
                  </a:cubicBezTo>
                  <a:cubicBezTo>
                    <a:pt x="0" y="0"/>
                    <a:pt x="0" y="0"/>
                    <a:pt x="0" y="0"/>
                  </a:cubicBezTo>
                  <a:cubicBezTo>
                    <a:pt x="196" y="0"/>
                    <a:pt x="196" y="0"/>
                    <a:pt x="196" y="0"/>
                  </a:cubicBezTo>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84">
              <a:extLst>
                <a:ext uri="{FF2B5EF4-FFF2-40B4-BE49-F238E27FC236}">
                  <a16:creationId xmlns:a16="http://schemas.microsoft.com/office/drawing/2014/main" id="{7F8BD9F0-D315-4AF8-8E96-9344AC6EF9E3}"/>
                </a:ext>
              </a:extLst>
            </p:cNvPr>
            <p:cNvSpPr>
              <a:spLocks/>
            </p:cNvSpPr>
            <p:nvPr/>
          </p:nvSpPr>
          <p:spPr bwMode="auto">
            <a:xfrm>
              <a:off x="6489086" y="4274725"/>
              <a:ext cx="1241478" cy="231105"/>
            </a:xfrm>
            <a:custGeom>
              <a:avLst/>
              <a:gdLst>
                <a:gd name="T0" fmla="*/ 1 w 645"/>
                <a:gd name="T1" fmla="*/ 63 h 120"/>
                <a:gd name="T2" fmla="*/ 1 w 645"/>
                <a:gd name="T3" fmla="*/ 65 h 120"/>
                <a:gd name="T4" fmla="*/ 60 w 645"/>
                <a:gd name="T5" fmla="*/ 120 h 120"/>
                <a:gd name="T6" fmla="*/ 645 w 645"/>
                <a:gd name="T7" fmla="*/ 120 h 120"/>
                <a:gd name="T8" fmla="*/ 645 w 645"/>
                <a:gd name="T9" fmla="*/ 113 h 120"/>
                <a:gd name="T10" fmla="*/ 506 w 645"/>
                <a:gd name="T11" fmla="*/ 113 h 120"/>
                <a:gd name="T12" fmla="*/ 456 w 645"/>
                <a:gd name="T13" fmla="*/ 62 h 120"/>
                <a:gd name="T14" fmla="*/ 506 w 645"/>
                <a:gd name="T15" fmla="*/ 11 h 120"/>
                <a:gd name="T16" fmla="*/ 645 w 645"/>
                <a:gd name="T17" fmla="*/ 11 h 120"/>
                <a:gd name="T18" fmla="*/ 645 w 645"/>
                <a:gd name="T19" fmla="*/ 0 h 120"/>
                <a:gd name="T20" fmla="*/ 60 w 645"/>
                <a:gd name="T21" fmla="*/ 2 h 120"/>
                <a:gd name="T22" fmla="*/ 1 w 645"/>
                <a:gd name="T23" fmla="*/ 6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5" h="120">
                  <a:moveTo>
                    <a:pt x="1" y="63"/>
                  </a:moveTo>
                  <a:cubicBezTo>
                    <a:pt x="1" y="64"/>
                    <a:pt x="1" y="64"/>
                    <a:pt x="1" y="65"/>
                  </a:cubicBezTo>
                  <a:cubicBezTo>
                    <a:pt x="3" y="96"/>
                    <a:pt x="29" y="120"/>
                    <a:pt x="60" y="120"/>
                  </a:cubicBezTo>
                  <a:cubicBezTo>
                    <a:pt x="645" y="120"/>
                    <a:pt x="645" y="120"/>
                    <a:pt x="645" y="120"/>
                  </a:cubicBezTo>
                  <a:cubicBezTo>
                    <a:pt x="645" y="113"/>
                    <a:pt x="645" y="113"/>
                    <a:pt x="645" y="113"/>
                  </a:cubicBezTo>
                  <a:cubicBezTo>
                    <a:pt x="506" y="113"/>
                    <a:pt x="506" y="113"/>
                    <a:pt x="506" y="113"/>
                  </a:cubicBezTo>
                  <a:cubicBezTo>
                    <a:pt x="478" y="113"/>
                    <a:pt x="456" y="90"/>
                    <a:pt x="456" y="62"/>
                  </a:cubicBezTo>
                  <a:cubicBezTo>
                    <a:pt x="456" y="34"/>
                    <a:pt x="478" y="11"/>
                    <a:pt x="506" y="11"/>
                  </a:cubicBezTo>
                  <a:cubicBezTo>
                    <a:pt x="645" y="11"/>
                    <a:pt x="645" y="11"/>
                    <a:pt x="645" y="11"/>
                  </a:cubicBezTo>
                  <a:cubicBezTo>
                    <a:pt x="645" y="0"/>
                    <a:pt x="645" y="0"/>
                    <a:pt x="645" y="0"/>
                  </a:cubicBezTo>
                  <a:cubicBezTo>
                    <a:pt x="60" y="2"/>
                    <a:pt x="60" y="2"/>
                    <a:pt x="60" y="2"/>
                  </a:cubicBezTo>
                  <a:cubicBezTo>
                    <a:pt x="27" y="2"/>
                    <a:pt x="0" y="30"/>
                    <a:pt x="1" y="63"/>
                  </a:cubicBezTo>
                </a:path>
              </a:pathLst>
            </a:custGeom>
            <a:solidFill>
              <a:srgbClr val="E85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85">
              <a:extLst>
                <a:ext uri="{FF2B5EF4-FFF2-40B4-BE49-F238E27FC236}">
                  <a16:creationId xmlns:a16="http://schemas.microsoft.com/office/drawing/2014/main" id="{2B31BE07-9DC0-4673-AC5B-5FFBB79ACB73}"/>
                </a:ext>
              </a:extLst>
            </p:cNvPr>
            <p:cNvSpPr>
              <a:spLocks noChangeArrowheads="1"/>
            </p:cNvSpPr>
            <p:nvPr/>
          </p:nvSpPr>
          <p:spPr bwMode="auto">
            <a:xfrm>
              <a:off x="7367284" y="4393927"/>
              <a:ext cx="346252"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86">
              <a:extLst>
                <a:ext uri="{FF2B5EF4-FFF2-40B4-BE49-F238E27FC236}">
                  <a16:creationId xmlns:a16="http://schemas.microsoft.com/office/drawing/2014/main" id="{EBE06C9D-A980-453D-A1EA-CA20D680CF4A}"/>
                </a:ext>
              </a:extLst>
            </p:cNvPr>
            <p:cNvSpPr>
              <a:spLocks noChangeArrowheads="1"/>
            </p:cNvSpPr>
            <p:nvPr/>
          </p:nvSpPr>
          <p:spPr bwMode="auto">
            <a:xfrm>
              <a:off x="7380259" y="4437715"/>
              <a:ext cx="327601"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287">
              <a:extLst>
                <a:ext uri="{FF2B5EF4-FFF2-40B4-BE49-F238E27FC236}">
                  <a16:creationId xmlns:a16="http://schemas.microsoft.com/office/drawing/2014/main" id="{570FA6F7-000D-4273-8759-FEB14BB399B5}"/>
                </a:ext>
              </a:extLst>
            </p:cNvPr>
            <p:cNvSpPr>
              <a:spLocks noChangeArrowheads="1"/>
            </p:cNvSpPr>
            <p:nvPr/>
          </p:nvSpPr>
          <p:spPr bwMode="auto">
            <a:xfrm>
              <a:off x="7419182" y="4478260"/>
              <a:ext cx="294354"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88">
              <a:extLst>
                <a:ext uri="{FF2B5EF4-FFF2-40B4-BE49-F238E27FC236}">
                  <a16:creationId xmlns:a16="http://schemas.microsoft.com/office/drawing/2014/main" id="{428BD9CF-3BBB-41B6-A081-32B887E843A7}"/>
                </a:ext>
              </a:extLst>
            </p:cNvPr>
            <p:cNvSpPr>
              <a:spLocks noChangeArrowheads="1"/>
            </p:cNvSpPr>
            <p:nvPr/>
          </p:nvSpPr>
          <p:spPr bwMode="auto">
            <a:xfrm>
              <a:off x="7372961" y="4355004"/>
              <a:ext cx="3405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289">
              <a:extLst>
                <a:ext uri="{FF2B5EF4-FFF2-40B4-BE49-F238E27FC236}">
                  <a16:creationId xmlns:a16="http://schemas.microsoft.com/office/drawing/2014/main" id="{389F863D-AD1D-4A08-B8F4-8F1A8DBC5A93}"/>
                </a:ext>
              </a:extLst>
            </p:cNvPr>
            <p:cNvSpPr>
              <a:spLocks noChangeArrowheads="1"/>
            </p:cNvSpPr>
            <p:nvPr/>
          </p:nvSpPr>
          <p:spPr bwMode="auto">
            <a:xfrm>
              <a:off x="7405396" y="4315270"/>
              <a:ext cx="302463"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90">
              <a:extLst>
                <a:ext uri="{FF2B5EF4-FFF2-40B4-BE49-F238E27FC236}">
                  <a16:creationId xmlns:a16="http://schemas.microsoft.com/office/drawing/2014/main" id="{F25900C2-3B0E-483D-8162-7F8E556FD86D}"/>
                </a:ext>
              </a:extLst>
            </p:cNvPr>
            <p:cNvSpPr>
              <a:spLocks/>
            </p:cNvSpPr>
            <p:nvPr/>
          </p:nvSpPr>
          <p:spPr bwMode="auto">
            <a:xfrm>
              <a:off x="6491519" y="4274725"/>
              <a:ext cx="1239046" cy="231105"/>
            </a:xfrm>
            <a:custGeom>
              <a:avLst/>
              <a:gdLst>
                <a:gd name="T0" fmla="*/ 644 w 644"/>
                <a:gd name="T1" fmla="*/ 0 h 120"/>
                <a:gd name="T2" fmla="*/ 59 w 644"/>
                <a:gd name="T3" fmla="*/ 2 h 120"/>
                <a:gd name="T4" fmla="*/ 0 w 644"/>
                <a:gd name="T5" fmla="*/ 61 h 120"/>
                <a:gd name="T6" fmla="*/ 0 w 644"/>
                <a:gd name="T7" fmla="*/ 63 h 120"/>
                <a:gd name="T8" fmla="*/ 0 w 644"/>
                <a:gd name="T9" fmla="*/ 65 h 120"/>
                <a:gd name="T10" fmla="*/ 59 w 644"/>
                <a:gd name="T11" fmla="*/ 120 h 120"/>
                <a:gd name="T12" fmla="*/ 644 w 644"/>
                <a:gd name="T13" fmla="*/ 120 h 120"/>
                <a:gd name="T14" fmla="*/ 644 w 644"/>
                <a:gd name="T15" fmla="*/ 113 h 120"/>
                <a:gd name="T16" fmla="*/ 635 w 644"/>
                <a:gd name="T17" fmla="*/ 113 h 120"/>
                <a:gd name="T18" fmla="*/ 505 w 644"/>
                <a:gd name="T19" fmla="*/ 113 h 120"/>
                <a:gd name="T20" fmla="*/ 482 w 644"/>
                <a:gd name="T21" fmla="*/ 107 h 120"/>
                <a:gd name="T22" fmla="*/ 482 w 644"/>
                <a:gd name="T23" fmla="*/ 107 h 120"/>
                <a:gd name="T24" fmla="*/ 482 w 644"/>
                <a:gd name="T25" fmla="*/ 107 h 120"/>
                <a:gd name="T26" fmla="*/ 455 w 644"/>
                <a:gd name="T27" fmla="*/ 62 h 120"/>
                <a:gd name="T28" fmla="*/ 455 w 644"/>
                <a:gd name="T29" fmla="*/ 62 h 120"/>
                <a:gd name="T30" fmla="*/ 455 w 644"/>
                <a:gd name="T31" fmla="*/ 62 h 120"/>
                <a:gd name="T32" fmla="*/ 505 w 644"/>
                <a:gd name="T33" fmla="*/ 11 h 120"/>
                <a:gd name="T34" fmla="*/ 644 w 644"/>
                <a:gd name="T35" fmla="*/ 11 h 120"/>
                <a:gd name="T36" fmla="*/ 644 w 644"/>
                <a:gd name="T3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4" h="120">
                  <a:moveTo>
                    <a:pt x="644" y="0"/>
                  </a:moveTo>
                  <a:cubicBezTo>
                    <a:pt x="59" y="2"/>
                    <a:pt x="59" y="2"/>
                    <a:pt x="59" y="2"/>
                  </a:cubicBezTo>
                  <a:cubicBezTo>
                    <a:pt x="26" y="2"/>
                    <a:pt x="0" y="28"/>
                    <a:pt x="0" y="61"/>
                  </a:cubicBezTo>
                  <a:cubicBezTo>
                    <a:pt x="0" y="61"/>
                    <a:pt x="0" y="62"/>
                    <a:pt x="0" y="63"/>
                  </a:cubicBezTo>
                  <a:cubicBezTo>
                    <a:pt x="0" y="64"/>
                    <a:pt x="0" y="64"/>
                    <a:pt x="0" y="65"/>
                  </a:cubicBezTo>
                  <a:cubicBezTo>
                    <a:pt x="2" y="96"/>
                    <a:pt x="28" y="120"/>
                    <a:pt x="59" y="120"/>
                  </a:cubicBezTo>
                  <a:cubicBezTo>
                    <a:pt x="644" y="120"/>
                    <a:pt x="644" y="120"/>
                    <a:pt x="644" y="120"/>
                  </a:cubicBezTo>
                  <a:cubicBezTo>
                    <a:pt x="644" y="113"/>
                    <a:pt x="644" y="113"/>
                    <a:pt x="644" y="113"/>
                  </a:cubicBezTo>
                  <a:cubicBezTo>
                    <a:pt x="635" y="113"/>
                    <a:pt x="635" y="113"/>
                    <a:pt x="635" y="113"/>
                  </a:cubicBezTo>
                  <a:cubicBezTo>
                    <a:pt x="505" y="113"/>
                    <a:pt x="505" y="113"/>
                    <a:pt x="505" y="113"/>
                  </a:cubicBezTo>
                  <a:cubicBezTo>
                    <a:pt x="497" y="113"/>
                    <a:pt x="489" y="111"/>
                    <a:pt x="482" y="107"/>
                  </a:cubicBezTo>
                  <a:cubicBezTo>
                    <a:pt x="482" y="107"/>
                    <a:pt x="482" y="107"/>
                    <a:pt x="482" y="107"/>
                  </a:cubicBezTo>
                  <a:cubicBezTo>
                    <a:pt x="482" y="107"/>
                    <a:pt x="482" y="107"/>
                    <a:pt x="482" y="107"/>
                  </a:cubicBezTo>
                  <a:cubicBezTo>
                    <a:pt x="466" y="98"/>
                    <a:pt x="455" y="81"/>
                    <a:pt x="455" y="62"/>
                  </a:cubicBezTo>
                  <a:cubicBezTo>
                    <a:pt x="455" y="62"/>
                    <a:pt x="455" y="62"/>
                    <a:pt x="455" y="62"/>
                  </a:cubicBezTo>
                  <a:cubicBezTo>
                    <a:pt x="455" y="62"/>
                    <a:pt x="455" y="62"/>
                    <a:pt x="455" y="62"/>
                  </a:cubicBezTo>
                  <a:cubicBezTo>
                    <a:pt x="455" y="34"/>
                    <a:pt x="477" y="11"/>
                    <a:pt x="505" y="11"/>
                  </a:cubicBezTo>
                  <a:cubicBezTo>
                    <a:pt x="644" y="11"/>
                    <a:pt x="644" y="11"/>
                    <a:pt x="644" y="11"/>
                  </a:cubicBezTo>
                  <a:cubicBezTo>
                    <a:pt x="644" y="0"/>
                    <a:pt x="644" y="0"/>
                    <a:pt x="644" y="0"/>
                  </a:cubicBezTo>
                </a:path>
              </a:pathLst>
            </a:custGeom>
            <a:solidFill>
              <a:srgbClr val="A2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91">
              <a:extLst>
                <a:ext uri="{FF2B5EF4-FFF2-40B4-BE49-F238E27FC236}">
                  <a16:creationId xmlns:a16="http://schemas.microsoft.com/office/drawing/2014/main" id="{FAC02DE4-BAFA-4331-9852-01C386E9C2C7}"/>
                </a:ext>
              </a:extLst>
            </p:cNvPr>
            <p:cNvSpPr>
              <a:spLocks/>
            </p:cNvSpPr>
            <p:nvPr/>
          </p:nvSpPr>
          <p:spPr bwMode="auto">
            <a:xfrm>
              <a:off x="7419182" y="448069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292">
              <a:extLst>
                <a:ext uri="{FF2B5EF4-FFF2-40B4-BE49-F238E27FC236}">
                  <a16:creationId xmlns:a16="http://schemas.microsoft.com/office/drawing/2014/main" id="{4C55D6B6-3A25-4CBE-92F1-519FA9623493}"/>
                </a:ext>
              </a:extLst>
            </p:cNvPr>
            <p:cNvSpPr>
              <a:spLocks/>
            </p:cNvSpPr>
            <p:nvPr/>
          </p:nvSpPr>
          <p:spPr bwMode="auto">
            <a:xfrm>
              <a:off x="6574230" y="4282023"/>
              <a:ext cx="57573" cy="223807"/>
            </a:xfrm>
            <a:custGeom>
              <a:avLst/>
              <a:gdLst>
                <a:gd name="T0" fmla="*/ 28 w 30"/>
                <a:gd name="T1" fmla="*/ 0 h 116"/>
                <a:gd name="T2" fmla="*/ 16 w 30"/>
                <a:gd name="T3" fmla="*/ 15 h 116"/>
                <a:gd name="T4" fmla="*/ 2 w 30"/>
                <a:gd name="T5" fmla="*/ 58 h 116"/>
                <a:gd name="T6" fmla="*/ 17 w 30"/>
                <a:gd name="T7" fmla="*/ 102 h 116"/>
                <a:gd name="T8" fmla="*/ 30 w 30"/>
                <a:gd name="T9" fmla="*/ 116 h 116"/>
                <a:gd name="T10" fmla="*/ 25 w 30"/>
                <a:gd name="T11" fmla="*/ 113 h 116"/>
                <a:gd name="T12" fmla="*/ 16 w 30"/>
                <a:gd name="T13" fmla="*/ 103 h 116"/>
                <a:gd name="T14" fmla="*/ 0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5"/>
                  </a:cubicBezTo>
                  <a:cubicBezTo>
                    <a:pt x="9" y="24"/>
                    <a:pt x="2" y="40"/>
                    <a:pt x="2" y="58"/>
                  </a:cubicBezTo>
                  <a:cubicBezTo>
                    <a:pt x="3" y="77"/>
                    <a:pt x="10" y="92"/>
                    <a:pt x="17" y="102"/>
                  </a:cubicBezTo>
                  <a:cubicBezTo>
                    <a:pt x="24" y="111"/>
                    <a:pt x="30" y="116"/>
                    <a:pt x="30" y="116"/>
                  </a:cubicBezTo>
                  <a:cubicBezTo>
                    <a:pt x="30" y="116"/>
                    <a:pt x="28" y="115"/>
                    <a:pt x="25" y="113"/>
                  </a:cubicBezTo>
                  <a:cubicBezTo>
                    <a:pt x="23" y="111"/>
                    <a:pt x="19" y="107"/>
                    <a:pt x="16" y="103"/>
                  </a:cubicBezTo>
                  <a:cubicBezTo>
                    <a:pt x="8" y="93"/>
                    <a:pt x="1" y="77"/>
                    <a:pt x="0" y="58"/>
                  </a:cubicBezTo>
                  <a:cubicBezTo>
                    <a:pt x="0" y="40"/>
                    <a:pt x="7"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93">
              <a:extLst>
                <a:ext uri="{FF2B5EF4-FFF2-40B4-BE49-F238E27FC236}">
                  <a16:creationId xmlns:a16="http://schemas.microsoft.com/office/drawing/2014/main" id="{ECB2C297-50CE-483A-820F-EFB6D94D8D19}"/>
                </a:ext>
              </a:extLst>
            </p:cNvPr>
            <p:cNvSpPr>
              <a:spLocks/>
            </p:cNvSpPr>
            <p:nvPr/>
          </p:nvSpPr>
          <p:spPr bwMode="auto">
            <a:xfrm>
              <a:off x="6535307" y="4277969"/>
              <a:ext cx="58384" cy="223807"/>
            </a:xfrm>
            <a:custGeom>
              <a:avLst/>
              <a:gdLst>
                <a:gd name="T0" fmla="*/ 28 w 30"/>
                <a:gd name="T1" fmla="*/ 0 h 116"/>
                <a:gd name="T2" fmla="*/ 16 w 30"/>
                <a:gd name="T3" fmla="*/ 14 h 116"/>
                <a:gd name="T4" fmla="*/ 3 w 30"/>
                <a:gd name="T5" fmla="*/ 58 h 116"/>
                <a:gd name="T6" fmla="*/ 17 w 30"/>
                <a:gd name="T7" fmla="*/ 102 h 116"/>
                <a:gd name="T8" fmla="*/ 30 w 30"/>
                <a:gd name="T9" fmla="*/ 116 h 116"/>
                <a:gd name="T10" fmla="*/ 26 w 30"/>
                <a:gd name="T11" fmla="*/ 113 h 116"/>
                <a:gd name="T12" fmla="*/ 16 w 30"/>
                <a:gd name="T13" fmla="*/ 102 h 116"/>
                <a:gd name="T14" fmla="*/ 1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4"/>
                  </a:cubicBezTo>
                  <a:cubicBezTo>
                    <a:pt x="9" y="24"/>
                    <a:pt x="2" y="40"/>
                    <a:pt x="3" y="58"/>
                  </a:cubicBezTo>
                  <a:cubicBezTo>
                    <a:pt x="3" y="76"/>
                    <a:pt x="10" y="92"/>
                    <a:pt x="17" y="102"/>
                  </a:cubicBezTo>
                  <a:cubicBezTo>
                    <a:pt x="24" y="111"/>
                    <a:pt x="30" y="116"/>
                    <a:pt x="30" y="116"/>
                  </a:cubicBezTo>
                  <a:cubicBezTo>
                    <a:pt x="30" y="116"/>
                    <a:pt x="28" y="115"/>
                    <a:pt x="26" y="113"/>
                  </a:cubicBezTo>
                  <a:cubicBezTo>
                    <a:pt x="23" y="111"/>
                    <a:pt x="20" y="107"/>
                    <a:pt x="16" y="102"/>
                  </a:cubicBezTo>
                  <a:cubicBezTo>
                    <a:pt x="8" y="93"/>
                    <a:pt x="1" y="77"/>
                    <a:pt x="1" y="58"/>
                  </a:cubicBezTo>
                  <a:cubicBezTo>
                    <a:pt x="0" y="39"/>
                    <a:pt x="8"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294">
              <a:extLst>
                <a:ext uri="{FF2B5EF4-FFF2-40B4-BE49-F238E27FC236}">
                  <a16:creationId xmlns:a16="http://schemas.microsoft.com/office/drawing/2014/main" id="{7B1B0A42-DDA1-4191-8000-A3D3E73F5CF5}"/>
                </a:ext>
              </a:extLst>
            </p:cNvPr>
            <p:cNvSpPr>
              <a:spLocks/>
            </p:cNvSpPr>
            <p:nvPr/>
          </p:nvSpPr>
          <p:spPr bwMode="auto">
            <a:xfrm>
              <a:off x="7301602" y="4282023"/>
              <a:ext cx="57573" cy="223807"/>
            </a:xfrm>
            <a:custGeom>
              <a:avLst/>
              <a:gdLst>
                <a:gd name="T0" fmla="*/ 28 w 30"/>
                <a:gd name="T1" fmla="*/ 0 h 116"/>
                <a:gd name="T2" fmla="*/ 16 w 30"/>
                <a:gd name="T3" fmla="*/ 15 h 116"/>
                <a:gd name="T4" fmla="*/ 2 w 30"/>
                <a:gd name="T5" fmla="*/ 58 h 116"/>
                <a:gd name="T6" fmla="*/ 17 w 30"/>
                <a:gd name="T7" fmla="*/ 102 h 116"/>
                <a:gd name="T8" fmla="*/ 30 w 30"/>
                <a:gd name="T9" fmla="*/ 116 h 116"/>
                <a:gd name="T10" fmla="*/ 25 w 30"/>
                <a:gd name="T11" fmla="*/ 113 h 116"/>
                <a:gd name="T12" fmla="*/ 16 w 30"/>
                <a:gd name="T13" fmla="*/ 103 h 116"/>
                <a:gd name="T14" fmla="*/ 0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5"/>
                  </a:cubicBezTo>
                  <a:cubicBezTo>
                    <a:pt x="9" y="24"/>
                    <a:pt x="2" y="40"/>
                    <a:pt x="2" y="58"/>
                  </a:cubicBezTo>
                  <a:cubicBezTo>
                    <a:pt x="3" y="77"/>
                    <a:pt x="10" y="92"/>
                    <a:pt x="17" y="102"/>
                  </a:cubicBezTo>
                  <a:cubicBezTo>
                    <a:pt x="24" y="111"/>
                    <a:pt x="30" y="116"/>
                    <a:pt x="30" y="116"/>
                  </a:cubicBezTo>
                  <a:cubicBezTo>
                    <a:pt x="30" y="116"/>
                    <a:pt x="28" y="115"/>
                    <a:pt x="25" y="113"/>
                  </a:cubicBezTo>
                  <a:cubicBezTo>
                    <a:pt x="23" y="111"/>
                    <a:pt x="19" y="107"/>
                    <a:pt x="16" y="103"/>
                  </a:cubicBezTo>
                  <a:cubicBezTo>
                    <a:pt x="8" y="93"/>
                    <a:pt x="1" y="77"/>
                    <a:pt x="0" y="58"/>
                  </a:cubicBezTo>
                  <a:cubicBezTo>
                    <a:pt x="0" y="40"/>
                    <a:pt x="7"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95">
              <a:extLst>
                <a:ext uri="{FF2B5EF4-FFF2-40B4-BE49-F238E27FC236}">
                  <a16:creationId xmlns:a16="http://schemas.microsoft.com/office/drawing/2014/main" id="{1E848446-799F-4E6D-A67B-34371BC99EA9}"/>
                </a:ext>
              </a:extLst>
            </p:cNvPr>
            <p:cNvSpPr>
              <a:spLocks/>
            </p:cNvSpPr>
            <p:nvPr/>
          </p:nvSpPr>
          <p:spPr bwMode="auto">
            <a:xfrm>
              <a:off x="7263490" y="4277969"/>
              <a:ext cx="57573" cy="223807"/>
            </a:xfrm>
            <a:custGeom>
              <a:avLst/>
              <a:gdLst>
                <a:gd name="T0" fmla="*/ 28 w 30"/>
                <a:gd name="T1" fmla="*/ 0 h 116"/>
                <a:gd name="T2" fmla="*/ 16 w 30"/>
                <a:gd name="T3" fmla="*/ 14 h 116"/>
                <a:gd name="T4" fmla="*/ 3 w 30"/>
                <a:gd name="T5" fmla="*/ 58 h 116"/>
                <a:gd name="T6" fmla="*/ 17 w 30"/>
                <a:gd name="T7" fmla="*/ 102 h 116"/>
                <a:gd name="T8" fmla="*/ 30 w 30"/>
                <a:gd name="T9" fmla="*/ 116 h 116"/>
                <a:gd name="T10" fmla="*/ 26 w 30"/>
                <a:gd name="T11" fmla="*/ 113 h 116"/>
                <a:gd name="T12" fmla="*/ 16 w 30"/>
                <a:gd name="T13" fmla="*/ 102 h 116"/>
                <a:gd name="T14" fmla="*/ 1 w 30"/>
                <a:gd name="T15" fmla="*/ 58 h 116"/>
                <a:gd name="T16" fmla="*/ 15 w 30"/>
                <a:gd name="T17" fmla="*/ 14 h 116"/>
                <a:gd name="T18" fmla="*/ 24 w 30"/>
                <a:gd name="T19" fmla="*/ 3 h 116"/>
                <a:gd name="T20" fmla="*/ 28 w 30"/>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16">
                  <a:moveTo>
                    <a:pt x="28" y="0"/>
                  </a:moveTo>
                  <a:cubicBezTo>
                    <a:pt x="29" y="0"/>
                    <a:pt x="23" y="5"/>
                    <a:pt x="16" y="14"/>
                  </a:cubicBezTo>
                  <a:cubicBezTo>
                    <a:pt x="9" y="24"/>
                    <a:pt x="2" y="40"/>
                    <a:pt x="3" y="58"/>
                  </a:cubicBezTo>
                  <a:cubicBezTo>
                    <a:pt x="3" y="76"/>
                    <a:pt x="10" y="92"/>
                    <a:pt x="17" y="102"/>
                  </a:cubicBezTo>
                  <a:cubicBezTo>
                    <a:pt x="24" y="111"/>
                    <a:pt x="30" y="116"/>
                    <a:pt x="30" y="116"/>
                  </a:cubicBezTo>
                  <a:cubicBezTo>
                    <a:pt x="30" y="116"/>
                    <a:pt x="28" y="115"/>
                    <a:pt x="26" y="113"/>
                  </a:cubicBezTo>
                  <a:cubicBezTo>
                    <a:pt x="23" y="111"/>
                    <a:pt x="20" y="107"/>
                    <a:pt x="16" y="102"/>
                  </a:cubicBezTo>
                  <a:cubicBezTo>
                    <a:pt x="9" y="93"/>
                    <a:pt x="1" y="77"/>
                    <a:pt x="1" y="58"/>
                  </a:cubicBezTo>
                  <a:cubicBezTo>
                    <a:pt x="0" y="39"/>
                    <a:pt x="8" y="23"/>
                    <a:pt x="15" y="14"/>
                  </a:cubicBezTo>
                  <a:cubicBezTo>
                    <a:pt x="18" y="9"/>
                    <a:pt x="22" y="5"/>
                    <a:pt x="24" y="3"/>
                  </a:cubicBezTo>
                  <a:cubicBezTo>
                    <a:pt x="27" y="1"/>
                    <a:pt x="28" y="0"/>
                    <a:pt x="28" y="0"/>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296">
              <a:extLst>
                <a:ext uri="{FF2B5EF4-FFF2-40B4-BE49-F238E27FC236}">
                  <a16:creationId xmlns:a16="http://schemas.microsoft.com/office/drawing/2014/main" id="{109D2EB4-31FE-4990-94E2-72E1700051DF}"/>
                </a:ext>
              </a:extLst>
            </p:cNvPr>
            <p:cNvSpPr>
              <a:spLocks/>
            </p:cNvSpPr>
            <p:nvPr/>
          </p:nvSpPr>
          <p:spPr bwMode="auto">
            <a:xfrm>
              <a:off x="6697486" y="4305539"/>
              <a:ext cx="59195" cy="165422"/>
            </a:xfrm>
            <a:custGeom>
              <a:avLst/>
              <a:gdLst>
                <a:gd name="T0" fmla="*/ 31 w 31"/>
                <a:gd name="T1" fmla="*/ 61 h 86"/>
                <a:gd name="T2" fmla="*/ 30 w 31"/>
                <a:gd name="T3" fmla="*/ 20 h 86"/>
                <a:gd name="T4" fmla="*/ 29 w 31"/>
                <a:gd name="T5" fmla="*/ 9 h 86"/>
                <a:gd name="T6" fmla="*/ 21 w 31"/>
                <a:gd name="T7" fmla="*/ 2 h 86"/>
                <a:gd name="T8" fmla="*/ 4 w 31"/>
                <a:gd name="T9" fmla="*/ 10 h 86"/>
                <a:gd name="T10" fmla="*/ 0 w 31"/>
                <a:gd name="T11" fmla="*/ 31 h 86"/>
                <a:gd name="T12" fmla="*/ 2 w 31"/>
                <a:gd name="T13" fmla="*/ 63 h 86"/>
                <a:gd name="T14" fmla="*/ 6 w 31"/>
                <a:gd name="T15" fmla="*/ 78 h 86"/>
                <a:gd name="T16" fmla="*/ 18 w 31"/>
                <a:gd name="T17" fmla="*/ 86 h 86"/>
                <a:gd name="T18" fmla="*/ 29 w 31"/>
                <a:gd name="T19" fmla="*/ 76 h 86"/>
                <a:gd name="T20" fmla="*/ 31 w 31"/>
                <a:gd name="T21" fmla="*/ 6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86">
                  <a:moveTo>
                    <a:pt x="31" y="61"/>
                  </a:moveTo>
                  <a:cubicBezTo>
                    <a:pt x="31" y="47"/>
                    <a:pt x="31" y="33"/>
                    <a:pt x="30" y="20"/>
                  </a:cubicBezTo>
                  <a:cubicBezTo>
                    <a:pt x="30" y="16"/>
                    <a:pt x="30" y="12"/>
                    <a:pt x="29" y="9"/>
                  </a:cubicBezTo>
                  <a:cubicBezTo>
                    <a:pt x="28" y="6"/>
                    <a:pt x="25" y="3"/>
                    <a:pt x="21" y="2"/>
                  </a:cubicBezTo>
                  <a:cubicBezTo>
                    <a:pt x="16" y="0"/>
                    <a:pt x="8" y="4"/>
                    <a:pt x="4" y="10"/>
                  </a:cubicBezTo>
                  <a:cubicBezTo>
                    <a:pt x="1" y="16"/>
                    <a:pt x="0" y="24"/>
                    <a:pt x="0" y="31"/>
                  </a:cubicBezTo>
                  <a:cubicBezTo>
                    <a:pt x="0" y="42"/>
                    <a:pt x="1" y="52"/>
                    <a:pt x="2" y="63"/>
                  </a:cubicBezTo>
                  <a:cubicBezTo>
                    <a:pt x="2" y="68"/>
                    <a:pt x="3" y="74"/>
                    <a:pt x="6" y="78"/>
                  </a:cubicBezTo>
                  <a:cubicBezTo>
                    <a:pt x="8" y="83"/>
                    <a:pt x="13" y="86"/>
                    <a:pt x="18" y="86"/>
                  </a:cubicBezTo>
                  <a:cubicBezTo>
                    <a:pt x="23" y="85"/>
                    <a:pt x="27" y="81"/>
                    <a:pt x="29" y="76"/>
                  </a:cubicBezTo>
                  <a:cubicBezTo>
                    <a:pt x="31" y="71"/>
                    <a:pt x="31" y="66"/>
                    <a:pt x="31" y="61"/>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97">
              <a:extLst>
                <a:ext uri="{FF2B5EF4-FFF2-40B4-BE49-F238E27FC236}">
                  <a16:creationId xmlns:a16="http://schemas.microsoft.com/office/drawing/2014/main" id="{8DF081B3-C4CC-4D3B-9CA4-A7DF33B181BC}"/>
                </a:ext>
              </a:extLst>
            </p:cNvPr>
            <p:cNvSpPr>
              <a:spLocks noChangeArrowheads="1"/>
            </p:cNvSpPr>
            <p:nvPr/>
          </p:nvSpPr>
          <p:spPr bwMode="auto">
            <a:xfrm>
              <a:off x="6830473" y="4397981"/>
              <a:ext cx="363280"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298">
              <a:extLst>
                <a:ext uri="{FF2B5EF4-FFF2-40B4-BE49-F238E27FC236}">
                  <a16:creationId xmlns:a16="http://schemas.microsoft.com/office/drawing/2014/main" id="{9A08B3D8-D77F-4439-85C5-C8BFF770AA8A}"/>
                </a:ext>
              </a:extLst>
            </p:cNvPr>
            <p:cNvSpPr>
              <a:spLocks/>
            </p:cNvSpPr>
            <p:nvPr/>
          </p:nvSpPr>
          <p:spPr bwMode="auto">
            <a:xfrm>
              <a:off x="6679646" y="4087409"/>
              <a:ext cx="104605" cy="187316"/>
            </a:xfrm>
            <a:custGeom>
              <a:avLst/>
              <a:gdLst>
                <a:gd name="T0" fmla="*/ 3 w 129"/>
                <a:gd name="T1" fmla="*/ 231 h 231"/>
                <a:gd name="T2" fmla="*/ 0 w 129"/>
                <a:gd name="T3" fmla="*/ 0 h 231"/>
                <a:gd name="T4" fmla="*/ 124 w 129"/>
                <a:gd name="T5" fmla="*/ 0 h 231"/>
                <a:gd name="T6" fmla="*/ 129 w 129"/>
                <a:gd name="T7" fmla="*/ 231 h 231"/>
                <a:gd name="T8" fmla="*/ 3 w 129"/>
                <a:gd name="T9" fmla="*/ 231 h 231"/>
              </a:gdLst>
              <a:ahLst/>
              <a:cxnLst>
                <a:cxn ang="0">
                  <a:pos x="T0" y="T1"/>
                </a:cxn>
                <a:cxn ang="0">
                  <a:pos x="T2" y="T3"/>
                </a:cxn>
                <a:cxn ang="0">
                  <a:pos x="T4" y="T5"/>
                </a:cxn>
                <a:cxn ang="0">
                  <a:pos x="T6" y="T7"/>
                </a:cxn>
                <a:cxn ang="0">
                  <a:pos x="T8" y="T9"/>
                </a:cxn>
              </a:cxnLst>
              <a:rect l="0" t="0" r="r" b="b"/>
              <a:pathLst>
                <a:path w="129" h="231">
                  <a:moveTo>
                    <a:pt x="3" y="231"/>
                  </a:moveTo>
                  <a:lnTo>
                    <a:pt x="0" y="0"/>
                  </a:lnTo>
                  <a:lnTo>
                    <a:pt x="124" y="0"/>
                  </a:lnTo>
                  <a:lnTo>
                    <a:pt x="129" y="231"/>
                  </a:lnTo>
                  <a:lnTo>
                    <a:pt x="3" y="23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99">
              <a:extLst>
                <a:ext uri="{FF2B5EF4-FFF2-40B4-BE49-F238E27FC236}">
                  <a16:creationId xmlns:a16="http://schemas.microsoft.com/office/drawing/2014/main" id="{403553FB-1ECD-4B05-A91A-3D1AC40AE335}"/>
                </a:ext>
              </a:extLst>
            </p:cNvPr>
            <p:cNvSpPr>
              <a:spLocks noChangeArrowheads="1"/>
            </p:cNvSpPr>
            <p:nvPr/>
          </p:nvSpPr>
          <p:spPr bwMode="auto">
            <a:xfrm>
              <a:off x="6679646" y="4120655"/>
              <a:ext cx="9487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300">
              <a:extLst>
                <a:ext uri="{FF2B5EF4-FFF2-40B4-BE49-F238E27FC236}">
                  <a16:creationId xmlns:a16="http://schemas.microsoft.com/office/drawing/2014/main" id="{96AD7C08-DE85-4974-A8AF-A92F97D6D055}"/>
                </a:ext>
              </a:extLst>
            </p:cNvPr>
            <p:cNvSpPr>
              <a:spLocks noChangeArrowheads="1"/>
            </p:cNvSpPr>
            <p:nvPr/>
          </p:nvSpPr>
          <p:spPr bwMode="auto">
            <a:xfrm>
              <a:off x="6679646" y="4147415"/>
              <a:ext cx="94875" cy="5676"/>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301">
              <a:extLst>
                <a:ext uri="{FF2B5EF4-FFF2-40B4-BE49-F238E27FC236}">
                  <a16:creationId xmlns:a16="http://schemas.microsoft.com/office/drawing/2014/main" id="{AC344CAA-8452-4238-92EE-B912D4789479}"/>
                </a:ext>
              </a:extLst>
            </p:cNvPr>
            <p:cNvSpPr>
              <a:spLocks noChangeArrowheads="1"/>
            </p:cNvSpPr>
            <p:nvPr/>
          </p:nvSpPr>
          <p:spPr bwMode="auto">
            <a:xfrm>
              <a:off x="6679646" y="4176607"/>
              <a:ext cx="94875" cy="324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302">
              <a:extLst>
                <a:ext uri="{FF2B5EF4-FFF2-40B4-BE49-F238E27FC236}">
                  <a16:creationId xmlns:a16="http://schemas.microsoft.com/office/drawing/2014/main" id="{A4F68847-35F2-4F15-AF21-0DB59B05F96E}"/>
                </a:ext>
              </a:extLst>
            </p:cNvPr>
            <p:cNvSpPr>
              <a:spLocks noChangeArrowheads="1"/>
            </p:cNvSpPr>
            <p:nvPr/>
          </p:nvSpPr>
          <p:spPr bwMode="auto">
            <a:xfrm>
              <a:off x="6679646" y="4204988"/>
              <a:ext cx="948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303">
              <a:extLst>
                <a:ext uri="{FF2B5EF4-FFF2-40B4-BE49-F238E27FC236}">
                  <a16:creationId xmlns:a16="http://schemas.microsoft.com/office/drawing/2014/main" id="{3269DBBC-EF61-43CC-AEAE-F62B9FD3CDE6}"/>
                </a:ext>
              </a:extLst>
            </p:cNvPr>
            <p:cNvSpPr>
              <a:spLocks noChangeArrowheads="1"/>
            </p:cNvSpPr>
            <p:nvPr/>
          </p:nvSpPr>
          <p:spPr bwMode="auto">
            <a:xfrm>
              <a:off x="6679646" y="4234181"/>
              <a:ext cx="94875" cy="4054"/>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304">
              <a:extLst>
                <a:ext uri="{FF2B5EF4-FFF2-40B4-BE49-F238E27FC236}">
                  <a16:creationId xmlns:a16="http://schemas.microsoft.com/office/drawing/2014/main" id="{C107EB77-47A9-47ED-8625-6A3B20A2A7C3}"/>
                </a:ext>
              </a:extLst>
            </p:cNvPr>
            <p:cNvSpPr>
              <a:spLocks/>
            </p:cNvSpPr>
            <p:nvPr/>
          </p:nvSpPr>
          <p:spPr bwMode="auto">
            <a:xfrm>
              <a:off x="6670727" y="4081733"/>
              <a:ext cx="1131197" cy="200291"/>
            </a:xfrm>
            <a:custGeom>
              <a:avLst/>
              <a:gdLst>
                <a:gd name="T0" fmla="*/ 0 w 588"/>
                <a:gd name="T1" fmla="*/ 0 h 104"/>
                <a:gd name="T2" fmla="*/ 581 w 588"/>
                <a:gd name="T3" fmla="*/ 0 h 104"/>
                <a:gd name="T4" fmla="*/ 581 w 588"/>
                <a:gd name="T5" fmla="*/ 104 h 104"/>
                <a:gd name="T6" fmla="*/ 3 w 588"/>
                <a:gd name="T7" fmla="*/ 104 h 104"/>
                <a:gd name="T8" fmla="*/ 3 w 588"/>
                <a:gd name="T9" fmla="*/ 97 h 104"/>
                <a:gd name="T10" fmla="*/ 38 w 588"/>
                <a:gd name="T11" fmla="*/ 97 h 104"/>
                <a:gd name="T12" fmla="*/ 55 w 588"/>
                <a:gd name="T13" fmla="*/ 81 h 104"/>
                <a:gd name="T14" fmla="*/ 55 w 588"/>
                <a:gd name="T15" fmla="*/ 23 h 104"/>
                <a:gd name="T16" fmla="*/ 38 w 588"/>
                <a:gd name="T17" fmla="*/ 6 h 104"/>
                <a:gd name="T18" fmla="*/ 0 w 588"/>
                <a:gd name="T19" fmla="*/ 6 h 104"/>
                <a:gd name="T20" fmla="*/ 0 w 588"/>
                <a:gd name="T2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8" h="104">
                  <a:moveTo>
                    <a:pt x="0" y="0"/>
                  </a:moveTo>
                  <a:cubicBezTo>
                    <a:pt x="581" y="0"/>
                    <a:pt x="581" y="0"/>
                    <a:pt x="581" y="0"/>
                  </a:cubicBezTo>
                  <a:cubicBezTo>
                    <a:pt x="588" y="32"/>
                    <a:pt x="587" y="67"/>
                    <a:pt x="581" y="104"/>
                  </a:cubicBezTo>
                  <a:cubicBezTo>
                    <a:pt x="3" y="104"/>
                    <a:pt x="3" y="104"/>
                    <a:pt x="3" y="104"/>
                  </a:cubicBezTo>
                  <a:cubicBezTo>
                    <a:pt x="3" y="97"/>
                    <a:pt x="3" y="97"/>
                    <a:pt x="3" y="97"/>
                  </a:cubicBezTo>
                  <a:cubicBezTo>
                    <a:pt x="38" y="97"/>
                    <a:pt x="38" y="97"/>
                    <a:pt x="38" y="97"/>
                  </a:cubicBezTo>
                  <a:cubicBezTo>
                    <a:pt x="47" y="97"/>
                    <a:pt x="55" y="90"/>
                    <a:pt x="55" y="81"/>
                  </a:cubicBezTo>
                  <a:cubicBezTo>
                    <a:pt x="55" y="23"/>
                    <a:pt x="55" y="23"/>
                    <a:pt x="55" y="23"/>
                  </a:cubicBezTo>
                  <a:cubicBezTo>
                    <a:pt x="55" y="14"/>
                    <a:pt x="47" y="6"/>
                    <a:pt x="38" y="6"/>
                  </a:cubicBezTo>
                  <a:cubicBezTo>
                    <a:pt x="0" y="6"/>
                    <a:pt x="0" y="6"/>
                    <a:pt x="0" y="6"/>
                  </a:cubicBezTo>
                  <a:lnTo>
                    <a:pt x="0" y="0"/>
                  </a:lnTo>
                  <a:close/>
                </a:path>
              </a:pathLst>
            </a:custGeom>
            <a:solidFill>
              <a:srgbClr val="FB5252"/>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305">
              <a:extLst>
                <a:ext uri="{FF2B5EF4-FFF2-40B4-BE49-F238E27FC236}">
                  <a16:creationId xmlns:a16="http://schemas.microsoft.com/office/drawing/2014/main" id="{B4E52B75-6AFD-4846-ABC7-B6C25A08C116}"/>
                </a:ext>
              </a:extLst>
            </p:cNvPr>
            <p:cNvSpPr>
              <a:spLocks/>
            </p:cNvSpPr>
            <p:nvPr/>
          </p:nvSpPr>
          <p:spPr bwMode="auto">
            <a:xfrm>
              <a:off x="6910751" y="4145793"/>
              <a:ext cx="50275" cy="77035"/>
            </a:xfrm>
            <a:custGeom>
              <a:avLst/>
              <a:gdLst>
                <a:gd name="T0" fmla="*/ 14 w 26"/>
                <a:gd name="T1" fmla="*/ 20 h 40"/>
                <a:gd name="T2" fmla="*/ 24 w 26"/>
                <a:gd name="T3" fmla="*/ 20 h 40"/>
                <a:gd name="T4" fmla="*/ 25 w 26"/>
                <a:gd name="T5" fmla="*/ 20 h 40"/>
                <a:gd name="T6" fmla="*/ 26 w 26"/>
                <a:gd name="T7" fmla="*/ 22 h 40"/>
                <a:gd name="T8" fmla="*/ 26 w 26"/>
                <a:gd name="T9" fmla="*/ 23 h 40"/>
                <a:gd name="T10" fmla="*/ 25 w 26"/>
                <a:gd name="T11" fmla="*/ 25 h 40"/>
                <a:gd name="T12" fmla="*/ 19 w 26"/>
                <a:gd name="T13" fmla="*/ 36 h 40"/>
                <a:gd name="T14" fmla="*/ 11 w 26"/>
                <a:gd name="T15" fmla="*/ 40 h 40"/>
                <a:gd name="T16" fmla="*/ 10 w 26"/>
                <a:gd name="T17" fmla="*/ 40 h 40"/>
                <a:gd name="T18" fmla="*/ 3 w 26"/>
                <a:gd name="T19" fmla="*/ 36 h 40"/>
                <a:gd name="T20" fmla="*/ 0 w 26"/>
                <a:gd name="T21" fmla="*/ 24 h 40"/>
                <a:gd name="T22" fmla="*/ 1 w 26"/>
                <a:gd name="T23" fmla="*/ 16 h 40"/>
                <a:gd name="T24" fmla="*/ 7 w 26"/>
                <a:gd name="T25" fmla="*/ 4 h 40"/>
                <a:gd name="T26" fmla="*/ 16 w 26"/>
                <a:gd name="T27" fmla="*/ 0 h 40"/>
                <a:gd name="T28" fmla="*/ 20 w 26"/>
                <a:gd name="T29" fmla="*/ 1 h 40"/>
                <a:gd name="T30" fmla="*/ 25 w 26"/>
                <a:gd name="T31" fmla="*/ 8 h 40"/>
                <a:gd name="T32" fmla="*/ 25 w 26"/>
                <a:gd name="T33" fmla="*/ 9 h 40"/>
                <a:gd name="T34" fmla="*/ 25 w 26"/>
                <a:gd name="T35" fmla="*/ 10 h 40"/>
                <a:gd name="T36" fmla="*/ 23 w 26"/>
                <a:gd name="T37" fmla="*/ 11 h 40"/>
                <a:gd name="T38" fmla="*/ 23 w 26"/>
                <a:gd name="T39" fmla="*/ 11 h 40"/>
                <a:gd name="T40" fmla="*/ 21 w 26"/>
                <a:gd name="T41" fmla="*/ 9 h 40"/>
                <a:gd name="T42" fmla="*/ 21 w 26"/>
                <a:gd name="T43" fmla="*/ 9 h 40"/>
                <a:gd name="T44" fmla="*/ 20 w 26"/>
                <a:gd name="T45" fmla="*/ 7 h 40"/>
                <a:gd name="T46" fmla="*/ 15 w 26"/>
                <a:gd name="T47" fmla="*/ 4 h 40"/>
                <a:gd name="T48" fmla="*/ 12 w 26"/>
                <a:gd name="T49" fmla="*/ 5 h 40"/>
                <a:gd name="T50" fmla="*/ 7 w 26"/>
                <a:gd name="T51" fmla="*/ 13 h 40"/>
                <a:gd name="T52" fmla="*/ 5 w 26"/>
                <a:gd name="T53" fmla="*/ 24 h 40"/>
                <a:gd name="T54" fmla="*/ 6 w 26"/>
                <a:gd name="T55" fmla="*/ 32 h 40"/>
                <a:gd name="T56" fmla="*/ 11 w 26"/>
                <a:gd name="T57" fmla="*/ 36 h 40"/>
                <a:gd name="T58" fmla="*/ 16 w 26"/>
                <a:gd name="T59" fmla="*/ 33 h 40"/>
                <a:gd name="T60" fmla="*/ 21 w 26"/>
                <a:gd name="T61" fmla="*/ 24 h 40"/>
                <a:gd name="T62" fmla="*/ 14 w 26"/>
                <a:gd name="T63" fmla="*/ 24 h 40"/>
                <a:gd name="T64" fmla="*/ 12 w 26"/>
                <a:gd name="T65" fmla="*/ 22 h 40"/>
                <a:gd name="T66" fmla="*/ 12 w 26"/>
                <a:gd name="T67" fmla="*/ 21 h 40"/>
                <a:gd name="T68" fmla="*/ 14 w 26"/>
                <a:gd name="T6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40">
                  <a:moveTo>
                    <a:pt x="14" y="20"/>
                  </a:moveTo>
                  <a:cubicBezTo>
                    <a:pt x="24" y="20"/>
                    <a:pt x="24" y="20"/>
                    <a:pt x="24" y="20"/>
                  </a:cubicBezTo>
                  <a:cubicBezTo>
                    <a:pt x="24" y="20"/>
                    <a:pt x="25" y="20"/>
                    <a:pt x="25" y="20"/>
                  </a:cubicBezTo>
                  <a:cubicBezTo>
                    <a:pt x="26" y="21"/>
                    <a:pt x="26" y="21"/>
                    <a:pt x="26" y="22"/>
                  </a:cubicBezTo>
                  <a:cubicBezTo>
                    <a:pt x="26" y="23"/>
                    <a:pt x="26" y="23"/>
                    <a:pt x="26" y="23"/>
                  </a:cubicBezTo>
                  <a:cubicBezTo>
                    <a:pt x="26" y="24"/>
                    <a:pt x="25" y="24"/>
                    <a:pt x="25" y="25"/>
                  </a:cubicBezTo>
                  <a:cubicBezTo>
                    <a:pt x="24" y="30"/>
                    <a:pt x="22" y="33"/>
                    <a:pt x="19" y="36"/>
                  </a:cubicBezTo>
                  <a:cubicBezTo>
                    <a:pt x="16" y="39"/>
                    <a:pt x="14" y="40"/>
                    <a:pt x="11" y="40"/>
                  </a:cubicBezTo>
                  <a:cubicBezTo>
                    <a:pt x="11" y="40"/>
                    <a:pt x="10" y="40"/>
                    <a:pt x="10" y="40"/>
                  </a:cubicBezTo>
                  <a:cubicBezTo>
                    <a:pt x="7" y="40"/>
                    <a:pt x="5" y="38"/>
                    <a:pt x="3" y="36"/>
                  </a:cubicBezTo>
                  <a:cubicBezTo>
                    <a:pt x="1" y="33"/>
                    <a:pt x="0" y="29"/>
                    <a:pt x="0" y="24"/>
                  </a:cubicBezTo>
                  <a:cubicBezTo>
                    <a:pt x="0" y="21"/>
                    <a:pt x="1" y="18"/>
                    <a:pt x="1" y="16"/>
                  </a:cubicBezTo>
                  <a:cubicBezTo>
                    <a:pt x="3" y="11"/>
                    <a:pt x="5" y="7"/>
                    <a:pt x="7" y="4"/>
                  </a:cubicBezTo>
                  <a:cubicBezTo>
                    <a:pt x="10" y="1"/>
                    <a:pt x="13" y="0"/>
                    <a:pt x="16" y="0"/>
                  </a:cubicBezTo>
                  <a:cubicBezTo>
                    <a:pt x="17" y="0"/>
                    <a:pt x="18" y="0"/>
                    <a:pt x="20" y="1"/>
                  </a:cubicBezTo>
                  <a:cubicBezTo>
                    <a:pt x="22" y="2"/>
                    <a:pt x="24" y="4"/>
                    <a:pt x="25" y="8"/>
                  </a:cubicBezTo>
                  <a:cubicBezTo>
                    <a:pt x="25" y="9"/>
                    <a:pt x="25" y="9"/>
                    <a:pt x="25" y="9"/>
                  </a:cubicBezTo>
                  <a:cubicBezTo>
                    <a:pt x="25" y="9"/>
                    <a:pt x="25" y="9"/>
                    <a:pt x="25" y="10"/>
                  </a:cubicBezTo>
                  <a:cubicBezTo>
                    <a:pt x="25" y="10"/>
                    <a:pt x="24" y="11"/>
                    <a:pt x="23" y="11"/>
                  </a:cubicBezTo>
                  <a:cubicBezTo>
                    <a:pt x="23" y="11"/>
                    <a:pt x="23" y="11"/>
                    <a:pt x="23" y="11"/>
                  </a:cubicBezTo>
                  <a:cubicBezTo>
                    <a:pt x="22" y="10"/>
                    <a:pt x="22" y="10"/>
                    <a:pt x="21" y="9"/>
                  </a:cubicBezTo>
                  <a:cubicBezTo>
                    <a:pt x="21" y="9"/>
                    <a:pt x="21" y="9"/>
                    <a:pt x="21" y="9"/>
                  </a:cubicBezTo>
                  <a:cubicBezTo>
                    <a:pt x="21" y="8"/>
                    <a:pt x="21" y="8"/>
                    <a:pt x="20" y="7"/>
                  </a:cubicBezTo>
                  <a:cubicBezTo>
                    <a:pt x="19" y="5"/>
                    <a:pt x="17" y="4"/>
                    <a:pt x="15" y="4"/>
                  </a:cubicBezTo>
                  <a:cubicBezTo>
                    <a:pt x="14" y="4"/>
                    <a:pt x="13" y="4"/>
                    <a:pt x="12" y="5"/>
                  </a:cubicBezTo>
                  <a:cubicBezTo>
                    <a:pt x="10" y="7"/>
                    <a:pt x="8" y="9"/>
                    <a:pt x="7" y="13"/>
                  </a:cubicBezTo>
                  <a:cubicBezTo>
                    <a:pt x="5" y="17"/>
                    <a:pt x="5" y="20"/>
                    <a:pt x="5" y="24"/>
                  </a:cubicBezTo>
                  <a:cubicBezTo>
                    <a:pt x="5" y="27"/>
                    <a:pt x="5" y="30"/>
                    <a:pt x="6" y="32"/>
                  </a:cubicBezTo>
                  <a:cubicBezTo>
                    <a:pt x="8" y="35"/>
                    <a:pt x="9" y="36"/>
                    <a:pt x="11" y="36"/>
                  </a:cubicBezTo>
                  <a:cubicBezTo>
                    <a:pt x="13" y="36"/>
                    <a:pt x="14" y="35"/>
                    <a:pt x="16" y="33"/>
                  </a:cubicBezTo>
                  <a:cubicBezTo>
                    <a:pt x="18" y="31"/>
                    <a:pt x="20" y="28"/>
                    <a:pt x="21" y="24"/>
                  </a:cubicBezTo>
                  <a:cubicBezTo>
                    <a:pt x="17" y="24"/>
                    <a:pt x="14" y="24"/>
                    <a:pt x="14" y="24"/>
                  </a:cubicBezTo>
                  <a:cubicBezTo>
                    <a:pt x="13" y="24"/>
                    <a:pt x="12" y="23"/>
                    <a:pt x="12" y="22"/>
                  </a:cubicBezTo>
                  <a:cubicBezTo>
                    <a:pt x="12" y="21"/>
                    <a:pt x="12" y="21"/>
                    <a:pt x="12" y="21"/>
                  </a:cubicBezTo>
                  <a:cubicBezTo>
                    <a:pt x="12" y="20"/>
                    <a:pt x="13" y="20"/>
                    <a:pt x="14" y="2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306">
              <a:extLst>
                <a:ext uri="{FF2B5EF4-FFF2-40B4-BE49-F238E27FC236}">
                  <a16:creationId xmlns:a16="http://schemas.microsoft.com/office/drawing/2014/main" id="{7BBF3495-F8B5-425D-AB6E-61FAFFFABA77}"/>
                </a:ext>
              </a:extLst>
            </p:cNvPr>
            <p:cNvSpPr>
              <a:spLocks noEditPoints="1"/>
            </p:cNvSpPr>
            <p:nvPr/>
          </p:nvSpPr>
          <p:spPr bwMode="auto">
            <a:xfrm>
              <a:off x="6961027" y="4145793"/>
              <a:ext cx="53519" cy="77035"/>
            </a:xfrm>
            <a:custGeom>
              <a:avLst/>
              <a:gdLst>
                <a:gd name="T0" fmla="*/ 21 w 28"/>
                <a:gd name="T1" fmla="*/ 1 h 40"/>
                <a:gd name="T2" fmla="*/ 21 w 28"/>
                <a:gd name="T3" fmla="*/ 2 h 40"/>
                <a:gd name="T4" fmla="*/ 28 w 28"/>
                <a:gd name="T5" fmla="*/ 38 h 40"/>
                <a:gd name="T6" fmla="*/ 28 w 28"/>
                <a:gd name="T7" fmla="*/ 38 h 40"/>
                <a:gd name="T8" fmla="*/ 28 w 28"/>
                <a:gd name="T9" fmla="*/ 39 h 40"/>
                <a:gd name="T10" fmla="*/ 26 w 28"/>
                <a:gd name="T11" fmla="*/ 40 h 40"/>
                <a:gd name="T12" fmla="*/ 26 w 28"/>
                <a:gd name="T13" fmla="*/ 40 h 40"/>
                <a:gd name="T14" fmla="*/ 24 w 28"/>
                <a:gd name="T15" fmla="*/ 39 h 40"/>
                <a:gd name="T16" fmla="*/ 22 w 28"/>
                <a:gd name="T17" fmla="*/ 27 h 40"/>
                <a:gd name="T18" fmla="*/ 10 w 28"/>
                <a:gd name="T19" fmla="*/ 27 h 40"/>
                <a:gd name="T20" fmla="*/ 4 w 28"/>
                <a:gd name="T21" fmla="*/ 39 h 40"/>
                <a:gd name="T22" fmla="*/ 4 w 28"/>
                <a:gd name="T23" fmla="*/ 39 h 40"/>
                <a:gd name="T24" fmla="*/ 2 w 28"/>
                <a:gd name="T25" fmla="*/ 40 h 40"/>
                <a:gd name="T26" fmla="*/ 1 w 28"/>
                <a:gd name="T27" fmla="*/ 40 h 40"/>
                <a:gd name="T28" fmla="*/ 0 w 28"/>
                <a:gd name="T29" fmla="*/ 38 h 40"/>
                <a:gd name="T30" fmla="*/ 0 w 28"/>
                <a:gd name="T31" fmla="*/ 38 h 40"/>
                <a:gd name="T32" fmla="*/ 2 w 28"/>
                <a:gd name="T33" fmla="*/ 34 h 40"/>
                <a:gd name="T34" fmla="*/ 17 w 28"/>
                <a:gd name="T35" fmla="*/ 2 h 40"/>
                <a:gd name="T36" fmla="*/ 19 w 28"/>
                <a:gd name="T37" fmla="*/ 0 h 40"/>
                <a:gd name="T38" fmla="*/ 21 w 28"/>
                <a:gd name="T39" fmla="*/ 1 h 40"/>
                <a:gd name="T40" fmla="*/ 19 w 28"/>
                <a:gd name="T41" fmla="*/ 9 h 40"/>
                <a:gd name="T42" fmla="*/ 12 w 28"/>
                <a:gd name="T43" fmla="*/ 23 h 40"/>
                <a:gd name="T44" fmla="*/ 21 w 28"/>
                <a:gd name="T45" fmla="*/ 23 h 40"/>
                <a:gd name="T46" fmla="*/ 19 w 28"/>
                <a:gd name="T47"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40">
                  <a:moveTo>
                    <a:pt x="21" y="1"/>
                  </a:moveTo>
                  <a:cubicBezTo>
                    <a:pt x="21" y="2"/>
                    <a:pt x="21" y="2"/>
                    <a:pt x="21" y="2"/>
                  </a:cubicBezTo>
                  <a:cubicBezTo>
                    <a:pt x="22" y="3"/>
                    <a:pt x="24" y="15"/>
                    <a:pt x="28" y="38"/>
                  </a:cubicBezTo>
                  <a:cubicBezTo>
                    <a:pt x="28" y="38"/>
                    <a:pt x="28" y="38"/>
                    <a:pt x="28" y="38"/>
                  </a:cubicBezTo>
                  <a:cubicBezTo>
                    <a:pt x="28" y="39"/>
                    <a:pt x="28" y="39"/>
                    <a:pt x="28" y="39"/>
                  </a:cubicBezTo>
                  <a:cubicBezTo>
                    <a:pt x="28" y="40"/>
                    <a:pt x="27" y="40"/>
                    <a:pt x="26" y="40"/>
                  </a:cubicBezTo>
                  <a:cubicBezTo>
                    <a:pt x="26" y="40"/>
                    <a:pt x="26" y="40"/>
                    <a:pt x="26" y="40"/>
                  </a:cubicBezTo>
                  <a:cubicBezTo>
                    <a:pt x="25" y="40"/>
                    <a:pt x="25" y="40"/>
                    <a:pt x="24" y="39"/>
                  </a:cubicBezTo>
                  <a:cubicBezTo>
                    <a:pt x="22" y="27"/>
                    <a:pt x="22" y="27"/>
                    <a:pt x="22" y="27"/>
                  </a:cubicBezTo>
                  <a:cubicBezTo>
                    <a:pt x="10" y="27"/>
                    <a:pt x="10" y="27"/>
                    <a:pt x="10" y="27"/>
                  </a:cubicBezTo>
                  <a:cubicBezTo>
                    <a:pt x="4" y="39"/>
                    <a:pt x="4" y="39"/>
                    <a:pt x="4" y="39"/>
                  </a:cubicBezTo>
                  <a:cubicBezTo>
                    <a:pt x="4" y="39"/>
                    <a:pt x="4" y="39"/>
                    <a:pt x="4" y="39"/>
                  </a:cubicBezTo>
                  <a:cubicBezTo>
                    <a:pt x="4" y="40"/>
                    <a:pt x="3" y="40"/>
                    <a:pt x="2" y="40"/>
                  </a:cubicBezTo>
                  <a:cubicBezTo>
                    <a:pt x="2" y="40"/>
                    <a:pt x="2" y="40"/>
                    <a:pt x="1" y="40"/>
                  </a:cubicBezTo>
                  <a:cubicBezTo>
                    <a:pt x="1" y="40"/>
                    <a:pt x="0" y="39"/>
                    <a:pt x="0" y="38"/>
                  </a:cubicBezTo>
                  <a:cubicBezTo>
                    <a:pt x="0" y="38"/>
                    <a:pt x="0" y="38"/>
                    <a:pt x="0" y="38"/>
                  </a:cubicBezTo>
                  <a:cubicBezTo>
                    <a:pt x="1" y="37"/>
                    <a:pt x="1" y="36"/>
                    <a:pt x="2" y="34"/>
                  </a:cubicBezTo>
                  <a:cubicBezTo>
                    <a:pt x="11" y="16"/>
                    <a:pt x="16" y="5"/>
                    <a:pt x="17" y="2"/>
                  </a:cubicBezTo>
                  <a:cubicBezTo>
                    <a:pt x="18" y="1"/>
                    <a:pt x="18" y="0"/>
                    <a:pt x="19" y="0"/>
                  </a:cubicBezTo>
                  <a:cubicBezTo>
                    <a:pt x="20" y="0"/>
                    <a:pt x="21" y="0"/>
                    <a:pt x="21" y="1"/>
                  </a:cubicBezTo>
                  <a:close/>
                  <a:moveTo>
                    <a:pt x="19" y="9"/>
                  </a:moveTo>
                  <a:cubicBezTo>
                    <a:pt x="12" y="23"/>
                    <a:pt x="12" y="23"/>
                    <a:pt x="12" y="23"/>
                  </a:cubicBezTo>
                  <a:cubicBezTo>
                    <a:pt x="21" y="23"/>
                    <a:pt x="21" y="23"/>
                    <a:pt x="21" y="23"/>
                  </a:cubicBezTo>
                  <a:lnTo>
                    <a:pt x="19"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307">
              <a:extLst>
                <a:ext uri="{FF2B5EF4-FFF2-40B4-BE49-F238E27FC236}">
                  <a16:creationId xmlns:a16="http://schemas.microsoft.com/office/drawing/2014/main" id="{D9D49E43-C077-4511-B628-56BD947E6605}"/>
                </a:ext>
              </a:extLst>
            </p:cNvPr>
            <p:cNvSpPr>
              <a:spLocks/>
            </p:cNvSpPr>
            <p:nvPr/>
          </p:nvSpPr>
          <p:spPr bwMode="auto">
            <a:xfrm>
              <a:off x="7026709" y="4145793"/>
              <a:ext cx="42166" cy="77035"/>
            </a:xfrm>
            <a:custGeom>
              <a:avLst/>
              <a:gdLst>
                <a:gd name="T0" fmla="*/ 20 w 22"/>
                <a:gd name="T1" fmla="*/ 40 h 40"/>
                <a:gd name="T2" fmla="*/ 2 w 22"/>
                <a:gd name="T3" fmla="*/ 40 h 40"/>
                <a:gd name="T4" fmla="*/ 1 w 22"/>
                <a:gd name="T5" fmla="*/ 40 h 40"/>
                <a:gd name="T6" fmla="*/ 0 w 22"/>
                <a:gd name="T7" fmla="*/ 38 h 40"/>
                <a:gd name="T8" fmla="*/ 0 w 22"/>
                <a:gd name="T9" fmla="*/ 38 h 40"/>
                <a:gd name="T10" fmla="*/ 5 w 22"/>
                <a:gd name="T11" fmla="*/ 2 h 40"/>
                <a:gd name="T12" fmla="*/ 5 w 22"/>
                <a:gd name="T13" fmla="*/ 1 h 40"/>
                <a:gd name="T14" fmla="*/ 7 w 22"/>
                <a:gd name="T15" fmla="*/ 0 h 40"/>
                <a:gd name="T16" fmla="*/ 8 w 22"/>
                <a:gd name="T17" fmla="*/ 0 h 40"/>
                <a:gd name="T18" fmla="*/ 9 w 22"/>
                <a:gd name="T19" fmla="*/ 2 h 40"/>
                <a:gd name="T20" fmla="*/ 8 w 22"/>
                <a:gd name="T21" fmla="*/ 12 h 40"/>
                <a:gd name="T22" fmla="*/ 4 w 22"/>
                <a:gd name="T23" fmla="*/ 36 h 40"/>
                <a:gd name="T24" fmla="*/ 19 w 22"/>
                <a:gd name="T25" fmla="*/ 36 h 40"/>
                <a:gd name="T26" fmla="*/ 20 w 22"/>
                <a:gd name="T27" fmla="*/ 36 h 40"/>
                <a:gd name="T28" fmla="*/ 22 w 22"/>
                <a:gd name="T29" fmla="*/ 38 h 40"/>
                <a:gd name="T30" fmla="*/ 22 w 22"/>
                <a:gd name="T31" fmla="*/ 39 h 40"/>
                <a:gd name="T32" fmla="*/ 20 w 22"/>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40">
                  <a:moveTo>
                    <a:pt x="20" y="40"/>
                  </a:moveTo>
                  <a:cubicBezTo>
                    <a:pt x="2" y="40"/>
                    <a:pt x="2" y="40"/>
                    <a:pt x="2" y="40"/>
                  </a:cubicBezTo>
                  <a:cubicBezTo>
                    <a:pt x="2" y="40"/>
                    <a:pt x="1" y="40"/>
                    <a:pt x="1" y="40"/>
                  </a:cubicBezTo>
                  <a:cubicBezTo>
                    <a:pt x="0" y="40"/>
                    <a:pt x="0" y="39"/>
                    <a:pt x="0" y="38"/>
                  </a:cubicBezTo>
                  <a:cubicBezTo>
                    <a:pt x="0" y="38"/>
                    <a:pt x="0" y="38"/>
                    <a:pt x="0" y="38"/>
                  </a:cubicBezTo>
                  <a:cubicBezTo>
                    <a:pt x="0" y="37"/>
                    <a:pt x="2" y="25"/>
                    <a:pt x="5" y="2"/>
                  </a:cubicBezTo>
                  <a:cubicBezTo>
                    <a:pt x="5" y="1"/>
                    <a:pt x="5" y="1"/>
                    <a:pt x="5" y="1"/>
                  </a:cubicBezTo>
                  <a:cubicBezTo>
                    <a:pt x="5" y="0"/>
                    <a:pt x="6" y="0"/>
                    <a:pt x="7" y="0"/>
                  </a:cubicBezTo>
                  <a:cubicBezTo>
                    <a:pt x="8" y="0"/>
                    <a:pt x="8" y="0"/>
                    <a:pt x="8" y="0"/>
                  </a:cubicBezTo>
                  <a:cubicBezTo>
                    <a:pt x="8" y="1"/>
                    <a:pt x="9" y="1"/>
                    <a:pt x="9" y="2"/>
                  </a:cubicBezTo>
                  <a:cubicBezTo>
                    <a:pt x="9" y="4"/>
                    <a:pt x="8" y="7"/>
                    <a:pt x="8" y="12"/>
                  </a:cubicBezTo>
                  <a:cubicBezTo>
                    <a:pt x="6" y="27"/>
                    <a:pt x="5" y="35"/>
                    <a:pt x="4" y="36"/>
                  </a:cubicBezTo>
                  <a:cubicBezTo>
                    <a:pt x="19" y="36"/>
                    <a:pt x="19" y="36"/>
                    <a:pt x="19" y="36"/>
                  </a:cubicBezTo>
                  <a:cubicBezTo>
                    <a:pt x="20" y="36"/>
                    <a:pt x="20" y="36"/>
                    <a:pt x="20" y="36"/>
                  </a:cubicBezTo>
                  <a:cubicBezTo>
                    <a:pt x="21" y="37"/>
                    <a:pt x="22" y="37"/>
                    <a:pt x="22" y="38"/>
                  </a:cubicBezTo>
                  <a:cubicBezTo>
                    <a:pt x="22" y="39"/>
                    <a:pt x="22" y="39"/>
                    <a:pt x="22" y="39"/>
                  </a:cubicBezTo>
                  <a:cubicBezTo>
                    <a:pt x="21" y="40"/>
                    <a:pt x="21" y="40"/>
                    <a:pt x="20" y="4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08">
              <a:extLst>
                <a:ext uri="{FF2B5EF4-FFF2-40B4-BE49-F238E27FC236}">
                  <a16:creationId xmlns:a16="http://schemas.microsoft.com/office/drawing/2014/main" id="{2AA3CECC-1E0D-4A38-851F-360B69367179}"/>
                </a:ext>
              </a:extLst>
            </p:cNvPr>
            <p:cNvSpPr>
              <a:spLocks noEditPoints="1"/>
            </p:cNvSpPr>
            <p:nvPr/>
          </p:nvSpPr>
          <p:spPr bwMode="auto">
            <a:xfrm>
              <a:off x="7070497" y="4145793"/>
              <a:ext cx="54330" cy="77035"/>
            </a:xfrm>
            <a:custGeom>
              <a:avLst/>
              <a:gdLst>
                <a:gd name="T0" fmla="*/ 20 w 28"/>
                <a:gd name="T1" fmla="*/ 1 h 40"/>
                <a:gd name="T2" fmla="*/ 21 w 28"/>
                <a:gd name="T3" fmla="*/ 2 h 40"/>
                <a:gd name="T4" fmla="*/ 28 w 28"/>
                <a:gd name="T5" fmla="*/ 38 h 40"/>
                <a:gd name="T6" fmla="*/ 28 w 28"/>
                <a:gd name="T7" fmla="*/ 38 h 40"/>
                <a:gd name="T8" fmla="*/ 27 w 28"/>
                <a:gd name="T9" fmla="*/ 39 h 40"/>
                <a:gd name="T10" fmla="*/ 26 w 28"/>
                <a:gd name="T11" fmla="*/ 40 h 40"/>
                <a:gd name="T12" fmla="*/ 25 w 28"/>
                <a:gd name="T13" fmla="*/ 40 h 40"/>
                <a:gd name="T14" fmla="*/ 24 w 28"/>
                <a:gd name="T15" fmla="*/ 39 h 40"/>
                <a:gd name="T16" fmla="*/ 21 w 28"/>
                <a:gd name="T17" fmla="*/ 27 h 40"/>
                <a:gd name="T18" fmla="*/ 9 w 28"/>
                <a:gd name="T19" fmla="*/ 27 h 40"/>
                <a:gd name="T20" fmla="*/ 4 w 28"/>
                <a:gd name="T21" fmla="*/ 39 h 40"/>
                <a:gd name="T22" fmla="*/ 4 w 28"/>
                <a:gd name="T23" fmla="*/ 39 h 40"/>
                <a:gd name="T24" fmla="*/ 2 w 28"/>
                <a:gd name="T25" fmla="*/ 40 h 40"/>
                <a:gd name="T26" fmla="*/ 1 w 28"/>
                <a:gd name="T27" fmla="*/ 40 h 40"/>
                <a:gd name="T28" fmla="*/ 0 w 28"/>
                <a:gd name="T29" fmla="*/ 38 h 40"/>
                <a:gd name="T30" fmla="*/ 0 w 28"/>
                <a:gd name="T31" fmla="*/ 38 h 40"/>
                <a:gd name="T32" fmla="*/ 2 w 28"/>
                <a:gd name="T33" fmla="*/ 34 h 40"/>
                <a:gd name="T34" fmla="*/ 17 w 28"/>
                <a:gd name="T35" fmla="*/ 2 h 40"/>
                <a:gd name="T36" fmla="*/ 19 w 28"/>
                <a:gd name="T37" fmla="*/ 0 h 40"/>
                <a:gd name="T38" fmla="*/ 20 w 28"/>
                <a:gd name="T39" fmla="*/ 1 h 40"/>
                <a:gd name="T40" fmla="*/ 18 w 28"/>
                <a:gd name="T41" fmla="*/ 9 h 40"/>
                <a:gd name="T42" fmla="*/ 11 w 28"/>
                <a:gd name="T43" fmla="*/ 23 h 40"/>
                <a:gd name="T44" fmla="*/ 21 w 28"/>
                <a:gd name="T45" fmla="*/ 23 h 40"/>
                <a:gd name="T46" fmla="*/ 18 w 28"/>
                <a:gd name="T47"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40">
                  <a:moveTo>
                    <a:pt x="20" y="1"/>
                  </a:moveTo>
                  <a:cubicBezTo>
                    <a:pt x="21" y="2"/>
                    <a:pt x="21" y="2"/>
                    <a:pt x="21" y="2"/>
                  </a:cubicBezTo>
                  <a:cubicBezTo>
                    <a:pt x="21" y="3"/>
                    <a:pt x="23" y="15"/>
                    <a:pt x="28" y="38"/>
                  </a:cubicBezTo>
                  <a:cubicBezTo>
                    <a:pt x="28" y="38"/>
                    <a:pt x="28" y="38"/>
                    <a:pt x="28" y="38"/>
                  </a:cubicBezTo>
                  <a:cubicBezTo>
                    <a:pt x="28" y="39"/>
                    <a:pt x="28" y="39"/>
                    <a:pt x="27" y="39"/>
                  </a:cubicBezTo>
                  <a:cubicBezTo>
                    <a:pt x="27" y="40"/>
                    <a:pt x="26" y="40"/>
                    <a:pt x="26" y="40"/>
                  </a:cubicBezTo>
                  <a:cubicBezTo>
                    <a:pt x="25" y="40"/>
                    <a:pt x="25" y="40"/>
                    <a:pt x="25" y="40"/>
                  </a:cubicBezTo>
                  <a:cubicBezTo>
                    <a:pt x="25" y="40"/>
                    <a:pt x="24" y="40"/>
                    <a:pt x="24" y="39"/>
                  </a:cubicBezTo>
                  <a:cubicBezTo>
                    <a:pt x="21" y="27"/>
                    <a:pt x="21" y="27"/>
                    <a:pt x="21" y="27"/>
                  </a:cubicBezTo>
                  <a:cubicBezTo>
                    <a:pt x="9" y="27"/>
                    <a:pt x="9" y="27"/>
                    <a:pt x="9" y="27"/>
                  </a:cubicBezTo>
                  <a:cubicBezTo>
                    <a:pt x="4" y="39"/>
                    <a:pt x="4" y="39"/>
                    <a:pt x="4" y="39"/>
                  </a:cubicBezTo>
                  <a:cubicBezTo>
                    <a:pt x="4" y="39"/>
                    <a:pt x="4" y="39"/>
                    <a:pt x="4" y="39"/>
                  </a:cubicBezTo>
                  <a:cubicBezTo>
                    <a:pt x="3" y="40"/>
                    <a:pt x="2" y="40"/>
                    <a:pt x="2" y="40"/>
                  </a:cubicBezTo>
                  <a:cubicBezTo>
                    <a:pt x="1" y="40"/>
                    <a:pt x="1" y="40"/>
                    <a:pt x="1" y="40"/>
                  </a:cubicBezTo>
                  <a:cubicBezTo>
                    <a:pt x="0" y="40"/>
                    <a:pt x="0" y="39"/>
                    <a:pt x="0" y="38"/>
                  </a:cubicBezTo>
                  <a:cubicBezTo>
                    <a:pt x="0" y="38"/>
                    <a:pt x="0" y="38"/>
                    <a:pt x="0" y="38"/>
                  </a:cubicBezTo>
                  <a:cubicBezTo>
                    <a:pt x="0" y="37"/>
                    <a:pt x="1" y="36"/>
                    <a:pt x="2" y="34"/>
                  </a:cubicBezTo>
                  <a:cubicBezTo>
                    <a:pt x="10" y="16"/>
                    <a:pt x="15" y="5"/>
                    <a:pt x="17" y="2"/>
                  </a:cubicBezTo>
                  <a:cubicBezTo>
                    <a:pt x="17" y="1"/>
                    <a:pt x="18" y="0"/>
                    <a:pt x="19" y="0"/>
                  </a:cubicBezTo>
                  <a:cubicBezTo>
                    <a:pt x="19" y="0"/>
                    <a:pt x="20" y="0"/>
                    <a:pt x="20" y="1"/>
                  </a:cubicBezTo>
                  <a:close/>
                  <a:moveTo>
                    <a:pt x="18" y="9"/>
                  </a:moveTo>
                  <a:cubicBezTo>
                    <a:pt x="11" y="23"/>
                    <a:pt x="11" y="23"/>
                    <a:pt x="11" y="23"/>
                  </a:cubicBezTo>
                  <a:cubicBezTo>
                    <a:pt x="21" y="23"/>
                    <a:pt x="21" y="23"/>
                    <a:pt x="21" y="23"/>
                  </a:cubicBezTo>
                  <a:lnTo>
                    <a:pt x="18" y="9"/>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309">
              <a:extLst>
                <a:ext uri="{FF2B5EF4-FFF2-40B4-BE49-F238E27FC236}">
                  <a16:creationId xmlns:a16="http://schemas.microsoft.com/office/drawing/2014/main" id="{3239554F-6146-48EE-996C-30D36DF991D7}"/>
                </a:ext>
              </a:extLst>
            </p:cNvPr>
            <p:cNvSpPr>
              <a:spLocks/>
            </p:cNvSpPr>
            <p:nvPr/>
          </p:nvSpPr>
          <p:spPr bwMode="auto">
            <a:xfrm>
              <a:off x="7132125" y="4145793"/>
              <a:ext cx="57573" cy="77035"/>
            </a:xfrm>
            <a:custGeom>
              <a:avLst/>
              <a:gdLst>
                <a:gd name="T0" fmla="*/ 16 w 30"/>
                <a:gd name="T1" fmla="*/ 22 h 40"/>
                <a:gd name="T2" fmla="*/ 20 w 30"/>
                <a:gd name="T3" fmla="*/ 31 h 40"/>
                <a:gd name="T4" fmla="*/ 22 w 30"/>
                <a:gd name="T5" fmla="*/ 38 h 40"/>
                <a:gd name="T6" fmla="*/ 22 w 30"/>
                <a:gd name="T7" fmla="*/ 40 h 40"/>
                <a:gd name="T8" fmla="*/ 20 w 30"/>
                <a:gd name="T9" fmla="*/ 40 h 40"/>
                <a:gd name="T10" fmla="*/ 18 w 30"/>
                <a:gd name="T11" fmla="*/ 39 h 40"/>
                <a:gd name="T12" fmla="*/ 18 w 30"/>
                <a:gd name="T13" fmla="*/ 38 h 40"/>
                <a:gd name="T14" fmla="*/ 13 w 30"/>
                <a:gd name="T15" fmla="*/ 26 h 40"/>
                <a:gd name="T16" fmla="*/ 4 w 30"/>
                <a:gd name="T17" fmla="*/ 39 h 40"/>
                <a:gd name="T18" fmla="*/ 2 w 30"/>
                <a:gd name="T19" fmla="*/ 40 h 40"/>
                <a:gd name="T20" fmla="*/ 1 w 30"/>
                <a:gd name="T21" fmla="*/ 40 h 40"/>
                <a:gd name="T22" fmla="*/ 0 w 30"/>
                <a:gd name="T23" fmla="*/ 38 h 40"/>
                <a:gd name="T24" fmla="*/ 0 w 30"/>
                <a:gd name="T25" fmla="*/ 38 h 40"/>
                <a:gd name="T26" fmla="*/ 1 w 30"/>
                <a:gd name="T27" fmla="*/ 36 h 40"/>
                <a:gd name="T28" fmla="*/ 12 w 30"/>
                <a:gd name="T29" fmla="*/ 21 h 40"/>
                <a:gd name="T30" fmla="*/ 10 w 30"/>
                <a:gd name="T31" fmla="*/ 18 h 40"/>
                <a:gd name="T32" fmla="*/ 5 w 30"/>
                <a:gd name="T33" fmla="*/ 2 h 40"/>
                <a:gd name="T34" fmla="*/ 5 w 30"/>
                <a:gd name="T35" fmla="*/ 1 h 40"/>
                <a:gd name="T36" fmla="*/ 7 w 30"/>
                <a:gd name="T37" fmla="*/ 0 h 40"/>
                <a:gd name="T38" fmla="*/ 9 w 30"/>
                <a:gd name="T39" fmla="*/ 1 h 40"/>
                <a:gd name="T40" fmla="*/ 15 w 30"/>
                <a:gd name="T41" fmla="*/ 17 h 40"/>
                <a:gd name="T42" fmla="*/ 26 w 30"/>
                <a:gd name="T43" fmla="*/ 1 h 40"/>
                <a:gd name="T44" fmla="*/ 28 w 30"/>
                <a:gd name="T45" fmla="*/ 0 h 40"/>
                <a:gd name="T46" fmla="*/ 29 w 30"/>
                <a:gd name="T47" fmla="*/ 0 h 40"/>
                <a:gd name="T48" fmla="*/ 30 w 30"/>
                <a:gd name="T49" fmla="*/ 2 h 40"/>
                <a:gd name="T50" fmla="*/ 30 w 30"/>
                <a:gd name="T51" fmla="*/ 3 h 40"/>
                <a:gd name="T52" fmla="*/ 16 w 30"/>
                <a:gd name="T5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0" h="40">
                  <a:moveTo>
                    <a:pt x="16" y="22"/>
                  </a:moveTo>
                  <a:cubicBezTo>
                    <a:pt x="18" y="26"/>
                    <a:pt x="19" y="29"/>
                    <a:pt x="20" y="31"/>
                  </a:cubicBezTo>
                  <a:cubicBezTo>
                    <a:pt x="21" y="36"/>
                    <a:pt x="22" y="38"/>
                    <a:pt x="22" y="38"/>
                  </a:cubicBezTo>
                  <a:cubicBezTo>
                    <a:pt x="22" y="39"/>
                    <a:pt x="22" y="39"/>
                    <a:pt x="22" y="40"/>
                  </a:cubicBezTo>
                  <a:cubicBezTo>
                    <a:pt x="22" y="40"/>
                    <a:pt x="21" y="40"/>
                    <a:pt x="20" y="40"/>
                  </a:cubicBezTo>
                  <a:cubicBezTo>
                    <a:pt x="19" y="40"/>
                    <a:pt x="19" y="40"/>
                    <a:pt x="18" y="39"/>
                  </a:cubicBezTo>
                  <a:cubicBezTo>
                    <a:pt x="18" y="39"/>
                    <a:pt x="18" y="38"/>
                    <a:pt x="18" y="38"/>
                  </a:cubicBezTo>
                  <a:cubicBezTo>
                    <a:pt x="17" y="36"/>
                    <a:pt x="16" y="32"/>
                    <a:pt x="13" y="26"/>
                  </a:cubicBezTo>
                  <a:cubicBezTo>
                    <a:pt x="4" y="39"/>
                    <a:pt x="4" y="39"/>
                    <a:pt x="4" y="39"/>
                  </a:cubicBezTo>
                  <a:cubicBezTo>
                    <a:pt x="3" y="40"/>
                    <a:pt x="2" y="40"/>
                    <a:pt x="2" y="40"/>
                  </a:cubicBezTo>
                  <a:cubicBezTo>
                    <a:pt x="1" y="40"/>
                    <a:pt x="1" y="40"/>
                    <a:pt x="1" y="40"/>
                  </a:cubicBezTo>
                  <a:cubicBezTo>
                    <a:pt x="0" y="40"/>
                    <a:pt x="0" y="39"/>
                    <a:pt x="0" y="38"/>
                  </a:cubicBezTo>
                  <a:cubicBezTo>
                    <a:pt x="0" y="38"/>
                    <a:pt x="0" y="38"/>
                    <a:pt x="0" y="38"/>
                  </a:cubicBezTo>
                  <a:cubicBezTo>
                    <a:pt x="0" y="38"/>
                    <a:pt x="0" y="37"/>
                    <a:pt x="1" y="36"/>
                  </a:cubicBezTo>
                  <a:cubicBezTo>
                    <a:pt x="4" y="32"/>
                    <a:pt x="8" y="27"/>
                    <a:pt x="12" y="21"/>
                  </a:cubicBezTo>
                  <a:cubicBezTo>
                    <a:pt x="11" y="20"/>
                    <a:pt x="11" y="19"/>
                    <a:pt x="10" y="18"/>
                  </a:cubicBezTo>
                  <a:cubicBezTo>
                    <a:pt x="7" y="8"/>
                    <a:pt x="5" y="3"/>
                    <a:pt x="5" y="2"/>
                  </a:cubicBezTo>
                  <a:cubicBezTo>
                    <a:pt x="5" y="2"/>
                    <a:pt x="5" y="1"/>
                    <a:pt x="5" y="1"/>
                  </a:cubicBezTo>
                  <a:cubicBezTo>
                    <a:pt x="6" y="0"/>
                    <a:pt x="6" y="0"/>
                    <a:pt x="7" y="0"/>
                  </a:cubicBezTo>
                  <a:cubicBezTo>
                    <a:pt x="8" y="0"/>
                    <a:pt x="8" y="0"/>
                    <a:pt x="9" y="1"/>
                  </a:cubicBezTo>
                  <a:cubicBezTo>
                    <a:pt x="15" y="17"/>
                    <a:pt x="15" y="17"/>
                    <a:pt x="15" y="17"/>
                  </a:cubicBezTo>
                  <a:cubicBezTo>
                    <a:pt x="26" y="1"/>
                    <a:pt x="26" y="1"/>
                    <a:pt x="26" y="1"/>
                  </a:cubicBezTo>
                  <a:cubicBezTo>
                    <a:pt x="27" y="0"/>
                    <a:pt x="27" y="0"/>
                    <a:pt x="28" y="0"/>
                  </a:cubicBezTo>
                  <a:cubicBezTo>
                    <a:pt x="29" y="0"/>
                    <a:pt x="29" y="0"/>
                    <a:pt x="29" y="0"/>
                  </a:cubicBezTo>
                  <a:cubicBezTo>
                    <a:pt x="30" y="1"/>
                    <a:pt x="30" y="1"/>
                    <a:pt x="30" y="2"/>
                  </a:cubicBezTo>
                  <a:cubicBezTo>
                    <a:pt x="30" y="3"/>
                    <a:pt x="30" y="3"/>
                    <a:pt x="30" y="3"/>
                  </a:cubicBezTo>
                  <a:lnTo>
                    <a:pt x="16" y="22"/>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10">
              <a:extLst>
                <a:ext uri="{FF2B5EF4-FFF2-40B4-BE49-F238E27FC236}">
                  <a16:creationId xmlns:a16="http://schemas.microsoft.com/office/drawing/2014/main" id="{F4F23F8C-C122-461A-8BF3-D79A5E1B3DE9}"/>
                </a:ext>
              </a:extLst>
            </p:cNvPr>
            <p:cNvSpPr>
              <a:spLocks/>
            </p:cNvSpPr>
            <p:nvPr/>
          </p:nvSpPr>
          <p:spPr bwMode="auto">
            <a:xfrm>
              <a:off x="7189699" y="4145793"/>
              <a:ext cx="61628" cy="103794"/>
            </a:xfrm>
            <a:custGeom>
              <a:avLst/>
              <a:gdLst>
                <a:gd name="T0" fmla="*/ 30 w 32"/>
                <a:gd name="T1" fmla="*/ 0 h 54"/>
                <a:gd name="T2" fmla="*/ 31 w 32"/>
                <a:gd name="T3" fmla="*/ 0 h 54"/>
                <a:gd name="T4" fmla="*/ 32 w 32"/>
                <a:gd name="T5" fmla="*/ 2 h 54"/>
                <a:gd name="T6" fmla="*/ 27 w 32"/>
                <a:gd name="T7" fmla="*/ 39 h 54"/>
                <a:gd name="T8" fmla="*/ 23 w 32"/>
                <a:gd name="T9" fmla="*/ 49 h 54"/>
                <a:gd name="T10" fmla="*/ 12 w 32"/>
                <a:gd name="T11" fmla="*/ 54 h 54"/>
                <a:gd name="T12" fmla="*/ 6 w 32"/>
                <a:gd name="T13" fmla="*/ 53 h 54"/>
                <a:gd name="T14" fmla="*/ 0 w 32"/>
                <a:gd name="T15" fmla="*/ 47 h 54"/>
                <a:gd name="T16" fmla="*/ 0 w 32"/>
                <a:gd name="T17" fmla="*/ 46 h 54"/>
                <a:gd name="T18" fmla="*/ 0 w 32"/>
                <a:gd name="T19" fmla="*/ 45 h 54"/>
                <a:gd name="T20" fmla="*/ 2 w 32"/>
                <a:gd name="T21" fmla="*/ 44 h 54"/>
                <a:gd name="T22" fmla="*/ 3 w 32"/>
                <a:gd name="T23" fmla="*/ 45 h 54"/>
                <a:gd name="T24" fmla="*/ 12 w 32"/>
                <a:gd name="T25" fmla="*/ 50 h 54"/>
                <a:gd name="T26" fmla="*/ 19 w 32"/>
                <a:gd name="T27" fmla="*/ 47 h 54"/>
                <a:gd name="T28" fmla="*/ 23 w 32"/>
                <a:gd name="T29" fmla="*/ 36 h 54"/>
                <a:gd name="T30" fmla="*/ 21 w 32"/>
                <a:gd name="T31" fmla="*/ 38 h 54"/>
                <a:gd name="T32" fmla="*/ 14 w 32"/>
                <a:gd name="T33" fmla="*/ 40 h 54"/>
                <a:gd name="T34" fmla="*/ 13 w 32"/>
                <a:gd name="T35" fmla="*/ 40 h 54"/>
                <a:gd name="T36" fmla="*/ 6 w 32"/>
                <a:gd name="T37" fmla="*/ 36 h 54"/>
                <a:gd name="T38" fmla="*/ 4 w 32"/>
                <a:gd name="T39" fmla="*/ 24 h 54"/>
                <a:gd name="T40" fmla="*/ 4 w 32"/>
                <a:gd name="T41" fmla="*/ 17 h 54"/>
                <a:gd name="T42" fmla="*/ 6 w 32"/>
                <a:gd name="T43" fmla="*/ 2 h 54"/>
                <a:gd name="T44" fmla="*/ 6 w 32"/>
                <a:gd name="T45" fmla="*/ 2 h 54"/>
                <a:gd name="T46" fmla="*/ 8 w 32"/>
                <a:gd name="T47" fmla="*/ 0 h 54"/>
                <a:gd name="T48" fmla="*/ 9 w 32"/>
                <a:gd name="T49" fmla="*/ 0 h 54"/>
                <a:gd name="T50" fmla="*/ 10 w 32"/>
                <a:gd name="T51" fmla="*/ 2 h 54"/>
                <a:gd name="T52" fmla="*/ 9 w 32"/>
                <a:gd name="T53" fmla="*/ 10 h 54"/>
                <a:gd name="T54" fmla="*/ 8 w 32"/>
                <a:gd name="T55" fmla="*/ 22 h 54"/>
                <a:gd name="T56" fmla="*/ 10 w 32"/>
                <a:gd name="T57" fmla="*/ 32 h 54"/>
                <a:gd name="T58" fmla="*/ 15 w 32"/>
                <a:gd name="T59" fmla="*/ 36 h 54"/>
                <a:gd name="T60" fmla="*/ 15 w 32"/>
                <a:gd name="T61" fmla="*/ 36 h 54"/>
                <a:gd name="T62" fmla="*/ 21 w 32"/>
                <a:gd name="T63" fmla="*/ 32 h 54"/>
                <a:gd name="T64" fmla="*/ 25 w 32"/>
                <a:gd name="T65" fmla="*/ 22 h 54"/>
                <a:gd name="T66" fmla="*/ 28 w 32"/>
                <a:gd name="T67" fmla="*/ 2 h 54"/>
                <a:gd name="T68" fmla="*/ 28 w 32"/>
                <a:gd name="T69" fmla="*/ 1 h 54"/>
                <a:gd name="T70" fmla="*/ 30 w 32"/>
                <a:gd name="T7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54">
                  <a:moveTo>
                    <a:pt x="30" y="0"/>
                  </a:moveTo>
                  <a:cubicBezTo>
                    <a:pt x="31" y="0"/>
                    <a:pt x="31" y="0"/>
                    <a:pt x="31" y="0"/>
                  </a:cubicBezTo>
                  <a:cubicBezTo>
                    <a:pt x="31" y="1"/>
                    <a:pt x="32" y="1"/>
                    <a:pt x="32" y="2"/>
                  </a:cubicBezTo>
                  <a:cubicBezTo>
                    <a:pt x="29" y="25"/>
                    <a:pt x="27" y="37"/>
                    <a:pt x="27" y="39"/>
                  </a:cubicBezTo>
                  <a:cubicBezTo>
                    <a:pt x="26" y="43"/>
                    <a:pt x="25" y="46"/>
                    <a:pt x="23" y="49"/>
                  </a:cubicBezTo>
                  <a:cubicBezTo>
                    <a:pt x="21" y="52"/>
                    <a:pt x="17" y="54"/>
                    <a:pt x="12" y="54"/>
                  </a:cubicBezTo>
                  <a:cubicBezTo>
                    <a:pt x="10" y="54"/>
                    <a:pt x="8" y="54"/>
                    <a:pt x="6" y="53"/>
                  </a:cubicBezTo>
                  <a:cubicBezTo>
                    <a:pt x="3" y="51"/>
                    <a:pt x="1" y="50"/>
                    <a:pt x="0" y="47"/>
                  </a:cubicBezTo>
                  <a:cubicBezTo>
                    <a:pt x="0" y="47"/>
                    <a:pt x="0" y="47"/>
                    <a:pt x="0" y="46"/>
                  </a:cubicBezTo>
                  <a:cubicBezTo>
                    <a:pt x="0" y="46"/>
                    <a:pt x="0" y="46"/>
                    <a:pt x="0" y="45"/>
                  </a:cubicBezTo>
                  <a:cubicBezTo>
                    <a:pt x="0" y="45"/>
                    <a:pt x="1" y="44"/>
                    <a:pt x="2" y="44"/>
                  </a:cubicBezTo>
                  <a:cubicBezTo>
                    <a:pt x="2" y="44"/>
                    <a:pt x="3" y="45"/>
                    <a:pt x="3" y="45"/>
                  </a:cubicBezTo>
                  <a:cubicBezTo>
                    <a:pt x="6" y="48"/>
                    <a:pt x="9" y="50"/>
                    <a:pt x="12" y="50"/>
                  </a:cubicBezTo>
                  <a:cubicBezTo>
                    <a:pt x="15" y="50"/>
                    <a:pt x="17" y="49"/>
                    <a:pt x="19" y="47"/>
                  </a:cubicBezTo>
                  <a:cubicBezTo>
                    <a:pt x="21" y="44"/>
                    <a:pt x="23" y="40"/>
                    <a:pt x="23" y="36"/>
                  </a:cubicBezTo>
                  <a:cubicBezTo>
                    <a:pt x="22" y="37"/>
                    <a:pt x="22" y="38"/>
                    <a:pt x="21" y="38"/>
                  </a:cubicBezTo>
                  <a:cubicBezTo>
                    <a:pt x="19" y="40"/>
                    <a:pt x="17" y="40"/>
                    <a:pt x="14" y="40"/>
                  </a:cubicBezTo>
                  <a:cubicBezTo>
                    <a:pt x="14" y="40"/>
                    <a:pt x="14" y="40"/>
                    <a:pt x="13" y="40"/>
                  </a:cubicBezTo>
                  <a:cubicBezTo>
                    <a:pt x="10" y="40"/>
                    <a:pt x="8" y="38"/>
                    <a:pt x="6" y="36"/>
                  </a:cubicBezTo>
                  <a:cubicBezTo>
                    <a:pt x="5" y="32"/>
                    <a:pt x="4" y="29"/>
                    <a:pt x="4" y="24"/>
                  </a:cubicBezTo>
                  <a:cubicBezTo>
                    <a:pt x="4" y="22"/>
                    <a:pt x="4" y="20"/>
                    <a:pt x="4" y="17"/>
                  </a:cubicBezTo>
                  <a:cubicBezTo>
                    <a:pt x="4" y="14"/>
                    <a:pt x="5" y="9"/>
                    <a:pt x="6" y="2"/>
                  </a:cubicBezTo>
                  <a:cubicBezTo>
                    <a:pt x="6" y="2"/>
                    <a:pt x="6" y="2"/>
                    <a:pt x="6" y="2"/>
                  </a:cubicBezTo>
                  <a:cubicBezTo>
                    <a:pt x="7" y="1"/>
                    <a:pt x="7" y="0"/>
                    <a:pt x="8" y="0"/>
                  </a:cubicBezTo>
                  <a:cubicBezTo>
                    <a:pt x="9" y="0"/>
                    <a:pt x="9" y="0"/>
                    <a:pt x="9" y="0"/>
                  </a:cubicBezTo>
                  <a:cubicBezTo>
                    <a:pt x="10" y="1"/>
                    <a:pt x="10" y="1"/>
                    <a:pt x="10" y="2"/>
                  </a:cubicBezTo>
                  <a:cubicBezTo>
                    <a:pt x="10" y="3"/>
                    <a:pt x="10" y="6"/>
                    <a:pt x="9" y="10"/>
                  </a:cubicBezTo>
                  <a:cubicBezTo>
                    <a:pt x="8" y="16"/>
                    <a:pt x="8" y="20"/>
                    <a:pt x="8" y="22"/>
                  </a:cubicBezTo>
                  <a:cubicBezTo>
                    <a:pt x="8" y="26"/>
                    <a:pt x="8" y="29"/>
                    <a:pt x="10" y="32"/>
                  </a:cubicBezTo>
                  <a:cubicBezTo>
                    <a:pt x="11" y="35"/>
                    <a:pt x="12" y="36"/>
                    <a:pt x="15" y="36"/>
                  </a:cubicBezTo>
                  <a:cubicBezTo>
                    <a:pt x="15" y="36"/>
                    <a:pt x="15" y="36"/>
                    <a:pt x="15" y="36"/>
                  </a:cubicBezTo>
                  <a:cubicBezTo>
                    <a:pt x="17" y="36"/>
                    <a:pt x="19" y="34"/>
                    <a:pt x="21" y="32"/>
                  </a:cubicBezTo>
                  <a:cubicBezTo>
                    <a:pt x="23" y="29"/>
                    <a:pt x="24" y="26"/>
                    <a:pt x="25" y="22"/>
                  </a:cubicBezTo>
                  <a:cubicBezTo>
                    <a:pt x="28" y="2"/>
                    <a:pt x="28" y="2"/>
                    <a:pt x="28" y="2"/>
                  </a:cubicBezTo>
                  <a:cubicBezTo>
                    <a:pt x="28" y="1"/>
                    <a:pt x="28" y="1"/>
                    <a:pt x="28" y="1"/>
                  </a:cubicBezTo>
                  <a:cubicBezTo>
                    <a:pt x="28" y="1"/>
                    <a:pt x="29" y="0"/>
                    <a:pt x="30" y="0"/>
                  </a:cubicBez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311">
              <a:extLst>
                <a:ext uri="{FF2B5EF4-FFF2-40B4-BE49-F238E27FC236}">
                  <a16:creationId xmlns:a16="http://schemas.microsoft.com/office/drawing/2014/main" id="{A1A609EA-CFE5-408A-B7E3-C833D76E29E3}"/>
                </a:ext>
              </a:extLst>
            </p:cNvPr>
            <p:cNvSpPr>
              <a:spLocks noChangeArrowheads="1"/>
            </p:cNvSpPr>
            <p:nvPr/>
          </p:nvSpPr>
          <p:spPr bwMode="auto">
            <a:xfrm>
              <a:off x="7748404" y="4081733"/>
              <a:ext cx="324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312">
              <a:extLst>
                <a:ext uri="{FF2B5EF4-FFF2-40B4-BE49-F238E27FC236}">
                  <a16:creationId xmlns:a16="http://schemas.microsoft.com/office/drawing/2014/main" id="{B602C2EC-F4BF-4A0C-8264-E21ABA1C2F91}"/>
                </a:ext>
              </a:extLst>
            </p:cNvPr>
            <p:cNvSpPr>
              <a:spLocks noChangeArrowheads="1"/>
            </p:cNvSpPr>
            <p:nvPr/>
          </p:nvSpPr>
          <p:spPr bwMode="auto">
            <a:xfrm>
              <a:off x="6833716" y="4081733"/>
              <a:ext cx="405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313">
              <a:extLst>
                <a:ext uri="{FF2B5EF4-FFF2-40B4-BE49-F238E27FC236}">
                  <a16:creationId xmlns:a16="http://schemas.microsoft.com/office/drawing/2014/main" id="{179CFB26-5216-4C9F-BE80-10739F76F73D}"/>
                </a:ext>
              </a:extLst>
            </p:cNvPr>
            <p:cNvSpPr>
              <a:spLocks noChangeArrowheads="1"/>
            </p:cNvSpPr>
            <p:nvPr/>
          </p:nvSpPr>
          <p:spPr bwMode="auto">
            <a:xfrm>
              <a:off x="7767055" y="4081733"/>
              <a:ext cx="405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314">
              <a:extLst>
                <a:ext uri="{FF2B5EF4-FFF2-40B4-BE49-F238E27FC236}">
                  <a16:creationId xmlns:a16="http://schemas.microsoft.com/office/drawing/2014/main" id="{0AC20579-A50B-466E-AE76-55E1B82C4E6B}"/>
                </a:ext>
              </a:extLst>
            </p:cNvPr>
            <p:cNvSpPr>
              <a:spLocks noChangeArrowheads="1"/>
            </p:cNvSpPr>
            <p:nvPr/>
          </p:nvSpPr>
          <p:spPr bwMode="auto">
            <a:xfrm>
              <a:off x="6815066" y="4081733"/>
              <a:ext cx="3244" cy="204345"/>
            </a:xfrm>
            <a:prstGeom prst="ellipse">
              <a:avLst/>
            </a:prstGeom>
            <a:solidFill>
              <a:srgbClr val="263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15">
              <a:extLst>
                <a:ext uri="{FF2B5EF4-FFF2-40B4-BE49-F238E27FC236}">
                  <a16:creationId xmlns:a16="http://schemas.microsoft.com/office/drawing/2014/main" id="{32E4C834-CCB3-4F81-99F2-48D726AC507C}"/>
                </a:ext>
              </a:extLst>
            </p:cNvPr>
            <p:cNvSpPr>
              <a:spLocks/>
            </p:cNvSpPr>
            <p:nvPr/>
          </p:nvSpPr>
          <p:spPr bwMode="auto">
            <a:xfrm>
              <a:off x="7355121" y="4114979"/>
              <a:ext cx="242457" cy="126499"/>
            </a:xfrm>
            <a:custGeom>
              <a:avLst/>
              <a:gdLst>
                <a:gd name="T0" fmla="*/ 64 w 126"/>
                <a:gd name="T1" fmla="*/ 0 h 66"/>
                <a:gd name="T2" fmla="*/ 64 w 126"/>
                <a:gd name="T3" fmla="*/ 0 h 66"/>
                <a:gd name="T4" fmla="*/ 125 w 126"/>
                <a:gd name="T5" fmla="*/ 50 h 66"/>
                <a:gd name="T6" fmla="*/ 126 w 126"/>
                <a:gd name="T7" fmla="*/ 50 h 66"/>
                <a:gd name="T8" fmla="*/ 125 w 126"/>
                <a:gd name="T9" fmla="*/ 50 h 66"/>
                <a:gd name="T10" fmla="*/ 117 w 126"/>
                <a:gd name="T11" fmla="*/ 52 h 66"/>
                <a:gd name="T12" fmla="*/ 65 w 126"/>
                <a:gd name="T13" fmla="*/ 66 h 66"/>
                <a:gd name="T14" fmla="*/ 65 w 126"/>
                <a:gd name="T15" fmla="*/ 66 h 66"/>
                <a:gd name="T16" fmla="*/ 65 w 126"/>
                <a:gd name="T17" fmla="*/ 66 h 66"/>
                <a:gd name="T18" fmla="*/ 18 w 126"/>
                <a:gd name="T19" fmla="*/ 46 h 66"/>
                <a:gd name="T20" fmla="*/ 5 w 126"/>
                <a:gd name="T21" fmla="*/ 40 h 66"/>
                <a:gd name="T22" fmla="*/ 1 w 126"/>
                <a:gd name="T23" fmla="*/ 39 h 66"/>
                <a:gd name="T24" fmla="*/ 0 w 126"/>
                <a:gd name="T25" fmla="*/ 38 h 66"/>
                <a:gd name="T26" fmla="*/ 0 w 126"/>
                <a:gd name="T27" fmla="*/ 38 h 66"/>
                <a:gd name="T28" fmla="*/ 0 w 126"/>
                <a:gd name="T29" fmla="*/ 38 h 66"/>
                <a:gd name="T30" fmla="*/ 1 w 126"/>
                <a:gd name="T31" fmla="*/ 39 h 66"/>
                <a:gd name="T32" fmla="*/ 5 w 126"/>
                <a:gd name="T33" fmla="*/ 40 h 66"/>
                <a:gd name="T34" fmla="*/ 18 w 126"/>
                <a:gd name="T35" fmla="*/ 46 h 66"/>
                <a:gd name="T36" fmla="*/ 65 w 126"/>
                <a:gd name="T37" fmla="*/ 65 h 66"/>
                <a:gd name="T38" fmla="*/ 65 w 126"/>
                <a:gd name="T39" fmla="*/ 65 h 66"/>
                <a:gd name="T40" fmla="*/ 117 w 126"/>
                <a:gd name="T41" fmla="*/ 52 h 66"/>
                <a:gd name="T42" fmla="*/ 125 w 126"/>
                <a:gd name="T43" fmla="*/ 49 h 66"/>
                <a:gd name="T44" fmla="*/ 125 w 126"/>
                <a:gd name="T45" fmla="*/ 50 h 66"/>
                <a:gd name="T46" fmla="*/ 64 w 126"/>
                <a:gd name="T47" fmla="*/ 0 h 66"/>
                <a:gd name="T48" fmla="*/ 64 w 126"/>
                <a:gd name="T49" fmla="*/ 0 h 66"/>
                <a:gd name="T50" fmla="*/ 64 w 126"/>
                <a:gd name="T5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66">
                  <a:moveTo>
                    <a:pt x="64" y="0"/>
                  </a:moveTo>
                  <a:cubicBezTo>
                    <a:pt x="64" y="0"/>
                    <a:pt x="64" y="0"/>
                    <a:pt x="64" y="0"/>
                  </a:cubicBezTo>
                  <a:cubicBezTo>
                    <a:pt x="80" y="13"/>
                    <a:pt x="101" y="30"/>
                    <a:pt x="125" y="50"/>
                  </a:cubicBezTo>
                  <a:cubicBezTo>
                    <a:pt x="126" y="50"/>
                    <a:pt x="126" y="50"/>
                    <a:pt x="126" y="50"/>
                  </a:cubicBezTo>
                  <a:cubicBezTo>
                    <a:pt x="125" y="50"/>
                    <a:pt x="125" y="50"/>
                    <a:pt x="125" y="50"/>
                  </a:cubicBezTo>
                  <a:cubicBezTo>
                    <a:pt x="123" y="51"/>
                    <a:pt x="120" y="52"/>
                    <a:pt x="117" y="52"/>
                  </a:cubicBezTo>
                  <a:cubicBezTo>
                    <a:pt x="98" y="57"/>
                    <a:pt x="81" y="62"/>
                    <a:pt x="65" y="66"/>
                  </a:cubicBezTo>
                  <a:cubicBezTo>
                    <a:pt x="65" y="66"/>
                    <a:pt x="65" y="66"/>
                    <a:pt x="65" y="66"/>
                  </a:cubicBezTo>
                  <a:cubicBezTo>
                    <a:pt x="65" y="66"/>
                    <a:pt x="65" y="66"/>
                    <a:pt x="65" y="66"/>
                  </a:cubicBezTo>
                  <a:cubicBezTo>
                    <a:pt x="46" y="58"/>
                    <a:pt x="30" y="51"/>
                    <a:pt x="18" y="46"/>
                  </a:cubicBezTo>
                  <a:cubicBezTo>
                    <a:pt x="12" y="44"/>
                    <a:pt x="8" y="42"/>
                    <a:pt x="5" y="40"/>
                  </a:cubicBezTo>
                  <a:cubicBezTo>
                    <a:pt x="3" y="40"/>
                    <a:pt x="2" y="39"/>
                    <a:pt x="1" y="39"/>
                  </a:cubicBezTo>
                  <a:cubicBezTo>
                    <a:pt x="1" y="39"/>
                    <a:pt x="1" y="38"/>
                    <a:pt x="0" y="38"/>
                  </a:cubicBezTo>
                  <a:cubicBezTo>
                    <a:pt x="0" y="38"/>
                    <a:pt x="0" y="38"/>
                    <a:pt x="0" y="38"/>
                  </a:cubicBezTo>
                  <a:cubicBezTo>
                    <a:pt x="0" y="38"/>
                    <a:pt x="0" y="38"/>
                    <a:pt x="0" y="38"/>
                  </a:cubicBezTo>
                  <a:cubicBezTo>
                    <a:pt x="1" y="38"/>
                    <a:pt x="1" y="38"/>
                    <a:pt x="1" y="39"/>
                  </a:cubicBezTo>
                  <a:cubicBezTo>
                    <a:pt x="2" y="39"/>
                    <a:pt x="3" y="39"/>
                    <a:pt x="5" y="40"/>
                  </a:cubicBezTo>
                  <a:cubicBezTo>
                    <a:pt x="8" y="41"/>
                    <a:pt x="13" y="43"/>
                    <a:pt x="18" y="46"/>
                  </a:cubicBezTo>
                  <a:cubicBezTo>
                    <a:pt x="30" y="50"/>
                    <a:pt x="46" y="57"/>
                    <a:pt x="65" y="65"/>
                  </a:cubicBezTo>
                  <a:cubicBezTo>
                    <a:pt x="65" y="65"/>
                    <a:pt x="65" y="65"/>
                    <a:pt x="65" y="65"/>
                  </a:cubicBezTo>
                  <a:cubicBezTo>
                    <a:pt x="81" y="61"/>
                    <a:pt x="98" y="57"/>
                    <a:pt x="117" y="52"/>
                  </a:cubicBezTo>
                  <a:cubicBezTo>
                    <a:pt x="120" y="51"/>
                    <a:pt x="123" y="50"/>
                    <a:pt x="125" y="49"/>
                  </a:cubicBezTo>
                  <a:cubicBezTo>
                    <a:pt x="125" y="50"/>
                    <a:pt x="125" y="50"/>
                    <a:pt x="125" y="50"/>
                  </a:cubicBezTo>
                  <a:cubicBezTo>
                    <a:pt x="101" y="31"/>
                    <a:pt x="80" y="13"/>
                    <a:pt x="64" y="0"/>
                  </a:cubicBezTo>
                  <a:cubicBezTo>
                    <a:pt x="64" y="0"/>
                    <a:pt x="64" y="0"/>
                    <a:pt x="64" y="0"/>
                  </a:cubicBezTo>
                  <a:cubicBezTo>
                    <a:pt x="64" y="0"/>
                    <a:pt x="64" y="0"/>
                    <a:pt x="64"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16">
              <a:extLst>
                <a:ext uri="{FF2B5EF4-FFF2-40B4-BE49-F238E27FC236}">
                  <a16:creationId xmlns:a16="http://schemas.microsoft.com/office/drawing/2014/main" id="{596A0425-AF5E-4AB1-BC0F-98AC3C4DFC67}"/>
                </a:ext>
              </a:extLst>
            </p:cNvPr>
            <p:cNvSpPr>
              <a:spLocks/>
            </p:cNvSpPr>
            <p:nvPr/>
          </p:nvSpPr>
          <p:spPr bwMode="auto">
            <a:xfrm>
              <a:off x="7576495" y="4195258"/>
              <a:ext cx="25138" cy="25138"/>
            </a:xfrm>
            <a:custGeom>
              <a:avLst/>
              <a:gdLst>
                <a:gd name="T0" fmla="*/ 12 w 31"/>
                <a:gd name="T1" fmla="*/ 0 h 31"/>
                <a:gd name="T2" fmla="*/ 19 w 31"/>
                <a:gd name="T3" fmla="*/ 7 h 31"/>
                <a:gd name="T4" fmla="*/ 31 w 31"/>
                <a:gd name="T5" fmla="*/ 5 h 31"/>
                <a:gd name="T6" fmla="*/ 26 w 31"/>
                <a:gd name="T7" fmla="*/ 15 h 31"/>
                <a:gd name="T8" fmla="*/ 31 w 31"/>
                <a:gd name="T9" fmla="*/ 24 h 31"/>
                <a:gd name="T10" fmla="*/ 19 w 31"/>
                <a:gd name="T11" fmla="*/ 24 h 31"/>
                <a:gd name="T12" fmla="*/ 12 w 31"/>
                <a:gd name="T13" fmla="*/ 31 h 31"/>
                <a:gd name="T14" fmla="*/ 12 w 31"/>
                <a:gd name="T15" fmla="*/ 19 h 31"/>
                <a:gd name="T16" fmla="*/ 0 w 31"/>
                <a:gd name="T17" fmla="*/ 17 h 31"/>
                <a:gd name="T18" fmla="*/ 10 w 31"/>
                <a:gd name="T19" fmla="*/ 10 h 31"/>
                <a:gd name="T20" fmla="*/ 12 w 31"/>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1">
                  <a:moveTo>
                    <a:pt x="12" y="0"/>
                  </a:moveTo>
                  <a:lnTo>
                    <a:pt x="19" y="7"/>
                  </a:lnTo>
                  <a:lnTo>
                    <a:pt x="31" y="5"/>
                  </a:lnTo>
                  <a:lnTo>
                    <a:pt x="26" y="15"/>
                  </a:lnTo>
                  <a:lnTo>
                    <a:pt x="31" y="24"/>
                  </a:lnTo>
                  <a:lnTo>
                    <a:pt x="19" y="24"/>
                  </a:lnTo>
                  <a:lnTo>
                    <a:pt x="12" y="31"/>
                  </a:lnTo>
                  <a:lnTo>
                    <a:pt x="12" y="19"/>
                  </a:lnTo>
                  <a:lnTo>
                    <a:pt x="0" y="17"/>
                  </a:lnTo>
                  <a:lnTo>
                    <a:pt x="10" y="10"/>
                  </a:lnTo>
                  <a:lnTo>
                    <a:pt x="12"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17">
              <a:extLst>
                <a:ext uri="{FF2B5EF4-FFF2-40B4-BE49-F238E27FC236}">
                  <a16:creationId xmlns:a16="http://schemas.microsoft.com/office/drawing/2014/main" id="{F2D6D711-B490-4DA0-A28D-99AF74D44C84}"/>
                </a:ext>
              </a:extLst>
            </p:cNvPr>
            <p:cNvSpPr>
              <a:spLocks/>
            </p:cNvSpPr>
            <p:nvPr/>
          </p:nvSpPr>
          <p:spPr bwMode="auto">
            <a:xfrm>
              <a:off x="7467024" y="4231748"/>
              <a:ext cx="17029" cy="17840"/>
            </a:xfrm>
            <a:custGeom>
              <a:avLst/>
              <a:gdLst>
                <a:gd name="T0" fmla="*/ 7 w 21"/>
                <a:gd name="T1" fmla="*/ 0 h 22"/>
                <a:gd name="T2" fmla="*/ 12 w 21"/>
                <a:gd name="T3" fmla="*/ 5 h 22"/>
                <a:gd name="T4" fmla="*/ 19 w 21"/>
                <a:gd name="T5" fmla="*/ 3 h 22"/>
                <a:gd name="T6" fmla="*/ 17 w 21"/>
                <a:gd name="T7" fmla="*/ 10 h 22"/>
                <a:gd name="T8" fmla="*/ 21 w 21"/>
                <a:gd name="T9" fmla="*/ 17 h 22"/>
                <a:gd name="T10" fmla="*/ 14 w 21"/>
                <a:gd name="T11" fmla="*/ 15 h 22"/>
                <a:gd name="T12" fmla="*/ 10 w 21"/>
                <a:gd name="T13" fmla="*/ 22 h 22"/>
                <a:gd name="T14" fmla="*/ 7 w 21"/>
                <a:gd name="T15" fmla="*/ 15 h 22"/>
                <a:gd name="T16" fmla="*/ 0 w 21"/>
                <a:gd name="T17" fmla="*/ 12 h 22"/>
                <a:gd name="T18" fmla="*/ 7 w 21"/>
                <a:gd name="T19" fmla="*/ 8 h 22"/>
                <a:gd name="T20" fmla="*/ 7 w 21"/>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7" y="0"/>
                  </a:moveTo>
                  <a:lnTo>
                    <a:pt x="12" y="5"/>
                  </a:lnTo>
                  <a:lnTo>
                    <a:pt x="19" y="3"/>
                  </a:lnTo>
                  <a:lnTo>
                    <a:pt x="17" y="10"/>
                  </a:lnTo>
                  <a:lnTo>
                    <a:pt x="21" y="17"/>
                  </a:lnTo>
                  <a:lnTo>
                    <a:pt x="14" y="15"/>
                  </a:lnTo>
                  <a:lnTo>
                    <a:pt x="10" y="22"/>
                  </a:lnTo>
                  <a:lnTo>
                    <a:pt x="7" y="15"/>
                  </a:lnTo>
                  <a:lnTo>
                    <a:pt x="0" y="12"/>
                  </a:lnTo>
                  <a:lnTo>
                    <a:pt x="7" y="8"/>
                  </a:lnTo>
                  <a:lnTo>
                    <a:pt x="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18">
              <a:extLst>
                <a:ext uri="{FF2B5EF4-FFF2-40B4-BE49-F238E27FC236}">
                  <a16:creationId xmlns:a16="http://schemas.microsoft.com/office/drawing/2014/main" id="{106E6B27-AE40-49D8-8BA9-0F877D13A7A7}"/>
                </a:ext>
              </a:extLst>
            </p:cNvPr>
            <p:cNvSpPr>
              <a:spLocks/>
            </p:cNvSpPr>
            <p:nvPr/>
          </p:nvSpPr>
          <p:spPr bwMode="auto">
            <a:xfrm>
              <a:off x="7347823" y="4176607"/>
              <a:ext cx="19461" cy="18651"/>
            </a:xfrm>
            <a:custGeom>
              <a:avLst/>
              <a:gdLst>
                <a:gd name="T0" fmla="*/ 0 w 24"/>
                <a:gd name="T1" fmla="*/ 7 h 23"/>
                <a:gd name="T2" fmla="*/ 9 w 24"/>
                <a:gd name="T3" fmla="*/ 7 h 23"/>
                <a:gd name="T4" fmla="*/ 14 w 24"/>
                <a:gd name="T5" fmla="*/ 0 h 23"/>
                <a:gd name="T6" fmla="*/ 17 w 24"/>
                <a:gd name="T7" fmla="*/ 9 h 23"/>
                <a:gd name="T8" fmla="*/ 24 w 24"/>
                <a:gd name="T9" fmla="*/ 11 h 23"/>
                <a:gd name="T10" fmla="*/ 17 w 24"/>
                <a:gd name="T11" fmla="*/ 16 h 23"/>
                <a:gd name="T12" fmla="*/ 17 w 24"/>
                <a:gd name="T13" fmla="*/ 23 h 23"/>
                <a:gd name="T14" fmla="*/ 9 w 24"/>
                <a:gd name="T15" fmla="*/ 19 h 23"/>
                <a:gd name="T16" fmla="*/ 2 w 24"/>
                <a:gd name="T17" fmla="*/ 21 h 23"/>
                <a:gd name="T18" fmla="*/ 5 w 24"/>
                <a:gd name="T19" fmla="*/ 14 h 23"/>
                <a:gd name="T20" fmla="*/ 0 w 24"/>
                <a:gd name="T21"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3">
                  <a:moveTo>
                    <a:pt x="0" y="7"/>
                  </a:moveTo>
                  <a:lnTo>
                    <a:pt x="9" y="7"/>
                  </a:lnTo>
                  <a:lnTo>
                    <a:pt x="14" y="0"/>
                  </a:lnTo>
                  <a:lnTo>
                    <a:pt x="17" y="9"/>
                  </a:lnTo>
                  <a:lnTo>
                    <a:pt x="24" y="11"/>
                  </a:lnTo>
                  <a:lnTo>
                    <a:pt x="17" y="16"/>
                  </a:lnTo>
                  <a:lnTo>
                    <a:pt x="17" y="23"/>
                  </a:lnTo>
                  <a:lnTo>
                    <a:pt x="9" y="19"/>
                  </a:lnTo>
                  <a:lnTo>
                    <a:pt x="2" y="21"/>
                  </a:lnTo>
                  <a:lnTo>
                    <a:pt x="5" y="14"/>
                  </a:lnTo>
                  <a:lnTo>
                    <a:pt x="0"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19">
              <a:extLst>
                <a:ext uri="{FF2B5EF4-FFF2-40B4-BE49-F238E27FC236}">
                  <a16:creationId xmlns:a16="http://schemas.microsoft.com/office/drawing/2014/main" id="{C63DBE6D-073E-478D-BB50-DAFD70FED4FF}"/>
                </a:ext>
              </a:extLst>
            </p:cNvPr>
            <p:cNvSpPr>
              <a:spLocks/>
            </p:cNvSpPr>
            <p:nvPr/>
          </p:nvSpPr>
          <p:spPr bwMode="auto">
            <a:xfrm>
              <a:off x="7638123" y="4110925"/>
              <a:ext cx="21083" cy="21083"/>
            </a:xfrm>
            <a:custGeom>
              <a:avLst/>
              <a:gdLst>
                <a:gd name="T0" fmla="*/ 0 w 26"/>
                <a:gd name="T1" fmla="*/ 7 h 26"/>
                <a:gd name="T2" fmla="*/ 10 w 26"/>
                <a:gd name="T3" fmla="*/ 7 h 26"/>
                <a:gd name="T4" fmla="*/ 15 w 26"/>
                <a:gd name="T5" fmla="*/ 0 h 26"/>
                <a:gd name="T6" fmla="*/ 17 w 26"/>
                <a:gd name="T7" fmla="*/ 9 h 26"/>
                <a:gd name="T8" fmla="*/ 26 w 26"/>
                <a:gd name="T9" fmla="*/ 12 h 26"/>
                <a:gd name="T10" fmla="*/ 19 w 26"/>
                <a:gd name="T11" fmla="*/ 16 h 26"/>
                <a:gd name="T12" fmla="*/ 17 w 26"/>
                <a:gd name="T13" fmla="*/ 26 h 26"/>
                <a:gd name="T14" fmla="*/ 12 w 26"/>
                <a:gd name="T15" fmla="*/ 19 h 26"/>
                <a:gd name="T16" fmla="*/ 3 w 26"/>
                <a:gd name="T17" fmla="*/ 21 h 26"/>
                <a:gd name="T18" fmla="*/ 5 w 26"/>
                <a:gd name="T19" fmla="*/ 14 h 26"/>
                <a:gd name="T20" fmla="*/ 0 w 26"/>
                <a:gd name="T2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7"/>
                  </a:moveTo>
                  <a:lnTo>
                    <a:pt x="10" y="7"/>
                  </a:lnTo>
                  <a:lnTo>
                    <a:pt x="15" y="0"/>
                  </a:lnTo>
                  <a:lnTo>
                    <a:pt x="17" y="9"/>
                  </a:lnTo>
                  <a:lnTo>
                    <a:pt x="26" y="12"/>
                  </a:lnTo>
                  <a:lnTo>
                    <a:pt x="19" y="16"/>
                  </a:lnTo>
                  <a:lnTo>
                    <a:pt x="17" y="26"/>
                  </a:lnTo>
                  <a:lnTo>
                    <a:pt x="12" y="19"/>
                  </a:lnTo>
                  <a:lnTo>
                    <a:pt x="3" y="21"/>
                  </a:lnTo>
                  <a:lnTo>
                    <a:pt x="5" y="14"/>
                  </a:lnTo>
                  <a:lnTo>
                    <a:pt x="0" y="7"/>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20">
              <a:extLst>
                <a:ext uri="{FF2B5EF4-FFF2-40B4-BE49-F238E27FC236}">
                  <a16:creationId xmlns:a16="http://schemas.microsoft.com/office/drawing/2014/main" id="{13E90B41-1EAF-405C-8DE3-3D4CE624AB0D}"/>
                </a:ext>
              </a:extLst>
            </p:cNvPr>
            <p:cNvSpPr>
              <a:spLocks/>
            </p:cNvSpPr>
            <p:nvPr/>
          </p:nvSpPr>
          <p:spPr bwMode="auto">
            <a:xfrm>
              <a:off x="7472701" y="4108492"/>
              <a:ext cx="13785" cy="13785"/>
            </a:xfrm>
            <a:custGeom>
              <a:avLst/>
              <a:gdLst>
                <a:gd name="T0" fmla="*/ 0 w 17"/>
                <a:gd name="T1" fmla="*/ 5 h 17"/>
                <a:gd name="T2" fmla="*/ 5 w 17"/>
                <a:gd name="T3" fmla="*/ 5 h 17"/>
                <a:gd name="T4" fmla="*/ 10 w 17"/>
                <a:gd name="T5" fmla="*/ 0 h 17"/>
                <a:gd name="T6" fmla="*/ 10 w 17"/>
                <a:gd name="T7" fmla="*/ 5 h 17"/>
                <a:gd name="T8" fmla="*/ 17 w 17"/>
                <a:gd name="T9" fmla="*/ 8 h 17"/>
                <a:gd name="T10" fmla="*/ 12 w 17"/>
                <a:gd name="T11" fmla="*/ 10 h 17"/>
                <a:gd name="T12" fmla="*/ 12 w 17"/>
                <a:gd name="T13" fmla="*/ 17 h 17"/>
                <a:gd name="T14" fmla="*/ 7 w 17"/>
                <a:gd name="T15" fmla="*/ 12 h 17"/>
                <a:gd name="T16" fmla="*/ 3 w 17"/>
                <a:gd name="T17" fmla="*/ 15 h 17"/>
                <a:gd name="T18" fmla="*/ 3 w 17"/>
                <a:gd name="T19" fmla="*/ 8 h 17"/>
                <a:gd name="T20" fmla="*/ 0 w 17"/>
                <a:gd name="T21"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7">
                  <a:moveTo>
                    <a:pt x="0" y="5"/>
                  </a:moveTo>
                  <a:lnTo>
                    <a:pt x="5" y="5"/>
                  </a:lnTo>
                  <a:lnTo>
                    <a:pt x="10" y="0"/>
                  </a:lnTo>
                  <a:lnTo>
                    <a:pt x="10" y="5"/>
                  </a:lnTo>
                  <a:lnTo>
                    <a:pt x="17" y="8"/>
                  </a:lnTo>
                  <a:lnTo>
                    <a:pt x="12" y="10"/>
                  </a:lnTo>
                  <a:lnTo>
                    <a:pt x="12" y="17"/>
                  </a:lnTo>
                  <a:lnTo>
                    <a:pt x="7" y="12"/>
                  </a:lnTo>
                  <a:lnTo>
                    <a:pt x="3" y="15"/>
                  </a:lnTo>
                  <a:lnTo>
                    <a:pt x="3" y="8"/>
                  </a:lnTo>
                  <a:lnTo>
                    <a:pt x="0" y="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21">
              <a:extLst>
                <a:ext uri="{FF2B5EF4-FFF2-40B4-BE49-F238E27FC236}">
                  <a16:creationId xmlns:a16="http://schemas.microsoft.com/office/drawing/2014/main" id="{730BA990-720E-4B90-AD6A-0B22E7A494E2}"/>
                </a:ext>
              </a:extLst>
            </p:cNvPr>
            <p:cNvSpPr>
              <a:spLocks/>
            </p:cNvSpPr>
            <p:nvPr/>
          </p:nvSpPr>
          <p:spPr bwMode="auto">
            <a:xfrm>
              <a:off x="7478377" y="4112547"/>
              <a:ext cx="171909" cy="9731"/>
            </a:xfrm>
            <a:custGeom>
              <a:avLst/>
              <a:gdLst>
                <a:gd name="T0" fmla="*/ 89 w 89"/>
                <a:gd name="T1" fmla="*/ 5 h 5"/>
                <a:gd name="T2" fmla="*/ 44 w 89"/>
                <a:gd name="T3" fmla="*/ 3 h 5"/>
                <a:gd name="T4" fmla="*/ 0 w 89"/>
                <a:gd name="T5" fmla="*/ 1 h 5"/>
                <a:gd name="T6" fmla="*/ 44 w 89"/>
                <a:gd name="T7" fmla="*/ 2 h 5"/>
                <a:gd name="T8" fmla="*/ 89 w 89"/>
                <a:gd name="T9" fmla="*/ 5 h 5"/>
              </a:gdLst>
              <a:ahLst/>
              <a:cxnLst>
                <a:cxn ang="0">
                  <a:pos x="T0" y="T1"/>
                </a:cxn>
                <a:cxn ang="0">
                  <a:pos x="T2" y="T3"/>
                </a:cxn>
                <a:cxn ang="0">
                  <a:pos x="T4" y="T5"/>
                </a:cxn>
                <a:cxn ang="0">
                  <a:pos x="T6" y="T7"/>
                </a:cxn>
                <a:cxn ang="0">
                  <a:pos x="T8" y="T9"/>
                </a:cxn>
              </a:cxnLst>
              <a:rect l="0" t="0" r="r" b="b"/>
              <a:pathLst>
                <a:path w="89" h="5">
                  <a:moveTo>
                    <a:pt x="89" y="5"/>
                  </a:moveTo>
                  <a:cubicBezTo>
                    <a:pt x="89" y="5"/>
                    <a:pt x="69" y="4"/>
                    <a:pt x="44" y="3"/>
                  </a:cubicBezTo>
                  <a:cubicBezTo>
                    <a:pt x="20" y="2"/>
                    <a:pt x="0" y="1"/>
                    <a:pt x="0" y="1"/>
                  </a:cubicBezTo>
                  <a:cubicBezTo>
                    <a:pt x="0" y="0"/>
                    <a:pt x="20" y="1"/>
                    <a:pt x="44" y="2"/>
                  </a:cubicBezTo>
                  <a:cubicBezTo>
                    <a:pt x="69" y="3"/>
                    <a:pt x="89" y="4"/>
                    <a:pt x="89" y="5"/>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22">
              <a:extLst>
                <a:ext uri="{FF2B5EF4-FFF2-40B4-BE49-F238E27FC236}">
                  <a16:creationId xmlns:a16="http://schemas.microsoft.com/office/drawing/2014/main" id="{E369AC4F-C164-4143-B1B5-C5ED6B1F175B}"/>
                </a:ext>
              </a:extLst>
            </p:cNvPr>
            <p:cNvSpPr>
              <a:spLocks/>
            </p:cNvSpPr>
            <p:nvPr/>
          </p:nvSpPr>
          <p:spPr bwMode="auto">
            <a:xfrm>
              <a:off x="6539362" y="3987669"/>
              <a:ext cx="1168498" cy="94064"/>
            </a:xfrm>
            <a:custGeom>
              <a:avLst/>
              <a:gdLst>
                <a:gd name="T0" fmla="*/ 599 w 607"/>
                <a:gd name="T1" fmla="*/ 49 h 49"/>
                <a:gd name="T2" fmla="*/ 10 w 607"/>
                <a:gd name="T3" fmla="*/ 49 h 49"/>
                <a:gd name="T4" fmla="*/ 10 w 607"/>
                <a:gd name="T5" fmla="*/ 0 h 49"/>
                <a:gd name="T6" fmla="*/ 599 w 607"/>
                <a:gd name="T7" fmla="*/ 0 h 49"/>
                <a:gd name="T8" fmla="*/ 599 w 607"/>
                <a:gd name="T9" fmla="*/ 49 h 49"/>
              </a:gdLst>
              <a:ahLst/>
              <a:cxnLst>
                <a:cxn ang="0">
                  <a:pos x="T0" y="T1"/>
                </a:cxn>
                <a:cxn ang="0">
                  <a:pos x="T2" y="T3"/>
                </a:cxn>
                <a:cxn ang="0">
                  <a:pos x="T4" y="T5"/>
                </a:cxn>
                <a:cxn ang="0">
                  <a:pos x="T6" y="T7"/>
                </a:cxn>
                <a:cxn ang="0">
                  <a:pos x="T8" y="T9"/>
                </a:cxn>
              </a:cxnLst>
              <a:rect l="0" t="0" r="r" b="b"/>
              <a:pathLst>
                <a:path w="607" h="49">
                  <a:moveTo>
                    <a:pt x="599" y="49"/>
                  </a:moveTo>
                  <a:cubicBezTo>
                    <a:pt x="10" y="49"/>
                    <a:pt x="10" y="49"/>
                    <a:pt x="10" y="49"/>
                  </a:cubicBezTo>
                  <a:cubicBezTo>
                    <a:pt x="2" y="32"/>
                    <a:pt x="0" y="15"/>
                    <a:pt x="10" y="0"/>
                  </a:cubicBezTo>
                  <a:cubicBezTo>
                    <a:pt x="599" y="0"/>
                    <a:pt x="599" y="0"/>
                    <a:pt x="599" y="0"/>
                  </a:cubicBezTo>
                  <a:cubicBezTo>
                    <a:pt x="607" y="18"/>
                    <a:pt x="606" y="34"/>
                    <a:pt x="599" y="49"/>
                  </a:cubicBezTo>
                  <a:close/>
                </a:path>
              </a:pathLst>
            </a:custGeom>
            <a:solidFill>
              <a:srgbClr val="45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23">
              <a:extLst>
                <a:ext uri="{FF2B5EF4-FFF2-40B4-BE49-F238E27FC236}">
                  <a16:creationId xmlns:a16="http://schemas.microsoft.com/office/drawing/2014/main" id="{03208BE1-D33C-4AC5-B847-693B30CAF3FD}"/>
                </a:ext>
              </a:extLst>
            </p:cNvPr>
            <p:cNvSpPr>
              <a:spLocks noChangeArrowheads="1"/>
            </p:cNvSpPr>
            <p:nvPr/>
          </p:nvSpPr>
          <p:spPr bwMode="auto">
            <a:xfrm>
              <a:off x="6793171" y="4014428"/>
              <a:ext cx="614658" cy="34868"/>
            </a:xfrm>
            <a:prstGeom prst="rect">
              <a:avLst/>
            </a:prstGeom>
            <a:solidFill>
              <a:srgbClr val="EBEB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24">
              <a:extLst>
                <a:ext uri="{FF2B5EF4-FFF2-40B4-BE49-F238E27FC236}">
                  <a16:creationId xmlns:a16="http://schemas.microsoft.com/office/drawing/2014/main" id="{4D0A9672-9A29-40E3-B8CB-34CFCDDD553B}"/>
                </a:ext>
              </a:extLst>
            </p:cNvPr>
            <p:cNvSpPr>
              <a:spLocks/>
            </p:cNvSpPr>
            <p:nvPr/>
          </p:nvSpPr>
          <p:spPr bwMode="auto">
            <a:xfrm>
              <a:off x="6581528" y="3989291"/>
              <a:ext cx="19461" cy="92442"/>
            </a:xfrm>
            <a:custGeom>
              <a:avLst/>
              <a:gdLst>
                <a:gd name="T0" fmla="*/ 10 w 10"/>
                <a:gd name="T1" fmla="*/ 48 h 48"/>
                <a:gd name="T2" fmla="*/ 6 w 10"/>
                <a:gd name="T3" fmla="*/ 42 h 48"/>
                <a:gd name="T4" fmla="*/ 0 w 10"/>
                <a:gd name="T5" fmla="*/ 25 h 48"/>
                <a:gd name="T6" fmla="*/ 2 w 10"/>
                <a:gd name="T7" fmla="*/ 7 h 48"/>
                <a:gd name="T8" fmla="*/ 6 w 10"/>
                <a:gd name="T9" fmla="*/ 0 h 48"/>
                <a:gd name="T10" fmla="*/ 4 w 10"/>
                <a:gd name="T11" fmla="*/ 7 h 48"/>
                <a:gd name="T12" fmla="*/ 2 w 10"/>
                <a:gd name="T13" fmla="*/ 25 h 48"/>
                <a:gd name="T14" fmla="*/ 7 w 10"/>
                <a:gd name="T15" fmla="*/ 42 h 48"/>
                <a:gd name="T16" fmla="*/ 10 w 10"/>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8">
                  <a:moveTo>
                    <a:pt x="10" y="48"/>
                  </a:moveTo>
                  <a:cubicBezTo>
                    <a:pt x="10" y="48"/>
                    <a:pt x="8" y="46"/>
                    <a:pt x="6" y="42"/>
                  </a:cubicBezTo>
                  <a:cubicBezTo>
                    <a:pt x="3" y="38"/>
                    <a:pt x="1" y="32"/>
                    <a:pt x="0" y="25"/>
                  </a:cubicBezTo>
                  <a:cubicBezTo>
                    <a:pt x="0" y="18"/>
                    <a:pt x="1" y="11"/>
                    <a:pt x="2" y="7"/>
                  </a:cubicBezTo>
                  <a:cubicBezTo>
                    <a:pt x="4" y="2"/>
                    <a:pt x="6" y="0"/>
                    <a:pt x="6" y="0"/>
                  </a:cubicBezTo>
                  <a:cubicBezTo>
                    <a:pt x="6" y="0"/>
                    <a:pt x="5" y="3"/>
                    <a:pt x="4" y="7"/>
                  </a:cubicBezTo>
                  <a:cubicBezTo>
                    <a:pt x="3" y="12"/>
                    <a:pt x="2" y="18"/>
                    <a:pt x="2" y="25"/>
                  </a:cubicBezTo>
                  <a:cubicBezTo>
                    <a:pt x="3" y="32"/>
                    <a:pt x="5" y="38"/>
                    <a:pt x="7" y="42"/>
                  </a:cubicBezTo>
                  <a:cubicBezTo>
                    <a:pt x="9" y="46"/>
                    <a:pt x="10" y="48"/>
                    <a:pt x="10"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25">
              <a:extLst>
                <a:ext uri="{FF2B5EF4-FFF2-40B4-BE49-F238E27FC236}">
                  <a16:creationId xmlns:a16="http://schemas.microsoft.com/office/drawing/2014/main" id="{3AAF8293-78D5-4C39-A78C-51B64D0208A5}"/>
                </a:ext>
              </a:extLst>
            </p:cNvPr>
            <p:cNvSpPr>
              <a:spLocks/>
            </p:cNvSpPr>
            <p:nvPr/>
          </p:nvSpPr>
          <p:spPr bwMode="auto">
            <a:xfrm>
              <a:off x="6605044" y="3989291"/>
              <a:ext cx="21083" cy="92442"/>
            </a:xfrm>
            <a:custGeom>
              <a:avLst/>
              <a:gdLst>
                <a:gd name="T0" fmla="*/ 11 w 11"/>
                <a:gd name="T1" fmla="*/ 48 h 48"/>
                <a:gd name="T2" fmla="*/ 6 w 11"/>
                <a:gd name="T3" fmla="*/ 42 h 48"/>
                <a:gd name="T4" fmla="*/ 1 w 11"/>
                <a:gd name="T5" fmla="*/ 25 h 48"/>
                <a:gd name="T6" fmla="*/ 3 w 11"/>
                <a:gd name="T7" fmla="*/ 7 h 48"/>
                <a:gd name="T8" fmla="*/ 7 w 11"/>
                <a:gd name="T9" fmla="*/ 0 h 48"/>
                <a:gd name="T10" fmla="*/ 5 w 11"/>
                <a:gd name="T11" fmla="*/ 7 h 48"/>
                <a:gd name="T12" fmla="*/ 3 w 11"/>
                <a:gd name="T13" fmla="*/ 25 h 48"/>
                <a:gd name="T14" fmla="*/ 8 w 11"/>
                <a:gd name="T15" fmla="*/ 42 h 48"/>
                <a:gd name="T16" fmla="*/ 11 w 11"/>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8">
                  <a:moveTo>
                    <a:pt x="11" y="48"/>
                  </a:moveTo>
                  <a:cubicBezTo>
                    <a:pt x="11" y="48"/>
                    <a:pt x="9" y="46"/>
                    <a:pt x="6" y="42"/>
                  </a:cubicBezTo>
                  <a:cubicBezTo>
                    <a:pt x="4" y="38"/>
                    <a:pt x="2" y="32"/>
                    <a:pt x="1" y="25"/>
                  </a:cubicBezTo>
                  <a:cubicBezTo>
                    <a:pt x="0" y="18"/>
                    <a:pt x="2" y="11"/>
                    <a:pt x="3" y="7"/>
                  </a:cubicBezTo>
                  <a:cubicBezTo>
                    <a:pt x="5" y="2"/>
                    <a:pt x="7" y="0"/>
                    <a:pt x="7" y="0"/>
                  </a:cubicBezTo>
                  <a:cubicBezTo>
                    <a:pt x="7" y="0"/>
                    <a:pt x="6" y="3"/>
                    <a:pt x="5" y="7"/>
                  </a:cubicBezTo>
                  <a:cubicBezTo>
                    <a:pt x="3" y="12"/>
                    <a:pt x="2" y="18"/>
                    <a:pt x="3" y="25"/>
                  </a:cubicBezTo>
                  <a:cubicBezTo>
                    <a:pt x="4" y="32"/>
                    <a:pt x="6" y="38"/>
                    <a:pt x="8" y="42"/>
                  </a:cubicBezTo>
                  <a:cubicBezTo>
                    <a:pt x="10" y="46"/>
                    <a:pt x="11" y="48"/>
                    <a:pt x="1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6">
              <a:extLst>
                <a:ext uri="{FF2B5EF4-FFF2-40B4-BE49-F238E27FC236}">
                  <a16:creationId xmlns:a16="http://schemas.microsoft.com/office/drawing/2014/main" id="{E7DDFF77-041C-4D86-B00B-130EDD157B4E}"/>
                </a:ext>
              </a:extLst>
            </p:cNvPr>
            <p:cNvSpPr>
              <a:spLocks/>
            </p:cNvSpPr>
            <p:nvPr/>
          </p:nvSpPr>
          <p:spPr bwMode="auto">
            <a:xfrm>
              <a:off x="7643799" y="3987669"/>
              <a:ext cx="13785" cy="92442"/>
            </a:xfrm>
            <a:custGeom>
              <a:avLst/>
              <a:gdLst>
                <a:gd name="T0" fmla="*/ 1 w 7"/>
                <a:gd name="T1" fmla="*/ 48 h 48"/>
                <a:gd name="T2" fmla="*/ 5 w 7"/>
                <a:gd name="T3" fmla="*/ 24 h 48"/>
                <a:gd name="T4" fmla="*/ 1 w 7"/>
                <a:gd name="T5" fmla="*/ 0 h 48"/>
                <a:gd name="T6" fmla="*/ 7 w 7"/>
                <a:gd name="T7" fmla="*/ 24 h 48"/>
                <a:gd name="T8" fmla="*/ 1 w 7"/>
                <a:gd name="T9" fmla="*/ 48 h 48"/>
              </a:gdLst>
              <a:ahLst/>
              <a:cxnLst>
                <a:cxn ang="0">
                  <a:pos x="T0" y="T1"/>
                </a:cxn>
                <a:cxn ang="0">
                  <a:pos x="T2" y="T3"/>
                </a:cxn>
                <a:cxn ang="0">
                  <a:pos x="T4" y="T5"/>
                </a:cxn>
                <a:cxn ang="0">
                  <a:pos x="T6" y="T7"/>
                </a:cxn>
                <a:cxn ang="0">
                  <a:pos x="T8" y="T9"/>
                </a:cxn>
              </a:cxnLst>
              <a:rect l="0" t="0" r="r" b="b"/>
              <a:pathLst>
                <a:path w="7" h="48">
                  <a:moveTo>
                    <a:pt x="1" y="48"/>
                  </a:moveTo>
                  <a:cubicBezTo>
                    <a:pt x="0" y="48"/>
                    <a:pt x="5" y="38"/>
                    <a:pt x="5" y="24"/>
                  </a:cubicBezTo>
                  <a:cubicBezTo>
                    <a:pt x="5" y="11"/>
                    <a:pt x="1" y="0"/>
                    <a:pt x="1" y="0"/>
                  </a:cubicBezTo>
                  <a:cubicBezTo>
                    <a:pt x="2" y="0"/>
                    <a:pt x="7" y="10"/>
                    <a:pt x="7" y="24"/>
                  </a:cubicBezTo>
                  <a:cubicBezTo>
                    <a:pt x="7" y="38"/>
                    <a:pt x="1" y="48"/>
                    <a:pt x="1" y="48"/>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27">
              <a:extLst>
                <a:ext uri="{FF2B5EF4-FFF2-40B4-BE49-F238E27FC236}">
                  <a16:creationId xmlns:a16="http://schemas.microsoft.com/office/drawing/2014/main" id="{A1A12349-D7A2-44F0-BB54-A7F573BDBEA5}"/>
                </a:ext>
              </a:extLst>
            </p:cNvPr>
            <p:cNvSpPr>
              <a:spLocks/>
            </p:cNvSpPr>
            <p:nvPr/>
          </p:nvSpPr>
          <p:spPr bwMode="auto">
            <a:xfrm>
              <a:off x="7622716" y="3989291"/>
              <a:ext cx="9731" cy="90820"/>
            </a:xfrm>
            <a:custGeom>
              <a:avLst/>
              <a:gdLst>
                <a:gd name="T0" fmla="*/ 1 w 5"/>
                <a:gd name="T1" fmla="*/ 47 h 47"/>
                <a:gd name="T2" fmla="*/ 3 w 5"/>
                <a:gd name="T3" fmla="*/ 24 h 47"/>
                <a:gd name="T4" fmla="*/ 1 w 5"/>
                <a:gd name="T5" fmla="*/ 0 h 47"/>
                <a:gd name="T6" fmla="*/ 5 w 5"/>
                <a:gd name="T7" fmla="*/ 24 h 47"/>
                <a:gd name="T8" fmla="*/ 1 w 5"/>
                <a:gd name="T9" fmla="*/ 47 h 47"/>
              </a:gdLst>
              <a:ahLst/>
              <a:cxnLst>
                <a:cxn ang="0">
                  <a:pos x="T0" y="T1"/>
                </a:cxn>
                <a:cxn ang="0">
                  <a:pos x="T2" y="T3"/>
                </a:cxn>
                <a:cxn ang="0">
                  <a:pos x="T4" y="T5"/>
                </a:cxn>
                <a:cxn ang="0">
                  <a:pos x="T6" y="T7"/>
                </a:cxn>
                <a:cxn ang="0">
                  <a:pos x="T8" y="T9"/>
                </a:cxn>
              </a:cxnLst>
              <a:rect l="0" t="0" r="r" b="b"/>
              <a:pathLst>
                <a:path w="5" h="47">
                  <a:moveTo>
                    <a:pt x="1" y="47"/>
                  </a:moveTo>
                  <a:cubicBezTo>
                    <a:pt x="0" y="47"/>
                    <a:pt x="3" y="37"/>
                    <a:pt x="3" y="24"/>
                  </a:cubicBezTo>
                  <a:cubicBezTo>
                    <a:pt x="3" y="11"/>
                    <a:pt x="0" y="0"/>
                    <a:pt x="1" y="0"/>
                  </a:cubicBezTo>
                  <a:cubicBezTo>
                    <a:pt x="1" y="0"/>
                    <a:pt x="5" y="10"/>
                    <a:pt x="5" y="24"/>
                  </a:cubicBezTo>
                  <a:cubicBezTo>
                    <a:pt x="5" y="37"/>
                    <a:pt x="1" y="47"/>
                    <a:pt x="1" y="47"/>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7" name="Group 336">
            <a:extLst>
              <a:ext uri="{FF2B5EF4-FFF2-40B4-BE49-F238E27FC236}">
                <a16:creationId xmlns:a16="http://schemas.microsoft.com/office/drawing/2014/main" id="{1FCCF48E-100F-4386-A795-39CCDA3C7AFB}"/>
              </a:ext>
            </a:extLst>
          </p:cNvPr>
          <p:cNvGrpSpPr/>
          <p:nvPr/>
        </p:nvGrpSpPr>
        <p:grpSpPr>
          <a:xfrm>
            <a:off x="838416" y="2486276"/>
            <a:ext cx="643132" cy="579252"/>
            <a:chOff x="5035809" y="4247797"/>
            <a:chExt cx="394930" cy="355704"/>
          </a:xfrm>
        </p:grpSpPr>
        <p:sp>
          <p:nvSpPr>
            <p:cNvPr id="338" name="Oval 337">
              <a:extLst>
                <a:ext uri="{FF2B5EF4-FFF2-40B4-BE49-F238E27FC236}">
                  <a16:creationId xmlns:a16="http://schemas.microsoft.com/office/drawing/2014/main" id="{D5BFA327-3562-49A2-AE7B-1410EB45EBA3}"/>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39" name="Oval 338">
              <a:extLst>
                <a:ext uri="{FF2B5EF4-FFF2-40B4-BE49-F238E27FC236}">
                  <a16:creationId xmlns:a16="http://schemas.microsoft.com/office/drawing/2014/main" id="{9B98D78E-3896-4CB2-AE42-BB5BD0793A27}"/>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400" i="1" dirty="0">
                <a:solidFill>
                  <a:srgbClr val="0075B0"/>
                </a:solidFill>
              </a:endParaRPr>
            </a:p>
          </p:txBody>
        </p:sp>
      </p:grpSp>
      <p:sp>
        <p:nvSpPr>
          <p:cNvPr id="340" name="TextBox 339">
            <a:extLst>
              <a:ext uri="{FF2B5EF4-FFF2-40B4-BE49-F238E27FC236}">
                <a16:creationId xmlns:a16="http://schemas.microsoft.com/office/drawing/2014/main" id="{3FB6994B-8A3F-458A-9B05-10CB4A048D20}"/>
              </a:ext>
            </a:extLst>
          </p:cNvPr>
          <p:cNvSpPr txBox="1"/>
          <p:nvPr/>
        </p:nvSpPr>
        <p:spPr>
          <a:xfrm>
            <a:off x="1758812" y="2371113"/>
            <a:ext cx="3873893" cy="790312"/>
          </a:xfrm>
          <a:prstGeom prst="rect">
            <a:avLst/>
          </a:prstGeom>
          <a:noFill/>
        </p:spPr>
        <p:txBody>
          <a:bodyPr wrap="square" lIns="0" tIns="0" rIns="0" bIns="0" rtlCol="0" anchor="ctr" anchorCtr="0">
            <a:noAutofit/>
          </a:bodyPr>
          <a:lstStyle/>
          <a:p>
            <a:r>
              <a:rPr lang="en-ID" sz="2400" b="1" dirty="0">
                <a:solidFill>
                  <a:schemeClr val="tx1">
                    <a:lumMod val="85000"/>
                    <a:lumOff val="15000"/>
                  </a:schemeClr>
                </a:solidFill>
              </a:rPr>
              <a:t>Lorem ipsum </a:t>
            </a:r>
            <a:r>
              <a:rPr lang="en-ID" sz="2400" b="1" dirty="0" err="1">
                <a:solidFill>
                  <a:schemeClr val="tx1">
                    <a:lumMod val="85000"/>
                    <a:lumOff val="15000"/>
                  </a:schemeClr>
                </a:solidFill>
              </a:rPr>
              <a:t>dolor</a:t>
            </a:r>
            <a:r>
              <a:rPr lang="en-ID" sz="2400" b="1" dirty="0">
                <a:solidFill>
                  <a:schemeClr val="tx1">
                    <a:lumMod val="85000"/>
                    <a:lumOff val="15000"/>
                  </a:schemeClr>
                </a:solidFill>
              </a:rPr>
              <a:t> sit </a:t>
            </a:r>
            <a:r>
              <a:rPr lang="en-ID" sz="2400" b="1" dirty="0" err="1">
                <a:solidFill>
                  <a:schemeClr val="tx1">
                    <a:lumMod val="85000"/>
                    <a:lumOff val="15000"/>
                  </a:schemeClr>
                </a:solidFill>
              </a:rPr>
              <a:t>amet</a:t>
            </a:r>
            <a:endParaRPr lang="en-ID" sz="2400" b="1" dirty="0">
              <a:solidFill>
                <a:schemeClr val="tx1">
                  <a:lumMod val="85000"/>
                  <a:lumOff val="15000"/>
                </a:schemeClr>
              </a:solidFill>
            </a:endParaRPr>
          </a:p>
        </p:txBody>
      </p:sp>
      <p:grpSp>
        <p:nvGrpSpPr>
          <p:cNvPr id="341" name="Group 340">
            <a:extLst>
              <a:ext uri="{FF2B5EF4-FFF2-40B4-BE49-F238E27FC236}">
                <a16:creationId xmlns:a16="http://schemas.microsoft.com/office/drawing/2014/main" id="{34E9879D-7514-4595-8A02-B381D12D4229}"/>
              </a:ext>
            </a:extLst>
          </p:cNvPr>
          <p:cNvGrpSpPr/>
          <p:nvPr/>
        </p:nvGrpSpPr>
        <p:grpSpPr>
          <a:xfrm>
            <a:off x="838416" y="3673993"/>
            <a:ext cx="643132" cy="579252"/>
            <a:chOff x="5035809" y="4247797"/>
            <a:chExt cx="394930" cy="355704"/>
          </a:xfrm>
        </p:grpSpPr>
        <p:sp>
          <p:nvSpPr>
            <p:cNvPr id="342" name="Oval 341">
              <a:extLst>
                <a:ext uri="{FF2B5EF4-FFF2-40B4-BE49-F238E27FC236}">
                  <a16:creationId xmlns:a16="http://schemas.microsoft.com/office/drawing/2014/main" id="{546A96BF-3A24-4E55-B7D0-1FBFF62E77DC}"/>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43" name="Oval 342">
              <a:extLst>
                <a:ext uri="{FF2B5EF4-FFF2-40B4-BE49-F238E27FC236}">
                  <a16:creationId xmlns:a16="http://schemas.microsoft.com/office/drawing/2014/main" id="{6AAA37EE-A91F-4196-94DD-D20F84C84D0B}"/>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400" i="1" dirty="0">
                <a:solidFill>
                  <a:srgbClr val="0075B0"/>
                </a:solidFill>
              </a:endParaRPr>
            </a:p>
          </p:txBody>
        </p:sp>
      </p:grpSp>
      <p:sp>
        <p:nvSpPr>
          <p:cNvPr id="344" name="TextBox 343">
            <a:extLst>
              <a:ext uri="{FF2B5EF4-FFF2-40B4-BE49-F238E27FC236}">
                <a16:creationId xmlns:a16="http://schemas.microsoft.com/office/drawing/2014/main" id="{18B3BDC8-DC15-487B-B2AF-31CB7EE5EFDE}"/>
              </a:ext>
            </a:extLst>
          </p:cNvPr>
          <p:cNvSpPr txBox="1"/>
          <p:nvPr/>
        </p:nvSpPr>
        <p:spPr>
          <a:xfrm>
            <a:off x="1758812" y="3530650"/>
            <a:ext cx="3873893" cy="790312"/>
          </a:xfrm>
          <a:prstGeom prst="rect">
            <a:avLst/>
          </a:prstGeom>
          <a:noFill/>
        </p:spPr>
        <p:txBody>
          <a:bodyPr wrap="square" lIns="0" tIns="0" rIns="0" bIns="0" rtlCol="0" anchor="ctr" anchorCtr="0">
            <a:noAutofit/>
          </a:bodyPr>
          <a:lstStyle/>
          <a:p>
            <a:r>
              <a:rPr lang="en-ID" sz="2400" b="1" dirty="0">
                <a:solidFill>
                  <a:schemeClr val="tx1">
                    <a:lumMod val="85000"/>
                    <a:lumOff val="15000"/>
                  </a:schemeClr>
                </a:solidFill>
              </a:rPr>
              <a:t>Lorem ipsum </a:t>
            </a:r>
            <a:r>
              <a:rPr lang="en-ID" sz="2400" b="1" dirty="0" err="1">
                <a:solidFill>
                  <a:schemeClr val="tx1">
                    <a:lumMod val="85000"/>
                    <a:lumOff val="15000"/>
                  </a:schemeClr>
                </a:solidFill>
              </a:rPr>
              <a:t>dolor</a:t>
            </a:r>
            <a:r>
              <a:rPr lang="en-ID" sz="2400" b="1" dirty="0">
                <a:solidFill>
                  <a:schemeClr val="tx1">
                    <a:lumMod val="85000"/>
                    <a:lumOff val="15000"/>
                  </a:schemeClr>
                </a:solidFill>
              </a:rPr>
              <a:t> sit </a:t>
            </a:r>
            <a:r>
              <a:rPr lang="en-ID" sz="2400" b="1" dirty="0" err="1">
                <a:solidFill>
                  <a:schemeClr val="tx1">
                    <a:lumMod val="85000"/>
                    <a:lumOff val="15000"/>
                  </a:schemeClr>
                </a:solidFill>
              </a:rPr>
              <a:t>amet</a:t>
            </a:r>
            <a:endParaRPr lang="en-ID" sz="2400" b="1" dirty="0">
              <a:solidFill>
                <a:schemeClr val="tx1">
                  <a:lumMod val="85000"/>
                  <a:lumOff val="15000"/>
                </a:schemeClr>
              </a:solidFill>
            </a:endParaRPr>
          </a:p>
        </p:txBody>
      </p:sp>
      <p:grpSp>
        <p:nvGrpSpPr>
          <p:cNvPr id="345" name="Group 344">
            <a:extLst>
              <a:ext uri="{FF2B5EF4-FFF2-40B4-BE49-F238E27FC236}">
                <a16:creationId xmlns:a16="http://schemas.microsoft.com/office/drawing/2014/main" id="{C5963BFA-00F8-4AF6-973A-D8D70D96B6D1}"/>
              </a:ext>
            </a:extLst>
          </p:cNvPr>
          <p:cNvGrpSpPr/>
          <p:nvPr/>
        </p:nvGrpSpPr>
        <p:grpSpPr>
          <a:xfrm>
            <a:off x="838416" y="4805350"/>
            <a:ext cx="643132" cy="579252"/>
            <a:chOff x="5035809" y="4247797"/>
            <a:chExt cx="394930" cy="355704"/>
          </a:xfrm>
        </p:grpSpPr>
        <p:sp>
          <p:nvSpPr>
            <p:cNvPr id="346" name="Oval 345">
              <a:extLst>
                <a:ext uri="{FF2B5EF4-FFF2-40B4-BE49-F238E27FC236}">
                  <a16:creationId xmlns:a16="http://schemas.microsoft.com/office/drawing/2014/main" id="{7CB32155-B451-463A-9D34-0AC8E572FD48}"/>
                </a:ext>
              </a:extLst>
            </p:cNvPr>
            <p:cNvSpPr/>
            <p:nvPr/>
          </p:nvSpPr>
          <p:spPr>
            <a:xfrm>
              <a:off x="5075036" y="4247797"/>
              <a:ext cx="355703" cy="355704"/>
            </a:xfrm>
            <a:prstGeom prst="ellipse">
              <a:avLst/>
            </a:prstGeom>
            <a:solidFill>
              <a:srgbClr val="7DD4FF"/>
            </a:solidFill>
            <a:ln>
              <a:noFill/>
            </a:ln>
            <a:effectLst/>
          </p:spPr>
          <p:txBody>
            <a:bodyPr vert="horz" wrap="square" lIns="91440" tIns="45720" rIns="91440" bIns="45720" numCol="1" anchor="t" anchorCtr="0" compatLnSpc="1">
              <a:prstTxWarp prst="textNoShape">
                <a:avLst/>
              </a:prstTxWarp>
              <a:noAutofit/>
            </a:bodyPr>
            <a:lstStyle/>
            <a:p>
              <a:endParaRPr lang="en-ID" dirty="0">
                <a:solidFill>
                  <a:schemeClr val="tx1"/>
                </a:solidFill>
              </a:endParaRPr>
            </a:p>
          </p:txBody>
        </p:sp>
        <p:sp>
          <p:nvSpPr>
            <p:cNvPr id="347" name="Oval 346">
              <a:extLst>
                <a:ext uri="{FF2B5EF4-FFF2-40B4-BE49-F238E27FC236}">
                  <a16:creationId xmlns:a16="http://schemas.microsoft.com/office/drawing/2014/main" id="{1BAAD042-0F55-4AC6-BAB8-E30A3683320D}"/>
                </a:ext>
              </a:extLst>
            </p:cNvPr>
            <p:cNvSpPr/>
            <p:nvPr/>
          </p:nvSpPr>
          <p:spPr>
            <a:xfrm>
              <a:off x="5035809" y="4247797"/>
              <a:ext cx="355703" cy="355704"/>
            </a:xfrm>
            <a:prstGeom prst="ellipse">
              <a:avLst/>
            </a:prstGeom>
            <a:noFill/>
            <a:ln>
              <a:solidFill>
                <a:srgbClr val="0075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400" i="1" dirty="0">
                <a:solidFill>
                  <a:srgbClr val="0075B0"/>
                </a:solidFill>
              </a:endParaRPr>
            </a:p>
          </p:txBody>
        </p:sp>
      </p:grpSp>
      <p:sp>
        <p:nvSpPr>
          <p:cNvPr id="348" name="TextBox 347">
            <a:extLst>
              <a:ext uri="{FF2B5EF4-FFF2-40B4-BE49-F238E27FC236}">
                <a16:creationId xmlns:a16="http://schemas.microsoft.com/office/drawing/2014/main" id="{35B044CA-116B-4F02-8C2D-AF79CAA2B262}"/>
              </a:ext>
            </a:extLst>
          </p:cNvPr>
          <p:cNvSpPr txBox="1"/>
          <p:nvPr/>
        </p:nvSpPr>
        <p:spPr>
          <a:xfrm>
            <a:off x="1758812" y="4690187"/>
            <a:ext cx="3873893" cy="790312"/>
          </a:xfrm>
          <a:prstGeom prst="rect">
            <a:avLst/>
          </a:prstGeom>
          <a:noFill/>
        </p:spPr>
        <p:txBody>
          <a:bodyPr wrap="square" lIns="0" tIns="0" rIns="0" bIns="0" rtlCol="0" anchor="ctr" anchorCtr="0">
            <a:noAutofit/>
          </a:bodyPr>
          <a:lstStyle/>
          <a:p>
            <a:r>
              <a:rPr lang="en-ID" sz="2400" b="1" dirty="0">
                <a:solidFill>
                  <a:schemeClr val="tx1">
                    <a:lumMod val="85000"/>
                    <a:lumOff val="15000"/>
                  </a:schemeClr>
                </a:solidFill>
              </a:rPr>
              <a:t>Lorem ipsum </a:t>
            </a:r>
            <a:r>
              <a:rPr lang="en-ID" sz="2400" b="1" dirty="0" err="1">
                <a:solidFill>
                  <a:schemeClr val="tx1">
                    <a:lumMod val="85000"/>
                    <a:lumOff val="15000"/>
                  </a:schemeClr>
                </a:solidFill>
              </a:rPr>
              <a:t>dolor</a:t>
            </a:r>
            <a:r>
              <a:rPr lang="en-ID" sz="2400" b="1" dirty="0">
                <a:solidFill>
                  <a:schemeClr val="tx1">
                    <a:lumMod val="85000"/>
                    <a:lumOff val="15000"/>
                  </a:schemeClr>
                </a:solidFill>
              </a:rPr>
              <a:t> sit </a:t>
            </a:r>
            <a:r>
              <a:rPr lang="en-ID" sz="2400" b="1" dirty="0" err="1">
                <a:solidFill>
                  <a:schemeClr val="tx1">
                    <a:lumMod val="85000"/>
                    <a:lumOff val="15000"/>
                  </a:schemeClr>
                </a:solidFill>
              </a:rPr>
              <a:t>amet</a:t>
            </a:r>
            <a:endParaRPr lang="en-ID" sz="2400" b="1" dirty="0">
              <a:solidFill>
                <a:schemeClr val="tx1">
                  <a:lumMod val="85000"/>
                  <a:lumOff val="15000"/>
                </a:schemeClr>
              </a:solidFill>
            </a:endParaRPr>
          </a:p>
        </p:txBody>
      </p:sp>
      <p:cxnSp>
        <p:nvCxnSpPr>
          <p:cNvPr id="350" name="Straight Connector 349">
            <a:extLst>
              <a:ext uri="{FF2B5EF4-FFF2-40B4-BE49-F238E27FC236}">
                <a16:creationId xmlns:a16="http://schemas.microsoft.com/office/drawing/2014/main" id="{37BB4F4D-BE70-45EA-8B92-C1B0B7B6EBA1}"/>
              </a:ext>
            </a:extLst>
          </p:cNvPr>
          <p:cNvCxnSpPr/>
          <p:nvPr/>
        </p:nvCxnSpPr>
        <p:spPr>
          <a:xfrm>
            <a:off x="914400" y="3346037"/>
            <a:ext cx="449011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CC056F52-1DFC-48E6-BED9-964776C9E8EB}"/>
              </a:ext>
            </a:extLst>
          </p:cNvPr>
          <p:cNvCxnSpPr/>
          <p:nvPr/>
        </p:nvCxnSpPr>
        <p:spPr>
          <a:xfrm>
            <a:off x="914400" y="4505574"/>
            <a:ext cx="449011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52" name="Group 351">
            <a:extLst>
              <a:ext uri="{FF2B5EF4-FFF2-40B4-BE49-F238E27FC236}">
                <a16:creationId xmlns:a16="http://schemas.microsoft.com/office/drawing/2014/main" id="{0D7ABDEB-CAE3-4966-87A7-9C21FD3B482A}"/>
              </a:ext>
            </a:extLst>
          </p:cNvPr>
          <p:cNvGrpSpPr/>
          <p:nvPr/>
        </p:nvGrpSpPr>
        <p:grpSpPr>
          <a:xfrm>
            <a:off x="1003148" y="4951969"/>
            <a:ext cx="284701" cy="286014"/>
            <a:chOff x="7005638" y="3978275"/>
            <a:chExt cx="344488" cy="346076"/>
          </a:xfrm>
        </p:grpSpPr>
        <p:sp>
          <p:nvSpPr>
            <p:cNvPr id="353" name="Line 253">
              <a:extLst>
                <a:ext uri="{FF2B5EF4-FFF2-40B4-BE49-F238E27FC236}">
                  <a16:creationId xmlns:a16="http://schemas.microsoft.com/office/drawing/2014/main" id="{0688B91C-FAF0-4E03-9E85-E8311170AFA7}"/>
                </a:ext>
              </a:extLst>
            </p:cNvPr>
            <p:cNvSpPr>
              <a:spLocks noChangeShapeType="1"/>
            </p:cNvSpPr>
            <p:nvPr/>
          </p:nvSpPr>
          <p:spPr bwMode="auto">
            <a:xfrm>
              <a:off x="7050088" y="4068763"/>
              <a:ext cx="68263" cy="0"/>
            </a:xfrm>
            <a:prstGeom prst="line">
              <a:avLst/>
            </a:prstGeom>
            <a:noFill/>
            <a:ln w="9525"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4" name="Line 254">
              <a:extLst>
                <a:ext uri="{FF2B5EF4-FFF2-40B4-BE49-F238E27FC236}">
                  <a16:creationId xmlns:a16="http://schemas.microsoft.com/office/drawing/2014/main" id="{741FC66C-D981-4FB0-BE1F-FC1517A49DAD}"/>
                </a:ext>
              </a:extLst>
            </p:cNvPr>
            <p:cNvSpPr>
              <a:spLocks noChangeShapeType="1"/>
            </p:cNvSpPr>
            <p:nvPr/>
          </p:nvSpPr>
          <p:spPr bwMode="auto">
            <a:xfrm>
              <a:off x="7050088" y="4113213"/>
              <a:ext cx="120650" cy="0"/>
            </a:xfrm>
            <a:prstGeom prst="line">
              <a:avLst/>
            </a:prstGeom>
            <a:noFill/>
            <a:ln w="9525"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5" name="Line 255">
              <a:extLst>
                <a:ext uri="{FF2B5EF4-FFF2-40B4-BE49-F238E27FC236}">
                  <a16:creationId xmlns:a16="http://schemas.microsoft.com/office/drawing/2014/main" id="{478BD81E-85A5-4202-AA3B-B0C4DB365A53}"/>
                </a:ext>
              </a:extLst>
            </p:cNvPr>
            <p:cNvSpPr>
              <a:spLocks noChangeShapeType="1"/>
            </p:cNvSpPr>
            <p:nvPr/>
          </p:nvSpPr>
          <p:spPr bwMode="auto">
            <a:xfrm>
              <a:off x="7050088" y="4159250"/>
              <a:ext cx="90488" cy="0"/>
            </a:xfrm>
            <a:prstGeom prst="line">
              <a:avLst/>
            </a:prstGeom>
            <a:noFill/>
            <a:ln w="9525"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6" name="Line 256">
              <a:extLst>
                <a:ext uri="{FF2B5EF4-FFF2-40B4-BE49-F238E27FC236}">
                  <a16:creationId xmlns:a16="http://schemas.microsoft.com/office/drawing/2014/main" id="{7D95E5ED-A420-4FD6-B5CC-8AA20B303753}"/>
                </a:ext>
              </a:extLst>
            </p:cNvPr>
            <p:cNvSpPr>
              <a:spLocks noChangeShapeType="1"/>
            </p:cNvSpPr>
            <p:nvPr/>
          </p:nvSpPr>
          <p:spPr bwMode="auto">
            <a:xfrm>
              <a:off x="7050088" y="4203700"/>
              <a:ext cx="74613" cy="0"/>
            </a:xfrm>
            <a:prstGeom prst="line">
              <a:avLst/>
            </a:prstGeom>
            <a:noFill/>
            <a:ln w="9525"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7" name="Oval 257">
              <a:extLst>
                <a:ext uri="{FF2B5EF4-FFF2-40B4-BE49-F238E27FC236}">
                  <a16:creationId xmlns:a16="http://schemas.microsoft.com/office/drawing/2014/main" id="{440C33EF-D842-4FA9-9A5A-A8249F126B21}"/>
                </a:ext>
              </a:extLst>
            </p:cNvPr>
            <p:cNvSpPr>
              <a:spLocks noChangeArrowheads="1"/>
            </p:cNvSpPr>
            <p:nvPr/>
          </p:nvSpPr>
          <p:spPr bwMode="auto">
            <a:xfrm>
              <a:off x="7200901" y="4173538"/>
              <a:ext cx="112713" cy="112713"/>
            </a:xfrm>
            <a:prstGeom prst="ellipse">
              <a:avLst/>
            </a:prstGeom>
            <a:noFill/>
            <a:ln w="9525"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8" name="Line 258">
              <a:extLst>
                <a:ext uri="{FF2B5EF4-FFF2-40B4-BE49-F238E27FC236}">
                  <a16:creationId xmlns:a16="http://schemas.microsoft.com/office/drawing/2014/main" id="{52122E35-A85F-4BE3-B211-9904A1DC0485}"/>
                </a:ext>
              </a:extLst>
            </p:cNvPr>
            <p:cNvSpPr>
              <a:spLocks noChangeShapeType="1"/>
            </p:cNvSpPr>
            <p:nvPr/>
          </p:nvSpPr>
          <p:spPr bwMode="auto">
            <a:xfrm>
              <a:off x="7297738" y="4271963"/>
              <a:ext cx="52388" cy="52388"/>
            </a:xfrm>
            <a:prstGeom prst="line">
              <a:avLst/>
            </a:prstGeom>
            <a:noFill/>
            <a:ln w="9525"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9" name="Freeform 259">
              <a:extLst>
                <a:ext uri="{FF2B5EF4-FFF2-40B4-BE49-F238E27FC236}">
                  <a16:creationId xmlns:a16="http://schemas.microsoft.com/office/drawing/2014/main" id="{EB3C7DF9-9CDF-427D-AED8-470E1835BE17}"/>
                </a:ext>
              </a:extLst>
            </p:cNvPr>
            <p:cNvSpPr>
              <a:spLocks/>
            </p:cNvSpPr>
            <p:nvPr/>
          </p:nvSpPr>
          <p:spPr bwMode="auto">
            <a:xfrm>
              <a:off x="7005638" y="3978275"/>
              <a:ext cx="239713" cy="315913"/>
            </a:xfrm>
            <a:custGeom>
              <a:avLst/>
              <a:gdLst>
                <a:gd name="T0" fmla="*/ 113 w 151"/>
                <a:gd name="T1" fmla="*/ 199 h 199"/>
                <a:gd name="T2" fmla="*/ 0 w 151"/>
                <a:gd name="T3" fmla="*/ 199 h 199"/>
                <a:gd name="T4" fmla="*/ 0 w 151"/>
                <a:gd name="T5" fmla="*/ 0 h 199"/>
                <a:gd name="T6" fmla="*/ 104 w 151"/>
                <a:gd name="T7" fmla="*/ 0 h 199"/>
                <a:gd name="T8" fmla="*/ 151 w 151"/>
                <a:gd name="T9" fmla="*/ 47 h 199"/>
                <a:gd name="T10" fmla="*/ 151 w 151"/>
                <a:gd name="T11" fmla="*/ 99 h 199"/>
              </a:gdLst>
              <a:ahLst/>
              <a:cxnLst>
                <a:cxn ang="0">
                  <a:pos x="T0" y="T1"/>
                </a:cxn>
                <a:cxn ang="0">
                  <a:pos x="T2" y="T3"/>
                </a:cxn>
                <a:cxn ang="0">
                  <a:pos x="T4" y="T5"/>
                </a:cxn>
                <a:cxn ang="0">
                  <a:pos x="T6" y="T7"/>
                </a:cxn>
                <a:cxn ang="0">
                  <a:pos x="T8" y="T9"/>
                </a:cxn>
                <a:cxn ang="0">
                  <a:pos x="T10" y="T11"/>
                </a:cxn>
              </a:cxnLst>
              <a:rect l="0" t="0" r="r" b="b"/>
              <a:pathLst>
                <a:path w="151" h="199">
                  <a:moveTo>
                    <a:pt x="113" y="199"/>
                  </a:moveTo>
                  <a:lnTo>
                    <a:pt x="0" y="199"/>
                  </a:lnTo>
                  <a:lnTo>
                    <a:pt x="0" y="0"/>
                  </a:lnTo>
                  <a:lnTo>
                    <a:pt x="104" y="0"/>
                  </a:lnTo>
                  <a:lnTo>
                    <a:pt x="151" y="47"/>
                  </a:lnTo>
                  <a:lnTo>
                    <a:pt x="151" y="99"/>
                  </a:lnTo>
                </a:path>
              </a:pathLst>
            </a:custGeom>
            <a:noFill/>
            <a:ln w="9525"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0" name="Freeform 260">
              <a:extLst>
                <a:ext uri="{FF2B5EF4-FFF2-40B4-BE49-F238E27FC236}">
                  <a16:creationId xmlns:a16="http://schemas.microsoft.com/office/drawing/2014/main" id="{018F1801-7356-4E3D-B077-636146AEFB0A}"/>
                </a:ext>
              </a:extLst>
            </p:cNvPr>
            <p:cNvSpPr>
              <a:spLocks/>
            </p:cNvSpPr>
            <p:nvPr/>
          </p:nvSpPr>
          <p:spPr bwMode="auto">
            <a:xfrm>
              <a:off x="7170738" y="3978275"/>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9525"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61" name="Group 360">
            <a:extLst>
              <a:ext uri="{FF2B5EF4-FFF2-40B4-BE49-F238E27FC236}">
                <a16:creationId xmlns:a16="http://schemas.microsoft.com/office/drawing/2014/main" id="{342BD699-5938-41A3-8CEE-96B9FD2F9757}"/>
              </a:ext>
            </a:extLst>
          </p:cNvPr>
          <p:cNvGrpSpPr/>
          <p:nvPr/>
        </p:nvGrpSpPr>
        <p:grpSpPr>
          <a:xfrm>
            <a:off x="977953" y="2632896"/>
            <a:ext cx="286013" cy="286013"/>
            <a:chOff x="5562600" y="3255963"/>
            <a:chExt cx="346075" cy="346075"/>
          </a:xfrm>
        </p:grpSpPr>
        <p:sp>
          <p:nvSpPr>
            <p:cNvPr id="362" name="Freeform 58">
              <a:extLst>
                <a:ext uri="{FF2B5EF4-FFF2-40B4-BE49-F238E27FC236}">
                  <a16:creationId xmlns:a16="http://schemas.microsoft.com/office/drawing/2014/main" id="{81BA02F1-4B9A-408B-A530-B321F3FC0D2B}"/>
                </a:ext>
              </a:extLst>
            </p:cNvPr>
            <p:cNvSpPr>
              <a:spLocks/>
            </p:cNvSpPr>
            <p:nvPr/>
          </p:nvSpPr>
          <p:spPr bwMode="auto">
            <a:xfrm>
              <a:off x="5562600" y="3286125"/>
              <a:ext cx="346075" cy="315913"/>
            </a:xfrm>
            <a:custGeom>
              <a:avLst/>
              <a:gdLst>
                <a:gd name="T0" fmla="*/ 38 w 218"/>
                <a:gd name="T1" fmla="*/ 0 h 199"/>
                <a:gd name="T2" fmla="*/ 0 w 218"/>
                <a:gd name="T3" fmla="*/ 0 h 199"/>
                <a:gd name="T4" fmla="*/ 0 w 218"/>
                <a:gd name="T5" fmla="*/ 199 h 199"/>
                <a:gd name="T6" fmla="*/ 218 w 218"/>
                <a:gd name="T7" fmla="*/ 199 h 199"/>
                <a:gd name="T8" fmla="*/ 218 w 218"/>
                <a:gd name="T9" fmla="*/ 0 h 199"/>
                <a:gd name="T10" fmla="*/ 180 w 218"/>
                <a:gd name="T11" fmla="*/ 0 h 199"/>
              </a:gdLst>
              <a:ahLst/>
              <a:cxnLst>
                <a:cxn ang="0">
                  <a:pos x="T0" y="T1"/>
                </a:cxn>
                <a:cxn ang="0">
                  <a:pos x="T2" y="T3"/>
                </a:cxn>
                <a:cxn ang="0">
                  <a:pos x="T4" y="T5"/>
                </a:cxn>
                <a:cxn ang="0">
                  <a:pos x="T6" y="T7"/>
                </a:cxn>
                <a:cxn ang="0">
                  <a:pos x="T8" y="T9"/>
                </a:cxn>
                <a:cxn ang="0">
                  <a:pos x="T10" y="T11"/>
                </a:cxn>
              </a:cxnLst>
              <a:rect l="0" t="0" r="r" b="b"/>
              <a:pathLst>
                <a:path w="218" h="199">
                  <a:moveTo>
                    <a:pt x="38" y="0"/>
                  </a:moveTo>
                  <a:lnTo>
                    <a:pt x="0" y="0"/>
                  </a:lnTo>
                  <a:lnTo>
                    <a:pt x="0" y="199"/>
                  </a:lnTo>
                  <a:lnTo>
                    <a:pt x="218" y="199"/>
                  </a:lnTo>
                  <a:lnTo>
                    <a:pt x="218" y="0"/>
                  </a:lnTo>
                  <a:lnTo>
                    <a:pt x="180" y="0"/>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3" name="Rectangle 362">
              <a:extLst>
                <a:ext uri="{FF2B5EF4-FFF2-40B4-BE49-F238E27FC236}">
                  <a16:creationId xmlns:a16="http://schemas.microsoft.com/office/drawing/2014/main" id="{DDE64192-7978-43C3-AE10-5605DCBBB798}"/>
                </a:ext>
              </a:extLst>
            </p:cNvPr>
            <p:cNvSpPr>
              <a:spLocks noChangeArrowheads="1"/>
            </p:cNvSpPr>
            <p:nvPr/>
          </p:nvSpPr>
          <p:spPr bwMode="auto">
            <a:xfrm>
              <a:off x="5622925" y="3255963"/>
              <a:ext cx="44450" cy="60325"/>
            </a:xfrm>
            <a:prstGeom prst="rect">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4" name="Rectangle 363">
              <a:extLst>
                <a:ext uri="{FF2B5EF4-FFF2-40B4-BE49-F238E27FC236}">
                  <a16:creationId xmlns:a16="http://schemas.microsoft.com/office/drawing/2014/main" id="{7D6EC9C8-3140-40A3-B0A0-2DEDE5DB5925}"/>
                </a:ext>
              </a:extLst>
            </p:cNvPr>
            <p:cNvSpPr>
              <a:spLocks noChangeArrowheads="1"/>
            </p:cNvSpPr>
            <p:nvPr/>
          </p:nvSpPr>
          <p:spPr bwMode="auto">
            <a:xfrm>
              <a:off x="5803900" y="3255963"/>
              <a:ext cx="44450" cy="60325"/>
            </a:xfrm>
            <a:prstGeom prst="rect">
              <a:avLst/>
            </a:pr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5" name="Line 61">
              <a:extLst>
                <a:ext uri="{FF2B5EF4-FFF2-40B4-BE49-F238E27FC236}">
                  <a16:creationId xmlns:a16="http://schemas.microsoft.com/office/drawing/2014/main" id="{9858F435-F23C-40C7-BA53-531810DC21A0}"/>
                </a:ext>
              </a:extLst>
            </p:cNvPr>
            <p:cNvSpPr>
              <a:spLocks noChangeShapeType="1"/>
            </p:cNvSpPr>
            <p:nvPr/>
          </p:nvSpPr>
          <p:spPr bwMode="auto">
            <a:xfrm>
              <a:off x="5667375" y="3286125"/>
              <a:ext cx="13652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6" name="Line 62">
              <a:extLst>
                <a:ext uri="{FF2B5EF4-FFF2-40B4-BE49-F238E27FC236}">
                  <a16:creationId xmlns:a16="http://schemas.microsoft.com/office/drawing/2014/main" id="{8FAE22C4-5998-40B7-A445-27B476351988}"/>
                </a:ext>
              </a:extLst>
            </p:cNvPr>
            <p:cNvSpPr>
              <a:spLocks noChangeShapeType="1"/>
            </p:cNvSpPr>
            <p:nvPr/>
          </p:nvSpPr>
          <p:spPr bwMode="auto">
            <a:xfrm>
              <a:off x="5562600" y="3360738"/>
              <a:ext cx="346075"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7" name="Line 63">
              <a:extLst>
                <a:ext uri="{FF2B5EF4-FFF2-40B4-BE49-F238E27FC236}">
                  <a16:creationId xmlns:a16="http://schemas.microsoft.com/office/drawing/2014/main" id="{52771A26-9608-4ABC-B75F-5771EA0430E7}"/>
                </a:ext>
              </a:extLst>
            </p:cNvPr>
            <p:cNvSpPr>
              <a:spLocks noChangeShapeType="1"/>
            </p:cNvSpPr>
            <p:nvPr/>
          </p:nvSpPr>
          <p:spPr bwMode="auto">
            <a:xfrm>
              <a:off x="5653088" y="3390900"/>
              <a:ext cx="0" cy="180975"/>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8" name="Line 64">
              <a:extLst>
                <a:ext uri="{FF2B5EF4-FFF2-40B4-BE49-F238E27FC236}">
                  <a16:creationId xmlns:a16="http://schemas.microsoft.com/office/drawing/2014/main" id="{84B48BB0-4F4B-47FE-81BF-D9C803512D05}"/>
                </a:ext>
              </a:extLst>
            </p:cNvPr>
            <p:cNvSpPr>
              <a:spLocks noChangeShapeType="1"/>
            </p:cNvSpPr>
            <p:nvPr/>
          </p:nvSpPr>
          <p:spPr bwMode="auto">
            <a:xfrm>
              <a:off x="5727700" y="3390900"/>
              <a:ext cx="0" cy="180975"/>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9" name="Line 65">
              <a:extLst>
                <a:ext uri="{FF2B5EF4-FFF2-40B4-BE49-F238E27FC236}">
                  <a16:creationId xmlns:a16="http://schemas.microsoft.com/office/drawing/2014/main" id="{7895618E-CD24-41E8-B96A-764EE6911446}"/>
                </a:ext>
              </a:extLst>
            </p:cNvPr>
            <p:cNvSpPr>
              <a:spLocks noChangeShapeType="1"/>
            </p:cNvSpPr>
            <p:nvPr/>
          </p:nvSpPr>
          <p:spPr bwMode="auto">
            <a:xfrm>
              <a:off x="5803900" y="3390900"/>
              <a:ext cx="0" cy="180975"/>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0" name="Line 66">
              <a:extLst>
                <a:ext uri="{FF2B5EF4-FFF2-40B4-BE49-F238E27FC236}">
                  <a16:creationId xmlns:a16="http://schemas.microsoft.com/office/drawing/2014/main" id="{23055DC1-31D9-4D71-84B8-23A173C560F2}"/>
                </a:ext>
              </a:extLst>
            </p:cNvPr>
            <p:cNvSpPr>
              <a:spLocks noChangeShapeType="1"/>
            </p:cNvSpPr>
            <p:nvPr/>
          </p:nvSpPr>
          <p:spPr bwMode="auto">
            <a:xfrm>
              <a:off x="5592763" y="3421063"/>
              <a:ext cx="2857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1" name="Line 67">
              <a:extLst>
                <a:ext uri="{FF2B5EF4-FFF2-40B4-BE49-F238E27FC236}">
                  <a16:creationId xmlns:a16="http://schemas.microsoft.com/office/drawing/2014/main" id="{79F8DBAB-81FC-4296-8DBD-C94ECAA3D676}"/>
                </a:ext>
              </a:extLst>
            </p:cNvPr>
            <p:cNvSpPr>
              <a:spLocks noChangeShapeType="1"/>
            </p:cNvSpPr>
            <p:nvPr/>
          </p:nvSpPr>
          <p:spPr bwMode="auto">
            <a:xfrm>
              <a:off x="5592763" y="3481388"/>
              <a:ext cx="2857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2" name="Line 68">
              <a:extLst>
                <a:ext uri="{FF2B5EF4-FFF2-40B4-BE49-F238E27FC236}">
                  <a16:creationId xmlns:a16="http://schemas.microsoft.com/office/drawing/2014/main" id="{9B973606-CD5D-46D5-BB7A-10A8F153945D}"/>
                </a:ext>
              </a:extLst>
            </p:cNvPr>
            <p:cNvSpPr>
              <a:spLocks noChangeShapeType="1"/>
            </p:cNvSpPr>
            <p:nvPr/>
          </p:nvSpPr>
          <p:spPr bwMode="auto">
            <a:xfrm>
              <a:off x="5592763" y="3541713"/>
              <a:ext cx="285750" cy="0"/>
            </a:xfrm>
            <a:prstGeom prst="line">
              <a:avLst/>
            </a:prstGeom>
            <a:noFill/>
            <a:ln w="12700" cap="rnd">
              <a:solidFill>
                <a:srgbClr val="0075B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73" name="Group 372">
            <a:extLst>
              <a:ext uri="{FF2B5EF4-FFF2-40B4-BE49-F238E27FC236}">
                <a16:creationId xmlns:a16="http://schemas.microsoft.com/office/drawing/2014/main" id="{471456FE-3F92-44CB-A804-EC2344C1FB9A}"/>
              </a:ext>
            </a:extLst>
          </p:cNvPr>
          <p:cNvGrpSpPr/>
          <p:nvPr/>
        </p:nvGrpSpPr>
        <p:grpSpPr>
          <a:xfrm>
            <a:off x="984513" y="3820613"/>
            <a:ext cx="286013" cy="286013"/>
            <a:chOff x="5562600" y="2532063"/>
            <a:chExt cx="346075" cy="346075"/>
          </a:xfrm>
        </p:grpSpPr>
        <p:sp>
          <p:nvSpPr>
            <p:cNvPr id="374" name="Freeform 177">
              <a:extLst>
                <a:ext uri="{FF2B5EF4-FFF2-40B4-BE49-F238E27FC236}">
                  <a16:creationId xmlns:a16="http://schemas.microsoft.com/office/drawing/2014/main" id="{2FE9516C-7B52-4A4E-9FE2-5675ADD2A047}"/>
                </a:ext>
              </a:extLst>
            </p:cNvPr>
            <p:cNvSpPr>
              <a:spLocks/>
            </p:cNvSpPr>
            <p:nvPr/>
          </p:nvSpPr>
          <p:spPr bwMode="auto">
            <a:xfrm>
              <a:off x="5727700" y="2630488"/>
              <a:ext cx="52388" cy="82550"/>
            </a:xfrm>
            <a:custGeom>
              <a:avLst/>
              <a:gdLst>
                <a:gd name="T0" fmla="*/ 33 w 33"/>
                <a:gd name="T1" fmla="*/ 52 h 52"/>
                <a:gd name="T2" fmla="*/ 0 w 33"/>
                <a:gd name="T3" fmla="*/ 52 h 52"/>
                <a:gd name="T4" fmla="*/ 0 w 33"/>
                <a:gd name="T5" fmla="*/ 0 h 52"/>
              </a:gdLst>
              <a:ahLst/>
              <a:cxnLst>
                <a:cxn ang="0">
                  <a:pos x="T0" y="T1"/>
                </a:cxn>
                <a:cxn ang="0">
                  <a:pos x="T2" y="T3"/>
                </a:cxn>
                <a:cxn ang="0">
                  <a:pos x="T4" y="T5"/>
                </a:cxn>
              </a:cxnLst>
              <a:rect l="0" t="0" r="r" b="b"/>
              <a:pathLst>
                <a:path w="33" h="52">
                  <a:moveTo>
                    <a:pt x="33" y="52"/>
                  </a:moveTo>
                  <a:lnTo>
                    <a:pt x="0" y="52"/>
                  </a:lnTo>
                  <a:lnTo>
                    <a:pt x="0" y="0"/>
                  </a:lnTo>
                </a:path>
              </a:pathLst>
            </a:custGeom>
            <a:noFill/>
            <a:ln w="12700" cap="rnd">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5" name="Freeform 178">
              <a:extLst>
                <a:ext uri="{FF2B5EF4-FFF2-40B4-BE49-F238E27FC236}">
                  <a16:creationId xmlns:a16="http://schemas.microsoft.com/office/drawing/2014/main" id="{BCD5E8D0-39C0-4CE2-A501-1B12273A7B62}"/>
                </a:ext>
              </a:extLst>
            </p:cNvPr>
            <p:cNvSpPr>
              <a:spLocks/>
            </p:cNvSpPr>
            <p:nvPr/>
          </p:nvSpPr>
          <p:spPr bwMode="auto">
            <a:xfrm>
              <a:off x="5562600" y="2532063"/>
              <a:ext cx="346075" cy="346075"/>
            </a:xfrm>
            <a:custGeom>
              <a:avLst/>
              <a:gdLst>
                <a:gd name="T0" fmla="*/ 92 w 92"/>
                <a:gd name="T1" fmla="*/ 76 h 92"/>
                <a:gd name="T2" fmla="*/ 76 w 92"/>
                <a:gd name="T3" fmla="*/ 92 h 92"/>
                <a:gd name="T4" fmla="*/ 16 w 92"/>
                <a:gd name="T5" fmla="*/ 92 h 92"/>
                <a:gd name="T6" fmla="*/ 0 w 92"/>
                <a:gd name="T7" fmla="*/ 76 h 92"/>
                <a:gd name="T8" fmla="*/ 0 w 92"/>
                <a:gd name="T9" fmla="*/ 16 h 92"/>
                <a:gd name="T10" fmla="*/ 16 w 92"/>
                <a:gd name="T11" fmla="*/ 0 h 92"/>
                <a:gd name="T12" fmla="*/ 76 w 92"/>
                <a:gd name="T13" fmla="*/ 0 h 92"/>
                <a:gd name="T14" fmla="*/ 92 w 92"/>
                <a:gd name="T15" fmla="*/ 16 h 92"/>
                <a:gd name="T16" fmla="*/ 92 w 92"/>
                <a:gd name="T17" fmla="*/ 7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2">
                  <a:moveTo>
                    <a:pt x="92" y="76"/>
                  </a:moveTo>
                  <a:cubicBezTo>
                    <a:pt x="92" y="85"/>
                    <a:pt x="85" y="92"/>
                    <a:pt x="76" y="92"/>
                  </a:cubicBezTo>
                  <a:cubicBezTo>
                    <a:pt x="16" y="92"/>
                    <a:pt x="16" y="92"/>
                    <a:pt x="16" y="92"/>
                  </a:cubicBezTo>
                  <a:cubicBezTo>
                    <a:pt x="7" y="92"/>
                    <a:pt x="0" y="85"/>
                    <a:pt x="0" y="76"/>
                  </a:cubicBezTo>
                  <a:cubicBezTo>
                    <a:pt x="0" y="16"/>
                    <a:pt x="0" y="16"/>
                    <a:pt x="0" y="16"/>
                  </a:cubicBezTo>
                  <a:cubicBezTo>
                    <a:pt x="0" y="7"/>
                    <a:pt x="7" y="0"/>
                    <a:pt x="16" y="0"/>
                  </a:cubicBezTo>
                  <a:cubicBezTo>
                    <a:pt x="76" y="0"/>
                    <a:pt x="76" y="0"/>
                    <a:pt x="76" y="0"/>
                  </a:cubicBezTo>
                  <a:cubicBezTo>
                    <a:pt x="85" y="0"/>
                    <a:pt x="92" y="7"/>
                    <a:pt x="92" y="16"/>
                  </a:cubicBezTo>
                  <a:lnTo>
                    <a:pt x="92" y="76"/>
                  </a:lnTo>
                  <a:close/>
                </a:path>
              </a:pathLst>
            </a:custGeom>
            <a:noFill/>
            <a:ln w="12700"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6" name="Oval 375">
              <a:extLst>
                <a:ext uri="{FF2B5EF4-FFF2-40B4-BE49-F238E27FC236}">
                  <a16:creationId xmlns:a16="http://schemas.microsoft.com/office/drawing/2014/main" id="{A32EFD90-A6C3-46CE-B0A6-7777746074E5}"/>
                </a:ext>
              </a:extLst>
            </p:cNvPr>
            <p:cNvSpPr>
              <a:spLocks noChangeArrowheads="1"/>
            </p:cNvSpPr>
            <p:nvPr/>
          </p:nvSpPr>
          <p:spPr bwMode="auto">
            <a:xfrm>
              <a:off x="5607050" y="2576513"/>
              <a:ext cx="255588" cy="257175"/>
            </a:xfrm>
            <a:prstGeom prst="ellipse">
              <a:avLst/>
            </a:prstGeom>
            <a:noFill/>
            <a:ln w="12700" cap="flat">
              <a:solidFill>
                <a:srgbClr val="0075B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77" name="Slide Number Placeholder 376">
            <a:extLst>
              <a:ext uri="{FF2B5EF4-FFF2-40B4-BE49-F238E27FC236}">
                <a16:creationId xmlns:a16="http://schemas.microsoft.com/office/drawing/2014/main" id="{5ECCD941-A051-47E4-A494-6341D5C265C9}"/>
              </a:ext>
            </a:extLst>
          </p:cNvPr>
          <p:cNvSpPr>
            <a:spLocks noGrp="1"/>
          </p:cNvSpPr>
          <p:nvPr>
            <p:ph type="sldNum" sz="quarter" idx="12"/>
          </p:nvPr>
        </p:nvSpPr>
        <p:spPr/>
        <p:txBody>
          <a:bodyPr/>
          <a:lstStyle/>
          <a:p>
            <a:fld id="{89CD6E39-4852-418B-BA35-BEEEB494AB9E}" type="slidenum">
              <a:rPr lang="en-US" smtClean="0"/>
              <a:t>9</a:t>
            </a:fld>
            <a:endParaRPr lang="en-US"/>
          </a:p>
        </p:txBody>
      </p:sp>
    </p:spTree>
    <p:extLst>
      <p:ext uri="{BB962C8B-B14F-4D97-AF65-F5344CB8AC3E}">
        <p14:creationId xmlns:p14="http://schemas.microsoft.com/office/powerpoint/2010/main" val="301809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WzYAWKxrsm.gWXt6nG.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Jh8hGl1KZopuybrc7SL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2oKQ7k2XOKEquNz5gzo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MSaXPs714j4J9shY.ZR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desgo Final Pages">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4</TotalTime>
  <Words>937</Words>
  <Application>Microsoft Office PowerPoint</Application>
  <PresentationFormat>宽屏</PresentationFormat>
  <Paragraphs>141</Paragraphs>
  <Slides>24</Slides>
  <Notes>24</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24</vt:i4>
      </vt:variant>
    </vt:vector>
  </HeadingPairs>
  <TitlesOfParts>
    <vt:vector size="36" baseType="lpstr">
      <vt:lpstr>EquipExtended-Light</vt:lpstr>
      <vt:lpstr>Amatic SC</vt:lpstr>
      <vt:lpstr>Arial</vt:lpstr>
      <vt:lpstr>Arial Black</vt:lpstr>
      <vt:lpstr>Calibri</vt:lpstr>
      <vt:lpstr>Dubai Light</vt:lpstr>
      <vt:lpstr>Proxima Nova</vt:lpstr>
      <vt:lpstr>Proxima Nova Semibold</vt:lpstr>
      <vt:lpstr>Roboto Medium</vt:lpstr>
      <vt:lpstr>Office Theme</vt:lpstr>
      <vt:lpstr>Slidesgo Final Pages</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ips for Learning Languages Effectively</vt:lpstr>
      <vt:lpstr>3 Habits of Successful Language Learners</vt:lpstr>
      <vt:lpstr>PowerPoint 演示文稿</vt:lpstr>
      <vt:lpstr>Use our editable graphic resources... </vt:lpstr>
      <vt:lpstr>PowerPoint 演示文稿</vt:lpstr>
      <vt:lpstr>PowerPoint 演示文稿</vt:lpstr>
      <vt:lpstr>PowerPoint 演示文稿</vt:lpstr>
      <vt:lpstr>PowerPoint 演示文稿</vt:lpstr>
      <vt:lpstr>PowerPoint 演示文稿</vt:lpstr>
      <vt:lpstr>...and our sets of editable icons</vt:lpstr>
      <vt:lpstr>Educational Icons</vt:lpstr>
      <vt:lpstr>Business Icons</vt:lpstr>
      <vt:lpstr>Help &amp; Support Icons</vt:lpstr>
      <vt:lpstr>Creative Process Icons</vt:lpstr>
      <vt:lpstr>PowerPoint 演示文稿</vt:lpstr>
      <vt:lpstr>SEO &amp; Marketing Icons</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t 24slides3</dc:creator>
  <cp:lastModifiedBy>刘 龙</cp:lastModifiedBy>
  <cp:revision>56</cp:revision>
  <dcterms:created xsi:type="dcterms:W3CDTF">2020-08-04T05:23:17Z</dcterms:created>
  <dcterms:modified xsi:type="dcterms:W3CDTF">2020-08-16T03:34:29Z</dcterms:modified>
</cp:coreProperties>
</file>